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wdp" ContentType="image/vnd.ms-photo"/>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58.xml" ContentType="application/vnd.openxmlformats-officedocument.presentationml.tags+xml"/>
  <Override PartName="/ppt/tags/tag259.xml" ContentType="application/vnd.openxmlformats-officedocument.presentationml.tags+xml"/>
  <Override PartName="/ppt/notesSlides/notesSlide1.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4.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notesSlides/notesSlide5.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6.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7.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notesSlides/notesSlide11.xml" ContentType="application/vnd.openxmlformats-officedocument.presentationml.notesSlide+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3648" r:id="rId4"/>
    <p:sldMasterId id="2147483864" r:id="rId5"/>
  </p:sldMasterIdLst>
  <p:notesMasterIdLst>
    <p:notesMasterId r:id="rId25"/>
  </p:notesMasterIdLst>
  <p:handoutMasterIdLst>
    <p:handoutMasterId r:id="rId26"/>
  </p:handoutMasterIdLst>
  <p:sldIdLst>
    <p:sldId id="284" r:id="rId6"/>
    <p:sldId id="257" r:id="rId7"/>
    <p:sldId id="258" r:id="rId8"/>
    <p:sldId id="360" r:id="rId9"/>
    <p:sldId id="285" r:id="rId10"/>
    <p:sldId id="319" r:id="rId11"/>
    <p:sldId id="336" r:id="rId12"/>
    <p:sldId id="287" r:id="rId13"/>
    <p:sldId id="338" r:id="rId14"/>
    <p:sldId id="286" r:id="rId15"/>
    <p:sldId id="263" r:id="rId16"/>
    <p:sldId id="341" r:id="rId17"/>
    <p:sldId id="342" r:id="rId18"/>
    <p:sldId id="343" r:id="rId19"/>
    <p:sldId id="344" r:id="rId20"/>
    <p:sldId id="359" r:id="rId21"/>
    <p:sldId id="289" r:id="rId22"/>
    <p:sldId id="290" r:id="rId23"/>
    <p:sldId id="361" r:id="rId24"/>
  </p:sldIdLst>
  <p:sldSz cx="12192000" cy="6858000"/>
  <p:notesSz cx="7102475" cy="9388475"/>
  <p:embeddedFontLst>
    <p:embeddedFont>
      <p:font typeface="Georgia" panose="02040502050405020303" pitchFamily="18" charset="0"/>
      <p:regular r:id="rId27"/>
      <p:bold r:id="rId28"/>
      <p:italic r:id="rId29"/>
      <p:boldItalic r:id="rId30"/>
    </p:embeddedFont>
    <p:embeddedFont>
      <p:font typeface="Segoe UI" panose="020B0502040204020203" pitchFamily="34" charset="0"/>
      <p:regular r:id="rId31"/>
      <p:bold r:id="rId32"/>
      <p:italic r:id="rId33"/>
      <p:boldItalic r:id="rId34"/>
    </p:embeddedFont>
    <p:embeddedFont>
      <p:font typeface="Calibri" panose="020F0502020204030204" pitchFamily="34" charset="0"/>
      <p:regular r:id="rId35"/>
      <p:bold r:id="rId36"/>
      <p:italic r:id="rId37"/>
      <p:boldItalic r:id="rId38"/>
    </p:embeddedFont>
    <p:embeddedFont>
      <p:font typeface="Verdana" panose="020B0604030504040204" pitchFamily="34" charset="0"/>
      <p:regular r:id="rId39"/>
      <p:bold r:id="rId40"/>
      <p:italic r:id="rId41"/>
      <p:boldItalic r:id="rId42"/>
    </p:embeddedFont>
  </p:embeddedFontLst>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776869-E9C5-4E1B-9471-2D51A2F8E900}">
          <p14:sldIdLst>
            <p14:sldId id="284"/>
            <p14:sldId id="257"/>
            <p14:sldId id="258"/>
            <p14:sldId id="360"/>
            <p14:sldId id="285"/>
            <p14:sldId id="319"/>
            <p14:sldId id="336"/>
            <p14:sldId id="287"/>
            <p14:sldId id="338"/>
            <p14:sldId id="286"/>
            <p14:sldId id="263"/>
            <p14:sldId id="341"/>
            <p14:sldId id="342"/>
            <p14:sldId id="343"/>
            <p14:sldId id="344"/>
            <p14:sldId id="359"/>
            <p14:sldId id="289"/>
            <p14:sldId id="290"/>
            <p14:sldId id="36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BEDD"/>
    <a:srgbClr val="00FFFF"/>
    <a:srgbClr val="E7E200"/>
    <a:srgbClr val="00FF00"/>
    <a:srgbClr val="E5F4F5"/>
    <a:srgbClr val="B0C4E0"/>
    <a:srgbClr val="D6493A"/>
    <a:srgbClr val="DC6554"/>
    <a:srgbClr val="D9D9D9"/>
    <a:srgbClr val="E7F2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42"/>
    <p:restoredTop sz="94652"/>
  </p:normalViewPr>
  <p:slideViewPr>
    <p:cSldViewPr snapToGrid="0">
      <p:cViewPr varScale="1">
        <p:scale>
          <a:sx n="108" d="100"/>
          <a:sy n="108" d="100"/>
        </p:scale>
        <p:origin x="624" y="10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9" Type="http://schemas.openxmlformats.org/officeDocument/2006/relationships/font" Target="fonts/font13.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8.fntdata"/><Relationship Id="rId42" Type="http://schemas.openxmlformats.org/officeDocument/2006/relationships/font" Target="fonts/font16.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3.fntdata"/><Relationship Id="rId41"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2.fntdata"/><Relationship Id="rId36" Type="http://schemas.openxmlformats.org/officeDocument/2006/relationships/font" Target="fonts/font10.fntdata"/><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5.fntdata"/><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78458049886622E-2"/>
          <c:y val="6.4786841221886535E-2"/>
          <c:w val="0.94104308390022673"/>
          <c:h val="0.8704263175562269"/>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D8E2-4FA1-B2A9-4DEEB61D4992}"/>
              </c:ext>
            </c:extLst>
          </c:dPt>
          <c:dPt>
            <c:idx val="1"/>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1-D8E2-4FA1-B2A9-4DEEB61D4992}"/>
              </c:ext>
            </c:extLst>
          </c:dPt>
          <c:dLbls>
            <c:dLbl>
              <c:idx val="0"/>
              <c:layout>
                <c:manualLayout>
                  <c:x val="0"/>
                  <c:y val="0"/>
                </c:manualLayout>
              </c:layout>
              <c:tx>
                <c:rich>
                  <a:bodyPr wrap="none"/>
                  <a:lstStyle/>
                  <a:p>
                    <a:pPr>
                      <a:defRPr sz="1400" kern="1200">
                        <a:solidFill>
                          <a:schemeClr val="tx2"/>
                        </a:solidFill>
                        <a:latin typeface="+mn-lt"/>
                        <a:ea typeface="+mn-ea"/>
                        <a:cs typeface="+mn-cs"/>
                      </a:defRPr>
                    </a:pPr>
                    <a:fld id="{8CF7A5C9-0854-5D41-8484-3888E97B5315}" type="VALUE">
                      <a:rPr lang="en-US" b="0" i="0">
                        <a:latin typeface="Calibri" panose="020F0502020204030204" pitchFamily="34" charset="0"/>
                      </a:rPr>
                      <a:pPr>
                        <a:defRPr sz="1400" kern="1200">
                          <a:solidFill>
                            <a:schemeClr val="tx2"/>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0-D8E2-4FA1-B2A9-4DEEB61D4992}"/>
                </c:ext>
              </c:extLst>
            </c:dLbl>
            <c:dLbl>
              <c:idx val="1"/>
              <c:layout>
                <c:manualLayout>
                  <c:x val="0"/>
                  <c:y val="0"/>
                </c:manualLayout>
              </c:layout>
              <c:tx>
                <c:rich>
                  <a:bodyPr wrap="none"/>
                  <a:lstStyle/>
                  <a:p>
                    <a:pPr>
                      <a:defRPr sz="1400" kern="1200">
                        <a:solidFill>
                          <a:schemeClr val="tx2"/>
                        </a:solidFill>
                        <a:latin typeface="+mn-lt"/>
                        <a:ea typeface="+mn-ea"/>
                        <a:cs typeface="+mn-cs"/>
                      </a:defRPr>
                    </a:pPr>
                    <a:fld id="{501F2406-20B7-2F4B-AFCE-AF20FC760DA1}" type="VALUE">
                      <a:rPr lang="en-US" b="0" i="0">
                        <a:latin typeface="Calibri" panose="020F0502020204030204" pitchFamily="34" charset="0"/>
                      </a:rPr>
                      <a:pPr>
                        <a:defRPr sz="1400" kern="1200">
                          <a:solidFill>
                            <a:schemeClr val="tx2"/>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1-D8E2-4FA1-B2A9-4DEEB61D4992}"/>
                </c:ext>
              </c:extLst>
            </c:dLbl>
            <c:dLbl>
              <c:idx val="2"/>
              <c:layout>
                <c:manualLayout>
                  <c:x val="-7.5396825396825393E-2"/>
                  <c:y val="0"/>
                </c:manualLayout>
              </c:layout>
              <c:tx>
                <c:rich>
                  <a:bodyPr wrap="none"/>
                  <a:lstStyle/>
                  <a:p>
                    <a:pPr>
                      <a:defRPr sz="1400" kern="1200">
                        <a:solidFill>
                          <a:schemeClr val="tx1"/>
                        </a:solidFill>
                        <a:latin typeface="+mn-lt"/>
                        <a:ea typeface="+mn-ea"/>
                        <a:cs typeface="+mn-cs"/>
                      </a:defRPr>
                    </a:pPr>
                    <a:fld id="{154CBCFD-4E1C-224F-ADD5-9106C589F585}"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2-D8E2-4FA1-B2A9-4DEEB61D4992}"/>
                </c:ext>
              </c:extLst>
            </c:dLbl>
            <c:dLbl>
              <c:idx val="3"/>
              <c:layout>
                <c:manualLayout>
                  <c:x val="0"/>
                  <c:y val="0"/>
                </c:manualLayout>
              </c:layout>
              <c:tx>
                <c:rich>
                  <a:bodyPr wrap="none"/>
                  <a:lstStyle/>
                  <a:p>
                    <a:pPr>
                      <a:defRPr sz="1400" kern="1200">
                        <a:solidFill>
                          <a:schemeClr val="tx2"/>
                        </a:solidFill>
                        <a:latin typeface="+mn-lt"/>
                        <a:ea typeface="+mn-ea"/>
                        <a:cs typeface="+mn-cs"/>
                      </a:defRPr>
                    </a:pPr>
                    <a:fld id="{32472A7D-D30F-0A47-937A-03CDD358D62D}" type="VALUE">
                      <a:rPr lang="en-US" b="0" i="0">
                        <a:latin typeface="Calibri" panose="020F0502020204030204" pitchFamily="34" charset="0"/>
                      </a:rPr>
                      <a:pPr>
                        <a:defRPr sz="1400" kern="1200">
                          <a:solidFill>
                            <a:schemeClr val="tx2"/>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3-D8E2-4FA1-B2A9-4DEEB61D4992}"/>
                </c:ext>
              </c:extLst>
            </c:dLbl>
            <c:dLbl>
              <c:idx val="4"/>
              <c:layout>
                <c:manualLayout>
                  <c:x val="0"/>
                  <c:y val="0"/>
                </c:manualLayout>
              </c:layout>
              <c:tx>
                <c:rich>
                  <a:bodyPr wrap="none"/>
                  <a:lstStyle/>
                  <a:p>
                    <a:pPr>
                      <a:defRPr sz="1400" kern="1200">
                        <a:solidFill>
                          <a:schemeClr val="tx2"/>
                        </a:solidFill>
                        <a:latin typeface="+mn-lt"/>
                        <a:ea typeface="+mn-ea"/>
                        <a:cs typeface="+mn-cs"/>
                      </a:defRPr>
                    </a:pPr>
                    <a:fld id="{4DFC1F42-13B3-0F41-B128-CF9EE194E012}" type="VALUE">
                      <a:rPr lang="en-US" b="0" i="0">
                        <a:latin typeface="Calibri" panose="020F0502020204030204" pitchFamily="34" charset="0"/>
                      </a:rPr>
                      <a:pPr>
                        <a:defRPr sz="1400" kern="1200">
                          <a:solidFill>
                            <a:schemeClr val="tx2"/>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4-D8E2-4FA1-B2A9-4DEEB61D4992}"/>
                </c:ext>
              </c:extLst>
            </c:dLbl>
            <c:dLbl>
              <c:idx val="5"/>
              <c:layout>
                <c:manualLayout>
                  <c:x val="0"/>
                  <c:y val="0"/>
                </c:manualLayout>
              </c:layout>
              <c:tx>
                <c:rich>
                  <a:bodyPr wrap="none"/>
                  <a:lstStyle/>
                  <a:p>
                    <a:pPr>
                      <a:defRPr sz="1400" kern="1200">
                        <a:solidFill>
                          <a:schemeClr val="tx2"/>
                        </a:solidFill>
                        <a:latin typeface="+mn-lt"/>
                        <a:ea typeface="+mn-ea"/>
                        <a:cs typeface="+mn-cs"/>
                      </a:defRPr>
                    </a:pPr>
                    <a:fld id="{CB2BD5B0-4C66-774F-B651-D18C8B5971C4}" type="VALUE">
                      <a:rPr lang="en-US" b="0" i="0">
                        <a:latin typeface="Calibri" panose="020F0502020204030204" pitchFamily="34" charset="0"/>
                      </a:rPr>
                      <a:pPr>
                        <a:defRPr sz="1400" kern="1200">
                          <a:solidFill>
                            <a:schemeClr val="tx2"/>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5-D8E2-4FA1-B2A9-4DEEB61D49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8</c:v>
                </c:pt>
                <c:pt idx="1">
                  <c:v>3.1</c:v>
                </c:pt>
                <c:pt idx="2">
                  <c:v>-0.3</c:v>
                </c:pt>
                <c:pt idx="3">
                  <c:v>-10.9</c:v>
                </c:pt>
                <c:pt idx="4">
                  <c:v>-14.9</c:v>
                </c:pt>
                <c:pt idx="5">
                  <c:v>-14.9</c:v>
                </c:pt>
              </c:numCache>
            </c:numRef>
          </c:val>
          <c:extLst>
            <c:ext xmlns:c16="http://schemas.microsoft.com/office/drawing/2014/chart" uri="{C3380CC4-5D6E-409C-BE32-E72D297353CC}">
              <c16:uniqueId val="{00000006-D8E2-4FA1-B2A9-4DEEB61D4992}"/>
            </c:ext>
          </c:extLst>
        </c:ser>
        <c:dLbls>
          <c:showLegendKey val="0"/>
          <c:showVal val="0"/>
          <c:showCatName val="0"/>
          <c:showSerName val="0"/>
          <c:showPercent val="0"/>
          <c:showBubbleSize val="0"/>
        </c:dLbls>
        <c:gapWidth val="40"/>
        <c:overlap val="100"/>
        <c:axId val="706041856"/>
        <c:axId val="1"/>
      </c:barChart>
      <c:catAx>
        <c:axId val="7060418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8"/>
          <c:min val="-14.9"/>
        </c:scaling>
        <c:delete val="1"/>
        <c:axPos val="t"/>
        <c:numFmt formatCode="General" sourceLinked="1"/>
        <c:majorTickMark val="out"/>
        <c:minorTickMark val="none"/>
        <c:tickLblPos val="nextTo"/>
        <c:crossAx val="706041856"/>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092715231788075E-2"/>
          <c:y val="2.8384279475982533E-2"/>
          <c:w val="0.82781456953642385"/>
          <c:h val="0.94323144104803491"/>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val>
            <c:numRef>
              <c:f>Sheet1!$A$1:$H$1</c:f>
              <c:numCache>
                <c:formatCode>General</c:formatCode>
                <c:ptCount val="8"/>
                <c:pt idx="0">
                  <c:v>12</c:v>
                </c:pt>
                <c:pt idx="1">
                  <c:v>7</c:v>
                </c:pt>
                <c:pt idx="2">
                  <c:v>6</c:v>
                </c:pt>
                <c:pt idx="3">
                  <c:v>5</c:v>
                </c:pt>
                <c:pt idx="4">
                  <c:v>2</c:v>
                </c:pt>
                <c:pt idx="5">
                  <c:v>2</c:v>
                </c:pt>
                <c:pt idx="6">
                  <c:v>1</c:v>
                </c:pt>
                <c:pt idx="7">
                  <c:v>1</c:v>
                </c:pt>
              </c:numCache>
            </c:numRef>
          </c:val>
          <c:extLst>
            <c:ext xmlns:c16="http://schemas.microsoft.com/office/drawing/2014/chart" uri="{C3380CC4-5D6E-409C-BE32-E72D297353CC}">
              <c16:uniqueId val="{00000000-C53C-4B2F-AD7D-386CCC0FDCBC}"/>
            </c:ext>
          </c:extLst>
        </c:ser>
        <c:dLbls>
          <c:showLegendKey val="0"/>
          <c:showVal val="0"/>
          <c:showCatName val="0"/>
          <c:showSerName val="0"/>
          <c:showPercent val="0"/>
          <c:showBubbleSize val="0"/>
        </c:dLbls>
        <c:gapWidth val="40"/>
        <c:overlap val="100"/>
        <c:axId val="1809184912"/>
        <c:axId val="1"/>
      </c:barChart>
      <c:catAx>
        <c:axId val="18091849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1"/>
        <c:axPos val="t"/>
        <c:numFmt formatCode="General" sourceLinked="1"/>
        <c:majorTickMark val="out"/>
        <c:minorTickMark val="none"/>
        <c:tickLblPos val="nextTo"/>
        <c:crossAx val="180918491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0.1191358024691358"/>
          <c:w val="0.9308050565535595"/>
          <c:h val="0.761728395061728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0.27478376580172986"/>
                  <c:y val="0"/>
                </c:manualLayout>
              </c:layout>
              <c:tx>
                <c:rich>
                  <a:bodyPr wrap="none"/>
                  <a:lstStyle/>
                  <a:p>
                    <a:pPr>
                      <a:defRPr sz="1400" kern="1200">
                        <a:solidFill>
                          <a:schemeClr val="tx1"/>
                        </a:solidFill>
                        <a:latin typeface="+mn-lt"/>
                        <a:ea typeface="+mn-ea"/>
                        <a:cs typeface="+mn-cs"/>
                      </a:defRPr>
                    </a:pPr>
                    <a:fld id="{0AB00507-2F09-8448-A927-03DF16422377}"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0-D919-4CA6-A62D-D8B958CEED7B}"/>
                </c:ext>
              </c:extLst>
            </c:dLbl>
            <c:dLbl>
              <c:idx val="1"/>
              <c:layout>
                <c:manualLayout>
                  <c:x val="0.38722554890219563"/>
                  <c:y val="0"/>
                </c:manualLayout>
              </c:layout>
              <c:tx>
                <c:rich>
                  <a:bodyPr wrap="none"/>
                  <a:lstStyle/>
                  <a:p>
                    <a:pPr>
                      <a:defRPr sz="1400" kern="1200">
                        <a:solidFill>
                          <a:schemeClr val="tx1"/>
                        </a:solidFill>
                        <a:latin typeface="+mn-lt"/>
                        <a:ea typeface="+mn-ea"/>
                        <a:cs typeface="+mn-cs"/>
                      </a:defRPr>
                    </a:pPr>
                    <a:fld id="{7B4C5444-0A65-B444-B14C-F212521F55F2}"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1-D919-4CA6-A62D-D8B958CEED7B}"/>
                </c:ext>
              </c:extLst>
            </c:dLbl>
            <c:dLbl>
              <c:idx val="2"/>
              <c:layout>
                <c:manualLayout>
                  <c:x val="0.29274783765801732"/>
                  <c:y val="0"/>
                </c:manualLayout>
              </c:layout>
              <c:tx>
                <c:rich>
                  <a:bodyPr wrap="none"/>
                  <a:lstStyle/>
                  <a:p>
                    <a:pPr>
                      <a:defRPr sz="1400" kern="1200">
                        <a:solidFill>
                          <a:schemeClr val="tx1"/>
                        </a:solidFill>
                        <a:latin typeface="+mn-lt"/>
                        <a:ea typeface="+mn-ea"/>
                        <a:cs typeface="+mn-cs"/>
                      </a:defRPr>
                    </a:pPr>
                    <a:fld id="{1EAC24CD-96C6-4A49-AB06-4D4A00A170A4}"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2-D919-4CA6-A62D-D8B958CEED7B}"/>
                </c:ext>
              </c:extLst>
            </c:dLbl>
            <c:dLbl>
              <c:idx val="3"/>
              <c:layout>
                <c:manualLayout>
                  <c:x val="0.23885562208915503"/>
                  <c:y val="0"/>
                </c:manualLayout>
              </c:layout>
              <c:tx>
                <c:rich>
                  <a:bodyPr wrap="none"/>
                  <a:lstStyle/>
                  <a:p>
                    <a:pPr>
                      <a:defRPr sz="1400" kern="1200">
                        <a:solidFill>
                          <a:schemeClr val="tx1"/>
                        </a:solidFill>
                        <a:latin typeface="+mn-lt"/>
                        <a:ea typeface="+mn-ea"/>
                        <a:cs typeface="+mn-cs"/>
                      </a:defRPr>
                    </a:pPr>
                    <a:fld id="{C6699C3F-AF0E-DE4F-B4D3-72CEA3F42419}"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3-D919-4CA6-A62D-D8B958CEED7B}"/>
                </c:ext>
              </c:extLst>
            </c:dLbl>
            <c:dLbl>
              <c:idx val="4"/>
              <c:layout>
                <c:manualLayout>
                  <c:x val="0.42115768463073855"/>
                  <c:y val="1.7283950617283949E-2"/>
                </c:manualLayout>
              </c:layout>
              <c:tx>
                <c:rich>
                  <a:bodyPr wrap="none"/>
                  <a:lstStyle/>
                  <a:p>
                    <a:pPr>
                      <a:defRPr sz="1400" kern="1200">
                        <a:solidFill>
                          <a:schemeClr val="tx1"/>
                        </a:solidFill>
                        <a:latin typeface="+mn-lt"/>
                        <a:ea typeface="+mn-ea"/>
                        <a:cs typeface="+mn-cs"/>
                      </a:defRPr>
                    </a:pPr>
                    <a:fld id="{6E1F323C-7622-3B4B-9867-8EE0184D6B41}"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4-D919-4CA6-A62D-D8B958CEED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1993487101782563</c:v>
                </c:pt>
                <c:pt idx="1">
                  <c:v>10.463850182245302</c:v>
                </c:pt>
                <c:pt idx="2">
                  <c:v>7.8222801239642825</c:v>
                </c:pt>
                <c:pt idx="3">
                  <c:v>5.9376722169290561</c:v>
                </c:pt>
                <c:pt idx="4">
                  <c:v>11.638273887979949</c:v>
                </c:pt>
                <c:pt idx="5">
                  <c:v>16.235416872904629</c:v>
                </c:pt>
              </c:numCache>
            </c:numRef>
          </c:val>
          <c:extLst>
            <c:ext xmlns:c16="http://schemas.microsoft.com/office/drawing/2014/chart" uri="{C3380CC4-5D6E-409C-BE32-E72D297353CC}">
              <c16:uniqueId val="{00000005-D919-4CA6-A62D-D8B958CEED7B}"/>
            </c:ext>
          </c:extLst>
        </c:ser>
        <c:ser>
          <c:idx val="1"/>
          <c:order val="1"/>
          <c:spPr>
            <a:solidFill>
              <a:schemeClr val="accent2"/>
            </a:solidFill>
            <a:ln w="9525" cmpd="sng" algn="ctr">
              <a:solidFill>
                <a:schemeClr val="bg1"/>
              </a:solidFill>
              <a:prstDash val="solid"/>
            </a:ln>
          </c:spPr>
          <c:invertIfNegative val="0"/>
          <c:dLbls>
            <c:dLbl>
              <c:idx val="0"/>
              <c:layout>
                <c:manualLayout>
                  <c:x val="0.23885562208915503"/>
                  <c:y val="-1.0493827160493827E-2"/>
                </c:manualLayout>
              </c:layout>
              <c:tx>
                <c:rich>
                  <a:bodyPr wrap="none"/>
                  <a:lstStyle/>
                  <a:p>
                    <a:pPr>
                      <a:defRPr sz="1400" kern="1200">
                        <a:solidFill>
                          <a:schemeClr val="tx1"/>
                        </a:solidFill>
                        <a:latin typeface="+mn-lt"/>
                        <a:ea typeface="+mn-ea"/>
                        <a:cs typeface="+mn-cs"/>
                      </a:defRPr>
                    </a:pPr>
                    <a:fld id="{351A274D-626B-E843-B462-6B73A9339E84}"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6-D919-4CA6-A62D-D8B958CEED7B}"/>
                </c:ext>
              </c:extLst>
            </c:dLbl>
            <c:dLbl>
              <c:idx val="1"/>
              <c:layout>
                <c:manualLayout>
                  <c:x val="0.31603459747172324"/>
                  <c:y val="-9.2592592592592587E-3"/>
                </c:manualLayout>
              </c:layout>
              <c:tx>
                <c:rich>
                  <a:bodyPr wrap="none"/>
                  <a:lstStyle/>
                  <a:p>
                    <a:pPr>
                      <a:defRPr sz="1400" kern="1200">
                        <a:solidFill>
                          <a:schemeClr val="tx1"/>
                        </a:solidFill>
                        <a:latin typeface="+mn-lt"/>
                        <a:ea typeface="+mn-ea"/>
                        <a:cs typeface="+mn-cs"/>
                      </a:defRPr>
                    </a:pPr>
                    <a:fld id="{42C1AAA7-F890-8245-B26B-2FE334686F6C}"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7-D919-4CA6-A62D-D8B958CEED7B}"/>
                </c:ext>
              </c:extLst>
            </c:dLbl>
            <c:dLbl>
              <c:idx val="2"/>
              <c:layout>
                <c:manualLayout>
                  <c:x val="0.26147704590818366"/>
                  <c:y val="-9.2592592592592587E-3"/>
                </c:manualLayout>
              </c:layout>
              <c:tx>
                <c:rich>
                  <a:bodyPr wrap="none"/>
                  <a:lstStyle/>
                  <a:p>
                    <a:pPr>
                      <a:defRPr sz="1400" kern="1200">
                        <a:solidFill>
                          <a:schemeClr val="tx1"/>
                        </a:solidFill>
                        <a:latin typeface="+mn-lt"/>
                        <a:ea typeface="+mn-ea"/>
                        <a:cs typeface="+mn-cs"/>
                      </a:defRPr>
                    </a:pPr>
                    <a:fld id="{DE69AF32-5C8B-3040-9870-1CA15B69E496}"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8-D919-4CA6-A62D-D8B958CEED7B}"/>
                </c:ext>
              </c:extLst>
            </c:dLbl>
            <c:dLbl>
              <c:idx val="3"/>
              <c:layout>
                <c:manualLayout>
                  <c:x val="0.21756487025948104"/>
                  <c:y val="-1.0493827160493827E-2"/>
                </c:manualLayout>
              </c:layout>
              <c:tx>
                <c:rich>
                  <a:bodyPr wrap="none"/>
                  <a:lstStyle/>
                  <a:p>
                    <a:pPr>
                      <a:defRPr sz="1400" kern="1200">
                        <a:solidFill>
                          <a:schemeClr val="tx1"/>
                        </a:solidFill>
                        <a:latin typeface="+mn-lt"/>
                        <a:ea typeface="+mn-ea"/>
                        <a:cs typeface="+mn-cs"/>
                      </a:defRPr>
                    </a:pPr>
                    <a:fld id="{9D20248E-A7F3-0844-AD4C-744E2B451E1A}" type="VALUE">
                      <a:rPr lang="en-US" b="0" i="0">
                        <a:latin typeface="Calibri" panose="020F0502020204030204" pitchFamily="34" charset="0"/>
                      </a:rPr>
                      <a:pPr>
                        <a:defRPr sz="1400" kern="1200">
                          <a:solidFill>
                            <a:schemeClr val="tx1"/>
                          </a:solidFill>
                          <a:latin typeface="+mn-lt"/>
                          <a:ea typeface="+mn-ea"/>
                          <a:cs typeface="+mn-cs"/>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9-D919-4CA6-A62D-D8B958CEED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9398246821604719</c:v>
                </c:pt>
                <c:pt idx="1">
                  <c:v>8.6493578400864166</c:v>
                </c:pt>
                <c:pt idx="2">
                  <c:v>6.7187026902727682</c:v>
                </c:pt>
                <c:pt idx="3">
                  <c:v>5.1822273101043921</c:v>
                </c:pt>
                <c:pt idx="4">
                  <c:v>10.304878179211626</c:v>
                </c:pt>
                <c:pt idx="5">
                  <c:v>13.19334598302585</c:v>
                </c:pt>
              </c:numCache>
            </c:numRef>
          </c:val>
          <c:extLst>
            <c:ext xmlns:c16="http://schemas.microsoft.com/office/drawing/2014/chart" uri="{C3380CC4-5D6E-409C-BE32-E72D297353CC}">
              <c16:uniqueId val="{0000000A-D919-4CA6-A62D-D8B958CEED7B}"/>
            </c:ext>
          </c:extLst>
        </c:ser>
        <c:dLbls>
          <c:showLegendKey val="0"/>
          <c:showVal val="0"/>
          <c:showCatName val="0"/>
          <c:showSerName val="0"/>
          <c:showPercent val="0"/>
          <c:showBubbleSize val="0"/>
        </c:dLbls>
        <c:gapWidth val="40"/>
        <c:axId val="1040864208"/>
        <c:axId val="1"/>
      </c:barChart>
      <c:catAx>
        <c:axId val="104086420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235416872904629"/>
          <c:min val="0"/>
        </c:scaling>
        <c:delete val="1"/>
        <c:axPos val="t"/>
        <c:numFmt formatCode="General" sourceLinked="1"/>
        <c:majorTickMark val="out"/>
        <c:minorTickMark val="none"/>
        <c:tickLblPos val="nextTo"/>
        <c:crossAx val="104086420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4.053000779423227E-2"/>
          <c:w val="0.9308050565535595"/>
          <c:h val="0.91893998441153546"/>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val>
            <c:numRef>
              <c:f>Sheet1!$A$1:$F$1</c:f>
              <c:numCache>
                <c:formatCode>General</c:formatCode>
                <c:ptCount val="6"/>
                <c:pt idx="0">
                  <c:v>24900.176976979663</c:v>
                </c:pt>
                <c:pt idx="1">
                  <c:v>13399.468456124003</c:v>
                </c:pt>
                <c:pt idx="2">
                  <c:v>9416.1159271619708</c:v>
                </c:pt>
                <c:pt idx="3">
                  <c:v>21233.155009990904</c:v>
                </c:pt>
                <c:pt idx="4">
                  <c:v>17348.149784277673</c:v>
                </c:pt>
                <c:pt idx="5">
                  <c:v>9347.776738404722</c:v>
                </c:pt>
              </c:numCache>
            </c:numRef>
          </c:val>
          <c:extLst>
            <c:ext xmlns:c16="http://schemas.microsoft.com/office/drawing/2014/chart" uri="{C3380CC4-5D6E-409C-BE32-E72D297353CC}">
              <c16:uniqueId val="{00000000-459E-439E-829A-395EB2E8A67F}"/>
            </c:ext>
          </c:extLst>
        </c:ser>
        <c:ser>
          <c:idx val="1"/>
          <c:order val="1"/>
          <c:spPr>
            <a:solidFill>
              <a:schemeClr val="accent2"/>
            </a:solidFill>
            <a:ln w="9525" cmpd="sng" algn="ctr">
              <a:solidFill>
                <a:schemeClr val="bg1"/>
              </a:solidFill>
              <a:prstDash val="solid"/>
            </a:ln>
          </c:spPr>
          <c:invertIfNegative val="0"/>
          <c:val>
            <c:numRef>
              <c:f>Sheet1!$A$2:$F$2</c:f>
              <c:numCache>
                <c:formatCode>General</c:formatCode>
                <c:ptCount val="6"/>
                <c:pt idx="0">
                  <c:v>21656.522402940773</c:v>
                </c:pt>
                <c:pt idx="1">
                  <c:v>12626.308631190102</c:v>
                </c:pt>
                <c:pt idx="2">
                  <c:v>9015.2757608099291</c:v>
                </c:pt>
                <c:pt idx="3">
                  <c:v>19697.558905765389</c:v>
                </c:pt>
                <c:pt idx="4">
                  <c:v>17294.421546360383</c:v>
                </c:pt>
                <c:pt idx="5">
                  <c:v>9482.5270439891701</c:v>
                </c:pt>
              </c:numCache>
            </c:numRef>
          </c:val>
          <c:extLst>
            <c:ext xmlns:c16="http://schemas.microsoft.com/office/drawing/2014/chart" uri="{C3380CC4-5D6E-409C-BE32-E72D297353CC}">
              <c16:uniqueId val="{00000001-459E-439E-829A-395EB2E8A67F}"/>
            </c:ext>
          </c:extLst>
        </c:ser>
        <c:dLbls>
          <c:showLegendKey val="0"/>
          <c:showVal val="0"/>
          <c:showCatName val="0"/>
          <c:showSerName val="0"/>
          <c:showPercent val="0"/>
          <c:showBubbleSize val="0"/>
        </c:dLbls>
        <c:gapWidth val="40"/>
        <c:axId val="100726928"/>
        <c:axId val="1"/>
      </c:barChart>
      <c:catAx>
        <c:axId val="10072692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900.176976979663"/>
          <c:min val="0"/>
        </c:scaling>
        <c:delete val="1"/>
        <c:axPos val="t"/>
        <c:numFmt formatCode="General" sourceLinked="1"/>
        <c:majorTickMark val="out"/>
        <c:minorTickMark val="none"/>
        <c:tickLblPos val="nextTo"/>
        <c:crossAx val="10072692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35048802129548E-2"/>
          <c:y val="2.1648626144879269E-2"/>
          <c:w val="0.97692990239574096"/>
          <c:h val="0.95295587010824312"/>
        </c:manualLayout>
      </c:layout>
      <c:bubbleChart>
        <c:varyColors val="0"/>
        <c:ser>
          <c:idx val="0"/>
          <c:order val="0"/>
          <c:spPr>
            <a:solidFill>
              <a:schemeClr val="accent1"/>
            </a:solidFill>
            <a:ln w="9525" cmpd="sng" algn="ctr">
              <a:solidFill>
                <a:schemeClr val="bg1"/>
              </a:solidFill>
              <a:prstDash val="solid"/>
            </a:ln>
          </c:spPr>
          <c:invertIfNegative val="0"/>
          <c:xVal>
            <c:numRef>
              <c:f>Sheet1!$A$1:$A$19</c:f>
              <c:numCache>
                <c:formatCode>General</c:formatCode>
                <c:ptCount val="19"/>
                <c:pt idx="0">
                  <c:v>20.397328581475843</c:v>
                </c:pt>
                <c:pt idx="1">
                  <c:v>7.1993487101782563</c:v>
                </c:pt>
                <c:pt idx="2">
                  <c:v>0.55772558427648666</c:v>
                </c:pt>
                <c:pt idx="3">
                  <c:v>0.61410447724297224</c:v>
                </c:pt>
                <c:pt idx="4">
                  <c:v>10.925435773671424</c:v>
                </c:pt>
                <c:pt idx="5">
                  <c:v>1.9696293529202187</c:v>
                </c:pt>
                <c:pt idx="6">
                  <c:v>3.7356487446806432</c:v>
                </c:pt>
                <c:pt idx="7">
                  <c:v>26.835804393697966</c:v>
                </c:pt>
                <c:pt idx="8">
                  <c:v>4.2934410140875645</c:v>
                </c:pt>
                <c:pt idx="9">
                  <c:v>11.638273887979949</c:v>
                </c:pt>
                <c:pt idx="10">
                  <c:v>5.2480903542880259</c:v>
                </c:pt>
              </c:numCache>
            </c:numRef>
          </c:xVal>
          <c:yVal>
            <c:numRef>
              <c:f>Sheet1!$B$1:$B$19</c:f>
              <c:numCache>
                <c:formatCode>General</c:formatCode>
                <c:ptCount val="19"/>
                <c:pt idx="0">
                  <c:v>15970.894201299428</c:v>
                </c:pt>
                <c:pt idx="1">
                  <c:v>24385.76706283402</c:v>
                </c:pt>
                <c:pt idx="2">
                  <c:v>23820.381524585147</c:v>
                </c:pt>
                <c:pt idx="3">
                  <c:v>17048.115079946929</c:v>
                </c:pt>
                <c:pt idx="4">
                  <c:v>9416.1159271619708</c:v>
                </c:pt>
                <c:pt idx="5">
                  <c:v>39105.55843177608</c:v>
                </c:pt>
                <c:pt idx="6">
                  <c:v>32087.325161360892</c:v>
                </c:pt>
                <c:pt idx="7">
                  <c:v>11772.740910203329</c:v>
                </c:pt>
                <c:pt idx="8">
                  <c:v>27286.360052491589</c:v>
                </c:pt>
                <c:pt idx="9">
                  <c:v>17462.249437192742</c:v>
                </c:pt>
                <c:pt idx="10">
                  <c:v>20149.464065316872</c:v>
                </c:pt>
              </c:numCache>
            </c:numRef>
          </c:yVal>
          <c:bubbleSize>
            <c:numRef>
              <c:f>Sheet1!$C$1:$C$19</c:f>
              <c:numCache>
                <c:formatCode>General</c:formatCode>
                <c:ptCount val="19"/>
                <c:pt idx="0">
                  <c:v>3257.6357676389166</c:v>
                </c:pt>
                <c:pt idx="1">
                  <c:v>1755.6164065052151</c:v>
                </c:pt>
                <c:pt idx="2">
                  <c:v>132.8523620348808</c:v>
                </c:pt>
                <c:pt idx="3">
                  <c:v>104.69323799148842</c:v>
                </c:pt>
                <c:pt idx="4">
                  <c:v>1028.7516979965267</c:v>
                </c:pt>
                <c:pt idx="5">
                  <c:v>770.23455749562913</c:v>
                </c:pt>
                <c:pt idx="6">
                  <c:v>1198.6697595919743</c:v>
                </c:pt>
                <c:pt idx="7">
                  <c:v>3159.3097224390226</c:v>
                </c:pt>
                <c:pt idx="8">
                  <c:v>1171.523773745279</c:v>
                </c:pt>
                <c:pt idx="9">
                  <c:v>2032.3044165027284</c:v>
                </c:pt>
                <c:pt idx="10">
                  <c:v>1057.4620800526266</c:v>
                </c:pt>
              </c:numCache>
            </c:numRef>
          </c:bubbleSize>
          <c:bubble3D val="0"/>
          <c:extLst>
            <c:ext xmlns:c16="http://schemas.microsoft.com/office/drawing/2014/chart" uri="{C3380CC4-5D6E-409C-BE32-E72D297353CC}">
              <c16:uniqueId val="{00000000-C7FA-4C50-A2A0-C5540C39A73D}"/>
            </c:ext>
          </c:extLst>
        </c:ser>
        <c:ser>
          <c:idx val="1"/>
          <c:order val="1"/>
          <c:spPr>
            <a:solidFill>
              <a:schemeClr val="accent1"/>
            </a:solidFill>
            <a:ln w="9525" cmpd="sng" algn="ctr">
              <a:solidFill>
                <a:schemeClr val="bg1"/>
              </a:solidFill>
              <a:prstDash val="solid"/>
            </a:ln>
          </c:spPr>
          <c:invertIfNegative val="0"/>
          <c:xVal>
            <c:numRef>
              <c:f>Sheet1!$A$1:$A$19</c:f>
              <c:numCache>
                <c:formatCode>General</c:formatCode>
                <c:ptCount val="19"/>
                <c:pt idx="11">
                  <c:v>0.6970909323199006</c:v>
                </c:pt>
                <c:pt idx="12">
                  <c:v>10.463850182245302</c:v>
                </c:pt>
                <c:pt idx="13">
                  <c:v>1.2688159904239782</c:v>
                </c:pt>
                <c:pt idx="14">
                  <c:v>13.469871624263204</c:v>
                </c:pt>
                <c:pt idx="15">
                  <c:v>10.666608898704713</c:v>
                </c:pt>
                <c:pt idx="16">
                  <c:v>5.9376722169290561</c:v>
                </c:pt>
              </c:numCache>
            </c:numRef>
          </c:xVal>
          <c:yVal>
            <c:numRef>
              <c:f>Sheet1!$D$1:$D$19</c:f>
              <c:numCache>
                <c:formatCode>General</c:formatCode>
                <c:ptCount val="19"/>
                <c:pt idx="11">
                  <c:v>38665.5809541649</c:v>
                </c:pt>
                <c:pt idx="12">
                  <c:v>19176.887128634546</c:v>
                </c:pt>
                <c:pt idx="13">
                  <c:v>42772.58039876484</c:v>
                </c:pt>
                <c:pt idx="14">
                  <c:v>13399.468456124003</c:v>
                </c:pt>
                <c:pt idx="15">
                  <c:v>17348.149784277673</c:v>
                </c:pt>
                <c:pt idx="16">
                  <c:v>14942.346098330725</c:v>
                </c:pt>
              </c:numCache>
            </c:numRef>
          </c:yVal>
          <c:bubbleSize>
            <c:numRef>
              <c:f>Sheet1!$E$1:$E$19</c:f>
              <c:numCache>
                <c:formatCode>General</c:formatCode>
                <c:ptCount val="19"/>
                <c:pt idx="11">
                  <c:v>269.53425876029399</c:v>
                </c:pt>
                <c:pt idx="12">
                  <c:v>2006.6407387586021</c:v>
                </c:pt>
                <c:pt idx="13">
                  <c:v>542.70533961648039</c:v>
                </c:pt>
                <c:pt idx="14">
                  <c:v>1804.891199373546</c:v>
                </c:pt>
                <c:pt idx="15">
                  <c:v>1850.4592886503845</c:v>
                </c:pt>
                <c:pt idx="16">
                  <c:v>887.22753283796624</c:v>
                </c:pt>
              </c:numCache>
            </c:numRef>
          </c:bubbleSize>
          <c:bubble3D val="0"/>
          <c:extLst>
            <c:ext xmlns:c16="http://schemas.microsoft.com/office/drawing/2014/chart" uri="{C3380CC4-5D6E-409C-BE32-E72D297353CC}">
              <c16:uniqueId val="{00000001-C7FA-4C50-A2A0-C5540C39A73D}"/>
            </c:ext>
          </c:extLst>
        </c:ser>
        <c:ser>
          <c:idx val="2"/>
          <c:order val="2"/>
          <c:spPr>
            <a:solidFill>
              <a:schemeClr val="accent1"/>
            </a:solidFill>
            <a:ln w="9525" cmpd="sng" algn="ctr">
              <a:solidFill>
                <a:schemeClr val="bg1"/>
              </a:solidFill>
              <a:prstDash val="solid"/>
            </a:ln>
          </c:spPr>
          <c:invertIfNegative val="0"/>
          <c:xVal>
            <c:numRef>
              <c:f>Sheet1!$A$1:$A$19</c:f>
              <c:numCache>
                <c:formatCode>General</c:formatCode>
                <c:ptCount val="19"/>
                <c:pt idx="17">
                  <c:v>1.0564243239493443</c:v>
                </c:pt>
                <c:pt idx="18">
                  <c:v>7.8222801239642825</c:v>
                </c:pt>
              </c:numCache>
            </c:numRef>
          </c:xVal>
          <c:yVal>
            <c:numRef>
              <c:f>Sheet1!$F$1:$F$19</c:f>
              <c:numCache>
                <c:formatCode>General</c:formatCode>
                <c:ptCount val="19"/>
                <c:pt idx="17">
                  <c:v>44448.367871639537</c:v>
                </c:pt>
                <c:pt idx="18">
                  <c:v>19670.726767660712</c:v>
                </c:pt>
              </c:numCache>
            </c:numRef>
          </c:yVal>
          <c:bubbleSize>
            <c:numRef>
              <c:f>Sheet1!$G$1:$G$19</c:f>
              <c:numCache>
                <c:formatCode>General</c:formatCode>
                <c:ptCount val="19"/>
                <c:pt idx="17">
                  <c:v>469.56336979448548</c:v>
                </c:pt>
                <c:pt idx="18">
                  <c:v>1538.6993501860456</c:v>
                </c:pt>
              </c:numCache>
            </c:numRef>
          </c:bubbleSize>
          <c:bubble3D val="0"/>
          <c:extLst>
            <c:ext xmlns:c16="http://schemas.microsoft.com/office/drawing/2014/chart" uri="{C3380CC4-5D6E-409C-BE32-E72D297353CC}">
              <c16:uniqueId val="{00000002-C7FA-4C50-A2A0-C5540C39A73D}"/>
            </c:ext>
          </c:extLst>
        </c:ser>
        <c:dLbls>
          <c:showLegendKey val="0"/>
          <c:showVal val="0"/>
          <c:showCatName val="0"/>
          <c:showSerName val="0"/>
          <c:showPercent val="0"/>
          <c:showBubbleSize val="0"/>
        </c:dLbls>
        <c:bubbleScale val="109"/>
        <c:showNegBubbles val="0"/>
        <c:axId val="529459760"/>
        <c:axId val="1"/>
      </c:bubbleChart>
      <c:valAx>
        <c:axId val="529459760"/>
        <c:scaling>
          <c:orientation val="minMax"/>
          <c:max val="29"/>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465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29459760"/>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031413612565448"/>
          <c:y val="6.9970845481049565E-2"/>
          <c:w val="0.20837696335078534"/>
          <c:h val="0.86005830903790093"/>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18638743455497384"/>
                  <c:y val="0"/>
                </c:manualLayout>
              </c:layout>
              <c:tx>
                <c:rich>
                  <a:bodyPr wrap="none"/>
                  <a:lstStyle/>
                  <a:p>
                    <a:pPr>
                      <a:defRPr sz="1200" kern="1200">
                        <a:solidFill>
                          <a:schemeClr val="tx1"/>
                        </a:solidFill>
                        <a:latin typeface="+mn-lt"/>
                        <a:ea typeface="+mn-ea"/>
                        <a:cs typeface="+mn-cs"/>
                      </a:defRPr>
                    </a:pPr>
                    <a:fld id="{AA5EC154-F802-D442-BDCD-A5115E03BF0B}" type="VALUE">
                      <a:rPr lang="en-US" b="0" i="0">
                        <a:latin typeface="Calibri" panose="020F0502020204030204" pitchFamily="34" charset="0"/>
                      </a:rPr>
                      <a:pPr>
                        <a:defRPr sz="1200" kern="1200">
                          <a:solidFill>
                            <a:schemeClr val="tx1"/>
                          </a:solidFill>
                          <a:latin typeface="+mn-lt"/>
                          <a:ea typeface="+mn-ea"/>
                          <a:cs typeface="+mn-cs"/>
                        </a:defRPr>
                      </a:pPr>
                      <a:t>[VALUE]</a:t>
                    </a:fld>
                    <a:endParaRPr lang="en-US"/>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0-AE7F-409D-B8C5-99524DD1324E}"/>
                </c:ext>
              </c:extLst>
            </c:dLbl>
            <c:dLbl>
              <c:idx val="1"/>
              <c:layout>
                <c:manualLayout>
                  <c:x val="0.12879581151832462"/>
                  <c:y val="0"/>
                </c:manualLayout>
              </c:layout>
              <c:tx>
                <c:rich>
                  <a:bodyPr wrap="none"/>
                  <a:lstStyle/>
                  <a:p>
                    <a:pPr>
                      <a:defRPr sz="1200" kern="1200">
                        <a:solidFill>
                          <a:schemeClr val="tx1"/>
                        </a:solidFill>
                        <a:latin typeface="+mn-lt"/>
                        <a:ea typeface="+mn-ea"/>
                        <a:cs typeface="+mn-cs"/>
                      </a:defRPr>
                    </a:pPr>
                    <a:fld id="{164D5737-B591-5C41-BE60-D2C65335A1E6}" type="VALUE">
                      <a:rPr lang="en-US" b="0" i="0">
                        <a:latin typeface="Calibri" panose="020F0502020204030204" pitchFamily="34" charset="0"/>
                      </a:rPr>
                      <a:pPr>
                        <a:defRPr sz="1200" kern="1200">
                          <a:solidFill>
                            <a:schemeClr val="tx1"/>
                          </a:solidFill>
                          <a:latin typeface="+mn-lt"/>
                          <a:ea typeface="+mn-ea"/>
                          <a:cs typeface="+mn-cs"/>
                        </a:defRPr>
                      </a:pPr>
                      <a:t>[VALUE]</a:t>
                    </a:fld>
                    <a:endParaRPr lang="en-US"/>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1-AE7F-409D-B8C5-99524DD1324E}"/>
                </c:ext>
              </c:extLst>
            </c:dLbl>
            <c:dLbl>
              <c:idx val="2"/>
              <c:layout>
                <c:manualLayout>
                  <c:x val="8.0628272251308905E-2"/>
                  <c:y val="0"/>
                </c:manualLayout>
              </c:layout>
              <c:tx>
                <c:rich>
                  <a:bodyPr wrap="none"/>
                  <a:lstStyle/>
                  <a:p>
                    <a:pPr>
                      <a:defRPr sz="1200" kern="1200">
                        <a:solidFill>
                          <a:schemeClr val="tx1"/>
                        </a:solidFill>
                        <a:latin typeface="+mn-lt"/>
                        <a:ea typeface="+mn-ea"/>
                        <a:cs typeface="+mn-cs"/>
                      </a:defRPr>
                    </a:pPr>
                    <a:fld id="{CFC640FA-7AAF-A442-9A5A-DFC451FEECA7}" type="VALUE">
                      <a:rPr lang="en-US" b="0" i="0">
                        <a:latin typeface="Calibri" panose="020F0502020204030204" pitchFamily="34" charset="0"/>
                      </a:rPr>
                      <a:pPr>
                        <a:defRPr sz="1200" kern="1200">
                          <a:solidFill>
                            <a:schemeClr val="tx1"/>
                          </a:solidFill>
                          <a:latin typeface="+mn-lt"/>
                          <a:ea typeface="+mn-ea"/>
                          <a:cs typeface="+mn-cs"/>
                        </a:defRPr>
                      </a:pPr>
                      <a:t>[VALUE]</a:t>
                    </a:fld>
                    <a:endParaRPr lang="en-US"/>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2-AE7F-409D-B8C5-99524DD1324E}"/>
                </c:ext>
              </c:extLst>
            </c:dLbl>
            <c:dLbl>
              <c:idx val="3"/>
              <c:layout>
                <c:manualLayout>
                  <c:x val="8.0628272251308905E-2"/>
                  <c:y val="0"/>
                </c:manualLayout>
              </c:layout>
              <c:tx>
                <c:rich>
                  <a:bodyPr wrap="none"/>
                  <a:lstStyle/>
                  <a:p>
                    <a:pPr>
                      <a:defRPr sz="1200" kern="1200">
                        <a:solidFill>
                          <a:schemeClr val="tx1"/>
                        </a:solidFill>
                        <a:latin typeface="+mn-lt"/>
                        <a:ea typeface="+mn-ea"/>
                        <a:cs typeface="+mn-cs"/>
                      </a:defRPr>
                    </a:pPr>
                    <a:fld id="{B2DCBAB8-AF6C-FB41-BCF7-57CAC28D3BF3}" type="VALUE">
                      <a:rPr lang="en-US" b="0" i="0">
                        <a:latin typeface="Calibri" panose="020F0502020204030204" pitchFamily="34" charset="0"/>
                      </a:rPr>
                      <a:pPr>
                        <a:defRPr sz="1200" kern="1200">
                          <a:solidFill>
                            <a:schemeClr val="tx1"/>
                          </a:solidFill>
                          <a:latin typeface="+mn-lt"/>
                          <a:ea typeface="+mn-ea"/>
                          <a:cs typeface="+mn-cs"/>
                        </a:defRPr>
                      </a:pPr>
                      <a:t>[VALUE]</a:t>
                    </a:fld>
                    <a:endParaRPr lang="en-US"/>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3-AE7F-409D-B8C5-99524DD1324E}"/>
                </c:ext>
              </c:extLst>
            </c:dLbl>
            <c:dLbl>
              <c:idx val="4"/>
              <c:layout>
                <c:manualLayout>
                  <c:x val="6.3874345549738226E-2"/>
                  <c:y val="0"/>
                </c:manualLayout>
              </c:layout>
              <c:tx>
                <c:rich>
                  <a:bodyPr wrap="none"/>
                  <a:lstStyle/>
                  <a:p>
                    <a:pPr>
                      <a:defRPr sz="1200" kern="1200">
                        <a:solidFill>
                          <a:schemeClr val="tx1"/>
                        </a:solidFill>
                        <a:latin typeface="+mn-lt"/>
                        <a:ea typeface="+mn-ea"/>
                        <a:cs typeface="+mn-cs"/>
                      </a:defRPr>
                    </a:pPr>
                    <a:fld id="{B78F52E1-1375-6941-AB05-0417F91D67E7}" type="VALUE">
                      <a:rPr lang="en-US" b="0" i="0">
                        <a:latin typeface="Calibri" panose="020F0502020204030204" pitchFamily="34" charset="0"/>
                      </a:rPr>
                      <a:pPr>
                        <a:defRPr sz="1200" kern="1200">
                          <a:solidFill>
                            <a:schemeClr val="tx1"/>
                          </a:solidFill>
                          <a:latin typeface="+mn-lt"/>
                          <a:ea typeface="+mn-ea"/>
                          <a:cs typeface="+mn-cs"/>
                        </a:defRPr>
                      </a:pPr>
                      <a:t>[VALUE]</a:t>
                    </a:fld>
                    <a:endParaRPr lang="en-US"/>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4-AE7F-409D-B8C5-99524DD1324E}"/>
                </c:ext>
              </c:extLst>
            </c:dLbl>
            <c:dLbl>
              <c:idx val="5"/>
              <c:layout>
                <c:manualLayout>
                  <c:x val="6.3874345549738226E-2"/>
                  <c:y val="0"/>
                </c:manualLayout>
              </c:layout>
              <c:tx>
                <c:rich>
                  <a:bodyPr wrap="none"/>
                  <a:lstStyle/>
                  <a:p>
                    <a:pPr>
                      <a:defRPr sz="1200" kern="1200">
                        <a:solidFill>
                          <a:schemeClr val="tx1"/>
                        </a:solidFill>
                        <a:latin typeface="+mn-lt"/>
                        <a:ea typeface="+mn-ea"/>
                        <a:cs typeface="+mn-cs"/>
                      </a:defRPr>
                    </a:pPr>
                    <a:fld id="{91A99D04-4E43-DF47-8BD6-B05A2C0CF325}" type="VALUE">
                      <a:rPr lang="en-US" b="0" i="0">
                        <a:latin typeface="Calibri" panose="020F0502020204030204" pitchFamily="34" charset="0"/>
                      </a:rPr>
                      <a:pPr>
                        <a:defRPr sz="1200" kern="1200">
                          <a:solidFill>
                            <a:schemeClr val="tx1"/>
                          </a:solidFill>
                          <a:latin typeface="+mn-lt"/>
                          <a:ea typeface="+mn-ea"/>
                          <a:cs typeface="+mn-cs"/>
                        </a:defRPr>
                      </a:pPr>
                      <a:t>[VALUE]</a:t>
                    </a:fld>
                    <a:endParaRPr lang="en-US"/>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15:dlblFieldTable/>
                  <c15:showDataLabelsRange val="0"/>
                </c:ext>
                <c:ext xmlns:c16="http://schemas.microsoft.com/office/drawing/2014/chart" uri="{C3380CC4-5D6E-409C-BE32-E72D297353CC}">
                  <c16:uniqueId val="{00000005-AE7F-409D-B8C5-99524DD132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c:v>
                </c:pt>
                <c:pt idx="1">
                  <c:v>9</c:v>
                </c:pt>
                <c:pt idx="2">
                  <c:v>3</c:v>
                </c:pt>
                <c:pt idx="3">
                  <c:v>3</c:v>
                </c:pt>
                <c:pt idx="4">
                  <c:v>1</c:v>
                </c:pt>
                <c:pt idx="5">
                  <c:v>1</c:v>
                </c:pt>
              </c:numCache>
            </c:numRef>
          </c:val>
          <c:extLst>
            <c:ext xmlns:c16="http://schemas.microsoft.com/office/drawing/2014/chart" uri="{C3380CC4-5D6E-409C-BE32-E72D297353CC}">
              <c16:uniqueId val="{00000006-AE7F-409D-B8C5-99524DD1324E}"/>
            </c:ext>
          </c:extLst>
        </c:ser>
        <c:dLbls>
          <c:showLegendKey val="0"/>
          <c:showVal val="0"/>
          <c:showCatName val="0"/>
          <c:showSerName val="0"/>
          <c:showPercent val="0"/>
          <c:showBubbleSize val="0"/>
        </c:dLbls>
        <c:gapWidth val="40"/>
        <c:overlap val="100"/>
        <c:axId val="1743408784"/>
        <c:axId val="1"/>
      </c:barChart>
      <c:catAx>
        <c:axId val="174340878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174340878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034482758620691E-2"/>
          <c:y val="2.4310425432445069E-2"/>
          <c:w val="0.88793103448275867"/>
          <c:h val="0.9513791491351099"/>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0</c:v>
                </c:pt>
                <c:pt idx="1">
                  <c:v>2</c:v>
                </c:pt>
                <c:pt idx="2">
                  <c:v>4</c:v>
                </c:pt>
                <c:pt idx="3">
                  <c:v>23</c:v>
                </c:pt>
                <c:pt idx="4">
                  <c:v>1</c:v>
                </c:pt>
              </c:numCache>
            </c:numRef>
          </c:val>
          <c:extLst>
            <c:ext xmlns:c16="http://schemas.microsoft.com/office/drawing/2014/chart" uri="{C3380CC4-5D6E-409C-BE32-E72D297353CC}">
              <c16:uniqueId val="{00000000-0340-490A-BB71-EC17E62CE1FB}"/>
            </c:ext>
          </c:extLst>
        </c:ser>
        <c:dLbls>
          <c:showLegendKey val="0"/>
          <c:showVal val="0"/>
          <c:showCatName val="0"/>
          <c:showSerName val="0"/>
          <c:showPercent val="0"/>
          <c:showBubbleSize val="0"/>
        </c:dLbls>
        <c:gapWidth val="40"/>
        <c:overlap val="100"/>
        <c:axId val="836896272"/>
        <c:axId val="1"/>
      </c:barChart>
      <c:catAx>
        <c:axId val="8368962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3"/>
          <c:min val="0"/>
        </c:scaling>
        <c:delete val="1"/>
        <c:axPos val="t"/>
        <c:numFmt formatCode="General" sourceLinked="1"/>
        <c:majorTickMark val="out"/>
        <c:minorTickMark val="none"/>
        <c:tickLblPos val="nextTo"/>
        <c:crossAx val="83689627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250000000000003E-2"/>
          <c:y val="2.39741816505302E-2"/>
          <c:w val="0.83750000000000002"/>
          <c:h val="0.95205163669893955"/>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val>
            <c:numRef>
              <c:f>Sheet1!$A$1:$F$1</c:f>
              <c:numCache>
                <c:formatCode>General</c:formatCode>
                <c:ptCount val="6"/>
                <c:pt idx="0">
                  <c:v>6</c:v>
                </c:pt>
                <c:pt idx="1">
                  <c:v>10</c:v>
                </c:pt>
                <c:pt idx="2">
                  <c:v>6</c:v>
                </c:pt>
                <c:pt idx="3">
                  <c:v>4</c:v>
                </c:pt>
                <c:pt idx="4">
                  <c:v>2</c:v>
                </c:pt>
                <c:pt idx="5">
                  <c:v>2</c:v>
                </c:pt>
              </c:numCache>
            </c:numRef>
          </c:val>
          <c:extLst>
            <c:ext xmlns:c16="http://schemas.microsoft.com/office/drawing/2014/chart" uri="{C3380CC4-5D6E-409C-BE32-E72D297353CC}">
              <c16:uniqueId val="{00000000-BA8A-460D-9197-255350FE5BE5}"/>
            </c:ext>
          </c:extLst>
        </c:ser>
        <c:dLbls>
          <c:showLegendKey val="0"/>
          <c:showVal val="0"/>
          <c:showCatName val="0"/>
          <c:showSerName val="0"/>
          <c:showPercent val="0"/>
          <c:showBubbleSize val="0"/>
        </c:dLbls>
        <c:gapWidth val="40"/>
        <c:overlap val="100"/>
        <c:axId val="178839120"/>
        <c:axId val="1"/>
      </c:barChart>
      <c:catAx>
        <c:axId val="17883912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17883912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022789882294014E-2"/>
          <c:y val="0.14730878186968838"/>
          <c:w val="0.97395442023541201"/>
          <c:h val="0.70538243626062325"/>
        </c:manualLayout>
      </c:layout>
      <c:barChart>
        <c:barDir val="bar"/>
        <c:grouping val="stacked"/>
        <c:varyColors val="0"/>
        <c:ser>
          <c:idx val="0"/>
          <c:order val="0"/>
          <c:spPr>
            <a:solidFill>
              <a:schemeClr val="accent3"/>
            </a:solidFill>
            <a:ln w="9525" cmpd="sng" algn="ctr">
              <a:solidFill>
                <a:schemeClr val="bg1"/>
              </a:solidFill>
              <a:prstDash val="solid"/>
            </a:ln>
          </c:spPr>
          <c:invertIfNegative val="0"/>
          <c:val>
            <c:numRef>
              <c:f>Sheet1!$A$1</c:f>
              <c:numCache>
                <c:formatCode>General</c:formatCode>
                <c:ptCount val="1"/>
                <c:pt idx="0">
                  <c:v>66.666666666666657</c:v>
                </c:pt>
              </c:numCache>
            </c:numRef>
          </c:val>
          <c:extLst>
            <c:ext xmlns:c16="http://schemas.microsoft.com/office/drawing/2014/chart" uri="{C3380CC4-5D6E-409C-BE32-E72D297353CC}">
              <c16:uniqueId val="{00000000-EFD5-4F6B-A441-82A9BA927961}"/>
            </c:ext>
          </c:extLst>
        </c:ser>
        <c:ser>
          <c:idx val="1"/>
          <c:order val="1"/>
          <c:spPr>
            <a:solidFill>
              <a:schemeClr val="accent2"/>
            </a:solidFill>
            <a:ln w="9525" cmpd="sng" algn="ctr">
              <a:solidFill>
                <a:schemeClr val="bg1"/>
              </a:solidFill>
              <a:prstDash val="solid"/>
            </a:ln>
          </c:spPr>
          <c:invertIfNegative val="0"/>
          <c:val>
            <c:numRef>
              <c:f>Sheet1!$A$2</c:f>
              <c:numCache>
                <c:formatCode>General</c:formatCode>
                <c:ptCount val="1"/>
                <c:pt idx="0">
                  <c:v>20.000000000000007</c:v>
                </c:pt>
              </c:numCache>
            </c:numRef>
          </c:val>
          <c:extLst>
            <c:ext xmlns:c16="http://schemas.microsoft.com/office/drawing/2014/chart" uri="{C3380CC4-5D6E-409C-BE32-E72D297353CC}">
              <c16:uniqueId val="{00000001-EFD5-4F6B-A441-82A9BA927961}"/>
            </c:ext>
          </c:extLst>
        </c:ser>
        <c:ser>
          <c:idx val="2"/>
          <c:order val="2"/>
          <c:spPr>
            <a:solidFill>
              <a:srgbClr val="B3B3B3"/>
            </a:solidFill>
            <a:ln w="9525" cmpd="sng" algn="ctr">
              <a:solidFill>
                <a:schemeClr val="bg1"/>
              </a:solidFill>
              <a:prstDash val="solid"/>
            </a:ln>
          </c:spPr>
          <c:invertIfNegative val="0"/>
          <c:val>
            <c:numRef>
              <c:f>Sheet1!$A$3</c:f>
              <c:numCache>
                <c:formatCode>General</c:formatCode>
                <c:ptCount val="1"/>
                <c:pt idx="0">
                  <c:v>13.33333333333333</c:v>
                </c:pt>
              </c:numCache>
            </c:numRef>
          </c:val>
          <c:extLst>
            <c:ext xmlns:c16="http://schemas.microsoft.com/office/drawing/2014/chart" uri="{C3380CC4-5D6E-409C-BE32-E72D297353CC}">
              <c16:uniqueId val="{00000002-EFD5-4F6B-A441-82A9BA927961}"/>
            </c:ext>
          </c:extLst>
        </c:ser>
        <c:dLbls>
          <c:showLegendKey val="0"/>
          <c:showVal val="0"/>
          <c:showCatName val="0"/>
          <c:showSerName val="0"/>
          <c:showPercent val="0"/>
          <c:showBubbleSize val="0"/>
        </c:dLbls>
        <c:gapWidth val="40"/>
        <c:overlap val="100"/>
        <c:axId val="1092473152"/>
        <c:axId val="1"/>
      </c:barChart>
      <c:catAx>
        <c:axId val="109247315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09247315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583210603829166E-2"/>
          <c:y val="2.813852813852814E-2"/>
          <c:w val="0.84683357879234167"/>
          <c:h val="0.94372294372294374"/>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val>
            <c:numRef>
              <c:f>Sheet1!$A$1:$G$1</c:f>
              <c:numCache>
                <c:formatCode>General</c:formatCode>
                <c:ptCount val="7"/>
                <c:pt idx="0">
                  <c:v>10</c:v>
                </c:pt>
                <c:pt idx="1">
                  <c:v>6</c:v>
                </c:pt>
                <c:pt idx="2">
                  <c:v>5</c:v>
                </c:pt>
                <c:pt idx="3">
                  <c:v>3</c:v>
                </c:pt>
                <c:pt idx="4">
                  <c:v>3</c:v>
                </c:pt>
                <c:pt idx="5">
                  <c:v>2</c:v>
                </c:pt>
                <c:pt idx="6">
                  <c:v>1</c:v>
                </c:pt>
              </c:numCache>
            </c:numRef>
          </c:val>
          <c:extLst>
            <c:ext xmlns:c16="http://schemas.microsoft.com/office/drawing/2014/chart" uri="{C3380CC4-5D6E-409C-BE32-E72D297353CC}">
              <c16:uniqueId val="{00000000-3DE2-4F2D-B050-118F8D207C6A}"/>
            </c:ext>
          </c:extLst>
        </c:ser>
        <c:dLbls>
          <c:showLegendKey val="0"/>
          <c:showVal val="0"/>
          <c:showCatName val="0"/>
          <c:showSerName val="0"/>
          <c:showPercent val="0"/>
          <c:showBubbleSize val="0"/>
        </c:dLbls>
        <c:gapWidth val="40"/>
        <c:overlap val="100"/>
        <c:axId val="1672071824"/>
        <c:axId val="1"/>
      </c:barChart>
      <c:catAx>
        <c:axId val="167207182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167207182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latin typeface="Calibri" panose="020F0502020204030204" pitchFamily="34" charset="0"/>
            </a:endParaRPr>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latin typeface="Calibri" panose="020F0502020204030204" pitchFamily="34" charset="0"/>
              </a:rPr>
              <a:t>2 July 2026</a:t>
            </a:fld>
            <a:endParaRPr lang="en-US" dirty="0">
              <a:latin typeface="Calibri" panose="020F0502020204030204" pitchFamily="34" charset="0"/>
            </a:endParaRPr>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latin typeface="Calibri" panose="020F0502020204030204" pitchFamily="34" charset="0"/>
            </a:endParaRPr>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latin typeface="Calibri" panose="020F0502020204030204" pitchFamily="34" charset="0"/>
              </a:rPr>
              <a:t>‹#›</a:t>
            </a:fld>
            <a:endParaRPr lang="en-US" dirty="0">
              <a:latin typeface="Calibri" panose="020F0502020204030204" pitchFamily="34" charset="0"/>
            </a:endParaRPr>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b="0" i="0">
                <a:latin typeface="Calibri" panose="020F050202020403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b="0" i="0">
                <a:latin typeface="Calibri" panose="020F0502020204030204" pitchFamily="34" charset="0"/>
                <a:cs typeface="Arial" panose="020B0604020202020204" pitchFamily="34" charset="0"/>
              </a:defRPr>
            </a:lvl1pPr>
          </a:lstStyle>
          <a:p>
            <a:fld id="{1DF34805-1F01-4BDA-A8CA-FCEA2B4BC8D0}" type="datetime3">
              <a:rPr lang="en-US" smtClean="0"/>
              <a:pPr/>
              <a:t>2 July 2026</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dirty="0"/>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b="0" i="0">
                <a:latin typeface="Calibri" panose="020F050202020403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b="0" i="0">
                <a:latin typeface="Calibri" panose="020F0502020204030204" pitchFamily="34" charset="0"/>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315745"/>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b="0" i="0" kern="1200">
        <a:solidFill>
          <a:schemeClr val="tx1"/>
        </a:solidFill>
        <a:latin typeface="Calibri" panose="020F0502020204030204" pitchFamily="34" charset="0"/>
        <a:ea typeface="+mn-ea"/>
        <a:cs typeface="Arial" panose="020B0604020202020204" pitchFamily="34" charset="0"/>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5"/>
        <p:cNvGrpSpPr/>
        <p:nvPr/>
      </p:nvGrpSpPr>
      <p:grpSpPr>
        <a:xfrm>
          <a:off x="0" y="0"/>
          <a:ext cx="0" cy="0"/>
          <a:chOff x="0" y="0"/>
          <a:chExt cx="0" cy="0"/>
        </a:xfrm>
      </p:grpSpPr>
      <p:sp>
        <p:nvSpPr>
          <p:cNvPr id="506" name="Google Shape;506;g3764d82df2d_18_147:notes"/>
          <p:cNvSpPr txBox="1">
            <a:spLocks noGrp="1"/>
          </p:cNvSpPr>
          <p:nvPr>
            <p:ph type="body" idx="1"/>
          </p:nvPr>
        </p:nvSpPr>
        <p:spPr>
          <a:xfrm>
            <a:off x="685800" y="4424085"/>
            <a:ext cx="5486400" cy="419123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507" name="Google Shape;507;g3764d82df2d_18_14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987425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dirty="0"/>
          </a:p>
        </p:txBody>
      </p:sp>
    </p:spTree>
    <p:extLst>
      <p:ext uri="{BB962C8B-B14F-4D97-AF65-F5344CB8AC3E}">
        <p14:creationId xmlns:p14="http://schemas.microsoft.com/office/powerpoint/2010/main" val="1945499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6</a:t>
            </a:fld>
            <a:endParaRPr lang="en-US" dirty="0"/>
          </a:p>
        </p:txBody>
      </p:sp>
    </p:spTree>
    <p:extLst>
      <p:ext uri="{BB962C8B-B14F-4D97-AF65-F5344CB8AC3E}">
        <p14:creationId xmlns:p14="http://schemas.microsoft.com/office/powerpoint/2010/main" val="4192066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dirty="0"/>
          </a:p>
        </p:txBody>
      </p:sp>
    </p:spTree>
    <p:extLst>
      <p:ext uri="{BB962C8B-B14F-4D97-AF65-F5344CB8AC3E}">
        <p14:creationId xmlns:p14="http://schemas.microsoft.com/office/powerpoint/2010/main" val="30774996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dirty="0"/>
          </a:p>
        </p:txBody>
      </p:sp>
    </p:spTree>
    <p:extLst>
      <p:ext uri="{BB962C8B-B14F-4D97-AF65-F5344CB8AC3E}">
        <p14:creationId xmlns:p14="http://schemas.microsoft.com/office/powerpoint/2010/main" val="2987226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5"/>
        <p:cNvGrpSpPr/>
        <p:nvPr/>
      </p:nvGrpSpPr>
      <p:grpSpPr>
        <a:xfrm>
          <a:off x="0" y="0"/>
          <a:ext cx="0" cy="0"/>
          <a:chOff x="0" y="0"/>
          <a:chExt cx="0" cy="0"/>
        </a:xfrm>
      </p:grpSpPr>
      <p:sp>
        <p:nvSpPr>
          <p:cNvPr id="506" name="Google Shape;506;g3764d82df2d_18_147:notes"/>
          <p:cNvSpPr txBox="1">
            <a:spLocks noGrp="1"/>
          </p:cNvSpPr>
          <p:nvPr>
            <p:ph type="body" idx="1"/>
          </p:nvPr>
        </p:nvSpPr>
        <p:spPr>
          <a:xfrm>
            <a:off x="685800" y="4424085"/>
            <a:ext cx="5486400" cy="419123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smtClean="0"/>
              <a:t>Ashley</a:t>
            </a:r>
            <a:endParaRPr dirty="0"/>
          </a:p>
        </p:txBody>
      </p:sp>
      <p:sp>
        <p:nvSpPr>
          <p:cNvPr id="507" name="Google Shape;507;g3764d82df2d_18_14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35891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457200" marR="0" lvl="1" indent="0">
              <a:lnSpc>
                <a:spcPct val="115000"/>
              </a:lnSpc>
              <a:spcBef>
                <a:spcPts val="0"/>
              </a:spcBef>
              <a:spcAft>
                <a:spcPts val="0"/>
              </a:spcAft>
              <a:buFont typeface="Arial" panose="020B0604020202020204" pitchFamily="34" charset="0"/>
              <a:buNone/>
            </a:pPr>
            <a:r>
              <a:rPr lang="en-US" sz="4000" dirty="0">
                <a:solidFill>
                  <a:schemeClr val="tx2"/>
                </a:solidFill>
                <a:ea typeface="Verdana" panose="020B0604030504040204" pitchFamily="34" charset="0"/>
                <a:cs typeface="Verdana" panose="020B0604030504040204" pitchFamily="34" charset="0"/>
              </a:rPr>
              <a:t>Eli to cover</a:t>
            </a:r>
          </a:p>
        </p:txBody>
      </p:sp>
      <p:sp>
        <p:nvSpPr>
          <p:cNvPr id="4" name="Slide Number Placeholder 3"/>
          <p:cNvSpPr>
            <a:spLocks noGrp="1"/>
          </p:cNvSpPr>
          <p:nvPr>
            <p:ph type="sldNum" sz="quarter" idx="10"/>
          </p:nvPr>
        </p:nvSpPr>
        <p:spPr/>
        <p:txBody>
          <a:bodyPr/>
          <a:lstStyle/>
          <a:p>
            <a:fld id="{59854DDD-5FDB-4990-923C-30D1A4E9206A}" type="slidenum">
              <a:rPr lang="en-US" smtClean="0"/>
              <a:t>3</a:t>
            </a:fld>
            <a:endParaRPr lang="en-US"/>
          </a:p>
        </p:txBody>
      </p:sp>
    </p:spTree>
    <p:extLst>
      <p:ext uri="{BB962C8B-B14F-4D97-AF65-F5344CB8AC3E}">
        <p14:creationId xmlns:p14="http://schemas.microsoft.com/office/powerpoint/2010/main" val="335609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5"/>
        <p:cNvGrpSpPr/>
        <p:nvPr/>
      </p:nvGrpSpPr>
      <p:grpSpPr>
        <a:xfrm>
          <a:off x="0" y="0"/>
          <a:ext cx="0" cy="0"/>
          <a:chOff x="0" y="0"/>
          <a:chExt cx="0" cy="0"/>
        </a:xfrm>
      </p:grpSpPr>
      <p:sp>
        <p:nvSpPr>
          <p:cNvPr id="506" name="Google Shape;506;g3764d82df2d_18_147:notes"/>
          <p:cNvSpPr txBox="1">
            <a:spLocks noGrp="1"/>
          </p:cNvSpPr>
          <p:nvPr>
            <p:ph type="body" idx="1"/>
          </p:nvPr>
        </p:nvSpPr>
        <p:spPr>
          <a:xfrm>
            <a:off x="685800" y="4424085"/>
            <a:ext cx="5486400" cy="419123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smtClean="0"/>
              <a:t>Beth</a:t>
            </a:r>
            <a:endParaRPr dirty="0"/>
          </a:p>
        </p:txBody>
      </p:sp>
      <p:sp>
        <p:nvSpPr>
          <p:cNvPr id="507" name="Google Shape;507;g3764d82df2d_18_14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16628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9F655-9CFB-4B08-0C33-D1B65F998E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85C86A-E29B-B2B3-FC3C-14BD871773C1}"/>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937DFAC0-F890-9446-F7B4-F4B1196D13ED}"/>
              </a:ext>
            </a:extLst>
          </p:cNvPr>
          <p:cNvSpPr>
            <a:spLocks noGrp="1"/>
          </p:cNvSpPr>
          <p:nvPr>
            <p:ph type="body" idx="1"/>
          </p:nvPr>
        </p:nvSpPr>
        <p:spPr>
          <a:xfrm>
            <a:off x="735012" y="4518025"/>
            <a:ext cx="5632450" cy="169277"/>
          </a:xfrm>
        </p:spPr>
        <p:txBody>
          <a:bodyPr/>
          <a:lstStyle/>
          <a:p>
            <a:endParaRPr lang="en-US" dirty="0"/>
          </a:p>
        </p:txBody>
      </p:sp>
      <p:sp>
        <p:nvSpPr>
          <p:cNvPr id="4" name="Date Placeholder 3">
            <a:extLst>
              <a:ext uri="{FF2B5EF4-FFF2-40B4-BE49-F238E27FC236}">
                <a16:creationId xmlns:a16="http://schemas.microsoft.com/office/drawing/2014/main" id="{66F4D2F5-0B0F-E600-31C5-3C463AEF9281}"/>
              </a:ext>
            </a:extLst>
          </p:cNvPr>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a:extLst>
              <a:ext uri="{FF2B5EF4-FFF2-40B4-BE49-F238E27FC236}">
                <a16:creationId xmlns:a16="http://schemas.microsoft.com/office/drawing/2014/main" id="{339DA1C7-D59D-6947-B2BC-BC1EAE30B234}"/>
              </a:ext>
            </a:extLst>
          </p:cNvPr>
          <p:cNvSpPr>
            <a:spLocks noGrp="1"/>
          </p:cNvSpPr>
          <p:nvPr>
            <p:ph type="sldNum" sz="quarter" idx="5"/>
          </p:nvPr>
        </p:nvSpPr>
        <p:spPr/>
        <p:txBody>
          <a:bodyPr/>
          <a:lstStyle/>
          <a:p>
            <a:fld id="{CF5EBCF4-26FC-4F76-8DA1-52FDDC328D44}" type="slidenum">
              <a:rPr lang="en-US" smtClean="0"/>
              <a:pPr/>
              <a:t>6</a:t>
            </a:fld>
            <a:endParaRPr lang="en-US" dirty="0"/>
          </a:p>
        </p:txBody>
      </p:sp>
    </p:spTree>
    <p:extLst>
      <p:ext uri="{BB962C8B-B14F-4D97-AF65-F5344CB8AC3E}">
        <p14:creationId xmlns:p14="http://schemas.microsoft.com/office/powerpoint/2010/main" val="997484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46553-A850-17A4-977A-16D1F07D0B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A1D919-EAB8-6E58-4516-6B8352D4F01F}"/>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A6CEC9CF-75EB-D00E-0C27-21F46FB4B72C}"/>
              </a:ext>
            </a:extLst>
          </p:cNvPr>
          <p:cNvSpPr>
            <a:spLocks noGrp="1"/>
          </p:cNvSpPr>
          <p:nvPr>
            <p:ph type="body" idx="1"/>
          </p:nvPr>
        </p:nvSpPr>
        <p:spPr>
          <a:xfrm>
            <a:off x="735012" y="4518025"/>
            <a:ext cx="5632450" cy="169277"/>
          </a:xfrm>
        </p:spPr>
        <p:txBody>
          <a:bodyPr/>
          <a:lstStyle/>
          <a:p>
            <a:endParaRPr lang="en-US" dirty="0"/>
          </a:p>
        </p:txBody>
      </p:sp>
      <p:sp>
        <p:nvSpPr>
          <p:cNvPr id="4" name="Date Placeholder 3">
            <a:extLst>
              <a:ext uri="{FF2B5EF4-FFF2-40B4-BE49-F238E27FC236}">
                <a16:creationId xmlns:a16="http://schemas.microsoft.com/office/drawing/2014/main" id="{A8E0C943-E2B5-00DB-E0AC-5B24A430F483}"/>
              </a:ext>
            </a:extLst>
          </p:cNvPr>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a:extLst>
              <a:ext uri="{FF2B5EF4-FFF2-40B4-BE49-F238E27FC236}">
                <a16:creationId xmlns:a16="http://schemas.microsoft.com/office/drawing/2014/main" id="{EA7E0AAC-C139-5B6D-CAB3-0AA7B8E21A21}"/>
              </a:ext>
            </a:extLst>
          </p:cNvPr>
          <p:cNvSpPr>
            <a:spLocks noGrp="1"/>
          </p:cNvSpPr>
          <p:nvPr>
            <p:ph type="sldNum" sz="quarter" idx="5"/>
          </p:nvPr>
        </p:nvSpPr>
        <p:spPr/>
        <p:txBody>
          <a:bodyPr/>
          <a:lstStyle/>
          <a:p>
            <a:fld id="{CF5EBCF4-26FC-4F76-8DA1-52FDDC328D44}" type="slidenum">
              <a:rPr lang="en-US" smtClean="0"/>
              <a:pPr/>
              <a:t>7</a:t>
            </a:fld>
            <a:endParaRPr lang="en-US" dirty="0"/>
          </a:p>
        </p:txBody>
      </p:sp>
    </p:spTree>
    <p:extLst>
      <p:ext uri="{BB962C8B-B14F-4D97-AF65-F5344CB8AC3E}">
        <p14:creationId xmlns:p14="http://schemas.microsoft.com/office/powerpoint/2010/main" val="1418468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2FEC4-16A5-7A8B-1DC0-AC067CC2BD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E5DF81-D214-D6A4-A184-D5584DC641DC}"/>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24BED89B-0F87-4378-DCE2-A09368A446AA}"/>
              </a:ext>
            </a:extLst>
          </p:cNvPr>
          <p:cNvSpPr>
            <a:spLocks noGrp="1"/>
          </p:cNvSpPr>
          <p:nvPr>
            <p:ph type="body" idx="1"/>
          </p:nvPr>
        </p:nvSpPr>
        <p:spPr>
          <a:xfrm>
            <a:off x="735012" y="4518025"/>
            <a:ext cx="5632450" cy="169277"/>
          </a:xfrm>
        </p:spPr>
        <p:txBody>
          <a:bodyPr/>
          <a:lstStyle/>
          <a:p>
            <a:endParaRPr lang="en-US" dirty="0"/>
          </a:p>
        </p:txBody>
      </p:sp>
      <p:sp>
        <p:nvSpPr>
          <p:cNvPr id="4" name="Date Placeholder 3">
            <a:extLst>
              <a:ext uri="{FF2B5EF4-FFF2-40B4-BE49-F238E27FC236}">
                <a16:creationId xmlns:a16="http://schemas.microsoft.com/office/drawing/2014/main" id="{472C7A62-702C-A922-19EE-B23E82B96150}"/>
              </a:ext>
            </a:extLst>
          </p:cNvPr>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a:extLst>
              <a:ext uri="{FF2B5EF4-FFF2-40B4-BE49-F238E27FC236}">
                <a16:creationId xmlns:a16="http://schemas.microsoft.com/office/drawing/2014/main" id="{FA6550AD-9BF8-F94A-18DD-1122FE8F8026}"/>
              </a:ext>
            </a:extLst>
          </p:cNvPr>
          <p:cNvSpPr>
            <a:spLocks noGrp="1"/>
          </p:cNvSpPr>
          <p:nvPr>
            <p:ph type="sldNum" sz="quarter" idx="5"/>
          </p:nvPr>
        </p:nvSpPr>
        <p:spPr/>
        <p:txBody>
          <a:bodyPr/>
          <a:lstStyle/>
          <a:p>
            <a:fld id="{CF5EBCF4-26FC-4F76-8DA1-52FDDC328D44}" type="slidenum">
              <a:rPr lang="en-US" smtClean="0"/>
              <a:pPr/>
              <a:t>9</a:t>
            </a:fld>
            <a:endParaRPr lang="en-US" dirty="0"/>
          </a:p>
        </p:txBody>
      </p:sp>
    </p:spTree>
    <p:extLst>
      <p:ext uri="{BB962C8B-B14F-4D97-AF65-F5344CB8AC3E}">
        <p14:creationId xmlns:p14="http://schemas.microsoft.com/office/powerpoint/2010/main" val="2799486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dirty="0"/>
          </a:p>
        </p:txBody>
      </p:sp>
    </p:spTree>
    <p:extLst>
      <p:ext uri="{BB962C8B-B14F-4D97-AF65-F5344CB8AC3E}">
        <p14:creationId xmlns:p14="http://schemas.microsoft.com/office/powerpoint/2010/main" val="1204543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Slide Number Placeholder 3"/>
          <p:cNvSpPr>
            <a:spLocks noGrp="1"/>
          </p:cNvSpPr>
          <p:nvPr>
            <p:ph type="sldNum" sz="quarter" idx="5"/>
          </p:nvPr>
        </p:nvSpPr>
        <p:spPr/>
        <p:txBody>
          <a:bodyPr/>
          <a:lstStyle/>
          <a:p>
            <a:fld id="{B4AD0F1D-B64B-4C07-AB7D-A0DBCD7B0C6D}" type="slidenum">
              <a:rPr lang="en-US" smtClean="0"/>
              <a:t>13</a:t>
            </a:fld>
            <a:endParaRPr lang="en-US" dirty="0"/>
          </a:p>
        </p:txBody>
      </p:sp>
    </p:spTree>
    <p:extLst>
      <p:ext uri="{BB962C8B-B14F-4D97-AF65-F5344CB8AC3E}">
        <p14:creationId xmlns:p14="http://schemas.microsoft.com/office/powerpoint/2010/main" val="1807284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Jul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dirty="0"/>
          </a:p>
        </p:txBody>
      </p:sp>
    </p:spTree>
    <p:extLst>
      <p:ext uri="{BB962C8B-B14F-4D97-AF65-F5344CB8AC3E}">
        <p14:creationId xmlns:p14="http://schemas.microsoft.com/office/powerpoint/2010/main" val="32447664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6.png"/><Relationship Id="rId5" Type="http://schemas.openxmlformats.org/officeDocument/2006/relationships/tags" Target="../tags/tag25.xm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image" Target="../media/image8.png"/><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1.vml"/><Relationship Id="rId6" Type="http://schemas.openxmlformats.org/officeDocument/2006/relationships/tags" Target="../tags/tag84.xml"/><Relationship Id="rId11" Type="http://schemas.openxmlformats.org/officeDocument/2006/relationships/oleObject" Target="../embeddings/oleObject11.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8.png"/><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12.vml"/><Relationship Id="rId6" Type="http://schemas.openxmlformats.org/officeDocument/2006/relationships/tags" Target="../tags/tag92.xml"/><Relationship Id="rId11" Type="http://schemas.openxmlformats.org/officeDocument/2006/relationships/oleObject" Target="../embeddings/oleObject12.bin"/><Relationship Id="rId5" Type="http://schemas.openxmlformats.org/officeDocument/2006/relationships/tags" Target="../tags/tag91.xml"/><Relationship Id="rId10" Type="http://schemas.openxmlformats.org/officeDocument/2006/relationships/slideMaster" Target="../slideMasters/slideMaster1.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image" Target="../media/image8.png"/><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oleObject" Target="../embeddings/oleObject13.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9.png"/><Relationship Id="rId3" Type="http://schemas.openxmlformats.org/officeDocument/2006/relationships/tags" Target="../tags/tag105.xml"/><Relationship Id="rId7" Type="http://schemas.openxmlformats.org/officeDocument/2006/relationships/tags" Target="../tags/tag109.xml"/><Relationship Id="rId12" Type="http://schemas.microsoft.com/office/2007/relationships/hdphoto" Target="../media/hdphoto1.wdp"/><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image" Target="../media/image3.png"/><Relationship Id="rId5" Type="http://schemas.openxmlformats.org/officeDocument/2006/relationships/tags" Target="../tags/tag107.xml"/><Relationship Id="rId10" Type="http://schemas.openxmlformats.org/officeDocument/2006/relationships/image" Target="../media/image4.emf"/><Relationship Id="rId4" Type="http://schemas.openxmlformats.org/officeDocument/2006/relationships/tags" Target="../tags/tag106.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11.xml"/><Relationship Id="rId7" Type="http://schemas.openxmlformats.org/officeDocument/2006/relationships/oleObject" Target="../embeddings/oleObject15.bin"/><Relationship Id="rId2" Type="http://schemas.openxmlformats.org/officeDocument/2006/relationships/tags" Target="../tags/tag110.xml"/><Relationship Id="rId1" Type="http://schemas.openxmlformats.org/officeDocument/2006/relationships/vmlDrawing" Target="../drawings/vmlDrawing15.vml"/><Relationship Id="rId6" Type="http://schemas.openxmlformats.org/officeDocument/2006/relationships/slideMaster" Target="../slideMasters/slideMaster1.xml"/><Relationship Id="rId5" Type="http://schemas.openxmlformats.org/officeDocument/2006/relationships/tags" Target="../tags/tag113.xml"/><Relationship Id="rId10" Type="http://schemas.openxmlformats.org/officeDocument/2006/relationships/image" Target="../media/image9.png"/><Relationship Id="rId4" Type="http://schemas.openxmlformats.org/officeDocument/2006/relationships/tags" Target="../tags/tag112.xml"/><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21.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tags" Target="../tags/tag115.xml"/><Relationship Id="rId1" Type="http://schemas.openxmlformats.org/officeDocument/2006/relationships/vmlDrawing" Target="../drawings/vmlDrawing17.vml"/><Relationship Id="rId6" Type="http://schemas.openxmlformats.org/officeDocument/2006/relationships/tags" Target="../tags/tag119.xml"/><Relationship Id="rId11" Type="http://schemas.openxmlformats.org/officeDocument/2006/relationships/image" Target="../media/image1.emf"/><Relationship Id="rId5" Type="http://schemas.openxmlformats.org/officeDocument/2006/relationships/tags" Target="../tags/tag118.xml"/><Relationship Id="rId10" Type="http://schemas.openxmlformats.org/officeDocument/2006/relationships/oleObject" Target="../embeddings/oleObject17.bin"/><Relationship Id="rId4" Type="http://schemas.openxmlformats.org/officeDocument/2006/relationships/tags" Target="../tags/tag117.xml"/><Relationship Id="rId9"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43.xml"/><Relationship Id="rId7" Type="http://schemas.openxmlformats.org/officeDocument/2006/relationships/oleObject" Target="../embeddings/oleObject19.bin"/><Relationship Id="rId2" Type="http://schemas.openxmlformats.org/officeDocument/2006/relationships/tags" Target="../tags/tag142.xml"/><Relationship Id="rId1" Type="http://schemas.openxmlformats.org/officeDocument/2006/relationships/vmlDrawing" Target="../drawings/vmlDrawing19.vml"/><Relationship Id="rId6" Type="http://schemas.openxmlformats.org/officeDocument/2006/relationships/slideMaster" Target="../slideMasters/slideMaster2.xml"/><Relationship Id="rId5" Type="http://schemas.openxmlformats.org/officeDocument/2006/relationships/tags" Target="../tags/tag145.xml"/><Relationship Id="rId4" Type="http://schemas.openxmlformats.org/officeDocument/2006/relationships/tags" Target="../tags/tag144.xm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5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vmlDrawing" Target="../drawings/vmlDrawing20.vml"/><Relationship Id="rId6" Type="http://schemas.openxmlformats.org/officeDocument/2006/relationships/tags" Target="../tags/tag150.xml"/><Relationship Id="rId11" Type="http://schemas.openxmlformats.org/officeDocument/2006/relationships/image" Target="../media/image1.emf"/><Relationship Id="rId5" Type="http://schemas.openxmlformats.org/officeDocument/2006/relationships/tags" Target="../tags/tag149.xml"/><Relationship Id="rId10" Type="http://schemas.openxmlformats.org/officeDocument/2006/relationships/oleObject" Target="../embeddings/oleObject20.bin"/><Relationship Id="rId4" Type="http://schemas.openxmlformats.org/officeDocument/2006/relationships/tags" Target="../tags/tag148.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3.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59.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tags" Target="../tags/tag153.xml"/><Relationship Id="rId1" Type="http://schemas.openxmlformats.org/officeDocument/2006/relationships/vmlDrawing" Target="../drawings/vmlDrawing21.vml"/><Relationship Id="rId6" Type="http://schemas.openxmlformats.org/officeDocument/2006/relationships/tags" Target="../tags/tag157.xml"/><Relationship Id="rId11" Type="http://schemas.openxmlformats.org/officeDocument/2006/relationships/image" Target="../media/image1.emf"/><Relationship Id="rId5" Type="http://schemas.openxmlformats.org/officeDocument/2006/relationships/tags" Target="../tags/tag156.xml"/><Relationship Id="rId10" Type="http://schemas.openxmlformats.org/officeDocument/2006/relationships/oleObject" Target="../embeddings/oleObject21.bin"/><Relationship Id="rId4" Type="http://schemas.openxmlformats.org/officeDocument/2006/relationships/tags" Target="../tags/tag155.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vmlDrawing" Target="../drawings/vmlDrawing22.v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4.emf"/><Relationship Id="rId4" Type="http://schemas.openxmlformats.org/officeDocument/2006/relationships/tags" Target="../tags/tag162.xml"/><Relationship Id="rId9"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7.xml"/><Relationship Id="rId7" Type="http://schemas.openxmlformats.org/officeDocument/2006/relationships/tags" Target="../tags/tag171.xml"/><Relationship Id="rId2" Type="http://schemas.openxmlformats.org/officeDocument/2006/relationships/tags" Target="../tags/tag166.xml"/><Relationship Id="rId1" Type="http://schemas.openxmlformats.org/officeDocument/2006/relationships/vmlDrawing" Target="../drawings/vmlDrawing23.vml"/><Relationship Id="rId6" Type="http://schemas.openxmlformats.org/officeDocument/2006/relationships/tags" Target="../tags/tag170.xml"/><Relationship Id="rId5" Type="http://schemas.openxmlformats.org/officeDocument/2006/relationships/tags" Target="../tags/tag169.xml"/><Relationship Id="rId10" Type="http://schemas.openxmlformats.org/officeDocument/2006/relationships/image" Target="../media/image4.emf"/><Relationship Id="rId4" Type="http://schemas.openxmlformats.org/officeDocument/2006/relationships/tags" Target="../tags/tag168.xml"/><Relationship Id="rId9"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73.xml"/><Relationship Id="rId7" Type="http://schemas.openxmlformats.org/officeDocument/2006/relationships/oleObject" Target="../embeddings/oleObject24.bin"/><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vmlDrawing" Target="../drawings/vmlDrawing25.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25.bin"/><Relationship Id="rId4" Type="http://schemas.openxmlformats.org/officeDocument/2006/relationships/tags" Target="../tags/tag178.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image" Target="../media/image8.png"/><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vmlDrawing" Target="../drawings/vmlDrawing26.vml"/><Relationship Id="rId6" Type="http://schemas.openxmlformats.org/officeDocument/2006/relationships/tags" Target="../tags/tag187.xml"/><Relationship Id="rId11" Type="http://schemas.openxmlformats.org/officeDocument/2006/relationships/oleObject" Target="../embeddings/oleObject26.bin"/><Relationship Id="rId5" Type="http://schemas.openxmlformats.org/officeDocument/2006/relationships/tags" Target="../tags/tag186.xml"/><Relationship Id="rId10" Type="http://schemas.openxmlformats.org/officeDocument/2006/relationships/slideMaster" Target="../slideMasters/slideMaster2.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image" Target="../media/image8.png"/><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image" Target="../media/image1.emf"/><Relationship Id="rId2" Type="http://schemas.openxmlformats.org/officeDocument/2006/relationships/tags" Target="../tags/tag191.xml"/><Relationship Id="rId1" Type="http://schemas.openxmlformats.org/officeDocument/2006/relationships/vmlDrawing" Target="../drawings/vmlDrawing27.vml"/><Relationship Id="rId6" Type="http://schemas.openxmlformats.org/officeDocument/2006/relationships/tags" Target="../tags/tag195.xml"/><Relationship Id="rId11" Type="http://schemas.openxmlformats.org/officeDocument/2006/relationships/oleObject" Target="../embeddings/oleObject27.bin"/><Relationship Id="rId5" Type="http://schemas.openxmlformats.org/officeDocument/2006/relationships/tags" Target="../tags/tag194.xml"/><Relationship Id="rId10" Type="http://schemas.openxmlformats.org/officeDocument/2006/relationships/slideMaster" Target="../slideMasters/slideMaster2.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image" Target="../media/image9.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image" Target="../media/image8.png"/><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image" Target="../media/image4.emf"/><Relationship Id="rId2" Type="http://schemas.openxmlformats.org/officeDocument/2006/relationships/tags" Target="../tags/tag199.xml"/><Relationship Id="rId1" Type="http://schemas.openxmlformats.org/officeDocument/2006/relationships/vmlDrawing" Target="../drawings/vmlDrawing28.vml"/><Relationship Id="rId6" Type="http://schemas.openxmlformats.org/officeDocument/2006/relationships/tags" Target="../tags/tag203.xml"/><Relationship Id="rId11" Type="http://schemas.openxmlformats.org/officeDocument/2006/relationships/oleObject" Target="../embeddings/oleObject28.bin"/><Relationship Id="rId5" Type="http://schemas.openxmlformats.org/officeDocument/2006/relationships/tags" Target="../tags/tag202.xml"/><Relationship Id="rId10" Type="http://schemas.openxmlformats.org/officeDocument/2006/relationships/slideMaster" Target="../slideMasters/slideMaster2.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image" Target="../media/image8.png"/><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image" Target="../media/image1.emf"/><Relationship Id="rId2" Type="http://schemas.openxmlformats.org/officeDocument/2006/relationships/tags" Target="../tags/tag207.xml"/><Relationship Id="rId1" Type="http://schemas.openxmlformats.org/officeDocument/2006/relationships/vmlDrawing" Target="../drawings/vmlDrawing29.vml"/><Relationship Id="rId6" Type="http://schemas.openxmlformats.org/officeDocument/2006/relationships/tags" Target="../tags/tag211.xml"/><Relationship Id="rId11" Type="http://schemas.openxmlformats.org/officeDocument/2006/relationships/oleObject" Target="../embeddings/oleObject29.bin"/><Relationship Id="rId5" Type="http://schemas.openxmlformats.org/officeDocument/2006/relationships/tags" Target="../tags/tag210.xml"/><Relationship Id="rId10" Type="http://schemas.openxmlformats.org/officeDocument/2006/relationships/slideMaster" Target="../slideMasters/slideMaster2.xml"/><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8.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4.emf"/><Relationship Id="rId2" Type="http://schemas.openxmlformats.org/officeDocument/2006/relationships/tags" Target="../tags/tag215.xml"/><Relationship Id="rId1" Type="http://schemas.openxmlformats.org/officeDocument/2006/relationships/vmlDrawing" Target="../drawings/vmlDrawing30.vml"/><Relationship Id="rId6" Type="http://schemas.openxmlformats.org/officeDocument/2006/relationships/tags" Target="../tags/tag219.xml"/><Relationship Id="rId11" Type="http://schemas.openxmlformats.org/officeDocument/2006/relationships/oleObject" Target="../embeddings/oleObject30.bin"/><Relationship Id="rId5" Type="http://schemas.openxmlformats.org/officeDocument/2006/relationships/tags" Target="../tags/tag218.xml"/><Relationship Id="rId10" Type="http://schemas.openxmlformats.org/officeDocument/2006/relationships/slideMaster" Target="../slideMasters/slideMaster2.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image" Target="../media/image1.emf"/><Relationship Id="rId5" Type="http://schemas.openxmlformats.org/officeDocument/2006/relationships/tags" Target="../tags/tag37.xml"/><Relationship Id="rId10" Type="http://schemas.openxmlformats.org/officeDocument/2006/relationships/oleObject" Target="../embeddings/oleObject4.bin"/><Relationship Id="rId4" Type="http://schemas.openxmlformats.org/officeDocument/2006/relationships/tags" Target="../tags/tag36.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image" Target="../media/image9.png"/><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4.emf"/><Relationship Id="rId2" Type="http://schemas.openxmlformats.org/officeDocument/2006/relationships/tags" Target="../tags/tag223.xml"/><Relationship Id="rId1" Type="http://schemas.openxmlformats.org/officeDocument/2006/relationships/vmlDrawing" Target="../drawings/vmlDrawing31.vml"/><Relationship Id="rId6" Type="http://schemas.openxmlformats.org/officeDocument/2006/relationships/tags" Target="../tags/tag227.xml"/><Relationship Id="rId11" Type="http://schemas.openxmlformats.org/officeDocument/2006/relationships/oleObject" Target="../embeddings/oleObject31.bin"/><Relationship Id="rId5" Type="http://schemas.openxmlformats.org/officeDocument/2006/relationships/tags" Target="../tags/tag226.xml"/><Relationship Id="rId15" Type="http://schemas.microsoft.com/office/2007/relationships/hdphoto" Target="../media/hdphoto1.wdp"/><Relationship Id="rId10" Type="http://schemas.openxmlformats.org/officeDocument/2006/relationships/slideMaster" Target="../slideMasters/slideMaster2.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9.png"/><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vmlDrawing" Target="../drawings/vmlDrawing32.vml"/><Relationship Id="rId6" Type="http://schemas.openxmlformats.org/officeDocument/2006/relationships/tags" Target="../tags/tag235.xml"/><Relationship Id="rId11" Type="http://schemas.openxmlformats.org/officeDocument/2006/relationships/oleObject" Target="../embeddings/oleObject32.bin"/><Relationship Id="rId5" Type="http://schemas.openxmlformats.org/officeDocument/2006/relationships/tags" Target="../tags/tag234.xml"/><Relationship Id="rId15" Type="http://schemas.microsoft.com/office/2007/relationships/hdphoto" Target="../media/hdphoto1.wdp"/><Relationship Id="rId10" Type="http://schemas.openxmlformats.org/officeDocument/2006/relationships/slideMaster" Target="../slideMasters/slideMaster2.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image" Target="../media/image9.png"/><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4.emf"/><Relationship Id="rId2" Type="http://schemas.openxmlformats.org/officeDocument/2006/relationships/tags" Target="../tags/tag239.xml"/><Relationship Id="rId1" Type="http://schemas.openxmlformats.org/officeDocument/2006/relationships/vmlDrawing" Target="../drawings/vmlDrawing33.vml"/><Relationship Id="rId6" Type="http://schemas.openxmlformats.org/officeDocument/2006/relationships/tags" Target="../tags/tag243.xml"/><Relationship Id="rId11" Type="http://schemas.openxmlformats.org/officeDocument/2006/relationships/oleObject" Target="../embeddings/oleObject33.bin"/><Relationship Id="rId5" Type="http://schemas.openxmlformats.org/officeDocument/2006/relationships/tags" Target="../tags/tag242.xml"/><Relationship Id="rId15" Type="http://schemas.microsoft.com/office/2007/relationships/hdphoto" Target="../media/hdphoto1.wdp"/><Relationship Id="rId10" Type="http://schemas.openxmlformats.org/officeDocument/2006/relationships/slideMaster" Target="../slideMasters/slideMaster2.xml"/><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microsoft.com/office/2007/relationships/hdphoto" Target="../media/hdphoto1.wdp"/><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3.png"/><Relationship Id="rId2" Type="http://schemas.openxmlformats.org/officeDocument/2006/relationships/tags" Target="../tags/tag247.xml"/><Relationship Id="rId1" Type="http://schemas.openxmlformats.org/officeDocument/2006/relationships/vmlDrawing" Target="../drawings/vmlDrawing34.vml"/><Relationship Id="rId6" Type="http://schemas.openxmlformats.org/officeDocument/2006/relationships/tags" Target="../tags/tag251.xml"/><Relationship Id="rId11" Type="http://schemas.openxmlformats.org/officeDocument/2006/relationships/image" Target="../media/image9.png"/><Relationship Id="rId5" Type="http://schemas.openxmlformats.org/officeDocument/2006/relationships/tags" Target="../tags/tag250.xml"/><Relationship Id="rId10" Type="http://schemas.openxmlformats.org/officeDocument/2006/relationships/image" Target="../media/image4.emf"/><Relationship Id="rId4" Type="http://schemas.openxmlformats.org/officeDocument/2006/relationships/tags" Target="../tags/tag249.xml"/><Relationship Id="rId9"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4.xml"/><Relationship Id="rId7" Type="http://schemas.openxmlformats.org/officeDocument/2006/relationships/oleObject" Target="../embeddings/oleObject35.bin"/><Relationship Id="rId2" Type="http://schemas.openxmlformats.org/officeDocument/2006/relationships/tags" Target="../tags/tag253.xml"/><Relationship Id="rId1" Type="http://schemas.openxmlformats.org/officeDocument/2006/relationships/vmlDrawing" Target="../drawings/vmlDrawing35.vml"/><Relationship Id="rId6" Type="http://schemas.openxmlformats.org/officeDocument/2006/relationships/slideMaster" Target="../slideMasters/slideMaster2.xml"/><Relationship Id="rId11" Type="http://schemas.microsoft.com/office/2007/relationships/hdphoto" Target="../media/hdphoto1.wdp"/><Relationship Id="rId5" Type="http://schemas.openxmlformats.org/officeDocument/2006/relationships/tags" Target="../tags/tag256.xml"/><Relationship Id="rId10" Type="http://schemas.openxmlformats.org/officeDocument/2006/relationships/image" Target="../media/image3.png"/><Relationship Id="rId4" Type="http://schemas.openxmlformats.org/officeDocument/2006/relationships/tags" Target="../tags/tag255.xml"/><Relationship Id="rId9"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7.xml"/><Relationship Id="rId1" Type="http://schemas.openxmlformats.org/officeDocument/2006/relationships/vmlDrawing" Target="../drawings/vmlDrawing36.v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4.emf"/><Relationship Id="rId4" Type="http://schemas.openxmlformats.org/officeDocument/2006/relationships/tags" Target="../tags/tag43.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6.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4.emf"/><Relationship Id="rId4" Type="http://schemas.openxmlformats.org/officeDocument/2006/relationships/tags" Target="../tags/tag49.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4.xml"/><Relationship Id="rId7" Type="http://schemas.openxmlformats.org/officeDocument/2006/relationships/oleObject" Target="../embeddings/oleObject7.bin"/><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11" Type="http://schemas.openxmlformats.org/officeDocument/2006/relationships/image" Target="../media/image4.emf"/><Relationship Id="rId5" Type="http://schemas.openxmlformats.org/officeDocument/2006/relationships/tags" Target="../tags/tag60.xml"/><Relationship Id="rId10" Type="http://schemas.openxmlformats.org/officeDocument/2006/relationships/oleObject" Target="../embeddings/oleObject8.bin"/><Relationship Id="rId4" Type="http://schemas.openxmlformats.org/officeDocument/2006/relationships/tags" Target="../tags/tag59.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8.png"/><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tags" Target="../tags/tag68.xml"/><Relationship Id="rId11" Type="http://schemas.openxmlformats.org/officeDocument/2006/relationships/oleObject" Target="../embeddings/oleObject9.bin"/><Relationship Id="rId5" Type="http://schemas.openxmlformats.org/officeDocument/2006/relationships/tags" Target="../tags/tag67.xml"/><Relationship Id="rId10"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8.png"/><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0.vml"/><Relationship Id="rId6" Type="http://schemas.openxmlformats.org/officeDocument/2006/relationships/tags" Target="../tags/tag76.xml"/><Relationship Id="rId11" Type="http://schemas.openxmlformats.org/officeDocument/2006/relationships/oleObject" Target="../embeddings/oleObject10.bin"/><Relationship Id="rId5" Type="http://schemas.openxmlformats.org/officeDocument/2006/relationships/tags" Target="../tags/tag75.xml"/><Relationship Id="rId10" Type="http://schemas.openxmlformats.org/officeDocument/2006/relationships/slideMaster" Target="../slideMasters/slideMaster1.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84937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E49F740-1FE7-78DE-7BD2-856CD0F81CD1}"/>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ltGray">
          <a:xfrm>
            <a:off x="1143" y="643"/>
            <a:ext cx="12190859" cy="6857357"/>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1" y="4049529"/>
            <a:ext cx="767765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buNone/>
              <a:defRPr lang="en-US" sz="1400" b="0" i="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2" y="3582123"/>
            <a:ext cx="767765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marL="0" indent="0" algn="l" rtl="0">
              <a:buNone/>
              <a:defRPr lang="en-US" sz="2000" b="0" i="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2" y="1391168"/>
            <a:ext cx="767765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4400" dirty="0"/>
            </a:lvl1pPr>
          </a:lstStyle>
          <a:p>
            <a:pPr lvl="0"/>
            <a:r>
              <a:rPr lang="en-US" dirty="0"/>
              <a:t>Click to edit Master title style</a:t>
            </a:r>
          </a:p>
        </p:txBody>
      </p:sp>
      <p:sp>
        <p:nvSpPr>
          <p:cNvPr id="6" name="Rectangle 5">
            <a:extLst>
              <a:ext uri="{FF2B5EF4-FFF2-40B4-BE49-F238E27FC236}">
                <a16:creationId xmlns:a16="http://schemas.microsoft.com/office/drawing/2014/main" id="{A50B226B-17D3-0F12-C9B7-0196C2A981C8}"/>
              </a:ext>
            </a:extLst>
          </p:cNvPr>
          <p:cNvSpPr/>
          <p:nvPr userDrawn="1"/>
        </p:nvSpPr>
        <p:spPr>
          <a:xfrm>
            <a:off x="7543800" y="4827494"/>
            <a:ext cx="4303059" cy="183220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 name="Picture 4">
            <a:extLst>
              <a:ext uri="{FF2B5EF4-FFF2-40B4-BE49-F238E27FC236}">
                <a16:creationId xmlns:a16="http://schemas.microsoft.com/office/drawing/2014/main" id="{618C4F0B-66A6-02E8-3732-6E8F885C58BF}"/>
              </a:ext>
            </a:extLst>
          </p:cNvPr>
          <p:cNvPicPr>
            <a:picLocks noChangeAspect="1"/>
          </p:cNvPicPr>
          <p:nvPr userDrawn="1"/>
        </p:nvPicPr>
        <p:blipFill>
          <a:blip r:embed="rId11"/>
          <a:stretch>
            <a:fillRect/>
          </a:stretch>
        </p:blipFill>
        <p:spPr>
          <a:xfrm>
            <a:off x="8054787" y="5194044"/>
            <a:ext cx="2631141" cy="1233347"/>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11129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7F2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b="0" i="0" dirty="0">
              <a:solidFill>
                <a:srgbClr val="F0F0F0"/>
              </a:solidFill>
              <a:latin typeface="Calibri" panose="020F050202020403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344068"/>
            <a:ext cx="5065776" cy="384721"/>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5" y="809577"/>
            <a:ext cx="5065776" cy="246221"/>
          </a:xfrm>
          <a:prstGeom prst="rect">
            <a:avLst/>
          </a:prstGeom>
        </p:spPr>
        <p:txBody>
          <a:bodyPr wrap="square">
            <a:spAutoFit/>
          </a:bodyPr>
          <a:lstStyle>
            <a:lvl1pPr marL="0" indent="0" algn="l" rtl="0">
              <a:buNone/>
              <a:defRPr sz="1600" b="0" i="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latin typeface="Calibri" panose="020F050202020403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213453"/>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 name="Freeform 7">
            <a:extLst>
              <a:ext uri="{FF2B5EF4-FFF2-40B4-BE49-F238E27FC236}">
                <a16:creationId xmlns:a16="http://schemas.microsoft.com/office/drawing/2014/main" id="{F8C4AF7B-B267-2A13-A460-CB48C27DC6A3}"/>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sp>
        <p:nvSpPr>
          <p:cNvPr id="5" name="TextBox 4">
            <a:extLst>
              <a:ext uri="{FF2B5EF4-FFF2-40B4-BE49-F238E27FC236}">
                <a16:creationId xmlns:a16="http://schemas.microsoft.com/office/drawing/2014/main" id="{3962AF46-7A7F-2584-1078-A1B009225622}"/>
              </a:ext>
            </a:extLst>
          </p:cNvPr>
          <p:cNvSpPr txBox="1"/>
          <p:nvPr userDrawn="1"/>
        </p:nvSpPr>
        <p:spPr>
          <a:xfrm>
            <a:off x="10722543" y="6503215"/>
            <a:ext cx="59667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pic>
        <p:nvPicPr>
          <p:cNvPr id="6" name="Picture 5">
            <a:extLst>
              <a:ext uri="{FF2B5EF4-FFF2-40B4-BE49-F238E27FC236}">
                <a16:creationId xmlns:a16="http://schemas.microsoft.com/office/drawing/2014/main" id="{AEF9DDF9-369B-48EC-EF5E-0816B4951B17}"/>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3540961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89861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a:spAutoFit/>
          </a:bodyPr>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7F2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b="0" i="0" dirty="0">
              <a:solidFill>
                <a:srgbClr val="F0F0F0"/>
              </a:solidFill>
              <a:latin typeface="Calibri" panose="020F050202020403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5" y="637721"/>
            <a:ext cx="6967728" cy="246221"/>
          </a:xfrm>
          <a:prstGeom prst="rect">
            <a:avLst/>
          </a:prstGeom>
        </p:spPr>
        <p:txBody>
          <a:bodyPr wrap="square">
            <a:spAutoFit/>
          </a:bodyPr>
          <a:lstStyle>
            <a:lvl1pPr marL="0" indent="0" algn="l" rtl="0">
              <a:buNone/>
              <a:defRPr sz="1600" b="0" i="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2556717"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tx1"/>
                </a:solidFill>
                <a:latin typeface="Calibri" panose="020F050202020403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 name="Freeform 7">
            <a:extLst>
              <a:ext uri="{FF2B5EF4-FFF2-40B4-BE49-F238E27FC236}">
                <a16:creationId xmlns:a16="http://schemas.microsoft.com/office/drawing/2014/main" id="{441692DC-FC9B-5336-3009-8834E172BCA3}"/>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sp>
        <p:nvSpPr>
          <p:cNvPr id="5" name="TextBox 4">
            <a:extLst>
              <a:ext uri="{FF2B5EF4-FFF2-40B4-BE49-F238E27FC236}">
                <a16:creationId xmlns:a16="http://schemas.microsoft.com/office/drawing/2014/main" id="{401C16BC-D09B-3D13-7088-249F55977DE7}"/>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pic>
        <p:nvPicPr>
          <p:cNvPr id="6" name="Picture 5">
            <a:extLst>
              <a:ext uri="{FF2B5EF4-FFF2-40B4-BE49-F238E27FC236}">
                <a16:creationId xmlns:a16="http://schemas.microsoft.com/office/drawing/2014/main" id="{D2ED29CC-C564-42CB-8910-AF16B0D6BF2E}"/>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3055183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0941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7F2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b="0" i="0" noProof="0" dirty="0">
              <a:solidFill>
                <a:srgbClr val="F0F0F0"/>
              </a:solidFill>
              <a:latin typeface="Calibri" panose="020F050202020403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Calibri" panose="020F0502020204030204" pitchFamily="34" charset="0"/>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Calibri" panose="020F050202020403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a:spAutoFit/>
          </a:bodyPr>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5" y="637721"/>
            <a:ext cx="7918704" cy="246221"/>
          </a:xfrm>
          <a:prstGeom prst="rect">
            <a:avLst/>
          </a:prstGeom>
        </p:spPr>
        <p:txBody>
          <a:bodyPr wrap="square">
            <a:spAutoFit/>
          </a:bodyPr>
          <a:lstStyle>
            <a:lvl1pPr marL="0" indent="0" algn="l" rtl="0">
              <a:buNone/>
              <a:defRPr sz="1600" b="0" i="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Calibri" panose="020F0502020204030204" pitchFamily="34" charset="0"/>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 name="Freeform 7">
            <a:extLst>
              <a:ext uri="{FF2B5EF4-FFF2-40B4-BE49-F238E27FC236}">
                <a16:creationId xmlns:a16="http://schemas.microsoft.com/office/drawing/2014/main" id="{0D19B6B8-119E-A353-2462-191363A8BFA7}"/>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sp>
        <p:nvSpPr>
          <p:cNvPr id="5" name="TextBox 4">
            <a:extLst>
              <a:ext uri="{FF2B5EF4-FFF2-40B4-BE49-F238E27FC236}">
                <a16:creationId xmlns:a16="http://schemas.microsoft.com/office/drawing/2014/main" id="{BC3B99C8-23DC-2DA8-47BF-48E65DFB7BA4}"/>
              </a:ext>
            </a:extLst>
          </p:cNvPr>
          <p:cNvSpPr txBox="1"/>
          <p:nvPr userDrawn="1"/>
        </p:nvSpPr>
        <p:spPr>
          <a:xfrm>
            <a:off x="10722543" y="6503215"/>
            <a:ext cx="59667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pic>
        <p:nvPicPr>
          <p:cNvPr id="6" name="Picture 5">
            <a:extLst>
              <a:ext uri="{FF2B5EF4-FFF2-40B4-BE49-F238E27FC236}">
                <a16:creationId xmlns:a16="http://schemas.microsoft.com/office/drawing/2014/main" id="{2588D44F-A065-A687-4079-93725D36671A}"/>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5103681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502228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25E32C5-6064-BB1A-16AD-8CFD347B0322}"/>
              </a:ext>
            </a:extLst>
          </p:cNvPr>
          <p:cNvSpPr>
            <a:spLocks/>
          </p:cNvSpPr>
          <p:nvPr userDrawn="1"/>
        </p:nvSpPr>
        <p:spPr bwMode="ltGray">
          <a:xfrm>
            <a:off x="1143" y="6343552"/>
            <a:ext cx="12190857" cy="5144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0" i="0" dirty="0">
              <a:solidFill>
                <a:schemeClr val="bg1"/>
              </a:solidFill>
              <a:latin typeface="Calibri" panose="020F0502020204030204" pitchFamily="34" charset="0"/>
            </a:endParaRPr>
          </a:p>
        </p:txBody>
      </p:sp>
      <p:sp>
        <p:nvSpPr>
          <p:cNvPr id="7" name="Freeform 7">
            <a:extLst>
              <a:ext uri="{FF2B5EF4-FFF2-40B4-BE49-F238E27FC236}">
                <a16:creationId xmlns:a16="http://schemas.microsoft.com/office/drawing/2014/main" id="{04DA5B46-9E39-DB76-D924-294E9AEB87D6}"/>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2"/>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2"/>
              </a:solidFill>
              <a:latin typeface="Calibri" panose="020F0502020204030204" pitchFamily="34" charset="0"/>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5"/>
            </p:custDataLst>
          </p:nvPr>
        </p:nvSpPr>
        <p:spPr>
          <a:xfrm>
            <a:off x="554736" y="172212"/>
            <a:ext cx="11082528" cy="1154162"/>
          </a:xfrm>
        </p:spPr>
        <p:txBody>
          <a:bodyPr vert="horz">
            <a:spAutoFit/>
          </a:bodyPr>
          <a:lstStyle>
            <a:lvl1pPr rtl="0">
              <a:defRPr/>
            </a:lvl1pPr>
          </a:lstStyle>
          <a:p>
            <a:r>
              <a:rPr lang="en-US" dirty="0"/>
              <a:t>Click to edit Master title style</a:t>
            </a:r>
            <a:br>
              <a:rPr lang="en-US" dirty="0"/>
            </a:br>
            <a:r>
              <a:rPr lang="en-US" dirty="0"/>
              <a:t/>
            </a: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tx2"/>
                </a:solidFill>
                <a:latin typeface="Calibri" panose="020F0502020204030204"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335028"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0" i="0" cap="all" baseline="0" dirty="0">
                <a:latin typeface="Calibri" panose="020F0502020204030204" pitchFamily="34" charset="0"/>
              </a:rPr>
              <a:t>STICKER</a:t>
            </a:r>
          </a:p>
        </p:txBody>
      </p:sp>
      <p:sp>
        <p:nvSpPr>
          <p:cNvPr id="12" name="TextBox 11">
            <a:extLst>
              <a:ext uri="{FF2B5EF4-FFF2-40B4-BE49-F238E27FC236}">
                <a16:creationId xmlns:a16="http://schemas.microsoft.com/office/drawing/2014/main" id="{5860EF0A-AF8A-F2DC-462E-0466157C5E0E}"/>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2"/>
                </a:solidFill>
                <a:latin typeface="Calibri" panose="020F0502020204030204" pitchFamily="34" charset="0"/>
              </a:rPr>
              <a:t>Idh.la.gov</a:t>
            </a:r>
            <a:endParaRPr lang="en-US" sz="900" b="0" i="0" dirty="0">
              <a:solidFill>
                <a:schemeClr val="tx2"/>
              </a:solidFill>
              <a:latin typeface="Calibri" panose="020F0502020204030204" pitchFamily="34" charset="0"/>
            </a:endParaRPr>
          </a:p>
        </p:txBody>
      </p:sp>
      <p:pic>
        <p:nvPicPr>
          <p:cNvPr id="13" name="Picture 12">
            <a:extLst>
              <a:ext uri="{FF2B5EF4-FFF2-40B4-BE49-F238E27FC236}">
                <a16:creationId xmlns:a16="http://schemas.microsoft.com/office/drawing/2014/main" id="{771B52C8-0553-ADED-CC0E-D9403CFAFE1D}"/>
              </a:ext>
            </a:extLst>
          </p:cNvPr>
          <p:cNvPicPr>
            <a:picLocks/>
          </p:cNvPicPr>
          <p:nvPr userDrawn="1"/>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3540824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latin typeface="Calibri" panose="020F0502020204030204"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4" name="Freeform 7">
            <a:extLst>
              <a:ext uri="{FF2B5EF4-FFF2-40B4-BE49-F238E27FC236}">
                <a16:creationId xmlns:a16="http://schemas.microsoft.com/office/drawing/2014/main" id="{38120BEE-9A3C-65F9-7E6B-C1DEF4197B71}"/>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9"/>
            <a:stretch>
              <a:fillRect/>
            </a:stretch>
          </a:blipFill>
        </p:spPr>
        <p:txBody>
          <a:bodyPr/>
          <a:lstStyle/>
          <a:p>
            <a:endParaRPr lang="en-US" b="0" i="0" dirty="0">
              <a:latin typeface="Calibri" panose="020F0502020204030204" pitchFamily="34" charset="0"/>
            </a:endParaRPr>
          </a:p>
        </p:txBody>
      </p:sp>
      <p:sp>
        <p:nvSpPr>
          <p:cNvPr id="5" name="TextBox 4">
            <a:extLst>
              <a:ext uri="{FF2B5EF4-FFF2-40B4-BE49-F238E27FC236}">
                <a16:creationId xmlns:a16="http://schemas.microsoft.com/office/drawing/2014/main" id="{439C1357-ED74-3708-58DB-9BEB030FAE6E}"/>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pic>
        <p:nvPicPr>
          <p:cNvPr id="6" name="Picture 5">
            <a:extLst>
              <a:ext uri="{FF2B5EF4-FFF2-40B4-BE49-F238E27FC236}">
                <a16:creationId xmlns:a16="http://schemas.microsoft.com/office/drawing/2014/main" id="{AB4121CD-118E-04FF-C236-C591A67FE6BC}"/>
              </a:ext>
            </a:extLst>
          </p:cNvPr>
          <p:cNvPicPr>
            <a:picLocks/>
          </p:cNvPicPr>
          <p:nvPr userDrawn="1"/>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976202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1322F7B-5822-83EC-E845-AE16CB79DE0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1145" y="644"/>
            <a:ext cx="12190856" cy="6857356"/>
          </a:xfrm>
          <a:prstGeom prst="rect">
            <a:avLst/>
          </a:prstGeom>
        </p:spPr>
      </p:pic>
      <p:sp>
        <p:nvSpPr>
          <p:cNvPr id="6" name="Text Placeholder 5">
            <a:extLst>
              <a:ext uri="{FF2B5EF4-FFF2-40B4-BE49-F238E27FC236}">
                <a16:creationId xmlns:a16="http://schemas.microsoft.com/office/drawing/2014/main" id="{2032606E-4D85-DB1C-2D33-EAA2DD05D571}"/>
              </a:ext>
            </a:extLst>
          </p:cNvPr>
          <p:cNvSpPr>
            <a:spLocks noGrp="1"/>
          </p:cNvSpPr>
          <p:nvPr>
            <p:ph type="body" sz="quarter" idx="10" hasCustomPrompt="1"/>
          </p:nvPr>
        </p:nvSpPr>
        <p:spPr>
          <a:xfrm>
            <a:off x="704212" y="1741488"/>
            <a:ext cx="5078521" cy="1231106"/>
          </a:xfrm>
        </p:spPr>
        <p:txBody>
          <a:bodyPr/>
          <a:lstStyle>
            <a:lvl1pPr algn="l">
              <a:defRPr sz="8000" b="0" i="0" cap="all" baseline="0">
                <a:latin typeface="Calibri" panose="020F0502020204030204" pitchFamily="34" charset="0"/>
              </a:defRPr>
            </a:lvl1pPr>
          </a:lstStyle>
          <a:p>
            <a:pPr lvl="0"/>
            <a:r>
              <a:rPr lang="en-US" dirty="0"/>
              <a:t>THANK YOU</a:t>
            </a:r>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07C1C7E-32F6-468A-A94C-9D54B64697D6}" type="datetimeFigureOut">
              <a:rPr lang="en-US" smtClean="0"/>
              <a:t>7/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ED35EF-1550-4867-B2AC-9B496B8AE2D3}" type="slidenum">
              <a:rPr lang="en-US" smtClean="0"/>
              <a:t>‹#›</a:t>
            </a:fld>
            <a:endParaRPr lang="en-US"/>
          </a:p>
        </p:txBody>
      </p:sp>
    </p:spTree>
    <p:extLst>
      <p:ext uri="{BB962C8B-B14F-4D97-AF65-F5344CB8AC3E}">
        <p14:creationId xmlns:p14="http://schemas.microsoft.com/office/powerpoint/2010/main" val="8709488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75"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75"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38759"/>
            <a:ext cx="4480560" cy="203133"/>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313932"/>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38731402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3236161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58B1A52B-3634-7263-8B9C-41A3DB2083F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ltGray">
          <a:xfrm>
            <a:off x="1143" y="643"/>
            <a:ext cx="12190859" cy="6857357"/>
          </a:xfrm>
          <a:prstGeom prst="rect">
            <a:avLst/>
          </a:prstGeom>
        </p:spPr>
      </p:pic>
      <p:sp>
        <p:nvSpPr>
          <p:cNvPr id="8" name="Documenttype">
            <a:extLst>
              <a:ext uri="{FF2B5EF4-FFF2-40B4-BE49-F238E27FC236}">
                <a16:creationId xmlns:a16="http://schemas.microsoft.com/office/drawing/2014/main" id="{17B83793-25CA-B94D-6A55-B40652DC422D}"/>
              </a:ext>
            </a:extLst>
          </p:cNvPr>
          <p:cNvSpPr>
            <a:spLocks noGrp="1"/>
          </p:cNvSpPr>
          <p:nvPr>
            <p:ph type="body" sz="quarter" idx="13" hasCustomPrompt="1"/>
            <p:custDataLst>
              <p:tags r:id="rId3"/>
            </p:custDataLst>
          </p:nvPr>
        </p:nvSpPr>
        <p:spPr>
          <a:xfrm>
            <a:off x="550801" y="4049529"/>
            <a:ext cx="767765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buNone/>
              <a:defRPr lang="en-US" sz="1400" b="0" i="0" dirty="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dirty="0"/>
              <a:t>Edit date or title/role</a:t>
            </a:r>
          </a:p>
        </p:txBody>
      </p:sp>
      <p:sp>
        <p:nvSpPr>
          <p:cNvPr id="9" name="Subtitle">
            <a:extLst>
              <a:ext uri="{FF2B5EF4-FFF2-40B4-BE49-F238E27FC236}">
                <a16:creationId xmlns:a16="http://schemas.microsoft.com/office/drawing/2014/main" id="{85A27F1C-1EA3-96F8-BCED-3D4257010719}"/>
              </a:ext>
            </a:extLst>
          </p:cNvPr>
          <p:cNvSpPr>
            <a:spLocks noGrp="1"/>
          </p:cNvSpPr>
          <p:nvPr>
            <p:ph type="subTitle" idx="1"/>
            <p:custDataLst>
              <p:tags r:id="rId4"/>
            </p:custDataLst>
          </p:nvPr>
        </p:nvSpPr>
        <p:spPr>
          <a:xfrm>
            <a:off x="551942" y="3582123"/>
            <a:ext cx="767765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marL="0" indent="0" algn="l" rtl="0">
              <a:buNone/>
              <a:defRPr lang="en-US" sz="2000" b="0" i="0" dirty="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dirty="0"/>
              <a:t>Click to edit Master subtitle style</a:t>
            </a:r>
          </a:p>
        </p:txBody>
      </p:sp>
      <p:sp>
        <p:nvSpPr>
          <p:cNvPr id="10" name="Title">
            <a:extLst>
              <a:ext uri="{FF2B5EF4-FFF2-40B4-BE49-F238E27FC236}">
                <a16:creationId xmlns:a16="http://schemas.microsoft.com/office/drawing/2014/main" id="{A91C6F8D-E4FA-F974-AEFC-489D7C54CF6E}"/>
              </a:ext>
            </a:extLst>
          </p:cNvPr>
          <p:cNvSpPr>
            <a:spLocks noGrp="1"/>
          </p:cNvSpPr>
          <p:nvPr>
            <p:ph type="title"/>
            <p:custDataLst>
              <p:tags r:id="rId5"/>
            </p:custDataLst>
          </p:nvPr>
        </p:nvSpPr>
        <p:spPr>
          <a:xfrm>
            <a:off x="551942" y="1391168"/>
            <a:ext cx="767765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4400" dirty="0">
                <a:solidFill>
                  <a:schemeClr val="bg2"/>
                </a:solidFill>
              </a:defRPr>
            </a:lvl1pPr>
          </a:lstStyle>
          <a:p>
            <a:pPr lvl="0"/>
            <a:r>
              <a:rPr lang="en-US" dirty="0"/>
              <a:t>Click to edit Master title style</a:t>
            </a:r>
          </a:p>
        </p:txBody>
      </p:sp>
    </p:spTree>
    <p:extLst>
      <p:ext uri="{BB962C8B-B14F-4D97-AF65-F5344CB8AC3E}">
        <p14:creationId xmlns:p14="http://schemas.microsoft.com/office/powerpoint/2010/main" val="2688593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44803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i="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8"/>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6794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i="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solidFill>
                  <a:schemeClr val="tx2"/>
                </a:solidFill>
                <a:latin typeface="Calibri" panose="020F050202020403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2"/>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2"/>
              </a:solidFill>
              <a:latin typeface="Calibri" panose="020F050202020403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ED8EBAC2-1D33-AC9A-AC06-BD8A62BEF811}"/>
              </a:ext>
            </a:extLst>
          </p:cNvPr>
          <p:cNvSpPr txBox="1"/>
          <p:nvPr userDrawn="1"/>
        </p:nvSpPr>
        <p:spPr>
          <a:xfrm>
            <a:off x="10744200" y="65913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845258B9-A594-367F-3154-38603AD60D69}"/>
              </a:ext>
            </a:extLst>
          </p:cNvPr>
          <p:cNvSpPr txBox="1"/>
          <p:nvPr userDrawn="1"/>
        </p:nvSpPr>
        <p:spPr>
          <a:xfrm>
            <a:off x="1816100" y="66802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2-lin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1658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0" name="Sticker" hidden="1">
            <a:extLst>
              <a:ext uri="{FF2B5EF4-FFF2-40B4-BE49-F238E27FC236}">
                <a16:creationId xmlns:a16="http://schemas.microsoft.com/office/drawing/2014/main" id="{1BE78E90-512D-48A0-A845-A06C7B40AA52}"/>
              </a:ext>
            </a:extLst>
          </p:cNvPr>
          <p:cNvSpPr txBox="1"/>
          <p:nvPr userDrawn="1"/>
        </p:nvSpPr>
        <p:spPr>
          <a:xfrm>
            <a:off x="558489" y="1401800"/>
            <a:ext cx="335028"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0" i="0" cap="all" baseline="0" dirty="0">
                <a:latin typeface="Calibri" panose="020F0502020204030204" pitchFamily="34" charset="0"/>
              </a:rPr>
              <a:t>STICKER</a:t>
            </a:r>
          </a:p>
        </p:txBody>
      </p:sp>
      <p:sp>
        <p:nvSpPr>
          <p:cNvPr id="101" name="3. Subtitle">
            <a:extLst>
              <a:ext uri="{FF2B5EF4-FFF2-40B4-BE49-F238E27FC236}">
                <a16:creationId xmlns:a16="http://schemas.microsoft.com/office/drawing/2014/main" id="{8AB5A759-C8C6-4E92-997D-BA04067A36CE}"/>
              </a:ext>
            </a:extLst>
          </p:cNvPr>
          <p:cNvSpPr>
            <a:spLocks noGrp="1"/>
          </p:cNvSpPr>
          <p:nvPr>
            <p:ph type="subTitle" idx="1"/>
            <p:custDataLst>
              <p:tags r:id="rId3"/>
            </p:custDataLst>
          </p:nvPr>
        </p:nvSpPr>
        <p:spPr>
          <a:xfrm>
            <a:off x="554736" y="1022441"/>
            <a:ext cx="11082528" cy="246221"/>
          </a:xfrm>
          <a:prstGeom prst="rect">
            <a:avLst/>
          </a:prstGeom>
        </p:spPr>
        <p:txBody>
          <a:bodyPr wrap="square">
            <a:spAutoFit/>
          </a:bodyPr>
          <a:lstStyle>
            <a:lvl1pPr marL="0" indent="0" algn="l" rtl="0">
              <a:buNone/>
              <a:defRPr sz="1600" b="0" i="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hasCustomPrompt="1"/>
            <p:custDataLst>
              <p:tags r:id="rId5"/>
            </p:custDataLst>
          </p:nvPr>
        </p:nvSpPr>
        <p:spPr>
          <a:xfrm>
            <a:off x="554736" y="172212"/>
            <a:ext cx="11082528" cy="769441"/>
          </a:xfrm>
        </p:spPr>
        <p:txBody>
          <a:bodyPr vert="horz">
            <a:spAutoFit/>
          </a:bodyPr>
          <a:lstStyle>
            <a:lvl1pPr rtl="0">
              <a:defRPr/>
            </a:lvl1pPr>
          </a:lstStyle>
          <a:p>
            <a:r>
              <a:rPr lang="en-US" dirty="0"/>
              <a:t>Click to edit Master title style</a:t>
            </a:r>
            <a:br>
              <a:rPr lang="en-US" dirty="0"/>
            </a:br>
            <a:endParaRPr lang="en-US" dirty="0"/>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04698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18552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408557"/>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6"/>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6"/>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358271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E45444C-5E2F-0A34-D633-B3E37F43230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ltGray">
          <a:xfrm>
            <a:off x="1143" y="644"/>
            <a:ext cx="12190857" cy="6857356"/>
          </a:xfrm>
          <a:prstGeom prst="rect">
            <a:avLst/>
          </a:prstGeom>
        </p:spPr>
      </p:pic>
      <p:sp>
        <p:nvSpPr>
          <p:cNvPr id="5" name="2. Slide Title">
            <a:extLst>
              <a:ext uri="{FF2B5EF4-FFF2-40B4-BE49-F238E27FC236}">
                <a16:creationId xmlns:a16="http://schemas.microsoft.com/office/drawing/2014/main" id="{62BC8AC3-B8A0-8BA1-A6EA-A3E88495C1D1}"/>
              </a:ext>
            </a:extLst>
          </p:cNvPr>
          <p:cNvSpPr>
            <a:spLocks noGrp="1"/>
          </p:cNvSpPr>
          <p:nvPr>
            <p:ph type="title"/>
            <p:custDataLst>
              <p:tags r:id="rId3"/>
            </p:custDataLst>
          </p:nvPr>
        </p:nvSpPr>
        <p:spPr>
          <a:xfrm>
            <a:off x="554736" y="3090446"/>
            <a:ext cx="11082528" cy="677108"/>
          </a:xfrm>
        </p:spPr>
        <p:txBody>
          <a:bodyPr vert="horz" anchor="b">
            <a:noAutofit/>
          </a:bodyPr>
          <a:lstStyle>
            <a:lvl1pPr algn="ctr" rtl="0">
              <a:lnSpc>
                <a:spcPct val="100000"/>
              </a:lnSpc>
              <a:defRPr sz="4400">
                <a:solidFill>
                  <a:schemeClr val="bg2"/>
                </a:solidFill>
              </a:defRPr>
            </a:lvl1pPr>
          </a:lstStyle>
          <a:p>
            <a:r>
              <a:rPr lang="en-US" dirty="0"/>
              <a:t>Click to edit Master title style</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297765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rtl="0">
              <a:buNone/>
              <a:defRPr sz="1600" b="0" i="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695781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b="0" i="0" dirty="0">
              <a:solidFill>
                <a:schemeClr val="bg2"/>
              </a:solidFill>
              <a:latin typeface="Calibri" panose="020F050202020403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i="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bg2"/>
                </a:solidFill>
                <a:latin typeface="Calibri" panose="020F0502020204030204" pitchFamily="34" charset="0"/>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 name="Freeform 7">
            <a:extLst>
              <a:ext uri="{FF2B5EF4-FFF2-40B4-BE49-F238E27FC236}">
                <a16:creationId xmlns:a16="http://schemas.microsoft.com/office/drawing/2014/main" id="{763A6359-9E16-2CE0-4EDB-CCF580BBE3F7}"/>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pic>
        <p:nvPicPr>
          <p:cNvPr id="5" name="Picture 4">
            <a:extLst>
              <a:ext uri="{FF2B5EF4-FFF2-40B4-BE49-F238E27FC236}">
                <a16:creationId xmlns:a16="http://schemas.microsoft.com/office/drawing/2014/main" id="{5BF5B7BF-1D12-303F-F227-69DA9F72BC1F}"/>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7" name="TextBox 6">
            <a:extLst>
              <a:ext uri="{FF2B5EF4-FFF2-40B4-BE49-F238E27FC236}">
                <a16:creationId xmlns:a16="http://schemas.microsoft.com/office/drawing/2014/main" id="{8B288510-CB43-2BF2-BFA6-C42466234304}"/>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256130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b="0" i="0" dirty="0">
              <a:solidFill>
                <a:schemeClr val="bg2"/>
              </a:solidFill>
              <a:latin typeface="Calibri" panose="020F050202020403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a:prstGeom prst="rect">
            <a:avLst/>
          </a:prstGeom>
        </p:spPr>
        <p:txBody>
          <a:bodyPr wrap="square">
            <a:spAutoFit/>
          </a:bodyPr>
          <a:lstStyle>
            <a:lvl1pPr marL="0" indent="0" algn="l" rtl="0">
              <a:buNone/>
              <a:defRPr sz="1600" b="0" i="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bg2"/>
                </a:solidFill>
                <a:latin typeface="Calibri" panose="020F0502020204030204" pitchFamily="34" charset="0"/>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9"/>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3" name="Freeform 7">
            <a:extLst>
              <a:ext uri="{FF2B5EF4-FFF2-40B4-BE49-F238E27FC236}">
                <a16:creationId xmlns:a16="http://schemas.microsoft.com/office/drawing/2014/main" id="{7CDC9773-1CC1-F974-951E-0212D84A1CB3}"/>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pic>
        <p:nvPicPr>
          <p:cNvPr id="5" name="Picture 4">
            <a:extLst>
              <a:ext uri="{FF2B5EF4-FFF2-40B4-BE49-F238E27FC236}">
                <a16:creationId xmlns:a16="http://schemas.microsoft.com/office/drawing/2014/main" id="{A5D944CB-72AB-14D3-5A97-A14A915A1AA2}"/>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7" name="TextBox 6">
            <a:extLst>
              <a:ext uri="{FF2B5EF4-FFF2-40B4-BE49-F238E27FC236}">
                <a16:creationId xmlns:a16="http://schemas.microsoft.com/office/drawing/2014/main" id="{9867B964-6780-A64E-1F37-91D2FEFBE59E}"/>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265440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b="0" i="0" dirty="0">
              <a:solidFill>
                <a:srgbClr val="F0F0F0"/>
              </a:solidFill>
              <a:latin typeface="Calibri" panose="020F050202020403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5065776"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5" y="637721"/>
            <a:ext cx="5065776" cy="246221"/>
          </a:xfrm>
          <a:prstGeom prst="rect">
            <a:avLst/>
          </a:prstGeom>
        </p:spPr>
        <p:txBody>
          <a:bodyPr wrap="square">
            <a:spAutoFit/>
          </a:bodyPr>
          <a:lstStyle>
            <a:lvl1pPr marL="0" indent="0" algn="l" rtl="0">
              <a:buNone/>
              <a:defRPr sz="1600" b="0" i="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bg2"/>
                </a:solidFill>
                <a:latin typeface="Calibri" panose="020F0502020204030204" pitchFamily="34" charset="0"/>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4" name="Freeform 7">
            <a:extLst>
              <a:ext uri="{FF2B5EF4-FFF2-40B4-BE49-F238E27FC236}">
                <a16:creationId xmlns:a16="http://schemas.microsoft.com/office/drawing/2014/main" id="{5C3AB114-9AAF-2E9A-F607-446E5EAC53DE}"/>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pic>
        <p:nvPicPr>
          <p:cNvPr id="5" name="Picture 4">
            <a:extLst>
              <a:ext uri="{FF2B5EF4-FFF2-40B4-BE49-F238E27FC236}">
                <a16:creationId xmlns:a16="http://schemas.microsoft.com/office/drawing/2014/main" id="{440B555A-1478-9B8E-55A8-023BC1C00EDC}"/>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6" name="TextBox 5">
            <a:extLst>
              <a:ext uri="{FF2B5EF4-FFF2-40B4-BE49-F238E27FC236}">
                <a16:creationId xmlns:a16="http://schemas.microsoft.com/office/drawing/2014/main" id="{21E470E4-26C5-642E-CD52-4C680DF2BF41}"/>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3374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384721"/>
          </a:xfrm>
        </p:spPr>
        <p:txBody>
          <a:bodyPr vert="horz">
            <a:spAutoFit/>
          </a:bodyPr>
          <a:lstStyle>
            <a:lvl1pPr rtl="0">
              <a:defRPr>
                <a:solidFill>
                  <a:schemeClr val="bg2"/>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b="0" i="0" dirty="0">
              <a:solidFill>
                <a:srgbClr val="F0F0F0"/>
              </a:solidFill>
              <a:latin typeface="Calibri" panose="020F050202020403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7"/>
            </p:custDataLst>
          </p:nvPr>
        </p:nvSpPr>
        <p:spPr>
          <a:xfrm>
            <a:off x="554735" y="637721"/>
            <a:ext cx="6967728" cy="246221"/>
          </a:xfrm>
          <a:prstGeom prst="rect">
            <a:avLst/>
          </a:prstGeom>
        </p:spPr>
        <p:txBody>
          <a:bodyPr wrap="square">
            <a:spAutoFit/>
          </a:bodyPr>
          <a:lstStyle>
            <a:lvl1pPr marL="0" indent="0" algn="l" rtl="0">
              <a:buNone/>
              <a:defRPr sz="1600" b="0" i="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8"/>
            </p:custDataLst>
          </p:nvPr>
        </p:nvSpPr>
        <p:spPr>
          <a:xfrm>
            <a:off x="2556717"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bg2"/>
                </a:solidFill>
                <a:latin typeface="Calibri" panose="020F0502020204030204" pitchFamily="34" charset="0"/>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 name="Freeform 7">
            <a:extLst>
              <a:ext uri="{FF2B5EF4-FFF2-40B4-BE49-F238E27FC236}">
                <a16:creationId xmlns:a16="http://schemas.microsoft.com/office/drawing/2014/main" id="{2FC80702-E250-7CBF-01BD-D3DA495A8FE9}"/>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pic>
        <p:nvPicPr>
          <p:cNvPr id="5" name="Picture 4">
            <a:extLst>
              <a:ext uri="{FF2B5EF4-FFF2-40B4-BE49-F238E27FC236}">
                <a16:creationId xmlns:a16="http://schemas.microsoft.com/office/drawing/2014/main" id="{5EB54AC6-C4BD-EA86-99F5-A3EFBD90903C}"/>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6" name="TextBox 5">
            <a:extLst>
              <a:ext uri="{FF2B5EF4-FFF2-40B4-BE49-F238E27FC236}">
                <a16:creationId xmlns:a16="http://schemas.microsoft.com/office/drawing/2014/main" id="{3C8C80D8-E507-1E79-6A4C-D4F6A437AF61}"/>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309467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Calibri" panose="020F050202020403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Calibri" panose="020F0502020204030204" pitchFamily="34" charset="0"/>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Calibri" panose="020F0502020204030204" pitchFamily="34" charset="0"/>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7918704"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5" y="637721"/>
            <a:ext cx="7918704" cy="246221"/>
          </a:xfrm>
          <a:prstGeom prst="rect">
            <a:avLst/>
          </a:prstGeom>
        </p:spPr>
        <p:txBody>
          <a:bodyPr wrap="square">
            <a:spAutoFit/>
          </a:bodyPr>
          <a:lstStyle>
            <a:lvl1pPr marL="0" indent="0" algn="l" rtl="0">
              <a:buNone/>
              <a:defRPr sz="1600" b="0" i="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2" name="Freeform 7">
            <a:extLst>
              <a:ext uri="{FF2B5EF4-FFF2-40B4-BE49-F238E27FC236}">
                <a16:creationId xmlns:a16="http://schemas.microsoft.com/office/drawing/2014/main" id="{3A153206-797D-7895-B99D-6E87F07CEA36}"/>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pic>
        <p:nvPicPr>
          <p:cNvPr id="5" name="Picture 4">
            <a:extLst>
              <a:ext uri="{FF2B5EF4-FFF2-40B4-BE49-F238E27FC236}">
                <a16:creationId xmlns:a16="http://schemas.microsoft.com/office/drawing/2014/main" id="{4583A768-6CD3-6B40-49A1-628CF8122311}"/>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6" name="TextBox 5">
            <a:extLst>
              <a:ext uri="{FF2B5EF4-FFF2-40B4-BE49-F238E27FC236}">
                <a16:creationId xmlns:a16="http://schemas.microsoft.com/office/drawing/2014/main" id="{D8D69A51-7F5C-FFB1-A844-75EB625DF5A3}"/>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50730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335028"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0" i="0" cap="all" baseline="0" dirty="0">
                <a:latin typeface="Calibri" panose="020F0502020204030204" pitchFamily="34" charset="0"/>
              </a:rPr>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4"/>
            </p:custDataLst>
          </p:nvPr>
        </p:nvSpPr>
        <p:spPr bwMode="gray">
          <a:xfrm>
            <a:off x="554736" y="1022441"/>
            <a:ext cx="11082528" cy="246221"/>
          </a:xfrm>
          <a:prstGeom prst="rect">
            <a:avLst/>
          </a:prstGeom>
        </p:spPr>
        <p:txBody>
          <a:bodyPr wrap="square">
            <a:noAutofit/>
          </a:bodyPr>
          <a:lstStyle>
            <a:lvl1pPr marL="0" indent="0" algn="l" rtl="0">
              <a:buNone/>
              <a:defRPr sz="1600" b="0" i="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2"/>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2"/>
              </a:solidFill>
              <a:latin typeface="Calibri" panose="020F0502020204030204" pitchFamily="34" charset="0"/>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bwMode="gray">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tx2"/>
                </a:solidFill>
                <a:latin typeface="Calibri" panose="020F050202020403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7"/>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8"/>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102278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241758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b="0" i="0" dirty="0">
              <a:solidFill>
                <a:srgbClr val="F0F0F0"/>
              </a:solidFill>
              <a:latin typeface="Calibri" panose="020F050202020403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rgbClr val="000000"/>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rgbClr val="000000"/>
              </a:solidFill>
              <a:latin typeface="Calibri" panose="020F0502020204030204" pitchFamily="34" charset="0"/>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5065776" cy="384721"/>
          </a:xfrm>
        </p:spPr>
        <p:txBody>
          <a:bodyPr vert="horz">
            <a:spAutoFit/>
          </a:bodyPr>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5" y="637721"/>
            <a:ext cx="5065776" cy="246221"/>
          </a:xfrm>
          <a:prstGeom prst="rect">
            <a:avLst/>
          </a:prstGeom>
        </p:spPr>
        <p:txBody>
          <a:bodyPr wrap="square">
            <a:spAutoFit/>
          </a:bodyPr>
          <a:lstStyle>
            <a:lvl1pPr marL="0" indent="0" algn="l" rtl="0">
              <a:buNone/>
              <a:defRPr sz="1600" b="0" i="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tx1"/>
                </a:solidFill>
                <a:latin typeface="Calibri" panose="020F0502020204030204" pitchFamily="34" charset="0"/>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pic>
        <p:nvPicPr>
          <p:cNvPr id="4" name="Picture 3">
            <a:extLst>
              <a:ext uri="{FF2B5EF4-FFF2-40B4-BE49-F238E27FC236}">
                <a16:creationId xmlns:a16="http://schemas.microsoft.com/office/drawing/2014/main" id="{849F3C9C-31CF-5324-AC06-5908AA16096A}"/>
              </a:ext>
            </a:extLst>
          </p:cNvPr>
          <p:cNvPicPr>
            <a:picLocks/>
          </p:cNvPicPr>
          <p:nvPr userDrawn="1"/>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6" name="Freeform 7">
            <a:extLst>
              <a:ext uri="{FF2B5EF4-FFF2-40B4-BE49-F238E27FC236}">
                <a16:creationId xmlns:a16="http://schemas.microsoft.com/office/drawing/2014/main" id="{CDD1BEC2-45F1-3486-4FFF-F8AF37A1101F}"/>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8" name="TextBox 7">
            <a:extLst>
              <a:ext uri="{FF2B5EF4-FFF2-40B4-BE49-F238E27FC236}">
                <a16:creationId xmlns:a16="http://schemas.microsoft.com/office/drawing/2014/main" id="{720B179F-14A8-4937-799E-8A5CD886C884}"/>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bg2"/>
                </a:solidFill>
                <a:latin typeface="Calibri" panose="020F0502020204030204" pitchFamily="34" charset="0"/>
              </a:rPr>
              <a:t>Idh.la.gov</a:t>
            </a:r>
            <a:endParaRPr lang="en-US" sz="900" b="0" i="0" dirty="0">
              <a:solidFill>
                <a:schemeClr val="bg2"/>
              </a:solidFill>
              <a:latin typeface="Calibri" panose="020F0502020204030204" pitchFamily="34" charset="0"/>
            </a:endParaRPr>
          </a:p>
        </p:txBody>
      </p:sp>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25275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b="0" i="0" dirty="0">
              <a:solidFill>
                <a:srgbClr val="F0F0F0"/>
              </a:solidFill>
              <a:latin typeface="Calibri" panose="020F050202020403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rgbClr val="000000"/>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rgbClr val="000000"/>
              </a:solidFill>
              <a:latin typeface="Calibri" panose="020F0502020204030204" pitchFamily="34" charset="0"/>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2556717"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solidFill>
                  <a:schemeClr val="tx1"/>
                </a:solidFill>
                <a:latin typeface="Calibri" panose="020F0502020204030204" pitchFamily="34" charset="0"/>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8"/>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9"/>
            </p:custDataLst>
          </p:nvPr>
        </p:nvSpPr>
        <p:spPr>
          <a:xfrm>
            <a:off x="554734" y="3659644"/>
            <a:ext cx="3465576" cy="246221"/>
          </a:xfrm>
          <a:prstGeom prst="rect">
            <a:avLst/>
          </a:prstGeom>
        </p:spPr>
        <p:txBody>
          <a:bodyPr wrap="square">
            <a:spAutoFit/>
          </a:bodyPr>
          <a:lstStyle>
            <a:lvl1pPr marL="0" indent="0" algn="l" rtl="0">
              <a:buNone/>
              <a:defRPr sz="1600" b="0" i="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2" name="Picture 1">
            <a:extLst>
              <a:ext uri="{FF2B5EF4-FFF2-40B4-BE49-F238E27FC236}">
                <a16:creationId xmlns:a16="http://schemas.microsoft.com/office/drawing/2014/main" id="{80026A60-8CFC-4BC8-51EB-1AB2EF40C5CF}"/>
              </a:ext>
            </a:extLst>
          </p:cNvPr>
          <p:cNvPicPr>
            <a:picLocks/>
          </p:cNvPicPr>
          <p:nvPr userDrawn="1"/>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5" name="Freeform 7">
            <a:extLst>
              <a:ext uri="{FF2B5EF4-FFF2-40B4-BE49-F238E27FC236}">
                <a16:creationId xmlns:a16="http://schemas.microsoft.com/office/drawing/2014/main" id="{33143506-EBE7-2899-08D9-613D63F73516}"/>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6" name="TextBox 5">
            <a:extLst>
              <a:ext uri="{FF2B5EF4-FFF2-40B4-BE49-F238E27FC236}">
                <a16:creationId xmlns:a16="http://schemas.microsoft.com/office/drawing/2014/main" id="{6AE81B18-AC9D-288E-E2D3-CC1BE2A14A7A}"/>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bg2"/>
                </a:solidFill>
                <a:latin typeface="Calibri" panose="020F0502020204030204" pitchFamily="34" charset="0"/>
              </a:rPr>
              <a:t>Idh.la.gov</a:t>
            </a:r>
            <a:endParaRPr lang="en-US" sz="900" b="0" i="0" dirty="0">
              <a:solidFill>
                <a:schemeClr val="bg2"/>
              </a:solidFill>
              <a:latin typeface="Calibri" panose="020F0502020204030204" pitchFamily="34" charset="0"/>
            </a:endParaRPr>
          </a:p>
        </p:txBody>
      </p:sp>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3901176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Calibri" panose="020F050202020403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Calibri" panose="020F0502020204030204" pitchFamily="34" charset="0"/>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8"/>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9"/>
            </p:custDataLst>
          </p:nvPr>
        </p:nvSpPr>
        <p:spPr>
          <a:xfrm>
            <a:off x="554736" y="3659644"/>
            <a:ext cx="2514600" cy="492443"/>
          </a:xfrm>
          <a:prstGeom prst="rect">
            <a:avLst/>
          </a:prstGeom>
        </p:spPr>
        <p:txBody>
          <a:bodyPr wrap="square">
            <a:spAutoFit/>
          </a:bodyPr>
          <a:lstStyle>
            <a:lvl1pPr marL="0" indent="0" algn="l" rtl="0">
              <a:buNone/>
              <a:defRPr sz="1600" b="0" i="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2" name="Picture 1">
            <a:extLst>
              <a:ext uri="{FF2B5EF4-FFF2-40B4-BE49-F238E27FC236}">
                <a16:creationId xmlns:a16="http://schemas.microsoft.com/office/drawing/2014/main" id="{B8A177CC-3EEB-618F-4BB2-A254FBABADC2}"/>
              </a:ext>
            </a:extLst>
          </p:cNvPr>
          <p:cNvPicPr>
            <a:picLocks/>
          </p:cNvPicPr>
          <p:nvPr userDrawn="1"/>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5" name="Freeform 7">
            <a:extLst>
              <a:ext uri="{FF2B5EF4-FFF2-40B4-BE49-F238E27FC236}">
                <a16:creationId xmlns:a16="http://schemas.microsoft.com/office/drawing/2014/main" id="{9A0E59AD-F265-F062-F1BE-58CEEAC941F2}"/>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6" name="TextBox 5">
            <a:extLst>
              <a:ext uri="{FF2B5EF4-FFF2-40B4-BE49-F238E27FC236}">
                <a16:creationId xmlns:a16="http://schemas.microsoft.com/office/drawing/2014/main" id="{FB2388E8-E9BF-15FB-8740-FFF3F44BDCD0}"/>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bg2"/>
                </a:solidFill>
                <a:latin typeface="Calibri" panose="020F0502020204030204" pitchFamily="34" charset="0"/>
              </a:rPr>
              <a:t>Idh.la.gov</a:t>
            </a:r>
            <a:endParaRPr lang="en-US" sz="900" b="0" i="0" dirty="0">
              <a:solidFill>
                <a:schemeClr val="bg2"/>
              </a:solidFill>
              <a:latin typeface="Calibri" panose="020F0502020204030204" pitchFamily="34" charset="0"/>
            </a:endParaRPr>
          </a:p>
        </p:txBody>
      </p:sp>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208753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558489" y="1401800"/>
            <a:ext cx="335028"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0" i="0" cap="all" baseline="0" dirty="0">
                <a:latin typeface="Calibri" panose="020F0502020204030204" pitchFamily="34" charset="0"/>
              </a:rPr>
              <a:t>STICKER</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5"/>
            </p:custDataLst>
          </p:nvPr>
        </p:nvSpPr>
        <p:spPr>
          <a:xfrm>
            <a:off x="554736" y="172212"/>
            <a:ext cx="11082528" cy="1154162"/>
          </a:xfrm>
        </p:spPr>
        <p:txBody>
          <a:bodyPr vert="horz">
            <a:spAutoFit/>
          </a:bodyPr>
          <a:lstStyle>
            <a:lvl1pPr rtl="0">
              <a:defRPr/>
            </a:lvl1pPr>
          </a:lstStyle>
          <a:p>
            <a:r>
              <a:rPr lang="en-US" dirty="0"/>
              <a:t>Click to edit Master title style</a:t>
            </a:r>
            <a:br>
              <a:rPr lang="en-US" dirty="0"/>
            </a:br>
            <a:r>
              <a:rPr lang="en-US" dirty="0"/>
              <a:t/>
            </a:r>
            <a:br>
              <a:rPr lang="en-US" dirty="0"/>
            </a:br>
            <a:endParaRPr lang="en-US" dirty="0"/>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latin typeface="Calibri" panose="020F0502020204030204" pitchFamily="34" charset="0"/>
              </a:rPr>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5" name="Picture 4">
            <a:extLst>
              <a:ext uri="{FF2B5EF4-FFF2-40B4-BE49-F238E27FC236}">
                <a16:creationId xmlns:a16="http://schemas.microsoft.com/office/drawing/2014/main" id="{303F9259-9117-82F2-CE39-DBDE85629A6A}"/>
              </a:ext>
            </a:extLst>
          </p:cNvPr>
          <p:cNvPicPr>
            <a:picLocks/>
          </p:cNvPicPr>
          <p:nvPr userDrawn="1"/>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6" name="Freeform 7">
            <a:extLst>
              <a:ext uri="{FF2B5EF4-FFF2-40B4-BE49-F238E27FC236}">
                <a16:creationId xmlns:a16="http://schemas.microsoft.com/office/drawing/2014/main" id="{B5C3943E-9351-6901-AE3A-762D90DD083F}"/>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7" name="TextBox 6">
            <a:extLst>
              <a:ext uri="{FF2B5EF4-FFF2-40B4-BE49-F238E27FC236}">
                <a16:creationId xmlns:a16="http://schemas.microsoft.com/office/drawing/2014/main" id="{9AB4651A-25F3-A6C2-3B9C-D2AE2040C512}"/>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latin typeface="Calibri" panose="020F0502020204030204" pitchFamily="34" charset="0"/>
              </a:rPr>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3" name="Picture 2">
            <a:extLst>
              <a:ext uri="{FF2B5EF4-FFF2-40B4-BE49-F238E27FC236}">
                <a16:creationId xmlns:a16="http://schemas.microsoft.com/office/drawing/2014/main" id="{269D10A5-EF35-CB2F-5A47-6734006A2F53}"/>
              </a:ext>
            </a:extLst>
          </p:cNvPr>
          <p:cNvPicPr>
            <a:picLocks/>
          </p:cNvPicPr>
          <p:nvPr userDrawn="1"/>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
        <p:nvSpPr>
          <p:cNvPr id="4" name="Freeform 7">
            <a:extLst>
              <a:ext uri="{FF2B5EF4-FFF2-40B4-BE49-F238E27FC236}">
                <a16:creationId xmlns:a16="http://schemas.microsoft.com/office/drawing/2014/main" id="{38D7D9D7-56BB-3A65-0374-74C839623CEB}"/>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8" name="TextBox 7">
            <a:extLst>
              <a:ext uri="{FF2B5EF4-FFF2-40B4-BE49-F238E27FC236}">
                <a16:creationId xmlns:a16="http://schemas.microsoft.com/office/drawing/2014/main" id="{16554EBA-5FFF-2D48-7E52-B833A9E9B25E}"/>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A73AD08-F1C9-C626-65DC-8942BC20EF0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1145" y="644"/>
            <a:ext cx="12190856" cy="6857356"/>
          </a:xfrm>
          <a:prstGeom prst="rect">
            <a:avLst/>
          </a:prstGeom>
        </p:spPr>
      </p:pic>
      <p:sp>
        <p:nvSpPr>
          <p:cNvPr id="6" name="Text Placeholder 5">
            <a:extLst>
              <a:ext uri="{FF2B5EF4-FFF2-40B4-BE49-F238E27FC236}">
                <a16:creationId xmlns:a16="http://schemas.microsoft.com/office/drawing/2014/main" id="{5FBEA396-284A-E92D-9F16-07B051FA06C8}"/>
              </a:ext>
            </a:extLst>
          </p:cNvPr>
          <p:cNvSpPr>
            <a:spLocks noGrp="1"/>
          </p:cNvSpPr>
          <p:nvPr>
            <p:ph type="body" sz="quarter" idx="10" hasCustomPrompt="1"/>
          </p:nvPr>
        </p:nvSpPr>
        <p:spPr>
          <a:xfrm>
            <a:off x="704212" y="1741488"/>
            <a:ext cx="5078521" cy="1231106"/>
          </a:xfrm>
        </p:spPr>
        <p:txBody>
          <a:bodyPr/>
          <a:lstStyle>
            <a:lvl1pPr algn="l">
              <a:defRPr sz="8000" b="0" i="0" cap="all" baseline="0">
                <a:solidFill>
                  <a:schemeClr val="bg2"/>
                </a:solidFill>
                <a:latin typeface="Calibri" panose="020F0502020204030204" pitchFamily="34" charset="0"/>
              </a:defRPr>
            </a:lvl1pPr>
          </a:lstStyle>
          <a:p>
            <a:pPr lvl="0"/>
            <a:r>
              <a:rPr lang="en-US" dirty="0"/>
              <a:t>THANK YOU</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44535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2"/>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2"/>
              </a:solidFill>
              <a:latin typeface="Calibri" panose="020F0502020204030204" pitchFamily="34" charset="0"/>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2556717" y="6501669"/>
            <a:ext cx="7277861"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tx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95695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2"/>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2"/>
              </a:solidFill>
              <a:latin typeface="Calibri" panose="020F0502020204030204" pitchFamily="34" charset="0"/>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2556717" y="6501669"/>
            <a:ext cx="7277861"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tx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698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4626813-10DD-F3BC-7396-DA5E495DA768}"/>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ltGray">
          <a:xfrm>
            <a:off x="1143" y="644"/>
            <a:ext cx="12190857" cy="6857356"/>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3090446"/>
            <a:ext cx="11082528" cy="677108"/>
          </a:xfrm>
        </p:spPr>
        <p:txBody>
          <a:bodyPr vert="horz" anchor="b">
            <a:noAutofit/>
          </a:bodyPr>
          <a:lstStyle>
            <a:lvl1pPr algn="ctr" rtl="0">
              <a:lnSpc>
                <a:spcPct val="100000"/>
              </a:lnSpc>
              <a:defRPr sz="4400"/>
            </a:lvl1pPr>
          </a:lstStyle>
          <a:p>
            <a:r>
              <a:rPr lang="en-US" dirty="0"/>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rtl="0">
              <a:buNone/>
              <a:defRPr sz="1600" b="0" i="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2"/>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2"/>
              </a:solidFill>
              <a:latin typeface="Calibri" panose="020F0502020204030204" pitchFamily="34" charset="0"/>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2556717" y="6501669"/>
            <a:ext cx="7277861"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tx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6847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7F2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b="0" i="0" dirty="0">
              <a:solidFill>
                <a:srgbClr val="F0F0F0"/>
              </a:solidFill>
              <a:latin typeface="Calibri" panose="020F050202020403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i="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latin typeface="Calibri" panose="020F050202020403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9"/>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dirty="0"/>
              <a:t>Click to edit Master title style</a:t>
            </a:r>
          </a:p>
        </p:txBody>
      </p:sp>
      <p:sp>
        <p:nvSpPr>
          <p:cNvPr id="2" name="Freeform 7">
            <a:extLst>
              <a:ext uri="{FF2B5EF4-FFF2-40B4-BE49-F238E27FC236}">
                <a16:creationId xmlns:a16="http://schemas.microsoft.com/office/drawing/2014/main" id="{2F70DBE6-4ED0-A0D0-F8AC-3B4FAA776A24}"/>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sp>
        <p:nvSpPr>
          <p:cNvPr id="5" name="TextBox 4">
            <a:extLst>
              <a:ext uri="{FF2B5EF4-FFF2-40B4-BE49-F238E27FC236}">
                <a16:creationId xmlns:a16="http://schemas.microsoft.com/office/drawing/2014/main" id="{50D547C9-6FA8-0B5A-F3BE-5F41049B8DE0}"/>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pic>
        <p:nvPicPr>
          <p:cNvPr id="7" name="Picture 6">
            <a:extLst>
              <a:ext uri="{FF2B5EF4-FFF2-40B4-BE49-F238E27FC236}">
                <a16:creationId xmlns:a16="http://schemas.microsoft.com/office/drawing/2014/main" id="{D12F5A42-AB95-85DA-D10F-0748075B08E5}"/>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28094160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97391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7F2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b="0" i="0" dirty="0">
              <a:solidFill>
                <a:srgbClr val="F0F0F0"/>
              </a:solidFill>
              <a:latin typeface="Calibri" panose="020F050202020403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i="0" smtClean="0">
                <a:solidFill>
                  <a:schemeClr val="tx1"/>
                </a:solidFill>
                <a:latin typeface="Calibri" panose="020F0502020204030204" pitchFamily="34" charset="0"/>
                <a:ea typeface="+mn-ea"/>
                <a:cs typeface="Arial" panose="020B0604020202020204" pitchFamily="34" charset="0"/>
              </a:rPr>
              <a:pPr algn="r" defTabSz="610744" rtl="0" fontAlgn="auto">
                <a:spcBef>
                  <a:spcPts val="0"/>
                </a:spcBef>
                <a:spcAft>
                  <a:spcPts val="0"/>
                </a:spcAft>
                <a:defRPr/>
              </a:pPr>
              <a:t>‹#›</a:t>
            </a:fld>
            <a:endParaRPr lang="en-US" sz="900" b="0" i="0" dirty="0">
              <a:solidFill>
                <a:schemeClr val="tx1"/>
              </a:solidFill>
              <a:latin typeface="Calibri" panose="020F0502020204030204" pitchFamily="34" charset="0"/>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i="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55671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b="0" i="0" dirty="0">
                <a:latin typeface="Calibri" panose="020F050202020403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9"/>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dirty="0"/>
              <a:t>Click to edit Master title style</a:t>
            </a:r>
          </a:p>
        </p:txBody>
      </p:sp>
      <p:sp>
        <p:nvSpPr>
          <p:cNvPr id="2" name="Freeform 7">
            <a:extLst>
              <a:ext uri="{FF2B5EF4-FFF2-40B4-BE49-F238E27FC236}">
                <a16:creationId xmlns:a16="http://schemas.microsoft.com/office/drawing/2014/main" id="{E59DF6AA-74FB-8C1E-E2EF-AA5B76DBF5C1}"/>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13"/>
            <a:stretch>
              <a:fillRect/>
            </a:stretch>
          </a:blipFill>
        </p:spPr>
        <p:txBody>
          <a:bodyPr/>
          <a:lstStyle/>
          <a:p>
            <a:endParaRPr lang="en-US" b="0" i="0" dirty="0">
              <a:latin typeface="Calibri" panose="020F0502020204030204" pitchFamily="34" charset="0"/>
            </a:endParaRPr>
          </a:p>
        </p:txBody>
      </p:sp>
      <p:sp>
        <p:nvSpPr>
          <p:cNvPr id="5" name="TextBox 4">
            <a:extLst>
              <a:ext uri="{FF2B5EF4-FFF2-40B4-BE49-F238E27FC236}">
                <a16:creationId xmlns:a16="http://schemas.microsoft.com/office/drawing/2014/main" id="{F7E9694E-436B-AFF2-F6A3-51DB0D64477C}"/>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pic>
        <p:nvPicPr>
          <p:cNvPr id="7" name="Picture 6">
            <a:extLst>
              <a:ext uri="{FF2B5EF4-FFF2-40B4-BE49-F238E27FC236}">
                <a16:creationId xmlns:a16="http://schemas.microsoft.com/office/drawing/2014/main" id="{DA1C4A52-5765-2761-BA4F-798E3085AA41}"/>
              </a:ext>
            </a:extLst>
          </p:cNvPr>
          <p:cNvPicPr>
            <a:picLocks/>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25750988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8.xml"/><Relationship Id="rId39"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vmlDrawing" Target="../drawings/vmlDrawing1.vml"/><Relationship Id="rId31" Type="http://schemas.openxmlformats.org/officeDocument/2006/relationships/tags" Target="../tags/tag13.xml"/><Relationship Id="rId44"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ags" Target="../tags/tag127.xml"/><Relationship Id="rId39" Type="http://schemas.openxmlformats.org/officeDocument/2006/relationships/tags" Target="../tags/tag140.xml"/><Relationship Id="rId3" Type="http://schemas.openxmlformats.org/officeDocument/2006/relationships/slideLayout" Target="../slideLayouts/slideLayout20.xml"/><Relationship Id="rId21" Type="http://schemas.openxmlformats.org/officeDocument/2006/relationships/tags" Target="../tags/tag122.xml"/><Relationship Id="rId34" Type="http://schemas.openxmlformats.org/officeDocument/2006/relationships/tags" Target="../tags/tag135.xml"/><Relationship Id="rId42" Type="http://schemas.openxmlformats.org/officeDocument/2006/relationships/image" Target="../media/image4.e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126.xml"/><Relationship Id="rId33" Type="http://schemas.openxmlformats.org/officeDocument/2006/relationships/tags" Target="../tags/tag134.xml"/><Relationship Id="rId38" Type="http://schemas.openxmlformats.org/officeDocument/2006/relationships/tags" Target="../tags/tag139.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vmlDrawing" Target="../drawings/vmlDrawing18.vml"/><Relationship Id="rId29" Type="http://schemas.openxmlformats.org/officeDocument/2006/relationships/tags" Target="../tags/tag130.xml"/><Relationship Id="rId41" Type="http://schemas.openxmlformats.org/officeDocument/2006/relationships/oleObject" Target="../embeddings/oleObject18.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25.xml"/><Relationship Id="rId32" Type="http://schemas.openxmlformats.org/officeDocument/2006/relationships/tags" Target="../tags/tag133.xml"/><Relationship Id="rId37" Type="http://schemas.openxmlformats.org/officeDocument/2006/relationships/tags" Target="../tags/tag138.xml"/><Relationship Id="rId40" Type="http://schemas.openxmlformats.org/officeDocument/2006/relationships/tags" Target="../tags/tag141.xml"/><Relationship Id="rId45" Type="http://schemas.openxmlformats.org/officeDocument/2006/relationships/image" Target="../media/image9.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24.xml"/><Relationship Id="rId28" Type="http://schemas.openxmlformats.org/officeDocument/2006/relationships/tags" Target="../tags/tag129.xml"/><Relationship Id="rId36" Type="http://schemas.openxmlformats.org/officeDocument/2006/relationships/tags" Target="../tags/tag137.xml"/><Relationship Id="rId10" Type="http://schemas.openxmlformats.org/officeDocument/2006/relationships/slideLayout" Target="../slideLayouts/slideLayout27.xml"/><Relationship Id="rId19" Type="http://schemas.openxmlformats.org/officeDocument/2006/relationships/theme" Target="../theme/theme2.xml"/><Relationship Id="rId31" Type="http://schemas.openxmlformats.org/officeDocument/2006/relationships/tags" Target="../tags/tag132.xml"/><Relationship Id="rId44" Type="http://schemas.microsoft.com/office/2007/relationships/hdphoto" Target="../media/hdphoto1.wdp"/><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23.xml"/><Relationship Id="rId27" Type="http://schemas.openxmlformats.org/officeDocument/2006/relationships/tags" Target="../tags/tag128.xml"/><Relationship Id="rId30" Type="http://schemas.openxmlformats.org/officeDocument/2006/relationships/tags" Target="../tags/tag131.xml"/><Relationship Id="rId35" Type="http://schemas.openxmlformats.org/officeDocument/2006/relationships/tags" Target="../tags/tag136.xml"/><Relationship Id="rId43"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46958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C210316D-A55D-F577-EDF9-F51DDA0A11EE}"/>
              </a:ext>
            </a:extLst>
          </p:cNvPr>
          <p:cNvSpPr>
            <a:spLocks/>
          </p:cNvSpPr>
          <p:nvPr userDrawn="1"/>
        </p:nvSpPr>
        <p:spPr bwMode="ltGray">
          <a:xfrm>
            <a:off x="1143" y="6343552"/>
            <a:ext cx="12190857" cy="5144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0" i="0" dirty="0">
              <a:solidFill>
                <a:schemeClr val="bg1"/>
              </a:solidFill>
              <a:latin typeface="Calibri" panose="020F0502020204030204" pitchFamily="34" charset="0"/>
            </a:endParaRPr>
          </a:p>
        </p:txBody>
      </p:sp>
      <p:pic>
        <p:nvPicPr>
          <p:cNvPr id="4" name="Picture 3">
            <a:extLst>
              <a:ext uri="{FF2B5EF4-FFF2-40B4-BE49-F238E27FC236}">
                <a16:creationId xmlns:a16="http://schemas.microsoft.com/office/drawing/2014/main" id="{B6D6A505-B63B-5622-A679-2229F12F6DF6}"/>
              </a:ext>
            </a:extLst>
          </p:cNvPr>
          <p:cNvPicPr>
            <a:picLocks/>
          </p:cNvPicPr>
          <p:nvPr userDrawn="1"/>
        </p:nvPicPr>
        <p:blipFill>
          <a:blip r:embed="rId42">
            <a:extLst>
              <a:ext uri="{28A0092B-C50C-407E-A947-70E740481C1C}">
                <a14:useLocalDpi xmlns:a14="http://schemas.microsoft.com/office/drawing/2010/main" val="0"/>
              </a:ext>
            </a:extLst>
          </a:blip>
          <a:srcRect/>
          <a:stretch>
            <a:fillRect/>
          </a:stretch>
        </p:blipFill>
        <p:spPr bwMode="ltGray">
          <a:xfrm>
            <a:off x="1143" y="643"/>
            <a:ext cx="12187809" cy="932045"/>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b="0" i="0">
                <a:solidFill>
                  <a:schemeClr val="tx1"/>
                </a:solidFill>
                <a:latin typeface="Calibri" panose="020F0502020204030204" pitchFamily="34" charset="0"/>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b="0" i="0">
                <a:solidFill>
                  <a:schemeClr val="tx1"/>
                </a:solidFill>
                <a:latin typeface="Calibri" panose="020F0502020204030204" pitchFamily="34" charset="0"/>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195274"/>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b="0" i="0" dirty="0">
                <a:latin typeface="Calibri" panose="020F050202020403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Above Chart Exhibit Title</a:t>
            </a:r>
          </a:p>
          <a:p>
            <a:pPr lvl="0"/>
            <a:r>
              <a:rPr lang="en-US" b="0" i="0" dirty="0">
                <a:latin typeface="Calibri" panose="020F050202020403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33502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b="0" i="0" dirty="0">
                <a:latin typeface="Calibri" panose="020F0502020204030204" pitchFamily="34" charset="0"/>
              </a:rPr>
              <a:t>STICKER</a:t>
            </a:r>
          </a:p>
        </p:txBody>
      </p:sp>
      <p:grpSp>
        <p:nvGrpSpPr>
          <p:cNvPr id="6" name="LegendLines" hidden="1">
            <a:extLst>
              <a:ext uri="{FF2B5EF4-FFF2-40B4-BE49-F238E27FC236}">
                <a16:creationId xmlns:a16="http://schemas.microsoft.com/office/drawing/2014/main" id="{64A42835-3291-0AF9-2D83-5C276EFC721A}"/>
              </a:ext>
            </a:extLst>
          </p:cNvPr>
          <p:cNvGrpSpPr/>
          <p:nvPr userDrawn="1"/>
        </p:nvGrpSpPr>
        <p:grpSpPr>
          <a:xfrm>
            <a:off x="10317304" y="3355023"/>
            <a:ext cx="1251160" cy="958286"/>
            <a:chOff x="10162879" y="3243772"/>
            <a:chExt cx="1251160" cy="958286"/>
          </a:xfrm>
        </p:grpSpPr>
        <p:sp>
          <p:nvSpPr>
            <p:cNvPr id="7" name="Legend1" hidden="1">
              <a:extLst>
                <a:ext uri="{FF2B5EF4-FFF2-40B4-BE49-F238E27FC236}">
                  <a16:creationId xmlns:a16="http://schemas.microsoft.com/office/drawing/2014/main" id="{82F7C33F-D1A7-CBE8-FCB8-363C5B3D4813}"/>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8" name="Legend2" hidden="1">
              <a:extLst>
                <a:ext uri="{FF2B5EF4-FFF2-40B4-BE49-F238E27FC236}">
                  <a16:creationId xmlns:a16="http://schemas.microsoft.com/office/drawing/2014/main" id="{B86EC38B-5A1D-CFF9-2496-BB75D91948BF}"/>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9" name="Legend3" hidden="1">
              <a:extLst>
                <a:ext uri="{FF2B5EF4-FFF2-40B4-BE49-F238E27FC236}">
                  <a16:creationId xmlns:a16="http://schemas.microsoft.com/office/drawing/2014/main" id="{BA975C71-70BE-F80A-EA39-3A65E9C88E6E}"/>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0" name="LineLegend3" hidden="1">
              <a:extLst>
                <a:ext uri="{FF2B5EF4-FFF2-40B4-BE49-F238E27FC236}">
                  <a16:creationId xmlns:a16="http://schemas.microsoft.com/office/drawing/2014/main" id="{84AD0B09-74CF-27D1-BE3C-D3F0919E2D7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0" i="0" baseline="0">
                <a:latin typeface="Calibri" panose="020F0502020204030204" pitchFamily="34" charset="0"/>
                <a:ea typeface="+mn-ea"/>
              </a:endParaRPr>
            </a:p>
          </p:txBody>
        </p:sp>
        <p:sp>
          <p:nvSpPr>
            <p:cNvPr id="11" name="LineLegend2" hidden="1">
              <a:extLst>
                <a:ext uri="{FF2B5EF4-FFF2-40B4-BE49-F238E27FC236}">
                  <a16:creationId xmlns:a16="http://schemas.microsoft.com/office/drawing/2014/main" id="{68EFEC05-9BF5-8F2E-3A0A-525FD31CCAA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0" i="0" baseline="0">
                <a:latin typeface="Calibri" panose="020F0502020204030204" pitchFamily="34" charset="0"/>
                <a:ea typeface="+mn-ea"/>
              </a:endParaRPr>
            </a:p>
          </p:txBody>
        </p:sp>
        <p:sp>
          <p:nvSpPr>
            <p:cNvPr id="12" name="LineLegend1" hidden="1">
              <a:extLst>
                <a:ext uri="{FF2B5EF4-FFF2-40B4-BE49-F238E27FC236}">
                  <a16:creationId xmlns:a16="http://schemas.microsoft.com/office/drawing/2014/main" id="{85DE8C98-CE38-F4DA-4691-58475597CD8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0" i="0" baseline="0">
                <a:latin typeface="Calibri" panose="020F0502020204030204" pitchFamily="34" charset="0"/>
                <a:ea typeface="+mn-ea"/>
              </a:endParaRPr>
            </a:p>
          </p:txBody>
        </p:sp>
      </p:grpSp>
      <p:grpSp>
        <p:nvGrpSpPr>
          <p:cNvPr id="13" name="LegendMoons" hidden="1">
            <a:extLst>
              <a:ext uri="{FF2B5EF4-FFF2-40B4-BE49-F238E27FC236}">
                <a16:creationId xmlns:a16="http://schemas.microsoft.com/office/drawing/2014/main" id="{4A7B7CF4-D9D4-29B2-4608-88E9F63679FD}"/>
              </a:ext>
            </a:extLst>
          </p:cNvPr>
          <p:cNvGrpSpPr/>
          <p:nvPr userDrawn="1"/>
        </p:nvGrpSpPr>
        <p:grpSpPr>
          <a:xfrm>
            <a:off x="10688315" y="1415983"/>
            <a:ext cx="880149" cy="1731859"/>
            <a:chOff x="7723680" y="1702457"/>
            <a:chExt cx="880149" cy="1731859"/>
          </a:xfrm>
        </p:grpSpPr>
        <p:sp>
          <p:nvSpPr>
            <p:cNvPr id="14" name="Legend1" hidden="1">
              <a:extLst>
                <a:ext uri="{FF2B5EF4-FFF2-40B4-BE49-F238E27FC236}">
                  <a16:creationId xmlns:a16="http://schemas.microsoft.com/office/drawing/2014/main" id="{DDD3215C-CE83-1B9C-20BB-1A6F0622BCFB}"/>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5" name="Legend2" hidden="1">
              <a:extLst>
                <a:ext uri="{FF2B5EF4-FFF2-40B4-BE49-F238E27FC236}">
                  <a16:creationId xmlns:a16="http://schemas.microsoft.com/office/drawing/2014/main" id="{D3AF21FD-1DDC-F8FE-ADAA-5158B7BD9B6A}"/>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7" name="Legend3" hidden="1">
              <a:extLst>
                <a:ext uri="{FF2B5EF4-FFF2-40B4-BE49-F238E27FC236}">
                  <a16:creationId xmlns:a16="http://schemas.microsoft.com/office/drawing/2014/main" id="{1A2468D7-2155-8E3E-BC29-FC9457C8FC84}"/>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8" name="Legend4" hidden="1">
              <a:extLst>
                <a:ext uri="{FF2B5EF4-FFF2-40B4-BE49-F238E27FC236}">
                  <a16:creationId xmlns:a16="http://schemas.microsoft.com/office/drawing/2014/main" id="{686741AA-8314-662B-EB98-F85063AB68C1}"/>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9" name="Legend5" hidden="1">
              <a:extLst>
                <a:ext uri="{FF2B5EF4-FFF2-40B4-BE49-F238E27FC236}">
                  <a16:creationId xmlns:a16="http://schemas.microsoft.com/office/drawing/2014/main" id="{35725AE5-0875-7F09-FB1A-91CE5F85B9D6}"/>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grpSp>
          <p:nvGrpSpPr>
            <p:cNvPr id="20" name="MoonLegend1" hidden="1">
              <a:extLst>
                <a:ext uri="{FF2B5EF4-FFF2-40B4-BE49-F238E27FC236}">
                  <a16:creationId xmlns:a16="http://schemas.microsoft.com/office/drawing/2014/main" id="{86F064E2-ABE8-4493-7012-97F9ECB2D273}"/>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33" name="Oval 32" hidden="1">
                <a:extLst>
                  <a:ext uri="{FF2B5EF4-FFF2-40B4-BE49-F238E27FC236}">
                    <a16:creationId xmlns:a16="http://schemas.microsoft.com/office/drawing/2014/main" id="{C3A2FEC1-2215-DE36-B4A2-FFDE1E78F4E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34" name="Arc 33" hidden="1">
                <a:extLst>
                  <a:ext uri="{FF2B5EF4-FFF2-40B4-BE49-F238E27FC236}">
                    <a16:creationId xmlns:a16="http://schemas.microsoft.com/office/drawing/2014/main" id="{C3321D39-5203-6AB7-2E0A-F3A481B9F95B}"/>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21" name="MoonLegend2" hidden="1">
              <a:extLst>
                <a:ext uri="{FF2B5EF4-FFF2-40B4-BE49-F238E27FC236}">
                  <a16:creationId xmlns:a16="http://schemas.microsoft.com/office/drawing/2014/main" id="{087703D6-16C8-3A4B-7A93-079AF03D271B}"/>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31" name="Oval 30" hidden="1">
                <a:extLst>
                  <a:ext uri="{FF2B5EF4-FFF2-40B4-BE49-F238E27FC236}">
                    <a16:creationId xmlns:a16="http://schemas.microsoft.com/office/drawing/2014/main" id="{984AB8E1-4377-2910-7A0C-D9E15B3DB6B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32" name="Arc 31" hidden="1">
                <a:extLst>
                  <a:ext uri="{FF2B5EF4-FFF2-40B4-BE49-F238E27FC236}">
                    <a16:creationId xmlns:a16="http://schemas.microsoft.com/office/drawing/2014/main" id="{CC5B51C8-E4EA-2C57-C2FD-CC691EF3689F}"/>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22" name="MoonLegend3" hidden="1">
              <a:extLst>
                <a:ext uri="{FF2B5EF4-FFF2-40B4-BE49-F238E27FC236}">
                  <a16:creationId xmlns:a16="http://schemas.microsoft.com/office/drawing/2014/main" id="{DF8AB28E-200B-CFEB-3D56-BF2921BFFFA8}"/>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9" name="Oval 28" hidden="1">
                <a:extLst>
                  <a:ext uri="{FF2B5EF4-FFF2-40B4-BE49-F238E27FC236}">
                    <a16:creationId xmlns:a16="http://schemas.microsoft.com/office/drawing/2014/main" id="{773B53B8-D875-FD9E-DC14-F4C226407C0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30" name="Arc 29" hidden="1">
                <a:extLst>
                  <a:ext uri="{FF2B5EF4-FFF2-40B4-BE49-F238E27FC236}">
                    <a16:creationId xmlns:a16="http://schemas.microsoft.com/office/drawing/2014/main" id="{696045B3-ADCF-4652-B44D-D2FEBCFF8A4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23" name="MoonLegend4" hidden="1">
              <a:extLst>
                <a:ext uri="{FF2B5EF4-FFF2-40B4-BE49-F238E27FC236}">
                  <a16:creationId xmlns:a16="http://schemas.microsoft.com/office/drawing/2014/main" id="{FC47E984-8DE6-752A-8809-481CDB554D1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7" name="Oval 26" hidden="1">
                <a:extLst>
                  <a:ext uri="{FF2B5EF4-FFF2-40B4-BE49-F238E27FC236}">
                    <a16:creationId xmlns:a16="http://schemas.microsoft.com/office/drawing/2014/main" id="{45E03329-11F1-D05A-39AF-5F29FD779D1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28" name="Arc 27" hidden="1">
                <a:extLst>
                  <a:ext uri="{FF2B5EF4-FFF2-40B4-BE49-F238E27FC236}">
                    <a16:creationId xmlns:a16="http://schemas.microsoft.com/office/drawing/2014/main" id="{9C47D3FB-5508-87B9-3660-7A4A13B386DE}"/>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24" name="MoonLegend5" hidden="1">
              <a:extLst>
                <a:ext uri="{FF2B5EF4-FFF2-40B4-BE49-F238E27FC236}">
                  <a16:creationId xmlns:a16="http://schemas.microsoft.com/office/drawing/2014/main" id="{9EB27C83-0BFF-A017-4D89-98386B7A73F4}"/>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5" name="Oval 24" hidden="1">
                <a:extLst>
                  <a:ext uri="{FF2B5EF4-FFF2-40B4-BE49-F238E27FC236}">
                    <a16:creationId xmlns:a16="http://schemas.microsoft.com/office/drawing/2014/main" id="{809DDBFB-CDC4-0E3F-6784-331AFCB93CE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26" name="Arc 25" hidden="1">
                <a:extLst>
                  <a:ext uri="{FF2B5EF4-FFF2-40B4-BE49-F238E27FC236}">
                    <a16:creationId xmlns:a16="http://schemas.microsoft.com/office/drawing/2014/main" id="{61595D71-0754-9904-917D-5B49E4E6987D}"/>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grpSp>
        <p:nvGrpSpPr>
          <p:cNvPr id="35" name="LegendBoxes" hidden="1">
            <a:extLst>
              <a:ext uri="{FF2B5EF4-FFF2-40B4-BE49-F238E27FC236}">
                <a16:creationId xmlns:a16="http://schemas.microsoft.com/office/drawing/2014/main" id="{8986D03A-9572-9D09-7AAB-5CF9F3616D5F}"/>
              </a:ext>
            </a:extLst>
          </p:cNvPr>
          <p:cNvGrpSpPr/>
          <p:nvPr userDrawn="1"/>
        </p:nvGrpSpPr>
        <p:grpSpPr>
          <a:xfrm>
            <a:off x="10714801" y="4520490"/>
            <a:ext cx="853663" cy="1717282"/>
            <a:chOff x="10652400" y="4322824"/>
            <a:chExt cx="853663" cy="1717282"/>
          </a:xfrm>
        </p:grpSpPr>
        <p:sp>
          <p:nvSpPr>
            <p:cNvPr id="36" name="RectangleLegend1" hidden="1">
              <a:extLst>
                <a:ext uri="{FF2B5EF4-FFF2-40B4-BE49-F238E27FC236}">
                  <a16:creationId xmlns:a16="http://schemas.microsoft.com/office/drawing/2014/main" id="{184D1798-D16C-1E96-20D7-CA80EE1ED85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37" name="RectangleLegend2" hidden="1">
              <a:extLst>
                <a:ext uri="{FF2B5EF4-FFF2-40B4-BE49-F238E27FC236}">
                  <a16:creationId xmlns:a16="http://schemas.microsoft.com/office/drawing/2014/main" id="{708B0223-DEB1-7E77-F114-1B14F3DAE37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38" name="RectangleLegend3" hidden="1">
              <a:extLst>
                <a:ext uri="{FF2B5EF4-FFF2-40B4-BE49-F238E27FC236}">
                  <a16:creationId xmlns:a16="http://schemas.microsoft.com/office/drawing/2014/main" id="{6D321573-E450-D142-37BF-BE26D30C0EE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39" name="RectangleLegend4" hidden="1">
              <a:extLst>
                <a:ext uri="{FF2B5EF4-FFF2-40B4-BE49-F238E27FC236}">
                  <a16:creationId xmlns:a16="http://schemas.microsoft.com/office/drawing/2014/main" id="{3E541D2D-2431-0549-A690-A3DA07F05A3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40" name="RectangleLegend5" hidden="1">
              <a:extLst>
                <a:ext uri="{FF2B5EF4-FFF2-40B4-BE49-F238E27FC236}">
                  <a16:creationId xmlns:a16="http://schemas.microsoft.com/office/drawing/2014/main" id="{E7D63D34-AB1A-20B8-4CC3-01E225DEBD6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41" name="Legend1" hidden="1">
              <a:extLst>
                <a:ext uri="{FF2B5EF4-FFF2-40B4-BE49-F238E27FC236}">
                  <a16:creationId xmlns:a16="http://schemas.microsoft.com/office/drawing/2014/main" id="{EAD11034-33B4-2468-04DE-DB4BB93574BC}"/>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42" name="Legend2" hidden="1">
              <a:extLst>
                <a:ext uri="{FF2B5EF4-FFF2-40B4-BE49-F238E27FC236}">
                  <a16:creationId xmlns:a16="http://schemas.microsoft.com/office/drawing/2014/main" id="{EF51B468-D326-396F-05B6-9A0D03AF37A4}"/>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43" name="Legend3" hidden="1">
              <a:extLst>
                <a:ext uri="{FF2B5EF4-FFF2-40B4-BE49-F238E27FC236}">
                  <a16:creationId xmlns:a16="http://schemas.microsoft.com/office/drawing/2014/main" id="{2A23727E-DC41-C84F-3D17-EE3B7BDA80CF}"/>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44" name="Legend4" hidden="1">
              <a:extLst>
                <a:ext uri="{FF2B5EF4-FFF2-40B4-BE49-F238E27FC236}">
                  <a16:creationId xmlns:a16="http://schemas.microsoft.com/office/drawing/2014/main" id="{90E1E294-9DA0-228A-5074-68CCBA0D1230}"/>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45" name="Legend5" hidden="1">
              <a:extLst>
                <a:ext uri="{FF2B5EF4-FFF2-40B4-BE49-F238E27FC236}">
                  <a16:creationId xmlns:a16="http://schemas.microsoft.com/office/drawing/2014/main" id="{666B6D5B-8C7F-3875-9DB4-C453D06CE162}"/>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grpSp>
      <p:sp>
        <p:nvSpPr>
          <p:cNvPr id="48" name="Freeform 7">
            <a:extLst>
              <a:ext uri="{FF2B5EF4-FFF2-40B4-BE49-F238E27FC236}">
                <a16:creationId xmlns:a16="http://schemas.microsoft.com/office/drawing/2014/main" id="{693FAE2A-3B9F-C086-8161-4626226CEC84}"/>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43">
              <a:extLst>
                <a:ext uri="{BEBA8EAE-BF5A-486C-A8C5-ECC9F3942E4B}">
                  <a14:imgProps xmlns:a14="http://schemas.microsoft.com/office/drawing/2010/main">
                    <a14:imgLayer r:embed="rId44">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51" name="TextBox 50">
            <a:extLst>
              <a:ext uri="{FF2B5EF4-FFF2-40B4-BE49-F238E27FC236}">
                <a16:creationId xmlns:a16="http://schemas.microsoft.com/office/drawing/2014/main" id="{9148EBE4-7615-BCD3-5921-55CE5B8F7150}"/>
              </a:ext>
            </a:extLst>
          </p:cNvPr>
          <p:cNvSpPr txBox="1"/>
          <p:nvPr userDrawn="1"/>
        </p:nvSpPr>
        <p:spPr>
          <a:xfrm>
            <a:off x="10576561" y="6503215"/>
            <a:ext cx="742662"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2"/>
                </a:solidFill>
                <a:latin typeface="Calibri" panose="020F0502020204030204" pitchFamily="34" charset="0"/>
              </a:rPr>
              <a:t>Idh.la.gov</a:t>
            </a:r>
            <a:endParaRPr lang="en-US" sz="900" b="0" i="0" dirty="0">
              <a:solidFill>
                <a:schemeClr val="tx2"/>
              </a:solidFill>
              <a:latin typeface="Calibri" panose="020F0502020204030204" pitchFamily="34" charset="0"/>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97" r:id="rId3"/>
    <p:sldLayoutId id="2147483807" r:id="rId4"/>
    <p:sldLayoutId id="2147483800" r:id="rId5"/>
    <p:sldLayoutId id="2147483659" r:id="rId6"/>
    <p:sldLayoutId id="2147483804" r:id="rId7"/>
    <p:sldLayoutId id="2147483882" r:id="rId8"/>
    <p:sldLayoutId id="2147483883" r:id="rId9"/>
    <p:sldLayoutId id="2147483884" r:id="rId10"/>
    <p:sldLayoutId id="2147483885" r:id="rId11"/>
    <p:sldLayoutId id="2147483886" r:id="rId12"/>
    <p:sldLayoutId id="2147483887" r:id="rId13"/>
    <p:sldLayoutId id="2147483706" r:id="rId14"/>
    <p:sldLayoutId id="2147483718" r:id="rId15"/>
    <p:sldLayoutId id="2147483899" r:id="rId16"/>
    <p:sldLayoutId id="2147483900" r:id="rId17"/>
  </p:sldLayoutIdLst>
  <p:txStyles>
    <p:titleStyle>
      <a:lvl1pPr algn="l" defTabSz="914400" rtl="0" eaLnBrk="1" latinLnBrk="0" hangingPunct="1">
        <a:lnSpc>
          <a:spcPct val="100000"/>
        </a:lnSpc>
        <a:spcBef>
          <a:spcPct val="0"/>
        </a:spcBef>
        <a:buNone/>
        <a:defRPr lang="en-US" sz="2500" b="0" i="0" kern="1200" spc="0" baseline="0" dirty="0">
          <a:ln w="6350" cap="flat">
            <a:noFill/>
            <a:miter lim="800000"/>
          </a:ln>
          <a:solidFill>
            <a:schemeClr val="tx1"/>
          </a:solidFill>
          <a:latin typeface="Calibri" panose="020F0502020204030204" pitchFamily="34" charset="0"/>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i="0" kern="1200" dirty="0">
          <a:solidFill>
            <a:schemeClr val="tx1"/>
          </a:solidFill>
          <a:latin typeface="Calibri" panose="020F0502020204030204" pitchFamily="34" charset="0"/>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b="0" i="0" kern="1200" dirty="0">
          <a:solidFill>
            <a:schemeClr val="tx1"/>
          </a:solidFill>
          <a:latin typeface="Calibri" panose="020F0502020204030204" pitchFamily="34" charset="0"/>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b="0" i="0" kern="1200" dirty="0">
          <a:solidFill>
            <a:schemeClr val="tx1"/>
          </a:solidFill>
          <a:latin typeface="Calibri" panose="020F0502020204030204" pitchFamily="34" charset="0"/>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b="0" i="0" kern="1200" dirty="0">
          <a:solidFill>
            <a:schemeClr val="tx1"/>
          </a:solidFill>
          <a:latin typeface="Calibri" panose="020F0502020204030204" pitchFamily="34" charset="0"/>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b="0" i="0" kern="1200" dirty="0">
          <a:solidFill>
            <a:schemeClr val="tx1"/>
          </a:solidFill>
          <a:latin typeface="Calibri" panose="020F0502020204030204" pitchFamily="34" charset="0"/>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78" userDrawn="1">
          <p15:clr>
            <a:srgbClr val="5ACBF0"/>
          </p15:clr>
        </p15:guide>
        <p15:guide id="3" orient="horz" pos="3912">
          <p15:clr>
            <a:srgbClr val="5ACBF0"/>
          </p15:clr>
        </p15:guide>
        <p15:guide id="4" orient="horz" pos="890" userDrawn="1">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1"/>
            </p:custDataLst>
            <p:extLst>
              <p:ext uri="{D42A27DB-BD31-4B8C-83A1-F6EECF244321}">
                <p14:modId xmlns:p14="http://schemas.microsoft.com/office/powerpoint/2010/main" val="258972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41" imgW="592" imgH="591" progId="TCLayout.ActiveDocument.1">
                  <p:embed/>
                </p:oleObj>
              </mc:Choice>
              <mc:Fallback>
                <p:oleObj name="think-cell Slide" r:id="rId41"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Calibri" panose="020F0502020204030204" pitchFamily="34" charset="0"/>
              <a:ea typeface="+mj-ea"/>
              <a:cs typeface="+mj-cs"/>
              <a:sym typeface="Arial" panose="020B0604020202020204" pitchFamily="34" charset="0"/>
            </a:endParaRPr>
          </a:p>
        </p:txBody>
      </p:sp>
      <p:grpSp>
        <p:nvGrpSpPr>
          <p:cNvPr id="146" name="Grid" hidden="1">
            <a:extLst>
              <a:ext uri="{FF2B5EF4-FFF2-40B4-BE49-F238E27FC236}">
                <a16:creationId xmlns:a16="http://schemas.microsoft.com/office/drawing/2014/main" id="{00E02929-655A-4D11-8498-7B726B892859}"/>
              </a:ext>
            </a:extLst>
          </p:cNvPr>
          <p:cNvGrpSpPr/>
          <p:nvPr userDrawn="1"/>
        </p:nvGrpSpPr>
        <p:grpSpPr>
          <a:xfrm>
            <a:off x="0" y="0"/>
            <a:ext cx="12190476" cy="6858000"/>
            <a:chOff x="0" y="0"/>
            <a:chExt cx="12190476" cy="6858000"/>
          </a:xfrm>
        </p:grpSpPr>
        <p:sp>
          <p:nvSpPr>
            <p:cNvPr id="147" name="Freeform: Shape 146">
              <a:extLst>
                <a:ext uri="{FF2B5EF4-FFF2-40B4-BE49-F238E27FC236}">
                  <a16:creationId xmlns:a16="http://schemas.microsoft.com/office/drawing/2014/main" id="{B246553F-F107-4247-AFD2-330A5E29AB37}"/>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48" name="Freeform: Shape 147">
              <a:extLst>
                <a:ext uri="{FF2B5EF4-FFF2-40B4-BE49-F238E27FC236}">
                  <a16:creationId xmlns:a16="http://schemas.microsoft.com/office/drawing/2014/main" id="{B004011D-070D-4016-9995-FCB7504D0F9E}"/>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b="0" i="0">
                <a:solidFill>
                  <a:schemeClr val="tx1"/>
                </a:solidFill>
                <a:latin typeface="Calibri" panose="020F0502020204030204" pitchFamily="34" charset="0"/>
              </a:endParaRPr>
            </a:p>
          </p:txBody>
        </p:sp>
        <p:cxnSp>
          <p:nvCxnSpPr>
            <p:cNvPr id="149" name="Straight Connector 148">
              <a:extLst>
                <a:ext uri="{FF2B5EF4-FFF2-40B4-BE49-F238E27FC236}">
                  <a16:creationId xmlns:a16="http://schemas.microsoft.com/office/drawing/2014/main" id="{8EED4E9C-CBFD-493E-8230-4890744820C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4E7EE8D-5E67-4BAD-BF3E-B49398A0D38A}"/>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BF4CC32-113E-4603-89B5-B2E9710CEC86}"/>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F0D8B50-908B-4BBC-B53E-EBFB79D81A0A}"/>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B0BD72-05B5-4E6D-ADCA-69118552AB7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FC8DA45-07AB-4141-99EE-E61BAAE7D11E}"/>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AD9D4E0-4143-4515-A821-78819A398AF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992F49D-6943-4918-866D-7066A87A4A79}"/>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FE62798-DF2C-4227-978E-F44634E9B13E}"/>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E77B44F-95E2-4A82-9055-AF6FD632A4C2}"/>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867695C-B379-491F-A7BA-BB9CDD95C0A2}"/>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CF70945-7437-42D7-8530-CC82474AD8C7}"/>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1" name="Freeform: Shape 160">
              <a:extLst>
                <a:ext uri="{FF2B5EF4-FFF2-40B4-BE49-F238E27FC236}">
                  <a16:creationId xmlns:a16="http://schemas.microsoft.com/office/drawing/2014/main" id="{DA9FAF73-F6CC-433E-9E54-926227DC3B49}"/>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62" name="Freeform: Shape 161">
              <a:extLst>
                <a:ext uri="{FF2B5EF4-FFF2-40B4-BE49-F238E27FC236}">
                  <a16:creationId xmlns:a16="http://schemas.microsoft.com/office/drawing/2014/main" id="{E34A557B-494C-4AD9-8F89-E5E9AF83C5C9}"/>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63" name="Freeform: Shape 162">
              <a:extLst>
                <a:ext uri="{FF2B5EF4-FFF2-40B4-BE49-F238E27FC236}">
                  <a16:creationId xmlns:a16="http://schemas.microsoft.com/office/drawing/2014/main" id="{EF51026B-29C4-4F7C-BFF5-D2620B54A446}"/>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64" name="Freeform: Shape 163">
              <a:extLst>
                <a:ext uri="{FF2B5EF4-FFF2-40B4-BE49-F238E27FC236}">
                  <a16:creationId xmlns:a16="http://schemas.microsoft.com/office/drawing/2014/main" id="{F9CB8DDA-DEB9-4F33-8B16-4080680C908C}"/>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65" name="Freeform: Shape 164">
              <a:extLst>
                <a:ext uri="{FF2B5EF4-FFF2-40B4-BE49-F238E27FC236}">
                  <a16:creationId xmlns:a16="http://schemas.microsoft.com/office/drawing/2014/main" id="{3CB0E135-78BE-4A78-8B8E-49EE618FDE01}"/>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66" name="Freeform: Shape 165">
              <a:extLst>
                <a:ext uri="{FF2B5EF4-FFF2-40B4-BE49-F238E27FC236}">
                  <a16:creationId xmlns:a16="http://schemas.microsoft.com/office/drawing/2014/main" id="{78208839-3FD9-4108-AF55-EFAFE64878DE}"/>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167" name="Freeform: Shape 166">
              <a:extLst>
                <a:ext uri="{FF2B5EF4-FFF2-40B4-BE49-F238E27FC236}">
                  <a16:creationId xmlns:a16="http://schemas.microsoft.com/office/drawing/2014/main" id="{2B2AC86F-33CA-4F2C-87E3-578BBC834878}"/>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8" name="Freeform: Shape 207">
              <a:extLst>
                <a:ext uri="{FF2B5EF4-FFF2-40B4-BE49-F238E27FC236}">
                  <a16:creationId xmlns:a16="http://schemas.microsoft.com/office/drawing/2014/main" id="{B399E9D3-5CD6-46EF-8841-082C09FE512F}"/>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09" name="Freeform: Shape 208">
              <a:extLst>
                <a:ext uri="{FF2B5EF4-FFF2-40B4-BE49-F238E27FC236}">
                  <a16:creationId xmlns:a16="http://schemas.microsoft.com/office/drawing/2014/main" id="{F1BE799B-05CC-43C3-BA7F-F6C85C06E3A1}"/>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0" name="Freeform: Shape 209">
              <a:extLst>
                <a:ext uri="{FF2B5EF4-FFF2-40B4-BE49-F238E27FC236}">
                  <a16:creationId xmlns:a16="http://schemas.microsoft.com/office/drawing/2014/main" id="{29922180-B37A-4F36-9EF1-968A7058C3E4}"/>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1" name="Freeform: Shape 210">
              <a:extLst>
                <a:ext uri="{FF2B5EF4-FFF2-40B4-BE49-F238E27FC236}">
                  <a16:creationId xmlns:a16="http://schemas.microsoft.com/office/drawing/2014/main" id="{2F205530-B739-4965-8F39-00F8FBF9EACF}"/>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2" name="Freeform: Shape 211">
              <a:extLst>
                <a:ext uri="{FF2B5EF4-FFF2-40B4-BE49-F238E27FC236}">
                  <a16:creationId xmlns:a16="http://schemas.microsoft.com/office/drawing/2014/main" id="{A9BFC6E5-704D-4104-8F1F-6DB1C235A93C}"/>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3" name="Freeform: Shape 212">
              <a:extLst>
                <a:ext uri="{FF2B5EF4-FFF2-40B4-BE49-F238E27FC236}">
                  <a16:creationId xmlns:a16="http://schemas.microsoft.com/office/drawing/2014/main" id="{4385216E-CB37-47AA-A5EC-C860686082F4}"/>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4" name="Freeform: Shape 213">
              <a:extLst>
                <a:ext uri="{FF2B5EF4-FFF2-40B4-BE49-F238E27FC236}">
                  <a16:creationId xmlns:a16="http://schemas.microsoft.com/office/drawing/2014/main" id="{8E699DF9-8C96-4EF1-8278-09F68ECAD255}"/>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5" name="Freeform: Shape 214">
              <a:extLst>
                <a:ext uri="{FF2B5EF4-FFF2-40B4-BE49-F238E27FC236}">
                  <a16:creationId xmlns:a16="http://schemas.microsoft.com/office/drawing/2014/main" id="{A032DDF0-DB7D-4C06-9B2E-FEBAC77CE493}"/>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6" name="Freeform: Shape 215">
              <a:extLst>
                <a:ext uri="{FF2B5EF4-FFF2-40B4-BE49-F238E27FC236}">
                  <a16:creationId xmlns:a16="http://schemas.microsoft.com/office/drawing/2014/main" id="{4B7943A5-8846-4B6F-925D-749F0A92CCE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7" name="Freeform: Shape 216">
              <a:extLst>
                <a:ext uri="{FF2B5EF4-FFF2-40B4-BE49-F238E27FC236}">
                  <a16:creationId xmlns:a16="http://schemas.microsoft.com/office/drawing/2014/main" id="{6BAEFCE8-AA4E-4972-BCB1-7CCA549391CB}"/>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8" name="Freeform: Shape 217">
              <a:extLst>
                <a:ext uri="{FF2B5EF4-FFF2-40B4-BE49-F238E27FC236}">
                  <a16:creationId xmlns:a16="http://schemas.microsoft.com/office/drawing/2014/main" id="{AC7A7F14-873F-4714-A75C-0839615AA9FB}"/>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19" name="Freeform: Shape 218">
              <a:extLst>
                <a:ext uri="{FF2B5EF4-FFF2-40B4-BE49-F238E27FC236}">
                  <a16:creationId xmlns:a16="http://schemas.microsoft.com/office/drawing/2014/main" id="{0917B358-4946-4D30-AAAB-7E0175159EA0}"/>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0" name="Freeform: Shape 219">
              <a:extLst>
                <a:ext uri="{FF2B5EF4-FFF2-40B4-BE49-F238E27FC236}">
                  <a16:creationId xmlns:a16="http://schemas.microsoft.com/office/drawing/2014/main" id="{E0BB4314-8F96-4718-8B5E-B905DDE49A7E}"/>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1" name="Freeform: Shape 220">
              <a:extLst>
                <a:ext uri="{FF2B5EF4-FFF2-40B4-BE49-F238E27FC236}">
                  <a16:creationId xmlns:a16="http://schemas.microsoft.com/office/drawing/2014/main" id="{D2D0D114-5DE4-4E61-899C-07588FB06DF3}"/>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2" name="Freeform: Shape 221">
              <a:extLst>
                <a:ext uri="{FF2B5EF4-FFF2-40B4-BE49-F238E27FC236}">
                  <a16:creationId xmlns:a16="http://schemas.microsoft.com/office/drawing/2014/main" id="{04036915-BBD4-4851-93E8-A797358279D9}"/>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3" name="Freeform: Shape 222">
              <a:extLst>
                <a:ext uri="{FF2B5EF4-FFF2-40B4-BE49-F238E27FC236}">
                  <a16:creationId xmlns:a16="http://schemas.microsoft.com/office/drawing/2014/main" id="{06D83B2A-2D56-454A-A448-ACAE0CD1D158}"/>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sp>
          <p:nvSpPr>
            <p:cNvPr id="224" name="Freeform: Shape 223">
              <a:extLst>
                <a:ext uri="{FF2B5EF4-FFF2-40B4-BE49-F238E27FC236}">
                  <a16:creationId xmlns:a16="http://schemas.microsoft.com/office/drawing/2014/main" id="{537C2011-1B30-471D-B374-D87B2F631652}"/>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b="0" i="0">
                <a:solidFill>
                  <a:schemeClr val="tx1"/>
                </a:solidFill>
                <a:latin typeface="Calibri" panose="020F0502020204030204" pitchFamily="34" charset="0"/>
              </a:endParaRPr>
            </a:p>
          </p:txBody>
        </p:sp>
        <p:cxnSp>
          <p:nvCxnSpPr>
            <p:cNvPr id="225" name="Straight Connector 224">
              <a:extLst>
                <a:ext uri="{FF2B5EF4-FFF2-40B4-BE49-F238E27FC236}">
                  <a16:creationId xmlns:a16="http://schemas.microsoft.com/office/drawing/2014/main" id="{C8F76A20-DBFD-4B9A-BE7D-31180C641FA0}"/>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545DD8E-6238-40A1-A9E7-0CB32914911D}"/>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46B7DA4-3920-4B1D-AA7A-BAA908F568D5}"/>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712EFC8-A725-4CCE-8BC8-388C349C2F0F}"/>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1E269678-4626-4DD2-AD14-B4E734025420}"/>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F5B142-72A7-412C-A4A1-ED45648F13E2}"/>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6943484-6D68-4D25-BEA2-607B81CC81A1}"/>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24BD91D-C4CF-4637-A29C-DFBC02EF78D0}"/>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CBB7BE1-7BDD-42BB-B011-062A7D4DE69C}"/>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4FC5B03-6517-4A88-8B16-A1D4CE1B40F4}"/>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32FD3D2-0C2A-4082-A143-4EFFBD928298}"/>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3F6219C-6F70-4B61-A6BE-79D0FD7094BF}"/>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3444F34-64A1-4A73-9AAC-870F360D0243}"/>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4808C27-CEC5-43D6-B2D7-3C3C7059B573}"/>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B3503CC-B04C-426C-949F-F3FC31425FEB}"/>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A2B1578-5111-4BE7-931E-242321A59CA9}"/>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465DDD97-A397-40EC-A211-5E87B6B0B662}"/>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F4D4C72-E117-4C1D-B739-B75FE02B87FC}"/>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41AED1DD-F122-4B41-B6BB-7719F1232C06}"/>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2DE51BE-00F9-45C2-9743-601D27D2FCB1}"/>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51DBDE71-C5A4-47D0-8F4D-445ED7EBBC0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C4E39DC0-CDD5-4BB0-9423-B3CD76795955}"/>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34197F31-5ADE-425C-A215-3B985F2D0F70}"/>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3F56A52-6409-474A-AC10-21942DF341D1}"/>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F880D30-4361-4F07-9E65-761B56E8D8DF}"/>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0881E81-0967-47FA-B2F5-C2D42469C7EA}"/>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68FDAAED-2DE5-4415-AC4F-71BF36E3DAC2}"/>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9B004E8-D88B-4A71-9DF9-0F9A36100A5C}"/>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E082F8F-16FA-4AEB-8166-162C6FCCEB66}"/>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FC2DCAFF-2DF6-4BBC-BCDD-0D570455CE06}"/>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977AE58-9FB0-42DA-9B39-BFD87E4B724A}"/>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EEF759A5-C252-45E9-B082-FD35CD055299}"/>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6062B46-308B-4012-85F6-0368F5983B75}"/>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0D8E9E1-16CF-4856-B7CC-293CC0754512}"/>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C04634-4F05-4544-9451-CFC9D7814D5D}"/>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5CF2D49-79B9-43C6-84C8-F0E26D667D1D}"/>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9D2EE3B-2073-41B9-BF48-6CF58DCD5F9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5427CE8A-B394-4BC8-90E6-F01DA9DFEF69}"/>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6C3FEEB-8CED-4573-950A-702EA59DB370}"/>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24DED01-33FE-453B-8054-51C70E958B69}"/>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4BC90B9C-86A4-4B76-AB2F-48C8BA557B2A}"/>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FCFD93DC-72B3-48E1-B57C-CAC54C82ED13}"/>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14304D6-019F-44B7-8088-DB02E79D3B35}"/>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9A21668-FF36-42B2-8E8C-DC36580D76B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69" name="main body box">
              <a:extLst>
                <a:ext uri="{FF2B5EF4-FFF2-40B4-BE49-F238E27FC236}">
                  <a16:creationId xmlns:a16="http://schemas.microsoft.com/office/drawing/2014/main" id="{0F4A42CE-FEE6-4F15-ABED-0ED2DF2E0134}"/>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b="0" i="0">
                <a:solidFill>
                  <a:schemeClr val="tx1"/>
                </a:solidFill>
                <a:latin typeface="Calibri" panose="020F0502020204030204" pitchFamily="34" charset="0"/>
              </a:endParaRPr>
            </a:p>
          </p:txBody>
        </p:sp>
        <p:cxnSp>
          <p:nvCxnSpPr>
            <p:cNvPr id="270" name="Straight Connector 269">
              <a:extLst>
                <a:ext uri="{FF2B5EF4-FFF2-40B4-BE49-F238E27FC236}">
                  <a16:creationId xmlns:a16="http://schemas.microsoft.com/office/drawing/2014/main" id="{FAFC25A2-0E4C-4885-9514-D2AB63FE0822}"/>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1" name="Straight Connector 270">
              <a:extLst>
                <a:ext uri="{FF2B5EF4-FFF2-40B4-BE49-F238E27FC236}">
                  <a16:creationId xmlns:a16="http://schemas.microsoft.com/office/drawing/2014/main" id="{C6E16B4E-FA8E-424E-8B59-17E11E8A383B}"/>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272" name="Sticker" hidden="1">
            <a:extLst>
              <a:ext uri="{FF2B5EF4-FFF2-40B4-BE49-F238E27FC236}">
                <a16:creationId xmlns:a16="http://schemas.microsoft.com/office/drawing/2014/main" id="{B441B46A-23BA-471B-96B6-498030A9A587}"/>
              </a:ext>
            </a:extLst>
          </p:cNvPr>
          <p:cNvSpPr txBox="1"/>
          <p:nvPr userDrawn="1"/>
        </p:nvSpPr>
        <p:spPr>
          <a:xfrm>
            <a:off x="558489" y="964729"/>
            <a:ext cx="33502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b="0" i="0" dirty="0">
                <a:latin typeface="Calibri" panose="020F0502020204030204" pitchFamily="34" charset="0"/>
              </a:rPr>
              <a:t>STICKER</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195274"/>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b="0" i="0" dirty="0">
                <a:latin typeface="Calibri" panose="020F0502020204030204" pitchFamily="34" charset="0"/>
              </a:rPr>
              <a:t>Footnotes</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0" i="0" dirty="0">
                <a:latin typeface="Calibri" panose="020F0502020204030204" pitchFamily="34" charset="0"/>
              </a:rPr>
              <a:t>Above Chart Exhibit Title</a:t>
            </a:r>
          </a:p>
          <a:p>
            <a:pPr lvl="0"/>
            <a:r>
              <a:rPr lang="en-US" b="0" i="0" dirty="0">
                <a:latin typeface="Calibri" panose="020F0502020204030204" pitchFamily="34" charset="0"/>
              </a:rPr>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LegendBoxes" hidden="1">
            <a:extLst>
              <a:ext uri="{FF2B5EF4-FFF2-40B4-BE49-F238E27FC236}">
                <a16:creationId xmlns:a16="http://schemas.microsoft.com/office/drawing/2014/main" id="{17D07853-A9BC-B4DF-A38D-6DCC3B8CBBB7}"/>
              </a:ext>
            </a:extLst>
          </p:cNvPr>
          <p:cNvGrpSpPr/>
          <p:nvPr userDrawn="1"/>
        </p:nvGrpSpPr>
        <p:grpSpPr>
          <a:xfrm>
            <a:off x="10714801" y="4520490"/>
            <a:ext cx="853663" cy="1717282"/>
            <a:chOff x="10554770" y="4322824"/>
            <a:chExt cx="853663" cy="1717282"/>
          </a:xfrm>
        </p:grpSpPr>
        <p:sp>
          <p:nvSpPr>
            <p:cNvPr id="7" name="RectangleLegend1" hidden="1">
              <a:extLst>
                <a:ext uri="{FF2B5EF4-FFF2-40B4-BE49-F238E27FC236}">
                  <a16:creationId xmlns:a16="http://schemas.microsoft.com/office/drawing/2014/main" id="{C7B7F6F8-89E6-83E1-C2E3-03E6080779CB}"/>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8" name="RectangleLegend2" hidden="1">
              <a:extLst>
                <a:ext uri="{FF2B5EF4-FFF2-40B4-BE49-F238E27FC236}">
                  <a16:creationId xmlns:a16="http://schemas.microsoft.com/office/drawing/2014/main" id="{69D27858-BDE0-E82B-A953-DB9FC08B7A43}"/>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9" name="RectangleLegend3" hidden="1">
              <a:extLst>
                <a:ext uri="{FF2B5EF4-FFF2-40B4-BE49-F238E27FC236}">
                  <a16:creationId xmlns:a16="http://schemas.microsoft.com/office/drawing/2014/main" id="{C26D5254-CC3E-6B4E-EC60-58358817C4EB}"/>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10" name="RectangleLegend4" hidden="1">
              <a:extLst>
                <a:ext uri="{FF2B5EF4-FFF2-40B4-BE49-F238E27FC236}">
                  <a16:creationId xmlns:a16="http://schemas.microsoft.com/office/drawing/2014/main" id="{467EB727-7127-53AB-072A-1A710A1C481B}"/>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11" name="RectangleLegend5" hidden="1">
              <a:extLst>
                <a:ext uri="{FF2B5EF4-FFF2-40B4-BE49-F238E27FC236}">
                  <a16:creationId xmlns:a16="http://schemas.microsoft.com/office/drawing/2014/main" id="{5709070C-2C1A-F066-2969-D340A3FA416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0" i="0">
                <a:solidFill>
                  <a:schemeClr val="tx1"/>
                </a:solidFill>
                <a:latin typeface="Calibri" panose="020F0502020204030204" pitchFamily="34" charset="0"/>
              </a:endParaRPr>
            </a:p>
          </p:txBody>
        </p:sp>
        <p:sp>
          <p:nvSpPr>
            <p:cNvPr id="12" name="Legend1" hidden="1">
              <a:extLst>
                <a:ext uri="{FF2B5EF4-FFF2-40B4-BE49-F238E27FC236}">
                  <a16:creationId xmlns:a16="http://schemas.microsoft.com/office/drawing/2014/main" id="{5CCF3EFF-85F6-C774-3069-41AEBD06A23A}"/>
                </a:ext>
              </a:extLst>
            </p:cNvPr>
            <p:cNvSpPr txBox="1"/>
            <p:nvPr/>
          </p:nvSpPr>
          <p:spPr>
            <a:xfrm>
              <a:off x="1088091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3" name="Legend2" hidden="1">
              <a:extLst>
                <a:ext uri="{FF2B5EF4-FFF2-40B4-BE49-F238E27FC236}">
                  <a16:creationId xmlns:a16="http://schemas.microsoft.com/office/drawing/2014/main" id="{F4AC3EB4-ADB7-019C-D9DF-B624BBD61D5E}"/>
                </a:ext>
              </a:extLst>
            </p:cNvPr>
            <p:cNvSpPr txBox="1"/>
            <p:nvPr/>
          </p:nvSpPr>
          <p:spPr>
            <a:xfrm>
              <a:off x="1088091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4" name="Legend3" hidden="1">
              <a:extLst>
                <a:ext uri="{FF2B5EF4-FFF2-40B4-BE49-F238E27FC236}">
                  <a16:creationId xmlns:a16="http://schemas.microsoft.com/office/drawing/2014/main" id="{4972A4D5-F521-E5B0-AEB7-FC272E5E9B28}"/>
                </a:ext>
              </a:extLst>
            </p:cNvPr>
            <p:cNvSpPr txBox="1"/>
            <p:nvPr/>
          </p:nvSpPr>
          <p:spPr>
            <a:xfrm>
              <a:off x="1088091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5" name="Legend4" hidden="1">
              <a:extLst>
                <a:ext uri="{FF2B5EF4-FFF2-40B4-BE49-F238E27FC236}">
                  <a16:creationId xmlns:a16="http://schemas.microsoft.com/office/drawing/2014/main" id="{DA2B1E2C-C844-9A2B-4FAF-83DB43DAB4C5}"/>
                </a:ext>
              </a:extLst>
            </p:cNvPr>
            <p:cNvSpPr txBox="1"/>
            <p:nvPr/>
          </p:nvSpPr>
          <p:spPr>
            <a:xfrm>
              <a:off x="1088091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6" name="Legend5" hidden="1">
              <a:extLst>
                <a:ext uri="{FF2B5EF4-FFF2-40B4-BE49-F238E27FC236}">
                  <a16:creationId xmlns:a16="http://schemas.microsoft.com/office/drawing/2014/main" id="{D5BDDFC0-46FD-4091-749E-083286FD284C}"/>
                </a:ext>
              </a:extLst>
            </p:cNvPr>
            <p:cNvSpPr txBox="1"/>
            <p:nvPr/>
          </p:nvSpPr>
          <p:spPr>
            <a:xfrm>
              <a:off x="1088091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grpSp>
      <p:grpSp>
        <p:nvGrpSpPr>
          <p:cNvPr id="17" name="LegendLines" hidden="1">
            <a:extLst>
              <a:ext uri="{FF2B5EF4-FFF2-40B4-BE49-F238E27FC236}">
                <a16:creationId xmlns:a16="http://schemas.microsoft.com/office/drawing/2014/main" id="{4CDF0D96-8462-ACC7-BCD4-71C2579F716A}"/>
              </a:ext>
            </a:extLst>
          </p:cNvPr>
          <p:cNvGrpSpPr/>
          <p:nvPr userDrawn="1"/>
        </p:nvGrpSpPr>
        <p:grpSpPr>
          <a:xfrm>
            <a:off x="10317304" y="3355023"/>
            <a:ext cx="1251160" cy="958286"/>
            <a:chOff x="10162879" y="3243772"/>
            <a:chExt cx="1251160" cy="958286"/>
          </a:xfrm>
        </p:grpSpPr>
        <p:sp>
          <p:nvSpPr>
            <p:cNvPr id="18" name="Legend1" hidden="1">
              <a:extLst>
                <a:ext uri="{FF2B5EF4-FFF2-40B4-BE49-F238E27FC236}">
                  <a16:creationId xmlns:a16="http://schemas.microsoft.com/office/drawing/2014/main" id="{C4614DF9-107D-8052-AB2A-9346964B4545}"/>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19" name="Legend2" hidden="1">
              <a:extLst>
                <a:ext uri="{FF2B5EF4-FFF2-40B4-BE49-F238E27FC236}">
                  <a16:creationId xmlns:a16="http://schemas.microsoft.com/office/drawing/2014/main" id="{F04077D7-6F33-4274-9CCC-FEDE64675BB2}"/>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20" name="Legend3" hidden="1">
              <a:extLst>
                <a:ext uri="{FF2B5EF4-FFF2-40B4-BE49-F238E27FC236}">
                  <a16:creationId xmlns:a16="http://schemas.microsoft.com/office/drawing/2014/main" id="{23793CEE-85B6-BD17-19D3-EC9D0E842071}"/>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21" name="LineLegend3" hidden="1">
              <a:extLst>
                <a:ext uri="{FF2B5EF4-FFF2-40B4-BE49-F238E27FC236}">
                  <a16:creationId xmlns:a16="http://schemas.microsoft.com/office/drawing/2014/main" id="{61BAE7B3-E4EF-9911-3B6B-E3BDD7F1231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0" i="0" baseline="0">
                <a:latin typeface="Calibri" panose="020F0502020204030204" pitchFamily="34" charset="0"/>
                <a:ea typeface="+mn-ea"/>
              </a:endParaRPr>
            </a:p>
          </p:txBody>
        </p:sp>
        <p:sp>
          <p:nvSpPr>
            <p:cNvPr id="22" name="LineLegend2" hidden="1">
              <a:extLst>
                <a:ext uri="{FF2B5EF4-FFF2-40B4-BE49-F238E27FC236}">
                  <a16:creationId xmlns:a16="http://schemas.microsoft.com/office/drawing/2014/main" id="{960D4F68-5277-EC0D-0724-CD77A9859F8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0" i="0" baseline="0">
                <a:latin typeface="Calibri" panose="020F0502020204030204" pitchFamily="34" charset="0"/>
                <a:ea typeface="+mn-ea"/>
              </a:endParaRPr>
            </a:p>
          </p:txBody>
        </p:sp>
        <p:sp>
          <p:nvSpPr>
            <p:cNvPr id="23" name="LineLegend1" hidden="1">
              <a:extLst>
                <a:ext uri="{FF2B5EF4-FFF2-40B4-BE49-F238E27FC236}">
                  <a16:creationId xmlns:a16="http://schemas.microsoft.com/office/drawing/2014/main" id="{DDE4944B-1ACB-C147-F566-DD6B4F77C36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0" i="0" baseline="0">
                <a:latin typeface="Calibri" panose="020F0502020204030204" pitchFamily="34" charset="0"/>
                <a:ea typeface="+mn-ea"/>
              </a:endParaRPr>
            </a:p>
          </p:txBody>
        </p:sp>
      </p:grpSp>
      <p:grpSp>
        <p:nvGrpSpPr>
          <p:cNvPr id="24" name="LegendMoons" hidden="1">
            <a:extLst>
              <a:ext uri="{FF2B5EF4-FFF2-40B4-BE49-F238E27FC236}">
                <a16:creationId xmlns:a16="http://schemas.microsoft.com/office/drawing/2014/main" id="{BD5144ED-AC1D-5C7B-002F-00948122C0FA}"/>
              </a:ext>
            </a:extLst>
          </p:cNvPr>
          <p:cNvGrpSpPr/>
          <p:nvPr userDrawn="1"/>
        </p:nvGrpSpPr>
        <p:grpSpPr>
          <a:xfrm>
            <a:off x="10688315" y="1415983"/>
            <a:ext cx="880149" cy="1731859"/>
            <a:chOff x="7716535" y="2630582"/>
            <a:chExt cx="880149" cy="1731859"/>
          </a:xfrm>
        </p:grpSpPr>
        <p:sp>
          <p:nvSpPr>
            <p:cNvPr id="25" name="Legend1" hidden="1">
              <a:extLst>
                <a:ext uri="{FF2B5EF4-FFF2-40B4-BE49-F238E27FC236}">
                  <a16:creationId xmlns:a16="http://schemas.microsoft.com/office/drawing/2014/main" id="{56AF005F-8222-C406-DA34-F0494817E970}"/>
                </a:ext>
              </a:extLst>
            </p:cNvPr>
            <p:cNvSpPr txBox="1"/>
            <p:nvPr/>
          </p:nvSpPr>
          <p:spPr>
            <a:xfrm>
              <a:off x="8069167" y="26379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26" name="Legend2" hidden="1">
              <a:extLst>
                <a:ext uri="{FF2B5EF4-FFF2-40B4-BE49-F238E27FC236}">
                  <a16:creationId xmlns:a16="http://schemas.microsoft.com/office/drawing/2014/main" id="{601AED39-E0B6-9457-6DC3-ACC4FE864C76}"/>
                </a:ext>
              </a:extLst>
            </p:cNvPr>
            <p:cNvSpPr txBox="1"/>
            <p:nvPr/>
          </p:nvSpPr>
          <p:spPr>
            <a:xfrm>
              <a:off x="8069167" y="301340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27" name="Legend3" hidden="1">
              <a:extLst>
                <a:ext uri="{FF2B5EF4-FFF2-40B4-BE49-F238E27FC236}">
                  <a16:creationId xmlns:a16="http://schemas.microsoft.com/office/drawing/2014/main" id="{0326F55E-2468-C052-1111-43948B53FF0B}"/>
                </a:ext>
              </a:extLst>
            </p:cNvPr>
            <p:cNvSpPr txBox="1"/>
            <p:nvPr/>
          </p:nvSpPr>
          <p:spPr>
            <a:xfrm>
              <a:off x="8069167" y="3388859"/>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28" name="Legend4" hidden="1">
              <a:extLst>
                <a:ext uri="{FF2B5EF4-FFF2-40B4-BE49-F238E27FC236}">
                  <a16:creationId xmlns:a16="http://schemas.microsoft.com/office/drawing/2014/main" id="{7413A6AE-9A1D-9099-59FB-3D73C5AE5FE9}"/>
                </a:ext>
              </a:extLst>
            </p:cNvPr>
            <p:cNvSpPr txBox="1"/>
            <p:nvPr/>
          </p:nvSpPr>
          <p:spPr>
            <a:xfrm>
              <a:off x="8069167" y="3764318"/>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sp>
          <p:nvSpPr>
            <p:cNvPr id="29" name="Legend5" hidden="1">
              <a:extLst>
                <a:ext uri="{FF2B5EF4-FFF2-40B4-BE49-F238E27FC236}">
                  <a16:creationId xmlns:a16="http://schemas.microsoft.com/office/drawing/2014/main" id="{65C676CE-4E69-DF0A-8BF1-3613D927443C}"/>
                </a:ext>
              </a:extLst>
            </p:cNvPr>
            <p:cNvSpPr txBox="1"/>
            <p:nvPr/>
          </p:nvSpPr>
          <p:spPr>
            <a:xfrm>
              <a:off x="8069167" y="4139779"/>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b="0" i="0">
                  <a:latin typeface="Calibri" panose="020F0502020204030204" pitchFamily="34" charset="0"/>
                </a:rPr>
                <a:t>Legend</a:t>
              </a:r>
            </a:p>
          </p:txBody>
        </p:sp>
        <p:grpSp>
          <p:nvGrpSpPr>
            <p:cNvPr id="30" name="MoonLegend1" hidden="1">
              <a:extLst>
                <a:ext uri="{FF2B5EF4-FFF2-40B4-BE49-F238E27FC236}">
                  <a16:creationId xmlns:a16="http://schemas.microsoft.com/office/drawing/2014/main" id="{FE00B5F7-74EA-3332-A41B-9C1E60AF1C56}"/>
                </a:ext>
              </a:extLst>
            </p:cNvPr>
            <p:cNvGrpSpPr>
              <a:grpSpLocks noChangeAspect="1"/>
            </p:cNvGrpSpPr>
            <p:nvPr>
              <p:custDataLst>
                <p:tags r:id="rId26"/>
              </p:custDataLst>
            </p:nvPr>
          </p:nvGrpSpPr>
          <p:grpSpPr>
            <a:xfrm>
              <a:off x="7716535" y="2630582"/>
              <a:ext cx="228600" cy="228600"/>
              <a:chOff x="762000" y="1270000"/>
              <a:chExt cx="254000" cy="254000"/>
            </a:xfrm>
          </p:grpSpPr>
          <p:sp>
            <p:nvSpPr>
              <p:cNvPr id="43" name="Oval 42" hidden="1">
                <a:extLst>
                  <a:ext uri="{FF2B5EF4-FFF2-40B4-BE49-F238E27FC236}">
                    <a16:creationId xmlns:a16="http://schemas.microsoft.com/office/drawing/2014/main" id="{CA7DF878-268A-417F-A9CF-E20D4B68B65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44" name="Arc 43" hidden="1">
                <a:extLst>
                  <a:ext uri="{FF2B5EF4-FFF2-40B4-BE49-F238E27FC236}">
                    <a16:creationId xmlns:a16="http://schemas.microsoft.com/office/drawing/2014/main" id="{033E4B30-89AC-1D2C-140D-D99310DF8B09}"/>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31" name="MoonLegend2" hidden="1">
              <a:extLst>
                <a:ext uri="{FF2B5EF4-FFF2-40B4-BE49-F238E27FC236}">
                  <a16:creationId xmlns:a16="http://schemas.microsoft.com/office/drawing/2014/main" id="{A8B9F4CE-D57B-05BF-036D-452119A1974D}"/>
                </a:ext>
              </a:extLst>
            </p:cNvPr>
            <p:cNvGrpSpPr>
              <a:grpSpLocks noChangeAspect="1"/>
            </p:cNvGrpSpPr>
            <p:nvPr>
              <p:custDataLst>
                <p:tags r:id="rId27"/>
              </p:custDataLst>
            </p:nvPr>
          </p:nvGrpSpPr>
          <p:grpSpPr>
            <a:xfrm>
              <a:off x="7716535" y="3006395"/>
              <a:ext cx="228600" cy="228600"/>
              <a:chOff x="762000" y="1270000"/>
              <a:chExt cx="254000" cy="254000"/>
            </a:xfrm>
          </p:grpSpPr>
          <p:sp>
            <p:nvSpPr>
              <p:cNvPr id="41" name="Oval 40" hidden="1">
                <a:extLst>
                  <a:ext uri="{FF2B5EF4-FFF2-40B4-BE49-F238E27FC236}">
                    <a16:creationId xmlns:a16="http://schemas.microsoft.com/office/drawing/2014/main" id="{D7E45E99-22CA-25C3-78B9-5F66D7497FA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42" name="Arc 41" hidden="1">
                <a:extLst>
                  <a:ext uri="{FF2B5EF4-FFF2-40B4-BE49-F238E27FC236}">
                    <a16:creationId xmlns:a16="http://schemas.microsoft.com/office/drawing/2014/main" id="{C188F93A-EFE1-4267-9660-44B63293E154}"/>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32" name="MoonLegend3" hidden="1">
              <a:extLst>
                <a:ext uri="{FF2B5EF4-FFF2-40B4-BE49-F238E27FC236}">
                  <a16:creationId xmlns:a16="http://schemas.microsoft.com/office/drawing/2014/main" id="{0F20270D-5932-AAF6-F191-9DEDFE590686}"/>
                </a:ext>
              </a:extLst>
            </p:cNvPr>
            <p:cNvGrpSpPr>
              <a:grpSpLocks noChangeAspect="1"/>
            </p:cNvGrpSpPr>
            <p:nvPr>
              <p:custDataLst>
                <p:tags r:id="rId28"/>
              </p:custDataLst>
            </p:nvPr>
          </p:nvGrpSpPr>
          <p:grpSpPr>
            <a:xfrm>
              <a:off x="7716535" y="3382210"/>
              <a:ext cx="228600" cy="228600"/>
              <a:chOff x="762000" y="1270000"/>
              <a:chExt cx="254000" cy="254000"/>
            </a:xfrm>
          </p:grpSpPr>
          <p:sp>
            <p:nvSpPr>
              <p:cNvPr id="39" name="Oval 38" hidden="1">
                <a:extLst>
                  <a:ext uri="{FF2B5EF4-FFF2-40B4-BE49-F238E27FC236}">
                    <a16:creationId xmlns:a16="http://schemas.microsoft.com/office/drawing/2014/main" id="{D8E69CC5-37C9-613C-0EF6-8EEB14C31DF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40" name="Arc 39" hidden="1">
                <a:extLst>
                  <a:ext uri="{FF2B5EF4-FFF2-40B4-BE49-F238E27FC236}">
                    <a16:creationId xmlns:a16="http://schemas.microsoft.com/office/drawing/2014/main" id="{F74921FD-8CE3-B4AD-9836-385C01B83CF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33" name="MoonLegend4" hidden="1">
              <a:extLst>
                <a:ext uri="{FF2B5EF4-FFF2-40B4-BE49-F238E27FC236}">
                  <a16:creationId xmlns:a16="http://schemas.microsoft.com/office/drawing/2014/main" id="{5116F192-BC2D-C44B-D656-43B9D30AC5DC}"/>
                </a:ext>
              </a:extLst>
            </p:cNvPr>
            <p:cNvGrpSpPr>
              <a:grpSpLocks noChangeAspect="1"/>
            </p:cNvGrpSpPr>
            <p:nvPr>
              <p:custDataLst>
                <p:tags r:id="rId29"/>
              </p:custDataLst>
            </p:nvPr>
          </p:nvGrpSpPr>
          <p:grpSpPr>
            <a:xfrm>
              <a:off x="7716535" y="3758025"/>
              <a:ext cx="228600" cy="228600"/>
              <a:chOff x="762000" y="1270000"/>
              <a:chExt cx="254000" cy="254000"/>
            </a:xfrm>
          </p:grpSpPr>
          <p:sp>
            <p:nvSpPr>
              <p:cNvPr id="37" name="Oval 36" hidden="1">
                <a:extLst>
                  <a:ext uri="{FF2B5EF4-FFF2-40B4-BE49-F238E27FC236}">
                    <a16:creationId xmlns:a16="http://schemas.microsoft.com/office/drawing/2014/main" id="{8E0FD9B7-F508-8B53-DFAA-9BD918F32BE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38" name="Arc 37" hidden="1">
                <a:extLst>
                  <a:ext uri="{FF2B5EF4-FFF2-40B4-BE49-F238E27FC236}">
                    <a16:creationId xmlns:a16="http://schemas.microsoft.com/office/drawing/2014/main" id="{124730C6-78BA-3087-C4D9-E440DCCDEF0E}"/>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nvGrpSpPr>
            <p:cNvPr id="34" name="MoonLegend5" hidden="1">
              <a:extLst>
                <a:ext uri="{FF2B5EF4-FFF2-40B4-BE49-F238E27FC236}">
                  <a16:creationId xmlns:a16="http://schemas.microsoft.com/office/drawing/2014/main" id="{515033A7-D1A3-BC45-05B8-3DDE8BB831E4}"/>
                </a:ext>
              </a:extLst>
            </p:cNvPr>
            <p:cNvGrpSpPr>
              <a:grpSpLocks noChangeAspect="1"/>
            </p:cNvGrpSpPr>
            <p:nvPr>
              <p:custDataLst>
                <p:tags r:id="rId30"/>
              </p:custDataLst>
            </p:nvPr>
          </p:nvGrpSpPr>
          <p:grpSpPr>
            <a:xfrm>
              <a:off x="7716535" y="4133841"/>
              <a:ext cx="228600" cy="228600"/>
              <a:chOff x="762000" y="1270000"/>
              <a:chExt cx="254000" cy="254000"/>
            </a:xfrm>
          </p:grpSpPr>
          <p:sp>
            <p:nvSpPr>
              <p:cNvPr id="35" name="Oval 34" hidden="1">
                <a:extLst>
                  <a:ext uri="{FF2B5EF4-FFF2-40B4-BE49-F238E27FC236}">
                    <a16:creationId xmlns:a16="http://schemas.microsoft.com/office/drawing/2014/main" id="{3CF15EF1-9D77-C617-B6DA-5979919695B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solidFill>
                    <a:schemeClr val="tx1"/>
                  </a:solidFill>
                  <a:latin typeface="Calibri" panose="020F0502020204030204" pitchFamily="34" charset="0"/>
                </a:endParaRPr>
              </a:p>
            </p:txBody>
          </p:sp>
          <p:sp>
            <p:nvSpPr>
              <p:cNvPr id="36" name="Arc 35" hidden="1">
                <a:extLst>
                  <a:ext uri="{FF2B5EF4-FFF2-40B4-BE49-F238E27FC236}">
                    <a16:creationId xmlns:a16="http://schemas.microsoft.com/office/drawing/2014/main" id="{8BF20CCF-3DF1-2C7D-3F64-42943070CDA4}"/>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0" i="0">
                  <a:latin typeface="Calibri" panose="020F0502020204030204" pitchFamily="34" charset="0"/>
                </a:endParaRPr>
              </a:p>
            </p:txBody>
          </p:sp>
        </p:grpSp>
      </p:grpSp>
      <p:sp>
        <p:nvSpPr>
          <p:cNvPr id="5" name="Freeform 7">
            <a:extLst>
              <a:ext uri="{FF2B5EF4-FFF2-40B4-BE49-F238E27FC236}">
                <a16:creationId xmlns:a16="http://schemas.microsoft.com/office/drawing/2014/main" id="{4577F4AA-98D7-0EF3-D501-A3BF9083C499}"/>
              </a:ext>
            </a:extLst>
          </p:cNvPr>
          <p:cNvSpPr/>
          <p:nvPr userDrawn="1"/>
        </p:nvSpPr>
        <p:spPr>
          <a:xfrm>
            <a:off x="554737" y="6477629"/>
            <a:ext cx="1752046" cy="246294"/>
          </a:xfrm>
          <a:custGeom>
            <a:avLst/>
            <a:gdLst/>
            <a:ahLst/>
            <a:cxnLst/>
            <a:rect l="l" t="t" r="r" b="b"/>
            <a:pathLst>
              <a:path w="2993873" h="420864">
                <a:moveTo>
                  <a:pt x="0" y="0"/>
                </a:moveTo>
                <a:lnTo>
                  <a:pt x="2993873" y="0"/>
                </a:lnTo>
                <a:lnTo>
                  <a:pt x="2993873" y="420864"/>
                </a:lnTo>
                <a:lnTo>
                  <a:pt x="0" y="420864"/>
                </a:lnTo>
                <a:lnTo>
                  <a:pt x="0" y="0"/>
                </a:lnTo>
                <a:close/>
              </a:path>
            </a:pathLst>
          </a:custGeom>
          <a:blipFill>
            <a:blip r:embed="rId43">
              <a:extLst>
                <a:ext uri="{BEBA8EAE-BF5A-486C-A8C5-ECC9F3942E4B}">
                  <a14:imgProps xmlns:a14="http://schemas.microsoft.com/office/drawing/2010/main">
                    <a14:imgLayer r:embed="rId44">
                      <a14:imgEffect>
                        <a14:brightnessContrast bright="100000"/>
                      </a14:imgEffect>
                    </a14:imgLayer>
                  </a14:imgProps>
                </a:ext>
              </a:extLst>
            </a:blip>
            <a:stretch>
              <a:fillRect/>
            </a:stretch>
          </a:blipFill>
        </p:spPr>
        <p:txBody>
          <a:bodyPr/>
          <a:lstStyle/>
          <a:p>
            <a:endParaRPr lang="en-US" b="0" i="0" dirty="0">
              <a:latin typeface="Calibri" panose="020F0502020204030204" pitchFamily="34" charset="0"/>
            </a:endParaRPr>
          </a:p>
        </p:txBody>
      </p:sp>
      <p:sp>
        <p:nvSpPr>
          <p:cNvPr id="45" name="TextBox 44">
            <a:extLst>
              <a:ext uri="{FF2B5EF4-FFF2-40B4-BE49-F238E27FC236}">
                <a16:creationId xmlns:a16="http://schemas.microsoft.com/office/drawing/2014/main" id="{9886F73D-7514-4914-8D4F-0C0B7996685B}"/>
              </a:ext>
            </a:extLst>
          </p:cNvPr>
          <p:cNvSpPr txBox="1"/>
          <p:nvPr userDrawn="1"/>
        </p:nvSpPr>
        <p:spPr>
          <a:xfrm>
            <a:off x="10860763" y="6503215"/>
            <a:ext cx="458459"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0" i="0" dirty="0" err="1">
                <a:solidFill>
                  <a:schemeClr val="tx1"/>
                </a:solidFill>
                <a:latin typeface="Calibri" panose="020F0502020204030204" pitchFamily="34" charset="0"/>
              </a:rPr>
              <a:t>Idh.la.gov</a:t>
            </a:r>
            <a:endParaRPr lang="en-US" sz="900" b="0" i="0" dirty="0">
              <a:solidFill>
                <a:schemeClr val="tx1"/>
              </a:solidFill>
              <a:latin typeface="Calibri" panose="020F0502020204030204" pitchFamily="34" charset="0"/>
            </a:endParaRPr>
          </a:p>
        </p:txBody>
      </p:sp>
      <p:pic>
        <p:nvPicPr>
          <p:cNvPr id="47" name="Picture 46">
            <a:extLst>
              <a:ext uri="{FF2B5EF4-FFF2-40B4-BE49-F238E27FC236}">
                <a16:creationId xmlns:a16="http://schemas.microsoft.com/office/drawing/2014/main" id="{50829652-F935-37BF-4946-5364D297B922}"/>
              </a:ext>
            </a:extLst>
          </p:cNvPr>
          <p:cNvPicPr>
            <a:picLocks/>
          </p:cNvPicPr>
          <p:nvPr userDrawn="1"/>
        </p:nvPicPr>
        <p:blipFill>
          <a:blip r:embed="rId4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10722543" y="643"/>
            <a:ext cx="1466409" cy="932045"/>
          </a:xfrm>
          <a:prstGeom prst="rect">
            <a:avLst/>
          </a:prstGeom>
        </p:spPr>
      </p:pic>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98" r:id="rId3"/>
    <p:sldLayoutId id="2147483867" r:id="rId4"/>
    <p:sldLayoutId id="2147483868" r:id="rId5"/>
    <p:sldLayoutId id="2147483870" r:id="rId6"/>
    <p:sldLayoutId id="2147483871" r:id="rId7"/>
    <p:sldLayoutId id="2147483888" r:id="rId8"/>
    <p:sldLayoutId id="2147483889" r:id="rId9"/>
    <p:sldLayoutId id="2147483890" r:id="rId10"/>
    <p:sldLayoutId id="2147483891" r:id="rId11"/>
    <p:sldLayoutId id="2147483892" r:id="rId12"/>
    <p:sldLayoutId id="2147483894" r:id="rId13"/>
    <p:sldLayoutId id="2147483895" r:id="rId14"/>
    <p:sldLayoutId id="2147483896" r:id="rId15"/>
    <p:sldLayoutId id="2147483893" r:id="rId16"/>
    <p:sldLayoutId id="2147483877" r:id="rId17"/>
    <p:sldLayoutId id="2147483878" r:id="rId18"/>
  </p:sldLayoutIdLst>
  <p:txStyles>
    <p:titleStyle>
      <a:lvl1pPr algn="l" defTabSz="914400" rtl="0" eaLnBrk="1" latinLnBrk="0" hangingPunct="1">
        <a:lnSpc>
          <a:spcPct val="100000"/>
        </a:lnSpc>
        <a:spcBef>
          <a:spcPct val="0"/>
        </a:spcBef>
        <a:buNone/>
        <a:defRPr lang="en-US" sz="2500" b="0" i="0" kern="1200" spc="0" baseline="0" dirty="0">
          <a:ln w="6350" cap="flat">
            <a:noFill/>
            <a:miter lim="800000"/>
          </a:ln>
          <a:solidFill>
            <a:schemeClr val="tx1"/>
          </a:solidFill>
          <a:latin typeface="Calibri" panose="020F0502020204030204" pitchFamily="34" charset="0"/>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b="0" i="0" kern="1200">
          <a:solidFill>
            <a:schemeClr val="tx1"/>
          </a:solidFill>
          <a:latin typeface="Calibri" panose="020F0502020204030204" pitchFamily="34" charset="0"/>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b="0" i="0" kern="1200">
          <a:solidFill>
            <a:schemeClr val="tx1"/>
          </a:solidFill>
          <a:latin typeface="Calibri" panose="020F0502020204030204" pitchFamily="34" charset="0"/>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b="0" i="0" kern="1200">
          <a:solidFill>
            <a:schemeClr val="tx1"/>
          </a:solidFill>
          <a:latin typeface="Calibri" panose="020F0502020204030204" pitchFamily="34" charset="0"/>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b="0" i="0" kern="1200">
          <a:solidFill>
            <a:schemeClr val="tx1"/>
          </a:solidFill>
          <a:latin typeface="Calibri" panose="020F0502020204030204" pitchFamily="34" charset="0"/>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b="0" i="0" kern="1200">
          <a:solidFill>
            <a:schemeClr val="tx1"/>
          </a:solidFill>
          <a:latin typeface="Calibri" panose="020F0502020204030204" pitchFamily="34" charset="0"/>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71" userDrawn="1">
          <p15:clr>
            <a:srgbClr val="5ACBF0"/>
          </p15:clr>
        </p15:guide>
        <p15:guide id="3" orient="horz" pos="3912">
          <p15:clr>
            <a:srgbClr val="5ACBF0"/>
          </p15:clr>
        </p15:guide>
        <p15:guide id="4" orient="horz" pos="883" userDrawn="1">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59.xml"/><Relationship Id="rId7" Type="http://schemas.openxmlformats.org/officeDocument/2006/relationships/oleObject" Target="../embeddings/oleObject38.bin"/><Relationship Id="rId2" Type="http://schemas.openxmlformats.org/officeDocument/2006/relationships/tags" Target="../tags/tag258.xml"/><Relationship Id="rId1" Type="http://schemas.openxmlformats.org/officeDocument/2006/relationships/vmlDrawing" Target="../drawings/vmlDrawing37.vml"/><Relationship Id="rId6" Type="http://schemas.openxmlformats.org/officeDocument/2006/relationships/image" Target="../media/image12.emf"/><Relationship Id="rId5" Type="http://schemas.openxmlformats.org/officeDocument/2006/relationships/oleObject" Target="../embeddings/oleObject37.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notesSlide" Target="../notesSlides/notesSlide7.xml"/><Relationship Id="rId5" Type="http://schemas.openxmlformats.org/officeDocument/2006/relationships/slideLayout" Target="../slideLayouts/slideLayout10.xml"/><Relationship Id="rId4" Type="http://schemas.openxmlformats.org/officeDocument/2006/relationships/tags" Target="../tags/tag319.xml"/></Relationships>
</file>

<file path=ppt/slides/_rels/slide11.xml.rels><?xml version="1.0" encoding="UTF-8" standalone="yes"?>
<Relationships xmlns="http://schemas.openxmlformats.org/package/2006/relationships"><Relationship Id="rId8" Type="http://schemas.openxmlformats.org/officeDocument/2006/relationships/tags" Target="../tags/tag327.xml"/><Relationship Id="rId13" Type="http://schemas.openxmlformats.org/officeDocument/2006/relationships/tags" Target="../tags/tag332.xml"/><Relationship Id="rId18" Type="http://schemas.openxmlformats.org/officeDocument/2006/relationships/tags" Target="../tags/tag337.xml"/><Relationship Id="rId3" Type="http://schemas.openxmlformats.org/officeDocument/2006/relationships/tags" Target="../tags/tag322.xml"/><Relationship Id="rId7" Type="http://schemas.openxmlformats.org/officeDocument/2006/relationships/tags" Target="../tags/tag326.xml"/><Relationship Id="rId12" Type="http://schemas.openxmlformats.org/officeDocument/2006/relationships/tags" Target="../tags/tag331.xml"/><Relationship Id="rId17" Type="http://schemas.openxmlformats.org/officeDocument/2006/relationships/tags" Target="../tags/tag336.xml"/><Relationship Id="rId2" Type="http://schemas.openxmlformats.org/officeDocument/2006/relationships/tags" Target="../tags/tag321.xml"/><Relationship Id="rId16" Type="http://schemas.openxmlformats.org/officeDocument/2006/relationships/tags" Target="../tags/tag335.xml"/><Relationship Id="rId20" Type="http://schemas.openxmlformats.org/officeDocument/2006/relationships/hyperlink" Target="https://ldh.la.gov/assets/docs/LegisReports/HR312/MCIP_HR312_Q1_Q2_2025.pdf" TargetMode="External"/><Relationship Id="rId1" Type="http://schemas.openxmlformats.org/officeDocument/2006/relationships/tags" Target="../tags/tag320.xml"/><Relationship Id="rId6" Type="http://schemas.openxmlformats.org/officeDocument/2006/relationships/tags" Target="../tags/tag325.xml"/><Relationship Id="rId11" Type="http://schemas.openxmlformats.org/officeDocument/2006/relationships/tags" Target="../tags/tag330.xml"/><Relationship Id="rId5" Type="http://schemas.openxmlformats.org/officeDocument/2006/relationships/tags" Target="../tags/tag324.xml"/><Relationship Id="rId15" Type="http://schemas.openxmlformats.org/officeDocument/2006/relationships/tags" Target="../tags/tag334.xml"/><Relationship Id="rId10" Type="http://schemas.openxmlformats.org/officeDocument/2006/relationships/tags" Target="../tags/tag329.xml"/><Relationship Id="rId19" Type="http://schemas.openxmlformats.org/officeDocument/2006/relationships/slideLayout" Target="../slideLayouts/slideLayout2.xml"/><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s>
</file>

<file path=ppt/slides/_rels/slide12.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tags" Target="../tags/tag338.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tags" Target="../tags/tag353.xml"/><Relationship Id="rId18" Type="http://schemas.openxmlformats.org/officeDocument/2006/relationships/tags" Target="../tags/tag358.xml"/><Relationship Id="rId26" Type="http://schemas.openxmlformats.org/officeDocument/2006/relationships/tags" Target="../tags/tag366.xml"/><Relationship Id="rId39" Type="http://schemas.openxmlformats.org/officeDocument/2006/relationships/tags" Target="../tags/tag379.xml"/><Relationship Id="rId3" Type="http://schemas.openxmlformats.org/officeDocument/2006/relationships/tags" Target="../tags/tag343.xml"/><Relationship Id="rId21" Type="http://schemas.openxmlformats.org/officeDocument/2006/relationships/tags" Target="../tags/tag361.xml"/><Relationship Id="rId34" Type="http://schemas.openxmlformats.org/officeDocument/2006/relationships/tags" Target="../tags/tag374.xml"/><Relationship Id="rId42" Type="http://schemas.openxmlformats.org/officeDocument/2006/relationships/chart" Target="../charts/chart1.xml"/><Relationship Id="rId7" Type="http://schemas.openxmlformats.org/officeDocument/2006/relationships/tags" Target="../tags/tag347.xml"/><Relationship Id="rId12" Type="http://schemas.openxmlformats.org/officeDocument/2006/relationships/tags" Target="../tags/tag352.xml"/><Relationship Id="rId17" Type="http://schemas.openxmlformats.org/officeDocument/2006/relationships/tags" Target="../tags/tag357.xml"/><Relationship Id="rId25" Type="http://schemas.openxmlformats.org/officeDocument/2006/relationships/tags" Target="../tags/tag365.xml"/><Relationship Id="rId33" Type="http://schemas.openxmlformats.org/officeDocument/2006/relationships/tags" Target="../tags/tag373.xml"/><Relationship Id="rId38" Type="http://schemas.openxmlformats.org/officeDocument/2006/relationships/tags" Target="../tags/tag378.xml"/><Relationship Id="rId2" Type="http://schemas.openxmlformats.org/officeDocument/2006/relationships/tags" Target="../tags/tag342.xml"/><Relationship Id="rId16" Type="http://schemas.openxmlformats.org/officeDocument/2006/relationships/tags" Target="../tags/tag356.xml"/><Relationship Id="rId20" Type="http://schemas.openxmlformats.org/officeDocument/2006/relationships/tags" Target="../tags/tag360.xml"/><Relationship Id="rId29" Type="http://schemas.openxmlformats.org/officeDocument/2006/relationships/tags" Target="../tags/tag369.xml"/><Relationship Id="rId41" Type="http://schemas.openxmlformats.org/officeDocument/2006/relationships/notesSlide" Target="../notesSlides/notesSlide8.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tags" Target="../tags/tag351.xml"/><Relationship Id="rId24" Type="http://schemas.openxmlformats.org/officeDocument/2006/relationships/tags" Target="../tags/tag364.xml"/><Relationship Id="rId32" Type="http://schemas.openxmlformats.org/officeDocument/2006/relationships/tags" Target="../tags/tag372.xml"/><Relationship Id="rId37" Type="http://schemas.openxmlformats.org/officeDocument/2006/relationships/tags" Target="../tags/tag377.xml"/><Relationship Id="rId40" Type="http://schemas.openxmlformats.org/officeDocument/2006/relationships/slideLayout" Target="../slideLayouts/slideLayout12.xml"/><Relationship Id="rId5" Type="http://schemas.openxmlformats.org/officeDocument/2006/relationships/tags" Target="../tags/tag345.xml"/><Relationship Id="rId15" Type="http://schemas.openxmlformats.org/officeDocument/2006/relationships/tags" Target="../tags/tag355.xml"/><Relationship Id="rId23" Type="http://schemas.openxmlformats.org/officeDocument/2006/relationships/tags" Target="../tags/tag363.xml"/><Relationship Id="rId28" Type="http://schemas.openxmlformats.org/officeDocument/2006/relationships/tags" Target="../tags/tag368.xml"/><Relationship Id="rId36" Type="http://schemas.openxmlformats.org/officeDocument/2006/relationships/tags" Target="../tags/tag376.xml"/><Relationship Id="rId10" Type="http://schemas.openxmlformats.org/officeDocument/2006/relationships/tags" Target="../tags/tag350.xml"/><Relationship Id="rId19" Type="http://schemas.openxmlformats.org/officeDocument/2006/relationships/tags" Target="../tags/tag359.xml"/><Relationship Id="rId31" Type="http://schemas.openxmlformats.org/officeDocument/2006/relationships/tags" Target="../tags/tag371.xm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tags" Target="../tags/tag354.xml"/><Relationship Id="rId22" Type="http://schemas.openxmlformats.org/officeDocument/2006/relationships/tags" Target="../tags/tag362.xml"/><Relationship Id="rId27" Type="http://schemas.openxmlformats.org/officeDocument/2006/relationships/tags" Target="../tags/tag367.xml"/><Relationship Id="rId30" Type="http://schemas.openxmlformats.org/officeDocument/2006/relationships/tags" Target="../tags/tag370.xml"/><Relationship Id="rId35" Type="http://schemas.openxmlformats.org/officeDocument/2006/relationships/tags" Target="../tags/tag375.xml"/></Relationships>
</file>

<file path=ppt/slides/_rels/slide14.xml.rels><?xml version="1.0" encoding="UTF-8" standalone="yes"?>
<Relationships xmlns="http://schemas.openxmlformats.org/package/2006/relationships"><Relationship Id="rId26" Type="http://schemas.openxmlformats.org/officeDocument/2006/relationships/tags" Target="../tags/tag405.xml"/><Relationship Id="rId21" Type="http://schemas.openxmlformats.org/officeDocument/2006/relationships/tags" Target="../tags/tag400.xml"/><Relationship Id="rId34" Type="http://schemas.openxmlformats.org/officeDocument/2006/relationships/tags" Target="../tags/tag413.xml"/><Relationship Id="rId42" Type="http://schemas.openxmlformats.org/officeDocument/2006/relationships/tags" Target="../tags/tag421.xml"/><Relationship Id="rId47" Type="http://schemas.openxmlformats.org/officeDocument/2006/relationships/tags" Target="../tags/tag426.xml"/><Relationship Id="rId50" Type="http://schemas.openxmlformats.org/officeDocument/2006/relationships/tags" Target="../tags/tag429.xml"/><Relationship Id="rId55" Type="http://schemas.openxmlformats.org/officeDocument/2006/relationships/tags" Target="../tags/tag434.xml"/><Relationship Id="rId63" Type="http://schemas.openxmlformats.org/officeDocument/2006/relationships/tags" Target="../tags/tag442.xml"/><Relationship Id="rId68" Type="http://schemas.openxmlformats.org/officeDocument/2006/relationships/tags" Target="../tags/tag447.xml"/><Relationship Id="rId76" Type="http://schemas.openxmlformats.org/officeDocument/2006/relationships/tags" Target="../tags/tag455.xml"/><Relationship Id="rId84" Type="http://schemas.openxmlformats.org/officeDocument/2006/relationships/tags" Target="../tags/tag463.xml"/><Relationship Id="rId89" Type="http://schemas.openxmlformats.org/officeDocument/2006/relationships/tags" Target="../tags/tag468.xml"/><Relationship Id="rId97" Type="http://schemas.openxmlformats.org/officeDocument/2006/relationships/tags" Target="../tags/tag476.xml"/><Relationship Id="rId7" Type="http://schemas.openxmlformats.org/officeDocument/2006/relationships/tags" Target="../tags/tag386.xml"/><Relationship Id="rId71" Type="http://schemas.openxmlformats.org/officeDocument/2006/relationships/tags" Target="../tags/tag450.xml"/><Relationship Id="rId92" Type="http://schemas.openxmlformats.org/officeDocument/2006/relationships/tags" Target="../tags/tag471.xml"/><Relationship Id="rId2" Type="http://schemas.openxmlformats.org/officeDocument/2006/relationships/tags" Target="../tags/tag381.xml"/><Relationship Id="rId16" Type="http://schemas.openxmlformats.org/officeDocument/2006/relationships/tags" Target="../tags/tag395.xml"/><Relationship Id="rId29" Type="http://schemas.openxmlformats.org/officeDocument/2006/relationships/tags" Target="../tags/tag408.xml"/><Relationship Id="rId11" Type="http://schemas.openxmlformats.org/officeDocument/2006/relationships/tags" Target="../tags/tag390.xml"/><Relationship Id="rId24" Type="http://schemas.openxmlformats.org/officeDocument/2006/relationships/tags" Target="../tags/tag403.xml"/><Relationship Id="rId32" Type="http://schemas.openxmlformats.org/officeDocument/2006/relationships/tags" Target="../tags/tag411.xml"/><Relationship Id="rId37" Type="http://schemas.openxmlformats.org/officeDocument/2006/relationships/tags" Target="../tags/tag416.xml"/><Relationship Id="rId40" Type="http://schemas.openxmlformats.org/officeDocument/2006/relationships/tags" Target="../tags/tag419.xml"/><Relationship Id="rId45" Type="http://schemas.openxmlformats.org/officeDocument/2006/relationships/tags" Target="../tags/tag424.xml"/><Relationship Id="rId53" Type="http://schemas.openxmlformats.org/officeDocument/2006/relationships/tags" Target="../tags/tag432.xml"/><Relationship Id="rId58" Type="http://schemas.openxmlformats.org/officeDocument/2006/relationships/tags" Target="../tags/tag437.xml"/><Relationship Id="rId66" Type="http://schemas.openxmlformats.org/officeDocument/2006/relationships/tags" Target="../tags/tag445.xml"/><Relationship Id="rId74" Type="http://schemas.openxmlformats.org/officeDocument/2006/relationships/tags" Target="../tags/tag453.xml"/><Relationship Id="rId79" Type="http://schemas.openxmlformats.org/officeDocument/2006/relationships/tags" Target="../tags/tag458.xml"/><Relationship Id="rId87" Type="http://schemas.openxmlformats.org/officeDocument/2006/relationships/tags" Target="../tags/tag466.xml"/><Relationship Id="rId102" Type="http://schemas.openxmlformats.org/officeDocument/2006/relationships/chart" Target="../charts/chart3.xml"/><Relationship Id="rId5" Type="http://schemas.openxmlformats.org/officeDocument/2006/relationships/tags" Target="../tags/tag384.xml"/><Relationship Id="rId61" Type="http://schemas.openxmlformats.org/officeDocument/2006/relationships/tags" Target="../tags/tag440.xml"/><Relationship Id="rId82" Type="http://schemas.openxmlformats.org/officeDocument/2006/relationships/tags" Target="../tags/tag461.xml"/><Relationship Id="rId90" Type="http://schemas.openxmlformats.org/officeDocument/2006/relationships/tags" Target="../tags/tag469.xml"/><Relationship Id="rId95" Type="http://schemas.openxmlformats.org/officeDocument/2006/relationships/tags" Target="../tags/tag474.xml"/><Relationship Id="rId19" Type="http://schemas.openxmlformats.org/officeDocument/2006/relationships/tags" Target="../tags/tag398.xml"/><Relationship Id="rId14" Type="http://schemas.openxmlformats.org/officeDocument/2006/relationships/tags" Target="../tags/tag393.xml"/><Relationship Id="rId22" Type="http://schemas.openxmlformats.org/officeDocument/2006/relationships/tags" Target="../tags/tag401.xml"/><Relationship Id="rId27" Type="http://schemas.openxmlformats.org/officeDocument/2006/relationships/tags" Target="../tags/tag406.xml"/><Relationship Id="rId30" Type="http://schemas.openxmlformats.org/officeDocument/2006/relationships/tags" Target="../tags/tag409.xml"/><Relationship Id="rId35" Type="http://schemas.openxmlformats.org/officeDocument/2006/relationships/tags" Target="../tags/tag414.xml"/><Relationship Id="rId43" Type="http://schemas.openxmlformats.org/officeDocument/2006/relationships/tags" Target="../tags/tag422.xml"/><Relationship Id="rId48" Type="http://schemas.openxmlformats.org/officeDocument/2006/relationships/tags" Target="../tags/tag427.xml"/><Relationship Id="rId56" Type="http://schemas.openxmlformats.org/officeDocument/2006/relationships/tags" Target="../tags/tag435.xml"/><Relationship Id="rId64" Type="http://schemas.openxmlformats.org/officeDocument/2006/relationships/tags" Target="../tags/tag443.xml"/><Relationship Id="rId69" Type="http://schemas.openxmlformats.org/officeDocument/2006/relationships/tags" Target="../tags/tag448.xml"/><Relationship Id="rId77" Type="http://schemas.openxmlformats.org/officeDocument/2006/relationships/tags" Target="../tags/tag456.xml"/><Relationship Id="rId100" Type="http://schemas.openxmlformats.org/officeDocument/2006/relationships/notesSlide" Target="../notesSlides/notesSlide9.xml"/><Relationship Id="rId8" Type="http://schemas.openxmlformats.org/officeDocument/2006/relationships/tags" Target="../tags/tag387.xml"/><Relationship Id="rId51" Type="http://schemas.openxmlformats.org/officeDocument/2006/relationships/tags" Target="../tags/tag430.xml"/><Relationship Id="rId72" Type="http://schemas.openxmlformats.org/officeDocument/2006/relationships/tags" Target="../tags/tag451.xml"/><Relationship Id="rId80" Type="http://schemas.openxmlformats.org/officeDocument/2006/relationships/tags" Target="../tags/tag459.xml"/><Relationship Id="rId85" Type="http://schemas.openxmlformats.org/officeDocument/2006/relationships/tags" Target="../tags/tag464.xml"/><Relationship Id="rId93" Type="http://schemas.openxmlformats.org/officeDocument/2006/relationships/tags" Target="../tags/tag472.xml"/><Relationship Id="rId98" Type="http://schemas.openxmlformats.org/officeDocument/2006/relationships/tags" Target="../tags/tag477.xml"/><Relationship Id="rId3" Type="http://schemas.openxmlformats.org/officeDocument/2006/relationships/tags" Target="../tags/tag382.xml"/><Relationship Id="rId12" Type="http://schemas.openxmlformats.org/officeDocument/2006/relationships/tags" Target="../tags/tag391.xml"/><Relationship Id="rId17" Type="http://schemas.openxmlformats.org/officeDocument/2006/relationships/tags" Target="../tags/tag396.xml"/><Relationship Id="rId25" Type="http://schemas.openxmlformats.org/officeDocument/2006/relationships/tags" Target="../tags/tag404.xml"/><Relationship Id="rId33" Type="http://schemas.openxmlformats.org/officeDocument/2006/relationships/tags" Target="../tags/tag412.xml"/><Relationship Id="rId38" Type="http://schemas.openxmlformats.org/officeDocument/2006/relationships/tags" Target="../tags/tag417.xml"/><Relationship Id="rId46" Type="http://schemas.openxmlformats.org/officeDocument/2006/relationships/tags" Target="../tags/tag425.xml"/><Relationship Id="rId59" Type="http://schemas.openxmlformats.org/officeDocument/2006/relationships/tags" Target="../tags/tag438.xml"/><Relationship Id="rId67" Type="http://schemas.openxmlformats.org/officeDocument/2006/relationships/tags" Target="../tags/tag446.xml"/><Relationship Id="rId20" Type="http://schemas.openxmlformats.org/officeDocument/2006/relationships/tags" Target="../tags/tag399.xml"/><Relationship Id="rId41" Type="http://schemas.openxmlformats.org/officeDocument/2006/relationships/tags" Target="../tags/tag420.xml"/><Relationship Id="rId54" Type="http://schemas.openxmlformats.org/officeDocument/2006/relationships/tags" Target="../tags/tag433.xml"/><Relationship Id="rId62" Type="http://schemas.openxmlformats.org/officeDocument/2006/relationships/tags" Target="../tags/tag441.xml"/><Relationship Id="rId70" Type="http://schemas.openxmlformats.org/officeDocument/2006/relationships/tags" Target="../tags/tag449.xml"/><Relationship Id="rId75" Type="http://schemas.openxmlformats.org/officeDocument/2006/relationships/tags" Target="../tags/tag454.xml"/><Relationship Id="rId83" Type="http://schemas.openxmlformats.org/officeDocument/2006/relationships/tags" Target="../tags/tag462.xml"/><Relationship Id="rId88" Type="http://schemas.openxmlformats.org/officeDocument/2006/relationships/tags" Target="../tags/tag467.xml"/><Relationship Id="rId91" Type="http://schemas.openxmlformats.org/officeDocument/2006/relationships/tags" Target="../tags/tag470.xml"/><Relationship Id="rId96" Type="http://schemas.openxmlformats.org/officeDocument/2006/relationships/tags" Target="../tags/tag475.xml"/><Relationship Id="rId1" Type="http://schemas.openxmlformats.org/officeDocument/2006/relationships/tags" Target="../tags/tag380.xml"/><Relationship Id="rId6" Type="http://schemas.openxmlformats.org/officeDocument/2006/relationships/tags" Target="../tags/tag385.xml"/><Relationship Id="rId15" Type="http://schemas.openxmlformats.org/officeDocument/2006/relationships/tags" Target="../tags/tag394.xml"/><Relationship Id="rId23" Type="http://schemas.openxmlformats.org/officeDocument/2006/relationships/tags" Target="../tags/tag402.xml"/><Relationship Id="rId28" Type="http://schemas.openxmlformats.org/officeDocument/2006/relationships/tags" Target="../tags/tag407.xml"/><Relationship Id="rId36" Type="http://schemas.openxmlformats.org/officeDocument/2006/relationships/tags" Target="../tags/tag415.xml"/><Relationship Id="rId49" Type="http://schemas.openxmlformats.org/officeDocument/2006/relationships/tags" Target="../tags/tag428.xml"/><Relationship Id="rId57" Type="http://schemas.openxmlformats.org/officeDocument/2006/relationships/tags" Target="../tags/tag436.xml"/><Relationship Id="rId10" Type="http://schemas.openxmlformats.org/officeDocument/2006/relationships/tags" Target="../tags/tag389.xml"/><Relationship Id="rId31" Type="http://schemas.openxmlformats.org/officeDocument/2006/relationships/tags" Target="../tags/tag410.xml"/><Relationship Id="rId44" Type="http://schemas.openxmlformats.org/officeDocument/2006/relationships/tags" Target="../tags/tag423.xml"/><Relationship Id="rId52" Type="http://schemas.openxmlformats.org/officeDocument/2006/relationships/tags" Target="../tags/tag431.xml"/><Relationship Id="rId60" Type="http://schemas.openxmlformats.org/officeDocument/2006/relationships/tags" Target="../tags/tag439.xml"/><Relationship Id="rId65" Type="http://schemas.openxmlformats.org/officeDocument/2006/relationships/tags" Target="../tags/tag444.xml"/><Relationship Id="rId73" Type="http://schemas.openxmlformats.org/officeDocument/2006/relationships/tags" Target="../tags/tag452.xml"/><Relationship Id="rId78" Type="http://schemas.openxmlformats.org/officeDocument/2006/relationships/tags" Target="../tags/tag457.xml"/><Relationship Id="rId81" Type="http://schemas.openxmlformats.org/officeDocument/2006/relationships/tags" Target="../tags/tag460.xml"/><Relationship Id="rId86" Type="http://schemas.openxmlformats.org/officeDocument/2006/relationships/tags" Target="../tags/tag465.xml"/><Relationship Id="rId94" Type="http://schemas.openxmlformats.org/officeDocument/2006/relationships/tags" Target="../tags/tag473.xml"/><Relationship Id="rId99" Type="http://schemas.openxmlformats.org/officeDocument/2006/relationships/slideLayout" Target="../slideLayouts/slideLayout12.xml"/><Relationship Id="rId101" Type="http://schemas.openxmlformats.org/officeDocument/2006/relationships/chart" Target="../charts/chart2.xml"/><Relationship Id="rId4" Type="http://schemas.openxmlformats.org/officeDocument/2006/relationships/tags" Target="../tags/tag383.xml"/><Relationship Id="rId9" Type="http://schemas.openxmlformats.org/officeDocument/2006/relationships/tags" Target="../tags/tag388.xml"/><Relationship Id="rId13" Type="http://schemas.openxmlformats.org/officeDocument/2006/relationships/tags" Target="../tags/tag392.xml"/><Relationship Id="rId18" Type="http://schemas.openxmlformats.org/officeDocument/2006/relationships/tags" Target="../tags/tag397.xml"/><Relationship Id="rId39" Type="http://schemas.openxmlformats.org/officeDocument/2006/relationships/tags" Target="../tags/tag418.xml"/></Relationships>
</file>

<file path=ppt/slides/_rels/slide15.xml.rels><?xml version="1.0" encoding="UTF-8" standalone="yes"?>
<Relationships xmlns="http://schemas.openxmlformats.org/package/2006/relationships"><Relationship Id="rId13" Type="http://schemas.openxmlformats.org/officeDocument/2006/relationships/tags" Target="../tags/tag490.xml"/><Relationship Id="rId18" Type="http://schemas.openxmlformats.org/officeDocument/2006/relationships/tags" Target="../tags/tag495.xml"/><Relationship Id="rId26" Type="http://schemas.openxmlformats.org/officeDocument/2006/relationships/tags" Target="../tags/tag503.xml"/><Relationship Id="rId39" Type="http://schemas.openxmlformats.org/officeDocument/2006/relationships/tags" Target="../tags/tag516.xml"/><Relationship Id="rId21" Type="http://schemas.openxmlformats.org/officeDocument/2006/relationships/tags" Target="../tags/tag498.xml"/><Relationship Id="rId34" Type="http://schemas.openxmlformats.org/officeDocument/2006/relationships/tags" Target="../tags/tag511.xml"/><Relationship Id="rId42" Type="http://schemas.openxmlformats.org/officeDocument/2006/relationships/tags" Target="../tags/tag519.xml"/><Relationship Id="rId47" Type="http://schemas.openxmlformats.org/officeDocument/2006/relationships/tags" Target="../tags/tag524.xml"/><Relationship Id="rId50" Type="http://schemas.openxmlformats.org/officeDocument/2006/relationships/tags" Target="../tags/tag527.xml"/><Relationship Id="rId55" Type="http://schemas.openxmlformats.org/officeDocument/2006/relationships/tags" Target="../tags/tag532.xml"/><Relationship Id="rId63" Type="http://schemas.openxmlformats.org/officeDocument/2006/relationships/tags" Target="../tags/tag540.xml"/><Relationship Id="rId68" Type="http://schemas.openxmlformats.org/officeDocument/2006/relationships/tags" Target="../tags/tag545.xml"/><Relationship Id="rId76" Type="http://schemas.openxmlformats.org/officeDocument/2006/relationships/tags" Target="../tags/tag553.xml"/><Relationship Id="rId7" Type="http://schemas.openxmlformats.org/officeDocument/2006/relationships/tags" Target="../tags/tag484.xml"/><Relationship Id="rId71" Type="http://schemas.openxmlformats.org/officeDocument/2006/relationships/tags" Target="../tags/tag548.xml"/><Relationship Id="rId2" Type="http://schemas.openxmlformats.org/officeDocument/2006/relationships/tags" Target="../tags/tag479.xml"/><Relationship Id="rId16" Type="http://schemas.openxmlformats.org/officeDocument/2006/relationships/tags" Target="../tags/tag493.xml"/><Relationship Id="rId29" Type="http://schemas.openxmlformats.org/officeDocument/2006/relationships/tags" Target="../tags/tag506.xml"/><Relationship Id="rId11" Type="http://schemas.openxmlformats.org/officeDocument/2006/relationships/tags" Target="../tags/tag488.xml"/><Relationship Id="rId24" Type="http://schemas.openxmlformats.org/officeDocument/2006/relationships/tags" Target="../tags/tag501.xml"/><Relationship Id="rId32" Type="http://schemas.openxmlformats.org/officeDocument/2006/relationships/tags" Target="../tags/tag509.xml"/><Relationship Id="rId37" Type="http://schemas.openxmlformats.org/officeDocument/2006/relationships/tags" Target="../tags/tag514.xml"/><Relationship Id="rId40" Type="http://schemas.openxmlformats.org/officeDocument/2006/relationships/tags" Target="../tags/tag517.xml"/><Relationship Id="rId45" Type="http://schemas.openxmlformats.org/officeDocument/2006/relationships/tags" Target="../tags/tag522.xml"/><Relationship Id="rId53" Type="http://schemas.openxmlformats.org/officeDocument/2006/relationships/tags" Target="../tags/tag530.xml"/><Relationship Id="rId58" Type="http://schemas.openxmlformats.org/officeDocument/2006/relationships/tags" Target="../tags/tag535.xml"/><Relationship Id="rId66" Type="http://schemas.openxmlformats.org/officeDocument/2006/relationships/tags" Target="../tags/tag543.xml"/><Relationship Id="rId74" Type="http://schemas.openxmlformats.org/officeDocument/2006/relationships/tags" Target="../tags/tag551.xml"/><Relationship Id="rId79" Type="http://schemas.openxmlformats.org/officeDocument/2006/relationships/slideLayout" Target="../slideLayouts/slideLayout12.xml"/><Relationship Id="rId5" Type="http://schemas.openxmlformats.org/officeDocument/2006/relationships/tags" Target="../tags/tag482.xml"/><Relationship Id="rId61" Type="http://schemas.openxmlformats.org/officeDocument/2006/relationships/tags" Target="../tags/tag538.xml"/><Relationship Id="rId10" Type="http://schemas.openxmlformats.org/officeDocument/2006/relationships/tags" Target="../tags/tag487.xml"/><Relationship Id="rId19" Type="http://schemas.openxmlformats.org/officeDocument/2006/relationships/tags" Target="../tags/tag496.xml"/><Relationship Id="rId31" Type="http://schemas.openxmlformats.org/officeDocument/2006/relationships/tags" Target="../tags/tag508.xml"/><Relationship Id="rId44" Type="http://schemas.openxmlformats.org/officeDocument/2006/relationships/tags" Target="../tags/tag521.xml"/><Relationship Id="rId52" Type="http://schemas.openxmlformats.org/officeDocument/2006/relationships/tags" Target="../tags/tag529.xml"/><Relationship Id="rId60" Type="http://schemas.openxmlformats.org/officeDocument/2006/relationships/tags" Target="../tags/tag537.xml"/><Relationship Id="rId65" Type="http://schemas.openxmlformats.org/officeDocument/2006/relationships/tags" Target="../tags/tag542.xml"/><Relationship Id="rId73" Type="http://schemas.openxmlformats.org/officeDocument/2006/relationships/tags" Target="../tags/tag550.xml"/><Relationship Id="rId78" Type="http://schemas.openxmlformats.org/officeDocument/2006/relationships/tags" Target="../tags/tag555.xml"/><Relationship Id="rId81" Type="http://schemas.openxmlformats.org/officeDocument/2006/relationships/chart" Target="../charts/chart4.xml"/><Relationship Id="rId4" Type="http://schemas.openxmlformats.org/officeDocument/2006/relationships/tags" Target="../tags/tag481.xml"/><Relationship Id="rId9" Type="http://schemas.openxmlformats.org/officeDocument/2006/relationships/tags" Target="../tags/tag486.xml"/><Relationship Id="rId14" Type="http://schemas.openxmlformats.org/officeDocument/2006/relationships/tags" Target="../tags/tag491.xml"/><Relationship Id="rId22" Type="http://schemas.openxmlformats.org/officeDocument/2006/relationships/tags" Target="../tags/tag499.xml"/><Relationship Id="rId27" Type="http://schemas.openxmlformats.org/officeDocument/2006/relationships/tags" Target="../tags/tag504.xml"/><Relationship Id="rId30" Type="http://schemas.openxmlformats.org/officeDocument/2006/relationships/tags" Target="../tags/tag507.xml"/><Relationship Id="rId35" Type="http://schemas.openxmlformats.org/officeDocument/2006/relationships/tags" Target="../tags/tag512.xml"/><Relationship Id="rId43" Type="http://schemas.openxmlformats.org/officeDocument/2006/relationships/tags" Target="../tags/tag520.xml"/><Relationship Id="rId48" Type="http://schemas.openxmlformats.org/officeDocument/2006/relationships/tags" Target="../tags/tag525.xml"/><Relationship Id="rId56" Type="http://schemas.openxmlformats.org/officeDocument/2006/relationships/tags" Target="../tags/tag533.xml"/><Relationship Id="rId64" Type="http://schemas.openxmlformats.org/officeDocument/2006/relationships/tags" Target="../tags/tag541.xml"/><Relationship Id="rId69" Type="http://schemas.openxmlformats.org/officeDocument/2006/relationships/tags" Target="../tags/tag546.xml"/><Relationship Id="rId77" Type="http://schemas.openxmlformats.org/officeDocument/2006/relationships/tags" Target="../tags/tag554.xml"/><Relationship Id="rId8" Type="http://schemas.openxmlformats.org/officeDocument/2006/relationships/tags" Target="../tags/tag485.xml"/><Relationship Id="rId51" Type="http://schemas.openxmlformats.org/officeDocument/2006/relationships/tags" Target="../tags/tag528.xml"/><Relationship Id="rId72" Type="http://schemas.openxmlformats.org/officeDocument/2006/relationships/tags" Target="../tags/tag549.xml"/><Relationship Id="rId80" Type="http://schemas.openxmlformats.org/officeDocument/2006/relationships/notesSlide" Target="../notesSlides/notesSlide10.xml"/><Relationship Id="rId3" Type="http://schemas.openxmlformats.org/officeDocument/2006/relationships/tags" Target="../tags/tag480.xml"/><Relationship Id="rId12" Type="http://schemas.openxmlformats.org/officeDocument/2006/relationships/tags" Target="../tags/tag489.xml"/><Relationship Id="rId17" Type="http://schemas.openxmlformats.org/officeDocument/2006/relationships/tags" Target="../tags/tag494.xml"/><Relationship Id="rId25" Type="http://schemas.openxmlformats.org/officeDocument/2006/relationships/tags" Target="../tags/tag502.xml"/><Relationship Id="rId33" Type="http://schemas.openxmlformats.org/officeDocument/2006/relationships/tags" Target="../tags/tag510.xml"/><Relationship Id="rId38" Type="http://schemas.openxmlformats.org/officeDocument/2006/relationships/tags" Target="../tags/tag515.xml"/><Relationship Id="rId46" Type="http://schemas.openxmlformats.org/officeDocument/2006/relationships/tags" Target="../tags/tag523.xml"/><Relationship Id="rId59" Type="http://schemas.openxmlformats.org/officeDocument/2006/relationships/tags" Target="../tags/tag536.xml"/><Relationship Id="rId67" Type="http://schemas.openxmlformats.org/officeDocument/2006/relationships/tags" Target="../tags/tag544.xml"/><Relationship Id="rId20" Type="http://schemas.openxmlformats.org/officeDocument/2006/relationships/tags" Target="../tags/tag497.xml"/><Relationship Id="rId41" Type="http://schemas.openxmlformats.org/officeDocument/2006/relationships/tags" Target="../tags/tag518.xml"/><Relationship Id="rId54" Type="http://schemas.openxmlformats.org/officeDocument/2006/relationships/tags" Target="../tags/tag531.xml"/><Relationship Id="rId62" Type="http://schemas.openxmlformats.org/officeDocument/2006/relationships/tags" Target="../tags/tag539.xml"/><Relationship Id="rId70" Type="http://schemas.openxmlformats.org/officeDocument/2006/relationships/tags" Target="../tags/tag547.xml"/><Relationship Id="rId75" Type="http://schemas.openxmlformats.org/officeDocument/2006/relationships/tags" Target="../tags/tag552.xml"/><Relationship Id="rId1" Type="http://schemas.openxmlformats.org/officeDocument/2006/relationships/tags" Target="../tags/tag478.xml"/><Relationship Id="rId6" Type="http://schemas.openxmlformats.org/officeDocument/2006/relationships/tags" Target="../tags/tag483.xml"/><Relationship Id="rId15" Type="http://schemas.openxmlformats.org/officeDocument/2006/relationships/tags" Target="../tags/tag492.xml"/><Relationship Id="rId23" Type="http://schemas.openxmlformats.org/officeDocument/2006/relationships/tags" Target="../tags/tag500.xml"/><Relationship Id="rId28" Type="http://schemas.openxmlformats.org/officeDocument/2006/relationships/tags" Target="../tags/tag505.xml"/><Relationship Id="rId36" Type="http://schemas.openxmlformats.org/officeDocument/2006/relationships/tags" Target="../tags/tag513.xml"/><Relationship Id="rId49" Type="http://schemas.openxmlformats.org/officeDocument/2006/relationships/tags" Target="../tags/tag526.xml"/><Relationship Id="rId57" Type="http://schemas.openxmlformats.org/officeDocument/2006/relationships/tags" Target="../tags/tag534.xml"/></Relationships>
</file>

<file path=ppt/slides/_rels/slide16.xml.rels><?xml version="1.0" encoding="UTF-8" standalone="yes"?>
<Relationships xmlns="http://schemas.openxmlformats.org/package/2006/relationships"><Relationship Id="rId3" Type="http://schemas.openxmlformats.org/officeDocument/2006/relationships/tags" Target="../tags/tag558.xml"/><Relationship Id="rId2" Type="http://schemas.openxmlformats.org/officeDocument/2006/relationships/tags" Target="../tags/tag557.xml"/><Relationship Id="rId1" Type="http://schemas.openxmlformats.org/officeDocument/2006/relationships/tags" Target="../tags/tag556.xml"/><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566.xml"/><Relationship Id="rId13" Type="http://schemas.openxmlformats.org/officeDocument/2006/relationships/tags" Target="../tags/tag571.xml"/><Relationship Id="rId18" Type="http://schemas.openxmlformats.org/officeDocument/2006/relationships/tags" Target="../tags/tag576.xml"/><Relationship Id="rId26" Type="http://schemas.openxmlformats.org/officeDocument/2006/relationships/tags" Target="../tags/tag584.xml"/><Relationship Id="rId39" Type="http://schemas.openxmlformats.org/officeDocument/2006/relationships/tags" Target="../tags/tag597.xml"/><Relationship Id="rId3" Type="http://schemas.openxmlformats.org/officeDocument/2006/relationships/tags" Target="../tags/tag561.xml"/><Relationship Id="rId21" Type="http://schemas.openxmlformats.org/officeDocument/2006/relationships/tags" Target="../tags/tag579.xml"/><Relationship Id="rId34" Type="http://schemas.openxmlformats.org/officeDocument/2006/relationships/tags" Target="../tags/tag592.xml"/><Relationship Id="rId42" Type="http://schemas.openxmlformats.org/officeDocument/2006/relationships/chart" Target="../charts/chart5.xml"/><Relationship Id="rId7" Type="http://schemas.openxmlformats.org/officeDocument/2006/relationships/tags" Target="../tags/tag565.xml"/><Relationship Id="rId12" Type="http://schemas.openxmlformats.org/officeDocument/2006/relationships/tags" Target="../tags/tag570.xml"/><Relationship Id="rId17" Type="http://schemas.openxmlformats.org/officeDocument/2006/relationships/tags" Target="../tags/tag575.xml"/><Relationship Id="rId25" Type="http://schemas.openxmlformats.org/officeDocument/2006/relationships/tags" Target="../tags/tag583.xml"/><Relationship Id="rId33" Type="http://schemas.openxmlformats.org/officeDocument/2006/relationships/tags" Target="../tags/tag591.xml"/><Relationship Id="rId38" Type="http://schemas.openxmlformats.org/officeDocument/2006/relationships/tags" Target="../tags/tag596.xml"/><Relationship Id="rId2" Type="http://schemas.openxmlformats.org/officeDocument/2006/relationships/tags" Target="../tags/tag560.xml"/><Relationship Id="rId16" Type="http://schemas.openxmlformats.org/officeDocument/2006/relationships/tags" Target="../tags/tag574.xml"/><Relationship Id="rId20" Type="http://schemas.openxmlformats.org/officeDocument/2006/relationships/tags" Target="../tags/tag578.xml"/><Relationship Id="rId29" Type="http://schemas.openxmlformats.org/officeDocument/2006/relationships/tags" Target="../tags/tag587.xml"/><Relationship Id="rId41" Type="http://schemas.openxmlformats.org/officeDocument/2006/relationships/notesSlide" Target="../notesSlides/notesSlide12.xml"/><Relationship Id="rId1" Type="http://schemas.openxmlformats.org/officeDocument/2006/relationships/tags" Target="../tags/tag559.xml"/><Relationship Id="rId6" Type="http://schemas.openxmlformats.org/officeDocument/2006/relationships/tags" Target="../tags/tag564.xml"/><Relationship Id="rId11" Type="http://schemas.openxmlformats.org/officeDocument/2006/relationships/tags" Target="../tags/tag569.xml"/><Relationship Id="rId24" Type="http://schemas.openxmlformats.org/officeDocument/2006/relationships/tags" Target="../tags/tag582.xml"/><Relationship Id="rId32" Type="http://schemas.openxmlformats.org/officeDocument/2006/relationships/tags" Target="../tags/tag590.xml"/><Relationship Id="rId37" Type="http://schemas.openxmlformats.org/officeDocument/2006/relationships/tags" Target="../tags/tag595.xml"/><Relationship Id="rId40" Type="http://schemas.openxmlformats.org/officeDocument/2006/relationships/slideLayout" Target="../slideLayouts/slideLayout12.xml"/><Relationship Id="rId5" Type="http://schemas.openxmlformats.org/officeDocument/2006/relationships/tags" Target="../tags/tag563.xml"/><Relationship Id="rId15" Type="http://schemas.openxmlformats.org/officeDocument/2006/relationships/tags" Target="../tags/tag573.xml"/><Relationship Id="rId23" Type="http://schemas.openxmlformats.org/officeDocument/2006/relationships/tags" Target="../tags/tag581.xml"/><Relationship Id="rId28" Type="http://schemas.openxmlformats.org/officeDocument/2006/relationships/tags" Target="../tags/tag586.xml"/><Relationship Id="rId36" Type="http://schemas.openxmlformats.org/officeDocument/2006/relationships/tags" Target="../tags/tag594.xml"/><Relationship Id="rId10" Type="http://schemas.openxmlformats.org/officeDocument/2006/relationships/tags" Target="../tags/tag568.xml"/><Relationship Id="rId19" Type="http://schemas.openxmlformats.org/officeDocument/2006/relationships/tags" Target="../tags/tag577.xml"/><Relationship Id="rId31" Type="http://schemas.openxmlformats.org/officeDocument/2006/relationships/tags" Target="../tags/tag589.xml"/><Relationship Id="rId44" Type="http://schemas.openxmlformats.org/officeDocument/2006/relationships/chart" Target="../charts/chart7.xml"/><Relationship Id="rId4" Type="http://schemas.openxmlformats.org/officeDocument/2006/relationships/tags" Target="../tags/tag562.xml"/><Relationship Id="rId9" Type="http://schemas.openxmlformats.org/officeDocument/2006/relationships/tags" Target="../tags/tag567.xml"/><Relationship Id="rId14" Type="http://schemas.openxmlformats.org/officeDocument/2006/relationships/tags" Target="../tags/tag572.xml"/><Relationship Id="rId22" Type="http://schemas.openxmlformats.org/officeDocument/2006/relationships/tags" Target="../tags/tag580.xml"/><Relationship Id="rId27" Type="http://schemas.openxmlformats.org/officeDocument/2006/relationships/tags" Target="../tags/tag585.xml"/><Relationship Id="rId30" Type="http://schemas.openxmlformats.org/officeDocument/2006/relationships/tags" Target="../tags/tag588.xml"/><Relationship Id="rId35" Type="http://schemas.openxmlformats.org/officeDocument/2006/relationships/tags" Target="../tags/tag593.xml"/><Relationship Id="rId43" Type="http://schemas.openxmlformats.org/officeDocument/2006/relationships/chart" Target="../charts/chart6.xml"/></Relationships>
</file>

<file path=ppt/slides/_rels/slide18.xml.rels><?xml version="1.0" encoding="UTF-8" standalone="yes"?>
<Relationships xmlns="http://schemas.openxmlformats.org/package/2006/relationships"><Relationship Id="rId13" Type="http://schemas.openxmlformats.org/officeDocument/2006/relationships/tags" Target="../tags/tag610.xml"/><Relationship Id="rId18" Type="http://schemas.openxmlformats.org/officeDocument/2006/relationships/tags" Target="../tags/tag615.xml"/><Relationship Id="rId26" Type="http://schemas.openxmlformats.org/officeDocument/2006/relationships/tags" Target="../tags/tag623.xml"/><Relationship Id="rId39" Type="http://schemas.openxmlformats.org/officeDocument/2006/relationships/tags" Target="../tags/tag636.xml"/><Relationship Id="rId21" Type="http://schemas.openxmlformats.org/officeDocument/2006/relationships/tags" Target="../tags/tag618.xml"/><Relationship Id="rId34" Type="http://schemas.openxmlformats.org/officeDocument/2006/relationships/tags" Target="../tags/tag631.xml"/><Relationship Id="rId42" Type="http://schemas.openxmlformats.org/officeDocument/2006/relationships/tags" Target="../tags/tag639.xml"/><Relationship Id="rId47" Type="http://schemas.openxmlformats.org/officeDocument/2006/relationships/tags" Target="../tags/tag644.xml"/><Relationship Id="rId50" Type="http://schemas.openxmlformats.org/officeDocument/2006/relationships/tags" Target="../tags/tag647.xml"/><Relationship Id="rId55" Type="http://schemas.openxmlformats.org/officeDocument/2006/relationships/chart" Target="../charts/chart10.xml"/><Relationship Id="rId7" Type="http://schemas.openxmlformats.org/officeDocument/2006/relationships/tags" Target="../tags/tag604.xml"/><Relationship Id="rId12" Type="http://schemas.openxmlformats.org/officeDocument/2006/relationships/tags" Target="../tags/tag609.xml"/><Relationship Id="rId17" Type="http://schemas.openxmlformats.org/officeDocument/2006/relationships/tags" Target="../tags/tag614.xml"/><Relationship Id="rId25" Type="http://schemas.openxmlformats.org/officeDocument/2006/relationships/tags" Target="../tags/tag622.xml"/><Relationship Id="rId33" Type="http://schemas.openxmlformats.org/officeDocument/2006/relationships/tags" Target="../tags/tag630.xml"/><Relationship Id="rId38" Type="http://schemas.openxmlformats.org/officeDocument/2006/relationships/tags" Target="../tags/tag635.xml"/><Relationship Id="rId46" Type="http://schemas.openxmlformats.org/officeDocument/2006/relationships/tags" Target="../tags/tag643.xml"/><Relationship Id="rId2" Type="http://schemas.openxmlformats.org/officeDocument/2006/relationships/tags" Target="../tags/tag599.xml"/><Relationship Id="rId16" Type="http://schemas.openxmlformats.org/officeDocument/2006/relationships/tags" Target="../tags/tag613.xml"/><Relationship Id="rId20" Type="http://schemas.openxmlformats.org/officeDocument/2006/relationships/tags" Target="../tags/tag617.xml"/><Relationship Id="rId29" Type="http://schemas.openxmlformats.org/officeDocument/2006/relationships/tags" Target="../tags/tag626.xml"/><Relationship Id="rId41" Type="http://schemas.openxmlformats.org/officeDocument/2006/relationships/tags" Target="../tags/tag638.xml"/><Relationship Id="rId54" Type="http://schemas.openxmlformats.org/officeDocument/2006/relationships/chart" Target="../charts/chart9.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tags" Target="../tags/tag608.xml"/><Relationship Id="rId24" Type="http://schemas.openxmlformats.org/officeDocument/2006/relationships/tags" Target="../tags/tag621.xml"/><Relationship Id="rId32" Type="http://schemas.openxmlformats.org/officeDocument/2006/relationships/tags" Target="../tags/tag629.xml"/><Relationship Id="rId37" Type="http://schemas.openxmlformats.org/officeDocument/2006/relationships/tags" Target="../tags/tag634.xml"/><Relationship Id="rId40" Type="http://schemas.openxmlformats.org/officeDocument/2006/relationships/tags" Target="../tags/tag637.xml"/><Relationship Id="rId45" Type="http://schemas.openxmlformats.org/officeDocument/2006/relationships/tags" Target="../tags/tag642.xml"/><Relationship Id="rId53" Type="http://schemas.openxmlformats.org/officeDocument/2006/relationships/chart" Target="../charts/chart8.xml"/><Relationship Id="rId5" Type="http://schemas.openxmlformats.org/officeDocument/2006/relationships/tags" Target="../tags/tag602.xml"/><Relationship Id="rId15" Type="http://schemas.openxmlformats.org/officeDocument/2006/relationships/tags" Target="../tags/tag612.xml"/><Relationship Id="rId23" Type="http://schemas.openxmlformats.org/officeDocument/2006/relationships/tags" Target="../tags/tag620.xml"/><Relationship Id="rId28" Type="http://schemas.openxmlformats.org/officeDocument/2006/relationships/tags" Target="../tags/tag625.xml"/><Relationship Id="rId36" Type="http://schemas.openxmlformats.org/officeDocument/2006/relationships/tags" Target="../tags/tag633.xml"/><Relationship Id="rId49" Type="http://schemas.openxmlformats.org/officeDocument/2006/relationships/tags" Target="../tags/tag646.xml"/><Relationship Id="rId10" Type="http://schemas.openxmlformats.org/officeDocument/2006/relationships/tags" Target="../tags/tag607.xml"/><Relationship Id="rId19" Type="http://schemas.openxmlformats.org/officeDocument/2006/relationships/tags" Target="../tags/tag616.xml"/><Relationship Id="rId31" Type="http://schemas.openxmlformats.org/officeDocument/2006/relationships/tags" Target="../tags/tag628.xml"/><Relationship Id="rId44" Type="http://schemas.openxmlformats.org/officeDocument/2006/relationships/tags" Target="../tags/tag641.xml"/><Relationship Id="rId52" Type="http://schemas.openxmlformats.org/officeDocument/2006/relationships/notesSlide" Target="../notesSlides/notesSlide13.xml"/><Relationship Id="rId4" Type="http://schemas.openxmlformats.org/officeDocument/2006/relationships/tags" Target="../tags/tag601.xml"/><Relationship Id="rId9" Type="http://schemas.openxmlformats.org/officeDocument/2006/relationships/tags" Target="../tags/tag606.xml"/><Relationship Id="rId14" Type="http://schemas.openxmlformats.org/officeDocument/2006/relationships/tags" Target="../tags/tag611.xml"/><Relationship Id="rId22" Type="http://schemas.openxmlformats.org/officeDocument/2006/relationships/tags" Target="../tags/tag619.xml"/><Relationship Id="rId27" Type="http://schemas.openxmlformats.org/officeDocument/2006/relationships/tags" Target="../tags/tag624.xml"/><Relationship Id="rId30" Type="http://schemas.openxmlformats.org/officeDocument/2006/relationships/tags" Target="../tags/tag627.xml"/><Relationship Id="rId35" Type="http://schemas.openxmlformats.org/officeDocument/2006/relationships/tags" Target="../tags/tag632.xml"/><Relationship Id="rId43" Type="http://schemas.openxmlformats.org/officeDocument/2006/relationships/tags" Target="../tags/tag640.xml"/><Relationship Id="rId48" Type="http://schemas.openxmlformats.org/officeDocument/2006/relationships/tags" Target="../tags/tag645.xml"/><Relationship Id="rId8" Type="http://schemas.openxmlformats.org/officeDocument/2006/relationships/tags" Target="../tags/tag605.xml"/><Relationship Id="rId51" Type="http://schemas.openxmlformats.org/officeDocument/2006/relationships/slideLayout" Target="../slideLayouts/slideLayout12.xml"/><Relationship Id="rId3" Type="http://schemas.openxmlformats.org/officeDocument/2006/relationships/tags" Target="../tags/tag600.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hyperlink" Target="https://lrha27.wildapricot.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61.xml"/><Relationship Id="rId7" Type="http://schemas.openxmlformats.org/officeDocument/2006/relationships/image" Target="../media/image13.png"/><Relationship Id="rId2" Type="http://schemas.openxmlformats.org/officeDocument/2006/relationships/tags" Target="../tags/tag260.xml"/><Relationship Id="rId1" Type="http://schemas.openxmlformats.org/officeDocument/2006/relationships/vmlDrawing" Target="../drawings/vmlDrawing38.vml"/><Relationship Id="rId6" Type="http://schemas.openxmlformats.org/officeDocument/2006/relationships/notesSlide" Target="../notesSlides/notesSlide2.xml"/><Relationship Id="rId5" Type="http://schemas.openxmlformats.org/officeDocument/2006/relationships/slideLayout" Target="../slideLayouts/slideLayout17.xml"/><Relationship Id="rId4" Type="http://schemas.openxmlformats.org/officeDocument/2006/relationships/tags" Target="../tags/tag262.xml"/><Relationship Id="rId9" Type="http://schemas.openxmlformats.org/officeDocument/2006/relationships/image" Target="../media/image16.emf"/></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slideLayout" Target="../slideLayouts/slideLayout2.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tags" Target="../tags/tag273.xml"/><Relationship Id="rId2" Type="http://schemas.openxmlformats.org/officeDocument/2006/relationships/tags" Target="../tags/tag263.xml"/><Relationship Id="rId16" Type="http://schemas.openxmlformats.org/officeDocument/2006/relationships/oleObject" Target="../embeddings/oleObject41.bin"/><Relationship Id="rId1" Type="http://schemas.openxmlformats.org/officeDocument/2006/relationships/vmlDrawing" Target="../drawings/vmlDrawing39.vml"/><Relationship Id="rId6" Type="http://schemas.openxmlformats.org/officeDocument/2006/relationships/tags" Target="../tags/tag267.xml"/><Relationship Id="rId11" Type="http://schemas.openxmlformats.org/officeDocument/2006/relationships/tags" Target="../tags/tag272.xml"/><Relationship Id="rId5" Type="http://schemas.openxmlformats.org/officeDocument/2006/relationships/tags" Target="../tags/tag266.xml"/><Relationship Id="rId15" Type="http://schemas.openxmlformats.org/officeDocument/2006/relationships/image" Target="../media/image12.emf"/><Relationship Id="rId10" Type="http://schemas.openxmlformats.org/officeDocument/2006/relationships/tags" Target="../tags/tag271.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oleObject" Target="../embeddings/oleObject40.bin"/></Relationships>
</file>

<file path=ppt/slides/_rels/slide6.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notesSlide" Target="../notesSlides/notesSlide4.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slideLayout" Target="../slideLayouts/slideLayout2.xml"/><Relationship Id="rId5" Type="http://schemas.openxmlformats.org/officeDocument/2006/relationships/tags" Target="../tags/tag278.xml"/><Relationship Id="rId4" Type="http://schemas.openxmlformats.org/officeDocument/2006/relationships/tags" Target="../tags/tag277.xml"/></Relationships>
</file>

<file path=ppt/slides/_rels/slide7.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notesSlide" Target="../notesSlides/notesSlide5.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slideLayout" Target="../slideLayouts/slideLayout2.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s>
</file>

<file path=ppt/slides/_rels/slide8.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hyperlink" Target="https://www.cms.gov/files/document/mcp-rfa.pdf" TargetMode="External"/><Relationship Id="rId5" Type="http://schemas.openxmlformats.org/officeDocument/2006/relationships/hyperlink" Target="https://www.cms.gov/priorities/innovation/media/document/aco-reach-rfa" TargetMode="External"/><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tags" Target="../tags/tag310.xml"/><Relationship Id="rId3" Type="http://schemas.openxmlformats.org/officeDocument/2006/relationships/tags" Target="../tags/tag295.xml"/><Relationship Id="rId21" Type="http://schemas.openxmlformats.org/officeDocument/2006/relationships/tags" Target="../tags/tag313.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tags" Target="../tags/tag309.xml"/><Relationship Id="rId25" Type="http://schemas.openxmlformats.org/officeDocument/2006/relationships/notesSlide" Target="../notesSlides/notesSlide6.xml"/><Relationship Id="rId2" Type="http://schemas.openxmlformats.org/officeDocument/2006/relationships/tags" Target="../tags/tag294.xml"/><Relationship Id="rId16" Type="http://schemas.openxmlformats.org/officeDocument/2006/relationships/tags" Target="../tags/tag308.xml"/><Relationship Id="rId20" Type="http://schemas.openxmlformats.org/officeDocument/2006/relationships/tags" Target="../tags/tag312.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24" Type="http://schemas.openxmlformats.org/officeDocument/2006/relationships/slideLayout" Target="../slideLayouts/slideLayout2.xml"/><Relationship Id="rId5" Type="http://schemas.openxmlformats.org/officeDocument/2006/relationships/tags" Target="../tags/tag297.xml"/><Relationship Id="rId15" Type="http://schemas.openxmlformats.org/officeDocument/2006/relationships/tags" Target="../tags/tag307.xml"/><Relationship Id="rId23" Type="http://schemas.openxmlformats.org/officeDocument/2006/relationships/tags" Target="../tags/tag315.xml"/><Relationship Id="rId10" Type="http://schemas.openxmlformats.org/officeDocument/2006/relationships/tags" Target="../tags/tag302.xml"/><Relationship Id="rId19" Type="http://schemas.openxmlformats.org/officeDocument/2006/relationships/tags" Target="../tags/tag311.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tags" Target="../tags/tag3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7B0899-515D-4A49-D5FB-D5DBE540E9FC}"/>
              </a:ext>
            </a:extLst>
          </p:cNvPr>
          <p:cNvGraphicFramePr>
            <a:graphicFrameLocks noChangeAspect="1"/>
          </p:cNvGraphicFramePr>
          <p:nvPr>
            <p:custDataLst>
              <p:tags r:id="rId2"/>
            </p:custDataLst>
            <p:extLst>
              <p:ext uri="{D42A27DB-BD31-4B8C-83A1-F6EECF244321}">
                <p14:modId xmlns:p14="http://schemas.microsoft.com/office/powerpoint/2010/main" val="3573159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Slide" r:id="rId5" imgW="404" imgH="403" progId="TCLayout.ActiveDocument.1">
                  <p:embed/>
                </p:oleObj>
              </mc:Choice>
              <mc:Fallback>
                <p:oleObj name="think-cell Slide" r:id="rId5" imgW="404" imgH="40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F74A48A0-4AFE-9797-4617-820CDA132BAA}"/>
              </a:ext>
            </a:extLst>
          </p:cNvPr>
          <p:cNvGraphicFramePr>
            <a:graphicFrameLocks noChangeAspect="1"/>
          </p:cNvGraphicFramePr>
          <p:nvPr>
            <p:custDataLst>
              <p:tags r:id="rId3"/>
            </p:custDataLst>
            <p:extLst>
              <p:ext uri="{D42A27DB-BD31-4B8C-83A1-F6EECF244321}">
                <p14:modId xmlns:p14="http://schemas.microsoft.com/office/powerpoint/2010/main" val="716720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7" name="think-cell Slide" r:id="rId7" imgW="404" imgH="403" progId="TCLayout.ActiveDocument.1">
                  <p:embed/>
                </p:oleObj>
              </mc:Choice>
              <mc:Fallback>
                <p:oleObj name="think-cell Slide" r:id="rId7" imgW="404" imgH="40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424E61C-572E-4710-0140-1CB8EF5148BB}"/>
              </a:ext>
            </a:extLst>
          </p:cNvPr>
          <p:cNvSpPr>
            <a:spLocks noGrp="1"/>
          </p:cNvSpPr>
          <p:nvPr>
            <p:ph type="title"/>
          </p:nvPr>
        </p:nvSpPr>
        <p:spPr>
          <a:xfrm>
            <a:off x="1301241" y="2074783"/>
            <a:ext cx="8792669" cy="1723549"/>
          </a:xfrm>
        </p:spPr>
        <p:txBody>
          <a:bodyPr vert="horz"/>
          <a:lstStyle/>
          <a:p>
            <a:r>
              <a:rPr lang="en-US" b="1" dirty="0" smtClean="0">
                <a:solidFill>
                  <a:srgbClr val="000000"/>
                </a:solidFill>
                <a:ea typeface="Verdana" panose="020B0604030504040204" pitchFamily="34" charset="0"/>
                <a:cs typeface="League Spartan"/>
                <a:sym typeface="League Spartan"/>
              </a:rPr>
              <a:t>Louisiana Department of Health </a:t>
            </a:r>
            <a:br>
              <a:rPr lang="en-US" b="1" dirty="0" smtClean="0">
                <a:solidFill>
                  <a:srgbClr val="000000"/>
                </a:solidFill>
                <a:ea typeface="Verdana" panose="020B0604030504040204" pitchFamily="34" charset="0"/>
                <a:cs typeface="League Spartan"/>
                <a:sym typeface="League Spartan"/>
              </a:rPr>
            </a:br>
            <a:r>
              <a:rPr lang="en-US" b="1" dirty="0" smtClean="0">
                <a:solidFill>
                  <a:srgbClr val="000000"/>
                </a:solidFill>
                <a:ea typeface="Verdana" panose="020B0604030504040204" pitchFamily="34" charset="0"/>
                <a:cs typeface="League Spartan"/>
                <a:sym typeface="League Spartan"/>
              </a:rPr>
              <a:t>Rural </a:t>
            </a:r>
            <a:r>
              <a:rPr lang="en-US" b="1" dirty="0">
                <a:solidFill>
                  <a:srgbClr val="000000"/>
                </a:solidFill>
                <a:ea typeface="Verdana" panose="020B0604030504040204" pitchFamily="34" charset="0"/>
                <a:cs typeface="League Spartan"/>
                <a:sym typeface="League Spartan"/>
              </a:rPr>
              <a:t>Health Transformation </a:t>
            </a:r>
            <a:r>
              <a:rPr lang="en-US" b="1" dirty="0" smtClean="0">
                <a:solidFill>
                  <a:srgbClr val="000000"/>
                </a:solidFill>
                <a:ea typeface="Verdana" panose="020B0604030504040204" pitchFamily="34" charset="0"/>
                <a:cs typeface="League Spartan"/>
                <a:sym typeface="League Spartan"/>
              </a:rPr>
              <a:t>Program</a:t>
            </a:r>
            <a:br>
              <a:rPr lang="en-US" b="1" dirty="0" smtClean="0">
                <a:solidFill>
                  <a:srgbClr val="000000"/>
                </a:solidFill>
                <a:ea typeface="Verdana" panose="020B0604030504040204" pitchFamily="34" charset="0"/>
                <a:cs typeface="League Spartan"/>
                <a:sym typeface="League Spartan"/>
              </a:rPr>
            </a:br>
            <a:r>
              <a:rPr lang="en-US" sz="2400" dirty="0" smtClean="0">
                <a:solidFill>
                  <a:srgbClr val="000000"/>
                </a:solidFill>
                <a:ea typeface="Verdana" panose="020B0604030504040204" pitchFamily="34" charset="0"/>
                <a:cs typeface="League Spartan"/>
                <a:sym typeface="League Spartan"/>
              </a:rPr>
              <a:t>July 2, 2026</a:t>
            </a:r>
            <a:endParaRPr lang="en-US" dirty="0"/>
          </a:p>
        </p:txBody>
      </p:sp>
      <p:sp>
        <p:nvSpPr>
          <p:cNvPr id="9" name="TextBox 8">
            <a:extLst>
              <a:ext uri="{FF2B5EF4-FFF2-40B4-BE49-F238E27FC236}">
                <a16:creationId xmlns:a16="http://schemas.microsoft.com/office/drawing/2014/main" id="{3F4E04CD-F709-82C4-463B-F084AD9BD3DE}"/>
              </a:ext>
            </a:extLst>
          </p:cNvPr>
          <p:cNvSpPr txBox="1"/>
          <p:nvPr/>
        </p:nvSpPr>
        <p:spPr>
          <a:xfrm>
            <a:off x="8729330" y="560335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ndParaRPr>
          </a:p>
        </p:txBody>
      </p:sp>
    </p:spTree>
    <p:extLst>
      <p:ext uri="{BB962C8B-B14F-4D97-AF65-F5344CB8AC3E}">
        <p14:creationId xmlns:p14="http://schemas.microsoft.com/office/powerpoint/2010/main" val="2575932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30C1767E-0921-7BBF-E0F2-1042B8F26E65}"/>
              </a:ext>
            </a:extLst>
          </p:cNvPr>
          <p:cNvSpPr>
            <a:spLocks noGrp="1"/>
          </p:cNvSpPr>
          <p:nvPr>
            <p:ph type="title"/>
            <p:custDataLst>
              <p:tags r:id="rId1"/>
            </p:custDataLst>
          </p:nvPr>
        </p:nvSpPr>
        <p:spPr>
          <a:xfrm>
            <a:off x="554736" y="201148"/>
            <a:ext cx="5858488" cy="738664"/>
          </a:xfrm>
        </p:spPr>
        <p:txBody>
          <a:bodyPr vert="horz" wrap="square">
            <a:spAutoFit/>
          </a:bodyPr>
          <a:lstStyle/>
          <a:p>
            <a:r>
              <a:rPr lang="en-US" sz="2400" b="1" dirty="0">
                <a:solidFill>
                  <a:schemeClr val="accent3"/>
                </a:solidFill>
              </a:rPr>
              <a:t>2. Data availability context: </a:t>
            </a:r>
            <a:br>
              <a:rPr lang="en-US" sz="2400" b="1" dirty="0">
                <a:solidFill>
                  <a:schemeClr val="accent3"/>
                </a:solidFill>
              </a:rPr>
            </a:br>
            <a:r>
              <a:rPr lang="en-US" sz="2400" b="1" dirty="0"/>
              <a:t>Provider need and potential approaches</a:t>
            </a:r>
            <a:endParaRPr lang="en-US" sz="2400" b="1" dirty="0">
              <a:ea typeface="Verdana"/>
            </a:endParaRPr>
          </a:p>
        </p:txBody>
      </p:sp>
      <p:sp>
        <p:nvSpPr>
          <p:cNvPr id="36" name="TextBox 35">
            <a:extLst>
              <a:ext uri="{FF2B5EF4-FFF2-40B4-BE49-F238E27FC236}">
                <a16:creationId xmlns:a16="http://schemas.microsoft.com/office/drawing/2014/main" id="{AF172111-82A0-B6DA-9ECD-D3100F0762D9}"/>
              </a:ext>
            </a:extLst>
          </p:cNvPr>
          <p:cNvSpPr txBox="1"/>
          <p:nvPr/>
        </p:nvSpPr>
        <p:spPr>
          <a:xfrm>
            <a:off x="6420310" y="1673783"/>
            <a:ext cx="5437629" cy="33085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dirty="0">
                <a:latin typeface="Calibri" panose="020F0502020204030204" pitchFamily="34" charset="0"/>
              </a:rPr>
              <a:t>Allow multiple vendor solutions:</a:t>
            </a:r>
            <a:r>
              <a:rPr lang="en-US" dirty="0">
                <a:solidFill>
                  <a:srgbClr val="000000"/>
                </a:solidFill>
                <a:latin typeface="Calibri" panose="020F0502020204030204" pitchFamily="34" charset="0"/>
              </a:rPr>
              <a:t> </a:t>
            </a:r>
          </a:p>
          <a:p>
            <a:pPr marL="514350" lvl="1" indent="-285750">
              <a:buFont typeface="Arial" panose="020B0604020202020204" pitchFamily="34" charset="0"/>
              <a:buChar char="•"/>
            </a:pPr>
            <a:r>
              <a:rPr lang="en-US" sz="1400" dirty="0">
                <a:solidFill>
                  <a:srgbClr val="000000"/>
                </a:solidFill>
                <a:latin typeface="Calibri" panose="020F0502020204030204" pitchFamily="34" charset="0"/>
              </a:rPr>
              <a:t>Benefit: Can meet provider-specific APM enablement needs</a:t>
            </a:r>
          </a:p>
          <a:p>
            <a:pPr marL="514350" lvl="1" indent="-285750">
              <a:buFont typeface="Arial" panose="020B0604020202020204" pitchFamily="34" charset="0"/>
              <a:buChar char="•"/>
            </a:pPr>
            <a:r>
              <a:rPr lang="en-US" sz="1400" dirty="0">
                <a:solidFill>
                  <a:srgbClr val="000000"/>
                </a:solidFill>
                <a:latin typeface="Calibri" panose="020F0502020204030204" pitchFamily="34" charset="0"/>
              </a:rPr>
              <a:t>Tradeoff: May not support broader LDH use cases, such as performance management, quality planning, and TCOC monitoring</a:t>
            </a:r>
          </a:p>
          <a:p>
            <a:pPr marL="342900" indent="-342900">
              <a:buFont typeface="+mj-lt"/>
              <a:buAutoNum type="arabicPeriod"/>
            </a:pPr>
            <a:r>
              <a:rPr lang="en-US" dirty="0">
                <a:solidFill>
                  <a:srgbClr val="000000"/>
                </a:solidFill>
                <a:latin typeface="Calibri" panose="020F0502020204030204" pitchFamily="34" charset="0"/>
              </a:rPr>
              <a:t>State to work through intermediaries (e.g., require MCO to report):</a:t>
            </a:r>
          </a:p>
          <a:p>
            <a:pPr marL="514350" lvl="1" indent="-285750">
              <a:buFont typeface="Arial" panose="020B0604020202020204" pitchFamily="34" charset="0"/>
              <a:buChar char="•"/>
            </a:pPr>
            <a:r>
              <a:rPr lang="en-US" sz="1400" dirty="0">
                <a:solidFill>
                  <a:srgbClr val="000000"/>
                </a:solidFill>
                <a:latin typeface="Calibri" panose="020F0502020204030204" pitchFamily="34" charset="0"/>
                <a:cs typeface="+mn-cs"/>
              </a:rPr>
              <a:t>Benefit</a:t>
            </a:r>
            <a:r>
              <a:rPr lang="en-US" sz="1400" dirty="0">
                <a:solidFill>
                  <a:srgbClr val="000000"/>
                </a:solidFill>
                <a:latin typeface="Calibri" panose="020F0502020204030204" pitchFamily="34" charset="0"/>
              </a:rPr>
              <a:t>: Can leverage MCOs or partners to limit State build costs</a:t>
            </a:r>
          </a:p>
          <a:p>
            <a:pPr marL="514350" lvl="1" indent="-285750">
              <a:buFont typeface="Arial" panose="020B0604020202020204" pitchFamily="34" charset="0"/>
              <a:buChar char="•"/>
            </a:pPr>
            <a:r>
              <a:rPr lang="en-US" sz="1400" dirty="0">
                <a:solidFill>
                  <a:srgbClr val="000000"/>
                </a:solidFill>
                <a:latin typeface="Calibri" panose="020F0502020204030204" pitchFamily="34" charset="0"/>
              </a:rPr>
              <a:t>Tradeoff: Requires stakeholder alignment and may create challenges integrating data across MCOs</a:t>
            </a:r>
            <a:endParaRPr lang="en-US" dirty="0">
              <a:solidFill>
                <a:srgbClr val="000000"/>
              </a:solidFill>
              <a:latin typeface="Calibri" panose="020F0502020204030204" pitchFamily="34" charset="0"/>
            </a:endParaRPr>
          </a:p>
          <a:p>
            <a:pPr marL="342900" indent="-342900">
              <a:buFont typeface="+mj-lt"/>
              <a:buAutoNum type="arabicPeriod"/>
            </a:pPr>
            <a:r>
              <a:rPr lang="en-US" dirty="0">
                <a:solidFill>
                  <a:srgbClr val="000000"/>
                </a:solidFill>
                <a:latin typeface="Calibri" panose="020F0502020204030204" pitchFamily="34" charset="0"/>
              </a:rPr>
              <a:t>State to build / buy a shared solution: </a:t>
            </a:r>
          </a:p>
          <a:p>
            <a:pPr marL="514350" lvl="1" indent="-285750">
              <a:buFont typeface="Arial" panose="020B0604020202020204" pitchFamily="34" charset="0"/>
              <a:buChar char="•"/>
            </a:pPr>
            <a:r>
              <a:rPr lang="en-US" sz="1400" dirty="0">
                <a:solidFill>
                  <a:srgbClr val="000000"/>
                </a:solidFill>
                <a:latin typeface="Calibri" panose="020F0502020204030204" pitchFamily="34" charset="0"/>
              </a:rPr>
              <a:t>Benefit: Can support multiple LDH use cases and State-defined reporting needs</a:t>
            </a:r>
          </a:p>
          <a:p>
            <a:pPr marL="514350" lvl="1" indent="-285750">
              <a:buFont typeface="Arial" panose="020B0604020202020204" pitchFamily="34" charset="0"/>
              <a:buChar char="•"/>
            </a:pPr>
            <a:r>
              <a:rPr lang="en-US" sz="1400" dirty="0">
                <a:solidFill>
                  <a:srgbClr val="000000"/>
                </a:solidFill>
                <a:latin typeface="Calibri" panose="020F0502020204030204" pitchFamily="34" charset="0"/>
              </a:rPr>
              <a:t>Tradeoff: May take longer to fund, procure, and launch</a:t>
            </a:r>
            <a:endParaRPr lang="en-US" dirty="0">
              <a:latin typeface="Calibri" panose="020F0502020204030204" pitchFamily="34" charset="0"/>
            </a:endParaRPr>
          </a:p>
        </p:txBody>
      </p:sp>
      <p:cxnSp>
        <p:nvCxnSpPr>
          <p:cNvPr id="38" name="Straight Connector 37">
            <a:extLst>
              <a:ext uri="{FF2B5EF4-FFF2-40B4-BE49-F238E27FC236}">
                <a16:creationId xmlns:a16="http://schemas.microsoft.com/office/drawing/2014/main" id="{84D80C29-64DF-2045-280F-41CD265E2061}"/>
              </a:ext>
            </a:extLst>
          </p:cNvPr>
          <p:cNvCxnSpPr>
            <a:cxnSpLocks/>
          </p:cNvCxnSpPr>
          <p:nvPr/>
        </p:nvCxnSpPr>
        <p:spPr>
          <a:xfrm>
            <a:off x="6420310" y="1583071"/>
            <a:ext cx="543762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D4D4CE8-A222-7947-B871-143A693C6B98}"/>
              </a:ext>
            </a:extLst>
          </p:cNvPr>
          <p:cNvSpPr txBox="1"/>
          <p:nvPr/>
        </p:nvSpPr>
        <p:spPr>
          <a:xfrm>
            <a:off x="557953" y="1236278"/>
            <a:ext cx="518447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Role of data in provider APM</a:t>
            </a:r>
            <a:r>
              <a:rPr lang="en-US" b="1" baseline="30000" dirty="0">
                <a:latin typeface="Calibri" panose="020F0502020204030204" pitchFamily="34" charset="0"/>
              </a:rPr>
              <a:t>1</a:t>
            </a:r>
            <a:r>
              <a:rPr lang="en-US" b="1" dirty="0">
                <a:latin typeface="Calibri" panose="020F0502020204030204" pitchFamily="34" charset="0"/>
              </a:rPr>
              <a:t> participation</a:t>
            </a:r>
          </a:p>
        </p:txBody>
      </p:sp>
      <p:sp>
        <p:nvSpPr>
          <p:cNvPr id="43" name="TextBox 42">
            <a:extLst>
              <a:ext uri="{FF2B5EF4-FFF2-40B4-BE49-F238E27FC236}">
                <a16:creationId xmlns:a16="http://schemas.microsoft.com/office/drawing/2014/main" id="{9994664D-86F5-73D0-C8B2-651E61FCFC63}"/>
              </a:ext>
            </a:extLst>
          </p:cNvPr>
          <p:cNvSpPr txBox="1"/>
          <p:nvPr>
            <p:custDataLst>
              <p:tags r:id="rId2"/>
            </p:custDataLst>
          </p:nvPr>
        </p:nvSpPr>
        <p:spPr>
          <a:xfrm>
            <a:off x="557953" y="1673783"/>
            <a:ext cx="5184479" cy="39395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buNone/>
            </a:pPr>
            <a:r>
              <a:rPr lang="en-US" sz="1400" dirty="0">
                <a:latin typeface="Calibri" panose="020F0502020204030204" pitchFamily="34" charset="0"/>
              </a:rPr>
              <a:t>Rural provider survey (n = 30) responses indicate: </a:t>
            </a:r>
          </a:p>
          <a:p>
            <a:pPr marL="285750" indent="-285750">
              <a:spcBef>
                <a:spcPts val="600"/>
              </a:spcBef>
              <a:buFont typeface="Arial" panose="020B0604020202020204" pitchFamily="34" charset="0"/>
              <a:buChar char="•"/>
            </a:pPr>
            <a:r>
              <a:rPr lang="en-US" sz="1400" dirty="0">
                <a:solidFill>
                  <a:schemeClr val="accent3"/>
                </a:solidFill>
                <a:latin typeface="Calibri" panose="020F0502020204030204" pitchFamily="34" charset="0"/>
              </a:rPr>
              <a:t>36%</a:t>
            </a:r>
            <a:r>
              <a:rPr lang="en-US" sz="1400" dirty="0">
                <a:latin typeface="Calibri" panose="020F0502020204030204" pitchFamily="34" charset="0"/>
              </a:rPr>
              <a:t> cited limited analytics / reporting infrastructure </a:t>
            </a:r>
          </a:p>
          <a:p>
            <a:pPr marL="285750" indent="-285750">
              <a:spcBef>
                <a:spcPts val="600"/>
              </a:spcBef>
              <a:buFont typeface="Arial" panose="020B0604020202020204" pitchFamily="34" charset="0"/>
              <a:buChar char="•"/>
            </a:pPr>
            <a:r>
              <a:rPr lang="en-US" sz="1400" dirty="0">
                <a:solidFill>
                  <a:schemeClr val="accent3"/>
                </a:solidFill>
                <a:latin typeface="Calibri" panose="020F0502020204030204" pitchFamily="34" charset="0"/>
              </a:rPr>
              <a:t>18%</a:t>
            </a:r>
            <a:r>
              <a:rPr lang="en-US" sz="1400" dirty="0">
                <a:latin typeface="Calibri" panose="020F0502020204030204" pitchFamily="34" charset="0"/>
              </a:rPr>
              <a:t> cited limited claims / utilization data access</a:t>
            </a:r>
          </a:p>
          <a:p>
            <a:pPr marL="285750" indent="-285750">
              <a:spcBef>
                <a:spcPts val="600"/>
              </a:spcBef>
              <a:buFont typeface="Arial" panose="020B0604020202020204" pitchFamily="34" charset="0"/>
              <a:buChar char="•"/>
            </a:pPr>
            <a:r>
              <a:rPr lang="en-US" sz="1400" dirty="0">
                <a:latin typeface="Calibri" panose="020F0502020204030204" pitchFamily="34" charset="0"/>
              </a:rPr>
              <a:t>A need for patient attribution visibility, provider-level quality / TCOC</a:t>
            </a:r>
            <a:r>
              <a:rPr lang="en-US" sz="1400" baseline="30000" dirty="0">
                <a:latin typeface="Calibri" panose="020F0502020204030204" pitchFamily="34" charset="0"/>
              </a:rPr>
              <a:t>2</a:t>
            </a:r>
            <a:r>
              <a:rPr lang="en-US" sz="1400" dirty="0">
                <a:latin typeface="Calibri" panose="020F0502020204030204" pitchFamily="34" charset="0"/>
              </a:rPr>
              <a:t> metrics, and care-gap identification</a:t>
            </a:r>
          </a:p>
          <a:p>
            <a:pPr>
              <a:spcBef>
                <a:spcPts val="600"/>
              </a:spcBef>
              <a:buNone/>
            </a:pPr>
            <a:r>
              <a:rPr lang="en-US" sz="1400" dirty="0">
                <a:latin typeface="Calibri" panose="020F0502020204030204" pitchFamily="34" charset="0"/>
              </a:rPr>
              <a:t>Providers often rely on MCO</a:t>
            </a:r>
            <a:r>
              <a:rPr lang="en-US" sz="1400" baseline="30000" dirty="0">
                <a:latin typeface="Calibri" panose="020F0502020204030204" pitchFamily="34" charset="0"/>
              </a:rPr>
              <a:t>3</a:t>
            </a:r>
            <a:r>
              <a:rPr lang="en-US" sz="1400" dirty="0">
                <a:latin typeface="Calibri" panose="020F0502020204030204" pitchFamily="34" charset="0"/>
              </a:rPr>
              <a:t> data today, with concerns about clarity and quality. Preliminary proposals also identified multiple vendors to support data-related capabilities.</a:t>
            </a:r>
          </a:p>
          <a:p>
            <a:pPr>
              <a:spcBef>
                <a:spcPts val="600"/>
              </a:spcBef>
            </a:pPr>
            <a:r>
              <a:rPr lang="en-US" sz="1400" dirty="0">
                <a:latin typeface="Calibri" panose="020F0502020204030204" pitchFamily="34" charset="0"/>
              </a:rPr>
              <a:t>Increased data availability can provide cross-program benefits for LDH, such as:</a:t>
            </a:r>
          </a:p>
          <a:p>
            <a:pPr marL="285750" indent="-285750">
              <a:spcBef>
                <a:spcPts val="600"/>
              </a:spcBef>
              <a:buFont typeface="Arial" panose="020B0604020202020204" pitchFamily="34" charset="0"/>
              <a:buChar char="•"/>
            </a:pPr>
            <a:r>
              <a:rPr lang="en-US" sz="1400" dirty="0">
                <a:latin typeface="Calibri" panose="020F0502020204030204" pitchFamily="34" charset="0"/>
              </a:rPr>
              <a:t>Cross-program performance management across RHTP, MCIP</a:t>
            </a:r>
            <a:r>
              <a:rPr lang="en-US" sz="1400" baseline="30000" dirty="0">
                <a:latin typeface="Calibri" panose="020F0502020204030204" pitchFamily="34" charset="0"/>
              </a:rPr>
              <a:t>4</a:t>
            </a:r>
            <a:r>
              <a:rPr lang="en-US" sz="1400" dirty="0">
                <a:latin typeface="Calibri" panose="020F0502020204030204" pitchFamily="34" charset="0"/>
              </a:rPr>
              <a:t>, and quality programs </a:t>
            </a:r>
          </a:p>
          <a:p>
            <a:pPr marL="285750" indent="-285750">
              <a:spcBef>
                <a:spcPts val="600"/>
              </a:spcBef>
              <a:buFont typeface="Arial" panose="020B0604020202020204" pitchFamily="34" charset="0"/>
              <a:buChar char="•"/>
            </a:pPr>
            <a:r>
              <a:rPr lang="en-US" sz="1400" dirty="0">
                <a:latin typeface="Calibri" panose="020F0502020204030204" pitchFamily="34" charset="0"/>
              </a:rPr>
              <a:t>Improved insight into public health trends and needs </a:t>
            </a:r>
          </a:p>
          <a:p>
            <a:pPr marL="285750" indent="-285750">
              <a:spcBef>
                <a:spcPts val="600"/>
              </a:spcBef>
              <a:buFont typeface="Arial" panose="020B0604020202020204" pitchFamily="34" charset="0"/>
              <a:buChar char="•"/>
            </a:pPr>
            <a:r>
              <a:rPr lang="en-US" sz="1400" dirty="0">
                <a:latin typeface="Calibri" panose="020F0502020204030204" pitchFamily="34" charset="0"/>
              </a:rPr>
              <a:t>More consistent Medicaid claims and utilization analytics</a:t>
            </a:r>
          </a:p>
        </p:txBody>
      </p:sp>
      <p:cxnSp>
        <p:nvCxnSpPr>
          <p:cNvPr id="44" name="Straight Connector 43">
            <a:extLst>
              <a:ext uri="{FF2B5EF4-FFF2-40B4-BE49-F238E27FC236}">
                <a16:creationId xmlns:a16="http://schemas.microsoft.com/office/drawing/2014/main" id="{3B431E84-5C64-E3E5-96D8-17F51454DFC2}"/>
              </a:ext>
            </a:extLst>
          </p:cNvPr>
          <p:cNvCxnSpPr>
            <a:cxnSpLocks/>
          </p:cNvCxnSpPr>
          <p:nvPr/>
        </p:nvCxnSpPr>
        <p:spPr>
          <a:xfrm>
            <a:off x="557952" y="1583071"/>
            <a:ext cx="518447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37AD936D-11FB-9369-169A-72AE2863507E}"/>
              </a:ext>
            </a:extLst>
          </p:cNvPr>
          <p:cNvSpPr txBox="1"/>
          <p:nvPr>
            <p:custDataLst>
              <p:tags r:id="rId3"/>
            </p:custDataLst>
          </p:nvPr>
        </p:nvSpPr>
        <p:spPr>
          <a:xfrm>
            <a:off x="2556717" y="6501669"/>
            <a:ext cx="7277861"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1"/>
              </a:buClr>
            </a:pPr>
            <a:r>
              <a:rPr lang="en-US" sz="900" dirty="0">
                <a:latin typeface="Calibri" panose="020F0502020204030204" pitchFamily="34" charset="0"/>
              </a:rPr>
              <a:t>Source: LDH RHTP VBC APM Readiness Survey Responses, N=22</a:t>
            </a:r>
          </a:p>
        </p:txBody>
      </p:sp>
      <p:sp>
        <p:nvSpPr>
          <p:cNvPr id="21" name="4. Footnote">
            <a:extLst>
              <a:ext uri="{FF2B5EF4-FFF2-40B4-BE49-F238E27FC236}">
                <a16:creationId xmlns:a16="http://schemas.microsoft.com/office/drawing/2014/main" id="{34CF1BD8-22D5-5AAC-9806-54248EDA2196}"/>
              </a:ext>
            </a:extLst>
          </p:cNvPr>
          <p:cNvSpPr txBox="1"/>
          <p:nvPr>
            <p:custDataLst>
              <p:tags r:id="rId4"/>
            </p:custDataLst>
          </p:nvPr>
        </p:nvSpPr>
        <p:spPr>
          <a:xfrm>
            <a:off x="554735" y="6002122"/>
            <a:ext cx="5184479" cy="2769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sz="900" dirty="0">
                <a:latin typeface="Calibri" panose="020F0502020204030204" pitchFamily="34" charset="0"/>
              </a:rPr>
              <a:t>1. Alternative payment model; 2. Total cost of care; 3. Managed care organization; 4. Managed Care Incentive Payment </a:t>
            </a:r>
          </a:p>
        </p:txBody>
      </p:sp>
      <p:sp>
        <p:nvSpPr>
          <p:cNvPr id="23" name="TextBox 22">
            <a:extLst>
              <a:ext uri="{FF2B5EF4-FFF2-40B4-BE49-F238E27FC236}">
                <a16:creationId xmlns:a16="http://schemas.microsoft.com/office/drawing/2014/main" id="{FEDF2D96-F4EA-CF89-1310-DA3AA5FF2F5F}"/>
              </a:ext>
            </a:extLst>
          </p:cNvPr>
          <p:cNvSpPr txBox="1"/>
          <p:nvPr/>
        </p:nvSpPr>
        <p:spPr>
          <a:xfrm>
            <a:off x="6420310" y="1236278"/>
            <a:ext cx="518447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Potential approaches (illustrative):</a:t>
            </a:r>
          </a:p>
        </p:txBody>
      </p:sp>
    </p:spTree>
    <p:extLst>
      <p:ext uri="{BB962C8B-B14F-4D97-AF65-F5344CB8AC3E}">
        <p14:creationId xmlns:p14="http://schemas.microsoft.com/office/powerpoint/2010/main" val="680609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5D9C8-81C6-58B6-AD1E-738F6D9DF87B}"/>
            </a:ext>
          </a:extLst>
        </p:cNvPr>
        <p:cNvGrpSpPr/>
        <p:nvPr/>
      </p:nvGrpSpPr>
      <p:grpSpPr>
        <a:xfrm>
          <a:off x="0" y="0"/>
          <a:ext cx="0" cy="0"/>
          <a:chOff x="0" y="0"/>
          <a:chExt cx="0" cy="0"/>
        </a:xfrm>
      </p:grpSpPr>
      <p:sp>
        <p:nvSpPr>
          <p:cNvPr id="4" name="2. Slide Title">
            <a:extLst>
              <a:ext uri="{FF2B5EF4-FFF2-40B4-BE49-F238E27FC236}">
                <a16:creationId xmlns:a16="http://schemas.microsoft.com/office/drawing/2014/main" id="{0AD3BCD7-A73F-04C6-1D1F-A0DCD90938BA}"/>
              </a:ext>
            </a:extLst>
          </p:cNvPr>
          <p:cNvSpPr>
            <a:spLocks noGrp="1"/>
          </p:cNvSpPr>
          <p:nvPr>
            <p:ph type="title"/>
            <p:custDataLst>
              <p:tags r:id="rId1"/>
            </p:custDataLst>
          </p:nvPr>
        </p:nvSpPr>
        <p:spPr>
          <a:xfrm>
            <a:off x="554736" y="172212"/>
            <a:ext cx="11082528" cy="738664"/>
          </a:xfrm>
        </p:spPr>
        <p:txBody>
          <a:bodyPr vert="horz">
            <a:spAutoFit/>
          </a:bodyPr>
          <a:lstStyle/>
          <a:p>
            <a:r>
              <a:rPr lang="en-US" sz="2400" b="1" dirty="0">
                <a:solidFill>
                  <a:schemeClr val="accent3"/>
                </a:solidFill>
              </a:rPr>
              <a:t>3. Strategic alignment context:</a:t>
            </a:r>
            <a:r>
              <a:rPr lang="en-US" sz="2400" b="1" dirty="0"/>
              <a:t> RHTP and Medicaid efforts on APMs are complementary but do not overlap</a:t>
            </a:r>
          </a:p>
        </p:txBody>
      </p:sp>
      <p:sp>
        <p:nvSpPr>
          <p:cNvPr id="11" name="5. Source">
            <a:extLst>
              <a:ext uri="{FF2B5EF4-FFF2-40B4-BE49-F238E27FC236}">
                <a16:creationId xmlns:a16="http://schemas.microsoft.com/office/drawing/2014/main" id="{8DD49205-7DD0-6A95-6C74-145C957154DF}"/>
              </a:ext>
            </a:extLst>
          </p:cNvPr>
          <p:cNvSpPr txBox="1"/>
          <p:nvPr>
            <p:custDataLst>
              <p:tags r:id="rId2"/>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u="none" strike="noStrike" kern="1200" cap="none" spc="0" normalizeH="0" baseline="0" noProof="0" dirty="0">
                <a:ln>
                  <a:noFill/>
                </a:ln>
                <a:solidFill>
                  <a:schemeClr val="bg1"/>
                </a:solidFill>
                <a:effectLst/>
                <a:uLnTx/>
                <a:uFillTx/>
                <a:latin typeface="Calibri" panose="020F0502020204030204" pitchFamily="34" charset="0"/>
                <a:ea typeface="+mn-ea"/>
              </a:rPr>
              <a:t>Source: Discussions with RHTP leadership (May 2026); </a:t>
            </a:r>
            <a:r>
              <a:rPr kumimoji="0" lang="en-US" sz="800" u="none" strike="noStrike" kern="1200" cap="none" spc="0" normalizeH="0" baseline="0" noProof="0" dirty="0">
                <a:ln>
                  <a:noFill/>
                </a:ln>
                <a:solidFill>
                  <a:schemeClr val="bg1"/>
                </a:solidFill>
                <a:effectLst/>
                <a:uLnTx/>
                <a:uFillTx/>
                <a:latin typeface="Calibri" panose="020F0502020204030204" pitchFamily="34" charset="0"/>
                <a:ea typeface="+mn-ea"/>
                <a:hlinkClick r:id="rId20">
                  <a:extLst>
                    <a:ext uri="{A12FA001-AC4F-418D-AE19-62706E023703}">
                      <ahyp:hlinkClr xmlns:ahyp="http://schemas.microsoft.com/office/drawing/2018/hyperlinkcolor" xmlns="" val="tx"/>
                    </a:ext>
                  </a:extLst>
                </a:hlinkClick>
              </a:rPr>
              <a:t>Q1 and Q2 MCIP Program Updates</a:t>
            </a:r>
            <a:r>
              <a:rPr kumimoji="0" lang="en-US" sz="800" u="none" strike="noStrike" kern="1200" cap="none" spc="0" normalizeH="0" baseline="0" noProof="0" dirty="0">
                <a:ln>
                  <a:noFill/>
                </a:ln>
                <a:solidFill>
                  <a:schemeClr val="bg1"/>
                </a:solidFill>
                <a:effectLst/>
                <a:uLnTx/>
                <a:uFillTx/>
                <a:latin typeface="Calibri" panose="020F0502020204030204" pitchFamily="34" charset="0"/>
                <a:ea typeface="+mn-ea"/>
              </a:rPr>
              <a:t>; Calendar Year 2025 MCO Value Based Payment Summary Memo</a:t>
            </a:r>
          </a:p>
        </p:txBody>
      </p:sp>
      <p:sp>
        <p:nvSpPr>
          <p:cNvPr id="26" name="TextBox 25">
            <a:extLst>
              <a:ext uri="{FF2B5EF4-FFF2-40B4-BE49-F238E27FC236}">
                <a16:creationId xmlns:a16="http://schemas.microsoft.com/office/drawing/2014/main" id="{E8333085-53AB-5E46-2E27-E501C22172E8}"/>
              </a:ext>
            </a:extLst>
          </p:cNvPr>
          <p:cNvSpPr txBox="1"/>
          <p:nvPr>
            <p:custDataLst>
              <p:tags r:id="rId3"/>
            </p:custDataLst>
          </p:nvPr>
        </p:nvSpPr>
        <p:spPr>
          <a:xfrm>
            <a:off x="571501" y="1112576"/>
            <a:ext cx="162306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Categories</a:t>
            </a:r>
          </a:p>
        </p:txBody>
      </p:sp>
      <p:sp>
        <p:nvSpPr>
          <p:cNvPr id="30" name="TextBox 29">
            <a:extLst>
              <a:ext uri="{FF2B5EF4-FFF2-40B4-BE49-F238E27FC236}">
                <a16:creationId xmlns:a16="http://schemas.microsoft.com/office/drawing/2014/main" id="{A3859450-4FC6-7838-2CD7-E635D57C6893}"/>
              </a:ext>
            </a:extLst>
          </p:cNvPr>
          <p:cNvSpPr txBox="1">
            <a:spLocks/>
          </p:cNvSpPr>
          <p:nvPr>
            <p:custDataLst>
              <p:tags r:id="rId4"/>
            </p:custDataLst>
          </p:nvPr>
        </p:nvSpPr>
        <p:spPr>
          <a:xfrm>
            <a:off x="2348345" y="1112576"/>
            <a:ext cx="4966855"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Rural Health Transformation Program</a:t>
            </a:r>
          </a:p>
        </p:txBody>
      </p:sp>
      <p:sp>
        <p:nvSpPr>
          <p:cNvPr id="35" name="TextBox 34">
            <a:extLst>
              <a:ext uri="{FF2B5EF4-FFF2-40B4-BE49-F238E27FC236}">
                <a16:creationId xmlns:a16="http://schemas.microsoft.com/office/drawing/2014/main" id="{50C99959-9F55-A298-9369-FEC47EEBB9F1}"/>
              </a:ext>
            </a:extLst>
          </p:cNvPr>
          <p:cNvSpPr txBox="1">
            <a:spLocks/>
          </p:cNvSpPr>
          <p:nvPr>
            <p:custDataLst>
              <p:tags r:id="rId5"/>
            </p:custDataLst>
          </p:nvPr>
        </p:nvSpPr>
        <p:spPr>
          <a:xfrm>
            <a:off x="7259782" y="1112576"/>
            <a:ext cx="4360717"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Medicaid</a:t>
            </a:r>
          </a:p>
        </p:txBody>
      </p:sp>
      <p:grpSp>
        <p:nvGrpSpPr>
          <p:cNvPr id="8" name="Group 7">
            <a:extLst>
              <a:ext uri="{FF2B5EF4-FFF2-40B4-BE49-F238E27FC236}">
                <a16:creationId xmlns:a16="http://schemas.microsoft.com/office/drawing/2014/main" id="{44D64997-A4BA-D9ED-7CE5-E3617F13A8A5}"/>
              </a:ext>
            </a:extLst>
          </p:cNvPr>
          <p:cNvGrpSpPr/>
          <p:nvPr/>
        </p:nvGrpSpPr>
        <p:grpSpPr>
          <a:xfrm>
            <a:off x="571499" y="1483050"/>
            <a:ext cx="11049000" cy="184666"/>
            <a:chOff x="571499" y="1347051"/>
            <a:chExt cx="11049000" cy="184666"/>
          </a:xfrm>
        </p:grpSpPr>
        <p:sp>
          <p:nvSpPr>
            <p:cNvPr id="27" name="TextBox 26">
              <a:extLst>
                <a:ext uri="{FF2B5EF4-FFF2-40B4-BE49-F238E27FC236}">
                  <a16:creationId xmlns:a16="http://schemas.microsoft.com/office/drawing/2014/main" id="{8B16D6D7-6332-195C-7699-FCCC825A8378}"/>
                </a:ext>
              </a:extLst>
            </p:cNvPr>
            <p:cNvSpPr txBox="1">
              <a:spLocks/>
            </p:cNvSpPr>
            <p:nvPr>
              <p:custDataLst>
                <p:tags r:id="rId16"/>
              </p:custDataLst>
            </p:nvPr>
          </p:nvSpPr>
          <p:spPr>
            <a:xfrm>
              <a:off x="571499" y="1347051"/>
              <a:ext cx="1590719"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otential population</a:t>
              </a:r>
            </a:p>
          </p:txBody>
        </p:sp>
        <p:sp>
          <p:nvSpPr>
            <p:cNvPr id="31" name="TextBox 30">
              <a:extLst>
                <a:ext uri="{FF2B5EF4-FFF2-40B4-BE49-F238E27FC236}">
                  <a16:creationId xmlns:a16="http://schemas.microsoft.com/office/drawing/2014/main" id="{3132BFC1-3D7E-AA3C-85EF-AA114688A43D}"/>
                </a:ext>
              </a:extLst>
            </p:cNvPr>
            <p:cNvSpPr txBox="1">
              <a:spLocks/>
            </p:cNvSpPr>
            <p:nvPr>
              <p:custDataLst>
                <p:tags r:id="rId17"/>
              </p:custDataLst>
            </p:nvPr>
          </p:nvSpPr>
          <p:spPr>
            <a:xfrm>
              <a:off x="2348345" y="1347051"/>
              <a:ext cx="481445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Focus on Rural Medicaid population</a:t>
              </a:r>
            </a:p>
          </p:txBody>
        </p:sp>
        <p:sp>
          <p:nvSpPr>
            <p:cNvPr id="37" name="TextBox 36">
              <a:extLst>
                <a:ext uri="{FF2B5EF4-FFF2-40B4-BE49-F238E27FC236}">
                  <a16:creationId xmlns:a16="http://schemas.microsoft.com/office/drawing/2014/main" id="{BDE1CAD7-9B2F-296F-09B7-EE04477CB5C9}"/>
                </a:ext>
              </a:extLst>
            </p:cNvPr>
            <p:cNvSpPr txBox="1">
              <a:spLocks/>
            </p:cNvSpPr>
            <p:nvPr>
              <p:custDataLst>
                <p:tags r:id="rId18"/>
              </p:custDataLst>
            </p:nvPr>
          </p:nvSpPr>
          <p:spPr>
            <a:xfrm>
              <a:off x="7259782" y="1347051"/>
              <a:ext cx="436071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Focus on Statewide Medicaid population</a:t>
              </a:r>
            </a:p>
          </p:txBody>
        </p:sp>
      </p:grpSp>
      <p:grpSp>
        <p:nvGrpSpPr>
          <p:cNvPr id="10" name="Group 9">
            <a:extLst>
              <a:ext uri="{FF2B5EF4-FFF2-40B4-BE49-F238E27FC236}">
                <a16:creationId xmlns:a16="http://schemas.microsoft.com/office/drawing/2014/main" id="{BF36549F-BED5-87D4-05B5-41B9951C5E52}"/>
              </a:ext>
            </a:extLst>
          </p:cNvPr>
          <p:cNvGrpSpPr/>
          <p:nvPr/>
        </p:nvGrpSpPr>
        <p:grpSpPr>
          <a:xfrm>
            <a:off x="571501" y="1820000"/>
            <a:ext cx="11048998" cy="1777410"/>
            <a:chOff x="571501" y="1741825"/>
            <a:chExt cx="11048998" cy="1777410"/>
          </a:xfrm>
        </p:grpSpPr>
        <p:sp>
          <p:nvSpPr>
            <p:cNvPr id="28" name="TextBox 27">
              <a:extLst>
                <a:ext uri="{FF2B5EF4-FFF2-40B4-BE49-F238E27FC236}">
                  <a16:creationId xmlns:a16="http://schemas.microsoft.com/office/drawing/2014/main" id="{72AD3207-E843-7BEE-CCF2-67A6DBC1E20C}"/>
                </a:ext>
              </a:extLst>
            </p:cNvPr>
            <p:cNvSpPr txBox="1">
              <a:spLocks/>
            </p:cNvSpPr>
            <p:nvPr>
              <p:custDataLst>
                <p:tags r:id="rId13"/>
              </p:custDataLst>
            </p:nvPr>
          </p:nvSpPr>
          <p:spPr>
            <a:xfrm>
              <a:off x="571501" y="1741825"/>
              <a:ext cx="148407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Programs (non-exhaustive)</a:t>
              </a:r>
            </a:p>
          </p:txBody>
        </p:sp>
        <p:sp>
          <p:nvSpPr>
            <p:cNvPr id="32" name="TextBox 31">
              <a:extLst>
                <a:ext uri="{FF2B5EF4-FFF2-40B4-BE49-F238E27FC236}">
                  <a16:creationId xmlns:a16="http://schemas.microsoft.com/office/drawing/2014/main" id="{795572C8-69E4-8DFF-3621-F1544D60BC5F}"/>
                </a:ext>
              </a:extLst>
            </p:cNvPr>
            <p:cNvSpPr txBox="1">
              <a:spLocks/>
            </p:cNvSpPr>
            <p:nvPr>
              <p:custDataLst>
                <p:tags r:id="rId14"/>
              </p:custDataLst>
            </p:nvPr>
          </p:nvSpPr>
          <p:spPr>
            <a:xfrm>
              <a:off x="2348345" y="1741825"/>
              <a:ext cx="4814455" cy="177741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dirty="0">
                  <a:latin typeface="Calibri" panose="020F0502020204030204" pitchFamily="34" charset="0"/>
                </a:rPr>
                <a:t>Year 1: ~$30M to help providers adopt a target care model, with funding matched to provider readiness across three areas:</a:t>
              </a:r>
            </a:p>
            <a:p>
              <a:pPr lvl="1"/>
              <a:r>
                <a:rPr lang="en-US" sz="1200" dirty="0">
                  <a:latin typeface="Calibri" panose="020F0502020204030204" pitchFamily="34" charset="0"/>
                </a:rPr>
                <a:t>Practice transformation: infrastructure + one-time support to begin transition</a:t>
              </a:r>
            </a:p>
            <a:p>
              <a:pPr lvl="1"/>
              <a:r>
                <a:rPr lang="en-US" sz="1200" dirty="0">
                  <a:latin typeface="Calibri" panose="020F0502020204030204" pitchFamily="34" charset="0"/>
                </a:rPr>
                <a:t>In-lieu of services (ILOS)-style and other clinical activities: ILOS-style and other clinical activities that are not reimbursed by Medicaid</a:t>
              </a:r>
            </a:p>
            <a:p>
              <a:pPr lvl="1"/>
              <a:r>
                <a:rPr lang="en-US" sz="1200" dirty="0">
                  <a:latin typeface="Calibri" panose="020F0502020204030204" pitchFamily="34" charset="0"/>
                </a:rPr>
                <a:t>Quality, process, and total cost of care (TCOC): Reporting, quality, and process expectations as well as upside-only payment for reducing TCOC and meeting quality expectations</a:t>
              </a:r>
            </a:p>
          </p:txBody>
        </p:sp>
        <p:sp>
          <p:nvSpPr>
            <p:cNvPr id="39" name="TextBox 38">
              <a:extLst>
                <a:ext uri="{FF2B5EF4-FFF2-40B4-BE49-F238E27FC236}">
                  <a16:creationId xmlns:a16="http://schemas.microsoft.com/office/drawing/2014/main" id="{A647D27D-6389-6A80-1292-45C05710442F}"/>
                </a:ext>
              </a:extLst>
            </p:cNvPr>
            <p:cNvSpPr txBox="1">
              <a:spLocks/>
            </p:cNvSpPr>
            <p:nvPr>
              <p:custDataLst>
                <p:tags r:id="rId15"/>
              </p:custDataLst>
            </p:nvPr>
          </p:nvSpPr>
          <p:spPr>
            <a:xfrm>
              <a:off x="7259782" y="1741825"/>
              <a:ext cx="4360717" cy="15542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latin typeface="Calibri" panose="020F0502020204030204" pitchFamily="34" charset="0"/>
                </a:rPr>
                <a:t>Managed Care Incentive Payment (M-CIP): Payments to MCOs above capitation when MCOs, through provider networks, meet activities, targets, performance, or quality measures</a:t>
              </a:r>
            </a:p>
            <a:p>
              <a:pPr lvl="1"/>
              <a:r>
                <a:rPr lang="en-US" sz="1200" dirty="0">
                  <a:latin typeface="Calibri" panose="020F0502020204030204" pitchFamily="34" charset="0"/>
                </a:rPr>
                <a:t>Value based payment (VBP) withhold: 0.5% capitation withhold tied to MCO performance on VBP contracting requirements</a:t>
              </a:r>
              <a:r>
                <a:rPr lang="en-US" sz="1200" baseline="30000" dirty="0">
                  <a:latin typeface="Calibri" panose="020F0502020204030204" pitchFamily="34" charset="0"/>
                </a:rPr>
                <a:t>2</a:t>
              </a:r>
              <a:r>
                <a:rPr lang="en-US" sz="1200" dirty="0">
                  <a:latin typeface="Calibri" panose="020F0502020204030204" pitchFamily="34" charset="0"/>
                </a:rPr>
                <a:t> </a:t>
              </a:r>
            </a:p>
            <a:p>
              <a:pPr lvl="1"/>
              <a:r>
                <a:rPr lang="en-US" sz="1200" dirty="0">
                  <a:latin typeface="Calibri" panose="020F0502020204030204" pitchFamily="34" charset="0"/>
                </a:rPr>
                <a:t>In-lieu-of-services (ILOS):</a:t>
              </a:r>
              <a:r>
                <a:rPr lang="en-US" sz="1200" baseline="30000" dirty="0">
                  <a:latin typeface="Calibri" panose="020F0502020204030204" pitchFamily="34" charset="0"/>
                </a:rPr>
                <a:t>3 </a:t>
              </a:r>
              <a:r>
                <a:rPr lang="en-US" sz="1200" dirty="0">
                  <a:latin typeface="Calibri" panose="020F0502020204030204" pitchFamily="34" charset="0"/>
                </a:rPr>
                <a:t>Approved for certain services (e.g., chiropractic, remote patient monitoring, hospital-based care coordination)</a:t>
              </a:r>
            </a:p>
          </p:txBody>
        </p:sp>
      </p:grpSp>
      <p:grpSp>
        <p:nvGrpSpPr>
          <p:cNvPr id="13" name="Group 12">
            <a:extLst>
              <a:ext uri="{FF2B5EF4-FFF2-40B4-BE49-F238E27FC236}">
                <a16:creationId xmlns:a16="http://schemas.microsoft.com/office/drawing/2014/main" id="{179A4B94-BC0F-DA67-0E48-6DF1FFF301D0}"/>
              </a:ext>
            </a:extLst>
          </p:cNvPr>
          <p:cNvGrpSpPr/>
          <p:nvPr/>
        </p:nvGrpSpPr>
        <p:grpSpPr>
          <a:xfrm>
            <a:off x="571501" y="4211356"/>
            <a:ext cx="11048998" cy="1408078"/>
            <a:chOff x="571501" y="4072618"/>
            <a:chExt cx="11048998" cy="1408078"/>
          </a:xfrm>
        </p:grpSpPr>
        <p:sp>
          <p:nvSpPr>
            <p:cNvPr id="29" name="TextBox 28">
              <a:extLst>
                <a:ext uri="{FF2B5EF4-FFF2-40B4-BE49-F238E27FC236}">
                  <a16:creationId xmlns:a16="http://schemas.microsoft.com/office/drawing/2014/main" id="{B473E46C-3F1F-498F-54BB-CE6C1A26AA7D}"/>
                </a:ext>
              </a:extLst>
            </p:cNvPr>
            <p:cNvSpPr txBox="1">
              <a:spLocks/>
            </p:cNvSpPr>
            <p:nvPr>
              <p:custDataLst>
                <p:tags r:id="rId10"/>
              </p:custDataLst>
            </p:nvPr>
          </p:nvSpPr>
          <p:spPr>
            <a:xfrm>
              <a:off x="571501" y="4072618"/>
              <a:ext cx="148407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Potential guardrails / considerations</a:t>
              </a:r>
            </a:p>
          </p:txBody>
        </p:sp>
        <p:sp>
          <p:nvSpPr>
            <p:cNvPr id="33" name="TextBox 32">
              <a:extLst>
                <a:ext uri="{FF2B5EF4-FFF2-40B4-BE49-F238E27FC236}">
                  <a16:creationId xmlns:a16="http://schemas.microsoft.com/office/drawing/2014/main" id="{21329368-C0A6-3287-3A92-3CD6BFA1EC3D}"/>
                </a:ext>
              </a:extLst>
            </p:cNvPr>
            <p:cNvSpPr txBox="1">
              <a:spLocks/>
            </p:cNvSpPr>
            <p:nvPr>
              <p:custDataLst>
                <p:tags r:id="rId11"/>
              </p:custDataLst>
            </p:nvPr>
          </p:nvSpPr>
          <p:spPr>
            <a:xfrm>
              <a:off x="2348345" y="4072618"/>
              <a:ext cx="4814455" cy="140807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latin typeface="Calibri" panose="020F0502020204030204" pitchFamily="34" charset="0"/>
                </a:rPr>
                <a:t>Focus on one-time catalyzing investments</a:t>
              </a:r>
            </a:p>
            <a:p>
              <a:pPr lvl="1"/>
              <a:r>
                <a:rPr lang="en-US" sz="1200" dirty="0">
                  <a:latin typeface="Calibri" panose="020F0502020204030204" pitchFamily="34" charset="0"/>
                </a:rPr>
                <a:t>Increased range of potential recipients / uses</a:t>
              </a:r>
            </a:p>
            <a:p>
              <a:pPr lvl="1"/>
              <a:r>
                <a:rPr lang="en-US" sz="1200" dirty="0">
                  <a:latin typeface="Calibri" panose="020F0502020204030204" pitchFamily="34" charset="0"/>
                </a:rPr>
                <a:t>Cannot fund activities already reimbursed by Medicaid</a:t>
              </a:r>
            </a:p>
            <a:p>
              <a:pPr lvl="1"/>
              <a:r>
                <a:rPr lang="en-US" sz="1200" dirty="0">
                  <a:latin typeface="Calibri" panose="020F0502020204030204" pitchFamily="34" charset="0"/>
                </a:rPr>
                <a:t>Rural-focused pathway toward PMPY TCOC improvement through (1) shared savings, (2) utilization management through ILOS-style interventions; (3) Operational transformation through new services and technology-enabled care models</a:t>
              </a:r>
            </a:p>
          </p:txBody>
        </p:sp>
        <p:sp>
          <p:nvSpPr>
            <p:cNvPr id="41" name="TextBox 40">
              <a:extLst>
                <a:ext uri="{FF2B5EF4-FFF2-40B4-BE49-F238E27FC236}">
                  <a16:creationId xmlns:a16="http://schemas.microsoft.com/office/drawing/2014/main" id="{8EB8CFF3-04F6-2A9F-1D2C-36D459E73936}"/>
                </a:ext>
              </a:extLst>
            </p:cNvPr>
            <p:cNvSpPr txBox="1">
              <a:spLocks/>
            </p:cNvSpPr>
            <p:nvPr>
              <p:custDataLst>
                <p:tags r:id="rId12"/>
              </p:custDataLst>
            </p:nvPr>
          </p:nvSpPr>
          <p:spPr>
            <a:xfrm>
              <a:off x="7259782" y="4072618"/>
              <a:ext cx="4360717" cy="122341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latin typeface="Calibri" panose="020F0502020204030204" pitchFamily="34" charset="0"/>
                </a:rPr>
                <a:t>Potentially renewable source of financial support</a:t>
              </a:r>
            </a:p>
            <a:p>
              <a:pPr lvl="1"/>
              <a:r>
                <a:rPr lang="en-US" sz="1200" dirty="0">
                  <a:latin typeface="Calibri" panose="020F0502020204030204" pitchFamily="34" charset="0"/>
                </a:rPr>
                <a:t>Principal recipients are MCOs (with pass-through to providers)</a:t>
              </a:r>
            </a:p>
            <a:p>
              <a:pPr lvl="1"/>
              <a:r>
                <a:rPr lang="en-US" sz="1200" dirty="0">
                  <a:latin typeface="Calibri" panose="020F0502020204030204" pitchFamily="34" charset="0"/>
                </a:rPr>
                <a:t>May provide limited support for infrastructure / reporting</a:t>
              </a:r>
            </a:p>
            <a:p>
              <a:pPr lvl="1"/>
              <a:r>
                <a:rPr lang="en-US" sz="1200" dirty="0">
                  <a:latin typeface="Calibri" panose="020F0502020204030204" pitchFamily="34" charset="0"/>
                </a:rPr>
                <a:t>M-CIP focuses on quality improvement without explicit ties to; VBP withhold includes adoption of shared upside / downside payment models</a:t>
              </a:r>
            </a:p>
          </p:txBody>
        </p:sp>
      </p:grpSp>
      <p:cxnSp>
        <p:nvCxnSpPr>
          <p:cNvPr id="42" name="Straight Connector 41">
            <a:extLst>
              <a:ext uri="{FF2B5EF4-FFF2-40B4-BE49-F238E27FC236}">
                <a16:creationId xmlns:a16="http://schemas.microsoft.com/office/drawing/2014/main" id="{EB56D648-3F15-4F41-462C-DA5D41066860}"/>
              </a:ext>
            </a:extLst>
          </p:cNvPr>
          <p:cNvCxnSpPr/>
          <p:nvPr>
            <p:custDataLst>
              <p:tags r:id="rId6"/>
            </p:custDataLst>
          </p:nvPr>
        </p:nvCxnSpPr>
        <p:spPr>
          <a:xfrm>
            <a:off x="571500" y="1422297"/>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D34E12-8E0F-EC0C-6234-11E16F6B8B10}"/>
              </a:ext>
            </a:extLst>
          </p:cNvPr>
          <p:cNvCxnSpPr/>
          <p:nvPr>
            <p:custDataLst>
              <p:tags r:id="rId7"/>
            </p:custDataLst>
          </p:nvPr>
        </p:nvCxnSpPr>
        <p:spPr>
          <a:xfrm>
            <a:off x="571500" y="175924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0AEEE90-C201-9739-83D9-0639D98D2927}"/>
              </a:ext>
            </a:extLst>
          </p:cNvPr>
          <p:cNvCxnSpPr/>
          <p:nvPr>
            <p:custDataLst>
              <p:tags r:id="rId8"/>
            </p:custDataLst>
          </p:nvPr>
        </p:nvCxnSpPr>
        <p:spPr>
          <a:xfrm>
            <a:off x="571500" y="415060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49" name="4. Footnote">
            <a:extLst>
              <a:ext uri="{FF2B5EF4-FFF2-40B4-BE49-F238E27FC236}">
                <a16:creationId xmlns:a16="http://schemas.microsoft.com/office/drawing/2014/main" id="{1CE86764-89C1-0F0E-D278-AB9E7E89E8DB}"/>
              </a:ext>
            </a:extLst>
          </p:cNvPr>
          <p:cNvSpPr txBox="1"/>
          <p:nvPr>
            <p:custDataLst>
              <p:tags r:id="rId9"/>
            </p:custDataLst>
          </p:nvPr>
        </p:nvSpPr>
        <p:spPr>
          <a:xfrm>
            <a:off x="553970" y="5776758"/>
            <a:ext cx="11066530"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latin typeface="Calibri" panose="020F0502020204030204" pitchFamily="34" charset="0"/>
              </a:rPr>
              <a:t>1. Health Care Payment Learning &amp; Action Network (HCP LAN) framework; 2. Include: (1) submitting mid-year and annual VBP reports; (2) at least 60% of total Medicaid provider payments through VBPs and provider incentive payments &gt; $8 million OR total provider incentive payments &gt;$16 million dollars; and (3) at least one new provider contract with a LAN 3A component, at least one new provider contract with a LAN 3B component, AND at least one new provider contract with a LAN 4 component; 3. In-lieu-of-services: states’ and managed care plans’ abilities to cover services or settings that are substitutes for services or settings covered under the state plan (e.g., support for health-related social needs)</a:t>
            </a:r>
          </a:p>
        </p:txBody>
      </p:sp>
      <p:sp>
        <p:nvSpPr>
          <p:cNvPr id="2" name="TextBox 1">
            <a:extLst>
              <a:ext uri="{FF2B5EF4-FFF2-40B4-BE49-F238E27FC236}">
                <a16:creationId xmlns:a16="http://schemas.microsoft.com/office/drawing/2014/main" id="{C1AF94E6-7998-49E5-5E11-5832B5B4855C}"/>
              </a:ext>
            </a:extLst>
          </p:cNvPr>
          <p:cNvSpPr txBox="1"/>
          <p:nvPr/>
        </p:nvSpPr>
        <p:spPr>
          <a:xfrm>
            <a:off x="10942320" y="65735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113836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91864D3F-0AA7-5450-806F-D35F4E6315C0}"/>
              </a:ext>
            </a:extLst>
          </p:cNvPr>
          <p:cNvSpPr>
            <a:spLocks noGrp="1"/>
          </p:cNvSpPr>
          <p:nvPr>
            <p:ph type="title"/>
            <p:custDataLst>
              <p:tags r:id="rId1"/>
            </p:custDataLst>
          </p:nvPr>
        </p:nvSpPr>
        <p:spPr>
          <a:xfrm>
            <a:off x="554736" y="1367683"/>
            <a:ext cx="5065776" cy="769441"/>
          </a:xfrm>
        </p:spPr>
        <p:txBody>
          <a:bodyPr vert="horz"/>
          <a:lstStyle/>
          <a:p>
            <a:r>
              <a:rPr lang="en-US" b="1" dirty="0"/>
              <a:t>Appendix</a:t>
            </a: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2"/>
            </p:custDataLst>
          </p:nvPr>
        </p:nvSpPr>
        <p:spPr bwMode="auto">
          <a:xfrm>
            <a:off x="3328988" y="2525713"/>
            <a:ext cx="5534025" cy="406400"/>
          </a:xfrm>
          <a:prstGeom prst="rect">
            <a:avLst/>
          </a:prstGeom>
          <a:no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latin typeface="Calibri" panose="020F0502020204030204" pitchFamily="34" charset="0"/>
                <a:cs typeface="+mn-cs"/>
              </a:rPr>
              <a:t>Analysis of Medicaid claims – more info available for those applying</a:t>
            </a:r>
            <a:endParaRPr lang="en-US" dirty="0">
              <a:latin typeface="Calibri" panose="020F0502020204030204" pitchFamily="34" charset="0"/>
              <a:cs typeface="+mn-cs"/>
            </a:endParaRPr>
          </a:p>
        </p:txBody>
      </p:sp>
      <p:sp>
        <p:nvSpPr>
          <p:cNvPr id="14" name="Text Placeholder 4">
            <a:hlinkClick r:id="" action="ppaction://noaction"/>
            <a:extLst>
              <a:ext uri="{FF2B5EF4-FFF2-40B4-BE49-F238E27FC236}">
                <a16:creationId xmlns:a16="http://schemas.microsoft.com/office/drawing/2014/main" id="{25EE5A7E-446A-DC42-B0DC-F241A6C3DF24}"/>
              </a:ext>
            </a:extLst>
          </p:cNvPr>
          <p:cNvSpPr>
            <a:spLocks noGrp="1"/>
          </p:cNvSpPr>
          <p:nvPr>
            <p:custDataLst>
              <p:tags r:id="rId3"/>
            </p:custDataLst>
          </p:nvPr>
        </p:nvSpPr>
        <p:spPr bwMode="auto">
          <a:xfrm>
            <a:off x="3328988" y="2932113"/>
            <a:ext cx="5534025"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latin typeface="Calibri" panose="020F0502020204030204" pitchFamily="34" charset="0"/>
                <a:cs typeface="+mn-cs"/>
              </a:rPr>
              <a:t>Provider Alternative Payment Model (APM) survey</a:t>
            </a:r>
          </a:p>
        </p:txBody>
      </p:sp>
    </p:spTree>
    <p:extLst>
      <p:ext uri="{BB962C8B-B14F-4D97-AF65-F5344CB8AC3E}">
        <p14:creationId xmlns:p14="http://schemas.microsoft.com/office/powerpoint/2010/main" val="658295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03">
            <a:extLst>
              <a:ext uri="{FF2B5EF4-FFF2-40B4-BE49-F238E27FC236}">
                <a16:creationId xmlns:a16="http://schemas.microsoft.com/office/drawing/2014/main" id="{76D4FB44-AB42-90D0-4232-1A50C770979B}"/>
              </a:ext>
            </a:extLst>
          </p:cNvPr>
          <p:cNvSpPr>
            <a:spLocks noGrp="1"/>
          </p:cNvSpPr>
          <p:nvPr>
            <p:ph type="title"/>
          </p:nvPr>
        </p:nvSpPr>
        <p:spPr>
          <a:xfrm>
            <a:off x="416561" y="367444"/>
            <a:ext cx="8056878" cy="769441"/>
          </a:xfrm>
        </p:spPr>
        <p:txBody>
          <a:bodyPr vert="horz">
            <a:noAutofit/>
          </a:bodyPr>
          <a:lstStyle/>
          <a:p>
            <a:r>
              <a:rPr lang="en-US" sz="2400" b="1" dirty="0"/>
              <a:t>Rural has a ~5% higher Per Member Per Year (PMPY) than urban, but lower utilization</a:t>
            </a:r>
          </a:p>
        </p:txBody>
      </p:sp>
      <p:sp>
        <p:nvSpPr>
          <p:cNvPr id="6" name="5. Source">
            <a:extLst>
              <a:ext uri="{FF2B5EF4-FFF2-40B4-BE49-F238E27FC236}">
                <a16:creationId xmlns:a16="http://schemas.microsoft.com/office/drawing/2014/main" id="{F8184856-879E-3368-0671-228A696F26D6}"/>
              </a:ext>
            </a:extLst>
          </p:cNvPr>
          <p:cNvSpPr txBox="1"/>
          <p:nvPr>
            <p:custDataLst>
              <p:tags r:id="rId1"/>
            </p:custDataLst>
          </p:nvPr>
        </p:nvSpPr>
        <p:spPr>
          <a:xfrm>
            <a:off x="2556717" y="6501669"/>
            <a:ext cx="515036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Calibri" panose="020F0502020204030204" pitchFamily="34" charset="0"/>
              </a:rPr>
              <a:t>Source: LDH Medicaid Data Warehouse – claims paid through April 2026, HLA members only, excludes NF, HCBS, waiver, DD dual-eligible. Chronic conditions via </a:t>
            </a:r>
            <a:r>
              <a:rPr lang="en-US" dirty="0" err="1">
                <a:latin typeface="Calibri" panose="020F0502020204030204" pitchFamily="34" charset="0"/>
              </a:rPr>
              <a:t>CPDS+Rx</a:t>
            </a:r>
            <a:r>
              <a:rPr lang="en-US" dirty="0">
                <a:latin typeface="Calibri" panose="020F0502020204030204" pitchFamily="34" charset="0"/>
              </a:rPr>
              <a:t> v7.2</a:t>
            </a:r>
          </a:p>
        </p:txBody>
      </p:sp>
      <p:sp>
        <p:nvSpPr>
          <p:cNvPr id="20" name="TextBox 19">
            <a:extLst>
              <a:ext uri="{FF2B5EF4-FFF2-40B4-BE49-F238E27FC236}">
                <a16:creationId xmlns:a16="http://schemas.microsoft.com/office/drawing/2014/main" id="{A6760090-8C06-91A6-5F10-1461904635B7}"/>
              </a:ext>
            </a:extLst>
          </p:cNvPr>
          <p:cNvSpPr txBox="1">
            <a:spLocks/>
          </p:cNvSpPr>
          <p:nvPr>
            <p:custDataLst>
              <p:tags r:id="rId2"/>
            </p:custDataLst>
          </p:nvPr>
        </p:nvSpPr>
        <p:spPr>
          <a:xfrm>
            <a:off x="2709863" y="1663700"/>
            <a:ext cx="59848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latin typeface="Calibri" panose="020F0502020204030204" pitchFamily="34" charset="0"/>
              </a:rPr>
              <a:t>Rural</a:t>
            </a:r>
          </a:p>
        </p:txBody>
      </p:sp>
      <p:sp>
        <p:nvSpPr>
          <p:cNvPr id="27" name="TextBox 26">
            <a:extLst>
              <a:ext uri="{FF2B5EF4-FFF2-40B4-BE49-F238E27FC236}">
                <a16:creationId xmlns:a16="http://schemas.microsoft.com/office/drawing/2014/main" id="{F02C097E-47C6-0CF1-EE6C-10E6F4B6C57C}"/>
              </a:ext>
            </a:extLst>
          </p:cNvPr>
          <p:cNvSpPr txBox="1">
            <a:spLocks/>
          </p:cNvSpPr>
          <p:nvPr>
            <p:custDataLst>
              <p:tags r:id="rId3"/>
            </p:custDataLst>
          </p:nvPr>
        </p:nvSpPr>
        <p:spPr>
          <a:xfrm>
            <a:off x="3575050" y="1663700"/>
            <a:ext cx="59848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latin typeface="Calibri" panose="020F0502020204030204" pitchFamily="34" charset="0"/>
              </a:rPr>
              <a:t>Urban</a:t>
            </a:r>
          </a:p>
        </p:txBody>
      </p:sp>
      <p:sp>
        <p:nvSpPr>
          <p:cNvPr id="34" name="TextBox 33">
            <a:extLst>
              <a:ext uri="{FF2B5EF4-FFF2-40B4-BE49-F238E27FC236}">
                <a16:creationId xmlns:a16="http://schemas.microsoft.com/office/drawing/2014/main" id="{E659C29E-8D64-3B82-0532-0B80452E2B9C}"/>
              </a:ext>
            </a:extLst>
          </p:cNvPr>
          <p:cNvSpPr txBox="1">
            <a:spLocks/>
          </p:cNvSpPr>
          <p:nvPr>
            <p:custDataLst>
              <p:tags r:id="rId4"/>
            </p:custDataLst>
          </p:nvPr>
        </p:nvSpPr>
        <p:spPr>
          <a:xfrm>
            <a:off x="4440238" y="1663700"/>
            <a:ext cx="884238" cy="246221"/>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latin typeface="Calibri" panose="020F0502020204030204" pitchFamily="34" charset="0"/>
              </a:rPr>
              <a:t>Difference</a:t>
            </a:r>
          </a:p>
        </p:txBody>
      </p:sp>
      <p:sp>
        <p:nvSpPr>
          <p:cNvPr id="14" name="TextBox 13">
            <a:extLst>
              <a:ext uri="{FF2B5EF4-FFF2-40B4-BE49-F238E27FC236}">
                <a16:creationId xmlns:a16="http://schemas.microsoft.com/office/drawing/2014/main" id="{37743C71-469F-74F7-1F82-FA0AA8B427B2}"/>
              </a:ext>
            </a:extLst>
          </p:cNvPr>
          <p:cNvSpPr txBox="1">
            <a:spLocks/>
          </p:cNvSpPr>
          <p:nvPr>
            <p:custDataLst>
              <p:tags r:id="rId5"/>
            </p:custDataLst>
          </p:nvPr>
        </p:nvSpPr>
        <p:spPr>
          <a:xfrm>
            <a:off x="416561" y="2241336"/>
            <a:ext cx="1921286" cy="21430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PMPY</a:t>
            </a:r>
          </a:p>
        </p:txBody>
      </p:sp>
      <p:sp>
        <p:nvSpPr>
          <p:cNvPr id="21" name="TextBox 20">
            <a:extLst>
              <a:ext uri="{FF2B5EF4-FFF2-40B4-BE49-F238E27FC236}">
                <a16:creationId xmlns:a16="http://schemas.microsoft.com/office/drawing/2014/main" id="{39EEE458-7A91-D9BB-C814-FC687E4AD139}"/>
              </a:ext>
            </a:extLst>
          </p:cNvPr>
          <p:cNvSpPr txBox="1">
            <a:spLocks/>
          </p:cNvSpPr>
          <p:nvPr>
            <p:custDataLst>
              <p:tags r:id="rId6"/>
            </p:custDataLst>
          </p:nvPr>
        </p:nvSpPr>
        <p:spPr>
          <a:xfrm>
            <a:off x="2709863" y="2241336"/>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5,730</a:t>
            </a:r>
          </a:p>
        </p:txBody>
      </p:sp>
      <p:sp>
        <p:nvSpPr>
          <p:cNvPr id="28" name="TextBox 27">
            <a:extLst>
              <a:ext uri="{FF2B5EF4-FFF2-40B4-BE49-F238E27FC236}">
                <a16:creationId xmlns:a16="http://schemas.microsoft.com/office/drawing/2014/main" id="{7577D127-A451-BD3C-7929-05B967B5FDF2}"/>
              </a:ext>
            </a:extLst>
          </p:cNvPr>
          <p:cNvSpPr txBox="1">
            <a:spLocks/>
          </p:cNvSpPr>
          <p:nvPr>
            <p:custDataLst>
              <p:tags r:id="rId7"/>
            </p:custDataLst>
          </p:nvPr>
        </p:nvSpPr>
        <p:spPr>
          <a:xfrm>
            <a:off x="3575050" y="2241336"/>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5,469</a:t>
            </a:r>
          </a:p>
        </p:txBody>
      </p:sp>
      <p:sp>
        <p:nvSpPr>
          <p:cNvPr id="35" name="TextBox 34">
            <a:extLst>
              <a:ext uri="{FF2B5EF4-FFF2-40B4-BE49-F238E27FC236}">
                <a16:creationId xmlns:a16="http://schemas.microsoft.com/office/drawing/2014/main" id="{06672575-8D6C-3B0C-D733-CAB1444840BB}"/>
              </a:ext>
            </a:extLst>
          </p:cNvPr>
          <p:cNvSpPr txBox="1">
            <a:spLocks/>
          </p:cNvSpPr>
          <p:nvPr>
            <p:custDataLst>
              <p:tags r:id="rId8"/>
            </p:custDataLst>
          </p:nvPr>
        </p:nvSpPr>
        <p:spPr>
          <a:xfrm>
            <a:off x="4440238" y="2241336"/>
            <a:ext cx="884238" cy="21431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261</a:t>
            </a:r>
          </a:p>
        </p:txBody>
      </p:sp>
      <p:sp>
        <p:nvSpPr>
          <p:cNvPr id="15" name="TextBox 14">
            <a:extLst>
              <a:ext uri="{FF2B5EF4-FFF2-40B4-BE49-F238E27FC236}">
                <a16:creationId xmlns:a16="http://schemas.microsoft.com/office/drawing/2014/main" id="{C4A1B8FF-7CBD-4869-E327-17AC3A67C839}"/>
              </a:ext>
            </a:extLst>
          </p:cNvPr>
          <p:cNvSpPr txBox="1">
            <a:spLocks/>
          </p:cNvSpPr>
          <p:nvPr>
            <p:custDataLst>
              <p:tags r:id="rId9"/>
            </p:custDataLst>
          </p:nvPr>
        </p:nvSpPr>
        <p:spPr>
          <a:xfrm>
            <a:off x="402936" y="2818629"/>
            <a:ext cx="211072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Emergency Department (ED) admissions per 1,000</a:t>
            </a:r>
          </a:p>
        </p:txBody>
      </p:sp>
      <p:sp>
        <p:nvSpPr>
          <p:cNvPr id="22" name="TextBox 21">
            <a:extLst>
              <a:ext uri="{FF2B5EF4-FFF2-40B4-BE49-F238E27FC236}">
                <a16:creationId xmlns:a16="http://schemas.microsoft.com/office/drawing/2014/main" id="{FE826E9E-2F2B-6A18-CFF0-F1FA825665E2}"/>
              </a:ext>
            </a:extLst>
          </p:cNvPr>
          <p:cNvSpPr txBox="1">
            <a:spLocks/>
          </p:cNvSpPr>
          <p:nvPr>
            <p:custDataLst>
              <p:tags r:id="rId10"/>
            </p:custDataLst>
          </p:nvPr>
        </p:nvSpPr>
        <p:spPr>
          <a:xfrm>
            <a:off x="2709863" y="2818628"/>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705.4</a:t>
            </a:r>
          </a:p>
        </p:txBody>
      </p:sp>
      <p:sp>
        <p:nvSpPr>
          <p:cNvPr id="29" name="TextBox 28">
            <a:extLst>
              <a:ext uri="{FF2B5EF4-FFF2-40B4-BE49-F238E27FC236}">
                <a16:creationId xmlns:a16="http://schemas.microsoft.com/office/drawing/2014/main" id="{EF7FE8BE-14A1-6846-BD9C-DEC8DDFB4391}"/>
              </a:ext>
            </a:extLst>
          </p:cNvPr>
          <p:cNvSpPr txBox="1">
            <a:spLocks/>
          </p:cNvSpPr>
          <p:nvPr>
            <p:custDataLst>
              <p:tags r:id="rId11"/>
            </p:custDataLst>
          </p:nvPr>
        </p:nvSpPr>
        <p:spPr>
          <a:xfrm>
            <a:off x="3575050" y="2818628"/>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684.5</a:t>
            </a:r>
          </a:p>
        </p:txBody>
      </p:sp>
      <p:sp>
        <p:nvSpPr>
          <p:cNvPr id="36" name="TextBox 35">
            <a:extLst>
              <a:ext uri="{FF2B5EF4-FFF2-40B4-BE49-F238E27FC236}">
                <a16:creationId xmlns:a16="http://schemas.microsoft.com/office/drawing/2014/main" id="{3C1EFD50-3C19-4F6C-CA11-C063C4458BDD}"/>
              </a:ext>
            </a:extLst>
          </p:cNvPr>
          <p:cNvSpPr txBox="1">
            <a:spLocks/>
          </p:cNvSpPr>
          <p:nvPr>
            <p:custDataLst>
              <p:tags r:id="rId12"/>
            </p:custDataLst>
          </p:nvPr>
        </p:nvSpPr>
        <p:spPr>
          <a:xfrm>
            <a:off x="4440238" y="2818628"/>
            <a:ext cx="88423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20.9</a:t>
            </a:r>
          </a:p>
        </p:txBody>
      </p:sp>
      <p:sp>
        <p:nvSpPr>
          <p:cNvPr id="16" name="TextBox 15">
            <a:extLst>
              <a:ext uri="{FF2B5EF4-FFF2-40B4-BE49-F238E27FC236}">
                <a16:creationId xmlns:a16="http://schemas.microsoft.com/office/drawing/2014/main" id="{11233E6C-6414-8286-6C8A-4A95E414D5AE}"/>
              </a:ext>
            </a:extLst>
          </p:cNvPr>
          <p:cNvSpPr txBox="1">
            <a:spLocks/>
          </p:cNvSpPr>
          <p:nvPr>
            <p:custDataLst>
              <p:tags r:id="rId13"/>
            </p:custDataLst>
          </p:nvPr>
        </p:nvSpPr>
        <p:spPr>
          <a:xfrm>
            <a:off x="416561" y="3505652"/>
            <a:ext cx="1921286"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Avoidable ED admissions per 1,000</a:t>
            </a:r>
          </a:p>
        </p:txBody>
      </p:sp>
      <p:sp>
        <p:nvSpPr>
          <p:cNvPr id="23" name="TextBox 22">
            <a:extLst>
              <a:ext uri="{FF2B5EF4-FFF2-40B4-BE49-F238E27FC236}">
                <a16:creationId xmlns:a16="http://schemas.microsoft.com/office/drawing/2014/main" id="{987758A6-2666-8219-DEA0-BABF976A1D28}"/>
              </a:ext>
            </a:extLst>
          </p:cNvPr>
          <p:cNvSpPr txBox="1">
            <a:spLocks/>
          </p:cNvSpPr>
          <p:nvPr>
            <p:custDataLst>
              <p:tags r:id="rId14"/>
            </p:custDataLst>
          </p:nvPr>
        </p:nvSpPr>
        <p:spPr>
          <a:xfrm>
            <a:off x="2709863" y="3505652"/>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260.4</a:t>
            </a:r>
          </a:p>
        </p:txBody>
      </p:sp>
      <p:sp>
        <p:nvSpPr>
          <p:cNvPr id="30" name="TextBox 29">
            <a:extLst>
              <a:ext uri="{FF2B5EF4-FFF2-40B4-BE49-F238E27FC236}">
                <a16:creationId xmlns:a16="http://schemas.microsoft.com/office/drawing/2014/main" id="{FD1C7E83-B525-AD46-D015-437CD740DB03}"/>
              </a:ext>
            </a:extLst>
          </p:cNvPr>
          <p:cNvSpPr txBox="1">
            <a:spLocks/>
          </p:cNvSpPr>
          <p:nvPr>
            <p:custDataLst>
              <p:tags r:id="rId15"/>
            </p:custDataLst>
          </p:nvPr>
        </p:nvSpPr>
        <p:spPr>
          <a:xfrm>
            <a:off x="3575050" y="3505652"/>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261.2</a:t>
            </a:r>
          </a:p>
        </p:txBody>
      </p:sp>
      <p:sp>
        <p:nvSpPr>
          <p:cNvPr id="37" name="TextBox 36">
            <a:extLst>
              <a:ext uri="{FF2B5EF4-FFF2-40B4-BE49-F238E27FC236}">
                <a16:creationId xmlns:a16="http://schemas.microsoft.com/office/drawing/2014/main" id="{4ECA44B0-6F04-0983-EF1D-7858124EFE3D}"/>
              </a:ext>
            </a:extLst>
          </p:cNvPr>
          <p:cNvSpPr txBox="1">
            <a:spLocks/>
          </p:cNvSpPr>
          <p:nvPr>
            <p:custDataLst>
              <p:tags r:id="rId16"/>
            </p:custDataLst>
          </p:nvPr>
        </p:nvSpPr>
        <p:spPr>
          <a:xfrm>
            <a:off x="4440238" y="3505652"/>
            <a:ext cx="88423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0.8</a:t>
            </a:r>
          </a:p>
        </p:txBody>
      </p:sp>
      <p:sp>
        <p:nvSpPr>
          <p:cNvPr id="17" name="TextBox 16">
            <a:extLst>
              <a:ext uri="{FF2B5EF4-FFF2-40B4-BE49-F238E27FC236}">
                <a16:creationId xmlns:a16="http://schemas.microsoft.com/office/drawing/2014/main" id="{5F10DE3E-0703-89F9-EC8A-DD09E8BDEF2C}"/>
              </a:ext>
            </a:extLst>
          </p:cNvPr>
          <p:cNvSpPr txBox="1">
            <a:spLocks/>
          </p:cNvSpPr>
          <p:nvPr>
            <p:custDataLst>
              <p:tags r:id="rId17"/>
            </p:custDataLst>
          </p:nvPr>
        </p:nvSpPr>
        <p:spPr>
          <a:xfrm>
            <a:off x="408995" y="4188828"/>
            <a:ext cx="202647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Inpatient (IP) admissions </a:t>
            </a:r>
            <a:br>
              <a:rPr lang="en-US" sz="1400" dirty="0">
                <a:latin typeface="Calibri" panose="020F0502020204030204" pitchFamily="34" charset="0"/>
              </a:rPr>
            </a:br>
            <a:r>
              <a:rPr lang="en-US" sz="1400" dirty="0">
                <a:latin typeface="Calibri" panose="020F0502020204030204" pitchFamily="34" charset="0"/>
              </a:rPr>
              <a:t>per 1,000</a:t>
            </a:r>
          </a:p>
        </p:txBody>
      </p:sp>
      <p:sp>
        <p:nvSpPr>
          <p:cNvPr id="24" name="TextBox 23">
            <a:extLst>
              <a:ext uri="{FF2B5EF4-FFF2-40B4-BE49-F238E27FC236}">
                <a16:creationId xmlns:a16="http://schemas.microsoft.com/office/drawing/2014/main" id="{07266343-8B3D-69DE-87E0-6CE1DC3A49D8}"/>
              </a:ext>
            </a:extLst>
          </p:cNvPr>
          <p:cNvSpPr txBox="1">
            <a:spLocks/>
          </p:cNvSpPr>
          <p:nvPr>
            <p:custDataLst>
              <p:tags r:id="rId18"/>
            </p:custDataLst>
          </p:nvPr>
        </p:nvSpPr>
        <p:spPr>
          <a:xfrm>
            <a:off x="2709863" y="4188827"/>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84.5</a:t>
            </a:r>
          </a:p>
        </p:txBody>
      </p:sp>
      <p:sp>
        <p:nvSpPr>
          <p:cNvPr id="31" name="TextBox 30">
            <a:extLst>
              <a:ext uri="{FF2B5EF4-FFF2-40B4-BE49-F238E27FC236}">
                <a16:creationId xmlns:a16="http://schemas.microsoft.com/office/drawing/2014/main" id="{5BAB1725-B824-7295-8E4A-2FA36506288C}"/>
              </a:ext>
            </a:extLst>
          </p:cNvPr>
          <p:cNvSpPr txBox="1">
            <a:spLocks/>
          </p:cNvSpPr>
          <p:nvPr>
            <p:custDataLst>
              <p:tags r:id="rId19"/>
            </p:custDataLst>
          </p:nvPr>
        </p:nvSpPr>
        <p:spPr>
          <a:xfrm>
            <a:off x="3575050" y="4188827"/>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94.8</a:t>
            </a:r>
          </a:p>
        </p:txBody>
      </p:sp>
      <p:sp>
        <p:nvSpPr>
          <p:cNvPr id="38" name="TextBox 37">
            <a:extLst>
              <a:ext uri="{FF2B5EF4-FFF2-40B4-BE49-F238E27FC236}">
                <a16:creationId xmlns:a16="http://schemas.microsoft.com/office/drawing/2014/main" id="{A4C74DB2-F298-F573-3E8E-FC82BDC1F635}"/>
              </a:ext>
            </a:extLst>
          </p:cNvPr>
          <p:cNvSpPr txBox="1">
            <a:spLocks/>
          </p:cNvSpPr>
          <p:nvPr>
            <p:custDataLst>
              <p:tags r:id="rId20"/>
            </p:custDataLst>
          </p:nvPr>
        </p:nvSpPr>
        <p:spPr>
          <a:xfrm>
            <a:off x="4440238" y="4188827"/>
            <a:ext cx="88423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10.3</a:t>
            </a:r>
          </a:p>
        </p:txBody>
      </p:sp>
      <p:sp>
        <p:nvSpPr>
          <p:cNvPr id="18" name="TextBox 17">
            <a:extLst>
              <a:ext uri="{FF2B5EF4-FFF2-40B4-BE49-F238E27FC236}">
                <a16:creationId xmlns:a16="http://schemas.microsoft.com/office/drawing/2014/main" id="{644C355C-40AD-8E8B-9DBA-644BB3B35420}"/>
              </a:ext>
            </a:extLst>
          </p:cNvPr>
          <p:cNvSpPr txBox="1">
            <a:spLocks/>
          </p:cNvSpPr>
          <p:nvPr>
            <p:custDataLst>
              <p:tags r:id="rId21"/>
            </p:custDataLst>
          </p:nvPr>
        </p:nvSpPr>
        <p:spPr>
          <a:xfrm>
            <a:off x="416561" y="4875851"/>
            <a:ext cx="1921286"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14-day readmissions per 1,000</a:t>
            </a:r>
          </a:p>
        </p:txBody>
      </p:sp>
      <p:sp>
        <p:nvSpPr>
          <p:cNvPr id="25" name="TextBox 24">
            <a:extLst>
              <a:ext uri="{FF2B5EF4-FFF2-40B4-BE49-F238E27FC236}">
                <a16:creationId xmlns:a16="http://schemas.microsoft.com/office/drawing/2014/main" id="{F5F1C2EC-C714-6CDF-DC3F-A6D284DC2388}"/>
              </a:ext>
            </a:extLst>
          </p:cNvPr>
          <p:cNvSpPr txBox="1">
            <a:spLocks/>
          </p:cNvSpPr>
          <p:nvPr>
            <p:custDataLst>
              <p:tags r:id="rId22"/>
            </p:custDataLst>
          </p:nvPr>
        </p:nvSpPr>
        <p:spPr>
          <a:xfrm>
            <a:off x="2709863" y="4875851"/>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7.2</a:t>
            </a:r>
          </a:p>
        </p:txBody>
      </p:sp>
      <p:sp>
        <p:nvSpPr>
          <p:cNvPr id="32" name="TextBox 31">
            <a:extLst>
              <a:ext uri="{FF2B5EF4-FFF2-40B4-BE49-F238E27FC236}">
                <a16:creationId xmlns:a16="http://schemas.microsoft.com/office/drawing/2014/main" id="{57970155-CE6E-D4A6-1795-5284A107881D}"/>
              </a:ext>
            </a:extLst>
          </p:cNvPr>
          <p:cNvSpPr txBox="1">
            <a:spLocks/>
          </p:cNvSpPr>
          <p:nvPr>
            <p:custDataLst>
              <p:tags r:id="rId23"/>
            </p:custDataLst>
          </p:nvPr>
        </p:nvSpPr>
        <p:spPr>
          <a:xfrm>
            <a:off x="3575050" y="4875851"/>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8.5</a:t>
            </a:r>
          </a:p>
        </p:txBody>
      </p:sp>
      <p:sp>
        <p:nvSpPr>
          <p:cNvPr id="39" name="TextBox 38">
            <a:extLst>
              <a:ext uri="{FF2B5EF4-FFF2-40B4-BE49-F238E27FC236}">
                <a16:creationId xmlns:a16="http://schemas.microsoft.com/office/drawing/2014/main" id="{5B6477C5-D604-060D-0485-0AFAE4337D02}"/>
              </a:ext>
            </a:extLst>
          </p:cNvPr>
          <p:cNvSpPr txBox="1">
            <a:spLocks/>
          </p:cNvSpPr>
          <p:nvPr>
            <p:custDataLst>
              <p:tags r:id="rId24"/>
            </p:custDataLst>
          </p:nvPr>
        </p:nvSpPr>
        <p:spPr>
          <a:xfrm>
            <a:off x="4440238" y="4875851"/>
            <a:ext cx="88423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1.3</a:t>
            </a:r>
          </a:p>
        </p:txBody>
      </p:sp>
      <p:sp>
        <p:nvSpPr>
          <p:cNvPr id="19" name="TextBox 18">
            <a:extLst>
              <a:ext uri="{FF2B5EF4-FFF2-40B4-BE49-F238E27FC236}">
                <a16:creationId xmlns:a16="http://schemas.microsoft.com/office/drawing/2014/main" id="{18F6D740-559F-E532-CB01-92A96C00C29D}"/>
              </a:ext>
            </a:extLst>
          </p:cNvPr>
          <p:cNvSpPr txBox="1">
            <a:spLocks/>
          </p:cNvSpPr>
          <p:nvPr>
            <p:custDataLst>
              <p:tags r:id="rId25"/>
            </p:custDataLst>
          </p:nvPr>
        </p:nvSpPr>
        <p:spPr>
          <a:xfrm>
            <a:off x="416561" y="5560611"/>
            <a:ext cx="1921286" cy="42477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30-day readmissions per 1,000</a:t>
            </a:r>
          </a:p>
        </p:txBody>
      </p:sp>
      <p:sp>
        <p:nvSpPr>
          <p:cNvPr id="26" name="TextBox 25">
            <a:extLst>
              <a:ext uri="{FF2B5EF4-FFF2-40B4-BE49-F238E27FC236}">
                <a16:creationId xmlns:a16="http://schemas.microsoft.com/office/drawing/2014/main" id="{CDA66AB7-8E0C-1F11-087C-E4F0F1DDE2AC}"/>
              </a:ext>
            </a:extLst>
          </p:cNvPr>
          <p:cNvSpPr txBox="1">
            <a:spLocks/>
          </p:cNvSpPr>
          <p:nvPr>
            <p:custDataLst>
              <p:tags r:id="rId26"/>
            </p:custDataLst>
          </p:nvPr>
        </p:nvSpPr>
        <p:spPr>
          <a:xfrm>
            <a:off x="2709863" y="5560611"/>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10.8</a:t>
            </a:r>
          </a:p>
        </p:txBody>
      </p:sp>
      <p:sp>
        <p:nvSpPr>
          <p:cNvPr id="33" name="TextBox 32">
            <a:extLst>
              <a:ext uri="{FF2B5EF4-FFF2-40B4-BE49-F238E27FC236}">
                <a16:creationId xmlns:a16="http://schemas.microsoft.com/office/drawing/2014/main" id="{CFCECA5E-B359-26DE-9A2C-5797BED04E82}"/>
              </a:ext>
            </a:extLst>
          </p:cNvPr>
          <p:cNvSpPr txBox="1">
            <a:spLocks/>
          </p:cNvSpPr>
          <p:nvPr>
            <p:custDataLst>
              <p:tags r:id="rId27"/>
            </p:custDataLst>
          </p:nvPr>
        </p:nvSpPr>
        <p:spPr>
          <a:xfrm>
            <a:off x="3575050" y="5560611"/>
            <a:ext cx="598488"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12.7</a:t>
            </a:r>
          </a:p>
        </p:txBody>
      </p:sp>
      <p:sp>
        <p:nvSpPr>
          <p:cNvPr id="40" name="TextBox 39">
            <a:extLst>
              <a:ext uri="{FF2B5EF4-FFF2-40B4-BE49-F238E27FC236}">
                <a16:creationId xmlns:a16="http://schemas.microsoft.com/office/drawing/2014/main" id="{64941077-8C76-4956-5258-88CE5F44BF56}"/>
              </a:ext>
            </a:extLst>
          </p:cNvPr>
          <p:cNvSpPr txBox="1">
            <a:spLocks/>
          </p:cNvSpPr>
          <p:nvPr>
            <p:custDataLst>
              <p:tags r:id="rId28"/>
            </p:custDataLst>
          </p:nvPr>
        </p:nvSpPr>
        <p:spPr>
          <a:xfrm>
            <a:off x="4440238" y="5560611"/>
            <a:ext cx="884238" cy="21590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1.9</a:t>
            </a:r>
          </a:p>
        </p:txBody>
      </p:sp>
      <p:sp>
        <p:nvSpPr>
          <p:cNvPr id="41" name="TextBox 40">
            <a:extLst>
              <a:ext uri="{FF2B5EF4-FFF2-40B4-BE49-F238E27FC236}">
                <a16:creationId xmlns:a16="http://schemas.microsoft.com/office/drawing/2014/main" id="{E96FCD02-A487-4073-D250-C06609CDBE02}"/>
              </a:ext>
            </a:extLst>
          </p:cNvPr>
          <p:cNvSpPr txBox="1"/>
          <p:nvPr>
            <p:custDataLst>
              <p:tags r:id="rId29"/>
            </p:custDataLst>
          </p:nvPr>
        </p:nvSpPr>
        <p:spPr>
          <a:xfrm>
            <a:off x="5591175" y="1663700"/>
            <a:ext cx="2987675"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latin typeface="Calibri" panose="020F0502020204030204" pitchFamily="34" charset="0"/>
              </a:rPr>
              <a:t>Difference %</a:t>
            </a:r>
          </a:p>
        </p:txBody>
      </p:sp>
      <p:cxnSp>
        <p:nvCxnSpPr>
          <p:cNvPr id="48" name="Straight Connector 47">
            <a:extLst>
              <a:ext uri="{FF2B5EF4-FFF2-40B4-BE49-F238E27FC236}">
                <a16:creationId xmlns:a16="http://schemas.microsoft.com/office/drawing/2014/main" id="{0D34829D-9561-2F0A-DFEB-7AC28EF341EE}"/>
              </a:ext>
            </a:extLst>
          </p:cNvPr>
          <p:cNvCxnSpPr>
            <a:cxnSpLocks/>
          </p:cNvCxnSpPr>
          <p:nvPr>
            <p:custDataLst>
              <p:tags r:id="rId30"/>
            </p:custDataLst>
          </p:nvPr>
        </p:nvCxnSpPr>
        <p:spPr>
          <a:xfrm>
            <a:off x="416561" y="2691565"/>
            <a:ext cx="805687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98537E9-6AC0-61F6-8359-6A8F77DDBBE9}"/>
              </a:ext>
            </a:extLst>
          </p:cNvPr>
          <p:cNvCxnSpPr>
            <a:cxnSpLocks/>
          </p:cNvCxnSpPr>
          <p:nvPr>
            <p:custDataLst>
              <p:tags r:id="rId31"/>
            </p:custDataLst>
          </p:nvPr>
        </p:nvCxnSpPr>
        <p:spPr>
          <a:xfrm>
            <a:off x="416561" y="3376579"/>
            <a:ext cx="805687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984FD74-74BC-2524-3AFC-3B7AAF4757AC}"/>
              </a:ext>
            </a:extLst>
          </p:cNvPr>
          <p:cNvCxnSpPr>
            <a:cxnSpLocks/>
          </p:cNvCxnSpPr>
          <p:nvPr>
            <p:custDataLst>
              <p:tags r:id="rId32"/>
            </p:custDataLst>
          </p:nvPr>
        </p:nvCxnSpPr>
        <p:spPr>
          <a:xfrm>
            <a:off x="416561" y="4061593"/>
            <a:ext cx="805687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EBAC6F6-AC6D-B696-34CD-602ED9A9762A}"/>
              </a:ext>
            </a:extLst>
          </p:cNvPr>
          <p:cNvCxnSpPr>
            <a:cxnSpLocks/>
          </p:cNvCxnSpPr>
          <p:nvPr>
            <p:custDataLst>
              <p:tags r:id="rId33"/>
            </p:custDataLst>
          </p:nvPr>
        </p:nvCxnSpPr>
        <p:spPr>
          <a:xfrm>
            <a:off x="416561" y="4746607"/>
            <a:ext cx="805687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BCF3B31-142F-75D4-EA1F-EEF2847CDBAB}"/>
              </a:ext>
            </a:extLst>
          </p:cNvPr>
          <p:cNvCxnSpPr>
            <a:cxnSpLocks/>
          </p:cNvCxnSpPr>
          <p:nvPr>
            <p:custDataLst>
              <p:tags r:id="rId34"/>
            </p:custDataLst>
          </p:nvPr>
        </p:nvCxnSpPr>
        <p:spPr>
          <a:xfrm>
            <a:off x="416561" y="5431621"/>
            <a:ext cx="8056878"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55" name="Chart 54">
            <a:extLst>
              <a:ext uri="{FF2B5EF4-FFF2-40B4-BE49-F238E27FC236}">
                <a16:creationId xmlns:a16="http://schemas.microsoft.com/office/drawing/2014/main" id="{6C63581F-262E-D9CF-F489-B890A851B480}"/>
              </a:ext>
            </a:extLst>
          </p:cNvPr>
          <p:cNvGraphicFramePr/>
          <p:nvPr>
            <p:custDataLst>
              <p:tags r:id="rId35"/>
            </p:custDataLst>
          </p:nvPr>
        </p:nvGraphicFramePr>
        <p:xfrm>
          <a:off x="5686425" y="1700213"/>
          <a:ext cx="2800350" cy="4729162"/>
        </p:xfrm>
        <a:graphic>
          <a:graphicData uri="http://schemas.openxmlformats.org/drawingml/2006/chart">
            <c:chart xmlns:c="http://schemas.openxmlformats.org/drawingml/2006/chart" xmlns:r="http://schemas.openxmlformats.org/officeDocument/2006/relationships" r:id="rId42"/>
          </a:graphicData>
        </a:graphic>
      </p:graphicFrame>
      <p:cxnSp>
        <p:nvCxnSpPr>
          <p:cNvPr id="126" name="Straight Connector 125">
            <a:extLst>
              <a:ext uri="{FF2B5EF4-FFF2-40B4-BE49-F238E27FC236}">
                <a16:creationId xmlns:a16="http://schemas.microsoft.com/office/drawing/2014/main" id="{D1CDE4C4-065F-6A8A-ED7B-7284DECA8D35}"/>
              </a:ext>
            </a:extLst>
          </p:cNvPr>
          <p:cNvCxnSpPr/>
          <p:nvPr>
            <p:custDataLst>
              <p:tags r:id="rId36"/>
            </p:custDataLst>
          </p:nvPr>
        </p:nvCxnSpPr>
        <p:spPr bwMode="auto">
          <a:xfrm>
            <a:off x="7696200" y="3721100"/>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4ACAC729-8DD6-C273-943E-56DA7CBC304E}"/>
              </a:ext>
            </a:extLst>
          </p:cNvPr>
          <p:cNvCxnSpPr>
            <a:cxnSpLocks/>
          </p:cNvCxnSpPr>
          <p:nvPr>
            <p:custDataLst>
              <p:tags r:id="rId37"/>
            </p:custDataLst>
          </p:nvPr>
        </p:nvCxnSpPr>
        <p:spPr>
          <a:xfrm>
            <a:off x="416561" y="2007870"/>
            <a:ext cx="805687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0AEA0BD8-9EC8-C9C5-D860-2B0577954C6B}"/>
              </a:ext>
            </a:extLst>
          </p:cNvPr>
          <p:cNvSpPr>
            <a:spLocks/>
          </p:cNvSpPr>
          <p:nvPr/>
        </p:nvSpPr>
        <p:spPr>
          <a:xfrm>
            <a:off x="4650013" y="1286294"/>
            <a:ext cx="207991" cy="153888"/>
          </a:xfrm>
          <a:prstGeom prst="rect">
            <a:avLst/>
          </a:prstGeom>
          <a:solidFill>
            <a:srgbClr val="1EA0A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p:nvSpPr>
          <p:cNvPr id="11" name="TextBox 10">
            <a:extLst>
              <a:ext uri="{FF2B5EF4-FFF2-40B4-BE49-F238E27FC236}">
                <a16:creationId xmlns:a16="http://schemas.microsoft.com/office/drawing/2014/main" id="{A63D4460-1610-E59E-2249-2BCA83BD010D}"/>
              </a:ext>
            </a:extLst>
          </p:cNvPr>
          <p:cNvSpPr txBox="1">
            <a:spLocks/>
          </p:cNvSpPr>
          <p:nvPr/>
        </p:nvSpPr>
        <p:spPr>
          <a:xfrm>
            <a:off x="4935265" y="1287427"/>
            <a:ext cx="1721690" cy="16787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solidFill>
                  <a:srgbClr val="000000"/>
                </a:solidFill>
                <a:latin typeface="Calibri" panose="020F0502020204030204" pitchFamily="34" charset="0"/>
                <a:sym typeface=""/>
              </a:rPr>
              <a:t>Rural underperforms Urban</a:t>
            </a:r>
          </a:p>
        </p:txBody>
      </p:sp>
      <p:sp>
        <p:nvSpPr>
          <p:cNvPr id="191" name="Rectangle 190">
            <a:extLst>
              <a:ext uri="{FF2B5EF4-FFF2-40B4-BE49-F238E27FC236}">
                <a16:creationId xmlns:a16="http://schemas.microsoft.com/office/drawing/2014/main" id="{E5841E62-6419-3FCD-56B5-1FE0539CBE98}"/>
              </a:ext>
            </a:extLst>
          </p:cNvPr>
          <p:cNvSpPr>
            <a:spLocks/>
          </p:cNvSpPr>
          <p:nvPr/>
        </p:nvSpPr>
        <p:spPr>
          <a:xfrm>
            <a:off x="6804849" y="1286294"/>
            <a:ext cx="207991" cy="15388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p:nvSpPr>
          <p:cNvPr id="12" name="TextBox 11">
            <a:extLst>
              <a:ext uri="{FF2B5EF4-FFF2-40B4-BE49-F238E27FC236}">
                <a16:creationId xmlns:a16="http://schemas.microsoft.com/office/drawing/2014/main" id="{89868CD0-5C96-989A-8788-422D980326A5}"/>
              </a:ext>
            </a:extLst>
          </p:cNvPr>
          <p:cNvSpPr txBox="1"/>
          <p:nvPr/>
        </p:nvSpPr>
        <p:spPr>
          <a:xfrm>
            <a:off x="7090101" y="1286727"/>
            <a:ext cx="1564595"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solidFill>
                  <a:srgbClr val="000000"/>
                </a:solidFill>
                <a:latin typeface="Calibri" panose="020F0502020204030204" pitchFamily="34" charset="0"/>
                <a:sym typeface=""/>
              </a:rPr>
              <a:t>Rural outperforms Urban</a:t>
            </a:r>
          </a:p>
        </p:txBody>
      </p:sp>
      <p:sp>
        <p:nvSpPr>
          <p:cNvPr id="46" name="TextBox 45">
            <a:extLst>
              <a:ext uri="{FF2B5EF4-FFF2-40B4-BE49-F238E27FC236}">
                <a16:creationId xmlns:a16="http://schemas.microsoft.com/office/drawing/2014/main" id="{83B65D59-B02F-4C83-20F2-5216B1021C98}"/>
              </a:ext>
            </a:extLst>
          </p:cNvPr>
          <p:cNvSpPr txBox="1">
            <a:spLocks/>
          </p:cNvSpPr>
          <p:nvPr/>
        </p:nvSpPr>
        <p:spPr>
          <a:xfrm>
            <a:off x="8976852" y="1724025"/>
            <a:ext cx="2657936" cy="215900"/>
          </a:xfrm>
          <a:prstGeom prst="rect">
            <a:avLst/>
          </a:prstGeom>
        </p:spPr>
        <p:txBody>
          <a:bodyPr vert="horz" wrap="square" lIns="0" tIns="0" rIns="0" bIns="0" rtlCol="0" anchor="b">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0" dirty="0">
                <a:latin typeface="Calibri" panose="020F0502020204030204" pitchFamily="34" charset="0"/>
              </a:rPr>
              <a:t>Key Findings</a:t>
            </a:r>
          </a:p>
        </p:txBody>
      </p:sp>
      <p:cxnSp>
        <p:nvCxnSpPr>
          <p:cNvPr id="47" name="Straight Connector 46">
            <a:extLst>
              <a:ext uri="{FF2B5EF4-FFF2-40B4-BE49-F238E27FC236}">
                <a16:creationId xmlns:a16="http://schemas.microsoft.com/office/drawing/2014/main" id="{DA1B7691-E4A4-C894-AA85-071DD395C90A}"/>
              </a:ext>
            </a:extLst>
          </p:cNvPr>
          <p:cNvCxnSpPr>
            <a:cxnSpLocks/>
          </p:cNvCxnSpPr>
          <p:nvPr>
            <p:custDataLst>
              <p:tags r:id="rId38"/>
            </p:custDataLst>
          </p:nvPr>
        </p:nvCxnSpPr>
        <p:spPr>
          <a:xfrm>
            <a:off x="8976852" y="1958975"/>
            <a:ext cx="2657936"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713D8857-FAB2-0BE3-8D8E-A4E8DA55DF61}"/>
              </a:ext>
            </a:extLst>
          </p:cNvPr>
          <p:cNvSpPr txBox="1"/>
          <p:nvPr/>
        </p:nvSpPr>
        <p:spPr>
          <a:xfrm>
            <a:off x="416562" y="1223963"/>
            <a:ext cx="8056878"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latin typeface="Calibri" panose="020F0502020204030204" pitchFamily="34" charset="0"/>
              </a:rPr>
              <a:t>Key metrics snapshot: Rural vs. Urban</a:t>
            </a:r>
          </a:p>
        </p:txBody>
      </p:sp>
      <p:sp>
        <p:nvSpPr>
          <p:cNvPr id="81" name="TextBox 80">
            <a:extLst>
              <a:ext uri="{FF2B5EF4-FFF2-40B4-BE49-F238E27FC236}">
                <a16:creationId xmlns:a16="http://schemas.microsoft.com/office/drawing/2014/main" id="{9400A12E-3C06-37DE-3670-4C0EB2755CC7}"/>
              </a:ext>
            </a:extLst>
          </p:cNvPr>
          <p:cNvSpPr txBox="1"/>
          <p:nvPr/>
        </p:nvSpPr>
        <p:spPr>
          <a:xfrm>
            <a:off x="8976852" y="2125718"/>
            <a:ext cx="2657936" cy="30315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en-US" sz="1400" dirty="0">
                <a:latin typeface="Calibri" panose="020F0502020204030204" pitchFamily="34" charset="0"/>
                <a:cs typeface="Arial"/>
              </a:rPr>
              <a:t>Rural PMPY costs are higher with +$261 PMPY (4.8%) and </a:t>
            </a:r>
            <a:endParaRPr lang="en-US" sz="1400" dirty="0">
              <a:latin typeface="Calibri" panose="020F0502020204030204" pitchFamily="34" charset="0"/>
              <a:ea typeface="Calibri"/>
              <a:cs typeface="Arial"/>
            </a:endParaRPr>
          </a:p>
          <a:p>
            <a:pPr lvl="1">
              <a:spcAft>
                <a:spcPts val="600"/>
              </a:spcAft>
            </a:pPr>
            <a:r>
              <a:rPr lang="en-US" sz="1400" dirty="0">
                <a:latin typeface="Calibri" panose="020F0502020204030204" pitchFamily="34" charset="0"/>
                <a:cs typeface="Arial"/>
              </a:rPr>
              <a:t>However, rural parishes have lower IP admits, 14-day, and 30-day readmits. This requires further analysis but may be due to lack of physical access that causes rural populations to go without care</a:t>
            </a:r>
          </a:p>
          <a:p>
            <a:pPr lvl="1">
              <a:spcAft>
                <a:spcPts val="600"/>
              </a:spcAft>
            </a:pPr>
            <a:r>
              <a:rPr lang="en-US" sz="1400" dirty="0">
                <a:latin typeface="Calibri" panose="020F0502020204030204" pitchFamily="34" charset="0"/>
                <a:ea typeface="Calibri"/>
                <a:cs typeface="Calibri"/>
              </a:rPr>
              <a:t>Existence of potential access issues is supported by higher rural ED use (+~3%) </a:t>
            </a:r>
          </a:p>
          <a:p>
            <a:pPr lvl="1">
              <a:spcAft>
                <a:spcPts val="600"/>
              </a:spcAft>
            </a:pPr>
            <a:endParaRPr lang="en-US" sz="1400" dirty="0">
              <a:latin typeface="Calibri" panose="020F0502020204030204" pitchFamily="34" charset="0"/>
              <a:ea typeface="Calibri"/>
              <a:cs typeface="Arial"/>
            </a:endParaRPr>
          </a:p>
        </p:txBody>
      </p:sp>
      <p:cxnSp>
        <p:nvCxnSpPr>
          <p:cNvPr id="2" name="Straight Connector 1">
            <a:extLst>
              <a:ext uri="{FF2B5EF4-FFF2-40B4-BE49-F238E27FC236}">
                <a16:creationId xmlns:a16="http://schemas.microsoft.com/office/drawing/2014/main" id="{54E7CCF4-B616-C5AC-B8F7-54FE29ACED02}"/>
              </a:ext>
            </a:extLst>
          </p:cNvPr>
          <p:cNvCxnSpPr>
            <a:cxnSpLocks/>
          </p:cNvCxnSpPr>
          <p:nvPr>
            <p:custDataLst>
              <p:tags r:id="rId39"/>
            </p:custDataLst>
          </p:nvPr>
        </p:nvCxnSpPr>
        <p:spPr>
          <a:xfrm>
            <a:off x="416561" y="1534422"/>
            <a:ext cx="805687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582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AA00E-C9F9-7663-96AC-36F5E13EDB47}"/>
            </a:ext>
          </a:extLst>
        </p:cNvPr>
        <p:cNvGrpSpPr/>
        <p:nvPr/>
      </p:nvGrpSpPr>
      <p:grpSpPr>
        <a:xfrm>
          <a:off x="0" y="0"/>
          <a:ext cx="0" cy="0"/>
          <a:chOff x="0" y="0"/>
          <a:chExt cx="0" cy="0"/>
        </a:xfrm>
      </p:grpSpPr>
      <p:sp>
        <p:nvSpPr>
          <p:cNvPr id="205" name="Rectangle 204">
            <a:extLst>
              <a:ext uri="{FF2B5EF4-FFF2-40B4-BE49-F238E27FC236}">
                <a16:creationId xmlns:a16="http://schemas.microsoft.com/office/drawing/2014/main" id="{7D7D06D6-6CC3-431B-00A7-06767779BEC2}"/>
              </a:ext>
            </a:extLst>
          </p:cNvPr>
          <p:cNvSpPr>
            <a:spLocks/>
          </p:cNvSpPr>
          <p:nvPr/>
        </p:nvSpPr>
        <p:spPr>
          <a:xfrm>
            <a:off x="515938" y="3413490"/>
            <a:ext cx="7996466" cy="33178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p:nvSpPr>
          <p:cNvPr id="2" name="Title 1">
            <a:extLst>
              <a:ext uri="{FF2B5EF4-FFF2-40B4-BE49-F238E27FC236}">
                <a16:creationId xmlns:a16="http://schemas.microsoft.com/office/drawing/2014/main" id="{0B7E05CE-1D5E-BF0F-A44D-72A5B72CE239}"/>
              </a:ext>
            </a:extLst>
          </p:cNvPr>
          <p:cNvSpPr>
            <a:spLocks noGrp="1"/>
          </p:cNvSpPr>
          <p:nvPr>
            <p:ph type="title"/>
          </p:nvPr>
        </p:nvSpPr>
        <p:spPr>
          <a:xfrm>
            <a:off x="554736" y="253492"/>
            <a:ext cx="7918704" cy="76944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b="1" dirty="0"/>
              <a:t>Rural experiences a higher chronic disease burden than urban</a:t>
            </a:r>
          </a:p>
        </p:txBody>
      </p:sp>
      <p:sp>
        <p:nvSpPr>
          <p:cNvPr id="5" name="5. Source">
            <a:extLst>
              <a:ext uri="{FF2B5EF4-FFF2-40B4-BE49-F238E27FC236}">
                <a16:creationId xmlns:a16="http://schemas.microsoft.com/office/drawing/2014/main" id="{A682312F-743B-3106-8FED-00B60FDC2C65}"/>
              </a:ext>
            </a:extLst>
          </p:cNvPr>
          <p:cNvSpPr txBox="1"/>
          <p:nvPr>
            <p:custDataLst>
              <p:tags r:id="rId1"/>
            </p:custDataLst>
          </p:nvPr>
        </p:nvSpPr>
        <p:spPr>
          <a:xfrm>
            <a:off x="2556717" y="6501669"/>
            <a:ext cx="727786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Calibri" panose="020F0502020204030204" pitchFamily="34" charset="0"/>
              </a:rPr>
              <a:t>Source: LDH Medicaid Data Warehouse – claims paid through April 2026, HLA members only, excludes NF, HCBS, waiver, </a:t>
            </a:r>
            <a:br>
              <a:rPr lang="en-US" dirty="0">
                <a:latin typeface="Calibri" panose="020F0502020204030204" pitchFamily="34" charset="0"/>
              </a:rPr>
            </a:br>
            <a:r>
              <a:rPr lang="en-US" dirty="0">
                <a:latin typeface="Calibri" panose="020F0502020204030204" pitchFamily="34" charset="0"/>
              </a:rPr>
              <a:t>DD dual-eligible. Chronic conditions via </a:t>
            </a:r>
            <a:r>
              <a:rPr lang="en-US" dirty="0" err="1">
                <a:latin typeface="Calibri" panose="020F0502020204030204" pitchFamily="34" charset="0"/>
              </a:rPr>
              <a:t>CPDS+Rx</a:t>
            </a:r>
            <a:r>
              <a:rPr lang="en-US" dirty="0">
                <a:latin typeface="Calibri" panose="020F0502020204030204" pitchFamily="34" charset="0"/>
              </a:rPr>
              <a:t> v7.2</a:t>
            </a:r>
          </a:p>
        </p:txBody>
      </p:sp>
      <p:graphicFrame>
        <p:nvGraphicFramePr>
          <p:cNvPr id="104" name="Chart 103">
            <a:extLst>
              <a:ext uri="{FF2B5EF4-FFF2-40B4-BE49-F238E27FC236}">
                <a16:creationId xmlns:a16="http://schemas.microsoft.com/office/drawing/2014/main" id="{8D8D8C16-AADE-645C-4614-DDD3D6EA228B}"/>
              </a:ext>
            </a:extLst>
          </p:cNvPr>
          <p:cNvGraphicFramePr/>
          <p:nvPr>
            <p:custDataLst>
              <p:tags r:id="rId2"/>
            </p:custDataLst>
            <p:extLst>
              <p:ext uri="{D42A27DB-BD31-4B8C-83A1-F6EECF244321}">
                <p14:modId xmlns:p14="http://schemas.microsoft.com/office/powerpoint/2010/main" val="2576093550"/>
              </p:ext>
            </p:extLst>
          </p:nvPr>
        </p:nvGraphicFramePr>
        <p:xfrm>
          <a:off x="2327275" y="1471613"/>
          <a:ext cx="2386013" cy="2571750"/>
        </p:xfrm>
        <a:graphic>
          <a:graphicData uri="http://schemas.openxmlformats.org/drawingml/2006/chart">
            <c:chart xmlns:c="http://schemas.openxmlformats.org/drawingml/2006/chart" xmlns:r="http://schemas.openxmlformats.org/officeDocument/2006/relationships" r:id="rId101"/>
          </a:graphicData>
        </a:graphic>
      </p:graphicFrame>
      <p:sp useBgFill="1">
        <p:nvSpPr>
          <p:cNvPr id="102" name="Freeform: Shape 101">
            <a:extLst>
              <a:ext uri="{FF2B5EF4-FFF2-40B4-BE49-F238E27FC236}">
                <a16:creationId xmlns:a16="http://schemas.microsoft.com/office/drawing/2014/main" id="{B2BD18DB-A60C-A23E-999F-B0DCFF94893D}"/>
              </a:ext>
            </a:extLst>
          </p:cNvPr>
          <p:cNvSpPr/>
          <p:nvPr>
            <p:custDataLst>
              <p:tags r:id="rId3"/>
            </p:custDataLst>
          </p:nvPr>
        </p:nvSpPr>
        <p:spPr bwMode="auto">
          <a:xfrm>
            <a:off x="4027488" y="3378200"/>
            <a:ext cx="161926" cy="390526"/>
          </a:xfrm>
          <a:custGeom>
            <a:avLst/>
            <a:gdLst/>
            <a:ahLst/>
            <a:cxnLst/>
            <a:rect l="0" t="0" r="0" b="0"/>
            <a:pathLst>
              <a:path w="161926" h="390526">
                <a:moveTo>
                  <a:pt x="161925" y="0"/>
                </a:moveTo>
                <a:lnTo>
                  <a:pt x="57150" y="390525"/>
                </a:lnTo>
                <a:lnTo>
                  <a:pt x="0" y="390525"/>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p:nvSpPr>
          <p:cNvPr id="77" name="Freeform: Shape 76">
            <a:extLst>
              <a:ext uri="{FF2B5EF4-FFF2-40B4-BE49-F238E27FC236}">
                <a16:creationId xmlns:a16="http://schemas.microsoft.com/office/drawing/2014/main" id="{08D5E164-829D-7D4C-2A1B-6E5570515E8F}"/>
              </a:ext>
            </a:extLst>
          </p:cNvPr>
          <p:cNvSpPr/>
          <p:nvPr>
            <p:custDataLst>
              <p:tags r:id="rId4"/>
            </p:custDataLst>
          </p:nvPr>
        </p:nvSpPr>
        <p:spPr bwMode="auto">
          <a:xfrm>
            <a:off x="4027488" y="3378200"/>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Calibri" panose="020F0502020204030204" pitchFamily="34" charset="0"/>
            </a:endParaRPr>
          </a:p>
        </p:txBody>
      </p:sp>
      <p:sp>
        <p:nvSpPr>
          <p:cNvPr id="78" name="Freeform: Shape 77">
            <a:extLst>
              <a:ext uri="{FF2B5EF4-FFF2-40B4-BE49-F238E27FC236}">
                <a16:creationId xmlns:a16="http://schemas.microsoft.com/office/drawing/2014/main" id="{C0DED398-EB88-ED25-0E68-10EC38446E65}"/>
              </a:ext>
            </a:extLst>
          </p:cNvPr>
          <p:cNvSpPr/>
          <p:nvPr>
            <p:custDataLst>
              <p:tags r:id="rId5"/>
            </p:custDataLst>
          </p:nvPr>
        </p:nvSpPr>
        <p:spPr bwMode="auto">
          <a:xfrm>
            <a:off x="4084638" y="3378200"/>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Calibri" panose="020F0502020204030204" pitchFamily="34" charset="0"/>
            </a:endParaRPr>
          </a:p>
        </p:txBody>
      </p:sp>
      <p:sp useBgFill="1">
        <p:nvSpPr>
          <p:cNvPr id="12" name="Text Placeholder 4">
            <a:extLst>
              <a:ext uri="{FF2B5EF4-FFF2-40B4-BE49-F238E27FC236}">
                <a16:creationId xmlns:a16="http://schemas.microsoft.com/office/drawing/2014/main" id="{74835871-EC21-6609-9B11-CE5C0195040B}"/>
              </a:ext>
            </a:extLst>
          </p:cNvPr>
          <p:cNvSpPr txBox="1">
            <a:spLocks/>
          </p:cNvSpPr>
          <p:nvPr>
            <p:custDataLst>
              <p:tags r:id="rId6"/>
            </p:custDataLst>
          </p:nvPr>
        </p:nvSpPr>
        <p:spPr bwMode="gray">
          <a:xfrm>
            <a:off x="3844925" y="3235325"/>
            <a:ext cx="366713" cy="212725"/>
          </a:xfrm>
          <a:prstGeom prst="rect">
            <a:avLst/>
          </a:prstGeom>
          <a:ln>
            <a:noFill/>
          </a:ln>
          <a:effec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D6CDB573-F791-4C1C-9C11-AF86A9C2C19A}" type="datetime'''1''''''''''''''''''0.''''''''''''3'''''''''''''''">
              <a:rPr lang="en-US" altLang="en-US" sz="1200" smtClean="0">
                <a:effectLst/>
                <a:latin typeface="Calibri" panose="020F0502020204030204" pitchFamily="34" charset="0"/>
                <a:cs typeface="+mn-cs"/>
              </a:rPr>
              <a:pPr>
                <a:spcBef>
                  <a:spcPct val="0"/>
                </a:spcBef>
                <a:spcAft>
                  <a:spcPct val="0"/>
                </a:spcAft>
              </a:pPr>
              <a:t>10.3</a:t>
            </a:fld>
            <a:endParaRPr lang="en-US" sz="1200" dirty="0">
              <a:latin typeface="Calibri" panose="020F0502020204030204" pitchFamily="34" charset="0"/>
              <a:cs typeface="+mn-cs"/>
            </a:endParaRPr>
          </a:p>
        </p:txBody>
      </p:sp>
      <p:sp>
        <p:nvSpPr>
          <p:cNvPr id="188" name="Text Placeholder 4">
            <a:extLst>
              <a:ext uri="{FF2B5EF4-FFF2-40B4-BE49-F238E27FC236}">
                <a16:creationId xmlns:a16="http://schemas.microsoft.com/office/drawing/2014/main" id="{F1B866BB-D985-53DB-B5F4-F2504498A2F3}"/>
              </a:ext>
            </a:extLst>
          </p:cNvPr>
          <p:cNvSpPr txBox="1">
            <a:spLocks/>
          </p:cNvSpPr>
          <p:nvPr>
            <p:custDataLst>
              <p:tags r:id="rId7"/>
            </p:custDataLst>
          </p:nvPr>
        </p:nvSpPr>
        <p:spPr bwMode="gray">
          <a:xfrm>
            <a:off x="4656138" y="3398838"/>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B4374A78-DD21-44D9-849E-C2C6C52571E5}" type="datetime'''''''''''5''''''''6''.''''''''''5'''''''''''''''''''">
              <a:rPr lang="en-US" altLang="en-US" sz="1200" smtClean="0">
                <a:effectLst/>
                <a:latin typeface="Calibri" panose="020F0502020204030204" pitchFamily="34" charset="0"/>
                <a:cs typeface="+mn-cs"/>
              </a:rPr>
              <a:pPr>
                <a:spcBef>
                  <a:spcPct val="0"/>
                </a:spcBef>
                <a:spcAft>
                  <a:spcPct val="0"/>
                </a:spcAft>
              </a:pPr>
              <a:t>56.5</a:t>
            </a:fld>
            <a:endParaRPr lang="en-US" sz="1200" dirty="0">
              <a:latin typeface="Calibri" panose="020F0502020204030204" pitchFamily="34" charset="0"/>
              <a:cs typeface="+mn-cs"/>
            </a:endParaRPr>
          </a:p>
        </p:txBody>
      </p:sp>
      <p:sp>
        <p:nvSpPr>
          <p:cNvPr id="190" name="Text Placeholder 4">
            <a:extLst>
              <a:ext uri="{FF2B5EF4-FFF2-40B4-BE49-F238E27FC236}">
                <a16:creationId xmlns:a16="http://schemas.microsoft.com/office/drawing/2014/main" id="{E03A077F-C522-98DA-E319-214BFF9285FF}"/>
              </a:ext>
            </a:extLst>
          </p:cNvPr>
          <p:cNvSpPr txBox="1">
            <a:spLocks/>
          </p:cNvSpPr>
          <p:nvPr>
            <p:custDataLst>
              <p:tags r:id="rId8"/>
            </p:custDataLst>
          </p:nvPr>
        </p:nvSpPr>
        <p:spPr bwMode="gray">
          <a:xfrm>
            <a:off x="4240213" y="3567113"/>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28A966C2-69E4-4C4D-803A-F67B0FB52F61}" type="datetime'''5''''''''''''3''''''''.''''''''''''''''''''''''''''''4'">
              <a:rPr lang="en-US" altLang="en-US" sz="1200" smtClean="0">
                <a:effectLst/>
                <a:latin typeface="Calibri" panose="020F0502020204030204" pitchFamily="34" charset="0"/>
                <a:cs typeface="+mn-cs"/>
              </a:rPr>
              <a:pPr>
                <a:spcBef>
                  <a:spcPct val="0"/>
                </a:spcBef>
                <a:spcAft>
                  <a:spcPct val="0"/>
                </a:spcAft>
              </a:pPr>
              <a:t>53.4</a:t>
            </a:fld>
            <a:endParaRPr lang="en-US" sz="1200" dirty="0">
              <a:latin typeface="Calibri" panose="020F0502020204030204" pitchFamily="34" charset="0"/>
              <a:cs typeface="+mn-cs"/>
            </a:endParaRPr>
          </a:p>
        </p:txBody>
      </p:sp>
      <p:sp>
        <p:nvSpPr>
          <p:cNvPr id="84" name="Subtitle 1">
            <a:extLst>
              <a:ext uri="{FF2B5EF4-FFF2-40B4-BE49-F238E27FC236}">
                <a16:creationId xmlns:a16="http://schemas.microsoft.com/office/drawing/2014/main" id="{2EAA8882-0E96-D5A6-9152-727B7EDE14A1}"/>
              </a:ext>
            </a:extLst>
          </p:cNvPr>
          <p:cNvSpPr txBox="1">
            <a:spLocks/>
          </p:cNvSpPr>
          <p:nvPr/>
        </p:nvSpPr>
        <p:spPr>
          <a:xfrm>
            <a:off x="554736" y="1223963"/>
            <a:ext cx="7918704" cy="21544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1400" b="1" dirty="0">
                <a:latin typeface="Calibri" panose="020F0502020204030204" pitchFamily="34" charset="0"/>
              </a:rPr>
              <a:t>Chronic conditions: top 5 by prevalence gap Rural vs. Urban</a:t>
            </a:r>
          </a:p>
        </p:txBody>
      </p:sp>
      <p:sp>
        <p:nvSpPr>
          <p:cNvPr id="178" name="Rectangle 177">
            <a:extLst>
              <a:ext uri="{FF2B5EF4-FFF2-40B4-BE49-F238E27FC236}">
                <a16:creationId xmlns:a16="http://schemas.microsoft.com/office/drawing/2014/main" id="{FF89768D-C854-EE6A-560A-5CDE2C5A47D2}"/>
              </a:ext>
            </a:extLst>
          </p:cNvPr>
          <p:cNvSpPr/>
          <p:nvPr>
            <p:custDataLst>
              <p:tags r:id="rId9"/>
            </p:custDataLst>
          </p:nvPr>
        </p:nvSpPr>
        <p:spPr bwMode="auto">
          <a:xfrm>
            <a:off x="7178675" y="819468"/>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Calibri" panose="020F0502020204030204" pitchFamily="34" charset="0"/>
            </a:endParaRPr>
          </a:p>
        </p:txBody>
      </p:sp>
      <p:sp>
        <p:nvSpPr>
          <p:cNvPr id="179" name="Rectangle 178">
            <a:extLst>
              <a:ext uri="{FF2B5EF4-FFF2-40B4-BE49-F238E27FC236}">
                <a16:creationId xmlns:a16="http://schemas.microsoft.com/office/drawing/2014/main" id="{00E08464-26B5-0E6B-6986-F226CCA94427}"/>
              </a:ext>
            </a:extLst>
          </p:cNvPr>
          <p:cNvSpPr/>
          <p:nvPr>
            <p:custDataLst>
              <p:tags r:id="rId10"/>
            </p:custDataLst>
          </p:nvPr>
        </p:nvSpPr>
        <p:spPr bwMode="auto">
          <a:xfrm>
            <a:off x="7815263" y="819468"/>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Calibri" panose="020F0502020204030204" pitchFamily="34" charset="0"/>
            </a:endParaRPr>
          </a:p>
        </p:txBody>
      </p:sp>
      <p:sp>
        <p:nvSpPr>
          <p:cNvPr id="174" name="Text Placeholder 4">
            <a:extLst>
              <a:ext uri="{FF2B5EF4-FFF2-40B4-BE49-F238E27FC236}">
                <a16:creationId xmlns:a16="http://schemas.microsoft.com/office/drawing/2014/main" id="{ED976078-A19C-4A16-9AEB-D7C37CB29467}"/>
              </a:ext>
            </a:extLst>
          </p:cNvPr>
          <p:cNvSpPr txBox="1">
            <a:spLocks/>
          </p:cNvSpPr>
          <p:nvPr>
            <p:custDataLst>
              <p:tags r:id="rId11"/>
            </p:custDataLst>
          </p:nvPr>
        </p:nvSpPr>
        <p:spPr bwMode="auto">
          <a:xfrm>
            <a:off x="7394575" y="817880"/>
            <a:ext cx="319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587F1DF8-EDF4-4044-892E-FA92B4402F34}" type="datetime'''''''''''''''R''''''''u''''r''''''''''''''''''''''a''''l'''''">
              <a:rPr lang="en-US" altLang="en-US" sz="1200" smtClean="0">
                <a:effectLst/>
                <a:latin typeface="Calibri" panose="020F0502020204030204" pitchFamily="34" charset="0"/>
                <a:cs typeface="+mn-cs"/>
              </a:rPr>
              <a:pPr>
                <a:spcBef>
                  <a:spcPct val="0"/>
                </a:spcBef>
                <a:spcAft>
                  <a:spcPct val="0"/>
                </a:spcAft>
              </a:pPr>
              <a:t>Rural</a:t>
            </a:fld>
            <a:endParaRPr lang="en-US" sz="1200" dirty="0">
              <a:latin typeface="Calibri" panose="020F0502020204030204" pitchFamily="34" charset="0"/>
              <a:cs typeface="+mn-cs"/>
            </a:endParaRPr>
          </a:p>
        </p:txBody>
      </p:sp>
      <p:sp>
        <p:nvSpPr>
          <p:cNvPr id="176" name="Text Placeholder 4">
            <a:extLst>
              <a:ext uri="{FF2B5EF4-FFF2-40B4-BE49-F238E27FC236}">
                <a16:creationId xmlns:a16="http://schemas.microsoft.com/office/drawing/2014/main" id="{8A52A895-1CBE-3976-0E3E-18B347206143}"/>
              </a:ext>
            </a:extLst>
          </p:cNvPr>
          <p:cNvSpPr txBox="1">
            <a:spLocks/>
          </p:cNvSpPr>
          <p:nvPr>
            <p:custDataLst>
              <p:tags r:id="rId12"/>
            </p:custDataLst>
          </p:nvPr>
        </p:nvSpPr>
        <p:spPr bwMode="auto">
          <a:xfrm>
            <a:off x="8031163" y="817880"/>
            <a:ext cx="382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FE65A618-E7D2-411A-899C-6E56F1244256}" type="datetime'''U''''''''r''b''''''''''''''''a''''''''''''''''''''''n'''''''">
              <a:rPr lang="en-US" altLang="en-US" sz="1200" smtClean="0">
                <a:effectLst/>
                <a:latin typeface="Calibri" panose="020F0502020204030204" pitchFamily="34" charset="0"/>
                <a:cs typeface="+mn-cs"/>
              </a:rPr>
              <a:pPr>
                <a:spcBef>
                  <a:spcPct val="0"/>
                </a:spcBef>
                <a:spcAft>
                  <a:spcPct val="0"/>
                </a:spcAft>
              </a:pPr>
              <a:t>Urban</a:t>
            </a:fld>
            <a:endParaRPr lang="en-US" sz="1200" dirty="0">
              <a:latin typeface="Calibri" panose="020F0502020204030204" pitchFamily="34" charset="0"/>
              <a:cs typeface="+mn-cs"/>
            </a:endParaRPr>
          </a:p>
        </p:txBody>
      </p:sp>
      <p:sp>
        <p:nvSpPr>
          <p:cNvPr id="65" name="Rectangle 64">
            <a:extLst>
              <a:ext uri="{FF2B5EF4-FFF2-40B4-BE49-F238E27FC236}">
                <a16:creationId xmlns:a16="http://schemas.microsoft.com/office/drawing/2014/main" id="{2ED11ED3-6413-CE7B-22C0-11D50938CF68}"/>
              </a:ext>
            </a:extLst>
          </p:cNvPr>
          <p:cNvSpPr>
            <a:spLocks/>
          </p:cNvSpPr>
          <p:nvPr/>
        </p:nvSpPr>
        <p:spPr>
          <a:xfrm>
            <a:off x="515938" y="5954713"/>
            <a:ext cx="7996466" cy="28575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graphicFrame>
        <p:nvGraphicFramePr>
          <p:cNvPr id="76" name="Chart 75">
            <a:extLst>
              <a:ext uri="{FF2B5EF4-FFF2-40B4-BE49-F238E27FC236}">
                <a16:creationId xmlns:a16="http://schemas.microsoft.com/office/drawing/2014/main" id="{5F20088A-A697-D56B-6A66-9CA11050216C}"/>
              </a:ext>
            </a:extLst>
          </p:cNvPr>
          <p:cNvGraphicFramePr/>
          <p:nvPr>
            <p:custDataLst>
              <p:tags r:id="rId13"/>
            </p:custDataLst>
          </p:nvPr>
        </p:nvGraphicFramePr>
        <p:xfrm>
          <a:off x="2339975" y="4300538"/>
          <a:ext cx="2386013" cy="2036762"/>
        </p:xfrm>
        <a:graphic>
          <a:graphicData uri="http://schemas.openxmlformats.org/drawingml/2006/chart">
            <c:chart xmlns:c="http://schemas.openxmlformats.org/drawingml/2006/chart" xmlns:r="http://schemas.openxmlformats.org/officeDocument/2006/relationships" r:id="rId102"/>
          </a:graphicData>
        </a:graphic>
      </p:graphicFrame>
      <p:sp useBgFill="1">
        <p:nvSpPr>
          <p:cNvPr id="38" name="Freeform: Shape 37">
            <a:extLst>
              <a:ext uri="{FF2B5EF4-FFF2-40B4-BE49-F238E27FC236}">
                <a16:creationId xmlns:a16="http://schemas.microsoft.com/office/drawing/2014/main" id="{843BDE23-4BCF-EA83-2A35-8F14BD15FAA3}"/>
              </a:ext>
            </a:extLst>
          </p:cNvPr>
          <p:cNvSpPr/>
          <p:nvPr>
            <p:custDataLst>
              <p:tags r:id="rId14"/>
            </p:custDataLst>
          </p:nvPr>
        </p:nvSpPr>
        <p:spPr bwMode="auto">
          <a:xfrm>
            <a:off x="3995738" y="4349750"/>
            <a:ext cx="158751" cy="379413"/>
          </a:xfrm>
          <a:custGeom>
            <a:avLst/>
            <a:gdLst/>
            <a:ahLst/>
            <a:cxnLst/>
            <a:rect l="0" t="0" r="0" b="0"/>
            <a:pathLst>
              <a:path w="158751" h="379414">
                <a:moveTo>
                  <a:pt x="158750" y="0"/>
                </a:moveTo>
                <a:lnTo>
                  <a:pt x="57150" y="379413"/>
                </a:lnTo>
                <a:lnTo>
                  <a:pt x="0" y="379413"/>
                </a:lnTo>
                <a:lnTo>
                  <a:pt x="101600"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useBgFill="1">
        <p:nvSpPr>
          <p:cNvPr id="57" name="Freeform: Shape 56">
            <a:extLst>
              <a:ext uri="{FF2B5EF4-FFF2-40B4-BE49-F238E27FC236}">
                <a16:creationId xmlns:a16="http://schemas.microsoft.com/office/drawing/2014/main" id="{2B62427E-6354-D322-2C19-22C10EA754E9}"/>
              </a:ext>
            </a:extLst>
          </p:cNvPr>
          <p:cNvSpPr/>
          <p:nvPr>
            <p:custDataLst>
              <p:tags r:id="rId15"/>
            </p:custDataLst>
          </p:nvPr>
        </p:nvSpPr>
        <p:spPr bwMode="auto">
          <a:xfrm>
            <a:off x="3995738" y="5286375"/>
            <a:ext cx="158751" cy="377825"/>
          </a:xfrm>
          <a:custGeom>
            <a:avLst/>
            <a:gdLst/>
            <a:ahLst/>
            <a:cxnLst/>
            <a:rect l="0" t="0" r="0" b="0"/>
            <a:pathLst>
              <a:path w="158751" h="377826">
                <a:moveTo>
                  <a:pt x="158750" y="0"/>
                </a:moveTo>
                <a:lnTo>
                  <a:pt x="57150" y="377825"/>
                </a:lnTo>
                <a:lnTo>
                  <a:pt x="0" y="377825"/>
                </a:lnTo>
                <a:lnTo>
                  <a:pt x="101600"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p:nvSpPr>
          <p:cNvPr id="36" name="Freeform: Shape 35">
            <a:extLst>
              <a:ext uri="{FF2B5EF4-FFF2-40B4-BE49-F238E27FC236}">
                <a16:creationId xmlns:a16="http://schemas.microsoft.com/office/drawing/2014/main" id="{9881A120-1C05-33D1-D583-E8D4A1C182C0}"/>
              </a:ext>
            </a:extLst>
          </p:cNvPr>
          <p:cNvSpPr/>
          <p:nvPr>
            <p:custDataLst>
              <p:tags r:id="rId16"/>
            </p:custDataLst>
          </p:nvPr>
        </p:nvSpPr>
        <p:spPr bwMode="auto">
          <a:xfrm>
            <a:off x="3995738" y="4349750"/>
            <a:ext cx="101601" cy="379413"/>
          </a:xfrm>
          <a:custGeom>
            <a:avLst/>
            <a:gdLst/>
            <a:ahLst/>
            <a:cxnLst/>
            <a:rect l="0" t="0" r="0" b="0"/>
            <a:pathLst>
              <a:path w="101601" h="379414">
                <a:moveTo>
                  <a:pt x="101600" y="0"/>
                </a:moveTo>
                <a:lnTo>
                  <a:pt x="0" y="379413"/>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Calibri" panose="020F0502020204030204" pitchFamily="34" charset="0"/>
            </a:endParaRPr>
          </a:p>
        </p:txBody>
      </p:sp>
      <p:sp>
        <p:nvSpPr>
          <p:cNvPr id="37" name="Freeform: Shape 36">
            <a:extLst>
              <a:ext uri="{FF2B5EF4-FFF2-40B4-BE49-F238E27FC236}">
                <a16:creationId xmlns:a16="http://schemas.microsoft.com/office/drawing/2014/main" id="{23B6A9B5-4073-0872-263E-12C37AE41D25}"/>
              </a:ext>
            </a:extLst>
          </p:cNvPr>
          <p:cNvSpPr/>
          <p:nvPr>
            <p:custDataLst>
              <p:tags r:id="rId17"/>
            </p:custDataLst>
          </p:nvPr>
        </p:nvSpPr>
        <p:spPr bwMode="auto">
          <a:xfrm>
            <a:off x="4052888" y="4349750"/>
            <a:ext cx="101601" cy="379413"/>
          </a:xfrm>
          <a:custGeom>
            <a:avLst/>
            <a:gdLst/>
            <a:ahLst/>
            <a:cxnLst/>
            <a:rect l="0" t="0" r="0" b="0"/>
            <a:pathLst>
              <a:path w="101601" h="379414">
                <a:moveTo>
                  <a:pt x="101600" y="0"/>
                </a:moveTo>
                <a:lnTo>
                  <a:pt x="0" y="379413"/>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Calibri" panose="020F0502020204030204" pitchFamily="34" charset="0"/>
            </a:endParaRPr>
          </a:p>
        </p:txBody>
      </p:sp>
      <p:sp>
        <p:nvSpPr>
          <p:cNvPr id="39" name="Freeform: Shape 38">
            <a:extLst>
              <a:ext uri="{FF2B5EF4-FFF2-40B4-BE49-F238E27FC236}">
                <a16:creationId xmlns:a16="http://schemas.microsoft.com/office/drawing/2014/main" id="{C7CCB1E8-60B0-6EF7-46EA-F569FCBFF01A}"/>
              </a:ext>
            </a:extLst>
          </p:cNvPr>
          <p:cNvSpPr/>
          <p:nvPr>
            <p:custDataLst>
              <p:tags r:id="rId18"/>
            </p:custDataLst>
          </p:nvPr>
        </p:nvSpPr>
        <p:spPr bwMode="auto">
          <a:xfrm>
            <a:off x="3995738" y="5286375"/>
            <a:ext cx="101601" cy="377825"/>
          </a:xfrm>
          <a:custGeom>
            <a:avLst/>
            <a:gdLst/>
            <a:ahLst/>
            <a:cxnLst/>
            <a:rect l="0" t="0" r="0" b="0"/>
            <a:pathLst>
              <a:path w="101601" h="377826">
                <a:moveTo>
                  <a:pt x="101600" y="0"/>
                </a:moveTo>
                <a:lnTo>
                  <a:pt x="0" y="3778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Calibri" panose="020F0502020204030204" pitchFamily="34" charset="0"/>
            </a:endParaRPr>
          </a:p>
        </p:txBody>
      </p:sp>
      <p:sp>
        <p:nvSpPr>
          <p:cNvPr id="45" name="Freeform: Shape 44">
            <a:extLst>
              <a:ext uri="{FF2B5EF4-FFF2-40B4-BE49-F238E27FC236}">
                <a16:creationId xmlns:a16="http://schemas.microsoft.com/office/drawing/2014/main" id="{957B4166-3436-B688-E62E-1DE330A7EBA8}"/>
              </a:ext>
            </a:extLst>
          </p:cNvPr>
          <p:cNvSpPr/>
          <p:nvPr>
            <p:custDataLst>
              <p:tags r:id="rId19"/>
            </p:custDataLst>
          </p:nvPr>
        </p:nvSpPr>
        <p:spPr bwMode="auto">
          <a:xfrm>
            <a:off x="4052888" y="5286375"/>
            <a:ext cx="101601" cy="377825"/>
          </a:xfrm>
          <a:custGeom>
            <a:avLst/>
            <a:gdLst/>
            <a:ahLst/>
            <a:cxnLst/>
            <a:rect l="0" t="0" r="0" b="0"/>
            <a:pathLst>
              <a:path w="101601" h="377826">
                <a:moveTo>
                  <a:pt x="101600" y="0"/>
                </a:moveTo>
                <a:lnTo>
                  <a:pt x="0" y="3778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latin typeface="Calibri" panose="020F0502020204030204" pitchFamily="34" charset="0"/>
            </a:endParaRPr>
          </a:p>
        </p:txBody>
      </p:sp>
      <p:sp>
        <p:nvSpPr>
          <p:cNvPr id="150" name="Text Placeholder 4">
            <a:extLst>
              <a:ext uri="{FF2B5EF4-FFF2-40B4-BE49-F238E27FC236}">
                <a16:creationId xmlns:a16="http://schemas.microsoft.com/office/drawing/2014/main" id="{31F1094F-BFD2-886D-7E64-1EB95C42CD0E}"/>
              </a:ext>
            </a:extLst>
          </p:cNvPr>
          <p:cNvSpPr txBox="1">
            <a:spLocks/>
          </p:cNvSpPr>
          <p:nvPr>
            <p:custDataLst>
              <p:tags r:id="rId20"/>
            </p:custDataLst>
          </p:nvPr>
        </p:nvSpPr>
        <p:spPr bwMode="gray">
          <a:xfrm>
            <a:off x="4668838" y="4367213"/>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7C153732-39FE-4B26-B442-F33E5E82F392}" type="datetime'42''''.''''''''''''''''8'''''">
              <a:rPr lang="en-US" altLang="en-US" sz="1200" smtClean="0">
                <a:latin typeface="Calibri" panose="020F0502020204030204" pitchFamily="34" charset="0"/>
                <a:cs typeface="+mn-cs"/>
              </a:rPr>
              <a:pPr>
                <a:spcBef>
                  <a:spcPct val="0"/>
                </a:spcBef>
                <a:spcAft>
                  <a:spcPct val="0"/>
                </a:spcAft>
              </a:pPr>
              <a:t>42.8</a:t>
            </a:fld>
            <a:endParaRPr lang="en-US" sz="1200" dirty="0">
              <a:latin typeface="Calibri" panose="020F0502020204030204" pitchFamily="34" charset="0"/>
              <a:cs typeface="+mn-cs"/>
            </a:endParaRPr>
          </a:p>
        </p:txBody>
      </p:sp>
      <p:sp>
        <p:nvSpPr>
          <p:cNvPr id="151" name="Text Placeholder 4">
            <a:extLst>
              <a:ext uri="{FF2B5EF4-FFF2-40B4-BE49-F238E27FC236}">
                <a16:creationId xmlns:a16="http://schemas.microsoft.com/office/drawing/2014/main" id="{D11B22A6-7EA3-5512-2C03-9295C0A72205}"/>
              </a:ext>
            </a:extLst>
          </p:cNvPr>
          <p:cNvSpPr txBox="1">
            <a:spLocks/>
          </p:cNvSpPr>
          <p:nvPr>
            <p:custDataLst>
              <p:tags r:id="rId21"/>
            </p:custDataLst>
          </p:nvPr>
        </p:nvSpPr>
        <p:spPr bwMode="gray">
          <a:xfrm>
            <a:off x="4379913" y="4533900"/>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53602D64-57E9-4E29-A9AE-3C5C0DEB997E}" type="datetime'''''3''''''9''''''''''.''''''5'''">
              <a:rPr lang="en-US" altLang="en-US" sz="1200" smtClean="0">
                <a:latin typeface="Calibri" panose="020F0502020204030204" pitchFamily="34" charset="0"/>
                <a:cs typeface="+mn-cs"/>
              </a:rPr>
              <a:pPr>
                <a:spcBef>
                  <a:spcPct val="0"/>
                </a:spcBef>
                <a:spcAft>
                  <a:spcPct val="0"/>
                </a:spcAft>
              </a:pPr>
              <a:t>39.5</a:t>
            </a:fld>
            <a:endParaRPr lang="en-US" sz="1200" dirty="0">
              <a:latin typeface="Calibri" panose="020F0502020204030204" pitchFamily="34" charset="0"/>
              <a:cs typeface="+mn-cs"/>
            </a:endParaRPr>
          </a:p>
        </p:txBody>
      </p:sp>
      <p:sp>
        <p:nvSpPr>
          <p:cNvPr id="152" name="Text Placeholder 4">
            <a:extLst>
              <a:ext uri="{FF2B5EF4-FFF2-40B4-BE49-F238E27FC236}">
                <a16:creationId xmlns:a16="http://schemas.microsoft.com/office/drawing/2014/main" id="{1753999E-F09D-0BF4-F8CC-CE329448555A}"/>
              </a:ext>
            </a:extLst>
          </p:cNvPr>
          <p:cNvSpPr txBox="1">
            <a:spLocks/>
          </p:cNvSpPr>
          <p:nvPr>
            <p:custDataLst>
              <p:tags r:id="rId22"/>
            </p:custDataLst>
          </p:nvPr>
        </p:nvSpPr>
        <p:spPr bwMode="gray">
          <a:xfrm>
            <a:off x="3643313" y="4679950"/>
            <a:ext cx="3667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CBD63544-1982-4F38-A280-AAFA709E56C8}" type="datetime'''''''13''''''''''''''''''''''''''''''''.''4'''''''''''''">
              <a:rPr lang="en-US" altLang="en-US" sz="1200" smtClean="0">
                <a:effectLst/>
                <a:latin typeface="Calibri" panose="020F0502020204030204" pitchFamily="34" charset="0"/>
                <a:cs typeface="+mn-cs"/>
              </a:rPr>
              <a:pPr>
                <a:spcBef>
                  <a:spcPct val="0"/>
                </a:spcBef>
                <a:spcAft>
                  <a:spcPct val="0"/>
                </a:spcAft>
              </a:pPr>
              <a:t>13.4</a:t>
            </a:fld>
            <a:endParaRPr lang="en-US" sz="1200" dirty="0">
              <a:latin typeface="Calibri" panose="020F0502020204030204" pitchFamily="34" charset="0"/>
              <a:cs typeface="+mn-cs"/>
            </a:endParaRPr>
          </a:p>
        </p:txBody>
      </p:sp>
      <p:sp>
        <p:nvSpPr>
          <p:cNvPr id="177" name="Text Placeholder 4">
            <a:extLst>
              <a:ext uri="{FF2B5EF4-FFF2-40B4-BE49-F238E27FC236}">
                <a16:creationId xmlns:a16="http://schemas.microsoft.com/office/drawing/2014/main" id="{6786FAE7-EE7A-6808-5C52-D00089C265FF}"/>
              </a:ext>
            </a:extLst>
          </p:cNvPr>
          <p:cNvSpPr txBox="1">
            <a:spLocks/>
          </p:cNvSpPr>
          <p:nvPr>
            <p:custDataLst>
              <p:tags r:id="rId23"/>
            </p:custDataLst>
          </p:nvPr>
        </p:nvSpPr>
        <p:spPr bwMode="gray">
          <a:xfrm>
            <a:off x="3573463" y="4830763"/>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E2936A77-307F-49D6-9B0E-84B824B8BFCB}" type="datetime'''''''1''''''''''2''''''''''''''''''''''''''''''''''.''6'''''">
              <a:rPr lang="en-US" altLang="en-US" sz="1200" smtClean="0">
                <a:effectLst/>
                <a:latin typeface="Calibri" panose="020F0502020204030204" pitchFamily="34" charset="0"/>
                <a:cs typeface="+mn-cs"/>
              </a:rPr>
              <a:pPr>
                <a:spcBef>
                  <a:spcPct val="0"/>
                </a:spcBef>
                <a:spcAft>
                  <a:spcPct val="0"/>
                </a:spcAft>
              </a:pPr>
              <a:t>12.6</a:t>
            </a:fld>
            <a:endParaRPr lang="en-US" sz="1200" dirty="0">
              <a:latin typeface="Calibri" panose="020F0502020204030204" pitchFamily="34" charset="0"/>
              <a:cs typeface="+mn-cs"/>
            </a:endParaRPr>
          </a:p>
        </p:txBody>
      </p:sp>
      <p:sp>
        <p:nvSpPr>
          <p:cNvPr id="180" name="Text Placeholder 4">
            <a:extLst>
              <a:ext uri="{FF2B5EF4-FFF2-40B4-BE49-F238E27FC236}">
                <a16:creationId xmlns:a16="http://schemas.microsoft.com/office/drawing/2014/main" id="{E6F441DF-B228-0FC6-F217-6B1EF0D1FB07}"/>
              </a:ext>
            </a:extLst>
          </p:cNvPr>
          <p:cNvSpPr txBox="1">
            <a:spLocks/>
          </p:cNvSpPr>
          <p:nvPr>
            <p:custDataLst>
              <p:tags r:id="rId24"/>
            </p:custDataLst>
          </p:nvPr>
        </p:nvSpPr>
        <p:spPr bwMode="gray">
          <a:xfrm>
            <a:off x="3287713" y="4991100"/>
            <a:ext cx="276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9971AC6A-71B5-4F73-808A-B628A36A876B}" type="datetime'''9''''.''''''''''''4'''''''''''">
              <a:rPr lang="en-US" altLang="en-US" sz="1200" smtClean="0">
                <a:effectLst/>
                <a:latin typeface="Calibri" panose="020F0502020204030204" pitchFamily="34" charset="0"/>
                <a:cs typeface="+mn-cs"/>
              </a:rPr>
              <a:pPr>
                <a:spcBef>
                  <a:spcPct val="0"/>
                </a:spcBef>
                <a:spcAft>
                  <a:spcPct val="0"/>
                </a:spcAft>
              </a:pPr>
              <a:t>9.4</a:t>
            </a:fld>
            <a:endParaRPr lang="en-US" sz="1200" dirty="0">
              <a:latin typeface="Calibri" panose="020F0502020204030204" pitchFamily="34" charset="0"/>
              <a:cs typeface="+mn-cs"/>
            </a:endParaRPr>
          </a:p>
        </p:txBody>
      </p:sp>
      <p:sp>
        <p:nvSpPr>
          <p:cNvPr id="181" name="Text Placeholder 4">
            <a:extLst>
              <a:ext uri="{FF2B5EF4-FFF2-40B4-BE49-F238E27FC236}">
                <a16:creationId xmlns:a16="http://schemas.microsoft.com/office/drawing/2014/main" id="{7F117014-28AD-4D77-A58A-DE891422FF26}"/>
              </a:ext>
            </a:extLst>
          </p:cNvPr>
          <p:cNvSpPr txBox="1">
            <a:spLocks/>
          </p:cNvSpPr>
          <p:nvPr>
            <p:custDataLst>
              <p:tags r:id="rId25"/>
            </p:custDataLst>
          </p:nvPr>
        </p:nvSpPr>
        <p:spPr bwMode="gray">
          <a:xfrm>
            <a:off x="3252788" y="5148263"/>
            <a:ext cx="276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AA48D3E9-0E3D-4B86-B291-511777AFC2CA}" type="datetime'9.''''''''''''''''''''''''''''''''''''''''''''''''''''0'">
              <a:rPr lang="en-US" altLang="en-US" sz="1200" smtClean="0">
                <a:effectLst/>
                <a:latin typeface="Calibri" panose="020F0502020204030204" pitchFamily="34" charset="0"/>
                <a:cs typeface="+mn-cs"/>
              </a:rPr>
              <a:pPr>
                <a:spcBef>
                  <a:spcPct val="0"/>
                </a:spcBef>
                <a:spcAft>
                  <a:spcPct val="0"/>
                </a:spcAft>
              </a:pPr>
              <a:t>9.0</a:t>
            </a:fld>
            <a:endParaRPr lang="en-US" sz="1200" dirty="0">
              <a:latin typeface="Calibri" panose="020F0502020204030204" pitchFamily="34" charset="0"/>
              <a:cs typeface="+mn-cs"/>
            </a:endParaRPr>
          </a:p>
        </p:txBody>
      </p:sp>
      <p:sp>
        <p:nvSpPr>
          <p:cNvPr id="153" name="Text Placeholder 4">
            <a:extLst>
              <a:ext uri="{FF2B5EF4-FFF2-40B4-BE49-F238E27FC236}">
                <a16:creationId xmlns:a16="http://schemas.microsoft.com/office/drawing/2014/main" id="{BD03A90F-0327-D73C-69C4-D6FA555FA17A}"/>
              </a:ext>
            </a:extLst>
          </p:cNvPr>
          <p:cNvSpPr txBox="1">
            <a:spLocks/>
          </p:cNvSpPr>
          <p:nvPr>
            <p:custDataLst>
              <p:tags r:id="rId26"/>
            </p:custDataLst>
          </p:nvPr>
        </p:nvSpPr>
        <p:spPr bwMode="gray">
          <a:xfrm>
            <a:off x="4341813" y="5268913"/>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E9068CCB-2109-4E05-957F-9C25059F6D04}" type="datetime'''''3''''''''''''''''''9''''''''.''''1'''''">
              <a:rPr lang="en-US" altLang="en-US" sz="1200" smtClean="0">
                <a:latin typeface="Calibri" panose="020F0502020204030204" pitchFamily="34" charset="0"/>
                <a:cs typeface="+mn-cs"/>
              </a:rPr>
              <a:pPr>
                <a:spcBef>
                  <a:spcPct val="0"/>
                </a:spcBef>
                <a:spcAft>
                  <a:spcPct val="0"/>
                </a:spcAft>
              </a:pPr>
              <a:t>39.1</a:t>
            </a:fld>
            <a:endParaRPr lang="en-US" sz="1200" dirty="0">
              <a:latin typeface="Calibri" panose="020F0502020204030204" pitchFamily="34" charset="0"/>
              <a:cs typeface="+mn-cs"/>
            </a:endParaRPr>
          </a:p>
        </p:txBody>
      </p:sp>
      <p:sp>
        <p:nvSpPr>
          <p:cNvPr id="154" name="Text Placeholder 4">
            <a:extLst>
              <a:ext uri="{FF2B5EF4-FFF2-40B4-BE49-F238E27FC236}">
                <a16:creationId xmlns:a16="http://schemas.microsoft.com/office/drawing/2014/main" id="{8387C477-2AE2-282B-B29D-B3722F4F82B7}"/>
              </a:ext>
            </a:extLst>
          </p:cNvPr>
          <p:cNvSpPr txBox="1">
            <a:spLocks/>
          </p:cNvSpPr>
          <p:nvPr>
            <p:custDataLst>
              <p:tags r:id="rId27"/>
            </p:custDataLst>
          </p:nvPr>
        </p:nvSpPr>
        <p:spPr bwMode="gray">
          <a:xfrm>
            <a:off x="4341813" y="5426075"/>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E75D19B2-BC13-4D33-B19D-C0F738522D58}" type="datetime'''''''''''''''3''''''''''''''''''7''.''''''6'''''''''''">
              <a:rPr lang="en-US" altLang="en-US" sz="1200" smtClean="0">
                <a:latin typeface="Calibri" panose="020F0502020204030204" pitchFamily="34" charset="0"/>
                <a:cs typeface="+mn-cs"/>
              </a:rPr>
              <a:pPr>
                <a:spcBef>
                  <a:spcPct val="0"/>
                </a:spcBef>
                <a:spcAft>
                  <a:spcPct val="0"/>
                </a:spcAft>
              </a:pPr>
              <a:t>37.6</a:t>
            </a:fld>
            <a:endParaRPr lang="en-US" sz="1200" dirty="0">
              <a:latin typeface="Calibri" panose="020F0502020204030204" pitchFamily="34" charset="0"/>
              <a:cs typeface="+mn-cs"/>
            </a:endParaRPr>
          </a:p>
        </p:txBody>
      </p:sp>
      <p:sp useBgFill="1">
        <p:nvSpPr>
          <p:cNvPr id="155" name="Text Placeholder 4">
            <a:extLst>
              <a:ext uri="{FF2B5EF4-FFF2-40B4-BE49-F238E27FC236}">
                <a16:creationId xmlns:a16="http://schemas.microsoft.com/office/drawing/2014/main" id="{F7C078E3-D3FC-78AF-C401-D40D6C55BEFD}"/>
              </a:ext>
            </a:extLst>
          </p:cNvPr>
          <p:cNvSpPr txBox="1">
            <a:spLocks/>
          </p:cNvSpPr>
          <p:nvPr>
            <p:custDataLst>
              <p:tags r:id="rId28"/>
            </p:custDataLst>
          </p:nvPr>
        </p:nvSpPr>
        <p:spPr bwMode="gray">
          <a:xfrm>
            <a:off x="3995738" y="5614988"/>
            <a:ext cx="366713" cy="212725"/>
          </a:xfrm>
          <a:prstGeom prst="rect">
            <a:avLst/>
          </a:prstGeom>
          <a:ln>
            <a:noFill/>
          </a:ln>
          <a:effec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D468367A-144F-4D68-B0CF-44CD65BAA7A9}" type="datetime'''''''''''''''''''''1''''''''7''''''''''''''''''''''.3'''''''">
              <a:rPr lang="en-US" altLang="en-US" sz="1200" smtClean="0">
                <a:effectLst/>
                <a:latin typeface="Calibri" panose="020F0502020204030204" pitchFamily="34" charset="0"/>
                <a:cs typeface="+mn-cs"/>
              </a:rPr>
              <a:pPr>
                <a:spcBef>
                  <a:spcPct val="0"/>
                </a:spcBef>
                <a:spcAft>
                  <a:spcPct val="0"/>
                </a:spcAft>
              </a:pPr>
              <a:t>17.3</a:t>
            </a:fld>
            <a:endParaRPr lang="en-US" sz="1200" dirty="0">
              <a:latin typeface="Calibri" panose="020F0502020204030204" pitchFamily="34" charset="0"/>
              <a:cs typeface="+mn-cs"/>
            </a:endParaRPr>
          </a:p>
        </p:txBody>
      </p:sp>
      <p:sp>
        <p:nvSpPr>
          <p:cNvPr id="182" name="Text Placeholder 4">
            <a:extLst>
              <a:ext uri="{FF2B5EF4-FFF2-40B4-BE49-F238E27FC236}">
                <a16:creationId xmlns:a16="http://schemas.microsoft.com/office/drawing/2014/main" id="{B42EBB67-D069-B8C6-3F85-A824A02AAFD8}"/>
              </a:ext>
            </a:extLst>
          </p:cNvPr>
          <p:cNvSpPr txBox="1">
            <a:spLocks/>
          </p:cNvSpPr>
          <p:nvPr>
            <p:custDataLst>
              <p:tags r:id="rId29"/>
            </p:custDataLst>
          </p:nvPr>
        </p:nvSpPr>
        <p:spPr bwMode="gray">
          <a:xfrm>
            <a:off x="3990975" y="5781675"/>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665753CF-BE98-4136-9D0D-DF0D27915E5D}" type="datetime'1''''''''''''7.''''''''''''''''''''''''''''3'''''''''">
              <a:rPr lang="en-US" altLang="en-US" sz="1200" smtClean="0">
                <a:effectLst/>
                <a:latin typeface="Calibri" panose="020F0502020204030204" pitchFamily="34" charset="0"/>
                <a:cs typeface="+mn-cs"/>
              </a:rPr>
              <a:pPr>
                <a:spcBef>
                  <a:spcPct val="0"/>
                </a:spcBef>
                <a:spcAft>
                  <a:spcPct val="0"/>
                </a:spcAft>
              </a:pPr>
              <a:t>17.3</a:t>
            </a:fld>
            <a:endParaRPr lang="en-US" sz="1200" dirty="0">
              <a:latin typeface="Calibri" panose="020F0502020204030204" pitchFamily="34" charset="0"/>
              <a:cs typeface="+mn-cs"/>
            </a:endParaRPr>
          </a:p>
        </p:txBody>
      </p:sp>
      <p:sp>
        <p:nvSpPr>
          <p:cNvPr id="183" name="Text Placeholder 4">
            <a:extLst>
              <a:ext uri="{FF2B5EF4-FFF2-40B4-BE49-F238E27FC236}">
                <a16:creationId xmlns:a16="http://schemas.microsoft.com/office/drawing/2014/main" id="{F74B543A-3CB4-5D10-F02A-6BB5562EDDC5}"/>
              </a:ext>
            </a:extLst>
          </p:cNvPr>
          <p:cNvSpPr txBox="1">
            <a:spLocks/>
          </p:cNvSpPr>
          <p:nvPr>
            <p:custDataLst>
              <p:tags r:id="rId30"/>
            </p:custDataLst>
          </p:nvPr>
        </p:nvSpPr>
        <p:spPr bwMode="gray">
          <a:xfrm>
            <a:off x="3281363" y="5902325"/>
            <a:ext cx="276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D3F4A5E9-9D86-462E-BDBB-007D25F1C5B1}" type="datetime'''''''''''''''''''''''''''''''''''''''''9''''.''''''3'''''">
              <a:rPr lang="en-US" altLang="en-US" sz="1200" smtClean="0">
                <a:effectLst/>
                <a:latin typeface="Calibri" panose="020F0502020204030204" pitchFamily="34" charset="0"/>
                <a:cs typeface="+mn-cs"/>
              </a:rPr>
              <a:pPr>
                <a:spcBef>
                  <a:spcPct val="0"/>
                </a:spcBef>
                <a:spcAft>
                  <a:spcPct val="0"/>
                </a:spcAft>
              </a:pPr>
              <a:t>9.3</a:t>
            </a:fld>
            <a:endParaRPr lang="en-US" sz="1200" dirty="0">
              <a:latin typeface="Calibri" panose="020F0502020204030204" pitchFamily="34" charset="0"/>
              <a:cs typeface="+mn-cs"/>
            </a:endParaRPr>
          </a:p>
        </p:txBody>
      </p:sp>
      <p:sp>
        <p:nvSpPr>
          <p:cNvPr id="184" name="Text Placeholder 4">
            <a:extLst>
              <a:ext uri="{FF2B5EF4-FFF2-40B4-BE49-F238E27FC236}">
                <a16:creationId xmlns:a16="http://schemas.microsoft.com/office/drawing/2014/main" id="{A436466D-BC2A-402E-9A61-038A8EA8DBCD}"/>
              </a:ext>
            </a:extLst>
          </p:cNvPr>
          <p:cNvSpPr txBox="1">
            <a:spLocks/>
          </p:cNvSpPr>
          <p:nvPr>
            <p:custDataLst>
              <p:tags r:id="rId31"/>
            </p:custDataLst>
          </p:nvPr>
        </p:nvSpPr>
        <p:spPr bwMode="gray">
          <a:xfrm>
            <a:off x="3294063" y="6057900"/>
            <a:ext cx="276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B3BF1201-9D6A-4FE5-A7FE-987448841525}" type="datetime'''9.''5'''''">
              <a:rPr lang="en-US" altLang="en-US" sz="1200" smtClean="0">
                <a:effectLst/>
                <a:latin typeface="Calibri" panose="020F0502020204030204" pitchFamily="34" charset="0"/>
                <a:cs typeface="+mn-cs"/>
              </a:rPr>
              <a:pPr>
                <a:spcBef>
                  <a:spcPct val="0"/>
                </a:spcBef>
                <a:spcAft>
                  <a:spcPct val="0"/>
                </a:spcAft>
              </a:pPr>
              <a:t>9.5</a:t>
            </a:fld>
            <a:endParaRPr lang="en-US" sz="1200" dirty="0">
              <a:latin typeface="Calibri" panose="020F0502020204030204" pitchFamily="34" charset="0"/>
              <a:cs typeface="+mn-cs"/>
            </a:endParaRPr>
          </a:p>
        </p:txBody>
      </p:sp>
      <p:sp>
        <p:nvSpPr>
          <p:cNvPr id="73" name="Subtitle 1">
            <a:extLst>
              <a:ext uri="{FF2B5EF4-FFF2-40B4-BE49-F238E27FC236}">
                <a16:creationId xmlns:a16="http://schemas.microsoft.com/office/drawing/2014/main" id="{F5F8228A-78C2-168F-2516-72B6833E8210}"/>
              </a:ext>
            </a:extLst>
          </p:cNvPr>
          <p:cNvSpPr txBox="1">
            <a:spLocks/>
          </p:cNvSpPr>
          <p:nvPr/>
        </p:nvSpPr>
        <p:spPr>
          <a:xfrm>
            <a:off x="554736" y="3800475"/>
            <a:ext cx="7918704" cy="24606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1400" dirty="0">
                <a:latin typeface="Calibri" panose="020F0502020204030204" pitchFamily="34" charset="0"/>
              </a:rPr>
              <a:t>Chronic conditions: top 5 by PMPY</a:t>
            </a:r>
            <a:r>
              <a:rPr lang="en-US" sz="1400" baseline="30000" dirty="0">
                <a:latin typeface="Calibri" panose="020F0502020204030204" pitchFamily="34" charset="0"/>
              </a:rPr>
              <a:t>4</a:t>
            </a:r>
            <a:r>
              <a:rPr lang="en-US" sz="1400" dirty="0">
                <a:latin typeface="Calibri" panose="020F0502020204030204" pitchFamily="34" charset="0"/>
              </a:rPr>
              <a:t> gap Rural vs. Urban, USDK</a:t>
            </a:r>
          </a:p>
        </p:txBody>
      </p:sp>
      <p:sp>
        <p:nvSpPr>
          <p:cNvPr id="74" name="TextBox 73">
            <a:extLst>
              <a:ext uri="{FF2B5EF4-FFF2-40B4-BE49-F238E27FC236}">
                <a16:creationId xmlns:a16="http://schemas.microsoft.com/office/drawing/2014/main" id="{90F90548-0986-35ED-73FD-CA7E0227D073}"/>
              </a:ext>
            </a:extLst>
          </p:cNvPr>
          <p:cNvSpPr txBox="1">
            <a:spLocks/>
          </p:cNvSpPr>
          <p:nvPr>
            <p:custDataLst>
              <p:tags r:id="rId32"/>
            </p:custDataLst>
          </p:nvPr>
        </p:nvSpPr>
        <p:spPr>
          <a:xfrm>
            <a:off x="2409825" y="4111625"/>
            <a:ext cx="2965450" cy="21590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MPY, USDK</a:t>
            </a:r>
          </a:p>
        </p:txBody>
      </p:sp>
      <p:sp>
        <p:nvSpPr>
          <p:cNvPr id="80" name="TextBox 79">
            <a:extLst>
              <a:ext uri="{FF2B5EF4-FFF2-40B4-BE49-F238E27FC236}">
                <a16:creationId xmlns:a16="http://schemas.microsoft.com/office/drawing/2014/main" id="{92B8A822-6142-B81C-F3A9-E0A86688FBA6}"/>
              </a:ext>
            </a:extLst>
          </p:cNvPr>
          <p:cNvSpPr txBox="1">
            <a:spLocks/>
          </p:cNvSpPr>
          <p:nvPr>
            <p:custDataLst>
              <p:tags r:id="rId33"/>
            </p:custDataLst>
          </p:nvPr>
        </p:nvSpPr>
        <p:spPr>
          <a:xfrm>
            <a:off x="5371755" y="4111625"/>
            <a:ext cx="1618449" cy="21590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MPY diff</a:t>
            </a:r>
          </a:p>
        </p:txBody>
      </p:sp>
      <p:grpSp>
        <p:nvGrpSpPr>
          <p:cNvPr id="47" name="Group 46">
            <a:extLst>
              <a:ext uri="{FF2B5EF4-FFF2-40B4-BE49-F238E27FC236}">
                <a16:creationId xmlns:a16="http://schemas.microsoft.com/office/drawing/2014/main" id="{78085660-FDBC-72AC-0BBF-FBD6D783D9AE}"/>
              </a:ext>
            </a:extLst>
          </p:cNvPr>
          <p:cNvGrpSpPr/>
          <p:nvPr/>
        </p:nvGrpSpPr>
        <p:grpSpPr>
          <a:xfrm>
            <a:off x="5371755" y="1816100"/>
            <a:ext cx="3101685" cy="215900"/>
            <a:chOff x="5371755" y="1771650"/>
            <a:chExt cx="3101685" cy="215900"/>
          </a:xfrm>
        </p:grpSpPr>
        <p:sp>
          <p:nvSpPr>
            <p:cNvPr id="128" name="TextBox 127">
              <a:extLst>
                <a:ext uri="{FF2B5EF4-FFF2-40B4-BE49-F238E27FC236}">
                  <a16:creationId xmlns:a16="http://schemas.microsoft.com/office/drawing/2014/main" id="{04C42E33-53C9-00D9-A3F7-423E7E55156A}"/>
                </a:ext>
              </a:extLst>
            </p:cNvPr>
            <p:cNvSpPr txBox="1">
              <a:spLocks/>
            </p:cNvSpPr>
            <p:nvPr>
              <p:custDataLst>
                <p:tags r:id="rId97"/>
              </p:custDataLst>
            </p:nvPr>
          </p:nvSpPr>
          <p:spPr>
            <a:xfrm>
              <a:off x="5371755" y="1771650"/>
              <a:ext cx="1618449"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3 p.p.</a:t>
              </a:r>
            </a:p>
          </p:txBody>
        </p:sp>
        <p:sp>
          <p:nvSpPr>
            <p:cNvPr id="162" name="TextBox 161">
              <a:extLst>
                <a:ext uri="{FF2B5EF4-FFF2-40B4-BE49-F238E27FC236}">
                  <a16:creationId xmlns:a16="http://schemas.microsoft.com/office/drawing/2014/main" id="{A4FF968B-405D-2351-CAEA-63AFF2FFB7CC}"/>
                </a:ext>
              </a:extLst>
            </p:cNvPr>
            <p:cNvSpPr txBox="1">
              <a:spLocks/>
            </p:cNvSpPr>
            <p:nvPr>
              <p:custDataLst>
                <p:tags r:id="rId98"/>
              </p:custDataLst>
            </p:nvPr>
          </p:nvSpPr>
          <p:spPr>
            <a:xfrm>
              <a:off x="7138716" y="1771650"/>
              <a:ext cx="1334724"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21.2%</a:t>
              </a:r>
            </a:p>
          </p:txBody>
        </p:sp>
      </p:grpSp>
      <p:grpSp>
        <p:nvGrpSpPr>
          <p:cNvPr id="48" name="Group 47">
            <a:extLst>
              <a:ext uri="{FF2B5EF4-FFF2-40B4-BE49-F238E27FC236}">
                <a16:creationId xmlns:a16="http://schemas.microsoft.com/office/drawing/2014/main" id="{1B26EC26-172A-0BEF-AC18-C86A02C57A66}"/>
              </a:ext>
            </a:extLst>
          </p:cNvPr>
          <p:cNvGrpSpPr/>
          <p:nvPr/>
        </p:nvGrpSpPr>
        <p:grpSpPr>
          <a:xfrm>
            <a:off x="5371755" y="2138363"/>
            <a:ext cx="3101685" cy="215900"/>
            <a:chOff x="5371755" y="2070100"/>
            <a:chExt cx="3101685" cy="215900"/>
          </a:xfrm>
        </p:grpSpPr>
        <p:sp>
          <p:nvSpPr>
            <p:cNvPr id="129" name="TextBox 128">
              <a:extLst>
                <a:ext uri="{FF2B5EF4-FFF2-40B4-BE49-F238E27FC236}">
                  <a16:creationId xmlns:a16="http://schemas.microsoft.com/office/drawing/2014/main" id="{BD122F9D-88E3-B1A6-2C24-66C9B6F0F516}"/>
                </a:ext>
              </a:extLst>
            </p:cNvPr>
            <p:cNvSpPr txBox="1">
              <a:spLocks/>
            </p:cNvSpPr>
            <p:nvPr>
              <p:custDataLst>
                <p:tags r:id="rId95"/>
              </p:custDataLst>
            </p:nvPr>
          </p:nvSpPr>
          <p:spPr>
            <a:xfrm>
              <a:off x="5371755" y="2070100"/>
              <a:ext cx="1618449"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8 p.p.</a:t>
              </a:r>
            </a:p>
          </p:txBody>
        </p:sp>
        <p:sp>
          <p:nvSpPr>
            <p:cNvPr id="163" name="TextBox 162">
              <a:extLst>
                <a:ext uri="{FF2B5EF4-FFF2-40B4-BE49-F238E27FC236}">
                  <a16:creationId xmlns:a16="http://schemas.microsoft.com/office/drawing/2014/main" id="{2F27C5FC-431A-99FB-EAC4-70A3B0C944B4}"/>
                </a:ext>
              </a:extLst>
            </p:cNvPr>
            <p:cNvSpPr txBox="1">
              <a:spLocks/>
            </p:cNvSpPr>
            <p:nvPr>
              <p:custDataLst>
                <p:tags r:id="rId96"/>
              </p:custDataLst>
            </p:nvPr>
          </p:nvSpPr>
          <p:spPr>
            <a:xfrm>
              <a:off x="7138716" y="2070100"/>
              <a:ext cx="1334724"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21.0%</a:t>
              </a:r>
            </a:p>
          </p:txBody>
        </p:sp>
      </p:grpSp>
      <p:grpSp>
        <p:nvGrpSpPr>
          <p:cNvPr id="49" name="Group 48">
            <a:extLst>
              <a:ext uri="{FF2B5EF4-FFF2-40B4-BE49-F238E27FC236}">
                <a16:creationId xmlns:a16="http://schemas.microsoft.com/office/drawing/2014/main" id="{0A2F37ED-9790-1ACA-2C79-B73B0DBBC311}"/>
              </a:ext>
            </a:extLst>
          </p:cNvPr>
          <p:cNvGrpSpPr/>
          <p:nvPr/>
        </p:nvGrpSpPr>
        <p:grpSpPr>
          <a:xfrm>
            <a:off x="5371755" y="2452688"/>
            <a:ext cx="3101685" cy="215900"/>
            <a:chOff x="5371755" y="2360613"/>
            <a:chExt cx="3101685" cy="215900"/>
          </a:xfrm>
        </p:grpSpPr>
        <p:sp>
          <p:nvSpPr>
            <p:cNvPr id="130" name="TextBox 129">
              <a:extLst>
                <a:ext uri="{FF2B5EF4-FFF2-40B4-BE49-F238E27FC236}">
                  <a16:creationId xmlns:a16="http://schemas.microsoft.com/office/drawing/2014/main" id="{9F9A41D3-38F9-6C6A-959D-1448752817BE}"/>
                </a:ext>
              </a:extLst>
            </p:cNvPr>
            <p:cNvSpPr txBox="1">
              <a:spLocks/>
            </p:cNvSpPr>
            <p:nvPr>
              <p:custDataLst>
                <p:tags r:id="rId93"/>
              </p:custDataLst>
            </p:nvPr>
          </p:nvSpPr>
          <p:spPr>
            <a:xfrm>
              <a:off x="5371755" y="2360613"/>
              <a:ext cx="1618449"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1 p.p.</a:t>
              </a:r>
            </a:p>
          </p:txBody>
        </p:sp>
        <p:sp>
          <p:nvSpPr>
            <p:cNvPr id="164" name="TextBox 163">
              <a:extLst>
                <a:ext uri="{FF2B5EF4-FFF2-40B4-BE49-F238E27FC236}">
                  <a16:creationId xmlns:a16="http://schemas.microsoft.com/office/drawing/2014/main" id="{CAB0AE88-F2AD-D74C-0DF9-AA62CC5891A8}"/>
                </a:ext>
              </a:extLst>
            </p:cNvPr>
            <p:cNvSpPr txBox="1">
              <a:spLocks/>
            </p:cNvSpPr>
            <p:nvPr>
              <p:custDataLst>
                <p:tags r:id="rId94"/>
              </p:custDataLst>
            </p:nvPr>
          </p:nvSpPr>
          <p:spPr>
            <a:xfrm>
              <a:off x="7138716" y="2360613"/>
              <a:ext cx="1334724"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6.4%</a:t>
              </a:r>
            </a:p>
          </p:txBody>
        </p:sp>
      </p:grpSp>
      <p:grpSp>
        <p:nvGrpSpPr>
          <p:cNvPr id="50" name="Group 49">
            <a:extLst>
              <a:ext uri="{FF2B5EF4-FFF2-40B4-BE49-F238E27FC236}">
                <a16:creationId xmlns:a16="http://schemas.microsoft.com/office/drawing/2014/main" id="{8E667752-DF72-E756-33C9-038ED7F014C2}"/>
              </a:ext>
            </a:extLst>
          </p:cNvPr>
          <p:cNvGrpSpPr/>
          <p:nvPr/>
        </p:nvGrpSpPr>
        <p:grpSpPr>
          <a:xfrm>
            <a:off x="5371755" y="2765425"/>
            <a:ext cx="3101685" cy="215900"/>
            <a:chOff x="5371755" y="2643188"/>
            <a:chExt cx="3101685" cy="215900"/>
          </a:xfrm>
        </p:grpSpPr>
        <p:sp>
          <p:nvSpPr>
            <p:cNvPr id="131" name="TextBox 130">
              <a:extLst>
                <a:ext uri="{FF2B5EF4-FFF2-40B4-BE49-F238E27FC236}">
                  <a16:creationId xmlns:a16="http://schemas.microsoft.com/office/drawing/2014/main" id="{69A844BF-34BB-809A-CD92-1CEA794F66B4}"/>
                </a:ext>
              </a:extLst>
            </p:cNvPr>
            <p:cNvSpPr txBox="1">
              <a:spLocks/>
            </p:cNvSpPr>
            <p:nvPr>
              <p:custDataLst>
                <p:tags r:id="rId91"/>
              </p:custDataLst>
            </p:nvPr>
          </p:nvSpPr>
          <p:spPr>
            <a:xfrm>
              <a:off x="5371755" y="2643188"/>
              <a:ext cx="1618449"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0.8 p.p.</a:t>
              </a:r>
            </a:p>
          </p:txBody>
        </p:sp>
        <p:sp>
          <p:nvSpPr>
            <p:cNvPr id="165" name="TextBox 164">
              <a:extLst>
                <a:ext uri="{FF2B5EF4-FFF2-40B4-BE49-F238E27FC236}">
                  <a16:creationId xmlns:a16="http://schemas.microsoft.com/office/drawing/2014/main" id="{CC177E82-AF1E-E247-476E-049509B3D6A3}"/>
                </a:ext>
              </a:extLst>
            </p:cNvPr>
            <p:cNvSpPr txBox="1">
              <a:spLocks/>
            </p:cNvSpPr>
            <p:nvPr>
              <p:custDataLst>
                <p:tags r:id="rId92"/>
              </p:custDataLst>
            </p:nvPr>
          </p:nvSpPr>
          <p:spPr>
            <a:xfrm>
              <a:off x="7138716" y="2643188"/>
              <a:ext cx="1334724"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4.6%</a:t>
              </a:r>
            </a:p>
          </p:txBody>
        </p:sp>
      </p:grpSp>
      <p:grpSp>
        <p:nvGrpSpPr>
          <p:cNvPr id="51" name="Group 50">
            <a:extLst>
              <a:ext uri="{FF2B5EF4-FFF2-40B4-BE49-F238E27FC236}">
                <a16:creationId xmlns:a16="http://schemas.microsoft.com/office/drawing/2014/main" id="{F9BAA424-C5F6-E90E-162D-18BE169852A3}"/>
              </a:ext>
            </a:extLst>
          </p:cNvPr>
          <p:cNvGrpSpPr/>
          <p:nvPr/>
        </p:nvGrpSpPr>
        <p:grpSpPr>
          <a:xfrm>
            <a:off x="5371755" y="3079750"/>
            <a:ext cx="3101685" cy="215900"/>
            <a:chOff x="5371755" y="2925763"/>
            <a:chExt cx="3101685" cy="215900"/>
          </a:xfrm>
        </p:grpSpPr>
        <p:sp>
          <p:nvSpPr>
            <p:cNvPr id="132" name="TextBox 131">
              <a:extLst>
                <a:ext uri="{FF2B5EF4-FFF2-40B4-BE49-F238E27FC236}">
                  <a16:creationId xmlns:a16="http://schemas.microsoft.com/office/drawing/2014/main" id="{6C7F4246-7AF2-9416-F981-FAB9253B578E}"/>
                </a:ext>
              </a:extLst>
            </p:cNvPr>
            <p:cNvSpPr txBox="1">
              <a:spLocks/>
            </p:cNvSpPr>
            <p:nvPr>
              <p:custDataLst>
                <p:tags r:id="rId89"/>
              </p:custDataLst>
            </p:nvPr>
          </p:nvSpPr>
          <p:spPr>
            <a:xfrm>
              <a:off x="5371755" y="2925763"/>
              <a:ext cx="1618449"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3 p.p.</a:t>
              </a:r>
            </a:p>
          </p:txBody>
        </p:sp>
        <p:sp>
          <p:nvSpPr>
            <p:cNvPr id="166" name="TextBox 165">
              <a:extLst>
                <a:ext uri="{FF2B5EF4-FFF2-40B4-BE49-F238E27FC236}">
                  <a16:creationId xmlns:a16="http://schemas.microsoft.com/office/drawing/2014/main" id="{3812A850-F8E5-39BE-1DC8-9E9219122C87}"/>
                </a:ext>
              </a:extLst>
            </p:cNvPr>
            <p:cNvSpPr txBox="1">
              <a:spLocks/>
            </p:cNvSpPr>
            <p:nvPr>
              <p:custDataLst>
                <p:tags r:id="rId90"/>
              </p:custDataLst>
            </p:nvPr>
          </p:nvSpPr>
          <p:spPr>
            <a:xfrm>
              <a:off x="7138716" y="2925763"/>
              <a:ext cx="1334724"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2.9%</a:t>
              </a:r>
            </a:p>
          </p:txBody>
        </p:sp>
      </p:grpSp>
      <p:grpSp>
        <p:nvGrpSpPr>
          <p:cNvPr id="46" name="Group 45">
            <a:extLst>
              <a:ext uri="{FF2B5EF4-FFF2-40B4-BE49-F238E27FC236}">
                <a16:creationId xmlns:a16="http://schemas.microsoft.com/office/drawing/2014/main" id="{D55F13FC-109E-B068-CD9B-FCC9F535BC71}"/>
              </a:ext>
            </a:extLst>
          </p:cNvPr>
          <p:cNvGrpSpPr/>
          <p:nvPr/>
        </p:nvGrpSpPr>
        <p:grpSpPr>
          <a:xfrm>
            <a:off x="5371755" y="3392488"/>
            <a:ext cx="3101685" cy="215900"/>
            <a:chOff x="5371755" y="3287713"/>
            <a:chExt cx="3101685" cy="215900"/>
          </a:xfrm>
        </p:grpSpPr>
        <p:sp>
          <p:nvSpPr>
            <p:cNvPr id="192" name="TextBox 191">
              <a:extLst>
                <a:ext uri="{FF2B5EF4-FFF2-40B4-BE49-F238E27FC236}">
                  <a16:creationId xmlns:a16="http://schemas.microsoft.com/office/drawing/2014/main" id="{162C0791-0FEA-8542-5646-7D602BD8261C}"/>
                </a:ext>
              </a:extLst>
            </p:cNvPr>
            <p:cNvSpPr txBox="1">
              <a:spLocks/>
            </p:cNvSpPr>
            <p:nvPr>
              <p:custDataLst>
                <p:tags r:id="rId87"/>
              </p:custDataLst>
            </p:nvPr>
          </p:nvSpPr>
          <p:spPr>
            <a:xfrm>
              <a:off x="5371755" y="3287713"/>
              <a:ext cx="1618449"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3.0 p.p.</a:t>
              </a:r>
            </a:p>
          </p:txBody>
        </p:sp>
        <p:sp>
          <p:nvSpPr>
            <p:cNvPr id="193" name="TextBox 192">
              <a:extLst>
                <a:ext uri="{FF2B5EF4-FFF2-40B4-BE49-F238E27FC236}">
                  <a16:creationId xmlns:a16="http://schemas.microsoft.com/office/drawing/2014/main" id="{BE467D64-2179-ECAD-D1E2-0413FC0CF3E1}"/>
                </a:ext>
              </a:extLst>
            </p:cNvPr>
            <p:cNvSpPr txBox="1">
              <a:spLocks/>
            </p:cNvSpPr>
            <p:nvPr>
              <p:custDataLst>
                <p:tags r:id="rId88"/>
              </p:custDataLst>
            </p:nvPr>
          </p:nvSpPr>
          <p:spPr>
            <a:xfrm>
              <a:off x="7138716" y="3287713"/>
              <a:ext cx="1334724"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5.7%</a:t>
              </a:r>
            </a:p>
          </p:txBody>
        </p:sp>
      </p:grpSp>
      <p:sp>
        <p:nvSpPr>
          <p:cNvPr id="81" name="TextBox 80">
            <a:extLst>
              <a:ext uri="{FF2B5EF4-FFF2-40B4-BE49-F238E27FC236}">
                <a16:creationId xmlns:a16="http://schemas.microsoft.com/office/drawing/2014/main" id="{CBB04642-F4F3-811E-0BAD-2B6A427D909A}"/>
              </a:ext>
            </a:extLst>
          </p:cNvPr>
          <p:cNvSpPr txBox="1">
            <a:spLocks/>
          </p:cNvSpPr>
          <p:nvPr>
            <p:custDataLst>
              <p:tags r:id="rId34"/>
            </p:custDataLst>
          </p:nvPr>
        </p:nvSpPr>
        <p:spPr>
          <a:xfrm>
            <a:off x="7138716" y="4111625"/>
            <a:ext cx="1334724"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MPY gap, %</a:t>
            </a:r>
          </a:p>
        </p:txBody>
      </p:sp>
      <p:grpSp>
        <p:nvGrpSpPr>
          <p:cNvPr id="63" name="Group 62">
            <a:extLst>
              <a:ext uri="{FF2B5EF4-FFF2-40B4-BE49-F238E27FC236}">
                <a16:creationId xmlns:a16="http://schemas.microsoft.com/office/drawing/2014/main" id="{E4DB98FD-5EC4-9864-7040-F142A2A126D9}"/>
              </a:ext>
            </a:extLst>
          </p:cNvPr>
          <p:cNvGrpSpPr/>
          <p:nvPr/>
        </p:nvGrpSpPr>
        <p:grpSpPr>
          <a:xfrm>
            <a:off x="5371755" y="4427538"/>
            <a:ext cx="3101685" cy="215900"/>
            <a:chOff x="5371755" y="4546600"/>
            <a:chExt cx="3101685" cy="215444"/>
          </a:xfrm>
        </p:grpSpPr>
        <p:sp>
          <p:nvSpPr>
            <p:cNvPr id="82" name="TextBox 81">
              <a:extLst>
                <a:ext uri="{FF2B5EF4-FFF2-40B4-BE49-F238E27FC236}">
                  <a16:creationId xmlns:a16="http://schemas.microsoft.com/office/drawing/2014/main" id="{9B923A1F-2C2D-3DC7-AC1F-8930E63801DE}"/>
                </a:ext>
              </a:extLst>
            </p:cNvPr>
            <p:cNvSpPr txBox="1">
              <a:spLocks/>
            </p:cNvSpPr>
            <p:nvPr>
              <p:custDataLst>
                <p:tags r:id="rId85"/>
              </p:custDataLst>
            </p:nvPr>
          </p:nvSpPr>
          <p:spPr>
            <a:xfrm>
              <a:off x="5371755" y="4546600"/>
              <a:ext cx="1618449"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 $3,244 </a:t>
              </a:r>
            </a:p>
          </p:txBody>
        </p:sp>
        <p:sp>
          <p:nvSpPr>
            <p:cNvPr id="88" name="TextBox 87">
              <a:extLst>
                <a:ext uri="{FF2B5EF4-FFF2-40B4-BE49-F238E27FC236}">
                  <a16:creationId xmlns:a16="http://schemas.microsoft.com/office/drawing/2014/main" id="{A8BCF054-5C10-563A-CF3B-0C654B716BC5}"/>
                </a:ext>
              </a:extLst>
            </p:cNvPr>
            <p:cNvSpPr txBox="1">
              <a:spLocks/>
            </p:cNvSpPr>
            <p:nvPr>
              <p:custDataLst>
                <p:tags r:id="rId86"/>
              </p:custDataLst>
            </p:nvPr>
          </p:nvSpPr>
          <p:spPr>
            <a:xfrm>
              <a:off x="7138716" y="4546600"/>
              <a:ext cx="1334724"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8.2%</a:t>
              </a:r>
            </a:p>
          </p:txBody>
        </p:sp>
      </p:grpSp>
      <p:grpSp>
        <p:nvGrpSpPr>
          <p:cNvPr id="66" name="Group 65">
            <a:extLst>
              <a:ext uri="{FF2B5EF4-FFF2-40B4-BE49-F238E27FC236}">
                <a16:creationId xmlns:a16="http://schemas.microsoft.com/office/drawing/2014/main" id="{5C384037-38AC-387B-B8B7-6590871E7A1C}"/>
              </a:ext>
            </a:extLst>
          </p:cNvPr>
          <p:cNvGrpSpPr/>
          <p:nvPr/>
        </p:nvGrpSpPr>
        <p:grpSpPr>
          <a:xfrm>
            <a:off x="5371755" y="4740275"/>
            <a:ext cx="3101685" cy="215900"/>
            <a:chOff x="5371755" y="4845050"/>
            <a:chExt cx="3101685" cy="215444"/>
          </a:xfrm>
        </p:grpSpPr>
        <p:sp>
          <p:nvSpPr>
            <p:cNvPr id="83" name="TextBox 82">
              <a:extLst>
                <a:ext uri="{FF2B5EF4-FFF2-40B4-BE49-F238E27FC236}">
                  <a16:creationId xmlns:a16="http://schemas.microsoft.com/office/drawing/2014/main" id="{80AA22D5-338D-2F67-4043-9B4B6F4EEA40}"/>
                </a:ext>
              </a:extLst>
            </p:cNvPr>
            <p:cNvSpPr txBox="1">
              <a:spLocks/>
            </p:cNvSpPr>
            <p:nvPr>
              <p:custDataLst>
                <p:tags r:id="rId83"/>
              </p:custDataLst>
            </p:nvPr>
          </p:nvSpPr>
          <p:spPr>
            <a:xfrm>
              <a:off x="5371755" y="4845050"/>
              <a:ext cx="1618449"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 $773 </a:t>
              </a:r>
            </a:p>
          </p:txBody>
        </p:sp>
        <p:sp>
          <p:nvSpPr>
            <p:cNvPr id="89" name="TextBox 88">
              <a:extLst>
                <a:ext uri="{FF2B5EF4-FFF2-40B4-BE49-F238E27FC236}">
                  <a16:creationId xmlns:a16="http://schemas.microsoft.com/office/drawing/2014/main" id="{DDB5C9F5-E8C2-0039-34E2-EA033F8E021B}"/>
                </a:ext>
              </a:extLst>
            </p:cNvPr>
            <p:cNvSpPr txBox="1">
              <a:spLocks/>
            </p:cNvSpPr>
            <p:nvPr>
              <p:custDataLst>
                <p:tags r:id="rId84"/>
              </p:custDataLst>
            </p:nvPr>
          </p:nvSpPr>
          <p:spPr>
            <a:xfrm>
              <a:off x="7138716" y="4845050"/>
              <a:ext cx="1334724"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6.1%</a:t>
              </a:r>
            </a:p>
          </p:txBody>
        </p:sp>
      </p:grpSp>
      <p:grpSp>
        <p:nvGrpSpPr>
          <p:cNvPr id="67" name="Group 66">
            <a:extLst>
              <a:ext uri="{FF2B5EF4-FFF2-40B4-BE49-F238E27FC236}">
                <a16:creationId xmlns:a16="http://schemas.microsoft.com/office/drawing/2014/main" id="{D8CBCE4F-9E0B-7D99-2F60-3118A9E30041}"/>
              </a:ext>
            </a:extLst>
          </p:cNvPr>
          <p:cNvGrpSpPr/>
          <p:nvPr/>
        </p:nvGrpSpPr>
        <p:grpSpPr>
          <a:xfrm>
            <a:off x="5371755" y="5053013"/>
            <a:ext cx="3101685" cy="215900"/>
            <a:chOff x="5371755" y="5135563"/>
            <a:chExt cx="3101685" cy="215444"/>
          </a:xfrm>
        </p:grpSpPr>
        <p:sp>
          <p:nvSpPr>
            <p:cNvPr id="85" name="TextBox 84">
              <a:extLst>
                <a:ext uri="{FF2B5EF4-FFF2-40B4-BE49-F238E27FC236}">
                  <a16:creationId xmlns:a16="http://schemas.microsoft.com/office/drawing/2014/main" id="{CB9F8B10-6FA4-092E-FA36-BD58D19F06C9}"/>
                </a:ext>
              </a:extLst>
            </p:cNvPr>
            <p:cNvSpPr txBox="1">
              <a:spLocks/>
            </p:cNvSpPr>
            <p:nvPr>
              <p:custDataLst>
                <p:tags r:id="rId81"/>
              </p:custDataLst>
            </p:nvPr>
          </p:nvSpPr>
          <p:spPr>
            <a:xfrm>
              <a:off x="5371755" y="5135563"/>
              <a:ext cx="1618449"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 $401 </a:t>
              </a:r>
            </a:p>
          </p:txBody>
        </p:sp>
        <p:sp>
          <p:nvSpPr>
            <p:cNvPr id="90" name="TextBox 89">
              <a:extLst>
                <a:ext uri="{FF2B5EF4-FFF2-40B4-BE49-F238E27FC236}">
                  <a16:creationId xmlns:a16="http://schemas.microsoft.com/office/drawing/2014/main" id="{ECCC95F6-03F5-F40E-7B27-15E0BEE984BD}"/>
                </a:ext>
              </a:extLst>
            </p:cNvPr>
            <p:cNvSpPr txBox="1">
              <a:spLocks/>
            </p:cNvSpPr>
            <p:nvPr>
              <p:custDataLst>
                <p:tags r:id="rId82"/>
              </p:custDataLst>
            </p:nvPr>
          </p:nvSpPr>
          <p:spPr>
            <a:xfrm>
              <a:off x="7138716" y="5135563"/>
              <a:ext cx="1334724"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4.4%</a:t>
              </a:r>
            </a:p>
          </p:txBody>
        </p:sp>
      </p:grpSp>
      <p:grpSp>
        <p:nvGrpSpPr>
          <p:cNvPr id="68" name="Group 67">
            <a:extLst>
              <a:ext uri="{FF2B5EF4-FFF2-40B4-BE49-F238E27FC236}">
                <a16:creationId xmlns:a16="http://schemas.microsoft.com/office/drawing/2014/main" id="{509F2671-E74D-FCCB-B7FA-309489442EC1}"/>
              </a:ext>
            </a:extLst>
          </p:cNvPr>
          <p:cNvGrpSpPr/>
          <p:nvPr/>
        </p:nvGrpSpPr>
        <p:grpSpPr>
          <a:xfrm>
            <a:off x="5371755" y="5365750"/>
            <a:ext cx="3101685" cy="215900"/>
            <a:chOff x="5371755" y="5418138"/>
            <a:chExt cx="3101685" cy="215444"/>
          </a:xfrm>
        </p:grpSpPr>
        <p:sp>
          <p:nvSpPr>
            <p:cNvPr id="86" name="TextBox 85">
              <a:extLst>
                <a:ext uri="{FF2B5EF4-FFF2-40B4-BE49-F238E27FC236}">
                  <a16:creationId xmlns:a16="http://schemas.microsoft.com/office/drawing/2014/main" id="{8B4EC058-2996-137D-6BC4-3A92CF164922}"/>
                </a:ext>
              </a:extLst>
            </p:cNvPr>
            <p:cNvSpPr txBox="1">
              <a:spLocks/>
            </p:cNvSpPr>
            <p:nvPr>
              <p:custDataLst>
                <p:tags r:id="rId79"/>
              </p:custDataLst>
            </p:nvPr>
          </p:nvSpPr>
          <p:spPr>
            <a:xfrm>
              <a:off x="5371755" y="5418138"/>
              <a:ext cx="1618449"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 $1,536 </a:t>
              </a:r>
            </a:p>
          </p:txBody>
        </p:sp>
        <p:sp>
          <p:nvSpPr>
            <p:cNvPr id="91" name="TextBox 90">
              <a:extLst>
                <a:ext uri="{FF2B5EF4-FFF2-40B4-BE49-F238E27FC236}">
                  <a16:creationId xmlns:a16="http://schemas.microsoft.com/office/drawing/2014/main" id="{4191512C-F272-60D5-E0EA-9CF408B5FFCC}"/>
                </a:ext>
              </a:extLst>
            </p:cNvPr>
            <p:cNvSpPr txBox="1">
              <a:spLocks/>
            </p:cNvSpPr>
            <p:nvPr>
              <p:custDataLst>
                <p:tags r:id="rId80"/>
              </p:custDataLst>
            </p:nvPr>
          </p:nvSpPr>
          <p:spPr>
            <a:xfrm>
              <a:off x="7138716" y="5418138"/>
              <a:ext cx="1334724"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4.1%</a:t>
              </a:r>
            </a:p>
          </p:txBody>
        </p:sp>
      </p:grpSp>
      <p:grpSp>
        <p:nvGrpSpPr>
          <p:cNvPr id="69" name="Group 68">
            <a:extLst>
              <a:ext uri="{FF2B5EF4-FFF2-40B4-BE49-F238E27FC236}">
                <a16:creationId xmlns:a16="http://schemas.microsoft.com/office/drawing/2014/main" id="{8C3A54E3-5508-C61A-5B12-CC1B963D782C}"/>
              </a:ext>
            </a:extLst>
          </p:cNvPr>
          <p:cNvGrpSpPr/>
          <p:nvPr/>
        </p:nvGrpSpPr>
        <p:grpSpPr>
          <a:xfrm>
            <a:off x="5371755" y="5678488"/>
            <a:ext cx="3101685" cy="215900"/>
            <a:chOff x="5371755" y="5700713"/>
            <a:chExt cx="3101685" cy="215444"/>
          </a:xfrm>
        </p:grpSpPr>
        <p:sp>
          <p:nvSpPr>
            <p:cNvPr id="87" name="TextBox 86">
              <a:extLst>
                <a:ext uri="{FF2B5EF4-FFF2-40B4-BE49-F238E27FC236}">
                  <a16:creationId xmlns:a16="http://schemas.microsoft.com/office/drawing/2014/main" id="{5BCAC6F1-0C54-D81B-09E2-A374A1DF1600}"/>
                </a:ext>
              </a:extLst>
            </p:cNvPr>
            <p:cNvSpPr txBox="1">
              <a:spLocks/>
            </p:cNvSpPr>
            <p:nvPr>
              <p:custDataLst>
                <p:tags r:id="rId77"/>
              </p:custDataLst>
            </p:nvPr>
          </p:nvSpPr>
          <p:spPr>
            <a:xfrm>
              <a:off x="5371755" y="5700713"/>
              <a:ext cx="1618449"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 $54 </a:t>
              </a:r>
            </a:p>
          </p:txBody>
        </p:sp>
        <p:sp>
          <p:nvSpPr>
            <p:cNvPr id="92" name="TextBox 91">
              <a:extLst>
                <a:ext uri="{FF2B5EF4-FFF2-40B4-BE49-F238E27FC236}">
                  <a16:creationId xmlns:a16="http://schemas.microsoft.com/office/drawing/2014/main" id="{C2527E66-EFD8-9453-D345-017101E20687}"/>
                </a:ext>
              </a:extLst>
            </p:cNvPr>
            <p:cNvSpPr txBox="1">
              <a:spLocks/>
            </p:cNvSpPr>
            <p:nvPr>
              <p:custDataLst>
                <p:tags r:id="rId78"/>
              </p:custDataLst>
            </p:nvPr>
          </p:nvSpPr>
          <p:spPr>
            <a:xfrm>
              <a:off x="7138716" y="5700713"/>
              <a:ext cx="1334724"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0.3%</a:t>
              </a:r>
            </a:p>
          </p:txBody>
        </p:sp>
      </p:grpSp>
      <p:grpSp>
        <p:nvGrpSpPr>
          <p:cNvPr id="62" name="Group 61">
            <a:extLst>
              <a:ext uri="{FF2B5EF4-FFF2-40B4-BE49-F238E27FC236}">
                <a16:creationId xmlns:a16="http://schemas.microsoft.com/office/drawing/2014/main" id="{72AE6DD7-A7AC-7B5C-9EDD-31118B2CADF3}"/>
              </a:ext>
            </a:extLst>
          </p:cNvPr>
          <p:cNvGrpSpPr/>
          <p:nvPr/>
        </p:nvGrpSpPr>
        <p:grpSpPr>
          <a:xfrm>
            <a:off x="5371755" y="5991225"/>
            <a:ext cx="3101685" cy="215900"/>
            <a:chOff x="5371755" y="6062663"/>
            <a:chExt cx="3101685" cy="215444"/>
          </a:xfrm>
        </p:grpSpPr>
        <p:sp>
          <p:nvSpPr>
            <p:cNvPr id="98" name="TextBox 97">
              <a:extLst>
                <a:ext uri="{FF2B5EF4-FFF2-40B4-BE49-F238E27FC236}">
                  <a16:creationId xmlns:a16="http://schemas.microsoft.com/office/drawing/2014/main" id="{0F23C030-DD81-6C0D-9459-54D89186F01A}"/>
                </a:ext>
              </a:extLst>
            </p:cNvPr>
            <p:cNvSpPr txBox="1">
              <a:spLocks/>
            </p:cNvSpPr>
            <p:nvPr>
              <p:custDataLst>
                <p:tags r:id="rId75"/>
              </p:custDataLst>
            </p:nvPr>
          </p:nvSpPr>
          <p:spPr>
            <a:xfrm>
              <a:off x="5371755" y="6062663"/>
              <a:ext cx="1618449"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35$</a:t>
              </a:r>
            </a:p>
          </p:txBody>
        </p:sp>
        <p:sp>
          <p:nvSpPr>
            <p:cNvPr id="99" name="TextBox 98">
              <a:extLst>
                <a:ext uri="{FF2B5EF4-FFF2-40B4-BE49-F238E27FC236}">
                  <a16:creationId xmlns:a16="http://schemas.microsoft.com/office/drawing/2014/main" id="{A75CA903-FE2E-57A0-BE4B-BA5E820FC2E9}"/>
                </a:ext>
              </a:extLst>
            </p:cNvPr>
            <p:cNvSpPr txBox="1">
              <a:spLocks/>
            </p:cNvSpPr>
            <p:nvPr>
              <p:custDataLst>
                <p:tags r:id="rId76"/>
              </p:custDataLst>
            </p:nvPr>
          </p:nvSpPr>
          <p:spPr>
            <a:xfrm>
              <a:off x="7138716" y="6062663"/>
              <a:ext cx="1334724" cy="215444"/>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4%</a:t>
              </a:r>
            </a:p>
          </p:txBody>
        </p:sp>
      </p:grpSp>
      <p:sp>
        <p:nvSpPr>
          <p:cNvPr id="168" name="TextBox 167">
            <a:extLst>
              <a:ext uri="{FF2B5EF4-FFF2-40B4-BE49-F238E27FC236}">
                <a16:creationId xmlns:a16="http://schemas.microsoft.com/office/drawing/2014/main" id="{7D6FE081-B91F-DE48-8E15-402D8F303421}"/>
              </a:ext>
            </a:extLst>
          </p:cNvPr>
          <p:cNvSpPr txBox="1">
            <a:spLocks/>
          </p:cNvSpPr>
          <p:nvPr>
            <p:custDataLst>
              <p:tags r:id="rId35"/>
            </p:custDataLst>
          </p:nvPr>
        </p:nvSpPr>
        <p:spPr>
          <a:xfrm>
            <a:off x="554736" y="1816100"/>
            <a:ext cx="302968"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CNS</a:t>
            </a:r>
            <a:r>
              <a:rPr lang="en-US" sz="1200" baseline="30000" dirty="0">
                <a:latin typeface="Calibri" panose="020F0502020204030204" pitchFamily="34" charset="0"/>
              </a:rPr>
              <a:t>1</a:t>
            </a:r>
            <a:endParaRPr lang="en-US" sz="1200" dirty="0">
              <a:latin typeface="Calibri" panose="020F0502020204030204" pitchFamily="34" charset="0"/>
            </a:endParaRPr>
          </a:p>
        </p:txBody>
      </p:sp>
      <p:sp>
        <p:nvSpPr>
          <p:cNvPr id="169" name="TextBox 168">
            <a:extLst>
              <a:ext uri="{FF2B5EF4-FFF2-40B4-BE49-F238E27FC236}">
                <a16:creationId xmlns:a16="http://schemas.microsoft.com/office/drawing/2014/main" id="{DF2B87A4-E797-485E-5728-7E4F561A9D02}"/>
              </a:ext>
            </a:extLst>
          </p:cNvPr>
          <p:cNvSpPr txBox="1">
            <a:spLocks/>
          </p:cNvSpPr>
          <p:nvPr>
            <p:custDataLst>
              <p:tags r:id="rId36"/>
            </p:custDataLst>
          </p:nvPr>
        </p:nvSpPr>
        <p:spPr>
          <a:xfrm>
            <a:off x="554736" y="2138363"/>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GI</a:t>
            </a:r>
            <a:r>
              <a:rPr lang="en-US" sz="1200" baseline="30000" dirty="0">
                <a:latin typeface="Calibri" panose="020F0502020204030204" pitchFamily="34" charset="0"/>
              </a:rPr>
              <a:t>2</a:t>
            </a:r>
            <a:endParaRPr lang="en-US" sz="1200" dirty="0">
              <a:latin typeface="Calibri" panose="020F0502020204030204" pitchFamily="34" charset="0"/>
            </a:endParaRPr>
          </a:p>
        </p:txBody>
      </p:sp>
      <p:sp>
        <p:nvSpPr>
          <p:cNvPr id="170" name="TextBox 169">
            <a:extLst>
              <a:ext uri="{FF2B5EF4-FFF2-40B4-BE49-F238E27FC236}">
                <a16:creationId xmlns:a16="http://schemas.microsoft.com/office/drawing/2014/main" id="{1ED698F9-7B64-0336-D92C-04FE0923DF28}"/>
              </a:ext>
            </a:extLst>
          </p:cNvPr>
          <p:cNvSpPr txBox="1">
            <a:spLocks/>
          </p:cNvSpPr>
          <p:nvPr>
            <p:custDataLst>
              <p:tags r:id="rId37"/>
            </p:custDataLst>
          </p:nvPr>
        </p:nvSpPr>
        <p:spPr>
          <a:xfrm>
            <a:off x="554736" y="2452688"/>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Diabetes</a:t>
            </a:r>
          </a:p>
        </p:txBody>
      </p:sp>
      <p:sp>
        <p:nvSpPr>
          <p:cNvPr id="171" name="TextBox 170">
            <a:extLst>
              <a:ext uri="{FF2B5EF4-FFF2-40B4-BE49-F238E27FC236}">
                <a16:creationId xmlns:a16="http://schemas.microsoft.com/office/drawing/2014/main" id="{3B11F6FF-28F7-2D97-42E6-004D87A6EC5F}"/>
              </a:ext>
            </a:extLst>
          </p:cNvPr>
          <p:cNvSpPr txBox="1">
            <a:spLocks/>
          </p:cNvSpPr>
          <p:nvPr>
            <p:custDataLst>
              <p:tags r:id="rId38"/>
            </p:custDataLst>
          </p:nvPr>
        </p:nvSpPr>
        <p:spPr>
          <a:xfrm>
            <a:off x="554736" y="2765425"/>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Skin</a:t>
            </a:r>
            <a:endParaRPr lang="en-US" sz="1200" dirty="0">
              <a:solidFill>
                <a:srgbClr val="FF0000"/>
              </a:solidFill>
              <a:latin typeface="Calibri" panose="020F0502020204030204" pitchFamily="34" charset="0"/>
            </a:endParaRPr>
          </a:p>
        </p:txBody>
      </p:sp>
      <p:sp>
        <p:nvSpPr>
          <p:cNvPr id="172" name="TextBox 171">
            <a:extLst>
              <a:ext uri="{FF2B5EF4-FFF2-40B4-BE49-F238E27FC236}">
                <a16:creationId xmlns:a16="http://schemas.microsoft.com/office/drawing/2014/main" id="{3CB0371E-823B-4CD4-E176-8B7C26D88C3D}"/>
              </a:ext>
            </a:extLst>
          </p:cNvPr>
          <p:cNvSpPr txBox="1">
            <a:spLocks/>
          </p:cNvSpPr>
          <p:nvPr>
            <p:custDataLst>
              <p:tags r:id="rId39"/>
            </p:custDataLst>
          </p:nvPr>
        </p:nvSpPr>
        <p:spPr>
          <a:xfrm>
            <a:off x="554736" y="3079750"/>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Skeletal</a:t>
            </a:r>
          </a:p>
        </p:txBody>
      </p:sp>
      <p:sp>
        <p:nvSpPr>
          <p:cNvPr id="194" name="TextBox 193">
            <a:extLst>
              <a:ext uri="{FF2B5EF4-FFF2-40B4-BE49-F238E27FC236}">
                <a16:creationId xmlns:a16="http://schemas.microsoft.com/office/drawing/2014/main" id="{6FBCB923-1C57-3905-E3CC-3DE1236563E4}"/>
              </a:ext>
            </a:extLst>
          </p:cNvPr>
          <p:cNvSpPr txBox="1">
            <a:spLocks/>
          </p:cNvSpPr>
          <p:nvPr>
            <p:custDataLst>
              <p:tags r:id="rId40"/>
            </p:custDataLst>
          </p:nvPr>
        </p:nvSpPr>
        <p:spPr>
          <a:xfrm>
            <a:off x="554736" y="3473404"/>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 chronic condition</a:t>
            </a:r>
            <a:r>
              <a:rPr lang="en-US" sz="1200" baseline="30000" dirty="0">
                <a:latin typeface="Calibri" panose="020F0502020204030204" pitchFamily="34" charset="0"/>
              </a:rPr>
              <a:t>3</a:t>
            </a:r>
          </a:p>
        </p:txBody>
      </p:sp>
      <p:sp>
        <p:nvSpPr>
          <p:cNvPr id="79" name="TextBox 78">
            <a:extLst>
              <a:ext uri="{FF2B5EF4-FFF2-40B4-BE49-F238E27FC236}">
                <a16:creationId xmlns:a16="http://schemas.microsoft.com/office/drawing/2014/main" id="{52613DC8-6245-DB84-4B5A-552E0F7ABC37}"/>
              </a:ext>
            </a:extLst>
          </p:cNvPr>
          <p:cNvSpPr txBox="1">
            <a:spLocks/>
          </p:cNvSpPr>
          <p:nvPr>
            <p:custDataLst>
              <p:tags r:id="rId41"/>
            </p:custDataLst>
          </p:nvPr>
        </p:nvSpPr>
        <p:spPr>
          <a:xfrm>
            <a:off x="554736" y="4111625"/>
            <a:ext cx="1554480" cy="21431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Chronic condition</a:t>
            </a:r>
          </a:p>
        </p:txBody>
      </p:sp>
      <p:sp>
        <p:nvSpPr>
          <p:cNvPr id="93" name="TextBox 92">
            <a:extLst>
              <a:ext uri="{FF2B5EF4-FFF2-40B4-BE49-F238E27FC236}">
                <a16:creationId xmlns:a16="http://schemas.microsoft.com/office/drawing/2014/main" id="{9F492C0C-9FAB-D420-52F3-09D91D41422A}"/>
              </a:ext>
            </a:extLst>
          </p:cNvPr>
          <p:cNvSpPr txBox="1">
            <a:spLocks/>
          </p:cNvSpPr>
          <p:nvPr>
            <p:custDataLst>
              <p:tags r:id="rId42"/>
            </p:custDataLst>
          </p:nvPr>
        </p:nvSpPr>
        <p:spPr>
          <a:xfrm>
            <a:off x="554736" y="4427538"/>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Hematological</a:t>
            </a:r>
          </a:p>
        </p:txBody>
      </p:sp>
      <p:sp>
        <p:nvSpPr>
          <p:cNvPr id="94" name="TextBox 93">
            <a:extLst>
              <a:ext uri="{FF2B5EF4-FFF2-40B4-BE49-F238E27FC236}">
                <a16:creationId xmlns:a16="http://schemas.microsoft.com/office/drawing/2014/main" id="{83DFFE88-1934-8485-5FF4-3249F3231674}"/>
              </a:ext>
            </a:extLst>
          </p:cNvPr>
          <p:cNvSpPr txBox="1">
            <a:spLocks/>
          </p:cNvSpPr>
          <p:nvPr>
            <p:custDataLst>
              <p:tags r:id="rId43"/>
            </p:custDataLst>
          </p:nvPr>
        </p:nvSpPr>
        <p:spPr>
          <a:xfrm>
            <a:off x="554736" y="4740275"/>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Obesity</a:t>
            </a:r>
          </a:p>
        </p:txBody>
      </p:sp>
      <p:sp>
        <p:nvSpPr>
          <p:cNvPr id="95" name="TextBox 94">
            <a:extLst>
              <a:ext uri="{FF2B5EF4-FFF2-40B4-BE49-F238E27FC236}">
                <a16:creationId xmlns:a16="http://schemas.microsoft.com/office/drawing/2014/main" id="{25C8F957-ECC9-694F-DA1E-FED1F1177F4F}"/>
              </a:ext>
            </a:extLst>
          </p:cNvPr>
          <p:cNvSpPr txBox="1">
            <a:spLocks/>
          </p:cNvSpPr>
          <p:nvPr>
            <p:custDataLst>
              <p:tags r:id="rId44"/>
            </p:custDataLst>
          </p:nvPr>
        </p:nvSpPr>
        <p:spPr>
          <a:xfrm>
            <a:off x="554736" y="5053013"/>
            <a:ext cx="1554480" cy="214313"/>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Genital</a:t>
            </a:r>
          </a:p>
        </p:txBody>
      </p:sp>
      <p:sp>
        <p:nvSpPr>
          <p:cNvPr id="96" name="TextBox 95">
            <a:extLst>
              <a:ext uri="{FF2B5EF4-FFF2-40B4-BE49-F238E27FC236}">
                <a16:creationId xmlns:a16="http://schemas.microsoft.com/office/drawing/2014/main" id="{1A287BD5-1543-E7BE-372A-6218141D2C2E}"/>
              </a:ext>
            </a:extLst>
          </p:cNvPr>
          <p:cNvSpPr txBox="1">
            <a:spLocks/>
          </p:cNvSpPr>
          <p:nvPr>
            <p:custDataLst>
              <p:tags r:id="rId45"/>
            </p:custDataLst>
          </p:nvPr>
        </p:nvSpPr>
        <p:spPr>
          <a:xfrm>
            <a:off x="554736" y="5365750"/>
            <a:ext cx="1554480" cy="214313"/>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Infectious Disease</a:t>
            </a:r>
          </a:p>
        </p:txBody>
      </p:sp>
      <p:sp>
        <p:nvSpPr>
          <p:cNvPr id="97" name="TextBox 96">
            <a:extLst>
              <a:ext uri="{FF2B5EF4-FFF2-40B4-BE49-F238E27FC236}">
                <a16:creationId xmlns:a16="http://schemas.microsoft.com/office/drawing/2014/main" id="{B34A8858-F12B-14F6-7CD4-23F0440967A7}"/>
              </a:ext>
            </a:extLst>
          </p:cNvPr>
          <p:cNvSpPr txBox="1">
            <a:spLocks/>
          </p:cNvSpPr>
          <p:nvPr>
            <p:custDataLst>
              <p:tags r:id="rId46"/>
            </p:custDataLst>
          </p:nvPr>
        </p:nvSpPr>
        <p:spPr>
          <a:xfrm>
            <a:off x="554736" y="5678488"/>
            <a:ext cx="1554480" cy="214313"/>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ulmonary</a:t>
            </a:r>
          </a:p>
        </p:txBody>
      </p:sp>
      <p:sp>
        <p:nvSpPr>
          <p:cNvPr id="100" name="TextBox 99">
            <a:extLst>
              <a:ext uri="{FF2B5EF4-FFF2-40B4-BE49-F238E27FC236}">
                <a16:creationId xmlns:a16="http://schemas.microsoft.com/office/drawing/2014/main" id="{76792040-F197-4F9A-3BA5-51FE6A47CCB5}"/>
              </a:ext>
            </a:extLst>
          </p:cNvPr>
          <p:cNvSpPr txBox="1">
            <a:spLocks/>
          </p:cNvSpPr>
          <p:nvPr>
            <p:custDataLst>
              <p:tags r:id="rId47"/>
            </p:custDataLst>
          </p:nvPr>
        </p:nvSpPr>
        <p:spPr>
          <a:xfrm>
            <a:off x="554736" y="5991225"/>
            <a:ext cx="1554480"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1+ chronic condition</a:t>
            </a:r>
            <a:r>
              <a:rPr lang="en-US" sz="1200" baseline="30000" dirty="0">
                <a:latin typeface="Calibri" panose="020F0502020204030204" pitchFamily="34" charset="0"/>
              </a:rPr>
              <a:t>1</a:t>
            </a:r>
          </a:p>
        </p:txBody>
      </p:sp>
      <p:cxnSp>
        <p:nvCxnSpPr>
          <p:cNvPr id="101" name="Straight Connector 100">
            <a:extLst>
              <a:ext uri="{FF2B5EF4-FFF2-40B4-BE49-F238E27FC236}">
                <a16:creationId xmlns:a16="http://schemas.microsoft.com/office/drawing/2014/main" id="{EB483E29-D830-0B56-E22C-C8182E62641A}"/>
              </a:ext>
            </a:extLst>
          </p:cNvPr>
          <p:cNvCxnSpPr>
            <a:cxnSpLocks/>
          </p:cNvCxnSpPr>
          <p:nvPr>
            <p:custDataLst>
              <p:tags r:id="rId48"/>
            </p:custDataLst>
          </p:nvPr>
        </p:nvCxnSpPr>
        <p:spPr>
          <a:xfrm>
            <a:off x="554736" y="4065588"/>
            <a:ext cx="7918704"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FA5EECE-8C42-A3A1-3AF0-3C72A19AD0B7}"/>
              </a:ext>
            </a:extLst>
          </p:cNvPr>
          <p:cNvSpPr txBox="1">
            <a:spLocks/>
          </p:cNvSpPr>
          <p:nvPr/>
        </p:nvSpPr>
        <p:spPr>
          <a:xfrm>
            <a:off x="8976852" y="1254125"/>
            <a:ext cx="2657936" cy="215900"/>
          </a:xfrm>
          <a:prstGeom prst="rect">
            <a:avLst/>
          </a:prstGeom>
        </p:spPr>
        <p:txBody>
          <a:bodyPr vert="horz" wrap="square" lIns="0" tIns="0" rIns="0" bIns="0" rtlCol="0" anchor="b">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Key Findings</a:t>
            </a:r>
          </a:p>
        </p:txBody>
      </p:sp>
      <p:cxnSp>
        <p:nvCxnSpPr>
          <p:cNvPr id="10" name="Straight Connector 9">
            <a:extLst>
              <a:ext uri="{FF2B5EF4-FFF2-40B4-BE49-F238E27FC236}">
                <a16:creationId xmlns:a16="http://schemas.microsoft.com/office/drawing/2014/main" id="{DF7D5CDB-7162-D0C0-6D69-4977092DCD8C}"/>
              </a:ext>
            </a:extLst>
          </p:cNvPr>
          <p:cNvCxnSpPr>
            <a:cxnSpLocks/>
          </p:cNvCxnSpPr>
          <p:nvPr>
            <p:custDataLst>
              <p:tags r:id="rId49"/>
            </p:custDataLst>
          </p:nvPr>
        </p:nvCxnSpPr>
        <p:spPr>
          <a:xfrm>
            <a:off x="8976852" y="1489075"/>
            <a:ext cx="2657936"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4C13589-101D-D8AA-EA4D-C14B29E22EDE}"/>
              </a:ext>
            </a:extLst>
          </p:cNvPr>
          <p:cNvCxnSpPr>
            <a:cxnSpLocks/>
          </p:cNvCxnSpPr>
          <p:nvPr>
            <p:custDataLst>
              <p:tags r:id="rId50"/>
            </p:custDataLst>
          </p:nvPr>
        </p:nvCxnSpPr>
        <p:spPr>
          <a:xfrm>
            <a:off x="554736" y="2421059"/>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AED713A-695C-FC14-842C-5ECEEFC5A0C3}"/>
              </a:ext>
            </a:extLst>
          </p:cNvPr>
          <p:cNvCxnSpPr>
            <a:cxnSpLocks/>
          </p:cNvCxnSpPr>
          <p:nvPr>
            <p:custDataLst>
              <p:tags r:id="rId51"/>
            </p:custDataLst>
          </p:nvPr>
        </p:nvCxnSpPr>
        <p:spPr>
          <a:xfrm>
            <a:off x="554736" y="2752968"/>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7EE99F3-0049-57C5-3A4D-7B42D3A84A16}"/>
              </a:ext>
            </a:extLst>
          </p:cNvPr>
          <p:cNvCxnSpPr>
            <a:cxnSpLocks/>
          </p:cNvCxnSpPr>
          <p:nvPr>
            <p:custDataLst>
              <p:tags r:id="rId52"/>
            </p:custDataLst>
          </p:nvPr>
        </p:nvCxnSpPr>
        <p:spPr>
          <a:xfrm>
            <a:off x="554736" y="2090738"/>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9CF3939-EC78-B871-C5FA-D6C94D477DDA}"/>
              </a:ext>
            </a:extLst>
          </p:cNvPr>
          <p:cNvCxnSpPr>
            <a:cxnSpLocks/>
          </p:cNvCxnSpPr>
          <p:nvPr>
            <p:custDataLst>
              <p:tags r:id="rId53"/>
            </p:custDataLst>
          </p:nvPr>
        </p:nvCxnSpPr>
        <p:spPr>
          <a:xfrm>
            <a:off x="554736" y="3074498"/>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BDA90D7-5C7F-3A4D-AD7D-E350503E605E}"/>
              </a:ext>
            </a:extLst>
          </p:cNvPr>
          <p:cNvCxnSpPr>
            <a:cxnSpLocks/>
          </p:cNvCxnSpPr>
          <p:nvPr>
            <p:custDataLst>
              <p:tags r:id="rId54"/>
            </p:custDataLst>
          </p:nvPr>
        </p:nvCxnSpPr>
        <p:spPr>
          <a:xfrm>
            <a:off x="554736" y="3406407"/>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CECF133-2CEC-C022-2D1E-F54915533457}"/>
              </a:ext>
            </a:extLst>
          </p:cNvPr>
          <p:cNvCxnSpPr>
            <a:cxnSpLocks/>
          </p:cNvCxnSpPr>
          <p:nvPr>
            <p:custDataLst>
              <p:tags r:id="rId55"/>
            </p:custDataLst>
          </p:nvPr>
        </p:nvCxnSpPr>
        <p:spPr>
          <a:xfrm>
            <a:off x="554736" y="4691063"/>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FA55850-FD6D-4D68-59F1-CDC1AEC47745}"/>
              </a:ext>
            </a:extLst>
          </p:cNvPr>
          <p:cNvCxnSpPr>
            <a:cxnSpLocks/>
          </p:cNvCxnSpPr>
          <p:nvPr>
            <p:custDataLst>
              <p:tags r:id="rId56"/>
            </p:custDataLst>
          </p:nvPr>
        </p:nvCxnSpPr>
        <p:spPr>
          <a:xfrm>
            <a:off x="554736" y="5003800"/>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810975E-40DA-BB13-A836-0A9B6F9D5A23}"/>
              </a:ext>
            </a:extLst>
          </p:cNvPr>
          <p:cNvCxnSpPr>
            <a:cxnSpLocks/>
          </p:cNvCxnSpPr>
          <p:nvPr>
            <p:custDataLst>
              <p:tags r:id="rId57"/>
            </p:custDataLst>
          </p:nvPr>
        </p:nvCxnSpPr>
        <p:spPr>
          <a:xfrm>
            <a:off x="554736" y="5316538"/>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D7E58B5-0B3A-815E-0003-0381F70BAD7E}"/>
              </a:ext>
            </a:extLst>
          </p:cNvPr>
          <p:cNvCxnSpPr>
            <a:cxnSpLocks/>
          </p:cNvCxnSpPr>
          <p:nvPr>
            <p:custDataLst>
              <p:tags r:id="rId58"/>
            </p:custDataLst>
          </p:nvPr>
        </p:nvCxnSpPr>
        <p:spPr>
          <a:xfrm>
            <a:off x="554736" y="5629275"/>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055020E-6D4D-9964-72F9-D85B5A5DB6B3}"/>
              </a:ext>
            </a:extLst>
          </p:cNvPr>
          <p:cNvCxnSpPr>
            <a:cxnSpLocks/>
          </p:cNvCxnSpPr>
          <p:nvPr>
            <p:custDataLst>
              <p:tags r:id="rId59"/>
            </p:custDataLst>
          </p:nvPr>
        </p:nvCxnSpPr>
        <p:spPr>
          <a:xfrm>
            <a:off x="554736" y="5942013"/>
            <a:ext cx="7918704" cy="0"/>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E6BC990-0223-6D39-09AA-E40CD7665BC9}"/>
              </a:ext>
            </a:extLst>
          </p:cNvPr>
          <p:cNvCxnSpPr>
            <a:cxnSpLocks/>
          </p:cNvCxnSpPr>
          <p:nvPr>
            <p:custDataLst>
              <p:tags r:id="rId60"/>
            </p:custDataLst>
          </p:nvPr>
        </p:nvCxnSpPr>
        <p:spPr>
          <a:xfrm>
            <a:off x="7138716" y="4340225"/>
            <a:ext cx="1334724"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F4197EA-B2CD-FE3E-7C30-A748319BCF2B}"/>
              </a:ext>
            </a:extLst>
          </p:cNvPr>
          <p:cNvCxnSpPr>
            <a:cxnSpLocks/>
          </p:cNvCxnSpPr>
          <p:nvPr>
            <p:custDataLst>
              <p:tags r:id="rId61"/>
            </p:custDataLst>
          </p:nvPr>
        </p:nvCxnSpPr>
        <p:spPr>
          <a:xfrm>
            <a:off x="5371755" y="4340225"/>
            <a:ext cx="1618449"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BF355FA-4567-8B92-595A-CA4BC8D1E9E7}"/>
              </a:ext>
            </a:extLst>
          </p:cNvPr>
          <p:cNvCxnSpPr>
            <a:cxnSpLocks/>
          </p:cNvCxnSpPr>
          <p:nvPr>
            <p:custDataLst>
              <p:tags r:id="rId62"/>
            </p:custDataLst>
          </p:nvPr>
        </p:nvCxnSpPr>
        <p:spPr>
          <a:xfrm>
            <a:off x="2409760" y="4340225"/>
            <a:ext cx="2965515"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2E33C67-DBD7-AF79-7C9C-8478F88F96A0}"/>
              </a:ext>
            </a:extLst>
          </p:cNvPr>
          <p:cNvCxnSpPr>
            <a:cxnSpLocks/>
          </p:cNvCxnSpPr>
          <p:nvPr>
            <p:custDataLst>
              <p:tags r:id="rId63"/>
            </p:custDataLst>
          </p:nvPr>
        </p:nvCxnSpPr>
        <p:spPr>
          <a:xfrm>
            <a:off x="554736" y="4340225"/>
            <a:ext cx="1554480"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39378CBA-6A22-0A47-D67A-3B58255C2FF5}"/>
              </a:ext>
            </a:extLst>
          </p:cNvPr>
          <p:cNvSpPr txBox="1">
            <a:spLocks/>
          </p:cNvSpPr>
          <p:nvPr>
            <p:custDataLst>
              <p:tags r:id="rId64"/>
            </p:custDataLst>
          </p:nvPr>
        </p:nvSpPr>
        <p:spPr>
          <a:xfrm>
            <a:off x="5371755" y="1525588"/>
            <a:ext cx="1618449" cy="21590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revalence gap, p.p.</a:t>
            </a:r>
          </a:p>
        </p:txBody>
      </p:sp>
      <p:cxnSp>
        <p:nvCxnSpPr>
          <p:cNvPr id="110" name="Straight Connector 109">
            <a:extLst>
              <a:ext uri="{FF2B5EF4-FFF2-40B4-BE49-F238E27FC236}">
                <a16:creationId xmlns:a16="http://schemas.microsoft.com/office/drawing/2014/main" id="{636CF970-F241-08F8-A240-49D0CAE2F870}"/>
              </a:ext>
            </a:extLst>
          </p:cNvPr>
          <p:cNvCxnSpPr>
            <a:cxnSpLocks/>
          </p:cNvCxnSpPr>
          <p:nvPr>
            <p:custDataLst>
              <p:tags r:id="rId65"/>
            </p:custDataLst>
          </p:nvPr>
        </p:nvCxnSpPr>
        <p:spPr>
          <a:xfrm>
            <a:off x="554736" y="1489075"/>
            <a:ext cx="7918704"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E11592AC-1130-DE3E-B6D9-86DE6642F7A3}"/>
              </a:ext>
            </a:extLst>
          </p:cNvPr>
          <p:cNvSpPr txBox="1">
            <a:spLocks/>
          </p:cNvSpPr>
          <p:nvPr>
            <p:custDataLst>
              <p:tags r:id="rId66"/>
            </p:custDataLst>
          </p:nvPr>
        </p:nvSpPr>
        <p:spPr>
          <a:xfrm>
            <a:off x="2409825" y="1525588"/>
            <a:ext cx="2965450" cy="21590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revalence, %</a:t>
            </a:r>
          </a:p>
        </p:txBody>
      </p:sp>
      <p:sp>
        <p:nvSpPr>
          <p:cNvPr id="112" name="TextBox 111">
            <a:extLst>
              <a:ext uri="{FF2B5EF4-FFF2-40B4-BE49-F238E27FC236}">
                <a16:creationId xmlns:a16="http://schemas.microsoft.com/office/drawing/2014/main" id="{53EEC713-1463-206C-873C-6DC64198E876}"/>
              </a:ext>
            </a:extLst>
          </p:cNvPr>
          <p:cNvSpPr txBox="1">
            <a:spLocks/>
          </p:cNvSpPr>
          <p:nvPr>
            <p:custDataLst>
              <p:tags r:id="rId67"/>
            </p:custDataLst>
          </p:nvPr>
        </p:nvSpPr>
        <p:spPr>
          <a:xfrm>
            <a:off x="7138716" y="1525588"/>
            <a:ext cx="1334724" cy="215900"/>
          </a:xfrm>
          <a:prstGeom prst="rect">
            <a:avLst/>
          </a:prstGeom>
        </p:spPr>
        <p:txBody>
          <a:bodyPr vert="horz" wrap="non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Prevalence gap, %</a:t>
            </a:r>
          </a:p>
        </p:txBody>
      </p:sp>
      <p:sp>
        <p:nvSpPr>
          <p:cNvPr id="113" name="TextBox 112">
            <a:extLst>
              <a:ext uri="{FF2B5EF4-FFF2-40B4-BE49-F238E27FC236}">
                <a16:creationId xmlns:a16="http://schemas.microsoft.com/office/drawing/2014/main" id="{1205D851-8629-06C9-00D0-952AACDFB25E}"/>
              </a:ext>
            </a:extLst>
          </p:cNvPr>
          <p:cNvSpPr txBox="1">
            <a:spLocks/>
          </p:cNvSpPr>
          <p:nvPr>
            <p:custDataLst>
              <p:tags r:id="rId68"/>
            </p:custDataLst>
          </p:nvPr>
        </p:nvSpPr>
        <p:spPr>
          <a:xfrm>
            <a:off x="554736" y="1525588"/>
            <a:ext cx="1554480" cy="21431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Chronic condition</a:t>
            </a:r>
          </a:p>
        </p:txBody>
      </p:sp>
      <p:cxnSp>
        <p:nvCxnSpPr>
          <p:cNvPr id="115" name="Straight Connector 114">
            <a:extLst>
              <a:ext uri="{FF2B5EF4-FFF2-40B4-BE49-F238E27FC236}">
                <a16:creationId xmlns:a16="http://schemas.microsoft.com/office/drawing/2014/main" id="{98DD8C77-961B-4CDF-9E24-CA3E9D407396}"/>
              </a:ext>
            </a:extLst>
          </p:cNvPr>
          <p:cNvCxnSpPr>
            <a:cxnSpLocks/>
          </p:cNvCxnSpPr>
          <p:nvPr>
            <p:custDataLst>
              <p:tags r:id="rId69"/>
            </p:custDataLst>
          </p:nvPr>
        </p:nvCxnSpPr>
        <p:spPr>
          <a:xfrm>
            <a:off x="7138716" y="1749425"/>
            <a:ext cx="1334724"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BC313F5-C183-7E70-F838-3D21F666B190}"/>
              </a:ext>
            </a:extLst>
          </p:cNvPr>
          <p:cNvCxnSpPr>
            <a:cxnSpLocks/>
          </p:cNvCxnSpPr>
          <p:nvPr>
            <p:custDataLst>
              <p:tags r:id="rId70"/>
            </p:custDataLst>
          </p:nvPr>
        </p:nvCxnSpPr>
        <p:spPr>
          <a:xfrm>
            <a:off x="5371755" y="1749425"/>
            <a:ext cx="1618449"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0A4ABC7F-3557-6FF0-F463-BC961F688B6B}"/>
              </a:ext>
            </a:extLst>
          </p:cNvPr>
          <p:cNvCxnSpPr>
            <a:cxnSpLocks/>
          </p:cNvCxnSpPr>
          <p:nvPr>
            <p:custDataLst>
              <p:tags r:id="rId71"/>
            </p:custDataLst>
          </p:nvPr>
        </p:nvCxnSpPr>
        <p:spPr>
          <a:xfrm>
            <a:off x="2409760" y="1749425"/>
            <a:ext cx="280407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AA8D5E-2330-EC01-7217-E9FC82ACB670}"/>
              </a:ext>
            </a:extLst>
          </p:cNvPr>
          <p:cNvCxnSpPr>
            <a:cxnSpLocks/>
          </p:cNvCxnSpPr>
          <p:nvPr>
            <p:custDataLst>
              <p:tags r:id="rId72"/>
            </p:custDataLst>
          </p:nvPr>
        </p:nvCxnSpPr>
        <p:spPr>
          <a:xfrm>
            <a:off x="554736" y="1749425"/>
            <a:ext cx="1554480"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21" name="4. Footnote">
            <a:extLst>
              <a:ext uri="{FF2B5EF4-FFF2-40B4-BE49-F238E27FC236}">
                <a16:creationId xmlns:a16="http://schemas.microsoft.com/office/drawing/2014/main" id="{B2394F12-E411-D676-ECF7-37FF115FB3F7}"/>
              </a:ext>
            </a:extLst>
          </p:cNvPr>
          <p:cNvSpPr txBox="1"/>
          <p:nvPr>
            <p:custDataLst>
              <p:tags r:id="rId73"/>
            </p:custDataLst>
          </p:nvPr>
        </p:nvSpPr>
        <p:spPr>
          <a:xfrm>
            <a:off x="8976852" y="5462271"/>
            <a:ext cx="1954212"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r>
              <a:rPr lang="en-US" dirty="0">
                <a:latin typeface="Calibri" panose="020F0502020204030204" pitchFamily="34" charset="0"/>
              </a:rPr>
              <a:t>1.	Central nervous system; 2. Gastrointestinal; 3. Represents prevalence of all instances of 1+ chronic conditions; 4. Per Member Per Year</a:t>
            </a:r>
          </a:p>
        </p:txBody>
      </p:sp>
      <p:cxnSp>
        <p:nvCxnSpPr>
          <p:cNvPr id="124" name="Straight Connector 123">
            <a:extLst>
              <a:ext uri="{FF2B5EF4-FFF2-40B4-BE49-F238E27FC236}">
                <a16:creationId xmlns:a16="http://schemas.microsoft.com/office/drawing/2014/main" id="{0B2137BE-8BA0-DC7F-7D4F-2464426401A0}"/>
              </a:ext>
            </a:extLst>
          </p:cNvPr>
          <p:cNvCxnSpPr>
            <a:cxnSpLocks/>
          </p:cNvCxnSpPr>
          <p:nvPr>
            <p:custDataLst>
              <p:tags r:id="rId74"/>
            </p:custDataLst>
          </p:nvPr>
        </p:nvCxnSpPr>
        <p:spPr>
          <a:xfrm>
            <a:off x="554736" y="3757613"/>
            <a:ext cx="791870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16BD75F4-0DED-8C62-36DC-74D07AFAD26D}"/>
              </a:ext>
            </a:extLst>
          </p:cNvPr>
          <p:cNvSpPr txBox="1"/>
          <p:nvPr/>
        </p:nvSpPr>
        <p:spPr>
          <a:xfrm>
            <a:off x="8976852" y="1634266"/>
            <a:ext cx="2657936" cy="27392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en-US" sz="1400" dirty="0">
                <a:latin typeface="Calibri" panose="020F0502020204030204" pitchFamily="34" charset="0"/>
                <a:cs typeface="Calibri" panose="020F0502020204030204" pitchFamily="34" charset="0"/>
              </a:rPr>
              <a:t>Relative gaps are widest in CNS</a:t>
            </a:r>
            <a:r>
              <a:rPr lang="en-US" sz="1400" baseline="30000" dirty="0">
                <a:latin typeface="Calibri" panose="020F0502020204030204" pitchFamily="34" charset="0"/>
                <a:cs typeface="Calibri" panose="020F0502020204030204" pitchFamily="34" charset="0"/>
              </a:rPr>
              <a:t>1</a:t>
            </a:r>
            <a:r>
              <a:rPr lang="en-US" sz="1400" dirty="0">
                <a:latin typeface="Calibri" panose="020F0502020204030204" pitchFamily="34" charset="0"/>
                <a:cs typeface="Calibri" panose="020F0502020204030204" pitchFamily="34" charset="0"/>
              </a:rPr>
              <a:t> (+21%) and GI</a:t>
            </a:r>
            <a:r>
              <a:rPr lang="en-US" sz="1400" baseline="30000" dirty="0">
                <a:latin typeface="Calibri" panose="020F0502020204030204" pitchFamily="34" charset="0"/>
                <a:cs typeface="Calibri" panose="020F0502020204030204" pitchFamily="34" charset="0"/>
              </a:rPr>
              <a:t>2</a:t>
            </a:r>
            <a:r>
              <a:rPr lang="en-US" sz="1400" dirty="0">
                <a:latin typeface="Calibri" panose="020F0502020204030204" pitchFamily="34" charset="0"/>
                <a:cs typeface="Calibri" panose="020F0502020204030204" pitchFamily="34" charset="0"/>
              </a:rPr>
              <a:t> (+21%), signal indicating higher rural burden</a:t>
            </a:r>
          </a:p>
          <a:p>
            <a:pPr lvl="1">
              <a:spcAft>
                <a:spcPts val="600"/>
              </a:spcAft>
            </a:pPr>
            <a:r>
              <a:rPr lang="en-US" sz="1400" dirty="0">
                <a:latin typeface="Calibri" panose="020F0502020204030204" pitchFamily="34" charset="0"/>
                <a:cs typeface="Calibri" panose="020F0502020204030204" pitchFamily="34" charset="0"/>
              </a:rPr>
              <a:t>The largest rural-urban gaps are concentrated in CNS</a:t>
            </a:r>
            <a:r>
              <a:rPr lang="en-US" sz="1400" baseline="30000" dirty="0">
                <a:latin typeface="Calibri" panose="020F0502020204030204" pitchFamily="34" charset="0"/>
                <a:cs typeface="Calibri" panose="020F0502020204030204" pitchFamily="34" charset="0"/>
              </a:rPr>
              <a:t>1</a:t>
            </a:r>
            <a:r>
              <a:rPr lang="en-US" sz="1400" dirty="0">
                <a:latin typeface="Calibri" panose="020F0502020204030204" pitchFamily="34" charset="0"/>
                <a:cs typeface="Calibri" panose="020F0502020204030204" pitchFamily="34" charset="0"/>
              </a:rPr>
              <a:t> and GI</a:t>
            </a:r>
            <a:r>
              <a:rPr lang="en-US" sz="1400" baseline="30000" dirty="0">
                <a:latin typeface="Calibri" panose="020F0502020204030204" pitchFamily="34" charset="0"/>
                <a:cs typeface="Calibri" panose="020F0502020204030204" pitchFamily="34" charset="0"/>
              </a:rPr>
              <a:t>2</a:t>
            </a:r>
            <a:r>
              <a:rPr lang="en-US" sz="1400" dirty="0">
                <a:latin typeface="Calibri" panose="020F0502020204030204" pitchFamily="34" charset="0"/>
                <a:cs typeface="Calibri" panose="020F0502020204030204" pitchFamily="34" charset="0"/>
              </a:rPr>
              <a:t> conditions (~21% higher), while overall PMPY costs are more comparable to rural (only ~8% for hematological)</a:t>
            </a:r>
          </a:p>
          <a:p>
            <a:pPr lvl="1">
              <a:spcAft>
                <a:spcPts val="600"/>
              </a:spcAft>
            </a:pPr>
            <a:r>
              <a:rPr lang="en-US" sz="1400" dirty="0">
                <a:latin typeface="Calibri" panose="020F0502020204030204" pitchFamily="34" charset="0"/>
                <a:cs typeface="Calibri" panose="020F0502020204030204" pitchFamily="34" charset="0"/>
              </a:rPr>
              <a:t>The conditions driving the prevalence gap are not the same conditions driving the PMPY</a:t>
            </a:r>
            <a:r>
              <a:rPr lang="en-US" sz="1400" baseline="30000" dirty="0">
                <a:latin typeface="Calibri" panose="020F0502020204030204" pitchFamily="34" charset="0"/>
                <a:cs typeface="Calibri" panose="020F0502020204030204" pitchFamily="34" charset="0"/>
              </a:rPr>
              <a:t>4</a:t>
            </a:r>
            <a:r>
              <a:rPr lang="en-US" sz="1400" dirty="0">
                <a:latin typeface="Calibri" panose="020F0502020204030204" pitchFamily="34" charset="0"/>
                <a:cs typeface="Calibri" panose="020F0502020204030204" pitchFamily="34" charset="0"/>
              </a:rPr>
              <a:t> gap</a:t>
            </a:r>
          </a:p>
        </p:txBody>
      </p:sp>
    </p:spTree>
    <p:extLst>
      <p:ext uri="{BB962C8B-B14F-4D97-AF65-F5344CB8AC3E}">
        <p14:creationId xmlns:p14="http://schemas.microsoft.com/office/powerpoint/2010/main" val="40550135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1ABC61-E38E-2C20-01E8-ED6A6629C19B}"/>
              </a:ext>
            </a:extLst>
          </p:cNvPr>
          <p:cNvSpPr>
            <a:spLocks noGrp="1"/>
          </p:cNvSpPr>
          <p:nvPr>
            <p:ph type="title"/>
          </p:nvPr>
        </p:nvSpPr>
        <p:spPr>
          <a:xfrm>
            <a:off x="554736" y="314087"/>
            <a:ext cx="7918704" cy="738664"/>
          </a:xfrm>
        </p:spPr>
        <p:txBody>
          <a:bodyPr vert="horz"/>
          <a:lstStyle/>
          <a:p>
            <a:r>
              <a:rPr lang="en-US" sz="2400" b="1" dirty="0"/>
              <a:t>Cardiovascular and psychiatric conditions are large contributors toward total rural chronic spend</a:t>
            </a:r>
          </a:p>
        </p:txBody>
      </p:sp>
      <p:graphicFrame>
        <p:nvGraphicFramePr>
          <p:cNvPr id="50" name="Chart 49">
            <a:extLst>
              <a:ext uri="{FF2B5EF4-FFF2-40B4-BE49-F238E27FC236}">
                <a16:creationId xmlns:a16="http://schemas.microsoft.com/office/drawing/2014/main" id="{52C11EC7-308A-EB81-C912-A4DBD8620A8C}"/>
              </a:ext>
            </a:extLst>
          </p:cNvPr>
          <p:cNvGraphicFramePr/>
          <p:nvPr>
            <p:custDataLst>
              <p:tags r:id="rId1"/>
            </p:custDataLst>
          </p:nvPr>
        </p:nvGraphicFramePr>
        <p:xfrm>
          <a:off x="1284288" y="1906588"/>
          <a:ext cx="7156450" cy="3813175"/>
        </p:xfrm>
        <a:graphic>
          <a:graphicData uri="http://schemas.openxmlformats.org/drawingml/2006/chart">
            <c:chart xmlns:c="http://schemas.openxmlformats.org/drawingml/2006/chart" xmlns:r="http://schemas.openxmlformats.org/officeDocument/2006/relationships" r:id="rId81"/>
          </a:graphicData>
        </a:graphic>
      </p:graphicFrame>
      <p:sp>
        <p:nvSpPr>
          <p:cNvPr id="7" name="Text Placeholder 4">
            <a:extLst>
              <a:ext uri="{FF2B5EF4-FFF2-40B4-BE49-F238E27FC236}">
                <a16:creationId xmlns:a16="http://schemas.microsoft.com/office/drawing/2014/main" id="{CF301632-9CAC-986F-A595-8CB0177F1F8A}"/>
              </a:ext>
            </a:extLst>
          </p:cNvPr>
          <p:cNvSpPr txBox="1">
            <a:spLocks/>
          </p:cNvSpPr>
          <p:nvPr>
            <p:custDataLst>
              <p:tags r:id="rId2"/>
            </p:custDataLst>
          </p:nvPr>
        </p:nvSpPr>
        <p:spPr bwMode="gray">
          <a:xfrm>
            <a:off x="1322388" y="5681663"/>
            <a:ext cx="904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00482E4-68E5-40FB-9C70-23D42C8BC9C6}" type="datetime'''''''''''''''''''''''''''''''''0'''''''''''''''''''''''''">
              <a:rPr lang="en-US" altLang="en-US" sz="1050" smtClean="0">
                <a:latin typeface="Calibri" panose="020F0502020204030204" pitchFamily="34" charset="0"/>
                <a:cs typeface="+mn-cs"/>
              </a:rPr>
              <a:pPr algn="ctr">
                <a:spcBef>
                  <a:spcPct val="0"/>
                </a:spcBef>
                <a:spcAft>
                  <a:spcPct val="0"/>
                </a:spcAft>
              </a:pPr>
              <a:t>0</a:t>
            </a:fld>
            <a:endParaRPr lang="en-US" sz="1050" dirty="0">
              <a:latin typeface="Calibri" panose="020F0502020204030204" pitchFamily="34" charset="0"/>
              <a:cs typeface="+mn-cs"/>
            </a:endParaRPr>
          </a:p>
        </p:txBody>
      </p:sp>
      <p:sp>
        <p:nvSpPr>
          <p:cNvPr id="33"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gray">
          <a:xfrm>
            <a:off x="1563688"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C96C4E3-B790-40CF-952D-599649ED16E2}" type="datetime'''''''1'''''''''''''''''''''''''">
              <a:rPr lang="en-US" altLang="en-US" sz="1050" smtClean="0">
                <a:effectLst/>
                <a:latin typeface="Calibri" panose="020F0502020204030204" pitchFamily="34" charset="0"/>
                <a:cs typeface="+mn-cs"/>
              </a:rPr>
              <a:pPr lvl="0" algn="ctr">
                <a:spcBef>
                  <a:spcPct val="0"/>
                </a:spcBef>
                <a:spcAft>
                  <a:spcPct val="0"/>
                </a:spcAft>
              </a:pPr>
              <a:t>1</a:t>
            </a:fld>
            <a:endParaRPr lang="en-US" sz="1050" dirty="0">
              <a:latin typeface="Calibri" panose="020F0502020204030204" pitchFamily="34" charset="0"/>
              <a:cs typeface="+mn-cs"/>
            </a:endParaRPr>
          </a:p>
        </p:txBody>
      </p:sp>
      <p:sp>
        <p:nvSpPr>
          <p:cNvPr id="34"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1804988"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C6C2D4B-40DF-45AE-86AC-1D26ADA0610F}" type="datetime'''''''''''''''2'''''">
              <a:rPr lang="en-US" altLang="en-US" sz="1050" smtClean="0">
                <a:effectLst/>
                <a:latin typeface="Calibri" panose="020F0502020204030204" pitchFamily="34" charset="0"/>
                <a:cs typeface="+mn-cs"/>
              </a:rPr>
              <a:pPr lvl="0" algn="ctr">
                <a:spcBef>
                  <a:spcPct val="0"/>
                </a:spcBef>
                <a:spcAft>
                  <a:spcPct val="0"/>
                </a:spcAft>
              </a:pPr>
              <a:t>2</a:t>
            </a:fld>
            <a:endParaRPr lang="en-US" sz="1050" dirty="0">
              <a:latin typeface="Calibri" panose="020F0502020204030204" pitchFamily="34" charset="0"/>
              <a:cs typeface="+mn-cs"/>
            </a:endParaRPr>
          </a:p>
        </p:txBody>
      </p:sp>
      <p:sp>
        <p:nvSpPr>
          <p:cNvPr id="36"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2046288"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26B4F4-81A8-446E-9BA0-6A60868D36FC}" type="datetime'''''''''''''''''''''''''''''''''''''''''''''3'''''''''''''''''">
              <a:rPr lang="en-US" altLang="en-US" sz="1050" smtClean="0">
                <a:effectLst/>
                <a:latin typeface="Calibri" panose="020F0502020204030204" pitchFamily="34" charset="0"/>
                <a:cs typeface="+mn-cs"/>
              </a:rPr>
              <a:pPr lvl="0" algn="ctr">
                <a:spcBef>
                  <a:spcPct val="0"/>
                </a:spcBef>
                <a:spcAft>
                  <a:spcPct val="0"/>
                </a:spcAft>
              </a:pPr>
              <a:t>3</a:t>
            </a:fld>
            <a:endParaRPr lang="en-US" sz="1050" dirty="0">
              <a:latin typeface="Calibri" panose="020F0502020204030204" pitchFamily="34" charset="0"/>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2286000"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40C78F7-42BD-43B5-963D-C865EBFE1342}" type="datetime'''''''''''''''''''''''''''''''''''''''''''''''4'''''''''''''''">
              <a:rPr lang="en-US" altLang="en-US" sz="1050" smtClean="0">
                <a:effectLst/>
                <a:latin typeface="Calibri" panose="020F0502020204030204" pitchFamily="34" charset="0"/>
                <a:cs typeface="+mn-cs"/>
              </a:rPr>
              <a:pPr lvl="0" algn="ctr">
                <a:spcBef>
                  <a:spcPct val="0"/>
                </a:spcBef>
                <a:spcAft>
                  <a:spcPct val="0"/>
                </a:spcAft>
              </a:pPr>
              <a:t>4</a:t>
            </a:fld>
            <a:endParaRPr lang="en-US" sz="1050" dirty="0">
              <a:latin typeface="Calibri" panose="020F0502020204030204" pitchFamily="34" charset="0"/>
              <a:cs typeface="+mn-cs"/>
            </a:endParaRPr>
          </a:p>
        </p:txBody>
      </p:sp>
      <p:sp>
        <p:nvSpPr>
          <p:cNvPr id="38" name="Text Placeholder 4">
            <a:extLst>
              <a:ext uri="{FF2B5EF4-FFF2-40B4-BE49-F238E27FC236}">
                <a16:creationId xmlns:a16="http://schemas.microsoft.com/office/drawing/2014/main" id="{4EE68189-46BC-251D-50E7-BB21200E032C}"/>
              </a:ext>
            </a:extLst>
          </p:cNvPr>
          <p:cNvSpPr txBox="1">
            <a:spLocks/>
          </p:cNvSpPr>
          <p:nvPr>
            <p:custDataLst>
              <p:tags r:id="rId7"/>
            </p:custDataLst>
          </p:nvPr>
        </p:nvSpPr>
        <p:spPr bwMode="gray">
          <a:xfrm>
            <a:off x="2527300"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405AAD4-7091-40F0-A229-257D0DC747AE}" type="datetime'''''''''''''''''''''''''''''''''''''''''''5'">
              <a:rPr lang="en-US" altLang="en-US" sz="1050" smtClean="0">
                <a:effectLst/>
                <a:latin typeface="Calibri" panose="020F0502020204030204" pitchFamily="34" charset="0"/>
                <a:cs typeface="+mn-cs"/>
              </a:rPr>
              <a:pPr algn="ctr">
                <a:spcBef>
                  <a:spcPct val="0"/>
                </a:spcBef>
                <a:spcAft>
                  <a:spcPct val="0"/>
                </a:spcAft>
              </a:pPr>
              <a:t>5</a:t>
            </a:fld>
            <a:endParaRPr lang="en-US" sz="1050" dirty="0">
              <a:latin typeface="Calibri" panose="020F0502020204030204" pitchFamily="34" charset="0"/>
              <a:cs typeface="+mn-cs"/>
            </a:endParaRPr>
          </a:p>
        </p:txBody>
      </p:sp>
      <p:sp>
        <p:nvSpPr>
          <p:cNvPr id="41"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2768600"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D569A1-8957-4435-8B3B-B46D7B0691EC}" type="datetime'''''6'''''''''''''''''''''''''''''''''''''''''">
              <a:rPr lang="en-US" altLang="en-US" sz="1050" smtClean="0">
                <a:effectLst/>
                <a:latin typeface="Calibri" panose="020F0502020204030204" pitchFamily="34" charset="0"/>
                <a:cs typeface="+mn-cs"/>
              </a:rPr>
              <a:pPr lvl="0" algn="ctr">
                <a:spcBef>
                  <a:spcPct val="0"/>
                </a:spcBef>
                <a:spcAft>
                  <a:spcPct val="0"/>
                </a:spcAft>
              </a:pPr>
              <a:t>6</a:t>
            </a:fld>
            <a:endParaRPr lang="en-US" sz="1050" dirty="0">
              <a:latin typeface="Calibri" panose="020F0502020204030204" pitchFamily="34" charset="0"/>
              <a:cs typeface="+mn-cs"/>
            </a:endParaRPr>
          </a:p>
        </p:txBody>
      </p:sp>
      <p:sp>
        <p:nvSpPr>
          <p:cNvPr id="42"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3009900"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A1A765-203C-40EC-9BCC-1D0531B7B3DA}" type="datetime'''''''''''''''''''''7'''''">
              <a:rPr lang="en-US" altLang="en-US" sz="1050" smtClean="0">
                <a:effectLst/>
                <a:latin typeface="Calibri" panose="020F0502020204030204" pitchFamily="34" charset="0"/>
                <a:cs typeface="+mn-cs"/>
              </a:rPr>
              <a:pPr lvl="0" algn="ctr">
                <a:spcBef>
                  <a:spcPct val="0"/>
                </a:spcBef>
                <a:spcAft>
                  <a:spcPct val="0"/>
                </a:spcAft>
              </a:pPr>
              <a:t>7</a:t>
            </a:fld>
            <a:endParaRPr lang="en-US" sz="1050" dirty="0">
              <a:latin typeface="Calibri" panose="020F0502020204030204" pitchFamily="34" charset="0"/>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3251200"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E7C0A77-ABC2-4AA0-89E8-37CED3F92B69}" type="datetime'''''''''''''''''''''''''''''''8'''">
              <a:rPr lang="en-US" altLang="en-US" sz="1050" smtClean="0">
                <a:effectLst/>
                <a:latin typeface="Calibri" panose="020F0502020204030204" pitchFamily="34" charset="0"/>
                <a:cs typeface="+mn-cs"/>
              </a:rPr>
              <a:pPr lvl="0" algn="ctr">
                <a:spcBef>
                  <a:spcPct val="0"/>
                </a:spcBef>
                <a:spcAft>
                  <a:spcPct val="0"/>
                </a:spcAft>
              </a:pPr>
              <a:t>8</a:t>
            </a:fld>
            <a:endParaRPr lang="en-US" sz="1050" dirty="0">
              <a:latin typeface="Calibri" panose="020F0502020204030204" pitchFamily="34" charset="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3492500" y="5681663"/>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9B2C9F-F384-4CEF-82CF-A8DCB1C6A545}" type="datetime'''''''9'''''''''''''''''''''''''''''''''''''''">
              <a:rPr lang="en-US" altLang="en-US" sz="1050" smtClean="0">
                <a:effectLst/>
                <a:latin typeface="Calibri" panose="020F0502020204030204" pitchFamily="34" charset="0"/>
                <a:cs typeface="+mn-cs"/>
              </a:rPr>
              <a:pPr lvl="0" algn="ctr">
                <a:spcBef>
                  <a:spcPct val="0"/>
                </a:spcBef>
                <a:spcAft>
                  <a:spcPct val="0"/>
                </a:spcAft>
              </a:pPr>
              <a:t>9</a:t>
            </a:fld>
            <a:endParaRPr lang="en-US" sz="1050" dirty="0">
              <a:latin typeface="Calibri" panose="020F0502020204030204" pitchFamily="34" charset="0"/>
              <a:cs typeface="+mn-cs"/>
            </a:endParaRPr>
          </a:p>
        </p:txBody>
      </p:sp>
      <p:sp>
        <p:nvSpPr>
          <p:cNvPr id="183" name="Text Placeholder 4">
            <a:extLst>
              <a:ext uri="{FF2B5EF4-FFF2-40B4-BE49-F238E27FC236}">
                <a16:creationId xmlns:a16="http://schemas.microsoft.com/office/drawing/2014/main" id="{99841B3C-CB75-082B-366E-C601C28A1DE4}"/>
              </a:ext>
            </a:extLst>
          </p:cNvPr>
          <p:cNvSpPr txBox="1">
            <a:spLocks/>
          </p:cNvSpPr>
          <p:nvPr>
            <p:custDataLst>
              <p:tags r:id="rId12"/>
            </p:custDataLst>
          </p:nvPr>
        </p:nvSpPr>
        <p:spPr bwMode="gray">
          <a:xfrm>
            <a:off x="3687763" y="5681663"/>
            <a:ext cx="180975"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28E8768-A2A1-45CB-B83D-0B5187030EF7}" type="datetime'''''''''''''''''''''''''''''''1''''''''''''''''0'''''''''''''">
              <a:rPr lang="en-US" altLang="en-US" sz="1050" smtClean="0">
                <a:effectLst/>
                <a:latin typeface="Calibri" panose="020F0502020204030204" pitchFamily="34" charset="0"/>
                <a:cs typeface="+mn-cs"/>
              </a:rPr>
              <a:pPr algn="ctr">
                <a:spcBef>
                  <a:spcPct val="0"/>
                </a:spcBef>
                <a:spcAft>
                  <a:spcPct val="0"/>
                </a:spcAft>
              </a:pPr>
              <a:t>10</a:t>
            </a:fld>
            <a:endParaRPr lang="en-US" sz="1050" dirty="0">
              <a:latin typeface="Calibri" panose="020F0502020204030204" pitchFamily="34" charset="0"/>
              <a:cs typeface="+mn-cs"/>
            </a:endParaRPr>
          </a:p>
        </p:txBody>
      </p:sp>
      <p:sp>
        <p:nvSpPr>
          <p:cNvPr id="47"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39274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D4D1FE-B160-4DBD-B6CA-42DFD7DB9C19}" type="datetime'''''''''''''''''''1''''''1'''''''''''">
              <a:rPr lang="en-US" altLang="en-US" sz="1050" smtClean="0">
                <a:effectLst/>
                <a:latin typeface="Calibri" panose="020F0502020204030204" pitchFamily="34" charset="0"/>
                <a:cs typeface="+mn-cs"/>
              </a:rPr>
              <a:pPr lvl="0" algn="ctr">
                <a:spcBef>
                  <a:spcPct val="0"/>
                </a:spcBef>
                <a:spcAft>
                  <a:spcPct val="0"/>
                </a:spcAft>
              </a:pPr>
              <a:t>11</a:t>
            </a:fld>
            <a:endParaRPr lang="en-US" sz="1050" dirty="0">
              <a:latin typeface="Calibri" panose="020F0502020204030204" pitchFamily="34" charset="0"/>
              <a:cs typeface="+mn-cs"/>
            </a:endParaRPr>
          </a:p>
        </p:txBody>
      </p:sp>
      <p:sp>
        <p:nvSpPr>
          <p:cNvPr id="48"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41687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EDC598A-E878-4BC2-9604-22774C5D3F1B}" type="datetime'''''''1''''''''''''''''''''2'''''''''''''''''''">
              <a:rPr lang="en-US" altLang="en-US" sz="1050" smtClean="0">
                <a:effectLst/>
                <a:latin typeface="Calibri" panose="020F0502020204030204" pitchFamily="34" charset="0"/>
                <a:cs typeface="+mn-cs"/>
              </a:rPr>
              <a:pPr lvl="0" algn="ctr">
                <a:spcBef>
                  <a:spcPct val="0"/>
                </a:spcBef>
                <a:spcAft>
                  <a:spcPct val="0"/>
                </a:spcAft>
              </a:pPr>
              <a:t>12</a:t>
            </a:fld>
            <a:endParaRPr lang="en-US" sz="1050" dirty="0">
              <a:latin typeface="Calibri" panose="020F0502020204030204" pitchFamily="34" charset="0"/>
              <a:cs typeface="+mn-cs"/>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44100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01C1C4B-EB53-4048-AB6E-6D59632085C5}" type="datetime'''''''''''''''1''''''''''''''3'''''''''''''''">
              <a:rPr lang="en-US" altLang="en-US" sz="1050" smtClean="0">
                <a:effectLst/>
                <a:latin typeface="Calibri" panose="020F0502020204030204" pitchFamily="34" charset="0"/>
                <a:cs typeface="+mn-cs"/>
              </a:rPr>
              <a:pPr lvl="0" algn="ctr">
                <a:spcBef>
                  <a:spcPct val="0"/>
                </a:spcBef>
                <a:spcAft>
                  <a:spcPct val="0"/>
                </a:spcAft>
              </a:pPr>
              <a:t>13</a:t>
            </a:fld>
            <a:endParaRPr lang="en-US" sz="1050" dirty="0">
              <a:latin typeface="Calibri" panose="020F0502020204030204" pitchFamily="34" charset="0"/>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46513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7EBD97D-E19F-4EE2-99F5-794DEF9E398F}" type="datetime'''''''''''''''''''''''1''''''4'''">
              <a:rPr lang="en-US" altLang="en-US" sz="1050" smtClean="0">
                <a:effectLst/>
                <a:latin typeface="Calibri" panose="020F0502020204030204" pitchFamily="34" charset="0"/>
                <a:cs typeface="+mn-cs"/>
              </a:rPr>
              <a:pPr lvl="0" algn="ctr">
                <a:spcBef>
                  <a:spcPct val="0"/>
                </a:spcBef>
                <a:spcAft>
                  <a:spcPct val="0"/>
                </a:spcAft>
              </a:pPr>
              <a:t>14</a:t>
            </a:fld>
            <a:endParaRPr lang="en-US" sz="1050" dirty="0">
              <a:latin typeface="Calibri" panose="020F0502020204030204" pitchFamily="34" charset="0"/>
              <a:cs typeface="+mn-cs"/>
            </a:endParaRPr>
          </a:p>
        </p:txBody>
      </p:sp>
      <p:sp>
        <p:nvSpPr>
          <p:cNvPr id="39" name="Text Placeholder 4">
            <a:extLst>
              <a:ext uri="{FF2B5EF4-FFF2-40B4-BE49-F238E27FC236}">
                <a16:creationId xmlns:a16="http://schemas.microsoft.com/office/drawing/2014/main" id="{289725B6-D2D0-1A99-A5EA-2857A65CE698}"/>
              </a:ext>
            </a:extLst>
          </p:cNvPr>
          <p:cNvSpPr txBox="1">
            <a:spLocks/>
          </p:cNvSpPr>
          <p:nvPr>
            <p:custDataLst>
              <p:tags r:id="rId17"/>
            </p:custDataLst>
          </p:nvPr>
        </p:nvSpPr>
        <p:spPr bwMode="gray">
          <a:xfrm>
            <a:off x="48926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71EEBA7-881E-454C-A93A-7D7A3094123B}" type="datetime'''''''''''1''''''''''''''''5'''''''''''''''''''''''''''''''">
              <a:rPr lang="en-US" altLang="en-US" sz="1050" smtClean="0">
                <a:effectLst/>
                <a:latin typeface="Calibri" panose="020F0502020204030204" pitchFamily="34" charset="0"/>
                <a:cs typeface="+mn-cs"/>
              </a:rPr>
              <a:pPr algn="ctr">
                <a:spcBef>
                  <a:spcPct val="0"/>
                </a:spcBef>
                <a:spcAft>
                  <a:spcPct val="0"/>
                </a:spcAft>
              </a:pPr>
              <a:t>15</a:t>
            </a:fld>
            <a:endParaRPr lang="en-US" sz="1050" dirty="0">
              <a:latin typeface="Calibri" panose="020F0502020204030204" pitchFamily="34" charset="0"/>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51339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8C9A135-390B-44D3-A940-88B081604460}" type="datetime'''''''''''''''1''''''''''''''''''''''''''''''''''6'">
              <a:rPr lang="en-US" altLang="en-US" sz="1050" smtClean="0">
                <a:effectLst/>
                <a:latin typeface="Calibri" panose="020F0502020204030204" pitchFamily="34" charset="0"/>
                <a:cs typeface="+mn-cs"/>
              </a:rPr>
              <a:pPr lvl="0" algn="ctr">
                <a:spcBef>
                  <a:spcPct val="0"/>
                </a:spcBef>
                <a:spcAft>
                  <a:spcPct val="0"/>
                </a:spcAft>
              </a:pPr>
              <a:t>16</a:t>
            </a:fld>
            <a:endParaRPr lang="en-US" sz="1050" dirty="0">
              <a:latin typeface="Calibri" panose="020F0502020204030204" pitchFamily="34" charset="0"/>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53752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346C1D5-8618-42BF-8343-C7CD1F96E800}" type="datetime'''''1''''''''''''''''''''''''7'''">
              <a:rPr lang="en-US" altLang="en-US" sz="1050" smtClean="0">
                <a:effectLst/>
                <a:latin typeface="Calibri" panose="020F0502020204030204" pitchFamily="34" charset="0"/>
                <a:cs typeface="+mn-cs"/>
              </a:rPr>
              <a:pPr lvl="0" algn="ctr">
                <a:spcBef>
                  <a:spcPct val="0"/>
                </a:spcBef>
                <a:spcAft>
                  <a:spcPct val="0"/>
                </a:spcAft>
              </a:pPr>
              <a:t>17</a:t>
            </a:fld>
            <a:endParaRPr lang="en-US" sz="1050" dirty="0">
              <a:latin typeface="Calibri" panose="020F0502020204030204" pitchFamily="34" charset="0"/>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5616575"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B77CDD2-5385-48AC-8E55-6EA487D66D5A}" type="datetime'''''''''1''''''''''''8'''''''''''''''''''">
              <a:rPr lang="en-US" altLang="en-US" sz="1050" smtClean="0">
                <a:effectLst/>
                <a:latin typeface="Calibri" panose="020F0502020204030204" pitchFamily="34" charset="0"/>
                <a:cs typeface="+mn-cs"/>
              </a:rPr>
              <a:pPr lvl="0" algn="ctr">
                <a:spcBef>
                  <a:spcPct val="0"/>
                </a:spcBef>
                <a:spcAft>
                  <a:spcPct val="0"/>
                </a:spcAft>
              </a:pPr>
              <a:t>18</a:t>
            </a:fld>
            <a:endParaRPr lang="en-US" sz="1050" dirty="0">
              <a:latin typeface="Calibri" panose="020F0502020204030204" pitchFamily="34" charset="0"/>
              <a:cs typeface="+mn-cs"/>
            </a:endParaRPr>
          </a:p>
        </p:txBody>
      </p:sp>
      <p:sp>
        <p:nvSpPr>
          <p:cNvPr id="56"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5856288"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F772A5B-0D20-4E8E-B4B0-A8287AFF6B89}" type="datetime'''''''''''''''''''''''''''''''''''19'''''''''''''''''">
              <a:rPr lang="en-US" altLang="en-US" sz="1050" smtClean="0">
                <a:effectLst/>
                <a:latin typeface="Calibri" panose="020F0502020204030204" pitchFamily="34" charset="0"/>
                <a:cs typeface="+mn-cs"/>
              </a:rPr>
              <a:pPr lvl="0" algn="ctr">
                <a:spcBef>
                  <a:spcPct val="0"/>
                </a:spcBef>
                <a:spcAft>
                  <a:spcPct val="0"/>
                </a:spcAft>
              </a:pPr>
              <a:t>19</a:t>
            </a:fld>
            <a:endParaRPr lang="en-US" sz="1050" dirty="0">
              <a:latin typeface="Calibri" panose="020F0502020204030204" pitchFamily="34" charset="0"/>
              <a:cs typeface="+mn-cs"/>
            </a:endParaRPr>
          </a:p>
        </p:txBody>
      </p:sp>
      <p:sp>
        <p:nvSpPr>
          <p:cNvPr id="193" name="Text Placeholder 4">
            <a:extLst>
              <a:ext uri="{FF2B5EF4-FFF2-40B4-BE49-F238E27FC236}">
                <a16:creationId xmlns:a16="http://schemas.microsoft.com/office/drawing/2014/main" id="{44AF3140-BC01-8A5D-6DF3-698D404C6336}"/>
              </a:ext>
            </a:extLst>
          </p:cNvPr>
          <p:cNvSpPr txBox="1">
            <a:spLocks/>
          </p:cNvSpPr>
          <p:nvPr>
            <p:custDataLst>
              <p:tags r:id="rId22"/>
            </p:custDataLst>
          </p:nvPr>
        </p:nvSpPr>
        <p:spPr bwMode="gray">
          <a:xfrm>
            <a:off x="6097588" y="5681663"/>
            <a:ext cx="180975"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B19B3FA-C913-4C5D-94D7-C4F2C3C85B41}" type="datetime'''''''''''''''''''2''''''''''0'''''''''''''">
              <a:rPr lang="en-US" altLang="en-US" sz="1050" smtClean="0">
                <a:effectLst/>
                <a:latin typeface="Calibri" panose="020F0502020204030204" pitchFamily="34" charset="0"/>
                <a:cs typeface="+mn-cs"/>
              </a:rPr>
              <a:pPr algn="ctr">
                <a:spcBef>
                  <a:spcPct val="0"/>
                </a:spcBef>
                <a:spcAft>
                  <a:spcPct val="0"/>
                </a:spcAft>
              </a:pPr>
              <a:t>20</a:t>
            </a:fld>
            <a:endParaRPr lang="en-US" sz="1050" dirty="0">
              <a:latin typeface="Calibri" panose="020F0502020204030204" pitchFamily="34" charset="0"/>
              <a:cs typeface="+mn-cs"/>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6338888"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CD7FEFA-C9B3-4EFC-B88E-D2A534BE5670}" type="datetime'''2''''''''''''''''''''''''1'''''''">
              <a:rPr lang="en-US" altLang="en-US" sz="1050" smtClean="0">
                <a:effectLst/>
                <a:latin typeface="Calibri" panose="020F0502020204030204" pitchFamily="34" charset="0"/>
                <a:cs typeface="+mn-cs"/>
              </a:rPr>
              <a:pPr lvl="0" algn="ctr">
                <a:spcBef>
                  <a:spcPct val="0"/>
                </a:spcBef>
                <a:spcAft>
                  <a:spcPct val="0"/>
                </a:spcAft>
              </a:pPr>
              <a:t>21</a:t>
            </a:fld>
            <a:endParaRPr lang="en-US" sz="1050" dirty="0">
              <a:latin typeface="Calibri" panose="020F0502020204030204" pitchFamily="34" charset="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6580188"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994B694-34D6-49CC-910B-352B8B808FEA}" type="datetime'''''''''''''''''''''''2''''2'''''''">
              <a:rPr lang="en-US" altLang="en-US" sz="1050" smtClean="0">
                <a:effectLst/>
                <a:latin typeface="Calibri" panose="020F0502020204030204" pitchFamily="34" charset="0"/>
                <a:cs typeface="+mn-cs"/>
              </a:rPr>
              <a:pPr lvl="0" algn="ctr">
                <a:spcBef>
                  <a:spcPct val="0"/>
                </a:spcBef>
                <a:spcAft>
                  <a:spcPct val="0"/>
                </a:spcAft>
              </a:pPr>
              <a:t>22</a:t>
            </a:fld>
            <a:endParaRPr lang="en-US" sz="1050" dirty="0">
              <a:latin typeface="Calibri" panose="020F0502020204030204" pitchFamily="34" charset="0"/>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6821488"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51D200-E8B3-482E-8944-4C7807853E88}" type="datetime'''''''''''''''''''''23'''''''''''">
              <a:rPr lang="en-US" altLang="en-US" sz="1050" smtClean="0">
                <a:effectLst/>
                <a:latin typeface="Calibri" panose="020F0502020204030204" pitchFamily="34" charset="0"/>
                <a:cs typeface="+mn-cs"/>
              </a:rPr>
              <a:pPr lvl="0" algn="ctr">
                <a:spcBef>
                  <a:spcPct val="0"/>
                </a:spcBef>
                <a:spcAft>
                  <a:spcPct val="0"/>
                </a:spcAft>
              </a:pPr>
              <a:t>23</a:t>
            </a:fld>
            <a:endParaRPr lang="en-US" sz="1050" dirty="0">
              <a:latin typeface="Calibri" panose="020F0502020204030204" pitchFamily="34" charset="0"/>
              <a:cs typeface="+mn-cs"/>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7062788"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3C66026-E693-43C0-8A34-DAD66D90D88A}" type="datetime'''''''''''''''''2''4'''''''''''''''''''">
              <a:rPr lang="en-US" altLang="en-US" sz="1050" smtClean="0">
                <a:effectLst/>
                <a:latin typeface="Calibri" panose="020F0502020204030204" pitchFamily="34" charset="0"/>
                <a:cs typeface="+mn-cs"/>
              </a:rPr>
              <a:pPr lvl="0" algn="ctr">
                <a:spcBef>
                  <a:spcPct val="0"/>
                </a:spcBef>
                <a:spcAft>
                  <a:spcPct val="0"/>
                </a:spcAft>
              </a:pPr>
              <a:t>24</a:t>
            </a:fld>
            <a:endParaRPr lang="en-US" sz="1050" dirty="0">
              <a:latin typeface="Calibri" panose="020F0502020204030204" pitchFamily="34" charset="0"/>
              <a:cs typeface="+mn-cs"/>
            </a:endParaRPr>
          </a:p>
        </p:txBody>
      </p:sp>
      <p:sp>
        <p:nvSpPr>
          <p:cNvPr id="40" name="Text Placeholder 4">
            <a:extLst>
              <a:ext uri="{FF2B5EF4-FFF2-40B4-BE49-F238E27FC236}">
                <a16:creationId xmlns:a16="http://schemas.microsoft.com/office/drawing/2014/main" id="{353A61BC-282F-0F22-0A0F-F6A397CD9BB4}"/>
              </a:ext>
            </a:extLst>
          </p:cNvPr>
          <p:cNvSpPr txBox="1">
            <a:spLocks/>
          </p:cNvSpPr>
          <p:nvPr>
            <p:custDataLst>
              <p:tags r:id="rId27"/>
            </p:custDataLst>
          </p:nvPr>
        </p:nvSpPr>
        <p:spPr bwMode="gray">
          <a:xfrm>
            <a:off x="7304088"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D0A7621-B3B0-4D1E-A681-213CDC7FBB21}" type="datetime'''''''''''''''''''''''25'">
              <a:rPr lang="en-US" altLang="en-US" sz="1050" smtClean="0">
                <a:effectLst/>
                <a:latin typeface="Calibri" panose="020F0502020204030204" pitchFamily="34" charset="0"/>
                <a:cs typeface="+mn-cs"/>
              </a:rPr>
              <a:pPr algn="ctr">
                <a:spcBef>
                  <a:spcPct val="0"/>
                </a:spcBef>
                <a:spcAft>
                  <a:spcPct val="0"/>
                </a:spcAft>
              </a:pPr>
              <a:t>25</a:t>
            </a:fld>
            <a:endParaRPr lang="en-US" sz="1050" dirty="0">
              <a:latin typeface="Calibri" panose="020F0502020204030204" pitchFamily="34" charset="0"/>
              <a:cs typeface="+mn-cs"/>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7543800"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A38A532-F3D7-48C5-8383-D1CFD3D73AF9}" type="datetime'''''''''''''''''''2''''''''''''''''''''''''6'''''''''">
              <a:rPr lang="en-US" altLang="en-US" sz="1050" smtClean="0">
                <a:effectLst/>
                <a:latin typeface="Calibri" panose="020F0502020204030204" pitchFamily="34" charset="0"/>
                <a:cs typeface="+mn-cs"/>
              </a:rPr>
              <a:pPr lvl="0" algn="ctr">
                <a:spcBef>
                  <a:spcPct val="0"/>
                </a:spcBef>
                <a:spcAft>
                  <a:spcPct val="0"/>
                </a:spcAft>
              </a:pPr>
              <a:t>26</a:t>
            </a:fld>
            <a:endParaRPr lang="en-US" sz="1050" dirty="0">
              <a:latin typeface="Calibri" panose="020F0502020204030204" pitchFamily="34" charset="0"/>
              <a:cs typeface="+mn-cs"/>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7785100"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EB3E23-1069-4BF3-9363-CB03FBCFC594}" type="datetime'''2''''''''''''''''''''''''''''''''7'''''''''''''''''''''''''">
              <a:rPr lang="en-US" altLang="en-US" sz="1050" smtClean="0">
                <a:effectLst/>
                <a:latin typeface="Calibri" panose="020F0502020204030204" pitchFamily="34" charset="0"/>
                <a:cs typeface="+mn-cs"/>
              </a:rPr>
              <a:pPr lvl="0" algn="ctr">
                <a:spcBef>
                  <a:spcPct val="0"/>
                </a:spcBef>
                <a:spcAft>
                  <a:spcPct val="0"/>
                </a:spcAft>
              </a:pPr>
              <a:t>27</a:t>
            </a:fld>
            <a:endParaRPr lang="en-US" sz="1050" dirty="0">
              <a:latin typeface="Calibri" panose="020F0502020204030204" pitchFamily="34" charset="0"/>
              <a:cs typeface="+mn-cs"/>
            </a:endParaRPr>
          </a:p>
        </p:txBody>
      </p:sp>
      <p:sp>
        <p:nvSpPr>
          <p:cNvPr id="63"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8026400"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D02F177-8655-4C71-81D3-41270A41B7E2}" type="datetime'''''''''''''''''2''''''''''''''''''''''''''''''8'''''''">
              <a:rPr lang="en-US" altLang="en-US" sz="1050" smtClean="0">
                <a:effectLst/>
                <a:latin typeface="Calibri" panose="020F0502020204030204" pitchFamily="34" charset="0"/>
                <a:cs typeface="+mn-cs"/>
              </a:rPr>
              <a:pPr lvl="0" algn="ctr">
                <a:spcBef>
                  <a:spcPct val="0"/>
                </a:spcBef>
                <a:spcAft>
                  <a:spcPct val="0"/>
                </a:spcAft>
              </a:pPr>
              <a:t>28</a:t>
            </a:fld>
            <a:endParaRPr lang="en-US" sz="1050" dirty="0">
              <a:latin typeface="Calibri" panose="020F0502020204030204" pitchFamily="34" charset="0"/>
              <a:cs typeface="+mn-cs"/>
            </a:endParaRPr>
          </a:p>
        </p:txBody>
      </p:sp>
      <p:sp>
        <p:nvSpPr>
          <p:cNvPr id="92"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8267700" y="56816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F132E3-FFEF-4D6D-A8DE-E8BB9CEFC2E3}" type="datetime'''2''''''''9'''''''''''''''''''''''''''''''''''''">
              <a:rPr lang="en-US" altLang="en-US" sz="1050" smtClean="0">
                <a:effectLst/>
                <a:latin typeface="Calibri" panose="020F0502020204030204" pitchFamily="34" charset="0"/>
                <a:cs typeface="+mn-cs"/>
              </a:rPr>
              <a:pPr lvl="0" algn="ctr">
                <a:spcBef>
                  <a:spcPct val="0"/>
                </a:spcBef>
                <a:spcAft>
                  <a:spcPct val="0"/>
                </a:spcAft>
              </a:pPr>
              <a:t>29</a:t>
            </a:fld>
            <a:endParaRPr lang="en-US" sz="1050" dirty="0">
              <a:latin typeface="Calibri" panose="020F0502020204030204" pitchFamily="34" charset="0"/>
              <a:cs typeface="+mn-cs"/>
            </a:endParaRPr>
          </a:p>
        </p:txBody>
      </p:sp>
      <p:sp>
        <p:nvSpPr>
          <p:cNvPr id="14" name="Text Placeholder 4">
            <a:extLst>
              <a:ext uri="{FF2B5EF4-FFF2-40B4-BE49-F238E27FC236}">
                <a16:creationId xmlns:a16="http://schemas.microsoft.com/office/drawing/2014/main" id="{23B43E94-4BED-D966-85B5-B53DDE838621}"/>
              </a:ext>
            </a:extLst>
          </p:cNvPr>
          <p:cNvSpPr txBox="1">
            <a:spLocks/>
          </p:cNvSpPr>
          <p:nvPr>
            <p:custDataLst>
              <p:tags r:id="rId32"/>
            </p:custDataLst>
          </p:nvPr>
        </p:nvSpPr>
        <p:spPr bwMode="gray">
          <a:xfrm>
            <a:off x="1158875" y="5516563"/>
            <a:ext cx="904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C526ECB-19D9-4E31-AA27-8D37A4E9B20E}" type="datetime'''''''''''''''''''''''''''''''''''0'''''''''''''''">
              <a:rPr lang="en-US" altLang="en-US" sz="1050" smtClean="0">
                <a:latin typeface="Calibri" panose="020F0502020204030204" pitchFamily="34" charset="0"/>
                <a:cs typeface="+mn-cs"/>
              </a:rPr>
              <a:pPr algn="r">
                <a:spcBef>
                  <a:spcPct val="0"/>
                </a:spcBef>
                <a:spcAft>
                  <a:spcPct val="0"/>
                </a:spcAft>
              </a:pPr>
              <a:t>0</a:t>
            </a:fld>
            <a:endParaRPr lang="en-US" sz="1050" dirty="0">
              <a:latin typeface="Calibri" panose="020F0502020204030204" pitchFamily="34" charset="0"/>
              <a:cs typeface="+mn-cs"/>
            </a:endParaRPr>
          </a:p>
        </p:txBody>
      </p:sp>
      <p:sp>
        <p:nvSpPr>
          <p:cNvPr id="64" name="Text Placeholder 4">
            <a:extLst>
              <a:ext uri="{FF2B5EF4-FFF2-40B4-BE49-F238E27FC236}">
                <a16:creationId xmlns:a16="http://schemas.microsoft.com/office/drawing/2014/main" id="{AC6AE3A3-4DC7-9120-C231-3DD527695E71}"/>
              </a:ext>
            </a:extLst>
          </p:cNvPr>
          <p:cNvSpPr txBox="1">
            <a:spLocks/>
          </p:cNvSpPr>
          <p:nvPr>
            <p:custDataLst>
              <p:tags r:id="rId33"/>
            </p:custDataLst>
          </p:nvPr>
        </p:nvSpPr>
        <p:spPr bwMode="gray">
          <a:xfrm>
            <a:off x="842963" y="5126038"/>
            <a:ext cx="406400"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B28D1D3-7485-4D09-A74B-3D7FE2C6FD6A}" type="datetime'''''5'''''',''''''''''''''0''''''''''''''''''''''0''''0'">
              <a:rPr lang="en-US" altLang="en-US" sz="1050" smtClean="0">
                <a:effectLst/>
                <a:latin typeface="Calibri" panose="020F0502020204030204" pitchFamily="34" charset="0"/>
                <a:cs typeface="+mn-cs"/>
              </a:rPr>
              <a:pPr algn="r">
                <a:spcBef>
                  <a:spcPct val="0"/>
                </a:spcBef>
                <a:spcAft>
                  <a:spcPct val="0"/>
                </a:spcAft>
              </a:pPr>
              <a:t>5,000</a:t>
            </a:fld>
            <a:endParaRPr lang="en-US" sz="1050" dirty="0">
              <a:latin typeface="Calibri" panose="020F0502020204030204" pitchFamily="34" charset="0"/>
              <a:cs typeface="+mn-cs"/>
            </a:endParaRPr>
          </a:p>
        </p:txBody>
      </p:sp>
      <p:sp>
        <p:nvSpPr>
          <p:cNvPr id="65" name="Text Placeholder 4">
            <a:extLst>
              <a:ext uri="{FF2B5EF4-FFF2-40B4-BE49-F238E27FC236}">
                <a16:creationId xmlns:a16="http://schemas.microsoft.com/office/drawing/2014/main" id="{D1DDEF39-AD05-657F-2EAB-9AB9D9838111}"/>
              </a:ext>
            </a:extLst>
          </p:cNvPr>
          <p:cNvSpPr txBox="1">
            <a:spLocks/>
          </p:cNvSpPr>
          <p:nvPr>
            <p:custDataLst>
              <p:tags r:id="rId34"/>
            </p:custDataLst>
          </p:nvPr>
        </p:nvSpPr>
        <p:spPr bwMode="gray">
          <a:xfrm>
            <a:off x="752475" y="4735513"/>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32479A5-3335-4772-A94E-CBAB38CEEE13}" type="datetime'''''''''''''''''1''''''''''''''0'''''''''''',0''0''0'">
              <a:rPr lang="en-US" altLang="en-US" sz="1050" smtClean="0">
                <a:effectLst/>
                <a:latin typeface="Calibri" panose="020F0502020204030204" pitchFamily="34" charset="0"/>
                <a:cs typeface="+mn-cs"/>
              </a:rPr>
              <a:pPr algn="r">
                <a:spcBef>
                  <a:spcPct val="0"/>
                </a:spcBef>
                <a:spcAft>
                  <a:spcPct val="0"/>
                </a:spcAft>
              </a:pPr>
              <a:t>10,000</a:t>
            </a:fld>
            <a:endParaRPr lang="en-US" sz="1050" dirty="0">
              <a:latin typeface="Calibri" panose="020F0502020204030204" pitchFamily="34" charset="0"/>
              <a:cs typeface="+mn-cs"/>
            </a:endParaRPr>
          </a:p>
        </p:txBody>
      </p:sp>
      <p:sp>
        <p:nvSpPr>
          <p:cNvPr id="66" name="Text Placeholder 4">
            <a:extLst>
              <a:ext uri="{FF2B5EF4-FFF2-40B4-BE49-F238E27FC236}">
                <a16:creationId xmlns:a16="http://schemas.microsoft.com/office/drawing/2014/main" id="{95B002D0-0EA2-FAB8-70FA-296D8A44E38D}"/>
              </a:ext>
            </a:extLst>
          </p:cNvPr>
          <p:cNvSpPr txBox="1">
            <a:spLocks/>
          </p:cNvSpPr>
          <p:nvPr>
            <p:custDataLst>
              <p:tags r:id="rId35"/>
            </p:custDataLst>
          </p:nvPr>
        </p:nvSpPr>
        <p:spPr bwMode="gray">
          <a:xfrm>
            <a:off x="752475" y="4344988"/>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FAC555C-096F-4A10-A2FC-D8A3DED97AAB}" type="datetime'''''1''5'''''''''''''',''''''''''0''''''''''''''''''0''''''0'">
              <a:rPr lang="en-US" altLang="en-US" sz="1050" smtClean="0">
                <a:effectLst/>
                <a:latin typeface="Calibri" panose="020F0502020204030204" pitchFamily="34" charset="0"/>
                <a:cs typeface="+mn-cs"/>
              </a:rPr>
              <a:pPr algn="r">
                <a:spcBef>
                  <a:spcPct val="0"/>
                </a:spcBef>
                <a:spcAft>
                  <a:spcPct val="0"/>
                </a:spcAft>
              </a:pPr>
              <a:t>15,000</a:t>
            </a:fld>
            <a:endParaRPr lang="en-US" sz="1050" dirty="0">
              <a:latin typeface="Calibri" panose="020F0502020204030204" pitchFamily="34" charset="0"/>
              <a:cs typeface="+mn-cs"/>
            </a:endParaRPr>
          </a:p>
        </p:txBody>
      </p:sp>
      <p:sp>
        <p:nvSpPr>
          <p:cNvPr id="67" name="Text Placeholder 4">
            <a:extLst>
              <a:ext uri="{FF2B5EF4-FFF2-40B4-BE49-F238E27FC236}">
                <a16:creationId xmlns:a16="http://schemas.microsoft.com/office/drawing/2014/main" id="{AD697414-45B9-9C47-4C4D-9DF6DFC2441F}"/>
              </a:ext>
            </a:extLst>
          </p:cNvPr>
          <p:cNvSpPr txBox="1">
            <a:spLocks/>
          </p:cNvSpPr>
          <p:nvPr>
            <p:custDataLst>
              <p:tags r:id="rId36"/>
            </p:custDataLst>
          </p:nvPr>
        </p:nvSpPr>
        <p:spPr bwMode="gray">
          <a:xfrm>
            <a:off x="752475" y="3952875"/>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6325C8DE-8F31-4C7A-BB40-F49E38B4D5E7}" type="datetime'2''''''''0'''''''''''''''''''''''',0''''''''''''0''''''''''0'">
              <a:rPr lang="en-US" altLang="en-US" sz="1050" smtClean="0">
                <a:effectLst/>
                <a:latin typeface="Calibri" panose="020F0502020204030204" pitchFamily="34" charset="0"/>
                <a:cs typeface="+mn-cs"/>
              </a:rPr>
              <a:pPr algn="r">
                <a:spcBef>
                  <a:spcPct val="0"/>
                </a:spcBef>
                <a:spcAft>
                  <a:spcPct val="0"/>
                </a:spcAft>
              </a:pPr>
              <a:t>20,000</a:t>
            </a:fld>
            <a:endParaRPr lang="en-US" sz="1050" dirty="0">
              <a:latin typeface="Calibri" panose="020F0502020204030204" pitchFamily="34" charset="0"/>
              <a:cs typeface="+mn-cs"/>
            </a:endParaRPr>
          </a:p>
        </p:txBody>
      </p:sp>
      <p:sp>
        <p:nvSpPr>
          <p:cNvPr id="68" name="Text Placeholder 4">
            <a:extLst>
              <a:ext uri="{FF2B5EF4-FFF2-40B4-BE49-F238E27FC236}">
                <a16:creationId xmlns:a16="http://schemas.microsoft.com/office/drawing/2014/main" id="{DD429B6F-7D49-4C55-8068-26C6BCE5F329}"/>
              </a:ext>
            </a:extLst>
          </p:cNvPr>
          <p:cNvSpPr txBox="1">
            <a:spLocks/>
          </p:cNvSpPr>
          <p:nvPr>
            <p:custDataLst>
              <p:tags r:id="rId37"/>
            </p:custDataLst>
          </p:nvPr>
        </p:nvSpPr>
        <p:spPr bwMode="gray">
          <a:xfrm>
            <a:off x="752475" y="3562350"/>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EBA22160-E563-48E1-8794-BED378DD6E36}" type="datetime'''2''''''''5'''',''''''''''''''''''''0''00'''''''''''''''">
              <a:rPr lang="en-US" altLang="en-US" sz="1050" smtClean="0">
                <a:effectLst/>
                <a:latin typeface="Calibri" panose="020F0502020204030204" pitchFamily="34" charset="0"/>
                <a:cs typeface="+mn-cs"/>
              </a:rPr>
              <a:pPr algn="r">
                <a:spcBef>
                  <a:spcPct val="0"/>
                </a:spcBef>
                <a:spcAft>
                  <a:spcPct val="0"/>
                </a:spcAft>
              </a:pPr>
              <a:t>25,000</a:t>
            </a:fld>
            <a:endParaRPr lang="en-US" sz="1050" dirty="0">
              <a:latin typeface="Calibri" panose="020F0502020204030204" pitchFamily="34" charset="0"/>
              <a:cs typeface="+mn-cs"/>
            </a:endParaRPr>
          </a:p>
        </p:txBody>
      </p:sp>
      <p:sp>
        <p:nvSpPr>
          <p:cNvPr id="69" name="Text Placeholder 4">
            <a:extLst>
              <a:ext uri="{FF2B5EF4-FFF2-40B4-BE49-F238E27FC236}">
                <a16:creationId xmlns:a16="http://schemas.microsoft.com/office/drawing/2014/main" id="{3AF335FE-1753-F305-A8A0-8D5CE9DFEA8E}"/>
              </a:ext>
            </a:extLst>
          </p:cNvPr>
          <p:cNvSpPr txBox="1">
            <a:spLocks/>
          </p:cNvSpPr>
          <p:nvPr>
            <p:custDataLst>
              <p:tags r:id="rId38"/>
            </p:custDataLst>
          </p:nvPr>
        </p:nvSpPr>
        <p:spPr bwMode="gray">
          <a:xfrm>
            <a:off x="752475" y="3171825"/>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5B3A33C-89F0-4470-B6EF-4C736239F414}" type="datetime'''''30'''',00''''''''''''''''''''''''''''0'''">
              <a:rPr lang="en-US" altLang="en-US" sz="1050" smtClean="0">
                <a:effectLst/>
                <a:latin typeface="Calibri" panose="020F0502020204030204" pitchFamily="34" charset="0"/>
                <a:cs typeface="+mn-cs"/>
              </a:rPr>
              <a:pPr algn="r">
                <a:spcBef>
                  <a:spcPct val="0"/>
                </a:spcBef>
                <a:spcAft>
                  <a:spcPct val="0"/>
                </a:spcAft>
              </a:pPr>
              <a:t>30,000</a:t>
            </a:fld>
            <a:endParaRPr lang="en-US" sz="1050" dirty="0">
              <a:latin typeface="Calibri" panose="020F0502020204030204" pitchFamily="34" charset="0"/>
              <a:cs typeface="+mn-cs"/>
            </a:endParaRPr>
          </a:p>
        </p:txBody>
      </p:sp>
      <p:sp>
        <p:nvSpPr>
          <p:cNvPr id="70" name="Text Placeholder 4">
            <a:extLst>
              <a:ext uri="{FF2B5EF4-FFF2-40B4-BE49-F238E27FC236}">
                <a16:creationId xmlns:a16="http://schemas.microsoft.com/office/drawing/2014/main" id="{42955CBF-326E-530D-EEF3-DEB5416B2520}"/>
              </a:ext>
            </a:extLst>
          </p:cNvPr>
          <p:cNvSpPr txBox="1">
            <a:spLocks/>
          </p:cNvSpPr>
          <p:nvPr>
            <p:custDataLst>
              <p:tags r:id="rId39"/>
            </p:custDataLst>
          </p:nvPr>
        </p:nvSpPr>
        <p:spPr bwMode="gray">
          <a:xfrm>
            <a:off x="752475" y="2781300"/>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5960F1A-EDAB-42D7-8949-92E8F0B4E76C}" type="datetime'''''''''''''35'',0''''''''''''''''''''''''''''''0''''''0'''''">
              <a:rPr lang="en-US" altLang="en-US" sz="1050" smtClean="0">
                <a:effectLst/>
                <a:latin typeface="Calibri" panose="020F0502020204030204" pitchFamily="34" charset="0"/>
                <a:cs typeface="+mn-cs"/>
              </a:rPr>
              <a:pPr algn="r">
                <a:spcBef>
                  <a:spcPct val="0"/>
                </a:spcBef>
                <a:spcAft>
                  <a:spcPct val="0"/>
                </a:spcAft>
              </a:pPr>
              <a:t>35,000</a:t>
            </a:fld>
            <a:endParaRPr lang="en-US" sz="1050" dirty="0">
              <a:latin typeface="Calibri" panose="020F0502020204030204" pitchFamily="34" charset="0"/>
              <a:cs typeface="+mn-cs"/>
            </a:endParaRPr>
          </a:p>
        </p:txBody>
      </p:sp>
      <p:sp>
        <p:nvSpPr>
          <p:cNvPr id="71" name="Text Placeholder 4">
            <a:extLst>
              <a:ext uri="{FF2B5EF4-FFF2-40B4-BE49-F238E27FC236}">
                <a16:creationId xmlns:a16="http://schemas.microsoft.com/office/drawing/2014/main" id="{E149B426-7B76-2393-FE9D-04936F6C0EB2}"/>
              </a:ext>
            </a:extLst>
          </p:cNvPr>
          <p:cNvSpPr txBox="1">
            <a:spLocks/>
          </p:cNvSpPr>
          <p:nvPr>
            <p:custDataLst>
              <p:tags r:id="rId40"/>
            </p:custDataLst>
          </p:nvPr>
        </p:nvSpPr>
        <p:spPr bwMode="gray">
          <a:xfrm>
            <a:off x="752475" y="2390775"/>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E296673-4A6E-4999-B522-532B0B12F103}" type="datetime'''''''''''''''''''4''0,''''''0''00'''''''''''''">
              <a:rPr lang="en-US" altLang="en-US" sz="1050" smtClean="0">
                <a:effectLst/>
                <a:latin typeface="Calibri" panose="020F0502020204030204" pitchFamily="34" charset="0"/>
                <a:cs typeface="+mn-cs"/>
              </a:rPr>
              <a:pPr algn="r">
                <a:spcBef>
                  <a:spcPct val="0"/>
                </a:spcBef>
                <a:spcAft>
                  <a:spcPct val="0"/>
                </a:spcAft>
              </a:pPr>
              <a:t>40,000</a:t>
            </a:fld>
            <a:endParaRPr lang="en-US" sz="1050" dirty="0">
              <a:latin typeface="Calibri" panose="020F0502020204030204" pitchFamily="34" charset="0"/>
              <a:cs typeface="+mn-cs"/>
            </a:endParaRPr>
          </a:p>
        </p:txBody>
      </p:sp>
      <p:sp>
        <p:nvSpPr>
          <p:cNvPr id="72" name="Text Placeholder 4">
            <a:extLst>
              <a:ext uri="{FF2B5EF4-FFF2-40B4-BE49-F238E27FC236}">
                <a16:creationId xmlns:a16="http://schemas.microsoft.com/office/drawing/2014/main" id="{A31B2345-2454-37CA-442B-269B17C9EE1E}"/>
              </a:ext>
            </a:extLst>
          </p:cNvPr>
          <p:cNvSpPr txBox="1">
            <a:spLocks/>
          </p:cNvSpPr>
          <p:nvPr>
            <p:custDataLst>
              <p:tags r:id="rId41"/>
            </p:custDataLst>
          </p:nvPr>
        </p:nvSpPr>
        <p:spPr bwMode="gray">
          <a:xfrm>
            <a:off x="752475" y="2000250"/>
            <a:ext cx="4968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3A02B40-185D-4E17-8F70-7EE6BE0DC444}" type="datetime'''45'''''',''''''''''00''''''''''''''''0'''''''''''''''''">
              <a:rPr lang="en-US" altLang="en-US" sz="1050" smtClean="0">
                <a:effectLst/>
                <a:latin typeface="Calibri" panose="020F0502020204030204" pitchFamily="34" charset="0"/>
                <a:cs typeface="+mn-cs"/>
              </a:rPr>
              <a:pPr algn="r">
                <a:spcBef>
                  <a:spcPct val="0"/>
                </a:spcBef>
                <a:spcAft>
                  <a:spcPct val="0"/>
                </a:spcAft>
              </a:pPr>
              <a:t>45,000</a:t>
            </a:fld>
            <a:endParaRPr lang="en-US" sz="1050" dirty="0">
              <a:latin typeface="Calibri" panose="020F0502020204030204" pitchFamily="34" charset="0"/>
              <a:cs typeface="+mn-cs"/>
            </a:endParaRPr>
          </a:p>
        </p:txBody>
      </p:sp>
      <p:cxnSp>
        <p:nvCxnSpPr>
          <p:cNvPr id="12" name="Straight Connector 11">
            <a:extLst>
              <a:ext uri="{FF2B5EF4-FFF2-40B4-BE49-F238E27FC236}">
                <a16:creationId xmlns:a16="http://schemas.microsoft.com/office/drawing/2014/main" id="{E4EF2C33-0BA2-6951-96B6-86D183E0A0AB}"/>
              </a:ext>
            </a:extLst>
          </p:cNvPr>
          <p:cNvCxnSpPr>
            <a:cxnSpLocks/>
          </p:cNvCxnSpPr>
          <p:nvPr>
            <p:custDataLst>
              <p:tags r:id="rId42"/>
            </p:custDataLst>
          </p:nvPr>
        </p:nvCxnSpPr>
        <p:spPr bwMode="auto">
          <a:xfrm flipH="1" flipV="1">
            <a:off x="1665288" y="2614613"/>
            <a:ext cx="409575" cy="396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B710E6EF-212E-4A88-8651-70A5588E55AB}"/>
              </a:ext>
            </a:extLst>
          </p:cNvPr>
          <p:cNvCxnSpPr>
            <a:cxnSpLocks/>
          </p:cNvCxnSpPr>
          <p:nvPr>
            <p:custDataLst>
              <p:tags r:id="rId43"/>
            </p:custDataLst>
          </p:nvPr>
        </p:nvCxnSpPr>
        <p:spPr bwMode="auto">
          <a:xfrm flipH="1">
            <a:off x="4230688" y="3867150"/>
            <a:ext cx="482600" cy="1508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6458EF05-778A-B100-BBAA-4BA4A4A90817}"/>
              </a:ext>
            </a:extLst>
          </p:cNvPr>
          <p:cNvCxnSpPr/>
          <p:nvPr>
            <p:custDataLst>
              <p:tags r:id="rId44"/>
            </p:custDataLst>
          </p:nvPr>
        </p:nvCxnSpPr>
        <p:spPr bwMode="auto">
          <a:xfrm flipH="1">
            <a:off x="1792288" y="2065338"/>
            <a:ext cx="360363" cy="571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07C75587-5390-844D-23CC-BDAB7410306D}"/>
              </a:ext>
            </a:extLst>
          </p:cNvPr>
          <p:cNvCxnSpPr>
            <a:cxnSpLocks/>
          </p:cNvCxnSpPr>
          <p:nvPr>
            <p:custDataLst>
              <p:tags r:id="rId45"/>
            </p:custDataLst>
          </p:nvPr>
        </p:nvCxnSpPr>
        <p:spPr bwMode="auto">
          <a:xfrm flipH="1" flipV="1">
            <a:off x="1581150" y="3808413"/>
            <a:ext cx="33338" cy="206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85ED1979-0E26-B77D-E495-0536EDB8BE57}"/>
              </a:ext>
            </a:extLst>
          </p:cNvPr>
          <p:cNvCxnSpPr/>
          <p:nvPr>
            <p:custDataLst>
              <p:tags r:id="rId46"/>
            </p:custDataLst>
          </p:nvPr>
        </p:nvCxnSpPr>
        <p:spPr bwMode="auto">
          <a:xfrm flipH="1" flipV="1">
            <a:off x="1539875" y="4368800"/>
            <a:ext cx="52388" cy="1651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24821B8A-539F-85D3-0BE9-EEA4F595876C}"/>
              </a:ext>
            </a:extLst>
          </p:cNvPr>
          <p:cNvCxnSpPr/>
          <p:nvPr>
            <p:custDataLst>
              <p:tags r:id="rId47"/>
            </p:custDataLst>
          </p:nvPr>
        </p:nvCxnSpPr>
        <p:spPr bwMode="auto">
          <a:xfrm flipH="1">
            <a:off x="3371850" y="3348038"/>
            <a:ext cx="236538" cy="173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05388450-5F8C-F68E-8C2E-08B86B59522D}"/>
              </a:ext>
            </a:extLst>
          </p:cNvPr>
          <p:cNvCxnSpPr>
            <a:cxnSpLocks/>
          </p:cNvCxnSpPr>
          <p:nvPr>
            <p:custDataLst>
              <p:tags r:id="rId48"/>
            </p:custDataLst>
          </p:nvPr>
        </p:nvCxnSpPr>
        <p:spPr bwMode="auto">
          <a:xfrm flipH="1">
            <a:off x="3502026" y="3622675"/>
            <a:ext cx="360363" cy="2746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D24413E5-15F4-F33F-109A-B49D05B5D8F8}"/>
              </a:ext>
            </a:extLst>
          </p:cNvPr>
          <p:cNvCxnSpPr>
            <a:cxnSpLocks/>
          </p:cNvCxnSpPr>
          <p:nvPr>
            <p:custDataLst>
              <p:tags r:id="rId49"/>
            </p:custDataLst>
          </p:nvPr>
        </p:nvCxnSpPr>
        <p:spPr bwMode="auto">
          <a:xfrm flipH="1">
            <a:off x="1858963" y="2266950"/>
            <a:ext cx="68263" cy="31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E65C0A90-14BF-68DB-9AC5-BB587517BA2F}"/>
              </a:ext>
            </a:extLst>
          </p:cNvPr>
          <p:cNvCxnSpPr/>
          <p:nvPr>
            <p:custDataLst>
              <p:tags r:id="rId50"/>
            </p:custDataLst>
          </p:nvPr>
        </p:nvCxnSpPr>
        <p:spPr bwMode="auto">
          <a:xfrm flipH="1">
            <a:off x="2541587" y="3048000"/>
            <a:ext cx="241300" cy="317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349">
            <a:extLst>
              <a:ext uri="{FF2B5EF4-FFF2-40B4-BE49-F238E27FC236}">
                <a16:creationId xmlns:a16="http://schemas.microsoft.com/office/drawing/2014/main" id="{DDAC3AF1-2028-E095-CF32-E65EA2AA4ACB}"/>
              </a:ext>
            </a:extLst>
          </p:cNvPr>
          <p:cNvCxnSpPr/>
          <p:nvPr>
            <p:custDataLst>
              <p:tags r:id="rId51"/>
            </p:custDataLst>
          </p:nvPr>
        </p:nvCxnSpPr>
        <p:spPr bwMode="auto">
          <a:xfrm flipV="1">
            <a:off x="3332163" y="4489450"/>
            <a:ext cx="344487" cy="2936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B6919BD4-F48F-3F26-0658-FD86AC4A6351}"/>
              </a:ext>
            </a:extLst>
          </p:cNvPr>
          <p:cNvCxnSpPr/>
          <p:nvPr>
            <p:custDataLst>
              <p:tags r:id="rId52"/>
            </p:custDataLst>
          </p:nvPr>
        </p:nvCxnSpPr>
        <p:spPr bwMode="auto">
          <a:xfrm flipH="1">
            <a:off x="4529138" y="4206875"/>
            <a:ext cx="333375" cy="238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4C6CEAEA-D50C-0EA3-0B9B-720E1F6DCEAF}"/>
              </a:ext>
            </a:extLst>
          </p:cNvPr>
          <p:cNvCxnSpPr/>
          <p:nvPr>
            <p:custDataLst>
              <p:tags r:id="rId53"/>
            </p:custDataLst>
          </p:nvPr>
        </p:nvCxnSpPr>
        <p:spPr bwMode="auto">
          <a:xfrm flipV="1">
            <a:off x="2317750" y="4284663"/>
            <a:ext cx="209550" cy="4699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Text Placeholder 4">
            <a:extLst>
              <a:ext uri="{FF2B5EF4-FFF2-40B4-BE49-F238E27FC236}">
                <a16:creationId xmlns:a16="http://schemas.microsoft.com/office/drawing/2014/main" id="{4E055454-8FBC-3AF9-6E41-648E5AD37C14}"/>
              </a:ext>
            </a:extLst>
          </p:cNvPr>
          <p:cNvSpPr txBox="1">
            <a:spLocks/>
          </p:cNvSpPr>
          <p:nvPr>
            <p:custDataLst>
              <p:tags r:id="rId54"/>
            </p:custDataLst>
          </p:nvPr>
        </p:nvSpPr>
        <p:spPr bwMode="gray">
          <a:xfrm>
            <a:off x="1614488" y="3724275"/>
            <a:ext cx="715963" cy="6381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100" dirty="0">
                <a:latin typeface="Calibri" panose="020F0502020204030204" pitchFamily="34" charset="0"/>
                <a:cs typeface="+mn-cs"/>
              </a:rPr>
              <a:t>Develop-</a:t>
            </a:r>
            <a:br>
              <a:rPr lang="en-US" altLang="en-US" sz="1100" dirty="0">
                <a:latin typeface="Calibri" panose="020F0502020204030204" pitchFamily="34" charset="0"/>
                <a:cs typeface="+mn-cs"/>
              </a:rPr>
            </a:br>
            <a:r>
              <a:rPr lang="en-US" altLang="en-US" sz="1100" dirty="0">
                <a:latin typeface="Calibri" panose="020F0502020204030204" pitchFamily="34" charset="0"/>
                <a:cs typeface="+mn-cs"/>
              </a:rPr>
              <a:t>mental </a:t>
            </a:r>
            <a:br>
              <a:rPr lang="en-US" altLang="en-US" sz="1100" dirty="0">
                <a:latin typeface="Calibri" panose="020F0502020204030204" pitchFamily="34" charset="0"/>
                <a:cs typeface="+mn-cs"/>
              </a:rPr>
            </a:br>
            <a:r>
              <a:rPr lang="en-US" altLang="en-US" sz="1100" dirty="0">
                <a:latin typeface="Calibri" panose="020F0502020204030204" pitchFamily="34" charset="0"/>
                <a:cs typeface="+mn-cs"/>
              </a:rPr>
              <a:t>Disability</a:t>
            </a:r>
            <a:endParaRPr lang="en-US" sz="1100" dirty="0">
              <a:latin typeface="Calibri" panose="020F0502020204030204" pitchFamily="34" charset="0"/>
              <a:cs typeface="+mn-cs"/>
            </a:endParaRPr>
          </a:p>
        </p:txBody>
      </p:sp>
      <p:sp>
        <p:nvSpPr>
          <p:cNvPr id="78" name="Text Placeholder 4">
            <a:extLst>
              <a:ext uri="{FF2B5EF4-FFF2-40B4-BE49-F238E27FC236}">
                <a16:creationId xmlns:a16="http://schemas.microsoft.com/office/drawing/2014/main" id="{ACB42C30-65C9-F62A-CC7D-49F0A567A454}"/>
              </a:ext>
            </a:extLst>
          </p:cNvPr>
          <p:cNvSpPr txBox="1">
            <a:spLocks/>
          </p:cNvSpPr>
          <p:nvPr>
            <p:custDataLst>
              <p:tags r:id="rId55"/>
            </p:custDataLst>
          </p:nvPr>
        </p:nvSpPr>
        <p:spPr bwMode="gray">
          <a:xfrm>
            <a:off x="3659188" y="3409950"/>
            <a:ext cx="68580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C49B3D0D-2CBD-4A11-8F50-5142B6141ACB}" type="datetime'''D''i''a''''''b''''''''e''''''''t''''''e''''''''''''''''s'''">
              <a:rPr lang="en-US" altLang="en-US" sz="1100" smtClean="0">
                <a:effectLst/>
                <a:latin typeface="Calibri" panose="020F0502020204030204" pitchFamily="34" charset="0"/>
                <a:cs typeface="+mn-cs"/>
              </a:rPr>
              <a:pPr>
                <a:spcBef>
                  <a:spcPct val="0"/>
                </a:spcBef>
                <a:spcAft>
                  <a:spcPct val="0"/>
                </a:spcAft>
              </a:pPr>
              <a:t>Diabetes</a:t>
            </a:fld>
            <a:endParaRPr lang="en-US" sz="1100" dirty="0">
              <a:latin typeface="Calibri" panose="020F0502020204030204" pitchFamily="34" charset="0"/>
              <a:cs typeface="+mn-cs"/>
            </a:endParaRPr>
          </a:p>
        </p:txBody>
      </p:sp>
      <p:sp>
        <p:nvSpPr>
          <p:cNvPr id="79" name="Text Placeholder 4">
            <a:extLst>
              <a:ext uri="{FF2B5EF4-FFF2-40B4-BE49-F238E27FC236}">
                <a16:creationId xmlns:a16="http://schemas.microsoft.com/office/drawing/2014/main" id="{1B76C9E0-9B8C-EAAC-6241-944547313852}"/>
              </a:ext>
            </a:extLst>
          </p:cNvPr>
          <p:cNvSpPr txBox="1">
            <a:spLocks/>
          </p:cNvSpPr>
          <p:nvPr>
            <p:custDataLst>
              <p:tags r:id="rId56"/>
            </p:custDataLst>
          </p:nvPr>
        </p:nvSpPr>
        <p:spPr bwMode="gray">
          <a:xfrm>
            <a:off x="1439863" y="4533900"/>
            <a:ext cx="3714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94638BF3-2BE3-48CD-97A1-967CCA616273}" type="datetime'''''''Ey''es'''">
              <a:rPr lang="en-US" altLang="en-US" sz="1100" smtClean="0">
                <a:latin typeface="Calibri" panose="020F0502020204030204" pitchFamily="34" charset="0"/>
                <a:cs typeface="+mn-cs"/>
              </a:rPr>
              <a:pPr>
                <a:spcBef>
                  <a:spcPct val="0"/>
                </a:spcBef>
                <a:spcAft>
                  <a:spcPct val="0"/>
                </a:spcAft>
              </a:pPr>
              <a:t>Eyes</a:t>
            </a:fld>
            <a:endParaRPr lang="en-US" sz="1100" dirty="0">
              <a:latin typeface="Calibri" panose="020F0502020204030204" pitchFamily="34" charset="0"/>
              <a:cs typeface="+mn-cs"/>
            </a:endParaRPr>
          </a:p>
        </p:txBody>
      </p:sp>
      <p:sp>
        <p:nvSpPr>
          <p:cNvPr id="6" name="Text Placeholder 4">
            <a:extLst>
              <a:ext uri="{FF2B5EF4-FFF2-40B4-BE49-F238E27FC236}">
                <a16:creationId xmlns:a16="http://schemas.microsoft.com/office/drawing/2014/main" id="{E2A30A90-31EB-F106-C470-573921F55043}"/>
              </a:ext>
            </a:extLst>
          </p:cNvPr>
          <p:cNvSpPr txBox="1">
            <a:spLocks/>
          </p:cNvSpPr>
          <p:nvPr>
            <p:custDataLst>
              <p:tags r:id="rId57"/>
            </p:custDataLst>
          </p:nvPr>
        </p:nvSpPr>
        <p:spPr bwMode="auto">
          <a:xfrm>
            <a:off x="7426325" y="5957888"/>
            <a:ext cx="1022350"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r">
              <a:spcBef>
                <a:spcPct val="0"/>
              </a:spcBef>
              <a:spcAft>
                <a:spcPct val="0"/>
              </a:spcAft>
            </a:pPr>
            <a:r>
              <a:rPr lang="en-US" altLang="en-US" sz="1050" b="1" dirty="0">
                <a:latin typeface="Calibri" panose="020F0502020204030204" pitchFamily="34" charset="0"/>
                <a:cs typeface="+mn-cs"/>
              </a:rPr>
              <a:t>Prevalence, %</a:t>
            </a:r>
            <a:endParaRPr lang="en-US" sz="1100" b="1" dirty="0">
              <a:latin typeface="Calibri" panose="020F0502020204030204" pitchFamily="34" charset="0"/>
              <a:cs typeface="+mn-cs"/>
            </a:endParaRPr>
          </a:p>
        </p:txBody>
      </p:sp>
      <p:sp>
        <p:nvSpPr>
          <p:cNvPr id="81" name="Text Placeholder 4">
            <a:extLst>
              <a:ext uri="{FF2B5EF4-FFF2-40B4-BE49-F238E27FC236}">
                <a16:creationId xmlns:a16="http://schemas.microsoft.com/office/drawing/2014/main" id="{1BC02564-4A58-1EA5-EED2-1FF5A7690890}"/>
              </a:ext>
            </a:extLst>
          </p:cNvPr>
          <p:cNvSpPr txBox="1">
            <a:spLocks/>
          </p:cNvSpPr>
          <p:nvPr>
            <p:custDataLst>
              <p:tags r:id="rId58"/>
            </p:custDataLst>
          </p:nvPr>
        </p:nvSpPr>
        <p:spPr bwMode="gray">
          <a:xfrm>
            <a:off x="3506788" y="5141913"/>
            <a:ext cx="573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647AC877-B001-4063-A9B6-7584CCEC24A9}" type="datetime'''''''''G''''e''''''''nit''''''''''''''''''''''a''''''l'''">
              <a:rPr lang="en-US" altLang="en-US" sz="1100" smtClean="0">
                <a:latin typeface="Calibri" panose="020F0502020204030204" pitchFamily="34" charset="0"/>
                <a:cs typeface="+mn-cs"/>
              </a:rPr>
              <a:pPr>
                <a:spcBef>
                  <a:spcPct val="0"/>
                </a:spcBef>
                <a:spcAft>
                  <a:spcPct val="0"/>
                </a:spcAft>
              </a:pPr>
              <a:t>Genital</a:t>
            </a:fld>
            <a:endParaRPr lang="en-US" sz="1100" dirty="0">
              <a:latin typeface="Calibri" panose="020F0502020204030204" pitchFamily="34" charset="0"/>
              <a:cs typeface="+mn-cs"/>
            </a:endParaRPr>
          </a:p>
        </p:txBody>
      </p:sp>
      <p:sp>
        <p:nvSpPr>
          <p:cNvPr id="82" name="Text Placeholder 4">
            <a:extLst>
              <a:ext uri="{FF2B5EF4-FFF2-40B4-BE49-F238E27FC236}">
                <a16:creationId xmlns:a16="http://schemas.microsoft.com/office/drawing/2014/main" id="{F3DA5082-BA7E-5BBC-0253-935CC2688403}"/>
              </a:ext>
            </a:extLst>
          </p:cNvPr>
          <p:cNvSpPr txBox="1">
            <a:spLocks/>
          </p:cNvSpPr>
          <p:nvPr>
            <p:custDataLst>
              <p:tags r:id="rId59"/>
            </p:custDataLst>
          </p:nvPr>
        </p:nvSpPr>
        <p:spPr bwMode="gray">
          <a:xfrm>
            <a:off x="1927225" y="2133600"/>
            <a:ext cx="108902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C3378237-46F1-451A-B835-66C20DFAF838}" type="datetime'''''''''''''''''He''''m''''''''''''''at''olo''gi''''ca''''''l'">
              <a:rPr lang="en-US" altLang="en-US" sz="1100" smtClean="0">
                <a:latin typeface="Calibri" panose="020F0502020204030204" pitchFamily="34" charset="0"/>
                <a:cs typeface="+mn-cs"/>
              </a:rPr>
              <a:pPr>
                <a:spcBef>
                  <a:spcPct val="0"/>
                </a:spcBef>
                <a:spcAft>
                  <a:spcPct val="0"/>
                </a:spcAft>
              </a:pPr>
              <a:t>Hematological</a:t>
            </a:fld>
            <a:endParaRPr lang="en-US" sz="1100" dirty="0">
              <a:latin typeface="Calibri" panose="020F0502020204030204" pitchFamily="34" charset="0"/>
              <a:cs typeface="+mn-cs"/>
            </a:endParaRPr>
          </a:p>
        </p:txBody>
      </p:sp>
      <p:sp>
        <p:nvSpPr>
          <p:cNvPr id="13" name="Text Placeholder 4">
            <a:extLst>
              <a:ext uri="{FF2B5EF4-FFF2-40B4-BE49-F238E27FC236}">
                <a16:creationId xmlns:a16="http://schemas.microsoft.com/office/drawing/2014/main" id="{229C98C8-8CFF-FEC8-3589-4E9254F029D9}"/>
              </a:ext>
            </a:extLst>
          </p:cNvPr>
          <p:cNvSpPr txBox="1">
            <a:spLocks/>
          </p:cNvSpPr>
          <p:nvPr>
            <p:custDataLst>
              <p:tags r:id="rId60"/>
            </p:custDataLst>
          </p:nvPr>
        </p:nvSpPr>
        <p:spPr bwMode="auto">
          <a:xfrm>
            <a:off x="549276" y="1693863"/>
            <a:ext cx="81438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8AEF4D7B-C85C-4245-AEAD-927CEA31F579}" type="datetime'''''''''P''M''''P''Y'''''''''', ''''''''''U''S''D'">
              <a:rPr lang="en-US" altLang="en-US" sz="1100" b="1" smtClean="0">
                <a:latin typeface="Calibri" panose="020F0502020204030204" pitchFamily="34" charset="0"/>
                <a:cs typeface="+mn-cs"/>
              </a:rPr>
              <a:pPr>
                <a:spcBef>
                  <a:spcPct val="0"/>
                </a:spcBef>
                <a:spcAft>
                  <a:spcPct val="0"/>
                </a:spcAft>
              </a:pPr>
              <a:t>PMPY, USD</a:t>
            </a:fld>
            <a:endParaRPr lang="en-US" sz="1100" b="1" dirty="0">
              <a:latin typeface="Calibri" panose="020F0502020204030204" pitchFamily="34" charset="0"/>
              <a:cs typeface="+mn-cs"/>
            </a:endParaRPr>
          </a:p>
        </p:txBody>
      </p:sp>
      <p:sp>
        <p:nvSpPr>
          <p:cNvPr id="83" name="Text Placeholder 4">
            <a:extLst>
              <a:ext uri="{FF2B5EF4-FFF2-40B4-BE49-F238E27FC236}">
                <a16:creationId xmlns:a16="http://schemas.microsoft.com/office/drawing/2014/main" id="{C9E2F91B-E4E2-19A6-4E90-74A6CBBBAE8E}"/>
              </a:ext>
            </a:extLst>
          </p:cNvPr>
          <p:cNvSpPr txBox="1">
            <a:spLocks/>
          </p:cNvSpPr>
          <p:nvPr>
            <p:custDataLst>
              <p:tags r:id="rId61"/>
            </p:custDataLst>
          </p:nvPr>
        </p:nvSpPr>
        <p:spPr bwMode="gray">
          <a:xfrm>
            <a:off x="2078038" y="2370138"/>
            <a:ext cx="1354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6230BB6C-AF84-411A-A12E-D03160C9B0BD}" type="datetime'I''''nf''ecti''ou''s'''' D''i''''''''''se''a''''s''''e'''''">
              <a:rPr lang="en-US" altLang="en-US" sz="1100" smtClean="0">
                <a:effectLst/>
                <a:latin typeface="Calibri" panose="020F0502020204030204" pitchFamily="34" charset="0"/>
                <a:cs typeface="+mn-cs"/>
              </a:rPr>
              <a:pPr>
                <a:spcBef>
                  <a:spcPct val="0"/>
                </a:spcBef>
                <a:spcAft>
                  <a:spcPct val="0"/>
                </a:spcAft>
              </a:pPr>
              <a:t>Infectious Disease</a:t>
            </a:fld>
            <a:endParaRPr lang="en-US" sz="1100" dirty="0">
              <a:latin typeface="Calibri" panose="020F0502020204030204" pitchFamily="34" charset="0"/>
              <a:cs typeface="+mn-cs"/>
            </a:endParaRPr>
          </a:p>
        </p:txBody>
      </p:sp>
      <p:sp>
        <p:nvSpPr>
          <p:cNvPr id="84" name="Text Placeholder 4">
            <a:extLst>
              <a:ext uri="{FF2B5EF4-FFF2-40B4-BE49-F238E27FC236}">
                <a16:creationId xmlns:a16="http://schemas.microsoft.com/office/drawing/2014/main" id="{0C55A825-65E3-CFAA-FC85-41E14F1DB018}"/>
              </a:ext>
            </a:extLst>
          </p:cNvPr>
          <p:cNvSpPr txBox="1">
            <a:spLocks/>
          </p:cNvSpPr>
          <p:nvPr>
            <p:custDataLst>
              <p:tags r:id="rId62"/>
            </p:custDataLst>
          </p:nvPr>
        </p:nvSpPr>
        <p:spPr bwMode="gray">
          <a:xfrm>
            <a:off x="2782888" y="2890838"/>
            <a:ext cx="779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D9844FD7-0115-4B74-BAB3-08740423E7A6}" type="datetime'''''''''''''''''M''''''''''e''t''''''a''''''b''''oli''''c'''">
              <a:rPr lang="en-US" altLang="en-US" sz="1100" smtClean="0">
                <a:latin typeface="Calibri" panose="020F0502020204030204" pitchFamily="34" charset="0"/>
                <a:cs typeface="+mn-cs"/>
              </a:rPr>
              <a:pPr>
                <a:spcBef>
                  <a:spcPct val="0"/>
                </a:spcBef>
                <a:spcAft>
                  <a:spcPct val="0"/>
                </a:spcAft>
              </a:pPr>
              <a:t>Metabolic</a:t>
            </a:fld>
            <a:endParaRPr lang="en-US" sz="1100" dirty="0">
              <a:latin typeface="Calibri" panose="020F0502020204030204" pitchFamily="34" charset="0"/>
              <a:cs typeface="+mn-cs"/>
            </a:endParaRPr>
          </a:p>
        </p:txBody>
      </p:sp>
      <p:sp>
        <p:nvSpPr>
          <p:cNvPr id="73" name="Text Placeholder 4">
            <a:extLst>
              <a:ext uri="{FF2B5EF4-FFF2-40B4-BE49-F238E27FC236}">
                <a16:creationId xmlns:a16="http://schemas.microsoft.com/office/drawing/2014/main" id="{46B68B10-2F5F-2487-E87A-12D6F65D73BA}"/>
              </a:ext>
            </a:extLst>
          </p:cNvPr>
          <p:cNvSpPr txBox="1">
            <a:spLocks/>
          </p:cNvSpPr>
          <p:nvPr>
            <p:custDataLst>
              <p:tags r:id="rId63"/>
            </p:custDataLst>
          </p:nvPr>
        </p:nvSpPr>
        <p:spPr bwMode="gray">
          <a:xfrm>
            <a:off x="2152650" y="1914525"/>
            <a:ext cx="550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6CF4D8A2-A850-466C-9999-2B1649BDA157}" type="datetime'''''Ca''''n''''''''''c''''''''''''''''''''''''er'''''">
              <a:rPr lang="en-US" altLang="en-US" sz="1100" smtClean="0">
                <a:latin typeface="Calibri" panose="020F0502020204030204" pitchFamily="34" charset="0"/>
                <a:cs typeface="+mn-cs"/>
              </a:rPr>
              <a:pPr>
                <a:spcBef>
                  <a:spcPct val="0"/>
                </a:spcBef>
                <a:spcAft>
                  <a:spcPct val="0"/>
                </a:spcAft>
              </a:pPr>
              <a:t>Cancer</a:t>
            </a:fld>
            <a:endParaRPr lang="en-US" sz="1100" dirty="0">
              <a:latin typeface="Calibri" panose="020F0502020204030204" pitchFamily="34" charset="0"/>
              <a:cs typeface="+mn-cs"/>
            </a:endParaRPr>
          </a:p>
        </p:txBody>
      </p:sp>
      <p:sp>
        <p:nvSpPr>
          <p:cNvPr id="85" name="Text Placeholder 4">
            <a:extLst>
              <a:ext uri="{FF2B5EF4-FFF2-40B4-BE49-F238E27FC236}">
                <a16:creationId xmlns:a16="http://schemas.microsoft.com/office/drawing/2014/main" id="{8AB8F28F-948C-04C2-D3AD-4348B075277F}"/>
              </a:ext>
            </a:extLst>
          </p:cNvPr>
          <p:cNvSpPr txBox="1">
            <a:spLocks/>
          </p:cNvSpPr>
          <p:nvPr>
            <p:custDataLst>
              <p:tags r:id="rId64"/>
            </p:custDataLst>
          </p:nvPr>
        </p:nvSpPr>
        <p:spPr bwMode="gray">
          <a:xfrm>
            <a:off x="4646613" y="4897438"/>
            <a:ext cx="6032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03579947-6A51-4633-9054-B3BB4C3CF5B3}" type="datetime'''O''''''''b''''''''''''''e''si''''t''y'">
              <a:rPr lang="en-US" altLang="en-US" sz="1100" smtClean="0">
                <a:latin typeface="Calibri" panose="020F0502020204030204" pitchFamily="34" charset="0"/>
                <a:cs typeface="+mn-cs"/>
              </a:rPr>
              <a:pPr>
                <a:spcBef>
                  <a:spcPct val="0"/>
                </a:spcBef>
                <a:spcAft>
                  <a:spcPct val="0"/>
                </a:spcAft>
              </a:pPr>
              <a:t>Obesity</a:t>
            </a:fld>
            <a:endParaRPr lang="en-US" sz="1100" dirty="0">
              <a:latin typeface="Calibri" panose="020F0502020204030204" pitchFamily="34" charset="0"/>
              <a:cs typeface="+mn-cs"/>
            </a:endParaRPr>
          </a:p>
        </p:txBody>
      </p:sp>
      <p:sp>
        <p:nvSpPr>
          <p:cNvPr id="80" name="Text Placeholder 4">
            <a:extLst>
              <a:ext uri="{FF2B5EF4-FFF2-40B4-BE49-F238E27FC236}">
                <a16:creationId xmlns:a16="http://schemas.microsoft.com/office/drawing/2014/main" id="{451030CE-1AD7-5E1B-640A-33E5FE046399}"/>
              </a:ext>
            </a:extLst>
          </p:cNvPr>
          <p:cNvSpPr txBox="1">
            <a:spLocks/>
          </p:cNvSpPr>
          <p:nvPr>
            <p:custDataLst>
              <p:tags r:id="rId65"/>
            </p:custDataLst>
          </p:nvPr>
        </p:nvSpPr>
        <p:spPr bwMode="gray">
          <a:xfrm>
            <a:off x="4454525" y="3654425"/>
            <a:ext cx="1201738"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FCD371C8-AB9E-4709-88ED-689FDFDCFE50}" type="datetime'G''a''''''s''''''tr''''o''i''''n''t''''''''est''i''n''''al'''">
              <a:rPr lang="en-US" altLang="en-US" sz="1100" smtClean="0">
                <a:effectLst/>
                <a:latin typeface="Calibri" panose="020F0502020204030204" pitchFamily="34" charset="0"/>
                <a:cs typeface="+mn-cs"/>
              </a:rPr>
              <a:pPr>
                <a:spcBef>
                  <a:spcPct val="0"/>
                </a:spcBef>
                <a:spcAft>
                  <a:spcPct val="0"/>
                </a:spcAft>
              </a:pPr>
              <a:t>Gastrointestinal</a:t>
            </a:fld>
            <a:endParaRPr lang="en-US" sz="1100" dirty="0">
              <a:latin typeface="Calibri" panose="020F0502020204030204" pitchFamily="34" charset="0"/>
              <a:cs typeface="+mn-cs"/>
            </a:endParaRPr>
          </a:p>
        </p:txBody>
      </p:sp>
      <p:sp>
        <p:nvSpPr>
          <p:cNvPr id="87" name="Text Placeholder 4">
            <a:extLst>
              <a:ext uri="{FF2B5EF4-FFF2-40B4-BE49-F238E27FC236}">
                <a16:creationId xmlns:a16="http://schemas.microsoft.com/office/drawing/2014/main" id="{996E265E-9465-F768-E63C-E180C344AA17}"/>
              </a:ext>
            </a:extLst>
          </p:cNvPr>
          <p:cNvSpPr txBox="1">
            <a:spLocks/>
          </p:cNvSpPr>
          <p:nvPr>
            <p:custDataLst>
              <p:tags r:id="rId66"/>
            </p:custDataLst>
          </p:nvPr>
        </p:nvSpPr>
        <p:spPr bwMode="gray">
          <a:xfrm>
            <a:off x="2789238" y="4783138"/>
            <a:ext cx="836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1E224365-3446-4045-B056-7A08F11F0230}" type="datetime'''''P''''''''''''''''''''''u''''''''''''lmona''''''''r''y'">
              <a:rPr lang="en-US" altLang="en-US" sz="1100" smtClean="0">
                <a:latin typeface="Calibri" panose="020F0502020204030204" pitchFamily="34" charset="0"/>
                <a:cs typeface="+mn-cs"/>
              </a:rPr>
              <a:pPr>
                <a:spcBef>
                  <a:spcPct val="0"/>
                </a:spcBef>
                <a:spcAft>
                  <a:spcPct val="0"/>
                </a:spcAft>
              </a:pPr>
              <a:t>Pulmonary</a:t>
            </a:fld>
            <a:endParaRPr lang="en-US" sz="1100" dirty="0">
              <a:latin typeface="Calibri" panose="020F0502020204030204" pitchFamily="34" charset="0"/>
              <a:cs typeface="+mn-cs"/>
            </a:endParaRPr>
          </a:p>
        </p:txBody>
      </p:sp>
      <p:sp>
        <p:nvSpPr>
          <p:cNvPr id="74" name="Text Placeholder 4">
            <a:extLst>
              <a:ext uri="{FF2B5EF4-FFF2-40B4-BE49-F238E27FC236}">
                <a16:creationId xmlns:a16="http://schemas.microsoft.com/office/drawing/2014/main" id="{426EE07A-D746-4A91-ECB0-B56780E01DA7}"/>
              </a:ext>
            </a:extLst>
          </p:cNvPr>
          <p:cNvSpPr txBox="1">
            <a:spLocks/>
          </p:cNvSpPr>
          <p:nvPr>
            <p:custDataLst>
              <p:tags r:id="rId67"/>
            </p:custDataLst>
          </p:nvPr>
        </p:nvSpPr>
        <p:spPr bwMode="gray">
          <a:xfrm>
            <a:off x="5730875" y="4845050"/>
            <a:ext cx="1109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5DDA9EE-56EF-4298-90F8-D35C658F2AB4}" type="datetime'C''a''r''d''''''io''''''''v''a''''''''''s''cu''''la''r'''">
              <a:rPr lang="en-US" altLang="en-US" sz="1100" smtClean="0">
                <a:latin typeface="Calibri" panose="020F0502020204030204" pitchFamily="34" charset="0"/>
                <a:cs typeface="+mn-cs"/>
              </a:rPr>
              <a:pPr algn="ctr">
                <a:spcBef>
                  <a:spcPct val="0"/>
                </a:spcBef>
                <a:spcAft>
                  <a:spcPct val="0"/>
                </a:spcAft>
              </a:pPr>
              <a:t>Cardiovascular</a:t>
            </a:fld>
            <a:endParaRPr lang="en-US" sz="1100" dirty="0">
              <a:latin typeface="Calibri" panose="020F0502020204030204" pitchFamily="34" charset="0"/>
              <a:cs typeface="+mn-cs"/>
            </a:endParaRPr>
          </a:p>
        </p:txBody>
      </p:sp>
      <p:sp>
        <p:nvSpPr>
          <p:cNvPr id="88" name="Text Placeholder 4">
            <a:extLst>
              <a:ext uri="{FF2B5EF4-FFF2-40B4-BE49-F238E27FC236}">
                <a16:creationId xmlns:a16="http://schemas.microsoft.com/office/drawing/2014/main" id="{F0F40486-1459-4D73-9225-5129697E1558}"/>
              </a:ext>
            </a:extLst>
          </p:cNvPr>
          <p:cNvSpPr txBox="1">
            <a:spLocks/>
          </p:cNvSpPr>
          <p:nvPr>
            <p:custDataLst>
              <p:tags r:id="rId68"/>
            </p:custDataLst>
          </p:nvPr>
        </p:nvSpPr>
        <p:spPr bwMode="gray">
          <a:xfrm>
            <a:off x="2174875" y="3384550"/>
            <a:ext cx="4540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3185769-62D2-4901-9393-2B4C1B61B42C}" type="datetime'''''''''R''e''''na''''''''''''''''''''''''''l'''''''''''''">
              <a:rPr lang="en-US" altLang="en-US" sz="1100" smtClean="0">
                <a:solidFill>
                  <a:schemeClr val="tx2"/>
                </a:solidFill>
                <a:effectLst/>
                <a:latin typeface="Calibri" panose="020F0502020204030204" pitchFamily="34" charset="0"/>
                <a:cs typeface="+mn-cs"/>
              </a:rPr>
              <a:pPr algn="ctr">
                <a:spcBef>
                  <a:spcPct val="0"/>
                </a:spcBef>
                <a:spcAft>
                  <a:spcPct val="0"/>
                </a:spcAft>
              </a:pPr>
              <a:t>Renal</a:t>
            </a:fld>
            <a:endParaRPr lang="en-US" sz="1100" dirty="0">
              <a:solidFill>
                <a:schemeClr val="tx2"/>
              </a:solidFill>
              <a:latin typeface="Calibri" panose="020F0502020204030204" pitchFamily="34" charset="0"/>
              <a:cs typeface="+mn-cs"/>
            </a:endParaRPr>
          </a:p>
        </p:txBody>
      </p:sp>
      <p:sp>
        <p:nvSpPr>
          <p:cNvPr id="89" name="Text Placeholder 4">
            <a:extLst>
              <a:ext uri="{FF2B5EF4-FFF2-40B4-BE49-F238E27FC236}">
                <a16:creationId xmlns:a16="http://schemas.microsoft.com/office/drawing/2014/main" id="{A2972839-3428-81C0-D78B-676CC4CB2D77}"/>
              </a:ext>
            </a:extLst>
          </p:cNvPr>
          <p:cNvSpPr txBox="1">
            <a:spLocks/>
          </p:cNvSpPr>
          <p:nvPr>
            <p:custDataLst>
              <p:tags r:id="rId69"/>
            </p:custDataLst>
          </p:nvPr>
        </p:nvSpPr>
        <p:spPr bwMode="gray">
          <a:xfrm>
            <a:off x="4862513" y="4078288"/>
            <a:ext cx="6096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601603EE-8C15-4330-B84A-D80D725ACCFD}" type="datetime'''''''Sk''''''''''''''''''e''''le''''''''''ta''''''''''''''l'">
              <a:rPr lang="en-US" altLang="en-US" sz="1100" smtClean="0">
                <a:latin typeface="Calibri" panose="020F0502020204030204" pitchFamily="34" charset="0"/>
                <a:cs typeface="+mn-cs"/>
              </a:rPr>
              <a:pPr>
                <a:spcBef>
                  <a:spcPct val="0"/>
                </a:spcBef>
                <a:spcAft>
                  <a:spcPct val="0"/>
                </a:spcAft>
              </a:pPr>
              <a:t>Skeletal</a:t>
            </a:fld>
            <a:endParaRPr lang="en-US" sz="1100" dirty="0">
              <a:latin typeface="Calibri" panose="020F0502020204030204" pitchFamily="34" charset="0"/>
              <a:cs typeface="+mn-cs"/>
            </a:endParaRPr>
          </a:p>
        </p:txBody>
      </p:sp>
      <p:sp>
        <p:nvSpPr>
          <p:cNvPr id="75" name="Text Placeholder 4">
            <a:extLst>
              <a:ext uri="{FF2B5EF4-FFF2-40B4-BE49-F238E27FC236}">
                <a16:creationId xmlns:a16="http://schemas.microsoft.com/office/drawing/2014/main" id="{3261B2C6-BEF9-EEA7-7B11-45BD6A0B0668}"/>
              </a:ext>
            </a:extLst>
          </p:cNvPr>
          <p:cNvSpPr txBox="1">
            <a:spLocks/>
          </p:cNvSpPr>
          <p:nvPr>
            <p:custDataLst>
              <p:tags r:id="rId70"/>
            </p:custDataLst>
          </p:nvPr>
        </p:nvSpPr>
        <p:spPr bwMode="gray">
          <a:xfrm>
            <a:off x="2870200" y="3135313"/>
            <a:ext cx="17700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8950441D-2F55-4317-A2DB-D2CED52C5B6A}" type="datetime'C''''en''''t''''r''''''a''l Nervo''u''s'''' Syst''''e''''m'''">
              <a:rPr lang="en-US" altLang="en-US" sz="1100" smtClean="0">
                <a:latin typeface="Calibri" panose="020F0502020204030204" pitchFamily="34" charset="0"/>
                <a:cs typeface="+mn-cs"/>
              </a:rPr>
              <a:pPr>
                <a:spcBef>
                  <a:spcPct val="0"/>
                </a:spcBef>
                <a:spcAft>
                  <a:spcPct val="0"/>
                </a:spcAft>
              </a:pPr>
              <a:t>Central Nervous System</a:t>
            </a:fld>
            <a:endParaRPr lang="en-US" sz="1100" dirty="0">
              <a:latin typeface="Calibri" panose="020F0502020204030204" pitchFamily="34" charset="0"/>
              <a:cs typeface="+mn-cs"/>
            </a:endParaRPr>
          </a:p>
        </p:txBody>
      </p:sp>
      <p:sp>
        <p:nvSpPr>
          <p:cNvPr id="90" name="Text Placeholder 4">
            <a:extLst>
              <a:ext uri="{FF2B5EF4-FFF2-40B4-BE49-F238E27FC236}">
                <a16:creationId xmlns:a16="http://schemas.microsoft.com/office/drawing/2014/main" id="{25EE7B2F-BF88-2074-9112-1965A1691854}"/>
              </a:ext>
            </a:extLst>
          </p:cNvPr>
          <p:cNvSpPr txBox="1">
            <a:spLocks/>
          </p:cNvSpPr>
          <p:nvPr>
            <p:custDataLst>
              <p:tags r:id="rId71"/>
            </p:custDataLst>
          </p:nvPr>
        </p:nvSpPr>
        <p:spPr bwMode="gray">
          <a:xfrm>
            <a:off x="2625725" y="4348163"/>
            <a:ext cx="347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82D2CF0-4B5C-4758-871C-C6B0C3D17E07}" type="datetime'''''''''''Sk''''''''''i''''''n'''''''''">
              <a:rPr lang="en-US" altLang="en-US" sz="1100" smtClean="0">
                <a:solidFill>
                  <a:schemeClr val="tx2"/>
                </a:solidFill>
                <a:latin typeface="Calibri" panose="020F0502020204030204" pitchFamily="34" charset="0"/>
                <a:cs typeface="+mn-cs"/>
              </a:rPr>
              <a:pPr algn="ctr">
                <a:spcBef>
                  <a:spcPct val="0"/>
                </a:spcBef>
                <a:spcAft>
                  <a:spcPct val="0"/>
                </a:spcAft>
              </a:pPr>
              <a:t>Skin</a:t>
            </a:fld>
            <a:endParaRPr lang="en-US" sz="1100" dirty="0">
              <a:solidFill>
                <a:schemeClr val="tx2"/>
              </a:solidFill>
              <a:latin typeface="Calibri" panose="020F0502020204030204" pitchFamily="34" charset="0"/>
              <a:cs typeface="+mn-cs"/>
            </a:endParaRPr>
          </a:p>
        </p:txBody>
      </p:sp>
      <p:sp>
        <p:nvSpPr>
          <p:cNvPr id="91" name="Text Placeholder 4">
            <a:extLst>
              <a:ext uri="{FF2B5EF4-FFF2-40B4-BE49-F238E27FC236}">
                <a16:creationId xmlns:a16="http://schemas.microsoft.com/office/drawing/2014/main" id="{1E07DF19-2F29-B249-516C-52C216CAAAA3}"/>
              </a:ext>
            </a:extLst>
          </p:cNvPr>
          <p:cNvSpPr txBox="1">
            <a:spLocks/>
          </p:cNvSpPr>
          <p:nvPr>
            <p:custDataLst>
              <p:tags r:id="rId72"/>
            </p:custDataLst>
          </p:nvPr>
        </p:nvSpPr>
        <p:spPr bwMode="gray">
          <a:xfrm>
            <a:off x="1811338" y="4754563"/>
            <a:ext cx="827088" cy="4254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100" dirty="0">
                <a:latin typeface="Calibri" panose="020F0502020204030204" pitchFamily="34" charset="0"/>
                <a:cs typeface="+mn-cs"/>
              </a:rPr>
              <a:t>Substance </a:t>
            </a:r>
            <a:br>
              <a:rPr lang="en-US" altLang="en-US" sz="1100" dirty="0">
                <a:latin typeface="Calibri" panose="020F0502020204030204" pitchFamily="34" charset="0"/>
                <a:cs typeface="+mn-cs"/>
              </a:rPr>
            </a:br>
            <a:r>
              <a:rPr lang="en-US" altLang="en-US" sz="1100" dirty="0">
                <a:latin typeface="Calibri" panose="020F0502020204030204" pitchFamily="34" charset="0"/>
                <a:cs typeface="+mn-cs"/>
              </a:rPr>
              <a:t>Abuse</a:t>
            </a:r>
            <a:endParaRPr lang="en-US" sz="1100" dirty="0">
              <a:latin typeface="Calibri" panose="020F0502020204030204" pitchFamily="34" charset="0"/>
              <a:cs typeface="+mn-cs"/>
            </a:endParaRPr>
          </a:p>
        </p:txBody>
      </p:sp>
      <p:sp>
        <p:nvSpPr>
          <p:cNvPr id="76" name="Text Placeholder 4">
            <a:extLst>
              <a:ext uri="{FF2B5EF4-FFF2-40B4-BE49-F238E27FC236}">
                <a16:creationId xmlns:a16="http://schemas.microsoft.com/office/drawing/2014/main" id="{7E868ED9-BD71-A1A9-3147-86AEAC269B77}"/>
              </a:ext>
            </a:extLst>
          </p:cNvPr>
          <p:cNvSpPr txBox="1">
            <a:spLocks/>
          </p:cNvSpPr>
          <p:nvPr>
            <p:custDataLst>
              <p:tags r:id="rId73"/>
            </p:custDataLst>
          </p:nvPr>
        </p:nvSpPr>
        <p:spPr bwMode="gray">
          <a:xfrm>
            <a:off x="2074863" y="2608263"/>
            <a:ext cx="1220788"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ct val="0"/>
              </a:spcBef>
              <a:spcAft>
                <a:spcPct val="0"/>
              </a:spcAft>
            </a:pPr>
            <a:fld id="{CB192053-05E8-4B93-B4D0-35BF81F17C74}" type="datetime'''Cer''''e''''''''br''''''ov''''''''''''as''c''''ul''''''ar'''">
              <a:rPr lang="en-US" altLang="en-US" sz="1100" smtClean="0">
                <a:latin typeface="Calibri" panose="020F0502020204030204" pitchFamily="34" charset="0"/>
                <a:cs typeface="+mn-cs"/>
              </a:rPr>
              <a:pPr>
                <a:spcBef>
                  <a:spcPct val="0"/>
                </a:spcBef>
                <a:spcAft>
                  <a:spcPct val="0"/>
                </a:spcAft>
              </a:pPr>
              <a:t>Cerebrovascular</a:t>
            </a:fld>
            <a:endParaRPr lang="en-US" sz="1100" dirty="0">
              <a:latin typeface="Calibri" panose="020F0502020204030204" pitchFamily="34" charset="0"/>
              <a:cs typeface="+mn-cs"/>
            </a:endParaRPr>
          </a:p>
        </p:txBody>
      </p:sp>
      <p:sp>
        <p:nvSpPr>
          <p:cNvPr id="86" name="Text Placeholder 4">
            <a:extLst>
              <a:ext uri="{FF2B5EF4-FFF2-40B4-BE49-F238E27FC236}">
                <a16:creationId xmlns:a16="http://schemas.microsoft.com/office/drawing/2014/main" id="{84F1C18D-5C88-87D7-E5BB-ADF3739CF260}"/>
              </a:ext>
            </a:extLst>
          </p:cNvPr>
          <p:cNvSpPr txBox="1">
            <a:spLocks/>
          </p:cNvSpPr>
          <p:nvPr>
            <p:custDataLst>
              <p:tags r:id="rId74"/>
            </p:custDataLst>
          </p:nvPr>
        </p:nvSpPr>
        <p:spPr bwMode="gray">
          <a:xfrm>
            <a:off x="7427913" y="4595813"/>
            <a:ext cx="8175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dirty="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D9E6FFE-3A48-4B69-AA81-570ED87191F5}" type="datetime'Ps''''''y''c''h''''''''''''i''''atr''''''i''''''''''c'''">
              <a:rPr lang="en-US" altLang="en-US" sz="1100" smtClean="0">
                <a:solidFill>
                  <a:schemeClr val="tx2"/>
                </a:solidFill>
                <a:latin typeface="Calibri" panose="020F0502020204030204" pitchFamily="34" charset="0"/>
                <a:cs typeface="+mn-cs"/>
              </a:rPr>
              <a:pPr algn="ctr">
                <a:spcBef>
                  <a:spcPct val="0"/>
                </a:spcBef>
                <a:spcAft>
                  <a:spcPct val="0"/>
                </a:spcAft>
              </a:pPr>
              <a:t>Psychiatric</a:t>
            </a:fld>
            <a:endParaRPr lang="en-US" sz="1100" dirty="0">
              <a:solidFill>
                <a:schemeClr val="tx2"/>
              </a:solidFill>
              <a:latin typeface="Calibri" panose="020F0502020204030204" pitchFamily="34" charset="0"/>
              <a:cs typeface="+mn-cs"/>
            </a:endParaRPr>
          </a:p>
        </p:txBody>
      </p:sp>
      <p:sp>
        <p:nvSpPr>
          <p:cNvPr id="331" name="Rectangle 330">
            <a:extLst>
              <a:ext uri="{FF2B5EF4-FFF2-40B4-BE49-F238E27FC236}">
                <a16:creationId xmlns:a16="http://schemas.microsoft.com/office/drawing/2014/main" id="{686590D6-088D-A906-40D7-005B1C1A0698}"/>
              </a:ext>
            </a:extLst>
          </p:cNvPr>
          <p:cNvSpPr/>
          <p:nvPr/>
        </p:nvSpPr>
        <p:spPr>
          <a:xfrm>
            <a:off x="5985827" y="1915318"/>
            <a:ext cx="2487612" cy="733425"/>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latin typeface="Calibri" panose="020F0502020204030204" pitchFamily="34" charset="0"/>
              </a:rPr>
              <a:t>Bubble size represents relative cost burden across rural population</a:t>
            </a:r>
            <a:r>
              <a:rPr lang="en-US" sz="1200" baseline="30000" dirty="0">
                <a:solidFill>
                  <a:schemeClr val="tx1"/>
                </a:solidFill>
                <a:latin typeface="Calibri" panose="020F0502020204030204" pitchFamily="34" charset="0"/>
              </a:rPr>
              <a:t>1</a:t>
            </a:r>
          </a:p>
        </p:txBody>
      </p:sp>
      <p:sp>
        <p:nvSpPr>
          <p:cNvPr id="332" name="4. Footnote">
            <a:extLst>
              <a:ext uri="{FF2B5EF4-FFF2-40B4-BE49-F238E27FC236}">
                <a16:creationId xmlns:a16="http://schemas.microsoft.com/office/drawing/2014/main" id="{A59D3442-AA70-BF9C-DAD2-FF97ADA4885B}"/>
              </a:ext>
            </a:extLst>
          </p:cNvPr>
          <p:cNvSpPr txBox="1"/>
          <p:nvPr>
            <p:custDataLst>
              <p:tags r:id="rId75"/>
            </p:custDataLst>
          </p:nvPr>
        </p:nvSpPr>
        <p:spPr>
          <a:xfrm>
            <a:off x="553972" y="6234113"/>
            <a:ext cx="7278624" cy="122238"/>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1168" indent="-201168"/>
            <a:r>
              <a:rPr lang="en-US" dirty="0">
                <a:latin typeface="Calibri" panose="020F0502020204030204" pitchFamily="34" charset="0"/>
              </a:rPr>
              <a:t>1.	Function of PMPY * </a:t>
            </a:r>
            <a:r>
              <a:rPr lang="en-US" dirty="0" err="1">
                <a:latin typeface="Calibri" panose="020F0502020204030204" pitchFamily="34" charset="0"/>
              </a:rPr>
              <a:t>Prevelance</a:t>
            </a:r>
            <a:r>
              <a:rPr lang="en-US" dirty="0">
                <a:latin typeface="Calibri" panose="020F0502020204030204" pitchFamily="34" charset="0"/>
              </a:rPr>
              <a:t> %</a:t>
            </a:r>
          </a:p>
        </p:txBody>
      </p:sp>
      <p:sp>
        <p:nvSpPr>
          <p:cNvPr id="333" name="5. Source">
            <a:extLst>
              <a:ext uri="{FF2B5EF4-FFF2-40B4-BE49-F238E27FC236}">
                <a16:creationId xmlns:a16="http://schemas.microsoft.com/office/drawing/2014/main" id="{566C1BC3-051F-D7C9-14B5-3C497BBF4002}"/>
              </a:ext>
            </a:extLst>
          </p:cNvPr>
          <p:cNvSpPr txBox="1"/>
          <p:nvPr>
            <p:custDataLst>
              <p:tags r:id="rId76"/>
            </p:custDataLst>
          </p:nvPr>
        </p:nvSpPr>
        <p:spPr>
          <a:xfrm>
            <a:off x="2556717" y="6501669"/>
            <a:ext cx="515036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Calibri" panose="020F0502020204030204" pitchFamily="34" charset="0"/>
              </a:rPr>
              <a:t>Source: LDH Medicaid Data Warehouse – claims paid through April 2026, HLA members only, excludes NF, HCBS, waiver, DD dual-eligible. Chronic conditions via </a:t>
            </a:r>
            <a:r>
              <a:rPr lang="en-US" dirty="0" err="1">
                <a:latin typeface="Calibri" panose="020F0502020204030204" pitchFamily="34" charset="0"/>
              </a:rPr>
              <a:t>CPDS+Rx</a:t>
            </a:r>
            <a:r>
              <a:rPr lang="en-US" dirty="0">
                <a:latin typeface="Calibri" panose="020F0502020204030204" pitchFamily="34" charset="0"/>
              </a:rPr>
              <a:t> v7.2</a:t>
            </a:r>
          </a:p>
        </p:txBody>
      </p:sp>
      <p:grpSp>
        <p:nvGrpSpPr>
          <p:cNvPr id="370" name="Group 369">
            <a:extLst>
              <a:ext uri="{FF2B5EF4-FFF2-40B4-BE49-F238E27FC236}">
                <a16:creationId xmlns:a16="http://schemas.microsoft.com/office/drawing/2014/main" id="{944C47F8-9FC8-CEFA-E5E2-957B7D7FCA84}"/>
              </a:ext>
            </a:extLst>
          </p:cNvPr>
          <p:cNvGrpSpPr/>
          <p:nvPr/>
        </p:nvGrpSpPr>
        <p:grpSpPr>
          <a:xfrm>
            <a:off x="554736" y="1262063"/>
            <a:ext cx="7918704" cy="266700"/>
            <a:chOff x="554735" y="1309428"/>
            <a:chExt cx="7918704" cy="266479"/>
          </a:xfrm>
        </p:grpSpPr>
        <p:cxnSp>
          <p:nvCxnSpPr>
            <p:cNvPr id="18" name="Straight Connector 17">
              <a:extLst>
                <a:ext uri="{FF2B5EF4-FFF2-40B4-BE49-F238E27FC236}">
                  <a16:creationId xmlns:a16="http://schemas.microsoft.com/office/drawing/2014/main" id="{AEA20345-FCE9-33A1-034E-27DF41BACEC0}"/>
                </a:ext>
              </a:extLst>
            </p:cNvPr>
            <p:cNvCxnSpPr>
              <a:cxnSpLocks/>
            </p:cNvCxnSpPr>
            <p:nvPr>
              <p:custDataLst>
                <p:tags r:id="rId78"/>
              </p:custDataLst>
            </p:nvPr>
          </p:nvCxnSpPr>
          <p:spPr>
            <a:xfrm>
              <a:off x="554735" y="1575907"/>
              <a:ext cx="7918704"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51C1DDF-C068-406E-E0A4-1B5F4E33E355}"/>
                </a:ext>
              </a:extLst>
            </p:cNvPr>
            <p:cNvSpPr txBox="1">
              <a:spLocks/>
            </p:cNvSpPr>
            <p:nvPr/>
          </p:nvSpPr>
          <p:spPr>
            <a:xfrm>
              <a:off x="554735" y="1309428"/>
              <a:ext cx="7918704"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Chronic conditions by Per Member Per Year (PMPY) and prevalence in rural parishes</a:t>
              </a:r>
            </a:p>
          </p:txBody>
        </p:sp>
      </p:grpSp>
      <p:grpSp>
        <p:nvGrpSpPr>
          <p:cNvPr id="371" name="Group 370">
            <a:extLst>
              <a:ext uri="{FF2B5EF4-FFF2-40B4-BE49-F238E27FC236}">
                <a16:creationId xmlns:a16="http://schemas.microsoft.com/office/drawing/2014/main" id="{782E9FC8-E137-CF56-9585-CF569305720E}"/>
              </a:ext>
            </a:extLst>
          </p:cNvPr>
          <p:cNvGrpSpPr/>
          <p:nvPr/>
        </p:nvGrpSpPr>
        <p:grpSpPr>
          <a:xfrm>
            <a:off x="8976852" y="1267764"/>
            <a:ext cx="2657936" cy="236158"/>
            <a:chOff x="8976852" y="1339749"/>
            <a:chExt cx="2657936" cy="236158"/>
          </a:xfrm>
        </p:grpSpPr>
        <p:sp>
          <p:nvSpPr>
            <p:cNvPr id="22" name="TextBox 21">
              <a:extLst>
                <a:ext uri="{FF2B5EF4-FFF2-40B4-BE49-F238E27FC236}">
                  <a16:creationId xmlns:a16="http://schemas.microsoft.com/office/drawing/2014/main" id="{3FDA7BB5-1C83-066B-3898-6BACD126705D}"/>
                </a:ext>
              </a:extLst>
            </p:cNvPr>
            <p:cNvSpPr txBox="1">
              <a:spLocks/>
            </p:cNvSpPr>
            <p:nvPr/>
          </p:nvSpPr>
          <p:spPr>
            <a:xfrm>
              <a:off x="8976852" y="1339749"/>
              <a:ext cx="2657936" cy="215900"/>
            </a:xfrm>
            <a:prstGeom prst="rect">
              <a:avLst/>
            </a:prstGeom>
          </p:spPr>
          <p:txBody>
            <a:bodyPr vert="horz" wrap="square" lIns="0" tIns="0" rIns="0" bIns="0" rtlCol="0" anchor="b">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latin typeface="Calibri" panose="020F0502020204030204" pitchFamily="34" charset="0"/>
                </a:rPr>
                <a:t>Key Findings</a:t>
              </a:r>
            </a:p>
          </p:txBody>
        </p:sp>
        <p:cxnSp>
          <p:nvCxnSpPr>
            <p:cNvPr id="23" name="Straight Connector 22">
              <a:extLst>
                <a:ext uri="{FF2B5EF4-FFF2-40B4-BE49-F238E27FC236}">
                  <a16:creationId xmlns:a16="http://schemas.microsoft.com/office/drawing/2014/main" id="{2B25F83C-39DF-8C36-8825-51141750044D}"/>
                </a:ext>
              </a:extLst>
            </p:cNvPr>
            <p:cNvCxnSpPr>
              <a:cxnSpLocks/>
            </p:cNvCxnSpPr>
            <p:nvPr>
              <p:custDataLst>
                <p:tags r:id="rId77"/>
              </p:custDataLst>
            </p:nvPr>
          </p:nvCxnSpPr>
          <p:spPr>
            <a:xfrm>
              <a:off x="8976852" y="1575907"/>
              <a:ext cx="2657936"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sp>
        <p:nvSpPr>
          <p:cNvPr id="372" name="TextBox 371">
            <a:extLst>
              <a:ext uri="{FF2B5EF4-FFF2-40B4-BE49-F238E27FC236}">
                <a16:creationId xmlns:a16="http://schemas.microsoft.com/office/drawing/2014/main" id="{4C95B802-D0E6-DED0-9D0D-AB90E1DA9AD2}"/>
              </a:ext>
            </a:extLst>
          </p:cNvPr>
          <p:cNvSpPr txBox="1"/>
          <p:nvPr/>
        </p:nvSpPr>
        <p:spPr>
          <a:xfrm>
            <a:off x="8976852" y="1635092"/>
            <a:ext cx="2890028" cy="41857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pPr>
            <a:r>
              <a:rPr lang="en-US" sz="1400" dirty="0">
                <a:latin typeface="Calibri" panose="020F0502020204030204" pitchFamily="34" charset="0"/>
                <a:cs typeface="Calibri"/>
              </a:rPr>
              <a:t>Rural costs are driven more by prevalence than cost of conditions </a:t>
            </a:r>
          </a:p>
          <a:p>
            <a:pPr lvl="1">
              <a:spcAft>
                <a:spcPts val="600"/>
              </a:spcAft>
            </a:pPr>
            <a:r>
              <a:rPr lang="en-US" sz="1400" dirty="0">
                <a:latin typeface="Calibri" panose="020F0502020204030204" pitchFamily="34" charset="0"/>
                <a:cs typeface="Calibri" panose="020F0502020204030204" pitchFamily="34" charset="0"/>
              </a:rPr>
              <a:t>Two conditions contribute most to the rural cost burden, cardiovascular (~20% prevalence) and psychiatric (~27% prevalence), despite moderate PMPY ($12k-16k)</a:t>
            </a:r>
          </a:p>
          <a:p>
            <a:pPr lvl="1">
              <a:spcAft>
                <a:spcPts val="600"/>
              </a:spcAft>
            </a:pPr>
            <a:r>
              <a:rPr lang="en-US" sz="1400" dirty="0">
                <a:latin typeface="Calibri" panose="020F0502020204030204" pitchFamily="34" charset="0"/>
                <a:cs typeface="Calibri" panose="020F0502020204030204" pitchFamily="34" charset="0"/>
              </a:rPr>
              <a:t>The highest PMPY conditions (cancer, hematological, cerebrovascular, infectious; ~$38–45K) are rare (&lt;2% prevalence), and therefore depicted as smaller bubbles</a:t>
            </a:r>
          </a:p>
          <a:p>
            <a:pPr lvl="1">
              <a:spcAft>
                <a:spcPts val="600"/>
              </a:spcAft>
            </a:pPr>
            <a:r>
              <a:rPr lang="en-US" sz="1400" dirty="0">
                <a:latin typeface="Calibri" panose="020F0502020204030204" pitchFamily="34" charset="0"/>
                <a:cs typeface="Calibri" panose="020F0502020204030204" pitchFamily="34" charset="0"/>
              </a:rPr>
              <a:t>Per-member cost falls as prevalence rises</a:t>
            </a:r>
          </a:p>
          <a:p>
            <a:pPr lvl="1">
              <a:spcAft>
                <a:spcPts val="600"/>
              </a:spcAft>
            </a:pPr>
            <a:r>
              <a:rPr lang="en-US" sz="1400" dirty="0">
                <a:latin typeface="Calibri" panose="020F0502020204030204" pitchFamily="34" charset="0"/>
                <a:cs typeface="Calibri"/>
              </a:rPr>
              <a:t>Follow-up investigation needed into key drivers of observed PMPY and prevalence trends (e.g., access)</a:t>
            </a:r>
            <a:endParaRPr lang="en-US" sz="1400" dirty="0">
              <a:latin typeface="Calibri" panose="020F0502020204030204" pitchFamily="34" charset="0"/>
              <a:ea typeface="Calibri"/>
              <a:cs typeface="Calibri"/>
            </a:endParaRPr>
          </a:p>
        </p:txBody>
      </p:sp>
    </p:spTree>
    <p:extLst>
      <p:ext uri="{BB962C8B-B14F-4D97-AF65-F5344CB8AC3E}">
        <p14:creationId xmlns:p14="http://schemas.microsoft.com/office/powerpoint/2010/main" val="1622987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B56FD6E1-44E8-124D-267F-DAC3D63C2699}"/>
              </a:ext>
            </a:extLst>
          </p:cNvPr>
          <p:cNvSpPr>
            <a:spLocks noGrp="1"/>
          </p:cNvSpPr>
          <p:nvPr>
            <p:ph type="title"/>
            <p:custDataLst>
              <p:tags r:id="rId1"/>
            </p:custDataLst>
          </p:nvPr>
        </p:nvSpPr>
        <p:spPr>
          <a:xfrm>
            <a:off x="554736" y="383144"/>
            <a:ext cx="11082528" cy="444252"/>
          </a:xfrm>
        </p:spPr>
        <p:txBody>
          <a:bodyPr vert="horz">
            <a:noAutofit/>
          </a:bodyPr>
          <a:lstStyle/>
          <a:p>
            <a:r>
              <a:rPr lang="en-US" b="1" dirty="0"/>
              <a:t>Rural parishes experience higher average PMPY</a:t>
            </a:r>
            <a:r>
              <a:rPr lang="en-US" b="1" baseline="30000" dirty="0"/>
              <a:t>1</a:t>
            </a:r>
            <a:r>
              <a:rPr lang="en-US" b="1" dirty="0"/>
              <a:t> costs than urban parishes </a:t>
            </a:r>
          </a:p>
        </p:txBody>
      </p:sp>
      <p:grpSp>
        <p:nvGrpSpPr>
          <p:cNvPr id="16" name="Group 15">
            <a:extLst>
              <a:ext uri="{FF2B5EF4-FFF2-40B4-BE49-F238E27FC236}">
                <a16:creationId xmlns:a16="http://schemas.microsoft.com/office/drawing/2014/main" id="{E87F5A44-7D36-7D9B-AAF5-422DCC1EF81F}"/>
              </a:ext>
            </a:extLst>
          </p:cNvPr>
          <p:cNvGrpSpPr/>
          <p:nvPr/>
        </p:nvGrpSpPr>
        <p:grpSpPr>
          <a:xfrm>
            <a:off x="600551" y="1160205"/>
            <a:ext cx="5411394" cy="317598"/>
            <a:chOff x="600551" y="1082137"/>
            <a:chExt cx="5411394" cy="317598"/>
          </a:xfrm>
        </p:grpSpPr>
        <p:sp>
          <p:nvSpPr>
            <p:cNvPr id="9" name="TextBox 8">
              <a:extLst>
                <a:ext uri="{FF2B5EF4-FFF2-40B4-BE49-F238E27FC236}">
                  <a16:creationId xmlns:a16="http://schemas.microsoft.com/office/drawing/2014/main" id="{8A62EFF3-3906-F28B-6619-7BFAF9ADFACD}"/>
                </a:ext>
              </a:extLst>
            </p:cNvPr>
            <p:cNvSpPr txBox="1"/>
            <p:nvPr/>
          </p:nvSpPr>
          <p:spPr>
            <a:xfrm>
              <a:off x="600551" y="1122777"/>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Calibri" panose="020F0502020204030204" pitchFamily="34" charset="0"/>
                </a:rPr>
                <a:t>Medicaid members</a:t>
              </a:r>
              <a:r>
                <a:rPr lang="en-US" sz="1400" b="1" baseline="30000" dirty="0">
                  <a:latin typeface="Calibri" panose="020F0502020204030204" pitchFamily="34" charset="0"/>
                </a:rPr>
                <a:t>2</a:t>
              </a:r>
              <a:r>
                <a:rPr lang="en-US" sz="1400" b="1" dirty="0">
                  <a:latin typeface="Calibri" panose="020F0502020204030204" pitchFamily="34" charset="0"/>
                </a:rPr>
                <a:t> by parish, #</a:t>
              </a:r>
            </a:p>
          </p:txBody>
        </p:sp>
        <p:grpSp>
          <p:nvGrpSpPr>
            <p:cNvPr id="14" name="Group 13">
              <a:extLst>
                <a:ext uri="{FF2B5EF4-FFF2-40B4-BE49-F238E27FC236}">
                  <a16:creationId xmlns:a16="http://schemas.microsoft.com/office/drawing/2014/main" id="{E080930E-DB67-6ED7-430F-E3499D985717}"/>
                </a:ext>
              </a:extLst>
            </p:cNvPr>
            <p:cNvGrpSpPr/>
            <p:nvPr/>
          </p:nvGrpSpPr>
          <p:grpSpPr>
            <a:xfrm>
              <a:off x="3590183" y="1082137"/>
              <a:ext cx="2335200" cy="282534"/>
              <a:chOff x="3647518" y="1439523"/>
              <a:chExt cx="2335200" cy="282534"/>
            </a:xfrm>
          </p:grpSpPr>
          <p:sp>
            <p:nvSpPr>
              <p:cNvPr id="8" name="Rectangle 7">
                <a:extLst>
                  <a:ext uri="{FF2B5EF4-FFF2-40B4-BE49-F238E27FC236}">
                    <a16:creationId xmlns:a16="http://schemas.microsoft.com/office/drawing/2014/main" id="{64FBD31E-DB90-153D-C0B7-B5196CED215A}"/>
                  </a:ext>
                </a:extLst>
              </p:cNvPr>
              <p:cNvSpPr/>
              <p:nvPr/>
            </p:nvSpPr>
            <p:spPr>
              <a:xfrm>
                <a:off x="3896248" y="1439523"/>
                <a:ext cx="1645920" cy="282534"/>
              </a:xfrm>
              <a:prstGeom prst="rect">
                <a:avLst/>
              </a:prstGeom>
              <a:gradFill flip="none" rotWithShape="1">
                <a:gsLst>
                  <a:gs pos="50000">
                    <a:schemeClr val="accent1">
                      <a:lumMod val="50000"/>
                      <a:lumOff val="50000"/>
                    </a:schemeClr>
                  </a:gs>
                  <a:gs pos="0">
                    <a:schemeClr val="accent1">
                      <a:lumMod val="10000"/>
                      <a:lumOff val="90000"/>
                    </a:schemeClr>
                  </a:gs>
                  <a:gs pos="100000">
                    <a:schemeClr val="accent1"/>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p:nvSpPr>
              <p:cNvPr id="10" name="TextBox 9">
                <a:extLst>
                  <a:ext uri="{FF2B5EF4-FFF2-40B4-BE49-F238E27FC236}">
                    <a16:creationId xmlns:a16="http://schemas.microsoft.com/office/drawing/2014/main" id="{D058649F-21A8-E530-3D78-961E8B060A45}"/>
                  </a:ext>
                </a:extLst>
              </p:cNvPr>
              <p:cNvSpPr txBox="1"/>
              <p:nvPr/>
            </p:nvSpPr>
            <p:spPr>
              <a:xfrm>
                <a:off x="3647518" y="1503846"/>
                <a:ext cx="173124" cy="138499"/>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dirty="0">
                    <a:latin typeface="Calibri" panose="020F0502020204030204" pitchFamily="34" charset="0"/>
                  </a:rPr>
                  <a:t>617</a:t>
                </a:r>
              </a:p>
            </p:txBody>
          </p:sp>
          <p:sp>
            <p:nvSpPr>
              <p:cNvPr id="13" name="TextBox 12">
                <a:extLst>
                  <a:ext uri="{FF2B5EF4-FFF2-40B4-BE49-F238E27FC236}">
                    <a16:creationId xmlns:a16="http://schemas.microsoft.com/office/drawing/2014/main" id="{64A771AB-1235-A909-9B76-225F5E01F024}"/>
                  </a:ext>
                </a:extLst>
              </p:cNvPr>
              <p:cNvSpPr txBox="1"/>
              <p:nvPr/>
            </p:nvSpPr>
            <p:spPr>
              <a:xfrm>
                <a:off x="5607615" y="1503846"/>
                <a:ext cx="375103" cy="138499"/>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latin typeface="Calibri" panose="020F0502020204030204" pitchFamily="34" charset="0"/>
                  </a:rPr>
                  <a:t>125,627</a:t>
                </a:r>
              </a:p>
            </p:txBody>
          </p:sp>
        </p:grpSp>
        <p:sp>
          <p:nvSpPr>
            <p:cNvPr id="15" name="Freeform: Shape 14">
              <a:extLst>
                <a:ext uri="{FF2B5EF4-FFF2-40B4-BE49-F238E27FC236}">
                  <a16:creationId xmlns:a16="http://schemas.microsoft.com/office/drawing/2014/main" id="{EFC46728-9465-4370-8D5C-460B30EFA5DC}"/>
                </a:ext>
              </a:extLst>
            </p:cNvPr>
            <p:cNvSpPr/>
            <p:nvPr/>
          </p:nvSpPr>
          <p:spPr>
            <a:xfrm>
              <a:off x="611945" y="1399735"/>
              <a:ext cx="5400000" cy="0"/>
            </a:xfrm>
            <a:custGeom>
              <a:avLst/>
              <a:gdLst>
                <a:gd name="csX0" fmla="*/ 0 w 5781821"/>
                <a:gd name="csY0" fmla="*/ 0 h 0"/>
                <a:gd name="csX1" fmla="*/ 5781821 w 5781821"/>
                <a:gd name="csY1" fmla="*/ 0 h 0"/>
              </a:gdLst>
              <a:ahLst/>
              <a:cxnLst>
                <a:cxn ang="0">
                  <a:pos x="csX0" y="csY0"/>
                </a:cxn>
                <a:cxn ang="0">
                  <a:pos x="csX1" y="csY1"/>
                </a:cxn>
              </a:cxnLst>
              <a:rect l="l" t="t" r="r" b="b"/>
              <a:pathLst>
                <a:path w="5781821">
                  <a:moveTo>
                    <a:pt x="0" y="0"/>
                  </a:moveTo>
                  <a:lnTo>
                    <a:pt x="5781821" y="0"/>
                  </a:lnTo>
                </a:path>
              </a:pathLst>
            </a:custGeom>
            <a:no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alibri" panose="020F0502020204030204" pitchFamily="34" charset="0"/>
              </a:endParaRPr>
            </a:p>
          </p:txBody>
        </p:sp>
      </p:grpSp>
      <p:grpSp>
        <p:nvGrpSpPr>
          <p:cNvPr id="17" name="Group 16">
            <a:extLst>
              <a:ext uri="{FF2B5EF4-FFF2-40B4-BE49-F238E27FC236}">
                <a16:creationId xmlns:a16="http://schemas.microsoft.com/office/drawing/2014/main" id="{E68F6AFF-8463-BD1C-0F21-35600B6FF8ED}"/>
              </a:ext>
            </a:extLst>
          </p:cNvPr>
          <p:cNvGrpSpPr/>
          <p:nvPr/>
        </p:nvGrpSpPr>
        <p:grpSpPr>
          <a:xfrm>
            <a:off x="6225870" y="1160205"/>
            <a:ext cx="5411394" cy="317598"/>
            <a:chOff x="600551" y="1082137"/>
            <a:chExt cx="5411394" cy="317598"/>
          </a:xfrm>
        </p:grpSpPr>
        <p:sp>
          <p:nvSpPr>
            <p:cNvPr id="18" name="TextBox 17">
              <a:extLst>
                <a:ext uri="{FF2B5EF4-FFF2-40B4-BE49-F238E27FC236}">
                  <a16:creationId xmlns:a16="http://schemas.microsoft.com/office/drawing/2014/main" id="{34A4FA00-1E13-81BA-778E-DE9AC022386C}"/>
                </a:ext>
              </a:extLst>
            </p:cNvPr>
            <p:cNvSpPr txBox="1"/>
            <p:nvPr/>
          </p:nvSpPr>
          <p:spPr>
            <a:xfrm>
              <a:off x="600551" y="1122777"/>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Calibri" panose="020F0502020204030204" pitchFamily="34" charset="0"/>
                </a:rPr>
                <a:t>PMPY by parish, $</a:t>
              </a:r>
            </a:p>
          </p:txBody>
        </p:sp>
        <p:grpSp>
          <p:nvGrpSpPr>
            <p:cNvPr id="19" name="Group 18">
              <a:extLst>
                <a:ext uri="{FF2B5EF4-FFF2-40B4-BE49-F238E27FC236}">
                  <a16:creationId xmlns:a16="http://schemas.microsoft.com/office/drawing/2014/main" id="{783559BB-1EF8-3ABE-048D-8F3AC9F249B3}"/>
                </a:ext>
              </a:extLst>
            </p:cNvPr>
            <p:cNvGrpSpPr/>
            <p:nvPr/>
          </p:nvGrpSpPr>
          <p:grpSpPr>
            <a:xfrm>
              <a:off x="3310581" y="1082137"/>
              <a:ext cx="2499385" cy="282534"/>
              <a:chOff x="3367916" y="1439523"/>
              <a:chExt cx="2499385" cy="282534"/>
            </a:xfrm>
          </p:grpSpPr>
          <p:sp>
            <p:nvSpPr>
              <p:cNvPr id="21" name="Rectangle 20">
                <a:extLst>
                  <a:ext uri="{FF2B5EF4-FFF2-40B4-BE49-F238E27FC236}">
                    <a16:creationId xmlns:a16="http://schemas.microsoft.com/office/drawing/2014/main" id="{5F45E6AF-7475-CA1A-8291-BF05FB63C68F}"/>
                  </a:ext>
                </a:extLst>
              </p:cNvPr>
              <p:cNvSpPr/>
              <p:nvPr/>
            </p:nvSpPr>
            <p:spPr>
              <a:xfrm>
                <a:off x="3794648" y="1439523"/>
                <a:ext cx="1645920" cy="282534"/>
              </a:xfrm>
              <a:prstGeom prst="rect">
                <a:avLst/>
              </a:prstGeom>
              <a:gradFill flip="none" rotWithShape="1">
                <a:gsLst>
                  <a:gs pos="50000">
                    <a:schemeClr val="accent1">
                      <a:lumMod val="50000"/>
                      <a:lumOff val="50000"/>
                    </a:schemeClr>
                  </a:gs>
                  <a:gs pos="0">
                    <a:schemeClr val="accent1">
                      <a:lumMod val="10000"/>
                      <a:lumOff val="90000"/>
                    </a:schemeClr>
                  </a:gs>
                  <a:gs pos="100000">
                    <a:schemeClr val="accent1"/>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latin typeface="Calibri" panose="020F0502020204030204" pitchFamily="34" charset="0"/>
                </a:endParaRPr>
              </a:p>
            </p:txBody>
          </p:sp>
          <p:sp>
            <p:nvSpPr>
              <p:cNvPr id="22" name="TextBox 21">
                <a:extLst>
                  <a:ext uri="{FF2B5EF4-FFF2-40B4-BE49-F238E27FC236}">
                    <a16:creationId xmlns:a16="http://schemas.microsoft.com/office/drawing/2014/main" id="{83BCC351-73FA-A811-FEB8-DD5EDF3BBCEB}"/>
                  </a:ext>
                </a:extLst>
              </p:cNvPr>
              <p:cNvSpPr txBox="1"/>
              <p:nvPr/>
            </p:nvSpPr>
            <p:spPr>
              <a:xfrm>
                <a:off x="3367916" y="1503846"/>
                <a:ext cx="259686" cy="138499"/>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900" dirty="0">
                    <a:latin typeface="Calibri" panose="020F0502020204030204" pitchFamily="34" charset="0"/>
                  </a:rPr>
                  <a:t>4,570</a:t>
                </a:r>
              </a:p>
            </p:txBody>
          </p:sp>
          <p:sp>
            <p:nvSpPr>
              <p:cNvPr id="23" name="TextBox 22">
                <a:extLst>
                  <a:ext uri="{FF2B5EF4-FFF2-40B4-BE49-F238E27FC236}">
                    <a16:creationId xmlns:a16="http://schemas.microsoft.com/office/drawing/2014/main" id="{F6D42314-F5D9-9B56-A028-0D27CDE9778B}"/>
                  </a:ext>
                </a:extLst>
              </p:cNvPr>
              <p:cNvSpPr txBox="1"/>
              <p:nvPr/>
            </p:nvSpPr>
            <p:spPr>
              <a:xfrm>
                <a:off x="5607615" y="1503846"/>
                <a:ext cx="259686" cy="138499"/>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latin typeface="Calibri" panose="020F0502020204030204" pitchFamily="34" charset="0"/>
                  </a:rPr>
                  <a:t>7,264</a:t>
                </a:r>
              </a:p>
            </p:txBody>
          </p:sp>
        </p:grpSp>
        <p:sp>
          <p:nvSpPr>
            <p:cNvPr id="20" name="Freeform: Shape 19">
              <a:extLst>
                <a:ext uri="{FF2B5EF4-FFF2-40B4-BE49-F238E27FC236}">
                  <a16:creationId xmlns:a16="http://schemas.microsoft.com/office/drawing/2014/main" id="{B60A7FDB-67E6-3888-8A1E-82564C625A07}"/>
                </a:ext>
              </a:extLst>
            </p:cNvPr>
            <p:cNvSpPr/>
            <p:nvPr/>
          </p:nvSpPr>
          <p:spPr>
            <a:xfrm>
              <a:off x="611945" y="1399735"/>
              <a:ext cx="5400000" cy="0"/>
            </a:xfrm>
            <a:custGeom>
              <a:avLst/>
              <a:gdLst>
                <a:gd name="csX0" fmla="*/ 0 w 5781821"/>
                <a:gd name="csY0" fmla="*/ 0 h 0"/>
                <a:gd name="csX1" fmla="*/ 5781821 w 5781821"/>
                <a:gd name="csY1" fmla="*/ 0 h 0"/>
              </a:gdLst>
              <a:ahLst/>
              <a:cxnLst>
                <a:cxn ang="0">
                  <a:pos x="csX0" y="csY0"/>
                </a:cxn>
                <a:cxn ang="0">
                  <a:pos x="csX1" y="csY1"/>
                </a:cxn>
              </a:cxnLst>
              <a:rect l="l" t="t" r="r" b="b"/>
              <a:pathLst>
                <a:path w="5781821">
                  <a:moveTo>
                    <a:pt x="0" y="0"/>
                  </a:moveTo>
                  <a:lnTo>
                    <a:pt x="5781821" y="0"/>
                  </a:lnTo>
                </a:path>
              </a:pathLst>
            </a:custGeom>
            <a:no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alibri" panose="020F0502020204030204" pitchFamily="34" charset="0"/>
              </a:endParaRPr>
            </a:p>
          </p:txBody>
        </p:sp>
      </p:grpSp>
      <p:grpSp>
        <p:nvGrpSpPr>
          <p:cNvPr id="1894" name="Group 1893">
            <a:extLst>
              <a:ext uri="{FF2B5EF4-FFF2-40B4-BE49-F238E27FC236}">
                <a16:creationId xmlns:a16="http://schemas.microsoft.com/office/drawing/2014/main" id="{DF271899-2BCB-DDF7-8034-DE5E6BFA0777}"/>
              </a:ext>
            </a:extLst>
          </p:cNvPr>
          <p:cNvGrpSpPr/>
          <p:nvPr/>
        </p:nvGrpSpPr>
        <p:grpSpPr>
          <a:xfrm>
            <a:off x="10142588" y="888910"/>
            <a:ext cx="1494676" cy="153888"/>
            <a:chOff x="3325091" y="810842"/>
            <a:chExt cx="1494676" cy="153888"/>
          </a:xfrm>
        </p:grpSpPr>
        <p:sp>
          <p:nvSpPr>
            <p:cNvPr id="1895" name="Freeform: Shape 1894">
              <a:extLst>
                <a:ext uri="{FF2B5EF4-FFF2-40B4-BE49-F238E27FC236}">
                  <a16:creationId xmlns:a16="http://schemas.microsoft.com/office/drawing/2014/main" id="{46FFC6A6-ABE5-AA5E-7C05-F2678F9BF157}"/>
                </a:ext>
              </a:extLst>
            </p:cNvPr>
            <p:cNvSpPr/>
            <p:nvPr/>
          </p:nvSpPr>
          <p:spPr>
            <a:xfrm>
              <a:off x="3325091" y="887786"/>
              <a:ext cx="576000" cy="0"/>
            </a:xfrm>
            <a:custGeom>
              <a:avLst/>
              <a:gdLst>
                <a:gd name="csX0" fmla="*/ 0 w 685800"/>
                <a:gd name="csY0" fmla="*/ 0 h 0"/>
                <a:gd name="csX1" fmla="*/ 685800 w 685800"/>
                <a:gd name="csY1" fmla="*/ 0 h 0"/>
              </a:gdLst>
              <a:ahLst/>
              <a:cxnLst>
                <a:cxn ang="0">
                  <a:pos x="csX0" y="csY0"/>
                </a:cxn>
                <a:cxn ang="0">
                  <a:pos x="csX1" y="csY1"/>
                </a:cxn>
              </a:cxnLst>
              <a:rect l="l" t="t" r="r" b="b"/>
              <a:pathLst>
                <a:path w="685800">
                  <a:moveTo>
                    <a:pt x="0" y="0"/>
                  </a:moveTo>
                  <a:lnTo>
                    <a:pt x="685800" y="0"/>
                  </a:lnTo>
                </a:path>
              </a:pathLst>
            </a:custGeom>
            <a:noFill/>
            <a:ln w="19050"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896" name="TextBox 1895">
              <a:extLst>
                <a:ext uri="{FF2B5EF4-FFF2-40B4-BE49-F238E27FC236}">
                  <a16:creationId xmlns:a16="http://schemas.microsoft.com/office/drawing/2014/main" id="{C381D4AE-31E3-95CD-B870-6FD6A2C164A3}"/>
                </a:ext>
              </a:extLst>
            </p:cNvPr>
            <p:cNvSpPr txBox="1"/>
            <p:nvPr/>
          </p:nvSpPr>
          <p:spPr>
            <a:xfrm>
              <a:off x="4026280" y="810842"/>
              <a:ext cx="793487"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latin typeface="Calibri" panose="020F0502020204030204" pitchFamily="34" charset="0"/>
                </a:rPr>
                <a:t>Urban counties</a:t>
              </a:r>
            </a:p>
          </p:txBody>
        </p:sp>
      </p:grpSp>
      <p:grpSp>
        <p:nvGrpSpPr>
          <p:cNvPr id="3" name="Group 2">
            <a:extLst>
              <a:ext uri="{FF2B5EF4-FFF2-40B4-BE49-F238E27FC236}">
                <a16:creationId xmlns:a16="http://schemas.microsoft.com/office/drawing/2014/main" id="{781C65F4-368A-46C5-F652-14D6FC9C80FC}"/>
              </a:ext>
            </a:extLst>
          </p:cNvPr>
          <p:cNvGrpSpPr/>
          <p:nvPr/>
        </p:nvGrpSpPr>
        <p:grpSpPr>
          <a:xfrm>
            <a:off x="668813" y="1625501"/>
            <a:ext cx="4454028" cy="4066984"/>
            <a:chOff x="668813" y="1547432"/>
            <a:chExt cx="5085340" cy="4643437"/>
          </a:xfrm>
        </p:grpSpPr>
        <p:grpSp>
          <p:nvGrpSpPr>
            <p:cNvPr id="1237" name="Group 1236">
              <a:extLst>
                <a:ext uri="{FF2B5EF4-FFF2-40B4-BE49-F238E27FC236}">
                  <a16:creationId xmlns:a16="http://schemas.microsoft.com/office/drawing/2014/main" id="{38269F8E-3E3F-ECB9-7185-8BBFB6F89D51}"/>
                </a:ext>
              </a:extLst>
            </p:cNvPr>
            <p:cNvGrpSpPr/>
            <p:nvPr/>
          </p:nvGrpSpPr>
          <p:grpSpPr>
            <a:xfrm>
              <a:off x="668813" y="1547432"/>
              <a:ext cx="5078413" cy="4643437"/>
              <a:chOff x="1144588" y="1128713"/>
              <a:chExt cx="5078413" cy="4643437"/>
            </a:xfrm>
          </p:grpSpPr>
          <p:sp>
            <p:nvSpPr>
              <p:cNvPr id="76" name="Freeform 6">
                <a:extLst>
                  <a:ext uri="{FF2B5EF4-FFF2-40B4-BE49-F238E27FC236}">
                    <a16:creationId xmlns:a16="http://schemas.microsoft.com/office/drawing/2014/main" id="{BFA4C809-4E17-1AFE-500A-C3478F4A3A54}"/>
                  </a:ext>
                </a:extLst>
              </p:cNvPr>
              <p:cNvSpPr>
                <a:spLocks noEditPoints="1"/>
              </p:cNvSpPr>
              <p:nvPr/>
            </p:nvSpPr>
            <p:spPr bwMode="auto">
              <a:xfrm>
                <a:off x="4097338" y="4659313"/>
                <a:ext cx="963613" cy="962025"/>
              </a:xfrm>
              <a:custGeom>
                <a:avLst/>
                <a:gdLst>
                  <a:gd name="T0" fmla="*/ 311 w 607"/>
                  <a:gd name="T1" fmla="*/ 41 h 606"/>
                  <a:gd name="T2" fmla="*/ 369 w 607"/>
                  <a:gd name="T3" fmla="*/ 105 h 606"/>
                  <a:gd name="T4" fmla="*/ 498 w 607"/>
                  <a:gd name="T5" fmla="*/ 166 h 606"/>
                  <a:gd name="T6" fmla="*/ 515 w 607"/>
                  <a:gd name="T7" fmla="*/ 231 h 606"/>
                  <a:gd name="T8" fmla="*/ 478 w 607"/>
                  <a:gd name="T9" fmla="*/ 272 h 606"/>
                  <a:gd name="T10" fmla="*/ 473 w 607"/>
                  <a:gd name="T11" fmla="*/ 299 h 606"/>
                  <a:gd name="T12" fmla="*/ 517 w 607"/>
                  <a:gd name="T13" fmla="*/ 318 h 606"/>
                  <a:gd name="T14" fmla="*/ 557 w 607"/>
                  <a:gd name="T15" fmla="*/ 335 h 606"/>
                  <a:gd name="T16" fmla="*/ 578 w 607"/>
                  <a:gd name="T17" fmla="*/ 347 h 606"/>
                  <a:gd name="T18" fmla="*/ 593 w 607"/>
                  <a:gd name="T19" fmla="*/ 388 h 606"/>
                  <a:gd name="T20" fmla="*/ 588 w 607"/>
                  <a:gd name="T21" fmla="*/ 411 h 606"/>
                  <a:gd name="T22" fmla="*/ 585 w 607"/>
                  <a:gd name="T23" fmla="*/ 425 h 606"/>
                  <a:gd name="T24" fmla="*/ 551 w 607"/>
                  <a:gd name="T25" fmla="*/ 400 h 606"/>
                  <a:gd name="T26" fmla="*/ 554 w 607"/>
                  <a:gd name="T27" fmla="*/ 408 h 606"/>
                  <a:gd name="T28" fmla="*/ 530 w 607"/>
                  <a:gd name="T29" fmla="*/ 391 h 606"/>
                  <a:gd name="T30" fmla="*/ 518 w 607"/>
                  <a:gd name="T31" fmla="*/ 391 h 606"/>
                  <a:gd name="T32" fmla="*/ 530 w 607"/>
                  <a:gd name="T33" fmla="*/ 416 h 606"/>
                  <a:gd name="T34" fmla="*/ 539 w 607"/>
                  <a:gd name="T35" fmla="*/ 435 h 606"/>
                  <a:gd name="T36" fmla="*/ 552 w 607"/>
                  <a:gd name="T37" fmla="*/ 477 h 606"/>
                  <a:gd name="T38" fmla="*/ 554 w 607"/>
                  <a:gd name="T39" fmla="*/ 495 h 606"/>
                  <a:gd name="T40" fmla="*/ 560 w 607"/>
                  <a:gd name="T41" fmla="*/ 507 h 606"/>
                  <a:gd name="T42" fmla="*/ 575 w 607"/>
                  <a:gd name="T43" fmla="*/ 504 h 606"/>
                  <a:gd name="T44" fmla="*/ 483 w 607"/>
                  <a:gd name="T45" fmla="*/ 577 h 606"/>
                  <a:gd name="T46" fmla="*/ 468 w 607"/>
                  <a:gd name="T47" fmla="*/ 558 h 606"/>
                  <a:gd name="T48" fmla="*/ 444 w 607"/>
                  <a:gd name="T49" fmla="*/ 540 h 606"/>
                  <a:gd name="T50" fmla="*/ 459 w 607"/>
                  <a:gd name="T51" fmla="*/ 520 h 606"/>
                  <a:gd name="T52" fmla="*/ 459 w 607"/>
                  <a:gd name="T53" fmla="*/ 504 h 606"/>
                  <a:gd name="T54" fmla="*/ 447 w 607"/>
                  <a:gd name="T55" fmla="*/ 462 h 606"/>
                  <a:gd name="T56" fmla="*/ 422 w 607"/>
                  <a:gd name="T57" fmla="*/ 455 h 606"/>
                  <a:gd name="T58" fmla="*/ 400 w 607"/>
                  <a:gd name="T59" fmla="*/ 410 h 606"/>
                  <a:gd name="T60" fmla="*/ 390 w 607"/>
                  <a:gd name="T61" fmla="*/ 433 h 606"/>
                  <a:gd name="T62" fmla="*/ 380 w 607"/>
                  <a:gd name="T63" fmla="*/ 450 h 606"/>
                  <a:gd name="T64" fmla="*/ 350 w 607"/>
                  <a:gd name="T65" fmla="*/ 364 h 606"/>
                  <a:gd name="T66" fmla="*/ 283 w 607"/>
                  <a:gd name="T67" fmla="*/ 282 h 606"/>
                  <a:gd name="T68" fmla="*/ 177 w 607"/>
                  <a:gd name="T69" fmla="*/ 179 h 606"/>
                  <a:gd name="T70" fmla="*/ 40 w 607"/>
                  <a:gd name="T71" fmla="*/ 83 h 606"/>
                  <a:gd name="T72" fmla="*/ 189 w 607"/>
                  <a:gd name="T73" fmla="*/ 16 h 606"/>
                  <a:gd name="T74" fmla="*/ 541 w 607"/>
                  <a:gd name="T75" fmla="*/ 412 h 606"/>
                  <a:gd name="T76" fmla="*/ 540 w 607"/>
                  <a:gd name="T77" fmla="*/ 397 h 606"/>
                  <a:gd name="T78" fmla="*/ 402 w 607"/>
                  <a:gd name="T79" fmla="*/ 560 h 606"/>
                  <a:gd name="T80" fmla="*/ 592 w 607"/>
                  <a:gd name="T81" fmla="*/ 348 h 606"/>
                  <a:gd name="T82" fmla="*/ 545 w 607"/>
                  <a:gd name="T83" fmla="*/ 428 h 606"/>
                  <a:gd name="T84" fmla="*/ 581 w 607"/>
                  <a:gd name="T85" fmla="*/ 334 h 606"/>
                  <a:gd name="T86" fmla="*/ 591 w 607"/>
                  <a:gd name="T87" fmla="*/ 433 h 606"/>
                  <a:gd name="T88" fmla="*/ 374 w 607"/>
                  <a:gd name="T89" fmla="*/ 469 h 606"/>
                  <a:gd name="T90" fmla="*/ 397 w 607"/>
                  <a:gd name="T91" fmla="*/ 575 h 606"/>
                  <a:gd name="T92" fmla="*/ 451 w 607"/>
                  <a:gd name="T93" fmla="*/ 495 h 606"/>
                  <a:gd name="T94" fmla="*/ 597 w 607"/>
                  <a:gd name="T95" fmla="*/ 439 h 606"/>
                  <a:gd name="T96" fmla="*/ 563 w 607"/>
                  <a:gd name="T97" fmla="*/ 423 h 606"/>
                  <a:gd name="T98" fmla="*/ 547 w 607"/>
                  <a:gd name="T99" fmla="*/ 422 h 606"/>
                  <a:gd name="T100" fmla="*/ 589 w 607"/>
                  <a:gd name="T101" fmla="*/ 351 h 606"/>
                  <a:gd name="T102" fmla="*/ 592 w 607"/>
                  <a:gd name="T103" fmla="*/ 416 h 606"/>
                  <a:gd name="T104" fmla="*/ 596 w 607"/>
                  <a:gd name="T105" fmla="*/ 351 h 606"/>
                  <a:gd name="T106" fmla="*/ 554 w 607"/>
                  <a:gd name="T107" fmla="*/ 453 h 606"/>
                  <a:gd name="T108" fmla="*/ 557 w 607"/>
                  <a:gd name="T109" fmla="*/ 444 h 606"/>
                  <a:gd name="T110" fmla="*/ 550 w 607"/>
                  <a:gd name="T111" fmla="*/ 416 h 606"/>
                  <a:gd name="T112" fmla="*/ 570 w 607"/>
                  <a:gd name="T113" fmla="*/ 437 h 606"/>
                  <a:gd name="T114" fmla="*/ 509 w 607"/>
                  <a:gd name="T115" fmla="*/ 202 h 606"/>
                  <a:gd name="T116" fmla="*/ 563 w 607"/>
                  <a:gd name="T117" fmla="*/ 418 h 606"/>
                  <a:gd name="T118" fmla="*/ 373 w 607"/>
                  <a:gd name="T119" fmla="*/ 476 h 606"/>
                  <a:gd name="T120" fmla="*/ 599 w 607"/>
                  <a:gd name="T121" fmla="*/ 349 h 606"/>
                  <a:gd name="T122" fmla="*/ 570 w 607"/>
                  <a:gd name="T123" fmla="*/ 500 h 606"/>
                  <a:gd name="T124" fmla="*/ 564 w 607"/>
                  <a:gd name="T125" fmla="*/ 504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7" h="606">
                    <a:moveTo>
                      <a:pt x="215" y="24"/>
                    </a:moveTo>
                    <a:lnTo>
                      <a:pt x="215" y="23"/>
                    </a:lnTo>
                    <a:lnTo>
                      <a:pt x="215" y="24"/>
                    </a:lnTo>
                    <a:lnTo>
                      <a:pt x="215" y="23"/>
                    </a:lnTo>
                    <a:lnTo>
                      <a:pt x="216" y="23"/>
                    </a:lnTo>
                    <a:lnTo>
                      <a:pt x="217" y="23"/>
                    </a:lnTo>
                    <a:lnTo>
                      <a:pt x="217" y="22"/>
                    </a:lnTo>
                    <a:lnTo>
                      <a:pt x="218" y="22"/>
                    </a:lnTo>
                    <a:lnTo>
                      <a:pt x="219" y="22"/>
                    </a:lnTo>
                    <a:lnTo>
                      <a:pt x="220" y="22"/>
                    </a:lnTo>
                    <a:lnTo>
                      <a:pt x="221" y="22"/>
                    </a:lnTo>
                    <a:lnTo>
                      <a:pt x="221" y="20"/>
                    </a:lnTo>
                    <a:lnTo>
                      <a:pt x="221" y="22"/>
                    </a:lnTo>
                    <a:lnTo>
                      <a:pt x="221" y="20"/>
                    </a:lnTo>
                    <a:lnTo>
                      <a:pt x="222" y="20"/>
                    </a:lnTo>
                    <a:lnTo>
                      <a:pt x="223" y="20"/>
                    </a:lnTo>
                    <a:lnTo>
                      <a:pt x="223" y="22"/>
                    </a:lnTo>
                    <a:lnTo>
                      <a:pt x="224" y="22"/>
                    </a:lnTo>
                    <a:lnTo>
                      <a:pt x="224" y="20"/>
                    </a:lnTo>
                    <a:lnTo>
                      <a:pt x="225" y="20"/>
                    </a:lnTo>
                    <a:lnTo>
                      <a:pt x="227" y="20"/>
                    </a:lnTo>
                    <a:lnTo>
                      <a:pt x="227" y="19"/>
                    </a:lnTo>
                    <a:lnTo>
                      <a:pt x="228" y="19"/>
                    </a:lnTo>
                    <a:lnTo>
                      <a:pt x="229" y="19"/>
                    </a:lnTo>
                    <a:lnTo>
                      <a:pt x="230" y="19"/>
                    </a:lnTo>
                    <a:lnTo>
                      <a:pt x="231" y="19"/>
                    </a:lnTo>
                    <a:lnTo>
                      <a:pt x="232" y="19"/>
                    </a:lnTo>
                    <a:lnTo>
                      <a:pt x="233" y="19"/>
                    </a:lnTo>
                    <a:lnTo>
                      <a:pt x="233" y="20"/>
                    </a:lnTo>
                    <a:lnTo>
                      <a:pt x="234" y="20"/>
                    </a:lnTo>
                    <a:lnTo>
                      <a:pt x="235" y="22"/>
                    </a:lnTo>
                    <a:lnTo>
                      <a:pt x="236" y="22"/>
                    </a:lnTo>
                    <a:lnTo>
                      <a:pt x="237" y="22"/>
                    </a:lnTo>
                    <a:lnTo>
                      <a:pt x="237" y="23"/>
                    </a:lnTo>
                    <a:lnTo>
                      <a:pt x="238" y="23"/>
                    </a:lnTo>
                    <a:lnTo>
                      <a:pt x="240" y="23"/>
                    </a:lnTo>
                    <a:lnTo>
                      <a:pt x="241" y="23"/>
                    </a:lnTo>
                    <a:lnTo>
                      <a:pt x="242" y="23"/>
                    </a:lnTo>
                    <a:lnTo>
                      <a:pt x="242" y="24"/>
                    </a:lnTo>
                    <a:lnTo>
                      <a:pt x="242" y="25"/>
                    </a:lnTo>
                    <a:lnTo>
                      <a:pt x="242" y="26"/>
                    </a:lnTo>
                    <a:lnTo>
                      <a:pt x="242" y="27"/>
                    </a:lnTo>
                    <a:lnTo>
                      <a:pt x="242" y="28"/>
                    </a:lnTo>
                    <a:lnTo>
                      <a:pt x="243" y="28"/>
                    </a:lnTo>
                    <a:lnTo>
                      <a:pt x="244" y="28"/>
                    </a:lnTo>
                    <a:lnTo>
                      <a:pt x="245" y="27"/>
                    </a:lnTo>
                    <a:lnTo>
                      <a:pt x="246" y="27"/>
                    </a:lnTo>
                    <a:lnTo>
                      <a:pt x="247" y="26"/>
                    </a:lnTo>
                    <a:lnTo>
                      <a:pt x="248" y="25"/>
                    </a:lnTo>
                    <a:lnTo>
                      <a:pt x="249" y="23"/>
                    </a:lnTo>
                    <a:lnTo>
                      <a:pt x="250" y="23"/>
                    </a:lnTo>
                    <a:lnTo>
                      <a:pt x="250" y="22"/>
                    </a:lnTo>
                    <a:lnTo>
                      <a:pt x="251" y="22"/>
                    </a:lnTo>
                    <a:lnTo>
                      <a:pt x="253" y="20"/>
                    </a:lnTo>
                    <a:lnTo>
                      <a:pt x="261" y="20"/>
                    </a:lnTo>
                    <a:lnTo>
                      <a:pt x="277" y="20"/>
                    </a:lnTo>
                    <a:lnTo>
                      <a:pt x="282" y="22"/>
                    </a:lnTo>
                    <a:lnTo>
                      <a:pt x="283" y="22"/>
                    </a:lnTo>
                    <a:lnTo>
                      <a:pt x="284" y="22"/>
                    </a:lnTo>
                    <a:lnTo>
                      <a:pt x="287" y="24"/>
                    </a:lnTo>
                    <a:lnTo>
                      <a:pt x="288" y="24"/>
                    </a:lnTo>
                    <a:lnTo>
                      <a:pt x="289" y="24"/>
                    </a:lnTo>
                    <a:lnTo>
                      <a:pt x="291" y="25"/>
                    </a:lnTo>
                    <a:lnTo>
                      <a:pt x="292" y="26"/>
                    </a:lnTo>
                    <a:lnTo>
                      <a:pt x="292" y="27"/>
                    </a:lnTo>
                    <a:lnTo>
                      <a:pt x="295" y="33"/>
                    </a:lnTo>
                    <a:lnTo>
                      <a:pt x="296" y="36"/>
                    </a:lnTo>
                    <a:lnTo>
                      <a:pt x="297" y="37"/>
                    </a:lnTo>
                    <a:lnTo>
                      <a:pt x="298" y="38"/>
                    </a:lnTo>
                    <a:lnTo>
                      <a:pt x="300" y="40"/>
                    </a:lnTo>
                    <a:lnTo>
                      <a:pt x="300" y="41"/>
                    </a:lnTo>
                    <a:lnTo>
                      <a:pt x="301" y="42"/>
                    </a:lnTo>
                    <a:lnTo>
                      <a:pt x="304" y="42"/>
                    </a:lnTo>
                    <a:lnTo>
                      <a:pt x="305" y="42"/>
                    </a:lnTo>
                    <a:lnTo>
                      <a:pt x="306" y="41"/>
                    </a:lnTo>
                    <a:lnTo>
                      <a:pt x="307" y="41"/>
                    </a:lnTo>
                    <a:lnTo>
                      <a:pt x="308" y="41"/>
                    </a:lnTo>
                    <a:lnTo>
                      <a:pt x="308" y="40"/>
                    </a:lnTo>
                    <a:lnTo>
                      <a:pt x="309" y="40"/>
                    </a:lnTo>
                    <a:lnTo>
                      <a:pt x="310" y="40"/>
                    </a:lnTo>
                    <a:lnTo>
                      <a:pt x="310" y="41"/>
                    </a:lnTo>
                    <a:lnTo>
                      <a:pt x="311" y="41"/>
                    </a:lnTo>
                    <a:lnTo>
                      <a:pt x="312" y="41"/>
                    </a:lnTo>
                    <a:lnTo>
                      <a:pt x="312" y="42"/>
                    </a:lnTo>
                    <a:lnTo>
                      <a:pt x="313" y="42"/>
                    </a:lnTo>
                    <a:lnTo>
                      <a:pt x="313" y="43"/>
                    </a:lnTo>
                    <a:lnTo>
                      <a:pt x="314" y="44"/>
                    </a:lnTo>
                    <a:lnTo>
                      <a:pt x="315" y="44"/>
                    </a:lnTo>
                    <a:lnTo>
                      <a:pt x="317" y="44"/>
                    </a:lnTo>
                    <a:lnTo>
                      <a:pt x="317" y="45"/>
                    </a:lnTo>
                    <a:lnTo>
                      <a:pt x="318" y="45"/>
                    </a:lnTo>
                    <a:lnTo>
                      <a:pt x="318" y="46"/>
                    </a:lnTo>
                    <a:lnTo>
                      <a:pt x="318" y="48"/>
                    </a:lnTo>
                    <a:lnTo>
                      <a:pt x="318" y="49"/>
                    </a:lnTo>
                    <a:lnTo>
                      <a:pt x="319" y="49"/>
                    </a:lnTo>
                    <a:lnTo>
                      <a:pt x="319" y="50"/>
                    </a:lnTo>
                    <a:lnTo>
                      <a:pt x="320" y="50"/>
                    </a:lnTo>
                    <a:lnTo>
                      <a:pt x="320" y="51"/>
                    </a:lnTo>
                    <a:lnTo>
                      <a:pt x="321" y="52"/>
                    </a:lnTo>
                    <a:lnTo>
                      <a:pt x="322" y="53"/>
                    </a:lnTo>
                    <a:lnTo>
                      <a:pt x="323" y="54"/>
                    </a:lnTo>
                    <a:lnTo>
                      <a:pt x="323" y="55"/>
                    </a:lnTo>
                    <a:lnTo>
                      <a:pt x="323" y="56"/>
                    </a:lnTo>
                    <a:lnTo>
                      <a:pt x="322" y="57"/>
                    </a:lnTo>
                    <a:lnTo>
                      <a:pt x="322" y="58"/>
                    </a:lnTo>
                    <a:lnTo>
                      <a:pt x="322" y="59"/>
                    </a:lnTo>
                    <a:lnTo>
                      <a:pt x="323" y="61"/>
                    </a:lnTo>
                    <a:lnTo>
                      <a:pt x="323" y="62"/>
                    </a:lnTo>
                    <a:lnTo>
                      <a:pt x="324" y="64"/>
                    </a:lnTo>
                    <a:lnTo>
                      <a:pt x="324" y="66"/>
                    </a:lnTo>
                    <a:lnTo>
                      <a:pt x="324" y="67"/>
                    </a:lnTo>
                    <a:lnTo>
                      <a:pt x="324" y="68"/>
                    </a:lnTo>
                    <a:lnTo>
                      <a:pt x="324" y="69"/>
                    </a:lnTo>
                    <a:lnTo>
                      <a:pt x="324" y="70"/>
                    </a:lnTo>
                    <a:lnTo>
                      <a:pt x="324" y="71"/>
                    </a:lnTo>
                    <a:lnTo>
                      <a:pt x="324" y="72"/>
                    </a:lnTo>
                    <a:lnTo>
                      <a:pt x="324" y="75"/>
                    </a:lnTo>
                    <a:lnTo>
                      <a:pt x="324" y="77"/>
                    </a:lnTo>
                    <a:lnTo>
                      <a:pt x="325" y="78"/>
                    </a:lnTo>
                    <a:lnTo>
                      <a:pt x="326" y="79"/>
                    </a:lnTo>
                    <a:lnTo>
                      <a:pt x="327" y="79"/>
                    </a:lnTo>
                    <a:lnTo>
                      <a:pt x="327" y="80"/>
                    </a:lnTo>
                    <a:lnTo>
                      <a:pt x="327" y="81"/>
                    </a:lnTo>
                    <a:lnTo>
                      <a:pt x="328" y="82"/>
                    </a:lnTo>
                    <a:lnTo>
                      <a:pt x="328" y="83"/>
                    </a:lnTo>
                    <a:lnTo>
                      <a:pt x="330" y="84"/>
                    </a:lnTo>
                    <a:lnTo>
                      <a:pt x="331" y="84"/>
                    </a:lnTo>
                    <a:lnTo>
                      <a:pt x="333" y="85"/>
                    </a:lnTo>
                    <a:lnTo>
                      <a:pt x="333" y="87"/>
                    </a:lnTo>
                    <a:lnTo>
                      <a:pt x="334" y="88"/>
                    </a:lnTo>
                    <a:lnTo>
                      <a:pt x="335" y="89"/>
                    </a:lnTo>
                    <a:lnTo>
                      <a:pt x="336" y="90"/>
                    </a:lnTo>
                    <a:lnTo>
                      <a:pt x="338" y="91"/>
                    </a:lnTo>
                    <a:lnTo>
                      <a:pt x="338" y="92"/>
                    </a:lnTo>
                    <a:lnTo>
                      <a:pt x="339" y="92"/>
                    </a:lnTo>
                    <a:lnTo>
                      <a:pt x="340" y="92"/>
                    </a:lnTo>
                    <a:lnTo>
                      <a:pt x="341" y="93"/>
                    </a:lnTo>
                    <a:lnTo>
                      <a:pt x="343" y="93"/>
                    </a:lnTo>
                    <a:lnTo>
                      <a:pt x="344" y="94"/>
                    </a:lnTo>
                    <a:lnTo>
                      <a:pt x="345" y="95"/>
                    </a:lnTo>
                    <a:lnTo>
                      <a:pt x="346" y="96"/>
                    </a:lnTo>
                    <a:lnTo>
                      <a:pt x="346" y="97"/>
                    </a:lnTo>
                    <a:lnTo>
                      <a:pt x="348" y="99"/>
                    </a:lnTo>
                    <a:lnTo>
                      <a:pt x="348" y="100"/>
                    </a:lnTo>
                    <a:lnTo>
                      <a:pt x="349" y="101"/>
                    </a:lnTo>
                    <a:lnTo>
                      <a:pt x="350" y="101"/>
                    </a:lnTo>
                    <a:lnTo>
                      <a:pt x="350" y="102"/>
                    </a:lnTo>
                    <a:lnTo>
                      <a:pt x="351" y="102"/>
                    </a:lnTo>
                    <a:lnTo>
                      <a:pt x="352" y="103"/>
                    </a:lnTo>
                    <a:lnTo>
                      <a:pt x="353" y="104"/>
                    </a:lnTo>
                    <a:lnTo>
                      <a:pt x="354" y="104"/>
                    </a:lnTo>
                    <a:lnTo>
                      <a:pt x="356" y="104"/>
                    </a:lnTo>
                    <a:lnTo>
                      <a:pt x="357" y="103"/>
                    </a:lnTo>
                    <a:lnTo>
                      <a:pt x="358" y="103"/>
                    </a:lnTo>
                    <a:lnTo>
                      <a:pt x="359" y="104"/>
                    </a:lnTo>
                    <a:lnTo>
                      <a:pt x="361" y="104"/>
                    </a:lnTo>
                    <a:lnTo>
                      <a:pt x="361" y="105"/>
                    </a:lnTo>
                    <a:lnTo>
                      <a:pt x="362" y="105"/>
                    </a:lnTo>
                    <a:lnTo>
                      <a:pt x="363" y="105"/>
                    </a:lnTo>
                    <a:lnTo>
                      <a:pt x="364" y="106"/>
                    </a:lnTo>
                    <a:lnTo>
                      <a:pt x="365" y="106"/>
                    </a:lnTo>
                    <a:lnTo>
                      <a:pt x="366" y="105"/>
                    </a:lnTo>
                    <a:lnTo>
                      <a:pt x="367" y="105"/>
                    </a:lnTo>
                    <a:lnTo>
                      <a:pt x="369" y="105"/>
                    </a:lnTo>
                    <a:lnTo>
                      <a:pt x="370" y="106"/>
                    </a:lnTo>
                    <a:lnTo>
                      <a:pt x="371" y="106"/>
                    </a:lnTo>
                    <a:lnTo>
                      <a:pt x="372" y="107"/>
                    </a:lnTo>
                    <a:lnTo>
                      <a:pt x="373" y="107"/>
                    </a:lnTo>
                    <a:lnTo>
                      <a:pt x="374" y="108"/>
                    </a:lnTo>
                    <a:lnTo>
                      <a:pt x="375" y="109"/>
                    </a:lnTo>
                    <a:lnTo>
                      <a:pt x="376" y="109"/>
                    </a:lnTo>
                    <a:lnTo>
                      <a:pt x="377" y="109"/>
                    </a:lnTo>
                    <a:lnTo>
                      <a:pt x="378" y="110"/>
                    </a:lnTo>
                    <a:lnTo>
                      <a:pt x="379" y="110"/>
                    </a:lnTo>
                    <a:lnTo>
                      <a:pt x="380" y="110"/>
                    </a:lnTo>
                    <a:lnTo>
                      <a:pt x="382" y="112"/>
                    </a:lnTo>
                    <a:lnTo>
                      <a:pt x="383" y="112"/>
                    </a:lnTo>
                    <a:lnTo>
                      <a:pt x="384" y="112"/>
                    </a:lnTo>
                    <a:lnTo>
                      <a:pt x="385" y="112"/>
                    </a:lnTo>
                    <a:lnTo>
                      <a:pt x="385" y="113"/>
                    </a:lnTo>
                    <a:lnTo>
                      <a:pt x="387" y="113"/>
                    </a:lnTo>
                    <a:lnTo>
                      <a:pt x="387" y="114"/>
                    </a:lnTo>
                    <a:lnTo>
                      <a:pt x="388" y="115"/>
                    </a:lnTo>
                    <a:lnTo>
                      <a:pt x="388" y="116"/>
                    </a:lnTo>
                    <a:lnTo>
                      <a:pt x="388" y="117"/>
                    </a:lnTo>
                    <a:lnTo>
                      <a:pt x="388" y="118"/>
                    </a:lnTo>
                    <a:lnTo>
                      <a:pt x="388" y="119"/>
                    </a:lnTo>
                    <a:lnTo>
                      <a:pt x="388" y="121"/>
                    </a:lnTo>
                    <a:lnTo>
                      <a:pt x="388" y="122"/>
                    </a:lnTo>
                    <a:lnTo>
                      <a:pt x="388" y="123"/>
                    </a:lnTo>
                    <a:lnTo>
                      <a:pt x="389" y="125"/>
                    </a:lnTo>
                    <a:lnTo>
                      <a:pt x="389" y="126"/>
                    </a:lnTo>
                    <a:lnTo>
                      <a:pt x="390" y="126"/>
                    </a:lnTo>
                    <a:lnTo>
                      <a:pt x="391" y="127"/>
                    </a:lnTo>
                    <a:lnTo>
                      <a:pt x="393" y="128"/>
                    </a:lnTo>
                    <a:lnTo>
                      <a:pt x="395" y="129"/>
                    </a:lnTo>
                    <a:lnTo>
                      <a:pt x="395" y="130"/>
                    </a:lnTo>
                    <a:lnTo>
                      <a:pt x="395" y="131"/>
                    </a:lnTo>
                    <a:lnTo>
                      <a:pt x="395" y="132"/>
                    </a:lnTo>
                    <a:lnTo>
                      <a:pt x="395" y="133"/>
                    </a:lnTo>
                    <a:lnTo>
                      <a:pt x="393" y="134"/>
                    </a:lnTo>
                    <a:lnTo>
                      <a:pt x="393" y="135"/>
                    </a:lnTo>
                    <a:lnTo>
                      <a:pt x="393" y="136"/>
                    </a:lnTo>
                    <a:lnTo>
                      <a:pt x="395" y="138"/>
                    </a:lnTo>
                    <a:lnTo>
                      <a:pt x="395" y="139"/>
                    </a:lnTo>
                    <a:lnTo>
                      <a:pt x="396" y="139"/>
                    </a:lnTo>
                    <a:lnTo>
                      <a:pt x="396" y="140"/>
                    </a:lnTo>
                    <a:lnTo>
                      <a:pt x="396" y="141"/>
                    </a:lnTo>
                    <a:lnTo>
                      <a:pt x="395" y="142"/>
                    </a:lnTo>
                    <a:lnTo>
                      <a:pt x="396" y="144"/>
                    </a:lnTo>
                    <a:lnTo>
                      <a:pt x="396" y="145"/>
                    </a:lnTo>
                    <a:lnTo>
                      <a:pt x="396" y="146"/>
                    </a:lnTo>
                    <a:lnTo>
                      <a:pt x="395" y="146"/>
                    </a:lnTo>
                    <a:lnTo>
                      <a:pt x="395" y="147"/>
                    </a:lnTo>
                    <a:lnTo>
                      <a:pt x="395" y="148"/>
                    </a:lnTo>
                    <a:lnTo>
                      <a:pt x="395" y="149"/>
                    </a:lnTo>
                    <a:lnTo>
                      <a:pt x="395" y="151"/>
                    </a:lnTo>
                    <a:lnTo>
                      <a:pt x="395" y="153"/>
                    </a:lnTo>
                    <a:lnTo>
                      <a:pt x="396" y="154"/>
                    </a:lnTo>
                    <a:lnTo>
                      <a:pt x="397" y="155"/>
                    </a:lnTo>
                    <a:lnTo>
                      <a:pt x="397" y="156"/>
                    </a:lnTo>
                    <a:lnTo>
                      <a:pt x="398" y="157"/>
                    </a:lnTo>
                    <a:lnTo>
                      <a:pt x="399" y="158"/>
                    </a:lnTo>
                    <a:lnTo>
                      <a:pt x="399" y="159"/>
                    </a:lnTo>
                    <a:lnTo>
                      <a:pt x="400" y="159"/>
                    </a:lnTo>
                    <a:lnTo>
                      <a:pt x="400" y="160"/>
                    </a:lnTo>
                    <a:lnTo>
                      <a:pt x="401" y="160"/>
                    </a:lnTo>
                    <a:lnTo>
                      <a:pt x="402" y="160"/>
                    </a:lnTo>
                    <a:lnTo>
                      <a:pt x="403" y="161"/>
                    </a:lnTo>
                    <a:lnTo>
                      <a:pt x="404" y="161"/>
                    </a:lnTo>
                    <a:lnTo>
                      <a:pt x="408" y="162"/>
                    </a:lnTo>
                    <a:lnTo>
                      <a:pt x="422" y="162"/>
                    </a:lnTo>
                    <a:lnTo>
                      <a:pt x="424" y="162"/>
                    </a:lnTo>
                    <a:lnTo>
                      <a:pt x="429" y="162"/>
                    </a:lnTo>
                    <a:lnTo>
                      <a:pt x="476" y="162"/>
                    </a:lnTo>
                    <a:lnTo>
                      <a:pt x="478" y="162"/>
                    </a:lnTo>
                    <a:lnTo>
                      <a:pt x="492" y="162"/>
                    </a:lnTo>
                    <a:lnTo>
                      <a:pt x="492" y="164"/>
                    </a:lnTo>
                    <a:lnTo>
                      <a:pt x="492" y="165"/>
                    </a:lnTo>
                    <a:lnTo>
                      <a:pt x="493" y="165"/>
                    </a:lnTo>
                    <a:lnTo>
                      <a:pt x="494" y="165"/>
                    </a:lnTo>
                    <a:lnTo>
                      <a:pt x="495" y="165"/>
                    </a:lnTo>
                    <a:lnTo>
                      <a:pt x="496" y="164"/>
                    </a:lnTo>
                    <a:lnTo>
                      <a:pt x="498" y="164"/>
                    </a:lnTo>
                    <a:lnTo>
                      <a:pt x="498" y="165"/>
                    </a:lnTo>
                    <a:lnTo>
                      <a:pt x="498" y="166"/>
                    </a:lnTo>
                    <a:lnTo>
                      <a:pt x="499" y="167"/>
                    </a:lnTo>
                    <a:lnTo>
                      <a:pt x="499" y="168"/>
                    </a:lnTo>
                    <a:lnTo>
                      <a:pt x="500" y="168"/>
                    </a:lnTo>
                    <a:lnTo>
                      <a:pt x="500" y="169"/>
                    </a:lnTo>
                    <a:lnTo>
                      <a:pt x="501" y="170"/>
                    </a:lnTo>
                    <a:lnTo>
                      <a:pt x="502" y="170"/>
                    </a:lnTo>
                    <a:lnTo>
                      <a:pt x="503" y="170"/>
                    </a:lnTo>
                    <a:lnTo>
                      <a:pt x="503" y="171"/>
                    </a:lnTo>
                    <a:lnTo>
                      <a:pt x="504" y="171"/>
                    </a:lnTo>
                    <a:lnTo>
                      <a:pt x="504" y="170"/>
                    </a:lnTo>
                    <a:lnTo>
                      <a:pt x="505" y="170"/>
                    </a:lnTo>
                    <a:lnTo>
                      <a:pt x="506" y="169"/>
                    </a:lnTo>
                    <a:lnTo>
                      <a:pt x="507" y="169"/>
                    </a:lnTo>
                    <a:lnTo>
                      <a:pt x="507" y="170"/>
                    </a:lnTo>
                    <a:lnTo>
                      <a:pt x="508" y="170"/>
                    </a:lnTo>
                    <a:lnTo>
                      <a:pt x="509" y="170"/>
                    </a:lnTo>
                    <a:lnTo>
                      <a:pt x="509" y="172"/>
                    </a:lnTo>
                    <a:lnTo>
                      <a:pt x="511" y="172"/>
                    </a:lnTo>
                    <a:lnTo>
                      <a:pt x="511" y="173"/>
                    </a:lnTo>
                    <a:lnTo>
                      <a:pt x="512" y="173"/>
                    </a:lnTo>
                    <a:lnTo>
                      <a:pt x="512" y="174"/>
                    </a:lnTo>
                    <a:lnTo>
                      <a:pt x="512" y="176"/>
                    </a:lnTo>
                    <a:lnTo>
                      <a:pt x="512" y="177"/>
                    </a:lnTo>
                    <a:lnTo>
                      <a:pt x="512" y="178"/>
                    </a:lnTo>
                    <a:lnTo>
                      <a:pt x="512" y="180"/>
                    </a:lnTo>
                    <a:lnTo>
                      <a:pt x="513" y="180"/>
                    </a:lnTo>
                    <a:lnTo>
                      <a:pt x="513" y="182"/>
                    </a:lnTo>
                    <a:lnTo>
                      <a:pt x="512" y="183"/>
                    </a:lnTo>
                    <a:lnTo>
                      <a:pt x="513" y="184"/>
                    </a:lnTo>
                    <a:lnTo>
                      <a:pt x="512" y="184"/>
                    </a:lnTo>
                    <a:lnTo>
                      <a:pt x="512" y="185"/>
                    </a:lnTo>
                    <a:lnTo>
                      <a:pt x="511" y="185"/>
                    </a:lnTo>
                    <a:lnTo>
                      <a:pt x="509" y="186"/>
                    </a:lnTo>
                    <a:lnTo>
                      <a:pt x="509" y="187"/>
                    </a:lnTo>
                    <a:lnTo>
                      <a:pt x="509" y="189"/>
                    </a:lnTo>
                    <a:lnTo>
                      <a:pt x="508" y="190"/>
                    </a:lnTo>
                    <a:lnTo>
                      <a:pt x="508" y="189"/>
                    </a:lnTo>
                    <a:lnTo>
                      <a:pt x="508" y="187"/>
                    </a:lnTo>
                    <a:lnTo>
                      <a:pt x="507" y="187"/>
                    </a:lnTo>
                    <a:lnTo>
                      <a:pt x="506" y="187"/>
                    </a:lnTo>
                    <a:lnTo>
                      <a:pt x="506" y="191"/>
                    </a:lnTo>
                    <a:lnTo>
                      <a:pt x="506" y="192"/>
                    </a:lnTo>
                    <a:lnTo>
                      <a:pt x="507" y="192"/>
                    </a:lnTo>
                    <a:lnTo>
                      <a:pt x="507" y="193"/>
                    </a:lnTo>
                    <a:lnTo>
                      <a:pt x="506" y="193"/>
                    </a:lnTo>
                    <a:lnTo>
                      <a:pt x="506" y="194"/>
                    </a:lnTo>
                    <a:lnTo>
                      <a:pt x="505" y="194"/>
                    </a:lnTo>
                    <a:lnTo>
                      <a:pt x="505" y="195"/>
                    </a:lnTo>
                    <a:lnTo>
                      <a:pt x="505" y="196"/>
                    </a:lnTo>
                    <a:lnTo>
                      <a:pt x="505" y="197"/>
                    </a:lnTo>
                    <a:lnTo>
                      <a:pt x="505" y="198"/>
                    </a:lnTo>
                    <a:lnTo>
                      <a:pt x="505" y="199"/>
                    </a:lnTo>
                    <a:lnTo>
                      <a:pt x="506" y="200"/>
                    </a:lnTo>
                    <a:lnTo>
                      <a:pt x="506" y="202"/>
                    </a:lnTo>
                    <a:lnTo>
                      <a:pt x="507" y="203"/>
                    </a:lnTo>
                    <a:lnTo>
                      <a:pt x="508" y="203"/>
                    </a:lnTo>
                    <a:lnTo>
                      <a:pt x="509" y="203"/>
                    </a:lnTo>
                    <a:lnTo>
                      <a:pt x="509" y="204"/>
                    </a:lnTo>
                    <a:lnTo>
                      <a:pt x="508" y="204"/>
                    </a:lnTo>
                    <a:lnTo>
                      <a:pt x="507" y="205"/>
                    </a:lnTo>
                    <a:lnTo>
                      <a:pt x="507" y="206"/>
                    </a:lnTo>
                    <a:lnTo>
                      <a:pt x="506" y="207"/>
                    </a:lnTo>
                    <a:lnTo>
                      <a:pt x="506" y="209"/>
                    </a:lnTo>
                    <a:lnTo>
                      <a:pt x="506" y="210"/>
                    </a:lnTo>
                    <a:lnTo>
                      <a:pt x="505" y="211"/>
                    </a:lnTo>
                    <a:lnTo>
                      <a:pt x="505" y="212"/>
                    </a:lnTo>
                    <a:lnTo>
                      <a:pt x="506" y="213"/>
                    </a:lnTo>
                    <a:lnTo>
                      <a:pt x="506" y="216"/>
                    </a:lnTo>
                    <a:lnTo>
                      <a:pt x="507" y="216"/>
                    </a:lnTo>
                    <a:lnTo>
                      <a:pt x="506" y="217"/>
                    </a:lnTo>
                    <a:lnTo>
                      <a:pt x="506" y="218"/>
                    </a:lnTo>
                    <a:lnTo>
                      <a:pt x="507" y="219"/>
                    </a:lnTo>
                    <a:lnTo>
                      <a:pt x="508" y="221"/>
                    </a:lnTo>
                    <a:lnTo>
                      <a:pt x="509" y="221"/>
                    </a:lnTo>
                    <a:lnTo>
                      <a:pt x="511" y="223"/>
                    </a:lnTo>
                    <a:lnTo>
                      <a:pt x="512" y="224"/>
                    </a:lnTo>
                    <a:lnTo>
                      <a:pt x="512" y="225"/>
                    </a:lnTo>
                    <a:lnTo>
                      <a:pt x="513" y="225"/>
                    </a:lnTo>
                    <a:lnTo>
                      <a:pt x="514" y="228"/>
                    </a:lnTo>
                    <a:lnTo>
                      <a:pt x="515" y="229"/>
                    </a:lnTo>
                    <a:lnTo>
                      <a:pt x="515" y="230"/>
                    </a:lnTo>
                    <a:lnTo>
                      <a:pt x="515" y="231"/>
                    </a:lnTo>
                    <a:lnTo>
                      <a:pt x="515" y="233"/>
                    </a:lnTo>
                    <a:lnTo>
                      <a:pt x="515" y="234"/>
                    </a:lnTo>
                    <a:lnTo>
                      <a:pt x="515" y="235"/>
                    </a:lnTo>
                    <a:lnTo>
                      <a:pt x="515" y="236"/>
                    </a:lnTo>
                    <a:lnTo>
                      <a:pt x="514" y="237"/>
                    </a:lnTo>
                    <a:lnTo>
                      <a:pt x="514" y="238"/>
                    </a:lnTo>
                    <a:lnTo>
                      <a:pt x="513" y="238"/>
                    </a:lnTo>
                    <a:lnTo>
                      <a:pt x="512" y="239"/>
                    </a:lnTo>
                    <a:lnTo>
                      <a:pt x="511" y="239"/>
                    </a:lnTo>
                    <a:lnTo>
                      <a:pt x="511" y="241"/>
                    </a:lnTo>
                    <a:lnTo>
                      <a:pt x="512" y="241"/>
                    </a:lnTo>
                    <a:lnTo>
                      <a:pt x="513" y="241"/>
                    </a:lnTo>
                    <a:lnTo>
                      <a:pt x="512" y="241"/>
                    </a:lnTo>
                    <a:lnTo>
                      <a:pt x="512" y="242"/>
                    </a:lnTo>
                    <a:lnTo>
                      <a:pt x="513" y="242"/>
                    </a:lnTo>
                    <a:lnTo>
                      <a:pt x="512" y="242"/>
                    </a:lnTo>
                    <a:lnTo>
                      <a:pt x="512" y="243"/>
                    </a:lnTo>
                    <a:lnTo>
                      <a:pt x="513" y="244"/>
                    </a:lnTo>
                    <a:lnTo>
                      <a:pt x="513" y="243"/>
                    </a:lnTo>
                    <a:lnTo>
                      <a:pt x="513" y="244"/>
                    </a:lnTo>
                    <a:lnTo>
                      <a:pt x="514" y="244"/>
                    </a:lnTo>
                    <a:lnTo>
                      <a:pt x="514" y="245"/>
                    </a:lnTo>
                    <a:lnTo>
                      <a:pt x="513" y="245"/>
                    </a:lnTo>
                    <a:lnTo>
                      <a:pt x="513" y="246"/>
                    </a:lnTo>
                    <a:lnTo>
                      <a:pt x="512" y="246"/>
                    </a:lnTo>
                    <a:lnTo>
                      <a:pt x="511" y="246"/>
                    </a:lnTo>
                    <a:lnTo>
                      <a:pt x="509" y="246"/>
                    </a:lnTo>
                    <a:lnTo>
                      <a:pt x="509" y="247"/>
                    </a:lnTo>
                    <a:lnTo>
                      <a:pt x="508" y="247"/>
                    </a:lnTo>
                    <a:lnTo>
                      <a:pt x="508" y="246"/>
                    </a:lnTo>
                    <a:lnTo>
                      <a:pt x="508" y="247"/>
                    </a:lnTo>
                    <a:lnTo>
                      <a:pt x="507" y="247"/>
                    </a:lnTo>
                    <a:lnTo>
                      <a:pt x="506" y="247"/>
                    </a:lnTo>
                    <a:lnTo>
                      <a:pt x="505" y="247"/>
                    </a:lnTo>
                    <a:lnTo>
                      <a:pt x="504" y="247"/>
                    </a:lnTo>
                    <a:lnTo>
                      <a:pt x="504" y="246"/>
                    </a:lnTo>
                    <a:lnTo>
                      <a:pt x="503" y="246"/>
                    </a:lnTo>
                    <a:lnTo>
                      <a:pt x="503" y="247"/>
                    </a:lnTo>
                    <a:lnTo>
                      <a:pt x="502" y="247"/>
                    </a:lnTo>
                    <a:lnTo>
                      <a:pt x="501" y="247"/>
                    </a:lnTo>
                    <a:lnTo>
                      <a:pt x="500" y="247"/>
                    </a:lnTo>
                    <a:lnTo>
                      <a:pt x="499" y="247"/>
                    </a:lnTo>
                    <a:lnTo>
                      <a:pt x="499" y="248"/>
                    </a:lnTo>
                    <a:lnTo>
                      <a:pt x="500" y="248"/>
                    </a:lnTo>
                    <a:lnTo>
                      <a:pt x="499" y="248"/>
                    </a:lnTo>
                    <a:lnTo>
                      <a:pt x="499" y="249"/>
                    </a:lnTo>
                    <a:lnTo>
                      <a:pt x="498" y="249"/>
                    </a:lnTo>
                    <a:lnTo>
                      <a:pt x="496" y="249"/>
                    </a:lnTo>
                    <a:lnTo>
                      <a:pt x="495" y="249"/>
                    </a:lnTo>
                    <a:lnTo>
                      <a:pt x="494" y="249"/>
                    </a:lnTo>
                    <a:lnTo>
                      <a:pt x="493" y="250"/>
                    </a:lnTo>
                    <a:lnTo>
                      <a:pt x="492" y="250"/>
                    </a:lnTo>
                    <a:lnTo>
                      <a:pt x="491" y="251"/>
                    </a:lnTo>
                    <a:lnTo>
                      <a:pt x="490" y="251"/>
                    </a:lnTo>
                    <a:lnTo>
                      <a:pt x="489" y="251"/>
                    </a:lnTo>
                    <a:lnTo>
                      <a:pt x="489" y="252"/>
                    </a:lnTo>
                    <a:lnTo>
                      <a:pt x="488" y="254"/>
                    </a:lnTo>
                    <a:lnTo>
                      <a:pt x="487" y="254"/>
                    </a:lnTo>
                    <a:lnTo>
                      <a:pt x="487" y="255"/>
                    </a:lnTo>
                    <a:lnTo>
                      <a:pt x="486" y="256"/>
                    </a:lnTo>
                    <a:lnTo>
                      <a:pt x="486" y="257"/>
                    </a:lnTo>
                    <a:lnTo>
                      <a:pt x="485" y="257"/>
                    </a:lnTo>
                    <a:lnTo>
                      <a:pt x="485" y="258"/>
                    </a:lnTo>
                    <a:lnTo>
                      <a:pt x="485" y="259"/>
                    </a:lnTo>
                    <a:lnTo>
                      <a:pt x="483" y="259"/>
                    </a:lnTo>
                    <a:lnTo>
                      <a:pt x="483" y="260"/>
                    </a:lnTo>
                    <a:lnTo>
                      <a:pt x="485" y="260"/>
                    </a:lnTo>
                    <a:lnTo>
                      <a:pt x="485" y="261"/>
                    </a:lnTo>
                    <a:lnTo>
                      <a:pt x="485" y="262"/>
                    </a:lnTo>
                    <a:lnTo>
                      <a:pt x="483" y="262"/>
                    </a:lnTo>
                    <a:lnTo>
                      <a:pt x="483" y="263"/>
                    </a:lnTo>
                    <a:lnTo>
                      <a:pt x="482" y="264"/>
                    </a:lnTo>
                    <a:lnTo>
                      <a:pt x="482" y="266"/>
                    </a:lnTo>
                    <a:lnTo>
                      <a:pt x="481" y="267"/>
                    </a:lnTo>
                    <a:lnTo>
                      <a:pt x="481" y="268"/>
                    </a:lnTo>
                    <a:lnTo>
                      <a:pt x="481" y="269"/>
                    </a:lnTo>
                    <a:lnTo>
                      <a:pt x="480" y="269"/>
                    </a:lnTo>
                    <a:lnTo>
                      <a:pt x="480" y="270"/>
                    </a:lnTo>
                    <a:lnTo>
                      <a:pt x="479" y="270"/>
                    </a:lnTo>
                    <a:lnTo>
                      <a:pt x="479" y="271"/>
                    </a:lnTo>
                    <a:lnTo>
                      <a:pt x="478" y="271"/>
                    </a:lnTo>
                    <a:lnTo>
                      <a:pt x="478" y="272"/>
                    </a:lnTo>
                    <a:lnTo>
                      <a:pt x="477" y="272"/>
                    </a:lnTo>
                    <a:lnTo>
                      <a:pt x="476" y="273"/>
                    </a:lnTo>
                    <a:lnTo>
                      <a:pt x="477" y="273"/>
                    </a:lnTo>
                    <a:lnTo>
                      <a:pt x="477" y="274"/>
                    </a:lnTo>
                    <a:lnTo>
                      <a:pt x="478" y="274"/>
                    </a:lnTo>
                    <a:lnTo>
                      <a:pt x="478" y="275"/>
                    </a:lnTo>
                    <a:lnTo>
                      <a:pt x="479" y="276"/>
                    </a:lnTo>
                    <a:lnTo>
                      <a:pt x="479" y="277"/>
                    </a:lnTo>
                    <a:lnTo>
                      <a:pt x="480" y="277"/>
                    </a:lnTo>
                    <a:lnTo>
                      <a:pt x="480" y="279"/>
                    </a:lnTo>
                    <a:lnTo>
                      <a:pt x="481" y="279"/>
                    </a:lnTo>
                    <a:lnTo>
                      <a:pt x="482" y="279"/>
                    </a:lnTo>
                    <a:lnTo>
                      <a:pt x="482" y="280"/>
                    </a:lnTo>
                    <a:lnTo>
                      <a:pt x="483" y="280"/>
                    </a:lnTo>
                    <a:lnTo>
                      <a:pt x="485" y="280"/>
                    </a:lnTo>
                    <a:lnTo>
                      <a:pt x="485" y="281"/>
                    </a:lnTo>
                    <a:lnTo>
                      <a:pt x="486" y="281"/>
                    </a:lnTo>
                    <a:lnTo>
                      <a:pt x="486" y="282"/>
                    </a:lnTo>
                    <a:lnTo>
                      <a:pt x="486" y="281"/>
                    </a:lnTo>
                    <a:lnTo>
                      <a:pt x="487" y="281"/>
                    </a:lnTo>
                    <a:lnTo>
                      <a:pt x="488" y="281"/>
                    </a:lnTo>
                    <a:lnTo>
                      <a:pt x="488" y="280"/>
                    </a:lnTo>
                    <a:lnTo>
                      <a:pt x="489" y="280"/>
                    </a:lnTo>
                    <a:lnTo>
                      <a:pt x="490" y="280"/>
                    </a:lnTo>
                    <a:lnTo>
                      <a:pt x="491" y="280"/>
                    </a:lnTo>
                    <a:lnTo>
                      <a:pt x="492" y="280"/>
                    </a:lnTo>
                    <a:lnTo>
                      <a:pt x="491" y="280"/>
                    </a:lnTo>
                    <a:lnTo>
                      <a:pt x="491" y="281"/>
                    </a:lnTo>
                    <a:lnTo>
                      <a:pt x="492" y="282"/>
                    </a:lnTo>
                    <a:lnTo>
                      <a:pt x="492" y="283"/>
                    </a:lnTo>
                    <a:lnTo>
                      <a:pt x="493" y="283"/>
                    </a:lnTo>
                    <a:lnTo>
                      <a:pt x="493" y="282"/>
                    </a:lnTo>
                    <a:lnTo>
                      <a:pt x="494" y="282"/>
                    </a:lnTo>
                    <a:lnTo>
                      <a:pt x="494" y="283"/>
                    </a:lnTo>
                    <a:lnTo>
                      <a:pt x="495" y="283"/>
                    </a:lnTo>
                    <a:lnTo>
                      <a:pt x="495" y="285"/>
                    </a:lnTo>
                    <a:lnTo>
                      <a:pt x="494" y="284"/>
                    </a:lnTo>
                    <a:lnTo>
                      <a:pt x="493" y="284"/>
                    </a:lnTo>
                    <a:lnTo>
                      <a:pt x="492" y="284"/>
                    </a:lnTo>
                    <a:lnTo>
                      <a:pt x="491" y="284"/>
                    </a:lnTo>
                    <a:lnTo>
                      <a:pt x="491" y="285"/>
                    </a:lnTo>
                    <a:lnTo>
                      <a:pt x="490" y="285"/>
                    </a:lnTo>
                    <a:lnTo>
                      <a:pt x="490" y="284"/>
                    </a:lnTo>
                    <a:lnTo>
                      <a:pt x="489" y="284"/>
                    </a:lnTo>
                    <a:lnTo>
                      <a:pt x="489" y="283"/>
                    </a:lnTo>
                    <a:lnTo>
                      <a:pt x="488" y="283"/>
                    </a:lnTo>
                    <a:lnTo>
                      <a:pt x="487" y="283"/>
                    </a:lnTo>
                    <a:lnTo>
                      <a:pt x="486" y="283"/>
                    </a:lnTo>
                    <a:lnTo>
                      <a:pt x="483" y="283"/>
                    </a:lnTo>
                    <a:lnTo>
                      <a:pt x="482" y="284"/>
                    </a:lnTo>
                    <a:lnTo>
                      <a:pt x="481" y="284"/>
                    </a:lnTo>
                    <a:lnTo>
                      <a:pt x="480" y="284"/>
                    </a:lnTo>
                    <a:lnTo>
                      <a:pt x="479" y="284"/>
                    </a:lnTo>
                    <a:lnTo>
                      <a:pt x="478" y="284"/>
                    </a:lnTo>
                    <a:lnTo>
                      <a:pt x="476" y="284"/>
                    </a:lnTo>
                    <a:lnTo>
                      <a:pt x="476" y="285"/>
                    </a:lnTo>
                    <a:lnTo>
                      <a:pt x="475" y="285"/>
                    </a:lnTo>
                    <a:lnTo>
                      <a:pt x="475" y="286"/>
                    </a:lnTo>
                    <a:lnTo>
                      <a:pt x="474" y="287"/>
                    </a:lnTo>
                    <a:lnTo>
                      <a:pt x="474" y="288"/>
                    </a:lnTo>
                    <a:lnTo>
                      <a:pt x="474" y="289"/>
                    </a:lnTo>
                    <a:lnTo>
                      <a:pt x="474" y="290"/>
                    </a:lnTo>
                    <a:lnTo>
                      <a:pt x="475" y="290"/>
                    </a:lnTo>
                    <a:lnTo>
                      <a:pt x="474" y="290"/>
                    </a:lnTo>
                    <a:lnTo>
                      <a:pt x="474" y="292"/>
                    </a:lnTo>
                    <a:lnTo>
                      <a:pt x="474" y="293"/>
                    </a:lnTo>
                    <a:lnTo>
                      <a:pt x="474" y="294"/>
                    </a:lnTo>
                    <a:lnTo>
                      <a:pt x="475" y="294"/>
                    </a:lnTo>
                    <a:lnTo>
                      <a:pt x="475" y="293"/>
                    </a:lnTo>
                    <a:lnTo>
                      <a:pt x="476" y="293"/>
                    </a:lnTo>
                    <a:lnTo>
                      <a:pt x="476" y="294"/>
                    </a:lnTo>
                    <a:lnTo>
                      <a:pt x="476" y="293"/>
                    </a:lnTo>
                    <a:lnTo>
                      <a:pt x="476" y="294"/>
                    </a:lnTo>
                    <a:lnTo>
                      <a:pt x="475" y="294"/>
                    </a:lnTo>
                    <a:lnTo>
                      <a:pt x="475" y="295"/>
                    </a:lnTo>
                    <a:lnTo>
                      <a:pt x="475" y="296"/>
                    </a:lnTo>
                    <a:lnTo>
                      <a:pt x="474" y="296"/>
                    </a:lnTo>
                    <a:lnTo>
                      <a:pt x="474" y="297"/>
                    </a:lnTo>
                    <a:lnTo>
                      <a:pt x="473" y="297"/>
                    </a:lnTo>
                    <a:lnTo>
                      <a:pt x="473" y="298"/>
                    </a:lnTo>
                    <a:lnTo>
                      <a:pt x="474" y="298"/>
                    </a:lnTo>
                    <a:lnTo>
                      <a:pt x="473" y="299"/>
                    </a:lnTo>
                    <a:lnTo>
                      <a:pt x="474" y="299"/>
                    </a:lnTo>
                    <a:lnTo>
                      <a:pt x="475" y="299"/>
                    </a:lnTo>
                    <a:lnTo>
                      <a:pt x="475" y="298"/>
                    </a:lnTo>
                    <a:lnTo>
                      <a:pt x="476" y="298"/>
                    </a:lnTo>
                    <a:lnTo>
                      <a:pt x="476" y="297"/>
                    </a:lnTo>
                    <a:lnTo>
                      <a:pt x="477" y="297"/>
                    </a:lnTo>
                    <a:lnTo>
                      <a:pt x="478" y="296"/>
                    </a:lnTo>
                    <a:lnTo>
                      <a:pt x="478" y="295"/>
                    </a:lnTo>
                    <a:lnTo>
                      <a:pt x="479" y="295"/>
                    </a:lnTo>
                    <a:lnTo>
                      <a:pt x="479" y="296"/>
                    </a:lnTo>
                    <a:lnTo>
                      <a:pt x="480" y="296"/>
                    </a:lnTo>
                    <a:lnTo>
                      <a:pt x="480" y="297"/>
                    </a:lnTo>
                    <a:lnTo>
                      <a:pt x="480" y="298"/>
                    </a:lnTo>
                    <a:lnTo>
                      <a:pt x="480" y="299"/>
                    </a:lnTo>
                    <a:lnTo>
                      <a:pt x="479" y="299"/>
                    </a:lnTo>
                    <a:lnTo>
                      <a:pt x="479" y="300"/>
                    </a:lnTo>
                    <a:lnTo>
                      <a:pt x="480" y="300"/>
                    </a:lnTo>
                    <a:lnTo>
                      <a:pt x="480" y="301"/>
                    </a:lnTo>
                    <a:lnTo>
                      <a:pt x="479" y="301"/>
                    </a:lnTo>
                    <a:lnTo>
                      <a:pt x="479" y="302"/>
                    </a:lnTo>
                    <a:lnTo>
                      <a:pt x="479" y="303"/>
                    </a:lnTo>
                    <a:lnTo>
                      <a:pt x="479" y="305"/>
                    </a:lnTo>
                    <a:lnTo>
                      <a:pt x="480" y="305"/>
                    </a:lnTo>
                    <a:lnTo>
                      <a:pt x="481" y="306"/>
                    </a:lnTo>
                    <a:lnTo>
                      <a:pt x="482" y="307"/>
                    </a:lnTo>
                    <a:lnTo>
                      <a:pt x="482" y="308"/>
                    </a:lnTo>
                    <a:lnTo>
                      <a:pt x="483" y="308"/>
                    </a:lnTo>
                    <a:lnTo>
                      <a:pt x="483" y="307"/>
                    </a:lnTo>
                    <a:lnTo>
                      <a:pt x="485" y="307"/>
                    </a:lnTo>
                    <a:lnTo>
                      <a:pt x="485" y="308"/>
                    </a:lnTo>
                    <a:lnTo>
                      <a:pt x="486" y="308"/>
                    </a:lnTo>
                    <a:lnTo>
                      <a:pt x="486" y="307"/>
                    </a:lnTo>
                    <a:lnTo>
                      <a:pt x="486" y="308"/>
                    </a:lnTo>
                    <a:lnTo>
                      <a:pt x="487" y="308"/>
                    </a:lnTo>
                    <a:lnTo>
                      <a:pt x="488" y="308"/>
                    </a:lnTo>
                    <a:lnTo>
                      <a:pt x="489" y="308"/>
                    </a:lnTo>
                    <a:lnTo>
                      <a:pt x="489" y="309"/>
                    </a:lnTo>
                    <a:lnTo>
                      <a:pt x="489" y="308"/>
                    </a:lnTo>
                    <a:lnTo>
                      <a:pt x="490" y="308"/>
                    </a:lnTo>
                    <a:lnTo>
                      <a:pt x="491" y="308"/>
                    </a:lnTo>
                    <a:lnTo>
                      <a:pt x="492" y="308"/>
                    </a:lnTo>
                    <a:lnTo>
                      <a:pt x="493" y="307"/>
                    </a:lnTo>
                    <a:lnTo>
                      <a:pt x="493" y="308"/>
                    </a:lnTo>
                    <a:lnTo>
                      <a:pt x="494" y="308"/>
                    </a:lnTo>
                    <a:lnTo>
                      <a:pt x="495" y="308"/>
                    </a:lnTo>
                    <a:lnTo>
                      <a:pt x="496" y="308"/>
                    </a:lnTo>
                    <a:lnTo>
                      <a:pt x="498" y="308"/>
                    </a:lnTo>
                    <a:lnTo>
                      <a:pt x="498" y="309"/>
                    </a:lnTo>
                    <a:lnTo>
                      <a:pt x="499" y="309"/>
                    </a:lnTo>
                    <a:lnTo>
                      <a:pt x="499" y="310"/>
                    </a:lnTo>
                    <a:lnTo>
                      <a:pt x="499" y="311"/>
                    </a:lnTo>
                    <a:lnTo>
                      <a:pt x="500" y="312"/>
                    </a:lnTo>
                    <a:lnTo>
                      <a:pt x="501" y="312"/>
                    </a:lnTo>
                    <a:lnTo>
                      <a:pt x="502" y="313"/>
                    </a:lnTo>
                    <a:lnTo>
                      <a:pt x="501" y="313"/>
                    </a:lnTo>
                    <a:lnTo>
                      <a:pt x="501" y="314"/>
                    </a:lnTo>
                    <a:lnTo>
                      <a:pt x="501" y="315"/>
                    </a:lnTo>
                    <a:lnTo>
                      <a:pt x="501" y="316"/>
                    </a:lnTo>
                    <a:lnTo>
                      <a:pt x="502" y="318"/>
                    </a:lnTo>
                    <a:lnTo>
                      <a:pt x="503" y="319"/>
                    </a:lnTo>
                    <a:lnTo>
                      <a:pt x="503" y="320"/>
                    </a:lnTo>
                    <a:lnTo>
                      <a:pt x="504" y="320"/>
                    </a:lnTo>
                    <a:lnTo>
                      <a:pt x="504" y="321"/>
                    </a:lnTo>
                    <a:lnTo>
                      <a:pt x="505" y="321"/>
                    </a:lnTo>
                    <a:lnTo>
                      <a:pt x="505" y="320"/>
                    </a:lnTo>
                    <a:lnTo>
                      <a:pt x="506" y="320"/>
                    </a:lnTo>
                    <a:lnTo>
                      <a:pt x="506" y="321"/>
                    </a:lnTo>
                    <a:lnTo>
                      <a:pt x="507" y="321"/>
                    </a:lnTo>
                    <a:lnTo>
                      <a:pt x="507" y="320"/>
                    </a:lnTo>
                    <a:lnTo>
                      <a:pt x="508" y="319"/>
                    </a:lnTo>
                    <a:lnTo>
                      <a:pt x="508" y="320"/>
                    </a:lnTo>
                    <a:lnTo>
                      <a:pt x="508" y="319"/>
                    </a:lnTo>
                    <a:lnTo>
                      <a:pt x="509" y="319"/>
                    </a:lnTo>
                    <a:lnTo>
                      <a:pt x="509" y="318"/>
                    </a:lnTo>
                    <a:lnTo>
                      <a:pt x="508" y="318"/>
                    </a:lnTo>
                    <a:lnTo>
                      <a:pt x="509" y="318"/>
                    </a:lnTo>
                    <a:lnTo>
                      <a:pt x="511" y="318"/>
                    </a:lnTo>
                    <a:lnTo>
                      <a:pt x="512" y="318"/>
                    </a:lnTo>
                    <a:lnTo>
                      <a:pt x="514" y="318"/>
                    </a:lnTo>
                    <a:lnTo>
                      <a:pt x="515" y="318"/>
                    </a:lnTo>
                    <a:lnTo>
                      <a:pt x="516" y="318"/>
                    </a:lnTo>
                    <a:lnTo>
                      <a:pt x="517" y="318"/>
                    </a:lnTo>
                    <a:lnTo>
                      <a:pt x="518" y="318"/>
                    </a:lnTo>
                    <a:lnTo>
                      <a:pt x="518" y="316"/>
                    </a:lnTo>
                    <a:lnTo>
                      <a:pt x="517" y="315"/>
                    </a:lnTo>
                    <a:lnTo>
                      <a:pt x="518" y="315"/>
                    </a:lnTo>
                    <a:lnTo>
                      <a:pt x="518" y="314"/>
                    </a:lnTo>
                    <a:lnTo>
                      <a:pt x="518" y="313"/>
                    </a:lnTo>
                    <a:lnTo>
                      <a:pt x="518" y="312"/>
                    </a:lnTo>
                    <a:lnTo>
                      <a:pt x="518" y="311"/>
                    </a:lnTo>
                    <a:lnTo>
                      <a:pt x="519" y="311"/>
                    </a:lnTo>
                    <a:lnTo>
                      <a:pt x="519" y="310"/>
                    </a:lnTo>
                    <a:lnTo>
                      <a:pt x="519" y="309"/>
                    </a:lnTo>
                    <a:lnTo>
                      <a:pt x="519" y="310"/>
                    </a:lnTo>
                    <a:lnTo>
                      <a:pt x="519" y="311"/>
                    </a:lnTo>
                    <a:lnTo>
                      <a:pt x="518" y="312"/>
                    </a:lnTo>
                    <a:lnTo>
                      <a:pt x="519" y="313"/>
                    </a:lnTo>
                    <a:lnTo>
                      <a:pt x="520" y="313"/>
                    </a:lnTo>
                    <a:lnTo>
                      <a:pt x="520" y="314"/>
                    </a:lnTo>
                    <a:lnTo>
                      <a:pt x="521" y="314"/>
                    </a:lnTo>
                    <a:lnTo>
                      <a:pt x="522" y="315"/>
                    </a:lnTo>
                    <a:lnTo>
                      <a:pt x="524" y="316"/>
                    </a:lnTo>
                    <a:lnTo>
                      <a:pt x="524" y="318"/>
                    </a:lnTo>
                    <a:lnTo>
                      <a:pt x="524" y="319"/>
                    </a:lnTo>
                    <a:lnTo>
                      <a:pt x="524" y="320"/>
                    </a:lnTo>
                    <a:lnTo>
                      <a:pt x="525" y="321"/>
                    </a:lnTo>
                    <a:lnTo>
                      <a:pt x="525" y="322"/>
                    </a:lnTo>
                    <a:lnTo>
                      <a:pt x="526" y="322"/>
                    </a:lnTo>
                    <a:lnTo>
                      <a:pt x="526" y="323"/>
                    </a:lnTo>
                    <a:lnTo>
                      <a:pt x="526" y="324"/>
                    </a:lnTo>
                    <a:lnTo>
                      <a:pt x="526" y="325"/>
                    </a:lnTo>
                    <a:lnTo>
                      <a:pt x="527" y="326"/>
                    </a:lnTo>
                    <a:lnTo>
                      <a:pt x="526" y="327"/>
                    </a:lnTo>
                    <a:lnTo>
                      <a:pt x="527" y="327"/>
                    </a:lnTo>
                    <a:lnTo>
                      <a:pt x="528" y="327"/>
                    </a:lnTo>
                    <a:lnTo>
                      <a:pt x="528" y="328"/>
                    </a:lnTo>
                    <a:lnTo>
                      <a:pt x="529" y="328"/>
                    </a:lnTo>
                    <a:lnTo>
                      <a:pt x="530" y="328"/>
                    </a:lnTo>
                    <a:lnTo>
                      <a:pt x="530" y="329"/>
                    </a:lnTo>
                    <a:lnTo>
                      <a:pt x="531" y="329"/>
                    </a:lnTo>
                    <a:lnTo>
                      <a:pt x="532" y="329"/>
                    </a:lnTo>
                    <a:lnTo>
                      <a:pt x="532" y="328"/>
                    </a:lnTo>
                    <a:lnTo>
                      <a:pt x="533" y="328"/>
                    </a:lnTo>
                    <a:lnTo>
                      <a:pt x="534" y="328"/>
                    </a:lnTo>
                    <a:lnTo>
                      <a:pt x="535" y="328"/>
                    </a:lnTo>
                    <a:lnTo>
                      <a:pt x="537" y="328"/>
                    </a:lnTo>
                    <a:lnTo>
                      <a:pt x="535" y="329"/>
                    </a:lnTo>
                    <a:lnTo>
                      <a:pt x="537" y="331"/>
                    </a:lnTo>
                    <a:lnTo>
                      <a:pt x="537" y="332"/>
                    </a:lnTo>
                    <a:lnTo>
                      <a:pt x="537" y="333"/>
                    </a:lnTo>
                    <a:lnTo>
                      <a:pt x="537" y="332"/>
                    </a:lnTo>
                    <a:lnTo>
                      <a:pt x="538" y="332"/>
                    </a:lnTo>
                    <a:lnTo>
                      <a:pt x="539" y="332"/>
                    </a:lnTo>
                    <a:lnTo>
                      <a:pt x="539" y="331"/>
                    </a:lnTo>
                    <a:lnTo>
                      <a:pt x="539" y="334"/>
                    </a:lnTo>
                    <a:lnTo>
                      <a:pt x="538" y="334"/>
                    </a:lnTo>
                    <a:lnTo>
                      <a:pt x="538" y="335"/>
                    </a:lnTo>
                    <a:lnTo>
                      <a:pt x="539" y="335"/>
                    </a:lnTo>
                    <a:lnTo>
                      <a:pt x="540" y="335"/>
                    </a:lnTo>
                    <a:lnTo>
                      <a:pt x="541" y="335"/>
                    </a:lnTo>
                    <a:lnTo>
                      <a:pt x="541" y="336"/>
                    </a:lnTo>
                    <a:lnTo>
                      <a:pt x="542" y="336"/>
                    </a:lnTo>
                    <a:lnTo>
                      <a:pt x="542" y="337"/>
                    </a:lnTo>
                    <a:lnTo>
                      <a:pt x="543" y="337"/>
                    </a:lnTo>
                    <a:lnTo>
                      <a:pt x="544" y="337"/>
                    </a:lnTo>
                    <a:lnTo>
                      <a:pt x="545" y="337"/>
                    </a:lnTo>
                    <a:lnTo>
                      <a:pt x="546" y="336"/>
                    </a:lnTo>
                    <a:lnTo>
                      <a:pt x="546" y="335"/>
                    </a:lnTo>
                    <a:lnTo>
                      <a:pt x="546" y="334"/>
                    </a:lnTo>
                    <a:lnTo>
                      <a:pt x="546" y="333"/>
                    </a:lnTo>
                    <a:lnTo>
                      <a:pt x="547" y="333"/>
                    </a:lnTo>
                    <a:lnTo>
                      <a:pt x="546" y="333"/>
                    </a:lnTo>
                    <a:lnTo>
                      <a:pt x="547" y="332"/>
                    </a:lnTo>
                    <a:lnTo>
                      <a:pt x="548" y="332"/>
                    </a:lnTo>
                    <a:lnTo>
                      <a:pt x="548" y="333"/>
                    </a:lnTo>
                    <a:lnTo>
                      <a:pt x="550" y="332"/>
                    </a:lnTo>
                    <a:lnTo>
                      <a:pt x="551" y="332"/>
                    </a:lnTo>
                    <a:lnTo>
                      <a:pt x="552" y="333"/>
                    </a:lnTo>
                    <a:lnTo>
                      <a:pt x="553" y="333"/>
                    </a:lnTo>
                    <a:lnTo>
                      <a:pt x="554" y="333"/>
                    </a:lnTo>
                    <a:lnTo>
                      <a:pt x="554" y="334"/>
                    </a:lnTo>
                    <a:lnTo>
                      <a:pt x="555" y="334"/>
                    </a:lnTo>
                    <a:lnTo>
                      <a:pt x="556" y="334"/>
                    </a:lnTo>
                    <a:lnTo>
                      <a:pt x="557" y="335"/>
                    </a:lnTo>
                    <a:lnTo>
                      <a:pt x="558" y="335"/>
                    </a:lnTo>
                    <a:lnTo>
                      <a:pt x="559" y="335"/>
                    </a:lnTo>
                    <a:lnTo>
                      <a:pt x="560" y="335"/>
                    </a:lnTo>
                    <a:lnTo>
                      <a:pt x="561" y="335"/>
                    </a:lnTo>
                    <a:lnTo>
                      <a:pt x="561" y="336"/>
                    </a:lnTo>
                    <a:lnTo>
                      <a:pt x="560" y="336"/>
                    </a:lnTo>
                    <a:lnTo>
                      <a:pt x="560" y="337"/>
                    </a:lnTo>
                    <a:lnTo>
                      <a:pt x="561" y="338"/>
                    </a:lnTo>
                    <a:lnTo>
                      <a:pt x="561" y="337"/>
                    </a:lnTo>
                    <a:lnTo>
                      <a:pt x="563" y="336"/>
                    </a:lnTo>
                    <a:lnTo>
                      <a:pt x="563" y="335"/>
                    </a:lnTo>
                    <a:lnTo>
                      <a:pt x="563" y="334"/>
                    </a:lnTo>
                    <a:lnTo>
                      <a:pt x="564" y="334"/>
                    </a:lnTo>
                    <a:lnTo>
                      <a:pt x="565" y="334"/>
                    </a:lnTo>
                    <a:lnTo>
                      <a:pt x="565" y="333"/>
                    </a:lnTo>
                    <a:lnTo>
                      <a:pt x="565" y="334"/>
                    </a:lnTo>
                    <a:lnTo>
                      <a:pt x="566" y="334"/>
                    </a:lnTo>
                    <a:lnTo>
                      <a:pt x="567" y="335"/>
                    </a:lnTo>
                    <a:lnTo>
                      <a:pt x="568" y="334"/>
                    </a:lnTo>
                    <a:lnTo>
                      <a:pt x="568" y="335"/>
                    </a:lnTo>
                    <a:lnTo>
                      <a:pt x="569" y="335"/>
                    </a:lnTo>
                    <a:lnTo>
                      <a:pt x="570" y="335"/>
                    </a:lnTo>
                    <a:lnTo>
                      <a:pt x="571" y="335"/>
                    </a:lnTo>
                    <a:lnTo>
                      <a:pt x="571" y="334"/>
                    </a:lnTo>
                    <a:lnTo>
                      <a:pt x="571" y="335"/>
                    </a:lnTo>
                    <a:lnTo>
                      <a:pt x="572" y="335"/>
                    </a:lnTo>
                    <a:lnTo>
                      <a:pt x="573" y="335"/>
                    </a:lnTo>
                    <a:lnTo>
                      <a:pt x="573" y="334"/>
                    </a:lnTo>
                    <a:lnTo>
                      <a:pt x="575" y="334"/>
                    </a:lnTo>
                    <a:lnTo>
                      <a:pt x="576" y="334"/>
                    </a:lnTo>
                    <a:lnTo>
                      <a:pt x="577" y="334"/>
                    </a:lnTo>
                    <a:lnTo>
                      <a:pt x="577" y="335"/>
                    </a:lnTo>
                    <a:lnTo>
                      <a:pt x="576" y="335"/>
                    </a:lnTo>
                    <a:lnTo>
                      <a:pt x="576" y="336"/>
                    </a:lnTo>
                    <a:lnTo>
                      <a:pt x="576" y="337"/>
                    </a:lnTo>
                    <a:lnTo>
                      <a:pt x="577" y="339"/>
                    </a:lnTo>
                    <a:lnTo>
                      <a:pt x="576" y="339"/>
                    </a:lnTo>
                    <a:lnTo>
                      <a:pt x="575" y="339"/>
                    </a:lnTo>
                    <a:lnTo>
                      <a:pt x="573" y="338"/>
                    </a:lnTo>
                    <a:lnTo>
                      <a:pt x="572" y="338"/>
                    </a:lnTo>
                    <a:lnTo>
                      <a:pt x="572" y="339"/>
                    </a:lnTo>
                    <a:lnTo>
                      <a:pt x="571" y="339"/>
                    </a:lnTo>
                    <a:lnTo>
                      <a:pt x="570" y="339"/>
                    </a:lnTo>
                    <a:lnTo>
                      <a:pt x="570" y="340"/>
                    </a:lnTo>
                    <a:lnTo>
                      <a:pt x="569" y="340"/>
                    </a:lnTo>
                    <a:lnTo>
                      <a:pt x="568" y="340"/>
                    </a:lnTo>
                    <a:lnTo>
                      <a:pt x="567" y="340"/>
                    </a:lnTo>
                    <a:lnTo>
                      <a:pt x="566" y="340"/>
                    </a:lnTo>
                    <a:lnTo>
                      <a:pt x="566" y="341"/>
                    </a:lnTo>
                    <a:lnTo>
                      <a:pt x="566" y="342"/>
                    </a:lnTo>
                    <a:lnTo>
                      <a:pt x="566" y="344"/>
                    </a:lnTo>
                    <a:lnTo>
                      <a:pt x="565" y="344"/>
                    </a:lnTo>
                    <a:lnTo>
                      <a:pt x="566" y="345"/>
                    </a:lnTo>
                    <a:lnTo>
                      <a:pt x="566" y="346"/>
                    </a:lnTo>
                    <a:lnTo>
                      <a:pt x="567" y="346"/>
                    </a:lnTo>
                    <a:lnTo>
                      <a:pt x="567" y="347"/>
                    </a:lnTo>
                    <a:lnTo>
                      <a:pt x="568" y="347"/>
                    </a:lnTo>
                    <a:lnTo>
                      <a:pt x="568" y="346"/>
                    </a:lnTo>
                    <a:lnTo>
                      <a:pt x="567" y="345"/>
                    </a:lnTo>
                    <a:lnTo>
                      <a:pt x="567" y="344"/>
                    </a:lnTo>
                    <a:lnTo>
                      <a:pt x="568" y="342"/>
                    </a:lnTo>
                    <a:lnTo>
                      <a:pt x="570" y="342"/>
                    </a:lnTo>
                    <a:lnTo>
                      <a:pt x="571" y="344"/>
                    </a:lnTo>
                    <a:lnTo>
                      <a:pt x="571" y="342"/>
                    </a:lnTo>
                    <a:lnTo>
                      <a:pt x="572" y="342"/>
                    </a:lnTo>
                    <a:lnTo>
                      <a:pt x="572" y="341"/>
                    </a:lnTo>
                    <a:lnTo>
                      <a:pt x="573" y="341"/>
                    </a:lnTo>
                    <a:lnTo>
                      <a:pt x="573" y="340"/>
                    </a:lnTo>
                    <a:lnTo>
                      <a:pt x="575" y="340"/>
                    </a:lnTo>
                    <a:lnTo>
                      <a:pt x="575" y="341"/>
                    </a:lnTo>
                    <a:lnTo>
                      <a:pt x="575" y="342"/>
                    </a:lnTo>
                    <a:lnTo>
                      <a:pt x="576" y="344"/>
                    </a:lnTo>
                    <a:lnTo>
                      <a:pt x="576" y="345"/>
                    </a:lnTo>
                    <a:lnTo>
                      <a:pt x="576" y="346"/>
                    </a:lnTo>
                    <a:lnTo>
                      <a:pt x="576" y="347"/>
                    </a:lnTo>
                    <a:lnTo>
                      <a:pt x="576" y="348"/>
                    </a:lnTo>
                    <a:lnTo>
                      <a:pt x="577" y="348"/>
                    </a:lnTo>
                    <a:lnTo>
                      <a:pt x="577" y="347"/>
                    </a:lnTo>
                    <a:lnTo>
                      <a:pt x="576" y="347"/>
                    </a:lnTo>
                    <a:lnTo>
                      <a:pt x="577" y="347"/>
                    </a:lnTo>
                    <a:lnTo>
                      <a:pt x="577" y="348"/>
                    </a:lnTo>
                    <a:lnTo>
                      <a:pt x="578" y="347"/>
                    </a:lnTo>
                    <a:lnTo>
                      <a:pt x="578" y="348"/>
                    </a:lnTo>
                    <a:lnTo>
                      <a:pt x="578" y="349"/>
                    </a:lnTo>
                    <a:lnTo>
                      <a:pt x="579" y="350"/>
                    </a:lnTo>
                    <a:lnTo>
                      <a:pt x="579" y="351"/>
                    </a:lnTo>
                    <a:lnTo>
                      <a:pt x="580" y="352"/>
                    </a:lnTo>
                    <a:lnTo>
                      <a:pt x="581" y="353"/>
                    </a:lnTo>
                    <a:lnTo>
                      <a:pt x="581" y="354"/>
                    </a:lnTo>
                    <a:lnTo>
                      <a:pt x="581" y="356"/>
                    </a:lnTo>
                    <a:lnTo>
                      <a:pt x="581" y="357"/>
                    </a:lnTo>
                    <a:lnTo>
                      <a:pt x="580" y="357"/>
                    </a:lnTo>
                    <a:lnTo>
                      <a:pt x="580" y="358"/>
                    </a:lnTo>
                    <a:lnTo>
                      <a:pt x="579" y="360"/>
                    </a:lnTo>
                    <a:lnTo>
                      <a:pt x="579" y="361"/>
                    </a:lnTo>
                    <a:lnTo>
                      <a:pt x="580" y="361"/>
                    </a:lnTo>
                    <a:lnTo>
                      <a:pt x="580" y="362"/>
                    </a:lnTo>
                    <a:lnTo>
                      <a:pt x="580" y="363"/>
                    </a:lnTo>
                    <a:lnTo>
                      <a:pt x="580" y="364"/>
                    </a:lnTo>
                    <a:lnTo>
                      <a:pt x="581" y="364"/>
                    </a:lnTo>
                    <a:lnTo>
                      <a:pt x="581" y="365"/>
                    </a:lnTo>
                    <a:lnTo>
                      <a:pt x="580" y="365"/>
                    </a:lnTo>
                    <a:lnTo>
                      <a:pt x="579" y="365"/>
                    </a:lnTo>
                    <a:lnTo>
                      <a:pt x="579" y="366"/>
                    </a:lnTo>
                    <a:lnTo>
                      <a:pt x="578" y="366"/>
                    </a:lnTo>
                    <a:lnTo>
                      <a:pt x="578" y="365"/>
                    </a:lnTo>
                    <a:lnTo>
                      <a:pt x="577" y="365"/>
                    </a:lnTo>
                    <a:lnTo>
                      <a:pt x="576" y="365"/>
                    </a:lnTo>
                    <a:lnTo>
                      <a:pt x="575" y="366"/>
                    </a:lnTo>
                    <a:lnTo>
                      <a:pt x="575" y="367"/>
                    </a:lnTo>
                    <a:lnTo>
                      <a:pt x="573" y="367"/>
                    </a:lnTo>
                    <a:lnTo>
                      <a:pt x="573" y="369"/>
                    </a:lnTo>
                    <a:lnTo>
                      <a:pt x="572" y="369"/>
                    </a:lnTo>
                    <a:lnTo>
                      <a:pt x="572" y="370"/>
                    </a:lnTo>
                    <a:lnTo>
                      <a:pt x="573" y="370"/>
                    </a:lnTo>
                    <a:lnTo>
                      <a:pt x="573" y="371"/>
                    </a:lnTo>
                    <a:lnTo>
                      <a:pt x="575" y="371"/>
                    </a:lnTo>
                    <a:lnTo>
                      <a:pt x="575" y="372"/>
                    </a:lnTo>
                    <a:lnTo>
                      <a:pt x="576" y="372"/>
                    </a:lnTo>
                    <a:lnTo>
                      <a:pt x="576" y="373"/>
                    </a:lnTo>
                    <a:lnTo>
                      <a:pt x="577" y="373"/>
                    </a:lnTo>
                    <a:lnTo>
                      <a:pt x="577" y="374"/>
                    </a:lnTo>
                    <a:lnTo>
                      <a:pt x="578" y="374"/>
                    </a:lnTo>
                    <a:lnTo>
                      <a:pt x="579" y="375"/>
                    </a:lnTo>
                    <a:lnTo>
                      <a:pt x="580" y="375"/>
                    </a:lnTo>
                    <a:lnTo>
                      <a:pt x="579" y="375"/>
                    </a:lnTo>
                    <a:lnTo>
                      <a:pt x="579" y="376"/>
                    </a:lnTo>
                    <a:lnTo>
                      <a:pt x="580" y="376"/>
                    </a:lnTo>
                    <a:lnTo>
                      <a:pt x="581" y="376"/>
                    </a:lnTo>
                    <a:lnTo>
                      <a:pt x="581" y="377"/>
                    </a:lnTo>
                    <a:lnTo>
                      <a:pt x="580" y="377"/>
                    </a:lnTo>
                    <a:lnTo>
                      <a:pt x="580" y="378"/>
                    </a:lnTo>
                    <a:lnTo>
                      <a:pt x="580" y="379"/>
                    </a:lnTo>
                    <a:lnTo>
                      <a:pt x="581" y="380"/>
                    </a:lnTo>
                    <a:lnTo>
                      <a:pt x="582" y="380"/>
                    </a:lnTo>
                    <a:lnTo>
                      <a:pt x="583" y="380"/>
                    </a:lnTo>
                    <a:lnTo>
                      <a:pt x="584" y="380"/>
                    </a:lnTo>
                    <a:lnTo>
                      <a:pt x="583" y="382"/>
                    </a:lnTo>
                    <a:lnTo>
                      <a:pt x="582" y="382"/>
                    </a:lnTo>
                    <a:lnTo>
                      <a:pt x="581" y="383"/>
                    </a:lnTo>
                    <a:lnTo>
                      <a:pt x="580" y="383"/>
                    </a:lnTo>
                    <a:lnTo>
                      <a:pt x="580" y="384"/>
                    </a:lnTo>
                    <a:lnTo>
                      <a:pt x="581" y="385"/>
                    </a:lnTo>
                    <a:lnTo>
                      <a:pt x="582" y="385"/>
                    </a:lnTo>
                    <a:lnTo>
                      <a:pt x="583" y="384"/>
                    </a:lnTo>
                    <a:lnTo>
                      <a:pt x="584" y="384"/>
                    </a:lnTo>
                    <a:lnTo>
                      <a:pt x="585" y="384"/>
                    </a:lnTo>
                    <a:lnTo>
                      <a:pt x="586" y="384"/>
                    </a:lnTo>
                    <a:lnTo>
                      <a:pt x="586" y="383"/>
                    </a:lnTo>
                    <a:lnTo>
                      <a:pt x="588" y="383"/>
                    </a:lnTo>
                    <a:lnTo>
                      <a:pt x="588" y="384"/>
                    </a:lnTo>
                    <a:lnTo>
                      <a:pt x="589" y="384"/>
                    </a:lnTo>
                    <a:lnTo>
                      <a:pt x="590" y="384"/>
                    </a:lnTo>
                    <a:lnTo>
                      <a:pt x="591" y="384"/>
                    </a:lnTo>
                    <a:lnTo>
                      <a:pt x="592" y="384"/>
                    </a:lnTo>
                    <a:lnTo>
                      <a:pt x="592" y="383"/>
                    </a:lnTo>
                    <a:lnTo>
                      <a:pt x="592" y="384"/>
                    </a:lnTo>
                    <a:lnTo>
                      <a:pt x="592" y="385"/>
                    </a:lnTo>
                    <a:lnTo>
                      <a:pt x="592" y="386"/>
                    </a:lnTo>
                    <a:lnTo>
                      <a:pt x="593" y="386"/>
                    </a:lnTo>
                    <a:lnTo>
                      <a:pt x="593" y="387"/>
                    </a:lnTo>
                    <a:lnTo>
                      <a:pt x="593" y="386"/>
                    </a:lnTo>
                    <a:lnTo>
                      <a:pt x="593" y="387"/>
                    </a:lnTo>
                    <a:lnTo>
                      <a:pt x="593" y="388"/>
                    </a:lnTo>
                    <a:lnTo>
                      <a:pt x="592" y="388"/>
                    </a:lnTo>
                    <a:lnTo>
                      <a:pt x="591" y="388"/>
                    </a:lnTo>
                    <a:lnTo>
                      <a:pt x="590" y="389"/>
                    </a:lnTo>
                    <a:lnTo>
                      <a:pt x="589" y="389"/>
                    </a:lnTo>
                    <a:lnTo>
                      <a:pt x="589" y="390"/>
                    </a:lnTo>
                    <a:lnTo>
                      <a:pt x="590" y="390"/>
                    </a:lnTo>
                    <a:lnTo>
                      <a:pt x="590" y="391"/>
                    </a:lnTo>
                    <a:lnTo>
                      <a:pt x="589" y="391"/>
                    </a:lnTo>
                    <a:lnTo>
                      <a:pt x="589" y="392"/>
                    </a:lnTo>
                    <a:lnTo>
                      <a:pt x="589" y="393"/>
                    </a:lnTo>
                    <a:lnTo>
                      <a:pt x="589" y="395"/>
                    </a:lnTo>
                    <a:lnTo>
                      <a:pt x="589" y="396"/>
                    </a:lnTo>
                    <a:lnTo>
                      <a:pt x="590" y="396"/>
                    </a:lnTo>
                    <a:lnTo>
                      <a:pt x="591" y="396"/>
                    </a:lnTo>
                    <a:lnTo>
                      <a:pt x="591" y="397"/>
                    </a:lnTo>
                    <a:lnTo>
                      <a:pt x="590" y="397"/>
                    </a:lnTo>
                    <a:lnTo>
                      <a:pt x="590" y="398"/>
                    </a:lnTo>
                    <a:lnTo>
                      <a:pt x="591" y="398"/>
                    </a:lnTo>
                    <a:lnTo>
                      <a:pt x="592" y="398"/>
                    </a:lnTo>
                    <a:lnTo>
                      <a:pt x="592" y="399"/>
                    </a:lnTo>
                    <a:lnTo>
                      <a:pt x="593" y="400"/>
                    </a:lnTo>
                    <a:lnTo>
                      <a:pt x="592" y="400"/>
                    </a:lnTo>
                    <a:lnTo>
                      <a:pt x="591" y="400"/>
                    </a:lnTo>
                    <a:lnTo>
                      <a:pt x="591" y="401"/>
                    </a:lnTo>
                    <a:lnTo>
                      <a:pt x="590" y="401"/>
                    </a:lnTo>
                    <a:lnTo>
                      <a:pt x="589" y="401"/>
                    </a:lnTo>
                    <a:lnTo>
                      <a:pt x="589" y="400"/>
                    </a:lnTo>
                    <a:lnTo>
                      <a:pt x="590" y="400"/>
                    </a:lnTo>
                    <a:lnTo>
                      <a:pt x="589" y="400"/>
                    </a:lnTo>
                    <a:lnTo>
                      <a:pt x="589" y="399"/>
                    </a:lnTo>
                    <a:lnTo>
                      <a:pt x="588" y="399"/>
                    </a:lnTo>
                    <a:lnTo>
                      <a:pt x="588" y="398"/>
                    </a:lnTo>
                    <a:lnTo>
                      <a:pt x="588" y="397"/>
                    </a:lnTo>
                    <a:lnTo>
                      <a:pt x="586" y="396"/>
                    </a:lnTo>
                    <a:lnTo>
                      <a:pt x="585" y="397"/>
                    </a:lnTo>
                    <a:lnTo>
                      <a:pt x="585" y="396"/>
                    </a:lnTo>
                    <a:lnTo>
                      <a:pt x="584" y="397"/>
                    </a:lnTo>
                    <a:lnTo>
                      <a:pt x="583" y="397"/>
                    </a:lnTo>
                    <a:lnTo>
                      <a:pt x="583" y="398"/>
                    </a:lnTo>
                    <a:lnTo>
                      <a:pt x="582" y="398"/>
                    </a:lnTo>
                    <a:lnTo>
                      <a:pt x="582" y="397"/>
                    </a:lnTo>
                    <a:lnTo>
                      <a:pt x="581" y="396"/>
                    </a:lnTo>
                    <a:lnTo>
                      <a:pt x="580" y="396"/>
                    </a:lnTo>
                    <a:lnTo>
                      <a:pt x="580" y="397"/>
                    </a:lnTo>
                    <a:lnTo>
                      <a:pt x="580" y="398"/>
                    </a:lnTo>
                    <a:lnTo>
                      <a:pt x="581" y="398"/>
                    </a:lnTo>
                    <a:lnTo>
                      <a:pt x="582" y="398"/>
                    </a:lnTo>
                    <a:lnTo>
                      <a:pt x="583" y="398"/>
                    </a:lnTo>
                    <a:lnTo>
                      <a:pt x="583" y="399"/>
                    </a:lnTo>
                    <a:lnTo>
                      <a:pt x="584" y="399"/>
                    </a:lnTo>
                    <a:lnTo>
                      <a:pt x="585" y="400"/>
                    </a:lnTo>
                    <a:lnTo>
                      <a:pt x="586" y="400"/>
                    </a:lnTo>
                    <a:lnTo>
                      <a:pt x="586" y="399"/>
                    </a:lnTo>
                    <a:lnTo>
                      <a:pt x="588" y="399"/>
                    </a:lnTo>
                    <a:lnTo>
                      <a:pt x="589" y="399"/>
                    </a:lnTo>
                    <a:lnTo>
                      <a:pt x="589" y="400"/>
                    </a:lnTo>
                    <a:lnTo>
                      <a:pt x="589" y="401"/>
                    </a:lnTo>
                    <a:lnTo>
                      <a:pt x="588" y="401"/>
                    </a:lnTo>
                    <a:lnTo>
                      <a:pt x="589" y="401"/>
                    </a:lnTo>
                    <a:lnTo>
                      <a:pt x="589" y="402"/>
                    </a:lnTo>
                    <a:lnTo>
                      <a:pt x="590" y="402"/>
                    </a:lnTo>
                    <a:lnTo>
                      <a:pt x="590" y="403"/>
                    </a:lnTo>
                    <a:lnTo>
                      <a:pt x="589" y="403"/>
                    </a:lnTo>
                    <a:lnTo>
                      <a:pt x="588" y="403"/>
                    </a:lnTo>
                    <a:lnTo>
                      <a:pt x="588" y="402"/>
                    </a:lnTo>
                    <a:lnTo>
                      <a:pt x="586" y="402"/>
                    </a:lnTo>
                    <a:lnTo>
                      <a:pt x="586" y="403"/>
                    </a:lnTo>
                    <a:lnTo>
                      <a:pt x="585" y="403"/>
                    </a:lnTo>
                    <a:lnTo>
                      <a:pt x="585" y="404"/>
                    </a:lnTo>
                    <a:lnTo>
                      <a:pt x="585" y="405"/>
                    </a:lnTo>
                    <a:lnTo>
                      <a:pt x="586" y="406"/>
                    </a:lnTo>
                    <a:lnTo>
                      <a:pt x="588" y="406"/>
                    </a:lnTo>
                    <a:lnTo>
                      <a:pt x="588" y="408"/>
                    </a:lnTo>
                    <a:lnTo>
                      <a:pt x="589" y="408"/>
                    </a:lnTo>
                    <a:lnTo>
                      <a:pt x="590" y="408"/>
                    </a:lnTo>
                    <a:lnTo>
                      <a:pt x="590" y="409"/>
                    </a:lnTo>
                    <a:lnTo>
                      <a:pt x="590" y="408"/>
                    </a:lnTo>
                    <a:lnTo>
                      <a:pt x="590" y="409"/>
                    </a:lnTo>
                    <a:lnTo>
                      <a:pt x="590" y="410"/>
                    </a:lnTo>
                    <a:lnTo>
                      <a:pt x="589" y="410"/>
                    </a:lnTo>
                    <a:lnTo>
                      <a:pt x="589" y="411"/>
                    </a:lnTo>
                    <a:lnTo>
                      <a:pt x="588" y="411"/>
                    </a:lnTo>
                    <a:lnTo>
                      <a:pt x="588" y="410"/>
                    </a:lnTo>
                    <a:lnTo>
                      <a:pt x="586" y="411"/>
                    </a:lnTo>
                    <a:lnTo>
                      <a:pt x="586" y="410"/>
                    </a:lnTo>
                    <a:lnTo>
                      <a:pt x="585" y="410"/>
                    </a:lnTo>
                    <a:lnTo>
                      <a:pt x="584" y="411"/>
                    </a:lnTo>
                    <a:lnTo>
                      <a:pt x="583" y="411"/>
                    </a:lnTo>
                    <a:lnTo>
                      <a:pt x="584" y="411"/>
                    </a:lnTo>
                    <a:lnTo>
                      <a:pt x="584" y="410"/>
                    </a:lnTo>
                    <a:lnTo>
                      <a:pt x="585" y="410"/>
                    </a:lnTo>
                    <a:lnTo>
                      <a:pt x="585" y="409"/>
                    </a:lnTo>
                    <a:lnTo>
                      <a:pt x="585" y="408"/>
                    </a:lnTo>
                    <a:lnTo>
                      <a:pt x="586" y="408"/>
                    </a:lnTo>
                    <a:lnTo>
                      <a:pt x="585" y="408"/>
                    </a:lnTo>
                    <a:lnTo>
                      <a:pt x="585" y="406"/>
                    </a:lnTo>
                    <a:lnTo>
                      <a:pt x="585" y="405"/>
                    </a:lnTo>
                    <a:lnTo>
                      <a:pt x="585" y="404"/>
                    </a:lnTo>
                    <a:lnTo>
                      <a:pt x="584" y="404"/>
                    </a:lnTo>
                    <a:lnTo>
                      <a:pt x="584" y="403"/>
                    </a:lnTo>
                    <a:lnTo>
                      <a:pt x="583" y="403"/>
                    </a:lnTo>
                    <a:lnTo>
                      <a:pt x="583" y="402"/>
                    </a:lnTo>
                    <a:lnTo>
                      <a:pt x="583" y="401"/>
                    </a:lnTo>
                    <a:lnTo>
                      <a:pt x="583" y="400"/>
                    </a:lnTo>
                    <a:lnTo>
                      <a:pt x="583" y="399"/>
                    </a:lnTo>
                    <a:lnTo>
                      <a:pt x="582" y="399"/>
                    </a:lnTo>
                    <a:lnTo>
                      <a:pt x="581" y="399"/>
                    </a:lnTo>
                    <a:lnTo>
                      <a:pt x="581" y="400"/>
                    </a:lnTo>
                    <a:lnTo>
                      <a:pt x="581" y="401"/>
                    </a:lnTo>
                    <a:lnTo>
                      <a:pt x="582" y="401"/>
                    </a:lnTo>
                    <a:lnTo>
                      <a:pt x="582" y="402"/>
                    </a:lnTo>
                    <a:lnTo>
                      <a:pt x="582" y="403"/>
                    </a:lnTo>
                    <a:lnTo>
                      <a:pt x="581" y="403"/>
                    </a:lnTo>
                    <a:lnTo>
                      <a:pt x="581" y="404"/>
                    </a:lnTo>
                    <a:lnTo>
                      <a:pt x="580" y="404"/>
                    </a:lnTo>
                    <a:lnTo>
                      <a:pt x="580" y="405"/>
                    </a:lnTo>
                    <a:lnTo>
                      <a:pt x="580" y="406"/>
                    </a:lnTo>
                    <a:lnTo>
                      <a:pt x="580" y="408"/>
                    </a:lnTo>
                    <a:lnTo>
                      <a:pt x="579" y="408"/>
                    </a:lnTo>
                    <a:lnTo>
                      <a:pt x="579" y="409"/>
                    </a:lnTo>
                    <a:lnTo>
                      <a:pt x="578" y="409"/>
                    </a:lnTo>
                    <a:lnTo>
                      <a:pt x="578" y="410"/>
                    </a:lnTo>
                    <a:lnTo>
                      <a:pt x="578" y="411"/>
                    </a:lnTo>
                    <a:lnTo>
                      <a:pt x="579" y="411"/>
                    </a:lnTo>
                    <a:lnTo>
                      <a:pt x="579" y="410"/>
                    </a:lnTo>
                    <a:lnTo>
                      <a:pt x="580" y="411"/>
                    </a:lnTo>
                    <a:lnTo>
                      <a:pt x="579" y="411"/>
                    </a:lnTo>
                    <a:lnTo>
                      <a:pt x="579" y="412"/>
                    </a:lnTo>
                    <a:lnTo>
                      <a:pt x="578" y="412"/>
                    </a:lnTo>
                    <a:lnTo>
                      <a:pt x="579" y="414"/>
                    </a:lnTo>
                    <a:lnTo>
                      <a:pt x="579" y="415"/>
                    </a:lnTo>
                    <a:lnTo>
                      <a:pt x="579" y="414"/>
                    </a:lnTo>
                    <a:lnTo>
                      <a:pt x="580" y="414"/>
                    </a:lnTo>
                    <a:lnTo>
                      <a:pt x="579" y="414"/>
                    </a:lnTo>
                    <a:lnTo>
                      <a:pt x="579" y="413"/>
                    </a:lnTo>
                    <a:lnTo>
                      <a:pt x="579" y="414"/>
                    </a:lnTo>
                    <a:lnTo>
                      <a:pt x="580" y="414"/>
                    </a:lnTo>
                    <a:lnTo>
                      <a:pt x="580" y="413"/>
                    </a:lnTo>
                    <a:lnTo>
                      <a:pt x="581" y="413"/>
                    </a:lnTo>
                    <a:lnTo>
                      <a:pt x="580" y="413"/>
                    </a:lnTo>
                    <a:lnTo>
                      <a:pt x="580" y="412"/>
                    </a:lnTo>
                    <a:lnTo>
                      <a:pt x="581" y="411"/>
                    </a:lnTo>
                    <a:lnTo>
                      <a:pt x="581" y="412"/>
                    </a:lnTo>
                    <a:lnTo>
                      <a:pt x="581" y="411"/>
                    </a:lnTo>
                    <a:lnTo>
                      <a:pt x="581" y="412"/>
                    </a:lnTo>
                    <a:lnTo>
                      <a:pt x="581" y="413"/>
                    </a:lnTo>
                    <a:lnTo>
                      <a:pt x="581" y="414"/>
                    </a:lnTo>
                    <a:lnTo>
                      <a:pt x="580" y="414"/>
                    </a:lnTo>
                    <a:lnTo>
                      <a:pt x="579" y="415"/>
                    </a:lnTo>
                    <a:lnTo>
                      <a:pt x="579" y="416"/>
                    </a:lnTo>
                    <a:lnTo>
                      <a:pt x="580" y="417"/>
                    </a:lnTo>
                    <a:lnTo>
                      <a:pt x="580" y="418"/>
                    </a:lnTo>
                    <a:lnTo>
                      <a:pt x="581" y="418"/>
                    </a:lnTo>
                    <a:lnTo>
                      <a:pt x="581" y="419"/>
                    </a:lnTo>
                    <a:lnTo>
                      <a:pt x="582" y="419"/>
                    </a:lnTo>
                    <a:lnTo>
                      <a:pt x="582" y="421"/>
                    </a:lnTo>
                    <a:lnTo>
                      <a:pt x="583" y="422"/>
                    </a:lnTo>
                    <a:lnTo>
                      <a:pt x="583" y="423"/>
                    </a:lnTo>
                    <a:lnTo>
                      <a:pt x="584" y="423"/>
                    </a:lnTo>
                    <a:lnTo>
                      <a:pt x="584" y="424"/>
                    </a:lnTo>
                    <a:lnTo>
                      <a:pt x="585" y="424"/>
                    </a:lnTo>
                    <a:lnTo>
                      <a:pt x="585" y="425"/>
                    </a:lnTo>
                    <a:lnTo>
                      <a:pt x="584" y="425"/>
                    </a:lnTo>
                    <a:lnTo>
                      <a:pt x="585" y="425"/>
                    </a:lnTo>
                    <a:lnTo>
                      <a:pt x="585" y="426"/>
                    </a:lnTo>
                    <a:lnTo>
                      <a:pt x="584" y="426"/>
                    </a:lnTo>
                    <a:lnTo>
                      <a:pt x="583" y="426"/>
                    </a:lnTo>
                    <a:lnTo>
                      <a:pt x="583" y="427"/>
                    </a:lnTo>
                    <a:lnTo>
                      <a:pt x="584" y="427"/>
                    </a:lnTo>
                    <a:lnTo>
                      <a:pt x="585" y="427"/>
                    </a:lnTo>
                    <a:lnTo>
                      <a:pt x="586" y="427"/>
                    </a:lnTo>
                    <a:lnTo>
                      <a:pt x="586" y="428"/>
                    </a:lnTo>
                    <a:lnTo>
                      <a:pt x="588" y="429"/>
                    </a:lnTo>
                    <a:lnTo>
                      <a:pt x="586" y="429"/>
                    </a:lnTo>
                    <a:lnTo>
                      <a:pt x="586" y="430"/>
                    </a:lnTo>
                    <a:lnTo>
                      <a:pt x="585" y="430"/>
                    </a:lnTo>
                    <a:lnTo>
                      <a:pt x="585" y="429"/>
                    </a:lnTo>
                    <a:lnTo>
                      <a:pt x="584" y="429"/>
                    </a:lnTo>
                    <a:lnTo>
                      <a:pt x="585" y="429"/>
                    </a:lnTo>
                    <a:lnTo>
                      <a:pt x="584" y="429"/>
                    </a:lnTo>
                    <a:lnTo>
                      <a:pt x="585" y="429"/>
                    </a:lnTo>
                    <a:lnTo>
                      <a:pt x="584" y="429"/>
                    </a:lnTo>
                    <a:lnTo>
                      <a:pt x="584" y="430"/>
                    </a:lnTo>
                    <a:lnTo>
                      <a:pt x="585" y="430"/>
                    </a:lnTo>
                    <a:lnTo>
                      <a:pt x="584" y="430"/>
                    </a:lnTo>
                    <a:lnTo>
                      <a:pt x="583" y="429"/>
                    </a:lnTo>
                    <a:lnTo>
                      <a:pt x="582" y="429"/>
                    </a:lnTo>
                    <a:lnTo>
                      <a:pt x="582" y="428"/>
                    </a:lnTo>
                    <a:lnTo>
                      <a:pt x="581" y="428"/>
                    </a:lnTo>
                    <a:lnTo>
                      <a:pt x="580" y="428"/>
                    </a:lnTo>
                    <a:lnTo>
                      <a:pt x="580" y="427"/>
                    </a:lnTo>
                    <a:lnTo>
                      <a:pt x="579" y="425"/>
                    </a:lnTo>
                    <a:lnTo>
                      <a:pt x="579" y="424"/>
                    </a:lnTo>
                    <a:lnTo>
                      <a:pt x="578" y="424"/>
                    </a:lnTo>
                    <a:lnTo>
                      <a:pt x="577" y="423"/>
                    </a:lnTo>
                    <a:lnTo>
                      <a:pt x="576" y="422"/>
                    </a:lnTo>
                    <a:lnTo>
                      <a:pt x="576" y="421"/>
                    </a:lnTo>
                    <a:lnTo>
                      <a:pt x="573" y="419"/>
                    </a:lnTo>
                    <a:lnTo>
                      <a:pt x="573" y="418"/>
                    </a:lnTo>
                    <a:lnTo>
                      <a:pt x="572" y="418"/>
                    </a:lnTo>
                    <a:lnTo>
                      <a:pt x="572" y="417"/>
                    </a:lnTo>
                    <a:lnTo>
                      <a:pt x="571" y="417"/>
                    </a:lnTo>
                    <a:lnTo>
                      <a:pt x="571" y="416"/>
                    </a:lnTo>
                    <a:lnTo>
                      <a:pt x="571" y="415"/>
                    </a:lnTo>
                    <a:lnTo>
                      <a:pt x="570" y="415"/>
                    </a:lnTo>
                    <a:lnTo>
                      <a:pt x="569" y="413"/>
                    </a:lnTo>
                    <a:lnTo>
                      <a:pt x="568" y="413"/>
                    </a:lnTo>
                    <a:lnTo>
                      <a:pt x="569" y="413"/>
                    </a:lnTo>
                    <a:lnTo>
                      <a:pt x="568" y="412"/>
                    </a:lnTo>
                    <a:lnTo>
                      <a:pt x="567" y="411"/>
                    </a:lnTo>
                    <a:lnTo>
                      <a:pt x="566" y="410"/>
                    </a:lnTo>
                    <a:lnTo>
                      <a:pt x="565" y="410"/>
                    </a:lnTo>
                    <a:lnTo>
                      <a:pt x="565" y="409"/>
                    </a:lnTo>
                    <a:lnTo>
                      <a:pt x="565" y="408"/>
                    </a:lnTo>
                    <a:lnTo>
                      <a:pt x="564" y="408"/>
                    </a:lnTo>
                    <a:lnTo>
                      <a:pt x="564" y="406"/>
                    </a:lnTo>
                    <a:lnTo>
                      <a:pt x="563" y="406"/>
                    </a:lnTo>
                    <a:lnTo>
                      <a:pt x="563" y="405"/>
                    </a:lnTo>
                    <a:lnTo>
                      <a:pt x="561" y="405"/>
                    </a:lnTo>
                    <a:lnTo>
                      <a:pt x="563" y="406"/>
                    </a:lnTo>
                    <a:lnTo>
                      <a:pt x="561" y="406"/>
                    </a:lnTo>
                    <a:lnTo>
                      <a:pt x="560" y="406"/>
                    </a:lnTo>
                    <a:lnTo>
                      <a:pt x="560" y="405"/>
                    </a:lnTo>
                    <a:lnTo>
                      <a:pt x="560" y="404"/>
                    </a:lnTo>
                    <a:lnTo>
                      <a:pt x="559" y="404"/>
                    </a:lnTo>
                    <a:lnTo>
                      <a:pt x="559" y="403"/>
                    </a:lnTo>
                    <a:lnTo>
                      <a:pt x="558" y="403"/>
                    </a:lnTo>
                    <a:lnTo>
                      <a:pt x="558" y="402"/>
                    </a:lnTo>
                    <a:lnTo>
                      <a:pt x="558" y="401"/>
                    </a:lnTo>
                    <a:lnTo>
                      <a:pt x="558" y="400"/>
                    </a:lnTo>
                    <a:lnTo>
                      <a:pt x="557" y="401"/>
                    </a:lnTo>
                    <a:lnTo>
                      <a:pt x="557" y="400"/>
                    </a:lnTo>
                    <a:lnTo>
                      <a:pt x="557" y="399"/>
                    </a:lnTo>
                    <a:lnTo>
                      <a:pt x="556" y="398"/>
                    </a:lnTo>
                    <a:lnTo>
                      <a:pt x="555" y="398"/>
                    </a:lnTo>
                    <a:lnTo>
                      <a:pt x="555" y="399"/>
                    </a:lnTo>
                    <a:lnTo>
                      <a:pt x="555" y="400"/>
                    </a:lnTo>
                    <a:lnTo>
                      <a:pt x="556" y="400"/>
                    </a:lnTo>
                    <a:lnTo>
                      <a:pt x="556" y="401"/>
                    </a:lnTo>
                    <a:lnTo>
                      <a:pt x="557" y="401"/>
                    </a:lnTo>
                    <a:lnTo>
                      <a:pt x="556" y="402"/>
                    </a:lnTo>
                    <a:lnTo>
                      <a:pt x="555" y="401"/>
                    </a:lnTo>
                    <a:lnTo>
                      <a:pt x="555" y="400"/>
                    </a:lnTo>
                    <a:lnTo>
                      <a:pt x="553" y="400"/>
                    </a:lnTo>
                    <a:lnTo>
                      <a:pt x="552" y="400"/>
                    </a:lnTo>
                    <a:lnTo>
                      <a:pt x="551" y="400"/>
                    </a:lnTo>
                    <a:lnTo>
                      <a:pt x="552" y="400"/>
                    </a:lnTo>
                    <a:lnTo>
                      <a:pt x="553" y="401"/>
                    </a:lnTo>
                    <a:lnTo>
                      <a:pt x="553" y="402"/>
                    </a:lnTo>
                    <a:lnTo>
                      <a:pt x="553" y="403"/>
                    </a:lnTo>
                    <a:lnTo>
                      <a:pt x="554" y="404"/>
                    </a:lnTo>
                    <a:lnTo>
                      <a:pt x="554" y="405"/>
                    </a:lnTo>
                    <a:lnTo>
                      <a:pt x="555" y="405"/>
                    </a:lnTo>
                    <a:lnTo>
                      <a:pt x="555" y="406"/>
                    </a:lnTo>
                    <a:lnTo>
                      <a:pt x="555" y="405"/>
                    </a:lnTo>
                    <a:lnTo>
                      <a:pt x="554" y="404"/>
                    </a:lnTo>
                    <a:lnTo>
                      <a:pt x="554" y="403"/>
                    </a:lnTo>
                    <a:lnTo>
                      <a:pt x="553" y="402"/>
                    </a:lnTo>
                    <a:lnTo>
                      <a:pt x="553" y="401"/>
                    </a:lnTo>
                    <a:lnTo>
                      <a:pt x="554" y="401"/>
                    </a:lnTo>
                    <a:lnTo>
                      <a:pt x="555" y="401"/>
                    </a:lnTo>
                    <a:lnTo>
                      <a:pt x="555" y="402"/>
                    </a:lnTo>
                    <a:lnTo>
                      <a:pt x="556" y="402"/>
                    </a:lnTo>
                    <a:lnTo>
                      <a:pt x="556" y="403"/>
                    </a:lnTo>
                    <a:lnTo>
                      <a:pt x="556" y="404"/>
                    </a:lnTo>
                    <a:lnTo>
                      <a:pt x="556" y="405"/>
                    </a:lnTo>
                    <a:lnTo>
                      <a:pt x="556" y="406"/>
                    </a:lnTo>
                    <a:lnTo>
                      <a:pt x="557" y="406"/>
                    </a:lnTo>
                    <a:lnTo>
                      <a:pt x="557" y="408"/>
                    </a:lnTo>
                    <a:lnTo>
                      <a:pt x="558" y="409"/>
                    </a:lnTo>
                    <a:lnTo>
                      <a:pt x="559" y="410"/>
                    </a:lnTo>
                    <a:lnTo>
                      <a:pt x="560" y="411"/>
                    </a:lnTo>
                    <a:lnTo>
                      <a:pt x="560" y="412"/>
                    </a:lnTo>
                    <a:lnTo>
                      <a:pt x="560" y="413"/>
                    </a:lnTo>
                    <a:lnTo>
                      <a:pt x="561" y="413"/>
                    </a:lnTo>
                    <a:lnTo>
                      <a:pt x="561" y="412"/>
                    </a:lnTo>
                    <a:lnTo>
                      <a:pt x="563" y="413"/>
                    </a:lnTo>
                    <a:lnTo>
                      <a:pt x="564" y="413"/>
                    </a:lnTo>
                    <a:lnTo>
                      <a:pt x="564" y="414"/>
                    </a:lnTo>
                    <a:lnTo>
                      <a:pt x="565" y="414"/>
                    </a:lnTo>
                    <a:lnTo>
                      <a:pt x="565" y="413"/>
                    </a:lnTo>
                    <a:lnTo>
                      <a:pt x="565" y="414"/>
                    </a:lnTo>
                    <a:lnTo>
                      <a:pt x="566" y="414"/>
                    </a:lnTo>
                    <a:lnTo>
                      <a:pt x="567" y="414"/>
                    </a:lnTo>
                    <a:lnTo>
                      <a:pt x="566" y="415"/>
                    </a:lnTo>
                    <a:lnTo>
                      <a:pt x="566" y="416"/>
                    </a:lnTo>
                    <a:lnTo>
                      <a:pt x="565" y="416"/>
                    </a:lnTo>
                    <a:lnTo>
                      <a:pt x="565" y="415"/>
                    </a:lnTo>
                    <a:lnTo>
                      <a:pt x="565" y="414"/>
                    </a:lnTo>
                    <a:lnTo>
                      <a:pt x="564" y="414"/>
                    </a:lnTo>
                    <a:lnTo>
                      <a:pt x="564" y="415"/>
                    </a:lnTo>
                    <a:lnTo>
                      <a:pt x="565" y="415"/>
                    </a:lnTo>
                    <a:lnTo>
                      <a:pt x="565" y="416"/>
                    </a:lnTo>
                    <a:lnTo>
                      <a:pt x="563" y="416"/>
                    </a:lnTo>
                    <a:lnTo>
                      <a:pt x="561" y="417"/>
                    </a:lnTo>
                    <a:lnTo>
                      <a:pt x="560" y="416"/>
                    </a:lnTo>
                    <a:lnTo>
                      <a:pt x="561" y="415"/>
                    </a:lnTo>
                    <a:lnTo>
                      <a:pt x="560" y="414"/>
                    </a:lnTo>
                    <a:lnTo>
                      <a:pt x="559" y="414"/>
                    </a:lnTo>
                    <a:lnTo>
                      <a:pt x="559" y="413"/>
                    </a:lnTo>
                    <a:lnTo>
                      <a:pt x="558" y="413"/>
                    </a:lnTo>
                    <a:lnTo>
                      <a:pt x="558" y="414"/>
                    </a:lnTo>
                    <a:lnTo>
                      <a:pt x="557" y="414"/>
                    </a:lnTo>
                    <a:lnTo>
                      <a:pt x="557" y="415"/>
                    </a:lnTo>
                    <a:lnTo>
                      <a:pt x="556" y="415"/>
                    </a:lnTo>
                    <a:lnTo>
                      <a:pt x="556" y="414"/>
                    </a:lnTo>
                    <a:lnTo>
                      <a:pt x="555" y="414"/>
                    </a:lnTo>
                    <a:lnTo>
                      <a:pt x="555" y="413"/>
                    </a:lnTo>
                    <a:lnTo>
                      <a:pt x="554" y="412"/>
                    </a:lnTo>
                    <a:lnTo>
                      <a:pt x="554" y="411"/>
                    </a:lnTo>
                    <a:lnTo>
                      <a:pt x="555" y="411"/>
                    </a:lnTo>
                    <a:lnTo>
                      <a:pt x="555" y="412"/>
                    </a:lnTo>
                    <a:lnTo>
                      <a:pt x="556" y="412"/>
                    </a:lnTo>
                    <a:lnTo>
                      <a:pt x="556" y="413"/>
                    </a:lnTo>
                    <a:lnTo>
                      <a:pt x="557" y="413"/>
                    </a:lnTo>
                    <a:lnTo>
                      <a:pt x="558" y="413"/>
                    </a:lnTo>
                    <a:lnTo>
                      <a:pt x="558" y="412"/>
                    </a:lnTo>
                    <a:lnTo>
                      <a:pt x="557" y="412"/>
                    </a:lnTo>
                    <a:lnTo>
                      <a:pt x="557" y="411"/>
                    </a:lnTo>
                    <a:lnTo>
                      <a:pt x="556" y="410"/>
                    </a:lnTo>
                    <a:lnTo>
                      <a:pt x="555" y="410"/>
                    </a:lnTo>
                    <a:lnTo>
                      <a:pt x="555" y="409"/>
                    </a:lnTo>
                    <a:lnTo>
                      <a:pt x="556" y="409"/>
                    </a:lnTo>
                    <a:lnTo>
                      <a:pt x="555" y="409"/>
                    </a:lnTo>
                    <a:lnTo>
                      <a:pt x="555" y="408"/>
                    </a:lnTo>
                    <a:lnTo>
                      <a:pt x="554" y="406"/>
                    </a:lnTo>
                    <a:lnTo>
                      <a:pt x="553" y="406"/>
                    </a:lnTo>
                    <a:lnTo>
                      <a:pt x="554" y="408"/>
                    </a:lnTo>
                    <a:lnTo>
                      <a:pt x="554" y="409"/>
                    </a:lnTo>
                    <a:lnTo>
                      <a:pt x="553" y="409"/>
                    </a:lnTo>
                    <a:lnTo>
                      <a:pt x="553" y="410"/>
                    </a:lnTo>
                    <a:lnTo>
                      <a:pt x="552" y="410"/>
                    </a:lnTo>
                    <a:lnTo>
                      <a:pt x="552" y="409"/>
                    </a:lnTo>
                    <a:lnTo>
                      <a:pt x="551" y="409"/>
                    </a:lnTo>
                    <a:lnTo>
                      <a:pt x="551" y="408"/>
                    </a:lnTo>
                    <a:lnTo>
                      <a:pt x="550" y="406"/>
                    </a:lnTo>
                    <a:lnTo>
                      <a:pt x="550" y="405"/>
                    </a:lnTo>
                    <a:lnTo>
                      <a:pt x="551" y="405"/>
                    </a:lnTo>
                    <a:lnTo>
                      <a:pt x="551" y="406"/>
                    </a:lnTo>
                    <a:lnTo>
                      <a:pt x="552" y="406"/>
                    </a:lnTo>
                    <a:lnTo>
                      <a:pt x="552" y="408"/>
                    </a:lnTo>
                    <a:lnTo>
                      <a:pt x="553" y="406"/>
                    </a:lnTo>
                    <a:lnTo>
                      <a:pt x="552" y="406"/>
                    </a:lnTo>
                    <a:lnTo>
                      <a:pt x="552" y="405"/>
                    </a:lnTo>
                    <a:lnTo>
                      <a:pt x="551" y="404"/>
                    </a:lnTo>
                    <a:lnTo>
                      <a:pt x="550" y="404"/>
                    </a:lnTo>
                    <a:lnTo>
                      <a:pt x="550" y="403"/>
                    </a:lnTo>
                    <a:lnTo>
                      <a:pt x="551" y="403"/>
                    </a:lnTo>
                    <a:lnTo>
                      <a:pt x="552" y="403"/>
                    </a:lnTo>
                    <a:lnTo>
                      <a:pt x="552" y="404"/>
                    </a:lnTo>
                    <a:lnTo>
                      <a:pt x="553" y="403"/>
                    </a:lnTo>
                    <a:lnTo>
                      <a:pt x="552" y="403"/>
                    </a:lnTo>
                    <a:lnTo>
                      <a:pt x="552" y="402"/>
                    </a:lnTo>
                    <a:lnTo>
                      <a:pt x="551" y="402"/>
                    </a:lnTo>
                    <a:lnTo>
                      <a:pt x="550" y="402"/>
                    </a:lnTo>
                    <a:lnTo>
                      <a:pt x="550" y="401"/>
                    </a:lnTo>
                    <a:lnTo>
                      <a:pt x="548" y="401"/>
                    </a:lnTo>
                    <a:lnTo>
                      <a:pt x="548" y="400"/>
                    </a:lnTo>
                    <a:lnTo>
                      <a:pt x="547" y="400"/>
                    </a:lnTo>
                    <a:lnTo>
                      <a:pt x="546" y="400"/>
                    </a:lnTo>
                    <a:lnTo>
                      <a:pt x="546" y="401"/>
                    </a:lnTo>
                    <a:lnTo>
                      <a:pt x="547" y="401"/>
                    </a:lnTo>
                    <a:lnTo>
                      <a:pt x="548" y="401"/>
                    </a:lnTo>
                    <a:lnTo>
                      <a:pt x="548" y="402"/>
                    </a:lnTo>
                    <a:lnTo>
                      <a:pt x="550" y="403"/>
                    </a:lnTo>
                    <a:lnTo>
                      <a:pt x="550" y="404"/>
                    </a:lnTo>
                    <a:lnTo>
                      <a:pt x="550" y="405"/>
                    </a:lnTo>
                    <a:lnTo>
                      <a:pt x="548" y="405"/>
                    </a:lnTo>
                    <a:lnTo>
                      <a:pt x="548" y="404"/>
                    </a:lnTo>
                    <a:lnTo>
                      <a:pt x="548" y="403"/>
                    </a:lnTo>
                    <a:lnTo>
                      <a:pt x="547" y="403"/>
                    </a:lnTo>
                    <a:lnTo>
                      <a:pt x="547" y="404"/>
                    </a:lnTo>
                    <a:lnTo>
                      <a:pt x="546" y="403"/>
                    </a:lnTo>
                    <a:lnTo>
                      <a:pt x="546" y="402"/>
                    </a:lnTo>
                    <a:lnTo>
                      <a:pt x="545" y="401"/>
                    </a:lnTo>
                    <a:lnTo>
                      <a:pt x="544" y="400"/>
                    </a:lnTo>
                    <a:lnTo>
                      <a:pt x="543" y="399"/>
                    </a:lnTo>
                    <a:lnTo>
                      <a:pt x="542" y="398"/>
                    </a:lnTo>
                    <a:lnTo>
                      <a:pt x="541" y="397"/>
                    </a:lnTo>
                    <a:lnTo>
                      <a:pt x="539" y="396"/>
                    </a:lnTo>
                    <a:lnTo>
                      <a:pt x="538" y="395"/>
                    </a:lnTo>
                    <a:lnTo>
                      <a:pt x="538" y="396"/>
                    </a:lnTo>
                    <a:lnTo>
                      <a:pt x="538" y="397"/>
                    </a:lnTo>
                    <a:lnTo>
                      <a:pt x="537" y="397"/>
                    </a:lnTo>
                    <a:lnTo>
                      <a:pt x="537" y="398"/>
                    </a:lnTo>
                    <a:lnTo>
                      <a:pt x="537" y="399"/>
                    </a:lnTo>
                    <a:lnTo>
                      <a:pt x="535" y="398"/>
                    </a:lnTo>
                    <a:lnTo>
                      <a:pt x="534" y="398"/>
                    </a:lnTo>
                    <a:lnTo>
                      <a:pt x="534" y="397"/>
                    </a:lnTo>
                    <a:lnTo>
                      <a:pt x="533" y="397"/>
                    </a:lnTo>
                    <a:lnTo>
                      <a:pt x="532" y="397"/>
                    </a:lnTo>
                    <a:lnTo>
                      <a:pt x="532" y="396"/>
                    </a:lnTo>
                    <a:lnTo>
                      <a:pt x="532" y="397"/>
                    </a:lnTo>
                    <a:lnTo>
                      <a:pt x="533" y="397"/>
                    </a:lnTo>
                    <a:lnTo>
                      <a:pt x="535" y="396"/>
                    </a:lnTo>
                    <a:lnTo>
                      <a:pt x="537" y="397"/>
                    </a:lnTo>
                    <a:lnTo>
                      <a:pt x="537" y="396"/>
                    </a:lnTo>
                    <a:lnTo>
                      <a:pt x="534" y="396"/>
                    </a:lnTo>
                    <a:lnTo>
                      <a:pt x="533" y="396"/>
                    </a:lnTo>
                    <a:lnTo>
                      <a:pt x="532" y="396"/>
                    </a:lnTo>
                    <a:lnTo>
                      <a:pt x="532" y="395"/>
                    </a:lnTo>
                    <a:lnTo>
                      <a:pt x="533" y="395"/>
                    </a:lnTo>
                    <a:lnTo>
                      <a:pt x="533" y="393"/>
                    </a:lnTo>
                    <a:lnTo>
                      <a:pt x="533" y="392"/>
                    </a:lnTo>
                    <a:lnTo>
                      <a:pt x="532" y="391"/>
                    </a:lnTo>
                    <a:lnTo>
                      <a:pt x="531" y="391"/>
                    </a:lnTo>
                    <a:lnTo>
                      <a:pt x="530" y="391"/>
                    </a:lnTo>
                    <a:lnTo>
                      <a:pt x="531" y="390"/>
                    </a:lnTo>
                    <a:lnTo>
                      <a:pt x="530" y="390"/>
                    </a:lnTo>
                    <a:lnTo>
                      <a:pt x="530" y="391"/>
                    </a:lnTo>
                    <a:lnTo>
                      <a:pt x="531" y="392"/>
                    </a:lnTo>
                    <a:lnTo>
                      <a:pt x="530" y="392"/>
                    </a:lnTo>
                    <a:lnTo>
                      <a:pt x="531" y="392"/>
                    </a:lnTo>
                    <a:lnTo>
                      <a:pt x="531" y="391"/>
                    </a:lnTo>
                    <a:lnTo>
                      <a:pt x="531" y="392"/>
                    </a:lnTo>
                    <a:lnTo>
                      <a:pt x="532" y="393"/>
                    </a:lnTo>
                    <a:lnTo>
                      <a:pt x="531" y="393"/>
                    </a:lnTo>
                    <a:lnTo>
                      <a:pt x="531" y="395"/>
                    </a:lnTo>
                    <a:lnTo>
                      <a:pt x="531" y="393"/>
                    </a:lnTo>
                    <a:lnTo>
                      <a:pt x="530" y="393"/>
                    </a:lnTo>
                    <a:lnTo>
                      <a:pt x="531" y="393"/>
                    </a:lnTo>
                    <a:lnTo>
                      <a:pt x="531" y="392"/>
                    </a:lnTo>
                    <a:lnTo>
                      <a:pt x="530" y="392"/>
                    </a:lnTo>
                    <a:lnTo>
                      <a:pt x="529" y="391"/>
                    </a:lnTo>
                    <a:lnTo>
                      <a:pt x="527" y="389"/>
                    </a:lnTo>
                    <a:lnTo>
                      <a:pt x="528" y="389"/>
                    </a:lnTo>
                    <a:lnTo>
                      <a:pt x="528" y="388"/>
                    </a:lnTo>
                    <a:lnTo>
                      <a:pt x="525" y="389"/>
                    </a:lnTo>
                    <a:lnTo>
                      <a:pt x="527" y="389"/>
                    </a:lnTo>
                    <a:lnTo>
                      <a:pt x="528" y="390"/>
                    </a:lnTo>
                    <a:lnTo>
                      <a:pt x="529" y="391"/>
                    </a:lnTo>
                    <a:lnTo>
                      <a:pt x="530" y="392"/>
                    </a:lnTo>
                    <a:lnTo>
                      <a:pt x="530" y="393"/>
                    </a:lnTo>
                    <a:lnTo>
                      <a:pt x="530" y="395"/>
                    </a:lnTo>
                    <a:lnTo>
                      <a:pt x="529" y="395"/>
                    </a:lnTo>
                    <a:lnTo>
                      <a:pt x="529" y="396"/>
                    </a:lnTo>
                    <a:lnTo>
                      <a:pt x="529" y="395"/>
                    </a:lnTo>
                    <a:lnTo>
                      <a:pt x="529" y="393"/>
                    </a:lnTo>
                    <a:lnTo>
                      <a:pt x="528" y="393"/>
                    </a:lnTo>
                    <a:lnTo>
                      <a:pt x="529" y="393"/>
                    </a:lnTo>
                    <a:lnTo>
                      <a:pt x="529" y="395"/>
                    </a:lnTo>
                    <a:lnTo>
                      <a:pt x="529" y="396"/>
                    </a:lnTo>
                    <a:lnTo>
                      <a:pt x="530" y="396"/>
                    </a:lnTo>
                    <a:lnTo>
                      <a:pt x="529" y="396"/>
                    </a:lnTo>
                    <a:lnTo>
                      <a:pt x="528" y="396"/>
                    </a:lnTo>
                    <a:lnTo>
                      <a:pt x="529" y="396"/>
                    </a:lnTo>
                    <a:lnTo>
                      <a:pt x="528" y="396"/>
                    </a:lnTo>
                    <a:lnTo>
                      <a:pt x="529" y="395"/>
                    </a:lnTo>
                    <a:lnTo>
                      <a:pt x="528" y="393"/>
                    </a:lnTo>
                    <a:lnTo>
                      <a:pt x="528" y="392"/>
                    </a:lnTo>
                    <a:lnTo>
                      <a:pt x="527" y="392"/>
                    </a:lnTo>
                    <a:lnTo>
                      <a:pt x="527" y="391"/>
                    </a:lnTo>
                    <a:lnTo>
                      <a:pt x="526" y="391"/>
                    </a:lnTo>
                    <a:lnTo>
                      <a:pt x="525" y="391"/>
                    </a:lnTo>
                    <a:lnTo>
                      <a:pt x="525" y="390"/>
                    </a:lnTo>
                    <a:lnTo>
                      <a:pt x="524" y="390"/>
                    </a:lnTo>
                    <a:lnTo>
                      <a:pt x="522" y="390"/>
                    </a:lnTo>
                    <a:lnTo>
                      <a:pt x="522" y="389"/>
                    </a:lnTo>
                    <a:lnTo>
                      <a:pt x="524" y="389"/>
                    </a:lnTo>
                    <a:lnTo>
                      <a:pt x="522" y="389"/>
                    </a:lnTo>
                    <a:lnTo>
                      <a:pt x="522" y="388"/>
                    </a:lnTo>
                    <a:lnTo>
                      <a:pt x="521" y="388"/>
                    </a:lnTo>
                    <a:lnTo>
                      <a:pt x="521" y="387"/>
                    </a:lnTo>
                    <a:lnTo>
                      <a:pt x="520" y="387"/>
                    </a:lnTo>
                    <a:lnTo>
                      <a:pt x="520" y="386"/>
                    </a:lnTo>
                    <a:lnTo>
                      <a:pt x="521" y="386"/>
                    </a:lnTo>
                    <a:lnTo>
                      <a:pt x="521" y="385"/>
                    </a:lnTo>
                    <a:lnTo>
                      <a:pt x="520" y="385"/>
                    </a:lnTo>
                    <a:lnTo>
                      <a:pt x="520" y="387"/>
                    </a:lnTo>
                    <a:lnTo>
                      <a:pt x="520" y="389"/>
                    </a:lnTo>
                    <a:lnTo>
                      <a:pt x="519" y="388"/>
                    </a:lnTo>
                    <a:lnTo>
                      <a:pt x="518" y="387"/>
                    </a:lnTo>
                    <a:lnTo>
                      <a:pt x="517" y="387"/>
                    </a:lnTo>
                    <a:lnTo>
                      <a:pt x="516" y="386"/>
                    </a:lnTo>
                    <a:lnTo>
                      <a:pt x="515" y="386"/>
                    </a:lnTo>
                    <a:lnTo>
                      <a:pt x="518" y="388"/>
                    </a:lnTo>
                    <a:lnTo>
                      <a:pt x="517" y="389"/>
                    </a:lnTo>
                    <a:lnTo>
                      <a:pt x="517" y="390"/>
                    </a:lnTo>
                    <a:lnTo>
                      <a:pt x="516" y="390"/>
                    </a:lnTo>
                    <a:lnTo>
                      <a:pt x="515" y="390"/>
                    </a:lnTo>
                    <a:lnTo>
                      <a:pt x="515" y="389"/>
                    </a:lnTo>
                    <a:lnTo>
                      <a:pt x="514" y="388"/>
                    </a:lnTo>
                    <a:lnTo>
                      <a:pt x="514" y="387"/>
                    </a:lnTo>
                    <a:lnTo>
                      <a:pt x="513" y="387"/>
                    </a:lnTo>
                    <a:lnTo>
                      <a:pt x="513" y="388"/>
                    </a:lnTo>
                    <a:lnTo>
                      <a:pt x="514" y="389"/>
                    </a:lnTo>
                    <a:lnTo>
                      <a:pt x="515" y="389"/>
                    </a:lnTo>
                    <a:lnTo>
                      <a:pt x="515" y="390"/>
                    </a:lnTo>
                    <a:lnTo>
                      <a:pt x="516" y="390"/>
                    </a:lnTo>
                    <a:lnTo>
                      <a:pt x="517" y="390"/>
                    </a:lnTo>
                    <a:lnTo>
                      <a:pt x="517" y="391"/>
                    </a:lnTo>
                    <a:lnTo>
                      <a:pt x="518" y="391"/>
                    </a:lnTo>
                    <a:lnTo>
                      <a:pt x="518" y="392"/>
                    </a:lnTo>
                    <a:lnTo>
                      <a:pt x="518" y="393"/>
                    </a:lnTo>
                    <a:lnTo>
                      <a:pt x="519" y="393"/>
                    </a:lnTo>
                    <a:lnTo>
                      <a:pt x="519" y="395"/>
                    </a:lnTo>
                    <a:lnTo>
                      <a:pt x="520" y="395"/>
                    </a:lnTo>
                    <a:lnTo>
                      <a:pt x="520" y="396"/>
                    </a:lnTo>
                    <a:lnTo>
                      <a:pt x="521" y="396"/>
                    </a:lnTo>
                    <a:lnTo>
                      <a:pt x="521" y="397"/>
                    </a:lnTo>
                    <a:lnTo>
                      <a:pt x="522" y="398"/>
                    </a:lnTo>
                    <a:lnTo>
                      <a:pt x="521" y="398"/>
                    </a:lnTo>
                    <a:lnTo>
                      <a:pt x="522" y="398"/>
                    </a:lnTo>
                    <a:lnTo>
                      <a:pt x="522" y="399"/>
                    </a:lnTo>
                    <a:lnTo>
                      <a:pt x="522" y="400"/>
                    </a:lnTo>
                    <a:lnTo>
                      <a:pt x="524" y="400"/>
                    </a:lnTo>
                    <a:lnTo>
                      <a:pt x="522" y="400"/>
                    </a:lnTo>
                    <a:lnTo>
                      <a:pt x="524" y="400"/>
                    </a:lnTo>
                    <a:lnTo>
                      <a:pt x="524" y="401"/>
                    </a:lnTo>
                    <a:lnTo>
                      <a:pt x="524" y="402"/>
                    </a:lnTo>
                    <a:lnTo>
                      <a:pt x="525" y="402"/>
                    </a:lnTo>
                    <a:lnTo>
                      <a:pt x="525" y="403"/>
                    </a:lnTo>
                    <a:lnTo>
                      <a:pt x="525" y="404"/>
                    </a:lnTo>
                    <a:lnTo>
                      <a:pt x="526" y="404"/>
                    </a:lnTo>
                    <a:lnTo>
                      <a:pt x="527" y="404"/>
                    </a:lnTo>
                    <a:lnTo>
                      <a:pt x="528" y="405"/>
                    </a:lnTo>
                    <a:lnTo>
                      <a:pt x="527" y="405"/>
                    </a:lnTo>
                    <a:lnTo>
                      <a:pt x="526" y="405"/>
                    </a:lnTo>
                    <a:lnTo>
                      <a:pt x="526" y="404"/>
                    </a:lnTo>
                    <a:lnTo>
                      <a:pt x="525" y="404"/>
                    </a:lnTo>
                    <a:lnTo>
                      <a:pt x="525" y="405"/>
                    </a:lnTo>
                    <a:lnTo>
                      <a:pt x="525" y="406"/>
                    </a:lnTo>
                    <a:lnTo>
                      <a:pt x="526" y="406"/>
                    </a:lnTo>
                    <a:lnTo>
                      <a:pt x="527" y="406"/>
                    </a:lnTo>
                    <a:lnTo>
                      <a:pt x="527" y="408"/>
                    </a:lnTo>
                    <a:lnTo>
                      <a:pt x="527" y="409"/>
                    </a:lnTo>
                    <a:lnTo>
                      <a:pt x="527" y="410"/>
                    </a:lnTo>
                    <a:lnTo>
                      <a:pt x="527" y="409"/>
                    </a:lnTo>
                    <a:lnTo>
                      <a:pt x="527" y="410"/>
                    </a:lnTo>
                    <a:lnTo>
                      <a:pt x="528" y="410"/>
                    </a:lnTo>
                    <a:lnTo>
                      <a:pt x="529" y="410"/>
                    </a:lnTo>
                    <a:lnTo>
                      <a:pt x="529" y="409"/>
                    </a:lnTo>
                    <a:lnTo>
                      <a:pt x="529" y="408"/>
                    </a:lnTo>
                    <a:lnTo>
                      <a:pt x="528" y="408"/>
                    </a:lnTo>
                    <a:lnTo>
                      <a:pt x="529" y="408"/>
                    </a:lnTo>
                    <a:lnTo>
                      <a:pt x="530" y="408"/>
                    </a:lnTo>
                    <a:lnTo>
                      <a:pt x="530" y="406"/>
                    </a:lnTo>
                    <a:lnTo>
                      <a:pt x="531" y="406"/>
                    </a:lnTo>
                    <a:lnTo>
                      <a:pt x="532" y="406"/>
                    </a:lnTo>
                    <a:lnTo>
                      <a:pt x="532" y="405"/>
                    </a:lnTo>
                    <a:lnTo>
                      <a:pt x="532" y="406"/>
                    </a:lnTo>
                    <a:lnTo>
                      <a:pt x="532" y="405"/>
                    </a:lnTo>
                    <a:lnTo>
                      <a:pt x="532" y="406"/>
                    </a:lnTo>
                    <a:lnTo>
                      <a:pt x="532" y="408"/>
                    </a:lnTo>
                    <a:lnTo>
                      <a:pt x="533" y="406"/>
                    </a:lnTo>
                    <a:lnTo>
                      <a:pt x="534" y="406"/>
                    </a:lnTo>
                    <a:lnTo>
                      <a:pt x="534" y="408"/>
                    </a:lnTo>
                    <a:lnTo>
                      <a:pt x="533" y="408"/>
                    </a:lnTo>
                    <a:lnTo>
                      <a:pt x="534" y="408"/>
                    </a:lnTo>
                    <a:lnTo>
                      <a:pt x="534" y="409"/>
                    </a:lnTo>
                    <a:lnTo>
                      <a:pt x="535" y="409"/>
                    </a:lnTo>
                    <a:lnTo>
                      <a:pt x="535" y="410"/>
                    </a:lnTo>
                    <a:lnTo>
                      <a:pt x="535" y="411"/>
                    </a:lnTo>
                    <a:lnTo>
                      <a:pt x="534" y="411"/>
                    </a:lnTo>
                    <a:lnTo>
                      <a:pt x="534" y="410"/>
                    </a:lnTo>
                    <a:lnTo>
                      <a:pt x="533" y="410"/>
                    </a:lnTo>
                    <a:lnTo>
                      <a:pt x="532" y="410"/>
                    </a:lnTo>
                    <a:lnTo>
                      <a:pt x="531" y="410"/>
                    </a:lnTo>
                    <a:lnTo>
                      <a:pt x="530" y="410"/>
                    </a:lnTo>
                    <a:lnTo>
                      <a:pt x="530" y="411"/>
                    </a:lnTo>
                    <a:lnTo>
                      <a:pt x="530" y="412"/>
                    </a:lnTo>
                    <a:lnTo>
                      <a:pt x="530" y="413"/>
                    </a:lnTo>
                    <a:lnTo>
                      <a:pt x="531" y="413"/>
                    </a:lnTo>
                    <a:lnTo>
                      <a:pt x="531" y="414"/>
                    </a:lnTo>
                    <a:lnTo>
                      <a:pt x="530" y="414"/>
                    </a:lnTo>
                    <a:lnTo>
                      <a:pt x="529" y="414"/>
                    </a:lnTo>
                    <a:lnTo>
                      <a:pt x="529" y="415"/>
                    </a:lnTo>
                    <a:lnTo>
                      <a:pt x="530" y="414"/>
                    </a:lnTo>
                    <a:lnTo>
                      <a:pt x="531" y="414"/>
                    </a:lnTo>
                    <a:lnTo>
                      <a:pt x="532" y="414"/>
                    </a:lnTo>
                    <a:lnTo>
                      <a:pt x="532" y="415"/>
                    </a:lnTo>
                    <a:lnTo>
                      <a:pt x="531" y="415"/>
                    </a:lnTo>
                    <a:lnTo>
                      <a:pt x="531" y="416"/>
                    </a:lnTo>
                    <a:lnTo>
                      <a:pt x="530" y="416"/>
                    </a:lnTo>
                    <a:lnTo>
                      <a:pt x="530" y="415"/>
                    </a:lnTo>
                    <a:lnTo>
                      <a:pt x="530" y="416"/>
                    </a:lnTo>
                    <a:lnTo>
                      <a:pt x="530" y="417"/>
                    </a:lnTo>
                    <a:lnTo>
                      <a:pt x="531" y="417"/>
                    </a:lnTo>
                    <a:lnTo>
                      <a:pt x="531" y="416"/>
                    </a:lnTo>
                    <a:lnTo>
                      <a:pt x="532" y="416"/>
                    </a:lnTo>
                    <a:lnTo>
                      <a:pt x="532" y="415"/>
                    </a:lnTo>
                    <a:lnTo>
                      <a:pt x="533" y="416"/>
                    </a:lnTo>
                    <a:lnTo>
                      <a:pt x="533" y="417"/>
                    </a:lnTo>
                    <a:lnTo>
                      <a:pt x="533" y="418"/>
                    </a:lnTo>
                    <a:lnTo>
                      <a:pt x="532" y="418"/>
                    </a:lnTo>
                    <a:lnTo>
                      <a:pt x="532" y="417"/>
                    </a:lnTo>
                    <a:lnTo>
                      <a:pt x="532" y="418"/>
                    </a:lnTo>
                    <a:lnTo>
                      <a:pt x="533" y="418"/>
                    </a:lnTo>
                    <a:lnTo>
                      <a:pt x="533" y="419"/>
                    </a:lnTo>
                    <a:lnTo>
                      <a:pt x="534" y="419"/>
                    </a:lnTo>
                    <a:lnTo>
                      <a:pt x="534" y="418"/>
                    </a:lnTo>
                    <a:lnTo>
                      <a:pt x="533" y="418"/>
                    </a:lnTo>
                    <a:lnTo>
                      <a:pt x="533" y="417"/>
                    </a:lnTo>
                    <a:lnTo>
                      <a:pt x="533" y="418"/>
                    </a:lnTo>
                    <a:lnTo>
                      <a:pt x="534" y="418"/>
                    </a:lnTo>
                    <a:lnTo>
                      <a:pt x="534" y="419"/>
                    </a:lnTo>
                    <a:lnTo>
                      <a:pt x="535" y="419"/>
                    </a:lnTo>
                    <a:lnTo>
                      <a:pt x="535" y="421"/>
                    </a:lnTo>
                    <a:lnTo>
                      <a:pt x="535" y="419"/>
                    </a:lnTo>
                    <a:lnTo>
                      <a:pt x="535" y="421"/>
                    </a:lnTo>
                    <a:lnTo>
                      <a:pt x="534" y="421"/>
                    </a:lnTo>
                    <a:lnTo>
                      <a:pt x="533" y="421"/>
                    </a:lnTo>
                    <a:lnTo>
                      <a:pt x="533" y="419"/>
                    </a:lnTo>
                    <a:lnTo>
                      <a:pt x="532" y="419"/>
                    </a:lnTo>
                    <a:lnTo>
                      <a:pt x="533" y="419"/>
                    </a:lnTo>
                    <a:lnTo>
                      <a:pt x="533" y="421"/>
                    </a:lnTo>
                    <a:lnTo>
                      <a:pt x="534" y="422"/>
                    </a:lnTo>
                    <a:lnTo>
                      <a:pt x="533" y="422"/>
                    </a:lnTo>
                    <a:lnTo>
                      <a:pt x="538" y="422"/>
                    </a:lnTo>
                    <a:lnTo>
                      <a:pt x="539" y="422"/>
                    </a:lnTo>
                    <a:lnTo>
                      <a:pt x="540" y="422"/>
                    </a:lnTo>
                    <a:lnTo>
                      <a:pt x="533" y="422"/>
                    </a:lnTo>
                    <a:lnTo>
                      <a:pt x="541" y="423"/>
                    </a:lnTo>
                    <a:lnTo>
                      <a:pt x="540" y="423"/>
                    </a:lnTo>
                    <a:lnTo>
                      <a:pt x="539" y="423"/>
                    </a:lnTo>
                    <a:lnTo>
                      <a:pt x="538" y="423"/>
                    </a:lnTo>
                    <a:lnTo>
                      <a:pt x="537" y="423"/>
                    </a:lnTo>
                    <a:lnTo>
                      <a:pt x="537" y="424"/>
                    </a:lnTo>
                    <a:lnTo>
                      <a:pt x="535" y="424"/>
                    </a:lnTo>
                    <a:lnTo>
                      <a:pt x="537" y="425"/>
                    </a:lnTo>
                    <a:lnTo>
                      <a:pt x="537" y="426"/>
                    </a:lnTo>
                    <a:lnTo>
                      <a:pt x="537" y="427"/>
                    </a:lnTo>
                    <a:lnTo>
                      <a:pt x="538" y="427"/>
                    </a:lnTo>
                    <a:lnTo>
                      <a:pt x="539" y="429"/>
                    </a:lnTo>
                    <a:lnTo>
                      <a:pt x="539" y="430"/>
                    </a:lnTo>
                    <a:lnTo>
                      <a:pt x="539" y="429"/>
                    </a:lnTo>
                    <a:lnTo>
                      <a:pt x="538" y="429"/>
                    </a:lnTo>
                    <a:lnTo>
                      <a:pt x="538" y="428"/>
                    </a:lnTo>
                    <a:lnTo>
                      <a:pt x="537" y="428"/>
                    </a:lnTo>
                    <a:lnTo>
                      <a:pt x="537" y="429"/>
                    </a:lnTo>
                    <a:lnTo>
                      <a:pt x="537" y="428"/>
                    </a:lnTo>
                    <a:lnTo>
                      <a:pt x="535" y="428"/>
                    </a:lnTo>
                    <a:lnTo>
                      <a:pt x="535" y="427"/>
                    </a:lnTo>
                    <a:lnTo>
                      <a:pt x="534" y="427"/>
                    </a:lnTo>
                    <a:lnTo>
                      <a:pt x="535" y="427"/>
                    </a:lnTo>
                    <a:lnTo>
                      <a:pt x="534" y="427"/>
                    </a:lnTo>
                    <a:lnTo>
                      <a:pt x="534" y="426"/>
                    </a:lnTo>
                    <a:lnTo>
                      <a:pt x="533" y="426"/>
                    </a:lnTo>
                    <a:lnTo>
                      <a:pt x="533" y="427"/>
                    </a:lnTo>
                    <a:lnTo>
                      <a:pt x="533" y="428"/>
                    </a:lnTo>
                    <a:lnTo>
                      <a:pt x="533" y="429"/>
                    </a:lnTo>
                    <a:lnTo>
                      <a:pt x="533" y="430"/>
                    </a:lnTo>
                    <a:lnTo>
                      <a:pt x="534" y="430"/>
                    </a:lnTo>
                    <a:lnTo>
                      <a:pt x="534" y="431"/>
                    </a:lnTo>
                    <a:lnTo>
                      <a:pt x="535" y="431"/>
                    </a:lnTo>
                    <a:lnTo>
                      <a:pt x="535" y="433"/>
                    </a:lnTo>
                    <a:lnTo>
                      <a:pt x="537" y="433"/>
                    </a:lnTo>
                    <a:lnTo>
                      <a:pt x="535" y="433"/>
                    </a:lnTo>
                    <a:lnTo>
                      <a:pt x="535" y="431"/>
                    </a:lnTo>
                    <a:lnTo>
                      <a:pt x="535" y="430"/>
                    </a:lnTo>
                    <a:lnTo>
                      <a:pt x="537" y="431"/>
                    </a:lnTo>
                    <a:lnTo>
                      <a:pt x="537" y="433"/>
                    </a:lnTo>
                    <a:lnTo>
                      <a:pt x="537" y="434"/>
                    </a:lnTo>
                    <a:lnTo>
                      <a:pt x="538" y="434"/>
                    </a:lnTo>
                    <a:lnTo>
                      <a:pt x="538" y="435"/>
                    </a:lnTo>
                    <a:lnTo>
                      <a:pt x="539" y="435"/>
                    </a:lnTo>
                    <a:lnTo>
                      <a:pt x="539" y="436"/>
                    </a:lnTo>
                    <a:lnTo>
                      <a:pt x="539" y="437"/>
                    </a:lnTo>
                    <a:lnTo>
                      <a:pt x="539" y="438"/>
                    </a:lnTo>
                    <a:lnTo>
                      <a:pt x="539" y="439"/>
                    </a:lnTo>
                    <a:lnTo>
                      <a:pt x="540" y="439"/>
                    </a:lnTo>
                    <a:lnTo>
                      <a:pt x="540" y="440"/>
                    </a:lnTo>
                    <a:lnTo>
                      <a:pt x="539" y="440"/>
                    </a:lnTo>
                    <a:lnTo>
                      <a:pt x="539" y="441"/>
                    </a:lnTo>
                    <a:lnTo>
                      <a:pt x="538" y="441"/>
                    </a:lnTo>
                    <a:lnTo>
                      <a:pt x="538" y="442"/>
                    </a:lnTo>
                    <a:lnTo>
                      <a:pt x="538" y="443"/>
                    </a:lnTo>
                    <a:lnTo>
                      <a:pt x="538" y="444"/>
                    </a:lnTo>
                    <a:lnTo>
                      <a:pt x="538" y="446"/>
                    </a:lnTo>
                    <a:lnTo>
                      <a:pt x="539" y="446"/>
                    </a:lnTo>
                    <a:lnTo>
                      <a:pt x="540" y="446"/>
                    </a:lnTo>
                    <a:lnTo>
                      <a:pt x="540" y="447"/>
                    </a:lnTo>
                    <a:lnTo>
                      <a:pt x="540" y="448"/>
                    </a:lnTo>
                    <a:lnTo>
                      <a:pt x="541" y="449"/>
                    </a:lnTo>
                    <a:lnTo>
                      <a:pt x="542" y="450"/>
                    </a:lnTo>
                    <a:lnTo>
                      <a:pt x="543" y="450"/>
                    </a:lnTo>
                    <a:lnTo>
                      <a:pt x="544" y="450"/>
                    </a:lnTo>
                    <a:lnTo>
                      <a:pt x="545" y="450"/>
                    </a:lnTo>
                    <a:lnTo>
                      <a:pt x="545" y="451"/>
                    </a:lnTo>
                    <a:lnTo>
                      <a:pt x="545" y="452"/>
                    </a:lnTo>
                    <a:lnTo>
                      <a:pt x="545" y="453"/>
                    </a:lnTo>
                    <a:lnTo>
                      <a:pt x="546" y="453"/>
                    </a:lnTo>
                    <a:lnTo>
                      <a:pt x="545" y="453"/>
                    </a:lnTo>
                    <a:lnTo>
                      <a:pt x="546" y="453"/>
                    </a:lnTo>
                    <a:lnTo>
                      <a:pt x="545" y="453"/>
                    </a:lnTo>
                    <a:lnTo>
                      <a:pt x="546" y="453"/>
                    </a:lnTo>
                    <a:lnTo>
                      <a:pt x="547" y="453"/>
                    </a:lnTo>
                    <a:lnTo>
                      <a:pt x="548" y="453"/>
                    </a:lnTo>
                    <a:lnTo>
                      <a:pt x="547" y="453"/>
                    </a:lnTo>
                    <a:lnTo>
                      <a:pt x="546" y="453"/>
                    </a:lnTo>
                    <a:lnTo>
                      <a:pt x="546" y="454"/>
                    </a:lnTo>
                    <a:lnTo>
                      <a:pt x="547" y="454"/>
                    </a:lnTo>
                    <a:lnTo>
                      <a:pt x="545" y="456"/>
                    </a:lnTo>
                    <a:lnTo>
                      <a:pt x="546" y="456"/>
                    </a:lnTo>
                    <a:lnTo>
                      <a:pt x="547" y="455"/>
                    </a:lnTo>
                    <a:lnTo>
                      <a:pt x="547" y="456"/>
                    </a:lnTo>
                    <a:lnTo>
                      <a:pt x="548" y="456"/>
                    </a:lnTo>
                    <a:lnTo>
                      <a:pt x="550" y="456"/>
                    </a:lnTo>
                    <a:lnTo>
                      <a:pt x="548" y="457"/>
                    </a:lnTo>
                    <a:lnTo>
                      <a:pt x="548" y="459"/>
                    </a:lnTo>
                    <a:lnTo>
                      <a:pt x="547" y="459"/>
                    </a:lnTo>
                    <a:lnTo>
                      <a:pt x="547" y="460"/>
                    </a:lnTo>
                    <a:lnTo>
                      <a:pt x="548" y="461"/>
                    </a:lnTo>
                    <a:lnTo>
                      <a:pt x="550" y="461"/>
                    </a:lnTo>
                    <a:lnTo>
                      <a:pt x="550" y="462"/>
                    </a:lnTo>
                    <a:lnTo>
                      <a:pt x="551" y="463"/>
                    </a:lnTo>
                    <a:lnTo>
                      <a:pt x="548" y="463"/>
                    </a:lnTo>
                    <a:lnTo>
                      <a:pt x="550" y="464"/>
                    </a:lnTo>
                    <a:lnTo>
                      <a:pt x="551" y="465"/>
                    </a:lnTo>
                    <a:lnTo>
                      <a:pt x="551" y="468"/>
                    </a:lnTo>
                    <a:lnTo>
                      <a:pt x="551" y="469"/>
                    </a:lnTo>
                    <a:lnTo>
                      <a:pt x="551" y="470"/>
                    </a:lnTo>
                    <a:lnTo>
                      <a:pt x="552" y="470"/>
                    </a:lnTo>
                    <a:lnTo>
                      <a:pt x="552" y="472"/>
                    </a:lnTo>
                    <a:lnTo>
                      <a:pt x="551" y="472"/>
                    </a:lnTo>
                    <a:lnTo>
                      <a:pt x="551" y="473"/>
                    </a:lnTo>
                    <a:lnTo>
                      <a:pt x="550" y="473"/>
                    </a:lnTo>
                    <a:lnTo>
                      <a:pt x="550" y="474"/>
                    </a:lnTo>
                    <a:lnTo>
                      <a:pt x="551" y="474"/>
                    </a:lnTo>
                    <a:lnTo>
                      <a:pt x="552" y="474"/>
                    </a:lnTo>
                    <a:lnTo>
                      <a:pt x="552" y="475"/>
                    </a:lnTo>
                    <a:lnTo>
                      <a:pt x="551" y="475"/>
                    </a:lnTo>
                    <a:lnTo>
                      <a:pt x="552" y="475"/>
                    </a:lnTo>
                    <a:lnTo>
                      <a:pt x="553" y="475"/>
                    </a:lnTo>
                    <a:lnTo>
                      <a:pt x="553" y="476"/>
                    </a:lnTo>
                    <a:lnTo>
                      <a:pt x="554" y="475"/>
                    </a:lnTo>
                    <a:lnTo>
                      <a:pt x="555" y="475"/>
                    </a:lnTo>
                    <a:lnTo>
                      <a:pt x="555" y="476"/>
                    </a:lnTo>
                    <a:lnTo>
                      <a:pt x="555" y="477"/>
                    </a:lnTo>
                    <a:lnTo>
                      <a:pt x="554" y="477"/>
                    </a:lnTo>
                    <a:lnTo>
                      <a:pt x="553" y="477"/>
                    </a:lnTo>
                    <a:lnTo>
                      <a:pt x="552" y="477"/>
                    </a:lnTo>
                    <a:lnTo>
                      <a:pt x="552" y="476"/>
                    </a:lnTo>
                    <a:lnTo>
                      <a:pt x="551" y="477"/>
                    </a:lnTo>
                    <a:lnTo>
                      <a:pt x="552" y="477"/>
                    </a:lnTo>
                    <a:lnTo>
                      <a:pt x="551" y="477"/>
                    </a:lnTo>
                    <a:lnTo>
                      <a:pt x="551" y="478"/>
                    </a:lnTo>
                    <a:lnTo>
                      <a:pt x="552" y="477"/>
                    </a:lnTo>
                    <a:lnTo>
                      <a:pt x="553" y="478"/>
                    </a:lnTo>
                    <a:lnTo>
                      <a:pt x="553" y="479"/>
                    </a:lnTo>
                    <a:lnTo>
                      <a:pt x="553" y="480"/>
                    </a:lnTo>
                    <a:lnTo>
                      <a:pt x="554" y="480"/>
                    </a:lnTo>
                    <a:lnTo>
                      <a:pt x="554" y="479"/>
                    </a:lnTo>
                    <a:lnTo>
                      <a:pt x="554" y="478"/>
                    </a:lnTo>
                    <a:lnTo>
                      <a:pt x="555" y="478"/>
                    </a:lnTo>
                    <a:lnTo>
                      <a:pt x="554" y="479"/>
                    </a:lnTo>
                    <a:lnTo>
                      <a:pt x="554" y="480"/>
                    </a:lnTo>
                    <a:lnTo>
                      <a:pt x="554" y="481"/>
                    </a:lnTo>
                    <a:lnTo>
                      <a:pt x="555" y="481"/>
                    </a:lnTo>
                    <a:lnTo>
                      <a:pt x="554" y="481"/>
                    </a:lnTo>
                    <a:lnTo>
                      <a:pt x="553" y="481"/>
                    </a:lnTo>
                    <a:lnTo>
                      <a:pt x="552" y="480"/>
                    </a:lnTo>
                    <a:lnTo>
                      <a:pt x="552" y="479"/>
                    </a:lnTo>
                    <a:lnTo>
                      <a:pt x="552" y="478"/>
                    </a:lnTo>
                    <a:lnTo>
                      <a:pt x="552" y="479"/>
                    </a:lnTo>
                    <a:lnTo>
                      <a:pt x="551" y="479"/>
                    </a:lnTo>
                    <a:lnTo>
                      <a:pt x="551" y="478"/>
                    </a:lnTo>
                    <a:lnTo>
                      <a:pt x="551" y="477"/>
                    </a:lnTo>
                    <a:lnTo>
                      <a:pt x="550" y="478"/>
                    </a:lnTo>
                    <a:lnTo>
                      <a:pt x="551" y="479"/>
                    </a:lnTo>
                    <a:lnTo>
                      <a:pt x="551" y="480"/>
                    </a:lnTo>
                    <a:lnTo>
                      <a:pt x="551" y="481"/>
                    </a:lnTo>
                    <a:lnTo>
                      <a:pt x="552" y="481"/>
                    </a:lnTo>
                    <a:lnTo>
                      <a:pt x="552" y="482"/>
                    </a:lnTo>
                    <a:lnTo>
                      <a:pt x="552" y="483"/>
                    </a:lnTo>
                    <a:lnTo>
                      <a:pt x="552" y="485"/>
                    </a:lnTo>
                    <a:lnTo>
                      <a:pt x="553" y="486"/>
                    </a:lnTo>
                    <a:lnTo>
                      <a:pt x="554" y="486"/>
                    </a:lnTo>
                    <a:lnTo>
                      <a:pt x="555" y="486"/>
                    </a:lnTo>
                    <a:lnTo>
                      <a:pt x="556" y="486"/>
                    </a:lnTo>
                    <a:lnTo>
                      <a:pt x="556" y="485"/>
                    </a:lnTo>
                    <a:lnTo>
                      <a:pt x="556" y="486"/>
                    </a:lnTo>
                    <a:lnTo>
                      <a:pt x="556" y="487"/>
                    </a:lnTo>
                    <a:lnTo>
                      <a:pt x="557" y="487"/>
                    </a:lnTo>
                    <a:lnTo>
                      <a:pt x="558" y="487"/>
                    </a:lnTo>
                    <a:lnTo>
                      <a:pt x="559" y="487"/>
                    </a:lnTo>
                    <a:lnTo>
                      <a:pt x="559" y="486"/>
                    </a:lnTo>
                    <a:lnTo>
                      <a:pt x="560" y="486"/>
                    </a:lnTo>
                    <a:lnTo>
                      <a:pt x="560" y="487"/>
                    </a:lnTo>
                    <a:lnTo>
                      <a:pt x="559" y="487"/>
                    </a:lnTo>
                    <a:lnTo>
                      <a:pt x="559" y="488"/>
                    </a:lnTo>
                    <a:lnTo>
                      <a:pt x="558" y="488"/>
                    </a:lnTo>
                    <a:lnTo>
                      <a:pt x="557" y="488"/>
                    </a:lnTo>
                    <a:lnTo>
                      <a:pt x="557" y="487"/>
                    </a:lnTo>
                    <a:lnTo>
                      <a:pt x="556" y="487"/>
                    </a:lnTo>
                    <a:lnTo>
                      <a:pt x="555" y="487"/>
                    </a:lnTo>
                    <a:lnTo>
                      <a:pt x="555" y="486"/>
                    </a:lnTo>
                    <a:lnTo>
                      <a:pt x="555" y="487"/>
                    </a:lnTo>
                    <a:lnTo>
                      <a:pt x="554" y="487"/>
                    </a:lnTo>
                    <a:lnTo>
                      <a:pt x="553" y="487"/>
                    </a:lnTo>
                    <a:lnTo>
                      <a:pt x="553" y="486"/>
                    </a:lnTo>
                    <a:lnTo>
                      <a:pt x="553" y="487"/>
                    </a:lnTo>
                    <a:lnTo>
                      <a:pt x="552" y="487"/>
                    </a:lnTo>
                    <a:lnTo>
                      <a:pt x="552" y="486"/>
                    </a:lnTo>
                    <a:lnTo>
                      <a:pt x="551" y="486"/>
                    </a:lnTo>
                    <a:lnTo>
                      <a:pt x="551" y="485"/>
                    </a:lnTo>
                    <a:lnTo>
                      <a:pt x="551" y="486"/>
                    </a:lnTo>
                    <a:lnTo>
                      <a:pt x="552" y="486"/>
                    </a:lnTo>
                    <a:lnTo>
                      <a:pt x="551" y="486"/>
                    </a:lnTo>
                    <a:lnTo>
                      <a:pt x="552" y="486"/>
                    </a:lnTo>
                    <a:lnTo>
                      <a:pt x="551" y="486"/>
                    </a:lnTo>
                    <a:lnTo>
                      <a:pt x="552" y="487"/>
                    </a:lnTo>
                    <a:lnTo>
                      <a:pt x="553" y="487"/>
                    </a:lnTo>
                    <a:lnTo>
                      <a:pt x="552" y="487"/>
                    </a:lnTo>
                    <a:lnTo>
                      <a:pt x="552" y="488"/>
                    </a:lnTo>
                    <a:lnTo>
                      <a:pt x="552" y="489"/>
                    </a:lnTo>
                    <a:lnTo>
                      <a:pt x="552" y="490"/>
                    </a:lnTo>
                    <a:lnTo>
                      <a:pt x="552" y="491"/>
                    </a:lnTo>
                    <a:lnTo>
                      <a:pt x="553" y="491"/>
                    </a:lnTo>
                    <a:lnTo>
                      <a:pt x="553" y="492"/>
                    </a:lnTo>
                    <a:lnTo>
                      <a:pt x="553" y="493"/>
                    </a:lnTo>
                    <a:lnTo>
                      <a:pt x="553" y="492"/>
                    </a:lnTo>
                    <a:lnTo>
                      <a:pt x="552" y="492"/>
                    </a:lnTo>
                    <a:lnTo>
                      <a:pt x="553" y="492"/>
                    </a:lnTo>
                    <a:lnTo>
                      <a:pt x="553" y="493"/>
                    </a:lnTo>
                    <a:lnTo>
                      <a:pt x="554" y="493"/>
                    </a:lnTo>
                    <a:lnTo>
                      <a:pt x="554" y="494"/>
                    </a:lnTo>
                    <a:lnTo>
                      <a:pt x="554" y="493"/>
                    </a:lnTo>
                    <a:lnTo>
                      <a:pt x="554" y="494"/>
                    </a:lnTo>
                    <a:lnTo>
                      <a:pt x="554" y="495"/>
                    </a:lnTo>
                    <a:lnTo>
                      <a:pt x="555" y="495"/>
                    </a:lnTo>
                    <a:lnTo>
                      <a:pt x="555" y="494"/>
                    </a:lnTo>
                    <a:lnTo>
                      <a:pt x="555" y="495"/>
                    </a:lnTo>
                    <a:lnTo>
                      <a:pt x="555" y="496"/>
                    </a:lnTo>
                    <a:lnTo>
                      <a:pt x="555" y="498"/>
                    </a:lnTo>
                    <a:lnTo>
                      <a:pt x="555" y="499"/>
                    </a:lnTo>
                    <a:lnTo>
                      <a:pt x="556" y="500"/>
                    </a:lnTo>
                    <a:lnTo>
                      <a:pt x="556" y="501"/>
                    </a:lnTo>
                    <a:lnTo>
                      <a:pt x="555" y="501"/>
                    </a:lnTo>
                    <a:lnTo>
                      <a:pt x="555" y="502"/>
                    </a:lnTo>
                    <a:lnTo>
                      <a:pt x="556" y="502"/>
                    </a:lnTo>
                    <a:lnTo>
                      <a:pt x="555" y="503"/>
                    </a:lnTo>
                    <a:lnTo>
                      <a:pt x="555" y="502"/>
                    </a:lnTo>
                    <a:lnTo>
                      <a:pt x="555" y="503"/>
                    </a:lnTo>
                    <a:lnTo>
                      <a:pt x="555" y="504"/>
                    </a:lnTo>
                    <a:lnTo>
                      <a:pt x="556" y="504"/>
                    </a:lnTo>
                    <a:lnTo>
                      <a:pt x="556" y="505"/>
                    </a:lnTo>
                    <a:lnTo>
                      <a:pt x="556" y="506"/>
                    </a:lnTo>
                    <a:lnTo>
                      <a:pt x="555" y="506"/>
                    </a:lnTo>
                    <a:lnTo>
                      <a:pt x="556" y="506"/>
                    </a:lnTo>
                    <a:lnTo>
                      <a:pt x="555" y="506"/>
                    </a:lnTo>
                    <a:lnTo>
                      <a:pt x="555" y="507"/>
                    </a:lnTo>
                    <a:lnTo>
                      <a:pt x="555" y="508"/>
                    </a:lnTo>
                    <a:lnTo>
                      <a:pt x="555" y="509"/>
                    </a:lnTo>
                    <a:lnTo>
                      <a:pt x="556" y="509"/>
                    </a:lnTo>
                    <a:lnTo>
                      <a:pt x="555" y="508"/>
                    </a:lnTo>
                    <a:lnTo>
                      <a:pt x="556" y="508"/>
                    </a:lnTo>
                    <a:lnTo>
                      <a:pt x="556" y="509"/>
                    </a:lnTo>
                    <a:lnTo>
                      <a:pt x="557" y="509"/>
                    </a:lnTo>
                    <a:lnTo>
                      <a:pt x="558" y="508"/>
                    </a:lnTo>
                    <a:lnTo>
                      <a:pt x="558" y="507"/>
                    </a:lnTo>
                    <a:lnTo>
                      <a:pt x="557" y="507"/>
                    </a:lnTo>
                    <a:lnTo>
                      <a:pt x="557" y="506"/>
                    </a:lnTo>
                    <a:lnTo>
                      <a:pt x="556" y="506"/>
                    </a:lnTo>
                    <a:lnTo>
                      <a:pt x="557" y="506"/>
                    </a:lnTo>
                    <a:lnTo>
                      <a:pt x="557" y="507"/>
                    </a:lnTo>
                    <a:lnTo>
                      <a:pt x="558" y="507"/>
                    </a:lnTo>
                    <a:lnTo>
                      <a:pt x="557" y="506"/>
                    </a:lnTo>
                    <a:lnTo>
                      <a:pt x="557" y="505"/>
                    </a:lnTo>
                    <a:lnTo>
                      <a:pt x="557" y="506"/>
                    </a:lnTo>
                    <a:lnTo>
                      <a:pt x="558" y="505"/>
                    </a:lnTo>
                    <a:lnTo>
                      <a:pt x="557" y="505"/>
                    </a:lnTo>
                    <a:lnTo>
                      <a:pt x="557" y="506"/>
                    </a:lnTo>
                    <a:lnTo>
                      <a:pt x="556" y="506"/>
                    </a:lnTo>
                    <a:lnTo>
                      <a:pt x="556" y="505"/>
                    </a:lnTo>
                    <a:lnTo>
                      <a:pt x="557" y="505"/>
                    </a:lnTo>
                    <a:lnTo>
                      <a:pt x="557" y="504"/>
                    </a:lnTo>
                    <a:lnTo>
                      <a:pt x="558" y="504"/>
                    </a:lnTo>
                    <a:lnTo>
                      <a:pt x="558" y="505"/>
                    </a:lnTo>
                    <a:lnTo>
                      <a:pt x="558" y="506"/>
                    </a:lnTo>
                    <a:lnTo>
                      <a:pt x="559" y="506"/>
                    </a:lnTo>
                    <a:lnTo>
                      <a:pt x="559" y="507"/>
                    </a:lnTo>
                    <a:lnTo>
                      <a:pt x="560" y="507"/>
                    </a:lnTo>
                    <a:lnTo>
                      <a:pt x="560" y="506"/>
                    </a:lnTo>
                    <a:lnTo>
                      <a:pt x="559" y="506"/>
                    </a:lnTo>
                    <a:lnTo>
                      <a:pt x="559" y="505"/>
                    </a:lnTo>
                    <a:lnTo>
                      <a:pt x="560" y="506"/>
                    </a:lnTo>
                    <a:lnTo>
                      <a:pt x="560" y="505"/>
                    </a:lnTo>
                    <a:lnTo>
                      <a:pt x="560" y="506"/>
                    </a:lnTo>
                    <a:lnTo>
                      <a:pt x="561" y="506"/>
                    </a:lnTo>
                    <a:lnTo>
                      <a:pt x="561" y="505"/>
                    </a:lnTo>
                    <a:lnTo>
                      <a:pt x="563" y="505"/>
                    </a:lnTo>
                    <a:lnTo>
                      <a:pt x="561" y="506"/>
                    </a:lnTo>
                    <a:lnTo>
                      <a:pt x="563" y="506"/>
                    </a:lnTo>
                    <a:lnTo>
                      <a:pt x="563" y="505"/>
                    </a:lnTo>
                    <a:lnTo>
                      <a:pt x="564" y="505"/>
                    </a:lnTo>
                    <a:lnTo>
                      <a:pt x="564" y="506"/>
                    </a:lnTo>
                    <a:lnTo>
                      <a:pt x="564" y="505"/>
                    </a:lnTo>
                    <a:lnTo>
                      <a:pt x="563" y="506"/>
                    </a:lnTo>
                    <a:lnTo>
                      <a:pt x="561" y="506"/>
                    </a:lnTo>
                    <a:lnTo>
                      <a:pt x="561" y="507"/>
                    </a:lnTo>
                    <a:lnTo>
                      <a:pt x="563" y="507"/>
                    </a:lnTo>
                    <a:lnTo>
                      <a:pt x="563" y="506"/>
                    </a:lnTo>
                    <a:lnTo>
                      <a:pt x="563" y="507"/>
                    </a:lnTo>
                    <a:lnTo>
                      <a:pt x="563" y="508"/>
                    </a:lnTo>
                    <a:lnTo>
                      <a:pt x="561" y="508"/>
                    </a:lnTo>
                    <a:lnTo>
                      <a:pt x="561" y="509"/>
                    </a:lnTo>
                    <a:lnTo>
                      <a:pt x="561" y="511"/>
                    </a:lnTo>
                    <a:lnTo>
                      <a:pt x="561" y="509"/>
                    </a:lnTo>
                    <a:lnTo>
                      <a:pt x="561" y="508"/>
                    </a:lnTo>
                    <a:lnTo>
                      <a:pt x="560" y="508"/>
                    </a:lnTo>
                    <a:lnTo>
                      <a:pt x="560" y="507"/>
                    </a:lnTo>
                    <a:lnTo>
                      <a:pt x="560" y="508"/>
                    </a:lnTo>
                    <a:lnTo>
                      <a:pt x="559" y="508"/>
                    </a:lnTo>
                    <a:lnTo>
                      <a:pt x="559" y="509"/>
                    </a:lnTo>
                    <a:lnTo>
                      <a:pt x="560" y="509"/>
                    </a:lnTo>
                    <a:lnTo>
                      <a:pt x="560" y="511"/>
                    </a:lnTo>
                    <a:lnTo>
                      <a:pt x="560" y="512"/>
                    </a:lnTo>
                    <a:lnTo>
                      <a:pt x="559" y="512"/>
                    </a:lnTo>
                    <a:lnTo>
                      <a:pt x="558" y="512"/>
                    </a:lnTo>
                    <a:lnTo>
                      <a:pt x="557" y="513"/>
                    </a:lnTo>
                    <a:lnTo>
                      <a:pt x="558" y="513"/>
                    </a:lnTo>
                    <a:lnTo>
                      <a:pt x="559" y="513"/>
                    </a:lnTo>
                    <a:lnTo>
                      <a:pt x="558" y="513"/>
                    </a:lnTo>
                    <a:lnTo>
                      <a:pt x="558" y="512"/>
                    </a:lnTo>
                    <a:lnTo>
                      <a:pt x="559" y="512"/>
                    </a:lnTo>
                    <a:lnTo>
                      <a:pt x="560" y="512"/>
                    </a:lnTo>
                    <a:lnTo>
                      <a:pt x="560" y="511"/>
                    </a:lnTo>
                    <a:lnTo>
                      <a:pt x="561" y="511"/>
                    </a:lnTo>
                    <a:lnTo>
                      <a:pt x="561" y="512"/>
                    </a:lnTo>
                    <a:lnTo>
                      <a:pt x="561" y="513"/>
                    </a:lnTo>
                    <a:lnTo>
                      <a:pt x="560" y="513"/>
                    </a:lnTo>
                    <a:lnTo>
                      <a:pt x="559" y="513"/>
                    </a:lnTo>
                    <a:lnTo>
                      <a:pt x="560" y="514"/>
                    </a:lnTo>
                    <a:lnTo>
                      <a:pt x="561" y="514"/>
                    </a:lnTo>
                    <a:lnTo>
                      <a:pt x="561" y="513"/>
                    </a:lnTo>
                    <a:lnTo>
                      <a:pt x="561" y="512"/>
                    </a:lnTo>
                    <a:lnTo>
                      <a:pt x="561" y="511"/>
                    </a:lnTo>
                    <a:lnTo>
                      <a:pt x="563" y="511"/>
                    </a:lnTo>
                    <a:lnTo>
                      <a:pt x="564" y="511"/>
                    </a:lnTo>
                    <a:lnTo>
                      <a:pt x="565" y="511"/>
                    </a:lnTo>
                    <a:lnTo>
                      <a:pt x="565" y="512"/>
                    </a:lnTo>
                    <a:lnTo>
                      <a:pt x="564" y="512"/>
                    </a:lnTo>
                    <a:lnTo>
                      <a:pt x="563" y="512"/>
                    </a:lnTo>
                    <a:lnTo>
                      <a:pt x="563" y="513"/>
                    </a:lnTo>
                    <a:lnTo>
                      <a:pt x="564" y="513"/>
                    </a:lnTo>
                    <a:lnTo>
                      <a:pt x="565" y="513"/>
                    </a:lnTo>
                    <a:lnTo>
                      <a:pt x="566" y="513"/>
                    </a:lnTo>
                    <a:lnTo>
                      <a:pt x="567" y="513"/>
                    </a:lnTo>
                    <a:lnTo>
                      <a:pt x="568" y="513"/>
                    </a:lnTo>
                    <a:lnTo>
                      <a:pt x="567" y="513"/>
                    </a:lnTo>
                    <a:lnTo>
                      <a:pt x="567" y="512"/>
                    </a:lnTo>
                    <a:lnTo>
                      <a:pt x="568" y="512"/>
                    </a:lnTo>
                    <a:lnTo>
                      <a:pt x="567" y="512"/>
                    </a:lnTo>
                    <a:lnTo>
                      <a:pt x="567" y="511"/>
                    </a:lnTo>
                    <a:lnTo>
                      <a:pt x="567" y="512"/>
                    </a:lnTo>
                    <a:lnTo>
                      <a:pt x="566" y="512"/>
                    </a:lnTo>
                    <a:lnTo>
                      <a:pt x="566" y="511"/>
                    </a:lnTo>
                    <a:lnTo>
                      <a:pt x="566" y="512"/>
                    </a:lnTo>
                    <a:lnTo>
                      <a:pt x="566" y="511"/>
                    </a:lnTo>
                    <a:lnTo>
                      <a:pt x="565" y="511"/>
                    </a:lnTo>
                    <a:lnTo>
                      <a:pt x="566" y="511"/>
                    </a:lnTo>
                    <a:lnTo>
                      <a:pt x="566" y="509"/>
                    </a:lnTo>
                    <a:lnTo>
                      <a:pt x="567" y="509"/>
                    </a:lnTo>
                    <a:lnTo>
                      <a:pt x="567" y="511"/>
                    </a:lnTo>
                    <a:lnTo>
                      <a:pt x="568" y="511"/>
                    </a:lnTo>
                    <a:lnTo>
                      <a:pt x="568" y="509"/>
                    </a:lnTo>
                    <a:lnTo>
                      <a:pt x="569" y="509"/>
                    </a:lnTo>
                    <a:lnTo>
                      <a:pt x="569" y="511"/>
                    </a:lnTo>
                    <a:lnTo>
                      <a:pt x="569" y="509"/>
                    </a:lnTo>
                    <a:lnTo>
                      <a:pt x="568" y="511"/>
                    </a:lnTo>
                    <a:lnTo>
                      <a:pt x="568" y="512"/>
                    </a:lnTo>
                    <a:lnTo>
                      <a:pt x="567" y="512"/>
                    </a:lnTo>
                    <a:lnTo>
                      <a:pt x="568" y="512"/>
                    </a:lnTo>
                    <a:lnTo>
                      <a:pt x="569" y="512"/>
                    </a:lnTo>
                    <a:lnTo>
                      <a:pt x="569" y="511"/>
                    </a:lnTo>
                    <a:lnTo>
                      <a:pt x="569" y="509"/>
                    </a:lnTo>
                    <a:lnTo>
                      <a:pt x="570" y="509"/>
                    </a:lnTo>
                    <a:lnTo>
                      <a:pt x="570" y="508"/>
                    </a:lnTo>
                    <a:lnTo>
                      <a:pt x="571" y="508"/>
                    </a:lnTo>
                    <a:lnTo>
                      <a:pt x="571" y="507"/>
                    </a:lnTo>
                    <a:lnTo>
                      <a:pt x="571" y="506"/>
                    </a:lnTo>
                    <a:lnTo>
                      <a:pt x="572" y="506"/>
                    </a:lnTo>
                    <a:lnTo>
                      <a:pt x="571" y="506"/>
                    </a:lnTo>
                    <a:lnTo>
                      <a:pt x="572" y="506"/>
                    </a:lnTo>
                    <a:lnTo>
                      <a:pt x="572" y="505"/>
                    </a:lnTo>
                    <a:lnTo>
                      <a:pt x="572" y="504"/>
                    </a:lnTo>
                    <a:lnTo>
                      <a:pt x="571" y="504"/>
                    </a:lnTo>
                    <a:lnTo>
                      <a:pt x="571" y="503"/>
                    </a:lnTo>
                    <a:lnTo>
                      <a:pt x="571" y="502"/>
                    </a:lnTo>
                    <a:lnTo>
                      <a:pt x="571" y="503"/>
                    </a:lnTo>
                    <a:lnTo>
                      <a:pt x="572" y="503"/>
                    </a:lnTo>
                    <a:lnTo>
                      <a:pt x="573" y="504"/>
                    </a:lnTo>
                    <a:lnTo>
                      <a:pt x="575" y="504"/>
                    </a:lnTo>
                    <a:lnTo>
                      <a:pt x="576" y="503"/>
                    </a:lnTo>
                    <a:lnTo>
                      <a:pt x="576" y="502"/>
                    </a:lnTo>
                    <a:lnTo>
                      <a:pt x="577" y="503"/>
                    </a:lnTo>
                    <a:lnTo>
                      <a:pt x="577" y="504"/>
                    </a:lnTo>
                    <a:lnTo>
                      <a:pt x="577" y="505"/>
                    </a:lnTo>
                    <a:lnTo>
                      <a:pt x="578" y="505"/>
                    </a:lnTo>
                    <a:lnTo>
                      <a:pt x="578" y="506"/>
                    </a:lnTo>
                    <a:lnTo>
                      <a:pt x="577" y="506"/>
                    </a:lnTo>
                    <a:lnTo>
                      <a:pt x="576" y="506"/>
                    </a:lnTo>
                    <a:lnTo>
                      <a:pt x="575" y="507"/>
                    </a:lnTo>
                    <a:lnTo>
                      <a:pt x="573" y="507"/>
                    </a:lnTo>
                    <a:lnTo>
                      <a:pt x="573" y="508"/>
                    </a:lnTo>
                    <a:lnTo>
                      <a:pt x="572" y="508"/>
                    </a:lnTo>
                    <a:lnTo>
                      <a:pt x="572" y="509"/>
                    </a:lnTo>
                    <a:lnTo>
                      <a:pt x="572" y="511"/>
                    </a:lnTo>
                    <a:lnTo>
                      <a:pt x="571" y="511"/>
                    </a:lnTo>
                    <a:lnTo>
                      <a:pt x="571" y="512"/>
                    </a:lnTo>
                    <a:lnTo>
                      <a:pt x="570" y="512"/>
                    </a:lnTo>
                    <a:lnTo>
                      <a:pt x="569" y="512"/>
                    </a:lnTo>
                    <a:lnTo>
                      <a:pt x="569" y="513"/>
                    </a:lnTo>
                    <a:lnTo>
                      <a:pt x="568" y="513"/>
                    </a:lnTo>
                    <a:lnTo>
                      <a:pt x="567" y="514"/>
                    </a:lnTo>
                    <a:lnTo>
                      <a:pt x="566" y="515"/>
                    </a:lnTo>
                    <a:lnTo>
                      <a:pt x="566" y="516"/>
                    </a:lnTo>
                    <a:lnTo>
                      <a:pt x="565" y="516"/>
                    </a:lnTo>
                    <a:lnTo>
                      <a:pt x="565" y="517"/>
                    </a:lnTo>
                    <a:lnTo>
                      <a:pt x="564" y="517"/>
                    </a:lnTo>
                    <a:lnTo>
                      <a:pt x="565" y="518"/>
                    </a:lnTo>
                    <a:lnTo>
                      <a:pt x="564" y="518"/>
                    </a:lnTo>
                    <a:lnTo>
                      <a:pt x="564" y="519"/>
                    </a:lnTo>
                    <a:lnTo>
                      <a:pt x="565" y="519"/>
                    </a:lnTo>
                    <a:lnTo>
                      <a:pt x="564" y="519"/>
                    </a:lnTo>
                    <a:lnTo>
                      <a:pt x="564" y="520"/>
                    </a:lnTo>
                    <a:lnTo>
                      <a:pt x="561" y="521"/>
                    </a:lnTo>
                    <a:lnTo>
                      <a:pt x="560" y="521"/>
                    </a:lnTo>
                    <a:lnTo>
                      <a:pt x="560" y="523"/>
                    </a:lnTo>
                    <a:lnTo>
                      <a:pt x="561" y="523"/>
                    </a:lnTo>
                    <a:lnTo>
                      <a:pt x="563" y="524"/>
                    </a:lnTo>
                    <a:lnTo>
                      <a:pt x="563" y="525"/>
                    </a:lnTo>
                    <a:lnTo>
                      <a:pt x="563" y="526"/>
                    </a:lnTo>
                    <a:lnTo>
                      <a:pt x="564" y="526"/>
                    </a:lnTo>
                    <a:lnTo>
                      <a:pt x="563" y="527"/>
                    </a:lnTo>
                    <a:lnTo>
                      <a:pt x="564" y="527"/>
                    </a:lnTo>
                    <a:lnTo>
                      <a:pt x="564" y="528"/>
                    </a:lnTo>
                    <a:lnTo>
                      <a:pt x="563" y="528"/>
                    </a:lnTo>
                    <a:lnTo>
                      <a:pt x="563" y="529"/>
                    </a:lnTo>
                    <a:lnTo>
                      <a:pt x="563" y="530"/>
                    </a:lnTo>
                    <a:lnTo>
                      <a:pt x="561" y="531"/>
                    </a:lnTo>
                    <a:lnTo>
                      <a:pt x="561" y="532"/>
                    </a:lnTo>
                    <a:lnTo>
                      <a:pt x="552" y="541"/>
                    </a:lnTo>
                    <a:lnTo>
                      <a:pt x="546" y="545"/>
                    </a:lnTo>
                    <a:lnTo>
                      <a:pt x="540" y="550"/>
                    </a:lnTo>
                    <a:lnTo>
                      <a:pt x="531" y="556"/>
                    </a:lnTo>
                    <a:lnTo>
                      <a:pt x="512" y="569"/>
                    </a:lnTo>
                    <a:lnTo>
                      <a:pt x="507" y="572"/>
                    </a:lnTo>
                    <a:lnTo>
                      <a:pt x="503" y="577"/>
                    </a:lnTo>
                    <a:lnTo>
                      <a:pt x="502" y="577"/>
                    </a:lnTo>
                    <a:lnTo>
                      <a:pt x="493" y="582"/>
                    </a:lnTo>
                    <a:lnTo>
                      <a:pt x="491" y="583"/>
                    </a:lnTo>
                    <a:lnTo>
                      <a:pt x="490" y="583"/>
                    </a:lnTo>
                    <a:lnTo>
                      <a:pt x="489" y="584"/>
                    </a:lnTo>
                    <a:lnTo>
                      <a:pt x="488" y="584"/>
                    </a:lnTo>
                    <a:lnTo>
                      <a:pt x="486" y="585"/>
                    </a:lnTo>
                    <a:lnTo>
                      <a:pt x="485" y="586"/>
                    </a:lnTo>
                    <a:lnTo>
                      <a:pt x="483" y="588"/>
                    </a:lnTo>
                    <a:lnTo>
                      <a:pt x="482" y="588"/>
                    </a:lnTo>
                    <a:lnTo>
                      <a:pt x="481" y="589"/>
                    </a:lnTo>
                    <a:lnTo>
                      <a:pt x="479" y="590"/>
                    </a:lnTo>
                    <a:lnTo>
                      <a:pt x="479" y="589"/>
                    </a:lnTo>
                    <a:lnTo>
                      <a:pt x="479" y="588"/>
                    </a:lnTo>
                    <a:lnTo>
                      <a:pt x="479" y="586"/>
                    </a:lnTo>
                    <a:lnTo>
                      <a:pt x="479" y="585"/>
                    </a:lnTo>
                    <a:lnTo>
                      <a:pt x="480" y="584"/>
                    </a:lnTo>
                    <a:lnTo>
                      <a:pt x="480" y="583"/>
                    </a:lnTo>
                    <a:lnTo>
                      <a:pt x="480" y="582"/>
                    </a:lnTo>
                    <a:lnTo>
                      <a:pt x="480" y="581"/>
                    </a:lnTo>
                    <a:lnTo>
                      <a:pt x="480" y="580"/>
                    </a:lnTo>
                    <a:lnTo>
                      <a:pt x="481" y="580"/>
                    </a:lnTo>
                    <a:lnTo>
                      <a:pt x="481" y="579"/>
                    </a:lnTo>
                    <a:lnTo>
                      <a:pt x="482" y="578"/>
                    </a:lnTo>
                    <a:lnTo>
                      <a:pt x="483" y="578"/>
                    </a:lnTo>
                    <a:lnTo>
                      <a:pt x="483" y="577"/>
                    </a:lnTo>
                    <a:lnTo>
                      <a:pt x="486" y="576"/>
                    </a:lnTo>
                    <a:lnTo>
                      <a:pt x="486" y="575"/>
                    </a:lnTo>
                    <a:lnTo>
                      <a:pt x="482" y="576"/>
                    </a:lnTo>
                    <a:lnTo>
                      <a:pt x="481" y="578"/>
                    </a:lnTo>
                    <a:lnTo>
                      <a:pt x="480" y="579"/>
                    </a:lnTo>
                    <a:lnTo>
                      <a:pt x="479" y="580"/>
                    </a:lnTo>
                    <a:lnTo>
                      <a:pt x="479" y="581"/>
                    </a:lnTo>
                    <a:lnTo>
                      <a:pt x="479" y="582"/>
                    </a:lnTo>
                    <a:lnTo>
                      <a:pt x="478" y="582"/>
                    </a:lnTo>
                    <a:lnTo>
                      <a:pt x="478" y="583"/>
                    </a:lnTo>
                    <a:lnTo>
                      <a:pt x="478" y="584"/>
                    </a:lnTo>
                    <a:lnTo>
                      <a:pt x="477" y="586"/>
                    </a:lnTo>
                    <a:lnTo>
                      <a:pt x="477" y="588"/>
                    </a:lnTo>
                    <a:lnTo>
                      <a:pt x="476" y="586"/>
                    </a:lnTo>
                    <a:lnTo>
                      <a:pt x="475" y="586"/>
                    </a:lnTo>
                    <a:lnTo>
                      <a:pt x="474" y="586"/>
                    </a:lnTo>
                    <a:lnTo>
                      <a:pt x="473" y="585"/>
                    </a:lnTo>
                    <a:lnTo>
                      <a:pt x="470" y="585"/>
                    </a:lnTo>
                    <a:lnTo>
                      <a:pt x="469" y="584"/>
                    </a:lnTo>
                    <a:lnTo>
                      <a:pt x="468" y="584"/>
                    </a:lnTo>
                    <a:lnTo>
                      <a:pt x="463" y="584"/>
                    </a:lnTo>
                    <a:lnTo>
                      <a:pt x="462" y="584"/>
                    </a:lnTo>
                    <a:lnTo>
                      <a:pt x="462" y="583"/>
                    </a:lnTo>
                    <a:lnTo>
                      <a:pt x="463" y="582"/>
                    </a:lnTo>
                    <a:lnTo>
                      <a:pt x="463" y="583"/>
                    </a:lnTo>
                    <a:lnTo>
                      <a:pt x="464" y="583"/>
                    </a:lnTo>
                    <a:lnTo>
                      <a:pt x="464" y="582"/>
                    </a:lnTo>
                    <a:lnTo>
                      <a:pt x="464" y="581"/>
                    </a:lnTo>
                    <a:lnTo>
                      <a:pt x="465" y="581"/>
                    </a:lnTo>
                    <a:lnTo>
                      <a:pt x="466" y="581"/>
                    </a:lnTo>
                    <a:lnTo>
                      <a:pt x="467" y="582"/>
                    </a:lnTo>
                    <a:lnTo>
                      <a:pt x="468" y="582"/>
                    </a:lnTo>
                    <a:lnTo>
                      <a:pt x="469" y="583"/>
                    </a:lnTo>
                    <a:lnTo>
                      <a:pt x="470" y="583"/>
                    </a:lnTo>
                    <a:lnTo>
                      <a:pt x="472" y="583"/>
                    </a:lnTo>
                    <a:lnTo>
                      <a:pt x="470" y="583"/>
                    </a:lnTo>
                    <a:lnTo>
                      <a:pt x="470" y="582"/>
                    </a:lnTo>
                    <a:lnTo>
                      <a:pt x="469" y="582"/>
                    </a:lnTo>
                    <a:lnTo>
                      <a:pt x="468" y="582"/>
                    </a:lnTo>
                    <a:lnTo>
                      <a:pt x="468" y="581"/>
                    </a:lnTo>
                    <a:lnTo>
                      <a:pt x="468" y="580"/>
                    </a:lnTo>
                    <a:lnTo>
                      <a:pt x="468" y="579"/>
                    </a:lnTo>
                    <a:lnTo>
                      <a:pt x="467" y="579"/>
                    </a:lnTo>
                    <a:lnTo>
                      <a:pt x="466" y="578"/>
                    </a:lnTo>
                    <a:lnTo>
                      <a:pt x="465" y="577"/>
                    </a:lnTo>
                    <a:lnTo>
                      <a:pt x="465" y="576"/>
                    </a:lnTo>
                    <a:lnTo>
                      <a:pt x="464" y="576"/>
                    </a:lnTo>
                    <a:lnTo>
                      <a:pt x="463" y="575"/>
                    </a:lnTo>
                    <a:lnTo>
                      <a:pt x="463" y="573"/>
                    </a:lnTo>
                    <a:lnTo>
                      <a:pt x="464" y="572"/>
                    </a:lnTo>
                    <a:lnTo>
                      <a:pt x="464" y="573"/>
                    </a:lnTo>
                    <a:lnTo>
                      <a:pt x="465" y="573"/>
                    </a:lnTo>
                    <a:lnTo>
                      <a:pt x="465" y="572"/>
                    </a:lnTo>
                    <a:lnTo>
                      <a:pt x="464" y="572"/>
                    </a:lnTo>
                    <a:lnTo>
                      <a:pt x="465" y="572"/>
                    </a:lnTo>
                    <a:lnTo>
                      <a:pt x="466" y="572"/>
                    </a:lnTo>
                    <a:lnTo>
                      <a:pt x="467" y="572"/>
                    </a:lnTo>
                    <a:lnTo>
                      <a:pt x="467" y="573"/>
                    </a:lnTo>
                    <a:lnTo>
                      <a:pt x="468" y="573"/>
                    </a:lnTo>
                    <a:lnTo>
                      <a:pt x="468" y="575"/>
                    </a:lnTo>
                    <a:lnTo>
                      <a:pt x="469" y="575"/>
                    </a:lnTo>
                    <a:lnTo>
                      <a:pt x="469" y="573"/>
                    </a:lnTo>
                    <a:lnTo>
                      <a:pt x="470" y="573"/>
                    </a:lnTo>
                    <a:lnTo>
                      <a:pt x="470" y="575"/>
                    </a:lnTo>
                    <a:lnTo>
                      <a:pt x="470" y="572"/>
                    </a:lnTo>
                    <a:lnTo>
                      <a:pt x="472" y="572"/>
                    </a:lnTo>
                    <a:lnTo>
                      <a:pt x="473" y="571"/>
                    </a:lnTo>
                    <a:lnTo>
                      <a:pt x="473" y="570"/>
                    </a:lnTo>
                    <a:lnTo>
                      <a:pt x="473" y="567"/>
                    </a:lnTo>
                    <a:lnTo>
                      <a:pt x="473" y="566"/>
                    </a:lnTo>
                    <a:lnTo>
                      <a:pt x="473" y="565"/>
                    </a:lnTo>
                    <a:lnTo>
                      <a:pt x="473" y="563"/>
                    </a:lnTo>
                    <a:lnTo>
                      <a:pt x="473" y="562"/>
                    </a:lnTo>
                    <a:lnTo>
                      <a:pt x="474" y="560"/>
                    </a:lnTo>
                    <a:lnTo>
                      <a:pt x="473" y="560"/>
                    </a:lnTo>
                    <a:lnTo>
                      <a:pt x="473" y="559"/>
                    </a:lnTo>
                    <a:lnTo>
                      <a:pt x="473" y="558"/>
                    </a:lnTo>
                    <a:lnTo>
                      <a:pt x="472" y="558"/>
                    </a:lnTo>
                    <a:lnTo>
                      <a:pt x="472" y="557"/>
                    </a:lnTo>
                    <a:lnTo>
                      <a:pt x="470" y="557"/>
                    </a:lnTo>
                    <a:lnTo>
                      <a:pt x="469" y="558"/>
                    </a:lnTo>
                    <a:lnTo>
                      <a:pt x="468" y="558"/>
                    </a:lnTo>
                    <a:lnTo>
                      <a:pt x="468" y="557"/>
                    </a:lnTo>
                    <a:lnTo>
                      <a:pt x="467" y="556"/>
                    </a:lnTo>
                    <a:lnTo>
                      <a:pt x="467" y="555"/>
                    </a:lnTo>
                    <a:lnTo>
                      <a:pt x="467" y="554"/>
                    </a:lnTo>
                    <a:lnTo>
                      <a:pt x="466" y="553"/>
                    </a:lnTo>
                    <a:lnTo>
                      <a:pt x="466" y="552"/>
                    </a:lnTo>
                    <a:lnTo>
                      <a:pt x="466" y="551"/>
                    </a:lnTo>
                    <a:lnTo>
                      <a:pt x="465" y="551"/>
                    </a:lnTo>
                    <a:lnTo>
                      <a:pt x="465" y="552"/>
                    </a:lnTo>
                    <a:lnTo>
                      <a:pt x="464" y="552"/>
                    </a:lnTo>
                    <a:lnTo>
                      <a:pt x="464" y="551"/>
                    </a:lnTo>
                    <a:lnTo>
                      <a:pt x="464" y="552"/>
                    </a:lnTo>
                    <a:lnTo>
                      <a:pt x="463" y="552"/>
                    </a:lnTo>
                    <a:lnTo>
                      <a:pt x="462" y="552"/>
                    </a:lnTo>
                    <a:lnTo>
                      <a:pt x="461" y="552"/>
                    </a:lnTo>
                    <a:lnTo>
                      <a:pt x="459" y="552"/>
                    </a:lnTo>
                    <a:lnTo>
                      <a:pt x="457" y="552"/>
                    </a:lnTo>
                    <a:lnTo>
                      <a:pt x="456" y="552"/>
                    </a:lnTo>
                    <a:lnTo>
                      <a:pt x="455" y="552"/>
                    </a:lnTo>
                    <a:lnTo>
                      <a:pt x="454" y="552"/>
                    </a:lnTo>
                    <a:lnTo>
                      <a:pt x="453" y="552"/>
                    </a:lnTo>
                    <a:lnTo>
                      <a:pt x="452" y="552"/>
                    </a:lnTo>
                    <a:lnTo>
                      <a:pt x="451" y="552"/>
                    </a:lnTo>
                    <a:lnTo>
                      <a:pt x="451" y="551"/>
                    </a:lnTo>
                    <a:lnTo>
                      <a:pt x="450" y="551"/>
                    </a:lnTo>
                    <a:lnTo>
                      <a:pt x="449" y="551"/>
                    </a:lnTo>
                    <a:lnTo>
                      <a:pt x="449" y="550"/>
                    </a:lnTo>
                    <a:lnTo>
                      <a:pt x="450" y="550"/>
                    </a:lnTo>
                    <a:lnTo>
                      <a:pt x="451" y="550"/>
                    </a:lnTo>
                    <a:lnTo>
                      <a:pt x="451" y="549"/>
                    </a:lnTo>
                    <a:lnTo>
                      <a:pt x="452" y="549"/>
                    </a:lnTo>
                    <a:lnTo>
                      <a:pt x="453" y="549"/>
                    </a:lnTo>
                    <a:lnTo>
                      <a:pt x="453" y="550"/>
                    </a:lnTo>
                    <a:lnTo>
                      <a:pt x="454" y="550"/>
                    </a:lnTo>
                    <a:lnTo>
                      <a:pt x="454" y="551"/>
                    </a:lnTo>
                    <a:lnTo>
                      <a:pt x="454" y="550"/>
                    </a:lnTo>
                    <a:lnTo>
                      <a:pt x="455" y="549"/>
                    </a:lnTo>
                    <a:lnTo>
                      <a:pt x="456" y="549"/>
                    </a:lnTo>
                    <a:lnTo>
                      <a:pt x="457" y="549"/>
                    </a:lnTo>
                    <a:lnTo>
                      <a:pt x="459" y="549"/>
                    </a:lnTo>
                    <a:lnTo>
                      <a:pt x="460" y="549"/>
                    </a:lnTo>
                    <a:lnTo>
                      <a:pt x="461" y="549"/>
                    </a:lnTo>
                    <a:lnTo>
                      <a:pt x="461" y="547"/>
                    </a:lnTo>
                    <a:lnTo>
                      <a:pt x="462" y="547"/>
                    </a:lnTo>
                    <a:lnTo>
                      <a:pt x="462" y="546"/>
                    </a:lnTo>
                    <a:lnTo>
                      <a:pt x="464" y="546"/>
                    </a:lnTo>
                    <a:lnTo>
                      <a:pt x="465" y="546"/>
                    </a:lnTo>
                    <a:lnTo>
                      <a:pt x="466" y="545"/>
                    </a:lnTo>
                    <a:lnTo>
                      <a:pt x="466" y="544"/>
                    </a:lnTo>
                    <a:lnTo>
                      <a:pt x="465" y="544"/>
                    </a:lnTo>
                    <a:lnTo>
                      <a:pt x="465" y="543"/>
                    </a:lnTo>
                    <a:lnTo>
                      <a:pt x="464" y="543"/>
                    </a:lnTo>
                    <a:lnTo>
                      <a:pt x="463" y="543"/>
                    </a:lnTo>
                    <a:lnTo>
                      <a:pt x="462" y="543"/>
                    </a:lnTo>
                    <a:lnTo>
                      <a:pt x="462" y="544"/>
                    </a:lnTo>
                    <a:lnTo>
                      <a:pt x="462" y="543"/>
                    </a:lnTo>
                    <a:lnTo>
                      <a:pt x="461" y="542"/>
                    </a:lnTo>
                    <a:lnTo>
                      <a:pt x="459" y="541"/>
                    </a:lnTo>
                    <a:lnTo>
                      <a:pt x="457" y="540"/>
                    </a:lnTo>
                    <a:lnTo>
                      <a:pt x="456" y="539"/>
                    </a:lnTo>
                    <a:lnTo>
                      <a:pt x="454" y="539"/>
                    </a:lnTo>
                    <a:lnTo>
                      <a:pt x="454" y="540"/>
                    </a:lnTo>
                    <a:lnTo>
                      <a:pt x="453" y="540"/>
                    </a:lnTo>
                    <a:lnTo>
                      <a:pt x="453" y="541"/>
                    </a:lnTo>
                    <a:lnTo>
                      <a:pt x="452" y="541"/>
                    </a:lnTo>
                    <a:lnTo>
                      <a:pt x="452" y="540"/>
                    </a:lnTo>
                    <a:lnTo>
                      <a:pt x="453" y="540"/>
                    </a:lnTo>
                    <a:lnTo>
                      <a:pt x="453" y="539"/>
                    </a:lnTo>
                    <a:lnTo>
                      <a:pt x="453" y="538"/>
                    </a:lnTo>
                    <a:lnTo>
                      <a:pt x="453" y="539"/>
                    </a:lnTo>
                    <a:lnTo>
                      <a:pt x="453" y="540"/>
                    </a:lnTo>
                    <a:lnTo>
                      <a:pt x="452" y="539"/>
                    </a:lnTo>
                    <a:lnTo>
                      <a:pt x="452" y="540"/>
                    </a:lnTo>
                    <a:lnTo>
                      <a:pt x="452" y="541"/>
                    </a:lnTo>
                    <a:lnTo>
                      <a:pt x="451" y="542"/>
                    </a:lnTo>
                    <a:lnTo>
                      <a:pt x="450" y="540"/>
                    </a:lnTo>
                    <a:lnTo>
                      <a:pt x="449" y="539"/>
                    </a:lnTo>
                    <a:lnTo>
                      <a:pt x="449" y="538"/>
                    </a:lnTo>
                    <a:lnTo>
                      <a:pt x="448" y="538"/>
                    </a:lnTo>
                    <a:lnTo>
                      <a:pt x="447" y="538"/>
                    </a:lnTo>
                    <a:lnTo>
                      <a:pt x="446" y="539"/>
                    </a:lnTo>
                    <a:lnTo>
                      <a:pt x="444" y="540"/>
                    </a:lnTo>
                    <a:lnTo>
                      <a:pt x="443" y="540"/>
                    </a:lnTo>
                    <a:lnTo>
                      <a:pt x="443" y="539"/>
                    </a:lnTo>
                    <a:lnTo>
                      <a:pt x="444" y="538"/>
                    </a:lnTo>
                    <a:lnTo>
                      <a:pt x="446" y="537"/>
                    </a:lnTo>
                    <a:lnTo>
                      <a:pt x="447" y="537"/>
                    </a:lnTo>
                    <a:lnTo>
                      <a:pt x="448" y="537"/>
                    </a:lnTo>
                    <a:lnTo>
                      <a:pt x="449" y="537"/>
                    </a:lnTo>
                    <a:lnTo>
                      <a:pt x="449" y="538"/>
                    </a:lnTo>
                    <a:lnTo>
                      <a:pt x="450" y="538"/>
                    </a:lnTo>
                    <a:lnTo>
                      <a:pt x="451" y="538"/>
                    </a:lnTo>
                    <a:lnTo>
                      <a:pt x="453" y="537"/>
                    </a:lnTo>
                    <a:lnTo>
                      <a:pt x="454" y="536"/>
                    </a:lnTo>
                    <a:lnTo>
                      <a:pt x="455" y="536"/>
                    </a:lnTo>
                    <a:lnTo>
                      <a:pt x="455" y="534"/>
                    </a:lnTo>
                    <a:lnTo>
                      <a:pt x="456" y="534"/>
                    </a:lnTo>
                    <a:lnTo>
                      <a:pt x="456" y="536"/>
                    </a:lnTo>
                    <a:lnTo>
                      <a:pt x="457" y="537"/>
                    </a:lnTo>
                    <a:lnTo>
                      <a:pt x="459" y="537"/>
                    </a:lnTo>
                    <a:lnTo>
                      <a:pt x="460" y="537"/>
                    </a:lnTo>
                    <a:lnTo>
                      <a:pt x="460" y="538"/>
                    </a:lnTo>
                    <a:lnTo>
                      <a:pt x="461" y="538"/>
                    </a:lnTo>
                    <a:lnTo>
                      <a:pt x="462" y="538"/>
                    </a:lnTo>
                    <a:lnTo>
                      <a:pt x="463" y="538"/>
                    </a:lnTo>
                    <a:lnTo>
                      <a:pt x="463" y="537"/>
                    </a:lnTo>
                    <a:lnTo>
                      <a:pt x="463" y="533"/>
                    </a:lnTo>
                    <a:lnTo>
                      <a:pt x="462" y="532"/>
                    </a:lnTo>
                    <a:lnTo>
                      <a:pt x="461" y="533"/>
                    </a:lnTo>
                    <a:lnTo>
                      <a:pt x="460" y="533"/>
                    </a:lnTo>
                    <a:lnTo>
                      <a:pt x="460" y="532"/>
                    </a:lnTo>
                    <a:lnTo>
                      <a:pt x="460" y="531"/>
                    </a:lnTo>
                    <a:lnTo>
                      <a:pt x="459" y="531"/>
                    </a:lnTo>
                    <a:lnTo>
                      <a:pt x="459" y="530"/>
                    </a:lnTo>
                    <a:lnTo>
                      <a:pt x="459" y="529"/>
                    </a:lnTo>
                    <a:lnTo>
                      <a:pt x="457" y="529"/>
                    </a:lnTo>
                    <a:lnTo>
                      <a:pt x="456" y="529"/>
                    </a:lnTo>
                    <a:lnTo>
                      <a:pt x="455" y="529"/>
                    </a:lnTo>
                    <a:lnTo>
                      <a:pt x="454" y="528"/>
                    </a:lnTo>
                    <a:lnTo>
                      <a:pt x="453" y="528"/>
                    </a:lnTo>
                    <a:lnTo>
                      <a:pt x="453" y="529"/>
                    </a:lnTo>
                    <a:lnTo>
                      <a:pt x="452" y="529"/>
                    </a:lnTo>
                    <a:lnTo>
                      <a:pt x="451" y="529"/>
                    </a:lnTo>
                    <a:lnTo>
                      <a:pt x="450" y="529"/>
                    </a:lnTo>
                    <a:lnTo>
                      <a:pt x="449" y="530"/>
                    </a:lnTo>
                    <a:lnTo>
                      <a:pt x="448" y="530"/>
                    </a:lnTo>
                    <a:lnTo>
                      <a:pt x="448" y="531"/>
                    </a:lnTo>
                    <a:lnTo>
                      <a:pt x="448" y="530"/>
                    </a:lnTo>
                    <a:lnTo>
                      <a:pt x="447" y="530"/>
                    </a:lnTo>
                    <a:lnTo>
                      <a:pt x="447" y="529"/>
                    </a:lnTo>
                    <a:lnTo>
                      <a:pt x="446" y="529"/>
                    </a:lnTo>
                    <a:lnTo>
                      <a:pt x="444" y="530"/>
                    </a:lnTo>
                    <a:lnTo>
                      <a:pt x="443" y="530"/>
                    </a:lnTo>
                    <a:lnTo>
                      <a:pt x="444" y="528"/>
                    </a:lnTo>
                    <a:lnTo>
                      <a:pt x="444" y="529"/>
                    </a:lnTo>
                    <a:lnTo>
                      <a:pt x="444" y="528"/>
                    </a:lnTo>
                    <a:lnTo>
                      <a:pt x="446" y="528"/>
                    </a:lnTo>
                    <a:lnTo>
                      <a:pt x="446" y="527"/>
                    </a:lnTo>
                    <a:lnTo>
                      <a:pt x="447" y="527"/>
                    </a:lnTo>
                    <a:lnTo>
                      <a:pt x="447" y="526"/>
                    </a:lnTo>
                    <a:lnTo>
                      <a:pt x="447" y="525"/>
                    </a:lnTo>
                    <a:lnTo>
                      <a:pt x="448" y="525"/>
                    </a:lnTo>
                    <a:lnTo>
                      <a:pt x="448" y="526"/>
                    </a:lnTo>
                    <a:lnTo>
                      <a:pt x="449" y="526"/>
                    </a:lnTo>
                    <a:lnTo>
                      <a:pt x="449" y="527"/>
                    </a:lnTo>
                    <a:lnTo>
                      <a:pt x="449" y="526"/>
                    </a:lnTo>
                    <a:lnTo>
                      <a:pt x="450" y="526"/>
                    </a:lnTo>
                    <a:lnTo>
                      <a:pt x="450" y="525"/>
                    </a:lnTo>
                    <a:lnTo>
                      <a:pt x="451" y="525"/>
                    </a:lnTo>
                    <a:lnTo>
                      <a:pt x="452" y="525"/>
                    </a:lnTo>
                    <a:lnTo>
                      <a:pt x="452" y="524"/>
                    </a:lnTo>
                    <a:lnTo>
                      <a:pt x="453" y="524"/>
                    </a:lnTo>
                    <a:lnTo>
                      <a:pt x="454" y="524"/>
                    </a:lnTo>
                    <a:lnTo>
                      <a:pt x="454" y="525"/>
                    </a:lnTo>
                    <a:lnTo>
                      <a:pt x="455" y="525"/>
                    </a:lnTo>
                    <a:lnTo>
                      <a:pt x="455" y="526"/>
                    </a:lnTo>
                    <a:lnTo>
                      <a:pt x="456" y="527"/>
                    </a:lnTo>
                    <a:lnTo>
                      <a:pt x="456" y="526"/>
                    </a:lnTo>
                    <a:lnTo>
                      <a:pt x="457" y="525"/>
                    </a:lnTo>
                    <a:lnTo>
                      <a:pt x="459" y="525"/>
                    </a:lnTo>
                    <a:lnTo>
                      <a:pt x="460" y="524"/>
                    </a:lnTo>
                    <a:lnTo>
                      <a:pt x="460" y="523"/>
                    </a:lnTo>
                    <a:lnTo>
                      <a:pt x="459" y="521"/>
                    </a:lnTo>
                    <a:lnTo>
                      <a:pt x="459" y="520"/>
                    </a:lnTo>
                    <a:lnTo>
                      <a:pt x="457" y="520"/>
                    </a:lnTo>
                    <a:lnTo>
                      <a:pt x="456" y="520"/>
                    </a:lnTo>
                    <a:lnTo>
                      <a:pt x="456" y="521"/>
                    </a:lnTo>
                    <a:lnTo>
                      <a:pt x="456" y="523"/>
                    </a:lnTo>
                    <a:lnTo>
                      <a:pt x="455" y="523"/>
                    </a:lnTo>
                    <a:lnTo>
                      <a:pt x="455" y="524"/>
                    </a:lnTo>
                    <a:lnTo>
                      <a:pt x="455" y="523"/>
                    </a:lnTo>
                    <a:lnTo>
                      <a:pt x="455" y="521"/>
                    </a:lnTo>
                    <a:lnTo>
                      <a:pt x="455" y="520"/>
                    </a:lnTo>
                    <a:lnTo>
                      <a:pt x="456" y="520"/>
                    </a:lnTo>
                    <a:lnTo>
                      <a:pt x="457" y="517"/>
                    </a:lnTo>
                    <a:lnTo>
                      <a:pt x="456" y="516"/>
                    </a:lnTo>
                    <a:lnTo>
                      <a:pt x="456" y="515"/>
                    </a:lnTo>
                    <a:lnTo>
                      <a:pt x="455" y="516"/>
                    </a:lnTo>
                    <a:lnTo>
                      <a:pt x="455" y="515"/>
                    </a:lnTo>
                    <a:lnTo>
                      <a:pt x="454" y="515"/>
                    </a:lnTo>
                    <a:lnTo>
                      <a:pt x="454" y="516"/>
                    </a:lnTo>
                    <a:lnTo>
                      <a:pt x="454" y="515"/>
                    </a:lnTo>
                    <a:lnTo>
                      <a:pt x="454" y="514"/>
                    </a:lnTo>
                    <a:lnTo>
                      <a:pt x="455" y="514"/>
                    </a:lnTo>
                    <a:lnTo>
                      <a:pt x="456" y="514"/>
                    </a:lnTo>
                    <a:lnTo>
                      <a:pt x="456" y="513"/>
                    </a:lnTo>
                    <a:lnTo>
                      <a:pt x="455" y="513"/>
                    </a:lnTo>
                    <a:lnTo>
                      <a:pt x="456" y="512"/>
                    </a:lnTo>
                    <a:lnTo>
                      <a:pt x="456" y="513"/>
                    </a:lnTo>
                    <a:lnTo>
                      <a:pt x="456" y="512"/>
                    </a:lnTo>
                    <a:lnTo>
                      <a:pt x="456" y="511"/>
                    </a:lnTo>
                    <a:lnTo>
                      <a:pt x="457" y="509"/>
                    </a:lnTo>
                    <a:lnTo>
                      <a:pt x="457" y="508"/>
                    </a:lnTo>
                    <a:lnTo>
                      <a:pt x="457" y="507"/>
                    </a:lnTo>
                    <a:lnTo>
                      <a:pt x="457" y="505"/>
                    </a:lnTo>
                    <a:lnTo>
                      <a:pt x="456" y="505"/>
                    </a:lnTo>
                    <a:lnTo>
                      <a:pt x="456" y="506"/>
                    </a:lnTo>
                    <a:lnTo>
                      <a:pt x="456" y="507"/>
                    </a:lnTo>
                    <a:lnTo>
                      <a:pt x="455" y="507"/>
                    </a:lnTo>
                    <a:lnTo>
                      <a:pt x="455" y="506"/>
                    </a:lnTo>
                    <a:lnTo>
                      <a:pt x="456" y="506"/>
                    </a:lnTo>
                    <a:lnTo>
                      <a:pt x="456" y="505"/>
                    </a:lnTo>
                    <a:lnTo>
                      <a:pt x="455" y="504"/>
                    </a:lnTo>
                    <a:lnTo>
                      <a:pt x="454" y="504"/>
                    </a:lnTo>
                    <a:lnTo>
                      <a:pt x="453" y="504"/>
                    </a:lnTo>
                    <a:lnTo>
                      <a:pt x="453" y="505"/>
                    </a:lnTo>
                    <a:lnTo>
                      <a:pt x="454" y="507"/>
                    </a:lnTo>
                    <a:lnTo>
                      <a:pt x="455" y="507"/>
                    </a:lnTo>
                    <a:lnTo>
                      <a:pt x="455" y="508"/>
                    </a:lnTo>
                    <a:lnTo>
                      <a:pt x="455" y="509"/>
                    </a:lnTo>
                    <a:lnTo>
                      <a:pt x="454" y="509"/>
                    </a:lnTo>
                    <a:lnTo>
                      <a:pt x="453" y="509"/>
                    </a:lnTo>
                    <a:lnTo>
                      <a:pt x="451" y="509"/>
                    </a:lnTo>
                    <a:lnTo>
                      <a:pt x="450" y="509"/>
                    </a:lnTo>
                    <a:lnTo>
                      <a:pt x="449" y="509"/>
                    </a:lnTo>
                    <a:lnTo>
                      <a:pt x="449" y="508"/>
                    </a:lnTo>
                    <a:lnTo>
                      <a:pt x="450" y="508"/>
                    </a:lnTo>
                    <a:lnTo>
                      <a:pt x="450" y="507"/>
                    </a:lnTo>
                    <a:lnTo>
                      <a:pt x="450" y="506"/>
                    </a:lnTo>
                    <a:lnTo>
                      <a:pt x="450" y="505"/>
                    </a:lnTo>
                    <a:lnTo>
                      <a:pt x="449" y="504"/>
                    </a:lnTo>
                    <a:lnTo>
                      <a:pt x="448" y="504"/>
                    </a:lnTo>
                    <a:lnTo>
                      <a:pt x="448" y="503"/>
                    </a:lnTo>
                    <a:lnTo>
                      <a:pt x="447" y="502"/>
                    </a:lnTo>
                    <a:lnTo>
                      <a:pt x="447" y="501"/>
                    </a:lnTo>
                    <a:lnTo>
                      <a:pt x="448" y="501"/>
                    </a:lnTo>
                    <a:lnTo>
                      <a:pt x="449" y="501"/>
                    </a:lnTo>
                    <a:lnTo>
                      <a:pt x="449" y="502"/>
                    </a:lnTo>
                    <a:lnTo>
                      <a:pt x="450" y="502"/>
                    </a:lnTo>
                    <a:lnTo>
                      <a:pt x="451" y="502"/>
                    </a:lnTo>
                    <a:lnTo>
                      <a:pt x="452" y="501"/>
                    </a:lnTo>
                    <a:lnTo>
                      <a:pt x="453" y="501"/>
                    </a:lnTo>
                    <a:lnTo>
                      <a:pt x="453" y="500"/>
                    </a:lnTo>
                    <a:lnTo>
                      <a:pt x="453" y="499"/>
                    </a:lnTo>
                    <a:lnTo>
                      <a:pt x="454" y="499"/>
                    </a:lnTo>
                    <a:lnTo>
                      <a:pt x="454" y="498"/>
                    </a:lnTo>
                    <a:lnTo>
                      <a:pt x="454" y="496"/>
                    </a:lnTo>
                    <a:lnTo>
                      <a:pt x="455" y="496"/>
                    </a:lnTo>
                    <a:lnTo>
                      <a:pt x="456" y="498"/>
                    </a:lnTo>
                    <a:lnTo>
                      <a:pt x="456" y="499"/>
                    </a:lnTo>
                    <a:lnTo>
                      <a:pt x="456" y="500"/>
                    </a:lnTo>
                    <a:lnTo>
                      <a:pt x="456" y="501"/>
                    </a:lnTo>
                    <a:lnTo>
                      <a:pt x="456" y="502"/>
                    </a:lnTo>
                    <a:lnTo>
                      <a:pt x="456" y="503"/>
                    </a:lnTo>
                    <a:lnTo>
                      <a:pt x="457" y="504"/>
                    </a:lnTo>
                    <a:lnTo>
                      <a:pt x="459" y="504"/>
                    </a:lnTo>
                    <a:lnTo>
                      <a:pt x="460" y="504"/>
                    </a:lnTo>
                    <a:lnTo>
                      <a:pt x="460" y="505"/>
                    </a:lnTo>
                    <a:lnTo>
                      <a:pt x="461" y="505"/>
                    </a:lnTo>
                    <a:lnTo>
                      <a:pt x="462" y="505"/>
                    </a:lnTo>
                    <a:lnTo>
                      <a:pt x="461" y="505"/>
                    </a:lnTo>
                    <a:lnTo>
                      <a:pt x="461" y="504"/>
                    </a:lnTo>
                    <a:lnTo>
                      <a:pt x="461" y="503"/>
                    </a:lnTo>
                    <a:lnTo>
                      <a:pt x="462" y="502"/>
                    </a:lnTo>
                    <a:lnTo>
                      <a:pt x="462" y="501"/>
                    </a:lnTo>
                    <a:lnTo>
                      <a:pt x="463" y="501"/>
                    </a:lnTo>
                    <a:lnTo>
                      <a:pt x="462" y="500"/>
                    </a:lnTo>
                    <a:lnTo>
                      <a:pt x="463" y="499"/>
                    </a:lnTo>
                    <a:lnTo>
                      <a:pt x="463" y="498"/>
                    </a:lnTo>
                    <a:lnTo>
                      <a:pt x="463" y="496"/>
                    </a:lnTo>
                    <a:lnTo>
                      <a:pt x="463" y="495"/>
                    </a:lnTo>
                    <a:lnTo>
                      <a:pt x="463" y="494"/>
                    </a:lnTo>
                    <a:lnTo>
                      <a:pt x="464" y="494"/>
                    </a:lnTo>
                    <a:lnTo>
                      <a:pt x="465" y="493"/>
                    </a:lnTo>
                    <a:lnTo>
                      <a:pt x="466" y="493"/>
                    </a:lnTo>
                    <a:lnTo>
                      <a:pt x="467" y="493"/>
                    </a:lnTo>
                    <a:lnTo>
                      <a:pt x="468" y="492"/>
                    </a:lnTo>
                    <a:lnTo>
                      <a:pt x="469" y="491"/>
                    </a:lnTo>
                    <a:lnTo>
                      <a:pt x="470" y="491"/>
                    </a:lnTo>
                    <a:lnTo>
                      <a:pt x="470" y="490"/>
                    </a:lnTo>
                    <a:lnTo>
                      <a:pt x="472" y="490"/>
                    </a:lnTo>
                    <a:lnTo>
                      <a:pt x="472" y="489"/>
                    </a:lnTo>
                    <a:lnTo>
                      <a:pt x="470" y="488"/>
                    </a:lnTo>
                    <a:lnTo>
                      <a:pt x="470" y="487"/>
                    </a:lnTo>
                    <a:lnTo>
                      <a:pt x="470" y="486"/>
                    </a:lnTo>
                    <a:lnTo>
                      <a:pt x="470" y="485"/>
                    </a:lnTo>
                    <a:lnTo>
                      <a:pt x="469" y="483"/>
                    </a:lnTo>
                    <a:lnTo>
                      <a:pt x="468" y="483"/>
                    </a:lnTo>
                    <a:lnTo>
                      <a:pt x="467" y="483"/>
                    </a:lnTo>
                    <a:lnTo>
                      <a:pt x="465" y="483"/>
                    </a:lnTo>
                    <a:lnTo>
                      <a:pt x="465" y="485"/>
                    </a:lnTo>
                    <a:lnTo>
                      <a:pt x="464" y="486"/>
                    </a:lnTo>
                    <a:lnTo>
                      <a:pt x="463" y="486"/>
                    </a:lnTo>
                    <a:lnTo>
                      <a:pt x="462" y="487"/>
                    </a:lnTo>
                    <a:lnTo>
                      <a:pt x="462" y="488"/>
                    </a:lnTo>
                    <a:lnTo>
                      <a:pt x="461" y="489"/>
                    </a:lnTo>
                    <a:lnTo>
                      <a:pt x="461" y="490"/>
                    </a:lnTo>
                    <a:lnTo>
                      <a:pt x="461" y="491"/>
                    </a:lnTo>
                    <a:lnTo>
                      <a:pt x="460" y="491"/>
                    </a:lnTo>
                    <a:lnTo>
                      <a:pt x="460" y="492"/>
                    </a:lnTo>
                    <a:lnTo>
                      <a:pt x="459" y="491"/>
                    </a:lnTo>
                    <a:lnTo>
                      <a:pt x="457" y="491"/>
                    </a:lnTo>
                    <a:lnTo>
                      <a:pt x="457" y="490"/>
                    </a:lnTo>
                    <a:lnTo>
                      <a:pt x="459" y="489"/>
                    </a:lnTo>
                    <a:lnTo>
                      <a:pt x="460" y="488"/>
                    </a:lnTo>
                    <a:lnTo>
                      <a:pt x="461" y="486"/>
                    </a:lnTo>
                    <a:lnTo>
                      <a:pt x="462" y="485"/>
                    </a:lnTo>
                    <a:lnTo>
                      <a:pt x="462" y="483"/>
                    </a:lnTo>
                    <a:lnTo>
                      <a:pt x="461" y="482"/>
                    </a:lnTo>
                    <a:lnTo>
                      <a:pt x="461" y="481"/>
                    </a:lnTo>
                    <a:lnTo>
                      <a:pt x="461" y="480"/>
                    </a:lnTo>
                    <a:lnTo>
                      <a:pt x="461" y="479"/>
                    </a:lnTo>
                    <a:lnTo>
                      <a:pt x="461" y="478"/>
                    </a:lnTo>
                    <a:lnTo>
                      <a:pt x="460" y="478"/>
                    </a:lnTo>
                    <a:lnTo>
                      <a:pt x="461" y="478"/>
                    </a:lnTo>
                    <a:lnTo>
                      <a:pt x="460" y="477"/>
                    </a:lnTo>
                    <a:lnTo>
                      <a:pt x="461" y="476"/>
                    </a:lnTo>
                    <a:lnTo>
                      <a:pt x="461" y="474"/>
                    </a:lnTo>
                    <a:lnTo>
                      <a:pt x="460" y="474"/>
                    </a:lnTo>
                    <a:lnTo>
                      <a:pt x="460" y="473"/>
                    </a:lnTo>
                    <a:lnTo>
                      <a:pt x="460" y="472"/>
                    </a:lnTo>
                    <a:lnTo>
                      <a:pt x="459" y="472"/>
                    </a:lnTo>
                    <a:lnTo>
                      <a:pt x="459" y="470"/>
                    </a:lnTo>
                    <a:lnTo>
                      <a:pt x="459" y="469"/>
                    </a:lnTo>
                    <a:lnTo>
                      <a:pt x="457" y="469"/>
                    </a:lnTo>
                    <a:lnTo>
                      <a:pt x="457" y="468"/>
                    </a:lnTo>
                    <a:lnTo>
                      <a:pt x="456" y="467"/>
                    </a:lnTo>
                    <a:lnTo>
                      <a:pt x="455" y="467"/>
                    </a:lnTo>
                    <a:lnTo>
                      <a:pt x="454" y="467"/>
                    </a:lnTo>
                    <a:lnTo>
                      <a:pt x="453" y="467"/>
                    </a:lnTo>
                    <a:lnTo>
                      <a:pt x="452" y="467"/>
                    </a:lnTo>
                    <a:lnTo>
                      <a:pt x="451" y="467"/>
                    </a:lnTo>
                    <a:lnTo>
                      <a:pt x="451" y="466"/>
                    </a:lnTo>
                    <a:lnTo>
                      <a:pt x="451" y="465"/>
                    </a:lnTo>
                    <a:lnTo>
                      <a:pt x="450" y="464"/>
                    </a:lnTo>
                    <a:lnTo>
                      <a:pt x="449" y="463"/>
                    </a:lnTo>
                    <a:lnTo>
                      <a:pt x="448" y="462"/>
                    </a:lnTo>
                    <a:lnTo>
                      <a:pt x="447" y="462"/>
                    </a:lnTo>
                    <a:lnTo>
                      <a:pt x="446" y="462"/>
                    </a:lnTo>
                    <a:lnTo>
                      <a:pt x="444" y="462"/>
                    </a:lnTo>
                    <a:lnTo>
                      <a:pt x="443" y="462"/>
                    </a:lnTo>
                    <a:lnTo>
                      <a:pt x="443" y="463"/>
                    </a:lnTo>
                    <a:lnTo>
                      <a:pt x="443" y="464"/>
                    </a:lnTo>
                    <a:lnTo>
                      <a:pt x="443" y="465"/>
                    </a:lnTo>
                    <a:lnTo>
                      <a:pt x="442" y="466"/>
                    </a:lnTo>
                    <a:lnTo>
                      <a:pt x="441" y="466"/>
                    </a:lnTo>
                    <a:lnTo>
                      <a:pt x="441" y="467"/>
                    </a:lnTo>
                    <a:lnTo>
                      <a:pt x="442" y="468"/>
                    </a:lnTo>
                    <a:lnTo>
                      <a:pt x="442" y="469"/>
                    </a:lnTo>
                    <a:lnTo>
                      <a:pt x="442" y="472"/>
                    </a:lnTo>
                    <a:lnTo>
                      <a:pt x="442" y="473"/>
                    </a:lnTo>
                    <a:lnTo>
                      <a:pt x="443" y="474"/>
                    </a:lnTo>
                    <a:lnTo>
                      <a:pt x="444" y="474"/>
                    </a:lnTo>
                    <a:lnTo>
                      <a:pt x="443" y="475"/>
                    </a:lnTo>
                    <a:lnTo>
                      <a:pt x="442" y="475"/>
                    </a:lnTo>
                    <a:lnTo>
                      <a:pt x="441" y="476"/>
                    </a:lnTo>
                    <a:lnTo>
                      <a:pt x="441" y="477"/>
                    </a:lnTo>
                    <a:lnTo>
                      <a:pt x="442" y="477"/>
                    </a:lnTo>
                    <a:lnTo>
                      <a:pt x="441" y="480"/>
                    </a:lnTo>
                    <a:lnTo>
                      <a:pt x="442" y="480"/>
                    </a:lnTo>
                    <a:lnTo>
                      <a:pt x="442" y="481"/>
                    </a:lnTo>
                    <a:lnTo>
                      <a:pt x="443" y="482"/>
                    </a:lnTo>
                    <a:lnTo>
                      <a:pt x="443" y="483"/>
                    </a:lnTo>
                    <a:lnTo>
                      <a:pt x="443" y="485"/>
                    </a:lnTo>
                    <a:lnTo>
                      <a:pt x="443" y="488"/>
                    </a:lnTo>
                    <a:lnTo>
                      <a:pt x="442" y="490"/>
                    </a:lnTo>
                    <a:lnTo>
                      <a:pt x="443" y="490"/>
                    </a:lnTo>
                    <a:lnTo>
                      <a:pt x="443" y="491"/>
                    </a:lnTo>
                    <a:lnTo>
                      <a:pt x="442" y="492"/>
                    </a:lnTo>
                    <a:lnTo>
                      <a:pt x="442" y="494"/>
                    </a:lnTo>
                    <a:lnTo>
                      <a:pt x="441" y="493"/>
                    </a:lnTo>
                    <a:lnTo>
                      <a:pt x="441" y="492"/>
                    </a:lnTo>
                    <a:lnTo>
                      <a:pt x="441" y="491"/>
                    </a:lnTo>
                    <a:lnTo>
                      <a:pt x="440" y="490"/>
                    </a:lnTo>
                    <a:lnTo>
                      <a:pt x="440" y="489"/>
                    </a:lnTo>
                    <a:lnTo>
                      <a:pt x="440" y="488"/>
                    </a:lnTo>
                    <a:lnTo>
                      <a:pt x="440" y="487"/>
                    </a:lnTo>
                    <a:lnTo>
                      <a:pt x="439" y="486"/>
                    </a:lnTo>
                    <a:lnTo>
                      <a:pt x="439" y="485"/>
                    </a:lnTo>
                    <a:lnTo>
                      <a:pt x="439" y="483"/>
                    </a:lnTo>
                    <a:lnTo>
                      <a:pt x="439" y="482"/>
                    </a:lnTo>
                    <a:lnTo>
                      <a:pt x="439" y="481"/>
                    </a:lnTo>
                    <a:lnTo>
                      <a:pt x="439" y="480"/>
                    </a:lnTo>
                    <a:lnTo>
                      <a:pt x="438" y="480"/>
                    </a:lnTo>
                    <a:lnTo>
                      <a:pt x="437" y="480"/>
                    </a:lnTo>
                    <a:lnTo>
                      <a:pt x="436" y="479"/>
                    </a:lnTo>
                    <a:lnTo>
                      <a:pt x="436" y="478"/>
                    </a:lnTo>
                    <a:lnTo>
                      <a:pt x="436" y="477"/>
                    </a:lnTo>
                    <a:lnTo>
                      <a:pt x="436" y="476"/>
                    </a:lnTo>
                    <a:lnTo>
                      <a:pt x="436" y="475"/>
                    </a:lnTo>
                    <a:lnTo>
                      <a:pt x="435" y="475"/>
                    </a:lnTo>
                    <a:lnTo>
                      <a:pt x="434" y="475"/>
                    </a:lnTo>
                    <a:lnTo>
                      <a:pt x="434" y="474"/>
                    </a:lnTo>
                    <a:lnTo>
                      <a:pt x="434" y="473"/>
                    </a:lnTo>
                    <a:lnTo>
                      <a:pt x="434" y="472"/>
                    </a:lnTo>
                    <a:lnTo>
                      <a:pt x="433" y="469"/>
                    </a:lnTo>
                    <a:lnTo>
                      <a:pt x="433" y="468"/>
                    </a:lnTo>
                    <a:lnTo>
                      <a:pt x="433" y="467"/>
                    </a:lnTo>
                    <a:lnTo>
                      <a:pt x="431" y="467"/>
                    </a:lnTo>
                    <a:lnTo>
                      <a:pt x="431" y="466"/>
                    </a:lnTo>
                    <a:lnTo>
                      <a:pt x="431" y="465"/>
                    </a:lnTo>
                    <a:lnTo>
                      <a:pt x="430" y="465"/>
                    </a:lnTo>
                    <a:lnTo>
                      <a:pt x="430" y="464"/>
                    </a:lnTo>
                    <a:lnTo>
                      <a:pt x="429" y="463"/>
                    </a:lnTo>
                    <a:lnTo>
                      <a:pt x="430" y="462"/>
                    </a:lnTo>
                    <a:lnTo>
                      <a:pt x="429" y="461"/>
                    </a:lnTo>
                    <a:lnTo>
                      <a:pt x="428" y="461"/>
                    </a:lnTo>
                    <a:lnTo>
                      <a:pt x="428" y="460"/>
                    </a:lnTo>
                    <a:lnTo>
                      <a:pt x="427" y="459"/>
                    </a:lnTo>
                    <a:lnTo>
                      <a:pt x="426" y="459"/>
                    </a:lnTo>
                    <a:lnTo>
                      <a:pt x="426" y="460"/>
                    </a:lnTo>
                    <a:lnTo>
                      <a:pt x="426" y="461"/>
                    </a:lnTo>
                    <a:lnTo>
                      <a:pt x="425" y="461"/>
                    </a:lnTo>
                    <a:lnTo>
                      <a:pt x="424" y="461"/>
                    </a:lnTo>
                    <a:lnTo>
                      <a:pt x="424" y="460"/>
                    </a:lnTo>
                    <a:lnTo>
                      <a:pt x="423" y="460"/>
                    </a:lnTo>
                    <a:lnTo>
                      <a:pt x="423" y="459"/>
                    </a:lnTo>
                    <a:lnTo>
                      <a:pt x="423" y="457"/>
                    </a:lnTo>
                    <a:lnTo>
                      <a:pt x="422" y="456"/>
                    </a:lnTo>
                    <a:lnTo>
                      <a:pt x="422" y="455"/>
                    </a:lnTo>
                    <a:lnTo>
                      <a:pt x="421" y="455"/>
                    </a:lnTo>
                    <a:lnTo>
                      <a:pt x="421" y="457"/>
                    </a:lnTo>
                    <a:lnTo>
                      <a:pt x="419" y="457"/>
                    </a:lnTo>
                    <a:lnTo>
                      <a:pt x="418" y="459"/>
                    </a:lnTo>
                    <a:lnTo>
                      <a:pt x="417" y="457"/>
                    </a:lnTo>
                    <a:lnTo>
                      <a:pt x="418" y="457"/>
                    </a:lnTo>
                    <a:lnTo>
                      <a:pt x="418" y="456"/>
                    </a:lnTo>
                    <a:lnTo>
                      <a:pt x="418" y="455"/>
                    </a:lnTo>
                    <a:lnTo>
                      <a:pt x="418" y="454"/>
                    </a:lnTo>
                    <a:lnTo>
                      <a:pt x="418" y="453"/>
                    </a:lnTo>
                    <a:lnTo>
                      <a:pt x="418" y="452"/>
                    </a:lnTo>
                    <a:lnTo>
                      <a:pt x="418" y="451"/>
                    </a:lnTo>
                    <a:lnTo>
                      <a:pt x="419" y="451"/>
                    </a:lnTo>
                    <a:lnTo>
                      <a:pt x="417" y="449"/>
                    </a:lnTo>
                    <a:lnTo>
                      <a:pt x="416" y="448"/>
                    </a:lnTo>
                    <a:lnTo>
                      <a:pt x="415" y="448"/>
                    </a:lnTo>
                    <a:lnTo>
                      <a:pt x="415" y="450"/>
                    </a:lnTo>
                    <a:lnTo>
                      <a:pt x="414" y="450"/>
                    </a:lnTo>
                    <a:lnTo>
                      <a:pt x="413" y="450"/>
                    </a:lnTo>
                    <a:lnTo>
                      <a:pt x="413" y="451"/>
                    </a:lnTo>
                    <a:lnTo>
                      <a:pt x="413" y="452"/>
                    </a:lnTo>
                    <a:lnTo>
                      <a:pt x="413" y="453"/>
                    </a:lnTo>
                    <a:lnTo>
                      <a:pt x="412" y="453"/>
                    </a:lnTo>
                    <a:lnTo>
                      <a:pt x="412" y="452"/>
                    </a:lnTo>
                    <a:lnTo>
                      <a:pt x="411" y="451"/>
                    </a:lnTo>
                    <a:lnTo>
                      <a:pt x="411" y="450"/>
                    </a:lnTo>
                    <a:lnTo>
                      <a:pt x="410" y="450"/>
                    </a:lnTo>
                    <a:lnTo>
                      <a:pt x="409" y="449"/>
                    </a:lnTo>
                    <a:lnTo>
                      <a:pt x="410" y="449"/>
                    </a:lnTo>
                    <a:lnTo>
                      <a:pt x="410" y="448"/>
                    </a:lnTo>
                    <a:lnTo>
                      <a:pt x="409" y="447"/>
                    </a:lnTo>
                    <a:lnTo>
                      <a:pt x="408" y="447"/>
                    </a:lnTo>
                    <a:lnTo>
                      <a:pt x="406" y="446"/>
                    </a:lnTo>
                    <a:lnTo>
                      <a:pt x="406" y="447"/>
                    </a:lnTo>
                    <a:lnTo>
                      <a:pt x="405" y="447"/>
                    </a:lnTo>
                    <a:lnTo>
                      <a:pt x="404" y="447"/>
                    </a:lnTo>
                    <a:lnTo>
                      <a:pt x="404" y="446"/>
                    </a:lnTo>
                    <a:lnTo>
                      <a:pt x="405" y="446"/>
                    </a:lnTo>
                    <a:lnTo>
                      <a:pt x="406" y="446"/>
                    </a:lnTo>
                    <a:lnTo>
                      <a:pt x="408" y="446"/>
                    </a:lnTo>
                    <a:lnTo>
                      <a:pt x="410" y="444"/>
                    </a:lnTo>
                    <a:lnTo>
                      <a:pt x="411" y="443"/>
                    </a:lnTo>
                    <a:lnTo>
                      <a:pt x="412" y="442"/>
                    </a:lnTo>
                    <a:lnTo>
                      <a:pt x="413" y="441"/>
                    </a:lnTo>
                    <a:lnTo>
                      <a:pt x="413" y="440"/>
                    </a:lnTo>
                    <a:lnTo>
                      <a:pt x="413" y="439"/>
                    </a:lnTo>
                    <a:lnTo>
                      <a:pt x="413" y="438"/>
                    </a:lnTo>
                    <a:lnTo>
                      <a:pt x="413" y="437"/>
                    </a:lnTo>
                    <a:lnTo>
                      <a:pt x="413" y="436"/>
                    </a:lnTo>
                    <a:lnTo>
                      <a:pt x="413" y="435"/>
                    </a:lnTo>
                    <a:lnTo>
                      <a:pt x="413" y="434"/>
                    </a:lnTo>
                    <a:lnTo>
                      <a:pt x="413" y="433"/>
                    </a:lnTo>
                    <a:lnTo>
                      <a:pt x="413" y="431"/>
                    </a:lnTo>
                    <a:lnTo>
                      <a:pt x="412" y="430"/>
                    </a:lnTo>
                    <a:lnTo>
                      <a:pt x="412" y="429"/>
                    </a:lnTo>
                    <a:lnTo>
                      <a:pt x="410" y="428"/>
                    </a:lnTo>
                    <a:lnTo>
                      <a:pt x="409" y="427"/>
                    </a:lnTo>
                    <a:lnTo>
                      <a:pt x="409" y="426"/>
                    </a:lnTo>
                    <a:lnTo>
                      <a:pt x="409" y="425"/>
                    </a:lnTo>
                    <a:lnTo>
                      <a:pt x="408" y="424"/>
                    </a:lnTo>
                    <a:lnTo>
                      <a:pt x="406" y="424"/>
                    </a:lnTo>
                    <a:lnTo>
                      <a:pt x="405" y="423"/>
                    </a:lnTo>
                    <a:lnTo>
                      <a:pt x="404" y="423"/>
                    </a:lnTo>
                    <a:lnTo>
                      <a:pt x="404" y="422"/>
                    </a:lnTo>
                    <a:lnTo>
                      <a:pt x="405" y="421"/>
                    </a:lnTo>
                    <a:lnTo>
                      <a:pt x="406" y="422"/>
                    </a:lnTo>
                    <a:lnTo>
                      <a:pt x="408" y="421"/>
                    </a:lnTo>
                    <a:lnTo>
                      <a:pt x="408" y="419"/>
                    </a:lnTo>
                    <a:lnTo>
                      <a:pt x="406" y="419"/>
                    </a:lnTo>
                    <a:lnTo>
                      <a:pt x="406" y="418"/>
                    </a:lnTo>
                    <a:lnTo>
                      <a:pt x="406" y="416"/>
                    </a:lnTo>
                    <a:lnTo>
                      <a:pt x="405" y="416"/>
                    </a:lnTo>
                    <a:lnTo>
                      <a:pt x="405" y="415"/>
                    </a:lnTo>
                    <a:lnTo>
                      <a:pt x="404" y="415"/>
                    </a:lnTo>
                    <a:lnTo>
                      <a:pt x="404" y="414"/>
                    </a:lnTo>
                    <a:lnTo>
                      <a:pt x="404" y="413"/>
                    </a:lnTo>
                    <a:lnTo>
                      <a:pt x="403" y="413"/>
                    </a:lnTo>
                    <a:lnTo>
                      <a:pt x="403" y="412"/>
                    </a:lnTo>
                    <a:lnTo>
                      <a:pt x="402" y="412"/>
                    </a:lnTo>
                    <a:lnTo>
                      <a:pt x="402" y="411"/>
                    </a:lnTo>
                    <a:lnTo>
                      <a:pt x="401" y="410"/>
                    </a:lnTo>
                    <a:lnTo>
                      <a:pt x="400" y="410"/>
                    </a:lnTo>
                    <a:lnTo>
                      <a:pt x="399" y="410"/>
                    </a:lnTo>
                    <a:lnTo>
                      <a:pt x="398" y="410"/>
                    </a:lnTo>
                    <a:lnTo>
                      <a:pt x="398" y="411"/>
                    </a:lnTo>
                    <a:lnTo>
                      <a:pt x="398" y="412"/>
                    </a:lnTo>
                    <a:lnTo>
                      <a:pt x="398" y="413"/>
                    </a:lnTo>
                    <a:lnTo>
                      <a:pt x="398" y="414"/>
                    </a:lnTo>
                    <a:lnTo>
                      <a:pt x="398" y="415"/>
                    </a:lnTo>
                    <a:lnTo>
                      <a:pt x="399" y="415"/>
                    </a:lnTo>
                    <a:lnTo>
                      <a:pt x="399" y="416"/>
                    </a:lnTo>
                    <a:lnTo>
                      <a:pt x="399" y="417"/>
                    </a:lnTo>
                    <a:lnTo>
                      <a:pt x="399" y="418"/>
                    </a:lnTo>
                    <a:lnTo>
                      <a:pt x="400" y="419"/>
                    </a:lnTo>
                    <a:lnTo>
                      <a:pt x="400" y="421"/>
                    </a:lnTo>
                    <a:lnTo>
                      <a:pt x="401" y="421"/>
                    </a:lnTo>
                    <a:lnTo>
                      <a:pt x="401" y="422"/>
                    </a:lnTo>
                    <a:lnTo>
                      <a:pt x="402" y="423"/>
                    </a:lnTo>
                    <a:lnTo>
                      <a:pt x="402" y="424"/>
                    </a:lnTo>
                    <a:lnTo>
                      <a:pt x="401" y="424"/>
                    </a:lnTo>
                    <a:lnTo>
                      <a:pt x="401" y="425"/>
                    </a:lnTo>
                    <a:lnTo>
                      <a:pt x="401" y="426"/>
                    </a:lnTo>
                    <a:lnTo>
                      <a:pt x="401" y="427"/>
                    </a:lnTo>
                    <a:lnTo>
                      <a:pt x="401" y="428"/>
                    </a:lnTo>
                    <a:lnTo>
                      <a:pt x="401" y="429"/>
                    </a:lnTo>
                    <a:lnTo>
                      <a:pt x="402" y="430"/>
                    </a:lnTo>
                    <a:lnTo>
                      <a:pt x="403" y="430"/>
                    </a:lnTo>
                    <a:lnTo>
                      <a:pt x="403" y="431"/>
                    </a:lnTo>
                    <a:lnTo>
                      <a:pt x="403" y="433"/>
                    </a:lnTo>
                    <a:lnTo>
                      <a:pt x="403" y="434"/>
                    </a:lnTo>
                    <a:lnTo>
                      <a:pt x="403" y="433"/>
                    </a:lnTo>
                    <a:lnTo>
                      <a:pt x="402" y="433"/>
                    </a:lnTo>
                    <a:lnTo>
                      <a:pt x="403" y="433"/>
                    </a:lnTo>
                    <a:lnTo>
                      <a:pt x="403" y="434"/>
                    </a:lnTo>
                    <a:lnTo>
                      <a:pt x="402" y="434"/>
                    </a:lnTo>
                    <a:lnTo>
                      <a:pt x="403" y="434"/>
                    </a:lnTo>
                    <a:lnTo>
                      <a:pt x="403" y="435"/>
                    </a:lnTo>
                    <a:lnTo>
                      <a:pt x="404" y="435"/>
                    </a:lnTo>
                    <a:lnTo>
                      <a:pt x="404" y="436"/>
                    </a:lnTo>
                    <a:lnTo>
                      <a:pt x="405" y="436"/>
                    </a:lnTo>
                    <a:lnTo>
                      <a:pt x="405" y="437"/>
                    </a:lnTo>
                    <a:lnTo>
                      <a:pt x="405" y="438"/>
                    </a:lnTo>
                    <a:lnTo>
                      <a:pt x="406" y="438"/>
                    </a:lnTo>
                    <a:lnTo>
                      <a:pt x="406" y="439"/>
                    </a:lnTo>
                    <a:lnTo>
                      <a:pt x="408" y="438"/>
                    </a:lnTo>
                    <a:lnTo>
                      <a:pt x="408" y="439"/>
                    </a:lnTo>
                    <a:lnTo>
                      <a:pt x="409" y="439"/>
                    </a:lnTo>
                    <a:lnTo>
                      <a:pt x="408" y="439"/>
                    </a:lnTo>
                    <a:lnTo>
                      <a:pt x="406" y="439"/>
                    </a:lnTo>
                    <a:lnTo>
                      <a:pt x="405" y="439"/>
                    </a:lnTo>
                    <a:lnTo>
                      <a:pt x="404" y="438"/>
                    </a:lnTo>
                    <a:lnTo>
                      <a:pt x="403" y="438"/>
                    </a:lnTo>
                    <a:lnTo>
                      <a:pt x="402" y="436"/>
                    </a:lnTo>
                    <a:lnTo>
                      <a:pt x="402" y="435"/>
                    </a:lnTo>
                    <a:lnTo>
                      <a:pt x="401" y="435"/>
                    </a:lnTo>
                    <a:lnTo>
                      <a:pt x="400" y="435"/>
                    </a:lnTo>
                    <a:lnTo>
                      <a:pt x="400" y="434"/>
                    </a:lnTo>
                    <a:lnTo>
                      <a:pt x="399" y="433"/>
                    </a:lnTo>
                    <a:lnTo>
                      <a:pt x="398" y="433"/>
                    </a:lnTo>
                    <a:lnTo>
                      <a:pt x="398" y="431"/>
                    </a:lnTo>
                    <a:lnTo>
                      <a:pt x="397" y="431"/>
                    </a:lnTo>
                    <a:lnTo>
                      <a:pt x="396" y="431"/>
                    </a:lnTo>
                    <a:lnTo>
                      <a:pt x="395" y="431"/>
                    </a:lnTo>
                    <a:lnTo>
                      <a:pt x="395" y="433"/>
                    </a:lnTo>
                    <a:lnTo>
                      <a:pt x="395" y="434"/>
                    </a:lnTo>
                    <a:lnTo>
                      <a:pt x="395" y="435"/>
                    </a:lnTo>
                    <a:lnTo>
                      <a:pt x="393" y="436"/>
                    </a:lnTo>
                    <a:lnTo>
                      <a:pt x="393" y="437"/>
                    </a:lnTo>
                    <a:lnTo>
                      <a:pt x="392" y="437"/>
                    </a:lnTo>
                    <a:lnTo>
                      <a:pt x="392" y="438"/>
                    </a:lnTo>
                    <a:lnTo>
                      <a:pt x="393" y="438"/>
                    </a:lnTo>
                    <a:lnTo>
                      <a:pt x="393" y="440"/>
                    </a:lnTo>
                    <a:lnTo>
                      <a:pt x="391" y="440"/>
                    </a:lnTo>
                    <a:lnTo>
                      <a:pt x="389" y="440"/>
                    </a:lnTo>
                    <a:lnTo>
                      <a:pt x="388" y="440"/>
                    </a:lnTo>
                    <a:lnTo>
                      <a:pt x="388" y="439"/>
                    </a:lnTo>
                    <a:lnTo>
                      <a:pt x="389" y="438"/>
                    </a:lnTo>
                    <a:lnTo>
                      <a:pt x="390" y="438"/>
                    </a:lnTo>
                    <a:lnTo>
                      <a:pt x="390" y="437"/>
                    </a:lnTo>
                    <a:lnTo>
                      <a:pt x="390" y="436"/>
                    </a:lnTo>
                    <a:lnTo>
                      <a:pt x="390" y="435"/>
                    </a:lnTo>
                    <a:lnTo>
                      <a:pt x="390" y="434"/>
                    </a:lnTo>
                    <a:lnTo>
                      <a:pt x="389" y="434"/>
                    </a:lnTo>
                    <a:lnTo>
                      <a:pt x="390" y="433"/>
                    </a:lnTo>
                    <a:lnTo>
                      <a:pt x="389" y="433"/>
                    </a:lnTo>
                    <a:lnTo>
                      <a:pt x="388" y="434"/>
                    </a:lnTo>
                    <a:lnTo>
                      <a:pt x="388" y="435"/>
                    </a:lnTo>
                    <a:lnTo>
                      <a:pt x="387" y="436"/>
                    </a:lnTo>
                    <a:lnTo>
                      <a:pt x="387" y="437"/>
                    </a:lnTo>
                    <a:lnTo>
                      <a:pt x="387" y="439"/>
                    </a:lnTo>
                    <a:lnTo>
                      <a:pt x="387" y="440"/>
                    </a:lnTo>
                    <a:lnTo>
                      <a:pt x="387" y="441"/>
                    </a:lnTo>
                    <a:lnTo>
                      <a:pt x="387" y="442"/>
                    </a:lnTo>
                    <a:lnTo>
                      <a:pt x="386" y="442"/>
                    </a:lnTo>
                    <a:lnTo>
                      <a:pt x="385" y="443"/>
                    </a:lnTo>
                    <a:lnTo>
                      <a:pt x="385" y="444"/>
                    </a:lnTo>
                    <a:lnTo>
                      <a:pt x="385" y="446"/>
                    </a:lnTo>
                    <a:lnTo>
                      <a:pt x="385" y="447"/>
                    </a:lnTo>
                    <a:lnTo>
                      <a:pt x="385" y="448"/>
                    </a:lnTo>
                    <a:lnTo>
                      <a:pt x="384" y="449"/>
                    </a:lnTo>
                    <a:lnTo>
                      <a:pt x="384" y="450"/>
                    </a:lnTo>
                    <a:lnTo>
                      <a:pt x="384" y="451"/>
                    </a:lnTo>
                    <a:lnTo>
                      <a:pt x="385" y="452"/>
                    </a:lnTo>
                    <a:lnTo>
                      <a:pt x="384" y="453"/>
                    </a:lnTo>
                    <a:lnTo>
                      <a:pt x="385" y="453"/>
                    </a:lnTo>
                    <a:lnTo>
                      <a:pt x="385" y="454"/>
                    </a:lnTo>
                    <a:lnTo>
                      <a:pt x="385" y="455"/>
                    </a:lnTo>
                    <a:lnTo>
                      <a:pt x="385" y="456"/>
                    </a:lnTo>
                    <a:lnTo>
                      <a:pt x="386" y="457"/>
                    </a:lnTo>
                    <a:lnTo>
                      <a:pt x="387" y="456"/>
                    </a:lnTo>
                    <a:lnTo>
                      <a:pt x="388" y="456"/>
                    </a:lnTo>
                    <a:lnTo>
                      <a:pt x="388" y="457"/>
                    </a:lnTo>
                    <a:lnTo>
                      <a:pt x="387" y="457"/>
                    </a:lnTo>
                    <a:lnTo>
                      <a:pt x="387" y="459"/>
                    </a:lnTo>
                    <a:lnTo>
                      <a:pt x="387" y="460"/>
                    </a:lnTo>
                    <a:lnTo>
                      <a:pt x="387" y="461"/>
                    </a:lnTo>
                    <a:lnTo>
                      <a:pt x="387" y="462"/>
                    </a:lnTo>
                    <a:lnTo>
                      <a:pt x="388" y="463"/>
                    </a:lnTo>
                    <a:lnTo>
                      <a:pt x="388" y="464"/>
                    </a:lnTo>
                    <a:lnTo>
                      <a:pt x="387" y="464"/>
                    </a:lnTo>
                    <a:lnTo>
                      <a:pt x="386" y="464"/>
                    </a:lnTo>
                    <a:lnTo>
                      <a:pt x="385" y="466"/>
                    </a:lnTo>
                    <a:lnTo>
                      <a:pt x="384" y="466"/>
                    </a:lnTo>
                    <a:lnTo>
                      <a:pt x="384" y="467"/>
                    </a:lnTo>
                    <a:lnTo>
                      <a:pt x="384" y="468"/>
                    </a:lnTo>
                    <a:lnTo>
                      <a:pt x="384" y="469"/>
                    </a:lnTo>
                    <a:lnTo>
                      <a:pt x="383" y="469"/>
                    </a:lnTo>
                    <a:lnTo>
                      <a:pt x="382" y="469"/>
                    </a:lnTo>
                    <a:lnTo>
                      <a:pt x="383" y="468"/>
                    </a:lnTo>
                    <a:lnTo>
                      <a:pt x="383" y="467"/>
                    </a:lnTo>
                    <a:lnTo>
                      <a:pt x="383" y="466"/>
                    </a:lnTo>
                    <a:lnTo>
                      <a:pt x="383" y="465"/>
                    </a:lnTo>
                    <a:lnTo>
                      <a:pt x="383" y="464"/>
                    </a:lnTo>
                    <a:lnTo>
                      <a:pt x="383" y="462"/>
                    </a:lnTo>
                    <a:lnTo>
                      <a:pt x="382" y="461"/>
                    </a:lnTo>
                    <a:lnTo>
                      <a:pt x="382" y="460"/>
                    </a:lnTo>
                    <a:lnTo>
                      <a:pt x="380" y="460"/>
                    </a:lnTo>
                    <a:lnTo>
                      <a:pt x="380" y="462"/>
                    </a:lnTo>
                    <a:lnTo>
                      <a:pt x="380" y="463"/>
                    </a:lnTo>
                    <a:lnTo>
                      <a:pt x="380" y="464"/>
                    </a:lnTo>
                    <a:lnTo>
                      <a:pt x="379" y="464"/>
                    </a:lnTo>
                    <a:lnTo>
                      <a:pt x="378" y="464"/>
                    </a:lnTo>
                    <a:lnTo>
                      <a:pt x="379" y="463"/>
                    </a:lnTo>
                    <a:lnTo>
                      <a:pt x="379" y="462"/>
                    </a:lnTo>
                    <a:lnTo>
                      <a:pt x="377" y="461"/>
                    </a:lnTo>
                    <a:lnTo>
                      <a:pt x="376" y="462"/>
                    </a:lnTo>
                    <a:lnTo>
                      <a:pt x="376" y="464"/>
                    </a:lnTo>
                    <a:lnTo>
                      <a:pt x="375" y="464"/>
                    </a:lnTo>
                    <a:lnTo>
                      <a:pt x="374" y="463"/>
                    </a:lnTo>
                    <a:lnTo>
                      <a:pt x="373" y="464"/>
                    </a:lnTo>
                    <a:lnTo>
                      <a:pt x="373" y="463"/>
                    </a:lnTo>
                    <a:lnTo>
                      <a:pt x="373" y="462"/>
                    </a:lnTo>
                    <a:lnTo>
                      <a:pt x="374" y="462"/>
                    </a:lnTo>
                    <a:lnTo>
                      <a:pt x="374" y="461"/>
                    </a:lnTo>
                    <a:lnTo>
                      <a:pt x="375" y="461"/>
                    </a:lnTo>
                    <a:lnTo>
                      <a:pt x="376" y="459"/>
                    </a:lnTo>
                    <a:lnTo>
                      <a:pt x="376" y="457"/>
                    </a:lnTo>
                    <a:lnTo>
                      <a:pt x="376" y="456"/>
                    </a:lnTo>
                    <a:lnTo>
                      <a:pt x="377" y="455"/>
                    </a:lnTo>
                    <a:lnTo>
                      <a:pt x="377" y="454"/>
                    </a:lnTo>
                    <a:lnTo>
                      <a:pt x="378" y="454"/>
                    </a:lnTo>
                    <a:lnTo>
                      <a:pt x="379" y="453"/>
                    </a:lnTo>
                    <a:lnTo>
                      <a:pt x="380" y="452"/>
                    </a:lnTo>
                    <a:lnTo>
                      <a:pt x="382" y="452"/>
                    </a:lnTo>
                    <a:lnTo>
                      <a:pt x="382" y="451"/>
                    </a:lnTo>
                    <a:lnTo>
                      <a:pt x="380" y="450"/>
                    </a:lnTo>
                    <a:lnTo>
                      <a:pt x="380" y="449"/>
                    </a:lnTo>
                    <a:lnTo>
                      <a:pt x="382" y="449"/>
                    </a:lnTo>
                    <a:lnTo>
                      <a:pt x="382" y="448"/>
                    </a:lnTo>
                    <a:lnTo>
                      <a:pt x="382" y="447"/>
                    </a:lnTo>
                    <a:lnTo>
                      <a:pt x="382" y="446"/>
                    </a:lnTo>
                    <a:lnTo>
                      <a:pt x="382" y="444"/>
                    </a:lnTo>
                    <a:lnTo>
                      <a:pt x="382" y="443"/>
                    </a:lnTo>
                    <a:lnTo>
                      <a:pt x="382" y="441"/>
                    </a:lnTo>
                    <a:lnTo>
                      <a:pt x="383" y="440"/>
                    </a:lnTo>
                    <a:lnTo>
                      <a:pt x="384" y="439"/>
                    </a:lnTo>
                    <a:lnTo>
                      <a:pt x="385" y="438"/>
                    </a:lnTo>
                    <a:lnTo>
                      <a:pt x="385" y="437"/>
                    </a:lnTo>
                    <a:lnTo>
                      <a:pt x="385" y="436"/>
                    </a:lnTo>
                    <a:lnTo>
                      <a:pt x="385" y="435"/>
                    </a:lnTo>
                    <a:lnTo>
                      <a:pt x="385" y="431"/>
                    </a:lnTo>
                    <a:lnTo>
                      <a:pt x="384" y="431"/>
                    </a:lnTo>
                    <a:lnTo>
                      <a:pt x="384" y="430"/>
                    </a:lnTo>
                    <a:lnTo>
                      <a:pt x="384" y="429"/>
                    </a:lnTo>
                    <a:lnTo>
                      <a:pt x="383" y="428"/>
                    </a:lnTo>
                    <a:lnTo>
                      <a:pt x="383" y="427"/>
                    </a:lnTo>
                    <a:lnTo>
                      <a:pt x="382" y="427"/>
                    </a:lnTo>
                    <a:lnTo>
                      <a:pt x="382" y="426"/>
                    </a:lnTo>
                    <a:lnTo>
                      <a:pt x="382" y="425"/>
                    </a:lnTo>
                    <a:lnTo>
                      <a:pt x="380" y="424"/>
                    </a:lnTo>
                    <a:lnTo>
                      <a:pt x="380" y="423"/>
                    </a:lnTo>
                    <a:lnTo>
                      <a:pt x="379" y="422"/>
                    </a:lnTo>
                    <a:lnTo>
                      <a:pt x="379" y="421"/>
                    </a:lnTo>
                    <a:lnTo>
                      <a:pt x="379" y="419"/>
                    </a:lnTo>
                    <a:lnTo>
                      <a:pt x="380" y="417"/>
                    </a:lnTo>
                    <a:lnTo>
                      <a:pt x="382" y="416"/>
                    </a:lnTo>
                    <a:lnTo>
                      <a:pt x="382" y="415"/>
                    </a:lnTo>
                    <a:lnTo>
                      <a:pt x="382" y="414"/>
                    </a:lnTo>
                    <a:lnTo>
                      <a:pt x="383" y="414"/>
                    </a:lnTo>
                    <a:lnTo>
                      <a:pt x="383" y="412"/>
                    </a:lnTo>
                    <a:lnTo>
                      <a:pt x="382" y="411"/>
                    </a:lnTo>
                    <a:lnTo>
                      <a:pt x="382" y="410"/>
                    </a:lnTo>
                    <a:lnTo>
                      <a:pt x="382" y="408"/>
                    </a:lnTo>
                    <a:lnTo>
                      <a:pt x="383" y="406"/>
                    </a:lnTo>
                    <a:lnTo>
                      <a:pt x="383" y="405"/>
                    </a:lnTo>
                    <a:lnTo>
                      <a:pt x="384" y="405"/>
                    </a:lnTo>
                    <a:lnTo>
                      <a:pt x="384" y="404"/>
                    </a:lnTo>
                    <a:lnTo>
                      <a:pt x="384" y="403"/>
                    </a:lnTo>
                    <a:lnTo>
                      <a:pt x="384" y="402"/>
                    </a:lnTo>
                    <a:lnTo>
                      <a:pt x="383" y="399"/>
                    </a:lnTo>
                    <a:lnTo>
                      <a:pt x="382" y="398"/>
                    </a:lnTo>
                    <a:lnTo>
                      <a:pt x="382" y="397"/>
                    </a:lnTo>
                    <a:lnTo>
                      <a:pt x="382" y="396"/>
                    </a:lnTo>
                    <a:lnTo>
                      <a:pt x="380" y="393"/>
                    </a:lnTo>
                    <a:lnTo>
                      <a:pt x="380" y="392"/>
                    </a:lnTo>
                    <a:lnTo>
                      <a:pt x="380" y="391"/>
                    </a:lnTo>
                    <a:lnTo>
                      <a:pt x="379" y="391"/>
                    </a:lnTo>
                    <a:lnTo>
                      <a:pt x="379" y="390"/>
                    </a:lnTo>
                    <a:lnTo>
                      <a:pt x="377" y="389"/>
                    </a:lnTo>
                    <a:lnTo>
                      <a:pt x="376" y="387"/>
                    </a:lnTo>
                    <a:lnTo>
                      <a:pt x="375" y="386"/>
                    </a:lnTo>
                    <a:lnTo>
                      <a:pt x="374" y="385"/>
                    </a:lnTo>
                    <a:lnTo>
                      <a:pt x="374" y="384"/>
                    </a:lnTo>
                    <a:lnTo>
                      <a:pt x="373" y="383"/>
                    </a:lnTo>
                    <a:lnTo>
                      <a:pt x="372" y="382"/>
                    </a:lnTo>
                    <a:lnTo>
                      <a:pt x="371" y="382"/>
                    </a:lnTo>
                    <a:lnTo>
                      <a:pt x="371" y="380"/>
                    </a:lnTo>
                    <a:lnTo>
                      <a:pt x="370" y="379"/>
                    </a:lnTo>
                    <a:lnTo>
                      <a:pt x="369" y="379"/>
                    </a:lnTo>
                    <a:lnTo>
                      <a:pt x="366" y="379"/>
                    </a:lnTo>
                    <a:lnTo>
                      <a:pt x="366" y="378"/>
                    </a:lnTo>
                    <a:lnTo>
                      <a:pt x="364" y="377"/>
                    </a:lnTo>
                    <a:lnTo>
                      <a:pt x="363" y="377"/>
                    </a:lnTo>
                    <a:lnTo>
                      <a:pt x="362" y="376"/>
                    </a:lnTo>
                    <a:lnTo>
                      <a:pt x="361" y="376"/>
                    </a:lnTo>
                    <a:lnTo>
                      <a:pt x="360" y="375"/>
                    </a:lnTo>
                    <a:lnTo>
                      <a:pt x="359" y="375"/>
                    </a:lnTo>
                    <a:lnTo>
                      <a:pt x="359" y="374"/>
                    </a:lnTo>
                    <a:lnTo>
                      <a:pt x="358" y="372"/>
                    </a:lnTo>
                    <a:lnTo>
                      <a:pt x="357" y="371"/>
                    </a:lnTo>
                    <a:lnTo>
                      <a:pt x="356" y="370"/>
                    </a:lnTo>
                    <a:lnTo>
                      <a:pt x="354" y="369"/>
                    </a:lnTo>
                    <a:lnTo>
                      <a:pt x="354" y="367"/>
                    </a:lnTo>
                    <a:lnTo>
                      <a:pt x="353" y="367"/>
                    </a:lnTo>
                    <a:lnTo>
                      <a:pt x="352" y="366"/>
                    </a:lnTo>
                    <a:lnTo>
                      <a:pt x="351" y="365"/>
                    </a:lnTo>
                    <a:lnTo>
                      <a:pt x="351" y="364"/>
                    </a:lnTo>
                    <a:lnTo>
                      <a:pt x="350" y="364"/>
                    </a:lnTo>
                    <a:lnTo>
                      <a:pt x="349" y="363"/>
                    </a:lnTo>
                    <a:lnTo>
                      <a:pt x="348" y="361"/>
                    </a:lnTo>
                    <a:lnTo>
                      <a:pt x="347" y="360"/>
                    </a:lnTo>
                    <a:lnTo>
                      <a:pt x="346" y="359"/>
                    </a:lnTo>
                    <a:lnTo>
                      <a:pt x="345" y="358"/>
                    </a:lnTo>
                    <a:lnTo>
                      <a:pt x="344" y="358"/>
                    </a:lnTo>
                    <a:lnTo>
                      <a:pt x="343" y="357"/>
                    </a:lnTo>
                    <a:lnTo>
                      <a:pt x="341" y="356"/>
                    </a:lnTo>
                    <a:lnTo>
                      <a:pt x="341" y="354"/>
                    </a:lnTo>
                    <a:lnTo>
                      <a:pt x="341" y="353"/>
                    </a:lnTo>
                    <a:lnTo>
                      <a:pt x="340" y="353"/>
                    </a:lnTo>
                    <a:lnTo>
                      <a:pt x="340" y="352"/>
                    </a:lnTo>
                    <a:lnTo>
                      <a:pt x="340" y="351"/>
                    </a:lnTo>
                    <a:lnTo>
                      <a:pt x="339" y="351"/>
                    </a:lnTo>
                    <a:lnTo>
                      <a:pt x="339" y="350"/>
                    </a:lnTo>
                    <a:lnTo>
                      <a:pt x="337" y="348"/>
                    </a:lnTo>
                    <a:lnTo>
                      <a:pt x="336" y="348"/>
                    </a:lnTo>
                    <a:lnTo>
                      <a:pt x="335" y="347"/>
                    </a:lnTo>
                    <a:lnTo>
                      <a:pt x="335" y="346"/>
                    </a:lnTo>
                    <a:lnTo>
                      <a:pt x="335" y="344"/>
                    </a:lnTo>
                    <a:lnTo>
                      <a:pt x="335" y="342"/>
                    </a:lnTo>
                    <a:lnTo>
                      <a:pt x="334" y="341"/>
                    </a:lnTo>
                    <a:lnTo>
                      <a:pt x="334" y="340"/>
                    </a:lnTo>
                    <a:lnTo>
                      <a:pt x="333" y="338"/>
                    </a:lnTo>
                    <a:lnTo>
                      <a:pt x="333" y="337"/>
                    </a:lnTo>
                    <a:lnTo>
                      <a:pt x="332" y="337"/>
                    </a:lnTo>
                    <a:lnTo>
                      <a:pt x="332" y="336"/>
                    </a:lnTo>
                    <a:lnTo>
                      <a:pt x="332" y="335"/>
                    </a:lnTo>
                    <a:lnTo>
                      <a:pt x="331" y="334"/>
                    </a:lnTo>
                    <a:lnTo>
                      <a:pt x="331" y="333"/>
                    </a:lnTo>
                    <a:lnTo>
                      <a:pt x="330" y="332"/>
                    </a:lnTo>
                    <a:lnTo>
                      <a:pt x="330" y="331"/>
                    </a:lnTo>
                    <a:lnTo>
                      <a:pt x="328" y="331"/>
                    </a:lnTo>
                    <a:lnTo>
                      <a:pt x="325" y="328"/>
                    </a:lnTo>
                    <a:lnTo>
                      <a:pt x="324" y="328"/>
                    </a:lnTo>
                    <a:lnTo>
                      <a:pt x="323" y="327"/>
                    </a:lnTo>
                    <a:lnTo>
                      <a:pt x="322" y="326"/>
                    </a:lnTo>
                    <a:lnTo>
                      <a:pt x="322" y="325"/>
                    </a:lnTo>
                    <a:lnTo>
                      <a:pt x="321" y="325"/>
                    </a:lnTo>
                    <a:lnTo>
                      <a:pt x="319" y="325"/>
                    </a:lnTo>
                    <a:lnTo>
                      <a:pt x="318" y="323"/>
                    </a:lnTo>
                    <a:lnTo>
                      <a:pt x="315" y="321"/>
                    </a:lnTo>
                    <a:lnTo>
                      <a:pt x="314" y="321"/>
                    </a:lnTo>
                    <a:lnTo>
                      <a:pt x="313" y="320"/>
                    </a:lnTo>
                    <a:lnTo>
                      <a:pt x="313" y="319"/>
                    </a:lnTo>
                    <a:lnTo>
                      <a:pt x="313" y="318"/>
                    </a:lnTo>
                    <a:lnTo>
                      <a:pt x="312" y="318"/>
                    </a:lnTo>
                    <a:lnTo>
                      <a:pt x="312" y="316"/>
                    </a:lnTo>
                    <a:lnTo>
                      <a:pt x="311" y="315"/>
                    </a:lnTo>
                    <a:lnTo>
                      <a:pt x="311" y="314"/>
                    </a:lnTo>
                    <a:lnTo>
                      <a:pt x="310" y="314"/>
                    </a:lnTo>
                    <a:lnTo>
                      <a:pt x="308" y="314"/>
                    </a:lnTo>
                    <a:lnTo>
                      <a:pt x="307" y="314"/>
                    </a:lnTo>
                    <a:lnTo>
                      <a:pt x="306" y="314"/>
                    </a:lnTo>
                    <a:lnTo>
                      <a:pt x="306" y="313"/>
                    </a:lnTo>
                    <a:lnTo>
                      <a:pt x="306" y="312"/>
                    </a:lnTo>
                    <a:lnTo>
                      <a:pt x="305" y="310"/>
                    </a:lnTo>
                    <a:lnTo>
                      <a:pt x="304" y="310"/>
                    </a:lnTo>
                    <a:lnTo>
                      <a:pt x="304" y="309"/>
                    </a:lnTo>
                    <a:lnTo>
                      <a:pt x="302" y="308"/>
                    </a:lnTo>
                    <a:lnTo>
                      <a:pt x="300" y="307"/>
                    </a:lnTo>
                    <a:lnTo>
                      <a:pt x="299" y="306"/>
                    </a:lnTo>
                    <a:lnTo>
                      <a:pt x="297" y="303"/>
                    </a:lnTo>
                    <a:lnTo>
                      <a:pt x="297" y="302"/>
                    </a:lnTo>
                    <a:lnTo>
                      <a:pt x="296" y="302"/>
                    </a:lnTo>
                    <a:lnTo>
                      <a:pt x="296" y="301"/>
                    </a:lnTo>
                    <a:lnTo>
                      <a:pt x="294" y="299"/>
                    </a:lnTo>
                    <a:lnTo>
                      <a:pt x="294" y="298"/>
                    </a:lnTo>
                    <a:lnTo>
                      <a:pt x="293" y="298"/>
                    </a:lnTo>
                    <a:lnTo>
                      <a:pt x="292" y="298"/>
                    </a:lnTo>
                    <a:lnTo>
                      <a:pt x="289" y="297"/>
                    </a:lnTo>
                    <a:lnTo>
                      <a:pt x="287" y="294"/>
                    </a:lnTo>
                    <a:lnTo>
                      <a:pt x="286" y="294"/>
                    </a:lnTo>
                    <a:lnTo>
                      <a:pt x="286" y="293"/>
                    </a:lnTo>
                    <a:lnTo>
                      <a:pt x="287" y="290"/>
                    </a:lnTo>
                    <a:lnTo>
                      <a:pt x="287" y="289"/>
                    </a:lnTo>
                    <a:lnTo>
                      <a:pt x="287" y="288"/>
                    </a:lnTo>
                    <a:lnTo>
                      <a:pt x="287" y="287"/>
                    </a:lnTo>
                    <a:lnTo>
                      <a:pt x="285" y="286"/>
                    </a:lnTo>
                    <a:lnTo>
                      <a:pt x="284" y="285"/>
                    </a:lnTo>
                    <a:lnTo>
                      <a:pt x="284" y="284"/>
                    </a:lnTo>
                    <a:lnTo>
                      <a:pt x="283" y="282"/>
                    </a:lnTo>
                    <a:lnTo>
                      <a:pt x="283" y="281"/>
                    </a:lnTo>
                    <a:lnTo>
                      <a:pt x="282" y="280"/>
                    </a:lnTo>
                    <a:lnTo>
                      <a:pt x="282" y="279"/>
                    </a:lnTo>
                    <a:lnTo>
                      <a:pt x="281" y="279"/>
                    </a:lnTo>
                    <a:lnTo>
                      <a:pt x="280" y="277"/>
                    </a:lnTo>
                    <a:lnTo>
                      <a:pt x="279" y="276"/>
                    </a:lnTo>
                    <a:lnTo>
                      <a:pt x="277" y="274"/>
                    </a:lnTo>
                    <a:lnTo>
                      <a:pt x="275" y="273"/>
                    </a:lnTo>
                    <a:lnTo>
                      <a:pt x="274" y="273"/>
                    </a:lnTo>
                    <a:lnTo>
                      <a:pt x="273" y="273"/>
                    </a:lnTo>
                    <a:lnTo>
                      <a:pt x="270" y="273"/>
                    </a:lnTo>
                    <a:lnTo>
                      <a:pt x="268" y="273"/>
                    </a:lnTo>
                    <a:lnTo>
                      <a:pt x="268" y="272"/>
                    </a:lnTo>
                    <a:lnTo>
                      <a:pt x="267" y="268"/>
                    </a:lnTo>
                    <a:lnTo>
                      <a:pt x="264" y="258"/>
                    </a:lnTo>
                    <a:lnTo>
                      <a:pt x="264" y="257"/>
                    </a:lnTo>
                    <a:lnTo>
                      <a:pt x="262" y="256"/>
                    </a:lnTo>
                    <a:lnTo>
                      <a:pt x="261" y="255"/>
                    </a:lnTo>
                    <a:lnTo>
                      <a:pt x="260" y="254"/>
                    </a:lnTo>
                    <a:lnTo>
                      <a:pt x="257" y="251"/>
                    </a:lnTo>
                    <a:lnTo>
                      <a:pt x="256" y="250"/>
                    </a:lnTo>
                    <a:lnTo>
                      <a:pt x="255" y="250"/>
                    </a:lnTo>
                    <a:lnTo>
                      <a:pt x="254" y="250"/>
                    </a:lnTo>
                    <a:lnTo>
                      <a:pt x="253" y="249"/>
                    </a:lnTo>
                    <a:lnTo>
                      <a:pt x="251" y="248"/>
                    </a:lnTo>
                    <a:lnTo>
                      <a:pt x="247" y="247"/>
                    </a:lnTo>
                    <a:lnTo>
                      <a:pt x="247" y="246"/>
                    </a:lnTo>
                    <a:lnTo>
                      <a:pt x="246" y="246"/>
                    </a:lnTo>
                    <a:lnTo>
                      <a:pt x="246" y="245"/>
                    </a:lnTo>
                    <a:lnTo>
                      <a:pt x="245" y="245"/>
                    </a:lnTo>
                    <a:lnTo>
                      <a:pt x="245" y="244"/>
                    </a:lnTo>
                    <a:lnTo>
                      <a:pt x="245" y="243"/>
                    </a:lnTo>
                    <a:lnTo>
                      <a:pt x="244" y="242"/>
                    </a:lnTo>
                    <a:lnTo>
                      <a:pt x="243" y="241"/>
                    </a:lnTo>
                    <a:lnTo>
                      <a:pt x="241" y="238"/>
                    </a:lnTo>
                    <a:lnTo>
                      <a:pt x="240" y="236"/>
                    </a:lnTo>
                    <a:lnTo>
                      <a:pt x="237" y="234"/>
                    </a:lnTo>
                    <a:lnTo>
                      <a:pt x="237" y="230"/>
                    </a:lnTo>
                    <a:lnTo>
                      <a:pt x="236" y="229"/>
                    </a:lnTo>
                    <a:lnTo>
                      <a:pt x="235" y="229"/>
                    </a:lnTo>
                    <a:lnTo>
                      <a:pt x="234" y="228"/>
                    </a:lnTo>
                    <a:lnTo>
                      <a:pt x="233" y="228"/>
                    </a:lnTo>
                    <a:lnTo>
                      <a:pt x="230" y="226"/>
                    </a:lnTo>
                    <a:lnTo>
                      <a:pt x="227" y="226"/>
                    </a:lnTo>
                    <a:lnTo>
                      <a:pt x="225" y="226"/>
                    </a:lnTo>
                    <a:lnTo>
                      <a:pt x="223" y="226"/>
                    </a:lnTo>
                    <a:lnTo>
                      <a:pt x="222" y="226"/>
                    </a:lnTo>
                    <a:lnTo>
                      <a:pt x="221" y="226"/>
                    </a:lnTo>
                    <a:lnTo>
                      <a:pt x="219" y="225"/>
                    </a:lnTo>
                    <a:lnTo>
                      <a:pt x="218" y="225"/>
                    </a:lnTo>
                    <a:lnTo>
                      <a:pt x="217" y="225"/>
                    </a:lnTo>
                    <a:lnTo>
                      <a:pt x="216" y="224"/>
                    </a:lnTo>
                    <a:lnTo>
                      <a:pt x="215" y="223"/>
                    </a:lnTo>
                    <a:lnTo>
                      <a:pt x="214" y="222"/>
                    </a:lnTo>
                    <a:lnTo>
                      <a:pt x="212" y="220"/>
                    </a:lnTo>
                    <a:lnTo>
                      <a:pt x="211" y="219"/>
                    </a:lnTo>
                    <a:lnTo>
                      <a:pt x="209" y="217"/>
                    </a:lnTo>
                    <a:lnTo>
                      <a:pt x="209" y="216"/>
                    </a:lnTo>
                    <a:lnTo>
                      <a:pt x="208" y="215"/>
                    </a:lnTo>
                    <a:lnTo>
                      <a:pt x="208" y="212"/>
                    </a:lnTo>
                    <a:lnTo>
                      <a:pt x="207" y="212"/>
                    </a:lnTo>
                    <a:lnTo>
                      <a:pt x="207" y="211"/>
                    </a:lnTo>
                    <a:lnTo>
                      <a:pt x="205" y="209"/>
                    </a:lnTo>
                    <a:lnTo>
                      <a:pt x="205" y="208"/>
                    </a:lnTo>
                    <a:lnTo>
                      <a:pt x="202" y="204"/>
                    </a:lnTo>
                    <a:lnTo>
                      <a:pt x="202" y="203"/>
                    </a:lnTo>
                    <a:lnTo>
                      <a:pt x="201" y="202"/>
                    </a:lnTo>
                    <a:lnTo>
                      <a:pt x="199" y="199"/>
                    </a:lnTo>
                    <a:lnTo>
                      <a:pt x="197" y="197"/>
                    </a:lnTo>
                    <a:lnTo>
                      <a:pt x="196" y="196"/>
                    </a:lnTo>
                    <a:lnTo>
                      <a:pt x="195" y="196"/>
                    </a:lnTo>
                    <a:lnTo>
                      <a:pt x="193" y="194"/>
                    </a:lnTo>
                    <a:lnTo>
                      <a:pt x="191" y="192"/>
                    </a:lnTo>
                    <a:lnTo>
                      <a:pt x="190" y="190"/>
                    </a:lnTo>
                    <a:lnTo>
                      <a:pt x="186" y="185"/>
                    </a:lnTo>
                    <a:lnTo>
                      <a:pt x="184" y="182"/>
                    </a:lnTo>
                    <a:lnTo>
                      <a:pt x="183" y="182"/>
                    </a:lnTo>
                    <a:lnTo>
                      <a:pt x="181" y="181"/>
                    </a:lnTo>
                    <a:lnTo>
                      <a:pt x="180" y="180"/>
                    </a:lnTo>
                    <a:lnTo>
                      <a:pt x="179" y="180"/>
                    </a:lnTo>
                    <a:lnTo>
                      <a:pt x="178" y="179"/>
                    </a:lnTo>
                    <a:lnTo>
                      <a:pt x="177" y="179"/>
                    </a:lnTo>
                    <a:lnTo>
                      <a:pt x="173" y="177"/>
                    </a:lnTo>
                    <a:lnTo>
                      <a:pt x="172" y="176"/>
                    </a:lnTo>
                    <a:lnTo>
                      <a:pt x="171" y="174"/>
                    </a:lnTo>
                    <a:lnTo>
                      <a:pt x="170" y="174"/>
                    </a:lnTo>
                    <a:lnTo>
                      <a:pt x="169" y="174"/>
                    </a:lnTo>
                    <a:lnTo>
                      <a:pt x="168" y="174"/>
                    </a:lnTo>
                    <a:lnTo>
                      <a:pt x="166" y="174"/>
                    </a:lnTo>
                    <a:lnTo>
                      <a:pt x="165" y="174"/>
                    </a:lnTo>
                    <a:lnTo>
                      <a:pt x="164" y="174"/>
                    </a:lnTo>
                    <a:lnTo>
                      <a:pt x="163" y="174"/>
                    </a:lnTo>
                    <a:lnTo>
                      <a:pt x="162" y="174"/>
                    </a:lnTo>
                    <a:lnTo>
                      <a:pt x="162" y="173"/>
                    </a:lnTo>
                    <a:lnTo>
                      <a:pt x="160" y="173"/>
                    </a:lnTo>
                    <a:lnTo>
                      <a:pt x="159" y="173"/>
                    </a:lnTo>
                    <a:lnTo>
                      <a:pt x="158" y="172"/>
                    </a:lnTo>
                    <a:lnTo>
                      <a:pt x="158" y="171"/>
                    </a:lnTo>
                    <a:lnTo>
                      <a:pt x="156" y="169"/>
                    </a:lnTo>
                    <a:lnTo>
                      <a:pt x="154" y="167"/>
                    </a:lnTo>
                    <a:lnTo>
                      <a:pt x="153" y="166"/>
                    </a:lnTo>
                    <a:lnTo>
                      <a:pt x="152" y="165"/>
                    </a:lnTo>
                    <a:lnTo>
                      <a:pt x="151" y="164"/>
                    </a:lnTo>
                    <a:lnTo>
                      <a:pt x="149" y="162"/>
                    </a:lnTo>
                    <a:lnTo>
                      <a:pt x="147" y="161"/>
                    </a:lnTo>
                    <a:lnTo>
                      <a:pt x="146" y="160"/>
                    </a:lnTo>
                    <a:lnTo>
                      <a:pt x="146" y="159"/>
                    </a:lnTo>
                    <a:lnTo>
                      <a:pt x="145" y="157"/>
                    </a:lnTo>
                    <a:lnTo>
                      <a:pt x="143" y="153"/>
                    </a:lnTo>
                    <a:lnTo>
                      <a:pt x="143" y="151"/>
                    </a:lnTo>
                    <a:lnTo>
                      <a:pt x="143" y="149"/>
                    </a:lnTo>
                    <a:lnTo>
                      <a:pt x="141" y="145"/>
                    </a:lnTo>
                    <a:lnTo>
                      <a:pt x="140" y="143"/>
                    </a:lnTo>
                    <a:lnTo>
                      <a:pt x="140" y="142"/>
                    </a:lnTo>
                    <a:lnTo>
                      <a:pt x="138" y="138"/>
                    </a:lnTo>
                    <a:lnTo>
                      <a:pt x="137" y="135"/>
                    </a:lnTo>
                    <a:lnTo>
                      <a:pt x="135" y="134"/>
                    </a:lnTo>
                    <a:lnTo>
                      <a:pt x="134" y="134"/>
                    </a:lnTo>
                    <a:lnTo>
                      <a:pt x="133" y="131"/>
                    </a:lnTo>
                    <a:lnTo>
                      <a:pt x="134" y="130"/>
                    </a:lnTo>
                    <a:lnTo>
                      <a:pt x="133" y="127"/>
                    </a:lnTo>
                    <a:lnTo>
                      <a:pt x="135" y="126"/>
                    </a:lnTo>
                    <a:lnTo>
                      <a:pt x="133" y="123"/>
                    </a:lnTo>
                    <a:lnTo>
                      <a:pt x="128" y="126"/>
                    </a:lnTo>
                    <a:lnTo>
                      <a:pt x="126" y="125"/>
                    </a:lnTo>
                    <a:lnTo>
                      <a:pt x="124" y="122"/>
                    </a:lnTo>
                    <a:lnTo>
                      <a:pt x="124" y="121"/>
                    </a:lnTo>
                    <a:lnTo>
                      <a:pt x="124" y="119"/>
                    </a:lnTo>
                    <a:lnTo>
                      <a:pt x="124" y="116"/>
                    </a:lnTo>
                    <a:lnTo>
                      <a:pt x="124" y="113"/>
                    </a:lnTo>
                    <a:lnTo>
                      <a:pt x="122" y="113"/>
                    </a:lnTo>
                    <a:lnTo>
                      <a:pt x="122" y="107"/>
                    </a:lnTo>
                    <a:lnTo>
                      <a:pt x="124" y="107"/>
                    </a:lnTo>
                    <a:lnTo>
                      <a:pt x="122" y="105"/>
                    </a:lnTo>
                    <a:lnTo>
                      <a:pt x="121" y="104"/>
                    </a:lnTo>
                    <a:lnTo>
                      <a:pt x="119" y="103"/>
                    </a:lnTo>
                    <a:lnTo>
                      <a:pt x="117" y="103"/>
                    </a:lnTo>
                    <a:lnTo>
                      <a:pt x="116" y="103"/>
                    </a:lnTo>
                    <a:lnTo>
                      <a:pt x="115" y="103"/>
                    </a:lnTo>
                    <a:lnTo>
                      <a:pt x="114" y="102"/>
                    </a:lnTo>
                    <a:lnTo>
                      <a:pt x="113" y="102"/>
                    </a:lnTo>
                    <a:lnTo>
                      <a:pt x="112" y="103"/>
                    </a:lnTo>
                    <a:lnTo>
                      <a:pt x="111" y="103"/>
                    </a:lnTo>
                    <a:lnTo>
                      <a:pt x="109" y="104"/>
                    </a:lnTo>
                    <a:lnTo>
                      <a:pt x="109" y="109"/>
                    </a:lnTo>
                    <a:lnTo>
                      <a:pt x="109" y="112"/>
                    </a:lnTo>
                    <a:lnTo>
                      <a:pt x="106" y="114"/>
                    </a:lnTo>
                    <a:lnTo>
                      <a:pt x="103" y="115"/>
                    </a:lnTo>
                    <a:lnTo>
                      <a:pt x="101" y="115"/>
                    </a:lnTo>
                    <a:lnTo>
                      <a:pt x="100" y="118"/>
                    </a:lnTo>
                    <a:lnTo>
                      <a:pt x="99" y="118"/>
                    </a:lnTo>
                    <a:lnTo>
                      <a:pt x="99" y="120"/>
                    </a:lnTo>
                    <a:lnTo>
                      <a:pt x="101" y="125"/>
                    </a:lnTo>
                    <a:lnTo>
                      <a:pt x="80" y="125"/>
                    </a:lnTo>
                    <a:lnTo>
                      <a:pt x="76" y="125"/>
                    </a:lnTo>
                    <a:lnTo>
                      <a:pt x="77" y="145"/>
                    </a:lnTo>
                    <a:lnTo>
                      <a:pt x="57" y="146"/>
                    </a:lnTo>
                    <a:lnTo>
                      <a:pt x="24" y="146"/>
                    </a:lnTo>
                    <a:lnTo>
                      <a:pt x="10" y="146"/>
                    </a:lnTo>
                    <a:lnTo>
                      <a:pt x="0" y="146"/>
                    </a:lnTo>
                    <a:lnTo>
                      <a:pt x="15" y="126"/>
                    </a:lnTo>
                    <a:lnTo>
                      <a:pt x="22" y="116"/>
                    </a:lnTo>
                    <a:lnTo>
                      <a:pt x="36" y="92"/>
                    </a:lnTo>
                    <a:lnTo>
                      <a:pt x="40" y="83"/>
                    </a:lnTo>
                    <a:lnTo>
                      <a:pt x="50" y="66"/>
                    </a:lnTo>
                    <a:lnTo>
                      <a:pt x="50" y="65"/>
                    </a:lnTo>
                    <a:lnTo>
                      <a:pt x="50" y="63"/>
                    </a:lnTo>
                    <a:lnTo>
                      <a:pt x="54" y="48"/>
                    </a:lnTo>
                    <a:lnTo>
                      <a:pt x="59" y="32"/>
                    </a:lnTo>
                    <a:lnTo>
                      <a:pt x="74" y="31"/>
                    </a:lnTo>
                    <a:lnTo>
                      <a:pt x="74" y="12"/>
                    </a:lnTo>
                    <a:lnTo>
                      <a:pt x="80" y="12"/>
                    </a:lnTo>
                    <a:lnTo>
                      <a:pt x="129" y="11"/>
                    </a:lnTo>
                    <a:lnTo>
                      <a:pt x="135" y="11"/>
                    </a:lnTo>
                    <a:lnTo>
                      <a:pt x="134" y="1"/>
                    </a:lnTo>
                    <a:lnTo>
                      <a:pt x="140" y="0"/>
                    </a:lnTo>
                    <a:lnTo>
                      <a:pt x="141" y="1"/>
                    </a:lnTo>
                    <a:lnTo>
                      <a:pt x="142" y="2"/>
                    </a:lnTo>
                    <a:lnTo>
                      <a:pt x="143" y="2"/>
                    </a:lnTo>
                    <a:lnTo>
                      <a:pt x="145" y="3"/>
                    </a:lnTo>
                    <a:lnTo>
                      <a:pt x="147" y="3"/>
                    </a:lnTo>
                    <a:lnTo>
                      <a:pt x="149" y="4"/>
                    </a:lnTo>
                    <a:lnTo>
                      <a:pt x="150" y="5"/>
                    </a:lnTo>
                    <a:lnTo>
                      <a:pt x="151" y="5"/>
                    </a:lnTo>
                    <a:lnTo>
                      <a:pt x="153" y="5"/>
                    </a:lnTo>
                    <a:lnTo>
                      <a:pt x="154" y="5"/>
                    </a:lnTo>
                    <a:lnTo>
                      <a:pt x="155" y="6"/>
                    </a:lnTo>
                    <a:lnTo>
                      <a:pt x="156" y="6"/>
                    </a:lnTo>
                    <a:lnTo>
                      <a:pt x="157" y="6"/>
                    </a:lnTo>
                    <a:lnTo>
                      <a:pt x="157" y="7"/>
                    </a:lnTo>
                    <a:lnTo>
                      <a:pt x="158" y="7"/>
                    </a:lnTo>
                    <a:lnTo>
                      <a:pt x="160" y="7"/>
                    </a:lnTo>
                    <a:lnTo>
                      <a:pt x="162" y="7"/>
                    </a:lnTo>
                    <a:lnTo>
                      <a:pt x="163" y="7"/>
                    </a:lnTo>
                    <a:lnTo>
                      <a:pt x="164" y="9"/>
                    </a:lnTo>
                    <a:lnTo>
                      <a:pt x="165" y="9"/>
                    </a:lnTo>
                    <a:lnTo>
                      <a:pt x="166" y="9"/>
                    </a:lnTo>
                    <a:lnTo>
                      <a:pt x="167" y="9"/>
                    </a:lnTo>
                    <a:lnTo>
                      <a:pt x="168" y="9"/>
                    </a:lnTo>
                    <a:lnTo>
                      <a:pt x="169" y="9"/>
                    </a:lnTo>
                    <a:lnTo>
                      <a:pt x="169" y="7"/>
                    </a:lnTo>
                    <a:lnTo>
                      <a:pt x="169" y="9"/>
                    </a:lnTo>
                    <a:lnTo>
                      <a:pt x="170" y="9"/>
                    </a:lnTo>
                    <a:lnTo>
                      <a:pt x="169" y="9"/>
                    </a:lnTo>
                    <a:lnTo>
                      <a:pt x="169" y="10"/>
                    </a:lnTo>
                    <a:lnTo>
                      <a:pt x="169" y="11"/>
                    </a:lnTo>
                    <a:lnTo>
                      <a:pt x="169" y="12"/>
                    </a:lnTo>
                    <a:lnTo>
                      <a:pt x="170" y="12"/>
                    </a:lnTo>
                    <a:lnTo>
                      <a:pt x="169" y="12"/>
                    </a:lnTo>
                    <a:lnTo>
                      <a:pt x="170" y="12"/>
                    </a:lnTo>
                    <a:lnTo>
                      <a:pt x="171" y="12"/>
                    </a:lnTo>
                    <a:lnTo>
                      <a:pt x="172" y="12"/>
                    </a:lnTo>
                    <a:lnTo>
                      <a:pt x="172" y="11"/>
                    </a:lnTo>
                    <a:lnTo>
                      <a:pt x="173" y="11"/>
                    </a:lnTo>
                    <a:lnTo>
                      <a:pt x="173" y="12"/>
                    </a:lnTo>
                    <a:lnTo>
                      <a:pt x="175" y="12"/>
                    </a:lnTo>
                    <a:lnTo>
                      <a:pt x="175" y="13"/>
                    </a:lnTo>
                    <a:lnTo>
                      <a:pt x="176" y="13"/>
                    </a:lnTo>
                    <a:lnTo>
                      <a:pt x="176" y="14"/>
                    </a:lnTo>
                    <a:lnTo>
                      <a:pt x="177" y="14"/>
                    </a:lnTo>
                    <a:lnTo>
                      <a:pt x="177" y="15"/>
                    </a:lnTo>
                    <a:lnTo>
                      <a:pt x="177" y="16"/>
                    </a:lnTo>
                    <a:lnTo>
                      <a:pt x="177" y="17"/>
                    </a:lnTo>
                    <a:lnTo>
                      <a:pt x="177" y="18"/>
                    </a:lnTo>
                    <a:lnTo>
                      <a:pt x="178" y="18"/>
                    </a:lnTo>
                    <a:lnTo>
                      <a:pt x="179" y="18"/>
                    </a:lnTo>
                    <a:lnTo>
                      <a:pt x="180" y="18"/>
                    </a:lnTo>
                    <a:lnTo>
                      <a:pt x="181" y="18"/>
                    </a:lnTo>
                    <a:lnTo>
                      <a:pt x="182" y="18"/>
                    </a:lnTo>
                    <a:lnTo>
                      <a:pt x="182" y="17"/>
                    </a:lnTo>
                    <a:lnTo>
                      <a:pt x="181" y="17"/>
                    </a:lnTo>
                    <a:lnTo>
                      <a:pt x="181" y="16"/>
                    </a:lnTo>
                    <a:lnTo>
                      <a:pt x="181" y="15"/>
                    </a:lnTo>
                    <a:lnTo>
                      <a:pt x="182" y="15"/>
                    </a:lnTo>
                    <a:lnTo>
                      <a:pt x="182" y="14"/>
                    </a:lnTo>
                    <a:lnTo>
                      <a:pt x="183" y="15"/>
                    </a:lnTo>
                    <a:lnTo>
                      <a:pt x="184" y="15"/>
                    </a:lnTo>
                    <a:lnTo>
                      <a:pt x="184" y="14"/>
                    </a:lnTo>
                    <a:lnTo>
                      <a:pt x="185" y="14"/>
                    </a:lnTo>
                    <a:lnTo>
                      <a:pt x="186" y="14"/>
                    </a:lnTo>
                    <a:lnTo>
                      <a:pt x="186" y="13"/>
                    </a:lnTo>
                    <a:lnTo>
                      <a:pt x="188" y="13"/>
                    </a:lnTo>
                    <a:lnTo>
                      <a:pt x="188" y="14"/>
                    </a:lnTo>
                    <a:lnTo>
                      <a:pt x="189" y="14"/>
                    </a:lnTo>
                    <a:lnTo>
                      <a:pt x="189" y="15"/>
                    </a:lnTo>
                    <a:lnTo>
                      <a:pt x="189" y="16"/>
                    </a:lnTo>
                    <a:lnTo>
                      <a:pt x="190" y="16"/>
                    </a:lnTo>
                    <a:lnTo>
                      <a:pt x="190" y="15"/>
                    </a:lnTo>
                    <a:lnTo>
                      <a:pt x="191" y="14"/>
                    </a:lnTo>
                    <a:lnTo>
                      <a:pt x="192" y="13"/>
                    </a:lnTo>
                    <a:lnTo>
                      <a:pt x="193" y="13"/>
                    </a:lnTo>
                    <a:lnTo>
                      <a:pt x="194" y="13"/>
                    </a:lnTo>
                    <a:lnTo>
                      <a:pt x="194" y="14"/>
                    </a:lnTo>
                    <a:lnTo>
                      <a:pt x="195" y="14"/>
                    </a:lnTo>
                    <a:lnTo>
                      <a:pt x="194" y="15"/>
                    </a:lnTo>
                    <a:lnTo>
                      <a:pt x="194" y="16"/>
                    </a:lnTo>
                    <a:lnTo>
                      <a:pt x="195" y="16"/>
                    </a:lnTo>
                    <a:lnTo>
                      <a:pt x="195" y="17"/>
                    </a:lnTo>
                    <a:lnTo>
                      <a:pt x="196" y="17"/>
                    </a:lnTo>
                    <a:lnTo>
                      <a:pt x="197" y="17"/>
                    </a:lnTo>
                    <a:lnTo>
                      <a:pt x="197" y="18"/>
                    </a:lnTo>
                    <a:lnTo>
                      <a:pt x="198" y="18"/>
                    </a:lnTo>
                    <a:lnTo>
                      <a:pt x="198" y="19"/>
                    </a:lnTo>
                    <a:lnTo>
                      <a:pt x="199" y="19"/>
                    </a:lnTo>
                    <a:lnTo>
                      <a:pt x="199" y="20"/>
                    </a:lnTo>
                    <a:lnTo>
                      <a:pt x="199" y="22"/>
                    </a:lnTo>
                    <a:lnTo>
                      <a:pt x="201" y="20"/>
                    </a:lnTo>
                    <a:lnTo>
                      <a:pt x="201" y="22"/>
                    </a:lnTo>
                    <a:lnTo>
                      <a:pt x="201" y="20"/>
                    </a:lnTo>
                    <a:lnTo>
                      <a:pt x="202" y="20"/>
                    </a:lnTo>
                    <a:lnTo>
                      <a:pt x="203" y="20"/>
                    </a:lnTo>
                    <a:lnTo>
                      <a:pt x="204" y="22"/>
                    </a:lnTo>
                    <a:lnTo>
                      <a:pt x="204" y="23"/>
                    </a:lnTo>
                    <a:lnTo>
                      <a:pt x="205" y="23"/>
                    </a:lnTo>
                    <a:lnTo>
                      <a:pt x="206" y="23"/>
                    </a:lnTo>
                    <a:lnTo>
                      <a:pt x="206" y="24"/>
                    </a:lnTo>
                    <a:lnTo>
                      <a:pt x="207" y="24"/>
                    </a:lnTo>
                    <a:lnTo>
                      <a:pt x="207" y="23"/>
                    </a:lnTo>
                    <a:lnTo>
                      <a:pt x="208" y="23"/>
                    </a:lnTo>
                    <a:lnTo>
                      <a:pt x="208" y="22"/>
                    </a:lnTo>
                    <a:lnTo>
                      <a:pt x="209" y="22"/>
                    </a:lnTo>
                    <a:lnTo>
                      <a:pt x="209" y="23"/>
                    </a:lnTo>
                    <a:lnTo>
                      <a:pt x="208" y="23"/>
                    </a:lnTo>
                    <a:lnTo>
                      <a:pt x="209" y="23"/>
                    </a:lnTo>
                    <a:lnTo>
                      <a:pt x="210" y="23"/>
                    </a:lnTo>
                    <a:lnTo>
                      <a:pt x="211" y="23"/>
                    </a:lnTo>
                    <a:lnTo>
                      <a:pt x="211" y="22"/>
                    </a:lnTo>
                    <a:lnTo>
                      <a:pt x="211" y="23"/>
                    </a:lnTo>
                    <a:lnTo>
                      <a:pt x="212" y="23"/>
                    </a:lnTo>
                    <a:lnTo>
                      <a:pt x="212" y="24"/>
                    </a:lnTo>
                    <a:lnTo>
                      <a:pt x="214" y="24"/>
                    </a:lnTo>
                    <a:lnTo>
                      <a:pt x="215" y="24"/>
                    </a:lnTo>
                    <a:close/>
                    <a:moveTo>
                      <a:pt x="540" y="397"/>
                    </a:moveTo>
                    <a:lnTo>
                      <a:pt x="541" y="397"/>
                    </a:lnTo>
                    <a:lnTo>
                      <a:pt x="541" y="398"/>
                    </a:lnTo>
                    <a:lnTo>
                      <a:pt x="542" y="398"/>
                    </a:lnTo>
                    <a:lnTo>
                      <a:pt x="542" y="399"/>
                    </a:lnTo>
                    <a:lnTo>
                      <a:pt x="543" y="400"/>
                    </a:lnTo>
                    <a:lnTo>
                      <a:pt x="544" y="400"/>
                    </a:lnTo>
                    <a:lnTo>
                      <a:pt x="545" y="401"/>
                    </a:lnTo>
                    <a:lnTo>
                      <a:pt x="546" y="403"/>
                    </a:lnTo>
                    <a:lnTo>
                      <a:pt x="547" y="404"/>
                    </a:lnTo>
                    <a:lnTo>
                      <a:pt x="547" y="405"/>
                    </a:lnTo>
                    <a:lnTo>
                      <a:pt x="546" y="405"/>
                    </a:lnTo>
                    <a:lnTo>
                      <a:pt x="545" y="404"/>
                    </a:lnTo>
                    <a:lnTo>
                      <a:pt x="544" y="403"/>
                    </a:lnTo>
                    <a:lnTo>
                      <a:pt x="544" y="402"/>
                    </a:lnTo>
                    <a:lnTo>
                      <a:pt x="544" y="403"/>
                    </a:lnTo>
                    <a:lnTo>
                      <a:pt x="543" y="403"/>
                    </a:lnTo>
                    <a:lnTo>
                      <a:pt x="544" y="404"/>
                    </a:lnTo>
                    <a:lnTo>
                      <a:pt x="544" y="405"/>
                    </a:lnTo>
                    <a:lnTo>
                      <a:pt x="544" y="406"/>
                    </a:lnTo>
                    <a:lnTo>
                      <a:pt x="545" y="406"/>
                    </a:lnTo>
                    <a:lnTo>
                      <a:pt x="546" y="406"/>
                    </a:lnTo>
                    <a:lnTo>
                      <a:pt x="546" y="408"/>
                    </a:lnTo>
                    <a:lnTo>
                      <a:pt x="545" y="408"/>
                    </a:lnTo>
                    <a:lnTo>
                      <a:pt x="545" y="409"/>
                    </a:lnTo>
                    <a:lnTo>
                      <a:pt x="544" y="410"/>
                    </a:lnTo>
                    <a:lnTo>
                      <a:pt x="544" y="411"/>
                    </a:lnTo>
                    <a:lnTo>
                      <a:pt x="545" y="412"/>
                    </a:lnTo>
                    <a:lnTo>
                      <a:pt x="545" y="413"/>
                    </a:lnTo>
                    <a:lnTo>
                      <a:pt x="545" y="414"/>
                    </a:lnTo>
                    <a:lnTo>
                      <a:pt x="544" y="414"/>
                    </a:lnTo>
                    <a:lnTo>
                      <a:pt x="544" y="413"/>
                    </a:lnTo>
                    <a:lnTo>
                      <a:pt x="543" y="413"/>
                    </a:lnTo>
                    <a:lnTo>
                      <a:pt x="543" y="412"/>
                    </a:lnTo>
                    <a:lnTo>
                      <a:pt x="542" y="412"/>
                    </a:lnTo>
                    <a:lnTo>
                      <a:pt x="541" y="412"/>
                    </a:lnTo>
                    <a:lnTo>
                      <a:pt x="540" y="412"/>
                    </a:lnTo>
                    <a:lnTo>
                      <a:pt x="539" y="412"/>
                    </a:lnTo>
                    <a:lnTo>
                      <a:pt x="539" y="411"/>
                    </a:lnTo>
                    <a:lnTo>
                      <a:pt x="538" y="411"/>
                    </a:lnTo>
                    <a:lnTo>
                      <a:pt x="538" y="410"/>
                    </a:lnTo>
                    <a:lnTo>
                      <a:pt x="539" y="410"/>
                    </a:lnTo>
                    <a:lnTo>
                      <a:pt x="539" y="409"/>
                    </a:lnTo>
                    <a:lnTo>
                      <a:pt x="540" y="409"/>
                    </a:lnTo>
                    <a:lnTo>
                      <a:pt x="540" y="408"/>
                    </a:lnTo>
                    <a:lnTo>
                      <a:pt x="540" y="406"/>
                    </a:lnTo>
                    <a:lnTo>
                      <a:pt x="540" y="405"/>
                    </a:lnTo>
                    <a:lnTo>
                      <a:pt x="539" y="405"/>
                    </a:lnTo>
                    <a:lnTo>
                      <a:pt x="540" y="405"/>
                    </a:lnTo>
                    <a:lnTo>
                      <a:pt x="539" y="405"/>
                    </a:lnTo>
                    <a:lnTo>
                      <a:pt x="539" y="404"/>
                    </a:lnTo>
                    <a:lnTo>
                      <a:pt x="539" y="405"/>
                    </a:lnTo>
                    <a:lnTo>
                      <a:pt x="539" y="404"/>
                    </a:lnTo>
                    <a:lnTo>
                      <a:pt x="538" y="404"/>
                    </a:lnTo>
                    <a:lnTo>
                      <a:pt x="538" y="403"/>
                    </a:lnTo>
                    <a:lnTo>
                      <a:pt x="537" y="403"/>
                    </a:lnTo>
                    <a:lnTo>
                      <a:pt x="535" y="403"/>
                    </a:lnTo>
                    <a:lnTo>
                      <a:pt x="534" y="402"/>
                    </a:lnTo>
                    <a:lnTo>
                      <a:pt x="534" y="403"/>
                    </a:lnTo>
                    <a:lnTo>
                      <a:pt x="533" y="402"/>
                    </a:lnTo>
                    <a:lnTo>
                      <a:pt x="532" y="402"/>
                    </a:lnTo>
                    <a:lnTo>
                      <a:pt x="531" y="402"/>
                    </a:lnTo>
                    <a:lnTo>
                      <a:pt x="531" y="401"/>
                    </a:lnTo>
                    <a:lnTo>
                      <a:pt x="531" y="400"/>
                    </a:lnTo>
                    <a:lnTo>
                      <a:pt x="532" y="400"/>
                    </a:lnTo>
                    <a:lnTo>
                      <a:pt x="533" y="401"/>
                    </a:lnTo>
                    <a:lnTo>
                      <a:pt x="534" y="401"/>
                    </a:lnTo>
                    <a:lnTo>
                      <a:pt x="534" y="402"/>
                    </a:lnTo>
                    <a:lnTo>
                      <a:pt x="535" y="402"/>
                    </a:lnTo>
                    <a:lnTo>
                      <a:pt x="535" y="401"/>
                    </a:lnTo>
                    <a:lnTo>
                      <a:pt x="534" y="401"/>
                    </a:lnTo>
                    <a:lnTo>
                      <a:pt x="533" y="401"/>
                    </a:lnTo>
                    <a:lnTo>
                      <a:pt x="533" y="400"/>
                    </a:lnTo>
                    <a:lnTo>
                      <a:pt x="532" y="400"/>
                    </a:lnTo>
                    <a:lnTo>
                      <a:pt x="531" y="399"/>
                    </a:lnTo>
                    <a:lnTo>
                      <a:pt x="531" y="398"/>
                    </a:lnTo>
                    <a:lnTo>
                      <a:pt x="532" y="398"/>
                    </a:lnTo>
                    <a:lnTo>
                      <a:pt x="533" y="398"/>
                    </a:lnTo>
                    <a:lnTo>
                      <a:pt x="532" y="398"/>
                    </a:lnTo>
                    <a:lnTo>
                      <a:pt x="533" y="399"/>
                    </a:lnTo>
                    <a:lnTo>
                      <a:pt x="533" y="398"/>
                    </a:lnTo>
                    <a:lnTo>
                      <a:pt x="533" y="399"/>
                    </a:lnTo>
                    <a:lnTo>
                      <a:pt x="534" y="399"/>
                    </a:lnTo>
                    <a:lnTo>
                      <a:pt x="534" y="398"/>
                    </a:lnTo>
                    <a:lnTo>
                      <a:pt x="535" y="398"/>
                    </a:lnTo>
                    <a:lnTo>
                      <a:pt x="535" y="399"/>
                    </a:lnTo>
                    <a:lnTo>
                      <a:pt x="535" y="400"/>
                    </a:lnTo>
                    <a:lnTo>
                      <a:pt x="534" y="400"/>
                    </a:lnTo>
                    <a:lnTo>
                      <a:pt x="535" y="400"/>
                    </a:lnTo>
                    <a:lnTo>
                      <a:pt x="537" y="399"/>
                    </a:lnTo>
                    <a:lnTo>
                      <a:pt x="537" y="400"/>
                    </a:lnTo>
                    <a:lnTo>
                      <a:pt x="538" y="400"/>
                    </a:lnTo>
                    <a:lnTo>
                      <a:pt x="538" y="401"/>
                    </a:lnTo>
                    <a:lnTo>
                      <a:pt x="538" y="402"/>
                    </a:lnTo>
                    <a:lnTo>
                      <a:pt x="539" y="402"/>
                    </a:lnTo>
                    <a:lnTo>
                      <a:pt x="538" y="402"/>
                    </a:lnTo>
                    <a:lnTo>
                      <a:pt x="538" y="403"/>
                    </a:lnTo>
                    <a:lnTo>
                      <a:pt x="538" y="402"/>
                    </a:lnTo>
                    <a:lnTo>
                      <a:pt x="537" y="402"/>
                    </a:lnTo>
                    <a:lnTo>
                      <a:pt x="537" y="401"/>
                    </a:lnTo>
                    <a:lnTo>
                      <a:pt x="537" y="402"/>
                    </a:lnTo>
                    <a:lnTo>
                      <a:pt x="538" y="402"/>
                    </a:lnTo>
                    <a:lnTo>
                      <a:pt x="537" y="402"/>
                    </a:lnTo>
                    <a:lnTo>
                      <a:pt x="538" y="402"/>
                    </a:lnTo>
                    <a:lnTo>
                      <a:pt x="538" y="403"/>
                    </a:lnTo>
                    <a:lnTo>
                      <a:pt x="539" y="403"/>
                    </a:lnTo>
                    <a:lnTo>
                      <a:pt x="538" y="403"/>
                    </a:lnTo>
                    <a:lnTo>
                      <a:pt x="539" y="402"/>
                    </a:lnTo>
                    <a:lnTo>
                      <a:pt x="539" y="401"/>
                    </a:lnTo>
                    <a:lnTo>
                      <a:pt x="539" y="400"/>
                    </a:lnTo>
                    <a:lnTo>
                      <a:pt x="538" y="400"/>
                    </a:lnTo>
                    <a:lnTo>
                      <a:pt x="538" y="399"/>
                    </a:lnTo>
                    <a:lnTo>
                      <a:pt x="537" y="399"/>
                    </a:lnTo>
                    <a:lnTo>
                      <a:pt x="538" y="398"/>
                    </a:lnTo>
                    <a:lnTo>
                      <a:pt x="538" y="397"/>
                    </a:lnTo>
                    <a:lnTo>
                      <a:pt x="538" y="396"/>
                    </a:lnTo>
                    <a:lnTo>
                      <a:pt x="539" y="396"/>
                    </a:lnTo>
                    <a:lnTo>
                      <a:pt x="540" y="397"/>
                    </a:lnTo>
                    <a:close/>
                    <a:moveTo>
                      <a:pt x="403" y="560"/>
                    </a:moveTo>
                    <a:lnTo>
                      <a:pt x="403" y="562"/>
                    </a:lnTo>
                    <a:lnTo>
                      <a:pt x="402" y="562"/>
                    </a:lnTo>
                    <a:lnTo>
                      <a:pt x="402" y="560"/>
                    </a:lnTo>
                    <a:lnTo>
                      <a:pt x="402" y="562"/>
                    </a:lnTo>
                    <a:lnTo>
                      <a:pt x="401" y="563"/>
                    </a:lnTo>
                    <a:lnTo>
                      <a:pt x="402" y="563"/>
                    </a:lnTo>
                    <a:lnTo>
                      <a:pt x="401" y="564"/>
                    </a:lnTo>
                    <a:lnTo>
                      <a:pt x="401" y="565"/>
                    </a:lnTo>
                    <a:lnTo>
                      <a:pt x="402" y="566"/>
                    </a:lnTo>
                    <a:lnTo>
                      <a:pt x="403" y="566"/>
                    </a:lnTo>
                    <a:lnTo>
                      <a:pt x="403" y="565"/>
                    </a:lnTo>
                    <a:lnTo>
                      <a:pt x="404" y="565"/>
                    </a:lnTo>
                    <a:lnTo>
                      <a:pt x="404" y="564"/>
                    </a:lnTo>
                    <a:lnTo>
                      <a:pt x="403" y="564"/>
                    </a:lnTo>
                    <a:lnTo>
                      <a:pt x="403" y="563"/>
                    </a:lnTo>
                    <a:lnTo>
                      <a:pt x="402" y="563"/>
                    </a:lnTo>
                    <a:lnTo>
                      <a:pt x="402" y="562"/>
                    </a:lnTo>
                    <a:lnTo>
                      <a:pt x="403" y="562"/>
                    </a:lnTo>
                    <a:lnTo>
                      <a:pt x="404" y="562"/>
                    </a:lnTo>
                    <a:lnTo>
                      <a:pt x="404" y="560"/>
                    </a:lnTo>
                    <a:lnTo>
                      <a:pt x="403" y="560"/>
                    </a:lnTo>
                    <a:lnTo>
                      <a:pt x="403" y="559"/>
                    </a:lnTo>
                    <a:lnTo>
                      <a:pt x="404" y="558"/>
                    </a:lnTo>
                    <a:lnTo>
                      <a:pt x="403" y="558"/>
                    </a:lnTo>
                    <a:lnTo>
                      <a:pt x="403" y="559"/>
                    </a:lnTo>
                    <a:lnTo>
                      <a:pt x="403" y="560"/>
                    </a:lnTo>
                    <a:lnTo>
                      <a:pt x="403" y="559"/>
                    </a:lnTo>
                    <a:lnTo>
                      <a:pt x="403" y="558"/>
                    </a:lnTo>
                    <a:lnTo>
                      <a:pt x="404" y="558"/>
                    </a:lnTo>
                    <a:lnTo>
                      <a:pt x="406" y="559"/>
                    </a:lnTo>
                    <a:lnTo>
                      <a:pt x="408" y="560"/>
                    </a:lnTo>
                    <a:lnTo>
                      <a:pt x="408" y="562"/>
                    </a:lnTo>
                    <a:lnTo>
                      <a:pt x="408" y="563"/>
                    </a:lnTo>
                    <a:lnTo>
                      <a:pt x="409" y="563"/>
                    </a:lnTo>
                    <a:lnTo>
                      <a:pt x="408" y="564"/>
                    </a:lnTo>
                    <a:lnTo>
                      <a:pt x="406" y="565"/>
                    </a:lnTo>
                    <a:lnTo>
                      <a:pt x="405" y="566"/>
                    </a:lnTo>
                    <a:lnTo>
                      <a:pt x="404" y="566"/>
                    </a:lnTo>
                    <a:lnTo>
                      <a:pt x="404" y="567"/>
                    </a:lnTo>
                    <a:lnTo>
                      <a:pt x="402" y="567"/>
                    </a:lnTo>
                    <a:lnTo>
                      <a:pt x="402" y="568"/>
                    </a:lnTo>
                    <a:lnTo>
                      <a:pt x="401" y="568"/>
                    </a:lnTo>
                    <a:lnTo>
                      <a:pt x="400" y="568"/>
                    </a:lnTo>
                    <a:lnTo>
                      <a:pt x="398" y="569"/>
                    </a:lnTo>
                    <a:lnTo>
                      <a:pt x="397" y="569"/>
                    </a:lnTo>
                    <a:lnTo>
                      <a:pt x="396" y="569"/>
                    </a:lnTo>
                    <a:lnTo>
                      <a:pt x="395" y="570"/>
                    </a:lnTo>
                    <a:lnTo>
                      <a:pt x="393" y="570"/>
                    </a:lnTo>
                    <a:lnTo>
                      <a:pt x="392" y="571"/>
                    </a:lnTo>
                    <a:lnTo>
                      <a:pt x="390" y="571"/>
                    </a:lnTo>
                    <a:lnTo>
                      <a:pt x="389" y="571"/>
                    </a:lnTo>
                    <a:lnTo>
                      <a:pt x="387" y="572"/>
                    </a:lnTo>
                    <a:lnTo>
                      <a:pt x="386" y="572"/>
                    </a:lnTo>
                    <a:lnTo>
                      <a:pt x="386" y="571"/>
                    </a:lnTo>
                    <a:lnTo>
                      <a:pt x="387" y="571"/>
                    </a:lnTo>
                    <a:lnTo>
                      <a:pt x="388" y="571"/>
                    </a:lnTo>
                    <a:lnTo>
                      <a:pt x="389" y="570"/>
                    </a:lnTo>
                    <a:lnTo>
                      <a:pt x="390" y="570"/>
                    </a:lnTo>
                    <a:lnTo>
                      <a:pt x="391" y="569"/>
                    </a:lnTo>
                    <a:lnTo>
                      <a:pt x="393" y="569"/>
                    </a:lnTo>
                    <a:lnTo>
                      <a:pt x="395" y="569"/>
                    </a:lnTo>
                    <a:lnTo>
                      <a:pt x="396" y="568"/>
                    </a:lnTo>
                    <a:lnTo>
                      <a:pt x="398" y="568"/>
                    </a:lnTo>
                    <a:lnTo>
                      <a:pt x="399" y="568"/>
                    </a:lnTo>
                    <a:lnTo>
                      <a:pt x="399" y="567"/>
                    </a:lnTo>
                    <a:lnTo>
                      <a:pt x="399" y="566"/>
                    </a:lnTo>
                    <a:lnTo>
                      <a:pt x="400" y="566"/>
                    </a:lnTo>
                    <a:lnTo>
                      <a:pt x="400" y="565"/>
                    </a:lnTo>
                    <a:lnTo>
                      <a:pt x="401" y="564"/>
                    </a:lnTo>
                    <a:lnTo>
                      <a:pt x="401" y="563"/>
                    </a:lnTo>
                    <a:lnTo>
                      <a:pt x="401" y="562"/>
                    </a:lnTo>
                    <a:lnTo>
                      <a:pt x="401" y="560"/>
                    </a:lnTo>
                    <a:lnTo>
                      <a:pt x="400" y="560"/>
                    </a:lnTo>
                    <a:lnTo>
                      <a:pt x="400" y="559"/>
                    </a:lnTo>
                    <a:lnTo>
                      <a:pt x="400" y="558"/>
                    </a:lnTo>
                    <a:lnTo>
                      <a:pt x="401" y="557"/>
                    </a:lnTo>
                    <a:lnTo>
                      <a:pt x="402" y="558"/>
                    </a:lnTo>
                    <a:lnTo>
                      <a:pt x="402" y="559"/>
                    </a:lnTo>
                    <a:lnTo>
                      <a:pt x="401" y="559"/>
                    </a:lnTo>
                    <a:lnTo>
                      <a:pt x="401" y="560"/>
                    </a:lnTo>
                    <a:lnTo>
                      <a:pt x="402" y="560"/>
                    </a:lnTo>
                    <a:lnTo>
                      <a:pt x="403" y="560"/>
                    </a:lnTo>
                    <a:close/>
                    <a:moveTo>
                      <a:pt x="427" y="601"/>
                    </a:moveTo>
                    <a:lnTo>
                      <a:pt x="426" y="601"/>
                    </a:lnTo>
                    <a:lnTo>
                      <a:pt x="425" y="602"/>
                    </a:lnTo>
                    <a:lnTo>
                      <a:pt x="424" y="602"/>
                    </a:lnTo>
                    <a:lnTo>
                      <a:pt x="423" y="602"/>
                    </a:lnTo>
                    <a:lnTo>
                      <a:pt x="422" y="603"/>
                    </a:lnTo>
                    <a:lnTo>
                      <a:pt x="419" y="603"/>
                    </a:lnTo>
                    <a:lnTo>
                      <a:pt x="419" y="604"/>
                    </a:lnTo>
                    <a:lnTo>
                      <a:pt x="417" y="604"/>
                    </a:lnTo>
                    <a:lnTo>
                      <a:pt x="416" y="604"/>
                    </a:lnTo>
                    <a:lnTo>
                      <a:pt x="416" y="605"/>
                    </a:lnTo>
                    <a:lnTo>
                      <a:pt x="415" y="605"/>
                    </a:lnTo>
                    <a:lnTo>
                      <a:pt x="414" y="605"/>
                    </a:lnTo>
                    <a:lnTo>
                      <a:pt x="414" y="606"/>
                    </a:lnTo>
                    <a:lnTo>
                      <a:pt x="413" y="606"/>
                    </a:lnTo>
                    <a:lnTo>
                      <a:pt x="411" y="606"/>
                    </a:lnTo>
                    <a:lnTo>
                      <a:pt x="410" y="606"/>
                    </a:lnTo>
                    <a:lnTo>
                      <a:pt x="410" y="605"/>
                    </a:lnTo>
                    <a:lnTo>
                      <a:pt x="409" y="604"/>
                    </a:lnTo>
                    <a:lnTo>
                      <a:pt x="410" y="604"/>
                    </a:lnTo>
                    <a:lnTo>
                      <a:pt x="411" y="604"/>
                    </a:lnTo>
                    <a:lnTo>
                      <a:pt x="412" y="604"/>
                    </a:lnTo>
                    <a:lnTo>
                      <a:pt x="413" y="603"/>
                    </a:lnTo>
                    <a:lnTo>
                      <a:pt x="414" y="602"/>
                    </a:lnTo>
                    <a:lnTo>
                      <a:pt x="415" y="601"/>
                    </a:lnTo>
                    <a:lnTo>
                      <a:pt x="416" y="601"/>
                    </a:lnTo>
                    <a:lnTo>
                      <a:pt x="417" y="601"/>
                    </a:lnTo>
                    <a:lnTo>
                      <a:pt x="418" y="601"/>
                    </a:lnTo>
                    <a:lnTo>
                      <a:pt x="421" y="601"/>
                    </a:lnTo>
                    <a:lnTo>
                      <a:pt x="422" y="601"/>
                    </a:lnTo>
                    <a:lnTo>
                      <a:pt x="423" y="599"/>
                    </a:lnTo>
                    <a:lnTo>
                      <a:pt x="424" y="599"/>
                    </a:lnTo>
                    <a:lnTo>
                      <a:pt x="424" y="598"/>
                    </a:lnTo>
                    <a:lnTo>
                      <a:pt x="425" y="598"/>
                    </a:lnTo>
                    <a:lnTo>
                      <a:pt x="426" y="598"/>
                    </a:lnTo>
                    <a:lnTo>
                      <a:pt x="427" y="598"/>
                    </a:lnTo>
                    <a:lnTo>
                      <a:pt x="427" y="599"/>
                    </a:lnTo>
                    <a:lnTo>
                      <a:pt x="427" y="601"/>
                    </a:lnTo>
                    <a:close/>
                    <a:moveTo>
                      <a:pt x="593" y="346"/>
                    </a:moveTo>
                    <a:lnTo>
                      <a:pt x="594" y="346"/>
                    </a:lnTo>
                    <a:lnTo>
                      <a:pt x="595" y="346"/>
                    </a:lnTo>
                    <a:lnTo>
                      <a:pt x="595" y="347"/>
                    </a:lnTo>
                    <a:lnTo>
                      <a:pt x="596" y="347"/>
                    </a:lnTo>
                    <a:lnTo>
                      <a:pt x="596" y="348"/>
                    </a:lnTo>
                    <a:lnTo>
                      <a:pt x="596" y="347"/>
                    </a:lnTo>
                    <a:lnTo>
                      <a:pt x="596" y="348"/>
                    </a:lnTo>
                    <a:lnTo>
                      <a:pt x="597" y="348"/>
                    </a:lnTo>
                    <a:lnTo>
                      <a:pt x="597" y="349"/>
                    </a:lnTo>
                    <a:lnTo>
                      <a:pt x="598" y="349"/>
                    </a:lnTo>
                    <a:lnTo>
                      <a:pt x="598" y="348"/>
                    </a:lnTo>
                    <a:lnTo>
                      <a:pt x="599" y="348"/>
                    </a:lnTo>
                    <a:lnTo>
                      <a:pt x="599" y="349"/>
                    </a:lnTo>
                    <a:lnTo>
                      <a:pt x="598" y="349"/>
                    </a:lnTo>
                    <a:lnTo>
                      <a:pt x="597" y="349"/>
                    </a:lnTo>
                    <a:lnTo>
                      <a:pt x="597" y="350"/>
                    </a:lnTo>
                    <a:lnTo>
                      <a:pt x="597" y="349"/>
                    </a:lnTo>
                    <a:lnTo>
                      <a:pt x="596" y="349"/>
                    </a:lnTo>
                    <a:lnTo>
                      <a:pt x="597" y="349"/>
                    </a:lnTo>
                    <a:lnTo>
                      <a:pt x="596" y="349"/>
                    </a:lnTo>
                    <a:lnTo>
                      <a:pt x="596" y="350"/>
                    </a:lnTo>
                    <a:lnTo>
                      <a:pt x="595" y="350"/>
                    </a:lnTo>
                    <a:lnTo>
                      <a:pt x="595" y="351"/>
                    </a:lnTo>
                    <a:lnTo>
                      <a:pt x="593" y="353"/>
                    </a:lnTo>
                    <a:lnTo>
                      <a:pt x="592" y="353"/>
                    </a:lnTo>
                    <a:lnTo>
                      <a:pt x="592" y="354"/>
                    </a:lnTo>
                    <a:lnTo>
                      <a:pt x="593" y="356"/>
                    </a:lnTo>
                    <a:lnTo>
                      <a:pt x="593" y="357"/>
                    </a:lnTo>
                    <a:lnTo>
                      <a:pt x="592" y="357"/>
                    </a:lnTo>
                    <a:lnTo>
                      <a:pt x="591" y="357"/>
                    </a:lnTo>
                    <a:lnTo>
                      <a:pt x="590" y="357"/>
                    </a:lnTo>
                    <a:lnTo>
                      <a:pt x="590" y="356"/>
                    </a:lnTo>
                    <a:lnTo>
                      <a:pt x="590" y="354"/>
                    </a:lnTo>
                    <a:lnTo>
                      <a:pt x="591" y="354"/>
                    </a:lnTo>
                    <a:lnTo>
                      <a:pt x="591" y="353"/>
                    </a:lnTo>
                    <a:lnTo>
                      <a:pt x="590" y="353"/>
                    </a:lnTo>
                    <a:lnTo>
                      <a:pt x="591" y="352"/>
                    </a:lnTo>
                    <a:lnTo>
                      <a:pt x="591" y="351"/>
                    </a:lnTo>
                    <a:lnTo>
                      <a:pt x="592" y="351"/>
                    </a:lnTo>
                    <a:lnTo>
                      <a:pt x="592" y="349"/>
                    </a:lnTo>
                    <a:lnTo>
                      <a:pt x="593" y="349"/>
                    </a:lnTo>
                    <a:lnTo>
                      <a:pt x="592" y="348"/>
                    </a:lnTo>
                    <a:lnTo>
                      <a:pt x="592" y="349"/>
                    </a:lnTo>
                    <a:lnTo>
                      <a:pt x="589" y="347"/>
                    </a:lnTo>
                    <a:lnTo>
                      <a:pt x="590" y="347"/>
                    </a:lnTo>
                    <a:lnTo>
                      <a:pt x="590" y="346"/>
                    </a:lnTo>
                    <a:lnTo>
                      <a:pt x="591" y="346"/>
                    </a:lnTo>
                    <a:lnTo>
                      <a:pt x="591" y="345"/>
                    </a:lnTo>
                    <a:lnTo>
                      <a:pt x="592" y="345"/>
                    </a:lnTo>
                    <a:lnTo>
                      <a:pt x="593" y="345"/>
                    </a:lnTo>
                    <a:lnTo>
                      <a:pt x="593" y="346"/>
                    </a:lnTo>
                    <a:close/>
                    <a:moveTo>
                      <a:pt x="550" y="423"/>
                    </a:moveTo>
                    <a:lnTo>
                      <a:pt x="552" y="423"/>
                    </a:lnTo>
                    <a:lnTo>
                      <a:pt x="553" y="423"/>
                    </a:lnTo>
                    <a:lnTo>
                      <a:pt x="551" y="424"/>
                    </a:lnTo>
                    <a:lnTo>
                      <a:pt x="550" y="426"/>
                    </a:lnTo>
                    <a:lnTo>
                      <a:pt x="548" y="426"/>
                    </a:lnTo>
                    <a:lnTo>
                      <a:pt x="548" y="427"/>
                    </a:lnTo>
                    <a:lnTo>
                      <a:pt x="547" y="427"/>
                    </a:lnTo>
                    <a:lnTo>
                      <a:pt x="547" y="428"/>
                    </a:lnTo>
                    <a:lnTo>
                      <a:pt x="547" y="429"/>
                    </a:lnTo>
                    <a:lnTo>
                      <a:pt x="546" y="429"/>
                    </a:lnTo>
                    <a:lnTo>
                      <a:pt x="547" y="429"/>
                    </a:lnTo>
                    <a:lnTo>
                      <a:pt x="548" y="429"/>
                    </a:lnTo>
                    <a:lnTo>
                      <a:pt x="548" y="428"/>
                    </a:lnTo>
                    <a:lnTo>
                      <a:pt x="548" y="427"/>
                    </a:lnTo>
                    <a:lnTo>
                      <a:pt x="550" y="427"/>
                    </a:lnTo>
                    <a:lnTo>
                      <a:pt x="548" y="427"/>
                    </a:lnTo>
                    <a:lnTo>
                      <a:pt x="548" y="426"/>
                    </a:lnTo>
                    <a:lnTo>
                      <a:pt x="550" y="426"/>
                    </a:lnTo>
                    <a:lnTo>
                      <a:pt x="550" y="427"/>
                    </a:lnTo>
                    <a:lnTo>
                      <a:pt x="550" y="428"/>
                    </a:lnTo>
                    <a:lnTo>
                      <a:pt x="550" y="429"/>
                    </a:lnTo>
                    <a:lnTo>
                      <a:pt x="550" y="430"/>
                    </a:lnTo>
                    <a:lnTo>
                      <a:pt x="550" y="431"/>
                    </a:lnTo>
                    <a:lnTo>
                      <a:pt x="550" y="433"/>
                    </a:lnTo>
                    <a:lnTo>
                      <a:pt x="551" y="433"/>
                    </a:lnTo>
                    <a:lnTo>
                      <a:pt x="551" y="431"/>
                    </a:lnTo>
                    <a:lnTo>
                      <a:pt x="552" y="433"/>
                    </a:lnTo>
                    <a:lnTo>
                      <a:pt x="552" y="434"/>
                    </a:lnTo>
                    <a:lnTo>
                      <a:pt x="553" y="434"/>
                    </a:lnTo>
                    <a:lnTo>
                      <a:pt x="554" y="434"/>
                    </a:lnTo>
                    <a:lnTo>
                      <a:pt x="555" y="434"/>
                    </a:lnTo>
                    <a:lnTo>
                      <a:pt x="554" y="434"/>
                    </a:lnTo>
                    <a:lnTo>
                      <a:pt x="554" y="435"/>
                    </a:lnTo>
                    <a:lnTo>
                      <a:pt x="555" y="435"/>
                    </a:lnTo>
                    <a:lnTo>
                      <a:pt x="555" y="436"/>
                    </a:lnTo>
                    <a:lnTo>
                      <a:pt x="554" y="436"/>
                    </a:lnTo>
                    <a:lnTo>
                      <a:pt x="554" y="435"/>
                    </a:lnTo>
                    <a:lnTo>
                      <a:pt x="553" y="435"/>
                    </a:lnTo>
                    <a:lnTo>
                      <a:pt x="552" y="435"/>
                    </a:lnTo>
                    <a:lnTo>
                      <a:pt x="553" y="435"/>
                    </a:lnTo>
                    <a:lnTo>
                      <a:pt x="553" y="436"/>
                    </a:lnTo>
                    <a:lnTo>
                      <a:pt x="554" y="436"/>
                    </a:lnTo>
                    <a:lnTo>
                      <a:pt x="554" y="435"/>
                    </a:lnTo>
                    <a:lnTo>
                      <a:pt x="554" y="436"/>
                    </a:lnTo>
                    <a:lnTo>
                      <a:pt x="553" y="437"/>
                    </a:lnTo>
                    <a:lnTo>
                      <a:pt x="554" y="438"/>
                    </a:lnTo>
                    <a:lnTo>
                      <a:pt x="554" y="439"/>
                    </a:lnTo>
                    <a:lnTo>
                      <a:pt x="553" y="438"/>
                    </a:lnTo>
                    <a:lnTo>
                      <a:pt x="552" y="438"/>
                    </a:lnTo>
                    <a:lnTo>
                      <a:pt x="552" y="437"/>
                    </a:lnTo>
                    <a:lnTo>
                      <a:pt x="552" y="436"/>
                    </a:lnTo>
                    <a:lnTo>
                      <a:pt x="552" y="437"/>
                    </a:lnTo>
                    <a:lnTo>
                      <a:pt x="553" y="436"/>
                    </a:lnTo>
                    <a:lnTo>
                      <a:pt x="552" y="436"/>
                    </a:lnTo>
                    <a:lnTo>
                      <a:pt x="551" y="436"/>
                    </a:lnTo>
                    <a:lnTo>
                      <a:pt x="551" y="435"/>
                    </a:lnTo>
                    <a:lnTo>
                      <a:pt x="550" y="435"/>
                    </a:lnTo>
                    <a:lnTo>
                      <a:pt x="550" y="434"/>
                    </a:lnTo>
                    <a:lnTo>
                      <a:pt x="551" y="434"/>
                    </a:lnTo>
                    <a:lnTo>
                      <a:pt x="550" y="433"/>
                    </a:lnTo>
                    <a:lnTo>
                      <a:pt x="548" y="433"/>
                    </a:lnTo>
                    <a:lnTo>
                      <a:pt x="547" y="433"/>
                    </a:lnTo>
                    <a:lnTo>
                      <a:pt x="547" y="431"/>
                    </a:lnTo>
                    <a:lnTo>
                      <a:pt x="547" y="430"/>
                    </a:lnTo>
                    <a:lnTo>
                      <a:pt x="546" y="430"/>
                    </a:lnTo>
                    <a:lnTo>
                      <a:pt x="547" y="430"/>
                    </a:lnTo>
                    <a:lnTo>
                      <a:pt x="546" y="430"/>
                    </a:lnTo>
                    <a:lnTo>
                      <a:pt x="546" y="429"/>
                    </a:lnTo>
                    <a:lnTo>
                      <a:pt x="546" y="428"/>
                    </a:lnTo>
                    <a:lnTo>
                      <a:pt x="545" y="428"/>
                    </a:lnTo>
                    <a:lnTo>
                      <a:pt x="545" y="427"/>
                    </a:lnTo>
                    <a:lnTo>
                      <a:pt x="545" y="428"/>
                    </a:lnTo>
                    <a:lnTo>
                      <a:pt x="545" y="427"/>
                    </a:lnTo>
                    <a:lnTo>
                      <a:pt x="545" y="426"/>
                    </a:lnTo>
                    <a:lnTo>
                      <a:pt x="544" y="425"/>
                    </a:lnTo>
                    <a:lnTo>
                      <a:pt x="544" y="424"/>
                    </a:lnTo>
                    <a:lnTo>
                      <a:pt x="543" y="424"/>
                    </a:lnTo>
                    <a:lnTo>
                      <a:pt x="544" y="424"/>
                    </a:lnTo>
                    <a:lnTo>
                      <a:pt x="544" y="425"/>
                    </a:lnTo>
                    <a:lnTo>
                      <a:pt x="545" y="425"/>
                    </a:lnTo>
                    <a:lnTo>
                      <a:pt x="545" y="426"/>
                    </a:lnTo>
                    <a:lnTo>
                      <a:pt x="546" y="426"/>
                    </a:lnTo>
                    <a:lnTo>
                      <a:pt x="546" y="425"/>
                    </a:lnTo>
                    <a:lnTo>
                      <a:pt x="547" y="425"/>
                    </a:lnTo>
                    <a:lnTo>
                      <a:pt x="547" y="424"/>
                    </a:lnTo>
                    <a:lnTo>
                      <a:pt x="548" y="424"/>
                    </a:lnTo>
                    <a:lnTo>
                      <a:pt x="547" y="424"/>
                    </a:lnTo>
                    <a:lnTo>
                      <a:pt x="548" y="424"/>
                    </a:lnTo>
                    <a:lnTo>
                      <a:pt x="548" y="423"/>
                    </a:lnTo>
                    <a:lnTo>
                      <a:pt x="547" y="424"/>
                    </a:lnTo>
                    <a:lnTo>
                      <a:pt x="547" y="423"/>
                    </a:lnTo>
                    <a:lnTo>
                      <a:pt x="547" y="424"/>
                    </a:lnTo>
                    <a:lnTo>
                      <a:pt x="546" y="424"/>
                    </a:lnTo>
                    <a:lnTo>
                      <a:pt x="546" y="423"/>
                    </a:lnTo>
                    <a:lnTo>
                      <a:pt x="545" y="423"/>
                    </a:lnTo>
                    <a:lnTo>
                      <a:pt x="545" y="424"/>
                    </a:lnTo>
                    <a:lnTo>
                      <a:pt x="545" y="423"/>
                    </a:lnTo>
                    <a:lnTo>
                      <a:pt x="550" y="423"/>
                    </a:lnTo>
                    <a:close/>
                    <a:moveTo>
                      <a:pt x="582" y="332"/>
                    </a:moveTo>
                    <a:lnTo>
                      <a:pt x="583" y="333"/>
                    </a:lnTo>
                    <a:lnTo>
                      <a:pt x="584" y="333"/>
                    </a:lnTo>
                    <a:lnTo>
                      <a:pt x="584" y="334"/>
                    </a:lnTo>
                    <a:lnTo>
                      <a:pt x="585" y="334"/>
                    </a:lnTo>
                    <a:lnTo>
                      <a:pt x="586" y="334"/>
                    </a:lnTo>
                    <a:lnTo>
                      <a:pt x="588" y="334"/>
                    </a:lnTo>
                    <a:lnTo>
                      <a:pt x="588" y="335"/>
                    </a:lnTo>
                    <a:lnTo>
                      <a:pt x="588" y="334"/>
                    </a:lnTo>
                    <a:lnTo>
                      <a:pt x="588" y="333"/>
                    </a:lnTo>
                    <a:lnTo>
                      <a:pt x="589" y="333"/>
                    </a:lnTo>
                    <a:lnTo>
                      <a:pt x="589" y="334"/>
                    </a:lnTo>
                    <a:lnTo>
                      <a:pt x="589" y="335"/>
                    </a:lnTo>
                    <a:lnTo>
                      <a:pt x="590" y="335"/>
                    </a:lnTo>
                    <a:lnTo>
                      <a:pt x="589" y="335"/>
                    </a:lnTo>
                    <a:lnTo>
                      <a:pt x="589" y="336"/>
                    </a:lnTo>
                    <a:lnTo>
                      <a:pt x="589" y="337"/>
                    </a:lnTo>
                    <a:lnTo>
                      <a:pt x="589" y="338"/>
                    </a:lnTo>
                    <a:lnTo>
                      <a:pt x="589" y="339"/>
                    </a:lnTo>
                    <a:lnTo>
                      <a:pt x="588" y="339"/>
                    </a:lnTo>
                    <a:lnTo>
                      <a:pt x="588" y="340"/>
                    </a:lnTo>
                    <a:lnTo>
                      <a:pt x="586" y="339"/>
                    </a:lnTo>
                    <a:lnTo>
                      <a:pt x="586" y="338"/>
                    </a:lnTo>
                    <a:lnTo>
                      <a:pt x="585" y="338"/>
                    </a:lnTo>
                    <a:lnTo>
                      <a:pt x="584" y="339"/>
                    </a:lnTo>
                    <a:lnTo>
                      <a:pt x="584" y="338"/>
                    </a:lnTo>
                    <a:lnTo>
                      <a:pt x="583" y="337"/>
                    </a:lnTo>
                    <a:lnTo>
                      <a:pt x="584" y="336"/>
                    </a:lnTo>
                    <a:lnTo>
                      <a:pt x="585" y="336"/>
                    </a:lnTo>
                    <a:lnTo>
                      <a:pt x="585" y="337"/>
                    </a:lnTo>
                    <a:lnTo>
                      <a:pt x="586" y="337"/>
                    </a:lnTo>
                    <a:lnTo>
                      <a:pt x="586" y="338"/>
                    </a:lnTo>
                    <a:lnTo>
                      <a:pt x="586" y="337"/>
                    </a:lnTo>
                    <a:lnTo>
                      <a:pt x="585" y="337"/>
                    </a:lnTo>
                    <a:lnTo>
                      <a:pt x="586" y="337"/>
                    </a:lnTo>
                    <a:lnTo>
                      <a:pt x="585" y="336"/>
                    </a:lnTo>
                    <a:lnTo>
                      <a:pt x="586" y="336"/>
                    </a:lnTo>
                    <a:lnTo>
                      <a:pt x="586" y="335"/>
                    </a:lnTo>
                    <a:lnTo>
                      <a:pt x="586" y="334"/>
                    </a:lnTo>
                    <a:lnTo>
                      <a:pt x="586" y="335"/>
                    </a:lnTo>
                    <a:lnTo>
                      <a:pt x="585" y="335"/>
                    </a:lnTo>
                    <a:lnTo>
                      <a:pt x="586" y="335"/>
                    </a:lnTo>
                    <a:lnTo>
                      <a:pt x="585" y="336"/>
                    </a:lnTo>
                    <a:lnTo>
                      <a:pt x="585" y="335"/>
                    </a:lnTo>
                    <a:lnTo>
                      <a:pt x="585" y="336"/>
                    </a:lnTo>
                    <a:lnTo>
                      <a:pt x="584" y="336"/>
                    </a:lnTo>
                    <a:lnTo>
                      <a:pt x="584" y="335"/>
                    </a:lnTo>
                    <a:lnTo>
                      <a:pt x="584" y="336"/>
                    </a:lnTo>
                    <a:lnTo>
                      <a:pt x="583" y="335"/>
                    </a:lnTo>
                    <a:lnTo>
                      <a:pt x="583" y="336"/>
                    </a:lnTo>
                    <a:lnTo>
                      <a:pt x="583" y="337"/>
                    </a:lnTo>
                    <a:lnTo>
                      <a:pt x="582" y="337"/>
                    </a:lnTo>
                    <a:lnTo>
                      <a:pt x="581" y="337"/>
                    </a:lnTo>
                    <a:lnTo>
                      <a:pt x="581" y="336"/>
                    </a:lnTo>
                    <a:lnTo>
                      <a:pt x="581" y="335"/>
                    </a:lnTo>
                    <a:lnTo>
                      <a:pt x="581" y="334"/>
                    </a:lnTo>
                    <a:lnTo>
                      <a:pt x="582" y="334"/>
                    </a:lnTo>
                    <a:lnTo>
                      <a:pt x="582" y="333"/>
                    </a:lnTo>
                    <a:lnTo>
                      <a:pt x="581" y="333"/>
                    </a:lnTo>
                    <a:lnTo>
                      <a:pt x="580" y="333"/>
                    </a:lnTo>
                    <a:lnTo>
                      <a:pt x="580" y="334"/>
                    </a:lnTo>
                    <a:lnTo>
                      <a:pt x="580" y="333"/>
                    </a:lnTo>
                    <a:lnTo>
                      <a:pt x="580" y="332"/>
                    </a:lnTo>
                    <a:lnTo>
                      <a:pt x="581" y="332"/>
                    </a:lnTo>
                    <a:lnTo>
                      <a:pt x="582" y="332"/>
                    </a:lnTo>
                    <a:lnTo>
                      <a:pt x="582" y="331"/>
                    </a:lnTo>
                    <a:lnTo>
                      <a:pt x="582" y="332"/>
                    </a:lnTo>
                    <a:close/>
                    <a:moveTo>
                      <a:pt x="520" y="390"/>
                    </a:moveTo>
                    <a:lnTo>
                      <a:pt x="521" y="390"/>
                    </a:lnTo>
                    <a:lnTo>
                      <a:pt x="522" y="390"/>
                    </a:lnTo>
                    <a:lnTo>
                      <a:pt x="522" y="391"/>
                    </a:lnTo>
                    <a:lnTo>
                      <a:pt x="524" y="391"/>
                    </a:lnTo>
                    <a:lnTo>
                      <a:pt x="525" y="393"/>
                    </a:lnTo>
                    <a:lnTo>
                      <a:pt x="526" y="396"/>
                    </a:lnTo>
                    <a:lnTo>
                      <a:pt x="526" y="397"/>
                    </a:lnTo>
                    <a:lnTo>
                      <a:pt x="525" y="397"/>
                    </a:lnTo>
                    <a:lnTo>
                      <a:pt x="526" y="397"/>
                    </a:lnTo>
                    <a:lnTo>
                      <a:pt x="525" y="396"/>
                    </a:lnTo>
                    <a:lnTo>
                      <a:pt x="525" y="395"/>
                    </a:lnTo>
                    <a:lnTo>
                      <a:pt x="525" y="393"/>
                    </a:lnTo>
                    <a:lnTo>
                      <a:pt x="524" y="393"/>
                    </a:lnTo>
                    <a:lnTo>
                      <a:pt x="524" y="392"/>
                    </a:lnTo>
                    <a:lnTo>
                      <a:pt x="522" y="392"/>
                    </a:lnTo>
                    <a:lnTo>
                      <a:pt x="522" y="393"/>
                    </a:lnTo>
                    <a:lnTo>
                      <a:pt x="522" y="395"/>
                    </a:lnTo>
                    <a:lnTo>
                      <a:pt x="524" y="395"/>
                    </a:lnTo>
                    <a:lnTo>
                      <a:pt x="524" y="396"/>
                    </a:lnTo>
                    <a:lnTo>
                      <a:pt x="525" y="396"/>
                    </a:lnTo>
                    <a:lnTo>
                      <a:pt x="525" y="397"/>
                    </a:lnTo>
                    <a:lnTo>
                      <a:pt x="526" y="397"/>
                    </a:lnTo>
                    <a:lnTo>
                      <a:pt x="526" y="398"/>
                    </a:lnTo>
                    <a:lnTo>
                      <a:pt x="527" y="399"/>
                    </a:lnTo>
                    <a:lnTo>
                      <a:pt x="528" y="399"/>
                    </a:lnTo>
                    <a:lnTo>
                      <a:pt x="526" y="398"/>
                    </a:lnTo>
                    <a:lnTo>
                      <a:pt x="526" y="397"/>
                    </a:lnTo>
                    <a:lnTo>
                      <a:pt x="526" y="398"/>
                    </a:lnTo>
                    <a:lnTo>
                      <a:pt x="527" y="398"/>
                    </a:lnTo>
                    <a:lnTo>
                      <a:pt x="528" y="398"/>
                    </a:lnTo>
                    <a:lnTo>
                      <a:pt x="528" y="399"/>
                    </a:lnTo>
                    <a:lnTo>
                      <a:pt x="528" y="400"/>
                    </a:lnTo>
                    <a:lnTo>
                      <a:pt x="529" y="400"/>
                    </a:lnTo>
                    <a:lnTo>
                      <a:pt x="529" y="401"/>
                    </a:lnTo>
                    <a:lnTo>
                      <a:pt x="529" y="400"/>
                    </a:lnTo>
                    <a:lnTo>
                      <a:pt x="528" y="400"/>
                    </a:lnTo>
                    <a:lnTo>
                      <a:pt x="527" y="400"/>
                    </a:lnTo>
                    <a:lnTo>
                      <a:pt x="526" y="400"/>
                    </a:lnTo>
                    <a:lnTo>
                      <a:pt x="526" y="399"/>
                    </a:lnTo>
                    <a:lnTo>
                      <a:pt x="525" y="399"/>
                    </a:lnTo>
                    <a:lnTo>
                      <a:pt x="525" y="398"/>
                    </a:lnTo>
                    <a:lnTo>
                      <a:pt x="524" y="398"/>
                    </a:lnTo>
                    <a:lnTo>
                      <a:pt x="524" y="397"/>
                    </a:lnTo>
                    <a:lnTo>
                      <a:pt x="522" y="397"/>
                    </a:lnTo>
                    <a:lnTo>
                      <a:pt x="522" y="396"/>
                    </a:lnTo>
                    <a:lnTo>
                      <a:pt x="521" y="396"/>
                    </a:lnTo>
                    <a:lnTo>
                      <a:pt x="521" y="395"/>
                    </a:lnTo>
                    <a:lnTo>
                      <a:pt x="521" y="393"/>
                    </a:lnTo>
                    <a:lnTo>
                      <a:pt x="520" y="393"/>
                    </a:lnTo>
                    <a:lnTo>
                      <a:pt x="520" y="392"/>
                    </a:lnTo>
                    <a:lnTo>
                      <a:pt x="519" y="391"/>
                    </a:lnTo>
                    <a:lnTo>
                      <a:pt x="518" y="391"/>
                    </a:lnTo>
                    <a:lnTo>
                      <a:pt x="517" y="390"/>
                    </a:lnTo>
                    <a:lnTo>
                      <a:pt x="518" y="388"/>
                    </a:lnTo>
                    <a:lnTo>
                      <a:pt x="520" y="389"/>
                    </a:lnTo>
                    <a:lnTo>
                      <a:pt x="520" y="390"/>
                    </a:lnTo>
                    <a:close/>
                    <a:moveTo>
                      <a:pt x="583" y="430"/>
                    </a:moveTo>
                    <a:lnTo>
                      <a:pt x="584" y="431"/>
                    </a:lnTo>
                    <a:lnTo>
                      <a:pt x="585" y="431"/>
                    </a:lnTo>
                    <a:lnTo>
                      <a:pt x="585" y="430"/>
                    </a:lnTo>
                    <a:lnTo>
                      <a:pt x="585" y="431"/>
                    </a:lnTo>
                    <a:lnTo>
                      <a:pt x="586" y="431"/>
                    </a:lnTo>
                    <a:lnTo>
                      <a:pt x="586" y="433"/>
                    </a:lnTo>
                    <a:lnTo>
                      <a:pt x="588" y="433"/>
                    </a:lnTo>
                    <a:lnTo>
                      <a:pt x="589" y="433"/>
                    </a:lnTo>
                    <a:lnTo>
                      <a:pt x="589" y="431"/>
                    </a:lnTo>
                    <a:lnTo>
                      <a:pt x="588" y="431"/>
                    </a:lnTo>
                    <a:lnTo>
                      <a:pt x="589" y="431"/>
                    </a:lnTo>
                    <a:lnTo>
                      <a:pt x="590" y="433"/>
                    </a:lnTo>
                    <a:lnTo>
                      <a:pt x="591" y="433"/>
                    </a:lnTo>
                    <a:lnTo>
                      <a:pt x="590" y="433"/>
                    </a:lnTo>
                    <a:lnTo>
                      <a:pt x="591" y="433"/>
                    </a:lnTo>
                    <a:lnTo>
                      <a:pt x="592" y="433"/>
                    </a:lnTo>
                    <a:lnTo>
                      <a:pt x="593" y="433"/>
                    </a:lnTo>
                    <a:lnTo>
                      <a:pt x="593" y="434"/>
                    </a:lnTo>
                    <a:lnTo>
                      <a:pt x="593" y="435"/>
                    </a:lnTo>
                    <a:lnTo>
                      <a:pt x="592" y="434"/>
                    </a:lnTo>
                    <a:lnTo>
                      <a:pt x="593" y="435"/>
                    </a:lnTo>
                    <a:lnTo>
                      <a:pt x="593" y="436"/>
                    </a:lnTo>
                    <a:lnTo>
                      <a:pt x="594" y="436"/>
                    </a:lnTo>
                    <a:lnTo>
                      <a:pt x="594" y="437"/>
                    </a:lnTo>
                    <a:lnTo>
                      <a:pt x="593" y="437"/>
                    </a:lnTo>
                    <a:lnTo>
                      <a:pt x="593" y="438"/>
                    </a:lnTo>
                    <a:lnTo>
                      <a:pt x="592" y="439"/>
                    </a:lnTo>
                    <a:lnTo>
                      <a:pt x="591" y="439"/>
                    </a:lnTo>
                    <a:lnTo>
                      <a:pt x="590" y="439"/>
                    </a:lnTo>
                    <a:lnTo>
                      <a:pt x="590" y="438"/>
                    </a:lnTo>
                    <a:lnTo>
                      <a:pt x="591" y="438"/>
                    </a:lnTo>
                    <a:lnTo>
                      <a:pt x="592" y="438"/>
                    </a:lnTo>
                    <a:lnTo>
                      <a:pt x="593" y="437"/>
                    </a:lnTo>
                    <a:lnTo>
                      <a:pt x="592" y="437"/>
                    </a:lnTo>
                    <a:lnTo>
                      <a:pt x="592" y="438"/>
                    </a:lnTo>
                    <a:lnTo>
                      <a:pt x="592" y="437"/>
                    </a:lnTo>
                    <a:lnTo>
                      <a:pt x="592" y="438"/>
                    </a:lnTo>
                    <a:lnTo>
                      <a:pt x="592" y="437"/>
                    </a:lnTo>
                    <a:lnTo>
                      <a:pt x="591" y="437"/>
                    </a:lnTo>
                    <a:lnTo>
                      <a:pt x="592" y="436"/>
                    </a:lnTo>
                    <a:lnTo>
                      <a:pt x="593" y="437"/>
                    </a:lnTo>
                    <a:lnTo>
                      <a:pt x="593" y="436"/>
                    </a:lnTo>
                    <a:lnTo>
                      <a:pt x="592" y="436"/>
                    </a:lnTo>
                    <a:lnTo>
                      <a:pt x="591" y="437"/>
                    </a:lnTo>
                    <a:lnTo>
                      <a:pt x="591" y="436"/>
                    </a:lnTo>
                    <a:lnTo>
                      <a:pt x="591" y="435"/>
                    </a:lnTo>
                    <a:lnTo>
                      <a:pt x="590" y="435"/>
                    </a:lnTo>
                    <a:lnTo>
                      <a:pt x="589" y="435"/>
                    </a:lnTo>
                    <a:lnTo>
                      <a:pt x="589" y="434"/>
                    </a:lnTo>
                    <a:lnTo>
                      <a:pt x="589" y="435"/>
                    </a:lnTo>
                    <a:lnTo>
                      <a:pt x="588" y="434"/>
                    </a:lnTo>
                    <a:lnTo>
                      <a:pt x="586" y="434"/>
                    </a:lnTo>
                    <a:lnTo>
                      <a:pt x="585" y="434"/>
                    </a:lnTo>
                    <a:lnTo>
                      <a:pt x="584" y="434"/>
                    </a:lnTo>
                    <a:lnTo>
                      <a:pt x="584" y="433"/>
                    </a:lnTo>
                    <a:lnTo>
                      <a:pt x="584" y="434"/>
                    </a:lnTo>
                    <a:lnTo>
                      <a:pt x="583" y="434"/>
                    </a:lnTo>
                    <a:lnTo>
                      <a:pt x="582" y="434"/>
                    </a:lnTo>
                    <a:lnTo>
                      <a:pt x="582" y="433"/>
                    </a:lnTo>
                    <a:lnTo>
                      <a:pt x="582" y="431"/>
                    </a:lnTo>
                    <a:lnTo>
                      <a:pt x="581" y="431"/>
                    </a:lnTo>
                    <a:lnTo>
                      <a:pt x="582" y="430"/>
                    </a:lnTo>
                    <a:lnTo>
                      <a:pt x="583" y="430"/>
                    </a:lnTo>
                    <a:close/>
                    <a:moveTo>
                      <a:pt x="380" y="466"/>
                    </a:moveTo>
                    <a:lnTo>
                      <a:pt x="379" y="466"/>
                    </a:lnTo>
                    <a:lnTo>
                      <a:pt x="379" y="467"/>
                    </a:lnTo>
                    <a:lnTo>
                      <a:pt x="379" y="468"/>
                    </a:lnTo>
                    <a:lnTo>
                      <a:pt x="378" y="468"/>
                    </a:lnTo>
                    <a:lnTo>
                      <a:pt x="378" y="469"/>
                    </a:lnTo>
                    <a:lnTo>
                      <a:pt x="378" y="470"/>
                    </a:lnTo>
                    <a:lnTo>
                      <a:pt x="377" y="472"/>
                    </a:lnTo>
                    <a:lnTo>
                      <a:pt x="377" y="474"/>
                    </a:lnTo>
                    <a:lnTo>
                      <a:pt x="377" y="475"/>
                    </a:lnTo>
                    <a:lnTo>
                      <a:pt x="377" y="476"/>
                    </a:lnTo>
                    <a:lnTo>
                      <a:pt x="377" y="477"/>
                    </a:lnTo>
                    <a:lnTo>
                      <a:pt x="377" y="478"/>
                    </a:lnTo>
                    <a:lnTo>
                      <a:pt x="376" y="479"/>
                    </a:lnTo>
                    <a:lnTo>
                      <a:pt x="375" y="480"/>
                    </a:lnTo>
                    <a:lnTo>
                      <a:pt x="375" y="479"/>
                    </a:lnTo>
                    <a:lnTo>
                      <a:pt x="376" y="479"/>
                    </a:lnTo>
                    <a:lnTo>
                      <a:pt x="376" y="478"/>
                    </a:lnTo>
                    <a:lnTo>
                      <a:pt x="375" y="478"/>
                    </a:lnTo>
                    <a:lnTo>
                      <a:pt x="375" y="477"/>
                    </a:lnTo>
                    <a:lnTo>
                      <a:pt x="376" y="477"/>
                    </a:lnTo>
                    <a:lnTo>
                      <a:pt x="375" y="477"/>
                    </a:lnTo>
                    <a:lnTo>
                      <a:pt x="375" y="476"/>
                    </a:lnTo>
                    <a:lnTo>
                      <a:pt x="376" y="476"/>
                    </a:lnTo>
                    <a:lnTo>
                      <a:pt x="376" y="475"/>
                    </a:lnTo>
                    <a:lnTo>
                      <a:pt x="376" y="474"/>
                    </a:lnTo>
                    <a:lnTo>
                      <a:pt x="376" y="473"/>
                    </a:lnTo>
                    <a:lnTo>
                      <a:pt x="376" y="472"/>
                    </a:lnTo>
                    <a:lnTo>
                      <a:pt x="376" y="470"/>
                    </a:lnTo>
                    <a:lnTo>
                      <a:pt x="375" y="470"/>
                    </a:lnTo>
                    <a:lnTo>
                      <a:pt x="375" y="469"/>
                    </a:lnTo>
                    <a:lnTo>
                      <a:pt x="374" y="469"/>
                    </a:lnTo>
                    <a:lnTo>
                      <a:pt x="374" y="468"/>
                    </a:lnTo>
                    <a:lnTo>
                      <a:pt x="374" y="467"/>
                    </a:lnTo>
                    <a:lnTo>
                      <a:pt x="374" y="466"/>
                    </a:lnTo>
                    <a:lnTo>
                      <a:pt x="375" y="466"/>
                    </a:lnTo>
                    <a:lnTo>
                      <a:pt x="376" y="466"/>
                    </a:lnTo>
                    <a:lnTo>
                      <a:pt x="376" y="467"/>
                    </a:lnTo>
                    <a:lnTo>
                      <a:pt x="376" y="468"/>
                    </a:lnTo>
                    <a:lnTo>
                      <a:pt x="377" y="468"/>
                    </a:lnTo>
                    <a:lnTo>
                      <a:pt x="377" y="467"/>
                    </a:lnTo>
                    <a:lnTo>
                      <a:pt x="378" y="467"/>
                    </a:lnTo>
                    <a:lnTo>
                      <a:pt x="379" y="467"/>
                    </a:lnTo>
                    <a:lnTo>
                      <a:pt x="379" y="466"/>
                    </a:lnTo>
                    <a:lnTo>
                      <a:pt x="380" y="466"/>
                    </a:lnTo>
                    <a:close/>
                    <a:moveTo>
                      <a:pt x="583" y="337"/>
                    </a:moveTo>
                    <a:lnTo>
                      <a:pt x="584" y="338"/>
                    </a:lnTo>
                    <a:lnTo>
                      <a:pt x="584" y="339"/>
                    </a:lnTo>
                    <a:lnTo>
                      <a:pt x="585" y="339"/>
                    </a:lnTo>
                    <a:lnTo>
                      <a:pt x="584" y="340"/>
                    </a:lnTo>
                    <a:lnTo>
                      <a:pt x="585" y="340"/>
                    </a:lnTo>
                    <a:lnTo>
                      <a:pt x="585" y="341"/>
                    </a:lnTo>
                    <a:lnTo>
                      <a:pt x="586" y="341"/>
                    </a:lnTo>
                    <a:lnTo>
                      <a:pt x="586" y="340"/>
                    </a:lnTo>
                    <a:lnTo>
                      <a:pt x="585" y="340"/>
                    </a:lnTo>
                    <a:lnTo>
                      <a:pt x="585" y="339"/>
                    </a:lnTo>
                    <a:lnTo>
                      <a:pt x="585" y="338"/>
                    </a:lnTo>
                    <a:lnTo>
                      <a:pt x="586" y="339"/>
                    </a:lnTo>
                    <a:lnTo>
                      <a:pt x="586" y="340"/>
                    </a:lnTo>
                    <a:lnTo>
                      <a:pt x="588" y="340"/>
                    </a:lnTo>
                    <a:lnTo>
                      <a:pt x="588" y="339"/>
                    </a:lnTo>
                    <a:lnTo>
                      <a:pt x="589" y="339"/>
                    </a:lnTo>
                    <a:lnTo>
                      <a:pt x="589" y="340"/>
                    </a:lnTo>
                    <a:lnTo>
                      <a:pt x="589" y="341"/>
                    </a:lnTo>
                    <a:lnTo>
                      <a:pt x="590" y="341"/>
                    </a:lnTo>
                    <a:lnTo>
                      <a:pt x="591" y="341"/>
                    </a:lnTo>
                    <a:lnTo>
                      <a:pt x="591" y="342"/>
                    </a:lnTo>
                    <a:lnTo>
                      <a:pt x="590" y="342"/>
                    </a:lnTo>
                    <a:lnTo>
                      <a:pt x="589" y="342"/>
                    </a:lnTo>
                    <a:lnTo>
                      <a:pt x="589" y="344"/>
                    </a:lnTo>
                    <a:lnTo>
                      <a:pt x="588" y="345"/>
                    </a:lnTo>
                    <a:lnTo>
                      <a:pt x="588" y="346"/>
                    </a:lnTo>
                    <a:lnTo>
                      <a:pt x="586" y="346"/>
                    </a:lnTo>
                    <a:lnTo>
                      <a:pt x="586" y="347"/>
                    </a:lnTo>
                    <a:lnTo>
                      <a:pt x="588" y="348"/>
                    </a:lnTo>
                    <a:lnTo>
                      <a:pt x="586" y="348"/>
                    </a:lnTo>
                    <a:lnTo>
                      <a:pt x="586" y="347"/>
                    </a:lnTo>
                    <a:lnTo>
                      <a:pt x="586" y="346"/>
                    </a:lnTo>
                    <a:lnTo>
                      <a:pt x="586" y="345"/>
                    </a:lnTo>
                    <a:lnTo>
                      <a:pt x="586" y="344"/>
                    </a:lnTo>
                    <a:lnTo>
                      <a:pt x="586" y="342"/>
                    </a:lnTo>
                    <a:lnTo>
                      <a:pt x="586" y="344"/>
                    </a:lnTo>
                    <a:lnTo>
                      <a:pt x="585" y="342"/>
                    </a:lnTo>
                    <a:lnTo>
                      <a:pt x="585" y="341"/>
                    </a:lnTo>
                    <a:lnTo>
                      <a:pt x="584" y="341"/>
                    </a:lnTo>
                    <a:lnTo>
                      <a:pt x="583" y="341"/>
                    </a:lnTo>
                    <a:lnTo>
                      <a:pt x="584" y="341"/>
                    </a:lnTo>
                    <a:lnTo>
                      <a:pt x="583" y="339"/>
                    </a:lnTo>
                    <a:lnTo>
                      <a:pt x="583" y="338"/>
                    </a:lnTo>
                    <a:lnTo>
                      <a:pt x="582" y="338"/>
                    </a:lnTo>
                    <a:lnTo>
                      <a:pt x="582" y="337"/>
                    </a:lnTo>
                    <a:lnTo>
                      <a:pt x="581" y="337"/>
                    </a:lnTo>
                    <a:lnTo>
                      <a:pt x="582" y="337"/>
                    </a:lnTo>
                    <a:lnTo>
                      <a:pt x="583" y="337"/>
                    </a:lnTo>
                    <a:lnTo>
                      <a:pt x="583" y="336"/>
                    </a:lnTo>
                    <a:lnTo>
                      <a:pt x="584" y="336"/>
                    </a:lnTo>
                    <a:lnTo>
                      <a:pt x="583" y="337"/>
                    </a:lnTo>
                    <a:close/>
                    <a:moveTo>
                      <a:pt x="403" y="575"/>
                    </a:moveTo>
                    <a:lnTo>
                      <a:pt x="404" y="575"/>
                    </a:lnTo>
                    <a:lnTo>
                      <a:pt x="405" y="575"/>
                    </a:lnTo>
                    <a:lnTo>
                      <a:pt x="406" y="575"/>
                    </a:lnTo>
                    <a:lnTo>
                      <a:pt x="405" y="576"/>
                    </a:lnTo>
                    <a:lnTo>
                      <a:pt x="404" y="576"/>
                    </a:lnTo>
                    <a:lnTo>
                      <a:pt x="403" y="577"/>
                    </a:lnTo>
                    <a:lnTo>
                      <a:pt x="402" y="577"/>
                    </a:lnTo>
                    <a:lnTo>
                      <a:pt x="401" y="577"/>
                    </a:lnTo>
                    <a:lnTo>
                      <a:pt x="400" y="577"/>
                    </a:lnTo>
                    <a:lnTo>
                      <a:pt x="398" y="577"/>
                    </a:lnTo>
                    <a:lnTo>
                      <a:pt x="396" y="577"/>
                    </a:lnTo>
                    <a:lnTo>
                      <a:pt x="395" y="577"/>
                    </a:lnTo>
                    <a:lnTo>
                      <a:pt x="395" y="576"/>
                    </a:lnTo>
                    <a:lnTo>
                      <a:pt x="396" y="576"/>
                    </a:lnTo>
                    <a:lnTo>
                      <a:pt x="397" y="576"/>
                    </a:lnTo>
                    <a:lnTo>
                      <a:pt x="397" y="575"/>
                    </a:lnTo>
                    <a:lnTo>
                      <a:pt x="398" y="575"/>
                    </a:lnTo>
                    <a:lnTo>
                      <a:pt x="400" y="575"/>
                    </a:lnTo>
                    <a:lnTo>
                      <a:pt x="401" y="575"/>
                    </a:lnTo>
                    <a:lnTo>
                      <a:pt x="402" y="575"/>
                    </a:lnTo>
                    <a:lnTo>
                      <a:pt x="402" y="573"/>
                    </a:lnTo>
                    <a:lnTo>
                      <a:pt x="403" y="573"/>
                    </a:lnTo>
                    <a:lnTo>
                      <a:pt x="403" y="575"/>
                    </a:lnTo>
                    <a:close/>
                    <a:moveTo>
                      <a:pt x="493" y="298"/>
                    </a:moveTo>
                    <a:lnTo>
                      <a:pt x="493" y="299"/>
                    </a:lnTo>
                    <a:lnTo>
                      <a:pt x="493" y="300"/>
                    </a:lnTo>
                    <a:lnTo>
                      <a:pt x="493" y="301"/>
                    </a:lnTo>
                    <a:lnTo>
                      <a:pt x="493" y="302"/>
                    </a:lnTo>
                    <a:lnTo>
                      <a:pt x="494" y="302"/>
                    </a:lnTo>
                    <a:lnTo>
                      <a:pt x="495" y="302"/>
                    </a:lnTo>
                    <a:lnTo>
                      <a:pt x="495" y="303"/>
                    </a:lnTo>
                    <a:lnTo>
                      <a:pt x="494" y="303"/>
                    </a:lnTo>
                    <a:lnTo>
                      <a:pt x="493" y="303"/>
                    </a:lnTo>
                    <a:lnTo>
                      <a:pt x="493" y="302"/>
                    </a:lnTo>
                    <a:lnTo>
                      <a:pt x="492" y="302"/>
                    </a:lnTo>
                    <a:lnTo>
                      <a:pt x="491" y="302"/>
                    </a:lnTo>
                    <a:lnTo>
                      <a:pt x="491" y="301"/>
                    </a:lnTo>
                    <a:lnTo>
                      <a:pt x="490" y="301"/>
                    </a:lnTo>
                    <a:lnTo>
                      <a:pt x="489" y="301"/>
                    </a:lnTo>
                    <a:lnTo>
                      <a:pt x="488" y="300"/>
                    </a:lnTo>
                    <a:lnTo>
                      <a:pt x="487" y="300"/>
                    </a:lnTo>
                    <a:lnTo>
                      <a:pt x="486" y="300"/>
                    </a:lnTo>
                    <a:lnTo>
                      <a:pt x="486" y="299"/>
                    </a:lnTo>
                    <a:lnTo>
                      <a:pt x="487" y="299"/>
                    </a:lnTo>
                    <a:lnTo>
                      <a:pt x="488" y="299"/>
                    </a:lnTo>
                    <a:lnTo>
                      <a:pt x="488" y="298"/>
                    </a:lnTo>
                    <a:lnTo>
                      <a:pt x="489" y="298"/>
                    </a:lnTo>
                    <a:lnTo>
                      <a:pt x="489" y="299"/>
                    </a:lnTo>
                    <a:lnTo>
                      <a:pt x="490" y="299"/>
                    </a:lnTo>
                    <a:lnTo>
                      <a:pt x="491" y="299"/>
                    </a:lnTo>
                    <a:lnTo>
                      <a:pt x="491" y="298"/>
                    </a:lnTo>
                    <a:lnTo>
                      <a:pt x="492" y="298"/>
                    </a:lnTo>
                    <a:lnTo>
                      <a:pt x="493" y="298"/>
                    </a:lnTo>
                    <a:close/>
                    <a:moveTo>
                      <a:pt x="577" y="424"/>
                    </a:moveTo>
                    <a:lnTo>
                      <a:pt x="578" y="424"/>
                    </a:lnTo>
                    <a:lnTo>
                      <a:pt x="578" y="425"/>
                    </a:lnTo>
                    <a:lnTo>
                      <a:pt x="579" y="427"/>
                    </a:lnTo>
                    <a:lnTo>
                      <a:pt x="580" y="428"/>
                    </a:lnTo>
                    <a:lnTo>
                      <a:pt x="581" y="428"/>
                    </a:lnTo>
                    <a:lnTo>
                      <a:pt x="582" y="429"/>
                    </a:lnTo>
                    <a:lnTo>
                      <a:pt x="581" y="429"/>
                    </a:lnTo>
                    <a:lnTo>
                      <a:pt x="581" y="430"/>
                    </a:lnTo>
                    <a:lnTo>
                      <a:pt x="582" y="430"/>
                    </a:lnTo>
                    <a:lnTo>
                      <a:pt x="581" y="431"/>
                    </a:lnTo>
                    <a:lnTo>
                      <a:pt x="580" y="430"/>
                    </a:lnTo>
                    <a:lnTo>
                      <a:pt x="579" y="431"/>
                    </a:lnTo>
                    <a:lnTo>
                      <a:pt x="579" y="433"/>
                    </a:lnTo>
                    <a:lnTo>
                      <a:pt x="580" y="433"/>
                    </a:lnTo>
                    <a:lnTo>
                      <a:pt x="579" y="433"/>
                    </a:lnTo>
                    <a:lnTo>
                      <a:pt x="579" y="431"/>
                    </a:lnTo>
                    <a:lnTo>
                      <a:pt x="578" y="431"/>
                    </a:lnTo>
                    <a:lnTo>
                      <a:pt x="577" y="431"/>
                    </a:lnTo>
                    <a:lnTo>
                      <a:pt x="576" y="431"/>
                    </a:lnTo>
                    <a:lnTo>
                      <a:pt x="576" y="430"/>
                    </a:lnTo>
                    <a:lnTo>
                      <a:pt x="577" y="430"/>
                    </a:lnTo>
                    <a:lnTo>
                      <a:pt x="576" y="430"/>
                    </a:lnTo>
                    <a:lnTo>
                      <a:pt x="576" y="429"/>
                    </a:lnTo>
                    <a:lnTo>
                      <a:pt x="577" y="429"/>
                    </a:lnTo>
                    <a:lnTo>
                      <a:pt x="578" y="429"/>
                    </a:lnTo>
                    <a:lnTo>
                      <a:pt x="578" y="428"/>
                    </a:lnTo>
                    <a:lnTo>
                      <a:pt x="577" y="428"/>
                    </a:lnTo>
                    <a:lnTo>
                      <a:pt x="578" y="428"/>
                    </a:lnTo>
                    <a:lnTo>
                      <a:pt x="578" y="429"/>
                    </a:lnTo>
                    <a:lnTo>
                      <a:pt x="579" y="429"/>
                    </a:lnTo>
                    <a:lnTo>
                      <a:pt x="579" y="428"/>
                    </a:lnTo>
                    <a:lnTo>
                      <a:pt x="579" y="427"/>
                    </a:lnTo>
                    <a:lnTo>
                      <a:pt x="578" y="427"/>
                    </a:lnTo>
                    <a:lnTo>
                      <a:pt x="578" y="426"/>
                    </a:lnTo>
                    <a:lnTo>
                      <a:pt x="577" y="426"/>
                    </a:lnTo>
                    <a:lnTo>
                      <a:pt x="577" y="425"/>
                    </a:lnTo>
                    <a:lnTo>
                      <a:pt x="576" y="424"/>
                    </a:lnTo>
                    <a:lnTo>
                      <a:pt x="575" y="424"/>
                    </a:lnTo>
                    <a:lnTo>
                      <a:pt x="576" y="424"/>
                    </a:lnTo>
                    <a:lnTo>
                      <a:pt x="577" y="424"/>
                    </a:lnTo>
                    <a:close/>
                    <a:moveTo>
                      <a:pt x="449" y="498"/>
                    </a:moveTo>
                    <a:lnTo>
                      <a:pt x="450" y="498"/>
                    </a:lnTo>
                    <a:lnTo>
                      <a:pt x="450" y="495"/>
                    </a:lnTo>
                    <a:lnTo>
                      <a:pt x="451" y="495"/>
                    </a:lnTo>
                    <a:lnTo>
                      <a:pt x="451" y="494"/>
                    </a:lnTo>
                    <a:lnTo>
                      <a:pt x="452" y="494"/>
                    </a:lnTo>
                    <a:lnTo>
                      <a:pt x="452" y="493"/>
                    </a:lnTo>
                    <a:lnTo>
                      <a:pt x="453" y="494"/>
                    </a:lnTo>
                    <a:lnTo>
                      <a:pt x="453" y="495"/>
                    </a:lnTo>
                    <a:lnTo>
                      <a:pt x="452" y="496"/>
                    </a:lnTo>
                    <a:lnTo>
                      <a:pt x="452" y="498"/>
                    </a:lnTo>
                    <a:lnTo>
                      <a:pt x="452" y="499"/>
                    </a:lnTo>
                    <a:lnTo>
                      <a:pt x="451" y="500"/>
                    </a:lnTo>
                    <a:lnTo>
                      <a:pt x="450" y="499"/>
                    </a:lnTo>
                    <a:lnTo>
                      <a:pt x="449" y="498"/>
                    </a:lnTo>
                    <a:lnTo>
                      <a:pt x="447" y="498"/>
                    </a:lnTo>
                    <a:lnTo>
                      <a:pt x="447" y="496"/>
                    </a:lnTo>
                    <a:lnTo>
                      <a:pt x="446" y="495"/>
                    </a:lnTo>
                    <a:lnTo>
                      <a:pt x="444" y="495"/>
                    </a:lnTo>
                    <a:lnTo>
                      <a:pt x="444" y="494"/>
                    </a:lnTo>
                    <a:lnTo>
                      <a:pt x="444" y="493"/>
                    </a:lnTo>
                    <a:lnTo>
                      <a:pt x="446" y="493"/>
                    </a:lnTo>
                    <a:lnTo>
                      <a:pt x="446" y="494"/>
                    </a:lnTo>
                    <a:lnTo>
                      <a:pt x="447" y="495"/>
                    </a:lnTo>
                    <a:lnTo>
                      <a:pt x="448" y="495"/>
                    </a:lnTo>
                    <a:lnTo>
                      <a:pt x="448" y="496"/>
                    </a:lnTo>
                    <a:lnTo>
                      <a:pt x="449" y="496"/>
                    </a:lnTo>
                    <a:lnTo>
                      <a:pt x="449" y="498"/>
                    </a:lnTo>
                    <a:close/>
                    <a:moveTo>
                      <a:pt x="446" y="525"/>
                    </a:moveTo>
                    <a:lnTo>
                      <a:pt x="444" y="525"/>
                    </a:lnTo>
                    <a:lnTo>
                      <a:pt x="443" y="525"/>
                    </a:lnTo>
                    <a:lnTo>
                      <a:pt x="442" y="525"/>
                    </a:lnTo>
                    <a:lnTo>
                      <a:pt x="441" y="526"/>
                    </a:lnTo>
                    <a:lnTo>
                      <a:pt x="440" y="525"/>
                    </a:lnTo>
                    <a:lnTo>
                      <a:pt x="441" y="524"/>
                    </a:lnTo>
                    <a:lnTo>
                      <a:pt x="442" y="523"/>
                    </a:lnTo>
                    <a:lnTo>
                      <a:pt x="443" y="523"/>
                    </a:lnTo>
                    <a:lnTo>
                      <a:pt x="442" y="523"/>
                    </a:lnTo>
                    <a:lnTo>
                      <a:pt x="443" y="523"/>
                    </a:lnTo>
                    <a:lnTo>
                      <a:pt x="443" y="521"/>
                    </a:lnTo>
                    <a:lnTo>
                      <a:pt x="443" y="520"/>
                    </a:lnTo>
                    <a:lnTo>
                      <a:pt x="443" y="519"/>
                    </a:lnTo>
                    <a:lnTo>
                      <a:pt x="444" y="519"/>
                    </a:lnTo>
                    <a:lnTo>
                      <a:pt x="444" y="520"/>
                    </a:lnTo>
                    <a:lnTo>
                      <a:pt x="446" y="521"/>
                    </a:lnTo>
                    <a:lnTo>
                      <a:pt x="447" y="521"/>
                    </a:lnTo>
                    <a:lnTo>
                      <a:pt x="448" y="521"/>
                    </a:lnTo>
                    <a:lnTo>
                      <a:pt x="448" y="523"/>
                    </a:lnTo>
                    <a:lnTo>
                      <a:pt x="447" y="524"/>
                    </a:lnTo>
                    <a:lnTo>
                      <a:pt x="446" y="524"/>
                    </a:lnTo>
                    <a:lnTo>
                      <a:pt x="446" y="525"/>
                    </a:lnTo>
                    <a:close/>
                    <a:moveTo>
                      <a:pt x="597" y="438"/>
                    </a:moveTo>
                    <a:lnTo>
                      <a:pt x="598" y="439"/>
                    </a:lnTo>
                    <a:lnTo>
                      <a:pt x="599" y="439"/>
                    </a:lnTo>
                    <a:lnTo>
                      <a:pt x="599" y="438"/>
                    </a:lnTo>
                    <a:lnTo>
                      <a:pt x="601" y="438"/>
                    </a:lnTo>
                    <a:lnTo>
                      <a:pt x="599" y="439"/>
                    </a:lnTo>
                    <a:lnTo>
                      <a:pt x="598" y="439"/>
                    </a:lnTo>
                    <a:lnTo>
                      <a:pt x="598" y="441"/>
                    </a:lnTo>
                    <a:lnTo>
                      <a:pt x="599" y="441"/>
                    </a:lnTo>
                    <a:lnTo>
                      <a:pt x="599" y="442"/>
                    </a:lnTo>
                    <a:lnTo>
                      <a:pt x="599" y="443"/>
                    </a:lnTo>
                    <a:lnTo>
                      <a:pt x="601" y="443"/>
                    </a:lnTo>
                    <a:lnTo>
                      <a:pt x="599" y="444"/>
                    </a:lnTo>
                    <a:lnTo>
                      <a:pt x="599" y="446"/>
                    </a:lnTo>
                    <a:lnTo>
                      <a:pt x="599" y="447"/>
                    </a:lnTo>
                    <a:lnTo>
                      <a:pt x="598" y="447"/>
                    </a:lnTo>
                    <a:lnTo>
                      <a:pt x="598" y="446"/>
                    </a:lnTo>
                    <a:lnTo>
                      <a:pt x="598" y="444"/>
                    </a:lnTo>
                    <a:lnTo>
                      <a:pt x="597" y="444"/>
                    </a:lnTo>
                    <a:lnTo>
                      <a:pt x="597" y="443"/>
                    </a:lnTo>
                    <a:lnTo>
                      <a:pt x="596" y="443"/>
                    </a:lnTo>
                    <a:lnTo>
                      <a:pt x="597" y="442"/>
                    </a:lnTo>
                    <a:lnTo>
                      <a:pt x="597" y="441"/>
                    </a:lnTo>
                    <a:lnTo>
                      <a:pt x="598" y="441"/>
                    </a:lnTo>
                    <a:lnTo>
                      <a:pt x="597" y="440"/>
                    </a:lnTo>
                    <a:lnTo>
                      <a:pt x="597" y="441"/>
                    </a:lnTo>
                    <a:lnTo>
                      <a:pt x="596" y="441"/>
                    </a:lnTo>
                    <a:lnTo>
                      <a:pt x="597" y="440"/>
                    </a:lnTo>
                    <a:lnTo>
                      <a:pt x="596" y="440"/>
                    </a:lnTo>
                    <a:lnTo>
                      <a:pt x="597" y="440"/>
                    </a:lnTo>
                    <a:lnTo>
                      <a:pt x="596" y="440"/>
                    </a:lnTo>
                    <a:lnTo>
                      <a:pt x="596" y="439"/>
                    </a:lnTo>
                    <a:lnTo>
                      <a:pt x="596" y="438"/>
                    </a:lnTo>
                    <a:lnTo>
                      <a:pt x="596" y="439"/>
                    </a:lnTo>
                    <a:lnTo>
                      <a:pt x="597" y="439"/>
                    </a:lnTo>
                    <a:lnTo>
                      <a:pt x="596" y="438"/>
                    </a:lnTo>
                    <a:lnTo>
                      <a:pt x="597" y="438"/>
                    </a:lnTo>
                    <a:lnTo>
                      <a:pt x="597" y="437"/>
                    </a:lnTo>
                    <a:lnTo>
                      <a:pt x="598" y="437"/>
                    </a:lnTo>
                    <a:lnTo>
                      <a:pt x="598" y="438"/>
                    </a:lnTo>
                    <a:lnTo>
                      <a:pt x="597" y="438"/>
                    </a:lnTo>
                    <a:close/>
                    <a:moveTo>
                      <a:pt x="605" y="438"/>
                    </a:moveTo>
                    <a:lnTo>
                      <a:pt x="605" y="439"/>
                    </a:lnTo>
                    <a:lnTo>
                      <a:pt x="606" y="439"/>
                    </a:lnTo>
                    <a:lnTo>
                      <a:pt x="607" y="440"/>
                    </a:lnTo>
                    <a:lnTo>
                      <a:pt x="606" y="440"/>
                    </a:lnTo>
                    <a:lnTo>
                      <a:pt x="606" y="441"/>
                    </a:lnTo>
                    <a:lnTo>
                      <a:pt x="607" y="442"/>
                    </a:lnTo>
                    <a:lnTo>
                      <a:pt x="607" y="443"/>
                    </a:lnTo>
                    <a:lnTo>
                      <a:pt x="606" y="444"/>
                    </a:lnTo>
                    <a:lnTo>
                      <a:pt x="606" y="446"/>
                    </a:lnTo>
                    <a:lnTo>
                      <a:pt x="605" y="446"/>
                    </a:lnTo>
                    <a:lnTo>
                      <a:pt x="605" y="447"/>
                    </a:lnTo>
                    <a:lnTo>
                      <a:pt x="604" y="448"/>
                    </a:lnTo>
                    <a:lnTo>
                      <a:pt x="604" y="447"/>
                    </a:lnTo>
                    <a:lnTo>
                      <a:pt x="605" y="446"/>
                    </a:lnTo>
                    <a:lnTo>
                      <a:pt x="605" y="444"/>
                    </a:lnTo>
                    <a:lnTo>
                      <a:pt x="605" y="443"/>
                    </a:lnTo>
                    <a:lnTo>
                      <a:pt x="605" y="442"/>
                    </a:lnTo>
                    <a:lnTo>
                      <a:pt x="604" y="442"/>
                    </a:lnTo>
                    <a:lnTo>
                      <a:pt x="604" y="441"/>
                    </a:lnTo>
                    <a:lnTo>
                      <a:pt x="603" y="441"/>
                    </a:lnTo>
                    <a:lnTo>
                      <a:pt x="604" y="441"/>
                    </a:lnTo>
                    <a:lnTo>
                      <a:pt x="604" y="440"/>
                    </a:lnTo>
                    <a:lnTo>
                      <a:pt x="605" y="440"/>
                    </a:lnTo>
                    <a:lnTo>
                      <a:pt x="604" y="440"/>
                    </a:lnTo>
                    <a:lnTo>
                      <a:pt x="604" y="439"/>
                    </a:lnTo>
                    <a:lnTo>
                      <a:pt x="603" y="439"/>
                    </a:lnTo>
                    <a:lnTo>
                      <a:pt x="604" y="438"/>
                    </a:lnTo>
                    <a:lnTo>
                      <a:pt x="605" y="438"/>
                    </a:lnTo>
                    <a:close/>
                    <a:moveTo>
                      <a:pt x="371" y="474"/>
                    </a:moveTo>
                    <a:lnTo>
                      <a:pt x="370" y="474"/>
                    </a:lnTo>
                    <a:lnTo>
                      <a:pt x="370" y="475"/>
                    </a:lnTo>
                    <a:lnTo>
                      <a:pt x="371" y="475"/>
                    </a:lnTo>
                    <a:lnTo>
                      <a:pt x="371" y="476"/>
                    </a:lnTo>
                    <a:lnTo>
                      <a:pt x="371" y="477"/>
                    </a:lnTo>
                    <a:lnTo>
                      <a:pt x="372" y="477"/>
                    </a:lnTo>
                    <a:lnTo>
                      <a:pt x="372" y="478"/>
                    </a:lnTo>
                    <a:lnTo>
                      <a:pt x="372" y="479"/>
                    </a:lnTo>
                    <a:lnTo>
                      <a:pt x="373" y="479"/>
                    </a:lnTo>
                    <a:lnTo>
                      <a:pt x="373" y="480"/>
                    </a:lnTo>
                    <a:lnTo>
                      <a:pt x="372" y="480"/>
                    </a:lnTo>
                    <a:lnTo>
                      <a:pt x="372" y="481"/>
                    </a:lnTo>
                    <a:lnTo>
                      <a:pt x="371" y="481"/>
                    </a:lnTo>
                    <a:lnTo>
                      <a:pt x="371" y="482"/>
                    </a:lnTo>
                    <a:lnTo>
                      <a:pt x="370" y="482"/>
                    </a:lnTo>
                    <a:lnTo>
                      <a:pt x="370" y="483"/>
                    </a:lnTo>
                    <a:lnTo>
                      <a:pt x="370" y="485"/>
                    </a:lnTo>
                    <a:lnTo>
                      <a:pt x="371" y="485"/>
                    </a:lnTo>
                    <a:lnTo>
                      <a:pt x="370" y="485"/>
                    </a:lnTo>
                    <a:lnTo>
                      <a:pt x="370" y="486"/>
                    </a:lnTo>
                    <a:lnTo>
                      <a:pt x="369" y="486"/>
                    </a:lnTo>
                    <a:lnTo>
                      <a:pt x="369" y="485"/>
                    </a:lnTo>
                    <a:lnTo>
                      <a:pt x="370" y="483"/>
                    </a:lnTo>
                    <a:lnTo>
                      <a:pt x="370" y="482"/>
                    </a:lnTo>
                    <a:lnTo>
                      <a:pt x="369" y="482"/>
                    </a:lnTo>
                    <a:lnTo>
                      <a:pt x="369" y="481"/>
                    </a:lnTo>
                    <a:lnTo>
                      <a:pt x="370" y="481"/>
                    </a:lnTo>
                    <a:lnTo>
                      <a:pt x="371" y="481"/>
                    </a:lnTo>
                    <a:lnTo>
                      <a:pt x="371" y="480"/>
                    </a:lnTo>
                    <a:lnTo>
                      <a:pt x="371" y="479"/>
                    </a:lnTo>
                    <a:lnTo>
                      <a:pt x="371" y="478"/>
                    </a:lnTo>
                    <a:lnTo>
                      <a:pt x="371" y="477"/>
                    </a:lnTo>
                    <a:lnTo>
                      <a:pt x="370" y="477"/>
                    </a:lnTo>
                    <a:lnTo>
                      <a:pt x="370" y="476"/>
                    </a:lnTo>
                    <a:lnTo>
                      <a:pt x="370" y="475"/>
                    </a:lnTo>
                    <a:lnTo>
                      <a:pt x="369" y="474"/>
                    </a:lnTo>
                    <a:lnTo>
                      <a:pt x="370" y="474"/>
                    </a:lnTo>
                    <a:lnTo>
                      <a:pt x="370" y="473"/>
                    </a:lnTo>
                    <a:lnTo>
                      <a:pt x="371" y="473"/>
                    </a:lnTo>
                    <a:lnTo>
                      <a:pt x="371" y="474"/>
                    </a:lnTo>
                    <a:close/>
                    <a:moveTo>
                      <a:pt x="565" y="418"/>
                    </a:moveTo>
                    <a:lnTo>
                      <a:pt x="565" y="421"/>
                    </a:lnTo>
                    <a:lnTo>
                      <a:pt x="565" y="422"/>
                    </a:lnTo>
                    <a:lnTo>
                      <a:pt x="565" y="423"/>
                    </a:lnTo>
                    <a:lnTo>
                      <a:pt x="564" y="423"/>
                    </a:lnTo>
                    <a:lnTo>
                      <a:pt x="563" y="423"/>
                    </a:lnTo>
                    <a:lnTo>
                      <a:pt x="560" y="423"/>
                    </a:lnTo>
                    <a:lnTo>
                      <a:pt x="559" y="423"/>
                    </a:lnTo>
                    <a:lnTo>
                      <a:pt x="559" y="422"/>
                    </a:lnTo>
                    <a:lnTo>
                      <a:pt x="558" y="422"/>
                    </a:lnTo>
                    <a:lnTo>
                      <a:pt x="559" y="422"/>
                    </a:lnTo>
                    <a:lnTo>
                      <a:pt x="558" y="422"/>
                    </a:lnTo>
                    <a:lnTo>
                      <a:pt x="558" y="421"/>
                    </a:lnTo>
                    <a:lnTo>
                      <a:pt x="559" y="421"/>
                    </a:lnTo>
                    <a:lnTo>
                      <a:pt x="560" y="421"/>
                    </a:lnTo>
                    <a:lnTo>
                      <a:pt x="559" y="421"/>
                    </a:lnTo>
                    <a:lnTo>
                      <a:pt x="558" y="421"/>
                    </a:lnTo>
                    <a:lnTo>
                      <a:pt x="559" y="421"/>
                    </a:lnTo>
                    <a:lnTo>
                      <a:pt x="559" y="422"/>
                    </a:lnTo>
                    <a:lnTo>
                      <a:pt x="560" y="422"/>
                    </a:lnTo>
                    <a:lnTo>
                      <a:pt x="561" y="422"/>
                    </a:lnTo>
                    <a:lnTo>
                      <a:pt x="563" y="422"/>
                    </a:lnTo>
                    <a:lnTo>
                      <a:pt x="561" y="421"/>
                    </a:lnTo>
                    <a:lnTo>
                      <a:pt x="563" y="421"/>
                    </a:lnTo>
                    <a:lnTo>
                      <a:pt x="561" y="419"/>
                    </a:lnTo>
                    <a:lnTo>
                      <a:pt x="563" y="419"/>
                    </a:lnTo>
                    <a:lnTo>
                      <a:pt x="564" y="419"/>
                    </a:lnTo>
                    <a:lnTo>
                      <a:pt x="563" y="419"/>
                    </a:lnTo>
                    <a:lnTo>
                      <a:pt x="563" y="421"/>
                    </a:lnTo>
                    <a:lnTo>
                      <a:pt x="564" y="421"/>
                    </a:lnTo>
                    <a:lnTo>
                      <a:pt x="564" y="419"/>
                    </a:lnTo>
                    <a:lnTo>
                      <a:pt x="564" y="418"/>
                    </a:lnTo>
                    <a:lnTo>
                      <a:pt x="565" y="418"/>
                    </a:lnTo>
                    <a:close/>
                    <a:moveTo>
                      <a:pt x="515" y="245"/>
                    </a:moveTo>
                    <a:lnTo>
                      <a:pt x="515" y="246"/>
                    </a:lnTo>
                    <a:lnTo>
                      <a:pt x="516" y="246"/>
                    </a:lnTo>
                    <a:lnTo>
                      <a:pt x="515" y="246"/>
                    </a:lnTo>
                    <a:lnTo>
                      <a:pt x="514" y="246"/>
                    </a:lnTo>
                    <a:lnTo>
                      <a:pt x="515" y="246"/>
                    </a:lnTo>
                    <a:lnTo>
                      <a:pt x="516" y="246"/>
                    </a:lnTo>
                    <a:lnTo>
                      <a:pt x="517" y="246"/>
                    </a:lnTo>
                    <a:lnTo>
                      <a:pt x="517" y="247"/>
                    </a:lnTo>
                    <a:lnTo>
                      <a:pt x="517" y="248"/>
                    </a:lnTo>
                    <a:lnTo>
                      <a:pt x="516" y="248"/>
                    </a:lnTo>
                    <a:lnTo>
                      <a:pt x="515" y="248"/>
                    </a:lnTo>
                    <a:lnTo>
                      <a:pt x="514" y="248"/>
                    </a:lnTo>
                    <a:lnTo>
                      <a:pt x="514" y="249"/>
                    </a:lnTo>
                    <a:lnTo>
                      <a:pt x="513" y="249"/>
                    </a:lnTo>
                    <a:lnTo>
                      <a:pt x="512" y="249"/>
                    </a:lnTo>
                    <a:lnTo>
                      <a:pt x="512" y="248"/>
                    </a:lnTo>
                    <a:lnTo>
                      <a:pt x="513" y="248"/>
                    </a:lnTo>
                    <a:lnTo>
                      <a:pt x="512" y="248"/>
                    </a:lnTo>
                    <a:lnTo>
                      <a:pt x="511" y="248"/>
                    </a:lnTo>
                    <a:lnTo>
                      <a:pt x="511" y="247"/>
                    </a:lnTo>
                    <a:lnTo>
                      <a:pt x="512" y="246"/>
                    </a:lnTo>
                    <a:lnTo>
                      <a:pt x="513" y="246"/>
                    </a:lnTo>
                    <a:lnTo>
                      <a:pt x="514" y="245"/>
                    </a:lnTo>
                    <a:lnTo>
                      <a:pt x="515" y="245"/>
                    </a:lnTo>
                    <a:close/>
                    <a:moveTo>
                      <a:pt x="409" y="518"/>
                    </a:moveTo>
                    <a:lnTo>
                      <a:pt x="406" y="518"/>
                    </a:lnTo>
                    <a:lnTo>
                      <a:pt x="406" y="519"/>
                    </a:lnTo>
                    <a:lnTo>
                      <a:pt x="405" y="519"/>
                    </a:lnTo>
                    <a:lnTo>
                      <a:pt x="404" y="520"/>
                    </a:lnTo>
                    <a:lnTo>
                      <a:pt x="404" y="521"/>
                    </a:lnTo>
                    <a:lnTo>
                      <a:pt x="403" y="523"/>
                    </a:lnTo>
                    <a:lnTo>
                      <a:pt x="403" y="524"/>
                    </a:lnTo>
                    <a:lnTo>
                      <a:pt x="402" y="524"/>
                    </a:lnTo>
                    <a:lnTo>
                      <a:pt x="402" y="523"/>
                    </a:lnTo>
                    <a:lnTo>
                      <a:pt x="401" y="523"/>
                    </a:lnTo>
                    <a:lnTo>
                      <a:pt x="402" y="521"/>
                    </a:lnTo>
                    <a:lnTo>
                      <a:pt x="403" y="520"/>
                    </a:lnTo>
                    <a:lnTo>
                      <a:pt x="403" y="519"/>
                    </a:lnTo>
                    <a:lnTo>
                      <a:pt x="403" y="518"/>
                    </a:lnTo>
                    <a:lnTo>
                      <a:pt x="404" y="518"/>
                    </a:lnTo>
                    <a:lnTo>
                      <a:pt x="405" y="517"/>
                    </a:lnTo>
                    <a:lnTo>
                      <a:pt x="405" y="518"/>
                    </a:lnTo>
                    <a:lnTo>
                      <a:pt x="408" y="518"/>
                    </a:lnTo>
                    <a:lnTo>
                      <a:pt x="408" y="517"/>
                    </a:lnTo>
                    <a:lnTo>
                      <a:pt x="409" y="516"/>
                    </a:lnTo>
                    <a:lnTo>
                      <a:pt x="410" y="516"/>
                    </a:lnTo>
                    <a:lnTo>
                      <a:pt x="409" y="517"/>
                    </a:lnTo>
                    <a:lnTo>
                      <a:pt x="409" y="518"/>
                    </a:lnTo>
                    <a:close/>
                    <a:moveTo>
                      <a:pt x="544" y="419"/>
                    </a:moveTo>
                    <a:lnTo>
                      <a:pt x="545" y="419"/>
                    </a:lnTo>
                    <a:lnTo>
                      <a:pt x="545" y="421"/>
                    </a:lnTo>
                    <a:lnTo>
                      <a:pt x="545" y="422"/>
                    </a:lnTo>
                    <a:lnTo>
                      <a:pt x="546" y="422"/>
                    </a:lnTo>
                    <a:lnTo>
                      <a:pt x="547" y="422"/>
                    </a:lnTo>
                    <a:lnTo>
                      <a:pt x="548" y="421"/>
                    </a:lnTo>
                    <a:lnTo>
                      <a:pt x="550" y="421"/>
                    </a:lnTo>
                    <a:lnTo>
                      <a:pt x="552" y="421"/>
                    </a:lnTo>
                    <a:lnTo>
                      <a:pt x="552" y="422"/>
                    </a:lnTo>
                    <a:lnTo>
                      <a:pt x="553" y="422"/>
                    </a:lnTo>
                    <a:lnTo>
                      <a:pt x="554" y="422"/>
                    </a:lnTo>
                    <a:lnTo>
                      <a:pt x="554" y="423"/>
                    </a:lnTo>
                    <a:lnTo>
                      <a:pt x="553" y="423"/>
                    </a:lnTo>
                    <a:lnTo>
                      <a:pt x="544" y="422"/>
                    </a:lnTo>
                    <a:lnTo>
                      <a:pt x="545" y="421"/>
                    </a:lnTo>
                    <a:lnTo>
                      <a:pt x="544" y="421"/>
                    </a:lnTo>
                    <a:lnTo>
                      <a:pt x="545" y="421"/>
                    </a:lnTo>
                    <a:lnTo>
                      <a:pt x="544" y="421"/>
                    </a:lnTo>
                    <a:lnTo>
                      <a:pt x="544" y="419"/>
                    </a:lnTo>
                    <a:lnTo>
                      <a:pt x="544" y="418"/>
                    </a:lnTo>
                    <a:lnTo>
                      <a:pt x="544" y="417"/>
                    </a:lnTo>
                    <a:lnTo>
                      <a:pt x="544" y="418"/>
                    </a:lnTo>
                    <a:lnTo>
                      <a:pt x="544" y="419"/>
                    </a:lnTo>
                    <a:close/>
                    <a:moveTo>
                      <a:pt x="589" y="419"/>
                    </a:moveTo>
                    <a:lnTo>
                      <a:pt x="590" y="419"/>
                    </a:lnTo>
                    <a:lnTo>
                      <a:pt x="591" y="419"/>
                    </a:lnTo>
                    <a:lnTo>
                      <a:pt x="591" y="421"/>
                    </a:lnTo>
                    <a:lnTo>
                      <a:pt x="590" y="421"/>
                    </a:lnTo>
                    <a:lnTo>
                      <a:pt x="590" y="422"/>
                    </a:lnTo>
                    <a:lnTo>
                      <a:pt x="590" y="423"/>
                    </a:lnTo>
                    <a:lnTo>
                      <a:pt x="589" y="423"/>
                    </a:lnTo>
                    <a:lnTo>
                      <a:pt x="589" y="422"/>
                    </a:lnTo>
                    <a:lnTo>
                      <a:pt x="588" y="422"/>
                    </a:lnTo>
                    <a:lnTo>
                      <a:pt x="588" y="421"/>
                    </a:lnTo>
                    <a:lnTo>
                      <a:pt x="586" y="421"/>
                    </a:lnTo>
                    <a:lnTo>
                      <a:pt x="585" y="421"/>
                    </a:lnTo>
                    <a:lnTo>
                      <a:pt x="584" y="421"/>
                    </a:lnTo>
                    <a:lnTo>
                      <a:pt x="584" y="419"/>
                    </a:lnTo>
                    <a:lnTo>
                      <a:pt x="585" y="419"/>
                    </a:lnTo>
                    <a:lnTo>
                      <a:pt x="585" y="418"/>
                    </a:lnTo>
                    <a:lnTo>
                      <a:pt x="586" y="418"/>
                    </a:lnTo>
                    <a:lnTo>
                      <a:pt x="586" y="419"/>
                    </a:lnTo>
                    <a:lnTo>
                      <a:pt x="588" y="419"/>
                    </a:lnTo>
                    <a:lnTo>
                      <a:pt x="588" y="418"/>
                    </a:lnTo>
                    <a:lnTo>
                      <a:pt x="589" y="418"/>
                    </a:lnTo>
                    <a:lnTo>
                      <a:pt x="589" y="419"/>
                    </a:lnTo>
                    <a:close/>
                    <a:moveTo>
                      <a:pt x="584" y="347"/>
                    </a:moveTo>
                    <a:lnTo>
                      <a:pt x="584" y="348"/>
                    </a:lnTo>
                    <a:lnTo>
                      <a:pt x="585" y="348"/>
                    </a:lnTo>
                    <a:lnTo>
                      <a:pt x="584" y="349"/>
                    </a:lnTo>
                    <a:lnTo>
                      <a:pt x="585" y="349"/>
                    </a:lnTo>
                    <a:lnTo>
                      <a:pt x="585" y="348"/>
                    </a:lnTo>
                    <a:lnTo>
                      <a:pt x="586" y="349"/>
                    </a:lnTo>
                    <a:lnTo>
                      <a:pt x="585" y="350"/>
                    </a:lnTo>
                    <a:lnTo>
                      <a:pt x="585" y="351"/>
                    </a:lnTo>
                    <a:lnTo>
                      <a:pt x="584" y="351"/>
                    </a:lnTo>
                    <a:lnTo>
                      <a:pt x="583" y="351"/>
                    </a:lnTo>
                    <a:lnTo>
                      <a:pt x="583" y="350"/>
                    </a:lnTo>
                    <a:lnTo>
                      <a:pt x="583" y="351"/>
                    </a:lnTo>
                    <a:lnTo>
                      <a:pt x="584" y="351"/>
                    </a:lnTo>
                    <a:lnTo>
                      <a:pt x="584" y="352"/>
                    </a:lnTo>
                    <a:lnTo>
                      <a:pt x="585" y="351"/>
                    </a:lnTo>
                    <a:lnTo>
                      <a:pt x="585" y="352"/>
                    </a:lnTo>
                    <a:lnTo>
                      <a:pt x="584" y="352"/>
                    </a:lnTo>
                    <a:lnTo>
                      <a:pt x="585" y="352"/>
                    </a:lnTo>
                    <a:lnTo>
                      <a:pt x="584" y="352"/>
                    </a:lnTo>
                    <a:lnTo>
                      <a:pt x="583" y="352"/>
                    </a:lnTo>
                    <a:lnTo>
                      <a:pt x="583" y="351"/>
                    </a:lnTo>
                    <a:lnTo>
                      <a:pt x="583" y="350"/>
                    </a:lnTo>
                    <a:lnTo>
                      <a:pt x="582" y="349"/>
                    </a:lnTo>
                    <a:lnTo>
                      <a:pt x="582" y="348"/>
                    </a:lnTo>
                    <a:lnTo>
                      <a:pt x="581" y="348"/>
                    </a:lnTo>
                    <a:lnTo>
                      <a:pt x="582" y="348"/>
                    </a:lnTo>
                    <a:lnTo>
                      <a:pt x="582" y="347"/>
                    </a:lnTo>
                    <a:lnTo>
                      <a:pt x="583" y="347"/>
                    </a:lnTo>
                    <a:lnTo>
                      <a:pt x="583" y="348"/>
                    </a:lnTo>
                    <a:lnTo>
                      <a:pt x="583" y="347"/>
                    </a:lnTo>
                    <a:lnTo>
                      <a:pt x="584" y="347"/>
                    </a:lnTo>
                    <a:close/>
                    <a:moveTo>
                      <a:pt x="591" y="349"/>
                    </a:moveTo>
                    <a:lnTo>
                      <a:pt x="592" y="349"/>
                    </a:lnTo>
                    <a:lnTo>
                      <a:pt x="592" y="350"/>
                    </a:lnTo>
                    <a:lnTo>
                      <a:pt x="591" y="350"/>
                    </a:lnTo>
                    <a:lnTo>
                      <a:pt x="591" y="351"/>
                    </a:lnTo>
                    <a:lnTo>
                      <a:pt x="591" y="352"/>
                    </a:lnTo>
                    <a:lnTo>
                      <a:pt x="590" y="352"/>
                    </a:lnTo>
                    <a:lnTo>
                      <a:pt x="590" y="351"/>
                    </a:lnTo>
                    <a:lnTo>
                      <a:pt x="589" y="351"/>
                    </a:lnTo>
                    <a:lnTo>
                      <a:pt x="589" y="350"/>
                    </a:lnTo>
                    <a:lnTo>
                      <a:pt x="588" y="350"/>
                    </a:lnTo>
                    <a:lnTo>
                      <a:pt x="589" y="350"/>
                    </a:lnTo>
                    <a:lnTo>
                      <a:pt x="589" y="349"/>
                    </a:lnTo>
                    <a:lnTo>
                      <a:pt x="588" y="350"/>
                    </a:lnTo>
                    <a:lnTo>
                      <a:pt x="585" y="348"/>
                    </a:lnTo>
                    <a:lnTo>
                      <a:pt x="586" y="348"/>
                    </a:lnTo>
                    <a:lnTo>
                      <a:pt x="586" y="349"/>
                    </a:lnTo>
                    <a:lnTo>
                      <a:pt x="588" y="349"/>
                    </a:lnTo>
                    <a:lnTo>
                      <a:pt x="588" y="348"/>
                    </a:lnTo>
                    <a:lnTo>
                      <a:pt x="588" y="347"/>
                    </a:lnTo>
                    <a:lnTo>
                      <a:pt x="589" y="347"/>
                    </a:lnTo>
                    <a:lnTo>
                      <a:pt x="590" y="348"/>
                    </a:lnTo>
                    <a:lnTo>
                      <a:pt x="591" y="349"/>
                    </a:lnTo>
                    <a:close/>
                    <a:moveTo>
                      <a:pt x="444" y="593"/>
                    </a:moveTo>
                    <a:lnTo>
                      <a:pt x="444" y="594"/>
                    </a:lnTo>
                    <a:lnTo>
                      <a:pt x="443" y="594"/>
                    </a:lnTo>
                    <a:lnTo>
                      <a:pt x="442" y="595"/>
                    </a:lnTo>
                    <a:lnTo>
                      <a:pt x="441" y="595"/>
                    </a:lnTo>
                    <a:lnTo>
                      <a:pt x="440" y="595"/>
                    </a:lnTo>
                    <a:lnTo>
                      <a:pt x="439" y="595"/>
                    </a:lnTo>
                    <a:lnTo>
                      <a:pt x="438" y="594"/>
                    </a:lnTo>
                    <a:lnTo>
                      <a:pt x="437" y="593"/>
                    </a:lnTo>
                    <a:lnTo>
                      <a:pt x="438" y="593"/>
                    </a:lnTo>
                    <a:lnTo>
                      <a:pt x="438" y="594"/>
                    </a:lnTo>
                    <a:lnTo>
                      <a:pt x="439" y="594"/>
                    </a:lnTo>
                    <a:lnTo>
                      <a:pt x="440" y="594"/>
                    </a:lnTo>
                    <a:lnTo>
                      <a:pt x="440" y="593"/>
                    </a:lnTo>
                    <a:lnTo>
                      <a:pt x="441" y="593"/>
                    </a:lnTo>
                    <a:lnTo>
                      <a:pt x="442" y="593"/>
                    </a:lnTo>
                    <a:lnTo>
                      <a:pt x="443" y="593"/>
                    </a:lnTo>
                    <a:lnTo>
                      <a:pt x="443" y="592"/>
                    </a:lnTo>
                    <a:lnTo>
                      <a:pt x="444" y="592"/>
                    </a:lnTo>
                    <a:lnTo>
                      <a:pt x="444" y="593"/>
                    </a:lnTo>
                    <a:close/>
                    <a:moveTo>
                      <a:pt x="539" y="418"/>
                    </a:moveTo>
                    <a:lnTo>
                      <a:pt x="539" y="419"/>
                    </a:lnTo>
                    <a:lnTo>
                      <a:pt x="539" y="421"/>
                    </a:lnTo>
                    <a:lnTo>
                      <a:pt x="539" y="419"/>
                    </a:lnTo>
                    <a:lnTo>
                      <a:pt x="539" y="421"/>
                    </a:lnTo>
                    <a:lnTo>
                      <a:pt x="538" y="421"/>
                    </a:lnTo>
                    <a:lnTo>
                      <a:pt x="539" y="421"/>
                    </a:lnTo>
                    <a:lnTo>
                      <a:pt x="539" y="422"/>
                    </a:lnTo>
                    <a:lnTo>
                      <a:pt x="534" y="422"/>
                    </a:lnTo>
                    <a:lnTo>
                      <a:pt x="534" y="421"/>
                    </a:lnTo>
                    <a:lnTo>
                      <a:pt x="534" y="422"/>
                    </a:lnTo>
                    <a:lnTo>
                      <a:pt x="534" y="421"/>
                    </a:lnTo>
                    <a:lnTo>
                      <a:pt x="535" y="421"/>
                    </a:lnTo>
                    <a:lnTo>
                      <a:pt x="535" y="419"/>
                    </a:lnTo>
                    <a:lnTo>
                      <a:pt x="537" y="419"/>
                    </a:lnTo>
                    <a:lnTo>
                      <a:pt x="535" y="419"/>
                    </a:lnTo>
                    <a:lnTo>
                      <a:pt x="535" y="418"/>
                    </a:lnTo>
                    <a:lnTo>
                      <a:pt x="537" y="418"/>
                    </a:lnTo>
                    <a:lnTo>
                      <a:pt x="538" y="418"/>
                    </a:lnTo>
                    <a:lnTo>
                      <a:pt x="538" y="417"/>
                    </a:lnTo>
                    <a:lnTo>
                      <a:pt x="538" y="418"/>
                    </a:lnTo>
                    <a:lnTo>
                      <a:pt x="538" y="417"/>
                    </a:lnTo>
                    <a:lnTo>
                      <a:pt x="539" y="418"/>
                    </a:lnTo>
                    <a:close/>
                    <a:moveTo>
                      <a:pt x="379" y="601"/>
                    </a:moveTo>
                    <a:lnTo>
                      <a:pt x="380" y="601"/>
                    </a:lnTo>
                    <a:lnTo>
                      <a:pt x="382" y="601"/>
                    </a:lnTo>
                    <a:lnTo>
                      <a:pt x="383" y="601"/>
                    </a:lnTo>
                    <a:lnTo>
                      <a:pt x="384" y="602"/>
                    </a:lnTo>
                    <a:lnTo>
                      <a:pt x="385" y="602"/>
                    </a:lnTo>
                    <a:lnTo>
                      <a:pt x="385" y="603"/>
                    </a:lnTo>
                    <a:lnTo>
                      <a:pt x="384" y="602"/>
                    </a:lnTo>
                    <a:lnTo>
                      <a:pt x="378" y="601"/>
                    </a:lnTo>
                    <a:lnTo>
                      <a:pt x="377" y="601"/>
                    </a:lnTo>
                    <a:lnTo>
                      <a:pt x="376" y="601"/>
                    </a:lnTo>
                    <a:lnTo>
                      <a:pt x="375" y="599"/>
                    </a:lnTo>
                    <a:lnTo>
                      <a:pt x="374" y="598"/>
                    </a:lnTo>
                    <a:lnTo>
                      <a:pt x="375" y="598"/>
                    </a:lnTo>
                    <a:lnTo>
                      <a:pt x="376" y="599"/>
                    </a:lnTo>
                    <a:lnTo>
                      <a:pt x="378" y="599"/>
                    </a:lnTo>
                    <a:lnTo>
                      <a:pt x="379" y="601"/>
                    </a:lnTo>
                    <a:close/>
                    <a:moveTo>
                      <a:pt x="592" y="411"/>
                    </a:moveTo>
                    <a:lnTo>
                      <a:pt x="593" y="412"/>
                    </a:lnTo>
                    <a:lnTo>
                      <a:pt x="594" y="412"/>
                    </a:lnTo>
                    <a:lnTo>
                      <a:pt x="593" y="413"/>
                    </a:lnTo>
                    <a:lnTo>
                      <a:pt x="593" y="414"/>
                    </a:lnTo>
                    <a:lnTo>
                      <a:pt x="592" y="414"/>
                    </a:lnTo>
                    <a:lnTo>
                      <a:pt x="592" y="415"/>
                    </a:lnTo>
                    <a:lnTo>
                      <a:pt x="592" y="416"/>
                    </a:lnTo>
                    <a:lnTo>
                      <a:pt x="591" y="415"/>
                    </a:lnTo>
                    <a:lnTo>
                      <a:pt x="591" y="416"/>
                    </a:lnTo>
                    <a:lnTo>
                      <a:pt x="590" y="416"/>
                    </a:lnTo>
                    <a:lnTo>
                      <a:pt x="590" y="415"/>
                    </a:lnTo>
                    <a:lnTo>
                      <a:pt x="591" y="414"/>
                    </a:lnTo>
                    <a:lnTo>
                      <a:pt x="591" y="413"/>
                    </a:lnTo>
                    <a:lnTo>
                      <a:pt x="590" y="413"/>
                    </a:lnTo>
                    <a:lnTo>
                      <a:pt x="590" y="412"/>
                    </a:lnTo>
                    <a:lnTo>
                      <a:pt x="591" y="412"/>
                    </a:lnTo>
                    <a:lnTo>
                      <a:pt x="591" y="411"/>
                    </a:lnTo>
                    <a:lnTo>
                      <a:pt x="592" y="411"/>
                    </a:lnTo>
                    <a:close/>
                    <a:moveTo>
                      <a:pt x="595" y="441"/>
                    </a:moveTo>
                    <a:lnTo>
                      <a:pt x="595" y="442"/>
                    </a:lnTo>
                    <a:lnTo>
                      <a:pt x="595" y="443"/>
                    </a:lnTo>
                    <a:lnTo>
                      <a:pt x="594" y="443"/>
                    </a:lnTo>
                    <a:lnTo>
                      <a:pt x="593" y="442"/>
                    </a:lnTo>
                    <a:lnTo>
                      <a:pt x="592" y="442"/>
                    </a:lnTo>
                    <a:lnTo>
                      <a:pt x="591" y="443"/>
                    </a:lnTo>
                    <a:lnTo>
                      <a:pt x="591" y="442"/>
                    </a:lnTo>
                    <a:lnTo>
                      <a:pt x="590" y="441"/>
                    </a:lnTo>
                    <a:lnTo>
                      <a:pt x="591" y="440"/>
                    </a:lnTo>
                    <a:lnTo>
                      <a:pt x="591" y="441"/>
                    </a:lnTo>
                    <a:lnTo>
                      <a:pt x="592" y="441"/>
                    </a:lnTo>
                    <a:lnTo>
                      <a:pt x="592" y="442"/>
                    </a:lnTo>
                    <a:lnTo>
                      <a:pt x="593" y="442"/>
                    </a:lnTo>
                    <a:lnTo>
                      <a:pt x="593" y="441"/>
                    </a:lnTo>
                    <a:lnTo>
                      <a:pt x="594" y="441"/>
                    </a:lnTo>
                    <a:lnTo>
                      <a:pt x="594" y="440"/>
                    </a:lnTo>
                    <a:lnTo>
                      <a:pt x="593" y="439"/>
                    </a:lnTo>
                    <a:lnTo>
                      <a:pt x="593" y="438"/>
                    </a:lnTo>
                    <a:lnTo>
                      <a:pt x="594" y="439"/>
                    </a:lnTo>
                    <a:lnTo>
                      <a:pt x="594" y="440"/>
                    </a:lnTo>
                    <a:lnTo>
                      <a:pt x="595" y="441"/>
                    </a:lnTo>
                    <a:close/>
                    <a:moveTo>
                      <a:pt x="568" y="415"/>
                    </a:moveTo>
                    <a:lnTo>
                      <a:pt x="569" y="415"/>
                    </a:lnTo>
                    <a:lnTo>
                      <a:pt x="569" y="416"/>
                    </a:lnTo>
                    <a:lnTo>
                      <a:pt x="570" y="417"/>
                    </a:lnTo>
                    <a:lnTo>
                      <a:pt x="571" y="417"/>
                    </a:lnTo>
                    <a:lnTo>
                      <a:pt x="571" y="418"/>
                    </a:lnTo>
                    <a:lnTo>
                      <a:pt x="571" y="419"/>
                    </a:lnTo>
                    <a:lnTo>
                      <a:pt x="571" y="418"/>
                    </a:lnTo>
                    <a:lnTo>
                      <a:pt x="570" y="418"/>
                    </a:lnTo>
                    <a:lnTo>
                      <a:pt x="569" y="418"/>
                    </a:lnTo>
                    <a:lnTo>
                      <a:pt x="568" y="418"/>
                    </a:lnTo>
                    <a:lnTo>
                      <a:pt x="567" y="418"/>
                    </a:lnTo>
                    <a:lnTo>
                      <a:pt x="566" y="418"/>
                    </a:lnTo>
                    <a:lnTo>
                      <a:pt x="566" y="417"/>
                    </a:lnTo>
                    <a:lnTo>
                      <a:pt x="567" y="417"/>
                    </a:lnTo>
                    <a:lnTo>
                      <a:pt x="568" y="417"/>
                    </a:lnTo>
                    <a:lnTo>
                      <a:pt x="568" y="416"/>
                    </a:lnTo>
                    <a:lnTo>
                      <a:pt x="568" y="415"/>
                    </a:lnTo>
                    <a:lnTo>
                      <a:pt x="567" y="415"/>
                    </a:lnTo>
                    <a:lnTo>
                      <a:pt x="568" y="415"/>
                    </a:lnTo>
                    <a:close/>
                    <a:moveTo>
                      <a:pt x="525" y="392"/>
                    </a:moveTo>
                    <a:lnTo>
                      <a:pt x="525" y="393"/>
                    </a:lnTo>
                    <a:lnTo>
                      <a:pt x="526" y="393"/>
                    </a:lnTo>
                    <a:lnTo>
                      <a:pt x="526" y="392"/>
                    </a:lnTo>
                    <a:lnTo>
                      <a:pt x="527" y="392"/>
                    </a:lnTo>
                    <a:lnTo>
                      <a:pt x="527" y="393"/>
                    </a:lnTo>
                    <a:lnTo>
                      <a:pt x="528" y="395"/>
                    </a:lnTo>
                    <a:lnTo>
                      <a:pt x="529" y="395"/>
                    </a:lnTo>
                    <a:lnTo>
                      <a:pt x="528" y="395"/>
                    </a:lnTo>
                    <a:lnTo>
                      <a:pt x="528" y="396"/>
                    </a:lnTo>
                    <a:lnTo>
                      <a:pt x="528" y="397"/>
                    </a:lnTo>
                    <a:lnTo>
                      <a:pt x="528" y="398"/>
                    </a:lnTo>
                    <a:lnTo>
                      <a:pt x="527" y="398"/>
                    </a:lnTo>
                    <a:lnTo>
                      <a:pt x="528" y="397"/>
                    </a:lnTo>
                    <a:lnTo>
                      <a:pt x="527" y="397"/>
                    </a:lnTo>
                    <a:lnTo>
                      <a:pt x="526" y="397"/>
                    </a:lnTo>
                    <a:lnTo>
                      <a:pt x="526" y="396"/>
                    </a:lnTo>
                    <a:lnTo>
                      <a:pt x="527" y="396"/>
                    </a:lnTo>
                    <a:lnTo>
                      <a:pt x="527" y="397"/>
                    </a:lnTo>
                    <a:lnTo>
                      <a:pt x="528" y="397"/>
                    </a:lnTo>
                    <a:lnTo>
                      <a:pt x="527" y="396"/>
                    </a:lnTo>
                    <a:lnTo>
                      <a:pt x="526" y="396"/>
                    </a:lnTo>
                    <a:lnTo>
                      <a:pt x="526" y="395"/>
                    </a:lnTo>
                    <a:lnTo>
                      <a:pt x="525" y="393"/>
                    </a:lnTo>
                    <a:lnTo>
                      <a:pt x="524" y="391"/>
                    </a:lnTo>
                    <a:lnTo>
                      <a:pt x="525" y="392"/>
                    </a:lnTo>
                    <a:close/>
                    <a:moveTo>
                      <a:pt x="597" y="350"/>
                    </a:moveTo>
                    <a:lnTo>
                      <a:pt x="597" y="351"/>
                    </a:lnTo>
                    <a:lnTo>
                      <a:pt x="596" y="351"/>
                    </a:lnTo>
                    <a:lnTo>
                      <a:pt x="596" y="352"/>
                    </a:lnTo>
                    <a:lnTo>
                      <a:pt x="595" y="352"/>
                    </a:lnTo>
                    <a:lnTo>
                      <a:pt x="595" y="353"/>
                    </a:lnTo>
                    <a:lnTo>
                      <a:pt x="595" y="352"/>
                    </a:lnTo>
                    <a:lnTo>
                      <a:pt x="595" y="353"/>
                    </a:lnTo>
                    <a:lnTo>
                      <a:pt x="595" y="354"/>
                    </a:lnTo>
                    <a:lnTo>
                      <a:pt x="594" y="354"/>
                    </a:lnTo>
                    <a:lnTo>
                      <a:pt x="594" y="356"/>
                    </a:lnTo>
                    <a:lnTo>
                      <a:pt x="595" y="356"/>
                    </a:lnTo>
                    <a:lnTo>
                      <a:pt x="595" y="357"/>
                    </a:lnTo>
                    <a:lnTo>
                      <a:pt x="594" y="357"/>
                    </a:lnTo>
                    <a:lnTo>
                      <a:pt x="594" y="356"/>
                    </a:lnTo>
                    <a:lnTo>
                      <a:pt x="593" y="356"/>
                    </a:lnTo>
                    <a:lnTo>
                      <a:pt x="593" y="354"/>
                    </a:lnTo>
                    <a:lnTo>
                      <a:pt x="593" y="353"/>
                    </a:lnTo>
                    <a:lnTo>
                      <a:pt x="595" y="351"/>
                    </a:lnTo>
                    <a:lnTo>
                      <a:pt x="596" y="351"/>
                    </a:lnTo>
                    <a:lnTo>
                      <a:pt x="596" y="350"/>
                    </a:lnTo>
                    <a:lnTo>
                      <a:pt x="596" y="351"/>
                    </a:lnTo>
                    <a:lnTo>
                      <a:pt x="596" y="350"/>
                    </a:lnTo>
                    <a:lnTo>
                      <a:pt x="597" y="350"/>
                    </a:lnTo>
                    <a:close/>
                    <a:moveTo>
                      <a:pt x="564" y="488"/>
                    </a:moveTo>
                    <a:lnTo>
                      <a:pt x="565" y="488"/>
                    </a:lnTo>
                    <a:lnTo>
                      <a:pt x="565" y="489"/>
                    </a:lnTo>
                    <a:lnTo>
                      <a:pt x="566" y="489"/>
                    </a:lnTo>
                    <a:lnTo>
                      <a:pt x="566" y="490"/>
                    </a:lnTo>
                    <a:lnTo>
                      <a:pt x="566" y="491"/>
                    </a:lnTo>
                    <a:lnTo>
                      <a:pt x="566" y="492"/>
                    </a:lnTo>
                    <a:lnTo>
                      <a:pt x="565" y="492"/>
                    </a:lnTo>
                    <a:lnTo>
                      <a:pt x="565" y="491"/>
                    </a:lnTo>
                    <a:lnTo>
                      <a:pt x="565" y="490"/>
                    </a:lnTo>
                    <a:lnTo>
                      <a:pt x="564" y="490"/>
                    </a:lnTo>
                    <a:lnTo>
                      <a:pt x="563" y="490"/>
                    </a:lnTo>
                    <a:lnTo>
                      <a:pt x="564" y="490"/>
                    </a:lnTo>
                    <a:lnTo>
                      <a:pt x="563" y="489"/>
                    </a:lnTo>
                    <a:lnTo>
                      <a:pt x="563" y="488"/>
                    </a:lnTo>
                    <a:lnTo>
                      <a:pt x="563" y="487"/>
                    </a:lnTo>
                    <a:lnTo>
                      <a:pt x="564" y="488"/>
                    </a:lnTo>
                    <a:close/>
                    <a:moveTo>
                      <a:pt x="581" y="334"/>
                    </a:moveTo>
                    <a:lnTo>
                      <a:pt x="580" y="334"/>
                    </a:lnTo>
                    <a:lnTo>
                      <a:pt x="580" y="335"/>
                    </a:lnTo>
                    <a:lnTo>
                      <a:pt x="581" y="336"/>
                    </a:lnTo>
                    <a:lnTo>
                      <a:pt x="580" y="336"/>
                    </a:lnTo>
                    <a:lnTo>
                      <a:pt x="579" y="336"/>
                    </a:lnTo>
                    <a:lnTo>
                      <a:pt x="578" y="336"/>
                    </a:lnTo>
                    <a:lnTo>
                      <a:pt x="578" y="335"/>
                    </a:lnTo>
                    <a:lnTo>
                      <a:pt x="577" y="335"/>
                    </a:lnTo>
                    <a:lnTo>
                      <a:pt x="577" y="334"/>
                    </a:lnTo>
                    <a:lnTo>
                      <a:pt x="578" y="334"/>
                    </a:lnTo>
                    <a:lnTo>
                      <a:pt x="579" y="334"/>
                    </a:lnTo>
                    <a:lnTo>
                      <a:pt x="580" y="334"/>
                    </a:lnTo>
                    <a:lnTo>
                      <a:pt x="580" y="333"/>
                    </a:lnTo>
                    <a:lnTo>
                      <a:pt x="581" y="333"/>
                    </a:lnTo>
                    <a:lnTo>
                      <a:pt x="581" y="334"/>
                    </a:lnTo>
                    <a:lnTo>
                      <a:pt x="582" y="334"/>
                    </a:lnTo>
                    <a:lnTo>
                      <a:pt x="581" y="334"/>
                    </a:lnTo>
                    <a:close/>
                    <a:moveTo>
                      <a:pt x="555" y="451"/>
                    </a:moveTo>
                    <a:lnTo>
                      <a:pt x="555" y="452"/>
                    </a:lnTo>
                    <a:lnTo>
                      <a:pt x="554" y="452"/>
                    </a:lnTo>
                    <a:lnTo>
                      <a:pt x="554" y="453"/>
                    </a:lnTo>
                    <a:lnTo>
                      <a:pt x="555" y="454"/>
                    </a:lnTo>
                    <a:lnTo>
                      <a:pt x="556" y="453"/>
                    </a:lnTo>
                    <a:lnTo>
                      <a:pt x="556" y="452"/>
                    </a:lnTo>
                    <a:lnTo>
                      <a:pt x="556" y="451"/>
                    </a:lnTo>
                    <a:lnTo>
                      <a:pt x="556" y="452"/>
                    </a:lnTo>
                    <a:lnTo>
                      <a:pt x="556" y="453"/>
                    </a:lnTo>
                    <a:lnTo>
                      <a:pt x="556" y="454"/>
                    </a:lnTo>
                    <a:lnTo>
                      <a:pt x="556" y="455"/>
                    </a:lnTo>
                    <a:lnTo>
                      <a:pt x="556" y="456"/>
                    </a:lnTo>
                    <a:lnTo>
                      <a:pt x="556" y="455"/>
                    </a:lnTo>
                    <a:lnTo>
                      <a:pt x="555" y="455"/>
                    </a:lnTo>
                    <a:lnTo>
                      <a:pt x="554" y="455"/>
                    </a:lnTo>
                    <a:lnTo>
                      <a:pt x="553" y="455"/>
                    </a:lnTo>
                    <a:lnTo>
                      <a:pt x="553" y="454"/>
                    </a:lnTo>
                    <a:lnTo>
                      <a:pt x="552" y="454"/>
                    </a:lnTo>
                    <a:lnTo>
                      <a:pt x="552" y="453"/>
                    </a:lnTo>
                    <a:lnTo>
                      <a:pt x="552" y="454"/>
                    </a:lnTo>
                    <a:lnTo>
                      <a:pt x="553" y="454"/>
                    </a:lnTo>
                    <a:lnTo>
                      <a:pt x="553" y="455"/>
                    </a:lnTo>
                    <a:lnTo>
                      <a:pt x="554" y="455"/>
                    </a:lnTo>
                    <a:lnTo>
                      <a:pt x="554" y="454"/>
                    </a:lnTo>
                    <a:lnTo>
                      <a:pt x="554" y="453"/>
                    </a:lnTo>
                    <a:lnTo>
                      <a:pt x="554" y="452"/>
                    </a:lnTo>
                    <a:lnTo>
                      <a:pt x="555" y="451"/>
                    </a:lnTo>
                    <a:close/>
                    <a:moveTo>
                      <a:pt x="567" y="418"/>
                    </a:moveTo>
                    <a:lnTo>
                      <a:pt x="567" y="419"/>
                    </a:lnTo>
                    <a:lnTo>
                      <a:pt x="566" y="419"/>
                    </a:lnTo>
                    <a:lnTo>
                      <a:pt x="566" y="421"/>
                    </a:lnTo>
                    <a:lnTo>
                      <a:pt x="566" y="419"/>
                    </a:lnTo>
                    <a:lnTo>
                      <a:pt x="567" y="419"/>
                    </a:lnTo>
                    <a:lnTo>
                      <a:pt x="568" y="419"/>
                    </a:lnTo>
                    <a:lnTo>
                      <a:pt x="569" y="421"/>
                    </a:lnTo>
                    <a:lnTo>
                      <a:pt x="568" y="422"/>
                    </a:lnTo>
                    <a:lnTo>
                      <a:pt x="568" y="421"/>
                    </a:lnTo>
                    <a:lnTo>
                      <a:pt x="567" y="421"/>
                    </a:lnTo>
                    <a:lnTo>
                      <a:pt x="567" y="422"/>
                    </a:lnTo>
                    <a:lnTo>
                      <a:pt x="567" y="423"/>
                    </a:lnTo>
                    <a:lnTo>
                      <a:pt x="566" y="423"/>
                    </a:lnTo>
                    <a:lnTo>
                      <a:pt x="566" y="421"/>
                    </a:lnTo>
                    <a:lnTo>
                      <a:pt x="566" y="419"/>
                    </a:lnTo>
                    <a:lnTo>
                      <a:pt x="566" y="418"/>
                    </a:lnTo>
                    <a:lnTo>
                      <a:pt x="567" y="418"/>
                    </a:lnTo>
                    <a:close/>
                    <a:moveTo>
                      <a:pt x="572" y="419"/>
                    </a:moveTo>
                    <a:lnTo>
                      <a:pt x="573" y="419"/>
                    </a:lnTo>
                    <a:lnTo>
                      <a:pt x="573" y="421"/>
                    </a:lnTo>
                    <a:lnTo>
                      <a:pt x="575" y="421"/>
                    </a:lnTo>
                    <a:lnTo>
                      <a:pt x="576" y="422"/>
                    </a:lnTo>
                    <a:lnTo>
                      <a:pt x="575" y="422"/>
                    </a:lnTo>
                    <a:lnTo>
                      <a:pt x="575" y="423"/>
                    </a:lnTo>
                    <a:lnTo>
                      <a:pt x="573" y="423"/>
                    </a:lnTo>
                    <a:lnTo>
                      <a:pt x="572" y="422"/>
                    </a:lnTo>
                    <a:lnTo>
                      <a:pt x="573" y="422"/>
                    </a:lnTo>
                    <a:lnTo>
                      <a:pt x="572" y="422"/>
                    </a:lnTo>
                    <a:lnTo>
                      <a:pt x="572" y="421"/>
                    </a:lnTo>
                    <a:lnTo>
                      <a:pt x="571" y="419"/>
                    </a:lnTo>
                    <a:lnTo>
                      <a:pt x="572" y="419"/>
                    </a:lnTo>
                    <a:close/>
                    <a:moveTo>
                      <a:pt x="572" y="440"/>
                    </a:moveTo>
                    <a:lnTo>
                      <a:pt x="572" y="439"/>
                    </a:lnTo>
                    <a:lnTo>
                      <a:pt x="573" y="440"/>
                    </a:lnTo>
                    <a:lnTo>
                      <a:pt x="573" y="439"/>
                    </a:lnTo>
                    <a:lnTo>
                      <a:pt x="575" y="439"/>
                    </a:lnTo>
                    <a:lnTo>
                      <a:pt x="575" y="440"/>
                    </a:lnTo>
                    <a:lnTo>
                      <a:pt x="575" y="441"/>
                    </a:lnTo>
                    <a:lnTo>
                      <a:pt x="573" y="441"/>
                    </a:lnTo>
                    <a:lnTo>
                      <a:pt x="572" y="441"/>
                    </a:lnTo>
                    <a:lnTo>
                      <a:pt x="570" y="441"/>
                    </a:lnTo>
                    <a:lnTo>
                      <a:pt x="570" y="440"/>
                    </a:lnTo>
                    <a:lnTo>
                      <a:pt x="569" y="440"/>
                    </a:lnTo>
                    <a:lnTo>
                      <a:pt x="569" y="439"/>
                    </a:lnTo>
                    <a:lnTo>
                      <a:pt x="570" y="440"/>
                    </a:lnTo>
                    <a:lnTo>
                      <a:pt x="571" y="440"/>
                    </a:lnTo>
                    <a:lnTo>
                      <a:pt x="571" y="439"/>
                    </a:lnTo>
                    <a:lnTo>
                      <a:pt x="571" y="438"/>
                    </a:lnTo>
                    <a:lnTo>
                      <a:pt x="572" y="438"/>
                    </a:lnTo>
                    <a:lnTo>
                      <a:pt x="572" y="439"/>
                    </a:lnTo>
                    <a:lnTo>
                      <a:pt x="571" y="439"/>
                    </a:lnTo>
                    <a:lnTo>
                      <a:pt x="572" y="440"/>
                    </a:lnTo>
                    <a:close/>
                    <a:moveTo>
                      <a:pt x="576" y="431"/>
                    </a:moveTo>
                    <a:lnTo>
                      <a:pt x="576" y="433"/>
                    </a:lnTo>
                    <a:lnTo>
                      <a:pt x="575" y="433"/>
                    </a:lnTo>
                    <a:lnTo>
                      <a:pt x="576" y="433"/>
                    </a:lnTo>
                    <a:lnTo>
                      <a:pt x="575" y="434"/>
                    </a:lnTo>
                    <a:lnTo>
                      <a:pt x="576" y="435"/>
                    </a:lnTo>
                    <a:lnTo>
                      <a:pt x="575" y="435"/>
                    </a:lnTo>
                    <a:lnTo>
                      <a:pt x="576" y="435"/>
                    </a:lnTo>
                    <a:lnTo>
                      <a:pt x="575" y="436"/>
                    </a:lnTo>
                    <a:lnTo>
                      <a:pt x="575" y="435"/>
                    </a:lnTo>
                    <a:lnTo>
                      <a:pt x="573" y="434"/>
                    </a:lnTo>
                    <a:lnTo>
                      <a:pt x="572" y="433"/>
                    </a:lnTo>
                    <a:lnTo>
                      <a:pt x="572" y="431"/>
                    </a:lnTo>
                    <a:lnTo>
                      <a:pt x="572" y="433"/>
                    </a:lnTo>
                    <a:lnTo>
                      <a:pt x="573" y="433"/>
                    </a:lnTo>
                    <a:lnTo>
                      <a:pt x="575" y="433"/>
                    </a:lnTo>
                    <a:lnTo>
                      <a:pt x="575" y="431"/>
                    </a:lnTo>
                    <a:lnTo>
                      <a:pt x="576" y="431"/>
                    </a:lnTo>
                    <a:close/>
                    <a:moveTo>
                      <a:pt x="556" y="439"/>
                    </a:moveTo>
                    <a:lnTo>
                      <a:pt x="556" y="440"/>
                    </a:lnTo>
                    <a:lnTo>
                      <a:pt x="556" y="441"/>
                    </a:lnTo>
                    <a:lnTo>
                      <a:pt x="555" y="441"/>
                    </a:lnTo>
                    <a:lnTo>
                      <a:pt x="556" y="441"/>
                    </a:lnTo>
                    <a:lnTo>
                      <a:pt x="556" y="442"/>
                    </a:lnTo>
                    <a:lnTo>
                      <a:pt x="556" y="443"/>
                    </a:lnTo>
                    <a:lnTo>
                      <a:pt x="557" y="443"/>
                    </a:lnTo>
                    <a:lnTo>
                      <a:pt x="557" y="444"/>
                    </a:lnTo>
                    <a:lnTo>
                      <a:pt x="556" y="444"/>
                    </a:lnTo>
                    <a:lnTo>
                      <a:pt x="556" y="443"/>
                    </a:lnTo>
                    <a:lnTo>
                      <a:pt x="555" y="443"/>
                    </a:lnTo>
                    <a:lnTo>
                      <a:pt x="556" y="443"/>
                    </a:lnTo>
                    <a:lnTo>
                      <a:pt x="555" y="443"/>
                    </a:lnTo>
                    <a:lnTo>
                      <a:pt x="555" y="442"/>
                    </a:lnTo>
                    <a:lnTo>
                      <a:pt x="556" y="442"/>
                    </a:lnTo>
                    <a:lnTo>
                      <a:pt x="555" y="442"/>
                    </a:lnTo>
                    <a:lnTo>
                      <a:pt x="555" y="441"/>
                    </a:lnTo>
                    <a:lnTo>
                      <a:pt x="555" y="440"/>
                    </a:lnTo>
                    <a:lnTo>
                      <a:pt x="555" y="439"/>
                    </a:lnTo>
                    <a:lnTo>
                      <a:pt x="556" y="439"/>
                    </a:lnTo>
                    <a:close/>
                    <a:moveTo>
                      <a:pt x="597" y="382"/>
                    </a:moveTo>
                    <a:lnTo>
                      <a:pt x="597" y="383"/>
                    </a:lnTo>
                    <a:lnTo>
                      <a:pt x="596" y="383"/>
                    </a:lnTo>
                    <a:lnTo>
                      <a:pt x="594" y="383"/>
                    </a:lnTo>
                    <a:lnTo>
                      <a:pt x="593" y="383"/>
                    </a:lnTo>
                    <a:lnTo>
                      <a:pt x="593" y="382"/>
                    </a:lnTo>
                    <a:lnTo>
                      <a:pt x="595" y="382"/>
                    </a:lnTo>
                    <a:lnTo>
                      <a:pt x="595" y="380"/>
                    </a:lnTo>
                    <a:lnTo>
                      <a:pt x="596" y="380"/>
                    </a:lnTo>
                    <a:lnTo>
                      <a:pt x="597" y="382"/>
                    </a:lnTo>
                    <a:close/>
                    <a:moveTo>
                      <a:pt x="547" y="439"/>
                    </a:moveTo>
                    <a:lnTo>
                      <a:pt x="548" y="439"/>
                    </a:lnTo>
                    <a:lnTo>
                      <a:pt x="550" y="439"/>
                    </a:lnTo>
                    <a:lnTo>
                      <a:pt x="550" y="440"/>
                    </a:lnTo>
                    <a:lnTo>
                      <a:pt x="548" y="440"/>
                    </a:lnTo>
                    <a:lnTo>
                      <a:pt x="548" y="441"/>
                    </a:lnTo>
                    <a:lnTo>
                      <a:pt x="550" y="441"/>
                    </a:lnTo>
                    <a:lnTo>
                      <a:pt x="550" y="440"/>
                    </a:lnTo>
                    <a:lnTo>
                      <a:pt x="550" y="441"/>
                    </a:lnTo>
                    <a:lnTo>
                      <a:pt x="551" y="441"/>
                    </a:lnTo>
                    <a:lnTo>
                      <a:pt x="551" y="442"/>
                    </a:lnTo>
                    <a:lnTo>
                      <a:pt x="552" y="442"/>
                    </a:lnTo>
                    <a:lnTo>
                      <a:pt x="552" y="443"/>
                    </a:lnTo>
                    <a:lnTo>
                      <a:pt x="551" y="443"/>
                    </a:lnTo>
                    <a:lnTo>
                      <a:pt x="551" y="442"/>
                    </a:lnTo>
                    <a:lnTo>
                      <a:pt x="551" y="441"/>
                    </a:lnTo>
                    <a:lnTo>
                      <a:pt x="550" y="441"/>
                    </a:lnTo>
                    <a:lnTo>
                      <a:pt x="548" y="441"/>
                    </a:lnTo>
                    <a:lnTo>
                      <a:pt x="550" y="442"/>
                    </a:lnTo>
                    <a:lnTo>
                      <a:pt x="550" y="443"/>
                    </a:lnTo>
                    <a:lnTo>
                      <a:pt x="551" y="443"/>
                    </a:lnTo>
                    <a:lnTo>
                      <a:pt x="550" y="443"/>
                    </a:lnTo>
                    <a:lnTo>
                      <a:pt x="550" y="442"/>
                    </a:lnTo>
                    <a:lnTo>
                      <a:pt x="548" y="441"/>
                    </a:lnTo>
                    <a:lnTo>
                      <a:pt x="548" y="442"/>
                    </a:lnTo>
                    <a:lnTo>
                      <a:pt x="548" y="443"/>
                    </a:lnTo>
                    <a:lnTo>
                      <a:pt x="547" y="443"/>
                    </a:lnTo>
                    <a:lnTo>
                      <a:pt x="548" y="443"/>
                    </a:lnTo>
                    <a:lnTo>
                      <a:pt x="548" y="444"/>
                    </a:lnTo>
                    <a:lnTo>
                      <a:pt x="550" y="444"/>
                    </a:lnTo>
                    <a:lnTo>
                      <a:pt x="547" y="444"/>
                    </a:lnTo>
                    <a:lnTo>
                      <a:pt x="547" y="443"/>
                    </a:lnTo>
                    <a:lnTo>
                      <a:pt x="548" y="443"/>
                    </a:lnTo>
                    <a:lnTo>
                      <a:pt x="547" y="443"/>
                    </a:lnTo>
                    <a:lnTo>
                      <a:pt x="548" y="442"/>
                    </a:lnTo>
                    <a:lnTo>
                      <a:pt x="548" y="441"/>
                    </a:lnTo>
                    <a:lnTo>
                      <a:pt x="548" y="440"/>
                    </a:lnTo>
                    <a:lnTo>
                      <a:pt x="547" y="439"/>
                    </a:lnTo>
                    <a:lnTo>
                      <a:pt x="548" y="439"/>
                    </a:lnTo>
                    <a:lnTo>
                      <a:pt x="547" y="439"/>
                    </a:lnTo>
                    <a:close/>
                    <a:moveTo>
                      <a:pt x="594" y="385"/>
                    </a:moveTo>
                    <a:lnTo>
                      <a:pt x="594" y="384"/>
                    </a:lnTo>
                    <a:lnTo>
                      <a:pt x="594" y="385"/>
                    </a:lnTo>
                    <a:lnTo>
                      <a:pt x="595" y="385"/>
                    </a:lnTo>
                    <a:lnTo>
                      <a:pt x="595" y="384"/>
                    </a:lnTo>
                    <a:lnTo>
                      <a:pt x="595" y="385"/>
                    </a:lnTo>
                    <a:lnTo>
                      <a:pt x="595" y="386"/>
                    </a:lnTo>
                    <a:lnTo>
                      <a:pt x="594" y="386"/>
                    </a:lnTo>
                    <a:lnTo>
                      <a:pt x="593" y="386"/>
                    </a:lnTo>
                    <a:lnTo>
                      <a:pt x="593" y="385"/>
                    </a:lnTo>
                    <a:lnTo>
                      <a:pt x="592" y="385"/>
                    </a:lnTo>
                    <a:lnTo>
                      <a:pt x="593" y="384"/>
                    </a:lnTo>
                    <a:lnTo>
                      <a:pt x="593" y="383"/>
                    </a:lnTo>
                    <a:lnTo>
                      <a:pt x="594" y="383"/>
                    </a:lnTo>
                    <a:lnTo>
                      <a:pt x="594" y="384"/>
                    </a:lnTo>
                    <a:lnTo>
                      <a:pt x="594" y="385"/>
                    </a:lnTo>
                    <a:close/>
                    <a:moveTo>
                      <a:pt x="547" y="415"/>
                    </a:moveTo>
                    <a:lnTo>
                      <a:pt x="548" y="415"/>
                    </a:lnTo>
                    <a:lnTo>
                      <a:pt x="548" y="416"/>
                    </a:lnTo>
                    <a:lnTo>
                      <a:pt x="550" y="416"/>
                    </a:lnTo>
                    <a:lnTo>
                      <a:pt x="550" y="417"/>
                    </a:lnTo>
                    <a:lnTo>
                      <a:pt x="550" y="418"/>
                    </a:lnTo>
                    <a:lnTo>
                      <a:pt x="548" y="418"/>
                    </a:lnTo>
                    <a:lnTo>
                      <a:pt x="548" y="419"/>
                    </a:lnTo>
                    <a:lnTo>
                      <a:pt x="548" y="418"/>
                    </a:lnTo>
                    <a:lnTo>
                      <a:pt x="547" y="418"/>
                    </a:lnTo>
                    <a:lnTo>
                      <a:pt x="548" y="417"/>
                    </a:lnTo>
                    <a:lnTo>
                      <a:pt x="548" y="418"/>
                    </a:lnTo>
                    <a:lnTo>
                      <a:pt x="550" y="417"/>
                    </a:lnTo>
                    <a:lnTo>
                      <a:pt x="548" y="417"/>
                    </a:lnTo>
                    <a:lnTo>
                      <a:pt x="547" y="417"/>
                    </a:lnTo>
                    <a:lnTo>
                      <a:pt x="547" y="416"/>
                    </a:lnTo>
                    <a:lnTo>
                      <a:pt x="546" y="416"/>
                    </a:lnTo>
                    <a:lnTo>
                      <a:pt x="546" y="417"/>
                    </a:lnTo>
                    <a:lnTo>
                      <a:pt x="547" y="417"/>
                    </a:lnTo>
                    <a:lnTo>
                      <a:pt x="547" y="418"/>
                    </a:lnTo>
                    <a:lnTo>
                      <a:pt x="547" y="417"/>
                    </a:lnTo>
                    <a:lnTo>
                      <a:pt x="547" y="418"/>
                    </a:lnTo>
                    <a:lnTo>
                      <a:pt x="547" y="417"/>
                    </a:lnTo>
                    <a:lnTo>
                      <a:pt x="546" y="417"/>
                    </a:lnTo>
                    <a:lnTo>
                      <a:pt x="546" y="416"/>
                    </a:lnTo>
                    <a:lnTo>
                      <a:pt x="547" y="416"/>
                    </a:lnTo>
                    <a:lnTo>
                      <a:pt x="547" y="415"/>
                    </a:lnTo>
                    <a:close/>
                    <a:moveTo>
                      <a:pt x="569" y="493"/>
                    </a:moveTo>
                    <a:lnTo>
                      <a:pt x="569" y="494"/>
                    </a:lnTo>
                    <a:lnTo>
                      <a:pt x="570" y="494"/>
                    </a:lnTo>
                    <a:lnTo>
                      <a:pt x="570" y="495"/>
                    </a:lnTo>
                    <a:lnTo>
                      <a:pt x="570" y="496"/>
                    </a:lnTo>
                    <a:lnTo>
                      <a:pt x="569" y="495"/>
                    </a:lnTo>
                    <a:lnTo>
                      <a:pt x="568" y="495"/>
                    </a:lnTo>
                    <a:lnTo>
                      <a:pt x="568" y="494"/>
                    </a:lnTo>
                    <a:lnTo>
                      <a:pt x="567" y="494"/>
                    </a:lnTo>
                    <a:lnTo>
                      <a:pt x="567" y="493"/>
                    </a:lnTo>
                    <a:lnTo>
                      <a:pt x="567" y="494"/>
                    </a:lnTo>
                    <a:lnTo>
                      <a:pt x="567" y="493"/>
                    </a:lnTo>
                    <a:lnTo>
                      <a:pt x="568" y="492"/>
                    </a:lnTo>
                    <a:lnTo>
                      <a:pt x="569" y="492"/>
                    </a:lnTo>
                    <a:lnTo>
                      <a:pt x="569" y="493"/>
                    </a:lnTo>
                    <a:close/>
                    <a:moveTo>
                      <a:pt x="591" y="447"/>
                    </a:moveTo>
                    <a:lnTo>
                      <a:pt x="590" y="447"/>
                    </a:lnTo>
                    <a:lnTo>
                      <a:pt x="590" y="448"/>
                    </a:lnTo>
                    <a:lnTo>
                      <a:pt x="589" y="448"/>
                    </a:lnTo>
                    <a:lnTo>
                      <a:pt x="588" y="448"/>
                    </a:lnTo>
                    <a:lnTo>
                      <a:pt x="588" y="449"/>
                    </a:lnTo>
                    <a:lnTo>
                      <a:pt x="588" y="448"/>
                    </a:lnTo>
                    <a:lnTo>
                      <a:pt x="586" y="447"/>
                    </a:lnTo>
                    <a:lnTo>
                      <a:pt x="588" y="447"/>
                    </a:lnTo>
                    <a:lnTo>
                      <a:pt x="589" y="447"/>
                    </a:lnTo>
                    <a:lnTo>
                      <a:pt x="590" y="447"/>
                    </a:lnTo>
                    <a:lnTo>
                      <a:pt x="590" y="446"/>
                    </a:lnTo>
                    <a:lnTo>
                      <a:pt x="591" y="446"/>
                    </a:lnTo>
                    <a:lnTo>
                      <a:pt x="591" y="444"/>
                    </a:lnTo>
                    <a:lnTo>
                      <a:pt x="591" y="446"/>
                    </a:lnTo>
                    <a:lnTo>
                      <a:pt x="591" y="447"/>
                    </a:lnTo>
                    <a:close/>
                    <a:moveTo>
                      <a:pt x="561" y="417"/>
                    </a:moveTo>
                    <a:lnTo>
                      <a:pt x="563" y="417"/>
                    </a:lnTo>
                    <a:lnTo>
                      <a:pt x="563" y="418"/>
                    </a:lnTo>
                    <a:lnTo>
                      <a:pt x="563" y="419"/>
                    </a:lnTo>
                    <a:lnTo>
                      <a:pt x="561" y="419"/>
                    </a:lnTo>
                    <a:lnTo>
                      <a:pt x="560" y="419"/>
                    </a:lnTo>
                    <a:lnTo>
                      <a:pt x="559" y="419"/>
                    </a:lnTo>
                    <a:lnTo>
                      <a:pt x="558" y="419"/>
                    </a:lnTo>
                    <a:lnTo>
                      <a:pt x="558" y="418"/>
                    </a:lnTo>
                    <a:lnTo>
                      <a:pt x="559" y="418"/>
                    </a:lnTo>
                    <a:lnTo>
                      <a:pt x="559" y="419"/>
                    </a:lnTo>
                    <a:lnTo>
                      <a:pt x="560" y="419"/>
                    </a:lnTo>
                    <a:lnTo>
                      <a:pt x="561" y="419"/>
                    </a:lnTo>
                    <a:lnTo>
                      <a:pt x="560" y="418"/>
                    </a:lnTo>
                    <a:lnTo>
                      <a:pt x="559" y="418"/>
                    </a:lnTo>
                    <a:lnTo>
                      <a:pt x="560" y="418"/>
                    </a:lnTo>
                    <a:lnTo>
                      <a:pt x="561" y="418"/>
                    </a:lnTo>
                    <a:lnTo>
                      <a:pt x="561" y="417"/>
                    </a:lnTo>
                    <a:close/>
                    <a:moveTo>
                      <a:pt x="572" y="434"/>
                    </a:moveTo>
                    <a:lnTo>
                      <a:pt x="572" y="435"/>
                    </a:lnTo>
                    <a:lnTo>
                      <a:pt x="573" y="435"/>
                    </a:lnTo>
                    <a:lnTo>
                      <a:pt x="573" y="436"/>
                    </a:lnTo>
                    <a:lnTo>
                      <a:pt x="573" y="437"/>
                    </a:lnTo>
                    <a:lnTo>
                      <a:pt x="572" y="437"/>
                    </a:lnTo>
                    <a:lnTo>
                      <a:pt x="572" y="436"/>
                    </a:lnTo>
                    <a:lnTo>
                      <a:pt x="572" y="437"/>
                    </a:lnTo>
                    <a:lnTo>
                      <a:pt x="571" y="437"/>
                    </a:lnTo>
                    <a:lnTo>
                      <a:pt x="570" y="437"/>
                    </a:lnTo>
                    <a:lnTo>
                      <a:pt x="571" y="437"/>
                    </a:lnTo>
                    <a:lnTo>
                      <a:pt x="571" y="436"/>
                    </a:lnTo>
                    <a:lnTo>
                      <a:pt x="570" y="436"/>
                    </a:lnTo>
                    <a:lnTo>
                      <a:pt x="571" y="436"/>
                    </a:lnTo>
                    <a:lnTo>
                      <a:pt x="570" y="436"/>
                    </a:lnTo>
                    <a:lnTo>
                      <a:pt x="570" y="435"/>
                    </a:lnTo>
                    <a:lnTo>
                      <a:pt x="571" y="435"/>
                    </a:lnTo>
                    <a:lnTo>
                      <a:pt x="571" y="436"/>
                    </a:lnTo>
                    <a:lnTo>
                      <a:pt x="572" y="436"/>
                    </a:lnTo>
                    <a:lnTo>
                      <a:pt x="572" y="435"/>
                    </a:lnTo>
                    <a:lnTo>
                      <a:pt x="571" y="435"/>
                    </a:lnTo>
                    <a:lnTo>
                      <a:pt x="571" y="434"/>
                    </a:lnTo>
                    <a:lnTo>
                      <a:pt x="572" y="435"/>
                    </a:lnTo>
                    <a:lnTo>
                      <a:pt x="572" y="434"/>
                    </a:lnTo>
                    <a:close/>
                    <a:moveTo>
                      <a:pt x="495" y="308"/>
                    </a:moveTo>
                    <a:lnTo>
                      <a:pt x="495" y="307"/>
                    </a:lnTo>
                    <a:lnTo>
                      <a:pt x="494" y="307"/>
                    </a:lnTo>
                    <a:lnTo>
                      <a:pt x="495" y="307"/>
                    </a:lnTo>
                    <a:lnTo>
                      <a:pt x="495" y="306"/>
                    </a:lnTo>
                    <a:lnTo>
                      <a:pt x="495" y="305"/>
                    </a:lnTo>
                    <a:lnTo>
                      <a:pt x="496" y="306"/>
                    </a:lnTo>
                    <a:lnTo>
                      <a:pt x="496" y="307"/>
                    </a:lnTo>
                    <a:lnTo>
                      <a:pt x="496" y="308"/>
                    </a:lnTo>
                    <a:lnTo>
                      <a:pt x="495" y="308"/>
                    </a:lnTo>
                    <a:close/>
                    <a:moveTo>
                      <a:pt x="548" y="444"/>
                    </a:moveTo>
                    <a:lnTo>
                      <a:pt x="552" y="444"/>
                    </a:lnTo>
                    <a:lnTo>
                      <a:pt x="552" y="446"/>
                    </a:lnTo>
                    <a:lnTo>
                      <a:pt x="552" y="447"/>
                    </a:lnTo>
                    <a:lnTo>
                      <a:pt x="552" y="446"/>
                    </a:lnTo>
                    <a:lnTo>
                      <a:pt x="552" y="447"/>
                    </a:lnTo>
                    <a:lnTo>
                      <a:pt x="551" y="446"/>
                    </a:lnTo>
                    <a:lnTo>
                      <a:pt x="552" y="447"/>
                    </a:lnTo>
                    <a:lnTo>
                      <a:pt x="553" y="447"/>
                    </a:lnTo>
                    <a:lnTo>
                      <a:pt x="553" y="448"/>
                    </a:lnTo>
                    <a:lnTo>
                      <a:pt x="553" y="447"/>
                    </a:lnTo>
                    <a:lnTo>
                      <a:pt x="552" y="447"/>
                    </a:lnTo>
                    <a:lnTo>
                      <a:pt x="551" y="447"/>
                    </a:lnTo>
                    <a:lnTo>
                      <a:pt x="551" y="446"/>
                    </a:lnTo>
                    <a:lnTo>
                      <a:pt x="551" y="447"/>
                    </a:lnTo>
                    <a:lnTo>
                      <a:pt x="550" y="447"/>
                    </a:lnTo>
                    <a:lnTo>
                      <a:pt x="550" y="446"/>
                    </a:lnTo>
                    <a:lnTo>
                      <a:pt x="548" y="446"/>
                    </a:lnTo>
                    <a:lnTo>
                      <a:pt x="548" y="444"/>
                    </a:lnTo>
                    <a:lnTo>
                      <a:pt x="548" y="446"/>
                    </a:lnTo>
                    <a:lnTo>
                      <a:pt x="547" y="446"/>
                    </a:lnTo>
                    <a:lnTo>
                      <a:pt x="547" y="444"/>
                    </a:lnTo>
                    <a:lnTo>
                      <a:pt x="548" y="444"/>
                    </a:lnTo>
                    <a:close/>
                    <a:moveTo>
                      <a:pt x="601" y="448"/>
                    </a:moveTo>
                    <a:lnTo>
                      <a:pt x="602" y="448"/>
                    </a:lnTo>
                    <a:lnTo>
                      <a:pt x="603" y="448"/>
                    </a:lnTo>
                    <a:lnTo>
                      <a:pt x="603" y="449"/>
                    </a:lnTo>
                    <a:lnTo>
                      <a:pt x="602" y="449"/>
                    </a:lnTo>
                    <a:lnTo>
                      <a:pt x="602" y="450"/>
                    </a:lnTo>
                    <a:lnTo>
                      <a:pt x="601" y="450"/>
                    </a:lnTo>
                    <a:lnTo>
                      <a:pt x="599" y="450"/>
                    </a:lnTo>
                    <a:lnTo>
                      <a:pt x="599" y="449"/>
                    </a:lnTo>
                    <a:lnTo>
                      <a:pt x="601" y="449"/>
                    </a:lnTo>
                    <a:lnTo>
                      <a:pt x="601" y="448"/>
                    </a:lnTo>
                    <a:close/>
                    <a:moveTo>
                      <a:pt x="592" y="416"/>
                    </a:moveTo>
                    <a:lnTo>
                      <a:pt x="592" y="417"/>
                    </a:lnTo>
                    <a:lnTo>
                      <a:pt x="592" y="418"/>
                    </a:lnTo>
                    <a:lnTo>
                      <a:pt x="591" y="417"/>
                    </a:lnTo>
                    <a:lnTo>
                      <a:pt x="591" y="418"/>
                    </a:lnTo>
                    <a:lnTo>
                      <a:pt x="590" y="418"/>
                    </a:lnTo>
                    <a:lnTo>
                      <a:pt x="590" y="417"/>
                    </a:lnTo>
                    <a:lnTo>
                      <a:pt x="590" y="416"/>
                    </a:lnTo>
                    <a:lnTo>
                      <a:pt x="591" y="416"/>
                    </a:lnTo>
                    <a:lnTo>
                      <a:pt x="592" y="416"/>
                    </a:lnTo>
                    <a:close/>
                    <a:moveTo>
                      <a:pt x="550" y="408"/>
                    </a:moveTo>
                    <a:lnTo>
                      <a:pt x="550" y="409"/>
                    </a:lnTo>
                    <a:lnTo>
                      <a:pt x="550" y="408"/>
                    </a:lnTo>
                    <a:lnTo>
                      <a:pt x="548" y="408"/>
                    </a:lnTo>
                    <a:lnTo>
                      <a:pt x="547" y="408"/>
                    </a:lnTo>
                    <a:lnTo>
                      <a:pt x="547" y="406"/>
                    </a:lnTo>
                    <a:lnTo>
                      <a:pt x="547" y="405"/>
                    </a:lnTo>
                    <a:lnTo>
                      <a:pt x="547" y="404"/>
                    </a:lnTo>
                    <a:lnTo>
                      <a:pt x="548" y="404"/>
                    </a:lnTo>
                    <a:lnTo>
                      <a:pt x="548" y="405"/>
                    </a:lnTo>
                    <a:lnTo>
                      <a:pt x="548" y="406"/>
                    </a:lnTo>
                    <a:lnTo>
                      <a:pt x="550" y="406"/>
                    </a:lnTo>
                    <a:lnTo>
                      <a:pt x="550" y="408"/>
                    </a:lnTo>
                    <a:close/>
                    <a:moveTo>
                      <a:pt x="509" y="202"/>
                    </a:moveTo>
                    <a:lnTo>
                      <a:pt x="508" y="202"/>
                    </a:lnTo>
                    <a:lnTo>
                      <a:pt x="507" y="202"/>
                    </a:lnTo>
                    <a:lnTo>
                      <a:pt x="507" y="200"/>
                    </a:lnTo>
                    <a:lnTo>
                      <a:pt x="506" y="199"/>
                    </a:lnTo>
                    <a:lnTo>
                      <a:pt x="507" y="199"/>
                    </a:lnTo>
                    <a:lnTo>
                      <a:pt x="507" y="200"/>
                    </a:lnTo>
                    <a:lnTo>
                      <a:pt x="508" y="200"/>
                    </a:lnTo>
                    <a:lnTo>
                      <a:pt x="509" y="202"/>
                    </a:lnTo>
                    <a:close/>
                    <a:moveTo>
                      <a:pt x="531" y="396"/>
                    </a:moveTo>
                    <a:lnTo>
                      <a:pt x="531" y="397"/>
                    </a:lnTo>
                    <a:lnTo>
                      <a:pt x="531" y="398"/>
                    </a:lnTo>
                    <a:lnTo>
                      <a:pt x="530" y="397"/>
                    </a:lnTo>
                    <a:lnTo>
                      <a:pt x="529" y="397"/>
                    </a:lnTo>
                    <a:lnTo>
                      <a:pt x="529" y="396"/>
                    </a:lnTo>
                    <a:lnTo>
                      <a:pt x="530" y="396"/>
                    </a:lnTo>
                    <a:lnTo>
                      <a:pt x="530" y="395"/>
                    </a:lnTo>
                    <a:lnTo>
                      <a:pt x="531" y="395"/>
                    </a:lnTo>
                    <a:lnTo>
                      <a:pt x="531" y="396"/>
                    </a:lnTo>
                    <a:close/>
                    <a:moveTo>
                      <a:pt x="546" y="451"/>
                    </a:moveTo>
                    <a:lnTo>
                      <a:pt x="547" y="451"/>
                    </a:lnTo>
                    <a:lnTo>
                      <a:pt x="547" y="452"/>
                    </a:lnTo>
                    <a:lnTo>
                      <a:pt x="548" y="452"/>
                    </a:lnTo>
                    <a:lnTo>
                      <a:pt x="550" y="452"/>
                    </a:lnTo>
                    <a:lnTo>
                      <a:pt x="551" y="452"/>
                    </a:lnTo>
                    <a:lnTo>
                      <a:pt x="551" y="453"/>
                    </a:lnTo>
                    <a:lnTo>
                      <a:pt x="550" y="453"/>
                    </a:lnTo>
                    <a:lnTo>
                      <a:pt x="550" y="452"/>
                    </a:lnTo>
                    <a:lnTo>
                      <a:pt x="548" y="452"/>
                    </a:lnTo>
                    <a:lnTo>
                      <a:pt x="547" y="452"/>
                    </a:lnTo>
                    <a:lnTo>
                      <a:pt x="546" y="452"/>
                    </a:lnTo>
                    <a:lnTo>
                      <a:pt x="546" y="451"/>
                    </a:lnTo>
                    <a:close/>
                    <a:moveTo>
                      <a:pt x="586" y="350"/>
                    </a:moveTo>
                    <a:lnTo>
                      <a:pt x="589" y="351"/>
                    </a:lnTo>
                    <a:lnTo>
                      <a:pt x="590" y="352"/>
                    </a:lnTo>
                    <a:lnTo>
                      <a:pt x="590" y="353"/>
                    </a:lnTo>
                    <a:lnTo>
                      <a:pt x="590" y="352"/>
                    </a:lnTo>
                    <a:lnTo>
                      <a:pt x="589" y="352"/>
                    </a:lnTo>
                    <a:lnTo>
                      <a:pt x="589" y="351"/>
                    </a:lnTo>
                    <a:lnTo>
                      <a:pt x="588" y="351"/>
                    </a:lnTo>
                    <a:lnTo>
                      <a:pt x="586" y="351"/>
                    </a:lnTo>
                    <a:lnTo>
                      <a:pt x="585" y="351"/>
                    </a:lnTo>
                    <a:lnTo>
                      <a:pt x="586" y="350"/>
                    </a:lnTo>
                    <a:close/>
                    <a:moveTo>
                      <a:pt x="589" y="358"/>
                    </a:moveTo>
                    <a:lnTo>
                      <a:pt x="588" y="358"/>
                    </a:lnTo>
                    <a:lnTo>
                      <a:pt x="588" y="357"/>
                    </a:lnTo>
                    <a:lnTo>
                      <a:pt x="589" y="357"/>
                    </a:lnTo>
                    <a:lnTo>
                      <a:pt x="589" y="356"/>
                    </a:lnTo>
                    <a:lnTo>
                      <a:pt x="589" y="357"/>
                    </a:lnTo>
                    <a:lnTo>
                      <a:pt x="590" y="357"/>
                    </a:lnTo>
                    <a:lnTo>
                      <a:pt x="589" y="357"/>
                    </a:lnTo>
                    <a:lnTo>
                      <a:pt x="590" y="358"/>
                    </a:lnTo>
                    <a:lnTo>
                      <a:pt x="589" y="358"/>
                    </a:lnTo>
                    <a:close/>
                    <a:moveTo>
                      <a:pt x="552" y="456"/>
                    </a:moveTo>
                    <a:lnTo>
                      <a:pt x="553" y="455"/>
                    </a:lnTo>
                    <a:lnTo>
                      <a:pt x="553" y="456"/>
                    </a:lnTo>
                    <a:lnTo>
                      <a:pt x="553" y="457"/>
                    </a:lnTo>
                    <a:lnTo>
                      <a:pt x="552" y="457"/>
                    </a:lnTo>
                    <a:lnTo>
                      <a:pt x="552" y="456"/>
                    </a:lnTo>
                    <a:lnTo>
                      <a:pt x="552" y="457"/>
                    </a:lnTo>
                    <a:lnTo>
                      <a:pt x="551" y="457"/>
                    </a:lnTo>
                    <a:lnTo>
                      <a:pt x="551" y="456"/>
                    </a:lnTo>
                    <a:lnTo>
                      <a:pt x="552" y="456"/>
                    </a:lnTo>
                    <a:lnTo>
                      <a:pt x="551" y="456"/>
                    </a:lnTo>
                    <a:lnTo>
                      <a:pt x="552" y="456"/>
                    </a:lnTo>
                    <a:lnTo>
                      <a:pt x="552" y="455"/>
                    </a:lnTo>
                    <a:lnTo>
                      <a:pt x="553" y="455"/>
                    </a:lnTo>
                    <a:lnTo>
                      <a:pt x="552" y="455"/>
                    </a:lnTo>
                    <a:lnTo>
                      <a:pt x="552" y="456"/>
                    </a:lnTo>
                    <a:close/>
                    <a:moveTo>
                      <a:pt x="568" y="439"/>
                    </a:moveTo>
                    <a:lnTo>
                      <a:pt x="569" y="439"/>
                    </a:lnTo>
                    <a:lnTo>
                      <a:pt x="569" y="440"/>
                    </a:lnTo>
                    <a:lnTo>
                      <a:pt x="567" y="441"/>
                    </a:lnTo>
                    <a:lnTo>
                      <a:pt x="566" y="440"/>
                    </a:lnTo>
                    <a:lnTo>
                      <a:pt x="565" y="440"/>
                    </a:lnTo>
                    <a:lnTo>
                      <a:pt x="566" y="440"/>
                    </a:lnTo>
                    <a:lnTo>
                      <a:pt x="566" y="439"/>
                    </a:lnTo>
                    <a:lnTo>
                      <a:pt x="566" y="440"/>
                    </a:lnTo>
                    <a:lnTo>
                      <a:pt x="567" y="440"/>
                    </a:lnTo>
                    <a:lnTo>
                      <a:pt x="568" y="439"/>
                    </a:lnTo>
                    <a:close/>
                    <a:moveTo>
                      <a:pt x="565" y="417"/>
                    </a:moveTo>
                    <a:lnTo>
                      <a:pt x="565" y="418"/>
                    </a:lnTo>
                    <a:lnTo>
                      <a:pt x="563" y="418"/>
                    </a:lnTo>
                    <a:lnTo>
                      <a:pt x="564" y="418"/>
                    </a:lnTo>
                    <a:lnTo>
                      <a:pt x="564" y="417"/>
                    </a:lnTo>
                    <a:lnTo>
                      <a:pt x="564" y="416"/>
                    </a:lnTo>
                    <a:lnTo>
                      <a:pt x="565" y="417"/>
                    </a:lnTo>
                    <a:close/>
                    <a:moveTo>
                      <a:pt x="561" y="449"/>
                    </a:moveTo>
                    <a:lnTo>
                      <a:pt x="563" y="449"/>
                    </a:lnTo>
                    <a:lnTo>
                      <a:pt x="564" y="449"/>
                    </a:lnTo>
                    <a:lnTo>
                      <a:pt x="563" y="450"/>
                    </a:lnTo>
                    <a:lnTo>
                      <a:pt x="561" y="450"/>
                    </a:lnTo>
                    <a:lnTo>
                      <a:pt x="560" y="450"/>
                    </a:lnTo>
                    <a:lnTo>
                      <a:pt x="559" y="449"/>
                    </a:lnTo>
                    <a:lnTo>
                      <a:pt x="560" y="449"/>
                    </a:lnTo>
                    <a:lnTo>
                      <a:pt x="560" y="448"/>
                    </a:lnTo>
                    <a:lnTo>
                      <a:pt x="560" y="449"/>
                    </a:lnTo>
                    <a:lnTo>
                      <a:pt x="561" y="449"/>
                    </a:lnTo>
                    <a:close/>
                    <a:moveTo>
                      <a:pt x="578" y="328"/>
                    </a:moveTo>
                    <a:lnTo>
                      <a:pt x="579" y="328"/>
                    </a:lnTo>
                    <a:lnTo>
                      <a:pt x="579" y="331"/>
                    </a:lnTo>
                    <a:lnTo>
                      <a:pt x="578" y="331"/>
                    </a:lnTo>
                    <a:lnTo>
                      <a:pt x="578" y="328"/>
                    </a:lnTo>
                    <a:close/>
                    <a:moveTo>
                      <a:pt x="598" y="448"/>
                    </a:moveTo>
                    <a:lnTo>
                      <a:pt x="598" y="449"/>
                    </a:lnTo>
                    <a:lnTo>
                      <a:pt x="599" y="449"/>
                    </a:lnTo>
                    <a:lnTo>
                      <a:pt x="598" y="449"/>
                    </a:lnTo>
                    <a:lnTo>
                      <a:pt x="598" y="450"/>
                    </a:lnTo>
                    <a:lnTo>
                      <a:pt x="597" y="450"/>
                    </a:lnTo>
                    <a:lnTo>
                      <a:pt x="597" y="449"/>
                    </a:lnTo>
                    <a:lnTo>
                      <a:pt x="598" y="449"/>
                    </a:lnTo>
                    <a:lnTo>
                      <a:pt x="598" y="448"/>
                    </a:lnTo>
                    <a:close/>
                    <a:moveTo>
                      <a:pt x="572" y="328"/>
                    </a:moveTo>
                    <a:lnTo>
                      <a:pt x="573" y="328"/>
                    </a:lnTo>
                    <a:lnTo>
                      <a:pt x="573" y="329"/>
                    </a:lnTo>
                    <a:lnTo>
                      <a:pt x="572" y="329"/>
                    </a:lnTo>
                    <a:lnTo>
                      <a:pt x="572" y="328"/>
                    </a:lnTo>
                    <a:lnTo>
                      <a:pt x="571" y="328"/>
                    </a:lnTo>
                    <a:lnTo>
                      <a:pt x="570" y="328"/>
                    </a:lnTo>
                    <a:lnTo>
                      <a:pt x="571" y="328"/>
                    </a:lnTo>
                    <a:lnTo>
                      <a:pt x="572" y="327"/>
                    </a:lnTo>
                    <a:lnTo>
                      <a:pt x="572" y="328"/>
                    </a:lnTo>
                    <a:close/>
                    <a:moveTo>
                      <a:pt x="552" y="443"/>
                    </a:moveTo>
                    <a:lnTo>
                      <a:pt x="552" y="444"/>
                    </a:lnTo>
                    <a:lnTo>
                      <a:pt x="550" y="444"/>
                    </a:lnTo>
                    <a:lnTo>
                      <a:pt x="551" y="444"/>
                    </a:lnTo>
                    <a:lnTo>
                      <a:pt x="551" y="443"/>
                    </a:lnTo>
                    <a:lnTo>
                      <a:pt x="551" y="444"/>
                    </a:lnTo>
                    <a:lnTo>
                      <a:pt x="550" y="444"/>
                    </a:lnTo>
                    <a:lnTo>
                      <a:pt x="550" y="443"/>
                    </a:lnTo>
                    <a:lnTo>
                      <a:pt x="551" y="443"/>
                    </a:lnTo>
                    <a:lnTo>
                      <a:pt x="552" y="443"/>
                    </a:lnTo>
                    <a:close/>
                    <a:moveTo>
                      <a:pt x="395" y="437"/>
                    </a:moveTo>
                    <a:lnTo>
                      <a:pt x="397" y="437"/>
                    </a:lnTo>
                    <a:lnTo>
                      <a:pt x="397" y="438"/>
                    </a:lnTo>
                    <a:lnTo>
                      <a:pt x="395" y="438"/>
                    </a:lnTo>
                    <a:lnTo>
                      <a:pt x="395" y="437"/>
                    </a:lnTo>
                    <a:close/>
                    <a:moveTo>
                      <a:pt x="577" y="423"/>
                    </a:moveTo>
                    <a:lnTo>
                      <a:pt x="577" y="424"/>
                    </a:lnTo>
                    <a:lnTo>
                      <a:pt x="575" y="424"/>
                    </a:lnTo>
                    <a:lnTo>
                      <a:pt x="573" y="424"/>
                    </a:lnTo>
                    <a:lnTo>
                      <a:pt x="575" y="423"/>
                    </a:lnTo>
                    <a:lnTo>
                      <a:pt x="573" y="423"/>
                    </a:lnTo>
                    <a:lnTo>
                      <a:pt x="573" y="424"/>
                    </a:lnTo>
                    <a:lnTo>
                      <a:pt x="573" y="423"/>
                    </a:lnTo>
                    <a:lnTo>
                      <a:pt x="577" y="423"/>
                    </a:lnTo>
                    <a:close/>
                    <a:moveTo>
                      <a:pt x="556" y="503"/>
                    </a:moveTo>
                    <a:lnTo>
                      <a:pt x="557" y="503"/>
                    </a:lnTo>
                    <a:lnTo>
                      <a:pt x="557" y="505"/>
                    </a:lnTo>
                    <a:lnTo>
                      <a:pt x="556" y="505"/>
                    </a:lnTo>
                    <a:lnTo>
                      <a:pt x="556" y="503"/>
                    </a:lnTo>
                    <a:close/>
                    <a:moveTo>
                      <a:pt x="591" y="429"/>
                    </a:moveTo>
                    <a:lnTo>
                      <a:pt x="593" y="429"/>
                    </a:lnTo>
                    <a:lnTo>
                      <a:pt x="593" y="430"/>
                    </a:lnTo>
                    <a:lnTo>
                      <a:pt x="591" y="430"/>
                    </a:lnTo>
                    <a:lnTo>
                      <a:pt x="591" y="429"/>
                    </a:lnTo>
                    <a:close/>
                    <a:moveTo>
                      <a:pt x="373" y="476"/>
                    </a:moveTo>
                    <a:lnTo>
                      <a:pt x="374" y="476"/>
                    </a:lnTo>
                    <a:lnTo>
                      <a:pt x="375" y="477"/>
                    </a:lnTo>
                    <a:lnTo>
                      <a:pt x="374" y="477"/>
                    </a:lnTo>
                    <a:lnTo>
                      <a:pt x="373" y="477"/>
                    </a:lnTo>
                    <a:lnTo>
                      <a:pt x="372" y="476"/>
                    </a:lnTo>
                    <a:lnTo>
                      <a:pt x="372" y="475"/>
                    </a:lnTo>
                    <a:lnTo>
                      <a:pt x="373" y="475"/>
                    </a:lnTo>
                    <a:lnTo>
                      <a:pt x="373" y="476"/>
                    </a:lnTo>
                    <a:close/>
                    <a:moveTo>
                      <a:pt x="558" y="446"/>
                    </a:moveTo>
                    <a:lnTo>
                      <a:pt x="559" y="446"/>
                    </a:lnTo>
                    <a:lnTo>
                      <a:pt x="560" y="446"/>
                    </a:lnTo>
                    <a:lnTo>
                      <a:pt x="559" y="446"/>
                    </a:lnTo>
                    <a:lnTo>
                      <a:pt x="559" y="447"/>
                    </a:lnTo>
                    <a:lnTo>
                      <a:pt x="558" y="447"/>
                    </a:lnTo>
                    <a:lnTo>
                      <a:pt x="558" y="446"/>
                    </a:lnTo>
                    <a:lnTo>
                      <a:pt x="557" y="446"/>
                    </a:lnTo>
                    <a:lnTo>
                      <a:pt x="558" y="446"/>
                    </a:lnTo>
                    <a:lnTo>
                      <a:pt x="557" y="446"/>
                    </a:lnTo>
                    <a:lnTo>
                      <a:pt x="558" y="446"/>
                    </a:lnTo>
                    <a:close/>
                    <a:moveTo>
                      <a:pt x="571" y="492"/>
                    </a:moveTo>
                    <a:lnTo>
                      <a:pt x="572" y="492"/>
                    </a:lnTo>
                    <a:lnTo>
                      <a:pt x="571" y="492"/>
                    </a:lnTo>
                    <a:lnTo>
                      <a:pt x="571" y="493"/>
                    </a:lnTo>
                    <a:lnTo>
                      <a:pt x="570" y="493"/>
                    </a:lnTo>
                    <a:lnTo>
                      <a:pt x="570" y="492"/>
                    </a:lnTo>
                    <a:lnTo>
                      <a:pt x="571" y="492"/>
                    </a:lnTo>
                    <a:close/>
                    <a:moveTo>
                      <a:pt x="405" y="433"/>
                    </a:moveTo>
                    <a:lnTo>
                      <a:pt x="408" y="433"/>
                    </a:lnTo>
                    <a:lnTo>
                      <a:pt x="408" y="435"/>
                    </a:lnTo>
                    <a:lnTo>
                      <a:pt x="405" y="435"/>
                    </a:lnTo>
                    <a:lnTo>
                      <a:pt x="405" y="433"/>
                    </a:lnTo>
                    <a:close/>
                    <a:moveTo>
                      <a:pt x="578" y="332"/>
                    </a:moveTo>
                    <a:lnTo>
                      <a:pt x="579" y="332"/>
                    </a:lnTo>
                    <a:lnTo>
                      <a:pt x="579" y="334"/>
                    </a:lnTo>
                    <a:lnTo>
                      <a:pt x="578" y="334"/>
                    </a:lnTo>
                    <a:lnTo>
                      <a:pt x="578" y="332"/>
                    </a:lnTo>
                    <a:close/>
                    <a:moveTo>
                      <a:pt x="564" y="495"/>
                    </a:moveTo>
                    <a:lnTo>
                      <a:pt x="565" y="495"/>
                    </a:lnTo>
                    <a:lnTo>
                      <a:pt x="565" y="496"/>
                    </a:lnTo>
                    <a:lnTo>
                      <a:pt x="566" y="498"/>
                    </a:lnTo>
                    <a:lnTo>
                      <a:pt x="565" y="498"/>
                    </a:lnTo>
                    <a:lnTo>
                      <a:pt x="565" y="496"/>
                    </a:lnTo>
                    <a:lnTo>
                      <a:pt x="564" y="496"/>
                    </a:lnTo>
                    <a:lnTo>
                      <a:pt x="564" y="495"/>
                    </a:lnTo>
                    <a:lnTo>
                      <a:pt x="564" y="494"/>
                    </a:lnTo>
                    <a:lnTo>
                      <a:pt x="564" y="495"/>
                    </a:lnTo>
                    <a:close/>
                    <a:moveTo>
                      <a:pt x="552" y="423"/>
                    </a:moveTo>
                    <a:lnTo>
                      <a:pt x="546" y="423"/>
                    </a:lnTo>
                    <a:lnTo>
                      <a:pt x="544" y="423"/>
                    </a:lnTo>
                    <a:lnTo>
                      <a:pt x="544" y="422"/>
                    </a:lnTo>
                    <a:lnTo>
                      <a:pt x="552" y="423"/>
                    </a:lnTo>
                    <a:close/>
                    <a:moveTo>
                      <a:pt x="565" y="428"/>
                    </a:moveTo>
                    <a:lnTo>
                      <a:pt x="564" y="428"/>
                    </a:lnTo>
                    <a:lnTo>
                      <a:pt x="563" y="428"/>
                    </a:lnTo>
                    <a:lnTo>
                      <a:pt x="561" y="428"/>
                    </a:lnTo>
                    <a:lnTo>
                      <a:pt x="563" y="428"/>
                    </a:lnTo>
                    <a:lnTo>
                      <a:pt x="564" y="428"/>
                    </a:lnTo>
                    <a:lnTo>
                      <a:pt x="565" y="428"/>
                    </a:lnTo>
                    <a:lnTo>
                      <a:pt x="565" y="427"/>
                    </a:lnTo>
                    <a:lnTo>
                      <a:pt x="565" y="428"/>
                    </a:lnTo>
                    <a:close/>
                    <a:moveTo>
                      <a:pt x="391" y="450"/>
                    </a:moveTo>
                    <a:lnTo>
                      <a:pt x="393" y="450"/>
                    </a:lnTo>
                    <a:lnTo>
                      <a:pt x="393" y="452"/>
                    </a:lnTo>
                    <a:lnTo>
                      <a:pt x="391" y="452"/>
                    </a:lnTo>
                    <a:lnTo>
                      <a:pt x="391" y="450"/>
                    </a:lnTo>
                    <a:close/>
                    <a:moveTo>
                      <a:pt x="569" y="441"/>
                    </a:moveTo>
                    <a:lnTo>
                      <a:pt x="568" y="441"/>
                    </a:lnTo>
                    <a:lnTo>
                      <a:pt x="567" y="441"/>
                    </a:lnTo>
                    <a:lnTo>
                      <a:pt x="569" y="440"/>
                    </a:lnTo>
                    <a:lnTo>
                      <a:pt x="569" y="441"/>
                    </a:lnTo>
                    <a:close/>
                    <a:moveTo>
                      <a:pt x="520" y="388"/>
                    </a:moveTo>
                    <a:lnTo>
                      <a:pt x="521" y="388"/>
                    </a:lnTo>
                    <a:lnTo>
                      <a:pt x="521" y="389"/>
                    </a:lnTo>
                    <a:lnTo>
                      <a:pt x="520" y="389"/>
                    </a:lnTo>
                    <a:lnTo>
                      <a:pt x="520" y="388"/>
                    </a:lnTo>
                    <a:close/>
                    <a:moveTo>
                      <a:pt x="575" y="436"/>
                    </a:moveTo>
                    <a:lnTo>
                      <a:pt x="577" y="436"/>
                    </a:lnTo>
                    <a:lnTo>
                      <a:pt x="577" y="438"/>
                    </a:lnTo>
                    <a:lnTo>
                      <a:pt x="575" y="438"/>
                    </a:lnTo>
                    <a:lnTo>
                      <a:pt x="575" y="436"/>
                    </a:lnTo>
                    <a:close/>
                    <a:moveTo>
                      <a:pt x="551" y="454"/>
                    </a:moveTo>
                    <a:lnTo>
                      <a:pt x="552" y="455"/>
                    </a:lnTo>
                    <a:lnTo>
                      <a:pt x="551" y="455"/>
                    </a:lnTo>
                    <a:lnTo>
                      <a:pt x="551" y="454"/>
                    </a:lnTo>
                    <a:lnTo>
                      <a:pt x="551" y="455"/>
                    </a:lnTo>
                    <a:lnTo>
                      <a:pt x="551" y="454"/>
                    </a:lnTo>
                    <a:lnTo>
                      <a:pt x="550" y="453"/>
                    </a:lnTo>
                    <a:lnTo>
                      <a:pt x="551" y="453"/>
                    </a:lnTo>
                    <a:lnTo>
                      <a:pt x="551" y="454"/>
                    </a:lnTo>
                    <a:close/>
                    <a:moveTo>
                      <a:pt x="599" y="349"/>
                    </a:moveTo>
                    <a:lnTo>
                      <a:pt x="599" y="350"/>
                    </a:lnTo>
                    <a:lnTo>
                      <a:pt x="598" y="350"/>
                    </a:lnTo>
                    <a:lnTo>
                      <a:pt x="597" y="350"/>
                    </a:lnTo>
                    <a:lnTo>
                      <a:pt x="597" y="349"/>
                    </a:lnTo>
                    <a:lnTo>
                      <a:pt x="598" y="350"/>
                    </a:lnTo>
                    <a:lnTo>
                      <a:pt x="598" y="349"/>
                    </a:lnTo>
                    <a:lnTo>
                      <a:pt x="599" y="349"/>
                    </a:lnTo>
                    <a:close/>
                    <a:moveTo>
                      <a:pt x="388" y="452"/>
                    </a:moveTo>
                    <a:lnTo>
                      <a:pt x="387" y="452"/>
                    </a:lnTo>
                    <a:lnTo>
                      <a:pt x="388" y="451"/>
                    </a:lnTo>
                    <a:lnTo>
                      <a:pt x="389" y="452"/>
                    </a:lnTo>
                    <a:lnTo>
                      <a:pt x="388" y="452"/>
                    </a:lnTo>
                    <a:close/>
                    <a:moveTo>
                      <a:pt x="594" y="383"/>
                    </a:moveTo>
                    <a:lnTo>
                      <a:pt x="595" y="383"/>
                    </a:lnTo>
                    <a:lnTo>
                      <a:pt x="595" y="384"/>
                    </a:lnTo>
                    <a:lnTo>
                      <a:pt x="594" y="384"/>
                    </a:lnTo>
                    <a:lnTo>
                      <a:pt x="594" y="383"/>
                    </a:lnTo>
                    <a:close/>
                    <a:moveTo>
                      <a:pt x="594" y="406"/>
                    </a:moveTo>
                    <a:lnTo>
                      <a:pt x="595" y="406"/>
                    </a:lnTo>
                    <a:lnTo>
                      <a:pt x="595" y="405"/>
                    </a:lnTo>
                    <a:lnTo>
                      <a:pt x="595" y="406"/>
                    </a:lnTo>
                    <a:lnTo>
                      <a:pt x="594" y="406"/>
                    </a:lnTo>
                    <a:lnTo>
                      <a:pt x="593" y="406"/>
                    </a:lnTo>
                    <a:lnTo>
                      <a:pt x="594" y="406"/>
                    </a:lnTo>
                    <a:lnTo>
                      <a:pt x="594" y="405"/>
                    </a:lnTo>
                    <a:lnTo>
                      <a:pt x="594" y="406"/>
                    </a:lnTo>
                    <a:close/>
                    <a:moveTo>
                      <a:pt x="551" y="417"/>
                    </a:moveTo>
                    <a:lnTo>
                      <a:pt x="553" y="417"/>
                    </a:lnTo>
                    <a:lnTo>
                      <a:pt x="553" y="419"/>
                    </a:lnTo>
                    <a:lnTo>
                      <a:pt x="551" y="419"/>
                    </a:lnTo>
                    <a:lnTo>
                      <a:pt x="551" y="417"/>
                    </a:lnTo>
                    <a:close/>
                    <a:moveTo>
                      <a:pt x="568" y="418"/>
                    </a:moveTo>
                    <a:lnTo>
                      <a:pt x="569" y="418"/>
                    </a:lnTo>
                    <a:lnTo>
                      <a:pt x="569" y="421"/>
                    </a:lnTo>
                    <a:lnTo>
                      <a:pt x="568" y="421"/>
                    </a:lnTo>
                    <a:lnTo>
                      <a:pt x="568" y="418"/>
                    </a:lnTo>
                    <a:close/>
                    <a:moveTo>
                      <a:pt x="592" y="421"/>
                    </a:moveTo>
                    <a:lnTo>
                      <a:pt x="593" y="421"/>
                    </a:lnTo>
                    <a:lnTo>
                      <a:pt x="592" y="421"/>
                    </a:lnTo>
                    <a:lnTo>
                      <a:pt x="593" y="421"/>
                    </a:lnTo>
                    <a:lnTo>
                      <a:pt x="593" y="422"/>
                    </a:lnTo>
                    <a:lnTo>
                      <a:pt x="592" y="421"/>
                    </a:lnTo>
                    <a:lnTo>
                      <a:pt x="592" y="422"/>
                    </a:lnTo>
                    <a:lnTo>
                      <a:pt x="591" y="422"/>
                    </a:lnTo>
                    <a:lnTo>
                      <a:pt x="592" y="421"/>
                    </a:lnTo>
                    <a:close/>
                    <a:moveTo>
                      <a:pt x="593" y="357"/>
                    </a:moveTo>
                    <a:lnTo>
                      <a:pt x="592" y="357"/>
                    </a:lnTo>
                    <a:lnTo>
                      <a:pt x="591" y="357"/>
                    </a:lnTo>
                    <a:lnTo>
                      <a:pt x="590" y="358"/>
                    </a:lnTo>
                    <a:lnTo>
                      <a:pt x="590" y="357"/>
                    </a:lnTo>
                    <a:lnTo>
                      <a:pt x="592" y="357"/>
                    </a:lnTo>
                    <a:lnTo>
                      <a:pt x="593" y="357"/>
                    </a:lnTo>
                    <a:close/>
                    <a:moveTo>
                      <a:pt x="582" y="429"/>
                    </a:moveTo>
                    <a:lnTo>
                      <a:pt x="583" y="429"/>
                    </a:lnTo>
                    <a:lnTo>
                      <a:pt x="583" y="430"/>
                    </a:lnTo>
                    <a:lnTo>
                      <a:pt x="582" y="430"/>
                    </a:lnTo>
                    <a:lnTo>
                      <a:pt x="582" y="429"/>
                    </a:lnTo>
                    <a:close/>
                    <a:moveTo>
                      <a:pt x="578" y="435"/>
                    </a:moveTo>
                    <a:lnTo>
                      <a:pt x="579" y="435"/>
                    </a:lnTo>
                    <a:lnTo>
                      <a:pt x="579" y="436"/>
                    </a:lnTo>
                    <a:lnTo>
                      <a:pt x="578" y="436"/>
                    </a:lnTo>
                    <a:lnTo>
                      <a:pt x="578" y="435"/>
                    </a:lnTo>
                    <a:close/>
                    <a:moveTo>
                      <a:pt x="586" y="403"/>
                    </a:moveTo>
                    <a:lnTo>
                      <a:pt x="589" y="403"/>
                    </a:lnTo>
                    <a:lnTo>
                      <a:pt x="586" y="403"/>
                    </a:lnTo>
                    <a:close/>
                    <a:moveTo>
                      <a:pt x="542" y="423"/>
                    </a:moveTo>
                    <a:lnTo>
                      <a:pt x="543" y="423"/>
                    </a:lnTo>
                    <a:lnTo>
                      <a:pt x="543" y="424"/>
                    </a:lnTo>
                    <a:lnTo>
                      <a:pt x="542" y="424"/>
                    </a:lnTo>
                    <a:lnTo>
                      <a:pt x="542" y="423"/>
                    </a:lnTo>
                    <a:close/>
                    <a:moveTo>
                      <a:pt x="575" y="422"/>
                    </a:moveTo>
                    <a:lnTo>
                      <a:pt x="577" y="422"/>
                    </a:lnTo>
                    <a:lnTo>
                      <a:pt x="577" y="423"/>
                    </a:lnTo>
                    <a:lnTo>
                      <a:pt x="575" y="423"/>
                    </a:lnTo>
                    <a:lnTo>
                      <a:pt x="575" y="422"/>
                    </a:lnTo>
                    <a:close/>
                    <a:moveTo>
                      <a:pt x="584" y="326"/>
                    </a:moveTo>
                    <a:lnTo>
                      <a:pt x="585" y="326"/>
                    </a:lnTo>
                    <a:lnTo>
                      <a:pt x="585" y="327"/>
                    </a:lnTo>
                    <a:lnTo>
                      <a:pt x="584" y="327"/>
                    </a:lnTo>
                    <a:lnTo>
                      <a:pt x="584" y="326"/>
                    </a:lnTo>
                    <a:close/>
                    <a:moveTo>
                      <a:pt x="570" y="499"/>
                    </a:moveTo>
                    <a:lnTo>
                      <a:pt x="570" y="500"/>
                    </a:lnTo>
                    <a:lnTo>
                      <a:pt x="570" y="499"/>
                    </a:lnTo>
                    <a:lnTo>
                      <a:pt x="569" y="499"/>
                    </a:lnTo>
                    <a:lnTo>
                      <a:pt x="569" y="498"/>
                    </a:lnTo>
                    <a:lnTo>
                      <a:pt x="570" y="498"/>
                    </a:lnTo>
                    <a:lnTo>
                      <a:pt x="570" y="499"/>
                    </a:lnTo>
                    <a:close/>
                    <a:moveTo>
                      <a:pt x="555" y="423"/>
                    </a:moveTo>
                    <a:lnTo>
                      <a:pt x="556" y="423"/>
                    </a:lnTo>
                    <a:lnTo>
                      <a:pt x="556" y="424"/>
                    </a:lnTo>
                    <a:lnTo>
                      <a:pt x="555" y="424"/>
                    </a:lnTo>
                    <a:lnTo>
                      <a:pt x="555" y="423"/>
                    </a:lnTo>
                    <a:close/>
                    <a:moveTo>
                      <a:pt x="565" y="438"/>
                    </a:moveTo>
                    <a:lnTo>
                      <a:pt x="566" y="438"/>
                    </a:lnTo>
                    <a:lnTo>
                      <a:pt x="565" y="438"/>
                    </a:lnTo>
                    <a:close/>
                    <a:moveTo>
                      <a:pt x="563" y="423"/>
                    </a:moveTo>
                    <a:lnTo>
                      <a:pt x="560" y="423"/>
                    </a:lnTo>
                    <a:lnTo>
                      <a:pt x="560" y="424"/>
                    </a:lnTo>
                    <a:lnTo>
                      <a:pt x="559" y="424"/>
                    </a:lnTo>
                    <a:lnTo>
                      <a:pt x="559" y="423"/>
                    </a:lnTo>
                    <a:lnTo>
                      <a:pt x="560" y="423"/>
                    </a:lnTo>
                    <a:lnTo>
                      <a:pt x="563" y="423"/>
                    </a:lnTo>
                    <a:close/>
                    <a:moveTo>
                      <a:pt x="568" y="499"/>
                    </a:moveTo>
                    <a:lnTo>
                      <a:pt x="569" y="499"/>
                    </a:lnTo>
                    <a:lnTo>
                      <a:pt x="569" y="500"/>
                    </a:lnTo>
                    <a:lnTo>
                      <a:pt x="568" y="500"/>
                    </a:lnTo>
                    <a:lnTo>
                      <a:pt x="568" y="499"/>
                    </a:lnTo>
                    <a:close/>
                    <a:moveTo>
                      <a:pt x="551" y="451"/>
                    </a:moveTo>
                    <a:lnTo>
                      <a:pt x="552" y="451"/>
                    </a:lnTo>
                    <a:lnTo>
                      <a:pt x="552" y="452"/>
                    </a:lnTo>
                    <a:lnTo>
                      <a:pt x="551" y="452"/>
                    </a:lnTo>
                    <a:lnTo>
                      <a:pt x="551" y="451"/>
                    </a:lnTo>
                    <a:close/>
                    <a:moveTo>
                      <a:pt x="374" y="478"/>
                    </a:moveTo>
                    <a:lnTo>
                      <a:pt x="375" y="478"/>
                    </a:lnTo>
                    <a:lnTo>
                      <a:pt x="375" y="479"/>
                    </a:lnTo>
                    <a:lnTo>
                      <a:pt x="374" y="479"/>
                    </a:lnTo>
                    <a:lnTo>
                      <a:pt x="374" y="478"/>
                    </a:lnTo>
                    <a:close/>
                    <a:moveTo>
                      <a:pt x="588" y="437"/>
                    </a:moveTo>
                    <a:lnTo>
                      <a:pt x="589" y="437"/>
                    </a:lnTo>
                    <a:lnTo>
                      <a:pt x="589" y="438"/>
                    </a:lnTo>
                    <a:lnTo>
                      <a:pt x="588" y="438"/>
                    </a:lnTo>
                    <a:lnTo>
                      <a:pt x="588" y="437"/>
                    </a:lnTo>
                    <a:close/>
                    <a:moveTo>
                      <a:pt x="589" y="439"/>
                    </a:moveTo>
                    <a:lnTo>
                      <a:pt x="590" y="439"/>
                    </a:lnTo>
                    <a:lnTo>
                      <a:pt x="590" y="440"/>
                    </a:lnTo>
                    <a:lnTo>
                      <a:pt x="589" y="440"/>
                    </a:lnTo>
                    <a:lnTo>
                      <a:pt x="589" y="439"/>
                    </a:lnTo>
                    <a:close/>
                    <a:moveTo>
                      <a:pt x="373" y="482"/>
                    </a:moveTo>
                    <a:lnTo>
                      <a:pt x="374" y="482"/>
                    </a:lnTo>
                    <a:lnTo>
                      <a:pt x="374" y="483"/>
                    </a:lnTo>
                    <a:lnTo>
                      <a:pt x="373" y="483"/>
                    </a:lnTo>
                    <a:lnTo>
                      <a:pt x="373" y="482"/>
                    </a:lnTo>
                    <a:close/>
                    <a:moveTo>
                      <a:pt x="557" y="449"/>
                    </a:moveTo>
                    <a:lnTo>
                      <a:pt x="558" y="449"/>
                    </a:lnTo>
                    <a:lnTo>
                      <a:pt x="558" y="450"/>
                    </a:lnTo>
                    <a:lnTo>
                      <a:pt x="557" y="450"/>
                    </a:lnTo>
                    <a:lnTo>
                      <a:pt x="557" y="449"/>
                    </a:lnTo>
                    <a:close/>
                    <a:moveTo>
                      <a:pt x="588" y="332"/>
                    </a:moveTo>
                    <a:lnTo>
                      <a:pt x="588" y="333"/>
                    </a:lnTo>
                    <a:lnTo>
                      <a:pt x="588" y="332"/>
                    </a:lnTo>
                    <a:close/>
                    <a:moveTo>
                      <a:pt x="580" y="434"/>
                    </a:moveTo>
                    <a:lnTo>
                      <a:pt x="580" y="435"/>
                    </a:lnTo>
                    <a:lnTo>
                      <a:pt x="580" y="434"/>
                    </a:lnTo>
                    <a:close/>
                    <a:moveTo>
                      <a:pt x="564" y="423"/>
                    </a:moveTo>
                    <a:lnTo>
                      <a:pt x="565" y="423"/>
                    </a:lnTo>
                    <a:lnTo>
                      <a:pt x="565" y="424"/>
                    </a:lnTo>
                    <a:lnTo>
                      <a:pt x="564" y="424"/>
                    </a:lnTo>
                    <a:lnTo>
                      <a:pt x="564" y="423"/>
                    </a:lnTo>
                    <a:close/>
                    <a:moveTo>
                      <a:pt x="593" y="427"/>
                    </a:moveTo>
                    <a:lnTo>
                      <a:pt x="594" y="427"/>
                    </a:lnTo>
                    <a:lnTo>
                      <a:pt x="594" y="428"/>
                    </a:lnTo>
                    <a:lnTo>
                      <a:pt x="593" y="428"/>
                    </a:lnTo>
                    <a:lnTo>
                      <a:pt x="593" y="427"/>
                    </a:lnTo>
                    <a:close/>
                    <a:moveTo>
                      <a:pt x="581" y="356"/>
                    </a:moveTo>
                    <a:lnTo>
                      <a:pt x="582" y="356"/>
                    </a:lnTo>
                    <a:lnTo>
                      <a:pt x="581" y="356"/>
                    </a:lnTo>
                    <a:close/>
                    <a:moveTo>
                      <a:pt x="575" y="429"/>
                    </a:moveTo>
                    <a:lnTo>
                      <a:pt x="576" y="429"/>
                    </a:lnTo>
                    <a:lnTo>
                      <a:pt x="576" y="430"/>
                    </a:lnTo>
                    <a:lnTo>
                      <a:pt x="575" y="430"/>
                    </a:lnTo>
                    <a:lnTo>
                      <a:pt x="575" y="429"/>
                    </a:lnTo>
                    <a:close/>
                    <a:moveTo>
                      <a:pt x="564" y="504"/>
                    </a:moveTo>
                    <a:lnTo>
                      <a:pt x="564" y="505"/>
                    </a:lnTo>
                    <a:lnTo>
                      <a:pt x="564" y="504"/>
                    </a:lnTo>
                    <a:close/>
                    <a:moveTo>
                      <a:pt x="566" y="499"/>
                    </a:moveTo>
                    <a:lnTo>
                      <a:pt x="567" y="499"/>
                    </a:lnTo>
                    <a:lnTo>
                      <a:pt x="567" y="500"/>
                    </a:lnTo>
                    <a:lnTo>
                      <a:pt x="566" y="500"/>
                    </a:lnTo>
                    <a:lnTo>
                      <a:pt x="566" y="499"/>
                    </a:lnTo>
                    <a:close/>
                    <a:moveTo>
                      <a:pt x="589" y="438"/>
                    </a:moveTo>
                    <a:lnTo>
                      <a:pt x="589" y="439"/>
                    </a:lnTo>
                    <a:lnTo>
                      <a:pt x="589" y="438"/>
                    </a:lnTo>
                    <a:close/>
                    <a:moveTo>
                      <a:pt x="571" y="437"/>
                    </a:moveTo>
                    <a:lnTo>
                      <a:pt x="572" y="437"/>
                    </a:lnTo>
                    <a:lnTo>
                      <a:pt x="572" y="438"/>
                    </a:lnTo>
                    <a:lnTo>
                      <a:pt x="571" y="438"/>
                    </a:lnTo>
                    <a:lnTo>
                      <a:pt x="571" y="437"/>
                    </a:lnTo>
                    <a:close/>
                    <a:moveTo>
                      <a:pt x="583" y="332"/>
                    </a:moveTo>
                    <a:lnTo>
                      <a:pt x="583" y="333"/>
                    </a:lnTo>
                    <a:lnTo>
                      <a:pt x="583" y="332"/>
                    </a:lnTo>
                    <a:close/>
                    <a:moveTo>
                      <a:pt x="547" y="427"/>
                    </a:moveTo>
                    <a:lnTo>
                      <a:pt x="548" y="427"/>
                    </a:lnTo>
                    <a:lnTo>
                      <a:pt x="547" y="427"/>
                    </a:lnTo>
                    <a:close/>
                    <a:moveTo>
                      <a:pt x="559" y="447"/>
                    </a:moveTo>
                    <a:lnTo>
                      <a:pt x="560" y="447"/>
                    </a:lnTo>
                    <a:lnTo>
                      <a:pt x="560" y="448"/>
                    </a:lnTo>
                    <a:lnTo>
                      <a:pt x="559" y="448"/>
                    </a:lnTo>
                    <a:lnTo>
                      <a:pt x="559" y="447"/>
                    </a:lnTo>
                    <a:close/>
                    <a:moveTo>
                      <a:pt x="547" y="427"/>
                    </a:moveTo>
                    <a:lnTo>
                      <a:pt x="547" y="428"/>
                    </a:lnTo>
                    <a:lnTo>
                      <a:pt x="547" y="427"/>
                    </a:lnTo>
                    <a:close/>
                    <a:moveTo>
                      <a:pt x="579" y="331"/>
                    </a:moveTo>
                    <a:lnTo>
                      <a:pt x="579" y="332"/>
                    </a:lnTo>
                    <a:lnTo>
                      <a:pt x="579" y="331"/>
                    </a:lnTo>
                    <a:close/>
                    <a:moveTo>
                      <a:pt x="558" y="503"/>
                    </a:moveTo>
                    <a:lnTo>
                      <a:pt x="558" y="504"/>
                    </a:lnTo>
                    <a:lnTo>
                      <a:pt x="558" y="503"/>
                    </a:lnTo>
                    <a:close/>
                    <a:moveTo>
                      <a:pt x="566" y="418"/>
                    </a:moveTo>
                    <a:lnTo>
                      <a:pt x="566" y="419"/>
                    </a:lnTo>
                    <a:lnTo>
                      <a:pt x="566" y="418"/>
                    </a:lnTo>
                    <a:close/>
                    <a:moveTo>
                      <a:pt x="588" y="359"/>
                    </a:moveTo>
                    <a:lnTo>
                      <a:pt x="589" y="359"/>
                    </a:lnTo>
                    <a:lnTo>
                      <a:pt x="588" y="359"/>
                    </a:lnTo>
                    <a:close/>
                    <a:moveTo>
                      <a:pt x="402" y="565"/>
                    </a:moveTo>
                    <a:lnTo>
                      <a:pt x="403" y="565"/>
                    </a:lnTo>
                    <a:lnTo>
                      <a:pt x="402" y="565"/>
                    </a:lnTo>
                    <a:close/>
                    <a:moveTo>
                      <a:pt x="565" y="423"/>
                    </a:moveTo>
                    <a:lnTo>
                      <a:pt x="566" y="423"/>
                    </a:lnTo>
                    <a:lnTo>
                      <a:pt x="566" y="424"/>
                    </a:lnTo>
                    <a:lnTo>
                      <a:pt x="565" y="424"/>
                    </a:lnTo>
                    <a:lnTo>
                      <a:pt x="565" y="423"/>
                    </a:lnTo>
                    <a:close/>
                    <a:moveTo>
                      <a:pt x="537" y="427"/>
                    </a:moveTo>
                    <a:lnTo>
                      <a:pt x="538" y="427"/>
                    </a:lnTo>
                    <a:lnTo>
                      <a:pt x="537" y="427"/>
                    </a:lnTo>
                    <a:close/>
                    <a:moveTo>
                      <a:pt x="565" y="494"/>
                    </a:moveTo>
                    <a:lnTo>
                      <a:pt x="566" y="494"/>
                    </a:lnTo>
                    <a:lnTo>
                      <a:pt x="565" y="494"/>
                    </a:lnTo>
                    <a:close/>
                  </a:path>
                </a:pathLst>
              </a:custGeom>
              <a:solidFill>
                <a:srgbClr val="185FB1"/>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7" name="Freeform 7">
                <a:extLst>
                  <a:ext uri="{FF2B5EF4-FFF2-40B4-BE49-F238E27FC236}">
                    <a16:creationId xmlns:a16="http://schemas.microsoft.com/office/drawing/2014/main" id="{22B684D2-C660-7FB7-5878-97338D9B0DE0}"/>
                  </a:ext>
                </a:extLst>
              </p:cNvPr>
              <p:cNvSpPr>
                <a:spLocks noEditPoints="1"/>
              </p:cNvSpPr>
              <p:nvPr/>
            </p:nvSpPr>
            <p:spPr bwMode="auto">
              <a:xfrm>
                <a:off x="3762376" y="4821238"/>
                <a:ext cx="946150" cy="819150"/>
              </a:xfrm>
              <a:custGeom>
                <a:avLst/>
                <a:gdLst>
                  <a:gd name="T0" fmla="*/ 567 w 596"/>
                  <a:gd name="T1" fmla="*/ 319 h 516"/>
                  <a:gd name="T2" fmla="*/ 550 w 596"/>
                  <a:gd name="T3" fmla="*/ 321 h 516"/>
                  <a:gd name="T4" fmla="*/ 516 w 596"/>
                  <a:gd name="T5" fmla="*/ 333 h 516"/>
                  <a:gd name="T6" fmla="*/ 484 w 596"/>
                  <a:gd name="T7" fmla="*/ 334 h 516"/>
                  <a:gd name="T8" fmla="*/ 457 w 596"/>
                  <a:gd name="T9" fmla="*/ 336 h 516"/>
                  <a:gd name="T10" fmla="*/ 466 w 596"/>
                  <a:gd name="T11" fmla="*/ 358 h 516"/>
                  <a:gd name="T12" fmla="*/ 442 w 596"/>
                  <a:gd name="T13" fmla="*/ 375 h 516"/>
                  <a:gd name="T14" fmla="*/ 441 w 596"/>
                  <a:gd name="T15" fmla="*/ 377 h 516"/>
                  <a:gd name="T16" fmla="*/ 422 w 596"/>
                  <a:gd name="T17" fmla="*/ 388 h 516"/>
                  <a:gd name="T18" fmla="*/ 404 w 596"/>
                  <a:gd name="T19" fmla="*/ 393 h 516"/>
                  <a:gd name="T20" fmla="*/ 414 w 596"/>
                  <a:gd name="T21" fmla="*/ 426 h 516"/>
                  <a:gd name="T22" fmla="*/ 391 w 596"/>
                  <a:gd name="T23" fmla="*/ 445 h 516"/>
                  <a:gd name="T24" fmla="*/ 367 w 596"/>
                  <a:gd name="T25" fmla="*/ 464 h 516"/>
                  <a:gd name="T26" fmla="*/ 352 w 596"/>
                  <a:gd name="T27" fmla="*/ 467 h 516"/>
                  <a:gd name="T28" fmla="*/ 320 w 596"/>
                  <a:gd name="T29" fmla="*/ 469 h 516"/>
                  <a:gd name="T30" fmla="*/ 291 w 596"/>
                  <a:gd name="T31" fmla="*/ 473 h 516"/>
                  <a:gd name="T32" fmla="*/ 277 w 596"/>
                  <a:gd name="T33" fmla="*/ 449 h 516"/>
                  <a:gd name="T34" fmla="*/ 254 w 596"/>
                  <a:gd name="T35" fmla="*/ 422 h 516"/>
                  <a:gd name="T36" fmla="*/ 252 w 596"/>
                  <a:gd name="T37" fmla="*/ 410 h 516"/>
                  <a:gd name="T38" fmla="*/ 233 w 596"/>
                  <a:gd name="T39" fmla="*/ 421 h 516"/>
                  <a:gd name="T40" fmla="*/ 210 w 596"/>
                  <a:gd name="T41" fmla="*/ 407 h 516"/>
                  <a:gd name="T42" fmla="*/ 198 w 596"/>
                  <a:gd name="T43" fmla="*/ 405 h 516"/>
                  <a:gd name="T44" fmla="*/ 162 w 596"/>
                  <a:gd name="T45" fmla="*/ 414 h 516"/>
                  <a:gd name="T46" fmla="*/ 30 w 596"/>
                  <a:gd name="T47" fmla="*/ 360 h 516"/>
                  <a:gd name="T48" fmla="*/ 39 w 596"/>
                  <a:gd name="T49" fmla="*/ 322 h 516"/>
                  <a:gd name="T50" fmla="*/ 77 w 596"/>
                  <a:gd name="T51" fmla="*/ 313 h 516"/>
                  <a:gd name="T52" fmla="*/ 109 w 596"/>
                  <a:gd name="T53" fmla="*/ 320 h 516"/>
                  <a:gd name="T54" fmla="*/ 116 w 596"/>
                  <a:gd name="T55" fmla="*/ 367 h 516"/>
                  <a:gd name="T56" fmla="*/ 142 w 596"/>
                  <a:gd name="T57" fmla="*/ 367 h 516"/>
                  <a:gd name="T58" fmla="*/ 142 w 596"/>
                  <a:gd name="T59" fmla="*/ 333 h 516"/>
                  <a:gd name="T60" fmla="*/ 109 w 596"/>
                  <a:gd name="T61" fmla="*/ 293 h 516"/>
                  <a:gd name="T62" fmla="*/ 82 w 596"/>
                  <a:gd name="T63" fmla="*/ 243 h 516"/>
                  <a:gd name="T64" fmla="*/ 53 w 596"/>
                  <a:gd name="T65" fmla="*/ 196 h 516"/>
                  <a:gd name="T66" fmla="*/ 81 w 596"/>
                  <a:gd name="T67" fmla="*/ 136 h 516"/>
                  <a:gd name="T68" fmla="*/ 139 w 596"/>
                  <a:gd name="T69" fmla="*/ 120 h 516"/>
                  <a:gd name="T70" fmla="*/ 335 w 596"/>
                  <a:gd name="T71" fmla="*/ 5 h 516"/>
                  <a:gd name="T72" fmla="*/ 401 w 596"/>
                  <a:gd name="T73" fmla="*/ 88 h 516"/>
                  <a:gd name="T74" fmla="*/ 475 w 596"/>
                  <a:gd name="T75" fmla="*/ 156 h 516"/>
                  <a:gd name="T76" fmla="*/ 533 w 596"/>
                  <a:gd name="T77" fmla="*/ 223 h 516"/>
                  <a:gd name="T78" fmla="*/ 582 w 596"/>
                  <a:gd name="T79" fmla="*/ 278 h 516"/>
                  <a:gd name="T80" fmla="*/ 593 w 596"/>
                  <a:gd name="T81" fmla="*/ 347 h 516"/>
                  <a:gd name="T82" fmla="*/ 519 w 596"/>
                  <a:gd name="T83" fmla="*/ 494 h 516"/>
                  <a:gd name="T84" fmla="*/ 555 w 596"/>
                  <a:gd name="T85" fmla="*/ 504 h 516"/>
                  <a:gd name="T86" fmla="*/ 431 w 596"/>
                  <a:gd name="T87" fmla="*/ 501 h 516"/>
                  <a:gd name="T88" fmla="*/ 366 w 596"/>
                  <a:gd name="T89" fmla="*/ 513 h 516"/>
                  <a:gd name="T90" fmla="*/ 419 w 596"/>
                  <a:gd name="T91" fmla="*/ 502 h 516"/>
                  <a:gd name="T92" fmla="*/ 315 w 596"/>
                  <a:gd name="T93" fmla="*/ 495 h 516"/>
                  <a:gd name="T94" fmla="*/ 332 w 596"/>
                  <a:gd name="T95" fmla="*/ 512 h 516"/>
                  <a:gd name="T96" fmla="*/ 326 w 596"/>
                  <a:gd name="T97" fmla="*/ 509 h 516"/>
                  <a:gd name="T98" fmla="*/ 338 w 596"/>
                  <a:gd name="T99" fmla="*/ 478 h 516"/>
                  <a:gd name="T100" fmla="*/ 430 w 596"/>
                  <a:gd name="T101" fmla="*/ 413 h 516"/>
                  <a:gd name="T102" fmla="*/ 207 w 596"/>
                  <a:gd name="T103" fmla="*/ 421 h 516"/>
                  <a:gd name="T104" fmla="*/ 425 w 596"/>
                  <a:gd name="T105" fmla="*/ 399 h 516"/>
                  <a:gd name="T106" fmla="*/ 387 w 596"/>
                  <a:gd name="T107" fmla="*/ 456 h 516"/>
                  <a:gd name="T108" fmla="*/ 469 w 596"/>
                  <a:gd name="T109" fmla="*/ 378 h 516"/>
                  <a:gd name="T110" fmla="*/ 307 w 596"/>
                  <a:gd name="T111" fmla="*/ 486 h 516"/>
                  <a:gd name="T112" fmla="*/ 487 w 596"/>
                  <a:gd name="T113" fmla="*/ 340 h 516"/>
                  <a:gd name="T114" fmla="*/ 138 w 596"/>
                  <a:gd name="T115" fmla="*/ 342 h 516"/>
                  <a:gd name="T116" fmla="*/ 454 w 596"/>
                  <a:gd name="T117" fmla="*/ 482 h 516"/>
                  <a:gd name="T118" fmla="*/ 478 w 596"/>
                  <a:gd name="T119" fmla="*/ 380 h 516"/>
                  <a:gd name="T120" fmla="*/ 392 w 596"/>
                  <a:gd name="T121" fmla="*/ 448 h 516"/>
                  <a:gd name="T122" fmla="*/ 332 w 596"/>
                  <a:gd name="T123" fmla="*/ 502 h 516"/>
                  <a:gd name="T124" fmla="*/ 412 w 596"/>
                  <a:gd name="T125" fmla="*/ 45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516">
                    <a:moveTo>
                      <a:pt x="584" y="362"/>
                    </a:moveTo>
                    <a:lnTo>
                      <a:pt x="584" y="361"/>
                    </a:lnTo>
                    <a:lnTo>
                      <a:pt x="584" y="360"/>
                    </a:lnTo>
                    <a:lnTo>
                      <a:pt x="584" y="359"/>
                    </a:lnTo>
                    <a:lnTo>
                      <a:pt x="584" y="358"/>
                    </a:lnTo>
                    <a:lnTo>
                      <a:pt x="584" y="357"/>
                    </a:lnTo>
                    <a:lnTo>
                      <a:pt x="584" y="354"/>
                    </a:lnTo>
                    <a:lnTo>
                      <a:pt x="583" y="354"/>
                    </a:lnTo>
                    <a:lnTo>
                      <a:pt x="582" y="354"/>
                    </a:lnTo>
                    <a:lnTo>
                      <a:pt x="582" y="353"/>
                    </a:lnTo>
                    <a:lnTo>
                      <a:pt x="583" y="352"/>
                    </a:lnTo>
                    <a:lnTo>
                      <a:pt x="583" y="351"/>
                    </a:lnTo>
                    <a:lnTo>
                      <a:pt x="583" y="348"/>
                    </a:lnTo>
                    <a:lnTo>
                      <a:pt x="583" y="347"/>
                    </a:lnTo>
                    <a:lnTo>
                      <a:pt x="584" y="347"/>
                    </a:lnTo>
                    <a:lnTo>
                      <a:pt x="584" y="346"/>
                    </a:lnTo>
                    <a:lnTo>
                      <a:pt x="584" y="345"/>
                    </a:lnTo>
                    <a:lnTo>
                      <a:pt x="585" y="345"/>
                    </a:lnTo>
                    <a:lnTo>
                      <a:pt x="585" y="344"/>
                    </a:lnTo>
                    <a:lnTo>
                      <a:pt x="585" y="342"/>
                    </a:lnTo>
                    <a:lnTo>
                      <a:pt x="585" y="340"/>
                    </a:lnTo>
                    <a:lnTo>
                      <a:pt x="586" y="340"/>
                    </a:lnTo>
                    <a:lnTo>
                      <a:pt x="586" y="339"/>
                    </a:lnTo>
                    <a:lnTo>
                      <a:pt x="587" y="338"/>
                    </a:lnTo>
                    <a:lnTo>
                      <a:pt x="586" y="338"/>
                    </a:lnTo>
                    <a:lnTo>
                      <a:pt x="586" y="337"/>
                    </a:lnTo>
                    <a:lnTo>
                      <a:pt x="585" y="336"/>
                    </a:lnTo>
                    <a:lnTo>
                      <a:pt x="585" y="335"/>
                    </a:lnTo>
                    <a:lnTo>
                      <a:pt x="584" y="334"/>
                    </a:lnTo>
                    <a:lnTo>
                      <a:pt x="584" y="333"/>
                    </a:lnTo>
                    <a:lnTo>
                      <a:pt x="584" y="332"/>
                    </a:lnTo>
                    <a:lnTo>
                      <a:pt x="584" y="331"/>
                    </a:lnTo>
                    <a:lnTo>
                      <a:pt x="584" y="329"/>
                    </a:lnTo>
                    <a:lnTo>
                      <a:pt x="584" y="328"/>
                    </a:lnTo>
                    <a:lnTo>
                      <a:pt x="583" y="328"/>
                    </a:lnTo>
                    <a:lnTo>
                      <a:pt x="582" y="328"/>
                    </a:lnTo>
                    <a:lnTo>
                      <a:pt x="581" y="328"/>
                    </a:lnTo>
                    <a:lnTo>
                      <a:pt x="580" y="328"/>
                    </a:lnTo>
                    <a:lnTo>
                      <a:pt x="580" y="327"/>
                    </a:lnTo>
                    <a:lnTo>
                      <a:pt x="578" y="327"/>
                    </a:lnTo>
                    <a:lnTo>
                      <a:pt x="577" y="327"/>
                    </a:lnTo>
                    <a:lnTo>
                      <a:pt x="577" y="326"/>
                    </a:lnTo>
                    <a:lnTo>
                      <a:pt x="576" y="326"/>
                    </a:lnTo>
                    <a:lnTo>
                      <a:pt x="575" y="325"/>
                    </a:lnTo>
                    <a:lnTo>
                      <a:pt x="575" y="324"/>
                    </a:lnTo>
                    <a:lnTo>
                      <a:pt x="575" y="323"/>
                    </a:lnTo>
                    <a:lnTo>
                      <a:pt x="574" y="323"/>
                    </a:lnTo>
                    <a:lnTo>
                      <a:pt x="573" y="323"/>
                    </a:lnTo>
                    <a:lnTo>
                      <a:pt x="572" y="323"/>
                    </a:lnTo>
                    <a:lnTo>
                      <a:pt x="572" y="322"/>
                    </a:lnTo>
                    <a:lnTo>
                      <a:pt x="572" y="321"/>
                    </a:lnTo>
                    <a:lnTo>
                      <a:pt x="572" y="320"/>
                    </a:lnTo>
                    <a:lnTo>
                      <a:pt x="571" y="320"/>
                    </a:lnTo>
                    <a:lnTo>
                      <a:pt x="570" y="320"/>
                    </a:lnTo>
                    <a:lnTo>
                      <a:pt x="569" y="319"/>
                    </a:lnTo>
                    <a:lnTo>
                      <a:pt x="568" y="319"/>
                    </a:lnTo>
                    <a:lnTo>
                      <a:pt x="568" y="317"/>
                    </a:lnTo>
                    <a:lnTo>
                      <a:pt x="567" y="317"/>
                    </a:lnTo>
                    <a:lnTo>
                      <a:pt x="567" y="319"/>
                    </a:lnTo>
                    <a:lnTo>
                      <a:pt x="567" y="317"/>
                    </a:lnTo>
                    <a:lnTo>
                      <a:pt x="567" y="315"/>
                    </a:lnTo>
                    <a:lnTo>
                      <a:pt x="565" y="314"/>
                    </a:lnTo>
                    <a:lnTo>
                      <a:pt x="565" y="313"/>
                    </a:lnTo>
                    <a:lnTo>
                      <a:pt x="567" y="312"/>
                    </a:lnTo>
                    <a:lnTo>
                      <a:pt x="565" y="312"/>
                    </a:lnTo>
                    <a:lnTo>
                      <a:pt x="564" y="312"/>
                    </a:lnTo>
                    <a:lnTo>
                      <a:pt x="564" y="311"/>
                    </a:lnTo>
                    <a:lnTo>
                      <a:pt x="564" y="310"/>
                    </a:lnTo>
                    <a:lnTo>
                      <a:pt x="564" y="309"/>
                    </a:lnTo>
                    <a:lnTo>
                      <a:pt x="564" y="308"/>
                    </a:lnTo>
                    <a:lnTo>
                      <a:pt x="564" y="309"/>
                    </a:lnTo>
                    <a:lnTo>
                      <a:pt x="563" y="309"/>
                    </a:lnTo>
                    <a:lnTo>
                      <a:pt x="563" y="308"/>
                    </a:lnTo>
                    <a:lnTo>
                      <a:pt x="563" y="306"/>
                    </a:lnTo>
                    <a:lnTo>
                      <a:pt x="564" y="304"/>
                    </a:lnTo>
                    <a:lnTo>
                      <a:pt x="564" y="303"/>
                    </a:lnTo>
                    <a:lnTo>
                      <a:pt x="564" y="302"/>
                    </a:lnTo>
                    <a:lnTo>
                      <a:pt x="563" y="302"/>
                    </a:lnTo>
                    <a:lnTo>
                      <a:pt x="562" y="303"/>
                    </a:lnTo>
                    <a:lnTo>
                      <a:pt x="561" y="303"/>
                    </a:lnTo>
                    <a:lnTo>
                      <a:pt x="561" y="302"/>
                    </a:lnTo>
                    <a:lnTo>
                      <a:pt x="560" y="302"/>
                    </a:lnTo>
                    <a:lnTo>
                      <a:pt x="559" y="302"/>
                    </a:lnTo>
                    <a:lnTo>
                      <a:pt x="558" y="302"/>
                    </a:lnTo>
                    <a:lnTo>
                      <a:pt x="557" y="302"/>
                    </a:lnTo>
                    <a:lnTo>
                      <a:pt x="556" y="302"/>
                    </a:lnTo>
                    <a:lnTo>
                      <a:pt x="555" y="301"/>
                    </a:lnTo>
                    <a:lnTo>
                      <a:pt x="555" y="300"/>
                    </a:lnTo>
                    <a:lnTo>
                      <a:pt x="554" y="300"/>
                    </a:lnTo>
                    <a:lnTo>
                      <a:pt x="552" y="301"/>
                    </a:lnTo>
                    <a:lnTo>
                      <a:pt x="552" y="302"/>
                    </a:lnTo>
                    <a:lnTo>
                      <a:pt x="552" y="303"/>
                    </a:lnTo>
                    <a:lnTo>
                      <a:pt x="554" y="303"/>
                    </a:lnTo>
                    <a:lnTo>
                      <a:pt x="552" y="303"/>
                    </a:lnTo>
                    <a:lnTo>
                      <a:pt x="551" y="304"/>
                    </a:lnTo>
                    <a:lnTo>
                      <a:pt x="550" y="306"/>
                    </a:lnTo>
                    <a:lnTo>
                      <a:pt x="549" y="306"/>
                    </a:lnTo>
                    <a:lnTo>
                      <a:pt x="548" y="307"/>
                    </a:lnTo>
                    <a:lnTo>
                      <a:pt x="547" y="307"/>
                    </a:lnTo>
                    <a:lnTo>
                      <a:pt x="547" y="308"/>
                    </a:lnTo>
                    <a:lnTo>
                      <a:pt x="547" y="309"/>
                    </a:lnTo>
                    <a:lnTo>
                      <a:pt x="546" y="309"/>
                    </a:lnTo>
                    <a:lnTo>
                      <a:pt x="546" y="310"/>
                    </a:lnTo>
                    <a:lnTo>
                      <a:pt x="545" y="310"/>
                    </a:lnTo>
                    <a:lnTo>
                      <a:pt x="545" y="311"/>
                    </a:lnTo>
                    <a:lnTo>
                      <a:pt x="546" y="311"/>
                    </a:lnTo>
                    <a:lnTo>
                      <a:pt x="547" y="312"/>
                    </a:lnTo>
                    <a:lnTo>
                      <a:pt x="547" y="313"/>
                    </a:lnTo>
                    <a:lnTo>
                      <a:pt x="547" y="314"/>
                    </a:lnTo>
                    <a:lnTo>
                      <a:pt x="548" y="315"/>
                    </a:lnTo>
                    <a:lnTo>
                      <a:pt x="548" y="316"/>
                    </a:lnTo>
                    <a:lnTo>
                      <a:pt x="549" y="316"/>
                    </a:lnTo>
                    <a:lnTo>
                      <a:pt x="549" y="317"/>
                    </a:lnTo>
                    <a:lnTo>
                      <a:pt x="550" y="317"/>
                    </a:lnTo>
                    <a:lnTo>
                      <a:pt x="551" y="319"/>
                    </a:lnTo>
                    <a:lnTo>
                      <a:pt x="551" y="320"/>
                    </a:lnTo>
                    <a:lnTo>
                      <a:pt x="551" y="321"/>
                    </a:lnTo>
                    <a:lnTo>
                      <a:pt x="550" y="321"/>
                    </a:lnTo>
                    <a:lnTo>
                      <a:pt x="550" y="322"/>
                    </a:lnTo>
                    <a:lnTo>
                      <a:pt x="549" y="323"/>
                    </a:lnTo>
                    <a:lnTo>
                      <a:pt x="550" y="323"/>
                    </a:lnTo>
                    <a:lnTo>
                      <a:pt x="549" y="324"/>
                    </a:lnTo>
                    <a:lnTo>
                      <a:pt x="548" y="324"/>
                    </a:lnTo>
                    <a:lnTo>
                      <a:pt x="548" y="325"/>
                    </a:lnTo>
                    <a:lnTo>
                      <a:pt x="548" y="326"/>
                    </a:lnTo>
                    <a:lnTo>
                      <a:pt x="547" y="326"/>
                    </a:lnTo>
                    <a:lnTo>
                      <a:pt x="546" y="327"/>
                    </a:lnTo>
                    <a:lnTo>
                      <a:pt x="545" y="327"/>
                    </a:lnTo>
                    <a:lnTo>
                      <a:pt x="545" y="328"/>
                    </a:lnTo>
                    <a:lnTo>
                      <a:pt x="544" y="329"/>
                    </a:lnTo>
                    <a:lnTo>
                      <a:pt x="543" y="329"/>
                    </a:lnTo>
                    <a:lnTo>
                      <a:pt x="543" y="331"/>
                    </a:lnTo>
                    <a:lnTo>
                      <a:pt x="542" y="331"/>
                    </a:lnTo>
                    <a:lnTo>
                      <a:pt x="542" y="332"/>
                    </a:lnTo>
                    <a:lnTo>
                      <a:pt x="542" y="333"/>
                    </a:lnTo>
                    <a:lnTo>
                      <a:pt x="542" y="334"/>
                    </a:lnTo>
                    <a:lnTo>
                      <a:pt x="542" y="335"/>
                    </a:lnTo>
                    <a:lnTo>
                      <a:pt x="541" y="336"/>
                    </a:lnTo>
                    <a:lnTo>
                      <a:pt x="539" y="337"/>
                    </a:lnTo>
                    <a:lnTo>
                      <a:pt x="539" y="338"/>
                    </a:lnTo>
                    <a:lnTo>
                      <a:pt x="538" y="338"/>
                    </a:lnTo>
                    <a:lnTo>
                      <a:pt x="537" y="338"/>
                    </a:lnTo>
                    <a:lnTo>
                      <a:pt x="537" y="339"/>
                    </a:lnTo>
                    <a:lnTo>
                      <a:pt x="536" y="339"/>
                    </a:lnTo>
                    <a:lnTo>
                      <a:pt x="535" y="340"/>
                    </a:lnTo>
                    <a:lnTo>
                      <a:pt x="534" y="341"/>
                    </a:lnTo>
                    <a:lnTo>
                      <a:pt x="534" y="342"/>
                    </a:lnTo>
                    <a:lnTo>
                      <a:pt x="533" y="342"/>
                    </a:lnTo>
                    <a:lnTo>
                      <a:pt x="533" y="341"/>
                    </a:lnTo>
                    <a:lnTo>
                      <a:pt x="533" y="340"/>
                    </a:lnTo>
                    <a:lnTo>
                      <a:pt x="532" y="339"/>
                    </a:lnTo>
                    <a:lnTo>
                      <a:pt x="532" y="338"/>
                    </a:lnTo>
                    <a:lnTo>
                      <a:pt x="531" y="338"/>
                    </a:lnTo>
                    <a:lnTo>
                      <a:pt x="531" y="339"/>
                    </a:lnTo>
                    <a:lnTo>
                      <a:pt x="531" y="340"/>
                    </a:lnTo>
                    <a:lnTo>
                      <a:pt x="530" y="340"/>
                    </a:lnTo>
                    <a:lnTo>
                      <a:pt x="530" y="341"/>
                    </a:lnTo>
                    <a:lnTo>
                      <a:pt x="530" y="340"/>
                    </a:lnTo>
                    <a:lnTo>
                      <a:pt x="529" y="340"/>
                    </a:lnTo>
                    <a:lnTo>
                      <a:pt x="529" y="339"/>
                    </a:lnTo>
                    <a:lnTo>
                      <a:pt x="528" y="339"/>
                    </a:lnTo>
                    <a:lnTo>
                      <a:pt x="528" y="340"/>
                    </a:lnTo>
                    <a:lnTo>
                      <a:pt x="526" y="339"/>
                    </a:lnTo>
                    <a:lnTo>
                      <a:pt x="525" y="339"/>
                    </a:lnTo>
                    <a:lnTo>
                      <a:pt x="524" y="339"/>
                    </a:lnTo>
                    <a:lnTo>
                      <a:pt x="524" y="338"/>
                    </a:lnTo>
                    <a:lnTo>
                      <a:pt x="523" y="338"/>
                    </a:lnTo>
                    <a:lnTo>
                      <a:pt x="521" y="337"/>
                    </a:lnTo>
                    <a:lnTo>
                      <a:pt x="521" y="336"/>
                    </a:lnTo>
                    <a:lnTo>
                      <a:pt x="520" y="336"/>
                    </a:lnTo>
                    <a:lnTo>
                      <a:pt x="520" y="335"/>
                    </a:lnTo>
                    <a:lnTo>
                      <a:pt x="520" y="334"/>
                    </a:lnTo>
                    <a:lnTo>
                      <a:pt x="520" y="333"/>
                    </a:lnTo>
                    <a:lnTo>
                      <a:pt x="519" y="333"/>
                    </a:lnTo>
                    <a:lnTo>
                      <a:pt x="518" y="333"/>
                    </a:lnTo>
                    <a:lnTo>
                      <a:pt x="517" y="333"/>
                    </a:lnTo>
                    <a:lnTo>
                      <a:pt x="516" y="333"/>
                    </a:lnTo>
                    <a:lnTo>
                      <a:pt x="515" y="333"/>
                    </a:lnTo>
                    <a:lnTo>
                      <a:pt x="515" y="334"/>
                    </a:lnTo>
                    <a:lnTo>
                      <a:pt x="515" y="335"/>
                    </a:lnTo>
                    <a:lnTo>
                      <a:pt x="513" y="335"/>
                    </a:lnTo>
                    <a:lnTo>
                      <a:pt x="513" y="336"/>
                    </a:lnTo>
                    <a:lnTo>
                      <a:pt x="512" y="336"/>
                    </a:lnTo>
                    <a:lnTo>
                      <a:pt x="511" y="335"/>
                    </a:lnTo>
                    <a:lnTo>
                      <a:pt x="510" y="335"/>
                    </a:lnTo>
                    <a:lnTo>
                      <a:pt x="509" y="335"/>
                    </a:lnTo>
                    <a:lnTo>
                      <a:pt x="508" y="335"/>
                    </a:lnTo>
                    <a:lnTo>
                      <a:pt x="507" y="335"/>
                    </a:lnTo>
                    <a:lnTo>
                      <a:pt x="507" y="334"/>
                    </a:lnTo>
                    <a:lnTo>
                      <a:pt x="506" y="333"/>
                    </a:lnTo>
                    <a:lnTo>
                      <a:pt x="505" y="333"/>
                    </a:lnTo>
                    <a:lnTo>
                      <a:pt x="504" y="333"/>
                    </a:lnTo>
                    <a:lnTo>
                      <a:pt x="503" y="334"/>
                    </a:lnTo>
                    <a:lnTo>
                      <a:pt x="502" y="334"/>
                    </a:lnTo>
                    <a:lnTo>
                      <a:pt x="502" y="335"/>
                    </a:lnTo>
                    <a:lnTo>
                      <a:pt x="500" y="335"/>
                    </a:lnTo>
                    <a:lnTo>
                      <a:pt x="500" y="334"/>
                    </a:lnTo>
                    <a:lnTo>
                      <a:pt x="499" y="334"/>
                    </a:lnTo>
                    <a:lnTo>
                      <a:pt x="498" y="334"/>
                    </a:lnTo>
                    <a:lnTo>
                      <a:pt x="498" y="333"/>
                    </a:lnTo>
                    <a:lnTo>
                      <a:pt x="498" y="332"/>
                    </a:lnTo>
                    <a:lnTo>
                      <a:pt x="497" y="332"/>
                    </a:lnTo>
                    <a:lnTo>
                      <a:pt x="497" y="331"/>
                    </a:lnTo>
                    <a:lnTo>
                      <a:pt x="497" y="329"/>
                    </a:lnTo>
                    <a:lnTo>
                      <a:pt x="496" y="331"/>
                    </a:lnTo>
                    <a:lnTo>
                      <a:pt x="496" y="332"/>
                    </a:lnTo>
                    <a:lnTo>
                      <a:pt x="495" y="332"/>
                    </a:lnTo>
                    <a:lnTo>
                      <a:pt x="495" y="331"/>
                    </a:lnTo>
                    <a:lnTo>
                      <a:pt x="496" y="331"/>
                    </a:lnTo>
                    <a:lnTo>
                      <a:pt x="496" y="329"/>
                    </a:lnTo>
                    <a:lnTo>
                      <a:pt x="495" y="328"/>
                    </a:lnTo>
                    <a:lnTo>
                      <a:pt x="495" y="327"/>
                    </a:lnTo>
                    <a:lnTo>
                      <a:pt x="495" y="326"/>
                    </a:lnTo>
                    <a:lnTo>
                      <a:pt x="495" y="325"/>
                    </a:lnTo>
                    <a:lnTo>
                      <a:pt x="494" y="325"/>
                    </a:lnTo>
                    <a:lnTo>
                      <a:pt x="493" y="325"/>
                    </a:lnTo>
                    <a:lnTo>
                      <a:pt x="492" y="325"/>
                    </a:lnTo>
                    <a:lnTo>
                      <a:pt x="492" y="324"/>
                    </a:lnTo>
                    <a:lnTo>
                      <a:pt x="491" y="325"/>
                    </a:lnTo>
                    <a:lnTo>
                      <a:pt x="490" y="325"/>
                    </a:lnTo>
                    <a:lnTo>
                      <a:pt x="488" y="325"/>
                    </a:lnTo>
                    <a:lnTo>
                      <a:pt x="487" y="325"/>
                    </a:lnTo>
                    <a:lnTo>
                      <a:pt x="487" y="326"/>
                    </a:lnTo>
                    <a:lnTo>
                      <a:pt x="487" y="327"/>
                    </a:lnTo>
                    <a:lnTo>
                      <a:pt x="486" y="327"/>
                    </a:lnTo>
                    <a:lnTo>
                      <a:pt x="486" y="328"/>
                    </a:lnTo>
                    <a:lnTo>
                      <a:pt x="486" y="329"/>
                    </a:lnTo>
                    <a:lnTo>
                      <a:pt x="485" y="329"/>
                    </a:lnTo>
                    <a:lnTo>
                      <a:pt x="484" y="329"/>
                    </a:lnTo>
                    <a:lnTo>
                      <a:pt x="484" y="331"/>
                    </a:lnTo>
                    <a:lnTo>
                      <a:pt x="483" y="331"/>
                    </a:lnTo>
                    <a:lnTo>
                      <a:pt x="484" y="331"/>
                    </a:lnTo>
                    <a:lnTo>
                      <a:pt x="484" y="332"/>
                    </a:lnTo>
                    <a:lnTo>
                      <a:pt x="485" y="333"/>
                    </a:lnTo>
                    <a:lnTo>
                      <a:pt x="484" y="333"/>
                    </a:lnTo>
                    <a:lnTo>
                      <a:pt x="484" y="334"/>
                    </a:lnTo>
                    <a:lnTo>
                      <a:pt x="484" y="333"/>
                    </a:lnTo>
                    <a:lnTo>
                      <a:pt x="483" y="333"/>
                    </a:lnTo>
                    <a:lnTo>
                      <a:pt x="484" y="333"/>
                    </a:lnTo>
                    <a:lnTo>
                      <a:pt x="484" y="332"/>
                    </a:lnTo>
                    <a:lnTo>
                      <a:pt x="483" y="332"/>
                    </a:lnTo>
                    <a:lnTo>
                      <a:pt x="483" y="331"/>
                    </a:lnTo>
                    <a:lnTo>
                      <a:pt x="482" y="331"/>
                    </a:lnTo>
                    <a:lnTo>
                      <a:pt x="483" y="329"/>
                    </a:lnTo>
                    <a:lnTo>
                      <a:pt x="482" y="329"/>
                    </a:lnTo>
                    <a:lnTo>
                      <a:pt x="481" y="329"/>
                    </a:lnTo>
                    <a:lnTo>
                      <a:pt x="481" y="328"/>
                    </a:lnTo>
                    <a:lnTo>
                      <a:pt x="480" y="328"/>
                    </a:lnTo>
                    <a:lnTo>
                      <a:pt x="480" y="327"/>
                    </a:lnTo>
                    <a:lnTo>
                      <a:pt x="479" y="327"/>
                    </a:lnTo>
                    <a:lnTo>
                      <a:pt x="478" y="327"/>
                    </a:lnTo>
                    <a:lnTo>
                      <a:pt x="477" y="326"/>
                    </a:lnTo>
                    <a:lnTo>
                      <a:pt x="475" y="326"/>
                    </a:lnTo>
                    <a:lnTo>
                      <a:pt x="474" y="327"/>
                    </a:lnTo>
                    <a:lnTo>
                      <a:pt x="473" y="327"/>
                    </a:lnTo>
                    <a:lnTo>
                      <a:pt x="472" y="328"/>
                    </a:lnTo>
                    <a:lnTo>
                      <a:pt x="471" y="328"/>
                    </a:lnTo>
                    <a:lnTo>
                      <a:pt x="471" y="327"/>
                    </a:lnTo>
                    <a:lnTo>
                      <a:pt x="470" y="328"/>
                    </a:lnTo>
                    <a:lnTo>
                      <a:pt x="469" y="328"/>
                    </a:lnTo>
                    <a:lnTo>
                      <a:pt x="469" y="327"/>
                    </a:lnTo>
                    <a:lnTo>
                      <a:pt x="469" y="326"/>
                    </a:lnTo>
                    <a:lnTo>
                      <a:pt x="468" y="326"/>
                    </a:lnTo>
                    <a:lnTo>
                      <a:pt x="468" y="325"/>
                    </a:lnTo>
                    <a:lnTo>
                      <a:pt x="467" y="326"/>
                    </a:lnTo>
                    <a:lnTo>
                      <a:pt x="467" y="327"/>
                    </a:lnTo>
                    <a:lnTo>
                      <a:pt x="466" y="327"/>
                    </a:lnTo>
                    <a:lnTo>
                      <a:pt x="466" y="329"/>
                    </a:lnTo>
                    <a:lnTo>
                      <a:pt x="467" y="329"/>
                    </a:lnTo>
                    <a:lnTo>
                      <a:pt x="466" y="331"/>
                    </a:lnTo>
                    <a:lnTo>
                      <a:pt x="467" y="331"/>
                    </a:lnTo>
                    <a:lnTo>
                      <a:pt x="466" y="332"/>
                    </a:lnTo>
                    <a:lnTo>
                      <a:pt x="465" y="332"/>
                    </a:lnTo>
                    <a:lnTo>
                      <a:pt x="464" y="331"/>
                    </a:lnTo>
                    <a:lnTo>
                      <a:pt x="464" y="332"/>
                    </a:lnTo>
                    <a:lnTo>
                      <a:pt x="462" y="332"/>
                    </a:lnTo>
                    <a:lnTo>
                      <a:pt x="462" y="331"/>
                    </a:lnTo>
                    <a:lnTo>
                      <a:pt x="461" y="331"/>
                    </a:lnTo>
                    <a:lnTo>
                      <a:pt x="461" y="329"/>
                    </a:lnTo>
                    <a:lnTo>
                      <a:pt x="460" y="329"/>
                    </a:lnTo>
                    <a:lnTo>
                      <a:pt x="459" y="331"/>
                    </a:lnTo>
                    <a:lnTo>
                      <a:pt x="459" y="332"/>
                    </a:lnTo>
                    <a:lnTo>
                      <a:pt x="458" y="333"/>
                    </a:lnTo>
                    <a:lnTo>
                      <a:pt x="459" y="333"/>
                    </a:lnTo>
                    <a:lnTo>
                      <a:pt x="460" y="333"/>
                    </a:lnTo>
                    <a:lnTo>
                      <a:pt x="460" y="334"/>
                    </a:lnTo>
                    <a:lnTo>
                      <a:pt x="460" y="335"/>
                    </a:lnTo>
                    <a:lnTo>
                      <a:pt x="460" y="336"/>
                    </a:lnTo>
                    <a:lnTo>
                      <a:pt x="460" y="337"/>
                    </a:lnTo>
                    <a:lnTo>
                      <a:pt x="460" y="338"/>
                    </a:lnTo>
                    <a:lnTo>
                      <a:pt x="459" y="338"/>
                    </a:lnTo>
                    <a:lnTo>
                      <a:pt x="459" y="337"/>
                    </a:lnTo>
                    <a:lnTo>
                      <a:pt x="458" y="337"/>
                    </a:lnTo>
                    <a:lnTo>
                      <a:pt x="458" y="336"/>
                    </a:lnTo>
                    <a:lnTo>
                      <a:pt x="457" y="336"/>
                    </a:lnTo>
                    <a:lnTo>
                      <a:pt x="456" y="336"/>
                    </a:lnTo>
                    <a:lnTo>
                      <a:pt x="455" y="337"/>
                    </a:lnTo>
                    <a:lnTo>
                      <a:pt x="455" y="336"/>
                    </a:lnTo>
                    <a:lnTo>
                      <a:pt x="454" y="335"/>
                    </a:lnTo>
                    <a:lnTo>
                      <a:pt x="453" y="335"/>
                    </a:lnTo>
                    <a:lnTo>
                      <a:pt x="453" y="336"/>
                    </a:lnTo>
                    <a:lnTo>
                      <a:pt x="452" y="336"/>
                    </a:lnTo>
                    <a:lnTo>
                      <a:pt x="452" y="337"/>
                    </a:lnTo>
                    <a:lnTo>
                      <a:pt x="452" y="338"/>
                    </a:lnTo>
                    <a:lnTo>
                      <a:pt x="452" y="339"/>
                    </a:lnTo>
                    <a:lnTo>
                      <a:pt x="451" y="340"/>
                    </a:lnTo>
                    <a:lnTo>
                      <a:pt x="451" y="339"/>
                    </a:lnTo>
                    <a:lnTo>
                      <a:pt x="449" y="339"/>
                    </a:lnTo>
                    <a:lnTo>
                      <a:pt x="448" y="338"/>
                    </a:lnTo>
                    <a:lnTo>
                      <a:pt x="448" y="339"/>
                    </a:lnTo>
                    <a:lnTo>
                      <a:pt x="447" y="339"/>
                    </a:lnTo>
                    <a:lnTo>
                      <a:pt x="448" y="340"/>
                    </a:lnTo>
                    <a:lnTo>
                      <a:pt x="449" y="340"/>
                    </a:lnTo>
                    <a:lnTo>
                      <a:pt x="449" y="341"/>
                    </a:lnTo>
                    <a:lnTo>
                      <a:pt x="451" y="341"/>
                    </a:lnTo>
                    <a:lnTo>
                      <a:pt x="451" y="342"/>
                    </a:lnTo>
                    <a:lnTo>
                      <a:pt x="449" y="341"/>
                    </a:lnTo>
                    <a:lnTo>
                      <a:pt x="448" y="341"/>
                    </a:lnTo>
                    <a:lnTo>
                      <a:pt x="447" y="342"/>
                    </a:lnTo>
                    <a:lnTo>
                      <a:pt x="447" y="344"/>
                    </a:lnTo>
                    <a:lnTo>
                      <a:pt x="447" y="345"/>
                    </a:lnTo>
                    <a:lnTo>
                      <a:pt x="447" y="346"/>
                    </a:lnTo>
                    <a:lnTo>
                      <a:pt x="447" y="347"/>
                    </a:lnTo>
                    <a:lnTo>
                      <a:pt x="448" y="347"/>
                    </a:lnTo>
                    <a:lnTo>
                      <a:pt x="449" y="348"/>
                    </a:lnTo>
                    <a:lnTo>
                      <a:pt x="449" y="349"/>
                    </a:lnTo>
                    <a:lnTo>
                      <a:pt x="449" y="350"/>
                    </a:lnTo>
                    <a:lnTo>
                      <a:pt x="449" y="351"/>
                    </a:lnTo>
                    <a:lnTo>
                      <a:pt x="451" y="351"/>
                    </a:lnTo>
                    <a:lnTo>
                      <a:pt x="451" y="352"/>
                    </a:lnTo>
                    <a:lnTo>
                      <a:pt x="452" y="352"/>
                    </a:lnTo>
                    <a:lnTo>
                      <a:pt x="452" y="353"/>
                    </a:lnTo>
                    <a:lnTo>
                      <a:pt x="453" y="353"/>
                    </a:lnTo>
                    <a:lnTo>
                      <a:pt x="453" y="354"/>
                    </a:lnTo>
                    <a:lnTo>
                      <a:pt x="454" y="354"/>
                    </a:lnTo>
                    <a:lnTo>
                      <a:pt x="455" y="355"/>
                    </a:lnTo>
                    <a:lnTo>
                      <a:pt x="456" y="357"/>
                    </a:lnTo>
                    <a:lnTo>
                      <a:pt x="456" y="358"/>
                    </a:lnTo>
                    <a:lnTo>
                      <a:pt x="457" y="358"/>
                    </a:lnTo>
                    <a:lnTo>
                      <a:pt x="458" y="360"/>
                    </a:lnTo>
                    <a:lnTo>
                      <a:pt x="459" y="360"/>
                    </a:lnTo>
                    <a:lnTo>
                      <a:pt x="460" y="361"/>
                    </a:lnTo>
                    <a:lnTo>
                      <a:pt x="460" y="360"/>
                    </a:lnTo>
                    <a:lnTo>
                      <a:pt x="461" y="360"/>
                    </a:lnTo>
                    <a:lnTo>
                      <a:pt x="461" y="358"/>
                    </a:lnTo>
                    <a:lnTo>
                      <a:pt x="462" y="358"/>
                    </a:lnTo>
                    <a:lnTo>
                      <a:pt x="462" y="357"/>
                    </a:lnTo>
                    <a:lnTo>
                      <a:pt x="464" y="355"/>
                    </a:lnTo>
                    <a:lnTo>
                      <a:pt x="465" y="355"/>
                    </a:lnTo>
                    <a:lnTo>
                      <a:pt x="466" y="354"/>
                    </a:lnTo>
                    <a:lnTo>
                      <a:pt x="467" y="355"/>
                    </a:lnTo>
                    <a:lnTo>
                      <a:pt x="467" y="357"/>
                    </a:lnTo>
                    <a:lnTo>
                      <a:pt x="467" y="358"/>
                    </a:lnTo>
                    <a:lnTo>
                      <a:pt x="466" y="358"/>
                    </a:lnTo>
                    <a:lnTo>
                      <a:pt x="465" y="358"/>
                    </a:lnTo>
                    <a:lnTo>
                      <a:pt x="464" y="358"/>
                    </a:lnTo>
                    <a:lnTo>
                      <a:pt x="464" y="359"/>
                    </a:lnTo>
                    <a:lnTo>
                      <a:pt x="464" y="360"/>
                    </a:lnTo>
                    <a:lnTo>
                      <a:pt x="465" y="360"/>
                    </a:lnTo>
                    <a:lnTo>
                      <a:pt x="465" y="361"/>
                    </a:lnTo>
                    <a:lnTo>
                      <a:pt x="466" y="361"/>
                    </a:lnTo>
                    <a:lnTo>
                      <a:pt x="466" y="362"/>
                    </a:lnTo>
                    <a:lnTo>
                      <a:pt x="465" y="362"/>
                    </a:lnTo>
                    <a:lnTo>
                      <a:pt x="465" y="363"/>
                    </a:lnTo>
                    <a:lnTo>
                      <a:pt x="466" y="363"/>
                    </a:lnTo>
                    <a:lnTo>
                      <a:pt x="466" y="364"/>
                    </a:lnTo>
                    <a:lnTo>
                      <a:pt x="467" y="365"/>
                    </a:lnTo>
                    <a:lnTo>
                      <a:pt x="466" y="365"/>
                    </a:lnTo>
                    <a:lnTo>
                      <a:pt x="466" y="366"/>
                    </a:lnTo>
                    <a:lnTo>
                      <a:pt x="466" y="367"/>
                    </a:lnTo>
                    <a:lnTo>
                      <a:pt x="466" y="368"/>
                    </a:lnTo>
                    <a:lnTo>
                      <a:pt x="466" y="370"/>
                    </a:lnTo>
                    <a:lnTo>
                      <a:pt x="465" y="371"/>
                    </a:lnTo>
                    <a:lnTo>
                      <a:pt x="465" y="372"/>
                    </a:lnTo>
                    <a:lnTo>
                      <a:pt x="465" y="373"/>
                    </a:lnTo>
                    <a:lnTo>
                      <a:pt x="465" y="374"/>
                    </a:lnTo>
                    <a:lnTo>
                      <a:pt x="465" y="376"/>
                    </a:lnTo>
                    <a:lnTo>
                      <a:pt x="464" y="376"/>
                    </a:lnTo>
                    <a:lnTo>
                      <a:pt x="464" y="378"/>
                    </a:lnTo>
                    <a:lnTo>
                      <a:pt x="462" y="378"/>
                    </a:lnTo>
                    <a:lnTo>
                      <a:pt x="461" y="378"/>
                    </a:lnTo>
                    <a:lnTo>
                      <a:pt x="460" y="378"/>
                    </a:lnTo>
                    <a:lnTo>
                      <a:pt x="459" y="377"/>
                    </a:lnTo>
                    <a:lnTo>
                      <a:pt x="459" y="376"/>
                    </a:lnTo>
                    <a:lnTo>
                      <a:pt x="459" y="375"/>
                    </a:lnTo>
                    <a:lnTo>
                      <a:pt x="458" y="375"/>
                    </a:lnTo>
                    <a:lnTo>
                      <a:pt x="458" y="374"/>
                    </a:lnTo>
                    <a:lnTo>
                      <a:pt x="457" y="374"/>
                    </a:lnTo>
                    <a:lnTo>
                      <a:pt x="457" y="373"/>
                    </a:lnTo>
                    <a:lnTo>
                      <a:pt x="456" y="372"/>
                    </a:lnTo>
                    <a:lnTo>
                      <a:pt x="455" y="372"/>
                    </a:lnTo>
                    <a:lnTo>
                      <a:pt x="454" y="372"/>
                    </a:lnTo>
                    <a:lnTo>
                      <a:pt x="454" y="371"/>
                    </a:lnTo>
                    <a:lnTo>
                      <a:pt x="454" y="370"/>
                    </a:lnTo>
                    <a:lnTo>
                      <a:pt x="454" y="368"/>
                    </a:lnTo>
                    <a:lnTo>
                      <a:pt x="453" y="368"/>
                    </a:lnTo>
                    <a:lnTo>
                      <a:pt x="452" y="367"/>
                    </a:lnTo>
                    <a:lnTo>
                      <a:pt x="451" y="367"/>
                    </a:lnTo>
                    <a:lnTo>
                      <a:pt x="449" y="367"/>
                    </a:lnTo>
                    <a:lnTo>
                      <a:pt x="448" y="367"/>
                    </a:lnTo>
                    <a:lnTo>
                      <a:pt x="447" y="367"/>
                    </a:lnTo>
                    <a:lnTo>
                      <a:pt x="445" y="366"/>
                    </a:lnTo>
                    <a:lnTo>
                      <a:pt x="443" y="366"/>
                    </a:lnTo>
                    <a:lnTo>
                      <a:pt x="442" y="366"/>
                    </a:lnTo>
                    <a:lnTo>
                      <a:pt x="442" y="367"/>
                    </a:lnTo>
                    <a:lnTo>
                      <a:pt x="441" y="367"/>
                    </a:lnTo>
                    <a:lnTo>
                      <a:pt x="441" y="368"/>
                    </a:lnTo>
                    <a:lnTo>
                      <a:pt x="441" y="370"/>
                    </a:lnTo>
                    <a:lnTo>
                      <a:pt x="440" y="371"/>
                    </a:lnTo>
                    <a:lnTo>
                      <a:pt x="440" y="372"/>
                    </a:lnTo>
                    <a:lnTo>
                      <a:pt x="441" y="373"/>
                    </a:lnTo>
                    <a:lnTo>
                      <a:pt x="442" y="374"/>
                    </a:lnTo>
                    <a:lnTo>
                      <a:pt x="442" y="375"/>
                    </a:lnTo>
                    <a:lnTo>
                      <a:pt x="443" y="375"/>
                    </a:lnTo>
                    <a:lnTo>
                      <a:pt x="443" y="376"/>
                    </a:lnTo>
                    <a:lnTo>
                      <a:pt x="443" y="377"/>
                    </a:lnTo>
                    <a:lnTo>
                      <a:pt x="444" y="377"/>
                    </a:lnTo>
                    <a:lnTo>
                      <a:pt x="444" y="378"/>
                    </a:lnTo>
                    <a:lnTo>
                      <a:pt x="445" y="379"/>
                    </a:lnTo>
                    <a:lnTo>
                      <a:pt x="445" y="380"/>
                    </a:lnTo>
                    <a:lnTo>
                      <a:pt x="446" y="380"/>
                    </a:lnTo>
                    <a:lnTo>
                      <a:pt x="447" y="380"/>
                    </a:lnTo>
                    <a:lnTo>
                      <a:pt x="447" y="379"/>
                    </a:lnTo>
                    <a:lnTo>
                      <a:pt x="448" y="379"/>
                    </a:lnTo>
                    <a:lnTo>
                      <a:pt x="449" y="380"/>
                    </a:lnTo>
                    <a:lnTo>
                      <a:pt x="448" y="380"/>
                    </a:lnTo>
                    <a:lnTo>
                      <a:pt x="448" y="381"/>
                    </a:lnTo>
                    <a:lnTo>
                      <a:pt x="448" y="383"/>
                    </a:lnTo>
                    <a:lnTo>
                      <a:pt x="449" y="384"/>
                    </a:lnTo>
                    <a:lnTo>
                      <a:pt x="452" y="385"/>
                    </a:lnTo>
                    <a:lnTo>
                      <a:pt x="453" y="386"/>
                    </a:lnTo>
                    <a:lnTo>
                      <a:pt x="453" y="387"/>
                    </a:lnTo>
                    <a:lnTo>
                      <a:pt x="454" y="387"/>
                    </a:lnTo>
                    <a:lnTo>
                      <a:pt x="455" y="388"/>
                    </a:lnTo>
                    <a:lnTo>
                      <a:pt x="456" y="389"/>
                    </a:lnTo>
                    <a:lnTo>
                      <a:pt x="456" y="390"/>
                    </a:lnTo>
                    <a:lnTo>
                      <a:pt x="455" y="390"/>
                    </a:lnTo>
                    <a:lnTo>
                      <a:pt x="454" y="390"/>
                    </a:lnTo>
                    <a:lnTo>
                      <a:pt x="454" y="389"/>
                    </a:lnTo>
                    <a:lnTo>
                      <a:pt x="454" y="388"/>
                    </a:lnTo>
                    <a:lnTo>
                      <a:pt x="453" y="388"/>
                    </a:lnTo>
                    <a:lnTo>
                      <a:pt x="452" y="387"/>
                    </a:lnTo>
                    <a:lnTo>
                      <a:pt x="451" y="387"/>
                    </a:lnTo>
                    <a:lnTo>
                      <a:pt x="451" y="388"/>
                    </a:lnTo>
                    <a:lnTo>
                      <a:pt x="451" y="389"/>
                    </a:lnTo>
                    <a:lnTo>
                      <a:pt x="451" y="390"/>
                    </a:lnTo>
                    <a:lnTo>
                      <a:pt x="452" y="391"/>
                    </a:lnTo>
                    <a:lnTo>
                      <a:pt x="452" y="392"/>
                    </a:lnTo>
                    <a:lnTo>
                      <a:pt x="453" y="393"/>
                    </a:lnTo>
                    <a:lnTo>
                      <a:pt x="453" y="394"/>
                    </a:lnTo>
                    <a:lnTo>
                      <a:pt x="453" y="396"/>
                    </a:lnTo>
                    <a:lnTo>
                      <a:pt x="453" y="397"/>
                    </a:lnTo>
                    <a:lnTo>
                      <a:pt x="452" y="397"/>
                    </a:lnTo>
                    <a:lnTo>
                      <a:pt x="452" y="396"/>
                    </a:lnTo>
                    <a:lnTo>
                      <a:pt x="452" y="393"/>
                    </a:lnTo>
                    <a:lnTo>
                      <a:pt x="451" y="391"/>
                    </a:lnTo>
                    <a:lnTo>
                      <a:pt x="449" y="391"/>
                    </a:lnTo>
                    <a:lnTo>
                      <a:pt x="449" y="390"/>
                    </a:lnTo>
                    <a:lnTo>
                      <a:pt x="448" y="389"/>
                    </a:lnTo>
                    <a:lnTo>
                      <a:pt x="448" y="387"/>
                    </a:lnTo>
                    <a:lnTo>
                      <a:pt x="447" y="387"/>
                    </a:lnTo>
                    <a:lnTo>
                      <a:pt x="447" y="386"/>
                    </a:lnTo>
                    <a:lnTo>
                      <a:pt x="447" y="385"/>
                    </a:lnTo>
                    <a:lnTo>
                      <a:pt x="446" y="384"/>
                    </a:lnTo>
                    <a:lnTo>
                      <a:pt x="445" y="383"/>
                    </a:lnTo>
                    <a:lnTo>
                      <a:pt x="445" y="381"/>
                    </a:lnTo>
                    <a:lnTo>
                      <a:pt x="444" y="381"/>
                    </a:lnTo>
                    <a:lnTo>
                      <a:pt x="444" y="380"/>
                    </a:lnTo>
                    <a:lnTo>
                      <a:pt x="443" y="380"/>
                    </a:lnTo>
                    <a:lnTo>
                      <a:pt x="443" y="379"/>
                    </a:lnTo>
                    <a:lnTo>
                      <a:pt x="442" y="378"/>
                    </a:lnTo>
                    <a:lnTo>
                      <a:pt x="441" y="377"/>
                    </a:lnTo>
                    <a:lnTo>
                      <a:pt x="441" y="376"/>
                    </a:lnTo>
                    <a:lnTo>
                      <a:pt x="440" y="375"/>
                    </a:lnTo>
                    <a:lnTo>
                      <a:pt x="439" y="375"/>
                    </a:lnTo>
                    <a:lnTo>
                      <a:pt x="439" y="374"/>
                    </a:lnTo>
                    <a:lnTo>
                      <a:pt x="438" y="374"/>
                    </a:lnTo>
                    <a:lnTo>
                      <a:pt x="438" y="375"/>
                    </a:lnTo>
                    <a:lnTo>
                      <a:pt x="436" y="375"/>
                    </a:lnTo>
                    <a:lnTo>
                      <a:pt x="436" y="376"/>
                    </a:lnTo>
                    <a:lnTo>
                      <a:pt x="435" y="376"/>
                    </a:lnTo>
                    <a:lnTo>
                      <a:pt x="434" y="376"/>
                    </a:lnTo>
                    <a:lnTo>
                      <a:pt x="434" y="377"/>
                    </a:lnTo>
                    <a:lnTo>
                      <a:pt x="434" y="378"/>
                    </a:lnTo>
                    <a:lnTo>
                      <a:pt x="435" y="379"/>
                    </a:lnTo>
                    <a:lnTo>
                      <a:pt x="435" y="380"/>
                    </a:lnTo>
                    <a:lnTo>
                      <a:pt x="436" y="380"/>
                    </a:lnTo>
                    <a:lnTo>
                      <a:pt x="436" y="381"/>
                    </a:lnTo>
                    <a:lnTo>
                      <a:pt x="438" y="381"/>
                    </a:lnTo>
                    <a:lnTo>
                      <a:pt x="439" y="381"/>
                    </a:lnTo>
                    <a:lnTo>
                      <a:pt x="439" y="383"/>
                    </a:lnTo>
                    <a:lnTo>
                      <a:pt x="438" y="383"/>
                    </a:lnTo>
                    <a:lnTo>
                      <a:pt x="438" y="384"/>
                    </a:lnTo>
                    <a:lnTo>
                      <a:pt x="436" y="385"/>
                    </a:lnTo>
                    <a:lnTo>
                      <a:pt x="436" y="386"/>
                    </a:lnTo>
                    <a:lnTo>
                      <a:pt x="436" y="387"/>
                    </a:lnTo>
                    <a:lnTo>
                      <a:pt x="436" y="388"/>
                    </a:lnTo>
                    <a:lnTo>
                      <a:pt x="436" y="389"/>
                    </a:lnTo>
                    <a:lnTo>
                      <a:pt x="435" y="389"/>
                    </a:lnTo>
                    <a:lnTo>
                      <a:pt x="435" y="390"/>
                    </a:lnTo>
                    <a:lnTo>
                      <a:pt x="435" y="391"/>
                    </a:lnTo>
                    <a:lnTo>
                      <a:pt x="435" y="390"/>
                    </a:lnTo>
                    <a:lnTo>
                      <a:pt x="435" y="389"/>
                    </a:lnTo>
                    <a:lnTo>
                      <a:pt x="434" y="389"/>
                    </a:lnTo>
                    <a:lnTo>
                      <a:pt x="434" y="388"/>
                    </a:lnTo>
                    <a:lnTo>
                      <a:pt x="434" y="387"/>
                    </a:lnTo>
                    <a:lnTo>
                      <a:pt x="435" y="387"/>
                    </a:lnTo>
                    <a:lnTo>
                      <a:pt x="435" y="386"/>
                    </a:lnTo>
                    <a:lnTo>
                      <a:pt x="435" y="385"/>
                    </a:lnTo>
                    <a:lnTo>
                      <a:pt x="435" y="384"/>
                    </a:lnTo>
                    <a:lnTo>
                      <a:pt x="435" y="383"/>
                    </a:lnTo>
                    <a:lnTo>
                      <a:pt x="434" y="383"/>
                    </a:lnTo>
                    <a:lnTo>
                      <a:pt x="434" y="381"/>
                    </a:lnTo>
                    <a:lnTo>
                      <a:pt x="433" y="381"/>
                    </a:lnTo>
                    <a:lnTo>
                      <a:pt x="433" y="380"/>
                    </a:lnTo>
                    <a:lnTo>
                      <a:pt x="432" y="380"/>
                    </a:lnTo>
                    <a:lnTo>
                      <a:pt x="432" y="383"/>
                    </a:lnTo>
                    <a:lnTo>
                      <a:pt x="431" y="383"/>
                    </a:lnTo>
                    <a:lnTo>
                      <a:pt x="430" y="383"/>
                    </a:lnTo>
                    <a:lnTo>
                      <a:pt x="429" y="383"/>
                    </a:lnTo>
                    <a:lnTo>
                      <a:pt x="429" y="384"/>
                    </a:lnTo>
                    <a:lnTo>
                      <a:pt x="428" y="384"/>
                    </a:lnTo>
                    <a:lnTo>
                      <a:pt x="428" y="385"/>
                    </a:lnTo>
                    <a:lnTo>
                      <a:pt x="427" y="385"/>
                    </a:lnTo>
                    <a:lnTo>
                      <a:pt x="426" y="385"/>
                    </a:lnTo>
                    <a:lnTo>
                      <a:pt x="425" y="385"/>
                    </a:lnTo>
                    <a:lnTo>
                      <a:pt x="425" y="386"/>
                    </a:lnTo>
                    <a:lnTo>
                      <a:pt x="423" y="386"/>
                    </a:lnTo>
                    <a:lnTo>
                      <a:pt x="423" y="387"/>
                    </a:lnTo>
                    <a:lnTo>
                      <a:pt x="422" y="387"/>
                    </a:lnTo>
                    <a:lnTo>
                      <a:pt x="422" y="388"/>
                    </a:lnTo>
                    <a:lnTo>
                      <a:pt x="422" y="389"/>
                    </a:lnTo>
                    <a:lnTo>
                      <a:pt x="422" y="388"/>
                    </a:lnTo>
                    <a:lnTo>
                      <a:pt x="421" y="388"/>
                    </a:lnTo>
                    <a:lnTo>
                      <a:pt x="421" y="387"/>
                    </a:lnTo>
                    <a:lnTo>
                      <a:pt x="420" y="386"/>
                    </a:lnTo>
                    <a:lnTo>
                      <a:pt x="420" y="385"/>
                    </a:lnTo>
                    <a:lnTo>
                      <a:pt x="419" y="384"/>
                    </a:lnTo>
                    <a:lnTo>
                      <a:pt x="418" y="385"/>
                    </a:lnTo>
                    <a:lnTo>
                      <a:pt x="417" y="385"/>
                    </a:lnTo>
                    <a:lnTo>
                      <a:pt x="417" y="386"/>
                    </a:lnTo>
                    <a:lnTo>
                      <a:pt x="417" y="387"/>
                    </a:lnTo>
                    <a:lnTo>
                      <a:pt x="417" y="389"/>
                    </a:lnTo>
                    <a:lnTo>
                      <a:pt x="418" y="390"/>
                    </a:lnTo>
                    <a:lnTo>
                      <a:pt x="418" y="391"/>
                    </a:lnTo>
                    <a:lnTo>
                      <a:pt x="418" y="392"/>
                    </a:lnTo>
                    <a:lnTo>
                      <a:pt x="418" y="393"/>
                    </a:lnTo>
                    <a:lnTo>
                      <a:pt x="418" y="394"/>
                    </a:lnTo>
                    <a:lnTo>
                      <a:pt x="418" y="396"/>
                    </a:lnTo>
                    <a:lnTo>
                      <a:pt x="419" y="398"/>
                    </a:lnTo>
                    <a:lnTo>
                      <a:pt x="419" y="399"/>
                    </a:lnTo>
                    <a:lnTo>
                      <a:pt x="419" y="400"/>
                    </a:lnTo>
                    <a:lnTo>
                      <a:pt x="419" y="401"/>
                    </a:lnTo>
                    <a:lnTo>
                      <a:pt x="419" y="402"/>
                    </a:lnTo>
                    <a:lnTo>
                      <a:pt x="418" y="402"/>
                    </a:lnTo>
                    <a:lnTo>
                      <a:pt x="418" y="403"/>
                    </a:lnTo>
                    <a:lnTo>
                      <a:pt x="417" y="403"/>
                    </a:lnTo>
                    <a:lnTo>
                      <a:pt x="416" y="403"/>
                    </a:lnTo>
                    <a:lnTo>
                      <a:pt x="416" y="402"/>
                    </a:lnTo>
                    <a:lnTo>
                      <a:pt x="415" y="401"/>
                    </a:lnTo>
                    <a:lnTo>
                      <a:pt x="414" y="401"/>
                    </a:lnTo>
                    <a:lnTo>
                      <a:pt x="414" y="402"/>
                    </a:lnTo>
                    <a:lnTo>
                      <a:pt x="414" y="401"/>
                    </a:lnTo>
                    <a:lnTo>
                      <a:pt x="413" y="401"/>
                    </a:lnTo>
                    <a:lnTo>
                      <a:pt x="413" y="400"/>
                    </a:lnTo>
                    <a:lnTo>
                      <a:pt x="413" y="399"/>
                    </a:lnTo>
                    <a:lnTo>
                      <a:pt x="412" y="399"/>
                    </a:lnTo>
                    <a:lnTo>
                      <a:pt x="412" y="398"/>
                    </a:lnTo>
                    <a:lnTo>
                      <a:pt x="412" y="397"/>
                    </a:lnTo>
                    <a:lnTo>
                      <a:pt x="412" y="396"/>
                    </a:lnTo>
                    <a:lnTo>
                      <a:pt x="412" y="394"/>
                    </a:lnTo>
                    <a:lnTo>
                      <a:pt x="410" y="394"/>
                    </a:lnTo>
                    <a:lnTo>
                      <a:pt x="410" y="393"/>
                    </a:lnTo>
                    <a:lnTo>
                      <a:pt x="410" y="392"/>
                    </a:lnTo>
                    <a:lnTo>
                      <a:pt x="410" y="391"/>
                    </a:lnTo>
                    <a:lnTo>
                      <a:pt x="412" y="391"/>
                    </a:lnTo>
                    <a:lnTo>
                      <a:pt x="412" y="390"/>
                    </a:lnTo>
                    <a:lnTo>
                      <a:pt x="412" y="389"/>
                    </a:lnTo>
                    <a:lnTo>
                      <a:pt x="410" y="389"/>
                    </a:lnTo>
                    <a:lnTo>
                      <a:pt x="410" y="390"/>
                    </a:lnTo>
                    <a:lnTo>
                      <a:pt x="409" y="390"/>
                    </a:lnTo>
                    <a:lnTo>
                      <a:pt x="408" y="390"/>
                    </a:lnTo>
                    <a:lnTo>
                      <a:pt x="407" y="390"/>
                    </a:lnTo>
                    <a:lnTo>
                      <a:pt x="407" y="391"/>
                    </a:lnTo>
                    <a:lnTo>
                      <a:pt x="406" y="391"/>
                    </a:lnTo>
                    <a:lnTo>
                      <a:pt x="407" y="392"/>
                    </a:lnTo>
                    <a:lnTo>
                      <a:pt x="406" y="392"/>
                    </a:lnTo>
                    <a:lnTo>
                      <a:pt x="406" y="393"/>
                    </a:lnTo>
                    <a:lnTo>
                      <a:pt x="405" y="393"/>
                    </a:lnTo>
                    <a:lnTo>
                      <a:pt x="404" y="393"/>
                    </a:lnTo>
                    <a:lnTo>
                      <a:pt x="404" y="394"/>
                    </a:lnTo>
                    <a:lnTo>
                      <a:pt x="405" y="394"/>
                    </a:lnTo>
                    <a:lnTo>
                      <a:pt x="404" y="396"/>
                    </a:lnTo>
                    <a:lnTo>
                      <a:pt x="404" y="397"/>
                    </a:lnTo>
                    <a:lnTo>
                      <a:pt x="404" y="398"/>
                    </a:lnTo>
                    <a:lnTo>
                      <a:pt x="404" y="399"/>
                    </a:lnTo>
                    <a:lnTo>
                      <a:pt x="405" y="399"/>
                    </a:lnTo>
                    <a:lnTo>
                      <a:pt x="406" y="400"/>
                    </a:lnTo>
                    <a:lnTo>
                      <a:pt x="405" y="400"/>
                    </a:lnTo>
                    <a:lnTo>
                      <a:pt x="405" y="401"/>
                    </a:lnTo>
                    <a:lnTo>
                      <a:pt x="404" y="401"/>
                    </a:lnTo>
                    <a:lnTo>
                      <a:pt x="405" y="402"/>
                    </a:lnTo>
                    <a:lnTo>
                      <a:pt x="405" y="403"/>
                    </a:lnTo>
                    <a:lnTo>
                      <a:pt x="404" y="403"/>
                    </a:lnTo>
                    <a:lnTo>
                      <a:pt x="405" y="403"/>
                    </a:lnTo>
                    <a:lnTo>
                      <a:pt x="405" y="404"/>
                    </a:lnTo>
                    <a:lnTo>
                      <a:pt x="407" y="404"/>
                    </a:lnTo>
                    <a:lnTo>
                      <a:pt x="409" y="405"/>
                    </a:lnTo>
                    <a:lnTo>
                      <a:pt x="408" y="405"/>
                    </a:lnTo>
                    <a:lnTo>
                      <a:pt x="409" y="406"/>
                    </a:lnTo>
                    <a:lnTo>
                      <a:pt x="410" y="406"/>
                    </a:lnTo>
                    <a:lnTo>
                      <a:pt x="412" y="406"/>
                    </a:lnTo>
                    <a:lnTo>
                      <a:pt x="412" y="407"/>
                    </a:lnTo>
                    <a:lnTo>
                      <a:pt x="410" y="407"/>
                    </a:lnTo>
                    <a:lnTo>
                      <a:pt x="409" y="407"/>
                    </a:lnTo>
                    <a:lnTo>
                      <a:pt x="409" y="409"/>
                    </a:lnTo>
                    <a:lnTo>
                      <a:pt x="410" y="409"/>
                    </a:lnTo>
                    <a:lnTo>
                      <a:pt x="410" y="410"/>
                    </a:lnTo>
                    <a:lnTo>
                      <a:pt x="410" y="411"/>
                    </a:lnTo>
                    <a:lnTo>
                      <a:pt x="412" y="411"/>
                    </a:lnTo>
                    <a:lnTo>
                      <a:pt x="413" y="411"/>
                    </a:lnTo>
                    <a:lnTo>
                      <a:pt x="414" y="411"/>
                    </a:lnTo>
                    <a:lnTo>
                      <a:pt x="414" y="410"/>
                    </a:lnTo>
                    <a:lnTo>
                      <a:pt x="414" y="409"/>
                    </a:lnTo>
                    <a:lnTo>
                      <a:pt x="414" y="407"/>
                    </a:lnTo>
                    <a:lnTo>
                      <a:pt x="415" y="407"/>
                    </a:lnTo>
                    <a:lnTo>
                      <a:pt x="416" y="407"/>
                    </a:lnTo>
                    <a:lnTo>
                      <a:pt x="416" y="409"/>
                    </a:lnTo>
                    <a:lnTo>
                      <a:pt x="415" y="410"/>
                    </a:lnTo>
                    <a:lnTo>
                      <a:pt x="416" y="411"/>
                    </a:lnTo>
                    <a:lnTo>
                      <a:pt x="416" y="412"/>
                    </a:lnTo>
                    <a:lnTo>
                      <a:pt x="417" y="412"/>
                    </a:lnTo>
                    <a:lnTo>
                      <a:pt x="417" y="413"/>
                    </a:lnTo>
                    <a:lnTo>
                      <a:pt x="418" y="414"/>
                    </a:lnTo>
                    <a:lnTo>
                      <a:pt x="417" y="415"/>
                    </a:lnTo>
                    <a:lnTo>
                      <a:pt x="416" y="415"/>
                    </a:lnTo>
                    <a:lnTo>
                      <a:pt x="415" y="415"/>
                    </a:lnTo>
                    <a:lnTo>
                      <a:pt x="414" y="415"/>
                    </a:lnTo>
                    <a:lnTo>
                      <a:pt x="413" y="416"/>
                    </a:lnTo>
                    <a:lnTo>
                      <a:pt x="413" y="417"/>
                    </a:lnTo>
                    <a:lnTo>
                      <a:pt x="413" y="418"/>
                    </a:lnTo>
                    <a:lnTo>
                      <a:pt x="413" y="419"/>
                    </a:lnTo>
                    <a:lnTo>
                      <a:pt x="413" y="421"/>
                    </a:lnTo>
                    <a:lnTo>
                      <a:pt x="413" y="422"/>
                    </a:lnTo>
                    <a:lnTo>
                      <a:pt x="413" y="423"/>
                    </a:lnTo>
                    <a:lnTo>
                      <a:pt x="413" y="424"/>
                    </a:lnTo>
                    <a:lnTo>
                      <a:pt x="414" y="424"/>
                    </a:lnTo>
                    <a:lnTo>
                      <a:pt x="414" y="425"/>
                    </a:lnTo>
                    <a:lnTo>
                      <a:pt x="414" y="426"/>
                    </a:lnTo>
                    <a:lnTo>
                      <a:pt x="413" y="426"/>
                    </a:lnTo>
                    <a:lnTo>
                      <a:pt x="412" y="426"/>
                    </a:lnTo>
                    <a:lnTo>
                      <a:pt x="410" y="426"/>
                    </a:lnTo>
                    <a:lnTo>
                      <a:pt x="410" y="427"/>
                    </a:lnTo>
                    <a:lnTo>
                      <a:pt x="409" y="427"/>
                    </a:lnTo>
                    <a:lnTo>
                      <a:pt x="408" y="427"/>
                    </a:lnTo>
                    <a:lnTo>
                      <a:pt x="407" y="427"/>
                    </a:lnTo>
                    <a:lnTo>
                      <a:pt x="406" y="428"/>
                    </a:lnTo>
                    <a:lnTo>
                      <a:pt x="406" y="429"/>
                    </a:lnTo>
                    <a:lnTo>
                      <a:pt x="407" y="430"/>
                    </a:lnTo>
                    <a:lnTo>
                      <a:pt x="407" y="431"/>
                    </a:lnTo>
                    <a:lnTo>
                      <a:pt x="406" y="431"/>
                    </a:lnTo>
                    <a:lnTo>
                      <a:pt x="406" y="432"/>
                    </a:lnTo>
                    <a:lnTo>
                      <a:pt x="406" y="434"/>
                    </a:lnTo>
                    <a:lnTo>
                      <a:pt x="407" y="434"/>
                    </a:lnTo>
                    <a:lnTo>
                      <a:pt x="407" y="435"/>
                    </a:lnTo>
                    <a:lnTo>
                      <a:pt x="407" y="436"/>
                    </a:lnTo>
                    <a:lnTo>
                      <a:pt x="407" y="437"/>
                    </a:lnTo>
                    <a:lnTo>
                      <a:pt x="408" y="437"/>
                    </a:lnTo>
                    <a:lnTo>
                      <a:pt x="409" y="437"/>
                    </a:lnTo>
                    <a:lnTo>
                      <a:pt x="409" y="438"/>
                    </a:lnTo>
                    <a:lnTo>
                      <a:pt x="409" y="439"/>
                    </a:lnTo>
                    <a:lnTo>
                      <a:pt x="408" y="439"/>
                    </a:lnTo>
                    <a:lnTo>
                      <a:pt x="408" y="440"/>
                    </a:lnTo>
                    <a:lnTo>
                      <a:pt x="407" y="440"/>
                    </a:lnTo>
                    <a:lnTo>
                      <a:pt x="406" y="441"/>
                    </a:lnTo>
                    <a:lnTo>
                      <a:pt x="406" y="442"/>
                    </a:lnTo>
                    <a:lnTo>
                      <a:pt x="405" y="442"/>
                    </a:lnTo>
                    <a:lnTo>
                      <a:pt x="405" y="443"/>
                    </a:lnTo>
                    <a:lnTo>
                      <a:pt x="405" y="444"/>
                    </a:lnTo>
                    <a:lnTo>
                      <a:pt x="405" y="445"/>
                    </a:lnTo>
                    <a:lnTo>
                      <a:pt x="405" y="447"/>
                    </a:lnTo>
                    <a:lnTo>
                      <a:pt x="405" y="448"/>
                    </a:lnTo>
                    <a:lnTo>
                      <a:pt x="405" y="449"/>
                    </a:lnTo>
                    <a:lnTo>
                      <a:pt x="405" y="450"/>
                    </a:lnTo>
                    <a:lnTo>
                      <a:pt x="405" y="449"/>
                    </a:lnTo>
                    <a:lnTo>
                      <a:pt x="404" y="448"/>
                    </a:lnTo>
                    <a:lnTo>
                      <a:pt x="404" y="447"/>
                    </a:lnTo>
                    <a:lnTo>
                      <a:pt x="403" y="448"/>
                    </a:lnTo>
                    <a:lnTo>
                      <a:pt x="402" y="448"/>
                    </a:lnTo>
                    <a:lnTo>
                      <a:pt x="403" y="449"/>
                    </a:lnTo>
                    <a:lnTo>
                      <a:pt x="403" y="450"/>
                    </a:lnTo>
                    <a:lnTo>
                      <a:pt x="402" y="451"/>
                    </a:lnTo>
                    <a:lnTo>
                      <a:pt x="401" y="451"/>
                    </a:lnTo>
                    <a:lnTo>
                      <a:pt x="401" y="450"/>
                    </a:lnTo>
                    <a:lnTo>
                      <a:pt x="400" y="449"/>
                    </a:lnTo>
                    <a:lnTo>
                      <a:pt x="399" y="448"/>
                    </a:lnTo>
                    <a:lnTo>
                      <a:pt x="397" y="449"/>
                    </a:lnTo>
                    <a:lnTo>
                      <a:pt x="397" y="448"/>
                    </a:lnTo>
                    <a:lnTo>
                      <a:pt x="397" y="447"/>
                    </a:lnTo>
                    <a:lnTo>
                      <a:pt x="396" y="447"/>
                    </a:lnTo>
                    <a:lnTo>
                      <a:pt x="396" y="445"/>
                    </a:lnTo>
                    <a:lnTo>
                      <a:pt x="396" y="444"/>
                    </a:lnTo>
                    <a:lnTo>
                      <a:pt x="395" y="444"/>
                    </a:lnTo>
                    <a:lnTo>
                      <a:pt x="394" y="444"/>
                    </a:lnTo>
                    <a:lnTo>
                      <a:pt x="394" y="445"/>
                    </a:lnTo>
                    <a:lnTo>
                      <a:pt x="393" y="445"/>
                    </a:lnTo>
                    <a:lnTo>
                      <a:pt x="392" y="445"/>
                    </a:lnTo>
                    <a:lnTo>
                      <a:pt x="391" y="445"/>
                    </a:lnTo>
                    <a:lnTo>
                      <a:pt x="390" y="445"/>
                    </a:lnTo>
                    <a:lnTo>
                      <a:pt x="388" y="445"/>
                    </a:lnTo>
                    <a:lnTo>
                      <a:pt x="387" y="445"/>
                    </a:lnTo>
                    <a:lnTo>
                      <a:pt x="387" y="447"/>
                    </a:lnTo>
                    <a:lnTo>
                      <a:pt x="386" y="447"/>
                    </a:lnTo>
                    <a:lnTo>
                      <a:pt x="386" y="448"/>
                    </a:lnTo>
                    <a:lnTo>
                      <a:pt x="384" y="448"/>
                    </a:lnTo>
                    <a:lnTo>
                      <a:pt x="386" y="449"/>
                    </a:lnTo>
                    <a:lnTo>
                      <a:pt x="386" y="450"/>
                    </a:lnTo>
                    <a:lnTo>
                      <a:pt x="387" y="450"/>
                    </a:lnTo>
                    <a:lnTo>
                      <a:pt x="388" y="450"/>
                    </a:lnTo>
                    <a:lnTo>
                      <a:pt x="388" y="451"/>
                    </a:lnTo>
                    <a:lnTo>
                      <a:pt x="387" y="451"/>
                    </a:lnTo>
                    <a:lnTo>
                      <a:pt x="386" y="452"/>
                    </a:lnTo>
                    <a:lnTo>
                      <a:pt x="384" y="451"/>
                    </a:lnTo>
                    <a:lnTo>
                      <a:pt x="384" y="452"/>
                    </a:lnTo>
                    <a:lnTo>
                      <a:pt x="384" y="451"/>
                    </a:lnTo>
                    <a:lnTo>
                      <a:pt x="383" y="451"/>
                    </a:lnTo>
                    <a:lnTo>
                      <a:pt x="383" y="450"/>
                    </a:lnTo>
                    <a:lnTo>
                      <a:pt x="382" y="450"/>
                    </a:lnTo>
                    <a:lnTo>
                      <a:pt x="381" y="451"/>
                    </a:lnTo>
                    <a:lnTo>
                      <a:pt x="380" y="451"/>
                    </a:lnTo>
                    <a:lnTo>
                      <a:pt x="381" y="450"/>
                    </a:lnTo>
                    <a:lnTo>
                      <a:pt x="381" y="449"/>
                    </a:lnTo>
                    <a:lnTo>
                      <a:pt x="380" y="449"/>
                    </a:lnTo>
                    <a:lnTo>
                      <a:pt x="380" y="450"/>
                    </a:lnTo>
                    <a:lnTo>
                      <a:pt x="379" y="450"/>
                    </a:lnTo>
                    <a:lnTo>
                      <a:pt x="378" y="450"/>
                    </a:lnTo>
                    <a:lnTo>
                      <a:pt x="378" y="449"/>
                    </a:lnTo>
                    <a:lnTo>
                      <a:pt x="377" y="449"/>
                    </a:lnTo>
                    <a:lnTo>
                      <a:pt x="375" y="449"/>
                    </a:lnTo>
                    <a:lnTo>
                      <a:pt x="375" y="450"/>
                    </a:lnTo>
                    <a:lnTo>
                      <a:pt x="374" y="451"/>
                    </a:lnTo>
                    <a:lnTo>
                      <a:pt x="375" y="451"/>
                    </a:lnTo>
                    <a:lnTo>
                      <a:pt x="376" y="451"/>
                    </a:lnTo>
                    <a:lnTo>
                      <a:pt x="376" y="452"/>
                    </a:lnTo>
                    <a:lnTo>
                      <a:pt x="376" y="453"/>
                    </a:lnTo>
                    <a:lnTo>
                      <a:pt x="376" y="454"/>
                    </a:lnTo>
                    <a:lnTo>
                      <a:pt x="375" y="455"/>
                    </a:lnTo>
                    <a:lnTo>
                      <a:pt x="375" y="456"/>
                    </a:lnTo>
                    <a:lnTo>
                      <a:pt x="374" y="456"/>
                    </a:lnTo>
                    <a:lnTo>
                      <a:pt x="374" y="457"/>
                    </a:lnTo>
                    <a:lnTo>
                      <a:pt x="374" y="458"/>
                    </a:lnTo>
                    <a:lnTo>
                      <a:pt x="373" y="458"/>
                    </a:lnTo>
                    <a:lnTo>
                      <a:pt x="371" y="458"/>
                    </a:lnTo>
                    <a:lnTo>
                      <a:pt x="371" y="460"/>
                    </a:lnTo>
                    <a:lnTo>
                      <a:pt x="371" y="461"/>
                    </a:lnTo>
                    <a:lnTo>
                      <a:pt x="371" y="462"/>
                    </a:lnTo>
                    <a:lnTo>
                      <a:pt x="373" y="462"/>
                    </a:lnTo>
                    <a:lnTo>
                      <a:pt x="373" y="463"/>
                    </a:lnTo>
                    <a:lnTo>
                      <a:pt x="371" y="463"/>
                    </a:lnTo>
                    <a:lnTo>
                      <a:pt x="371" y="464"/>
                    </a:lnTo>
                    <a:lnTo>
                      <a:pt x="371" y="465"/>
                    </a:lnTo>
                    <a:lnTo>
                      <a:pt x="370" y="465"/>
                    </a:lnTo>
                    <a:lnTo>
                      <a:pt x="369" y="464"/>
                    </a:lnTo>
                    <a:lnTo>
                      <a:pt x="368" y="464"/>
                    </a:lnTo>
                    <a:lnTo>
                      <a:pt x="367" y="464"/>
                    </a:lnTo>
                    <a:lnTo>
                      <a:pt x="366" y="464"/>
                    </a:lnTo>
                    <a:lnTo>
                      <a:pt x="367" y="464"/>
                    </a:lnTo>
                    <a:lnTo>
                      <a:pt x="367" y="463"/>
                    </a:lnTo>
                    <a:lnTo>
                      <a:pt x="366" y="463"/>
                    </a:lnTo>
                    <a:lnTo>
                      <a:pt x="366" y="462"/>
                    </a:lnTo>
                    <a:lnTo>
                      <a:pt x="367" y="462"/>
                    </a:lnTo>
                    <a:lnTo>
                      <a:pt x="366" y="461"/>
                    </a:lnTo>
                    <a:lnTo>
                      <a:pt x="366" y="462"/>
                    </a:lnTo>
                    <a:lnTo>
                      <a:pt x="365" y="462"/>
                    </a:lnTo>
                    <a:lnTo>
                      <a:pt x="365" y="461"/>
                    </a:lnTo>
                    <a:lnTo>
                      <a:pt x="365" y="460"/>
                    </a:lnTo>
                    <a:lnTo>
                      <a:pt x="366" y="460"/>
                    </a:lnTo>
                    <a:lnTo>
                      <a:pt x="367" y="460"/>
                    </a:lnTo>
                    <a:lnTo>
                      <a:pt x="367" y="458"/>
                    </a:lnTo>
                    <a:lnTo>
                      <a:pt x="366" y="458"/>
                    </a:lnTo>
                    <a:lnTo>
                      <a:pt x="365" y="458"/>
                    </a:lnTo>
                    <a:lnTo>
                      <a:pt x="365" y="457"/>
                    </a:lnTo>
                    <a:lnTo>
                      <a:pt x="365" y="458"/>
                    </a:lnTo>
                    <a:lnTo>
                      <a:pt x="364" y="458"/>
                    </a:lnTo>
                    <a:lnTo>
                      <a:pt x="363" y="458"/>
                    </a:lnTo>
                    <a:lnTo>
                      <a:pt x="363" y="460"/>
                    </a:lnTo>
                    <a:lnTo>
                      <a:pt x="362" y="460"/>
                    </a:lnTo>
                    <a:lnTo>
                      <a:pt x="362" y="458"/>
                    </a:lnTo>
                    <a:lnTo>
                      <a:pt x="361" y="458"/>
                    </a:lnTo>
                    <a:lnTo>
                      <a:pt x="360" y="458"/>
                    </a:lnTo>
                    <a:lnTo>
                      <a:pt x="360" y="460"/>
                    </a:lnTo>
                    <a:lnTo>
                      <a:pt x="358" y="460"/>
                    </a:lnTo>
                    <a:lnTo>
                      <a:pt x="358" y="461"/>
                    </a:lnTo>
                    <a:lnTo>
                      <a:pt x="360" y="462"/>
                    </a:lnTo>
                    <a:lnTo>
                      <a:pt x="361" y="462"/>
                    </a:lnTo>
                    <a:lnTo>
                      <a:pt x="361" y="463"/>
                    </a:lnTo>
                    <a:lnTo>
                      <a:pt x="360" y="464"/>
                    </a:lnTo>
                    <a:lnTo>
                      <a:pt x="360" y="465"/>
                    </a:lnTo>
                    <a:lnTo>
                      <a:pt x="358" y="466"/>
                    </a:lnTo>
                    <a:lnTo>
                      <a:pt x="357" y="467"/>
                    </a:lnTo>
                    <a:lnTo>
                      <a:pt x="356" y="467"/>
                    </a:lnTo>
                    <a:lnTo>
                      <a:pt x="355" y="468"/>
                    </a:lnTo>
                    <a:lnTo>
                      <a:pt x="355" y="469"/>
                    </a:lnTo>
                    <a:lnTo>
                      <a:pt x="354" y="469"/>
                    </a:lnTo>
                    <a:lnTo>
                      <a:pt x="354" y="470"/>
                    </a:lnTo>
                    <a:lnTo>
                      <a:pt x="353" y="470"/>
                    </a:lnTo>
                    <a:lnTo>
                      <a:pt x="353" y="471"/>
                    </a:lnTo>
                    <a:lnTo>
                      <a:pt x="353" y="473"/>
                    </a:lnTo>
                    <a:lnTo>
                      <a:pt x="354" y="474"/>
                    </a:lnTo>
                    <a:lnTo>
                      <a:pt x="354" y="475"/>
                    </a:lnTo>
                    <a:lnTo>
                      <a:pt x="353" y="475"/>
                    </a:lnTo>
                    <a:lnTo>
                      <a:pt x="352" y="475"/>
                    </a:lnTo>
                    <a:lnTo>
                      <a:pt x="351" y="474"/>
                    </a:lnTo>
                    <a:lnTo>
                      <a:pt x="351" y="473"/>
                    </a:lnTo>
                    <a:lnTo>
                      <a:pt x="350" y="473"/>
                    </a:lnTo>
                    <a:lnTo>
                      <a:pt x="350" y="474"/>
                    </a:lnTo>
                    <a:lnTo>
                      <a:pt x="350" y="473"/>
                    </a:lnTo>
                    <a:lnTo>
                      <a:pt x="349" y="473"/>
                    </a:lnTo>
                    <a:lnTo>
                      <a:pt x="349" y="471"/>
                    </a:lnTo>
                    <a:lnTo>
                      <a:pt x="349" y="470"/>
                    </a:lnTo>
                    <a:lnTo>
                      <a:pt x="350" y="470"/>
                    </a:lnTo>
                    <a:lnTo>
                      <a:pt x="350" y="469"/>
                    </a:lnTo>
                    <a:lnTo>
                      <a:pt x="351" y="469"/>
                    </a:lnTo>
                    <a:lnTo>
                      <a:pt x="351" y="468"/>
                    </a:lnTo>
                    <a:lnTo>
                      <a:pt x="351" y="467"/>
                    </a:lnTo>
                    <a:lnTo>
                      <a:pt x="352" y="467"/>
                    </a:lnTo>
                    <a:lnTo>
                      <a:pt x="352" y="466"/>
                    </a:lnTo>
                    <a:lnTo>
                      <a:pt x="353" y="466"/>
                    </a:lnTo>
                    <a:lnTo>
                      <a:pt x="353" y="465"/>
                    </a:lnTo>
                    <a:lnTo>
                      <a:pt x="352" y="465"/>
                    </a:lnTo>
                    <a:lnTo>
                      <a:pt x="352" y="464"/>
                    </a:lnTo>
                    <a:lnTo>
                      <a:pt x="351" y="464"/>
                    </a:lnTo>
                    <a:lnTo>
                      <a:pt x="351" y="463"/>
                    </a:lnTo>
                    <a:lnTo>
                      <a:pt x="350" y="463"/>
                    </a:lnTo>
                    <a:lnTo>
                      <a:pt x="350" y="462"/>
                    </a:lnTo>
                    <a:lnTo>
                      <a:pt x="349" y="462"/>
                    </a:lnTo>
                    <a:lnTo>
                      <a:pt x="348" y="462"/>
                    </a:lnTo>
                    <a:lnTo>
                      <a:pt x="348" y="461"/>
                    </a:lnTo>
                    <a:lnTo>
                      <a:pt x="346" y="461"/>
                    </a:lnTo>
                    <a:lnTo>
                      <a:pt x="345" y="460"/>
                    </a:lnTo>
                    <a:lnTo>
                      <a:pt x="344" y="460"/>
                    </a:lnTo>
                    <a:lnTo>
                      <a:pt x="343" y="460"/>
                    </a:lnTo>
                    <a:lnTo>
                      <a:pt x="342" y="458"/>
                    </a:lnTo>
                    <a:lnTo>
                      <a:pt x="341" y="458"/>
                    </a:lnTo>
                    <a:lnTo>
                      <a:pt x="340" y="458"/>
                    </a:lnTo>
                    <a:lnTo>
                      <a:pt x="339" y="460"/>
                    </a:lnTo>
                    <a:lnTo>
                      <a:pt x="338" y="461"/>
                    </a:lnTo>
                    <a:lnTo>
                      <a:pt x="337" y="461"/>
                    </a:lnTo>
                    <a:lnTo>
                      <a:pt x="337" y="462"/>
                    </a:lnTo>
                    <a:lnTo>
                      <a:pt x="336" y="462"/>
                    </a:lnTo>
                    <a:lnTo>
                      <a:pt x="336" y="461"/>
                    </a:lnTo>
                    <a:lnTo>
                      <a:pt x="337" y="461"/>
                    </a:lnTo>
                    <a:lnTo>
                      <a:pt x="337" y="460"/>
                    </a:lnTo>
                    <a:lnTo>
                      <a:pt x="336" y="460"/>
                    </a:lnTo>
                    <a:lnTo>
                      <a:pt x="335" y="461"/>
                    </a:lnTo>
                    <a:lnTo>
                      <a:pt x="333" y="461"/>
                    </a:lnTo>
                    <a:lnTo>
                      <a:pt x="332" y="461"/>
                    </a:lnTo>
                    <a:lnTo>
                      <a:pt x="331" y="461"/>
                    </a:lnTo>
                    <a:lnTo>
                      <a:pt x="330" y="462"/>
                    </a:lnTo>
                    <a:lnTo>
                      <a:pt x="329" y="461"/>
                    </a:lnTo>
                    <a:lnTo>
                      <a:pt x="329" y="462"/>
                    </a:lnTo>
                    <a:lnTo>
                      <a:pt x="329" y="463"/>
                    </a:lnTo>
                    <a:lnTo>
                      <a:pt x="329" y="464"/>
                    </a:lnTo>
                    <a:lnTo>
                      <a:pt x="329" y="465"/>
                    </a:lnTo>
                    <a:lnTo>
                      <a:pt x="330" y="465"/>
                    </a:lnTo>
                    <a:lnTo>
                      <a:pt x="330" y="466"/>
                    </a:lnTo>
                    <a:lnTo>
                      <a:pt x="330" y="467"/>
                    </a:lnTo>
                    <a:lnTo>
                      <a:pt x="329" y="467"/>
                    </a:lnTo>
                    <a:lnTo>
                      <a:pt x="329" y="466"/>
                    </a:lnTo>
                    <a:lnTo>
                      <a:pt x="328" y="466"/>
                    </a:lnTo>
                    <a:lnTo>
                      <a:pt x="328" y="465"/>
                    </a:lnTo>
                    <a:lnTo>
                      <a:pt x="328" y="464"/>
                    </a:lnTo>
                    <a:lnTo>
                      <a:pt x="327" y="463"/>
                    </a:lnTo>
                    <a:lnTo>
                      <a:pt x="326" y="463"/>
                    </a:lnTo>
                    <a:lnTo>
                      <a:pt x="325" y="463"/>
                    </a:lnTo>
                    <a:lnTo>
                      <a:pt x="325" y="465"/>
                    </a:lnTo>
                    <a:lnTo>
                      <a:pt x="324" y="465"/>
                    </a:lnTo>
                    <a:lnTo>
                      <a:pt x="324" y="466"/>
                    </a:lnTo>
                    <a:lnTo>
                      <a:pt x="324" y="467"/>
                    </a:lnTo>
                    <a:lnTo>
                      <a:pt x="324" y="468"/>
                    </a:lnTo>
                    <a:lnTo>
                      <a:pt x="323" y="468"/>
                    </a:lnTo>
                    <a:lnTo>
                      <a:pt x="322" y="468"/>
                    </a:lnTo>
                    <a:lnTo>
                      <a:pt x="322" y="469"/>
                    </a:lnTo>
                    <a:lnTo>
                      <a:pt x="320" y="470"/>
                    </a:lnTo>
                    <a:lnTo>
                      <a:pt x="320" y="469"/>
                    </a:lnTo>
                    <a:lnTo>
                      <a:pt x="319" y="468"/>
                    </a:lnTo>
                    <a:lnTo>
                      <a:pt x="318" y="468"/>
                    </a:lnTo>
                    <a:lnTo>
                      <a:pt x="317" y="468"/>
                    </a:lnTo>
                    <a:lnTo>
                      <a:pt x="317" y="469"/>
                    </a:lnTo>
                    <a:lnTo>
                      <a:pt x="317" y="470"/>
                    </a:lnTo>
                    <a:lnTo>
                      <a:pt x="317" y="471"/>
                    </a:lnTo>
                    <a:lnTo>
                      <a:pt x="316" y="471"/>
                    </a:lnTo>
                    <a:lnTo>
                      <a:pt x="316" y="473"/>
                    </a:lnTo>
                    <a:lnTo>
                      <a:pt x="315" y="473"/>
                    </a:lnTo>
                    <a:lnTo>
                      <a:pt x="315" y="474"/>
                    </a:lnTo>
                    <a:lnTo>
                      <a:pt x="314" y="474"/>
                    </a:lnTo>
                    <a:lnTo>
                      <a:pt x="314" y="475"/>
                    </a:lnTo>
                    <a:lnTo>
                      <a:pt x="314" y="474"/>
                    </a:lnTo>
                    <a:lnTo>
                      <a:pt x="313" y="474"/>
                    </a:lnTo>
                    <a:lnTo>
                      <a:pt x="312" y="475"/>
                    </a:lnTo>
                    <a:lnTo>
                      <a:pt x="311" y="475"/>
                    </a:lnTo>
                    <a:lnTo>
                      <a:pt x="310" y="474"/>
                    </a:lnTo>
                    <a:lnTo>
                      <a:pt x="310" y="473"/>
                    </a:lnTo>
                    <a:lnTo>
                      <a:pt x="309" y="473"/>
                    </a:lnTo>
                    <a:lnTo>
                      <a:pt x="309" y="474"/>
                    </a:lnTo>
                    <a:lnTo>
                      <a:pt x="307" y="474"/>
                    </a:lnTo>
                    <a:lnTo>
                      <a:pt x="306" y="473"/>
                    </a:lnTo>
                    <a:lnTo>
                      <a:pt x="305" y="473"/>
                    </a:lnTo>
                    <a:lnTo>
                      <a:pt x="304" y="473"/>
                    </a:lnTo>
                    <a:lnTo>
                      <a:pt x="303" y="473"/>
                    </a:lnTo>
                    <a:lnTo>
                      <a:pt x="302" y="473"/>
                    </a:lnTo>
                    <a:lnTo>
                      <a:pt x="302" y="474"/>
                    </a:lnTo>
                    <a:lnTo>
                      <a:pt x="301" y="474"/>
                    </a:lnTo>
                    <a:lnTo>
                      <a:pt x="301" y="475"/>
                    </a:lnTo>
                    <a:lnTo>
                      <a:pt x="301" y="478"/>
                    </a:lnTo>
                    <a:lnTo>
                      <a:pt x="301" y="479"/>
                    </a:lnTo>
                    <a:lnTo>
                      <a:pt x="302" y="479"/>
                    </a:lnTo>
                    <a:lnTo>
                      <a:pt x="301" y="480"/>
                    </a:lnTo>
                    <a:lnTo>
                      <a:pt x="302" y="480"/>
                    </a:lnTo>
                    <a:lnTo>
                      <a:pt x="302" y="481"/>
                    </a:lnTo>
                    <a:lnTo>
                      <a:pt x="303" y="482"/>
                    </a:lnTo>
                    <a:lnTo>
                      <a:pt x="303" y="483"/>
                    </a:lnTo>
                    <a:lnTo>
                      <a:pt x="302" y="483"/>
                    </a:lnTo>
                    <a:lnTo>
                      <a:pt x="302" y="482"/>
                    </a:lnTo>
                    <a:lnTo>
                      <a:pt x="301" y="482"/>
                    </a:lnTo>
                    <a:lnTo>
                      <a:pt x="301" y="481"/>
                    </a:lnTo>
                    <a:lnTo>
                      <a:pt x="300" y="480"/>
                    </a:lnTo>
                    <a:lnTo>
                      <a:pt x="301" y="479"/>
                    </a:lnTo>
                    <a:lnTo>
                      <a:pt x="300" y="479"/>
                    </a:lnTo>
                    <a:lnTo>
                      <a:pt x="300" y="478"/>
                    </a:lnTo>
                    <a:lnTo>
                      <a:pt x="300" y="477"/>
                    </a:lnTo>
                    <a:lnTo>
                      <a:pt x="300" y="476"/>
                    </a:lnTo>
                    <a:lnTo>
                      <a:pt x="300" y="475"/>
                    </a:lnTo>
                    <a:lnTo>
                      <a:pt x="300" y="474"/>
                    </a:lnTo>
                    <a:lnTo>
                      <a:pt x="299" y="474"/>
                    </a:lnTo>
                    <a:lnTo>
                      <a:pt x="299" y="475"/>
                    </a:lnTo>
                    <a:lnTo>
                      <a:pt x="298" y="475"/>
                    </a:lnTo>
                    <a:lnTo>
                      <a:pt x="297" y="475"/>
                    </a:lnTo>
                    <a:lnTo>
                      <a:pt x="296" y="474"/>
                    </a:lnTo>
                    <a:lnTo>
                      <a:pt x="296" y="473"/>
                    </a:lnTo>
                    <a:lnTo>
                      <a:pt x="294" y="473"/>
                    </a:lnTo>
                    <a:lnTo>
                      <a:pt x="293" y="473"/>
                    </a:lnTo>
                    <a:lnTo>
                      <a:pt x="292" y="473"/>
                    </a:lnTo>
                    <a:lnTo>
                      <a:pt x="291" y="473"/>
                    </a:lnTo>
                    <a:lnTo>
                      <a:pt x="291" y="471"/>
                    </a:lnTo>
                    <a:lnTo>
                      <a:pt x="291" y="470"/>
                    </a:lnTo>
                    <a:lnTo>
                      <a:pt x="291" y="469"/>
                    </a:lnTo>
                    <a:lnTo>
                      <a:pt x="292" y="468"/>
                    </a:lnTo>
                    <a:lnTo>
                      <a:pt x="293" y="467"/>
                    </a:lnTo>
                    <a:lnTo>
                      <a:pt x="294" y="466"/>
                    </a:lnTo>
                    <a:lnTo>
                      <a:pt x="294" y="465"/>
                    </a:lnTo>
                    <a:lnTo>
                      <a:pt x="294" y="464"/>
                    </a:lnTo>
                    <a:lnTo>
                      <a:pt x="296" y="464"/>
                    </a:lnTo>
                    <a:lnTo>
                      <a:pt x="296" y="463"/>
                    </a:lnTo>
                    <a:lnTo>
                      <a:pt x="294" y="462"/>
                    </a:lnTo>
                    <a:lnTo>
                      <a:pt x="294" y="461"/>
                    </a:lnTo>
                    <a:lnTo>
                      <a:pt x="292" y="461"/>
                    </a:lnTo>
                    <a:lnTo>
                      <a:pt x="292" y="462"/>
                    </a:lnTo>
                    <a:lnTo>
                      <a:pt x="291" y="462"/>
                    </a:lnTo>
                    <a:lnTo>
                      <a:pt x="291" y="463"/>
                    </a:lnTo>
                    <a:lnTo>
                      <a:pt x="291" y="464"/>
                    </a:lnTo>
                    <a:lnTo>
                      <a:pt x="290" y="464"/>
                    </a:lnTo>
                    <a:lnTo>
                      <a:pt x="289" y="464"/>
                    </a:lnTo>
                    <a:lnTo>
                      <a:pt x="289" y="465"/>
                    </a:lnTo>
                    <a:lnTo>
                      <a:pt x="288" y="464"/>
                    </a:lnTo>
                    <a:lnTo>
                      <a:pt x="288" y="465"/>
                    </a:lnTo>
                    <a:lnTo>
                      <a:pt x="287" y="464"/>
                    </a:lnTo>
                    <a:lnTo>
                      <a:pt x="286" y="464"/>
                    </a:lnTo>
                    <a:lnTo>
                      <a:pt x="284" y="462"/>
                    </a:lnTo>
                    <a:lnTo>
                      <a:pt x="283" y="462"/>
                    </a:lnTo>
                    <a:lnTo>
                      <a:pt x="283" y="461"/>
                    </a:lnTo>
                    <a:lnTo>
                      <a:pt x="284" y="461"/>
                    </a:lnTo>
                    <a:lnTo>
                      <a:pt x="285" y="460"/>
                    </a:lnTo>
                    <a:lnTo>
                      <a:pt x="286" y="460"/>
                    </a:lnTo>
                    <a:lnTo>
                      <a:pt x="287" y="460"/>
                    </a:lnTo>
                    <a:lnTo>
                      <a:pt x="287" y="458"/>
                    </a:lnTo>
                    <a:lnTo>
                      <a:pt x="287" y="457"/>
                    </a:lnTo>
                    <a:lnTo>
                      <a:pt x="286" y="456"/>
                    </a:lnTo>
                    <a:lnTo>
                      <a:pt x="286" y="455"/>
                    </a:lnTo>
                    <a:lnTo>
                      <a:pt x="285" y="456"/>
                    </a:lnTo>
                    <a:lnTo>
                      <a:pt x="285" y="457"/>
                    </a:lnTo>
                    <a:lnTo>
                      <a:pt x="284" y="457"/>
                    </a:lnTo>
                    <a:lnTo>
                      <a:pt x="283" y="457"/>
                    </a:lnTo>
                    <a:lnTo>
                      <a:pt x="283" y="456"/>
                    </a:lnTo>
                    <a:lnTo>
                      <a:pt x="283" y="455"/>
                    </a:lnTo>
                    <a:lnTo>
                      <a:pt x="283" y="454"/>
                    </a:lnTo>
                    <a:lnTo>
                      <a:pt x="281" y="454"/>
                    </a:lnTo>
                    <a:lnTo>
                      <a:pt x="280" y="454"/>
                    </a:lnTo>
                    <a:lnTo>
                      <a:pt x="280" y="455"/>
                    </a:lnTo>
                    <a:lnTo>
                      <a:pt x="279" y="455"/>
                    </a:lnTo>
                    <a:lnTo>
                      <a:pt x="278" y="455"/>
                    </a:lnTo>
                    <a:lnTo>
                      <a:pt x="278" y="454"/>
                    </a:lnTo>
                    <a:lnTo>
                      <a:pt x="278" y="453"/>
                    </a:lnTo>
                    <a:lnTo>
                      <a:pt x="277" y="453"/>
                    </a:lnTo>
                    <a:lnTo>
                      <a:pt x="276" y="454"/>
                    </a:lnTo>
                    <a:lnTo>
                      <a:pt x="276" y="453"/>
                    </a:lnTo>
                    <a:lnTo>
                      <a:pt x="275" y="453"/>
                    </a:lnTo>
                    <a:lnTo>
                      <a:pt x="275" y="452"/>
                    </a:lnTo>
                    <a:lnTo>
                      <a:pt x="275" y="451"/>
                    </a:lnTo>
                    <a:lnTo>
                      <a:pt x="276" y="451"/>
                    </a:lnTo>
                    <a:lnTo>
                      <a:pt x="276" y="450"/>
                    </a:lnTo>
                    <a:lnTo>
                      <a:pt x="277" y="450"/>
                    </a:lnTo>
                    <a:lnTo>
                      <a:pt x="277" y="449"/>
                    </a:lnTo>
                    <a:lnTo>
                      <a:pt x="278" y="449"/>
                    </a:lnTo>
                    <a:lnTo>
                      <a:pt x="279" y="448"/>
                    </a:lnTo>
                    <a:lnTo>
                      <a:pt x="279" y="447"/>
                    </a:lnTo>
                    <a:lnTo>
                      <a:pt x="278" y="447"/>
                    </a:lnTo>
                    <a:lnTo>
                      <a:pt x="277" y="445"/>
                    </a:lnTo>
                    <a:lnTo>
                      <a:pt x="277" y="444"/>
                    </a:lnTo>
                    <a:lnTo>
                      <a:pt x="276" y="444"/>
                    </a:lnTo>
                    <a:lnTo>
                      <a:pt x="275" y="445"/>
                    </a:lnTo>
                    <a:lnTo>
                      <a:pt x="274" y="447"/>
                    </a:lnTo>
                    <a:lnTo>
                      <a:pt x="273" y="448"/>
                    </a:lnTo>
                    <a:lnTo>
                      <a:pt x="273" y="449"/>
                    </a:lnTo>
                    <a:lnTo>
                      <a:pt x="272" y="449"/>
                    </a:lnTo>
                    <a:lnTo>
                      <a:pt x="271" y="449"/>
                    </a:lnTo>
                    <a:lnTo>
                      <a:pt x="271" y="448"/>
                    </a:lnTo>
                    <a:lnTo>
                      <a:pt x="271" y="447"/>
                    </a:lnTo>
                    <a:lnTo>
                      <a:pt x="272" y="447"/>
                    </a:lnTo>
                    <a:lnTo>
                      <a:pt x="272" y="445"/>
                    </a:lnTo>
                    <a:lnTo>
                      <a:pt x="271" y="445"/>
                    </a:lnTo>
                    <a:lnTo>
                      <a:pt x="270" y="445"/>
                    </a:lnTo>
                    <a:lnTo>
                      <a:pt x="268" y="444"/>
                    </a:lnTo>
                    <a:lnTo>
                      <a:pt x="270" y="444"/>
                    </a:lnTo>
                    <a:lnTo>
                      <a:pt x="270" y="443"/>
                    </a:lnTo>
                    <a:lnTo>
                      <a:pt x="270" y="442"/>
                    </a:lnTo>
                    <a:lnTo>
                      <a:pt x="268" y="442"/>
                    </a:lnTo>
                    <a:lnTo>
                      <a:pt x="267" y="443"/>
                    </a:lnTo>
                    <a:lnTo>
                      <a:pt x="267" y="444"/>
                    </a:lnTo>
                    <a:lnTo>
                      <a:pt x="266" y="444"/>
                    </a:lnTo>
                    <a:lnTo>
                      <a:pt x="266" y="443"/>
                    </a:lnTo>
                    <a:lnTo>
                      <a:pt x="265" y="443"/>
                    </a:lnTo>
                    <a:lnTo>
                      <a:pt x="265" y="442"/>
                    </a:lnTo>
                    <a:lnTo>
                      <a:pt x="264" y="442"/>
                    </a:lnTo>
                    <a:lnTo>
                      <a:pt x="263" y="441"/>
                    </a:lnTo>
                    <a:lnTo>
                      <a:pt x="262" y="441"/>
                    </a:lnTo>
                    <a:lnTo>
                      <a:pt x="262" y="440"/>
                    </a:lnTo>
                    <a:lnTo>
                      <a:pt x="261" y="439"/>
                    </a:lnTo>
                    <a:lnTo>
                      <a:pt x="260" y="438"/>
                    </a:lnTo>
                    <a:lnTo>
                      <a:pt x="259" y="438"/>
                    </a:lnTo>
                    <a:lnTo>
                      <a:pt x="259" y="437"/>
                    </a:lnTo>
                    <a:lnTo>
                      <a:pt x="258" y="437"/>
                    </a:lnTo>
                    <a:lnTo>
                      <a:pt x="257" y="436"/>
                    </a:lnTo>
                    <a:lnTo>
                      <a:pt x="257" y="435"/>
                    </a:lnTo>
                    <a:lnTo>
                      <a:pt x="255" y="434"/>
                    </a:lnTo>
                    <a:lnTo>
                      <a:pt x="254" y="434"/>
                    </a:lnTo>
                    <a:lnTo>
                      <a:pt x="253" y="432"/>
                    </a:lnTo>
                    <a:lnTo>
                      <a:pt x="253" y="431"/>
                    </a:lnTo>
                    <a:lnTo>
                      <a:pt x="252" y="431"/>
                    </a:lnTo>
                    <a:lnTo>
                      <a:pt x="251" y="430"/>
                    </a:lnTo>
                    <a:lnTo>
                      <a:pt x="252" y="430"/>
                    </a:lnTo>
                    <a:lnTo>
                      <a:pt x="252" y="429"/>
                    </a:lnTo>
                    <a:lnTo>
                      <a:pt x="252" y="428"/>
                    </a:lnTo>
                    <a:lnTo>
                      <a:pt x="253" y="428"/>
                    </a:lnTo>
                    <a:lnTo>
                      <a:pt x="253" y="427"/>
                    </a:lnTo>
                    <a:lnTo>
                      <a:pt x="254" y="427"/>
                    </a:lnTo>
                    <a:lnTo>
                      <a:pt x="254" y="426"/>
                    </a:lnTo>
                    <a:lnTo>
                      <a:pt x="253" y="426"/>
                    </a:lnTo>
                    <a:lnTo>
                      <a:pt x="253" y="425"/>
                    </a:lnTo>
                    <a:lnTo>
                      <a:pt x="253" y="424"/>
                    </a:lnTo>
                    <a:lnTo>
                      <a:pt x="253" y="423"/>
                    </a:lnTo>
                    <a:lnTo>
                      <a:pt x="254" y="422"/>
                    </a:lnTo>
                    <a:lnTo>
                      <a:pt x="254" y="421"/>
                    </a:lnTo>
                    <a:lnTo>
                      <a:pt x="253" y="419"/>
                    </a:lnTo>
                    <a:lnTo>
                      <a:pt x="253" y="418"/>
                    </a:lnTo>
                    <a:lnTo>
                      <a:pt x="252" y="418"/>
                    </a:lnTo>
                    <a:lnTo>
                      <a:pt x="251" y="418"/>
                    </a:lnTo>
                    <a:lnTo>
                      <a:pt x="251" y="419"/>
                    </a:lnTo>
                    <a:lnTo>
                      <a:pt x="250" y="419"/>
                    </a:lnTo>
                    <a:lnTo>
                      <a:pt x="250" y="421"/>
                    </a:lnTo>
                    <a:lnTo>
                      <a:pt x="249" y="421"/>
                    </a:lnTo>
                    <a:lnTo>
                      <a:pt x="250" y="422"/>
                    </a:lnTo>
                    <a:lnTo>
                      <a:pt x="249" y="423"/>
                    </a:lnTo>
                    <a:lnTo>
                      <a:pt x="250" y="424"/>
                    </a:lnTo>
                    <a:lnTo>
                      <a:pt x="249" y="424"/>
                    </a:lnTo>
                    <a:lnTo>
                      <a:pt x="249" y="425"/>
                    </a:lnTo>
                    <a:lnTo>
                      <a:pt x="248" y="424"/>
                    </a:lnTo>
                    <a:lnTo>
                      <a:pt x="247" y="424"/>
                    </a:lnTo>
                    <a:lnTo>
                      <a:pt x="246" y="424"/>
                    </a:lnTo>
                    <a:lnTo>
                      <a:pt x="246" y="423"/>
                    </a:lnTo>
                    <a:lnTo>
                      <a:pt x="246" y="422"/>
                    </a:lnTo>
                    <a:lnTo>
                      <a:pt x="245" y="421"/>
                    </a:lnTo>
                    <a:lnTo>
                      <a:pt x="245" y="422"/>
                    </a:lnTo>
                    <a:lnTo>
                      <a:pt x="244" y="422"/>
                    </a:lnTo>
                    <a:lnTo>
                      <a:pt x="244" y="421"/>
                    </a:lnTo>
                    <a:lnTo>
                      <a:pt x="244" y="419"/>
                    </a:lnTo>
                    <a:lnTo>
                      <a:pt x="244" y="418"/>
                    </a:lnTo>
                    <a:lnTo>
                      <a:pt x="242" y="418"/>
                    </a:lnTo>
                    <a:lnTo>
                      <a:pt x="241" y="417"/>
                    </a:lnTo>
                    <a:lnTo>
                      <a:pt x="240" y="417"/>
                    </a:lnTo>
                    <a:lnTo>
                      <a:pt x="239" y="416"/>
                    </a:lnTo>
                    <a:lnTo>
                      <a:pt x="239" y="415"/>
                    </a:lnTo>
                    <a:lnTo>
                      <a:pt x="238" y="415"/>
                    </a:lnTo>
                    <a:lnTo>
                      <a:pt x="237" y="415"/>
                    </a:lnTo>
                    <a:lnTo>
                      <a:pt x="234" y="415"/>
                    </a:lnTo>
                    <a:lnTo>
                      <a:pt x="233" y="415"/>
                    </a:lnTo>
                    <a:lnTo>
                      <a:pt x="233" y="414"/>
                    </a:lnTo>
                    <a:lnTo>
                      <a:pt x="234" y="413"/>
                    </a:lnTo>
                    <a:lnTo>
                      <a:pt x="234" y="412"/>
                    </a:lnTo>
                    <a:lnTo>
                      <a:pt x="235" y="411"/>
                    </a:lnTo>
                    <a:lnTo>
                      <a:pt x="235" y="410"/>
                    </a:lnTo>
                    <a:lnTo>
                      <a:pt x="235" y="409"/>
                    </a:lnTo>
                    <a:lnTo>
                      <a:pt x="235" y="410"/>
                    </a:lnTo>
                    <a:lnTo>
                      <a:pt x="237" y="410"/>
                    </a:lnTo>
                    <a:lnTo>
                      <a:pt x="238" y="410"/>
                    </a:lnTo>
                    <a:lnTo>
                      <a:pt x="239" y="409"/>
                    </a:lnTo>
                    <a:lnTo>
                      <a:pt x="240" y="409"/>
                    </a:lnTo>
                    <a:lnTo>
                      <a:pt x="241" y="409"/>
                    </a:lnTo>
                    <a:lnTo>
                      <a:pt x="242" y="409"/>
                    </a:lnTo>
                    <a:lnTo>
                      <a:pt x="244" y="409"/>
                    </a:lnTo>
                    <a:lnTo>
                      <a:pt x="245" y="409"/>
                    </a:lnTo>
                    <a:lnTo>
                      <a:pt x="245" y="410"/>
                    </a:lnTo>
                    <a:lnTo>
                      <a:pt x="246" y="410"/>
                    </a:lnTo>
                    <a:lnTo>
                      <a:pt x="247" y="410"/>
                    </a:lnTo>
                    <a:lnTo>
                      <a:pt x="248" y="410"/>
                    </a:lnTo>
                    <a:lnTo>
                      <a:pt x="249" y="410"/>
                    </a:lnTo>
                    <a:lnTo>
                      <a:pt x="249" y="411"/>
                    </a:lnTo>
                    <a:lnTo>
                      <a:pt x="250" y="411"/>
                    </a:lnTo>
                    <a:lnTo>
                      <a:pt x="251" y="411"/>
                    </a:lnTo>
                    <a:lnTo>
                      <a:pt x="251" y="410"/>
                    </a:lnTo>
                    <a:lnTo>
                      <a:pt x="252" y="410"/>
                    </a:lnTo>
                    <a:lnTo>
                      <a:pt x="252" y="409"/>
                    </a:lnTo>
                    <a:lnTo>
                      <a:pt x="252" y="407"/>
                    </a:lnTo>
                    <a:lnTo>
                      <a:pt x="252" y="406"/>
                    </a:lnTo>
                    <a:lnTo>
                      <a:pt x="251" y="406"/>
                    </a:lnTo>
                    <a:lnTo>
                      <a:pt x="250" y="405"/>
                    </a:lnTo>
                    <a:lnTo>
                      <a:pt x="249" y="405"/>
                    </a:lnTo>
                    <a:lnTo>
                      <a:pt x="248" y="405"/>
                    </a:lnTo>
                    <a:lnTo>
                      <a:pt x="247" y="405"/>
                    </a:lnTo>
                    <a:lnTo>
                      <a:pt x="246" y="405"/>
                    </a:lnTo>
                    <a:lnTo>
                      <a:pt x="245" y="406"/>
                    </a:lnTo>
                    <a:lnTo>
                      <a:pt x="244" y="406"/>
                    </a:lnTo>
                    <a:lnTo>
                      <a:pt x="242" y="405"/>
                    </a:lnTo>
                    <a:lnTo>
                      <a:pt x="241" y="405"/>
                    </a:lnTo>
                    <a:lnTo>
                      <a:pt x="240" y="405"/>
                    </a:lnTo>
                    <a:lnTo>
                      <a:pt x="239" y="405"/>
                    </a:lnTo>
                    <a:lnTo>
                      <a:pt x="239" y="406"/>
                    </a:lnTo>
                    <a:lnTo>
                      <a:pt x="238" y="406"/>
                    </a:lnTo>
                    <a:lnTo>
                      <a:pt x="237" y="406"/>
                    </a:lnTo>
                    <a:lnTo>
                      <a:pt x="236" y="406"/>
                    </a:lnTo>
                    <a:lnTo>
                      <a:pt x="234" y="406"/>
                    </a:lnTo>
                    <a:lnTo>
                      <a:pt x="233" y="406"/>
                    </a:lnTo>
                    <a:lnTo>
                      <a:pt x="232" y="406"/>
                    </a:lnTo>
                    <a:lnTo>
                      <a:pt x="232" y="407"/>
                    </a:lnTo>
                    <a:lnTo>
                      <a:pt x="232" y="409"/>
                    </a:lnTo>
                    <a:lnTo>
                      <a:pt x="231" y="409"/>
                    </a:lnTo>
                    <a:lnTo>
                      <a:pt x="231" y="410"/>
                    </a:lnTo>
                    <a:lnTo>
                      <a:pt x="229" y="410"/>
                    </a:lnTo>
                    <a:lnTo>
                      <a:pt x="229" y="409"/>
                    </a:lnTo>
                    <a:lnTo>
                      <a:pt x="229" y="410"/>
                    </a:lnTo>
                    <a:lnTo>
                      <a:pt x="228" y="410"/>
                    </a:lnTo>
                    <a:lnTo>
                      <a:pt x="227" y="410"/>
                    </a:lnTo>
                    <a:lnTo>
                      <a:pt x="227" y="411"/>
                    </a:lnTo>
                    <a:lnTo>
                      <a:pt x="227" y="412"/>
                    </a:lnTo>
                    <a:lnTo>
                      <a:pt x="228" y="412"/>
                    </a:lnTo>
                    <a:lnTo>
                      <a:pt x="229" y="412"/>
                    </a:lnTo>
                    <a:lnTo>
                      <a:pt x="228" y="413"/>
                    </a:lnTo>
                    <a:lnTo>
                      <a:pt x="229" y="413"/>
                    </a:lnTo>
                    <a:lnTo>
                      <a:pt x="228" y="414"/>
                    </a:lnTo>
                    <a:lnTo>
                      <a:pt x="227" y="415"/>
                    </a:lnTo>
                    <a:lnTo>
                      <a:pt x="226" y="415"/>
                    </a:lnTo>
                    <a:lnTo>
                      <a:pt x="226" y="416"/>
                    </a:lnTo>
                    <a:lnTo>
                      <a:pt x="226" y="417"/>
                    </a:lnTo>
                    <a:lnTo>
                      <a:pt x="227" y="417"/>
                    </a:lnTo>
                    <a:lnTo>
                      <a:pt x="227" y="418"/>
                    </a:lnTo>
                    <a:lnTo>
                      <a:pt x="228" y="418"/>
                    </a:lnTo>
                    <a:lnTo>
                      <a:pt x="228" y="419"/>
                    </a:lnTo>
                    <a:lnTo>
                      <a:pt x="228" y="421"/>
                    </a:lnTo>
                    <a:lnTo>
                      <a:pt x="229" y="419"/>
                    </a:lnTo>
                    <a:lnTo>
                      <a:pt x="229" y="421"/>
                    </a:lnTo>
                    <a:lnTo>
                      <a:pt x="231" y="419"/>
                    </a:lnTo>
                    <a:lnTo>
                      <a:pt x="231" y="421"/>
                    </a:lnTo>
                    <a:lnTo>
                      <a:pt x="232" y="421"/>
                    </a:lnTo>
                    <a:lnTo>
                      <a:pt x="232" y="419"/>
                    </a:lnTo>
                    <a:lnTo>
                      <a:pt x="233" y="419"/>
                    </a:lnTo>
                    <a:lnTo>
                      <a:pt x="233" y="421"/>
                    </a:lnTo>
                    <a:lnTo>
                      <a:pt x="232" y="421"/>
                    </a:lnTo>
                    <a:lnTo>
                      <a:pt x="232" y="422"/>
                    </a:lnTo>
                    <a:lnTo>
                      <a:pt x="232" y="421"/>
                    </a:lnTo>
                    <a:lnTo>
                      <a:pt x="233" y="421"/>
                    </a:lnTo>
                    <a:lnTo>
                      <a:pt x="234" y="421"/>
                    </a:lnTo>
                    <a:lnTo>
                      <a:pt x="234" y="422"/>
                    </a:lnTo>
                    <a:lnTo>
                      <a:pt x="233" y="422"/>
                    </a:lnTo>
                    <a:lnTo>
                      <a:pt x="232" y="422"/>
                    </a:lnTo>
                    <a:lnTo>
                      <a:pt x="232" y="423"/>
                    </a:lnTo>
                    <a:lnTo>
                      <a:pt x="231" y="423"/>
                    </a:lnTo>
                    <a:lnTo>
                      <a:pt x="229" y="424"/>
                    </a:lnTo>
                    <a:lnTo>
                      <a:pt x="228" y="424"/>
                    </a:lnTo>
                    <a:lnTo>
                      <a:pt x="227" y="424"/>
                    </a:lnTo>
                    <a:lnTo>
                      <a:pt x="227" y="425"/>
                    </a:lnTo>
                    <a:lnTo>
                      <a:pt x="226" y="425"/>
                    </a:lnTo>
                    <a:lnTo>
                      <a:pt x="225" y="425"/>
                    </a:lnTo>
                    <a:lnTo>
                      <a:pt x="224" y="425"/>
                    </a:lnTo>
                    <a:lnTo>
                      <a:pt x="222" y="425"/>
                    </a:lnTo>
                    <a:lnTo>
                      <a:pt x="221" y="425"/>
                    </a:lnTo>
                    <a:lnTo>
                      <a:pt x="221" y="424"/>
                    </a:lnTo>
                    <a:lnTo>
                      <a:pt x="220" y="424"/>
                    </a:lnTo>
                    <a:lnTo>
                      <a:pt x="220" y="423"/>
                    </a:lnTo>
                    <a:lnTo>
                      <a:pt x="220" y="424"/>
                    </a:lnTo>
                    <a:lnTo>
                      <a:pt x="219" y="424"/>
                    </a:lnTo>
                    <a:lnTo>
                      <a:pt x="219" y="425"/>
                    </a:lnTo>
                    <a:lnTo>
                      <a:pt x="217" y="425"/>
                    </a:lnTo>
                    <a:lnTo>
                      <a:pt x="217" y="426"/>
                    </a:lnTo>
                    <a:lnTo>
                      <a:pt x="216" y="426"/>
                    </a:lnTo>
                    <a:lnTo>
                      <a:pt x="215" y="426"/>
                    </a:lnTo>
                    <a:lnTo>
                      <a:pt x="214" y="426"/>
                    </a:lnTo>
                    <a:lnTo>
                      <a:pt x="214" y="425"/>
                    </a:lnTo>
                    <a:lnTo>
                      <a:pt x="213" y="426"/>
                    </a:lnTo>
                    <a:lnTo>
                      <a:pt x="213" y="425"/>
                    </a:lnTo>
                    <a:lnTo>
                      <a:pt x="212" y="425"/>
                    </a:lnTo>
                    <a:lnTo>
                      <a:pt x="211" y="425"/>
                    </a:lnTo>
                    <a:lnTo>
                      <a:pt x="210" y="425"/>
                    </a:lnTo>
                    <a:lnTo>
                      <a:pt x="209" y="425"/>
                    </a:lnTo>
                    <a:lnTo>
                      <a:pt x="209" y="424"/>
                    </a:lnTo>
                    <a:lnTo>
                      <a:pt x="208" y="424"/>
                    </a:lnTo>
                    <a:lnTo>
                      <a:pt x="208" y="423"/>
                    </a:lnTo>
                    <a:lnTo>
                      <a:pt x="209" y="423"/>
                    </a:lnTo>
                    <a:lnTo>
                      <a:pt x="209" y="422"/>
                    </a:lnTo>
                    <a:lnTo>
                      <a:pt x="208" y="421"/>
                    </a:lnTo>
                    <a:lnTo>
                      <a:pt x="208" y="419"/>
                    </a:lnTo>
                    <a:lnTo>
                      <a:pt x="207" y="418"/>
                    </a:lnTo>
                    <a:lnTo>
                      <a:pt x="208" y="418"/>
                    </a:lnTo>
                    <a:lnTo>
                      <a:pt x="209" y="418"/>
                    </a:lnTo>
                    <a:lnTo>
                      <a:pt x="210" y="418"/>
                    </a:lnTo>
                    <a:lnTo>
                      <a:pt x="210" y="417"/>
                    </a:lnTo>
                    <a:lnTo>
                      <a:pt x="211" y="417"/>
                    </a:lnTo>
                    <a:lnTo>
                      <a:pt x="211" y="416"/>
                    </a:lnTo>
                    <a:lnTo>
                      <a:pt x="210" y="415"/>
                    </a:lnTo>
                    <a:lnTo>
                      <a:pt x="210" y="414"/>
                    </a:lnTo>
                    <a:lnTo>
                      <a:pt x="210" y="413"/>
                    </a:lnTo>
                    <a:lnTo>
                      <a:pt x="210" y="412"/>
                    </a:lnTo>
                    <a:lnTo>
                      <a:pt x="211" y="412"/>
                    </a:lnTo>
                    <a:lnTo>
                      <a:pt x="210" y="412"/>
                    </a:lnTo>
                    <a:lnTo>
                      <a:pt x="210" y="411"/>
                    </a:lnTo>
                    <a:lnTo>
                      <a:pt x="209" y="411"/>
                    </a:lnTo>
                    <a:lnTo>
                      <a:pt x="209" y="410"/>
                    </a:lnTo>
                    <a:lnTo>
                      <a:pt x="210" y="410"/>
                    </a:lnTo>
                    <a:lnTo>
                      <a:pt x="210" y="409"/>
                    </a:lnTo>
                    <a:lnTo>
                      <a:pt x="210" y="407"/>
                    </a:lnTo>
                    <a:lnTo>
                      <a:pt x="210" y="409"/>
                    </a:lnTo>
                    <a:lnTo>
                      <a:pt x="210" y="410"/>
                    </a:lnTo>
                    <a:lnTo>
                      <a:pt x="211" y="410"/>
                    </a:lnTo>
                    <a:lnTo>
                      <a:pt x="212" y="410"/>
                    </a:lnTo>
                    <a:lnTo>
                      <a:pt x="211" y="409"/>
                    </a:lnTo>
                    <a:lnTo>
                      <a:pt x="212" y="409"/>
                    </a:lnTo>
                    <a:lnTo>
                      <a:pt x="213" y="409"/>
                    </a:lnTo>
                    <a:lnTo>
                      <a:pt x="214" y="409"/>
                    </a:lnTo>
                    <a:lnTo>
                      <a:pt x="215" y="407"/>
                    </a:lnTo>
                    <a:lnTo>
                      <a:pt x="216" y="407"/>
                    </a:lnTo>
                    <a:lnTo>
                      <a:pt x="217" y="406"/>
                    </a:lnTo>
                    <a:lnTo>
                      <a:pt x="216" y="406"/>
                    </a:lnTo>
                    <a:lnTo>
                      <a:pt x="217" y="406"/>
                    </a:lnTo>
                    <a:lnTo>
                      <a:pt x="219" y="406"/>
                    </a:lnTo>
                    <a:lnTo>
                      <a:pt x="219" y="407"/>
                    </a:lnTo>
                    <a:lnTo>
                      <a:pt x="220" y="407"/>
                    </a:lnTo>
                    <a:lnTo>
                      <a:pt x="220" y="406"/>
                    </a:lnTo>
                    <a:lnTo>
                      <a:pt x="220" y="405"/>
                    </a:lnTo>
                    <a:lnTo>
                      <a:pt x="220" y="404"/>
                    </a:lnTo>
                    <a:lnTo>
                      <a:pt x="219" y="402"/>
                    </a:lnTo>
                    <a:lnTo>
                      <a:pt x="217" y="402"/>
                    </a:lnTo>
                    <a:lnTo>
                      <a:pt x="217" y="404"/>
                    </a:lnTo>
                    <a:lnTo>
                      <a:pt x="217" y="403"/>
                    </a:lnTo>
                    <a:lnTo>
                      <a:pt x="216" y="403"/>
                    </a:lnTo>
                    <a:lnTo>
                      <a:pt x="216" y="402"/>
                    </a:lnTo>
                    <a:lnTo>
                      <a:pt x="215" y="402"/>
                    </a:lnTo>
                    <a:lnTo>
                      <a:pt x="215" y="401"/>
                    </a:lnTo>
                    <a:lnTo>
                      <a:pt x="216" y="401"/>
                    </a:lnTo>
                    <a:lnTo>
                      <a:pt x="216" y="400"/>
                    </a:lnTo>
                    <a:lnTo>
                      <a:pt x="215" y="400"/>
                    </a:lnTo>
                    <a:lnTo>
                      <a:pt x="215" y="401"/>
                    </a:lnTo>
                    <a:lnTo>
                      <a:pt x="214" y="400"/>
                    </a:lnTo>
                    <a:lnTo>
                      <a:pt x="214" y="399"/>
                    </a:lnTo>
                    <a:lnTo>
                      <a:pt x="214" y="398"/>
                    </a:lnTo>
                    <a:lnTo>
                      <a:pt x="214" y="397"/>
                    </a:lnTo>
                    <a:lnTo>
                      <a:pt x="214" y="396"/>
                    </a:lnTo>
                    <a:lnTo>
                      <a:pt x="213" y="396"/>
                    </a:lnTo>
                    <a:lnTo>
                      <a:pt x="212" y="394"/>
                    </a:lnTo>
                    <a:lnTo>
                      <a:pt x="211" y="394"/>
                    </a:lnTo>
                    <a:lnTo>
                      <a:pt x="210" y="394"/>
                    </a:lnTo>
                    <a:lnTo>
                      <a:pt x="211" y="394"/>
                    </a:lnTo>
                    <a:lnTo>
                      <a:pt x="210" y="396"/>
                    </a:lnTo>
                    <a:lnTo>
                      <a:pt x="209" y="397"/>
                    </a:lnTo>
                    <a:lnTo>
                      <a:pt x="208" y="398"/>
                    </a:lnTo>
                    <a:lnTo>
                      <a:pt x="207" y="398"/>
                    </a:lnTo>
                    <a:lnTo>
                      <a:pt x="207" y="399"/>
                    </a:lnTo>
                    <a:lnTo>
                      <a:pt x="206" y="399"/>
                    </a:lnTo>
                    <a:lnTo>
                      <a:pt x="204" y="399"/>
                    </a:lnTo>
                    <a:lnTo>
                      <a:pt x="204" y="400"/>
                    </a:lnTo>
                    <a:lnTo>
                      <a:pt x="204" y="401"/>
                    </a:lnTo>
                    <a:lnTo>
                      <a:pt x="204" y="402"/>
                    </a:lnTo>
                    <a:lnTo>
                      <a:pt x="203" y="402"/>
                    </a:lnTo>
                    <a:lnTo>
                      <a:pt x="202" y="402"/>
                    </a:lnTo>
                    <a:lnTo>
                      <a:pt x="201" y="403"/>
                    </a:lnTo>
                    <a:lnTo>
                      <a:pt x="200" y="403"/>
                    </a:lnTo>
                    <a:lnTo>
                      <a:pt x="199" y="403"/>
                    </a:lnTo>
                    <a:lnTo>
                      <a:pt x="199" y="404"/>
                    </a:lnTo>
                    <a:lnTo>
                      <a:pt x="199" y="405"/>
                    </a:lnTo>
                    <a:lnTo>
                      <a:pt x="198" y="405"/>
                    </a:lnTo>
                    <a:lnTo>
                      <a:pt x="197" y="405"/>
                    </a:lnTo>
                    <a:lnTo>
                      <a:pt x="197" y="403"/>
                    </a:lnTo>
                    <a:lnTo>
                      <a:pt x="196" y="403"/>
                    </a:lnTo>
                    <a:lnTo>
                      <a:pt x="196" y="404"/>
                    </a:lnTo>
                    <a:lnTo>
                      <a:pt x="196" y="405"/>
                    </a:lnTo>
                    <a:lnTo>
                      <a:pt x="195" y="405"/>
                    </a:lnTo>
                    <a:lnTo>
                      <a:pt x="195" y="404"/>
                    </a:lnTo>
                    <a:lnTo>
                      <a:pt x="194" y="404"/>
                    </a:lnTo>
                    <a:lnTo>
                      <a:pt x="194" y="403"/>
                    </a:lnTo>
                    <a:lnTo>
                      <a:pt x="193" y="402"/>
                    </a:lnTo>
                    <a:lnTo>
                      <a:pt x="193" y="401"/>
                    </a:lnTo>
                    <a:lnTo>
                      <a:pt x="191" y="401"/>
                    </a:lnTo>
                    <a:lnTo>
                      <a:pt x="191" y="400"/>
                    </a:lnTo>
                    <a:lnTo>
                      <a:pt x="191" y="399"/>
                    </a:lnTo>
                    <a:lnTo>
                      <a:pt x="190" y="398"/>
                    </a:lnTo>
                    <a:lnTo>
                      <a:pt x="190" y="397"/>
                    </a:lnTo>
                    <a:lnTo>
                      <a:pt x="189" y="397"/>
                    </a:lnTo>
                    <a:lnTo>
                      <a:pt x="189" y="398"/>
                    </a:lnTo>
                    <a:lnTo>
                      <a:pt x="189" y="399"/>
                    </a:lnTo>
                    <a:lnTo>
                      <a:pt x="189" y="400"/>
                    </a:lnTo>
                    <a:lnTo>
                      <a:pt x="188" y="400"/>
                    </a:lnTo>
                    <a:lnTo>
                      <a:pt x="187" y="401"/>
                    </a:lnTo>
                    <a:lnTo>
                      <a:pt x="186" y="402"/>
                    </a:lnTo>
                    <a:lnTo>
                      <a:pt x="186" y="403"/>
                    </a:lnTo>
                    <a:lnTo>
                      <a:pt x="186" y="404"/>
                    </a:lnTo>
                    <a:lnTo>
                      <a:pt x="185" y="404"/>
                    </a:lnTo>
                    <a:lnTo>
                      <a:pt x="185" y="405"/>
                    </a:lnTo>
                    <a:lnTo>
                      <a:pt x="184" y="406"/>
                    </a:lnTo>
                    <a:lnTo>
                      <a:pt x="184" y="407"/>
                    </a:lnTo>
                    <a:lnTo>
                      <a:pt x="184" y="409"/>
                    </a:lnTo>
                    <a:lnTo>
                      <a:pt x="184" y="410"/>
                    </a:lnTo>
                    <a:lnTo>
                      <a:pt x="184" y="411"/>
                    </a:lnTo>
                    <a:lnTo>
                      <a:pt x="184" y="412"/>
                    </a:lnTo>
                    <a:lnTo>
                      <a:pt x="183" y="412"/>
                    </a:lnTo>
                    <a:lnTo>
                      <a:pt x="182" y="411"/>
                    </a:lnTo>
                    <a:lnTo>
                      <a:pt x="182" y="412"/>
                    </a:lnTo>
                    <a:lnTo>
                      <a:pt x="181" y="412"/>
                    </a:lnTo>
                    <a:lnTo>
                      <a:pt x="181" y="413"/>
                    </a:lnTo>
                    <a:lnTo>
                      <a:pt x="181" y="414"/>
                    </a:lnTo>
                    <a:lnTo>
                      <a:pt x="182" y="414"/>
                    </a:lnTo>
                    <a:lnTo>
                      <a:pt x="181" y="414"/>
                    </a:lnTo>
                    <a:lnTo>
                      <a:pt x="181" y="415"/>
                    </a:lnTo>
                    <a:lnTo>
                      <a:pt x="180" y="415"/>
                    </a:lnTo>
                    <a:lnTo>
                      <a:pt x="180" y="416"/>
                    </a:lnTo>
                    <a:lnTo>
                      <a:pt x="180" y="417"/>
                    </a:lnTo>
                    <a:lnTo>
                      <a:pt x="178" y="417"/>
                    </a:lnTo>
                    <a:lnTo>
                      <a:pt x="177" y="417"/>
                    </a:lnTo>
                    <a:lnTo>
                      <a:pt x="177" y="418"/>
                    </a:lnTo>
                    <a:lnTo>
                      <a:pt x="176" y="418"/>
                    </a:lnTo>
                    <a:lnTo>
                      <a:pt x="175" y="418"/>
                    </a:lnTo>
                    <a:lnTo>
                      <a:pt x="174" y="416"/>
                    </a:lnTo>
                    <a:lnTo>
                      <a:pt x="171" y="415"/>
                    </a:lnTo>
                    <a:lnTo>
                      <a:pt x="169" y="414"/>
                    </a:lnTo>
                    <a:lnTo>
                      <a:pt x="167" y="414"/>
                    </a:lnTo>
                    <a:lnTo>
                      <a:pt x="167" y="413"/>
                    </a:lnTo>
                    <a:lnTo>
                      <a:pt x="165" y="413"/>
                    </a:lnTo>
                    <a:lnTo>
                      <a:pt x="163" y="413"/>
                    </a:lnTo>
                    <a:lnTo>
                      <a:pt x="162" y="413"/>
                    </a:lnTo>
                    <a:lnTo>
                      <a:pt x="162" y="414"/>
                    </a:lnTo>
                    <a:lnTo>
                      <a:pt x="160" y="414"/>
                    </a:lnTo>
                    <a:lnTo>
                      <a:pt x="157" y="413"/>
                    </a:lnTo>
                    <a:lnTo>
                      <a:pt x="156" y="411"/>
                    </a:lnTo>
                    <a:lnTo>
                      <a:pt x="155" y="410"/>
                    </a:lnTo>
                    <a:lnTo>
                      <a:pt x="152" y="406"/>
                    </a:lnTo>
                    <a:lnTo>
                      <a:pt x="147" y="403"/>
                    </a:lnTo>
                    <a:lnTo>
                      <a:pt x="146" y="401"/>
                    </a:lnTo>
                    <a:lnTo>
                      <a:pt x="142" y="397"/>
                    </a:lnTo>
                    <a:lnTo>
                      <a:pt x="136" y="393"/>
                    </a:lnTo>
                    <a:lnTo>
                      <a:pt x="135" y="392"/>
                    </a:lnTo>
                    <a:lnTo>
                      <a:pt x="135" y="391"/>
                    </a:lnTo>
                    <a:lnTo>
                      <a:pt x="134" y="391"/>
                    </a:lnTo>
                    <a:lnTo>
                      <a:pt x="134" y="392"/>
                    </a:lnTo>
                    <a:lnTo>
                      <a:pt x="134" y="393"/>
                    </a:lnTo>
                    <a:lnTo>
                      <a:pt x="131" y="394"/>
                    </a:lnTo>
                    <a:lnTo>
                      <a:pt x="130" y="394"/>
                    </a:lnTo>
                    <a:lnTo>
                      <a:pt x="129" y="393"/>
                    </a:lnTo>
                    <a:lnTo>
                      <a:pt x="128" y="393"/>
                    </a:lnTo>
                    <a:lnTo>
                      <a:pt x="124" y="392"/>
                    </a:lnTo>
                    <a:lnTo>
                      <a:pt x="121" y="391"/>
                    </a:lnTo>
                    <a:lnTo>
                      <a:pt x="120" y="391"/>
                    </a:lnTo>
                    <a:lnTo>
                      <a:pt x="118" y="390"/>
                    </a:lnTo>
                    <a:lnTo>
                      <a:pt x="117" y="391"/>
                    </a:lnTo>
                    <a:lnTo>
                      <a:pt x="113" y="390"/>
                    </a:lnTo>
                    <a:lnTo>
                      <a:pt x="107" y="390"/>
                    </a:lnTo>
                    <a:lnTo>
                      <a:pt x="96" y="390"/>
                    </a:lnTo>
                    <a:lnTo>
                      <a:pt x="92" y="390"/>
                    </a:lnTo>
                    <a:lnTo>
                      <a:pt x="89" y="389"/>
                    </a:lnTo>
                    <a:lnTo>
                      <a:pt x="86" y="389"/>
                    </a:lnTo>
                    <a:lnTo>
                      <a:pt x="82" y="388"/>
                    </a:lnTo>
                    <a:lnTo>
                      <a:pt x="79" y="387"/>
                    </a:lnTo>
                    <a:lnTo>
                      <a:pt x="77" y="386"/>
                    </a:lnTo>
                    <a:lnTo>
                      <a:pt x="74" y="385"/>
                    </a:lnTo>
                    <a:lnTo>
                      <a:pt x="72" y="384"/>
                    </a:lnTo>
                    <a:lnTo>
                      <a:pt x="70" y="383"/>
                    </a:lnTo>
                    <a:lnTo>
                      <a:pt x="68" y="381"/>
                    </a:lnTo>
                    <a:lnTo>
                      <a:pt x="67" y="381"/>
                    </a:lnTo>
                    <a:lnTo>
                      <a:pt x="66" y="380"/>
                    </a:lnTo>
                    <a:lnTo>
                      <a:pt x="65" y="380"/>
                    </a:lnTo>
                    <a:lnTo>
                      <a:pt x="62" y="380"/>
                    </a:lnTo>
                    <a:lnTo>
                      <a:pt x="60" y="379"/>
                    </a:lnTo>
                    <a:lnTo>
                      <a:pt x="59" y="378"/>
                    </a:lnTo>
                    <a:lnTo>
                      <a:pt x="58" y="378"/>
                    </a:lnTo>
                    <a:lnTo>
                      <a:pt x="57" y="377"/>
                    </a:lnTo>
                    <a:lnTo>
                      <a:pt x="56" y="377"/>
                    </a:lnTo>
                    <a:lnTo>
                      <a:pt x="55" y="376"/>
                    </a:lnTo>
                    <a:lnTo>
                      <a:pt x="54" y="376"/>
                    </a:lnTo>
                    <a:lnTo>
                      <a:pt x="52" y="375"/>
                    </a:lnTo>
                    <a:lnTo>
                      <a:pt x="49" y="374"/>
                    </a:lnTo>
                    <a:lnTo>
                      <a:pt x="48" y="374"/>
                    </a:lnTo>
                    <a:lnTo>
                      <a:pt x="46" y="373"/>
                    </a:lnTo>
                    <a:lnTo>
                      <a:pt x="44" y="372"/>
                    </a:lnTo>
                    <a:lnTo>
                      <a:pt x="43" y="371"/>
                    </a:lnTo>
                    <a:lnTo>
                      <a:pt x="42" y="370"/>
                    </a:lnTo>
                    <a:lnTo>
                      <a:pt x="38" y="367"/>
                    </a:lnTo>
                    <a:lnTo>
                      <a:pt x="38" y="366"/>
                    </a:lnTo>
                    <a:lnTo>
                      <a:pt x="33" y="363"/>
                    </a:lnTo>
                    <a:lnTo>
                      <a:pt x="31" y="361"/>
                    </a:lnTo>
                    <a:lnTo>
                      <a:pt x="30" y="360"/>
                    </a:lnTo>
                    <a:lnTo>
                      <a:pt x="29" y="359"/>
                    </a:lnTo>
                    <a:lnTo>
                      <a:pt x="29" y="358"/>
                    </a:lnTo>
                    <a:lnTo>
                      <a:pt x="28" y="357"/>
                    </a:lnTo>
                    <a:lnTo>
                      <a:pt x="27" y="357"/>
                    </a:lnTo>
                    <a:lnTo>
                      <a:pt x="25" y="352"/>
                    </a:lnTo>
                    <a:lnTo>
                      <a:pt x="23" y="352"/>
                    </a:lnTo>
                    <a:lnTo>
                      <a:pt x="22" y="350"/>
                    </a:lnTo>
                    <a:lnTo>
                      <a:pt x="21" y="349"/>
                    </a:lnTo>
                    <a:lnTo>
                      <a:pt x="20" y="348"/>
                    </a:lnTo>
                    <a:lnTo>
                      <a:pt x="20" y="347"/>
                    </a:lnTo>
                    <a:lnTo>
                      <a:pt x="18" y="346"/>
                    </a:lnTo>
                    <a:lnTo>
                      <a:pt x="17" y="345"/>
                    </a:lnTo>
                    <a:lnTo>
                      <a:pt x="16" y="342"/>
                    </a:lnTo>
                    <a:lnTo>
                      <a:pt x="15" y="341"/>
                    </a:lnTo>
                    <a:lnTo>
                      <a:pt x="14" y="341"/>
                    </a:lnTo>
                    <a:lnTo>
                      <a:pt x="13" y="339"/>
                    </a:lnTo>
                    <a:lnTo>
                      <a:pt x="10" y="337"/>
                    </a:lnTo>
                    <a:lnTo>
                      <a:pt x="9" y="335"/>
                    </a:lnTo>
                    <a:lnTo>
                      <a:pt x="8" y="334"/>
                    </a:lnTo>
                    <a:lnTo>
                      <a:pt x="7" y="333"/>
                    </a:lnTo>
                    <a:lnTo>
                      <a:pt x="6" y="331"/>
                    </a:lnTo>
                    <a:lnTo>
                      <a:pt x="6" y="329"/>
                    </a:lnTo>
                    <a:lnTo>
                      <a:pt x="7" y="331"/>
                    </a:lnTo>
                    <a:lnTo>
                      <a:pt x="8" y="331"/>
                    </a:lnTo>
                    <a:lnTo>
                      <a:pt x="8" y="332"/>
                    </a:lnTo>
                    <a:lnTo>
                      <a:pt x="9" y="331"/>
                    </a:lnTo>
                    <a:lnTo>
                      <a:pt x="9" y="332"/>
                    </a:lnTo>
                    <a:lnTo>
                      <a:pt x="10" y="332"/>
                    </a:lnTo>
                    <a:lnTo>
                      <a:pt x="12" y="332"/>
                    </a:lnTo>
                    <a:lnTo>
                      <a:pt x="12" y="331"/>
                    </a:lnTo>
                    <a:lnTo>
                      <a:pt x="13" y="331"/>
                    </a:lnTo>
                    <a:lnTo>
                      <a:pt x="13" y="332"/>
                    </a:lnTo>
                    <a:lnTo>
                      <a:pt x="14" y="332"/>
                    </a:lnTo>
                    <a:lnTo>
                      <a:pt x="15" y="333"/>
                    </a:lnTo>
                    <a:lnTo>
                      <a:pt x="16" y="333"/>
                    </a:lnTo>
                    <a:lnTo>
                      <a:pt x="17" y="332"/>
                    </a:lnTo>
                    <a:lnTo>
                      <a:pt x="18" y="332"/>
                    </a:lnTo>
                    <a:lnTo>
                      <a:pt x="19" y="332"/>
                    </a:lnTo>
                    <a:lnTo>
                      <a:pt x="20" y="333"/>
                    </a:lnTo>
                    <a:lnTo>
                      <a:pt x="21" y="333"/>
                    </a:lnTo>
                    <a:lnTo>
                      <a:pt x="22" y="333"/>
                    </a:lnTo>
                    <a:lnTo>
                      <a:pt x="25" y="333"/>
                    </a:lnTo>
                    <a:lnTo>
                      <a:pt x="26" y="333"/>
                    </a:lnTo>
                    <a:lnTo>
                      <a:pt x="27" y="333"/>
                    </a:lnTo>
                    <a:lnTo>
                      <a:pt x="27" y="332"/>
                    </a:lnTo>
                    <a:lnTo>
                      <a:pt x="27" y="331"/>
                    </a:lnTo>
                    <a:lnTo>
                      <a:pt x="28" y="331"/>
                    </a:lnTo>
                    <a:lnTo>
                      <a:pt x="29" y="331"/>
                    </a:lnTo>
                    <a:lnTo>
                      <a:pt x="32" y="331"/>
                    </a:lnTo>
                    <a:lnTo>
                      <a:pt x="34" y="331"/>
                    </a:lnTo>
                    <a:lnTo>
                      <a:pt x="35" y="329"/>
                    </a:lnTo>
                    <a:lnTo>
                      <a:pt x="36" y="328"/>
                    </a:lnTo>
                    <a:lnTo>
                      <a:pt x="36" y="327"/>
                    </a:lnTo>
                    <a:lnTo>
                      <a:pt x="38" y="326"/>
                    </a:lnTo>
                    <a:lnTo>
                      <a:pt x="38" y="325"/>
                    </a:lnTo>
                    <a:lnTo>
                      <a:pt x="38" y="324"/>
                    </a:lnTo>
                    <a:lnTo>
                      <a:pt x="38" y="323"/>
                    </a:lnTo>
                    <a:lnTo>
                      <a:pt x="38" y="322"/>
                    </a:lnTo>
                    <a:lnTo>
                      <a:pt x="39" y="322"/>
                    </a:lnTo>
                    <a:lnTo>
                      <a:pt x="41" y="320"/>
                    </a:lnTo>
                    <a:lnTo>
                      <a:pt x="42" y="320"/>
                    </a:lnTo>
                    <a:lnTo>
                      <a:pt x="44" y="319"/>
                    </a:lnTo>
                    <a:lnTo>
                      <a:pt x="44" y="317"/>
                    </a:lnTo>
                    <a:lnTo>
                      <a:pt x="45" y="316"/>
                    </a:lnTo>
                    <a:lnTo>
                      <a:pt x="46" y="315"/>
                    </a:lnTo>
                    <a:lnTo>
                      <a:pt x="46" y="314"/>
                    </a:lnTo>
                    <a:lnTo>
                      <a:pt x="46" y="311"/>
                    </a:lnTo>
                    <a:lnTo>
                      <a:pt x="46" y="309"/>
                    </a:lnTo>
                    <a:lnTo>
                      <a:pt x="46" y="307"/>
                    </a:lnTo>
                    <a:lnTo>
                      <a:pt x="46" y="306"/>
                    </a:lnTo>
                    <a:lnTo>
                      <a:pt x="47" y="304"/>
                    </a:lnTo>
                    <a:lnTo>
                      <a:pt x="48" y="303"/>
                    </a:lnTo>
                    <a:lnTo>
                      <a:pt x="48" y="302"/>
                    </a:lnTo>
                    <a:lnTo>
                      <a:pt x="49" y="300"/>
                    </a:lnTo>
                    <a:lnTo>
                      <a:pt x="49" y="299"/>
                    </a:lnTo>
                    <a:lnTo>
                      <a:pt x="49" y="298"/>
                    </a:lnTo>
                    <a:lnTo>
                      <a:pt x="49" y="296"/>
                    </a:lnTo>
                    <a:lnTo>
                      <a:pt x="52" y="295"/>
                    </a:lnTo>
                    <a:lnTo>
                      <a:pt x="53" y="294"/>
                    </a:lnTo>
                    <a:lnTo>
                      <a:pt x="55" y="294"/>
                    </a:lnTo>
                    <a:lnTo>
                      <a:pt x="56" y="293"/>
                    </a:lnTo>
                    <a:lnTo>
                      <a:pt x="57" y="293"/>
                    </a:lnTo>
                    <a:lnTo>
                      <a:pt x="58" y="293"/>
                    </a:lnTo>
                    <a:lnTo>
                      <a:pt x="58" y="291"/>
                    </a:lnTo>
                    <a:lnTo>
                      <a:pt x="60" y="290"/>
                    </a:lnTo>
                    <a:lnTo>
                      <a:pt x="60" y="289"/>
                    </a:lnTo>
                    <a:lnTo>
                      <a:pt x="61" y="289"/>
                    </a:lnTo>
                    <a:lnTo>
                      <a:pt x="62" y="288"/>
                    </a:lnTo>
                    <a:lnTo>
                      <a:pt x="64" y="288"/>
                    </a:lnTo>
                    <a:lnTo>
                      <a:pt x="68" y="287"/>
                    </a:lnTo>
                    <a:lnTo>
                      <a:pt x="70" y="286"/>
                    </a:lnTo>
                    <a:lnTo>
                      <a:pt x="70" y="287"/>
                    </a:lnTo>
                    <a:lnTo>
                      <a:pt x="69" y="288"/>
                    </a:lnTo>
                    <a:lnTo>
                      <a:pt x="69" y="289"/>
                    </a:lnTo>
                    <a:lnTo>
                      <a:pt x="69" y="290"/>
                    </a:lnTo>
                    <a:lnTo>
                      <a:pt x="69" y="291"/>
                    </a:lnTo>
                    <a:lnTo>
                      <a:pt x="69" y="294"/>
                    </a:lnTo>
                    <a:lnTo>
                      <a:pt x="68" y="295"/>
                    </a:lnTo>
                    <a:lnTo>
                      <a:pt x="67" y="295"/>
                    </a:lnTo>
                    <a:lnTo>
                      <a:pt x="67" y="296"/>
                    </a:lnTo>
                    <a:lnTo>
                      <a:pt x="68" y="296"/>
                    </a:lnTo>
                    <a:lnTo>
                      <a:pt x="68" y="297"/>
                    </a:lnTo>
                    <a:lnTo>
                      <a:pt x="68" y="298"/>
                    </a:lnTo>
                    <a:lnTo>
                      <a:pt x="68" y="299"/>
                    </a:lnTo>
                    <a:lnTo>
                      <a:pt x="68" y="300"/>
                    </a:lnTo>
                    <a:lnTo>
                      <a:pt x="68" y="301"/>
                    </a:lnTo>
                    <a:lnTo>
                      <a:pt x="69" y="301"/>
                    </a:lnTo>
                    <a:lnTo>
                      <a:pt x="70" y="301"/>
                    </a:lnTo>
                    <a:lnTo>
                      <a:pt x="71" y="302"/>
                    </a:lnTo>
                    <a:lnTo>
                      <a:pt x="71" y="303"/>
                    </a:lnTo>
                    <a:lnTo>
                      <a:pt x="72" y="306"/>
                    </a:lnTo>
                    <a:lnTo>
                      <a:pt x="73" y="306"/>
                    </a:lnTo>
                    <a:lnTo>
                      <a:pt x="74" y="308"/>
                    </a:lnTo>
                    <a:lnTo>
                      <a:pt x="75" y="309"/>
                    </a:lnTo>
                    <a:lnTo>
                      <a:pt x="75" y="310"/>
                    </a:lnTo>
                    <a:lnTo>
                      <a:pt x="77" y="311"/>
                    </a:lnTo>
                    <a:lnTo>
                      <a:pt x="77" y="312"/>
                    </a:lnTo>
                    <a:lnTo>
                      <a:pt x="77" y="313"/>
                    </a:lnTo>
                    <a:lnTo>
                      <a:pt x="77" y="314"/>
                    </a:lnTo>
                    <a:lnTo>
                      <a:pt x="78" y="315"/>
                    </a:lnTo>
                    <a:lnTo>
                      <a:pt x="78" y="316"/>
                    </a:lnTo>
                    <a:lnTo>
                      <a:pt x="78" y="317"/>
                    </a:lnTo>
                    <a:lnTo>
                      <a:pt x="79" y="317"/>
                    </a:lnTo>
                    <a:lnTo>
                      <a:pt x="80" y="319"/>
                    </a:lnTo>
                    <a:lnTo>
                      <a:pt x="82" y="320"/>
                    </a:lnTo>
                    <a:lnTo>
                      <a:pt x="83" y="321"/>
                    </a:lnTo>
                    <a:lnTo>
                      <a:pt x="83" y="322"/>
                    </a:lnTo>
                    <a:lnTo>
                      <a:pt x="83" y="323"/>
                    </a:lnTo>
                    <a:lnTo>
                      <a:pt x="83" y="324"/>
                    </a:lnTo>
                    <a:lnTo>
                      <a:pt x="84" y="324"/>
                    </a:lnTo>
                    <a:lnTo>
                      <a:pt x="85" y="326"/>
                    </a:lnTo>
                    <a:lnTo>
                      <a:pt x="86" y="326"/>
                    </a:lnTo>
                    <a:lnTo>
                      <a:pt x="87" y="326"/>
                    </a:lnTo>
                    <a:lnTo>
                      <a:pt x="89" y="325"/>
                    </a:lnTo>
                    <a:lnTo>
                      <a:pt x="90" y="326"/>
                    </a:lnTo>
                    <a:lnTo>
                      <a:pt x="91" y="327"/>
                    </a:lnTo>
                    <a:lnTo>
                      <a:pt x="91" y="329"/>
                    </a:lnTo>
                    <a:lnTo>
                      <a:pt x="92" y="331"/>
                    </a:lnTo>
                    <a:lnTo>
                      <a:pt x="92" y="332"/>
                    </a:lnTo>
                    <a:lnTo>
                      <a:pt x="92" y="333"/>
                    </a:lnTo>
                    <a:lnTo>
                      <a:pt x="93" y="333"/>
                    </a:lnTo>
                    <a:lnTo>
                      <a:pt x="94" y="333"/>
                    </a:lnTo>
                    <a:lnTo>
                      <a:pt x="95" y="333"/>
                    </a:lnTo>
                    <a:lnTo>
                      <a:pt x="96" y="334"/>
                    </a:lnTo>
                    <a:lnTo>
                      <a:pt x="97" y="336"/>
                    </a:lnTo>
                    <a:lnTo>
                      <a:pt x="98" y="336"/>
                    </a:lnTo>
                    <a:lnTo>
                      <a:pt x="99" y="336"/>
                    </a:lnTo>
                    <a:lnTo>
                      <a:pt x="100" y="335"/>
                    </a:lnTo>
                    <a:lnTo>
                      <a:pt x="100" y="334"/>
                    </a:lnTo>
                    <a:lnTo>
                      <a:pt x="99" y="333"/>
                    </a:lnTo>
                    <a:lnTo>
                      <a:pt x="98" y="333"/>
                    </a:lnTo>
                    <a:lnTo>
                      <a:pt x="97" y="331"/>
                    </a:lnTo>
                    <a:lnTo>
                      <a:pt x="97" y="329"/>
                    </a:lnTo>
                    <a:lnTo>
                      <a:pt x="98" y="329"/>
                    </a:lnTo>
                    <a:lnTo>
                      <a:pt x="98" y="331"/>
                    </a:lnTo>
                    <a:lnTo>
                      <a:pt x="99" y="331"/>
                    </a:lnTo>
                    <a:lnTo>
                      <a:pt x="99" y="332"/>
                    </a:lnTo>
                    <a:lnTo>
                      <a:pt x="99" y="331"/>
                    </a:lnTo>
                    <a:lnTo>
                      <a:pt x="99" y="329"/>
                    </a:lnTo>
                    <a:lnTo>
                      <a:pt x="99" y="328"/>
                    </a:lnTo>
                    <a:lnTo>
                      <a:pt x="100" y="327"/>
                    </a:lnTo>
                    <a:lnTo>
                      <a:pt x="102" y="326"/>
                    </a:lnTo>
                    <a:lnTo>
                      <a:pt x="103" y="326"/>
                    </a:lnTo>
                    <a:lnTo>
                      <a:pt x="103" y="325"/>
                    </a:lnTo>
                    <a:lnTo>
                      <a:pt x="104" y="325"/>
                    </a:lnTo>
                    <a:lnTo>
                      <a:pt x="104" y="324"/>
                    </a:lnTo>
                    <a:lnTo>
                      <a:pt x="105" y="324"/>
                    </a:lnTo>
                    <a:lnTo>
                      <a:pt x="106" y="324"/>
                    </a:lnTo>
                    <a:lnTo>
                      <a:pt x="107" y="324"/>
                    </a:lnTo>
                    <a:lnTo>
                      <a:pt x="106" y="324"/>
                    </a:lnTo>
                    <a:lnTo>
                      <a:pt x="106" y="323"/>
                    </a:lnTo>
                    <a:lnTo>
                      <a:pt x="105" y="323"/>
                    </a:lnTo>
                    <a:lnTo>
                      <a:pt x="106" y="322"/>
                    </a:lnTo>
                    <a:lnTo>
                      <a:pt x="107" y="322"/>
                    </a:lnTo>
                    <a:lnTo>
                      <a:pt x="108" y="321"/>
                    </a:lnTo>
                    <a:lnTo>
                      <a:pt x="108" y="320"/>
                    </a:lnTo>
                    <a:lnTo>
                      <a:pt x="109" y="320"/>
                    </a:lnTo>
                    <a:lnTo>
                      <a:pt x="109" y="319"/>
                    </a:lnTo>
                    <a:lnTo>
                      <a:pt x="110" y="320"/>
                    </a:lnTo>
                    <a:lnTo>
                      <a:pt x="112" y="320"/>
                    </a:lnTo>
                    <a:lnTo>
                      <a:pt x="113" y="321"/>
                    </a:lnTo>
                    <a:lnTo>
                      <a:pt x="115" y="322"/>
                    </a:lnTo>
                    <a:lnTo>
                      <a:pt x="116" y="323"/>
                    </a:lnTo>
                    <a:lnTo>
                      <a:pt x="116" y="324"/>
                    </a:lnTo>
                    <a:lnTo>
                      <a:pt x="115" y="325"/>
                    </a:lnTo>
                    <a:lnTo>
                      <a:pt x="113" y="326"/>
                    </a:lnTo>
                    <a:lnTo>
                      <a:pt x="112" y="328"/>
                    </a:lnTo>
                    <a:lnTo>
                      <a:pt x="111" y="331"/>
                    </a:lnTo>
                    <a:lnTo>
                      <a:pt x="111" y="332"/>
                    </a:lnTo>
                    <a:lnTo>
                      <a:pt x="111" y="333"/>
                    </a:lnTo>
                    <a:lnTo>
                      <a:pt x="110" y="335"/>
                    </a:lnTo>
                    <a:lnTo>
                      <a:pt x="110" y="336"/>
                    </a:lnTo>
                    <a:lnTo>
                      <a:pt x="111" y="337"/>
                    </a:lnTo>
                    <a:lnTo>
                      <a:pt x="110" y="338"/>
                    </a:lnTo>
                    <a:lnTo>
                      <a:pt x="110" y="339"/>
                    </a:lnTo>
                    <a:lnTo>
                      <a:pt x="110" y="340"/>
                    </a:lnTo>
                    <a:lnTo>
                      <a:pt x="110" y="341"/>
                    </a:lnTo>
                    <a:lnTo>
                      <a:pt x="111" y="344"/>
                    </a:lnTo>
                    <a:lnTo>
                      <a:pt x="111" y="346"/>
                    </a:lnTo>
                    <a:lnTo>
                      <a:pt x="111" y="347"/>
                    </a:lnTo>
                    <a:lnTo>
                      <a:pt x="109" y="351"/>
                    </a:lnTo>
                    <a:lnTo>
                      <a:pt x="109" y="352"/>
                    </a:lnTo>
                    <a:lnTo>
                      <a:pt x="109" y="353"/>
                    </a:lnTo>
                    <a:lnTo>
                      <a:pt x="108" y="354"/>
                    </a:lnTo>
                    <a:lnTo>
                      <a:pt x="109" y="354"/>
                    </a:lnTo>
                    <a:lnTo>
                      <a:pt x="109" y="355"/>
                    </a:lnTo>
                    <a:lnTo>
                      <a:pt x="108" y="355"/>
                    </a:lnTo>
                    <a:lnTo>
                      <a:pt x="107" y="357"/>
                    </a:lnTo>
                    <a:lnTo>
                      <a:pt x="106" y="357"/>
                    </a:lnTo>
                    <a:lnTo>
                      <a:pt x="105" y="357"/>
                    </a:lnTo>
                    <a:lnTo>
                      <a:pt x="104" y="354"/>
                    </a:lnTo>
                    <a:lnTo>
                      <a:pt x="103" y="355"/>
                    </a:lnTo>
                    <a:lnTo>
                      <a:pt x="103" y="358"/>
                    </a:lnTo>
                    <a:lnTo>
                      <a:pt x="104" y="358"/>
                    </a:lnTo>
                    <a:lnTo>
                      <a:pt x="105" y="358"/>
                    </a:lnTo>
                    <a:lnTo>
                      <a:pt x="106" y="359"/>
                    </a:lnTo>
                    <a:lnTo>
                      <a:pt x="107" y="359"/>
                    </a:lnTo>
                    <a:lnTo>
                      <a:pt x="108" y="359"/>
                    </a:lnTo>
                    <a:lnTo>
                      <a:pt x="109" y="360"/>
                    </a:lnTo>
                    <a:lnTo>
                      <a:pt x="110" y="361"/>
                    </a:lnTo>
                    <a:lnTo>
                      <a:pt x="111" y="361"/>
                    </a:lnTo>
                    <a:lnTo>
                      <a:pt x="112" y="362"/>
                    </a:lnTo>
                    <a:lnTo>
                      <a:pt x="112" y="363"/>
                    </a:lnTo>
                    <a:lnTo>
                      <a:pt x="113" y="365"/>
                    </a:lnTo>
                    <a:lnTo>
                      <a:pt x="115" y="365"/>
                    </a:lnTo>
                    <a:lnTo>
                      <a:pt x="116" y="365"/>
                    </a:lnTo>
                    <a:lnTo>
                      <a:pt x="119" y="366"/>
                    </a:lnTo>
                    <a:lnTo>
                      <a:pt x="120" y="366"/>
                    </a:lnTo>
                    <a:lnTo>
                      <a:pt x="120" y="367"/>
                    </a:lnTo>
                    <a:lnTo>
                      <a:pt x="121" y="368"/>
                    </a:lnTo>
                    <a:lnTo>
                      <a:pt x="120" y="368"/>
                    </a:lnTo>
                    <a:lnTo>
                      <a:pt x="120" y="367"/>
                    </a:lnTo>
                    <a:lnTo>
                      <a:pt x="119" y="367"/>
                    </a:lnTo>
                    <a:lnTo>
                      <a:pt x="118" y="367"/>
                    </a:lnTo>
                    <a:lnTo>
                      <a:pt x="117" y="367"/>
                    </a:lnTo>
                    <a:lnTo>
                      <a:pt x="116" y="367"/>
                    </a:lnTo>
                    <a:lnTo>
                      <a:pt x="115" y="367"/>
                    </a:lnTo>
                    <a:lnTo>
                      <a:pt x="113" y="368"/>
                    </a:lnTo>
                    <a:lnTo>
                      <a:pt x="113" y="370"/>
                    </a:lnTo>
                    <a:lnTo>
                      <a:pt x="112" y="371"/>
                    </a:lnTo>
                    <a:lnTo>
                      <a:pt x="112" y="372"/>
                    </a:lnTo>
                    <a:lnTo>
                      <a:pt x="111" y="373"/>
                    </a:lnTo>
                    <a:lnTo>
                      <a:pt x="111" y="374"/>
                    </a:lnTo>
                    <a:lnTo>
                      <a:pt x="110" y="375"/>
                    </a:lnTo>
                    <a:lnTo>
                      <a:pt x="110" y="376"/>
                    </a:lnTo>
                    <a:lnTo>
                      <a:pt x="110" y="377"/>
                    </a:lnTo>
                    <a:lnTo>
                      <a:pt x="109" y="378"/>
                    </a:lnTo>
                    <a:lnTo>
                      <a:pt x="109" y="379"/>
                    </a:lnTo>
                    <a:lnTo>
                      <a:pt x="109" y="380"/>
                    </a:lnTo>
                    <a:lnTo>
                      <a:pt x="110" y="381"/>
                    </a:lnTo>
                    <a:lnTo>
                      <a:pt x="110" y="383"/>
                    </a:lnTo>
                    <a:lnTo>
                      <a:pt x="111" y="383"/>
                    </a:lnTo>
                    <a:lnTo>
                      <a:pt x="112" y="383"/>
                    </a:lnTo>
                    <a:lnTo>
                      <a:pt x="113" y="383"/>
                    </a:lnTo>
                    <a:lnTo>
                      <a:pt x="115" y="383"/>
                    </a:lnTo>
                    <a:lnTo>
                      <a:pt x="115" y="381"/>
                    </a:lnTo>
                    <a:lnTo>
                      <a:pt x="113" y="381"/>
                    </a:lnTo>
                    <a:lnTo>
                      <a:pt x="112" y="381"/>
                    </a:lnTo>
                    <a:lnTo>
                      <a:pt x="113" y="379"/>
                    </a:lnTo>
                    <a:lnTo>
                      <a:pt x="113" y="378"/>
                    </a:lnTo>
                    <a:lnTo>
                      <a:pt x="115" y="378"/>
                    </a:lnTo>
                    <a:lnTo>
                      <a:pt x="116" y="378"/>
                    </a:lnTo>
                    <a:lnTo>
                      <a:pt x="117" y="378"/>
                    </a:lnTo>
                    <a:lnTo>
                      <a:pt x="119" y="377"/>
                    </a:lnTo>
                    <a:lnTo>
                      <a:pt x="122" y="377"/>
                    </a:lnTo>
                    <a:lnTo>
                      <a:pt x="123" y="377"/>
                    </a:lnTo>
                    <a:lnTo>
                      <a:pt x="124" y="377"/>
                    </a:lnTo>
                    <a:lnTo>
                      <a:pt x="125" y="376"/>
                    </a:lnTo>
                    <a:lnTo>
                      <a:pt x="125" y="375"/>
                    </a:lnTo>
                    <a:lnTo>
                      <a:pt x="125" y="374"/>
                    </a:lnTo>
                    <a:lnTo>
                      <a:pt x="125" y="372"/>
                    </a:lnTo>
                    <a:lnTo>
                      <a:pt x="126" y="371"/>
                    </a:lnTo>
                    <a:lnTo>
                      <a:pt x="128" y="371"/>
                    </a:lnTo>
                    <a:lnTo>
                      <a:pt x="128" y="372"/>
                    </a:lnTo>
                    <a:lnTo>
                      <a:pt x="130" y="372"/>
                    </a:lnTo>
                    <a:lnTo>
                      <a:pt x="131" y="372"/>
                    </a:lnTo>
                    <a:lnTo>
                      <a:pt x="131" y="373"/>
                    </a:lnTo>
                    <a:lnTo>
                      <a:pt x="132" y="373"/>
                    </a:lnTo>
                    <a:lnTo>
                      <a:pt x="132" y="374"/>
                    </a:lnTo>
                    <a:lnTo>
                      <a:pt x="133" y="374"/>
                    </a:lnTo>
                    <a:lnTo>
                      <a:pt x="133" y="375"/>
                    </a:lnTo>
                    <a:lnTo>
                      <a:pt x="134" y="375"/>
                    </a:lnTo>
                    <a:lnTo>
                      <a:pt x="134" y="374"/>
                    </a:lnTo>
                    <a:lnTo>
                      <a:pt x="134" y="373"/>
                    </a:lnTo>
                    <a:lnTo>
                      <a:pt x="135" y="373"/>
                    </a:lnTo>
                    <a:lnTo>
                      <a:pt x="136" y="373"/>
                    </a:lnTo>
                    <a:lnTo>
                      <a:pt x="137" y="373"/>
                    </a:lnTo>
                    <a:lnTo>
                      <a:pt x="138" y="373"/>
                    </a:lnTo>
                    <a:lnTo>
                      <a:pt x="139" y="372"/>
                    </a:lnTo>
                    <a:lnTo>
                      <a:pt x="139" y="371"/>
                    </a:lnTo>
                    <a:lnTo>
                      <a:pt x="141" y="371"/>
                    </a:lnTo>
                    <a:lnTo>
                      <a:pt x="141" y="370"/>
                    </a:lnTo>
                    <a:lnTo>
                      <a:pt x="141" y="368"/>
                    </a:lnTo>
                    <a:lnTo>
                      <a:pt x="142" y="368"/>
                    </a:lnTo>
                    <a:lnTo>
                      <a:pt x="142" y="367"/>
                    </a:lnTo>
                    <a:lnTo>
                      <a:pt x="143" y="367"/>
                    </a:lnTo>
                    <a:lnTo>
                      <a:pt x="143" y="366"/>
                    </a:lnTo>
                    <a:lnTo>
                      <a:pt x="143" y="365"/>
                    </a:lnTo>
                    <a:lnTo>
                      <a:pt x="143" y="366"/>
                    </a:lnTo>
                    <a:lnTo>
                      <a:pt x="143" y="365"/>
                    </a:lnTo>
                    <a:lnTo>
                      <a:pt x="142" y="365"/>
                    </a:lnTo>
                    <a:lnTo>
                      <a:pt x="142" y="364"/>
                    </a:lnTo>
                    <a:lnTo>
                      <a:pt x="141" y="364"/>
                    </a:lnTo>
                    <a:lnTo>
                      <a:pt x="142" y="363"/>
                    </a:lnTo>
                    <a:lnTo>
                      <a:pt x="142" y="361"/>
                    </a:lnTo>
                    <a:lnTo>
                      <a:pt x="142" y="360"/>
                    </a:lnTo>
                    <a:lnTo>
                      <a:pt x="142" y="359"/>
                    </a:lnTo>
                    <a:lnTo>
                      <a:pt x="141" y="358"/>
                    </a:lnTo>
                    <a:lnTo>
                      <a:pt x="141" y="357"/>
                    </a:lnTo>
                    <a:lnTo>
                      <a:pt x="141" y="355"/>
                    </a:lnTo>
                    <a:lnTo>
                      <a:pt x="141" y="354"/>
                    </a:lnTo>
                    <a:lnTo>
                      <a:pt x="138" y="353"/>
                    </a:lnTo>
                    <a:lnTo>
                      <a:pt x="139" y="352"/>
                    </a:lnTo>
                    <a:lnTo>
                      <a:pt x="141" y="351"/>
                    </a:lnTo>
                    <a:lnTo>
                      <a:pt x="139" y="352"/>
                    </a:lnTo>
                    <a:lnTo>
                      <a:pt x="138" y="352"/>
                    </a:lnTo>
                    <a:lnTo>
                      <a:pt x="137" y="352"/>
                    </a:lnTo>
                    <a:lnTo>
                      <a:pt x="137" y="353"/>
                    </a:lnTo>
                    <a:lnTo>
                      <a:pt x="137" y="354"/>
                    </a:lnTo>
                    <a:lnTo>
                      <a:pt x="138" y="355"/>
                    </a:lnTo>
                    <a:lnTo>
                      <a:pt x="137" y="355"/>
                    </a:lnTo>
                    <a:lnTo>
                      <a:pt x="136" y="354"/>
                    </a:lnTo>
                    <a:lnTo>
                      <a:pt x="136" y="353"/>
                    </a:lnTo>
                    <a:lnTo>
                      <a:pt x="135" y="353"/>
                    </a:lnTo>
                    <a:lnTo>
                      <a:pt x="135" y="352"/>
                    </a:lnTo>
                    <a:lnTo>
                      <a:pt x="134" y="351"/>
                    </a:lnTo>
                    <a:lnTo>
                      <a:pt x="134" y="350"/>
                    </a:lnTo>
                    <a:lnTo>
                      <a:pt x="133" y="350"/>
                    </a:lnTo>
                    <a:lnTo>
                      <a:pt x="133" y="349"/>
                    </a:lnTo>
                    <a:lnTo>
                      <a:pt x="134" y="347"/>
                    </a:lnTo>
                    <a:lnTo>
                      <a:pt x="136" y="347"/>
                    </a:lnTo>
                    <a:lnTo>
                      <a:pt x="137" y="347"/>
                    </a:lnTo>
                    <a:lnTo>
                      <a:pt x="138" y="347"/>
                    </a:lnTo>
                    <a:lnTo>
                      <a:pt x="139" y="347"/>
                    </a:lnTo>
                    <a:lnTo>
                      <a:pt x="141" y="347"/>
                    </a:lnTo>
                    <a:lnTo>
                      <a:pt x="142" y="347"/>
                    </a:lnTo>
                    <a:lnTo>
                      <a:pt x="143" y="347"/>
                    </a:lnTo>
                    <a:lnTo>
                      <a:pt x="144" y="346"/>
                    </a:lnTo>
                    <a:lnTo>
                      <a:pt x="145" y="346"/>
                    </a:lnTo>
                    <a:lnTo>
                      <a:pt x="145" y="345"/>
                    </a:lnTo>
                    <a:lnTo>
                      <a:pt x="145" y="344"/>
                    </a:lnTo>
                    <a:lnTo>
                      <a:pt x="145" y="342"/>
                    </a:lnTo>
                    <a:lnTo>
                      <a:pt x="144" y="342"/>
                    </a:lnTo>
                    <a:lnTo>
                      <a:pt x="143" y="342"/>
                    </a:lnTo>
                    <a:lnTo>
                      <a:pt x="141" y="340"/>
                    </a:lnTo>
                    <a:lnTo>
                      <a:pt x="139" y="340"/>
                    </a:lnTo>
                    <a:lnTo>
                      <a:pt x="138" y="339"/>
                    </a:lnTo>
                    <a:lnTo>
                      <a:pt x="139" y="338"/>
                    </a:lnTo>
                    <a:lnTo>
                      <a:pt x="142" y="336"/>
                    </a:lnTo>
                    <a:lnTo>
                      <a:pt x="142" y="335"/>
                    </a:lnTo>
                    <a:lnTo>
                      <a:pt x="141" y="335"/>
                    </a:lnTo>
                    <a:lnTo>
                      <a:pt x="141" y="334"/>
                    </a:lnTo>
                    <a:lnTo>
                      <a:pt x="142" y="334"/>
                    </a:lnTo>
                    <a:lnTo>
                      <a:pt x="142" y="333"/>
                    </a:lnTo>
                    <a:lnTo>
                      <a:pt x="142" y="332"/>
                    </a:lnTo>
                    <a:lnTo>
                      <a:pt x="142" y="331"/>
                    </a:lnTo>
                    <a:lnTo>
                      <a:pt x="141" y="328"/>
                    </a:lnTo>
                    <a:lnTo>
                      <a:pt x="141" y="326"/>
                    </a:lnTo>
                    <a:lnTo>
                      <a:pt x="141" y="324"/>
                    </a:lnTo>
                    <a:lnTo>
                      <a:pt x="139" y="323"/>
                    </a:lnTo>
                    <a:lnTo>
                      <a:pt x="138" y="322"/>
                    </a:lnTo>
                    <a:lnTo>
                      <a:pt x="137" y="322"/>
                    </a:lnTo>
                    <a:lnTo>
                      <a:pt x="137" y="321"/>
                    </a:lnTo>
                    <a:lnTo>
                      <a:pt x="138" y="319"/>
                    </a:lnTo>
                    <a:lnTo>
                      <a:pt x="138" y="316"/>
                    </a:lnTo>
                    <a:lnTo>
                      <a:pt x="137" y="314"/>
                    </a:lnTo>
                    <a:lnTo>
                      <a:pt x="137" y="313"/>
                    </a:lnTo>
                    <a:lnTo>
                      <a:pt x="136" y="312"/>
                    </a:lnTo>
                    <a:lnTo>
                      <a:pt x="136" y="311"/>
                    </a:lnTo>
                    <a:lnTo>
                      <a:pt x="135" y="310"/>
                    </a:lnTo>
                    <a:lnTo>
                      <a:pt x="134" y="309"/>
                    </a:lnTo>
                    <a:lnTo>
                      <a:pt x="133" y="308"/>
                    </a:lnTo>
                    <a:lnTo>
                      <a:pt x="132" y="307"/>
                    </a:lnTo>
                    <a:lnTo>
                      <a:pt x="130" y="307"/>
                    </a:lnTo>
                    <a:lnTo>
                      <a:pt x="128" y="306"/>
                    </a:lnTo>
                    <a:lnTo>
                      <a:pt x="126" y="306"/>
                    </a:lnTo>
                    <a:lnTo>
                      <a:pt x="125" y="306"/>
                    </a:lnTo>
                    <a:lnTo>
                      <a:pt x="123" y="306"/>
                    </a:lnTo>
                    <a:lnTo>
                      <a:pt x="122" y="304"/>
                    </a:lnTo>
                    <a:lnTo>
                      <a:pt x="122" y="302"/>
                    </a:lnTo>
                    <a:lnTo>
                      <a:pt x="122" y="301"/>
                    </a:lnTo>
                    <a:lnTo>
                      <a:pt x="121" y="301"/>
                    </a:lnTo>
                    <a:lnTo>
                      <a:pt x="121" y="300"/>
                    </a:lnTo>
                    <a:lnTo>
                      <a:pt x="122" y="300"/>
                    </a:lnTo>
                    <a:lnTo>
                      <a:pt x="123" y="300"/>
                    </a:lnTo>
                    <a:lnTo>
                      <a:pt x="124" y="300"/>
                    </a:lnTo>
                    <a:lnTo>
                      <a:pt x="125" y="300"/>
                    </a:lnTo>
                    <a:lnTo>
                      <a:pt x="125" y="301"/>
                    </a:lnTo>
                    <a:lnTo>
                      <a:pt x="126" y="301"/>
                    </a:lnTo>
                    <a:lnTo>
                      <a:pt x="126" y="302"/>
                    </a:lnTo>
                    <a:lnTo>
                      <a:pt x="128" y="303"/>
                    </a:lnTo>
                    <a:lnTo>
                      <a:pt x="128" y="302"/>
                    </a:lnTo>
                    <a:lnTo>
                      <a:pt x="126" y="302"/>
                    </a:lnTo>
                    <a:lnTo>
                      <a:pt x="126" y="301"/>
                    </a:lnTo>
                    <a:lnTo>
                      <a:pt x="126" y="300"/>
                    </a:lnTo>
                    <a:lnTo>
                      <a:pt x="125" y="300"/>
                    </a:lnTo>
                    <a:lnTo>
                      <a:pt x="123" y="299"/>
                    </a:lnTo>
                    <a:lnTo>
                      <a:pt x="122" y="299"/>
                    </a:lnTo>
                    <a:lnTo>
                      <a:pt x="121" y="298"/>
                    </a:lnTo>
                    <a:lnTo>
                      <a:pt x="121" y="297"/>
                    </a:lnTo>
                    <a:lnTo>
                      <a:pt x="120" y="297"/>
                    </a:lnTo>
                    <a:lnTo>
                      <a:pt x="120" y="296"/>
                    </a:lnTo>
                    <a:lnTo>
                      <a:pt x="119" y="296"/>
                    </a:lnTo>
                    <a:lnTo>
                      <a:pt x="118" y="295"/>
                    </a:lnTo>
                    <a:lnTo>
                      <a:pt x="117" y="294"/>
                    </a:lnTo>
                    <a:lnTo>
                      <a:pt x="116" y="294"/>
                    </a:lnTo>
                    <a:lnTo>
                      <a:pt x="115" y="293"/>
                    </a:lnTo>
                    <a:lnTo>
                      <a:pt x="113" y="294"/>
                    </a:lnTo>
                    <a:lnTo>
                      <a:pt x="113" y="293"/>
                    </a:lnTo>
                    <a:lnTo>
                      <a:pt x="112" y="293"/>
                    </a:lnTo>
                    <a:lnTo>
                      <a:pt x="111" y="293"/>
                    </a:lnTo>
                    <a:lnTo>
                      <a:pt x="110" y="293"/>
                    </a:lnTo>
                    <a:lnTo>
                      <a:pt x="109" y="293"/>
                    </a:lnTo>
                    <a:lnTo>
                      <a:pt x="108" y="291"/>
                    </a:lnTo>
                    <a:lnTo>
                      <a:pt x="108" y="293"/>
                    </a:lnTo>
                    <a:lnTo>
                      <a:pt x="107" y="293"/>
                    </a:lnTo>
                    <a:lnTo>
                      <a:pt x="106" y="293"/>
                    </a:lnTo>
                    <a:lnTo>
                      <a:pt x="106" y="290"/>
                    </a:lnTo>
                    <a:lnTo>
                      <a:pt x="106" y="289"/>
                    </a:lnTo>
                    <a:lnTo>
                      <a:pt x="102" y="288"/>
                    </a:lnTo>
                    <a:lnTo>
                      <a:pt x="99" y="287"/>
                    </a:lnTo>
                    <a:lnTo>
                      <a:pt x="96" y="287"/>
                    </a:lnTo>
                    <a:lnTo>
                      <a:pt x="95" y="285"/>
                    </a:lnTo>
                    <a:lnTo>
                      <a:pt x="95" y="284"/>
                    </a:lnTo>
                    <a:lnTo>
                      <a:pt x="94" y="284"/>
                    </a:lnTo>
                    <a:lnTo>
                      <a:pt x="93" y="284"/>
                    </a:lnTo>
                    <a:lnTo>
                      <a:pt x="93" y="283"/>
                    </a:lnTo>
                    <a:lnTo>
                      <a:pt x="94" y="281"/>
                    </a:lnTo>
                    <a:lnTo>
                      <a:pt x="94" y="278"/>
                    </a:lnTo>
                    <a:lnTo>
                      <a:pt x="93" y="277"/>
                    </a:lnTo>
                    <a:lnTo>
                      <a:pt x="93" y="276"/>
                    </a:lnTo>
                    <a:lnTo>
                      <a:pt x="93" y="275"/>
                    </a:lnTo>
                    <a:lnTo>
                      <a:pt x="92" y="275"/>
                    </a:lnTo>
                    <a:lnTo>
                      <a:pt x="92" y="273"/>
                    </a:lnTo>
                    <a:lnTo>
                      <a:pt x="91" y="273"/>
                    </a:lnTo>
                    <a:lnTo>
                      <a:pt x="90" y="272"/>
                    </a:lnTo>
                    <a:lnTo>
                      <a:pt x="90" y="271"/>
                    </a:lnTo>
                    <a:lnTo>
                      <a:pt x="89" y="270"/>
                    </a:lnTo>
                    <a:lnTo>
                      <a:pt x="86" y="270"/>
                    </a:lnTo>
                    <a:lnTo>
                      <a:pt x="85" y="270"/>
                    </a:lnTo>
                    <a:lnTo>
                      <a:pt x="84" y="269"/>
                    </a:lnTo>
                    <a:lnTo>
                      <a:pt x="83" y="269"/>
                    </a:lnTo>
                    <a:lnTo>
                      <a:pt x="81" y="269"/>
                    </a:lnTo>
                    <a:lnTo>
                      <a:pt x="80" y="269"/>
                    </a:lnTo>
                    <a:lnTo>
                      <a:pt x="80" y="268"/>
                    </a:lnTo>
                    <a:lnTo>
                      <a:pt x="80" y="267"/>
                    </a:lnTo>
                    <a:lnTo>
                      <a:pt x="80" y="263"/>
                    </a:lnTo>
                    <a:lnTo>
                      <a:pt x="81" y="262"/>
                    </a:lnTo>
                    <a:lnTo>
                      <a:pt x="81" y="261"/>
                    </a:lnTo>
                    <a:lnTo>
                      <a:pt x="82" y="261"/>
                    </a:lnTo>
                    <a:lnTo>
                      <a:pt x="83" y="261"/>
                    </a:lnTo>
                    <a:lnTo>
                      <a:pt x="84" y="262"/>
                    </a:lnTo>
                    <a:lnTo>
                      <a:pt x="84" y="261"/>
                    </a:lnTo>
                    <a:lnTo>
                      <a:pt x="84" y="259"/>
                    </a:lnTo>
                    <a:lnTo>
                      <a:pt x="83" y="258"/>
                    </a:lnTo>
                    <a:lnTo>
                      <a:pt x="83" y="257"/>
                    </a:lnTo>
                    <a:lnTo>
                      <a:pt x="83" y="256"/>
                    </a:lnTo>
                    <a:lnTo>
                      <a:pt x="85" y="256"/>
                    </a:lnTo>
                    <a:lnTo>
                      <a:pt x="85" y="255"/>
                    </a:lnTo>
                    <a:lnTo>
                      <a:pt x="86" y="255"/>
                    </a:lnTo>
                    <a:lnTo>
                      <a:pt x="86" y="254"/>
                    </a:lnTo>
                    <a:lnTo>
                      <a:pt x="85" y="254"/>
                    </a:lnTo>
                    <a:lnTo>
                      <a:pt x="85" y="252"/>
                    </a:lnTo>
                    <a:lnTo>
                      <a:pt x="85" y="251"/>
                    </a:lnTo>
                    <a:lnTo>
                      <a:pt x="85" y="250"/>
                    </a:lnTo>
                    <a:lnTo>
                      <a:pt x="84" y="249"/>
                    </a:lnTo>
                    <a:lnTo>
                      <a:pt x="83" y="247"/>
                    </a:lnTo>
                    <a:lnTo>
                      <a:pt x="83" y="246"/>
                    </a:lnTo>
                    <a:lnTo>
                      <a:pt x="82" y="246"/>
                    </a:lnTo>
                    <a:lnTo>
                      <a:pt x="82" y="245"/>
                    </a:lnTo>
                    <a:lnTo>
                      <a:pt x="82" y="244"/>
                    </a:lnTo>
                    <a:lnTo>
                      <a:pt x="82" y="243"/>
                    </a:lnTo>
                    <a:lnTo>
                      <a:pt x="82" y="242"/>
                    </a:lnTo>
                    <a:lnTo>
                      <a:pt x="81" y="242"/>
                    </a:lnTo>
                    <a:lnTo>
                      <a:pt x="80" y="240"/>
                    </a:lnTo>
                    <a:lnTo>
                      <a:pt x="79" y="240"/>
                    </a:lnTo>
                    <a:lnTo>
                      <a:pt x="78" y="240"/>
                    </a:lnTo>
                    <a:lnTo>
                      <a:pt x="77" y="240"/>
                    </a:lnTo>
                    <a:lnTo>
                      <a:pt x="75" y="240"/>
                    </a:lnTo>
                    <a:lnTo>
                      <a:pt x="74" y="240"/>
                    </a:lnTo>
                    <a:lnTo>
                      <a:pt x="73" y="240"/>
                    </a:lnTo>
                    <a:lnTo>
                      <a:pt x="72" y="240"/>
                    </a:lnTo>
                    <a:lnTo>
                      <a:pt x="71" y="240"/>
                    </a:lnTo>
                    <a:lnTo>
                      <a:pt x="70" y="239"/>
                    </a:lnTo>
                    <a:lnTo>
                      <a:pt x="69" y="239"/>
                    </a:lnTo>
                    <a:lnTo>
                      <a:pt x="69" y="238"/>
                    </a:lnTo>
                    <a:lnTo>
                      <a:pt x="68" y="238"/>
                    </a:lnTo>
                    <a:lnTo>
                      <a:pt x="66" y="237"/>
                    </a:lnTo>
                    <a:lnTo>
                      <a:pt x="65" y="236"/>
                    </a:lnTo>
                    <a:lnTo>
                      <a:pt x="62" y="235"/>
                    </a:lnTo>
                    <a:lnTo>
                      <a:pt x="61" y="235"/>
                    </a:lnTo>
                    <a:lnTo>
                      <a:pt x="60" y="235"/>
                    </a:lnTo>
                    <a:lnTo>
                      <a:pt x="59" y="235"/>
                    </a:lnTo>
                    <a:lnTo>
                      <a:pt x="58" y="235"/>
                    </a:lnTo>
                    <a:lnTo>
                      <a:pt x="57" y="235"/>
                    </a:lnTo>
                    <a:lnTo>
                      <a:pt x="57" y="234"/>
                    </a:lnTo>
                    <a:lnTo>
                      <a:pt x="57" y="233"/>
                    </a:lnTo>
                    <a:lnTo>
                      <a:pt x="57" y="231"/>
                    </a:lnTo>
                    <a:lnTo>
                      <a:pt x="57" y="229"/>
                    </a:lnTo>
                    <a:lnTo>
                      <a:pt x="57" y="226"/>
                    </a:lnTo>
                    <a:lnTo>
                      <a:pt x="57" y="224"/>
                    </a:lnTo>
                    <a:lnTo>
                      <a:pt x="56" y="222"/>
                    </a:lnTo>
                    <a:lnTo>
                      <a:pt x="56" y="221"/>
                    </a:lnTo>
                    <a:lnTo>
                      <a:pt x="55" y="220"/>
                    </a:lnTo>
                    <a:lnTo>
                      <a:pt x="53" y="218"/>
                    </a:lnTo>
                    <a:lnTo>
                      <a:pt x="53" y="217"/>
                    </a:lnTo>
                    <a:lnTo>
                      <a:pt x="54" y="216"/>
                    </a:lnTo>
                    <a:lnTo>
                      <a:pt x="54" y="214"/>
                    </a:lnTo>
                    <a:lnTo>
                      <a:pt x="54" y="213"/>
                    </a:lnTo>
                    <a:lnTo>
                      <a:pt x="53" y="213"/>
                    </a:lnTo>
                    <a:lnTo>
                      <a:pt x="53" y="211"/>
                    </a:lnTo>
                    <a:lnTo>
                      <a:pt x="53" y="210"/>
                    </a:lnTo>
                    <a:lnTo>
                      <a:pt x="52" y="209"/>
                    </a:lnTo>
                    <a:lnTo>
                      <a:pt x="53" y="209"/>
                    </a:lnTo>
                    <a:lnTo>
                      <a:pt x="53" y="208"/>
                    </a:lnTo>
                    <a:lnTo>
                      <a:pt x="54" y="208"/>
                    </a:lnTo>
                    <a:lnTo>
                      <a:pt x="54" y="207"/>
                    </a:lnTo>
                    <a:lnTo>
                      <a:pt x="54" y="206"/>
                    </a:lnTo>
                    <a:lnTo>
                      <a:pt x="54" y="205"/>
                    </a:lnTo>
                    <a:lnTo>
                      <a:pt x="54" y="204"/>
                    </a:lnTo>
                    <a:lnTo>
                      <a:pt x="54" y="203"/>
                    </a:lnTo>
                    <a:lnTo>
                      <a:pt x="53" y="203"/>
                    </a:lnTo>
                    <a:lnTo>
                      <a:pt x="53" y="201"/>
                    </a:lnTo>
                    <a:lnTo>
                      <a:pt x="53" y="200"/>
                    </a:lnTo>
                    <a:lnTo>
                      <a:pt x="53" y="199"/>
                    </a:lnTo>
                    <a:lnTo>
                      <a:pt x="53" y="198"/>
                    </a:lnTo>
                    <a:lnTo>
                      <a:pt x="54" y="198"/>
                    </a:lnTo>
                    <a:lnTo>
                      <a:pt x="54" y="197"/>
                    </a:lnTo>
                    <a:lnTo>
                      <a:pt x="55" y="196"/>
                    </a:lnTo>
                    <a:lnTo>
                      <a:pt x="54" y="196"/>
                    </a:lnTo>
                    <a:lnTo>
                      <a:pt x="53" y="196"/>
                    </a:lnTo>
                    <a:lnTo>
                      <a:pt x="53" y="195"/>
                    </a:lnTo>
                    <a:lnTo>
                      <a:pt x="53" y="194"/>
                    </a:lnTo>
                    <a:lnTo>
                      <a:pt x="52" y="193"/>
                    </a:lnTo>
                    <a:lnTo>
                      <a:pt x="51" y="193"/>
                    </a:lnTo>
                    <a:lnTo>
                      <a:pt x="52" y="192"/>
                    </a:lnTo>
                    <a:lnTo>
                      <a:pt x="52" y="191"/>
                    </a:lnTo>
                    <a:lnTo>
                      <a:pt x="53" y="190"/>
                    </a:lnTo>
                    <a:lnTo>
                      <a:pt x="53" y="188"/>
                    </a:lnTo>
                    <a:lnTo>
                      <a:pt x="53" y="187"/>
                    </a:lnTo>
                    <a:lnTo>
                      <a:pt x="53" y="186"/>
                    </a:lnTo>
                    <a:lnTo>
                      <a:pt x="52" y="186"/>
                    </a:lnTo>
                    <a:lnTo>
                      <a:pt x="52" y="184"/>
                    </a:lnTo>
                    <a:lnTo>
                      <a:pt x="51" y="184"/>
                    </a:lnTo>
                    <a:lnTo>
                      <a:pt x="51" y="182"/>
                    </a:lnTo>
                    <a:lnTo>
                      <a:pt x="49" y="182"/>
                    </a:lnTo>
                    <a:lnTo>
                      <a:pt x="49" y="181"/>
                    </a:lnTo>
                    <a:lnTo>
                      <a:pt x="48" y="180"/>
                    </a:lnTo>
                    <a:lnTo>
                      <a:pt x="48" y="179"/>
                    </a:lnTo>
                    <a:lnTo>
                      <a:pt x="48" y="177"/>
                    </a:lnTo>
                    <a:lnTo>
                      <a:pt x="48" y="175"/>
                    </a:lnTo>
                    <a:lnTo>
                      <a:pt x="48" y="174"/>
                    </a:lnTo>
                    <a:lnTo>
                      <a:pt x="48" y="173"/>
                    </a:lnTo>
                    <a:lnTo>
                      <a:pt x="48" y="171"/>
                    </a:lnTo>
                    <a:lnTo>
                      <a:pt x="49" y="170"/>
                    </a:lnTo>
                    <a:lnTo>
                      <a:pt x="49" y="169"/>
                    </a:lnTo>
                    <a:lnTo>
                      <a:pt x="51" y="168"/>
                    </a:lnTo>
                    <a:lnTo>
                      <a:pt x="52" y="167"/>
                    </a:lnTo>
                    <a:lnTo>
                      <a:pt x="52" y="166"/>
                    </a:lnTo>
                    <a:lnTo>
                      <a:pt x="53" y="166"/>
                    </a:lnTo>
                    <a:lnTo>
                      <a:pt x="54" y="165"/>
                    </a:lnTo>
                    <a:lnTo>
                      <a:pt x="55" y="165"/>
                    </a:lnTo>
                    <a:lnTo>
                      <a:pt x="58" y="165"/>
                    </a:lnTo>
                    <a:lnTo>
                      <a:pt x="60" y="165"/>
                    </a:lnTo>
                    <a:lnTo>
                      <a:pt x="61" y="164"/>
                    </a:lnTo>
                    <a:lnTo>
                      <a:pt x="64" y="164"/>
                    </a:lnTo>
                    <a:lnTo>
                      <a:pt x="65" y="164"/>
                    </a:lnTo>
                    <a:lnTo>
                      <a:pt x="66" y="162"/>
                    </a:lnTo>
                    <a:lnTo>
                      <a:pt x="67" y="162"/>
                    </a:lnTo>
                    <a:lnTo>
                      <a:pt x="68" y="162"/>
                    </a:lnTo>
                    <a:lnTo>
                      <a:pt x="70" y="160"/>
                    </a:lnTo>
                    <a:lnTo>
                      <a:pt x="71" y="160"/>
                    </a:lnTo>
                    <a:lnTo>
                      <a:pt x="71" y="159"/>
                    </a:lnTo>
                    <a:lnTo>
                      <a:pt x="73" y="157"/>
                    </a:lnTo>
                    <a:lnTo>
                      <a:pt x="75" y="156"/>
                    </a:lnTo>
                    <a:lnTo>
                      <a:pt x="75" y="155"/>
                    </a:lnTo>
                    <a:lnTo>
                      <a:pt x="77" y="154"/>
                    </a:lnTo>
                    <a:lnTo>
                      <a:pt x="78" y="154"/>
                    </a:lnTo>
                    <a:lnTo>
                      <a:pt x="78" y="153"/>
                    </a:lnTo>
                    <a:lnTo>
                      <a:pt x="78" y="152"/>
                    </a:lnTo>
                    <a:lnTo>
                      <a:pt x="78" y="150"/>
                    </a:lnTo>
                    <a:lnTo>
                      <a:pt x="77" y="147"/>
                    </a:lnTo>
                    <a:lnTo>
                      <a:pt x="77" y="145"/>
                    </a:lnTo>
                    <a:lnTo>
                      <a:pt x="77" y="144"/>
                    </a:lnTo>
                    <a:lnTo>
                      <a:pt x="77" y="142"/>
                    </a:lnTo>
                    <a:lnTo>
                      <a:pt x="78" y="142"/>
                    </a:lnTo>
                    <a:lnTo>
                      <a:pt x="78" y="141"/>
                    </a:lnTo>
                    <a:lnTo>
                      <a:pt x="79" y="140"/>
                    </a:lnTo>
                    <a:lnTo>
                      <a:pt x="80" y="139"/>
                    </a:lnTo>
                    <a:lnTo>
                      <a:pt x="81" y="136"/>
                    </a:lnTo>
                    <a:lnTo>
                      <a:pt x="82" y="135"/>
                    </a:lnTo>
                    <a:lnTo>
                      <a:pt x="84" y="133"/>
                    </a:lnTo>
                    <a:lnTo>
                      <a:pt x="85" y="132"/>
                    </a:lnTo>
                    <a:lnTo>
                      <a:pt x="87" y="131"/>
                    </a:lnTo>
                    <a:lnTo>
                      <a:pt x="90" y="129"/>
                    </a:lnTo>
                    <a:lnTo>
                      <a:pt x="91" y="128"/>
                    </a:lnTo>
                    <a:lnTo>
                      <a:pt x="92" y="127"/>
                    </a:lnTo>
                    <a:lnTo>
                      <a:pt x="93" y="126"/>
                    </a:lnTo>
                    <a:lnTo>
                      <a:pt x="94" y="126"/>
                    </a:lnTo>
                    <a:lnTo>
                      <a:pt x="96" y="124"/>
                    </a:lnTo>
                    <a:lnTo>
                      <a:pt x="97" y="124"/>
                    </a:lnTo>
                    <a:lnTo>
                      <a:pt x="98" y="123"/>
                    </a:lnTo>
                    <a:lnTo>
                      <a:pt x="99" y="123"/>
                    </a:lnTo>
                    <a:lnTo>
                      <a:pt x="100" y="122"/>
                    </a:lnTo>
                    <a:lnTo>
                      <a:pt x="100" y="121"/>
                    </a:lnTo>
                    <a:lnTo>
                      <a:pt x="102" y="120"/>
                    </a:lnTo>
                    <a:lnTo>
                      <a:pt x="103" y="120"/>
                    </a:lnTo>
                    <a:lnTo>
                      <a:pt x="104" y="119"/>
                    </a:lnTo>
                    <a:lnTo>
                      <a:pt x="105" y="119"/>
                    </a:lnTo>
                    <a:lnTo>
                      <a:pt x="106" y="119"/>
                    </a:lnTo>
                    <a:lnTo>
                      <a:pt x="107" y="119"/>
                    </a:lnTo>
                    <a:lnTo>
                      <a:pt x="108" y="120"/>
                    </a:lnTo>
                    <a:lnTo>
                      <a:pt x="108" y="121"/>
                    </a:lnTo>
                    <a:lnTo>
                      <a:pt x="108" y="122"/>
                    </a:lnTo>
                    <a:lnTo>
                      <a:pt x="108" y="123"/>
                    </a:lnTo>
                    <a:lnTo>
                      <a:pt x="108" y="124"/>
                    </a:lnTo>
                    <a:lnTo>
                      <a:pt x="108" y="127"/>
                    </a:lnTo>
                    <a:lnTo>
                      <a:pt x="109" y="128"/>
                    </a:lnTo>
                    <a:lnTo>
                      <a:pt x="110" y="129"/>
                    </a:lnTo>
                    <a:lnTo>
                      <a:pt x="111" y="130"/>
                    </a:lnTo>
                    <a:lnTo>
                      <a:pt x="112" y="130"/>
                    </a:lnTo>
                    <a:lnTo>
                      <a:pt x="113" y="130"/>
                    </a:lnTo>
                    <a:lnTo>
                      <a:pt x="115" y="131"/>
                    </a:lnTo>
                    <a:lnTo>
                      <a:pt x="116" y="131"/>
                    </a:lnTo>
                    <a:lnTo>
                      <a:pt x="117" y="130"/>
                    </a:lnTo>
                    <a:lnTo>
                      <a:pt x="118" y="129"/>
                    </a:lnTo>
                    <a:lnTo>
                      <a:pt x="119" y="129"/>
                    </a:lnTo>
                    <a:lnTo>
                      <a:pt x="119" y="128"/>
                    </a:lnTo>
                    <a:lnTo>
                      <a:pt x="120" y="127"/>
                    </a:lnTo>
                    <a:lnTo>
                      <a:pt x="120" y="126"/>
                    </a:lnTo>
                    <a:lnTo>
                      <a:pt x="120" y="124"/>
                    </a:lnTo>
                    <a:lnTo>
                      <a:pt x="121" y="123"/>
                    </a:lnTo>
                    <a:lnTo>
                      <a:pt x="122" y="123"/>
                    </a:lnTo>
                    <a:lnTo>
                      <a:pt x="123" y="123"/>
                    </a:lnTo>
                    <a:lnTo>
                      <a:pt x="124" y="123"/>
                    </a:lnTo>
                    <a:lnTo>
                      <a:pt x="126" y="124"/>
                    </a:lnTo>
                    <a:lnTo>
                      <a:pt x="128" y="124"/>
                    </a:lnTo>
                    <a:lnTo>
                      <a:pt x="129" y="124"/>
                    </a:lnTo>
                    <a:lnTo>
                      <a:pt x="130" y="123"/>
                    </a:lnTo>
                    <a:lnTo>
                      <a:pt x="130" y="122"/>
                    </a:lnTo>
                    <a:lnTo>
                      <a:pt x="129" y="120"/>
                    </a:lnTo>
                    <a:lnTo>
                      <a:pt x="130" y="120"/>
                    </a:lnTo>
                    <a:lnTo>
                      <a:pt x="130" y="119"/>
                    </a:lnTo>
                    <a:lnTo>
                      <a:pt x="131" y="119"/>
                    </a:lnTo>
                    <a:lnTo>
                      <a:pt x="133" y="119"/>
                    </a:lnTo>
                    <a:lnTo>
                      <a:pt x="134" y="119"/>
                    </a:lnTo>
                    <a:lnTo>
                      <a:pt x="135" y="120"/>
                    </a:lnTo>
                    <a:lnTo>
                      <a:pt x="136" y="120"/>
                    </a:lnTo>
                    <a:lnTo>
                      <a:pt x="139" y="120"/>
                    </a:lnTo>
                    <a:lnTo>
                      <a:pt x="141" y="120"/>
                    </a:lnTo>
                    <a:lnTo>
                      <a:pt x="142" y="119"/>
                    </a:lnTo>
                    <a:lnTo>
                      <a:pt x="142" y="118"/>
                    </a:lnTo>
                    <a:lnTo>
                      <a:pt x="143" y="116"/>
                    </a:lnTo>
                    <a:lnTo>
                      <a:pt x="143" y="115"/>
                    </a:lnTo>
                    <a:lnTo>
                      <a:pt x="143" y="114"/>
                    </a:lnTo>
                    <a:lnTo>
                      <a:pt x="144" y="113"/>
                    </a:lnTo>
                    <a:lnTo>
                      <a:pt x="145" y="113"/>
                    </a:lnTo>
                    <a:lnTo>
                      <a:pt x="146" y="113"/>
                    </a:lnTo>
                    <a:lnTo>
                      <a:pt x="148" y="113"/>
                    </a:lnTo>
                    <a:lnTo>
                      <a:pt x="149" y="113"/>
                    </a:lnTo>
                    <a:lnTo>
                      <a:pt x="150" y="113"/>
                    </a:lnTo>
                    <a:lnTo>
                      <a:pt x="151" y="113"/>
                    </a:lnTo>
                    <a:lnTo>
                      <a:pt x="152" y="113"/>
                    </a:lnTo>
                    <a:lnTo>
                      <a:pt x="154" y="110"/>
                    </a:lnTo>
                    <a:lnTo>
                      <a:pt x="155" y="109"/>
                    </a:lnTo>
                    <a:lnTo>
                      <a:pt x="156" y="109"/>
                    </a:lnTo>
                    <a:lnTo>
                      <a:pt x="157" y="109"/>
                    </a:lnTo>
                    <a:lnTo>
                      <a:pt x="159" y="110"/>
                    </a:lnTo>
                    <a:lnTo>
                      <a:pt x="160" y="110"/>
                    </a:lnTo>
                    <a:lnTo>
                      <a:pt x="161" y="109"/>
                    </a:lnTo>
                    <a:lnTo>
                      <a:pt x="162" y="109"/>
                    </a:lnTo>
                    <a:lnTo>
                      <a:pt x="163" y="108"/>
                    </a:lnTo>
                    <a:lnTo>
                      <a:pt x="164" y="107"/>
                    </a:lnTo>
                    <a:lnTo>
                      <a:pt x="164" y="106"/>
                    </a:lnTo>
                    <a:lnTo>
                      <a:pt x="178" y="89"/>
                    </a:lnTo>
                    <a:lnTo>
                      <a:pt x="185" y="80"/>
                    </a:lnTo>
                    <a:lnTo>
                      <a:pt x="186" y="78"/>
                    </a:lnTo>
                    <a:lnTo>
                      <a:pt x="187" y="77"/>
                    </a:lnTo>
                    <a:lnTo>
                      <a:pt x="190" y="71"/>
                    </a:lnTo>
                    <a:lnTo>
                      <a:pt x="207" y="50"/>
                    </a:lnTo>
                    <a:lnTo>
                      <a:pt x="211" y="44"/>
                    </a:lnTo>
                    <a:lnTo>
                      <a:pt x="221" y="44"/>
                    </a:lnTo>
                    <a:lnTo>
                      <a:pt x="235" y="44"/>
                    </a:lnTo>
                    <a:lnTo>
                      <a:pt x="268" y="44"/>
                    </a:lnTo>
                    <a:lnTo>
                      <a:pt x="288" y="43"/>
                    </a:lnTo>
                    <a:lnTo>
                      <a:pt x="287" y="23"/>
                    </a:lnTo>
                    <a:lnTo>
                      <a:pt x="291" y="23"/>
                    </a:lnTo>
                    <a:lnTo>
                      <a:pt x="312" y="23"/>
                    </a:lnTo>
                    <a:lnTo>
                      <a:pt x="310" y="18"/>
                    </a:lnTo>
                    <a:lnTo>
                      <a:pt x="310" y="16"/>
                    </a:lnTo>
                    <a:lnTo>
                      <a:pt x="311" y="16"/>
                    </a:lnTo>
                    <a:lnTo>
                      <a:pt x="312" y="13"/>
                    </a:lnTo>
                    <a:lnTo>
                      <a:pt x="314" y="13"/>
                    </a:lnTo>
                    <a:lnTo>
                      <a:pt x="317" y="12"/>
                    </a:lnTo>
                    <a:lnTo>
                      <a:pt x="320" y="10"/>
                    </a:lnTo>
                    <a:lnTo>
                      <a:pt x="320" y="7"/>
                    </a:lnTo>
                    <a:lnTo>
                      <a:pt x="320" y="2"/>
                    </a:lnTo>
                    <a:lnTo>
                      <a:pt x="322" y="1"/>
                    </a:lnTo>
                    <a:lnTo>
                      <a:pt x="323" y="1"/>
                    </a:lnTo>
                    <a:lnTo>
                      <a:pt x="324" y="0"/>
                    </a:lnTo>
                    <a:lnTo>
                      <a:pt x="325" y="0"/>
                    </a:lnTo>
                    <a:lnTo>
                      <a:pt x="326" y="1"/>
                    </a:lnTo>
                    <a:lnTo>
                      <a:pt x="327" y="1"/>
                    </a:lnTo>
                    <a:lnTo>
                      <a:pt x="328" y="1"/>
                    </a:lnTo>
                    <a:lnTo>
                      <a:pt x="330" y="1"/>
                    </a:lnTo>
                    <a:lnTo>
                      <a:pt x="332" y="2"/>
                    </a:lnTo>
                    <a:lnTo>
                      <a:pt x="333" y="3"/>
                    </a:lnTo>
                    <a:lnTo>
                      <a:pt x="335" y="5"/>
                    </a:lnTo>
                    <a:lnTo>
                      <a:pt x="333" y="5"/>
                    </a:lnTo>
                    <a:lnTo>
                      <a:pt x="333" y="11"/>
                    </a:lnTo>
                    <a:lnTo>
                      <a:pt x="335" y="11"/>
                    </a:lnTo>
                    <a:lnTo>
                      <a:pt x="335" y="14"/>
                    </a:lnTo>
                    <a:lnTo>
                      <a:pt x="335" y="17"/>
                    </a:lnTo>
                    <a:lnTo>
                      <a:pt x="335" y="19"/>
                    </a:lnTo>
                    <a:lnTo>
                      <a:pt x="335" y="20"/>
                    </a:lnTo>
                    <a:lnTo>
                      <a:pt x="337" y="23"/>
                    </a:lnTo>
                    <a:lnTo>
                      <a:pt x="339" y="24"/>
                    </a:lnTo>
                    <a:lnTo>
                      <a:pt x="344" y="21"/>
                    </a:lnTo>
                    <a:lnTo>
                      <a:pt x="346" y="24"/>
                    </a:lnTo>
                    <a:lnTo>
                      <a:pt x="344" y="25"/>
                    </a:lnTo>
                    <a:lnTo>
                      <a:pt x="345" y="28"/>
                    </a:lnTo>
                    <a:lnTo>
                      <a:pt x="344" y="29"/>
                    </a:lnTo>
                    <a:lnTo>
                      <a:pt x="345" y="32"/>
                    </a:lnTo>
                    <a:lnTo>
                      <a:pt x="346" y="32"/>
                    </a:lnTo>
                    <a:lnTo>
                      <a:pt x="348" y="33"/>
                    </a:lnTo>
                    <a:lnTo>
                      <a:pt x="349" y="36"/>
                    </a:lnTo>
                    <a:lnTo>
                      <a:pt x="351" y="40"/>
                    </a:lnTo>
                    <a:lnTo>
                      <a:pt x="351" y="41"/>
                    </a:lnTo>
                    <a:lnTo>
                      <a:pt x="352" y="43"/>
                    </a:lnTo>
                    <a:lnTo>
                      <a:pt x="354" y="47"/>
                    </a:lnTo>
                    <a:lnTo>
                      <a:pt x="354" y="49"/>
                    </a:lnTo>
                    <a:lnTo>
                      <a:pt x="354" y="51"/>
                    </a:lnTo>
                    <a:lnTo>
                      <a:pt x="356" y="55"/>
                    </a:lnTo>
                    <a:lnTo>
                      <a:pt x="357" y="57"/>
                    </a:lnTo>
                    <a:lnTo>
                      <a:pt x="357" y="58"/>
                    </a:lnTo>
                    <a:lnTo>
                      <a:pt x="358" y="59"/>
                    </a:lnTo>
                    <a:lnTo>
                      <a:pt x="360" y="60"/>
                    </a:lnTo>
                    <a:lnTo>
                      <a:pt x="362" y="62"/>
                    </a:lnTo>
                    <a:lnTo>
                      <a:pt x="363" y="63"/>
                    </a:lnTo>
                    <a:lnTo>
                      <a:pt x="364" y="64"/>
                    </a:lnTo>
                    <a:lnTo>
                      <a:pt x="365" y="65"/>
                    </a:lnTo>
                    <a:lnTo>
                      <a:pt x="367" y="67"/>
                    </a:lnTo>
                    <a:lnTo>
                      <a:pt x="369" y="69"/>
                    </a:lnTo>
                    <a:lnTo>
                      <a:pt x="369" y="70"/>
                    </a:lnTo>
                    <a:lnTo>
                      <a:pt x="370" y="71"/>
                    </a:lnTo>
                    <a:lnTo>
                      <a:pt x="371" y="71"/>
                    </a:lnTo>
                    <a:lnTo>
                      <a:pt x="373" y="71"/>
                    </a:lnTo>
                    <a:lnTo>
                      <a:pt x="373" y="72"/>
                    </a:lnTo>
                    <a:lnTo>
                      <a:pt x="374" y="72"/>
                    </a:lnTo>
                    <a:lnTo>
                      <a:pt x="375" y="72"/>
                    </a:lnTo>
                    <a:lnTo>
                      <a:pt x="376" y="72"/>
                    </a:lnTo>
                    <a:lnTo>
                      <a:pt x="377" y="72"/>
                    </a:lnTo>
                    <a:lnTo>
                      <a:pt x="379" y="72"/>
                    </a:lnTo>
                    <a:lnTo>
                      <a:pt x="380" y="72"/>
                    </a:lnTo>
                    <a:lnTo>
                      <a:pt x="381" y="72"/>
                    </a:lnTo>
                    <a:lnTo>
                      <a:pt x="382" y="72"/>
                    </a:lnTo>
                    <a:lnTo>
                      <a:pt x="383" y="74"/>
                    </a:lnTo>
                    <a:lnTo>
                      <a:pt x="384" y="75"/>
                    </a:lnTo>
                    <a:lnTo>
                      <a:pt x="388" y="77"/>
                    </a:lnTo>
                    <a:lnTo>
                      <a:pt x="389" y="77"/>
                    </a:lnTo>
                    <a:lnTo>
                      <a:pt x="390" y="78"/>
                    </a:lnTo>
                    <a:lnTo>
                      <a:pt x="391" y="78"/>
                    </a:lnTo>
                    <a:lnTo>
                      <a:pt x="392" y="79"/>
                    </a:lnTo>
                    <a:lnTo>
                      <a:pt x="394" y="80"/>
                    </a:lnTo>
                    <a:lnTo>
                      <a:pt x="395" y="80"/>
                    </a:lnTo>
                    <a:lnTo>
                      <a:pt x="397" y="83"/>
                    </a:lnTo>
                    <a:lnTo>
                      <a:pt x="401" y="88"/>
                    </a:lnTo>
                    <a:lnTo>
                      <a:pt x="402" y="90"/>
                    </a:lnTo>
                    <a:lnTo>
                      <a:pt x="404" y="92"/>
                    </a:lnTo>
                    <a:lnTo>
                      <a:pt x="406" y="94"/>
                    </a:lnTo>
                    <a:lnTo>
                      <a:pt x="407" y="94"/>
                    </a:lnTo>
                    <a:lnTo>
                      <a:pt x="408" y="95"/>
                    </a:lnTo>
                    <a:lnTo>
                      <a:pt x="410" y="97"/>
                    </a:lnTo>
                    <a:lnTo>
                      <a:pt x="412" y="100"/>
                    </a:lnTo>
                    <a:lnTo>
                      <a:pt x="413" y="101"/>
                    </a:lnTo>
                    <a:lnTo>
                      <a:pt x="413" y="102"/>
                    </a:lnTo>
                    <a:lnTo>
                      <a:pt x="416" y="106"/>
                    </a:lnTo>
                    <a:lnTo>
                      <a:pt x="416" y="107"/>
                    </a:lnTo>
                    <a:lnTo>
                      <a:pt x="418" y="109"/>
                    </a:lnTo>
                    <a:lnTo>
                      <a:pt x="418" y="110"/>
                    </a:lnTo>
                    <a:lnTo>
                      <a:pt x="419" y="110"/>
                    </a:lnTo>
                    <a:lnTo>
                      <a:pt x="419" y="113"/>
                    </a:lnTo>
                    <a:lnTo>
                      <a:pt x="420" y="114"/>
                    </a:lnTo>
                    <a:lnTo>
                      <a:pt x="420" y="115"/>
                    </a:lnTo>
                    <a:lnTo>
                      <a:pt x="422" y="117"/>
                    </a:lnTo>
                    <a:lnTo>
                      <a:pt x="423" y="118"/>
                    </a:lnTo>
                    <a:lnTo>
                      <a:pt x="425" y="120"/>
                    </a:lnTo>
                    <a:lnTo>
                      <a:pt x="426" y="121"/>
                    </a:lnTo>
                    <a:lnTo>
                      <a:pt x="427" y="122"/>
                    </a:lnTo>
                    <a:lnTo>
                      <a:pt x="428" y="123"/>
                    </a:lnTo>
                    <a:lnTo>
                      <a:pt x="429" y="123"/>
                    </a:lnTo>
                    <a:lnTo>
                      <a:pt x="430" y="123"/>
                    </a:lnTo>
                    <a:lnTo>
                      <a:pt x="432" y="124"/>
                    </a:lnTo>
                    <a:lnTo>
                      <a:pt x="433" y="124"/>
                    </a:lnTo>
                    <a:lnTo>
                      <a:pt x="434" y="124"/>
                    </a:lnTo>
                    <a:lnTo>
                      <a:pt x="436" y="124"/>
                    </a:lnTo>
                    <a:lnTo>
                      <a:pt x="438" y="124"/>
                    </a:lnTo>
                    <a:lnTo>
                      <a:pt x="441" y="124"/>
                    </a:lnTo>
                    <a:lnTo>
                      <a:pt x="444" y="126"/>
                    </a:lnTo>
                    <a:lnTo>
                      <a:pt x="445" y="126"/>
                    </a:lnTo>
                    <a:lnTo>
                      <a:pt x="446" y="127"/>
                    </a:lnTo>
                    <a:lnTo>
                      <a:pt x="447" y="127"/>
                    </a:lnTo>
                    <a:lnTo>
                      <a:pt x="448" y="128"/>
                    </a:lnTo>
                    <a:lnTo>
                      <a:pt x="448" y="132"/>
                    </a:lnTo>
                    <a:lnTo>
                      <a:pt x="451" y="134"/>
                    </a:lnTo>
                    <a:lnTo>
                      <a:pt x="452" y="136"/>
                    </a:lnTo>
                    <a:lnTo>
                      <a:pt x="454" y="139"/>
                    </a:lnTo>
                    <a:lnTo>
                      <a:pt x="455" y="140"/>
                    </a:lnTo>
                    <a:lnTo>
                      <a:pt x="456" y="141"/>
                    </a:lnTo>
                    <a:lnTo>
                      <a:pt x="456" y="142"/>
                    </a:lnTo>
                    <a:lnTo>
                      <a:pt x="456" y="143"/>
                    </a:lnTo>
                    <a:lnTo>
                      <a:pt x="457" y="143"/>
                    </a:lnTo>
                    <a:lnTo>
                      <a:pt x="457" y="144"/>
                    </a:lnTo>
                    <a:lnTo>
                      <a:pt x="458" y="144"/>
                    </a:lnTo>
                    <a:lnTo>
                      <a:pt x="458" y="145"/>
                    </a:lnTo>
                    <a:lnTo>
                      <a:pt x="462" y="146"/>
                    </a:lnTo>
                    <a:lnTo>
                      <a:pt x="464" y="147"/>
                    </a:lnTo>
                    <a:lnTo>
                      <a:pt x="465" y="148"/>
                    </a:lnTo>
                    <a:lnTo>
                      <a:pt x="466" y="148"/>
                    </a:lnTo>
                    <a:lnTo>
                      <a:pt x="467" y="148"/>
                    </a:lnTo>
                    <a:lnTo>
                      <a:pt x="468" y="149"/>
                    </a:lnTo>
                    <a:lnTo>
                      <a:pt x="471" y="152"/>
                    </a:lnTo>
                    <a:lnTo>
                      <a:pt x="472" y="153"/>
                    </a:lnTo>
                    <a:lnTo>
                      <a:pt x="473" y="154"/>
                    </a:lnTo>
                    <a:lnTo>
                      <a:pt x="475" y="155"/>
                    </a:lnTo>
                    <a:lnTo>
                      <a:pt x="475" y="156"/>
                    </a:lnTo>
                    <a:lnTo>
                      <a:pt x="478" y="166"/>
                    </a:lnTo>
                    <a:lnTo>
                      <a:pt x="479" y="170"/>
                    </a:lnTo>
                    <a:lnTo>
                      <a:pt x="479" y="171"/>
                    </a:lnTo>
                    <a:lnTo>
                      <a:pt x="481" y="171"/>
                    </a:lnTo>
                    <a:lnTo>
                      <a:pt x="484" y="171"/>
                    </a:lnTo>
                    <a:lnTo>
                      <a:pt x="485" y="171"/>
                    </a:lnTo>
                    <a:lnTo>
                      <a:pt x="486" y="171"/>
                    </a:lnTo>
                    <a:lnTo>
                      <a:pt x="488" y="172"/>
                    </a:lnTo>
                    <a:lnTo>
                      <a:pt x="490" y="174"/>
                    </a:lnTo>
                    <a:lnTo>
                      <a:pt x="491" y="175"/>
                    </a:lnTo>
                    <a:lnTo>
                      <a:pt x="492" y="177"/>
                    </a:lnTo>
                    <a:lnTo>
                      <a:pt x="493" y="177"/>
                    </a:lnTo>
                    <a:lnTo>
                      <a:pt x="493" y="178"/>
                    </a:lnTo>
                    <a:lnTo>
                      <a:pt x="494" y="179"/>
                    </a:lnTo>
                    <a:lnTo>
                      <a:pt x="494" y="180"/>
                    </a:lnTo>
                    <a:lnTo>
                      <a:pt x="495" y="182"/>
                    </a:lnTo>
                    <a:lnTo>
                      <a:pt x="495" y="183"/>
                    </a:lnTo>
                    <a:lnTo>
                      <a:pt x="496" y="184"/>
                    </a:lnTo>
                    <a:lnTo>
                      <a:pt x="498" y="185"/>
                    </a:lnTo>
                    <a:lnTo>
                      <a:pt x="498" y="186"/>
                    </a:lnTo>
                    <a:lnTo>
                      <a:pt x="498" y="187"/>
                    </a:lnTo>
                    <a:lnTo>
                      <a:pt x="498" y="188"/>
                    </a:lnTo>
                    <a:lnTo>
                      <a:pt x="497" y="191"/>
                    </a:lnTo>
                    <a:lnTo>
                      <a:pt x="497" y="192"/>
                    </a:lnTo>
                    <a:lnTo>
                      <a:pt x="498" y="192"/>
                    </a:lnTo>
                    <a:lnTo>
                      <a:pt x="500" y="195"/>
                    </a:lnTo>
                    <a:lnTo>
                      <a:pt x="503" y="196"/>
                    </a:lnTo>
                    <a:lnTo>
                      <a:pt x="504" y="196"/>
                    </a:lnTo>
                    <a:lnTo>
                      <a:pt x="505" y="196"/>
                    </a:lnTo>
                    <a:lnTo>
                      <a:pt x="505" y="197"/>
                    </a:lnTo>
                    <a:lnTo>
                      <a:pt x="507" y="199"/>
                    </a:lnTo>
                    <a:lnTo>
                      <a:pt x="507" y="200"/>
                    </a:lnTo>
                    <a:lnTo>
                      <a:pt x="508" y="200"/>
                    </a:lnTo>
                    <a:lnTo>
                      <a:pt x="508" y="201"/>
                    </a:lnTo>
                    <a:lnTo>
                      <a:pt x="510" y="204"/>
                    </a:lnTo>
                    <a:lnTo>
                      <a:pt x="511" y="205"/>
                    </a:lnTo>
                    <a:lnTo>
                      <a:pt x="513" y="206"/>
                    </a:lnTo>
                    <a:lnTo>
                      <a:pt x="515" y="207"/>
                    </a:lnTo>
                    <a:lnTo>
                      <a:pt x="515" y="208"/>
                    </a:lnTo>
                    <a:lnTo>
                      <a:pt x="516" y="208"/>
                    </a:lnTo>
                    <a:lnTo>
                      <a:pt x="517" y="210"/>
                    </a:lnTo>
                    <a:lnTo>
                      <a:pt x="517" y="211"/>
                    </a:lnTo>
                    <a:lnTo>
                      <a:pt x="517" y="212"/>
                    </a:lnTo>
                    <a:lnTo>
                      <a:pt x="518" y="212"/>
                    </a:lnTo>
                    <a:lnTo>
                      <a:pt x="519" y="212"/>
                    </a:lnTo>
                    <a:lnTo>
                      <a:pt x="521" y="212"/>
                    </a:lnTo>
                    <a:lnTo>
                      <a:pt x="522" y="212"/>
                    </a:lnTo>
                    <a:lnTo>
                      <a:pt x="522" y="213"/>
                    </a:lnTo>
                    <a:lnTo>
                      <a:pt x="523" y="214"/>
                    </a:lnTo>
                    <a:lnTo>
                      <a:pt x="523" y="216"/>
                    </a:lnTo>
                    <a:lnTo>
                      <a:pt x="524" y="216"/>
                    </a:lnTo>
                    <a:lnTo>
                      <a:pt x="524" y="217"/>
                    </a:lnTo>
                    <a:lnTo>
                      <a:pt x="524" y="218"/>
                    </a:lnTo>
                    <a:lnTo>
                      <a:pt x="525" y="219"/>
                    </a:lnTo>
                    <a:lnTo>
                      <a:pt x="526" y="219"/>
                    </a:lnTo>
                    <a:lnTo>
                      <a:pt x="529" y="221"/>
                    </a:lnTo>
                    <a:lnTo>
                      <a:pt x="530" y="223"/>
                    </a:lnTo>
                    <a:lnTo>
                      <a:pt x="532" y="223"/>
                    </a:lnTo>
                    <a:lnTo>
                      <a:pt x="533" y="223"/>
                    </a:lnTo>
                    <a:lnTo>
                      <a:pt x="533" y="224"/>
                    </a:lnTo>
                    <a:lnTo>
                      <a:pt x="534" y="225"/>
                    </a:lnTo>
                    <a:lnTo>
                      <a:pt x="535" y="226"/>
                    </a:lnTo>
                    <a:lnTo>
                      <a:pt x="536" y="226"/>
                    </a:lnTo>
                    <a:lnTo>
                      <a:pt x="539" y="229"/>
                    </a:lnTo>
                    <a:lnTo>
                      <a:pt x="541" y="229"/>
                    </a:lnTo>
                    <a:lnTo>
                      <a:pt x="541" y="230"/>
                    </a:lnTo>
                    <a:lnTo>
                      <a:pt x="542" y="231"/>
                    </a:lnTo>
                    <a:lnTo>
                      <a:pt x="542" y="232"/>
                    </a:lnTo>
                    <a:lnTo>
                      <a:pt x="543" y="233"/>
                    </a:lnTo>
                    <a:lnTo>
                      <a:pt x="543" y="234"/>
                    </a:lnTo>
                    <a:lnTo>
                      <a:pt x="543" y="235"/>
                    </a:lnTo>
                    <a:lnTo>
                      <a:pt x="544" y="235"/>
                    </a:lnTo>
                    <a:lnTo>
                      <a:pt x="544" y="236"/>
                    </a:lnTo>
                    <a:lnTo>
                      <a:pt x="545" y="238"/>
                    </a:lnTo>
                    <a:lnTo>
                      <a:pt x="545" y="239"/>
                    </a:lnTo>
                    <a:lnTo>
                      <a:pt x="546" y="240"/>
                    </a:lnTo>
                    <a:lnTo>
                      <a:pt x="546" y="242"/>
                    </a:lnTo>
                    <a:lnTo>
                      <a:pt x="546" y="244"/>
                    </a:lnTo>
                    <a:lnTo>
                      <a:pt x="546" y="245"/>
                    </a:lnTo>
                    <a:lnTo>
                      <a:pt x="547" y="246"/>
                    </a:lnTo>
                    <a:lnTo>
                      <a:pt x="548" y="246"/>
                    </a:lnTo>
                    <a:lnTo>
                      <a:pt x="550" y="248"/>
                    </a:lnTo>
                    <a:lnTo>
                      <a:pt x="550" y="249"/>
                    </a:lnTo>
                    <a:lnTo>
                      <a:pt x="551" y="249"/>
                    </a:lnTo>
                    <a:lnTo>
                      <a:pt x="551" y="250"/>
                    </a:lnTo>
                    <a:lnTo>
                      <a:pt x="551" y="251"/>
                    </a:lnTo>
                    <a:lnTo>
                      <a:pt x="552" y="251"/>
                    </a:lnTo>
                    <a:lnTo>
                      <a:pt x="552" y="252"/>
                    </a:lnTo>
                    <a:lnTo>
                      <a:pt x="552" y="254"/>
                    </a:lnTo>
                    <a:lnTo>
                      <a:pt x="554" y="255"/>
                    </a:lnTo>
                    <a:lnTo>
                      <a:pt x="555" y="256"/>
                    </a:lnTo>
                    <a:lnTo>
                      <a:pt x="556" y="256"/>
                    </a:lnTo>
                    <a:lnTo>
                      <a:pt x="557" y="257"/>
                    </a:lnTo>
                    <a:lnTo>
                      <a:pt x="558" y="258"/>
                    </a:lnTo>
                    <a:lnTo>
                      <a:pt x="559" y="259"/>
                    </a:lnTo>
                    <a:lnTo>
                      <a:pt x="560" y="261"/>
                    </a:lnTo>
                    <a:lnTo>
                      <a:pt x="561" y="262"/>
                    </a:lnTo>
                    <a:lnTo>
                      <a:pt x="562" y="262"/>
                    </a:lnTo>
                    <a:lnTo>
                      <a:pt x="562" y="263"/>
                    </a:lnTo>
                    <a:lnTo>
                      <a:pt x="563" y="264"/>
                    </a:lnTo>
                    <a:lnTo>
                      <a:pt x="564" y="265"/>
                    </a:lnTo>
                    <a:lnTo>
                      <a:pt x="565" y="265"/>
                    </a:lnTo>
                    <a:lnTo>
                      <a:pt x="565" y="267"/>
                    </a:lnTo>
                    <a:lnTo>
                      <a:pt x="567" y="268"/>
                    </a:lnTo>
                    <a:lnTo>
                      <a:pt x="568" y="269"/>
                    </a:lnTo>
                    <a:lnTo>
                      <a:pt x="569" y="270"/>
                    </a:lnTo>
                    <a:lnTo>
                      <a:pt x="570" y="272"/>
                    </a:lnTo>
                    <a:lnTo>
                      <a:pt x="570" y="273"/>
                    </a:lnTo>
                    <a:lnTo>
                      <a:pt x="571" y="273"/>
                    </a:lnTo>
                    <a:lnTo>
                      <a:pt x="572" y="274"/>
                    </a:lnTo>
                    <a:lnTo>
                      <a:pt x="573" y="274"/>
                    </a:lnTo>
                    <a:lnTo>
                      <a:pt x="574" y="275"/>
                    </a:lnTo>
                    <a:lnTo>
                      <a:pt x="575" y="275"/>
                    </a:lnTo>
                    <a:lnTo>
                      <a:pt x="577" y="276"/>
                    </a:lnTo>
                    <a:lnTo>
                      <a:pt x="577" y="277"/>
                    </a:lnTo>
                    <a:lnTo>
                      <a:pt x="580" y="277"/>
                    </a:lnTo>
                    <a:lnTo>
                      <a:pt x="581" y="277"/>
                    </a:lnTo>
                    <a:lnTo>
                      <a:pt x="582" y="278"/>
                    </a:lnTo>
                    <a:lnTo>
                      <a:pt x="582" y="280"/>
                    </a:lnTo>
                    <a:lnTo>
                      <a:pt x="583" y="280"/>
                    </a:lnTo>
                    <a:lnTo>
                      <a:pt x="584" y="281"/>
                    </a:lnTo>
                    <a:lnTo>
                      <a:pt x="585" y="282"/>
                    </a:lnTo>
                    <a:lnTo>
                      <a:pt x="585" y="283"/>
                    </a:lnTo>
                    <a:lnTo>
                      <a:pt x="586" y="284"/>
                    </a:lnTo>
                    <a:lnTo>
                      <a:pt x="587" y="285"/>
                    </a:lnTo>
                    <a:lnTo>
                      <a:pt x="588" y="287"/>
                    </a:lnTo>
                    <a:lnTo>
                      <a:pt x="590" y="288"/>
                    </a:lnTo>
                    <a:lnTo>
                      <a:pt x="590" y="289"/>
                    </a:lnTo>
                    <a:lnTo>
                      <a:pt x="591" y="289"/>
                    </a:lnTo>
                    <a:lnTo>
                      <a:pt x="591" y="290"/>
                    </a:lnTo>
                    <a:lnTo>
                      <a:pt x="591" y="291"/>
                    </a:lnTo>
                    <a:lnTo>
                      <a:pt x="593" y="294"/>
                    </a:lnTo>
                    <a:lnTo>
                      <a:pt x="593" y="295"/>
                    </a:lnTo>
                    <a:lnTo>
                      <a:pt x="593" y="296"/>
                    </a:lnTo>
                    <a:lnTo>
                      <a:pt x="594" y="297"/>
                    </a:lnTo>
                    <a:lnTo>
                      <a:pt x="595" y="300"/>
                    </a:lnTo>
                    <a:lnTo>
                      <a:pt x="595" y="301"/>
                    </a:lnTo>
                    <a:lnTo>
                      <a:pt x="595" y="302"/>
                    </a:lnTo>
                    <a:lnTo>
                      <a:pt x="595" y="303"/>
                    </a:lnTo>
                    <a:lnTo>
                      <a:pt x="594" y="303"/>
                    </a:lnTo>
                    <a:lnTo>
                      <a:pt x="594" y="304"/>
                    </a:lnTo>
                    <a:lnTo>
                      <a:pt x="593" y="306"/>
                    </a:lnTo>
                    <a:lnTo>
                      <a:pt x="593" y="308"/>
                    </a:lnTo>
                    <a:lnTo>
                      <a:pt x="593" y="309"/>
                    </a:lnTo>
                    <a:lnTo>
                      <a:pt x="594" y="310"/>
                    </a:lnTo>
                    <a:lnTo>
                      <a:pt x="594" y="312"/>
                    </a:lnTo>
                    <a:lnTo>
                      <a:pt x="593" y="312"/>
                    </a:lnTo>
                    <a:lnTo>
                      <a:pt x="593" y="313"/>
                    </a:lnTo>
                    <a:lnTo>
                      <a:pt x="593" y="314"/>
                    </a:lnTo>
                    <a:lnTo>
                      <a:pt x="591" y="315"/>
                    </a:lnTo>
                    <a:lnTo>
                      <a:pt x="590" y="317"/>
                    </a:lnTo>
                    <a:lnTo>
                      <a:pt x="590" y="319"/>
                    </a:lnTo>
                    <a:lnTo>
                      <a:pt x="590" y="320"/>
                    </a:lnTo>
                    <a:lnTo>
                      <a:pt x="591" y="321"/>
                    </a:lnTo>
                    <a:lnTo>
                      <a:pt x="591" y="322"/>
                    </a:lnTo>
                    <a:lnTo>
                      <a:pt x="593" y="323"/>
                    </a:lnTo>
                    <a:lnTo>
                      <a:pt x="593" y="324"/>
                    </a:lnTo>
                    <a:lnTo>
                      <a:pt x="593" y="325"/>
                    </a:lnTo>
                    <a:lnTo>
                      <a:pt x="594" y="325"/>
                    </a:lnTo>
                    <a:lnTo>
                      <a:pt x="594" y="326"/>
                    </a:lnTo>
                    <a:lnTo>
                      <a:pt x="595" y="327"/>
                    </a:lnTo>
                    <a:lnTo>
                      <a:pt x="595" y="328"/>
                    </a:lnTo>
                    <a:lnTo>
                      <a:pt x="595" y="329"/>
                    </a:lnTo>
                    <a:lnTo>
                      <a:pt x="596" y="329"/>
                    </a:lnTo>
                    <a:lnTo>
                      <a:pt x="596" y="333"/>
                    </a:lnTo>
                    <a:lnTo>
                      <a:pt x="596" y="334"/>
                    </a:lnTo>
                    <a:lnTo>
                      <a:pt x="596" y="335"/>
                    </a:lnTo>
                    <a:lnTo>
                      <a:pt x="596" y="336"/>
                    </a:lnTo>
                    <a:lnTo>
                      <a:pt x="595" y="337"/>
                    </a:lnTo>
                    <a:lnTo>
                      <a:pt x="594" y="338"/>
                    </a:lnTo>
                    <a:lnTo>
                      <a:pt x="593" y="339"/>
                    </a:lnTo>
                    <a:lnTo>
                      <a:pt x="593" y="341"/>
                    </a:lnTo>
                    <a:lnTo>
                      <a:pt x="593" y="342"/>
                    </a:lnTo>
                    <a:lnTo>
                      <a:pt x="593" y="344"/>
                    </a:lnTo>
                    <a:lnTo>
                      <a:pt x="593" y="345"/>
                    </a:lnTo>
                    <a:lnTo>
                      <a:pt x="593" y="346"/>
                    </a:lnTo>
                    <a:lnTo>
                      <a:pt x="593" y="347"/>
                    </a:lnTo>
                    <a:lnTo>
                      <a:pt x="591" y="347"/>
                    </a:lnTo>
                    <a:lnTo>
                      <a:pt x="591" y="348"/>
                    </a:lnTo>
                    <a:lnTo>
                      <a:pt x="593" y="349"/>
                    </a:lnTo>
                    <a:lnTo>
                      <a:pt x="593" y="350"/>
                    </a:lnTo>
                    <a:lnTo>
                      <a:pt x="591" y="350"/>
                    </a:lnTo>
                    <a:lnTo>
                      <a:pt x="590" y="351"/>
                    </a:lnTo>
                    <a:lnTo>
                      <a:pt x="589" y="352"/>
                    </a:lnTo>
                    <a:lnTo>
                      <a:pt x="588" y="352"/>
                    </a:lnTo>
                    <a:lnTo>
                      <a:pt x="588" y="353"/>
                    </a:lnTo>
                    <a:lnTo>
                      <a:pt x="587" y="354"/>
                    </a:lnTo>
                    <a:lnTo>
                      <a:pt x="587" y="355"/>
                    </a:lnTo>
                    <a:lnTo>
                      <a:pt x="587" y="357"/>
                    </a:lnTo>
                    <a:lnTo>
                      <a:pt x="586" y="359"/>
                    </a:lnTo>
                    <a:lnTo>
                      <a:pt x="585" y="359"/>
                    </a:lnTo>
                    <a:lnTo>
                      <a:pt x="585" y="360"/>
                    </a:lnTo>
                    <a:lnTo>
                      <a:pt x="584" y="360"/>
                    </a:lnTo>
                    <a:lnTo>
                      <a:pt x="584" y="361"/>
                    </a:lnTo>
                    <a:lnTo>
                      <a:pt x="584" y="362"/>
                    </a:lnTo>
                    <a:close/>
                    <a:moveTo>
                      <a:pt x="493" y="483"/>
                    </a:moveTo>
                    <a:lnTo>
                      <a:pt x="493" y="484"/>
                    </a:lnTo>
                    <a:lnTo>
                      <a:pt x="494" y="484"/>
                    </a:lnTo>
                    <a:lnTo>
                      <a:pt x="495" y="484"/>
                    </a:lnTo>
                    <a:lnTo>
                      <a:pt x="496" y="486"/>
                    </a:lnTo>
                    <a:lnTo>
                      <a:pt x="497" y="487"/>
                    </a:lnTo>
                    <a:lnTo>
                      <a:pt x="498" y="487"/>
                    </a:lnTo>
                    <a:lnTo>
                      <a:pt x="496" y="486"/>
                    </a:lnTo>
                    <a:lnTo>
                      <a:pt x="496" y="484"/>
                    </a:lnTo>
                    <a:lnTo>
                      <a:pt x="497" y="486"/>
                    </a:lnTo>
                    <a:lnTo>
                      <a:pt x="498" y="486"/>
                    </a:lnTo>
                    <a:lnTo>
                      <a:pt x="498" y="487"/>
                    </a:lnTo>
                    <a:lnTo>
                      <a:pt x="498" y="486"/>
                    </a:lnTo>
                    <a:lnTo>
                      <a:pt x="498" y="487"/>
                    </a:lnTo>
                    <a:lnTo>
                      <a:pt x="499" y="487"/>
                    </a:lnTo>
                    <a:lnTo>
                      <a:pt x="499" y="488"/>
                    </a:lnTo>
                    <a:lnTo>
                      <a:pt x="500" y="488"/>
                    </a:lnTo>
                    <a:lnTo>
                      <a:pt x="502" y="488"/>
                    </a:lnTo>
                    <a:lnTo>
                      <a:pt x="502" y="489"/>
                    </a:lnTo>
                    <a:lnTo>
                      <a:pt x="503" y="489"/>
                    </a:lnTo>
                    <a:lnTo>
                      <a:pt x="503" y="490"/>
                    </a:lnTo>
                    <a:lnTo>
                      <a:pt x="503" y="489"/>
                    </a:lnTo>
                    <a:lnTo>
                      <a:pt x="504" y="489"/>
                    </a:lnTo>
                    <a:lnTo>
                      <a:pt x="505" y="490"/>
                    </a:lnTo>
                    <a:lnTo>
                      <a:pt x="506" y="491"/>
                    </a:lnTo>
                    <a:lnTo>
                      <a:pt x="507" y="491"/>
                    </a:lnTo>
                    <a:lnTo>
                      <a:pt x="507" y="490"/>
                    </a:lnTo>
                    <a:lnTo>
                      <a:pt x="508" y="491"/>
                    </a:lnTo>
                    <a:lnTo>
                      <a:pt x="508" y="492"/>
                    </a:lnTo>
                    <a:lnTo>
                      <a:pt x="509" y="492"/>
                    </a:lnTo>
                    <a:lnTo>
                      <a:pt x="511" y="492"/>
                    </a:lnTo>
                    <a:lnTo>
                      <a:pt x="512" y="493"/>
                    </a:lnTo>
                    <a:lnTo>
                      <a:pt x="512" y="492"/>
                    </a:lnTo>
                    <a:lnTo>
                      <a:pt x="512" y="493"/>
                    </a:lnTo>
                    <a:lnTo>
                      <a:pt x="513" y="493"/>
                    </a:lnTo>
                    <a:lnTo>
                      <a:pt x="513" y="492"/>
                    </a:lnTo>
                    <a:lnTo>
                      <a:pt x="515" y="492"/>
                    </a:lnTo>
                    <a:lnTo>
                      <a:pt x="516" y="493"/>
                    </a:lnTo>
                    <a:lnTo>
                      <a:pt x="517" y="493"/>
                    </a:lnTo>
                    <a:lnTo>
                      <a:pt x="517" y="494"/>
                    </a:lnTo>
                    <a:lnTo>
                      <a:pt x="519" y="494"/>
                    </a:lnTo>
                    <a:lnTo>
                      <a:pt x="519" y="495"/>
                    </a:lnTo>
                    <a:lnTo>
                      <a:pt x="520" y="494"/>
                    </a:lnTo>
                    <a:lnTo>
                      <a:pt x="521" y="494"/>
                    </a:lnTo>
                    <a:lnTo>
                      <a:pt x="521" y="495"/>
                    </a:lnTo>
                    <a:lnTo>
                      <a:pt x="522" y="497"/>
                    </a:lnTo>
                    <a:lnTo>
                      <a:pt x="522" y="496"/>
                    </a:lnTo>
                    <a:lnTo>
                      <a:pt x="523" y="496"/>
                    </a:lnTo>
                    <a:lnTo>
                      <a:pt x="523" y="497"/>
                    </a:lnTo>
                    <a:lnTo>
                      <a:pt x="525" y="499"/>
                    </a:lnTo>
                    <a:lnTo>
                      <a:pt x="529" y="500"/>
                    </a:lnTo>
                    <a:lnTo>
                      <a:pt x="531" y="500"/>
                    </a:lnTo>
                    <a:lnTo>
                      <a:pt x="532" y="499"/>
                    </a:lnTo>
                    <a:lnTo>
                      <a:pt x="533" y="499"/>
                    </a:lnTo>
                    <a:lnTo>
                      <a:pt x="535" y="499"/>
                    </a:lnTo>
                    <a:lnTo>
                      <a:pt x="535" y="500"/>
                    </a:lnTo>
                    <a:lnTo>
                      <a:pt x="534" y="500"/>
                    </a:lnTo>
                    <a:lnTo>
                      <a:pt x="534" y="501"/>
                    </a:lnTo>
                    <a:lnTo>
                      <a:pt x="532" y="501"/>
                    </a:lnTo>
                    <a:lnTo>
                      <a:pt x="533" y="501"/>
                    </a:lnTo>
                    <a:lnTo>
                      <a:pt x="534" y="501"/>
                    </a:lnTo>
                    <a:lnTo>
                      <a:pt x="535" y="501"/>
                    </a:lnTo>
                    <a:lnTo>
                      <a:pt x="537" y="501"/>
                    </a:lnTo>
                    <a:lnTo>
                      <a:pt x="537" y="502"/>
                    </a:lnTo>
                    <a:lnTo>
                      <a:pt x="537" y="503"/>
                    </a:lnTo>
                    <a:lnTo>
                      <a:pt x="537" y="502"/>
                    </a:lnTo>
                    <a:lnTo>
                      <a:pt x="538" y="501"/>
                    </a:lnTo>
                    <a:lnTo>
                      <a:pt x="538" y="500"/>
                    </a:lnTo>
                    <a:lnTo>
                      <a:pt x="539" y="500"/>
                    </a:lnTo>
                    <a:lnTo>
                      <a:pt x="541" y="500"/>
                    </a:lnTo>
                    <a:lnTo>
                      <a:pt x="543" y="500"/>
                    </a:lnTo>
                    <a:lnTo>
                      <a:pt x="543" y="501"/>
                    </a:lnTo>
                    <a:lnTo>
                      <a:pt x="542" y="501"/>
                    </a:lnTo>
                    <a:lnTo>
                      <a:pt x="539" y="501"/>
                    </a:lnTo>
                    <a:lnTo>
                      <a:pt x="539" y="502"/>
                    </a:lnTo>
                    <a:lnTo>
                      <a:pt x="538" y="503"/>
                    </a:lnTo>
                    <a:lnTo>
                      <a:pt x="538" y="505"/>
                    </a:lnTo>
                    <a:lnTo>
                      <a:pt x="544" y="506"/>
                    </a:lnTo>
                    <a:lnTo>
                      <a:pt x="545" y="505"/>
                    </a:lnTo>
                    <a:lnTo>
                      <a:pt x="545" y="506"/>
                    </a:lnTo>
                    <a:lnTo>
                      <a:pt x="546" y="506"/>
                    </a:lnTo>
                    <a:lnTo>
                      <a:pt x="548" y="506"/>
                    </a:lnTo>
                    <a:lnTo>
                      <a:pt x="550" y="507"/>
                    </a:lnTo>
                    <a:lnTo>
                      <a:pt x="550" y="506"/>
                    </a:lnTo>
                    <a:lnTo>
                      <a:pt x="549" y="505"/>
                    </a:lnTo>
                    <a:lnTo>
                      <a:pt x="550" y="505"/>
                    </a:lnTo>
                    <a:lnTo>
                      <a:pt x="550" y="504"/>
                    </a:lnTo>
                    <a:lnTo>
                      <a:pt x="550" y="503"/>
                    </a:lnTo>
                    <a:lnTo>
                      <a:pt x="549" y="502"/>
                    </a:lnTo>
                    <a:lnTo>
                      <a:pt x="549" y="501"/>
                    </a:lnTo>
                    <a:lnTo>
                      <a:pt x="548" y="500"/>
                    </a:lnTo>
                    <a:lnTo>
                      <a:pt x="549" y="499"/>
                    </a:lnTo>
                    <a:lnTo>
                      <a:pt x="550" y="499"/>
                    </a:lnTo>
                    <a:lnTo>
                      <a:pt x="550" y="500"/>
                    </a:lnTo>
                    <a:lnTo>
                      <a:pt x="551" y="501"/>
                    </a:lnTo>
                    <a:lnTo>
                      <a:pt x="552" y="501"/>
                    </a:lnTo>
                    <a:lnTo>
                      <a:pt x="552" y="503"/>
                    </a:lnTo>
                    <a:lnTo>
                      <a:pt x="554" y="503"/>
                    </a:lnTo>
                    <a:lnTo>
                      <a:pt x="555" y="503"/>
                    </a:lnTo>
                    <a:lnTo>
                      <a:pt x="555" y="504"/>
                    </a:lnTo>
                    <a:lnTo>
                      <a:pt x="556" y="505"/>
                    </a:lnTo>
                    <a:lnTo>
                      <a:pt x="554" y="505"/>
                    </a:lnTo>
                    <a:lnTo>
                      <a:pt x="554" y="506"/>
                    </a:lnTo>
                    <a:lnTo>
                      <a:pt x="552" y="506"/>
                    </a:lnTo>
                    <a:lnTo>
                      <a:pt x="552" y="507"/>
                    </a:lnTo>
                    <a:lnTo>
                      <a:pt x="551" y="507"/>
                    </a:lnTo>
                    <a:lnTo>
                      <a:pt x="555" y="508"/>
                    </a:lnTo>
                    <a:lnTo>
                      <a:pt x="557" y="508"/>
                    </a:lnTo>
                    <a:lnTo>
                      <a:pt x="558" y="508"/>
                    </a:lnTo>
                    <a:lnTo>
                      <a:pt x="559" y="509"/>
                    </a:lnTo>
                    <a:lnTo>
                      <a:pt x="559" y="508"/>
                    </a:lnTo>
                    <a:lnTo>
                      <a:pt x="559" y="507"/>
                    </a:lnTo>
                    <a:lnTo>
                      <a:pt x="560" y="507"/>
                    </a:lnTo>
                    <a:lnTo>
                      <a:pt x="560" y="508"/>
                    </a:lnTo>
                    <a:lnTo>
                      <a:pt x="561" y="508"/>
                    </a:lnTo>
                    <a:lnTo>
                      <a:pt x="561" y="507"/>
                    </a:lnTo>
                    <a:lnTo>
                      <a:pt x="562" y="508"/>
                    </a:lnTo>
                    <a:lnTo>
                      <a:pt x="563" y="508"/>
                    </a:lnTo>
                    <a:lnTo>
                      <a:pt x="564" y="507"/>
                    </a:lnTo>
                    <a:lnTo>
                      <a:pt x="565" y="506"/>
                    </a:lnTo>
                    <a:lnTo>
                      <a:pt x="564" y="506"/>
                    </a:lnTo>
                    <a:lnTo>
                      <a:pt x="564" y="505"/>
                    </a:lnTo>
                    <a:lnTo>
                      <a:pt x="565" y="505"/>
                    </a:lnTo>
                    <a:lnTo>
                      <a:pt x="565" y="504"/>
                    </a:lnTo>
                    <a:lnTo>
                      <a:pt x="567" y="505"/>
                    </a:lnTo>
                    <a:lnTo>
                      <a:pt x="568" y="506"/>
                    </a:lnTo>
                    <a:lnTo>
                      <a:pt x="567" y="507"/>
                    </a:lnTo>
                    <a:lnTo>
                      <a:pt x="565" y="509"/>
                    </a:lnTo>
                    <a:lnTo>
                      <a:pt x="563" y="509"/>
                    </a:lnTo>
                    <a:lnTo>
                      <a:pt x="559" y="509"/>
                    </a:lnTo>
                    <a:lnTo>
                      <a:pt x="556" y="509"/>
                    </a:lnTo>
                    <a:lnTo>
                      <a:pt x="552" y="508"/>
                    </a:lnTo>
                    <a:lnTo>
                      <a:pt x="549" y="508"/>
                    </a:lnTo>
                    <a:lnTo>
                      <a:pt x="547" y="507"/>
                    </a:lnTo>
                    <a:lnTo>
                      <a:pt x="545" y="507"/>
                    </a:lnTo>
                    <a:lnTo>
                      <a:pt x="541" y="506"/>
                    </a:lnTo>
                    <a:lnTo>
                      <a:pt x="537" y="505"/>
                    </a:lnTo>
                    <a:lnTo>
                      <a:pt x="535" y="505"/>
                    </a:lnTo>
                    <a:lnTo>
                      <a:pt x="534" y="504"/>
                    </a:lnTo>
                    <a:lnTo>
                      <a:pt x="531" y="503"/>
                    </a:lnTo>
                    <a:lnTo>
                      <a:pt x="528" y="502"/>
                    </a:lnTo>
                    <a:lnTo>
                      <a:pt x="522" y="500"/>
                    </a:lnTo>
                    <a:lnTo>
                      <a:pt x="521" y="500"/>
                    </a:lnTo>
                    <a:lnTo>
                      <a:pt x="518" y="499"/>
                    </a:lnTo>
                    <a:lnTo>
                      <a:pt x="515" y="497"/>
                    </a:lnTo>
                    <a:lnTo>
                      <a:pt x="510" y="495"/>
                    </a:lnTo>
                    <a:lnTo>
                      <a:pt x="509" y="494"/>
                    </a:lnTo>
                    <a:lnTo>
                      <a:pt x="506" y="493"/>
                    </a:lnTo>
                    <a:lnTo>
                      <a:pt x="499" y="489"/>
                    </a:lnTo>
                    <a:lnTo>
                      <a:pt x="496" y="488"/>
                    </a:lnTo>
                    <a:lnTo>
                      <a:pt x="494" y="486"/>
                    </a:lnTo>
                    <a:lnTo>
                      <a:pt x="492" y="484"/>
                    </a:lnTo>
                    <a:lnTo>
                      <a:pt x="490" y="482"/>
                    </a:lnTo>
                    <a:lnTo>
                      <a:pt x="490" y="481"/>
                    </a:lnTo>
                    <a:lnTo>
                      <a:pt x="491" y="481"/>
                    </a:lnTo>
                    <a:lnTo>
                      <a:pt x="491" y="482"/>
                    </a:lnTo>
                    <a:lnTo>
                      <a:pt x="493" y="483"/>
                    </a:lnTo>
                    <a:close/>
                    <a:moveTo>
                      <a:pt x="432" y="501"/>
                    </a:moveTo>
                    <a:lnTo>
                      <a:pt x="431" y="501"/>
                    </a:lnTo>
                    <a:lnTo>
                      <a:pt x="429" y="502"/>
                    </a:lnTo>
                    <a:lnTo>
                      <a:pt x="428" y="503"/>
                    </a:lnTo>
                    <a:lnTo>
                      <a:pt x="426" y="503"/>
                    </a:lnTo>
                    <a:lnTo>
                      <a:pt x="425" y="504"/>
                    </a:lnTo>
                    <a:lnTo>
                      <a:pt x="423" y="504"/>
                    </a:lnTo>
                    <a:lnTo>
                      <a:pt x="422" y="504"/>
                    </a:lnTo>
                    <a:lnTo>
                      <a:pt x="421" y="504"/>
                    </a:lnTo>
                    <a:lnTo>
                      <a:pt x="420" y="505"/>
                    </a:lnTo>
                    <a:lnTo>
                      <a:pt x="419" y="505"/>
                    </a:lnTo>
                    <a:lnTo>
                      <a:pt x="418" y="505"/>
                    </a:lnTo>
                    <a:lnTo>
                      <a:pt x="417" y="505"/>
                    </a:lnTo>
                    <a:lnTo>
                      <a:pt x="415" y="505"/>
                    </a:lnTo>
                    <a:lnTo>
                      <a:pt x="414" y="505"/>
                    </a:lnTo>
                    <a:lnTo>
                      <a:pt x="412" y="506"/>
                    </a:lnTo>
                    <a:lnTo>
                      <a:pt x="410" y="506"/>
                    </a:lnTo>
                    <a:lnTo>
                      <a:pt x="408" y="506"/>
                    </a:lnTo>
                    <a:lnTo>
                      <a:pt x="407" y="506"/>
                    </a:lnTo>
                    <a:lnTo>
                      <a:pt x="406" y="506"/>
                    </a:lnTo>
                    <a:lnTo>
                      <a:pt x="403" y="507"/>
                    </a:lnTo>
                    <a:lnTo>
                      <a:pt x="401" y="507"/>
                    </a:lnTo>
                    <a:lnTo>
                      <a:pt x="399" y="508"/>
                    </a:lnTo>
                    <a:lnTo>
                      <a:pt x="397" y="508"/>
                    </a:lnTo>
                    <a:lnTo>
                      <a:pt x="395" y="509"/>
                    </a:lnTo>
                    <a:lnTo>
                      <a:pt x="394" y="509"/>
                    </a:lnTo>
                    <a:lnTo>
                      <a:pt x="393" y="511"/>
                    </a:lnTo>
                    <a:lnTo>
                      <a:pt x="392" y="511"/>
                    </a:lnTo>
                    <a:lnTo>
                      <a:pt x="391" y="511"/>
                    </a:lnTo>
                    <a:lnTo>
                      <a:pt x="390" y="512"/>
                    </a:lnTo>
                    <a:lnTo>
                      <a:pt x="389" y="512"/>
                    </a:lnTo>
                    <a:lnTo>
                      <a:pt x="388" y="512"/>
                    </a:lnTo>
                    <a:lnTo>
                      <a:pt x="384" y="513"/>
                    </a:lnTo>
                    <a:lnTo>
                      <a:pt x="383" y="513"/>
                    </a:lnTo>
                    <a:lnTo>
                      <a:pt x="382" y="513"/>
                    </a:lnTo>
                    <a:lnTo>
                      <a:pt x="381" y="513"/>
                    </a:lnTo>
                    <a:lnTo>
                      <a:pt x="380" y="514"/>
                    </a:lnTo>
                    <a:lnTo>
                      <a:pt x="379" y="514"/>
                    </a:lnTo>
                    <a:lnTo>
                      <a:pt x="378" y="514"/>
                    </a:lnTo>
                    <a:lnTo>
                      <a:pt x="377" y="514"/>
                    </a:lnTo>
                    <a:lnTo>
                      <a:pt x="376" y="514"/>
                    </a:lnTo>
                    <a:lnTo>
                      <a:pt x="375" y="515"/>
                    </a:lnTo>
                    <a:lnTo>
                      <a:pt x="374" y="515"/>
                    </a:lnTo>
                    <a:lnTo>
                      <a:pt x="371" y="515"/>
                    </a:lnTo>
                    <a:lnTo>
                      <a:pt x="370" y="515"/>
                    </a:lnTo>
                    <a:lnTo>
                      <a:pt x="369" y="515"/>
                    </a:lnTo>
                    <a:lnTo>
                      <a:pt x="368" y="515"/>
                    </a:lnTo>
                    <a:lnTo>
                      <a:pt x="365" y="515"/>
                    </a:lnTo>
                    <a:lnTo>
                      <a:pt x="364" y="515"/>
                    </a:lnTo>
                    <a:lnTo>
                      <a:pt x="363" y="515"/>
                    </a:lnTo>
                    <a:lnTo>
                      <a:pt x="360" y="515"/>
                    </a:lnTo>
                    <a:lnTo>
                      <a:pt x="358" y="515"/>
                    </a:lnTo>
                    <a:lnTo>
                      <a:pt x="357" y="514"/>
                    </a:lnTo>
                    <a:lnTo>
                      <a:pt x="358" y="514"/>
                    </a:lnTo>
                    <a:lnTo>
                      <a:pt x="360" y="514"/>
                    </a:lnTo>
                    <a:lnTo>
                      <a:pt x="361" y="514"/>
                    </a:lnTo>
                    <a:lnTo>
                      <a:pt x="363" y="514"/>
                    </a:lnTo>
                    <a:lnTo>
                      <a:pt x="364" y="513"/>
                    </a:lnTo>
                    <a:lnTo>
                      <a:pt x="365" y="513"/>
                    </a:lnTo>
                    <a:lnTo>
                      <a:pt x="366" y="512"/>
                    </a:lnTo>
                    <a:lnTo>
                      <a:pt x="366" y="513"/>
                    </a:lnTo>
                    <a:lnTo>
                      <a:pt x="367" y="513"/>
                    </a:lnTo>
                    <a:lnTo>
                      <a:pt x="369" y="513"/>
                    </a:lnTo>
                    <a:lnTo>
                      <a:pt x="370" y="513"/>
                    </a:lnTo>
                    <a:lnTo>
                      <a:pt x="373" y="513"/>
                    </a:lnTo>
                    <a:lnTo>
                      <a:pt x="375" y="513"/>
                    </a:lnTo>
                    <a:lnTo>
                      <a:pt x="375" y="512"/>
                    </a:lnTo>
                    <a:lnTo>
                      <a:pt x="376" y="512"/>
                    </a:lnTo>
                    <a:lnTo>
                      <a:pt x="377" y="511"/>
                    </a:lnTo>
                    <a:lnTo>
                      <a:pt x="377" y="509"/>
                    </a:lnTo>
                    <a:lnTo>
                      <a:pt x="378" y="509"/>
                    </a:lnTo>
                    <a:lnTo>
                      <a:pt x="380" y="509"/>
                    </a:lnTo>
                    <a:lnTo>
                      <a:pt x="381" y="509"/>
                    </a:lnTo>
                    <a:lnTo>
                      <a:pt x="381" y="508"/>
                    </a:lnTo>
                    <a:lnTo>
                      <a:pt x="382" y="508"/>
                    </a:lnTo>
                    <a:lnTo>
                      <a:pt x="383" y="508"/>
                    </a:lnTo>
                    <a:lnTo>
                      <a:pt x="384" y="508"/>
                    </a:lnTo>
                    <a:lnTo>
                      <a:pt x="387" y="508"/>
                    </a:lnTo>
                    <a:lnTo>
                      <a:pt x="387" y="507"/>
                    </a:lnTo>
                    <a:lnTo>
                      <a:pt x="388" y="507"/>
                    </a:lnTo>
                    <a:lnTo>
                      <a:pt x="389" y="507"/>
                    </a:lnTo>
                    <a:lnTo>
                      <a:pt x="390" y="507"/>
                    </a:lnTo>
                    <a:lnTo>
                      <a:pt x="390" y="506"/>
                    </a:lnTo>
                    <a:lnTo>
                      <a:pt x="389" y="505"/>
                    </a:lnTo>
                    <a:lnTo>
                      <a:pt x="389" y="504"/>
                    </a:lnTo>
                    <a:lnTo>
                      <a:pt x="390" y="505"/>
                    </a:lnTo>
                    <a:lnTo>
                      <a:pt x="390" y="504"/>
                    </a:lnTo>
                    <a:lnTo>
                      <a:pt x="391" y="503"/>
                    </a:lnTo>
                    <a:lnTo>
                      <a:pt x="391" y="504"/>
                    </a:lnTo>
                    <a:lnTo>
                      <a:pt x="392" y="504"/>
                    </a:lnTo>
                    <a:lnTo>
                      <a:pt x="392" y="505"/>
                    </a:lnTo>
                    <a:lnTo>
                      <a:pt x="391" y="505"/>
                    </a:lnTo>
                    <a:lnTo>
                      <a:pt x="390" y="506"/>
                    </a:lnTo>
                    <a:lnTo>
                      <a:pt x="390" y="507"/>
                    </a:lnTo>
                    <a:lnTo>
                      <a:pt x="391" y="507"/>
                    </a:lnTo>
                    <a:lnTo>
                      <a:pt x="392" y="507"/>
                    </a:lnTo>
                    <a:lnTo>
                      <a:pt x="394" y="507"/>
                    </a:lnTo>
                    <a:lnTo>
                      <a:pt x="394" y="506"/>
                    </a:lnTo>
                    <a:lnTo>
                      <a:pt x="395" y="507"/>
                    </a:lnTo>
                    <a:lnTo>
                      <a:pt x="396" y="506"/>
                    </a:lnTo>
                    <a:lnTo>
                      <a:pt x="397" y="506"/>
                    </a:lnTo>
                    <a:lnTo>
                      <a:pt x="399" y="505"/>
                    </a:lnTo>
                    <a:lnTo>
                      <a:pt x="399" y="504"/>
                    </a:lnTo>
                    <a:lnTo>
                      <a:pt x="400" y="504"/>
                    </a:lnTo>
                    <a:lnTo>
                      <a:pt x="401" y="504"/>
                    </a:lnTo>
                    <a:lnTo>
                      <a:pt x="404" y="504"/>
                    </a:lnTo>
                    <a:lnTo>
                      <a:pt x="405" y="503"/>
                    </a:lnTo>
                    <a:lnTo>
                      <a:pt x="406" y="503"/>
                    </a:lnTo>
                    <a:lnTo>
                      <a:pt x="408" y="503"/>
                    </a:lnTo>
                    <a:lnTo>
                      <a:pt x="409" y="503"/>
                    </a:lnTo>
                    <a:lnTo>
                      <a:pt x="410" y="503"/>
                    </a:lnTo>
                    <a:lnTo>
                      <a:pt x="416" y="503"/>
                    </a:lnTo>
                    <a:lnTo>
                      <a:pt x="417" y="503"/>
                    </a:lnTo>
                    <a:lnTo>
                      <a:pt x="417" y="502"/>
                    </a:lnTo>
                    <a:lnTo>
                      <a:pt x="416" y="502"/>
                    </a:lnTo>
                    <a:lnTo>
                      <a:pt x="416" y="501"/>
                    </a:lnTo>
                    <a:lnTo>
                      <a:pt x="417" y="501"/>
                    </a:lnTo>
                    <a:lnTo>
                      <a:pt x="417" y="502"/>
                    </a:lnTo>
                    <a:lnTo>
                      <a:pt x="418" y="502"/>
                    </a:lnTo>
                    <a:lnTo>
                      <a:pt x="419" y="502"/>
                    </a:lnTo>
                    <a:lnTo>
                      <a:pt x="420" y="503"/>
                    </a:lnTo>
                    <a:lnTo>
                      <a:pt x="421" y="502"/>
                    </a:lnTo>
                    <a:lnTo>
                      <a:pt x="422" y="502"/>
                    </a:lnTo>
                    <a:lnTo>
                      <a:pt x="423" y="502"/>
                    </a:lnTo>
                    <a:lnTo>
                      <a:pt x="425" y="502"/>
                    </a:lnTo>
                    <a:lnTo>
                      <a:pt x="426" y="502"/>
                    </a:lnTo>
                    <a:lnTo>
                      <a:pt x="426" y="501"/>
                    </a:lnTo>
                    <a:lnTo>
                      <a:pt x="428" y="501"/>
                    </a:lnTo>
                    <a:lnTo>
                      <a:pt x="429" y="501"/>
                    </a:lnTo>
                    <a:lnTo>
                      <a:pt x="430" y="501"/>
                    </a:lnTo>
                    <a:lnTo>
                      <a:pt x="431" y="499"/>
                    </a:lnTo>
                    <a:lnTo>
                      <a:pt x="432" y="499"/>
                    </a:lnTo>
                    <a:lnTo>
                      <a:pt x="432" y="497"/>
                    </a:lnTo>
                    <a:lnTo>
                      <a:pt x="433" y="497"/>
                    </a:lnTo>
                    <a:lnTo>
                      <a:pt x="434" y="496"/>
                    </a:lnTo>
                    <a:lnTo>
                      <a:pt x="435" y="496"/>
                    </a:lnTo>
                    <a:lnTo>
                      <a:pt x="434" y="497"/>
                    </a:lnTo>
                    <a:lnTo>
                      <a:pt x="433" y="499"/>
                    </a:lnTo>
                    <a:lnTo>
                      <a:pt x="432" y="500"/>
                    </a:lnTo>
                    <a:lnTo>
                      <a:pt x="432" y="501"/>
                    </a:lnTo>
                    <a:close/>
                    <a:moveTo>
                      <a:pt x="317" y="486"/>
                    </a:moveTo>
                    <a:lnTo>
                      <a:pt x="318" y="486"/>
                    </a:lnTo>
                    <a:lnTo>
                      <a:pt x="319" y="487"/>
                    </a:lnTo>
                    <a:lnTo>
                      <a:pt x="320" y="487"/>
                    </a:lnTo>
                    <a:lnTo>
                      <a:pt x="322" y="487"/>
                    </a:lnTo>
                    <a:lnTo>
                      <a:pt x="323" y="487"/>
                    </a:lnTo>
                    <a:lnTo>
                      <a:pt x="323" y="486"/>
                    </a:lnTo>
                    <a:lnTo>
                      <a:pt x="324" y="486"/>
                    </a:lnTo>
                    <a:lnTo>
                      <a:pt x="324" y="487"/>
                    </a:lnTo>
                    <a:lnTo>
                      <a:pt x="325" y="487"/>
                    </a:lnTo>
                    <a:lnTo>
                      <a:pt x="325" y="488"/>
                    </a:lnTo>
                    <a:lnTo>
                      <a:pt x="324" y="488"/>
                    </a:lnTo>
                    <a:lnTo>
                      <a:pt x="323" y="488"/>
                    </a:lnTo>
                    <a:lnTo>
                      <a:pt x="323" y="489"/>
                    </a:lnTo>
                    <a:lnTo>
                      <a:pt x="323" y="490"/>
                    </a:lnTo>
                    <a:lnTo>
                      <a:pt x="323" y="491"/>
                    </a:lnTo>
                    <a:lnTo>
                      <a:pt x="322" y="491"/>
                    </a:lnTo>
                    <a:lnTo>
                      <a:pt x="320" y="492"/>
                    </a:lnTo>
                    <a:lnTo>
                      <a:pt x="319" y="492"/>
                    </a:lnTo>
                    <a:lnTo>
                      <a:pt x="318" y="492"/>
                    </a:lnTo>
                    <a:lnTo>
                      <a:pt x="318" y="493"/>
                    </a:lnTo>
                    <a:lnTo>
                      <a:pt x="318" y="492"/>
                    </a:lnTo>
                    <a:lnTo>
                      <a:pt x="317" y="492"/>
                    </a:lnTo>
                    <a:lnTo>
                      <a:pt x="317" y="491"/>
                    </a:lnTo>
                    <a:lnTo>
                      <a:pt x="316" y="491"/>
                    </a:lnTo>
                    <a:lnTo>
                      <a:pt x="315" y="491"/>
                    </a:lnTo>
                    <a:lnTo>
                      <a:pt x="315" y="492"/>
                    </a:lnTo>
                    <a:lnTo>
                      <a:pt x="314" y="492"/>
                    </a:lnTo>
                    <a:lnTo>
                      <a:pt x="314" y="494"/>
                    </a:lnTo>
                    <a:lnTo>
                      <a:pt x="314" y="495"/>
                    </a:lnTo>
                    <a:lnTo>
                      <a:pt x="315" y="495"/>
                    </a:lnTo>
                    <a:lnTo>
                      <a:pt x="315" y="494"/>
                    </a:lnTo>
                    <a:lnTo>
                      <a:pt x="315" y="493"/>
                    </a:lnTo>
                    <a:lnTo>
                      <a:pt x="315" y="492"/>
                    </a:lnTo>
                    <a:lnTo>
                      <a:pt x="316" y="492"/>
                    </a:lnTo>
                    <a:lnTo>
                      <a:pt x="316" y="493"/>
                    </a:lnTo>
                    <a:lnTo>
                      <a:pt x="316" y="494"/>
                    </a:lnTo>
                    <a:lnTo>
                      <a:pt x="316" y="495"/>
                    </a:lnTo>
                    <a:lnTo>
                      <a:pt x="315" y="495"/>
                    </a:lnTo>
                    <a:lnTo>
                      <a:pt x="315" y="496"/>
                    </a:lnTo>
                    <a:lnTo>
                      <a:pt x="316" y="496"/>
                    </a:lnTo>
                    <a:lnTo>
                      <a:pt x="317" y="496"/>
                    </a:lnTo>
                    <a:lnTo>
                      <a:pt x="318" y="496"/>
                    </a:lnTo>
                    <a:lnTo>
                      <a:pt x="318" y="497"/>
                    </a:lnTo>
                    <a:lnTo>
                      <a:pt x="317" y="497"/>
                    </a:lnTo>
                    <a:lnTo>
                      <a:pt x="316" y="499"/>
                    </a:lnTo>
                    <a:lnTo>
                      <a:pt x="316" y="500"/>
                    </a:lnTo>
                    <a:lnTo>
                      <a:pt x="315" y="500"/>
                    </a:lnTo>
                    <a:lnTo>
                      <a:pt x="315" y="501"/>
                    </a:lnTo>
                    <a:lnTo>
                      <a:pt x="314" y="500"/>
                    </a:lnTo>
                    <a:lnTo>
                      <a:pt x="313" y="500"/>
                    </a:lnTo>
                    <a:lnTo>
                      <a:pt x="313" y="499"/>
                    </a:lnTo>
                    <a:lnTo>
                      <a:pt x="312" y="499"/>
                    </a:lnTo>
                    <a:lnTo>
                      <a:pt x="311" y="499"/>
                    </a:lnTo>
                    <a:lnTo>
                      <a:pt x="310" y="497"/>
                    </a:lnTo>
                    <a:lnTo>
                      <a:pt x="309" y="497"/>
                    </a:lnTo>
                    <a:lnTo>
                      <a:pt x="310" y="497"/>
                    </a:lnTo>
                    <a:lnTo>
                      <a:pt x="310" y="496"/>
                    </a:lnTo>
                    <a:lnTo>
                      <a:pt x="309" y="496"/>
                    </a:lnTo>
                    <a:lnTo>
                      <a:pt x="307" y="495"/>
                    </a:lnTo>
                    <a:lnTo>
                      <a:pt x="306" y="495"/>
                    </a:lnTo>
                    <a:lnTo>
                      <a:pt x="305" y="495"/>
                    </a:lnTo>
                    <a:lnTo>
                      <a:pt x="305" y="494"/>
                    </a:lnTo>
                    <a:lnTo>
                      <a:pt x="305" y="493"/>
                    </a:lnTo>
                    <a:lnTo>
                      <a:pt x="306" y="493"/>
                    </a:lnTo>
                    <a:lnTo>
                      <a:pt x="307" y="493"/>
                    </a:lnTo>
                    <a:lnTo>
                      <a:pt x="307" y="492"/>
                    </a:lnTo>
                    <a:lnTo>
                      <a:pt x="307" y="491"/>
                    </a:lnTo>
                    <a:lnTo>
                      <a:pt x="309" y="490"/>
                    </a:lnTo>
                    <a:lnTo>
                      <a:pt x="310" y="490"/>
                    </a:lnTo>
                    <a:lnTo>
                      <a:pt x="310" y="491"/>
                    </a:lnTo>
                    <a:lnTo>
                      <a:pt x="310" y="492"/>
                    </a:lnTo>
                    <a:lnTo>
                      <a:pt x="312" y="492"/>
                    </a:lnTo>
                    <a:lnTo>
                      <a:pt x="312" y="491"/>
                    </a:lnTo>
                    <a:lnTo>
                      <a:pt x="313" y="491"/>
                    </a:lnTo>
                    <a:lnTo>
                      <a:pt x="314" y="490"/>
                    </a:lnTo>
                    <a:lnTo>
                      <a:pt x="315" y="490"/>
                    </a:lnTo>
                    <a:lnTo>
                      <a:pt x="316" y="490"/>
                    </a:lnTo>
                    <a:lnTo>
                      <a:pt x="317" y="490"/>
                    </a:lnTo>
                    <a:lnTo>
                      <a:pt x="316" y="489"/>
                    </a:lnTo>
                    <a:lnTo>
                      <a:pt x="315" y="488"/>
                    </a:lnTo>
                    <a:lnTo>
                      <a:pt x="316" y="488"/>
                    </a:lnTo>
                    <a:lnTo>
                      <a:pt x="315" y="487"/>
                    </a:lnTo>
                    <a:lnTo>
                      <a:pt x="314" y="487"/>
                    </a:lnTo>
                    <a:lnTo>
                      <a:pt x="314" y="486"/>
                    </a:lnTo>
                    <a:lnTo>
                      <a:pt x="313" y="486"/>
                    </a:lnTo>
                    <a:lnTo>
                      <a:pt x="314" y="486"/>
                    </a:lnTo>
                    <a:lnTo>
                      <a:pt x="315" y="486"/>
                    </a:lnTo>
                    <a:lnTo>
                      <a:pt x="316" y="486"/>
                    </a:lnTo>
                    <a:lnTo>
                      <a:pt x="317" y="484"/>
                    </a:lnTo>
                    <a:lnTo>
                      <a:pt x="317" y="486"/>
                    </a:lnTo>
                    <a:close/>
                    <a:moveTo>
                      <a:pt x="331" y="508"/>
                    </a:moveTo>
                    <a:lnTo>
                      <a:pt x="332" y="508"/>
                    </a:lnTo>
                    <a:lnTo>
                      <a:pt x="333" y="508"/>
                    </a:lnTo>
                    <a:lnTo>
                      <a:pt x="335" y="509"/>
                    </a:lnTo>
                    <a:lnTo>
                      <a:pt x="333" y="509"/>
                    </a:lnTo>
                    <a:lnTo>
                      <a:pt x="333" y="511"/>
                    </a:lnTo>
                    <a:lnTo>
                      <a:pt x="332" y="512"/>
                    </a:lnTo>
                    <a:lnTo>
                      <a:pt x="331" y="513"/>
                    </a:lnTo>
                    <a:lnTo>
                      <a:pt x="330" y="513"/>
                    </a:lnTo>
                    <a:lnTo>
                      <a:pt x="329" y="514"/>
                    </a:lnTo>
                    <a:lnTo>
                      <a:pt x="328" y="515"/>
                    </a:lnTo>
                    <a:lnTo>
                      <a:pt x="327" y="515"/>
                    </a:lnTo>
                    <a:lnTo>
                      <a:pt x="326" y="515"/>
                    </a:lnTo>
                    <a:lnTo>
                      <a:pt x="326" y="516"/>
                    </a:lnTo>
                    <a:lnTo>
                      <a:pt x="325" y="516"/>
                    </a:lnTo>
                    <a:lnTo>
                      <a:pt x="324" y="516"/>
                    </a:lnTo>
                    <a:lnTo>
                      <a:pt x="323" y="516"/>
                    </a:lnTo>
                    <a:lnTo>
                      <a:pt x="316" y="516"/>
                    </a:lnTo>
                    <a:lnTo>
                      <a:pt x="315" y="516"/>
                    </a:lnTo>
                    <a:lnTo>
                      <a:pt x="314" y="515"/>
                    </a:lnTo>
                    <a:lnTo>
                      <a:pt x="312" y="515"/>
                    </a:lnTo>
                    <a:lnTo>
                      <a:pt x="311" y="515"/>
                    </a:lnTo>
                    <a:lnTo>
                      <a:pt x="310" y="514"/>
                    </a:lnTo>
                    <a:lnTo>
                      <a:pt x="309" y="512"/>
                    </a:lnTo>
                    <a:lnTo>
                      <a:pt x="307" y="512"/>
                    </a:lnTo>
                    <a:lnTo>
                      <a:pt x="306" y="512"/>
                    </a:lnTo>
                    <a:lnTo>
                      <a:pt x="305" y="512"/>
                    </a:lnTo>
                    <a:lnTo>
                      <a:pt x="304" y="511"/>
                    </a:lnTo>
                    <a:lnTo>
                      <a:pt x="303" y="511"/>
                    </a:lnTo>
                    <a:lnTo>
                      <a:pt x="302" y="509"/>
                    </a:lnTo>
                    <a:lnTo>
                      <a:pt x="301" y="509"/>
                    </a:lnTo>
                    <a:lnTo>
                      <a:pt x="300" y="509"/>
                    </a:lnTo>
                    <a:lnTo>
                      <a:pt x="299" y="509"/>
                    </a:lnTo>
                    <a:lnTo>
                      <a:pt x="299" y="508"/>
                    </a:lnTo>
                    <a:lnTo>
                      <a:pt x="299" y="507"/>
                    </a:lnTo>
                    <a:lnTo>
                      <a:pt x="300" y="508"/>
                    </a:lnTo>
                    <a:lnTo>
                      <a:pt x="301" y="508"/>
                    </a:lnTo>
                    <a:lnTo>
                      <a:pt x="302" y="508"/>
                    </a:lnTo>
                    <a:lnTo>
                      <a:pt x="303" y="508"/>
                    </a:lnTo>
                    <a:lnTo>
                      <a:pt x="304" y="508"/>
                    </a:lnTo>
                    <a:lnTo>
                      <a:pt x="305" y="509"/>
                    </a:lnTo>
                    <a:lnTo>
                      <a:pt x="307" y="511"/>
                    </a:lnTo>
                    <a:lnTo>
                      <a:pt x="309" y="511"/>
                    </a:lnTo>
                    <a:lnTo>
                      <a:pt x="309" y="512"/>
                    </a:lnTo>
                    <a:lnTo>
                      <a:pt x="310" y="512"/>
                    </a:lnTo>
                    <a:lnTo>
                      <a:pt x="311" y="512"/>
                    </a:lnTo>
                    <a:lnTo>
                      <a:pt x="312" y="511"/>
                    </a:lnTo>
                    <a:lnTo>
                      <a:pt x="313" y="511"/>
                    </a:lnTo>
                    <a:lnTo>
                      <a:pt x="314" y="511"/>
                    </a:lnTo>
                    <a:lnTo>
                      <a:pt x="315" y="512"/>
                    </a:lnTo>
                    <a:lnTo>
                      <a:pt x="315" y="513"/>
                    </a:lnTo>
                    <a:lnTo>
                      <a:pt x="315" y="514"/>
                    </a:lnTo>
                    <a:lnTo>
                      <a:pt x="317" y="514"/>
                    </a:lnTo>
                    <a:lnTo>
                      <a:pt x="318" y="513"/>
                    </a:lnTo>
                    <a:lnTo>
                      <a:pt x="320" y="514"/>
                    </a:lnTo>
                    <a:lnTo>
                      <a:pt x="320" y="513"/>
                    </a:lnTo>
                    <a:lnTo>
                      <a:pt x="322" y="513"/>
                    </a:lnTo>
                    <a:lnTo>
                      <a:pt x="323" y="513"/>
                    </a:lnTo>
                    <a:lnTo>
                      <a:pt x="324" y="513"/>
                    </a:lnTo>
                    <a:lnTo>
                      <a:pt x="325" y="513"/>
                    </a:lnTo>
                    <a:lnTo>
                      <a:pt x="326" y="513"/>
                    </a:lnTo>
                    <a:lnTo>
                      <a:pt x="327" y="513"/>
                    </a:lnTo>
                    <a:lnTo>
                      <a:pt x="327" y="512"/>
                    </a:lnTo>
                    <a:lnTo>
                      <a:pt x="327" y="511"/>
                    </a:lnTo>
                    <a:lnTo>
                      <a:pt x="326" y="511"/>
                    </a:lnTo>
                    <a:lnTo>
                      <a:pt x="326" y="509"/>
                    </a:lnTo>
                    <a:lnTo>
                      <a:pt x="327" y="508"/>
                    </a:lnTo>
                    <a:lnTo>
                      <a:pt x="326" y="508"/>
                    </a:lnTo>
                    <a:lnTo>
                      <a:pt x="325" y="508"/>
                    </a:lnTo>
                    <a:lnTo>
                      <a:pt x="324" y="508"/>
                    </a:lnTo>
                    <a:lnTo>
                      <a:pt x="324" y="507"/>
                    </a:lnTo>
                    <a:lnTo>
                      <a:pt x="325" y="507"/>
                    </a:lnTo>
                    <a:lnTo>
                      <a:pt x="326" y="507"/>
                    </a:lnTo>
                    <a:lnTo>
                      <a:pt x="327" y="507"/>
                    </a:lnTo>
                    <a:lnTo>
                      <a:pt x="328" y="507"/>
                    </a:lnTo>
                    <a:lnTo>
                      <a:pt x="329" y="508"/>
                    </a:lnTo>
                    <a:lnTo>
                      <a:pt x="331" y="508"/>
                    </a:lnTo>
                    <a:close/>
                    <a:moveTo>
                      <a:pt x="339" y="469"/>
                    </a:moveTo>
                    <a:lnTo>
                      <a:pt x="340" y="469"/>
                    </a:lnTo>
                    <a:lnTo>
                      <a:pt x="341" y="468"/>
                    </a:lnTo>
                    <a:lnTo>
                      <a:pt x="341" y="469"/>
                    </a:lnTo>
                    <a:lnTo>
                      <a:pt x="340" y="469"/>
                    </a:lnTo>
                    <a:lnTo>
                      <a:pt x="341" y="469"/>
                    </a:lnTo>
                    <a:lnTo>
                      <a:pt x="341" y="470"/>
                    </a:lnTo>
                    <a:lnTo>
                      <a:pt x="340" y="471"/>
                    </a:lnTo>
                    <a:lnTo>
                      <a:pt x="341" y="471"/>
                    </a:lnTo>
                    <a:lnTo>
                      <a:pt x="341" y="473"/>
                    </a:lnTo>
                    <a:lnTo>
                      <a:pt x="341" y="474"/>
                    </a:lnTo>
                    <a:lnTo>
                      <a:pt x="342" y="473"/>
                    </a:lnTo>
                    <a:lnTo>
                      <a:pt x="343" y="473"/>
                    </a:lnTo>
                    <a:lnTo>
                      <a:pt x="343" y="471"/>
                    </a:lnTo>
                    <a:lnTo>
                      <a:pt x="344" y="471"/>
                    </a:lnTo>
                    <a:lnTo>
                      <a:pt x="344" y="473"/>
                    </a:lnTo>
                    <a:lnTo>
                      <a:pt x="343" y="473"/>
                    </a:lnTo>
                    <a:lnTo>
                      <a:pt x="343" y="474"/>
                    </a:lnTo>
                    <a:lnTo>
                      <a:pt x="343" y="475"/>
                    </a:lnTo>
                    <a:lnTo>
                      <a:pt x="342" y="476"/>
                    </a:lnTo>
                    <a:lnTo>
                      <a:pt x="342" y="477"/>
                    </a:lnTo>
                    <a:lnTo>
                      <a:pt x="342" y="478"/>
                    </a:lnTo>
                    <a:lnTo>
                      <a:pt x="342" y="479"/>
                    </a:lnTo>
                    <a:lnTo>
                      <a:pt x="341" y="479"/>
                    </a:lnTo>
                    <a:lnTo>
                      <a:pt x="341" y="480"/>
                    </a:lnTo>
                    <a:lnTo>
                      <a:pt x="341" y="481"/>
                    </a:lnTo>
                    <a:lnTo>
                      <a:pt x="340" y="481"/>
                    </a:lnTo>
                    <a:lnTo>
                      <a:pt x="340" y="480"/>
                    </a:lnTo>
                    <a:lnTo>
                      <a:pt x="339" y="480"/>
                    </a:lnTo>
                    <a:lnTo>
                      <a:pt x="338" y="480"/>
                    </a:lnTo>
                    <a:lnTo>
                      <a:pt x="337" y="480"/>
                    </a:lnTo>
                    <a:lnTo>
                      <a:pt x="337" y="481"/>
                    </a:lnTo>
                    <a:lnTo>
                      <a:pt x="336" y="482"/>
                    </a:lnTo>
                    <a:lnTo>
                      <a:pt x="336" y="483"/>
                    </a:lnTo>
                    <a:lnTo>
                      <a:pt x="336" y="484"/>
                    </a:lnTo>
                    <a:lnTo>
                      <a:pt x="335" y="484"/>
                    </a:lnTo>
                    <a:lnTo>
                      <a:pt x="335" y="483"/>
                    </a:lnTo>
                    <a:lnTo>
                      <a:pt x="335" y="482"/>
                    </a:lnTo>
                    <a:lnTo>
                      <a:pt x="335" y="481"/>
                    </a:lnTo>
                    <a:lnTo>
                      <a:pt x="336" y="480"/>
                    </a:lnTo>
                    <a:lnTo>
                      <a:pt x="337" y="480"/>
                    </a:lnTo>
                    <a:lnTo>
                      <a:pt x="338" y="479"/>
                    </a:lnTo>
                    <a:lnTo>
                      <a:pt x="339" y="479"/>
                    </a:lnTo>
                    <a:lnTo>
                      <a:pt x="341" y="479"/>
                    </a:lnTo>
                    <a:lnTo>
                      <a:pt x="341" y="478"/>
                    </a:lnTo>
                    <a:lnTo>
                      <a:pt x="340" y="478"/>
                    </a:lnTo>
                    <a:lnTo>
                      <a:pt x="339" y="478"/>
                    </a:lnTo>
                    <a:lnTo>
                      <a:pt x="338" y="478"/>
                    </a:lnTo>
                    <a:lnTo>
                      <a:pt x="337" y="479"/>
                    </a:lnTo>
                    <a:lnTo>
                      <a:pt x="337" y="478"/>
                    </a:lnTo>
                    <a:lnTo>
                      <a:pt x="338" y="478"/>
                    </a:lnTo>
                    <a:lnTo>
                      <a:pt x="338" y="477"/>
                    </a:lnTo>
                    <a:lnTo>
                      <a:pt x="338" y="476"/>
                    </a:lnTo>
                    <a:lnTo>
                      <a:pt x="337" y="476"/>
                    </a:lnTo>
                    <a:lnTo>
                      <a:pt x="336" y="476"/>
                    </a:lnTo>
                    <a:lnTo>
                      <a:pt x="336" y="475"/>
                    </a:lnTo>
                    <a:lnTo>
                      <a:pt x="336" y="474"/>
                    </a:lnTo>
                    <a:lnTo>
                      <a:pt x="336" y="475"/>
                    </a:lnTo>
                    <a:lnTo>
                      <a:pt x="337" y="475"/>
                    </a:lnTo>
                    <a:lnTo>
                      <a:pt x="338" y="475"/>
                    </a:lnTo>
                    <a:lnTo>
                      <a:pt x="338" y="474"/>
                    </a:lnTo>
                    <a:lnTo>
                      <a:pt x="339" y="474"/>
                    </a:lnTo>
                    <a:lnTo>
                      <a:pt x="340" y="474"/>
                    </a:lnTo>
                    <a:lnTo>
                      <a:pt x="340" y="473"/>
                    </a:lnTo>
                    <a:lnTo>
                      <a:pt x="340" y="471"/>
                    </a:lnTo>
                    <a:lnTo>
                      <a:pt x="339" y="470"/>
                    </a:lnTo>
                    <a:lnTo>
                      <a:pt x="338" y="470"/>
                    </a:lnTo>
                    <a:lnTo>
                      <a:pt x="337" y="470"/>
                    </a:lnTo>
                    <a:lnTo>
                      <a:pt x="336" y="470"/>
                    </a:lnTo>
                    <a:lnTo>
                      <a:pt x="335" y="470"/>
                    </a:lnTo>
                    <a:lnTo>
                      <a:pt x="335" y="471"/>
                    </a:lnTo>
                    <a:lnTo>
                      <a:pt x="335" y="470"/>
                    </a:lnTo>
                    <a:lnTo>
                      <a:pt x="335" y="469"/>
                    </a:lnTo>
                    <a:lnTo>
                      <a:pt x="336" y="469"/>
                    </a:lnTo>
                    <a:lnTo>
                      <a:pt x="336" y="468"/>
                    </a:lnTo>
                    <a:lnTo>
                      <a:pt x="337" y="468"/>
                    </a:lnTo>
                    <a:lnTo>
                      <a:pt x="337" y="467"/>
                    </a:lnTo>
                    <a:lnTo>
                      <a:pt x="338" y="467"/>
                    </a:lnTo>
                    <a:lnTo>
                      <a:pt x="338" y="468"/>
                    </a:lnTo>
                    <a:lnTo>
                      <a:pt x="339" y="468"/>
                    </a:lnTo>
                    <a:lnTo>
                      <a:pt x="339" y="469"/>
                    </a:lnTo>
                    <a:close/>
                    <a:moveTo>
                      <a:pt x="422" y="400"/>
                    </a:moveTo>
                    <a:lnTo>
                      <a:pt x="423" y="401"/>
                    </a:lnTo>
                    <a:lnTo>
                      <a:pt x="425" y="401"/>
                    </a:lnTo>
                    <a:lnTo>
                      <a:pt x="425" y="404"/>
                    </a:lnTo>
                    <a:lnTo>
                      <a:pt x="423" y="404"/>
                    </a:lnTo>
                    <a:lnTo>
                      <a:pt x="422" y="405"/>
                    </a:lnTo>
                    <a:lnTo>
                      <a:pt x="423" y="406"/>
                    </a:lnTo>
                    <a:lnTo>
                      <a:pt x="423" y="407"/>
                    </a:lnTo>
                    <a:lnTo>
                      <a:pt x="425" y="407"/>
                    </a:lnTo>
                    <a:lnTo>
                      <a:pt x="426" y="409"/>
                    </a:lnTo>
                    <a:lnTo>
                      <a:pt x="426" y="410"/>
                    </a:lnTo>
                    <a:lnTo>
                      <a:pt x="427" y="410"/>
                    </a:lnTo>
                    <a:lnTo>
                      <a:pt x="427" y="411"/>
                    </a:lnTo>
                    <a:lnTo>
                      <a:pt x="426" y="411"/>
                    </a:lnTo>
                    <a:lnTo>
                      <a:pt x="425" y="411"/>
                    </a:lnTo>
                    <a:lnTo>
                      <a:pt x="426" y="412"/>
                    </a:lnTo>
                    <a:lnTo>
                      <a:pt x="427" y="412"/>
                    </a:lnTo>
                    <a:lnTo>
                      <a:pt x="428" y="412"/>
                    </a:lnTo>
                    <a:lnTo>
                      <a:pt x="428" y="411"/>
                    </a:lnTo>
                    <a:lnTo>
                      <a:pt x="429" y="411"/>
                    </a:lnTo>
                    <a:lnTo>
                      <a:pt x="429" y="410"/>
                    </a:lnTo>
                    <a:lnTo>
                      <a:pt x="429" y="409"/>
                    </a:lnTo>
                    <a:lnTo>
                      <a:pt x="430" y="409"/>
                    </a:lnTo>
                    <a:lnTo>
                      <a:pt x="430" y="412"/>
                    </a:lnTo>
                    <a:lnTo>
                      <a:pt x="429" y="413"/>
                    </a:lnTo>
                    <a:lnTo>
                      <a:pt x="430" y="413"/>
                    </a:lnTo>
                    <a:lnTo>
                      <a:pt x="430" y="414"/>
                    </a:lnTo>
                    <a:lnTo>
                      <a:pt x="431" y="414"/>
                    </a:lnTo>
                    <a:lnTo>
                      <a:pt x="431" y="415"/>
                    </a:lnTo>
                    <a:lnTo>
                      <a:pt x="431" y="416"/>
                    </a:lnTo>
                    <a:lnTo>
                      <a:pt x="432" y="417"/>
                    </a:lnTo>
                    <a:lnTo>
                      <a:pt x="431" y="418"/>
                    </a:lnTo>
                    <a:lnTo>
                      <a:pt x="432" y="418"/>
                    </a:lnTo>
                    <a:lnTo>
                      <a:pt x="432" y="419"/>
                    </a:lnTo>
                    <a:lnTo>
                      <a:pt x="431" y="421"/>
                    </a:lnTo>
                    <a:lnTo>
                      <a:pt x="430" y="422"/>
                    </a:lnTo>
                    <a:lnTo>
                      <a:pt x="429" y="422"/>
                    </a:lnTo>
                    <a:lnTo>
                      <a:pt x="429" y="421"/>
                    </a:lnTo>
                    <a:lnTo>
                      <a:pt x="430" y="421"/>
                    </a:lnTo>
                    <a:lnTo>
                      <a:pt x="430" y="419"/>
                    </a:lnTo>
                    <a:lnTo>
                      <a:pt x="430" y="418"/>
                    </a:lnTo>
                    <a:lnTo>
                      <a:pt x="430" y="417"/>
                    </a:lnTo>
                    <a:lnTo>
                      <a:pt x="430" y="416"/>
                    </a:lnTo>
                    <a:lnTo>
                      <a:pt x="429" y="415"/>
                    </a:lnTo>
                    <a:lnTo>
                      <a:pt x="429" y="416"/>
                    </a:lnTo>
                    <a:lnTo>
                      <a:pt x="428" y="415"/>
                    </a:lnTo>
                    <a:lnTo>
                      <a:pt x="427" y="415"/>
                    </a:lnTo>
                    <a:lnTo>
                      <a:pt x="426" y="415"/>
                    </a:lnTo>
                    <a:lnTo>
                      <a:pt x="426" y="414"/>
                    </a:lnTo>
                    <a:lnTo>
                      <a:pt x="425" y="414"/>
                    </a:lnTo>
                    <a:lnTo>
                      <a:pt x="425" y="413"/>
                    </a:lnTo>
                    <a:lnTo>
                      <a:pt x="423" y="412"/>
                    </a:lnTo>
                    <a:lnTo>
                      <a:pt x="423" y="411"/>
                    </a:lnTo>
                    <a:lnTo>
                      <a:pt x="423" y="410"/>
                    </a:lnTo>
                    <a:lnTo>
                      <a:pt x="423" y="409"/>
                    </a:lnTo>
                    <a:lnTo>
                      <a:pt x="423" y="407"/>
                    </a:lnTo>
                    <a:lnTo>
                      <a:pt x="422" y="407"/>
                    </a:lnTo>
                    <a:lnTo>
                      <a:pt x="422" y="406"/>
                    </a:lnTo>
                    <a:lnTo>
                      <a:pt x="421" y="406"/>
                    </a:lnTo>
                    <a:lnTo>
                      <a:pt x="421" y="405"/>
                    </a:lnTo>
                    <a:lnTo>
                      <a:pt x="421" y="404"/>
                    </a:lnTo>
                    <a:lnTo>
                      <a:pt x="421" y="403"/>
                    </a:lnTo>
                    <a:lnTo>
                      <a:pt x="421" y="402"/>
                    </a:lnTo>
                    <a:lnTo>
                      <a:pt x="421" y="401"/>
                    </a:lnTo>
                    <a:lnTo>
                      <a:pt x="422" y="401"/>
                    </a:lnTo>
                    <a:lnTo>
                      <a:pt x="422" y="400"/>
                    </a:lnTo>
                    <a:close/>
                    <a:moveTo>
                      <a:pt x="204" y="412"/>
                    </a:moveTo>
                    <a:lnTo>
                      <a:pt x="206" y="412"/>
                    </a:lnTo>
                    <a:lnTo>
                      <a:pt x="206" y="411"/>
                    </a:lnTo>
                    <a:lnTo>
                      <a:pt x="207" y="412"/>
                    </a:lnTo>
                    <a:lnTo>
                      <a:pt x="208" y="412"/>
                    </a:lnTo>
                    <a:lnTo>
                      <a:pt x="209" y="412"/>
                    </a:lnTo>
                    <a:lnTo>
                      <a:pt x="209" y="413"/>
                    </a:lnTo>
                    <a:lnTo>
                      <a:pt x="209" y="415"/>
                    </a:lnTo>
                    <a:lnTo>
                      <a:pt x="210" y="416"/>
                    </a:lnTo>
                    <a:lnTo>
                      <a:pt x="210" y="417"/>
                    </a:lnTo>
                    <a:lnTo>
                      <a:pt x="209" y="417"/>
                    </a:lnTo>
                    <a:lnTo>
                      <a:pt x="209" y="416"/>
                    </a:lnTo>
                    <a:lnTo>
                      <a:pt x="208" y="417"/>
                    </a:lnTo>
                    <a:lnTo>
                      <a:pt x="208" y="416"/>
                    </a:lnTo>
                    <a:lnTo>
                      <a:pt x="207" y="416"/>
                    </a:lnTo>
                    <a:lnTo>
                      <a:pt x="207" y="417"/>
                    </a:lnTo>
                    <a:lnTo>
                      <a:pt x="206" y="418"/>
                    </a:lnTo>
                    <a:lnTo>
                      <a:pt x="206" y="419"/>
                    </a:lnTo>
                    <a:lnTo>
                      <a:pt x="207" y="421"/>
                    </a:lnTo>
                    <a:lnTo>
                      <a:pt x="206" y="421"/>
                    </a:lnTo>
                    <a:lnTo>
                      <a:pt x="206" y="419"/>
                    </a:lnTo>
                    <a:lnTo>
                      <a:pt x="204" y="419"/>
                    </a:lnTo>
                    <a:lnTo>
                      <a:pt x="203" y="421"/>
                    </a:lnTo>
                    <a:lnTo>
                      <a:pt x="203" y="422"/>
                    </a:lnTo>
                    <a:lnTo>
                      <a:pt x="202" y="422"/>
                    </a:lnTo>
                    <a:lnTo>
                      <a:pt x="202" y="421"/>
                    </a:lnTo>
                    <a:lnTo>
                      <a:pt x="202" y="419"/>
                    </a:lnTo>
                    <a:lnTo>
                      <a:pt x="202" y="418"/>
                    </a:lnTo>
                    <a:lnTo>
                      <a:pt x="201" y="417"/>
                    </a:lnTo>
                    <a:lnTo>
                      <a:pt x="202" y="417"/>
                    </a:lnTo>
                    <a:lnTo>
                      <a:pt x="202" y="416"/>
                    </a:lnTo>
                    <a:lnTo>
                      <a:pt x="202" y="415"/>
                    </a:lnTo>
                    <a:lnTo>
                      <a:pt x="202" y="414"/>
                    </a:lnTo>
                    <a:lnTo>
                      <a:pt x="203" y="414"/>
                    </a:lnTo>
                    <a:lnTo>
                      <a:pt x="203" y="413"/>
                    </a:lnTo>
                    <a:lnTo>
                      <a:pt x="202" y="413"/>
                    </a:lnTo>
                    <a:lnTo>
                      <a:pt x="202" y="412"/>
                    </a:lnTo>
                    <a:lnTo>
                      <a:pt x="203" y="411"/>
                    </a:lnTo>
                    <a:lnTo>
                      <a:pt x="203" y="412"/>
                    </a:lnTo>
                    <a:lnTo>
                      <a:pt x="204" y="412"/>
                    </a:lnTo>
                    <a:close/>
                    <a:moveTo>
                      <a:pt x="260" y="512"/>
                    </a:moveTo>
                    <a:lnTo>
                      <a:pt x="263" y="512"/>
                    </a:lnTo>
                    <a:lnTo>
                      <a:pt x="265" y="512"/>
                    </a:lnTo>
                    <a:lnTo>
                      <a:pt x="265" y="513"/>
                    </a:lnTo>
                    <a:lnTo>
                      <a:pt x="264" y="513"/>
                    </a:lnTo>
                    <a:lnTo>
                      <a:pt x="263" y="513"/>
                    </a:lnTo>
                    <a:lnTo>
                      <a:pt x="262" y="513"/>
                    </a:lnTo>
                    <a:lnTo>
                      <a:pt x="260" y="513"/>
                    </a:lnTo>
                    <a:lnTo>
                      <a:pt x="258" y="512"/>
                    </a:lnTo>
                    <a:lnTo>
                      <a:pt x="257" y="511"/>
                    </a:lnTo>
                    <a:lnTo>
                      <a:pt x="255" y="511"/>
                    </a:lnTo>
                    <a:lnTo>
                      <a:pt x="254" y="509"/>
                    </a:lnTo>
                    <a:lnTo>
                      <a:pt x="253" y="508"/>
                    </a:lnTo>
                    <a:lnTo>
                      <a:pt x="252" y="508"/>
                    </a:lnTo>
                    <a:lnTo>
                      <a:pt x="251" y="507"/>
                    </a:lnTo>
                    <a:lnTo>
                      <a:pt x="250" y="507"/>
                    </a:lnTo>
                    <a:lnTo>
                      <a:pt x="249" y="506"/>
                    </a:lnTo>
                    <a:lnTo>
                      <a:pt x="248" y="505"/>
                    </a:lnTo>
                    <a:lnTo>
                      <a:pt x="247" y="505"/>
                    </a:lnTo>
                    <a:lnTo>
                      <a:pt x="246" y="504"/>
                    </a:lnTo>
                    <a:lnTo>
                      <a:pt x="242" y="502"/>
                    </a:lnTo>
                    <a:lnTo>
                      <a:pt x="241" y="501"/>
                    </a:lnTo>
                    <a:lnTo>
                      <a:pt x="240" y="500"/>
                    </a:lnTo>
                    <a:lnTo>
                      <a:pt x="241" y="500"/>
                    </a:lnTo>
                    <a:lnTo>
                      <a:pt x="242" y="500"/>
                    </a:lnTo>
                    <a:lnTo>
                      <a:pt x="244" y="500"/>
                    </a:lnTo>
                    <a:lnTo>
                      <a:pt x="245" y="501"/>
                    </a:lnTo>
                    <a:lnTo>
                      <a:pt x="246" y="502"/>
                    </a:lnTo>
                    <a:lnTo>
                      <a:pt x="251" y="506"/>
                    </a:lnTo>
                    <a:lnTo>
                      <a:pt x="252" y="506"/>
                    </a:lnTo>
                    <a:lnTo>
                      <a:pt x="253" y="507"/>
                    </a:lnTo>
                    <a:lnTo>
                      <a:pt x="255" y="508"/>
                    </a:lnTo>
                    <a:lnTo>
                      <a:pt x="255" y="509"/>
                    </a:lnTo>
                    <a:lnTo>
                      <a:pt x="257" y="509"/>
                    </a:lnTo>
                    <a:lnTo>
                      <a:pt x="258" y="511"/>
                    </a:lnTo>
                    <a:lnTo>
                      <a:pt x="259" y="511"/>
                    </a:lnTo>
                    <a:lnTo>
                      <a:pt x="260" y="512"/>
                    </a:lnTo>
                    <a:close/>
                    <a:moveTo>
                      <a:pt x="425" y="399"/>
                    </a:moveTo>
                    <a:lnTo>
                      <a:pt x="422" y="399"/>
                    </a:lnTo>
                    <a:lnTo>
                      <a:pt x="422" y="398"/>
                    </a:lnTo>
                    <a:lnTo>
                      <a:pt x="421" y="397"/>
                    </a:lnTo>
                    <a:lnTo>
                      <a:pt x="421" y="396"/>
                    </a:lnTo>
                    <a:lnTo>
                      <a:pt x="421" y="394"/>
                    </a:lnTo>
                    <a:lnTo>
                      <a:pt x="421" y="392"/>
                    </a:lnTo>
                    <a:lnTo>
                      <a:pt x="421" y="391"/>
                    </a:lnTo>
                    <a:lnTo>
                      <a:pt x="421" y="390"/>
                    </a:lnTo>
                    <a:lnTo>
                      <a:pt x="422" y="390"/>
                    </a:lnTo>
                    <a:lnTo>
                      <a:pt x="422" y="391"/>
                    </a:lnTo>
                    <a:lnTo>
                      <a:pt x="423" y="391"/>
                    </a:lnTo>
                    <a:lnTo>
                      <a:pt x="423" y="392"/>
                    </a:lnTo>
                    <a:lnTo>
                      <a:pt x="425" y="392"/>
                    </a:lnTo>
                    <a:lnTo>
                      <a:pt x="425" y="393"/>
                    </a:lnTo>
                    <a:lnTo>
                      <a:pt x="426" y="393"/>
                    </a:lnTo>
                    <a:lnTo>
                      <a:pt x="426" y="394"/>
                    </a:lnTo>
                    <a:lnTo>
                      <a:pt x="427" y="394"/>
                    </a:lnTo>
                    <a:lnTo>
                      <a:pt x="427" y="396"/>
                    </a:lnTo>
                    <a:lnTo>
                      <a:pt x="427" y="397"/>
                    </a:lnTo>
                    <a:lnTo>
                      <a:pt x="426" y="398"/>
                    </a:lnTo>
                    <a:lnTo>
                      <a:pt x="425" y="399"/>
                    </a:lnTo>
                    <a:close/>
                    <a:moveTo>
                      <a:pt x="388" y="454"/>
                    </a:moveTo>
                    <a:lnTo>
                      <a:pt x="389" y="454"/>
                    </a:lnTo>
                    <a:lnTo>
                      <a:pt x="389" y="455"/>
                    </a:lnTo>
                    <a:lnTo>
                      <a:pt x="390" y="455"/>
                    </a:lnTo>
                    <a:lnTo>
                      <a:pt x="391" y="455"/>
                    </a:lnTo>
                    <a:lnTo>
                      <a:pt x="392" y="455"/>
                    </a:lnTo>
                    <a:lnTo>
                      <a:pt x="391" y="456"/>
                    </a:lnTo>
                    <a:lnTo>
                      <a:pt x="391" y="455"/>
                    </a:lnTo>
                    <a:lnTo>
                      <a:pt x="390" y="456"/>
                    </a:lnTo>
                    <a:lnTo>
                      <a:pt x="390" y="457"/>
                    </a:lnTo>
                    <a:lnTo>
                      <a:pt x="390" y="458"/>
                    </a:lnTo>
                    <a:lnTo>
                      <a:pt x="390" y="460"/>
                    </a:lnTo>
                    <a:lnTo>
                      <a:pt x="390" y="461"/>
                    </a:lnTo>
                    <a:lnTo>
                      <a:pt x="391" y="461"/>
                    </a:lnTo>
                    <a:lnTo>
                      <a:pt x="391" y="462"/>
                    </a:lnTo>
                    <a:lnTo>
                      <a:pt x="391" y="463"/>
                    </a:lnTo>
                    <a:lnTo>
                      <a:pt x="391" y="464"/>
                    </a:lnTo>
                    <a:lnTo>
                      <a:pt x="392" y="464"/>
                    </a:lnTo>
                    <a:lnTo>
                      <a:pt x="392" y="463"/>
                    </a:lnTo>
                    <a:lnTo>
                      <a:pt x="393" y="463"/>
                    </a:lnTo>
                    <a:lnTo>
                      <a:pt x="393" y="462"/>
                    </a:lnTo>
                    <a:lnTo>
                      <a:pt x="393" y="463"/>
                    </a:lnTo>
                    <a:lnTo>
                      <a:pt x="392" y="464"/>
                    </a:lnTo>
                    <a:lnTo>
                      <a:pt x="392" y="465"/>
                    </a:lnTo>
                    <a:lnTo>
                      <a:pt x="391" y="465"/>
                    </a:lnTo>
                    <a:lnTo>
                      <a:pt x="390" y="465"/>
                    </a:lnTo>
                    <a:lnTo>
                      <a:pt x="390" y="464"/>
                    </a:lnTo>
                    <a:lnTo>
                      <a:pt x="391" y="464"/>
                    </a:lnTo>
                    <a:lnTo>
                      <a:pt x="390" y="464"/>
                    </a:lnTo>
                    <a:lnTo>
                      <a:pt x="390" y="463"/>
                    </a:lnTo>
                    <a:lnTo>
                      <a:pt x="390" y="462"/>
                    </a:lnTo>
                    <a:lnTo>
                      <a:pt x="390" y="461"/>
                    </a:lnTo>
                    <a:lnTo>
                      <a:pt x="389" y="460"/>
                    </a:lnTo>
                    <a:lnTo>
                      <a:pt x="389" y="458"/>
                    </a:lnTo>
                    <a:lnTo>
                      <a:pt x="388" y="458"/>
                    </a:lnTo>
                    <a:lnTo>
                      <a:pt x="388" y="457"/>
                    </a:lnTo>
                    <a:lnTo>
                      <a:pt x="387" y="457"/>
                    </a:lnTo>
                    <a:lnTo>
                      <a:pt x="387" y="456"/>
                    </a:lnTo>
                    <a:lnTo>
                      <a:pt x="387" y="455"/>
                    </a:lnTo>
                    <a:lnTo>
                      <a:pt x="388" y="455"/>
                    </a:lnTo>
                    <a:lnTo>
                      <a:pt x="388" y="454"/>
                    </a:lnTo>
                    <a:close/>
                    <a:moveTo>
                      <a:pt x="559" y="367"/>
                    </a:moveTo>
                    <a:lnTo>
                      <a:pt x="560" y="367"/>
                    </a:lnTo>
                    <a:lnTo>
                      <a:pt x="560" y="368"/>
                    </a:lnTo>
                    <a:lnTo>
                      <a:pt x="561" y="368"/>
                    </a:lnTo>
                    <a:lnTo>
                      <a:pt x="560" y="370"/>
                    </a:lnTo>
                    <a:lnTo>
                      <a:pt x="559" y="370"/>
                    </a:lnTo>
                    <a:lnTo>
                      <a:pt x="559" y="371"/>
                    </a:lnTo>
                    <a:lnTo>
                      <a:pt x="558" y="371"/>
                    </a:lnTo>
                    <a:lnTo>
                      <a:pt x="557" y="371"/>
                    </a:lnTo>
                    <a:lnTo>
                      <a:pt x="556" y="371"/>
                    </a:lnTo>
                    <a:lnTo>
                      <a:pt x="556" y="370"/>
                    </a:lnTo>
                    <a:lnTo>
                      <a:pt x="556" y="368"/>
                    </a:lnTo>
                    <a:lnTo>
                      <a:pt x="556" y="367"/>
                    </a:lnTo>
                    <a:lnTo>
                      <a:pt x="556" y="366"/>
                    </a:lnTo>
                    <a:lnTo>
                      <a:pt x="556" y="365"/>
                    </a:lnTo>
                    <a:lnTo>
                      <a:pt x="555" y="364"/>
                    </a:lnTo>
                    <a:lnTo>
                      <a:pt x="555" y="363"/>
                    </a:lnTo>
                    <a:lnTo>
                      <a:pt x="555" y="362"/>
                    </a:lnTo>
                    <a:lnTo>
                      <a:pt x="555" y="363"/>
                    </a:lnTo>
                    <a:lnTo>
                      <a:pt x="556" y="364"/>
                    </a:lnTo>
                    <a:lnTo>
                      <a:pt x="556" y="365"/>
                    </a:lnTo>
                    <a:lnTo>
                      <a:pt x="557" y="365"/>
                    </a:lnTo>
                    <a:lnTo>
                      <a:pt x="557" y="366"/>
                    </a:lnTo>
                    <a:lnTo>
                      <a:pt x="558" y="366"/>
                    </a:lnTo>
                    <a:lnTo>
                      <a:pt x="559" y="367"/>
                    </a:lnTo>
                    <a:close/>
                    <a:moveTo>
                      <a:pt x="470" y="378"/>
                    </a:moveTo>
                    <a:lnTo>
                      <a:pt x="471" y="378"/>
                    </a:lnTo>
                    <a:lnTo>
                      <a:pt x="471" y="377"/>
                    </a:lnTo>
                    <a:lnTo>
                      <a:pt x="472" y="377"/>
                    </a:lnTo>
                    <a:lnTo>
                      <a:pt x="471" y="378"/>
                    </a:lnTo>
                    <a:lnTo>
                      <a:pt x="471" y="379"/>
                    </a:lnTo>
                    <a:lnTo>
                      <a:pt x="470" y="379"/>
                    </a:lnTo>
                    <a:lnTo>
                      <a:pt x="470" y="380"/>
                    </a:lnTo>
                    <a:lnTo>
                      <a:pt x="470" y="381"/>
                    </a:lnTo>
                    <a:lnTo>
                      <a:pt x="471" y="381"/>
                    </a:lnTo>
                    <a:lnTo>
                      <a:pt x="473" y="384"/>
                    </a:lnTo>
                    <a:lnTo>
                      <a:pt x="474" y="385"/>
                    </a:lnTo>
                    <a:lnTo>
                      <a:pt x="475" y="385"/>
                    </a:lnTo>
                    <a:lnTo>
                      <a:pt x="475" y="386"/>
                    </a:lnTo>
                    <a:lnTo>
                      <a:pt x="474" y="386"/>
                    </a:lnTo>
                    <a:lnTo>
                      <a:pt x="473" y="385"/>
                    </a:lnTo>
                    <a:lnTo>
                      <a:pt x="473" y="384"/>
                    </a:lnTo>
                    <a:lnTo>
                      <a:pt x="472" y="384"/>
                    </a:lnTo>
                    <a:lnTo>
                      <a:pt x="472" y="383"/>
                    </a:lnTo>
                    <a:lnTo>
                      <a:pt x="471" y="383"/>
                    </a:lnTo>
                    <a:lnTo>
                      <a:pt x="470" y="383"/>
                    </a:lnTo>
                    <a:lnTo>
                      <a:pt x="470" y="381"/>
                    </a:lnTo>
                    <a:lnTo>
                      <a:pt x="469" y="381"/>
                    </a:lnTo>
                    <a:lnTo>
                      <a:pt x="469" y="380"/>
                    </a:lnTo>
                    <a:lnTo>
                      <a:pt x="468" y="380"/>
                    </a:lnTo>
                    <a:lnTo>
                      <a:pt x="468" y="379"/>
                    </a:lnTo>
                    <a:lnTo>
                      <a:pt x="467" y="379"/>
                    </a:lnTo>
                    <a:lnTo>
                      <a:pt x="467" y="378"/>
                    </a:lnTo>
                    <a:lnTo>
                      <a:pt x="467" y="377"/>
                    </a:lnTo>
                    <a:lnTo>
                      <a:pt x="468" y="377"/>
                    </a:lnTo>
                    <a:lnTo>
                      <a:pt x="469" y="378"/>
                    </a:lnTo>
                    <a:lnTo>
                      <a:pt x="470" y="378"/>
                    </a:lnTo>
                    <a:close/>
                    <a:moveTo>
                      <a:pt x="459" y="342"/>
                    </a:moveTo>
                    <a:lnTo>
                      <a:pt x="459" y="344"/>
                    </a:lnTo>
                    <a:lnTo>
                      <a:pt x="459" y="345"/>
                    </a:lnTo>
                    <a:lnTo>
                      <a:pt x="460" y="346"/>
                    </a:lnTo>
                    <a:lnTo>
                      <a:pt x="459" y="346"/>
                    </a:lnTo>
                    <a:lnTo>
                      <a:pt x="459" y="347"/>
                    </a:lnTo>
                    <a:lnTo>
                      <a:pt x="458" y="347"/>
                    </a:lnTo>
                    <a:lnTo>
                      <a:pt x="458" y="348"/>
                    </a:lnTo>
                    <a:lnTo>
                      <a:pt x="457" y="347"/>
                    </a:lnTo>
                    <a:lnTo>
                      <a:pt x="457" y="346"/>
                    </a:lnTo>
                    <a:lnTo>
                      <a:pt x="458" y="346"/>
                    </a:lnTo>
                    <a:lnTo>
                      <a:pt x="458" y="345"/>
                    </a:lnTo>
                    <a:lnTo>
                      <a:pt x="458" y="344"/>
                    </a:lnTo>
                    <a:lnTo>
                      <a:pt x="458" y="342"/>
                    </a:lnTo>
                    <a:lnTo>
                      <a:pt x="458" y="344"/>
                    </a:lnTo>
                    <a:lnTo>
                      <a:pt x="457" y="344"/>
                    </a:lnTo>
                    <a:lnTo>
                      <a:pt x="457" y="342"/>
                    </a:lnTo>
                    <a:lnTo>
                      <a:pt x="457" y="341"/>
                    </a:lnTo>
                    <a:lnTo>
                      <a:pt x="456" y="341"/>
                    </a:lnTo>
                    <a:lnTo>
                      <a:pt x="456" y="340"/>
                    </a:lnTo>
                    <a:lnTo>
                      <a:pt x="457" y="340"/>
                    </a:lnTo>
                    <a:lnTo>
                      <a:pt x="456" y="340"/>
                    </a:lnTo>
                    <a:lnTo>
                      <a:pt x="456" y="339"/>
                    </a:lnTo>
                    <a:lnTo>
                      <a:pt x="457" y="339"/>
                    </a:lnTo>
                    <a:lnTo>
                      <a:pt x="458" y="339"/>
                    </a:lnTo>
                    <a:lnTo>
                      <a:pt x="458" y="340"/>
                    </a:lnTo>
                    <a:lnTo>
                      <a:pt x="458" y="341"/>
                    </a:lnTo>
                    <a:lnTo>
                      <a:pt x="459" y="341"/>
                    </a:lnTo>
                    <a:lnTo>
                      <a:pt x="459" y="342"/>
                    </a:lnTo>
                    <a:close/>
                    <a:moveTo>
                      <a:pt x="324" y="500"/>
                    </a:moveTo>
                    <a:lnTo>
                      <a:pt x="323" y="500"/>
                    </a:lnTo>
                    <a:lnTo>
                      <a:pt x="322" y="500"/>
                    </a:lnTo>
                    <a:lnTo>
                      <a:pt x="322" y="501"/>
                    </a:lnTo>
                    <a:lnTo>
                      <a:pt x="320" y="501"/>
                    </a:lnTo>
                    <a:lnTo>
                      <a:pt x="320" y="500"/>
                    </a:lnTo>
                    <a:lnTo>
                      <a:pt x="322" y="499"/>
                    </a:lnTo>
                    <a:lnTo>
                      <a:pt x="320" y="499"/>
                    </a:lnTo>
                    <a:lnTo>
                      <a:pt x="322" y="496"/>
                    </a:lnTo>
                    <a:lnTo>
                      <a:pt x="322" y="495"/>
                    </a:lnTo>
                    <a:lnTo>
                      <a:pt x="322" y="494"/>
                    </a:lnTo>
                    <a:lnTo>
                      <a:pt x="323" y="494"/>
                    </a:lnTo>
                    <a:lnTo>
                      <a:pt x="323" y="495"/>
                    </a:lnTo>
                    <a:lnTo>
                      <a:pt x="323" y="496"/>
                    </a:lnTo>
                    <a:lnTo>
                      <a:pt x="324" y="496"/>
                    </a:lnTo>
                    <a:lnTo>
                      <a:pt x="324" y="497"/>
                    </a:lnTo>
                    <a:lnTo>
                      <a:pt x="324" y="499"/>
                    </a:lnTo>
                    <a:lnTo>
                      <a:pt x="324" y="500"/>
                    </a:lnTo>
                    <a:close/>
                    <a:moveTo>
                      <a:pt x="309" y="484"/>
                    </a:moveTo>
                    <a:lnTo>
                      <a:pt x="309" y="483"/>
                    </a:lnTo>
                    <a:lnTo>
                      <a:pt x="310" y="483"/>
                    </a:lnTo>
                    <a:lnTo>
                      <a:pt x="310" y="484"/>
                    </a:lnTo>
                    <a:lnTo>
                      <a:pt x="311" y="484"/>
                    </a:lnTo>
                    <a:lnTo>
                      <a:pt x="312" y="484"/>
                    </a:lnTo>
                    <a:lnTo>
                      <a:pt x="311" y="486"/>
                    </a:lnTo>
                    <a:lnTo>
                      <a:pt x="310" y="486"/>
                    </a:lnTo>
                    <a:lnTo>
                      <a:pt x="309" y="486"/>
                    </a:lnTo>
                    <a:lnTo>
                      <a:pt x="307" y="487"/>
                    </a:lnTo>
                    <a:lnTo>
                      <a:pt x="307" y="486"/>
                    </a:lnTo>
                    <a:lnTo>
                      <a:pt x="306" y="486"/>
                    </a:lnTo>
                    <a:lnTo>
                      <a:pt x="306" y="484"/>
                    </a:lnTo>
                    <a:lnTo>
                      <a:pt x="306" y="483"/>
                    </a:lnTo>
                    <a:lnTo>
                      <a:pt x="306" y="482"/>
                    </a:lnTo>
                    <a:lnTo>
                      <a:pt x="306" y="483"/>
                    </a:lnTo>
                    <a:lnTo>
                      <a:pt x="307" y="483"/>
                    </a:lnTo>
                    <a:lnTo>
                      <a:pt x="309" y="484"/>
                    </a:lnTo>
                    <a:close/>
                    <a:moveTo>
                      <a:pt x="193" y="415"/>
                    </a:moveTo>
                    <a:lnTo>
                      <a:pt x="193" y="416"/>
                    </a:lnTo>
                    <a:lnTo>
                      <a:pt x="191" y="415"/>
                    </a:lnTo>
                    <a:lnTo>
                      <a:pt x="190" y="415"/>
                    </a:lnTo>
                    <a:lnTo>
                      <a:pt x="190" y="414"/>
                    </a:lnTo>
                    <a:lnTo>
                      <a:pt x="189" y="414"/>
                    </a:lnTo>
                    <a:lnTo>
                      <a:pt x="189" y="413"/>
                    </a:lnTo>
                    <a:lnTo>
                      <a:pt x="189" y="412"/>
                    </a:lnTo>
                    <a:lnTo>
                      <a:pt x="190" y="412"/>
                    </a:lnTo>
                    <a:lnTo>
                      <a:pt x="190" y="413"/>
                    </a:lnTo>
                    <a:lnTo>
                      <a:pt x="191" y="413"/>
                    </a:lnTo>
                    <a:lnTo>
                      <a:pt x="193" y="414"/>
                    </a:lnTo>
                    <a:lnTo>
                      <a:pt x="193" y="415"/>
                    </a:lnTo>
                    <a:close/>
                    <a:moveTo>
                      <a:pt x="402" y="453"/>
                    </a:moveTo>
                    <a:lnTo>
                      <a:pt x="402" y="454"/>
                    </a:lnTo>
                    <a:lnTo>
                      <a:pt x="401" y="454"/>
                    </a:lnTo>
                    <a:lnTo>
                      <a:pt x="402" y="454"/>
                    </a:lnTo>
                    <a:lnTo>
                      <a:pt x="403" y="454"/>
                    </a:lnTo>
                    <a:lnTo>
                      <a:pt x="403" y="455"/>
                    </a:lnTo>
                    <a:lnTo>
                      <a:pt x="402" y="455"/>
                    </a:lnTo>
                    <a:lnTo>
                      <a:pt x="402" y="456"/>
                    </a:lnTo>
                    <a:lnTo>
                      <a:pt x="402" y="457"/>
                    </a:lnTo>
                    <a:lnTo>
                      <a:pt x="402" y="458"/>
                    </a:lnTo>
                    <a:lnTo>
                      <a:pt x="402" y="460"/>
                    </a:lnTo>
                    <a:lnTo>
                      <a:pt x="402" y="458"/>
                    </a:lnTo>
                    <a:lnTo>
                      <a:pt x="402" y="457"/>
                    </a:lnTo>
                    <a:lnTo>
                      <a:pt x="401" y="457"/>
                    </a:lnTo>
                    <a:lnTo>
                      <a:pt x="401" y="456"/>
                    </a:lnTo>
                    <a:lnTo>
                      <a:pt x="401" y="455"/>
                    </a:lnTo>
                    <a:lnTo>
                      <a:pt x="400" y="455"/>
                    </a:lnTo>
                    <a:lnTo>
                      <a:pt x="400" y="456"/>
                    </a:lnTo>
                    <a:lnTo>
                      <a:pt x="400" y="455"/>
                    </a:lnTo>
                    <a:lnTo>
                      <a:pt x="400" y="454"/>
                    </a:lnTo>
                    <a:lnTo>
                      <a:pt x="400" y="453"/>
                    </a:lnTo>
                    <a:lnTo>
                      <a:pt x="401" y="453"/>
                    </a:lnTo>
                    <a:lnTo>
                      <a:pt x="402" y="453"/>
                    </a:lnTo>
                    <a:close/>
                    <a:moveTo>
                      <a:pt x="491" y="339"/>
                    </a:moveTo>
                    <a:lnTo>
                      <a:pt x="491" y="340"/>
                    </a:lnTo>
                    <a:lnTo>
                      <a:pt x="492" y="340"/>
                    </a:lnTo>
                    <a:lnTo>
                      <a:pt x="492" y="339"/>
                    </a:lnTo>
                    <a:lnTo>
                      <a:pt x="493" y="339"/>
                    </a:lnTo>
                    <a:lnTo>
                      <a:pt x="494" y="339"/>
                    </a:lnTo>
                    <a:lnTo>
                      <a:pt x="494" y="340"/>
                    </a:lnTo>
                    <a:lnTo>
                      <a:pt x="493" y="340"/>
                    </a:lnTo>
                    <a:lnTo>
                      <a:pt x="493" y="339"/>
                    </a:lnTo>
                    <a:lnTo>
                      <a:pt x="492" y="340"/>
                    </a:lnTo>
                    <a:lnTo>
                      <a:pt x="492" y="341"/>
                    </a:lnTo>
                    <a:lnTo>
                      <a:pt x="491" y="341"/>
                    </a:lnTo>
                    <a:lnTo>
                      <a:pt x="491" y="340"/>
                    </a:lnTo>
                    <a:lnTo>
                      <a:pt x="490" y="340"/>
                    </a:lnTo>
                    <a:lnTo>
                      <a:pt x="488" y="340"/>
                    </a:lnTo>
                    <a:lnTo>
                      <a:pt x="487" y="340"/>
                    </a:lnTo>
                    <a:lnTo>
                      <a:pt x="487" y="339"/>
                    </a:lnTo>
                    <a:lnTo>
                      <a:pt x="488" y="339"/>
                    </a:lnTo>
                    <a:lnTo>
                      <a:pt x="488" y="338"/>
                    </a:lnTo>
                    <a:lnTo>
                      <a:pt x="490" y="338"/>
                    </a:lnTo>
                    <a:lnTo>
                      <a:pt x="490" y="337"/>
                    </a:lnTo>
                    <a:lnTo>
                      <a:pt x="490" y="338"/>
                    </a:lnTo>
                    <a:lnTo>
                      <a:pt x="491" y="338"/>
                    </a:lnTo>
                    <a:lnTo>
                      <a:pt x="491" y="339"/>
                    </a:lnTo>
                    <a:close/>
                    <a:moveTo>
                      <a:pt x="480" y="400"/>
                    </a:moveTo>
                    <a:lnTo>
                      <a:pt x="481" y="400"/>
                    </a:lnTo>
                    <a:lnTo>
                      <a:pt x="481" y="401"/>
                    </a:lnTo>
                    <a:lnTo>
                      <a:pt x="482" y="401"/>
                    </a:lnTo>
                    <a:lnTo>
                      <a:pt x="483" y="401"/>
                    </a:lnTo>
                    <a:lnTo>
                      <a:pt x="483" y="402"/>
                    </a:lnTo>
                    <a:lnTo>
                      <a:pt x="482" y="402"/>
                    </a:lnTo>
                    <a:lnTo>
                      <a:pt x="482" y="401"/>
                    </a:lnTo>
                    <a:lnTo>
                      <a:pt x="481" y="401"/>
                    </a:lnTo>
                    <a:lnTo>
                      <a:pt x="480" y="401"/>
                    </a:lnTo>
                    <a:lnTo>
                      <a:pt x="479" y="401"/>
                    </a:lnTo>
                    <a:lnTo>
                      <a:pt x="479" y="400"/>
                    </a:lnTo>
                    <a:lnTo>
                      <a:pt x="478" y="401"/>
                    </a:lnTo>
                    <a:lnTo>
                      <a:pt x="477" y="400"/>
                    </a:lnTo>
                    <a:lnTo>
                      <a:pt x="475" y="400"/>
                    </a:lnTo>
                    <a:lnTo>
                      <a:pt x="474" y="400"/>
                    </a:lnTo>
                    <a:lnTo>
                      <a:pt x="474" y="399"/>
                    </a:lnTo>
                    <a:lnTo>
                      <a:pt x="475" y="399"/>
                    </a:lnTo>
                    <a:lnTo>
                      <a:pt x="475" y="400"/>
                    </a:lnTo>
                    <a:lnTo>
                      <a:pt x="477" y="400"/>
                    </a:lnTo>
                    <a:lnTo>
                      <a:pt x="478" y="400"/>
                    </a:lnTo>
                    <a:lnTo>
                      <a:pt x="478" y="399"/>
                    </a:lnTo>
                    <a:lnTo>
                      <a:pt x="479" y="399"/>
                    </a:lnTo>
                    <a:lnTo>
                      <a:pt x="479" y="400"/>
                    </a:lnTo>
                    <a:lnTo>
                      <a:pt x="480" y="400"/>
                    </a:lnTo>
                    <a:close/>
                    <a:moveTo>
                      <a:pt x="433" y="412"/>
                    </a:moveTo>
                    <a:lnTo>
                      <a:pt x="432" y="412"/>
                    </a:lnTo>
                    <a:lnTo>
                      <a:pt x="432" y="411"/>
                    </a:lnTo>
                    <a:lnTo>
                      <a:pt x="431" y="411"/>
                    </a:lnTo>
                    <a:lnTo>
                      <a:pt x="431" y="410"/>
                    </a:lnTo>
                    <a:lnTo>
                      <a:pt x="431" y="407"/>
                    </a:lnTo>
                    <a:lnTo>
                      <a:pt x="432" y="407"/>
                    </a:lnTo>
                    <a:lnTo>
                      <a:pt x="432" y="409"/>
                    </a:lnTo>
                    <a:lnTo>
                      <a:pt x="433" y="410"/>
                    </a:lnTo>
                    <a:lnTo>
                      <a:pt x="433" y="411"/>
                    </a:lnTo>
                    <a:lnTo>
                      <a:pt x="433" y="412"/>
                    </a:lnTo>
                    <a:close/>
                    <a:moveTo>
                      <a:pt x="452" y="412"/>
                    </a:moveTo>
                    <a:lnTo>
                      <a:pt x="451" y="412"/>
                    </a:lnTo>
                    <a:lnTo>
                      <a:pt x="448" y="410"/>
                    </a:lnTo>
                    <a:lnTo>
                      <a:pt x="448" y="409"/>
                    </a:lnTo>
                    <a:lnTo>
                      <a:pt x="449" y="409"/>
                    </a:lnTo>
                    <a:lnTo>
                      <a:pt x="451" y="409"/>
                    </a:lnTo>
                    <a:lnTo>
                      <a:pt x="451" y="410"/>
                    </a:lnTo>
                    <a:lnTo>
                      <a:pt x="452" y="410"/>
                    </a:lnTo>
                    <a:lnTo>
                      <a:pt x="452" y="411"/>
                    </a:lnTo>
                    <a:lnTo>
                      <a:pt x="452" y="412"/>
                    </a:lnTo>
                    <a:close/>
                    <a:moveTo>
                      <a:pt x="138" y="346"/>
                    </a:moveTo>
                    <a:lnTo>
                      <a:pt x="137" y="346"/>
                    </a:lnTo>
                    <a:lnTo>
                      <a:pt x="136" y="345"/>
                    </a:lnTo>
                    <a:lnTo>
                      <a:pt x="137" y="344"/>
                    </a:lnTo>
                    <a:lnTo>
                      <a:pt x="138" y="342"/>
                    </a:lnTo>
                    <a:lnTo>
                      <a:pt x="138" y="344"/>
                    </a:lnTo>
                    <a:lnTo>
                      <a:pt x="139" y="344"/>
                    </a:lnTo>
                    <a:lnTo>
                      <a:pt x="139" y="345"/>
                    </a:lnTo>
                    <a:lnTo>
                      <a:pt x="138" y="346"/>
                    </a:lnTo>
                    <a:close/>
                    <a:moveTo>
                      <a:pt x="431" y="429"/>
                    </a:moveTo>
                    <a:lnTo>
                      <a:pt x="430" y="429"/>
                    </a:lnTo>
                    <a:lnTo>
                      <a:pt x="430" y="428"/>
                    </a:lnTo>
                    <a:lnTo>
                      <a:pt x="430" y="427"/>
                    </a:lnTo>
                    <a:lnTo>
                      <a:pt x="429" y="426"/>
                    </a:lnTo>
                    <a:lnTo>
                      <a:pt x="429" y="425"/>
                    </a:lnTo>
                    <a:lnTo>
                      <a:pt x="430" y="425"/>
                    </a:lnTo>
                    <a:lnTo>
                      <a:pt x="430" y="426"/>
                    </a:lnTo>
                    <a:lnTo>
                      <a:pt x="431" y="427"/>
                    </a:lnTo>
                    <a:lnTo>
                      <a:pt x="431" y="429"/>
                    </a:lnTo>
                    <a:close/>
                    <a:moveTo>
                      <a:pt x="460" y="338"/>
                    </a:moveTo>
                    <a:lnTo>
                      <a:pt x="460" y="339"/>
                    </a:lnTo>
                    <a:lnTo>
                      <a:pt x="461" y="340"/>
                    </a:lnTo>
                    <a:lnTo>
                      <a:pt x="460" y="340"/>
                    </a:lnTo>
                    <a:lnTo>
                      <a:pt x="459" y="339"/>
                    </a:lnTo>
                    <a:lnTo>
                      <a:pt x="458" y="338"/>
                    </a:lnTo>
                    <a:lnTo>
                      <a:pt x="457" y="338"/>
                    </a:lnTo>
                    <a:lnTo>
                      <a:pt x="456" y="338"/>
                    </a:lnTo>
                    <a:lnTo>
                      <a:pt x="456" y="339"/>
                    </a:lnTo>
                    <a:lnTo>
                      <a:pt x="456" y="338"/>
                    </a:lnTo>
                    <a:lnTo>
                      <a:pt x="456" y="337"/>
                    </a:lnTo>
                    <a:lnTo>
                      <a:pt x="457" y="337"/>
                    </a:lnTo>
                    <a:lnTo>
                      <a:pt x="458" y="337"/>
                    </a:lnTo>
                    <a:lnTo>
                      <a:pt x="459" y="338"/>
                    </a:lnTo>
                    <a:lnTo>
                      <a:pt x="460" y="338"/>
                    </a:lnTo>
                    <a:close/>
                    <a:moveTo>
                      <a:pt x="441" y="397"/>
                    </a:moveTo>
                    <a:lnTo>
                      <a:pt x="440" y="397"/>
                    </a:lnTo>
                    <a:lnTo>
                      <a:pt x="439" y="397"/>
                    </a:lnTo>
                    <a:lnTo>
                      <a:pt x="439" y="398"/>
                    </a:lnTo>
                    <a:lnTo>
                      <a:pt x="439" y="397"/>
                    </a:lnTo>
                    <a:lnTo>
                      <a:pt x="438" y="397"/>
                    </a:lnTo>
                    <a:lnTo>
                      <a:pt x="438" y="396"/>
                    </a:lnTo>
                    <a:lnTo>
                      <a:pt x="436" y="396"/>
                    </a:lnTo>
                    <a:lnTo>
                      <a:pt x="436" y="394"/>
                    </a:lnTo>
                    <a:lnTo>
                      <a:pt x="436" y="393"/>
                    </a:lnTo>
                    <a:lnTo>
                      <a:pt x="435" y="393"/>
                    </a:lnTo>
                    <a:lnTo>
                      <a:pt x="436" y="393"/>
                    </a:lnTo>
                    <a:lnTo>
                      <a:pt x="438" y="394"/>
                    </a:lnTo>
                    <a:lnTo>
                      <a:pt x="438" y="396"/>
                    </a:lnTo>
                    <a:lnTo>
                      <a:pt x="439" y="396"/>
                    </a:lnTo>
                    <a:lnTo>
                      <a:pt x="440" y="396"/>
                    </a:lnTo>
                    <a:lnTo>
                      <a:pt x="441" y="396"/>
                    </a:lnTo>
                    <a:lnTo>
                      <a:pt x="441" y="397"/>
                    </a:lnTo>
                    <a:close/>
                    <a:moveTo>
                      <a:pt x="1" y="319"/>
                    </a:moveTo>
                    <a:lnTo>
                      <a:pt x="0" y="320"/>
                    </a:lnTo>
                    <a:lnTo>
                      <a:pt x="0" y="317"/>
                    </a:lnTo>
                    <a:lnTo>
                      <a:pt x="0" y="316"/>
                    </a:lnTo>
                    <a:lnTo>
                      <a:pt x="0" y="315"/>
                    </a:lnTo>
                    <a:lnTo>
                      <a:pt x="0" y="314"/>
                    </a:lnTo>
                    <a:lnTo>
                      <a:pt x="0" y="315"/>
                    </a:lnTo>
                    <a:lnTo>
                      <a:pt x="1" y="315"/>
                    </a:lnTo>
                    <a:lnTo>
                      <a:pt x="1" y="316"/>
                    </a:lnTo>
                    <a:lnTo>
                      <a:pt x="1" y="317"/>
                    </a:lnTo>
                    <a:lnTo>
                      <a:pt x="1" y="319"/>
                    </a:lnTo>
                    <a:close/>
                    <a:moveTo>
                      <a:pt x="454" y="482"/>
                    </a:moveTo>
                    <a:lnTo>
                      <a:pt x="453" y="482"/>
                    </a:lnTo>
                    <a:lnTo>
                      <a:pt x="452" y="482"/>
                    </a:lnTo>
                    <a:lnTo>
                      <a:pt x="452" y="481"/>
                    </a:lnTo>
                    <a:lnTo>
                      <a:pt x="452" y="480"/>
                    </a:lnTo>
                    <a:lnTo>
                      <a:pt x="453" y="480"/>
                    </a:lnTo>
                    <a:lnTo>
                      <a:pt x="454" y="480"/>
                    </a:lnTo>
                    <a:lnTo>
                      <a:pt x="455" y="480"/>
                    </a:lnTo>
                    <a:lnTo>
                      <a:pt x="455" y="481"/>
                    </a:lnTo>
                    <a:lnTo>
                      <a:pt x="454" y="481"/>
                    </a:lnTo>
                    <a:lnTo>
                      <a:pt x="454" y="482"/>
                    </a:lnTo>
                    <a:close/>
                    <a:moveTo>
                      <a:pt x="343" y="466"/>
                    </a:moveTo>
                    <a:lnTo>
                      <a:pt x="342" y="466"/>
                    </a:lnTo>
                    <a:lnTo>
                      <a:pt x="343" y="466"/>
                    </a:lnTo>
                    <a:lnTo>
                      <a:pt x="343" y="465"/>
                    </a:lnTo>
                    <a:lnTo>
                      <a:pt x="343" y="464"/>
                    </a:lnTo>
                    <a:lnTo>
                      <a:pt x="344" y="464"/>
                    </a:lnTo>
                    <a:lnTo>
                      <a:pt x="345" y="464"/>
                    </a:lnTo>
                    <a:lnTo>
                      <a:pt x="345" y="465"/>
                    </a:lnTo>
                    <a:lnTo>
                      <a:pt x="344" y="465"/>
                    </a:lnTo>
                    <a:lnTo>
                      <a:pt x="344" y="466"/>
                    </a:lnTo>
                    <a:lnTo>
                      <a:pt x="343" y="466"/>
                    </a:lnTo>
                    <a:close/>
                    <a:moveTo>
                      <a:pt x="480" y="332"/>
                    </a:moveTo>
                    <a:lnTo>
                      <a:pt x="481" y="333"/>
                    </a:lnTo>
                    <a:lnTo>
                      <a:pt x="481" y="332"/>
                    </a:lnTo>
                    <a:lnTo>
                      <a:pt x="482" y="332"/>
                    </a:lnTo>
                    <a:lnTo>
                      <a:pt x="482" y="333"/>
                    </a:lnTo>
                    <a:lnTo>
                      <a:pt x="482" y="334"/>
                    </a:lnTo>
                    <a:lnTo>
                      <a:pt x="482" y="333"/>
                    </a:lnTo>
                    <a:lnTo>
                      <a:pt x="481" y="334"/>
                    </a:lnTo>
                    <a:lnTo>
                      <a:pt x="480" y="334"/>
                    </a:lnTo>
                    <a:lnTo>
                      <a:pt x="480" y="333"/>
                    </a:lnTo>
                    <a:lnTo>
                      <a:pt x="479" y="333"/>
                    </a:lnTo>
                    <a:lnTo>
                      <a:pt x="479" y="332"/>
                    </a:lnTo>
                    <a:lnTo>
                      <a:pt x="479" y="331"/>
                    </a:lnTo>
                    <a:lnTo>
                      <a:pt x="478" y="331"/>
                    </a:lnTo>
                    <a:lnTo>
                      <a:pt x="479" y="331"/>
                    </a:lnTo>
                    <a:lnTo>
                      <a:pt x="479" y="332"/>
                    </a:lnTo>
                    <a:lnTo>
                      <a:pt x="480" y="332"/>
                    </a:lnTo>
                    <a:close/>
                    <a:moveTo>
                      <a:pt x="330" y="501"/>
                    </a:moveTo>
                    <a:lnTo>
                      <a:pt x="331" y="501"/>
                    </a:lnTo>
                    <a:lnTo>
                      <a:pt x="331" y="502"/>
                    </a:lnTo>
                    <a:lnTo>
                      <a:pt x="330" y="502"/>
                    </a:lnTo>
                    <a:lnTo>
                      <a:pt x="329" y="501"/>
                    </a:lnTo>
                    <a:lnTo>
                      <a:pt x="328" y="501"/>
                    </a:lnTo>
                    <a:lnTo>
                      <a:pt x="328" y="500"/>
                    </a:lnTo>
                    <a:lnTo>
                      <a:pt x="329" y="500"/>
                    </a:lnTo>
                    <a:lnTo>
                      <a:pt x="329" y="501"/>
                    </a:lnTo>
                    <a:lnTo>
                      <a:pt x="330" y="501"/>
                    </a:lnTo>
                    <a:close/>
                    <a:moveTo>
                      <a:pt x="479" y="380"/>
                    </a:moveTo>
                    <a:lnTo>
                      <a:pt x="480" y="380"/>
                    </a:lnTo>
                    <a:lnTo>
                      <a:pt x="481" y="381"/>
                    </a:lnTo>
                    <a:lnTo>
                      <a:pt x="482" y="381"/>
                    </a:lnTo>
                    <a:lnTo>
                      <a:pt x="483" y="383"/>
                    </a:lnTo>
                    <a:lnTo>
                      <a:pt x="482" y="383"/>
                    </a:lnTo>
                    <a:lnTo>
                      <a:pt x="481" y="383"/>
                    </a:lnTo>
                    <a:lnTo>
                      <a:pt x="481" y="381"/>
                    </a:lnTo>
                    <a:lnTo>
                      <a:pt x="480" y="381"/>
                    </a:lnTo>
                    <a:lnTo>
                      <a:pt x="479" y="381"/>
                    </a:lnTo>
                    <a:lnTo>
                      <a:pt x="478" y="380"/>
                    </a:lnTo>
                    <a:lnTo>
                      <a:pt x="478" y="379"/>
                    </a:lnTo>
                    <a:lnTo>
                      <a:pt x="479" y="379"/>
                    </a:lnTo>
                    <a:lnTo>
                      <a:pt x="479" y="380"/>
                    </a:lnTo>
                    <a:close/>
                    <a:moveTo>
                      <a:pt x="298" y="479"/>
                    </a:moveTo>
                    <a:lnTo>
                      <a:pt x="297" y="479"/>
                    </a:lnTo>
                    <a:lnTo>
                      <a:pt x="296" y="479"/>
                    </a:lnTo>
                    <a:lnTo>
                      <a:pt x="294" y="479"/>
                    </a:lnTo>
                    <a:lnTo>
                      <a:pt x="294" y="478"/>
                    </a:lnTo>
                    <a:lnTo>
                      <a:pt x="294" y="476"/>
                    </a:lnTo>
                    <a:lnTo>
                      <a:pt x="294" y="477"/>
                    </a:lnTo>
                    <a:lnTo>
                      <a:pt x="294" y="478"/>
                    </a:lnTo>
                    <a:lnTo>
                      <a:pt x="296" y="478"/>
                    </a:lnTo>
                    <a:lnTo>
                      <a:pt x="297" y="478"/>
                    </a:lnTo>
                    <a:lnTo>
                      <a:pt x="298" y="478"/>
                    </a:lnTo>
                    <a:lnTo>
                      <a:pt x="298" y="479"/>
                    </a:lnTo>
                    <a:close/>
                    <a:moveTo>
                      <a:pt x="198" y="415"/>
                    </a:moveTo>
                    <a:lnTo>
                      <a:pt x="198" y="414"/>
                    </a:lnTo>
                    <a:lnTo>
                      <a:pt x="198" y="413"/>
                    </a:lnTo>
                    <a:lnTo>
                      <a:pt x="199" y="411"/>
                    </a:lnTo>
                    <a:lnTo>
                      <a:pt x="198" y="411"/>
                    </a:lnTo>
                    <a:lnTo>
                      <a:pt x="199" y="411"/>
                    </a:lnTo>
                    <a:lnTo>
                      <a:pt x="199" y="412"/>
                    </a:lnTo>
                    <a:lnTo>
                      <a:pt x="200" y="412"/>
                    </a:lnTo>
                    <a:lnTo>
                      <a:pt x="200" y="413"/>
                    </a:lnTo>
                    <a:lnTo>
                      <a:pt x="199" y="414"/>
                    </a:lnTo>
                    <a:lnTo>
                      <a:pt x="198" y="415"/>
                    </a:lnTo>
                    <a:close/>
                    <a:moveTo>
                      <a:pt x="417" y="419"/>
                    </a:moveTo>
                    <a:lnTo>
                      <a:pt x="416" y="419"/>
                    </a:lnTo>
                    <a:lnTo>
                      <a:pt x="416" y="418"/>
                    </a:lnTo>
                    <a:lnTo>
                      <a:pt x="417" y="417"/>
                    </a:lnTo>
                    <a:lnTo>
                      <a:pt x="417" y="416"/>
                    </a:lnTo>
                    <a:lnTo>
                      <a:pt x="418" y="415"/>
                    </a:lnTo>
                    <a:lnTo>
                      <a:pt x="418" y="416"/>
                    </a:lnTo>
                    <a:lnTo>
                      <a:pt x="417" y="417"/>
                    </a:lnTo>
                    <a:lnTo>
                      <a:pt x="417" y="418"/>
                    </a:lnTo>
                    <a:lnTo>
                      <a:pt x="417" y="419"/>
                    </a:lnTo>
                    <a:close/>
                    <a:moveTo>
                      <a:pt x="430" y="387"/>
                    </a:moveTo>
                    <a:lnTo>
                      <a:pt x="431" y="387"/>
                    </a:lnTo>
                    <a:lnTo>
                      <a:pt x="431" y="388"/>
                    </a:lnTo>
                    <a:lnTo>
                      <a:pt x="430" y="389"/>
                    </a:lnTo>
                    <a:lnTo>
                      <a:pt x="430" y="388"/>
                    </a:lnTo>
                    <a:lnTo>
                      <a:pt x="429" y="387"/>
                    </a:lnTo>
                    <a:lnTo>
                      <a:pt x="428" y="387"/>
                    </a:lnTo>
                    <a:lnTo>
                      <a:pt x="428" y="386"/>
                    </a:lnTo>
                    <a:lnTo>
                      <a:pt x="429" y="386"/>
                    </a:lnTo>
                    <a:lnTo>
                      <a:pt x="430" y="386"/>
                    </a:lnTo>
                    <a:lnTo>
                      <a:pt x="430" y="387"/>
                    </a:lnTo>
                    <a:close/>
                    <a:moveTo>
                      <a:pt x="496" y="338"/>
                    </a:moveTo>
                    <a:lnTo>
                      <a:pt x="497" y="338"/>
                    </a:lnTo>
                    <a:lnTo>
                      <a:pt x="498" y="338"/>
                    </a:lnTo>
                    <a:lnTo>
                      <a:pt x="498" y="339"/>
                    </a:lnTo>
                    <a:lnTo>
                      <a:pt x="497" y="339"/>
                    </a:lnTo>
                    <a:lnTo>
                      <a:pt x="496" y="339"/>
                    </a:lnTo>
                    <a:lnTo>
                      <a:pt x="495" y="339"/>
                    </a:lnTo>
                    <a:lnTo>
                      <a:pt x="495" y="338"/>
                    </a:lnTo>
                    <a:lnTo>
                      <a:pt x="494" y="338"/>
                    </a:lnTo>
                    <a:lnTo>
                      <a:pt x="495" y="338"/>
                    </a:lnTo>
                    <a:lnTo>
                      <a:pt x="496" y="338"/>
                    </a:lnTo>
                    <a:close/>
                    <a:moveTo>
                      <a:pt x="392" y="448"/>
                    </a:moveTo>
                    <a:lnTo>
                      <a:pt x="393" y="448"/>
                    </a:lnTo>
                    <a:lnTo>
                      <a:pt x="394" y="448"/>
                    </a:lnTo>
                    <a:lnTo>
                      <a:pt x="393" y="449"/>
                    </a:lnTo>
                    <a:lnTo>
                      <a:pt x="393" y="450"/>
                    </a:lnTo>
                    <a:lnTo>
                      <a:pt x="393" y="451"/>
                    </a:lnTo>
                    <a:lnTo>
                      <a:pt x="393" y="452"/>
                    </a:lnTo>
                    <a:lnTo>
                      <a:pt x="392" y="451"/>
                    </a:lnTo>
                    <a:lnTo>
                      <a:pt x="393" y="451"/>
                    </a:lnTo>
                    <a:lnTo>
                      <a:pt x="393" y="450"/>
                    </a:lnTo>
                    <a:lnTo>
                      <a:pt x="393" y="449"/>
                    </a:lnTo>
                    <a:lnTo>
                      <a:pt x="392" y="449"/>
                    </a:lnTo>
                    <a:lnTo>
                      <a:pt x="391" y="449"/>
                    </a:lnTo>
                    <a:lnTo>
                      <a:pt x="391" y="448"/>
                    </a:lnTo>
                    <a:lnTo>
                      <a:pt x="390" y="448"/>
                    </a:lnTo>
                    <a:lnTo>
                      <a:pt x="390" y="447"/>
                    </a:lnTo>
                    <a:lnTo>
                      <a:pt x="391" y="447"/>
                    </a:lnTo>
                    <a:lnTo>
                      <a:pt x="391" y="448"/>
                    </a:lnTo>
                    <a:lnTo>
                      <a:pt x="392" y="448"/>
                    </a:lnTo>
                    <a:close/>
                    <a:moveTo>
                      <a:pt x="395" y="453"/>
                    </a:moveTo>
                    <a:lnTo>
                      <a:pt x="395" y="454"/>
                    </a:lnTo>
                    <a:lnTo>
                      <a:pt x="395" y="453"/>
                    </a:lnTo>
                    <a:lnTo>
                      <a:pt x="396" y="453"/>
                    </a:lnTo>
                    <a:lnTo>
                      <a:pt x="396" y="454"/>
                    </a:lnTo>
                    <a:lnTo>
                      <a:pt x="397" y="454"/>
                    </a:lnTo>
                    <a:lnTo>
                      <a:pt x="396" y="454"/>
                    </a:lnTo>
                    <a:lnTo>
                      <a:pt x="395" y="454"/>
                    </a:lnTo>
                    <a:lnTo>
                      <a:pt x="394" y="454"/>
                    </a:lnTo>
                    <a:lnTo>
                      <a:pt x="394" y="455"/>
                    </a:lnTo>
                    <a:lnTo>
                      <a:pt x="393" y="455"/>
                    </a:lnTo>
                    <a:lnTo>
                      <a:pt x="393" y="454"/>
                    </a:lnTo>
                    <a:lnTo>
                      <a:pt x="394" y="454"/>
                    </a:lnTo>
                    <a:lnTo>
                      <a:pt x="394" y="453"/>
                    </a:lnTo>
                    <a:lnTo>
                      <a:pt x="395" y="453"/>
                    </a:lnTo>
                    <a:close/>
                    <a:moveTo>
                      <a:pt x="207" y="406"/>
                    </a:moveTo>
                    <a:lnTo>
                      <a:pt x="206" y="406"/>
                    </a:lnTo>
                    <a:lnTo>
                      <a:pt x="206" y="407"/>
                    </a:lnTo>
                    <a:lnTo>
                      <a:pt x="204" y="407"/>
                    </a:lnTo>
                    <a:lnTo>
                      <a:pt x="204" y="409"/>
                    </a:lnTo>
                    <a:lnTo>
                      <a:pt x="204" y="410"/>
                    </a:lnTo>
                    <a:lnTo>
                      <a:pt x="203" y="410"/>
                    </a:lnTo>
                    <a:lnTo>
                      <a:pt x="203" y="409"/>
                    </a:lnTo>
                    <a:lnTo>
                      <a:pt x="204" y="409"/>
                    </a:lnTo>
                    <a:lnTo>
                      <a:pt x="204" y="407"/>
                    </a:lnTo>
                    <a:lnTo>
                      <a:pt x="204" y="406"/>
                    </a:lnTo>
                    <a:lnTo>
                      <a:pt x="204" y="405"/>
                    </a:lnTo>
                    <a:lnTo>
                      <a:pt x="204" y="406"/>
                    </a:lnTo>
                    <a:lnTo>
                      <a:pt x="206" y="406"/>
                    </a:lnTo>
                    <a:lnTo>
                      <a:pt x="207" y="406"/>
                    </a:lnTo>
                    <a:close/>
                    <a:moveTo>
                      <a:pt x="447" y="376"/>
                    </a:moveTo>
                    <a:lnTo>
                      <a:pt x="447" y="377"/>
                    </a:lnTo>
                    <a:lnTo>
                      <a:pt x="446" y="377"/>
                    </a:lnTo>
                    <a:lnTo>
                      <a:pt x="445" y="377"/>
                    </a:lnTo>
                    <a:lnTo>
                      <a:pt x="445" y="376"/>
                    </a:lnTo>
                    <a:lnTo>
                      <a:pt x="446" y="376"/>
                    </a:lnTo>
                    <a:lnTo>
                      <a:pt x="446" y="375"/>
                    </a:lnTo>
                    <a:lnTo>
                      <a:pt x="446" y="376"/>
                    </a:lnTo>
                    <a:lnTo>
                      <a:pt x="447" y="376"/>
                    </a:lnTo>
                    <a:close/>
                    <a:moveTo>
                      <a:pt x="333" y="502"/>
                    </a:moveTo>
                    <a:lnTo>
                      <a:pt x="332" y="502"/>
                    </a:lnTo>
                    <a:lnTo>
                      <a:pt x="332" y="501"/>
                    </a:lnTo>
                    <a:lnTo>
                      <a:pt x="333" y="501"/>
                    </a:lnTo>
                    <a:lnTo>
                      <a:pt x="333" y="500"/>
                    </a:lnTo>
                    <a:lnTo>
                      <a:pt x="335" y="499"/>
                    </a:lnTo>
                    <a:lnTo>
                      <a:pt x="335" y="500"/>
                    </a:lnTo>
                    <a:lnTo>
                      <a:pt x="333" y="501"/>
                    </a:lnTo>
                    <a:lnTo>
                      <a:pt x="333" y="502"/>
                    </a:lnTo>
                    <a:close/>
                    <a:moveTo>
                      <a:pt x="236" y="419"/>
                    </a:moveTo>
                    <a:lnTo>
                      <a:pt x="235" y="419"/>
                    </a:lnTo>
                    <a:lnTo>
                      <a:pt x="235" y="418"/>
                    </a:lnTo>
                    <a:lnTo>
                      <a:pt x="236" y="418"/>
                    </a:lnTo>
                    <a:lnTo>
                      <a:pt x="237" y="418"/>
                    </a:lnTo>
                    <a:lnTo>
                      <a:pt x="237" y="419"/>
                    </a:lnTo>
                    <a:lnTo>
                      <a:pt x="236" y="419"/>
                    </a:lnTo>
                    <a:close/>
                    <a:moveTo>
                      <a:pt x="454" y="352"/>
                    </a:moveTo>
                    <a:lnTo>
                      <a:pt x="455" y="352"/>
                    </a:lnTo>
                    <a:lnTo>
                      <a:pt x="454" y="353"/>
                    </a:lnTo>
                    <a:lnTo>
                      <a:pt x="453" y="353"/>
                    </a:lnTo>
                    <a:lnTo>
                      <a:pt x="452" y="353"/>
                    </a:lnTo>
                    <a:lnTo>
                      <a:pt x="452" y="352"/>
                    </a:lnTo>
                    <a:lnTo>
                      <a:pt x="453" y="352"/>
                    </a:lnTo>
                    <a:lnTo>
                      <a:pt x="454" y="352"/>
                    </a:lnTo>
                    <a:close/>
                    <a:moveTo>
                      <a:pt x="390" y="449"/>
                    </a:moveTo>
                    <a:lnTo>
                      <a:pt x="389" y="449"/>
                    </a:lnTo>
                    <a:lnTo>
                      <a:pt x="388" y="449"/>
                    </a:lnTo>
                    <a:lnTo>
                      <a:pt x="388" y="448"/>
                    </a:lnTo>
                    <a:lnTo>
                      <a:pt x="387" y="447"/>
                    </a:lnTo>
                    <a:lnTo>
                      <a:pt x="388" y="447"/>
                    </a:lnTo>
                    <a:lnTo>
                      <a:pt x="388" y="448"/>
                    </a:lnTo>
                    <a:lnTo>
                      <a:pt x="389" y="448"/>
                    </a:lnTo>
                    <a:lnTo>
                      <a:pt x="390" y="449"/>
                    </a:lnTo>
                    <a:close/>
                    <a:moveTo>
                      <a:pt x="420" y="429"/>
                    </a:moveTo>
                    <a:lnTo>
                      <a:pt x="421" y="430"/>
                    </a:lnTo>
                    <a:lnTo>
                      <a:pt x="421" y="431"/>
                    </a:lnTo>
                    <a:lnTo>
                      <a:pt x="420" y="430"/>
                    </a:lnTo>
                    <a:lnTo>
                      <a:pt x="419" y="430"/>
                    </a:lnTo>
                    <a:lnTo>
                      <a:pt x="420" y="430"/>
                    </a:lnTo>
                    <a:lnTo>
                      <a:pt x="419" y="429"/>
                    </a:lnTo>
                    <a:lnTo>
                      <a:pt x="420" y="429"/>
                    </a:lnTo>
                    <a:close/>
                    <a:moveTo>
                      <a:pt x="1" y="314"/>
                    </a:moveTo>
                    <a:lnTo>
                      <a:pt x="3" y="314"/>
                    </a:lnTo>
                    <a:lnTo>
                      <a:pt x="3" y="315"/>
                    </a:lnTo>
                    <a:lnTo>
                      <a:pt x="1" y="315"/>
                    </a:lnTo>
                    <a:lnTo>
                      <a:pt x="1" y="314"/>
                    </a:lnTo>
                    <a:close/>
                    <a:moveTo>
                      <a:pt x="429" y="392"/>
                    </a:moveTo>
                    <a:lnTo>
                      <a:pt x="430" y="392"/>
                    </a:lnTo>
                    <a:lnTo>
                      <a:pt x="430" y="394"/>
                    </a:lnTo>
                    <a:lnTo>
                      <a:pt x="429" y="394"/>
                    </a:lnTo>
                    <a:lnTo>
                      <a:pt x="429" y="392"/>
                    </a:lnTo>
                    <a:close/>
                    <a:moveTo>
                      <a:pt x="490" y="346"/>
                    </a:moveTo>
                    <a:lnTo>
                      <a:pt x="490" y="347"/>
                    </a:lnTo>
                    <a:lnTo>
                      <a:pt x="488" y="347"/>
                    </a:lnTo>
                    <a:lnTo>
                      <a:pt x="487" y="347"/>
                    </a:lnTo>
                    <a:lnTo>
                      <a:pt x="487" y="346"/>
                    </a:lnTo>
                    <a:lnTo>
                      <a:pt x="488" y="346"/>
                    </a:lnTo>
                    <a:lnTo>
                      <a:pt x="490" y="346"/>
                    </a:lnTo>
                    <a:close/>
                    <a:moveTo>
                      <a:pt x="412" y="454"/>
                    </a:moveTo>
                    <a:lnTo>
                      <a:pt x="412" y="453"/>
                    </a:lnTo>
                    <a:lnTo>
                      <a:pt x="412" y="452"/>
                    </a:lnTo>
                    <a:lnTo>
                      <a:pt x="412" y="451"/>
                    </a:lnTo>
                    <a:lnTo>
                      <a:pt x="412" y="452"/>
                    </a:lnTo>
                    <a:lnTo>
                      <a:pt x="412" y="453"/>
                    </a:lnTo>
                    <a:lnTo>
                      <a:pt x="412" y="454"/>
                    </a:lnTo>
                    <a:close/>
                    <a:moveTo>
                      <a:pt x="575" y="386"/>
                    </a:moveTo>
                    <a:lnTo>
                      <a:pt x="576" y="386"/>
                    </a:lnTo>
                    <a:lnTo>
                      <a:pt x="576" y="387"/>
                    </a:lnTo>
                    <a:lnTo>
                      <a:pt x="575" y="387"/>
                    </a:lnTo>
                    <a:lnTo>
                      <a:pt x="575" y="386"/>
                    </a:lnTo>
                    <a:close/>
                    <a:moveTo>
                      <a:pt x="394" y="461"/>
                    </a:moveTo>
                    <a:lnTo>
                      <a:pt x="394" y="463"/>
                    </a:lnTo>
                    <a:lnTo>
                      <a:pt x="394" y="461"/>
                    </a:lnTo>
                    <a:close/>
                    <a:moveTo>
                      <a:pt x="394" y="451"/>
                    </a:moveTo>
                    <a:lnTo>
                      <a:pt x="395" y="451"/>
                    </a:lnTo>
                    <a:lnTo>
                      <a:pt x="395" y="453"/>
                    </a:lnTo>
                    <a:lnTo>
                      <a:pt x="394" y="453"/>
                    </a:lnTo>
                    <a:lnTo>
                      <a:pt x="394" y="451"/>
                    </a:lnTo>
                    <a:close/>
                    <a:moveTo>
                      <a:pt x="4" y="326"/>
                    </a:moveTo>
                    <a:lnTo>
                      <a:pt x="5" y="326"/>
                    </a:lnTo>
                    <a:lnTo>
                      <a:pt x="5" y="327"/>
                    </a:lnTo>
                    <a:lnTo>
                      <a:pt x="4" y="327"/>
                    </a:lnTo>
                    <a:lnTo>
                      <a:pt x="4" y="326"/>
                    </a:lnTo>
                    <a:close/>
                    <a:moveTo>
                      <a:pt x="203" y="410"/>
                    </a:moveTo>
                    <a:lnTo>
                      <a:pt x="204" y="410"/>
                    </a:lnTo>
                    <a:lnTo>
                      <a:pt x="204" y="411"/>
                    </a:lnTo>
                    <a:lnTo>
                      <a:pt x="203" y="411"/>
                    </a:lnTo>
                    <a:lnTo>
                      <a:pt x="203" y="410"/>
                    </a:lnTo>
                    <a:close/>
                    <a:moveTo>
                      <a:pt x="234" y="419"/>
                    </a:moveTo>
                    <a:lnTo>
                      <a:pt x="236" y="419"/>
                    </a:lnTo>
                    <a:lnTo>
                      <a:pt x="236" y="421"/>
                    </a:lnTo>
                    <a:lnTo>
                      <a:pt x="234" y="421"/>
                    </a:lnTo>
                    <a:lnTo>
                      <a:pt x="234" y="419"/>
                    </a:lnTo>
                    <a:close/>
                    <a:moveTo>
                      <a:pt x="392" y="453"/>
                    </a:moveTo>
                    <a:lnTo>
                      <a:pt x="393" y="453"/>
                    </a:lnTo>
                    <a:lnTo>
                      <a:pt x="393" y="455"/>
                    </a:lnTo>
                    <a:lnTo>
                      <a:pt x="392" y="455"/>
                    </a:lnTo>
                    <a:lnTo>
                      <a:pt x="392" y="453"/>
                    </a:lnTo>
                    <a:close/>
                    <a:moveTo>
                      <a:pt x="430" y="423"/>
                    </a:moveTo>
                    <a:lnTo>
                      <a:pt x="430" y="424"/>
                    </a:lnTo>
                    <a:lnTo>
                      <a:pt x="430" y="423"/>
                    </a:lnTo>
                    <a:close/>
                    <a:moveTo>
                      <a:pt x="393" y="447"/>
                    </a:moveTo>
                    <a:lnTo>
                      <a:pt x="395" y="447"/>
                    </a:lnTo>
                    <a:lnTo>
                      <a:pt x="393" y="447"/>
                    </a:lnTo>
                    <a:close/>
                    <a:moveTo>
                      <a:pt x="111" y="316"/>
                    </a:moveTo>
                    <a:lnTo>
                      <a:pt x="112" y="316"/>
                    </a:lnTo>
                    <a:lnTo>
                      <a:pt x="111" y="316"/>
                    </a:lnTo>
                    <a:close/>
                    <a:moveTo>
                      <a:pt x="113" y="316"/>
                    </a:moveTo>
                    <a:lnTo>
                      <a:pt x="115" y="316"/>
                    </a:lnTo>
                    <a:lnTo>
                      <a:pt x="113" y="316"/>
                    </a:lnTo>
                    <a:close/>
                  </a:path>
                </a:pathLst>
              </a:custGeom>
              <a:solidFill>
                <a:srgbClr val="114F98"/>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8" name="Freeform 8">
                <a:extLst>
                  <a:ext uri="{FF2B5EF4-FFF2-40B4-BE49-F238E27FC236}">
                    <a16:creationId xmlns:a16="http://schemas.microsoft.com/office/drawing/2014/main" id="{EC676CCE-5F37-D347-C847-8089997D131A}"/>
                  </a:ext>
                </a:extLst>
              </p:cNvPr>
              <p:cNvSpPr>
                <a:spLocks/>
              </p:cNvSpPr>
              <p:nvPr/>
            </p:nvSpPr>
            <p:spPr bwMode="auto">
              <a:xfrm>
                <a:off x="2413001" y="4403725"/>
                <a:ext cx="754063" cy="692150"/>
              </a:xfrm>
              <a:custGeom>
                <a:avLst/>
                <a:gdLst>
                  <a:gd name="T0" fmla="*/ 289 w 475"/>
                  <a:gd name="T1" fmla="*/ 5 h 436"/>
                  <a:gd name="T2" fmla="*/ 300 w 475"/>
                  <a:gd name="T3" fmla="*/ 7 h 436"/>
                  <a:gd name="T4" fmla="*/ 314 w 475"/>
                  <a:gd name="T5" fmla="*/ 9 h 436"/>
                  <a:gd name="T6" fmla="*/ 337 w 475"/>
                  <a:gd name="T7" fmla="*/ 9 h 436"/>
                  <a:gd name="T8" fmla="*/ 387 w 475"/>
                  <a:gd name="T9" fmla="*/ 20 h 436"/>
                  <a:gd name="T10" fmla="*/ 397 w 475"/>
                  <a:gd name="T11" fmla="*/ 23 h 436"/>
                  <a:gd name="T12" fmla="*/ 405 w 475"/>
                  <a:gd name="T13" fmla="*/ 37 h 436"/>
                  <a:gd name="T14" fmla="*/ 414 w 475"/>
                  <a:gd name="T15" fmla="*/ 55 h 436"/>
                  <a:gd name="T16" fmla="*/ 460 w 475"/>
                  <a:gd name="T17" fmla="*/ 113 h 436"/>
                  <a:gd name="T18" fmla="*/ 469 w 475"/>
                  <a:gd name="T19" fmla="*/ 222 h 436"/>
                  <a:gd name="T20" fmla="*/ 429 w 475"/>
                  <a:gd name="T21" fmla="*/ 261 h 436"/>
                  <a:gd name="T22" fmla="*/ 367 w 475"/>
                  <a:gd name="T23" fmla="*/ 297 h 436"/>
                  <a:gd name="T24" fmla="*/ 359 w 475"/>
                  <a:gd name="T25" fmla="*/ 280 h 436"/>
                  <a:gd name="T26" fmla="*/ 349 w 475"/>
                  <a:gd name="T27" fmla="*/ 286 h 436"/>
                  <a:gd name="T28" fmla="*/ 329 w 475"/>
                  <a:gd name="T29" fmla="*/ 296 h 436"/>
                  <a:gd name="T30" fmla="*/ 353 w 475"/>
                  <a:gd name="T31" fmla="*/ 319 h 436"/>
                  <a:gd name="T32" fmla="*/ 389 w 475"/>
                  <a:gd name="T33" fmla="*/ 321 h 436"/>
                  <a:gd name="T34" fmla="*/ 381 w 475"/>
                  <a:gd name="T35" fmla="*/ 368 h 436"/>
                  <a:gd name="T36" fmla="*/ 406 w 475"/>
                  <a:gd name="T37" fmla="*/ 374 h 436"/>
                  <a:gd name="T38" fmla="*/ 434 w 475"/>
                  <a:gd name="T39" fmla="*/ 369 h 436"/>
                  <a:gd name="T40" fmla="*/ 429 w 475"/>
                  <a:gd name="T41" fmla="*/ 376 h 436"/>
                  <a:gd name="T42" fmla="*/ 410 w 475"/>
                  <a:gd name="T43" fmla="*/ 387 h 436"/>
                  <a:gd name="T44" fmla="*/ 421 w 475"/>
                  <a:gd name="T45" fmla="*/ 394 h 436"/>
                  <a:gd name="T46" fmla="*/ 419 w 475"/>
                  <a:gd name="T47" fmla="*/ 399 h 436"/>
                  <a:gd name="T48" fmla="*/ 370 w 475"/>
                  <a:gd name="T49" fmla="*/ 398 h 436"/>
                  <a:gd name="T50" fmla="*/ 312 w 475"/>
                  <a:gd name="T51" fmla="*/ 421 h 436"/>
                  <a:gd name="T52" fmla="*/ 265 w 475"/>
                  <a:gd name="T53" fmla="*/ 435 h 436"/>
                  <a:gd name="T54" fmla="*/ 225 w 475"/>
                  <a:gd name="T55" fmla="*/ 430 h 436"/>
                  <a:gd name="T56" fmla="*/ 186 w 475"/>
                  <a:gd name="T57" fmla="*/ 420 h 436"/>
                  <a:gd name="T58" fmla="*/ 122 w 475"/>
                  <a:gd name="T59" fmla="*/ 408 h 436"/>
                  <a:gd name="T60" fmla="*/ 100 w 475"/>
                  <a:gd name="T61" fmla="*/ 402 h 436"/>
                  <a:gd name="T62" fmla="*/ 97 w 475"/>
                  <a:gd name="T63" fmla="*/ 404 h 436"/>
                  <a:gd name="T64" fmla="*/ 75 w 475"/>
                  <a:gd name="T65" fmla="*/ 387 h 436"/>
                  <a:gd name="T66" fmla="*/ 77 w 475"/>
                  <a:gd name="T67" fmla="*/ 246 h 436"/>
                  <a:gd name="T68" fmla="*/ 76 w 475"/>
                  <a:gd name="T69" fmla="*/ 107 h 436"/>
                  <a:gd name="T70" fmla="*/ 4 w 475"/>
                  <a:gd name="T71" fmla="*/ 77 h 436"/>
                  <a:gd name="T72" fmla="*/ 26 w 475"/>
                  <a:gd name="T73" fmla="*/ 65 h 436"/>
                  <a:gd name="T74" fmla="*/ 42 w 475"/>
                  <a:gd name="T75" fmla="*/ 56 h 436"/>
                  <a:gd name="T76" fmla="*/ 60 w 475"/>
                  <a:gd name="T77" fmla="*/ 56 h 436"/>
                  <a:gd name="T78" fmla="*/ 68 w 475"/>
                  <a:gd name="T79" fmla="*/ 45 h 436"/>
                  <a:gd name="T80" fmla="*/ 76 w 475"/>
                  <a:gd name="T81" fmla="*/ 43 h 436"/>
                  <a:gd name="T82" fmla="*/ 85 w 475"/>
                  <a:gd name="T83" fmla="*/ 37 h 436"/>
                  <a:gd name="T84" fmla="*/ 94 w 475"/>
                  <a:gd name="T85" fmla="*/ 37 h 436"/>
                  <a:gd name="T86" fmla="*/ 104 w 475"/>
                  <a:gd name="T87" fmla="*/ 30 h 436"/>
                  <a:gd name="T88" fmla="*/ 114 w 475"/>
                  <a:gd name="T89" fmla="*/ 25 h 436"/>
                  <a:gd name="T90" fmla="*/ 126 w 475"/>
                  <a:gd name="T91" fmla="*/ 31 h 436"/>
                  <a:gd name="T92" fmla="*/ 129 w 475"/>
                  <a:gd name="T93" fmla="*/ 34 h 436"/>
                  <a:gd name="T94" fmla="*/ 133 w 475"/>
                  <a:gd name="T95" fmla="*/ 42 h 436"/>
                  <a:gd name="T96" fmla="*/ 140 w 475"/>
                  <a:gd name="T97" fmla="*/ 46 h 436"/>
                  <a:gd name="T98" fmla="*/ 148 w 475"/>
                  <a:gd name="T99" fmla="*/ 53 h 436"/>
                  <a:gd name="T100" fmla="*/ 159 w 475"/>
                  <a:gd name="T101" fmla="*/ 59 h 436"/>
                  <a:gd name="T102" fmla="*/ 175 w 475"/>
                  <a:gd name="T103" fmla="*/ 66 h 436"/>
                  <a:gd name="T104" fmla="*/ 194 w 475"/>
                  <a:gd name="T105" fmla="*/ 71 h 436"/>
                  <a:gd name="T106" fmla="*/ 213 w 475"/>
                  <a:gd name="T107" fmla="*/ 63 h 436"/>
                  <a:gd name="T108" fmla="*/ 232 w 475"/>
                  <a:gd name="T109" fmla="*/ 49 h 436"/>
                  <a:gd name="T110" fmla="*/ 244 w 475"/>
                  <a:gd name="T111" fmla="*/ 37 h 436"/>
                  <a:gd name="T112" fmla="*/ 252 w 475"/>
                  <a:gd name="T113" fmla="*/ 25 h 436"/>
                  <a:gd name="T114" fmla="*/ 258 w 475"/>
                  <a:gd name="T115" fmla="*/ 20 h 436"/>
                  <a:gd name="T116" fmla="*/ 269 w 475"/>
                  <a:gd name="T117" fmla="*/ 12 h 436"/>
                  <a:gd name="T118" fmla="*/ 274 w 475"/>
                  <a:gd name="T119" fmla="*/ 4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5" h="436">
                    <a:moveTo>
                      <a:pt x="278" y="1"/>
                    </a:moveTo>
                    <a:lnTo>
                      <a:pt x="278" y="3"/>
                    </a:lnTo>
                    <a:lnTo>
                      <a:pt x="278" y="4"/>
                    </a:lnTo>
                    <a:lnTo>
                      <a:pt x="278" y="5"/>
                    </a:lnTo>
                    <a:lnTo>
                      <a:pt x="279" y="5"/>
                    </a:lnTo>
                    <a:lnTo>
                      <a:pt x="279" y="4"/>
                    </a:lnTo>
                    <a:lnTo>
                      <a:pt x="281" y="5"/>
                    </a:lnTo>
                    <a:lnTo>
                      <a:pt x="281" y="6"/>
                    </a:lnTo>
                    <a:lnTo>
                      <a:pt x="282" y="6"/>
                    </a:lnTo>
                    <a:lnTo>
                      <a:pt x="283" y="6"/>
                    </a:lnTo>
                    <a:lnTo>
                      <a:pt x="284" y="7"/>
                    </a:lnTo>
                    <a:lnTo>
                      <a:pt x="285" y="7"/>
                    </a:lnTo>
                    <a:lnTo>
                      <a:pt x="286" y="7"/>
                    </a:lnTo>
                    <a:lnTo>
                      <a:pt x="286" y="6"/>
                    </a:lnTo>
                    <a:lnTo>
                      <a:pt x="286" y="5"/>
                    </a:lnTo>
                    <a:lnTo>
                      <a:pt x="287" y="5"/>
                    </a:lnTo>
                    <a:lnTo>
                      <a:pt x="288" y="5"/>
                    </a:lnTo>
                    <a:lnTo>
                      <a:pt x="289" y="5"/>
                    </a:lnTo>
                    <a:lnTo>
                      <a:pt x="290" y="5"/>
                    </a:lnTo>
                    <a:lnTo>
                      <a:pt x="291" y="5"/>
                    </a:lnTo>
                    <a:lnTo>
                      <a:pt x="291" y="4"/>
                    </a:lnTo>
                    <a:lnTo>
                      <a:pt x="291" y="5"/>
                    </a:lnTo>
                    <a:lnTo>
                      <a:pt x="292" y="5"/>
                    </a:lnTo>
                    <a:lnTo>
                      <a:pt x="292" y="6"/>
                    </a:lnTo>
                    <a:lnTo>
                      <a:pt x="292" y="7"/>
                    </a:lnTo>
                    <a:lnTo>
                      <a:pt x="294" y="7"/>
                    </a:lnTo>
                    <a:lnTo>
                      <a:pt x="294" y="8"/>
                    </a:lnTo>
                    <a:lnTo>
                      <a:pt x="295" y="7"/>
                    </a:lnTo>
                    <a:lnTo>
                      <a:pt x="296" y="8"/>
                    </a:lnTo>
                    <a:lnTo>
                      <a:pt x="296" y="7"/>
                    </a:lnTo>
                    <a:lnTo>
                      <a:pt x="296" y="8"/>
                    </a:lnTo>
                    <a:lnTo>
                      <a:pt x="297" y="8"/>
                    </a:lnTo>
                    <a:lnTo>
                      <a:pt x="298" y="7"/>
                    </a:lnTo>
                    <a:lnTo>
                      <a:pt x="299" y="8"/>
                    </a:lnTo>
                    <a:lnTo>
                      <a:pt x="299" y="7"/>
                    </a:lnTo>
                    <a:lnTo>
                      <a:pt x="300" y="7"/>
                    </a:lnTo>
                    <a:lnTo>
                      <a:pt x="301" y="7"/>
                    </a:lnTo>
                    <a:lnTo>
                      <a:pt x="301" y="6"/>
                    </a:lnTo>
                    <a:lnTo>
                      <a:pt x="301" y="5"/>
                    </a:lnTo>
                    <a:lnTo>
                      <a:pt x="302" y="5"/>
                    </a:lnTo>
                    <a:lnTo>
                      <a:pt x="303" y="4"/>
                    </a:lnTo>
                    <a:lnTo>
                      <a:pt x="303" y="5"/>
                    </a:lnTo>
                    <a:lnTo>
                      <a:pt x="304" y="5"/>
                    </a:lnTo>
                    <a:lnTo>
                      <a:pt x="305" y="5"/>
                    </a:lnTo>
                    <a:lnTo>
                      <a:pt x="305" y="6"/>
                    </a:lnTo>
                    <a:lnTo>
                      <a:pt x="305" y="7"/>
                    </a:lnTo>
                    <a:lnTo>
                      <a:pt x="308" y="7"/>
                    </a:lnTo>
                    <a:lnTo>
                      <a:pt x="309" y="8"/>
                    </a:lnTo>
                    <a:lnTo>
                      <a:pt x="310" y="8"/>
                    </a:lnTo>
                    <a:lnTo>
                      <a:pt x="311" y="8"/>
                    </a:lnTo>
                    <a:lnTo>
                      <a:pt x="312" y="8"/>
                    </a:lnTo>
                    <a:lnTo>
                      <a:pt x="313" y="8"/>
                    </a:lnTo>
                    <a:lnTo>
                      <a:pt x="313" y="9"/>
                    </a:lnTo>
                    <a:lnTo>
                      <a:pt x="314" y="9"/>
                    </a:lnTo>
                    <a:lnTo>
                      <a:pt x="315" y="9"/>
                    </a:lnTo>
                    <a:lnTo>
                      <a:pt x="315" y="8"/>
                    </a:lnTo>
                    <a:lnTo>
                      <a:pt x="316" y="8"/>
                    </a:lnTo>
                    <a:lnTo>
                      <a:pt x="317" y="8"/>
                    </a:lnTo>
                    <a:lnTo>
                      <a:pt x="318" y="8"/>
                    </a:lnTo>
                    <a:lnTo>
                      <a:pt x="320" y="7"/>
                    </a:lnTo>
                    <a:lnTo>
                      <a:pt x="321" y="7"/>
                    </a:lnTo>
                    <a:lnTo>
                      <a:pt x="322" y="7"/>
                    </a:lnTo>
                    <a:lnTo>
                      <a:pt x="323" y="6"/>
                    </a:lnTo>
                    <a:lnTo>
                      <a:pt x="324" y="6"/>
                    </a:lnTo>
                    <a:lnTo>
                      <a:pt x="324" y="5"/>
                    </a:lnTo>
                    <a:lnTo>
                      <a:pt x="325" y="5"/>
                    </a:lnTo>
                    <a:lnTo>
                      <a:pt x="326" y="6"/>
                    </a:lnTo>
                    <a:lnTo>
                      <a:pt x="327" y="6"/>
                    </a:lnTo>
                    <a:lnTo>
                      <a:pt x="328" y="6"/>
                    </a:lnTo>
                    <a:lnTo>
                      <a:pt x="328" y="5"/>
                    </a:lnTo>
                    <a:lnTo>
                      <a:pt x="335" y="8"/>
                    </a:lnTo>
                    <a:lnTo>
                      <a:pt x="337" y="9"/>
                    </a:lnTo>
                    <a:lnTo>
                      <a:pt x="349" y="14"/>
                    </a:lnTo>
                    <a:lnTo>
                      <a:pt x="352" y="16"/>
                    </a:lnTo>
                    <a:lnTo>
                      <a:pt x="355" y="17"/>
                    </a:lnTo>
                    <a:lnTo>
                      <a:pt x="361" y="19"/>
                    </a:lnTo>
                    <a:lnTo>
                      <a:pt x="362" y="19"/>
                    </a:lnTo>
                    <a:lnTo>
                      <a:pt x="366" y="21"/>
                    </a:lnTo>
                    <a:lnTo>
                      <a:pt x="372" y="23"/>
                    </a:lnTo>
                    <a:lnTo>
                      <a:pt x="374" y="24"/>
                    </a:lnTo>
                    <a:lnTo>
                      <a:pt x="376" y="23"/>
                    </a:lnTo>
                    <a:lnTo>
                      <a:pt x="378" y="22"/>
                    </a:lnTo>
                    <a:lnTo>
                      <a:pt x="379" y="20"/>
                    </a:lnTo>
                    <a:lnTo>
                      <a:pt x="380" y="21"/>
                    </a:lnTo>
                    <a:lnTo>
                      <a:pt x="381" y="21"/>
                    </a:lnTo>
                    <a:lnTo>
                      <a:pt x="382" y="21"/>
                    </a:lnTo>
                    <a:lnTo>
                      <a:pt x="384" y="21"/>
                    </a:lnTo>
                    <a:lnTo>
                      <a:pt x="385" y="21"/>
                    </a:lnTo>
                    <a:lnTo>
                      <a:pt x="386" y="21"/>
                    </a:lnTo>
                    <a:lnTo>
                      <a:pt x="387" y="20"/>
                    </a:lnTo>
                    <a:lnTo>
                      <a:pt x="388" y="19"/>
                    </a:lnTo>
                    <a:lnTo>
                      <a:pt x="389" y="19"/>
                    </a:lnTo>
                    <a:lnTo>
                      <a:pt x="390" y="19"/>
                    </a:lnTo>
                    <a:lnTo>
                      <a:pt x="391" y="19"/>
                    </a:lnTo>
                    <a:lnTo>
                      <a:pt x="392" y="18"/>
                    </a:lnTo>
                    <a:lnTo>
                      <a:pt x="393" y="17"/>
                    </a:lnTo>
                    <a:lnTo>
                      <a:pt x="394" y="17"/>
                    </a:lnTo>
                    <a:lnTo>
                      <a:pt x="395" y="17"/>
                    </a:lnTo>
                    <a:lnTo>
                      <a:pt x="397" y="17"/>
                    </a:lnTo>
                    <a:lnTo>
                      <a:pt x="398" y="16"/>
                    </a:lnTo>
                    <a:lnTo>
                      <a:pt x="399" y="16"/>
                    </a:lnTo>
                    <a:lnTo>
                      <a:pt x="399" y="17"/>
                    </a:lnTo>
                    <a:lnTo>
                      <a:pt x="400" y="17"/>
                    </a:lnTo>
                    <a:lnTo>
                      <a:pt x="400" y="18"/>
                    </a:lnTo>
                    <a:lnTo>
                      <a:pt x="399" y="19"/>
                    </a:lnTo>
                    <a:lnTo>
                      <a:pt x="398" y="21"/>
                    </a:lnTo>
                    <a:lnTo>
                      <a:pt x="397" y="22"/>
                    </a:lnTo>
                    <a:lnTo>
                      <a:pt x="397" y="23"/>
                    </a:lnTo>
                    <a:lnTo>
                      <a:pt x="398" y="24"/>
                    </a:lnTo>
                    <a:lnTo>
                      <a:pt x="398" y="25"/>
                    </a:lnTo>
                    <a:lnTo>
                      <a:pt x="398" y="26"/>
                    </a:lnTo>
                    <a:lnTo>
                      <a:pt x="398" y="27"/>
                    </a:lnTo>
                    <a:lnTo>
                      <a:pt x="399" y="27"/>
                    </a:lnTo>
                    <a:lnTo>
                      <a:pt x="399" y="29"/>
                    </a:lnTo>
                    <a:lnTo>
                      <a:pt x="400" y="30"/>
                    </a:lnTo>
                    <a:lnTo>
                      <a:pt x="401" y="30"/>
                    </a:lnTo>
                    <a:lnTo>
                      <a:pt x="402" y="31"/>
                    </a:lnTo>
                    <a:lnTo>
                      <a:pt x="403" y="31"/>
                    </a:lnTo>
                    <a:lnTo>
                      <a:pt x="403" y="32"/>
                    </a:lnTo>
                    <a:lnTo>
                      <a:pt x="403" y="33"/>
                    </a:lnTo>
                    <a:lnTo>
                      <a:pt x="404" y="33"/>
                    </a:lnTo>
                    <a:lnTo>
                      <a:pt x="404" y="34"/>
                    </a:lnTo>
                    <a:lnTo>
                      <a:pt x="405" y="34"/>
                    </a:lnTo>
                    <a:lnTo>
                      <a:pt x="405" y="35"/>
                    </a:lnTo>
                    <a:lnTo>
                      <a:pt x="405" y="36"/>
                    </a:lnTo>
                    <a:lnTo>
                      <a:pt x="405" y="37"/>
                    </a:lnTo>
                    <a:lnTo>
                      <a:pt x="406" y="38"/>
                    </a:lnTo>
                    <a:lnTo>
                      <a:pt x="406" y="39"/>
                    </a:lnTo>
                    <a:lnTo>
                      <a:pt x="406" y="40"/>
                    </a:lnTo>
                    <a:lnTo>
                      <a:pt x="407" y="42"/>
                    </a:lnTo>
                    <a:lnTo>
                      <a:pt x="407" y="43"/>
                    </a:lnTo>
                    <a:lnTo>
                      <a:pt x="407" y="44"/>
                    </a:lnTo>
                    <a:lnTo>
                      <a:pt x="407" y="45"/>
                    </a:lnTo>
                    <a:lnTo>
                      <a:pt x="408" y="46"/>
                    </a:lnTo>
                    <a:lnTo>
                      <a:pt x="407" y="48"/>
                    </a:lnTo>
                    <a:lnTo>
                      <a:pt x="408" y="49"/>
                    </a:lnTo>
                    <a:lnTo>
                      <a:pt x="410" y="49"/>
                    </a:lnTo>
                    <a:lnTo>
                      <a:pt x="410" y="50"/>
                    </a:lnTo>
                    <a:lnTo>
                      <a:pt x="411" y="50"/>
                    </a:lnTo>
                    <a:lnTo>
                      <a:pt x="411" y="51"/>
                    </a:lnTo>
                    <a:lnTo>
                      <a:pt x="411" y="52"/>
                    </a:lnTo>
                    <a:lnTo>
                      <a:pt x="412" y="53"/>
                    </a:lnTo>
                    <a:lnTo>
                      <a:pt x="413" y="55"/>
                    </a:lnTo>
                    <a:lnTo>
                      <a:pt x="414" y="55"/>
                    </a:lnTo>
                    <a:lnTo>
                      <a:pt x="414" y="56"/>
                    </a:lnTo>
                    <a:lnTo>
                      <a:pt x="415" y="56"/>
                    </a:lnTo>
                    <a:lnTo>
                      <a:pt x="416" y="56"/>
                    </a:lnTo>
                    <a:lnTo>
                      <a:pt x="417" y="56"/>
                    </a:lnTo>
                    <a:lnTo>
                      <a:pt x="424" y="59"/>
                    </a:lnTo>
                    <a:lnTo>
                      <a:pt x="439" y="65"/>
                    </a:lnTo>
                    <a:lnTo>
                      <a:pt x="453" y="71"/>
                    </a:lnTo>
                    <a:lnTo>
                      <a:pt x="456" y="72"/>
                    </a:lnTo>
                    <a:lnTo>
                      <a:pt x="459" y="74"/>
                    </a:lnTo>
                    <a:lnTo>
                      <a:pt x="469" y="78"/>
                    </a:lnTo>
                    <a:lnTo>
                      <a:pt x="471" y="78"/>
                    </a:lnTo>
                    <a:lnTo>
                      <a:pt x="475" y="81"/>
                    </a:lnTo>
                    <a:lnTo>
                      <a:pt x="473" y="82"/>
                    </a:lnTo>
                    <a:lnTo>
                      <a:pt x="472" y="85"/>
                    </a:lnTo>
                    <a:lnTo>
                      <a:pt x="469" y="95"/>
                    </a:lnTo>
                    <a:lnTo>
                      <a:pt x="464" y="113"/>
                    </a:lnTo>
                    <a:lnTo>
                      <a:pt x="462" y="113"/>
                    </a:lnTo>
                    <a:lnTo>
                      <a:pt x="460" y="113"/>
                    </a:lnTo>
                    <a:lnTo>
                      <a:pt x="459" y="114"/>
                    </a:lnTo>
                    <a:lnTo>
                      <a:pt x="458" y="114"/>
                    </a:lnTo>
                    <a:lnTo>
                      <a:pt x="457" y="115"/>
                    </a:lnTo>
                    <a:lnTo>
                      <a:pt x="457" y="116"/>
                    </a:lnTo>
                    <a:lnTo>
                      <a:pt x="456" y="116"/>
                    </a:lnTo>
                    <a:lnTo>
                      <a:pt x="456" y="117"/>
                    </a:lnTo>
                    <a:lnTo>
                      <a:pt x="456" y="121"/>
                    </a:lnTo>
                    <a:lnTo>
                      <a:pt x="456" y="124"/>
                    </a:lnTo>
                    <a:lnTo>
                      <a:pt x="457" y="125"/>
                    </a:lnTo>
                    <a:lnTo>
                      <a:pt x="457" y="126"/>
                    </a:lnTo>
                    <a:lnTo>
                      <a:pt x="457" y="127"/>
                    </a:lnTo>
                    <a:lnTo>
                      <a:pt x="458" y="127"/>
                    </a:lnTo>
                    <a:lnTo>
                      <a:pt x="459" y="136"/>
                    </a:lnTo>
                    <a:lnTo>
                      <a:pt x="459" y="137"/>
                    </a:lnTo>
                    <a:lnTo>
                      <a:pt x="460" y="141"/>
                    </a:lnTo>
                    <a:lnTo>
                      <a:pt x="460" y="143"/>
                    </a:lnTo>
                    <a:lnTo>
                      <a:pt x="462" y="152"/>
                    </a:lnTo>
                    <a:lnTo>
                      <a:pt x="469" y="222"/>
                    </a:lnTo>
                    <a:lnTo>
                      <a:pt x="469" y="224"/>
                    </a:lnTo>
                    <a:lnTo>
                      <a:pt x="467" y="225"/>
                    </a:lnTo>
                    <a:lnTo>
                      <a:pt x="465" y="227"/>
                    </a:lnTo>
                    <a:lnTo>
                      <a:pt x="464" y="228"/>
                    </a:lnTo>
                    <a:lnTo>
                      <a:pt x="462" y="231"/>
                    </a:lnTo>
                    <a:lnTo>
                      <a:pt x="460" y="235"/>
                    </a:lnTo>
                    <a:lnTo>
                      <a:pt x="462" y="237"/>
                    </a:lnTo>
                    <a:lnTo>
                      <a:pt x="464" y="240"/>
                    </a:lnTo>
                    <a:lnTo>
                      <a:pt x="465" y="243"/>
                    </a:lnTo>
                    <a:lnTo>
                      <a:pt x="466" y="245"/>
                    </a:lnTo>
                    <a:lnTo>
                      <a:pt x="466" y="248"/>
                    </a:lnTo>
                    <a:lnTo>
                      <a:pt x="463" y="251"/>
                    </a:lnTo>
                    <a:lnTo>
                      <a:pt x="460" y="251"/>
                    </a:lnTo>
                    <a:lnTo>
                      <a:pt x="452" y="252"/>
                    </a:lnTo>
                    <a:lnTo>
                      <a:pt x="447" y="255"/>
                    </a:lnTo>
                    <a:lnTo>
                      <a:pt x="438" y="258"/>
                    </a:lnTo>
                    <a:lnTo>
                      <a:pt x="434" y="260"/>
                    </a:lnTo>
                    <a:lnTo>
                      <a:pt x="429" y="261"/>
                    </a:lnTo>
                    <a:lnTo>
                      <a:pt x="418" y="266"/>
                    </a:lnTo>
                    <a:lnTo>
                      <a:pt x="405" y="274"/>
                    </a:lnTo>
                    <a:lnTo>
                      <a:pt x="389" y="286"/>
                    </a:lnTo>
                    <a:lnTo>
                      <a:pt x="386" y="288"/>
                    </a:lnTo>
                    <a:lnTo>
                      <a:pt x="385" y="289"/>
                    </a:lnTo>
                    <a:lnTo>
                      <a:pt x="384" y="289"/>
                    </a:lnTo>
                    <a:lnTo>
                      <a:pt x="384" y="290"/>
                    </a:lnTo>
                    <a:lnTo>
                      <a:pt x="382" y="290"/>
                    </a:lnTo>
                    <a:lnTo>
                      <a:pt x="378" y="294"/>
                    </a:lnTo>
                    <a:lnTo>
                      <a:pt x="372" y="300"/>
                    </a:lnTo>
                    <a:lnTo>
                      <a:pt x="366" y="305"/>
                    </a:lnTo>
                    <a:lnTo>
                      <a:pt x="364" y="306"/>
                    </a:lnTo>
                    <a:lnTo>
                      <a:pt x="361" y="307"/>
                    </a:lnTo>
                    <a:lnTo>
                      <a:pt x="361" y="305"/>
                    </a:lnTo>
                    <a:lnTo>
                      <a:pt x="360" y="304"/>
                    </a:lnTo>
                    <a:lnTo>
                      <a:pt x="361" y="301"/>
                    </a:lnTo>
                    <a:lnTo>
                      <a:pt x="365" y="299"/>
                    </a:lnTo>
                    <a:lnTo>
                      <a:pt x="367" y="297"/>
                    </a:lnTo>
                    <a:lnTo>
                      <a:pt x="369" y="295"/>
                    </a:lnTo>
                    <a:lnTo>
                      <a:pt x="370" y="294"/>
                    </a:lnTo>
                    <a:lnTo>
                      <a:pt x="369" y="293"/>
                    </a:lnTo>
                    <a:lnTo>
                      <a:pt x="373" y="292"/>
                    </a:lnTo>
                    <a:lnTo>
                      <a:pt x="376" y="286"/>
                    </a:lnTo>
                    <a:lnTo>
                      <a:pt x="376" y="283"/>
                    </a:lnTo>
                    <a:lnTo>
                      <a:pt x="375" y="278"/>
                    </a:lnTo>
                    <a:lnTo>
                      <a:pt x="374" y="276"/>
                    </a:lnTo>
                    <a:lnTo>
                      <a:pt x="373" y="274"/>
                    </a:lnTo>
                    <a:lnTo>
                      <a:pt x="369" y="270"/>
                    </a:lnTo>
                    <a:lnTo>
                      <a:pt x="366" y="270"/>
                    </a:lnTo>
                    <a:lnTo>
                      <a:pt x="363" y="270"/>
                    </a:lnTo>
                    <a:lnTo>
                      <a:pt x="361" y="274"/>
                    </a:lnTo>
                    <a:lnTo>
                      <a:pt x="361" y="275"/>
                    </a:lnTo>
                    <a:lnTo>
                      <a:pt x="359" y="275"/>
                    </a:lnTo>
                    <a:lnTo>
                      <a:pt x="360" y="277"/>
                    </a:lnTo>
                    <a:lnTo>
                      <a:pt x="361" y="278"/>
                    </a:lnTo>
                    <a:lnTo>
                      <a:pt x="359" y="280"/>
                    </a:lnTo>
                    <a:lnTo>
                      <a:pt x="356" y="281"/>
                    </a:lnTo>
                    <a:lnTo>
                      <a:pt x="356" y="279"/>
                    </a:lnTo>
                    <a:lnTo>
                      <a:pt x="356" y="278"/>
                    </a:lnTo>
                    <a:lnTo>
                      <a:pt x="355" y="277"/>
                    </a:lnTo>
                    <a:lnTo>
                      <a:pt x="353" y="274"/>
                    </a:lnTo>
                    <a:lnTo>
                      <a:pt x="352" y="274"/>
                    </a:lnTo>
                    <a:lnTo>
                      <a:pt x="350" y="274"/>
                    </a:lnTo>
                    <a:lnTo>
                      <a:pt x="349" y="274"/>
                    </a:lnTo>
                    <a:lnTo>
                      <a:pt x="347" y="275"/>
                    </a:lnTo>
                    <a:lnTo>
                      <a:pt x="346" y="276"/>
                    </a:lnTo>
                    <a:lnTo>
                      <a:pt x="344" y="276"/>
                    </a:lnTo>
                    <a:lnTo>
                      <a:pt x="344" y="277"/>
                    </a:lnTo>
                    <a:lnTo>
                      <a:pt x="344" y="278"/>
                    </a:lnTo>
                    <a:lnTo>
                      <a:pt x="344" y="280"/>
                    </a:lnTo>
                    <a:lnTo>
                      <a:pt x="346" y="282"/>
                    </a:lnTo>
                    <a:lnTo>
                      <a:pt x="347" y="284"/>
                    </a:lnTo>
                    <a:lnTo>
                      <a:pt x="348" y="284"/>
                    </a:lnTo>
                    <a:lnTo>
                      <a:pt x="349" y="286"/>
                    </a:lnTo>
                    <a:lnTo>
                      <a:pt x="350" y="286"/>
                    </a:lnTo>
                    <a:lnTo>
                      <a:pt x="350" y="288"/>
                    </a:lnTo>
                    <a:lnTo>
                      <a:pt x="351" y="289"/>
                    </a:lnTo>
                    <a:lnTo>
                      <a:pt x="348" y="290"/>
                    </a:lnTo>
                    <a:lnTo>
                      <a:pt x="343" y="288"/>
                    </a:lnTo>
                    <a:lnTo>
                      <a:pt x="340" y="286"/>
                    </a:lnTo>
                    <a:lnTo>
                      <a:pt x="337" y="284"/>
                    </a:lnTo>
                    <a:lnTo>
                      <a:pt x="334" y="282"/>
                    </a:lnTo>
                    <a:lnTo>
                      <a:pt x="331" y="280"/>
                    </a:lnTo>
                    <a:lnTo>
                      <a:pt x="329" y="280"/>
                    </a:lnTo>
                    <a:lnTo>
                      <a:pt x="327" y="281"/>
                    </a:lnTo>
                    <a:lnTo>
                      <a:pt x="326" y="282"/>
                    </a:lnTo>
                    <a:lnTo>
                      <a:pt x="325" y="286"/>
                    </a:lnTo>
                    <a:lnTo>
                      <a:pt x="325" y="287"/>
                    </a:lnTo>
                    <a:lnTo>
                      <a:pt x="326" y="290"/>
                    </a:lnTo>
                    <a:lnTo>
                      <a:pt x="326" y="292"/>
                    </a:lnTo>
                    <a:lnTo>
                      <a:pt x="328" y="294"/>
                    </a:lnTo>
                    <a:lnTo>
                      <a:pt x="329" y="296"/>
                    </a:lnTo>
                    <a:lnTo>
                      <a:pt x="329" y="300"/>
                    </a:lnTo>
                    <a:lnTo>
                      <a:pt x="330" y="301"/>
                    </a:lnTo>
                    <a:lnTo>
                      <a:pt x="331" y="301"/>
                    </a:lnTo>
                    <a:lnTo>
                      <a:pt x="335" y="303"/>
                    </a:lnTo>
                    <a:lnTo>
                      <a:pt x="335" y="304"/>
                    </a:lnTo>
                    <a:lnTo>
                      <a:pt x="338" y="305"/>
                    </a:lnTo>
                    <a:lnTo>
                      <a:pt x="339" y="306"/>
                    </a:lnTo>
                    <a:lnTo>
                      <a:pt x="339" y="308"/>
                    </a:lnTo>
                    <a:lnTo>
                      <a:pt x="341" y="309"/>
                    </a:lnTo>
                    <a:lnTo>
                      <a:pt x="342" y="312"/>
                    </a:lnTo>
                    <a:lnTo>
                      <a:pt x="344" y="314"/>
                    </a:lnTo>
                    <a:lnTo>
                      <a:pt x="346" y="314"/>
                    </a:lnTo>
                    <a:lnTo>
                      <a:pt x="347" y="316"/>
                    </a:lnTo>
                    <a:lnTo>
                      <a:pt x="348" y="316"/>
                    </a:lnTo>
                    <a:lnTo>
                      <a:pt x="349" y="318"/>
                    </a:lnTo>
                    <a:lnTo>
                      <a:pt x="351" y="318"/>
                    </a:lnTo>
                    <a:lnTo>
                      <a:pt x="352" y="318"/>
                    </a:lnTo>
                    <a:lnTo>
                      <a:pt x="353" y="319"/>
                    </a:lnTo>
                    <a:lnTo>
                      <a:pt x="355" y="319"/>
                    </a:lnTo>
                    <a:lnTo>
                      <a:pt x="357" y="320"/>
                    </a:lnTo>
                    <a:lnTo>
                      <a:pt x="360" y="320"/>
                    </a:lnTo>
                    <a:lnTo>
                      <a:pt x="361" y="321"/>
                    </a:lnTo>
                    <a:lnTo>
                      <a:pt x="361" y="322"/>
                    </a:lnTo>
                    <a:lnTo>
                      <a:pt x="362" y="322"/>
                    </a:lnTo>
                    <a:lnTo>
                      <a:pt x="364" y="320"/>
                    </a:lnTo>
                    <a:lnTo>
                      <a:pt x="366" y="319"/>
                    </a:lnTo>
                    <a:lnTo>
                      <a:pt x="368" y="318"/>
                    </a:lnTo>
                    <a:lnTo>
                      <a:pt x="370" y="318"/>
                    </a:lnTo>
                    <a:lnTo>
                      <a:pt x="373" y="319"/>
                    </a:lnTo>
                    <a:lnTo>
                      <a:pt x="375" y="319"/>
                    </a:lnTo>
                    <a:lnTo>
                      <a:pt x="379" y="319"/>
                    </a:lnTo>
                    <a:lnTo>
                      <a:pt x="385" y="318"/>
                    </a:lnTo>
                    <a:lnTo>
                      <a:pt x="389" y="318"/>
                    </a:lnTo>
                    <a:lnTo>
                      <a:pt x="389" y="319"/>
                    </a:lnTo>
                    <a:lnTo>
                      <a:pt x="389" y="320"/>
                    </a:lnTo>
                    <a:lnTo>
                      <a:pt x="389" y="321"/>
                    </a:lnTo>
                    <a:lnTo>
                      <a:pt x="389" y="323"/>
                    </a:lnTo>
                    <a:lnTo>
                      <a:pt x="386" y="326"/>
                    </a:lnTo>
                    <a:lnTo>
                      <a:pt x="381" y="329"/>
                    </a:lnTo>
                    <a:lnTo>
                      <a:pt x="377" y="333"/>
                    </a:lnTo>
                    <a:lnTo>
                      <a:pt x="374" y="337"/>
                    </a:lnTo>
                    <a:lnTo>
                      <a:pt x="372" y="338"/>
                    </a:lnTo>
                    <a:lnTo>
                      <a:pt x="370" y="338"/>
                    </a:lnTo>
                    <a:lnTo>
                      <a:pt x="369" y="340"/>
                    </a:lnTo>
                    <a:lnTo>
                      <a:pt x="368" y="343"/>
                    </a:lnTo>
                    <a:lnTo>
                      <a:pt x="369" y="346"/>
                    </a:lnTo>
                    <a:lnTo>
                      <a:pt x="374" y="351"/>
                    </a:lnTo>
                    <a:lnTo>
                      <a:pt x="375" y="351"/>
                    </a:lnTo>
                    <a:lnTo>
                      <a:pt x="375" y="356"/>
                    </a:lnTo>
                    <a:lnTo>
                      <a:pt x="375" y="358"/>
                    </a:lnTo>
                    <a:lnTo>
                      <a:pt x="377" y="361"/>
                    </a:lnTo>
                    <a:lnTo>
                      <a:pt x="378" y="365"/>
                    </a:lnTo>
                    <a:lnTo>
                      <a:pt x="379" y="367"/>
                    </a:lnTo>
                    <a:lnTo>
                      <a:pt x="381" y="368"/>
                    </a:lnTo>
                    <a:lnTo>
                      <a:pt x="381" y="370"/>
                    </a:lnTo>
                    <a:lnTo>
                      <a:pt x="384" y="374"/>
                    </a:lnTo>
                    <a:lnTo>
                      <a:pt x="384" y="376"/>
                    </a:lnTo>
                    <a:lnTo>
                      <a:pt x="384" y="377"/>
                    </a:lnTo>
                    <a:lnTo>
                      <a:pt x="386" y="378"/>
                    </a:lnTo>
                    <a:lnTo>
                      <a:pt x="387" y="379"/>
                    </a:lnTo>
                    <a:lnTo>
                      <a:pt x="388" y="380"/>
                    </a:lnTo>
                    <a:lnTo>
                      <a:pt x="389" y="380"/>
                    </a:lnTo>
                    <a:lnTo>
                      <a:pt x="391" y="380"/>
                    </a:lnTo>
                    <a:lnTo>
                      <a:pt x="392" y="380"/>
                    </a:lnTo>
                    <a:lnTo>
                      <a:pt x="391" y="378"/>
                    </a:lnTo>
                    <a:lnTo>
                      <a:pt x="389" y="374"/>
                    </a:lnTo>
                    <a:lnTo>
                      <a:pt x="394" y="376"/>
                    </a:lnTo>
                    <a:lnTo>
                      <a:pt x="397" y="374"/>
                    </a:lnTo>
                    <a:lnTo>
                      <a:pt x="400" y="373"/>
                    </a:lnTo>
                    <a:lnTo>
                      <a:pt x="402" y="372"/>
                    </a:lnTo>
                    <a:lnTo>
                      <a:pt x="403" y="373"/>
                    </a:lnTo>
                    <a:lnTo>
                      <a:pt x="406" y="374"/>
                    </a:lnTo>
                    <a:lnTo>
                      <a:pt x="410" y="374"/>
                    </a:lnTo>
                    <a:lnTo>
                      <a:pt x="414" y="374"/>
                    </a:lnTo>
                    <a:lnTo>
                      <a:pt x="416" y="373"/>
                    </a:lnTo>
                    <a:lnTo>
                      <a:pt x="418" y="373"/>
                    </a:lnTo>
                    <a:lnTo>
                      <a:pt x="419" y="372"/>
                    </a:lnTo>
                    <a:lnTo>
                      <a:pt x="423" y="372"/>
                    </a:lnTo>
                    <a:lnTo>
                      <a:pt x="426" y="370"/>
                    </a:lnTo>
                    <a:lnTo>
                      <a:pt x="426" y="369"/>
                    </a:lnTo>
                    <a:lnTo>
                      <a:pt x="427" y="368"/>
                    </a:lnTo>
                    <a:lnTo>
                      <a:pt x="428" y="368"/>
                    </a:lnTo>
                    <a:lnTo>
                      <a:pt x="428" y="367"/>
                    </a:lnTo>
                    <a:lnTo>
                      <a:pt x="429" y="367"/>
                    </a:lnTo>
                    <a:lnTo>
                      <a:pt x="430" y="367"/>
                    </a:lnTo>
                    <a:lnTo>
                      <a:pt x="431" y="366"/>
                    </a:lnTo>
                    <a:lnTo>
                      <a:pt x="432" y="367"/>
                    </a:lnTo>
                    <a:lnTo>
                      <a:pt x="433" y="367"/>
                    </a:lnTo>
                    <a:lnTo>
                      <a:pt x="434" y="368"/>
                    </a:lnTo>
                    <a:lnTo>
                      <a:pt x="434" y="369"/>
                    </a:lnTo>
                    <a:lnTo>
                      <a:pt x="437" y="371"/>
                    </a:lnTo>
                    <a:lnTo>
                      <a:pt x="438" y="372"/>
                    </a:lnTo>
                    <a:lnTo>
                      <a:pt x="439" y="373"/>
                    </a:lnTo>
                    <a:lnTo>
                      <a:pt x="441" y="374"/>
                    </a:lnTo>
                    <a:lnTo>
                      <a:pt x="441" y="376"/>
                    </a:lnTo>
                    <a:lnTo>
                      <a:pt x="444" y="377"/>
                    </a:lnTo>
                    <a:lnTo>
                      <a:pt x="446" y="378"/>
                    </a:lnTo>
                    <a:lnTo>
                      <a:pt x="447" y="379"/>
                    </a:lnTo>
                    <a:lnTo>
                      <a:pt x="447" y="380"/>
                    </a:lnTo>
                    <a:lnTo>
                      <a:pt x="446" y="380"/>
                    </a:lnTo>
                    <a:lnTo>
                      <a:pt x="445" y="379"/>
                    </a:lnTo>
                    <a:lnTo>
                      <a:pt x="444" y="378"/>
                    </a:lnTo>
                    <a:lnTo>
                      <a:pt x="442" y="378"/>
                    </a:lnTo>
                    <a:lnTo>
                      <a:pt x="439" y="377"/>
                    </a:lnTo>
                    <a:lnTo>
                      <a:pt x="437" y="377"/>
                    </a:lnTo>
                    <a:lnTo>
                      <a:pt x="434" y="376"/>
                    </a:lnTo>
                    <a:lnTo>
                      <a:pt x="431" y="376"/>
                    </a:lnTo>
                    <a:lnTo>
                      <a:pt x="429" y="376"/>
                    </a:lnTo>
                    <a:lnTo>
                      <a:pt x="428" y="376"/>
                    </a:lnTo>
                    <a:lnTo>
                      <a:pt x="428" y="377"/>
                    </a:lnTo>
                    <a:lnTo>
                      <a:pt x="427" y="377"/>
                    </a:lnTo>
                    <a:lnTo>
                      <a:pt x="426" y="377"/>
                    </a:lnTo>
                    <a:lnTo>
                      <a:pt x="425" y="378"/>
                    </a:lnTo>
                    <a:lnTo>
                      <a:pt x="424" y="378"/>
                    </a:lnTo>
                    <a:lnTo>
                      <a:pt x="423" y="379"/>
                    </a:lnTo>
                    <a:lnTo>
                      <a:pt x="421" y="379"/>
                    </a:lnTo>
                    <a:lnTo>
                      <a:pt x="420" y="379"/>
                    </a:lnTo>
                    <a:lnTo>
                      <a:pt x="419" y="380"/>
                    </a:lnTo>
                    <a:lnTo>
                      <a:pt x="419" y="381"/>
                    </a:lnTo>
                    <a:lnTo>
                      <a:pt x="418" y="381"/>
                    </a:lnTo>
                    <a:lnTo>
                      <a:pt x="417" y="381"/>
                    </a:lnTo>
                    <a:lnTo>
                      <a:pt x="417" y="382"/>
                    </a:lnTo>
                    <a:lnTo>
                      <a:pt x="416" y="383"/>
                    </a:lnTo>
                    <a:lnTo>
                      <a:pt x="414" y="384"/>
                    </a:lnTo>
                    <a:lnTo>
                      <a:pt x="412" y="386"/>
                    </a:lnTo>
                    <a:lnTo>
                      <a:pt x="410" y="387"/>
                    </a:lnTo>
                    <a:lnTo>
                      <a:pt x="410" y="389"/>
                    </a:lnTo>
                    <a:lnTo>
                      <a:pt x="408" y="390"/>
                    </a:lnTo>
                    <a:lnTo>
                      <a:pt x="410" y="391"/>
                    </a:lnTo>
                    <a:lnTo>
                      <a:pt x="410" y="392"/>
                    </a:lnTo>
                    <a:lnTo>
                      <a:pt x="410" y="393"/>
                    </a:lnTo>
                    <a:lnTo>
                      <a:pt x="411" y="393"/>
                    </a:lnTo>
                    <a:lnTo>
                      <a:pt x="412" y="393"/>
                    </a:lnTo>
                    <a:lnTo>
                      <a:pt x="412" y="394"/>
                    </a:lnTo>
                    <a:lnTo>
                      <a:pt x="413" y="394"/>
                    </a:lnTo>
                    <a:lnTo>
                      <a:pt x="414" y="393"/>
                    </a:lnTo>
                    <a:lnTo>
                      <a:pt x="415" y="393"/>
                    </a:lnTo>
                    <a:lnTo>
                      <a:pt x="416" y="394"/>
                    </a:lnTo>
                    <a:lnTo>
                      <a:pt x="417" y="394"/>
                    </a:lnTo>
                    <a:lnTo>
                      <a:pt x="418" y="395"/>
                    </a:lnTo>
                    <a:lnTo>
                      <a:pt x="419" y="395"/>
                    </a:lnTo>
                    <a:lnTo>
                      <a:pt x="420" y="395"/>
                    </a:lnTo>
                    <a:lnTo>
                      <a:pt x="421" y="395"/>
                    </a:lnTo>
                    <a:lnTo>
                      <a:pt x="421" y="394"/>
                    </a:lnTo>
                    <a:lnTo>
                      <a:pt x="423" y="394"/>
                    </a:lnTo>
                    <a:lnTo>
                      <a:pt x="424" y="394"/>
                    </a:lnTo>
                    <a:lnTo>
                      <a:pt x="425" y="395"/>
                    </a:lnTo>
                    <a:lnTo>
                      <a:pt x="426" y="395"/>
                    </a:lnTo>
                    <a:lnTo>
                      <a:pt x="427" y="395"/>
                    </a:lnTo>
                    <a:lnTo>
                      <a:pt x="426" y="395"/>
                    </a:lnTo>
                    <a:lnTo>
                      <a:pt x="426" y="396"/>
                    </a:lnTo>
                    <a:lnTo>
                      <a:pt x="427" y="396"/>
                    </a:lnTo>
                    <a:lnTo>
                      <a:pt x="427" y="397"/>
                    </a:lnTo>
                    <a:lnTo>
                      <a:pt x="427" y="398"/>
                    </a:lnTo>
                    <a:lnTo>
                      <a:pt x="426" y="398"/>
                    </a:lnTo>
                    <a:lnTo>
                      <a:pt x="425" y="398"/>
                    </a:lnTo>
                    <a:lnTo>
                      <a:pt x="425" y="399"/>
                    </a:lnTo>
                    <a:lnTo>
                      <a:pt x="424" y="399"/>
                    </a:lnTo>
                    <a:lnTo>
                      <a:pt x="424" y="400"/>
                    </a:lnTo>
                    <a:lnTo>
                      <a:pt x="423" y="399"/>
                    </a:lnTo>
                    <a:lnTo>
                      <a:pt x="420" y="399"/>
                    </a:lnTo>
                    <a:lnTo>
                      <a:pt x="419" y="399"/>
                    </a:lnTo>
                    <a:lnTo>
                      <a:pt x="418" y="399"/>
                    </a:lnTo>
                    <a:lnTo>
                      <a:pt x="418" y="400"/>
                    </a:lnTo>
                    <a:lnTo>
                      <a:pt x="417" y="400"/>
                    </a:lnTo>
                    <a:lnTo>
                      <a:pt x="417" y="399"/>
                    </a:lnTo>
                    <a:lnTo>
                      <a:pt x="415" y="399"/>
                    </a:lnTo>
                    <a:lnTo>
                      <a:pt x="414" y="399"/>
                    </a:lnTo>
                    <a:lnTo>
                      <a:pt x="413" y="398"/>
                    </a:lnTo>
                    <a:lnTo>
                      <a:pt x="412" y="398"/>
                    </a:lnTo>
                    <a:lnTo>
                      <a:pt x="410" y="399"/>
                    </a:lnTo>
                    <a:lnTo>
                      <a:pt x="407" y="399"/>
                    </a:lnTo>
                    <a:lnTo>
                      <a:pt x="404" y="400"/>
                    </a:lnTo>
                    <a:lnTo>
                      <a:pt x="401" y="399"/>
                    </a:lnTo>
                    <a:lnTo>
                      <a:pt x="397" y="399"/>
                    </a:lnTo>
                    <a:lnTo>
                      <a:pt x="395" y="398"/>
                    </a:lnTo>
                    <a:lnTo>
                      <a:pt x="392" y="398"/>
                    </a:lnTo>
                    <a:lnTo>
                      <a:pt x="388" y="397"/>
                    </a:lnTo>
                    <a:lnTo>
                      <a:pt x="373" y="398"/>
                    </a:lnTo>
                    <a:lnTo>
                      <a:pt x="370" y="398"/>
                    </a:lnTo>
                    <a:lnTo>
                      <a:pt x="362" y="398"/>
                    </a:lnTo>
                    <a:lnTo>
                      <a:pt x="357" y="400"/>
                    </a:lnTo>
                    <a:lnTo>
                      <a:pt x="353" y="402"/>
                    </a:lnTo>
                    <a:lnTo>
                      <a:pt x="349" y="403"/>
                    </a:lnTo>
                    <a:lnTo>
                      <a:pt x="342" y="406"/>
                    </a:lnTo>
                    <a:lnTo>
                      <a:pt x="331" y="410"/>
                    </a:lnTo>
                    <a:lnTo>
                      <a:pt x="330" y="410"/>
                    </a:lnTo>
                    <a:lnTo>
                      <a:pt x="329" y="411"/>
                    </a:lnTo>
                    <a:lnTo>
                      <a:pt x="326" y="412"/>
                    </a:lnTo>
                    <a:lnTo>
                      <a:pt x="325" y="413"/>
                    </a:lnTo>
                    <a:lnTo>
                      <a:pt x="323" y="415"/>
                    </a:lnTo>
                    <a:lnTo>
                      <a:pt x="320" y="417"/>
                    </a:lnTo>
                    <a:lnTo>
                      <a:pt x="318" y="418"/>
                    </a:lnTo>
                    <a:lnTo>
                      <a:pt x="317" y="419"/>
                    </a:lnTo>
                    <a:lnTo>
                      <a:pt x="315" y="419"/>
                    </a:lnTo>
                    <a:lnTo>
                      <a:pt x="315" y="420"/>
                    </a:lnTo>
                    <a:lnTo>
                      <a:pt x="314" y="420"/>
                    </a:lnTo>
                    <a:lnTo>
                      <a:pt x="312" y="421"/>
                    </a:lnTo>
                    <a:lnTo>
                      <a:pt x="308" y="424"/>
                    </a:lnTo>
                    <a:lnTo>
                      <a:pt x="304" y="425"/>
                    </a:lnTo>
                    <a:lnTo>
                      <a:pt x="303" y="428"/>
                    </a:lnTo>
                    <a:lnTo>
                      <a:pt x="302" y="428"/>
                    </a:lnTo>
                    <a:lnTo>
                      <a:pt x="300" y="429"/>
                    </a:lnTo>
                    <a:lnTo>
                      <a:pt x="299" y="430"/>
                    </a:lnTo>
                    <a:lnTo>
                      <a:pt x="298" y="430"/>
                    </a:lnTo>
                    <a:lnTo>
                      <a:pt x="297" y="431"/>
                    </a:lnTo>
                    <a:lnTo>
                      <a:pt x="295" y="432"/>
                    </a:lnTo>
                    <a:lnTo>
                      <a:pt x="290" y="433"/>
                    </a:lnTo>
                    <a:lnTo>
                      <a:pt x="285" y="434"/>
                    </a:lnTo>
                    <a:lnTo>
                      <a:pt x="282" y="435"/>
                    </a:lnTo>
                    <a:lnTo>
                      <a:pt x="279" y="435"/>
                    </a:lnTo>
                    <a:lnTo>
                      <a:pt x="276" y="435"/>
                    </a:lnTo>
                    <a:lnTo>
                      <a:pt x="275" y="435"/>
                    </a:lnTo>
                    <a:lnTo>
                      <a:pt x="270" y="435"/>
                    </a:lnTo>
                    <a:lnTo>
                      <a:pt x="268" y="435"/>
                    </a:lnTo>
                    <a:lnTo>
                      <a:pt x="265" y="435"/>
                    </a:lnTo>
                    <a:lnTo>
                      <a:pt x="265" y="433"/>
                    </a:lnTo>
                    <a:lnTo>
                      <a:pt x="264" y="433"/>
                    </a:lnTo>
                    <a:lnTo>
                      <a:pt x="263" y="433"/>
                    </a:lnTo>
                    <a:lnTo>
                      <a:pt x="262" y="434"/>
                    </a:lnTo>
                    <a:lnTo>
                      <a:pt x="258" y="436"/>
                    </a:lnTo>
                    <a:lnTo>
                      <a:pt x="257" y="436"/>
                    </a:lnTo>
                    <a:lnTo>
                      <a:pt x="255" y="436"/>
                    </a:lnTo>
                    <a:lnTo>
                      <a:pt x="252" y="436"/>
                    </a:lnTo>
                    <a:lnTo>
                      <a:pt x="251" y="436"/>
                    </a:lnTo>
                    <a:lnTo>
                      <a:pt x="248" y="435"/>
                    </a:lnTo>
                    <a:lnTo>
                      <a:pt x="247" y="435"/>
                    </a:lnTo>
                    <a:lnTo>
                      <a:pt x="243" y="435"/>
                    </a:lnTo>
                    <a:lnTo>
                      <a:pt x="240" y="434"/>
                    </a:lnTo>
                    <a:lnTo>
                      <a:pt x="236" y="433"/>
                    </a:lnTo>
                    <a:lnTo>
                      <a:pt x="234" y="432"/>
                    </a:lnTo>
                    <a:lnTo>
                      <a:pt x="231" y="431"/>
                    </a:lnTo>
                    <a:lnTo>
                      <a:pt x="228" y="431"/>
                    </a:lnTo>
                    <a:lnTo>
                      <a:pt x="225" y="430"/>
                    </a:lnTo>
                    <a:lnTo>
                      <a:pt x="223" y="430"/>
                    </a:lnTo>
                    <a:lnTo>
                      <a:pt x="219" y="429"/>
                    </a:lnTo>
                    <a:lnTo>
                      <a:pt x="215" y="428"/>
                    </a:lnTo>
                    <a:lnTo>
                      <a:pt x="213" y="428"/>
                    </a:lnTo>
                    <a:lnTo>
                      <a:pt x="210" y="428"/>
                    </a:lnTo>
                    <a:lnTo>
                      <a:pt x="206" y="427"/>
                    </a:lnTo>
                    <a:lnTo>
                      <a:pt x="202" y="427"/>
                    </a:lnTo>
                    <a:lnTo>
                      <a:pt x="201" y="425"/>
                    </a:lnTo>
                    <a:lnTo>
                      <a:pt x="200" y="425"/>
                    </a:lnTo>
                    <a:lnTo>
                      <a:pt x="198" y="425"/>
                    </a:lnTo>
                    <a:lnTo>
                      <a:pt x="196" y="424"/>
                    </a:lnTo>
                    <a:lnTo>
                      <a:pt x="195" y="424"/>
                    </a:lnTo>
                    <a:lnTo>
                      <a:pt x="194" y="422"/>
                    </a:lnTo>
                    <a:lnTo>
                      <a:pt x="193" y="422"/>
                    </a:lnTo>
                    <a:lnTo>
                      <a:pt x="192" y="421"/>
                    </a:lnTo>
                    <a:lnTo>
                      <a:pt x="191" y="421"/>
                    </a:lnTo>
                    <a:lnTo>
                      <a:pt x="188" y="421"/>
                    </a:lnTo>
                    <a:lnTo>
                      <a:pt x="186" y="420"/>
                    </a:lnTo>
                    <a:lnTo>
                      <a:pt x="184" y="420"/>
                    </a:lnTo>
                    <a:lnTo>
                      <a:pt x="181" y="419"/>
                    </a:lnTo>
                    <a:lnTo>
                      <a:pt x="173" y="417"/>
                    </a:lnTo>
                    <a:lnTo>
                      <a:pt x="170" y="417"/>
                    </a:lnTo>
                    <a:lnTo>
                      <a:pt x="168" y="416"/>
                    </a:lnTo>
                    <a:lnTo>
                      <a:pt x="165" y="415"/>
                    </a:lnTo>
                    <a:lnTo>
                      <a:pt x="160" y="415"/>
                    </a:lnTo>
                    <a:lnTo>
                      <a:pt x="158" y="415"/>
                    </a:lnTo>
                    <a:lnTo>
                      <a:pt x="149" y="412"/>
                    </a:lnTo>
                    <a:lnTo>
                      <a:pt x="144" y="412"/>
                    </a:lnTo>
                    <a:lnTo>
                      <a:pt x="137" y="411"/>
                    </a:lnTo>
                    <a:lnTo>
                      <a:pt x="135" y="411"/>
                    </a:lnTo>
                    <a:lnTo>
                      <a:pt x="128" y="409"/>
                    </a:lnTo>
                    <a:lnTo>
                      <a:pt x="124" y="409"/>
                    </a:lnTo>
                    <a:lnTo>
                      <a:pt x="124" y="408"/>
                    </a:lnTo>
                    <a:lnTo>
                      <a:pt x="124" y="407"/>
                    </a:lnTo>
                    <a:lnTo>
                      <a:pt x="123" y="407"/>
                    </a:lnTo>
                    <a:lnTo>
                      <a:pt x="122" y="408"/>
                    </a:lnTo>
                    <a:lnTo>
                      <a:pt x="119" y="408"/>
                    </a:lnTo>
                    <a:lnTo>
                      <a:pt x="118" y="408"/>
                    </a:lnTo>
                    <a:lnTo>
                      <a:pt x="116" y="407"/>
                    </a:lnTo>
                    <a:lnTo>
                      <a:pt x="111" y="406"/>
                    </a:lnTo>
                    <a:lnTo>
                      <a:pt x="111" y="405"/>
                    </a:lnTo>
                    <a:lnTo>
                      <a:pt x="111" y="404"/>
                    </a:lnTo>
                    <a:lnTo>
                      <a:pt x="111" y="403"/>
                    </a:lnTo>
                    <a:lnTo>
                      <a:pt x="110" y="402"/>
                    </a:lnTo>
                    <a:lnTo>
                      <a:pt x="110" y="400"/>
                    </a:lnTo>
                    <a:lnTo>
                      <a:pt x="109" y="400"/>
                    </a:lnTo>
                    <a:lnTo>
                      <a:pt x="109" y="398"/>
                    </a:lnTo>
                    <a:lnTo>
                      <a:pt x="110" y="396"/>
                    </a:lnTo>
                    <a:lnTo>
                      <a:pt x="109" y="396"/>
                    </a:lnTo>
                    <a:lnTo>
                      <a:pt x="108" y="396"/>
                    </a:lnTo>
                    <a:lnTo>
                      <a:pt x="106" y="396"/>
                    </a:lnTo>
                    <a:lnTo>
                      <a:pt x="101" y="398"/>
                    </a:lnTo>
                    <a:lnTo>
                      <a:pt x="100" y="399"/>
                    </a:lnTo>
                    <a:lnTo>
                      <a:pt x="100" y="402"/>
                    </a:lnTo>
                    <a:lnTo>
                      <a:pt x="102" y="403"/>
                    </a:lnTo>
                    <a:lnTo>
                      <a:pt x="102" y="404"/>
                    </a:lnTo>
                    <a:lnTo>
                      <a:pt x="104" y="404"/>
                    </a:lnTo>
                    <a:lnTo>
                      <a:pt x="105" y="404"/>
                    </a:lnTo>
                    <a:lnTo>
                      <a:pt x="107" y="404"/>
                    </a:lnTo>
                    <a:lnTo>
                      <a:pt x="107" y="405"/>
                    </a:lnTo>
                    <a:lnTo>
                      <a:pt x="108" y="405"/>
                    </a:lnTo>
                    <a:lnTo>
                      <a:pt x="109" y="406"/>
                    </a:lnTo>
                    <a:lnTo>
                      <a:pt x="108" y="406"/>
                    </a:lnTo>
                    <a:lnTo>
                      <a:pt x="107" y="406"/>
                    </a:lnTo>
                    <a:lnTo>
                      <a:pt x="106" y="405"/>
                    </a:lnTo>
                    <a:lnTo>
                      <a:pt x="105" y="405"/>
                    </a:lnTo>
                    <a:lnTo>
                      <a:pt x="103" y="405"/>
                    </a:lnTo>
                    <a:lnTo>
                      <a:pt x="102" y="405"/>
                    </a:lnTo>
                    <a:lnTo>
                      <a:pt x="101" y="404"/>
                    </a:lnTo>
                    <a:lnTo>
                      <a:pt x="100" y="404"/>
                    </a:lnTo>
                    <a:lnTo>
                      <a:pt x="98" y="404"/>
                    </a:lnTo>
                    <a:lnTo>
                      <a:pt x="97" y="404"/>
                    </a:lnTo>
                    <a:lnTo>
                      <a:pt x="96" y="404"/>
                    </a:lnTo>
                    <a:lnTo>
                      <a:pt x="94" y="403"/>
                    </a:lnTo>
                    <a:lnTo>
                      <a:pt x="93" y="403"/>
                    </a:lnTo>
                    <a:lnTo>
                      <a:pt x="92" y="403"/>
                    </a:lnTo>
                    <a:lnTo>
                      <a:pt x="90" y="403"/>
                    </a:lnTo>
                    <a:lnTo>
                      <a:pt x="89" y="402"/>
                    </a:lnTo>
                    <a:lnTo>
                      <a:pt x="88" y="402"/>
                    </a:lnTo>
                    <a:lnTo>
                      <a:pt x="86" y="402"/>
                    </a:lnTo>
                    <a:lnTo>
                      <a:pt x="85" y="402"/>
                    </a:lnTo>
                    <a:lnTo>
                      <a:pt x="83" y="402"/>
                    </a:lnTo>
                    <a:lnTo>
                      <a:pt x="82" y="402"/>
                    </a:lnTo>
                    <a:lnTo>
                      <a:pt x="80" y="400"/>
                    </a:lnTo>
                    <a:lnTo>
                      <a:pt x="79" y="400"/>
                    </a:lnTo>
                    <a:lnTo>
                      <a:pt x="78" y="399"/>
                    </a:lnTo>
                    <a:lnTo>
                      <a:pt x="77" y="399"/>
                    </a:lnTo>
                    <a:lnTo>
                      <a:pt x="76" y="399"/>
                    </a:lnTo>
                    <a:lnTo>
                      <a:pt x="75" y="399"/>
                    </a:lnTo>
                    <a:lnTo>
                      <a:pt x="75" y="387"/>
                    </a:lnTo>
                    <a:lnTo>
                      <a:pt x="75" y="383"/>
                    </a:lnTo>
                    <a:lnTo>
                      <a:pt x="76" y="371"/>
                    </a:lnTo>
                    <a:lnTo>
                      <a:pt x="76" y="353"/>
                    </a:lnTo>
                    <a:lnTo>
                      <a:pt x="76" y="340"/>
                    </a:lnTo>
                    <a:lnTo>
                      <a:pt x="76" y="332"/>
                    </a:lnTo>
                    <a:lnTo>
                      <a:pt x="76" y="326"/>
                    </a:lnTo>
                    <a:lnTo>
                      <a:pt x="76" y="307"/>
                    </a:lnTo>
                    <a:lnTo>
                      <a:pt x="76" y="305"/>
                    </a:lnTo>
                    <a:lnTo>
                      <a:pt x="76" y="300"/>
                    </a:lnTo>
                    <a:lnTo>
                      <a:pt x="76" y="299"/>
                    </a:lnTo>
                    <a:lnTo>
                      <a:pt x="76" y="296"/>
                    </a:lnTo>
                    <a:lnTo>
                      <a:pt x="76" y="294"/>
                    </a:lnTo>
                    <a:lnTo>
                      <a:pt x="76" y="290"/>
                    </a:lnTo>
                    <a:lnTo>
                      <a:pt x="76" y="283"/>
                    </a:lnTo>
                    <a:lnTo>
                      <a:pt x="77" y="282"/>
                    </a:lnTo>
                    <a:lnTo>
                      <a:pt x="77" y="270"/>
                    </a:lnTo>
                    <a:lnTo>
                      <a:pt x="77" y="266"/>
                    </a:lnTo>
                    <a:lnTo>
                      <a:pt x="77" y="246"/>
                    </a:lnTo>
                    <a:lnTo>
                      <a:pt x="77" y="241"/>
                    </a:lnTo>
                    <a:lnTo>
                      <a:pt x="77" y="236"/>
                    </a:lnTo>
                    <a:lnTo>
                      <a:pt x="77" y="217"/>
                    </a:lnTo>
                    <a:lnTo>
                      <a:pt x="77" y="197"/>
                    </a:lnTo>
                    <a:lnTo>
                      <a:pt x="77" y="194"/>
                    </a:lnTo>
                    <a:lnTo>
                      <a:pt x="76" y="164"/>
                    </a:lnTo>
                    <a:lnTo>
                      <a:pt x="76" y="163"/>
                    </a:lnTo>
                    <a:lnTo>
                      <a:pt x="76" y="155"/>
                    </a:lnTo>
                    <a:lnTo>
                      <a:pt x="76" y="153"/>
                    </a:lnTo>
                    <a:lnTo>
                      <a:pt x="76" y="143"/>
                    </a:lnTo>
                    <a:lnTo>
                      <a:pt x="76" y="137"/>
                    </a:lnTo>
                    <a:lnTo>
                      <a:pt x="76" y="133"/>
                    </a:lnTo>
                    <a:lnTo>
                      <a:pt x="76" y="130"/>
                    </a:lnTo>
                    <a:lnTo>
                      <a:pt x="76" y="117"/>
                    </a:lnTo>
                    <a:lnTo>
                      <a:pt x="76" y="114"/>
                    </a:lnTo>
                    <a:lnTo>
                      <a:pt x="76" y="110"/>
                    </a:lnTo>
                    <a:lnTo>
                      <a:pt x="76" y="109"/>
                    </a:lnTo>
                    <a:lnTo>
                      <a:pt x="76" y="107"/>
                    </a:lnTo>
                    <a:lnTo>
                      <a:pt x="76" y="104"/>
                    </a:lnTo>
                    <a:lnTo>
                      <a:pt x="76" y="94"/>
                    </a:lnTo>
                    <a:lnTo>
                      <a:pt x="76" y="91"/>
                    </a:lnTo>
                    <a:lnTo>
                      <a:pt x="76" y="89"/>
                    </a:lnTo>
                    <a:lnTo>
                      <a:pt x="76" y="80"/>
                    </a:lnTo>
                    <a:lnTo>
                      <a:pt x="56" y="80"/>
                    </a:lnTo>
                    <a:lnTo>
                      <a:pt x="50" y="80"/>
                    </a:lnTo>
                    <a:lnTo>
                      <a:pt x="41" y="80"/>
                    </a:lnTo>
                    <a:lnTo>
                      <a:pt x="38" y="80"/>
                    </a:lnTo>
                    <a:lnTo>
                      <a:pt x="10" y="80"/>
                    </a:lnTo>
                    <a:lnTo>
                      <a:pt x="3" y="80"/>
                    </a:lnTo>
                    <a:lnTo>
                      <a:pt x="1" y="80"/>
                    </a:lnTo>
                    <a:lnTo>
                      <a:pt x="0" y="80"/>
                    </a:lnTo>
                    <a:lnTo>
                      <a:pt x="1" y="80"/>
                    </a:lnTo>
                    <a:lnTo>
                      <a:pt x="2" y="80"/>
                    </a:lnTo>
                    <a:lnTo>
                      <a:pt x="3" y="80"/>
                    </a:lnTo>
                    <a:lnTo>
                      <a:pt x="3" y="78"/>
                    </a:lnTo>
                    <a:lnTo>
                      <a:pt x="4" y="77"/>
                    </a:lnTo>
                    <a:lnTo>
                      <a:pt x="5" y="76"/>
                    </a:lnTo>
                    <a:lnTo>
                      <a:pt x="7" y="73"/>
                    </a:lnTo>
                    <a:lnTo>
                      <a:pt x="8" y="72"/>
                    </a:lnTo>
                    <a:lnTo>
                      <a:pt x="10" y="72"/>
                    </a:lnTo>
                    <a:lnTo>
                      <a:pt x="11" y="72"/>
                    </a:lnTo>
                    <a:lnTo>
                      <a:pt x="13" y="72"/>
                    </a:lnTo>
                    <a:lnTo>
                      <a:pt x="14" y="72"/>
                    </a:lnTo>
                    <a:lnTo>
                      <a:pt x="15" y="72"/>
                    </a:lnTo>
                    <a:lnTo>
                      <a:pt x="16" y="72"/>
                    </a:lnTo>
                    <a:lnTo>
                      <a:pt x="17" y="71"/>
                    </a:lnTo>
                    <a:lnTo>
                      <a:pt x="19" y="69"/>
                    </a:lnTo>
                    <a:lnTo>
                      <a:pt x="20" y="69"/>
                    </a:lnTo>
                    <a:lnTo>
                      <a:pt x="21" y="69"/>
                    </a:lnTo>
                    <a:lnTo>
                      <a:pt x="23" y="69"/>
                    </a:lnTo>
                    <a:lnTo>
                      <a:pt x="24" y="69"/>
                    </a:lnTo>
                    <a:lnTo>
                      <a:pt x="25" y="69"/>
                    </a:lnTo>
                    <a:lnTo>
                      <a:pt x="26" y="68"/>
                    </a:lnTo>
                    <a:lnTo>
                      <a:pt x="26" y="65"/>
                    </a:lnTo>
                    <a:lnTo>
                      <a:pt x="26" y="64"/>
                    </a:lnTo>
                    <a:lnTo>
                      <a:pt x="26" y="63"/>
                    </a:lnTo>
                    <a:lnTo>
                      <a:pt x="27" y="63"/>
                    </a:lnTo>
                    <a:lnTo>
                      <a:pt x="27" y="62"/>
                    </a:lnTo>
                    <a:lnTo>
                      <a:pt x="28" y="63"/>
                    </a:lnTo>
                    <a:lnTo>
                      <a:pt x="29" y="64"/>
                    </a:lnTo>
                    <a:lnTo>
                      <a:pt x="30" y="64"/>
                    </a:lnTo>
                    <a:lnTo>
                      <a:pt x="31" y="64"/>
                    </a:lnTo>
                    <a:lnTo>
                      <a:pt x="32" y="64"/>
                    </a:lnTo>
                    <a:lnTo>
                      <a:pt x="33" y="64"/>
                    </a:lnTo>
                    <a:lnTo>
                      <a:pt x="33" y="63"/>
                    </a:lnTo>
                    <a:lnTo>
                      <a:pt x="34" y="62"/>
                    </a:lnTo>
                    <a:lnTo>
                      <a:pt x="36" y="61"/>
                    </a:lnTo>
                    <a:lnTo>
                      <a:pt x="37" y="60"/>
                    </a:lnTo>
                    <a:lnTo>
                      <a:pt x="39" y="57"/>
                    </a:lnTo>
                    <a:lnTo>
                      <a:pt x="40" y="57"/>
                    </a:lnTo>
                    <a:lnTo>
                      <a:pt x="41" y="56"/>
                    </a:lnTo>
                    <a:lnTo>
                      <a:pt x="42" y="56"/>
                    </a:lnTo>
                    <a:lnTo>
                      <a:pt x="43" y="57"/>
                    </a:lnTo>
                    <a:lnTo>
                      <a:pt x="45" y="58"/>
                    </a:lnTo>
                    <a:lnTo>
                      <a:pt x="47" y="58"/>
                    </a:lnTo>
                    <a:lnTo>
                      <a:pt x="49" y="57"/>
                    </a:lnTo>
                    <a:lnTo>
                      <a:pt x="51" y="52"/>
                    </a:lnTo>
                    <a:lnTo>
                      <a:pt x="52" y="50"/>
                    </a:lnTo>
                    <a:lnTo>
                      <a:pt x="53" y="50"/>
                    </a:lnTo>
                    <a:lnTo>
                      <a:pt x="53" y="52"/>
                    </a:lnTo>
                    <a:lnTo>
                      <a:pt x="54" y="53"/>
                    </a:lnTo>
                    <a:lnTo>
                      <a:pt x="54" y="55"/>
                    </a:lnTo>
                    <a:lnTo>
                      <a:pt x="55" y="55"/>
                    </a:lnTo>
                    <a:lnTo>
                      <a:pt x="56" y="55"/>
                    </a:lnTo>
                    <a:lnTo>
                      <a:pt x="57" y="53"/>
                    </a:lnTo>
                    <a:lnTo>
                      <a:pt x="58" y="53"/>
                    </a:lnTo>
                    <a:lnTo>
                      <a:pt x="59" y="53"/>
                    </a:lnTo>
                    <a:lnTo>
                      <a:pt x="59" y="55"/>
                    </a:lnTo>
                    <a:lnTo>
                      <a:pt x="60" y="55"/>
                    </a:lnTo>
                    <a:lnTo>
                      <a:pt x="60" y="56"/>
                    </a:lnTo>
                    <a:lnTo>
                      <a:pt x="62" y="56"/>
                    </a:lnTo>
                    <a:lnTo>
                      <a:pt x="63" y="55"/>
                    </a:lnTo>
                    <a:lnTo>
                      <a:pt x="63" y="53"/>
                    </a:lnTo>
                    <a:lnTo>
                      <a:pt x="64" y="52"/>
                    </a:lnTo>
                    <a:lnTo>
                      <a:pt x="65" y="51"/>
                    </a:lnTo>
                    <a:lnTo>
                      <a:pt x="66" y="51"/>
                    </a:lnTo>
                    <a:lnTo>
                      <a:pt x="66" y="50"/>
                    </a:lnTo>
                    <a:lnTo>
                      <a:pt x="67" y="49"/>
                    </a:lnTo>
                    <a:lnTo>
                      <a:pt x="66" y="49"/>
                    </a:lnTo>
                    <a:lnTo>
                      <a:pt x="66" y="48"/>
                    </a:lnTo>
                    <a:lnTo>
                      <a:pt x="65" y="48"/>
                    </a:lnTo>
                    <a:lnTo>
                      <a:pt x="65" y="47"/>
                    </a:lnTo>
                    <a:lnTo>
                      <a:pt x="65" y="46"/>
                    </a:lnTo>
                    <a:lnTo>
                      <a:pt x="66" y="46"/>
                    </a:lnTo>
                    <a:lnTo>
                      <a:pt x="67" y="46"/>
                    </a:lnTo>
                    <a:lnTo>
                      <a:pt x="68" y="47"/>
                    </a:lnTo>
                    <a:lnTo>
                      <a:pt x="69" y="46"/>
                    </a:lnTo>
                    <a:lnTo>
                      <a:pt x="68" y="45"/>
                    </a:lnTo>
                    <a:lnTo>
                      <a:pt x="67" y="45"/>
                    </a:lnTo>
                    <a:lnTo>
                      <a:pt x="67" y="44"/>
                    </a:lnTo>
                    <a:lnTo>
                      <a:pt x="67" y="43"/>
                    </a:lnTo>
                    <a:lnTo>
                      <a:pt x="67" y="42"/>
                    </a:lnTo>
                    <a:lnTo>
                      <a:pt x="68" y="42"/>
                    </a:lnTo>
                    <a:lnTo>
                      <a:pt x="68" y="40"/>
                    </a:lnTo>
                    <a:lnTo>
                      <a:pt x="69" y="40"/>
                    </a:lnTo>
                    <a:lnTo>
                      <a:pt x="69" y="42"/>
                    </a:lnTo>
                    <a:lnTo>
                      <a:pt x="70" y="42"/>
                    </a:lnTo>
                    <a:lnTo>
                      <a:pt x="70" y="43"/>
                    </a:lnTo>
                    <a:lnTo>
                      <a:pt x="71" y="43"/>
                    </a:lnTo>
                    <a:lnTo>
                      <a:pt x="73" y="40"/>
                    </a:lnTo>
                    <a:lnTo>
                      <a:pt x="73" y="42"/>
                    </a:lnTo>
                    <a:lnTo>
                      <a:pt x="73" y="43"/>
                    </a:lnTo>
                    <a:lnTo>
                      <a:pt x="73" y="44"/>
                    </a:lnTo>
                    <a:lnTo>
                      <a:pt x="75" y="44"/>
                    </a:lnTo>
                    <a:lnTo>
                      <a:pt x="76" y="44"/>
                    </a:lnTo>
                    <a:lnTo>
                      <a:pt x="76" y="43"/>
                    </a:lnTo>
                    <a:lnTo>
                      <a:pt x="77" y="42"/>
                    </a:lnTo>
                    <a:lnTo>
                      <a:pt x="77" y="40"/>
                    </a:lnTo>
                    <a:lnTo>
                      <a:pt x="78" y="42"/>
                    </a:lnTo>
                    <a:lnTo>
                      <a:pt x="79" y="42"/>
                    </a:lnTo>
                    <a:lnTo>
                      <a:pt x="79" y="40"/>
                    </a:lnTo>
                    <a:lnTo>
                      <a:pt x="79" y="39"/>
                    </a:lnTo>
                    <a:lnTo>
                      <a:pt x="80" y="40"/>
                    </a:lnTo>
                    <a:lnTo>
                      <a:pt x="80" y="39"/>
                    </a:lnTo>
                    <a:lnTo>
                      <a:pt x="81" y="39"/>
                    </a:lnTo>
                    <a:lnTo>
                      <a:pt x="82" y="38"/>
                    </a:lnTo>
                    <a:lnTo>
                      <a:pt x="82" y="37"/>
                    </a:lnTo>
                    <a:lnTo>
                      <a:pt x="82" y="36"/>
                    </a:lnTo>
                    <a:lnTo>
                      <a:pt x="82" y="37"/>
                    </a:lnTo>
                    <a:lnTo>
                      <a:pt x="83" y="37"/>
                    </a:lnTo>
                    <a:lnTo>
                      <a:pt x="84" y="37"/>
                    </a:lnTo>
                    <a:lnTo>
                      <a:pt x="84" y="36"/>
                    </a:lnTo>
                    <a:lnTo>
                      <a:pt x="85" y="36"/>
                    </a:lnTo>
                    <a:lnTo>
                      <a:pt x="85" y="37"/>
                    </a:lnTo>
                    <a:lnTo>
                      <a:pt x="86" y="37"/>
                    </a:lnTo>
                    <a:lnTo>
                      <a:pt x="88" y="36"/>
                    </a:lnTo>
                    <a:lnTo>
                      <a:pt x="88" y="37"/>
                    </a:lnTo>
                    <a:lnTo>
                      <a:pt x="89" y="37"/>
                    </a:lnTo>
                    <a:lnTo>
                      <a:pt x="89" y="36"/>
                    </a:lnTo>
                    <a:lnTo>
                      <a:pt x="89" y="35"/>
                    </a:lnTo>
                    <a:lnTo>
                      <a:pt x="90" y="36"/>
                    </a:lnTo>
                    <a:lnTo>
                      <a:pt x="89" y="36"/>
                    </a:lnTo>
                    <a:lnTo>
                      <a:pt x="89" y="37"/>
                    </a:lnTo>
                    <a:lnTo>
                      <a:pt x="90" y="37"/>
                    </a:lnTo>
                    <a:lnTo>
                      <a:pt x="90" y="36"/>
                    </a:lnTo>
                    <a:lnTo>
                      <a:pt x="91" y="36"/>
                    </a:lnTo>
                    <a:lnTo>
                      <a:pt x="92" y="36"/>
                    </a:lnTo>
                    <a:lnTo>
                      <a:pt x="92" y="37"/>
                    </a:lnTo>
                    <a:lnTo>
                      <a:pt x="92" y="38"/>
                    </a:lnTo>
                    <a:lnTo>
                      <a:pt x="93" y="38"/>
                    </a:lnTo>
                    <a:lnTo>
                      <a:pt x="93" y="37"/>
                    </a:lnTo>
                    <a:lnTo>
                      <a:pt x="94" y="37"/>
                    </a:lnTo>
                    <a:lnTo>
                      <a:pt x="95" y="37"/>
                    </a:lnTo>
                    <a:lnTo>
                      <a:pt x="96" y="37"/>
                    </a:lnTo>
                    <a:lnTo>
                      <a:pt x="97" y="36"/>
                    </a:lnTo>
                    <a:lnTo>
                      <a:pt x="98" y="36"/>
                    </a:lnTo>
                    <a:lnTo>
                      <a:pt x="98" y="34"/>
                    </a:lnTo>
                    <a:lnTo>
                      <a:pt x="100" y="34"/>
                    </a:lnTo>
                    <a:lnTo>
                      <a:pt x="100" y="35"/>
                    </a:lnTo>
                    <a:lnTo>
                      <a:pt x="101" y="35"/>
                    </a:lnTo>
                    <a:lnTo>
                      <a:pt x="101" y="34"/>
                    </a:lnTo>
                    <a:lnTo>
                      <a:pt x="102" y="33"/>
                    </a:lnTo>
                    <a:lnTo>
                      <a:pt x="102" y="34"/>
                    </a:lnTo>
                    <a:lnTo>
                      <a:pt x="103" y="34"/>
                    </a:lnTo>
                    <a:lnTo>
                      <a:pt x="104" y="33"/>
                    </a:lnTo>
                    <a:lnTo>
                      <a:pt x="105" y="33"/>
                    </a:lnTo>
                    <a:lnTo>
                      <a:pt x="105" y="32"/>
                    </a:lnTo>
                    <a:lnTo>
                      <a:pt x="104" y="32"/>
                    </a:lnTo>
                    <a:lnTo>
                      <a:pt x="104" y="31"/>
                    </a:lnTo>
                    <a:lnTo>
                      <a:pt x="104" y="30"/>
                    </a:lnTo>
                    <a:lnTo>
                      <a:pt x="105" y="29"/>
                    </a:lnTo>
                    <a:lnTo>
                      <a:pt x="105" y="27"/>
                    </a:lnTo>
                    <a:lnTo>
                      <a:pt x="105" y="29"/>
                    </a:lnTo>
                    <a:lnTo>
                      <a:pt x="106" y="29"/>
                    </a:lnTo>
                    <a:lnTo>
                      <a:pt x="106" y="27"/>
                    </a:lnTo>
                    <a:lnTo>
                      <a:pt x="107" y="26"/>
                    </a:lnTo>
                    <a:lnTo>
                      <a:pt x="108" y="27"/>
                    </a:lnTo>
                    <a:lnTo>
                      <a:pt x="109" y="27"/>
                    </a:lnTo>
                    <a:lnTo>
                      <a:pt x="110" y="27"/>
                    </a:lnTo>
                    <a:lnTo>
                      <a:pt x="110" y="26"/>
                    </a:lnTo>
                    <a:lnTo>
                      <a:pt x="109" y="26"/>
                    </a:lnTo>
                    <a:lnTo>
                      <a:pt x="110" y="26"/>
                    </a:lnTo>
                    <a:lnTo>
                      <a:pt x="110" y="25"/>
                    </a:lnTo>
                    <a:lnTo>
                      <a:pt x="110" y="24"/>
                    </a:lnTo>
                    <a:lnTo>
                      <a:pt x="111" y="24"/>
                    </a:lnTo>
                    <a:lnTo>
                      <a:pt x="113" y="25"/>
                    </a:lnTo>
                    <a:lnTo>
                      <a:pt x="114" y="24"/>
                    </a:lnTo>
                    <a:lnTo>
                      <a:pt x="114" y="25"/>
                    </a:lnTo>
                    <a:lnTo>
                      <a:pt x="114" y="26"/>
                    </a:lnTo>
                    <a:lnTo>
                      <a:pt x="114" y="27"/>
                    </a:lnTo>
                    <a:lnTo>
                      <a:pt x="116" y="29"/>
                    </a:lnTo>
                    <a:lnTo>
                      <a:pt x="117" y="30"/>
                    </a:lnTo>
                    <a:lnTo>
                      <a:pt x="118" y="29"/>
                    </a:lnTo>
                    <a:lnTo>
                      <a:pt x="119" y="29"/>
                    </a:lnTo>
                    <a:lnTo>
                      <a:pt x="119" y="30"/>
                    </a:lnTo>
                    <a:lnTo>
                      <a:pt x="120" y="30"/>
                    </a:lnTo>
                    <a:lnTo>
                      <a:pt x="120" y="31"/>
                    </a:lnTo>
                    <a:lnTo>
                      <a:pt x="121" y="31"/>
                    </a:lnTo>
                    <a:lnTo>
                      <a:pt x="122" y="32"/>
                    </a:lnTo>
                    <a:lnTo>
                      <a:pt x="123" y="32"/>
                    </a:lnTo>
                    <a:lnTo>
                      <a:pt x="122" y="31"/>
                    </a:lnTo>
                    <a:lnTo>
                      <a:pt x="123" y="31"/>
                    </a:lnTo>
                    <a:lnTo>
                      <a:pt x="123" y="30"/>
                    </a:lnTo>
                    <a:lnTo>
                      <a:pt x="124" y="30"/>
                    </a:lnTo>
                    <a:lnTo>
                      <a:pt x="126" y="30"/>
                    </a:lnTo>
                    <a:lnTo>
                      <a:pt x="126" y="31"/>
                    </a:lnTo>
                    <a:lnTo>
                      <a:pt x="126" y="32"/>
                    </a:lnTo>
                    <a:lnTo>
                      <a:pt x="124" y="32"/>
                    </a:lnTo>
                    <a:lnTo>
                      <a:pt x="124" y="33"/>
                    </a:lnTo>
                    <a:lnTo>
                      <a:pt x="126" y="33"/>
                    </a:lnTo>
                    <a:lnTo>
                      <a:pt x="126" y="32"/>
                    </a:lnTo>
                    <a:lnTo>
                      <a:pt x="127" y="32"/>
                    </a:lnTo>
                    <a:lnTo>
                      <a:pt x="127" y="33"/>
                    </a:lnTo>
                    <a:lnTo>
                      <a:pt x="128" y="33"/>
                    </a:lnTo>
                    <a:lnTo>
                      <a:pt x="128" y="32"/>
                    </a:lnTo>
                    <a:lnTo>
                      <a:pt x="128" y="31"/>
                    </a:lnTo>
                    <a:lnTo>
                      <a:pt x="129" y="31"/>
                    </a:lnTo>
                    <a:lnTo>
                      <a:pt x="128" y="32"/>
                    </a:lnTo>
                    <a:lnTo>
                      <a:pt x="129" y="32"/>
                    </a:lnTo>
                    <a:lnTo>
                      <a:pt x="130" y="32"/>
                    </a:lnTo>
                    <a:lnTo>
                      <a:pt x="130" y="33"/>
                    </a:lnTo>
                    <a:lnTo>
                      <a:pt x="129" y="34"/>
                    </a:lnTo>
                    <a:lnTo>
                      <a:pt x="129" y="33"/>
                    </a:lnTo>
                    <a:lnTo>
                      <a:pt x="129" y="34"/>
                    </a:lnTo>
                    <a:lnTo>
                      <a:pt x="127" y="34"/>
                    </a:lnTo>
                    <a:lnTo>
                      <a:pt x="127" y="35"/>
                    </a:lnTo>
                    <a:lnTo>
                      <a:pt x="128" y="35"/>
                    </a:lnTo>
                    <a:lnTo>
                      <a:pt x="128" y="36"/>
                    </a:lnTo>
                    <a:lnTo>
                      <a:pt x="129" y="37"/>
                    </a:lnTo>
                    <a:lnTo>
                      <a:pt x="130" y="37"/>
                    </a:lnTo>
                    <a:lnTo>
                      <a:pt x="130" y="38"/>
                    </a:lnTo>
                    <a:lnTo>
                      <a:pt x="130" y="39"/>
                    </a:lnTo>
                    <a:lnTo>
                      <a:pt x="131" y="39"/>
                    </a:lnTo>
                    <a:lnTo>
                      <a:pt x="131" y="38"/>
                    </a:lnTo>
                    <a:lnTo>
                      <a:pt x="132" y="38"/>
                    </a:lnTo>
                    <a:lnTo>
                      <a:pt x="133" y="38"/>
                    </a:lnTo>
                    <a:lnTo>
                      <a:pt x="134" y="38"/>
                    </a:lnTo>
                    <a:lnTo>
                      <a:pt x="133" y="39"/>
                    </a:lnTo>
                    <a:lnTo>
                      <a:pt x="133" y="40"/>
                    </a:lnTo>
                    <a:lnTo>
                      <a:pt x="134" y="40"/>
                    </a:lnTo>
                    <a:lnTo>
                      <a:pt x="134" y="42"/>
                    </a:lnTo>
                    <a:lnTo>
                      <a:pt x="133" y="42"/>
                    </a:lnTo>
                    <a:lnTo>
                      <a:pt x="133" y="43"/>
                    </a:lnTo>
                    <a:lnTo>
                      <a:pt x="134" y="43"/>
                    </a:lnTo>
                    <a:lnTo>
                      <a:pt x="134" y="44"/>
                    </a:lnTo>
                    <a:lnTo>
                      <a:pt x="133" y="44"/>
                    </a:lnTo>
                    <a:lnTo>
                      <a:pt x="133" y="45"/>
                    </a:lnTo>
                    <a:lnTo>
                      <a:pt x="134" y="44"/>
                    </a:lnTo>
                    <a:lnTo>
                      <a:pt x="134" y="45"/>
                    </a:lnTo>
                    <a:lnTo>
                      <a:pt x="135" y="45"/>
                    </a:lnTo>
                    <a:lnTo>
                      <a:pt x="135" y="44"/>
                    </a:lnTo>
                    <a:lnTo>
                      <a:pt x="136" y="45"/>
                    </a:lnTo>
                    <a:lnTo>
                      <a:pt x="136" y="44"/>
                    </a:lnTo>
                    <a:lnTo>
                      <a:pt x="137" y="44"/>
                    </a:lnTo>
                    <a:lnTo>
                      <a:pt x="137" y="45"/>
                    </a:lnTo>
                    <a:lnTo>
                      <a:pt x="136" y="45"/>
                    </a:lnTo>
                    <a:lnTo>
                      <a:pt x="136" y="46"/>
                    </a:lnTo>
                    <a:lnTo>
                      <a:pt x="137" y="46"/>
                    </a:lnTo>
                    <a:lnTo>
                      <a:pt x="139" y="46"/>
                    </a:lnTo>
                    <a:lnTo>
                      <a:pt x="140" y="46"/>
                    </a:lnTo>
                    <a:lnTo>
                      <a:pt x="140" y="47"/>
                    </a:lnTo>
                    <a:lnTo>
                      <a:pt x="139" y="47"/>
                    </a:lnTo>
                    <a:lnTo>
                      <a:pt x="140" y="48"/>
                    </a:lnTo>
                    <a:lnTo>
                      <a:pt x="141" y="48"/>
                    </a:lnTo>
                    <a:lnTo>
                      <a:pt x="142" y="48"/>
                    </a:lnTo>
                    <a:lnTo>
                      <a:pt x="143" y="49"/>
                    </a:lnTo>
                    <a:lnTo>
                      <a:pt x="142" y="50"/>
                    </a:lnTo>
                    <a:lnTo>
                      <a:pt x="142" y="51"/>
                    </a:lnTo>
                    <a:lnTo>
                      <a:pt x="142" y="50"/>
                    </a:lnTo>
                    <a:lnTo>
                      <a:pt x="143" y="50"/>
                    </a:lnTo>
                    <a:lnTo>
                      <a:pt x="144" y="50"/>
                    </a:lnTo>
                    <a:lnTo>
                      <a:pt x="145" y="50"/>
                    </a:lnTo>
                    <a:lnTo>
                      <a:pt x="146" y="51"/>
                    </a:lnTo>
                    <a:lnTo>
                      <a:pt x="147" y="51"/>
                    </a:lnTo>
                    <a:lnTo>
                      <a:pt x="146" y="51"/>
                    </a:lnTo>
                    <a:lnTo>
                      <a:pt x="146" y="52"/>
                    </a:lnTo>
                    <a:lnTo>
                      <a:pt x="147" y="52"/>
                    </a:lnTo>
                    <a:lnTo>
                      <a:pt x="148" y="53"/>
                    </a:lnTo>
                    <a:lnTo>
                      <a:pt x="149" y="53"/>
                    </a:lnTo>
                    <a:lnTo>
                      <a:pt x="149" y="52"/>
                    </a:lnTo>
                    <a:lnTo>
                      <a:pt x="150" y="52"/>
                    </a:lnTo>
                    <a:lnTo>
                      <a:pt x="150" y="53"/>
                    </a:lnTo>
                    <a:lnTo>
                      <a:pt x="150" y="52"/>
                    </a:lnTo>
                    <a:lnTo>
                      <a:pt x="152" y="52"/>
                    </a:lnTo>
                    <a:lnTo>
                      <a:pt x="152" y="53"/>
                    </a:lnTo>
                    <a:lnTo>
                      <a:pt x="152" y="55"/>
                    </a:lnTo>
                    <a:lnTo>
                      <a:pt x="153" y="55"/>
                    </a:lnTo>
                    <a:lnTo>
                      <a:pt x="154" y="56"/>
                    </a:lnTo>
                    <a:lnTo>
                      <a:pt x="155" y="57"/>
                    </a:lnTo>
                    <a:lnTo>
                      <a:pt x="156" y="58"/>
                    </a:lnTo>
                    <a:lnTo>
                      <a:pt x="156" y="59"/>
                    </a:lnTo>
                    <a:lnTo>
                      <a:pt x="156" y="60"/>
                    </a:lnTo>
                    <a:lnTo>
                      <a:pt x="157" y="61"/>
                    </a:lnTo>
                    <a:lnTo>
                      <a:pt x="158" y="61"/>
                    </a:lnTo>
                    <a:lnTo>
                      <a:pt x="159" y="60"/>
                    </a:lnTo>
                    <a:lnTo>
                      <a:pt x="159" y="59"/>
                    </a:lnTo>
                    <a:lnTo>
                      <a:pt x="160" y="59"/>
                    </a:lnTo>
                    <a:lnTo>
                      <a:pt x="160" y="60"/>
                    </a:lnTo>
                    <a:lnTo>
                      <a:pt x="161" y="60"/>
                    </a:lnTo>
                    <a:lnTo>
                      <a:pt x="162" y="60"/>
                    </a:lnTo>
                    <a:lnTo>
                      <a:pt x="163" y="60"/>
                    </a:lnTo>
                    <a:lnTo>
                      <a:pt x="163" y="61"/>
                    </a:lnTo>
                    <a:lnTo>
                      <a:pt x="165" y="62"/>
                    </a:lnTo>
                    <a:lnTo>
                      <a:pt x="166" y="62"/>
                    </a:lnTo>
                    <a:lnTo>
                      <a:pt x="167" y="63"/>
                    </a:lnTo>
                    <a:lnTo>
                      <a:pt x="168" y="63"/>
                    </a:lnTo>
                    <a:lnTo>
                      <a:pt x="169" y="63"/>
                    </a:lnTo>
                    <a:lnTo>
                      <a:pt x="170" y="63"/>
                    </a:lnTo>
                    <a:lnTo>
                      <a:pt x="171" y="63"/>
                    </a:lnTo>
                    <a:lnTo>
                      <a:pt x="172" y="64"/>
                    </a:lnTo>
                    <a:lnTo>
                      <a:pt x="173" y="64"/>
                    </a:lnTo>
                    <a:lnTo>
                      <a:pt x="174" y="64"/>
                    </a:lnTo>
                    <a:lnTo>
                      <a:pt x="175" y="65"/>
                    </a:lnTo>
                    <a:lnTo>
                      <a:pt x="175" y="66"/>
                    </a:lnTo>
                    <a:lnTo>
                      <a:pt x="176" y="66"/>
                    </a:lnTo>
                    <a:lnTo>
                      <a:pt x="178" y="66"/>
                    </a:lnTo>
                    <a:lnTo>
                      <a:pt x="179" y="66"/>
                    </a:lnTo>
                    <a:lnTo>
                      <a:pt x="180" y="66"/>
                    </a:lnTo>
                    <a:lnTo>
                      <a:pt x="180" y="68"/>
                    </a:lnTo>
                    <a:lnTo>
                      <a:pt x="181" y="68"/>
                    </a:lnTo>
                    <a:lnTo>
                      <a:pt x="182" y="68"/>
                    </a:lnTo>
                    <a:lnTo>
                      <a:pt x="183" y="68"/>
                    </a:lnTo>
                    <a:lnTo>
                      <a:pt x="183" y="70"/>
                    </a:lnTo>
                    <a:lnTo>
                      <a:pt x="184" y="70"/>
                    </a:lnTo>
                    <a:lnTo>
                      <a:pt x="184" y="69"/>
                    </a:lnTo>
                    <a:lnTo>
                      <a:pt x="185" y="69"/>
                    </a:lnTo>
                    <a:lnTo>
                      <a:pt x="187" y="69"/>
                    </a:lnTo>
                    <a:lnTo>
                      <a:pt x="189" y="70"/>
                    </a:lnTo>
                    <a:lnTo>
                      <a:pt x="192" y="71"/>
                    </a:lnTo>
                    <a:lnTo>
                      <a:pt x="192" y="72"/>
                    </a:lnTo>
                    <a:lnTo>
                      <a:pt x="193" y="72"/>
                    </a:lnTo>
                    <a:lnTo>
                      <a:pt x="194" y="71"/>
                    </a:lnTo>
                    <a:lnTo>
                      <a:pt x="195" y="70"/>
                    </a:lnTo>
                    <a:lnTo>
                      <a:pt x="196" y="70"/>
                    </a:lnTo>
                    <a:lnTo>
                      <a:pt x="197" y="69"/>
                    </a:lnTo>
                    <a:lnTo>
                      <a:pt x="198" y="69"/>
                    </a:lnTo>
                    <a:lnTo>
                      <a:pt x="199" y="69"/>
                    </a:lnTo>
                    <a:lnTo>
                      <a:pt x="200" y="69"/>
                    </a:lnTo>
                    <a:lnTo>
                      <a:pt x="201" y="69"/>
                    </a:lnTo>
                    <a:lnTo>
                      <a:pt x="202" y="69"/>
                    </a:lnTo>
                    <a:lnTo>
                      <a:pt x="204" y="68"/>
                    </a:lnTo>
                    <a:lnTo>
                      <a:pt x="205" y="68"/>
                    </a:lnTo>
                    <a:lnTo>
                      <a:pt x="206" y="66"/>
                    </a:lnTo>
                    <a:lnTo>
                      <a:pt x="207" y="64"/>
                    </a:lnTo>
                    <a:lnTo>
                      <a:pt x="208" y="64"/>
                    </a:lnTo>
                    <a:lnTo>
                      <a:pt x="208" y="63"/>
                    </a:lnTo>
                    <a:lnTo>
                      <a:pt x="209" y="63"/>
                    </a:lnTo>
                    <a:lnTo>
                      <a:pt x="210" y="64"/>
                    </a:lnTo>
                    <a:lnTo>
                      <a:pt x="211" y="63"/>
                    </a:lnTo>
                    <a:lnTo>
                      <a:pt x="213" y="63"/>
                    </a:lnTo>
                    <a:lnTo>
                      <a:pt x="215" y="63"/>
                    </a:lnTo>
                    <a:lnTo>
                      <a:pt x="218" y="61"/>
                    </a:lnTo>
                    <a:lnTo>
                      <a:pt x="219" y="60"/>
                    </a:lnTo>
                    <a:lnTo>
                      <a:pt x="221" y="59"/>
                    </a:lnTo>
                    <a:lnTo>
                      <a:pt x="222" y="59"/>
                    </a:lnTo>
                    <a:lnTo>
                      <a:pt x="223" y="59"/>
                    </a:lnTo>
                    <a:lnTo>
                      <a:pt x="224" y="58"/>
                    </a:lnTo>
                    <a:lnTo>
                      <a:pt x="224" y="57"/>
                    </a:lnTo>
                    <a:lnTo>
                      <a:pt x="225" y="57"/>
                    </a:lnTo>
                    <a:lnTo>
                      <a:pt x="227" y="56"/>
                    </a:lnTo>
                    <a:lnTo>
                      <a:pt x="228" y="55"/>
                    </a:lnTo>
                    <a:lnTo>
                      <a:pt x="228" y="53"/>
                    </a:lnTo>
                    <a:lnTo>
                      <a:pt x="228" y="52"/>
                    </a:lnTo>
                    <a:lnTo>
                      <a:pt x="230" y="52"/>
                    </a:lnTo>
                    <a:lnTo>
                      <a:pt x="231" y="51"/>
                    </a:lnTo>
                    <a:lnTo>
                      <a:pt x="231" y="50"/>
                    </a:lnTo>
                    <a:lnTo>
                      <a:pt x="232" y="50"/>
                    </a:lnTo>
                    <a:lnTo>
                      <a:pt x="232" y="49"/>
                    </a:lnTo>
                    <a:lnTo>
                      <a:pt x="233" y="49"/>
                    </a:lnTo>
                    <a:lnTo>
                      <a:pt x="234" y="49"/>
                    </a:lnTo>
                    <a:lnTo>
                      <a:pt x="235" y="49"/>
                    </a:lnTo>
                    <a:lnTo>
                      <a:pt x="235" y="48"/>
                    </a:lnTo>
                    <a:lnTo>
                      <a:pt x="236" y="47"/>
                    </a:lnTo>
                    <a:lnTo>
                      <a:pt x="237" y="46"/>
                    </a:lnTo>
                    <a:lnTo>
                      <a:pt x="238" y="46"/>
                    </a:lnTo>
                    <a:lnTo>
                      <a:pt x="239" y="46"/>
                    </a:lnTo>
                    <a:lnTo>
                      <a:pt x="240" y="46"/>
                    </a:lnTo>
                    <a:lnTo>
                      <a:pt x="240" y="45"/>
                    </a:lnTo>
                    <a:lnTo>
                      <a:pt x="240" y="44"/>
                    </a:lnTo>
                    <a:lnTo>
                      <a:pt x="240" y="43"/>
                    </a:lnTo>
                    <a:lnTo>
                      <a:pt x="240" y="42"/>
                    </a:lnTo>
                    <a:lnTo>
                      <a:pt x="240" y="40"/>
                    </a:lnTo>
                    <a:lnTo>
                      <a:pt x="242" y="38"/>
                    </a:lnTo>
                    <a:lnTo>
                      <a:pt x="243" y="38"/>
                    </a:lnTo>
                    <a:lnTo>
                      <a:pt x="244" y="38"/>
                    </a:lnTo>
                    <a:lnTo>
                      <a:pt x="244" y="37"/>
                    </a:lnTo>
                    <a:lnTo>
                      <a:pt x="245" y="37"/>
                    </a:lnTo>
                    <a:lnTo>
                      <a:pt x="245" y="36"/>
                    </a:lnTo>
                    <a:lnTo>
                      <a:pt x="246" y="35"/>
                    </a:lnTo>
                    <a:lnTo>
                      <a:pt x="247" y="35"/>
                    </a:lnTo>
                    <a:lnTo>
                      <a:pt x="247" y="34"/>
                    </a:lnTo>
                    <a:lnTo>
                      <a:pt x="248" y="35"/>
                    </a:lnTo>
                    <a:lnTo>
                      <a:pt x="249" y="34"/>
                    </a:lnTo>
                    <a:lnTo>
                      <a:pt x="249" y="33"/>
                    </a:lnTo>
                    <a:lnTo>
                      <a:pt x="250" y="32"/>
                    </a:lnTo>
                    <a:lnTo>
                      <a:pt x="250" y="31"/>
                    </a:lnTo>
                    <a:lnTo>
                      <a:pt x="249" y="31"/>
                    </a:lnTo>
                    <a:lnTo>
                      <a:pt x="249" y="30"/>
                    </a:lnTo>
                    <a:lnTo>
                      <a:pt x="250" y="30"/>
                    </a:lnTo>
                    <a:lnTo>
                      <a:pt x="250" y="29"/>
                    </a:lnTo>
                    <a:lnTo>
                      <a:pt x="251" y="29"/>
                    </a:lnTo>
                    <a:lnTo>
                      <a:pt x="251" y="27"/>
                    </a:lnTo>
                    <a:lnTo>
                      <a:pt x="252" y="26"/>
                    </a:lnTo>
                    <a:lnTo>
                      <a:pt x="252" y="25"/>
                    </a:lnTo>
                    <a:lnTo>
                      <a:pt x="253" y="25"/>
                    </a:lnTo>
                    <a:lnTo>
                      <a:pt x="255" y="25"/>
                    </a:lnTo>
                    <a:lnTo>
                      <a:pt x="255" y="24"/>
                    </a:lnTo>
                    <a:lnTo>
                      <a:pt x="253" y="24"/>
                    </a:lnTo>
                    <a:lnTo>
                      <a:pt x="253" y="23"/>
                    </a:lnTo>
                    <a:lnTo>
                      <a:pt x="255" y="23"/>
                    </a:lnTo>
                    <a:lnTo>
                      <a:pt x="255" y="22"/>
                    </a:lnTo>
                    <a:lnTo>
                      <a:pt x="253" y="22"/>
                    </a:lnTo>
                    <a:lnTo>
                      <a:pt x="253" y="21"/>
                    </a:lnTo>
                    <a:lnTo>
                      <a:pt x="255" y="21"/>
                    </a:lnTo>
                    <a:lnTo>
                      <a:pt x="255" y="20"/>
                    </a:lnTo>
                    <a:lnTo>
                      <a:pt x="255" y="19"/>
                    </a:lnTo>
                    <a:lnTo>
                      <a:pt x="256" y="19"/>
                    </a:lnTo>
                    <a:lnTo>
                      <a:pt x="256" y="18"/>
                    </a:lnTo>
                    <a:lnTo>
                      <a:pt x="257" y="18"/>
                    </a:lnTo>
                    <a:lnTo>
                      <a:pt x="257" y="19"/>
                    </a:lnTo>
                    <a:lnTo>
                      <a:pt x="257" y="20"/>
                    </a:lnTo>
                    <a:lnTo>
                      <a:pt x="258" y="20"/>
                    </a:lnTo>
                    <a:lnTo>
                      <a:pt x="258" y="19"/>
                    </a:lnTo>
                    <a:lnTo>
                      <a:pt x="258" y="18"/>
                    </a:lnTo>
                    <a:lnTo>
                      <a:pt x="259" y="18"/>
                    </a:lnTo>
                    <a:lnTo>
                      <a:pt x="260" y="18"/>
                    </a:lnTo>
                    <a:lnTo>
                      <a:pt x="260" y="19"/>
                    </a:lnTo>
                    <a:lnTo>
                      <a:pt x="261" y="19"/>
                    </a:lnTo>
                    <a:lnTo>
                      <a:pt x="261" y="18"/>
                    </a:lnTo>
                    <a:lnTo>
                      <a:pt x="261" y="17"/>
                    </a:lnTo>
                    <a:lnTo>
                      <a:pt x="262" y="17"/>
                    </a:lnTo>
                    <a:lnTo>
                      <a:pt x="263" y="17"/>
                    </a:lnTo>
                    <a:lnTo>
                      <a:pt x="263" y="16"/>
                    </a:lnTo>
                    <a:lnTo>
                      <a:pt x="264" y="16"/>
                    </a:lnTo>
                    <a:lnTo>
                      <a:pt x="264" y="14"/>
                    </a:lnTo>
                    <a:lnTo>
                      <a:pt x="265" y="16"/>
                    </a:lnTo>
                    <a:lnTo>
                      <a:pt x="266" y="14"/>
                    </a:lnTo>
                    <a:lnTo>
                      <a:pt x="268" y="14"/>
                    </a:lnTo>
                    <a:lnTo>
                      <a:pt x="269" y="13"/>
                    </a:lnTo>
                    <a:lnTo>
                      <a:pt x="269" y="12"/>
                    </a:lnTo>
                    <a:lnTo>
                      <a:pt x="270" y="12"/>
                    </a:lnTo>
                    <a:lnTo>
                      <a:pt x="271" y="12"/>
                    </a:lnTo>
                    <a:lnTo>
                      <a:pt x="271" y="11"/>
                    </a:lnTo>
                    <a:lnTo>
                      <a:pt x="270" y="11"/>
                    </a:lnTo>
                    <a:lnTo>
                      <a:pt x="270" y="10"/>
                    </a:lnTo>
                    <a:lnTo>
                      <a:pt x="270" y="9"/>
                    </a:lnTo>
                    <a:lnTo>
                      <a:pt x="271" y="9"/>
                    </a:lnTo>
                    <a:lnTo>
                      <a:pt x="271" y="10"/>
                    </a:lnTo>
                    <a:lnTo>
                      <a:pt x="272" y="10"/>
                    </a:lnTo>
                    <a:lnTo>
                      <a:pt x="272" y="9"/>
                    </a:lnTo>
                    <a:lnTo>
                      <a:pt x="272" y="8"/>
                    </a:lnTo>
                    <a:lnTo>
                      <a:pt x="272" y="7"/>
                    </a:lnTo>
                    <a:lnTo>
                      <a:pt x="273" y="7"/>
                    </a:lnTo>
                    <a:lnTo>
                      <a:pt x="273" y="6"/>
                    </a:lnTo>
                    <a:lnTo>
                      <a:pt x="272" y="6"/>
                    </a:lnTo>
                    <a:lnTo>
                      <a:pt x="273" y="6"/>
                    </a:lnTo>
                    <a:lnTo>
                      <a:pt x="274" y="5"/>
                    </a:lnTo>
                    <a:lnTo>
                      <a:pt x="274" y="4"/>
                    </a:lnTo>
                    <a:lnTo>
                      <a:pt x="273" y="4"/>
                    </a:lnTo>
                    <a:lnTo>
                      <a:pt x="273" y="3"/>
                    </a:lnTo>
                    <a:lnTo>
                      <a:pt x="274" y="3"/>
                    </a:lnTo>
                    <a:lnTo>
                      <a:pt x="274" y="4"/>
                    </a:lnTo>
                    <a:lnTo>
                      <a:pt x="275" y="4"/>
                    </a:lnTo>
                    <a:lnTo>
                      <a:pt x="275" y="3"/>
                    </a:lnTo>
                    <a:lnTo>
                      <a:pt x="275" y="1"/>
                    </a:lnTo>
                    <a:lnTo>
                      <a:pt x="275" y="0"/>
                    </a:lnTo>
                    <a:lnTo>
                      <a:pt x="276" y="0"/>
                    </a:lnTo>
                    <a:lnTo>
                      <a:pt x="276" y="1"/>
                    </a:lnTo>
                    <a:lnTo>
                      <a:pt x="276" y="3"/>
                    </a:lnTo>
                    <a:lnTo>
                      <a:pt x="276" y="4"/>
                    </a:lnTo>
                    <a:lnTo>
                      <a:pt x="277" y="4"/>
                    </a:lnTo>
                    <a:lnTo>
                      <a:pt x="277" y="3"/>
                    </a:lnTo>
                    <a:lnTo>
                      <a:pt x="278" y="1"/>
                    </a:lnTo>
                    <a:close/>
                  </a:path>
                </a:pathLst>
              </a:custGeom>
              <a:solidFill>
                <a:srgbClr val="1C65B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9" name="Freeform 9">
                <a:extLst>
                  <a:ext uri="{FF2B5EF4-FFF2-40B4-BE49-F238E27FC236}">
                    <a16:creationId xmlns:a16="http://schemas.microsoft.com/office/drawing/2014/main" id="{AE715A52-63D5-F801-EB85-CFD4EE59251E}"/>
                  </a:ext>
                </a:extLst>
              </p:cNvPr>
              <p:cNvSpPr>
                <a:spLocks/>
              </p:cNvSpPr>
              <p:nvPr/>
            </p:nvSpPr>
            <p:spPr bwMode="auto">
              <a:xfrm>
                <a:off x="2854326" y="4143375"/>
                <a:ext cx="368300" cy="388938"/>
              </a:xfrm>
              <a:custGeom>
                <a:avLst/>
                <a:gdLst>
                  <a:gd name="T0" fmla="*/ 194 w 232"/>
                  <a:gd name="T1" fmla="*/ 14 h 245"/>
                  <a:gd name="T2" fmla="*/ 195 w 232"/>
                  <a:gd name="T3" fmla="*/ 37 h 245"/>
                  <a:gd name="T4" fmla="*/ 204 w 232"/>
                  <a:gd name="T5" fmla="*/ 65 h 245"/>
                  <a:gd name="T6" fmla="*/ 194 w 232"/>
                  <a:gd name="T7" fmla="*/ 90 h 245"/>
                  <a:gd name="T8" fmla="*/ 207 w 232"/>
                  <a:gd name="T9" fmla="*/ 101 h 245"/>
                  <a:gd name="T10" fmla="*/ 203 w 232"/>
                  <a:gd name="T11" fmla="*/ 113 h 245"/>
                  <a:gd name="T12" fmla="*/ 187 w 232"/>
                  <a:gd name="T13" fmla="*/ 122 h 245"/>
                  <a:gd name="T14" fmla="*/ 186 w 232"/>
                  <a:gd name="T15" fmla="*/ 130 h 245"/>
                  <a:gd name="T16" fmla="*/ 187 w 232"/>
                  <a:gd name="T17" fmla="*/ 137 h 245"/>
                  <a:gd name="T18" fmla="*/ 192 w 232"/>
                  <a:gd name="T19" fmla="*/ 145 h 245"/>
                  <a:gd name="T20" fmla="*/ 200 w 232"/>
                  <a:gd name="T21" fmla="*/ 143 h 245"/>
                  <a:gd name="T22" fmla="*/ 203 w 232"/>
                  <a:gd name="T23" fmla="*/ 138 h 245"/>
                  <a:gd name="T24" fmla="*/ 213 w 232"/>
                  <a:gd name="T25" fmla="*/ 140 h 245"/>
                  <a:gd name="T26" fmla="*/ 223 w 232"/>
                  <a:gd name="T27" fmla="*/ 137 h 245"/>
                  <a:gd name="T28" fmla="*/ 226 w 232"/>
                  <a:gd name="T29" fmla="*/ 144 h 245"/>
                  <a:gd name="T30" fmla="*/ 230 w 232"/>
                  <a:gd name="T31" fmla="*/ 155 h 245"/>
                  <a:gd name="T32" fmla="*/ 231 w 232"/>
                  <a:gd name="T33" fmla="*/ 161 h 245"/>
                  <a:gd name="T34" fmla="*/ 215 w 232"/>
                  <a:gd name="T35" fmla="*/ 185 h 245"/>
                  <a:gd name="T36" fmla="*/ 197 w 232"/>
                  <a:gd name="T37" fmla="*/ 245 h 245"/>
                  <a:gd name="T38" fmla="*/ 137 w 232"/>
                  <a:gd name="T39" fmla="*/ 220 h 245"/>
                  <a:gd name="T40" fmla="*/ 130 w 232"/>
                  <a:gd name="T41" fmla="*/ 213 h 245"/>
                  <a:gd name="T42" fmla="*/ 127 w 232"/>
                  <a:gd name="T43" fmla="*/ 201 h 245"/>
                  <a:gd name="T44" fmla="*/ 123 w 232"/>
                  <a:gd name="T45" fmla="*/ 194 h 245"/>
                  <a:gd name="T46" fmla="*/ 120 w 232"/>
                  <a:gd name="T47" fmla="*/ 185 h 245"/>
                  <a:gd name="T48" fmla="*/ 115 w 232"/>
                  <a:gd name="T49" fmla="*/ 181 h 245"/>
                  <a:gd name="T50" fmla="*/ 104 w 232"/>
                  <a:gd name="T51" fmla="*/ 185 h 245"/>
                  <a:gd name="T52" fmla="*/ 83 w 232"/>
                  <a:gd name="T53" fmla="*/ 183 h 245"/>
                  <a:gd name="T54" fmla="*/ 47 w 232"/>
                  <a:gd name="T55" fmla="*/ 169 h 245"/>
                  <a:gd name="T56" fmla="*/ 37 w 232"/>
                  <a:gd name="T57" fmla="*/ 172 h 245"/>
                  <a:gd name="T58" fmla="*/ 27 w 232"/>
                  <a:gd name="T59" fmla="*/ 171 h 245"/>
                  <a:gd name="T60" fmla="*/ 22 w 232"/>
                  <a:gd name="T61" fmla="*/ 171 h 245"/>
                  <a:gd name="T62" fmla="*/ 16 w 232"/>
                  <a:gd name="T63" fmla="*/ 171 h 245"/>
                  <a:gd name="T64" fmla="*/ 9 w 232"/>
                  <a:gd name="T65" fmla="*/ 169 h 245"/>
                  <a:gd name="T66" fmla="*/ 1 w 232"/>
                  <a:gd name="T67" fmla="*/ 168 h 245"/>
                  <a:gd name="T68" fmla="*/ 4 w 232"/>
                  <a:gd name="T69" fmla="*/ 168 h 245"/>
                  <a:gd name="T70" fmla="*/ 7 w 232"/>
                  <a:gd name="T71" fmla="*/ 162 h 245"/>
                  <a:gd name="T72" fmla="*/ 11 w 232"/>
                  <a:gd name="T73" fmla="*/ 158 h 245"/>
                  <a:gd name="T74" fmla="*/ 19 w 232"/>
                  <a:gd name="T75" fmla="*/ 151 h 245"/>
                  <a:gd name="T76" fmla="*/ 22 w 232"/>
                  <a:gd name="T77" fmla="*/ 144 h 245"/>
                  <a:gd name="T78" fmla="*/ 23 w 232"/>
                  <a:gd name="T79" fmla="*/ 133 h 245"/>
                  <a:gd name="T80" fmla="*/ 22 w 232"/>
                  <a:gd name="T81" fmla="*/ 125 h 245"/>
                  <a:gd name="T82" fmla="*/ 29 w 232"/>
                  <a:gd name="T83" fmla="*/ 116 h 245"/>
                  <a:gd name="T84" fmla="*/ 37 w 232"/>
                  <a:gd name="T85" fmla="*/ 113 h 245"/>
                  <a:gd name="T86" fmla="*/ 45 w 232"/>
                  <a:gd name="T87" fmla="*/ 111 h 245"/>
                  <a:gd name="T88" fmla="*/ 65 w 232"/>
                  <a:gd name="T89" fmla="*/ 99 h 245"/>
                  <a:gd name="T90" fmla="*/ 87 w 232"/>
                  <a:gd name="T91" fmla="*/ 69 h 245"/>
                  <a:gd name="T92" fmla="*/ 120 w 232"/>
                  <a:gd name="T93" fmla="*/ 36 h 245"/>
                  <a:gd name="T94" fmla="*/ 121 w 232"/>
                  <a:gd name="T95" fmla="*/ 27 h 245"/>
                  <a:gd name="T96" fmla="*/ 123 w 232"/>
                  <a:gd name="T97" fmla="*/ 19 h 245"/>
                  <a:gd name="T98" fmla="*/ 128 w 232"/>
                  <a:gd name="T99" fmla="*/ 10 h 245"/>
                  <a:gd name="T100" fmla="*/ 135 w 232"/>
                  <a:gd name="T101" fmla="*/ 8 h 245"/>
                  <a:gd name="T102" fmla="*/ 140 w 232"/>
                  <a:gd name="T103" fmla="*/ 3 h 245"/>
                  <a:gd name="T104" fmla="*/ 146 w 232"/>
                  <a:gd name="T105" fmla="*/ 3 h 245"/>
                  <a:gd name="T106" fmla="*/ 149 w 232"/>
                  <a:gd name="T107" fmla="*/ 9 h 245"/>
                  <a:gd name="T108" fmla="*/ 156 w 232"/>
                  <a:gd name="T109" fmla="*/ 15 h 245"/>
                  <a:gd name="T110" fmla="*/ 163 w 232"/>
                  <a:gd name="T111" fmla="*/ 10 h 245"/>
                  <a:gd name="T112" fmla="*/ 169 w 232"/>
                  <a:gd name="T113" fmla="*/ 10 h 245"/>
                  <a:gd name="T114" fmla="*/ 176 w 232"/>
                  <a:gd name="T115"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45">
                    <a:moveTo>
                      <a:pt x="181" y="9"/>
                    </a:moveTo>
                    <a:lnTo>
                      <a:pt x="181" y="10"/>
                    </a:lnTo>
                    <a:lnTo>
                      <a:pt x="182" y="10"/>
                    </a:lnTo>
                    <a:lnTo>
                      <a:pt x="184" y="10"/>
                    </a:lnTo>
                    <a:lnTo>
                      <a:pt x="185" y="10"/>
                    </a:lnTo>
                    <a:lnTo>
                      <a:pt x="186" y="10"/>
                    </a:lnTo>
                    <a:lnTo>
                      <a:pt x="187" y="10"/>
                    </a:lnTo>
                    <a:lnTo>
                      <a:pt x="188" y="11"/>
                    </a:lnTo>
                    <a:lnTo>
                      <a:pt x="188" y="13"/>
                    </a:lnTo>
                    <a:lnTo>
                      <a:pt x="194" y="14"/>
                    </a:lnTo>
                    <a:lnTo>
                      <a:pt x="195" y="14"/>
                    </a:lnTo>
                    <a:lnTo>
                      <a:pt x="203" y="16"/>
                    </a:lnTo>
                    <a:lnTo>
                      <a:pt x="204" y="22"/>
                    </a:lnTo>
                    <a:lnTo>
                      <a:pt x="204" y="23"/>
                    </a:lnTo>
                    <a:lnTo>
                      <a:pt x="201" y="26"/>
                    </a:lnTo>
                    <a:lnTo>
                      <a:pt x="202" y="30"/>
                    </a:lnTo>
                    <a:lnTo>
                      <a:pt x="203" y="30"/>
                    </a:lnTo>
                    <a:lnTo>
                      <a:pt x="202" y="34"/>
                    </a:lnTo>
                    <a:lnTo>
                      <a:pt x="197" y="37"/>
                    </a:lnTo>
                    <a:lnTo>
                      <a:pt x="195" y="37"/>
                    </a:lnTo>
                    <a:lnTo>
                      <a:pt x="195" y="40"/>
                    </a:lnTo>
                    <a:lnTo>
                      <a:pt x="195" y="41"/>
                    </a:lnTo>
                    <a:lnTo>
                      <a:pt x="195" y="42"/>
                    </a:lnTo>
                    <a:lnTo>
                      <a:pt x="195" y="43"/>
                    </a:lnTo>
                    <a:lnTo>
                      <a:pt x="197" y="43"/>
                    </a:lnTo>
                    <a:lnTo>
                      <a:pt x="198" y="48"/>
                    </a:lnTo>
                    <a:lnTo>
                      <a:pt x="202" y="52"/>
                    </a:lnTo>
                    <a:lnTo>
                      <a:pt x="202" y="53"/>
                    </a:lnTo>
                    <a:lnTo>
                      <a:pt x="204" y="62"/>
                    </a:lnTo>
                    <a:lnTo>
                      <a:pt x="204" y="65"/>
                    </a:lnTo>
                    <a:lnTo>
                      <a:pt x="205" y="71"/>
                    </a:lnTo>
                    <a:lnTo>
                      <a:pt x="205" y="73"/>
                    </a:lnTo>
                    <a:lnTo>
                      <a:pt x="205" y="74"/>
                    </a:lnTo>
                    <a:lnTo>
                      <a:pt x="204" y="75"/>
                    </a:lnTo>
                    <a:lnTo>
                      <a:pt x="195" y="82"/>
                    </a:lnTo>
                    <a:lnTo>
                      <a:pt x="189" y="85"/>
                    </a:lnTo>
                    <a:lnTo>
                      <a:pt x="189" y="86"/>
                    </a:lnTo>
                    <a:lnTo>
                      <a:pt x="193" y="86"/>
                    </a:lnTo>
                    <a:lnTo>
                      <a:pt x="194" y="87"/>
                    </a:lnTo>
                    <a:lnTo>
                      <a:pt x="194" y="90"/>
                    </a:lnTo>
                    <a:lnTo>
                      <a:pt x="194" y="92"/>
                    </a:lnTo>
                    <a:lnTo>
                      <a:pt x="193" y="94"/>
                    </a:lnTo>
                    <a:lnTo>
                      <a:pt x="197" y="99"/>
                    </a:lnTo>
                    <a:lnTo>
                      <a:pt x="197" y="100"/>
                    </a:lnTo>
                    <a:lnTo>
                      <a:pt x="200" y="103"/>
                    </a:lnTo>
                    <a:lnTo>
                      <a:pt x="203" y="101"/>
                    </a:lnTo>
                    <a:lnTo>
                      <a:pt x="204" y="101"/>
                    </a:lnTo>
                    <a:lnTo>
                      <a:pt x="205" y="101"/>
                    </a:lnTo>
                    <a:lnTo>
                      <a:pt x="206" y="101"/>
                    </a:lnTo>
                    <a:lnTo>
                      <a:pt x="207" y="101"/>
                    </a:lnTo>
                    <a:lnTo>
                      <a:pt x="208" y="103"/>
                    </a:lnTo>
                    <a:lnTo>
                      <a:pt x="210" y="103"/>
                    </a:lnTo>
                    <a:lnTo>
                      <a:pt x="208" y="106"/>
                    </a:lnTo>
                    <a:lnTo>
                      <a:pt x="210" y="107"/>
                    </a:lnTo>
                    <a:lnTo>
                      <a:pt x="208" y="110"/>
                    </a:lnTo>
                    <a:lnTo>
                      <a:pt x="207" y="110"/>
                    </a:lnTo>
                    <a:lnTo>
                      <a:pt x="206" y="109"/>
                    </a:lnTo>
                    <a:lnTo>
                      <a:pt x="205" y="111"/>
                    </a:lnTo>
                    <a:lnTo>
                      <a:pt x="203" y="111"/>
                    </a:lnTo>
                    <a:lnTo>
                      <a:pt x="203" y="113"/>
                    </a:lnTo>
                    <a:lnTo>
                      <a:pt x="202" y="116"/>
                    </a:lnTo>
                    <a:lnTo>
                      <a:pt x="200" y="120"/>
                    </a:lnTo>
                    <a:lnTo>
                      <a:pt x="199" y="120"/>
                    </a:lnTo>
                    <a:lnTo>
                      <a:pt x="197" y="120"/>
                    </a:lnTo>
                    <a:lnTo>
                      <a:pt x="195" y="119"/>
                    </a:lnTo>
                    <a:lnTo>
                      <a:pt x="193" y="120"/>
                    </a:lnTo>
                    <a:lnTo>
                      <a:pt x="191" y="121"/>
                    </a:lnTo>
                    <a:lnTo>
                      <a:pt x="189" y="121"/>
                    </a:lnTo>
                    <a:lnTo>
                      <a:pt x="188" y="122"/>
                    </a:lnTo>
                    <a:lnTo>
                      <a:pt x="187" y="122"/>
                    </a:lnTo>
                    <a:lnTo>
                      <a:pt x="188" y="122"/>
                    </a:lnTo>
                    <a:lnTo>
                      <a:pt x="188" y="123"/>
                    </a:lnTo>
                    <a:lnTo>
                      <a:pt x="189" y="123"/>
                    </a:lnTo>
                    <a:lnTo>
                      <a:pt x="188" y="124"/>
                    </a:lnTo>
                    <a:lnTo>
                      <a:pt x="187" y="124"/>
                    </a:lnTo>
                    <a:lnTo>
                      <a:pt x="187" y="125"/>
                    </a:lnTo>
                    <a:lnTo>
                      <a:pt x="187" y="127"/>
                    </a:lnTo>
                    <a:lnTo>
                      <a:pt x="187" y="129"/>
                    </a:lnTo>
                    <a:lnTo>
                      <a:pt x="187" y="130"/>
                    </a:lnTo>
                    <a:lnTo>
                      <a:pt x="186" y="130"/>
                    </a:lnTo>
                    <a:lnTo>
                      <a:pt x="187" y="131"/>
                    </a:lnTo>
                    <a:lnTo>
                      <a:pt x="187" y="132"/>
                    </a:lnTo>
                    <a:lnTo>
                      <a:pt x="187" y="133"/>
                    </a:lnTo>
                    <a:lnTo>
                      <a:pt x="187" y="134"/>
                    </a:lnTo>
                    <a:lnTo>
                      <a:pt x="188" y="134"/>
                    </a:lnTo>
                    <a:lnTo>
                      <a:pt x="187" y="134"/>
                    </a:lnTo>
                    <a:lnTo>
                      <a:pt x="188" y="135"/>
                    </a:lnTo>
                    <a:lnTo>
                      <a:pt x="187" y="135"/>
                    </a:lnTo>
                    <a:lnTo>
                      <a:pt x="187" y="136"/>
                    </a:lnTo>
                    <a:lnTo>
                      <a:pt x="187" y="137"/>
                    </a:lnTo>
                    <a:lnTo>
                      <a:pt x="187" y="138"/>
                    </a:lnTo>
                    <a:lnTo>
                      <a:pt x="187" y="139"/>
                    </a:lnTo>
                    <a:lnTo>
                      <a:pt x="187" y="140"/>
                    </a:lnTo>
                    <a:lnTo>
                      <a:pt x="187" y="142"/>
                    </a:lnTo>
                    <a:lnTo>
                      <a:pt x="188" y="142"/>
                    </a:lnTo>
                    <a:lnTo>
                      <a:pt x="188" y="143"/>
                    </a:lnTo>
                    <a:lnTo>
                      <a:pt x="189" y="144"/>
                    </a:lnTo>
                    <a:lnTo>
                      <a:pt x="190" y="145"/>
                    </a:lnTo>
                    <a:lnTo>
                      <a:pt x="191" y="145"/>
                    </a:lnTo>
                    <a:lnTo>
                      <a:pt x="192" y="145"/>
                    </a:lnTo>
                    <a:lnTo>
                      <a:pt x="193" y="145"/>
                    </a:lnTo>
                    <a:lnTo>
                      <a:pt x="194" y="145"/>
                    </a:lnTo>
                    <a:lnTo>
                      <a:pt x="195" y="145"/>
                    </a:lnTo>
                    <a:lnTo>
                      <a:pt x="197" y="145"/>
                    </a:lnTo>
                    <a:lnTo>
                      <a:pt x="197" y="146"/>
                    </a:lnTo>
                    <a:lnTo>
                      <a:pt x="198" y="146"/>
                    </a:lnTo>
                    <a:lnTo>
                      <a:pt x="198" y="145"/>
                    </a:lnTo>
                    <a:lnTo>
                      <a:pt x="198" y="144"/>
                    </a:lnTo>
                    <a:lnTo>
                      <a:pt x="199" y="144"/>
                    </a:lnTo>
                    <a:lnTo>
                      <a:pt x="200" y="143"/>
                    </a:lnTo>
                    <a:lnTo>
                      <a:pt x="201" y="143"/>
                    </a:lnTo>
                    <a:lnTo>
                      <a:pt x="202" y="143"/>
                    </a:lnTo>
                    <a:lnTo>
                      <a:pt x="202" y="142"/>
                    </a:lnTo>
                    <a:lnTo>
                      <a:pt x="203" y="142"/>
                    </a:lnTo>
                    <a:lnTo>
                      <a:pt x="202" y="140"/>
                    </a:lnTo>
                    <a:lnTo>
                      <a:pt x="203" y="139"/>
                    </a:lnTo>
                    <a:lnTo>
                      <a:pt x="202" y="139"/>
                    </a:lnTo>
                    <a:lnTo>
                      <a:pt x="202" y="138"/>
                    </a:lnTo>
                    <a:lnTo>
                      <a:pt x="202" y="137"/>
                    </a:lnTo>
                    <a:lnTo>
                      <a:pt x="203" y="138"/>
                    </a:lnTo>
                    <a:lnTo>
                      <a:pt x="204" y="138"/>
                    </a:lnTo>
                    <a:lnTo>
                      <a:pt x="205" y="138"/>
                    </a:lnTo>
                    <a:lnTo>
                      <a:pt x="205" y="139"/>
                    </a:lnTo>
                    <a:lnTo>
                      <a:pt x="206" y="139"/>
                    </a:lnTo>
                    <a:lnTo>
                      <a:pt x="207" y="139"/>
                    </a:lnTo>
                    <a:lnTo>
                      <a:pt x="208" y="139"/>
                    </a:lnTo>
                    <a:lnTo>
                      <a:pt x="208" y="140"/>
                    </a:lnTo>
                    <a:lnTo>
                      <a:pt x="211" y="140"/>
                    </a:lnTo>
                    <a:lnTo>
                      <a:pt x="212" y="140"/>
                    </a:lnTo>
                    <a:lnTo>
                      <a:pt x="213" y="140"/>
                    </a:lnTo>
                    <a:lnTo>
                      <a:pt x="214" y="140"/>
                    </a:lnTo>
                    <a:lnTo>
                      <a:pt x="215" y="140"/>
                    </a:lnTo>
                    <a:lnTo>
                      <a:pt x="216" y="140"/>
                    </a:lnTo>
                    <a:lnTo>
                      <a:pt x="217" y="140"/>
                    </a:lnTo>
                    <a:lnTo>
                      <a:pt x="217" y="139"/>
                    </a:lnTo>
                    <a:lnTo>
                      <a:pt x="218" y="139"/>
                    </a:lnTo>
                    <a:lnTo>
                      <a:pt x="219" y="139"/>
                    </a:lnTo>
                    <a:lnTo>
                      <a:pt x="220" y="138"/>
                    </a:lnTo>
                    <a:lnTo>
                      <a:pt x="221" y="137"/>
                    </a:lnTo>
                    <a:lnTo>
                      <a:pt x="223" y="137"/>
                    </a:lnTo>
                    <a:lnTo>
                      <a:pt x="223" y="138"/>
                    </a:lnTo>
                    <a:lnTo>
                      <a:pt x="224" y="138"/>
                    </a:lnTo>
                    <a:lnTo>
                      <a:pt x="224" y="139"/>
                    </a:lnTo>
                    <a:lnTo>
                      <a:pt x="225" y="139"/>
                    </a:lnTo>
                    <a:lnTo>
                      <a:pt x="225" y="140"/>
                    </a:lnTo>
                    <a:lnTo>
                      <a:pt x="226" y="140"/>
                    </a:lnTo>
                    <a:lnTo>
                      <a:pt x="226" y="142"/>
                    </a:lnTo>
                    <a:lnTo>
                      <a:pt x="225" y="143"/>
                    </a:lnTo>
                    <a:lnTo>
                      <a:pt x="226" y="143"/>
                    </a:lnTo>
                    <a:lnTo>
                      <a:pt x="226" y="144"/>
                    </a:lnTo>
                    <a:lnTo>
                      <a:pt x="227" y="145"/>
                    </a:lnTo>
                    <a:lnTo>
                      <a:pt x="228" y="147"/>
                    </a:lnTo>
                    <a:lnTo>
                      <a:pt x="228" y="148"/>
                    </a:lnTo>
                    <a:lnTo>
                      <a:pt x="229" y="148"/>
                    </a:lnTo>
                    <a:lnTo>
                      <a:pt x="229" y="149"/>
                    </a:lnTo>
                    <a:lnTo>
                      <a:pt x="230" y="150"/>
                    </a:lnTo>
                    <a:lnTo>
                      <a:pt x="231" y="151"/>
                    </a:lnTo>
                    <a:lnTo>
                      <a:pt x="231" y="152"/>
                    </a:lnTo>
                    <a:lnTo>
                      <a:pt x="230" y="153"/>
                    </a:lnTo>
                    <a:lnTo>
                      <a:pt x="230" y="155"/>
                    </a:lnTo>
                    <a:lnTo>
                      <a:pt x="229" y="155"/>
                    </a:lnTo>
                    <a:lnTo>
                      <a:pt x="228" y="155"/>
                    </a:lnTo>
                    <a:lnTo>
                      <a:pt x="228" y="156"/>
                    </a:lnTo>
                    <a:lnTo>
                      <a:pt x="228" y="157"/>
                    </a:lnTo>
                    <a:lnTo>
                      <a:pt x="229" y="158"/>
                    </a:lnTo>
                    <a:lnTo>
                      <a:pt x="229" y="159"/>
                    </a:lnTo>
                    <a:lnTo>
                      <a:pt x="230" y="159"/>
                    </a:lnTo>
                    <a:lnTo>
                      <a:pt x="230" y="160"/>
                    </a:lnTo>
                    <a:lnTo>
                      <a:pt x="230" y="161"/>
                    </a:lnTo>
                    <a:lnTo>
                      <a:pt x="231" y="161"/>
                    </a:lnTo>
                    <a:lnTo>
                      <a:pt x="232" y="160"/>
                    </a:lnTo>
                    <a:lnTo>
                      <a:pt x="232" y="161"/>
                    </a:lnTo>
                    <a:lnTo>
                      <a:pt x="231" y="162"/>
                    </a:lnTo>
                    <a:lnTo>
                      <a:pt x="231" y="163"/>
                    </a:lnTo>
                    <a:lnTo>
                      <a:pt x="230" y="163"/>
                    </a:lnTo>
                    <a:lnTo>
                      <a:pt x="230" y="164"/>
                    </a:lnTo>
                    <a:lnTo>
                      <a:pt x="221" y="175"/>
                    </a:lnTo>
                    <a:lnTo>
                      <a:pt x="219" y="178"/>
                    </a:lnTo>
                    <a:lnTo>
                      <a:pt x="217" y="183"/>
                    </a:lnTo>
                    <a:lnTo>
                      <a:pt x="215" y="185"/>
                    </a:lnTo>
                    <a:lnTo>
                      <a:pt x="211" y="200"/>
                    </a:lnTo>
                    <a:lnTo>
                      <a:pt x="208" y="206"/>
                    </a:lnTo>
                    <a:lnTo>
                      <a:pt x="207" y="209"/>
                    </a:lnTo>
                    <a:lnTo>
                      <a:pt x="207" y="210"/>
                    </a:lnTo>
                    <a:lnTo>
                      <a:pt x="205" y="216"/>
                    </a:lnTo>
                    <a:lnTo>
                      <a:pt x="204" y="219"/>
                    </a:lnTo>
                    <a:lnTo>
                      <a:pt x="201" y="229"/>
                    </a:lnTo>
                    <a:lnTo>
                      <a:pt x="198" y="241"/>
                    </a:lnTo>
                    <a:lnTo>
                      <a:pt x="197" y="244"/>
                    </a:lnTo>
                    <a:lnTo>
                      <a:pt x="197" y="245"/>
                    </a:lnTo>
                    <a:lnTo>
                      <a:pt x="193" y="242"/>
                    </a:lnTo>
                    <a:lnTo>
                      <a:pt x="191" y="242"/>
                    </a:lnTo>
                    <a:lnTo>
                      <a:pt x="181" y="238"/>
                    </a:lnTo>
                    <a:lnTo>
                      <a:pt x="178" y="236"/>
                    </a:lnTo>
                    <a:lnTo>
                      <a:pt x="175" y="235"/>
                    </a:lnTo>
                    <a:lnTo>
                      <a:pt x="161" y="229"/>
                    </a:lnTo>
                    <a:lnTo>
                      <a:pt x="146" y="223"/>
                    </a:lnTo>
                    <a:lnTo>
                      <a:pt x="139" y="220"/>
                    </a:lnTo>
                    <a:lnTo>
                      <a:pt x="138" y="220"/>
                    </a:lnTo>
                    <a:lnTo>
                      <a:pt x="137" y="220"/>
                    </a:lnTo>
                    <a:lnTo>
                      <a:pt x="136" y="220"/>
                    </a:lnTo>
                    <a:lnTo>
                      <a:pt x="136" y="219"/>
                    </a:lnTo>
                    <a:lnTo>
                      <a:pt x="135" y="219"/>
                    </a:lnTo>
                    <a:lnTo>
                      <a:pt x="134" y="217"/>
                    </a:lnTo>
                    <a:lnTo>
                      <a:pt x="133" y="216"/>
                    </a:lnTo>
                    <a:lnTo>
                      <a:pt x="133" y="215"/>
                    </a:lnTo>
                    <a:lnTo>
                      <a:pt x="133" y="214"/>
                    </a:lnTo>
                    <a:lnTo>
                      <a:pt x="132" y="214"/>
                    </a:lnTo>
                    <a:lnTo>
                      <a:pt x="132" y="213"/>
                    </a:lnTo>
                    <a:lnTo>
                      <a:pt x="130" y="213"/>
                    </a:lnTo>
                    <a:lnTo>
                      <a:pt x="129" y="212"/>
                    </a:lnTo>
                    <a:lnTo>
                      <a:pt x="130" y="210"/>
                    </a:lnTo>
                    <a:lnTo>
                      <a:pt x="129" y="209"/>
                    </a:lnTo>
                    <a:lnTo>
                      <a:pt x="129" y="208"/>
                    </a:lnTo>
                    <a:lnTo>
                      <a:pt x="129" y="207"/>
                    </a:lnTo>
                    <a:lnTo>
                      <a:pt x="129" y="206"/>
                    </a:lnTo>
                    <a:lnTo>
                      <a:pt x="128" y="204"/>
                    </a:lnTo>
                    <a:lnTo>
                      <a:pt x="128" y="203"/>
                    </a:lnTo>
                    <a:lnTo>
                      <a:pt x="128" y="202"/>
                    </a:lnTo>
                    <a:lnTo>
                      <a:pt x="127" y="201"/>
                    </a:lnTo>
                    <a:lnTo>
                      <a:pt x="127" y="200"/>
                    </a:lnTo>
                    <a:lnTo>
                      <a:pt x="127" y="199"/>
                    </a:lnTo>
                    <a:lnTo>
                      <a:pt x="127" y="198"/>
                    </a:lnTo>
                    <a:lnTo>
                      <a:pt x="126" y="198"/>
                    </a:lnTo>
                    <a:lnTo>
                      <a:pt x="126" y="197"/>
                    </a:lnTo>
                    <a:lnTo>
                      <a:pt x="125" y="197"/>
                    </a:lnTo>
                    <a:lnTo>
                      <a:pt x="125" y="196"/>
                    </a:lnTo>
                    <a:lnTo>
                      <a:pt x="125" y="195"/>
                    </a:lnTo>
                    <a:lnTo>
                      <a:pt x="124" y="195"/>
                    </a:lnTo>
                    <a:lnTo>
                      <a:pt x="123" y="194"/>
                    </a:lnTo>
                    <a:lnTo>
                      <a:pt x="122" y="194"/>
                    </a:lnTo>
                    <a:lnTo>
                      <a:pt x="121" y="193"/>
                    </a:lnTo>
                    <a:lnTo>
                      <a:pt x="121" y="191"/>
                    </a:lnTo>
                    <a:lnTo>
                      <a:pt x="120" y="191"/>
                    </a:lnTo>
                    <a:lnTo>
                      <a:pt x="120" y="190"/>
                    </a:lnTo>
                    <a:lnTo>
                      <a:pt x="120" y="189"/>
                    </a:lnTo>
                    <a:lnTo>
                      <a:pt x="120" y="188"/>
                    </a:lnTo>
                    <a:lnTo>
                      <a:pt x="119" y="187"/>
                    </a:lnTo>
                    <a:lnTo>
                      <a:pt x="119" y="186"/>
                    </a:lnTo>
                    <a:lnTo>
                      <a:pt x="120" y="185"/>
                    </a:lnTo>
                    <a:lnTo>
                      <a:pt x="121" y="183"/>
                    </a:lnTo>
                    <a:lnTo>
                      <a:pt x="122" y="182"/>
                    </a:lnTo>
                    <a:lnTo>
                      <a:pt x="122" y="181"/>
                    </a:lnTo>
                    <a:lnTo>
                      <a:pt x="121" y="181"/>
                    </a:lnTo>
                    <a:lnTo>
                      <a:pt x="121" y="180"/>
                    </a:lnTo>
                    <a:lnTo>
                      <a:pt x="120" y="180"/>
                    </a:lnTo>
                    <a:lnTo>
                      <a:pt x="119" y="181"/>
                    </a:lnTo>
                    <a:lnTo>
                      <a:pt x="117" y="181"/>
                    </a:lnTo>
                    <a:lnTo>
                      <a:pt x="116" y="181"/>
                    </a:lnTo>
                    <a:lnTo>
                      <a:pt x="115" y="181"/>
                    </a:lnTo>
                    <a:lnTo>
                      <a:pt x="114" y="182"/>
                    </a:lnTo>
                    <a:lnTo>
                      <a:pt x="113" y="183"/>
                    </a:lnTo>
                    <a:lnTo>
                      <a:pt x="112" y="183"/>
                    </a:lnTo>
                    <a:lnTo>
                      <a:pt x="111" y="183"/>
                    </a:lnTo>
                    <a:lnTo>
                      <a:pt x="110" y="183"/>
                    </a:lnTo>
                    <a:lnTo>
                      <a:pt x="109" y="184"/>
                    </a:lnTo>
                    <a:lnTo>
                      <a:pt x="108" y="185"/>
                    </a:lnTo>
                    <a:lnTo>
                      <a:pt x="107" y="185"/>
                    </a:lnTo>
                    <a:lnTo>
                      <a:pt x="106" y="185"/>
                    </a:lnTo>
                    <a:lnTo>
                      <a:pt x="104" y="185"/>
                    </a:lnTo>
                    <a:lnTo>
                      <a:pt x="103" y="185"/>
                    </a:lnTo>
                    <a:lnTo>
                      <a:pt x="102" y="185"/>
                    </a:lnTo>
                    <a:lnTo>
                      <a:pt x="101" y="184"/>
                    </a:lnTo>
                    <a:lnTo>
                      <a:pt x="100" y="186"/>
                    </a:lnTo>
                    <a:lnTo>
                      <a:pt x="98" y="187"/>
                    </a:lnTo>
                    <a:lnTo>
                      <a:pt x="96" y="188"/>
                    </a:lnTo>
                    <a:lnTo>
                      <a:pt x="94" y="187"/>
                    </a:lnTo>
                    <a:lnTo>
                      <a:pt x="88" y="185"/>
                    </a:lnTo>
                    <a:lnTo>
                      <a:pt x="84" y="183"/>
                    </a:lnTo>
                    <a:lnTo>
                      <a:pt x="83" y="183"/>
                    </a:lnTo>
                    <a:lnTo>
                      <a:pt x="77" y="181"/>
                    </a:lnTo>
                    <a:lnTo>
                      <a:pt x="74" y="180"/>
                    </a:lnTo>
                    <a:lnTo>
                      <a:pt x="71" y="178"/>
                    </a:lnTo>
                    <a:lnTo>
                      <a:pt x="59" y="173"/>
                    </a:lnTo>
                    <a:lnTo>
                      <a:pt x="57" y="172"/>
                    </a:lnTo>
                    <a:lnTo>
                      <a:pt x="50" y="169"/>
                    </a:lnTo>
                    <a:lnTo>
                      <a:pt x="50" y="170"/>
                    </a:lnTo>
                    <a:lnTo>
                      <a:pt x="49" y="170"/>
                    </a:lnTo>
                    <a:lnTo>
                      <a:pt x="48" y="170"/>
                    </a:lnTo>
                    <a:lnTo>
                      <a:pt x="47" y="169"/>
                    </a:lnTo>
                    <a:lnTo>
                      <a:pt x="46" y="169"/>
                    </a:lnTo>
                    <a:lnTo>
                      <a:pt x="46" y="170"/>
                    </a:lnTo>
                    <a:lnTo>
                      <a:pt x="45" y="170"/>
                    </a:lnTo>
                    <a:lnTo>
                      <a:pt x="44" y="171"/>
                    </a:lnTo>
                    <a:lnTo>
                      <a:pt x="43" y="171"/>
                    </a:lnTo>
                    <a:lnTo>
                      <a:pt x="42" y="171"/>
                    </a:lnTo>
                    <a:lnTo>
                      <a:pt x="40" y="172"/>
                    </a:lnTo>
                    <a:lnTo>
                      <a:pt x="39" y="172"/>
                    </a:lnTo>
                    <a:lnTo>
                      <a:pt x="38" y="172"/>
                    </a:lnTo>
                    <a:lnTo>
                      <a:pt x="37" y="172"/>
                    </a:lnTo>
                    <a:lnTo>
                      <a:pt x="37" y="173"/>
                    </a:lnTo>
                    <a:lnTo>
                      <a:pt x="36" y="173"/>
                    </a:lnTo>
                    <a:lnTo>
                      <a:pt x="35" y="173"/>
                    </a:lnTo>
                    <a:lnTo>
                      <a:pt x="35" y="172"/>
                    </a:lnTo>
                    <a:lnTo>
                      <a:pt x="34" y="172"/>
                    </a:lnTo>
                    <a:lnTo>
                      <a:pt x="33" y="172"/>
                    </a:lnTo>
                    <a:lnTo>
                      <a:pt x="32" y="172"/>
                    </a:lnTo>
                    <a:lnTo>
                      <a:pt x="31" y="172"/>
                    </a:lnTo>
                    <a:lnTo>
                      <a:pt x="30" y="171"/>
                    </a:lnTo>
                    <a:lnTo>
                      <a:pt x="27" y="171"/>
                    </a:lnTo>
                    <a:lnTo>
                      <a:pt x="27" y="170"/>
                    </a:lnTo>
                    <a:lnTo>
                      <a:pt x="27" y="169"/>
                    </a:lnTo>
                    <a:lnTo>
                      <a:pt x="26" y="169"/>
                    </a:lnTo>
                    <a:lnTo>
                      <a:pt x="25" y="169"/>
                    </a:lnTo>
                    <a:lnTo>
                      <a:pt x="25" y="168"/>
                    </a:lnTo>
                    <a:lnTo>
                      <a:pt x="24" y="169"/>
                    </a:lnTo>
                    <a:lnTo>
                      <a:pt x="23" y="169"/>
                    </a:lnTo>
                    <a:lnTo>
                      <a:pt x="23" y="170"/>
                    </a:lnTo>
                    <a:lnTo>
                      <a:pt x="23" y="171"/>
                    </a:lnTo>
                    <a:lnTo>
                      <a:pt x="22" y="171"/>
                    </a:lnTo>
                    <a:lnTo>
                      <a:pt x="21" y="171"/>
                    </a:lnTo>
                    <a:lnTo>
                      <a:pt x="21" y="172"/>
                    </a:lnTo>
                    <a:lnTo>
                      <a:pt x="20" y="171"/>
                    </a:lnTo>
                    <a:lnTo>
                      <a:pt x="19" y="172"/>
                    </a:lnTo>
                    <a:lnTo>
                      <a:pt x="18" y="172"/>
                    </a:lnTo>
                    <a:lnTo>
                      <a:pt x="18" y="171"/>
                    </a:lnTo>
                    <a:lnTo>
                      <a:pt x="18" y="172"/>
                    </a:lnTo>
                    <a:lnTo>
                      <a:pt x="17" y="171"/>
                    </a:lnTo>
                    <a:lnTo>
                      <a:pt x="16" y="172"/>
                    </a:lnTo>
                    <a:lnTo>
                      <a:pt x="16" y="171"/>
                    </a:lnTo>
                    <a:lnTo>
                      <a:pt x="14" y="171"/>
                    </a:lnTo>
                    <a:lnTo>
                      <a:pt x="14" y="170"/>
                    </a:lnTo>
                    <a:lnTo>
                      <a:pt x="14" y="169"/>
                    </a:lnTo>
                    <a:lnTo>
                      <a:pt x="13" y="169"/>
                    </a:lnTo>
                    <a:lnTo>
                      <a:pt x="13" y="168"/>
                    </a:lnTo>
                    <a:lnTo>
                      <a:pt x="13" y="169"/>
                    </a:lnTo>
                    <a:lnTo>
                      <a:pt x="12" y="169"/>
                    </a:lnTo>
                    <a:lnTo>
                      <a:pt x="11" y="169"/>
                    </a:lnTo>
                    <a:lnTo>
                      <a:pt x="10" y="169"/>
                    </a:lnTo>
                    <a:lnTo>
                      <a:pt x="9" y="169"/>
                    </a:lnTo>
                    <a:lnTo>
                      <a:pt x="8" y="169"/>
                    </a:lnTo>
                    <a:lnTo>
                      <a:pt x="8" y="170"/>
                    </a:lnTo>
                    <a:lnTo>
                      <a:pt x="8" y="171"/>
                    </a:lnTo>
                    <a:lnTo>
                      <a:pt x="7" y="171"/>
                    </a:lnTo>
                    <a:lnTo>
                      <a:pt x="6" y="171"/>
                    </a:lnTo>
                    <a:lnTo>
                      <a:pt x="5" y="170"/>
                    </a:lnTo>
                    <a:lnTo>
                      <a:pt x="4" y="170"/>
                    </a:lnTo>
                    <a:lnTo>
                      <a:pt x="3" y="170"/>
                    </a:lnTo>
                    <a:lnTo>
                      <a:pt x="3" y="169"/>
                    </a:lnTo>
                    <a:lnTo>
                      <a:pt x="1" y="168"/>
                    </a:lnTo>
                    <a:lnTo>
                      <a:pt x="1" y="169"/>
                    </a:lnTo>
                    <a:lnTo>
                      <a:pt x="0" y="169"/>
                    </a:lnTo>
                    <a:lnTo>
                      <a:pt x="0" y="168"/>
                    </a:lnTo>
                    <a:lnTo>
                      <a:pt x="0" y="167"/>
                    </a:lnTo>
                    <a:lnTo>
                      <a:pt x="0" y="165"/>
                    </a:lnTo>
                    <a:lnTo>
                      <a:pt x="1" y="165"/>
                    </a:lnTo>
                    <a:lnTo>
                      <a:pt x="3" y="165"/>
                    </a:lnTo>
                    <a:lnTo>
                      <a:pt x="3" y="167"/>
                    </a:lnTo>
                    <a:lnTo>
                      <a:pt x="3" y="168"/>
                    </a:lnTo>
                    <a:lnTo>
                      <a:pt x="4" y="168"/>
                    </a:lnTo>
                    <a:lnTo>
                      <a:pt x="4" y="167"/>
                    </a:lnTo>
                    <a:lnTo>
                      <a:pt x="5" y="167"/>
                    </a:lnTo>
                    <a:lnTo>
                      <a:pt x="6" y="167"/>
                    </a:lnTo>
                    <a:lnTo>
                      <a:pt x="7" y="167"/>
                    </a:lnTo>
                    <a:lnTo>
                      <a:pt x="6" y="165"/>
                    </a:lnTo>
                    <a:lnTo>
                      <a:pt x="5" y="164"/>
                    </a:lnTo>
                    <a:lnTo>
                      <a:pt x="6" y="164"/>
                    </a:lnTo>
                    <a:lnTo>
                      <a:pt x="7" y="163"/>
                    </a:lnTo>
                    <a:lnTo>
                      <a:pt x="8" y="163"/>
                    </a:lnTo>
                    <a:lnTo>
                      <a:pt x="7" y="162"/>
                    </a:lnTo>
                    <a:lnTo>
                      <a:pt x="8" y="162"/>
                    </a:lnTo>
                    <a:lnTo>
                      <a:pt x="8" y="161"/>
                    </a:lnTo>
                    <a:lnTo>
                      <a:pt x="9" y="161"/>
                    </a:lnTo>
                    <a:lnTo>
                      <a:pt x="9" y="160"/>
                    </a:lnTo>
                    <a:lnTo>
                      <a:pt x="9" y="161"/>
                    </a:lnTo>
                    <a:lnTo>
                      <a:pt x="10" y="161"/>
                    </a:lnTo>
                    <a:lnTo>
                      <a:pt x="10" y="160"/>
                    </a:lnTo>
                    <a:lnTo>
                      <a:pt x="11" y="160"/>
                    </a:lnTo>
                    <a:lnTo>
                      <a:pt x="11" y="159"/>
                    </a:lnTo>
                    <a:lnTo>
                      <a:pt x="11" y="158"/>
                    </a:lnTo>
                    <a:lnTo>
                      <a:pt x="12" y="158"/>
                    </a:lnTo>
                    <a:lnTo>
                      <a:pt x="12" y="157"/>
                    </a:lnTo>
                    <a:lnTo>
                      <a:pt x="13" y="157"/>
                    </a:lnTo>
                    <a:lnTo>
                      <a:pt x="13" y="156"/>
                    </a:lnTo>
                    <a:lnTo>
                      <a:pt x="14" y="155"/>
                    </a:lnTo>
                    <a:lnTo>
                      <a:pt x="14" y="153"/>
                    </a:lnTo>
                    <a:lnTo>
                      <a:pt x="16" y="152"/>
                    </a:lnTo>
                    <a:lnTo>
                      <a:pt x="17" y="152"/>
                    </a:lnTo>
                    <a:lnTo>
                      <a:pt x="18" y="151"/>
                    </a:lnTo>
                    <a:lnTo>
                      <a:pt x="19" y="151"/>
                    </a:lnTo>
                    <a:lnTo>
                      <a:pt x="19" y="150"/>
                    </a:lnTo>
                    <a:lnTo>
                      <a:pt x="20" y="150"/>
                    </a:lnTo>
                    <a:lnTo>
                      <a:pt x="21" y="149"/>
                    </a:lnTo>
                    <a:lnTo>
                      <a:pt x="21" y="148"/>
                    </a:lnTo>
                    <a:lnTo>
                      <a:pt x="20" y="148"/>
                    </a:lnTo>
                    <a:lnTo>
                      <a:pt x="20" y="147"/>
                    </a:lnTo>
                    <a:lnTo>
                      <a:pt x="20" y="146"/>
                    </a:lnTo>
                    <a:lnTo>
                      <a:pt x="21" y="145"/>
                    </a:lnTo>
                    <a:lnTo>
                      <a:pt x="22" y="145"/>
                    </a:lnTo>
                    <a:lnTo>
                      <a:pt x="22" y="144"/>
                    </a:lnTo>
                    <a:lnTo>
                      <a:pt x="22" y="143"/>
                    </a:lnTo>
                    <a:lnTo>
                      <a:pt x="23" y="142"/>
                    </a:lnTo>
                    <a:lnTo>
                      <a:pt x="23" y="140"/>
                    </a:lnTo>
                    <a:lnTo>
                      <a:pt x="23" y="139"/>
                    </a:lnTo>
                    <a:lnTo>
                      <a:pt x="23" y="138"/>
                    </a:lnTo>
                    <a:lnTo>
                      <a:pt x="23" y="137"/>
                    </a:lnTo>
                    <a:lnTo>
                      <a:pt x="22" y="136"/>
                    </a:lnTo>
                    <a:lnTo>
                      <a:pt x="22" y="135"/>
                    </a:lnTo>
                    <a:lnTo>
                      <a:pt x="23" y="134"/>
                    </a:lnTo>
                    <a:lnTo>
                      <a:pt x="23" y="133"/>
                    </a:lnTo>
                    <a:lnTo>
                      <a:pt x="23" y="132"/>
                    </a:lnTo>
                    <a:lnTo>
                      <a:pt x="22" y="131"/>
                    </a:lnTo>
                    <a:lnTo>
                      <a:pt x="22" y="130"/>
                    </a:lnTo>
                    <a:lnTo>
                      <a:pt x="22" y="129"/>
                    </a:lnTo>
                    <a:lnTo>
                      <a:pt x="23" y="129"/>
                    </a:lnTo>
                    <a:lnTo>
                      <a:pt x="23" y="127"/>
                    </a:lnTo>
                    <a:lnTo>
                      <a:pt x="22" y="127"/>
                    </a:lnTo>
                    <a:lnTo>
                      <a:pt x="21" y="126"/>
                    </a:lnTo>
                    <a:lnTo>
                      <a:pt x="21" y="125"/>
                    </a:lnTo>
                    <a:lnTo>
                      <a:pt x="22" y="125"/>
                    </a:lnTo>
                    <a:lnTo>
                      <a:pt x="23" y="124"/>
                    </a:lnTo>
                    <a:lnTo>
                      <a:pt x="23" y="123"/>
                    </a:lnTo>
                    <a:lnTo>
                      <a:pt x="23" y="122"/>
                    </a:lnTo>
                    <a:lnTo>
                      <a:pt x="23" y="121"/>
                    </a:lnTo>
                    <a:lnTo>
                      <a:pt x="23" y="120"/>
                    </a:lnTo>
                    <a:lnTo>
                      <a:pt x="24" y="120"/>
                    </a:lnTo>
                    <a:lnTo>
                      <a:pt x="25" y="119"/>
                    </a:lnTo>
                    <a:lnTo>
                      <a:pt x="26" y="119"/>
                    </a:lnTo>
                    <a:lnTo>
                      <a:pt x="27" y="118"/>
                    </a:lnTo>
                    <a:lnTo>
                      <a:pt x="29" y="116"/>
                    </a:lnTo>
                    <a:lnTo>
                      <a:pt x="30" y="116"/>
                    </a:lnTo>
                    <a:lnTo>
                      <a:pt x="31" y="114"/>
                    </a:lnTo>
                    <a:lnTo>
                      <a:pt x="32" y="114"/>
                    </a:lnTo>
                    <a:lnTo>
                      <a:pt x="32" y="116"/>
                    </a:lnTo>
                    <a:lnTo>
                      <a:pt x="32" y="114"/>
                    </a:lnTo>
                    <a:lnTo>
                      <a:pt x="33" y="114"/>
                    </a:lnTo>
                    <a:lnTo>
                      <a:pt x="34" y="114"/>
                    </a:lnTo>
                    <a:lnTo>
                      <a:pt x="35" y="114"/>
                    </a:lnTo>
                    <a:lnTo>
                      <a:pt x="36" y="113"/>
                    </a:lnTo>
                    <a:lnTo>
                      <a:pt x="37" y="113"/>
                    </a:lnTo>
                    <a:lnTo>
                      <a:pt x="38" y="113"/>
                    </a:lnTo>
                    <a:lnTo>
                      <a:pt x="39" y="113"/>
                    </a:lnTo>
                    <a:lnTo>
                      <a:pt x="39" y="114"/>
                    </a:lnTo>
                    <a:lnTo>
                      <a:pt x="40" y="114"/>
                    </a:lnTo>
                    <a:lnTo>
                      <a:pt x="42" y="113"/>
                    </a:lnTo>
                    <a:lnTo>
                      <a:pt x="43" y="113"/>
                    </a:lnTo>
                    <a:lnTo>
                      <a:pt x="43" y="112"/>
                    </a:lnTo>
                    <a:lnTo>
                      <a:pt x="44" y="112"/>
                    </a:lnTo>
                    <a:lnTo>
                      <a:pt x="44" y="111"/>
                    </a:lnTo>
                    <a:lnTo>
                      <a:pt x="45" y="111"/>
                    </a:lnTo>
                    <a:lnTo>
                      <a:pt x="46" y="110"/>
                    </a:lnTo>
                    <a:lnTo>
                      <a:pt x="46" y="104"/>
                    </a:lnTo>
                    <a:lnTo>
                      <a:pt x="46" y="99"/>
                    </a:lnTo>
                    <a:lnTo>
                      <a:pt x="53" y="99"/>
                    </a:lnTo>
                    <a:lnTo>
                      <a:pt x="56" y="99"/>
                    </a:lnTo>
                    <a:lnTo>
                      <a:pt x="57" y="99"/>
                    </a:lnTo>
                    <a:lnTo>
                      <a:pt x="59" y="99"/>
                    </a:lnTo>
                    <a:lnTo>
                      <a:pt x="61" y="99"/>
                    </a:lnTo>
                    <a:lnTo>
                      <a:pt x="64" y="99"/>
                    </a:lnTo>
                    <a:lnTo>
                      <a:pt x="65" y="99"/>
                    </a:lnTo>
                    <a:lnTo>
                      <a:pt x="66" y="99"/>
                    </a:lnTo>
                    <a:lnTo>
                      <a:pt x="66" y="95"/>
                    </a:lnTo>
                    <a:lnTo>
                      <a:pt x="66" y="90"/>
                    </a:lnTo>
                    <a:lnTo>
                      <a:pt x="66" y="79"/>
                    </a:lnTo>
                    <a:lnTo>
                      <a:pt x="77" y="79"/>
                    </a:lnTo>
                    <a:lnTo>
                      <a:pt x="77" y="75"/>
                    </a:lnTo>
                    <a:lnTo>
                      <a:pt x="77" y="69"/>
                    </a:lnTo>
                    <a:lnTo>
                      <a:pt x="84" y="69"/>
                    </a:lnTo>
                    <a:lnTo>
                      <a:pt x="85" y="69"/>
                    </a:lnTo>
                    <a:lnTo>
                      <a:pt x="87" y="69"/>
                    </a:lnTo>
                    <a:lnTo>
                      <a:pt x="87" y="63"/>
                    </a:lnTo>
                    <a:lnTo>
                      <a:pt x="87" y="58"/>
                    </a:lnTo>
                    <a:lnTo>
                      <a:pt x="100" y="48"/>
                    </a:lnTo>
                    <a:lnTo>
                      <a:pt x="110" y="42"/>
                    </a:lnTo>
                    <a:lnTo>
                      <a:pt x="114" y="39"/>
                    </a:lnTo>
                    <a:lnTo>
                      <a:pt x="115" y="37"/>
                    </a:lnTo>
                    <a:lnTo>
                      <a:pt x="115" y="36"/>
                    </a:lnTo>
                    <a:lnTo>
                      <a:pt x="116" y="36"/>
                    </a:lnTo>
                    <a:lnTo>
                      <a:pt x="119" y="36"/>
                    </a:lnTo>
                    <a:lnTo>
                      <a:pt x="120" y="36"/>
                    </a:lnTo>
                    <a:lnTo>
                      <a:pt x="120" y="35"/>
                    </a:lnTo>
                    <a:lnTo>
                      <a:pt x="120" y="34"/>
                    </a:lnTo>
                    <a:lnTo>
                      <a:pt x="120" y="33"/>
                    </a:lnTo>
                    <a:lnTo>
                      <a:pt x="121" y="32"/>
                    </a:lnTo>
                    <a:lnTo>
                      <a:pt x="122" y="31"/>
                    </a:lnTo>
                    <a:lnTo>
                      <a:pt x="122" y="30"/>
                    </a:lnTo>
                    <a:lnTo>
                      <a:pt x="122" y="29"/>
                    </a:lnTo>
                    <a:lnTo>
                      <a:pt x="122" y="28"/>
                    </a:lnTo>
                    <a:lnTo>
                      <a:pt x="121" y="28"/>
                    </a:lnTo>
                    <a:lnTo>
                      <a:pt x="121" y="27"/>
                    </a:lnTo>
                    <a:lnTo>
                      <a:pt x="122" y="27"/>
                    </a:lnTo>
                    <a:lnTo>
                      <a:pt x="123" y="26"/>
                    </a:lnTo>
                    <a:lnTo>
                      <a:pt x="123" y="24"/>
                    </a:lnTo>
                    <a:lnTo>
                      <a:pt x="123" y="23"/>
                    </a:lnTo>
                    <a:lnTo>
                      <a:pt x="122" y="23"/>
                    </a:lnTo>
                    <a:lnTo>
                      <a:pt x="122" y="22"/>
                    </a:lnTo>
                    <a:lnTo>
                      <a:pt x="122" y="21"/>
                    </a:lnTo>
                    <a:lnTo>
                      <a:pt x="123" y="21"/>
                    </a:lnTo>
                    <a:lnTo>
                      <a:pt x="123" y="20"/>
                    </a:lnTo>
                    <a:lnTo>
                      <a:pt x="123" y="19"/>
                    </a:lnTo>
                    <a:lnTo>
                      <a:pt x="123" y="18"/>
                    </a:lnTo>
                    <a:lnTo>
                      <a:pt x="123" y="17"/>
                    </a:lnTo>
                    <a:lnTo>
                      <a:pt x="123" y="16"/>
                    </a:lnTo>
                    <a:lnTo>
                      <a:pt x="123" y="15"/>
                    </a:lnTo>
                    <a:lnTo>
                      <a:pt x="124" y="15"/>
                    </a:lnTo>
                    <a:lnTo>
                      <a:pt x="126" y="14"/>
                    </a:lnTo>
                    <a:lnTo>
                      <a:pt x="127" y="13"/>
                    </a:lnTo>
                    <a:lnTo>
                      <a:pt x="127" y="11"/>
                    </a:lnTo>
                    <a:lnTo>
                      <a:pt x="128" y="11"/>
                    </a:lnTo>
                    <a:lnTo>
                      <a:pt x="128" y="10"/>
                    </a:lnTo>
                    <a:lnTo>
                      <a:pt x="128" y="11"/>
                    </a:lnTo>
                    <a:lnTo>
                      <a:pt x="129" y="11"/>
                    </a:lnTo>
                    <a:lnTo>
                      <a:pt x="130" y="11"/>
                    </a:lnTo>
                    <a:lnTo>
                      <a:pt x="132" y="11"/>
                    </a:lnTo>
                    <a:lnTo>
                      <a:pt x="132" y="10"/>
                    </a:lnTo>
                    <a:lnTo>
                      <a:pt x="133" y="10"/>
                    </a:lnTo>
                    <a:lnTo>
                      <a:pt x="134" y="10"/>
                    </a:lnTo>
                    <a:lnTo>
                      <a:pt x="134" y="9"/>
                    </a:lnTo>
                    <a:lnTo>
                      <a:pt x="135" y="9"/>
                    </a:lnTo>
                    <a:lnTo>
                      <a:pt x="135" y="8"/>
                    </a:lnTo>
                    <a:lnTo>
                      <a:pt x="136" y="8"/>
                    </a:lnTo>
                    <a:lnTo>
                      <a:pt x="136" y="7"/>
                    </a:lnTo>
                    <a:lnTo>
                      <a:pt x="137" y="7"/>
                    </a:lnTo>
                    <a:lnTo>
                      <a:pt x="137" y="6"/>
                    </a:lnTo>
                    <a:lnTo>
                      <a:pt x="137" y="5"/>
                    </a:lnTo>
                    <a:lnTo>
                      <a:pt x="138" y="5"/>
                    </a:lnTo>
                    <a:lnTo>
                      <a:pt x="138" y="4"/>
                    </a:lnTo>
                    <a:lnTo>
                      <a:pt x="139" y="4"/>
                    </a:lnTo>
                    <a:lnTo>
                      <a:pt x="139" y="3"/>
                    </a:lnTo>
                    <a:lnTo>
                      <a:pt x="140" y="3"/>
                    </a:lnTo>
                    <a:lnTo>
                      <a:pt x="140" y="2"/>
                    </a:lnTo>
                    <a:lnTo>
                      <a:pt x="141" y="2"/>
                    </a:lnTo>
                    <a:lnTo>
                      <a:pt x="142" y="2"/>
                    </a:lnTo>
                    <a:lnTo>
                      <a:pt x="143" y="2"/>
                    </a:lnTo>
                    <a:lnTo>
                      <a:pt x="143" y="1"/>
                    </a:lnTo>
                    <a:lnTo>
                      <a:pt x="145" y="0"/>
                    </a:lnTo>
                    <a:lnTo>
                      <a:pt x="145" y="1"/>
                    </a:lnTo>
                    <a:lnTo>
                      <a:pt x="145" y="2"/>
                    </a:lnTo>
                    <a:lnTo>
                      <a:pt x="146" y="2"/>
                    </a:lnTo>
                    <a:lnTo>
                      <a:pt x="146" y="3"/>
                    </a:lnTo>
                    <a:lnTo>
                      <a:pt x="147" y="3"/>
                    </a:lnTo>
                    <a:lnTo>
                      <a:pt x="148" y="3"/>
                    </a:lnTo>
                    <a:lnTo>
                      <a:pt x="148" y="4"/>
                    </a:lnTo>
                    <a:lnTo>
                      <a:pt x="149" y="4"/>
                    </a:lnTo>
                    <a:lnTo>
                      <a:pt x="149" y="5"/>
                    </a:lnTo>
                    <a:lnTo>
                      <a:pt x="150" y="5"/>
                    </a:lnTo>
                    <a:lnTo>
                      <a:pt x="150" y="6"/>
                    </a:lnTo>
                    <a:lnTo>
                      <a:pt x="149" y="7"/>
                    </a:lnTo>
                    <a:lnTo>
                      <a:pt x="149" y="8"/>
                    </a:lnTo>
                    <a:lnTo>
                      <a:pt x="149" y="9"/>
                    </a:lnTo>
                    <a:lnTo>
                      <a:pt x="150" y="9"/>
                    </a:lnTo>
                    <a:lnTo>
                      <a:pt x="151" y="9"/>
                    </a:lnTo>
                    <a:lnTo>
                      <a:pt x="151" y="10"/>
                    </a:lnTo>
                    <a:lnTo>
                      <a:pt x="151" y="11"/>
                    </a:lnTo>
                    <a:lnTo>
                      <a:pt x="152" y="11"/>
                    </a:lnTo>
                    <a:lnTo>
                      <a:pt x="153" y="13"/>
                    </a:lnTo>
                    <a:lnTo>
                      <a:pt x="153" y="14"/>
                    </a:lnTo>
                    <a:lnTo>
                      <a:pt x="154" y="14"/>
                    </a:lnTo>
                    <a:lnTo>
                      <a:pt x="155" y="15"/>
                    </a:lnTo>
                    <a:lnTo>
                      <a:pt x="156" y="15"/>
                    </a:lnTo>
                    <a:lnTo>
                      <a:pt x="158" y="15"/>
                    </a:lnTo>
                    <a:lnTo>
                      <a:pt x="158" y="16"/>
                    </a:lnTo>
                    <a:lnTo>
                      <a:pt x="159" y="15"/>
                    </a:lnTo>
                    <a:lnTo>
                      <a:pt x="160" y="14"/>
                    </a:lnTo>
                    <a:lnTo>
                      <a:pt x="160" y="13"/>
                    </a:lnTo>
                    <a:lnTo>
                      <a:pt x="160" y="11"/>
                    </a:lnTo>
                    <a:lnTo>
                      <a:pt x="160" y="10"/>
                    </a:lnTo>
                    <a:lnTo>
                      <a:pt x="161" y="10"/>
                    </a:lnTo>
                    <a:lnTo>
                      <a:pt x="162" y="10"/>
                    </a:lnTo>
                    <a:lnTo>
                      <a:pt x="163" y="10"/>
                    </a:lnTo>
                    <a:lnTo>
                      <a:pt x="163" y="9"/>
                    </a:lnTo>
                    <a:lnTo>
                      <a:pt x="164" y="9"/>
                    </a:lnTo>
                    <a:lnTo>
                      <a:pt x="164" y="8"/>
                    </a:lnTo>
                    <a:lnTo>
                      <a:pt x="165" y="7"/>
                    </a:lnTo>
                    <a:lnTo>
                      <a:pt x="167" y="7"/>
                    </a:lnTo>
                    <a:lnTo>
                      <a:pt x="167" y="8"/>
                    </a:lnTo>
                    <a:lnTo>
                      <a:pt x="168" y="8"/>
                    </a:lnTo>
                    <a:lnTo>
                      <a:pt x="168" y="9"/>
                    </a:lnTo>
                    <a:lnTo>
                      <a:pt x="168" y="10"/>
                    </a:lnTo>
                    <a:lnTo>
                      <a:pt x="169" y="10"/>
                    </a:lnTo>
                    <a:lnTo>
                      <a:pt x="169" y="9"/>
                    </a:lnTo>
                    <a:lnTo>
                      <a:pt x="171" y="9"/>
                    </a:lnTo>
                    <a:lnTo>
                      <a:pt x="171" y="10"/>
                    </a:lnTo>
                    <a:lnTo>
                      <a:pt x="172" y="10"/>
                    </a:lnTo>
                    <a:lnTo>
                      <a:pt x="172" y="11"/>
                    </a:lnTo>
                    <a:lnTo>
                      <a:pt x="173" y="11"/>
                    </a:lnTo>
                    <a:lnTo>
                      <a:pt x="174" y="11"/>
                    </a:lnTo>
                    <a:lnTo>
                      <a:pt x="174" y="10"/>
                    </a:lnTo>
                    <a:lnTo>
                      <a:pt x="175" y="9"/>
                    </a:lnTo>
                    <a:lnTo>
                      <a:pt x="176" y="8"/>
                    </a:lnTo>
                    <a:lnTo>
                      <a:pt x="177" y="8"/>
                    </a:lnTo>
                    <a:lnTo>
                      <a:pt x="178" y="8"/>
                    </a:lnTo>
                    <a:lnTo>
                      <a:pt x="179" y="8"/>
                    </a:lnTo>
                    <a:lnTo>
                      <a:pt x="180" y="8"/>
                    </a:lnTo>
                    <a:lnTo>
                      <a:pt x="181" y="9"/>
                    </a:lnTo>
                    <a:close/>
                  </a:path>
                </a:pathLst>
              </a:custGeom>
              <a:solidFill>
                <a:srgbClr val="063975"/>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0" name="Freeform 10">
                <a:extLst>
                  <a:ext uri="{FF2B5EF4-FFF2-40B4-BE49-F238E27FC236}">
                    <a16:creationId xmlns:a16="http://schemas.microsoft.com/office/drawing/2014/main" id="{8ED49478-55D4-D211-2D60-C1E25EF1C5FE}"/>
                  </a:ext>
                </a:extLst>
              </p:cNvPr>
              <p:cNvSpPr>
                <a:spLocks noEditPoints="1"/>
              </p:cNvSpPr>
              <p:nvPr/>
            </p:nvSpPr>
            <p:spPr bwMode="auto">
              <a:xfrm>
                <a:off x="3141663" y="4011613"/>
                <a:ext cx="874713" cy="896938"/>
              </a:xfrm>
              <a:custGeom>
                <a:avLst/>
                <a:gdLst>
                  <a:gd name="T0" fmla="*/ 304 w 551"/>
                  <a:gd name="T1" fmla="*/ 318 h 565"/>
                  <a:gd name="T2" fmla="*/ 295 w 551"/>
                  <a:gd name="T3" fmla="*/ 330 h 565"/>
                  <a:gd name="T4" fmla="*/ 232 w 551"/>
                  <a:gd name="T5" fmla="*/ 308 h 565"/>
                  <a:gd name="T6" fmla="*/ 203 w 551"/>
                  <a:gd name="T7" fmla="*/ 278 h 565"/>
                  <a:gd name="T8" fmla="*/ 192 w 551"/>
                  <a:gd name="T9" fmla="*/ 278 h 565"/>
                  <a:gd name="T10" fmla="*/ 179 w 551"/>
                  <a:gd name="T11" fmla="*/ 270 h 565"/>
                  <a:gd name="T12" fmla="*/ 165 w 551"/>
                  <a:gd name="T13" fmla="*/ 269 h 565"/>
                  <a:gd name="T14" fmla="*/ 147 w 551"/>
                  <a:gd name="T15" fmla="*/ 272 h 565"/>
                  <a:gd name="T16" fmla="*/ 132 w 551"/>
                  <a:gd name="T17" fmla="*/ 291 h 565"/>
                  <a:gd name="T18" fmla="*/ 70 w 551"/>
                  <a:gd name="T19" fmla="*/ 306 h 565"/>
                  <a:gd name="T20" fmla="*/ 40 w 551"/>
                  <a:gd name="T21" fmla="*/ 258 h 565"/>
                  <a:gd name="T22" fmla="*/ 48 w 551"/>
                  <a:gd name="T23" fmla="*/ 238 h 565"/>
                  <a:gd name="T24" fmla="*/ 44 w 551"/>
                  <a:gd name="T25" fmla="*/ 223 h 565"/>
                  <a:gd name="T26" fmla="*/ 31 w 551"/>
                  <a:gd name="T27" fmla="*/ 223 h 565"/>
                  <a:gd name="T28" fmla="*/ 21 w 551"/>
                  <a:gd name="T29" fmla="*/ 225 h 565"/>
                  <a:gd name="T30" fmla="*/ 8 w 551"/>
                  <a:gd name="T31" fmla="*/ 227 h 565"/>
                  <a:gd name="T32" fmla="*/ 6 w 551"/>
                  <a:gd name="T33" fmla="*/ 214 h 565"/>
                  <a:gd name="T34" fmla="*/ 14 w 551"/>
                  <a:gd name="T35" fmla="*/ 202 h 565"/>
                  <a:gd name="T36" fmla="*/ 25 w 551"/>
                  <a:gd name="T37" fmla="*/ 184 h 565"/>
                  <a:gd name="T38" fmla="*/ 24 w 551"/>
                  <a:gd name="T39" fmla="*/ 157 h 565"/>
                  <a:gd name="T40" fmla="*/ 22 w 551"/>
                  <a:gd name="T41" fmla="*/ 113 h 565"/>
                  <a:gd name="T42" fmla="*/ 0 w 551"/>
                  <a:gd name="T43" fmla="*/ 92 h 565"/>
                  <a:gd name="T44" fmla="*/ 5 w 551"/>
                  <a:gd name="T45" fmla="*/ 76 h 565"/>
                  <a:gd name="T46" fmla="*/ 11 w 551"/>
                  <a:gd name="T47" fmla="*/ 63 h 565"/>
                  <a:gd name="T48" fmla="*/ 21 w 551"/>
                  <a:gd name="T49" fmla="*/ 68 h 565"/>
                  <a:gd name="T50" fmla="*/ 34 w 551"/>
                  <a:gd name="T51" fmla="*/ 73 h 565"/>
                  <a:gd name="T52" fmla="*/ 80 w 551"/>
                  <a:gd name="T53" fmla="*/ 61 h 565"/>
                  <a:gd name="T54" fmla="*/ 94 w 551"/>
                  <a:gd name="T55" fmla="*/ 65 h 565"/>
                  <a:gd name="T56" fmla="*/ 107 w 551"/>
                  <a:gd name="T57" fmla="*/ 73 h 565"/>
                  <a:gd name="T58" fmla="*/ 169 w 551"/>
                  <a:gd name="T59" fmla="*/ 47 h 565"/>
                  <a:gd name="T60" fmla="*/ 143 w 551"/>
                  <a:gd name="T61" fmla="*/ 3 h 565"/>
                  <a:gd name="T62" fmla="*/ 216 w 551"/>
                  <a:gd name="T63" fmla="*/ 45 h 565"/>
                  <a:gd name="T64" fmla="*/ 223 w 551"/>
                  <a:gd name="T65" fmla="*/ 75 h 565"/>
                  <a:gd name="T66" fmla="*/ 217 w 551"/>
                  <a:gd name="T67" fmla="*/ 99 h 565"/>
                  <a:gd name="T68" fmla="*/ 222 w 551"/>
                  <a:gd name="T69" fmla="*/ 118 h 565"/>
                  <a:gd name="T70" fmla="*/ 252 w 551"/>
                  <a:gd name="T71" fmla="*/ 176 h 565"/>
                  <a:gd name="T72" fmla="*/ 283 w 551"/>
                  <a:gd name="T73" fmla="*/ 182 h 565"/>
                  <a:gd name="T74" fmla="*/ 315 w 551"/>
                  <a:gd name="T75" fmla="*/ 193 h 565"/>
                  <a:gd name="T76" fmla="*/ 306 w 551"/>
                  <a:gd name="T77" fmla="*/ 207 h 565"/>
                  <a:gd name="T78" fmla="*/ 314 w 551"/>
                  <a:gd name="T79" fmla="*/ 217 h 565"/>
                  <a:gd name="T80" fmla="*/ 318 w 551"/>
                  <a:gd name="T81" fmla="*/ 234 h 565"/>
                  <a:gd name="T82" fmla="*/ 319 w 551"/>
                  <a:gd name="T83" fmla="*/ 255 h 565"/>
                  <a:gd name="T84" fmla="*/ 317 w 551"/>
                  <a:gd name="T85" fmla="*/ 274 h 565"/>
                  <a:gd name="T86" fmla="*/ 372 w 551"/>
                  <a:gd name="T87" fmla="*/ 284 h 565"/>
                  <a:gd name="T88" fmla="*/ 379 w 551"/>
                  <a:gd name="T89" fmla="*/ 297 h 565"/>
                  <a:gd name="T90" fmla="*/ 537 w 551"/>
                  <a:gd name="T91" fmla="*/ 563 h 565"/>
                  <a:gd name="T92" fmla="*/ 459 w 551"/>
                  <a:gd name="T93" fmla="*/ 529 h 565"/>
                  <a:gd name="T94" fmla="*/ 377 w 551"/>
                  <a:gd name="T95" fmla="*/ 510 h 565"/>
                  <a:gd name="T96" fmla="*/ 355 w 551"/>
                  <a:gd name="T97" fmla="*/ 423 h 565"/>
                  <a:gd name="T98" fmla="*/ 424 w 551"/>
                  <a:gd name="T99" fmla="*/ 375 h 565"/>
                  <a:gd name="T100" fmla="*/ 451 w 551"/>
                  <a:gd name="T101" fmla="*/ 383 h 565"/>
                  <a:gd name="T102" fmla="*/ 461 w 551"/>
                  <a:gd name="T103" fmla="*/ 397 h 565"/>
                  <a:gd name="T104" fmla="*/ 466 w 551"/>
                  <a:gd name="T105" fmla="*/ 413 h 565"/>
                  <a:gd name="T106" fmla="*/ 478 w 551"/>
                  <a:gd name="T107" fmla="*/ 434 h 565"/>
                  <a:gd name="T108" fmla="*/ 488 w 551"/>
                  <a:gd name="T109" fmla="*/ 456 h 565"/>
                  <a:gd name="T110" fmla="*/ 520 w 551"/>
                  <a:gd name="T111" fmla="*/ 469 h 565"/>
                  <a:gd name="T112" fmla="*/ 539 w 551"/>
                  <a:gd name="T113" fmla="*/ 477 h 565"/>
                  <a:gd name="T114" fmla="*/ 547 w 551"/>
                  <a:gd name="T115" fmla="*/ 490 h 565"/>
                  <a:gd name="T116" fmla="*/ 547 w 551"/>
                  <a:gd name="T117" fmla="*/ 509 h 565"/>
                  <a:gd name="T118" fmla="*/ 550 w 551"/>
                  <a:gd name="T119" fmla="*/ 523 h 565"/>
                  <a:gd name="T120" fmla="*/ 548 w 551"/>
                  <a:gd name="T121" fmla="*/ 537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1" h="565">
                    <a:moveTo>
                      <a:pt x="380" y="311"/>
                    </a:moveTo>
                    <a:lnTo>
                      <a:pt x="377" y="311"/>
                    </a:lnTo>
                    <a:lnTo>
                      <a:pt x="341" y="312"/>
                    </a:lnTo>
                    <a:lnTo>
                      <a:pt x="336" y="312"/>
                    </a:lnTo>
                    <a:lnTo>
                      <a:pt x="335" y="312"/>
                    </a:lnTo>
                    <a:lnTo>
                      <a:pt x="329" y="312"/>
                    </a:lnTo>
                    <a:lnTo>
                      <a:pt x="328" y="312"/>
                    </a:lnTo>
                    <a:lnTo>
                      <a:pt x="323" y="312"/>
                    </a:lnTo>
                    <a:lnTo>
                      <a:pt x="322" y="312"/>
                    </a:lnTo>
                    <a:lnTo>
                      <a:pt x="310" y="312"/>
                    </a:lnTo>
                    <a:lnTo>
                      <a:pt x="307" y="312"/>
                    </a:lnTo>
                    <a:lnTo>
                      <a:pt x="306" y="312"/>
                    </a:lnTo>
                    <a:lnTo>
                      <a:pt x="306" y="315"/>
                    </a:lnTo>
                    <a:lnTo>
                      <a:pt x="305" y="316"/>
                    </a:lnTo>
                    <a:lnTo>
                      <a:pt x="304" y="317"/>
                    </a:lnTo>
                    <a:lnTo>
                      <a:pt x="304" y="318"/>
                    </a:lnTo>
                    <a:lnTo>
                      <a:pt x="303" y="319"/>
                    </a:lnTo>
                    <a:lnTo>
                      <a:pt x="303" y="320"/>
                    </a:lnTo>
                    <a:lnTo>
                      <a:pt x="303" y="322"/>
                    </a:lnTo>
                    <a:lnTo>
                      <a:pt x="303" y="323"/>
                    </a:lnTo>
                    <a:lnTo>
                      <a:pt x="303" y="324"/>
                    </a:lnTo>
                    <a:lnTo>
                      <a:pt x="302" y="324"/>
                    </a:lnTo>
                    <a:lnTo>
                      <a:pt x="301" y="324"/>
                    </a:lnTo>
                    <a:lnTo>
                      <a:pt x="300" y="324"/>
                    </a:lnTo>
                    <a:lnTo>
                      <a:pt x="298" y="324"/>
                    </a:lnTo>
                    <a:lnTo>
                      <a:pt x="297" y="324"/>
                    </a:lnTo>
                    <a:lnTo>
                      <a:pt x="296" y="325"/>
                    </a:lnTo>
                    <a:lnTo>
                      <a:pt x="295" y="325"/>
                    </a:lnTo>
                    <a:lnTo>
                      <a:pt x="295" y="327"/>
                    </a:lnTo>
                    <a:lnTo>
                      <a:pt x="295" y="328"/>
                    </a:lnTo>
                    <a:lnTo>
                      <a:pt x="295" y="329"/>
                    </a:lnTo>
                    <a:lnTo>
                      <a:pt x="295" y="330"/>
                    </a:lnTo>
                    <a:lnTo>
                      <a:pt x="275" y="330"/>
                    </a:lnTo>
                    <a:lnTo>
                      <a:pt x="272" y="330"/>
                    </a:lnTo>
                    <a:lnTo>
                      <a:pt x="257" y="330"/>
                    </a:lnTo>
                    <a:lnTo>
                      <a:pt x="256" y="330"/>
                    </a:lnTo>
                    <a:lnTo>
                      <a:pt x="238" y="330"/>
                    </a:lnTo>
                    <a:lnTo>
                      <a:pt x="238" y="329"/>
                    </a:lnTo>
                    <a:lnTo>
                      <a:pt x="238" y="328"/>
                    </a:lnTo>
                    <a:lnTo>
                      <a:pt x="237" y="325"/>
                    </a:lnTo>
                    <a:lnTo>
                      <a:pt x="235" y="323"/>
                    </a:lnTo>
                    <a:lnTo>
                      <a:pt x="235" y="322"/>
                    </a:lnTo>
                    <a:lnTo>
                      <a:pt x="233" y="320"/>
                    </a:lnTo>
                    <a:lnTo>
                      <a:pt x="235" y="317"/>
                    </a:lnTo>
                    <a:lnTo>
                      <a:pt x="235" y="315"/>
                    </a:lnTo>
                    <a:lnTo>
                      <a:pt x="235" y="312"/>
                    </a:lnTo>
                    <a:lnTo>
                      <a:pt x="233" y="310"/>
                    </a:lnTo>
                    <a:lnTo>
                      <a:pt x="232" y="308"/>
                    </a:lnTo>
                    <a:lnTo>
                      <a:pt x="231" y="305"/>
                    </a:lnTo>
                    <a:lnTo>
                      <a:pt x="229" y="305"/>
                    </a:lnTo>
                    <a:lnTo>
                      <a:pt x="228" y="305"/>
                    </a:lnTo>
                    <a:lnTo>
                      <a:pt x="226" y="304"/>
                    </a:lnTo>
                    <a:lnTo>
                      <a:pt x="222" y="303"/>
                    </a:lnTo>
                    <a:lnTo>
                      <a:pt x="219" y="303"/>
                    </a:lnTo>
                    <a:lnTo>
                      <a:pt x="214" y="296"/>
                    </a:lnTo>
                    <a:lnTo>
                      <a:pt x="213" y="294"/>
                    </a:lnTo>
                    <a:lnTo>
                      <a:pt x="211" y="291"/>
                    </a:lnTo>
                    <a:lnTo>
                      <a:pt x="209" y="286"/>
                    </a:lnTo>
                    <a:lnTo>
                      <a:pt x="206" y="284"/>
                    </a:lnTo>
                    <a:lnTo>
                      <a:pt x="205" y="283"/>
                    </a:lnTo>
                    <a:lnTo>
                      <a:pt x="204" y="281"/>
                    </a:lnTo>
                    <a:lnTo>
                      <a:pt x="204" y="280"/>
                    </a:lnTo>
                    <a:lnTo>
                      <a:pt x="203" y="279"/>
                    </a:lnTo>
                    <a:lnTo>
                      <a:pt x="203" y="278"/>
                    </a:lnTo>
                    <a:lnTo>
                      <a:pt x="202" y="277"/>
                    </a:lnTo>
                    <a:lnTo>
                      <a:pt x="201" y="276"/>
                    </a:lnTo>
                    <a:lnTo>
                      <a:pt x="200" y="276"/>
                    </a:lnTo>
                    <a:lnTo>
                      <a:pt x="199" y="276"/>
                    </a:lnTo>
                    <a:lnTo>
                      <a:pt x="198" y="276"/>
                    </a:lnTo>
                    <a:lnTo>
                      <a:pt x="198" y="274"/>
                    </a:lnTo>
                    <a:lnTo>
                      <a:pt x="197" y="274"/>
                    </a:lnTo>
                    <a:lnTo>
                      <a:pt x="197" y="273"/>
                    </a:lnTo>
                    <a:lnTo>
                      <a:pt x="196" y="273"/>
                    </a:lnTo>
                    <a:lnTo>
                      <a:pt x="194" y="273"/>
                    </a:lnTo>
                    <a:lnTo>
                      <a:pt x="194" y="274"/>
                    </a:lnTo>
                    <a:lnTo>
                      <a:pt x="193" y="274"/>
                    </a:lnTo>
                    <a:lnTo>
                      <a:pt x="192" y="274"/>
                    </a:lnTo>
                    <a:lnTo>
                      <a:pt x="192" y="276"/>
                    </a:lnTo>
                    <a:lnTo>
                      <a:pt x="192" y="277"/>
                    </a:lnTo>
                    <a:lnTo>
                      <a:pt x="192" y="278"/>
                    </a:lnTo>
                    <a:lnTo>
                      <a:pt x="191" y="278"/>
                    </a:lnTo>
                    <a:lnTo>
                      <a:pt x="191" y="279"/>
                    </a:lnTo>
                    <a:lnTo>
                      <a:pt x="190" y="279"/>
                    </a:lnTo>
                    <a:lnTo>
                      <a:pt x="189" y="279"/>
                    </a:lnTo>
                    <a:lnTo>
                      <a:pt x="189" y="278"/>
                    </a:lnTo>
                    <a:lnTo>
                      <a:pt x="188" y="278"/>
                    </a:lnTo>
                    <a:lnTo>
                      <a:pt x="187" y="277"/>
                    </a:lnTo>
                    <a:lnTo>
                      <a:pt x="187" y="276"/>
                    </a:lnTo>
                    <a:lnTo>
                      <a:pt x="186" y="276"/>
                    </a:lnTo>
                    <a:lnTo>
                      <a:pt x="186" y="273"/>
                    </a:lnTo>
                    <a:lnTo>
                      <a:pt x="185" y="273"/>
                    </a:lnTo>
                    <a:lnTo>
                      <a:pt x="184" y="272"/>
                    </a:lnTo>
                    <a:lnTo>
                      <a:pt x="181" y="272"/>
                    </a:lnTo>
                    <a:lnTo>
                      <a:pt x="180" y="272"/>
                    </a:lnTo>
                    <a:lnTo>
                      <a:pt x="179" y="271"/>
                    </a:lnTo>
                    <a:lnTo>
                      <a:pt x="179" y="270"/>
                    </a:lnTo>
                    <a:lnTo>
                      <a:pt x="179" y="269"/>
                    </a:lnTo>
                    <a:lnTo>
                      <a:pt x="178" y="268"/>
                    </a:lnTo>
                    <a:lnTo>
                      <a:pt x="177" y="268"/>
                    </a:lnTo>
                    <a:lnTo>
                      <a:pt x="176" y="268"/>
                    </a:lnTo>
                    <a:lnTo>
                      <a:pt x="176" y="267"/>
                    </a:lnTo>
                    <a:lnTo>
                      <a:pt x="175" y="268"/>
                    </a:lnTo>
                    <a:lnTo>
                      <a:pt x="174" y="268"/>
                    </a:lnTo>
                    <a:lnTo>
                      <a:pt x="174" y="269"/>
                    </a:lnTo>
                    <a:lnTo>
                      <a:pt x="173" y="269"/>
                    </a:lnTo>
                    <a:lnTo>
                      <a:pt x="173" y="270"/>
                    </a:lnTo>
                    <a:lnTo>
                      <a:pt x="172" y="270"/>
                    </a:lnTo>
                    <a:lnTo>
                      <a:pt x="171" y="270"/>
                    </a:lnTo>
                    <a:lnTo>
                      <a:pt x="169" y="270"/>
                    </a:lnTo>
                    <a:lnTo>
                      <a:pt x="168" y="270"/>
                    </a:lnTo>
                    <a:lnTo>
                      <a:pt x="166" y="269"/>
                    </a:lnTo>
                    <a:lnTo>
                      <a:pt x="165" y="269"/>
                    </a:lnTo>
                    <a:lnTo>
                      <a:pt x="165" y="268"/>
                    </a:lnTo>
                    <a:lnTo>
                      <a:pt x="164" y="268"/>
                    </a:lnTo>
                    <a:lnTo>
                      <a:pt x="163" y="268"/>
                    </a:lnTo>
                    <a:lnTo>
                      <a:pt x="162" y="267"/>
                    </a:lnTo>
                    <a:lnTo>
                      <a:pt x="161" y="267"/>
                    </a:lnTo>
                    <a:lnTo>
                      <a:pt x="160" y="267"/>
                    </a:lnTo>
                    <a:lnTo>
                      <a:pt x="159" y="267"/>
                    </a:lnTo>
                    <a:lnTo>
                      <a:pt x="158" y="267"/>
                    </a:lnTo>
                    <a:lnTo>
                      <a:pt x="156" y="268"/>
                    </a:lnTo>
                    <a:lnTo>
                      <a:pt x="155" y="269"/>
                    </a:lnTo>
                    <a:lnTo>
                      <a:pt x="154" y="269"/>
                    </a:lnTo>
                    <a:lnTo>
                      <a:pt x="153" y="269"/>
                    </a:lnTo>
                    <a:lnTo>
                      <a:pt x="151" y="269"/>
                    </a:lnTo>
                    <a:lnTo>
                      <a:pt x="149" y="270"/>
                    </a:lnTo>
                    <a:lnTo>
                      <a:pt x="148" y="270"/>
                    </a:lnTo>
                    <a:lnTo>
                      <a:pt x="147" y="272"/>
                    </a:lnTo>
                    <a:lnTo>
                      <a:pt x="145" y="273"/>
                    </a:lnTo>
                    <a:lnTo>
                      <a:pt x="143" y="274"/>
                    </a:lnTo>
                    <a:lnTo>
                      <a:pt x="142" y="276"/>
                    </a:lnTo>
                    <a:lnTo>
                      <a:pt x="141" y="276"/>
                    </a:lnTo>
                    <a:lnTo>
                      <a:pt x="140" y="276"/>
                    </a:lnTo>
                    <a:lnTo>
                      <a:pt x="139" y="276"/>
                    </a:lnTo>
                    <a:lnTo>
                      <a:pt x="138" y="277"/>
                    </a:lnTo>
                    <a:lnTo>
                      <a:pt x="137" y="277"/>
                    </a:lnTo>
                    <a:lnTo>
                      <a:pt x="135" y="285"/>
                    </a:lnTo>
                    <a:lnTo>
                      <a:pt x="138" y="284"/>
                    </a:lnTo>
                    <a:lnTo>
                      <a:pt x="139" y="286"/>
                    </a:lnTo>
                    <a:lnTo>
                      <a:pt x="139" y="287"/>
                    </a:lnTo>
                    <a:lnTo>
                      <a:pt x="140" y="289"/>
                    </a:lnTo>
                    <a:lnTo>
                      <a:pt x="134" y="290"/>
                    </a:lnTo>
                    <a:lnTo>
                      <a:pt x="133" y="290"/>
                    </a:lnTo>
                    <a:lnTo>
                      <a:pt x="132" y="291"/>
                    </a:lnTo>
                    <a:lnTo>
                      <a:pt x="129" y="292"/>
                    </a:lnTo>
                    <a:lnTo>
                      <a:pt x="128" y="293"/>
                    </a:lnTo>
                    <a:lnTo>
                      <a:pt x="127" y="294"/>
                    </a:lnTo>
                    <a:lnTo>
                      <a:pt x="126" y="294"/>
                    </a:lnTo>
                    <a:lnTo>
                      <a:pt x="125" y="296"/>
                    </a:lnTo>
                    <a:lnTo>
                      <a:pt x="123" y="297"/>
                    </a:lnTo>
                    <a:lnTo>
                      <a:pt x="122" y="298"/>
                    </a:lnTo>
                    <a:lnTo>
                      <a:pt x="121" y="299"/>
                    </a:lnTo>
                    <a:lnTo>
                      <a:pt x="120" y="299"/>
                    </a:lnTo>
                    <a:lnTo>
                      <a:pt x="120" y="300"/>
                    </a:lnTo>
                    <a:lnTo>
                      <a:pt x="115" y="304"/>
                    </a:lnTo>
                    <a:lnTo>
                      <a:pt x="116" y="306"/>
                    </a:lnTo>
                    <a:lnTo>
                      <a:pt x="108" y="318"/>
                    </a:lnTo>
                    <a:lnTo>
                      <a:pt x="107" y="320"/>
                    </a:lnTo>
                    <a:lnTo>
                      <a:pt x="104" y="322"/>
                    </a:lnTo>
                    <a:lnTo>
                      <a:pt x="70" y="306"/>
                    </a:lnTo>
                    <a:lnTo>
                      <a:pt x="69" y="306"/>
                    </a:lnTo>
                    <a:lnTo>
                      <a:pt x="57" y="312"/>
                    </a:lnTo>
                    <a:lnTo>
                      <a:pt x="50" y="302"/>
                    </a:lnTo>
                    <a:lnTo>
                      <a:pt x="40" y="302"/>
                    </a:lnTo>
                    <a:lnTo>
                      <a:pt x="31" y="302"/>
                    </a:lnTo>
                    <a:lnTo>
                      <a:pt x="25" y="302"/>
                    </a:lnTo>
                    <a:lnTo>
                      <a:pt x="23" y="302"/>
                    </a:lnTo>
                    <a:lnTo>
                      <a:pt x="24" y="299"/>
                    </a:lnTo>
                    <a:lnTo>
                      <a:pt x="26" y="293"/>
                    </a:lnTo>
                    <a:lnTo>
                      <a:pt x="26" y="292"/>
                    </a:lnTo>
                    <a:lnTo>
                      <a:pt x="27" y="289"/>
                    </a:lnTo>
                    <a:lnTo>
                      <a:pt x="30" y="283"/>
                    </a:lnTo>
                    <a:lnTo>
                      <a:pt x="34" y="268"/>
                    </a:lnTo>
                    <a:lnTo>
                      <a:pt x="36" y="266"/>
                    </a:lnTo>
                    <a:lnTo>
                      <a:pt x="38" y="261"/>
                    </a:lnTo>
                    <a:lnTo>
                      <a:pt x="40" y="258"/>
                    </a:lnTo>
                    <a:lnTo>
                      <a:pt x="49" y="247"/>
                    </a:lnTo>
                    <a:lnTo>
                      <a:pt x="49" y="246"/>
                    </a:lnTo>
                    <a:lnTo>
                      <a:pt x="50" y="246"/>
                    </a:lnTo>
                    <a:lnTo>
                      <a:pt x="50" y="245"/>
                    </a:lnTo>
                    <a:lnTo>
                      <a:pt x="51" y="244"/>
                    </a:lnTo>
                    <a:lnTo>
                      <a:pt x="51" y="243"/>
                    </a:lnTo>
                    <a:lnTo>
                      <a:pt x="50" y="244"/>
                    </a:lnTo>
                    <a:lnTo>
                      <a:pt x="49" y="244"/>
                    </a:lnTo>
                    <a:lnTo>
                      <a:pt x="49" y="243"/>
                    </a:lnTo>
                    <a:lnTo>
                      <a:pt x="49" y="242"/>
                    </a:lnTo>
                    <a:lnTo>
                      <a:pt x="48" y="242"/>
                    </a:lnTo>
                    <a:lnTo>
                      <a:pt x="48" y="241"/>
                    </a:lnTo>
                    <a:lnTo>
                      <a:pt x="47" y="240"/>
                    </a:lnTo>
                    <a:lnTo>
                      <a:pt x="47" y="239"/>
                    </a:lnTo>
                    <a:lnTo>
                      <a:pt x="47" y="238"/>
                    </a:lnTo>
                    <a:lnTo>
                      <a:pt x="48" y="238"/>
                    </a:lnTo>
                    <a:lnTo>
                      <a:pt x="49" y="238"/>
                    </a:lnTo>
                    <a:lnTo>
                      <a:pt x="49" y="236"/>
                    </a:lnTo>
                    <a:lnTo>
                      <a:pt x="50" y="235"/>
                    </a:lnTo>
                    <a:lnTo>
                      <a:pt x="50" y="234"/>
                    </a:lnTo>
                    <a:lnTo>
                      <a:pt x="49" y="233"/>
                    </a:lnTo>
                    <a:lnTo>
                      <a:pt x="48" y="232"/>
                    </a:lnTo>
                    <a:lnTo>
                      <a:pt x="48" y="231"/>
                    </a:lnTo>
                    <a:lnTo>
                      <a:pt x="47" y="231"/>
                    </a:lnTo>
                    <a:lnTo>
                      <a:pt x="47" y="230"/>
                    </a:lnTo>
                    <a:lnTo>
                      <a:pt x="46" y="228"/>
                    </a:lnTo>
                    <a:lnTo>
                      <a:pt x="45" y="227"/>
                    </a:lnTo>
                    <a:lnTo>
                      <a:pt x="45" y="226"/>
                    </a:lnTo>
                    <a:lnTo>
                      <a:pt x="44" y="226"/>
                    </a:lnTo>
                    <a:lnTo>
                      <a:pt x="45" y="225"/>
                    </a:lnTo>
                    <a:lnTo>
                      <a:pt x="45" y="223"/>
                    </a:lnTo>
                    <a:lnTo>
                      <a:pt x="44" y="223"/>
                    </a:lnTo>
                    <a:lnTo>
                      <a:pt x="44" y="222"/>
                    </a:lnTo>
                    <a:lnTo>
                      <a:pt x="43" y="222"/>
                    </a:lnTo>
                    <a:lnTo>
                      <a:pt x="43" y="221"/>
                    </a:lnTo>
                    <a:lnTo>
                      <a:pt x="42" y="221"/>
                    </a:lnTo>
                    <a:lnTo>
                      <a:pt x="42" y="220"/>
                    </a:lnTo>
                    <a:lnTo>
                      <a:pt x="40" y="220"/>
                    </a:lnTo>
                    <a:lnTo>
                      <a:pt x="39" y="221"/>
                    </a:lnTo>
                    <a:lnTo>
                      <a:pt x="38" y="222"/>
                    </a:lnTo>
                    <a:lnTo>
                      <a:pt x="37" y="222"/>
                    </a:lnTo>
                    <a:lnTo>
                      <a:pt x="36" y="222"/>
                    </a:lnTo>
                    <a:lnTo>
                      <a:pt x="36" y="223"/>
                    </a:lnTo>
                    <a:lnTo>
                      <a:pt x="35" y="223"/>
                    </a:lnTo>
                    <a:lnTo>
                      <a:pt x="34" y="223"/>
                    </a:lnTo>
                    <a:lnTo>
                      <a:pt x="33" y="223"/>
                    </a:lnTo>
                    <a:lnTo>
                      <a:pt x="32" y="223"/>
                    </a:lnTo>
                    <a:lnTo>
                      <a:pt x="31" y="223"/>
                    </a:lnTo>
                    <a:lnTo>
                      <a:pt x="30" y="223"/>
                    </a:lnTo>
                    <a:lnTo>
                      <a:pt x="27" y="223"/>
                    </a:lnTo>
                    <a:lnTo>
                      <a:pt x="27" y="222"/>
                    </a:lnTo>
                    <a:lnTo>
                      <a:pt x="26" y="222"/>
                    </a:lnTo>
                    <a:lnTo>
                      <a:pt x="25" y="222"/>
                    </a:lnTo>
                    <a:lnTo>
                      <a:pt x="24" y="222"/>
                    </a:lnTo>
                    <a:lnTo>
                      <a:pt x="24" y="221"/>
                    </a:lnTo>
                    <a:lnTo>
                      <a:pt x="23" y="221"/>
                    </a:lnTo>
                    <a:lnTo>
                      <a:pt x="22" y="221"/>
                    </a:lnTo>
                    <a:lnTo>
                      <a:pt x="21" y="220"/>
                    </a:lnTo>
                    <a:lnTo>
                      <a:pt x="21" y="221"/>
                    </a:lnTo>
                    <a:lnTo>
                      <a:pt x="21" y="222"/>
                    </a:lnTo>
                    <a:lnTo>
                      <a:pt x="22" y="222"/>
                    </a:lnTo>
                    <a:lnTo>
                      <a:pt x="21" y="223"/>
                    </a:lnTo>
                    <a:lnTo>
                      <a:pt x="22" y="225"/>
                    </a:lnTo>
                    <a:lnTo>
                      <a:pt x="21" y="225"/>
                    </a:lnTo>
                    <a:lnTo>
                      <a:pt x="21" y="226"/>
                    </a:lnTo>
                    <a:lnTo>
                      <a:pt x="20" y="226"/>
                    </a:lnTo>
                    <a:lnTo>
                      <a:pt x="19" y="226"/>
                    </a:lnTo>
                    <a:lnTo>
                      <a:pt x="18" y="227"/>
                    </a:lnTo>
                    <a:lnTo>
                      <a:pt x="17" y="227"/>
                    </a:lnTo>
                    <a:lnTo>
                      <a:pt x="17" y="228"/>
                    </a:lnTo>
                    <a:lnTo>
                      <a:pt x="17" y="229"/>
                    </a:lnTo>
                    <a:lnTo>
                      <a:pt x="16" y="229"/>
                    </a:lnTo>
                    <a:lnTo>
                      <a:pt x="16" y="228"/>
                    </a:lnTo>
                    <a:lnTo>
                      <a:pt x="14" y="228"/>
                    </a:lnTo>
                    <a:lnTo>
                      <a:pt x="13" y="228"/>
                    </a:lnTo>
                    <a:lnTo>
                      <a:pt x="12" y="228"/>
                    </a:lnTo>
                    <a:lnTo>
                      <a:pt x="11" y="228"/>
                    </a:lnTo>
                    <a:lnTo>
                      <a:pt x="10" y="228"/>
                    </a:lnTo>
                    <a:lnTo>
                      <a:pt x="9" y="228"/>
                    </a:lnTo>
                    <a:lnTo>
                      <a:pt x="8" y="227"/>
                    </a:lnTo>
                    <a:lnTo>
                      <a:pt x="7" y="226"/>
                    </a:lnTo>
                    <a:lnTo>
                      <a:pt x="7" y="225"/>
                    </a:lnTo>
                    <a:lnTo>
                      <a:pt x="6" y="225"/>
                    </a:lnTo>
                    <a:lnTo>
                      <a:pt x="6" y="223"/>
                    </a:lnTo>
                    <a:lnTo>
                      <a:pt x="6" y="222"/>
                    </a:lnTo>
                    <a:lnTo>
                      <a:pt x="6" y="221"/>
                    </a:lnTo>
                    <a:lnTo>
                      <a:pt x="6" y="220"/>
                    </a:lnTo>
                    <a:lnTo>
                      <a:pt x="6" y="219"/>
                    </a:lnTo>
                    <a:lnTo>
                      <a:pt x="6" y="218"/>
                    </a:lnTo>
                    <a:lnTo>
                      <a:pt x="7" y="218"/>
                    </a:lnTo>
                    <a:lnTo>
                      <a:pt x="6" y="217"/>
                    </a:lnTo>
                    <a:lnTo>
                      <a:pt x="7" y="217"/>
                    </a:lnTo>
                    <a:lnTo>
                      <a:pt x="6" y="217"/>
                    </a:lnTo>
                    <a:lnTo>
                      <a:pt x="6" y="216"/>
                    </a:lnTo>
                    <a:lnTo>
                      <a:pt x="6" y="215"/>
                    </a:lnTo>
                    <a:lnTo>
                      <a:pt x="6" y="214"/>
                    </a:lnTo>
                    <a:lnTo>
                      <a:pt x="5" y="213"/>
                    </a:lnTo>
                    <a:lnTo>
                      <a:pt x="6" y="213"/>
                    </a:lnTo>
                    <a:lnTo>
                      <a:pt x="6" y="212"/>
                    </a:lnTo>
                    <a:lnTo>
                      <a:pt x="6" y="210"/>
                    </a:lnTo>
                    <a:lnTo>
                      <a:pt x="6" y="208"/>
                    </a:lnTo>
                    <a:lnTo>
                      <a:pt x="6" y="207"/>
                    </a:lnTo>
                    <a:lnTo>
                      <a:pt x="7" y="207"/>
                    </a:lnTo>
                    <a:lnTo>
                      <a:pt x="8" y="206"/>
                    </a:lnTo>
                    <a:lnTo>
                      <a:pt x="7" y="206"/>
                    </a:lnTo>
                    <a:lnTo>
                      <a:pt x="7" y="205"/>
                    </a:lnTo>
                    <a:lnTo>
                      <a:pt x="6" y="205"/>
                    </a:lnTo>
                    <a:lnTo>
                      <a:pt x="7" y="205"/>
                    </a:lnTo>
                    <a:lnTo>
                      <a:pt x="8" y="204"/>
                    </a:lnTo>
                    <a:lnTo>
                      <a:pt x="10" y="204"/>
                    </a:lnTo>
                    <a:lnTo>
                      <a:pt x="12" y="203"/>
                    </a:lnTo>
                    <a:lnTo>
                      <a:pt x="14" y="202"/>
                    </a:lnTo>
                    <a:lnTo>
                      <a:pt x="16" y="203"/>
                    </a:lnTo>
                    <a:lnTo>
                      <a:pt x="18" y="203"/>
                    </a:lnTo>
                    <a:lnTo>
                      <a:pt x="19" y="203"/>
                    </a:lnTo>
                    <a:lnTo>
                      <a:pt x="21" y="199"/>
                    </a:lnTo>
                    <a:lnTo>
                      <a:pt x="22" y="196"/>
                    </a:lnTo>
                    <a:lnTo>
                      <a:pt x="22" y="194"/>
                    </a:lnTo>
                    <a:lnTo>
                      <a:pt x="24" y="194"/>
                    </a:lnTo>
                    <a:lnTo>
                      <a:pt x="25" y="192"/>
                    </a:lnTo>
                    <a:lnTo>
                      <a:pt x="26" y="193"/>
                    </a:lnTo>
                    <a:lnTo>
                      <a:pt x="27" y="193"/>
                    </a:lnTo>
                    <a:lnTo>
                      <a:pt x="29" y="190"/>
                    </a:lnTo>
                    <a:lnTo>
                      <a:pt x="27" y="189"/>
                    </a:lnTo>
                    <a:lnTo>
                      <a:pt x="29" y="186"/>
                    </a:lnTo>
                    <a:lnTo>
                      <a:pt x="27" y="186"/>
                    </a:lnTo>
                    <a:lnTo>
                      <a:pt x="26" y="184"/>
                    </a:lnTo>
                    <a:lnTo>
                      <a:pt x="25" y="184"/>
                    </a:lnTo>
                    <a:lnTo>
                      <a:pt x="24" y="184"/>
                    </a:lnTo>
                    <a:lnTo>
                      <a:pt x="23" y="184"/>
                    </a:lnTo>
                    <a:lnTo>
                      <a:pt x="22" y="184"/>
                    </a:lnTo>
                    <a:lnTo>
                      <a:pt x="19" y="186"/>
                    </a:lnTo>
                    <a:lnTo>
                      <a:pt x="16" y="183"/>
                    </a:lnTo>
                    <a:lnTo>
                      <a:pt x="16" y="182"/>
                    </a:lnTo>
                    <a:lnTo>
                      <a:pt x="12" y="177"/>
                    </a:lnTo>
                    <a:lnTo>
                      <a:pt x="13" y="175"/>
                    </a:lnTo>
                    <a:lnTo>
                      <a:pt x="13" y="173"/>
                    </a:lnTo>
                    <a:lnTo>
                      <a:pt x="13" y="170"/>
                    </a:lnTo>
                    <a:lnTo>
                      <a:pt x="12" y="169"/>
                    </a:lnTo>
                    <a:lnTo>
                      <a:pt x="8" y="169"/>
                    </a:lnTo>
                    <a:lnTo>
                      <a:pt x="8" y="168"/>
                    </a:lnTo>
                    <a:lnTo>
                      <a:pt x="14" y="165"/>
                    </a:lnTo>
                    <a:lnTo>
                      <a:pt x="23" y="158"/>
                    </a:lnTo>
                    <a:lnTo>
                      <a:pt x="24" y="157"/>
                    </a:lnTo>
                    <a:lnTo>
                      <a:pt x="24" y="156"/>
                    </a:lnTo>
                    <a:lnTo>
                      <a:pt x="24" y="154"/>
                    </a:lnTo>
                    <a:lnTo>
                      <a:pt x="23" y="148"/>
                    </a:lnTo>
                    <a:lnTo>
                      <a:pt x="23" y="145"/>
                    </a:lnTo>
                    <a:lnTo>
                      <a:pt x="21" y="136"/>
                    </a:lnTo>
                    <a:lnTo>
                      <a:pt x="21" y="135"/>
                    </a:lnTo>
                    <a:lnTo>
                      <a:pt x="17" y="131"/>
                    </a:lnTo>
                    <a:lnTo>
                      <a:pt x="16" y="126"/>
                    </a:lnTo>
                    <a:lnTo>
                      <a:pt x="14" y="126"/>
                    </a:lnTo>
                    <a:lnTo>
                      <a:pt x="14" y="125"/>
                    </a:lnTo>
                    <a:lnTo>
                      <a:pt x="14" y="124"/>
                    </a:lnTo>
                    <a:lnTo>
                      <a:pt x="14" y="123"/>
                    </a:lnTo>
                    <a:lnTo>
                      <a:pt x="14" y="120"/>
                    </a:lnTo>
                    <a:lnTo>
                      <a:pt x="16" y="120"/>
                    </a:lnTo>
                    <a:lnTo>
                      <a:pt x="21" y="117"/>
                    </a:lnTo>
                    <a:lnTo>
                      <a:pt x="22" y="113"/>
                    </a:lnTo>
                    <a:lnTo>
                      <a:pt x="21" y="113"/>
                    </a:lnTo>
                    <a:lnTo>
                      <a:pt x="20" y="109"/>
                    </a:lnTo>
                    <a:lnTo>
                      <a:pt x="23" y="106"/>
                    </a:lnTo>
                    <a:lnTo>
                      <a:pt x="23" y="105"/>
                    </a:lnTo>
                    <a:lnTo>
                      <a:pt x="22" y="99"/>
                    </a:lnTo>
                    <a:lnTo>
                      <a:pt x="14" y="97"/>
                    </a:lnTo>
                    <a:lnTo>
                      <a:pt x="13" y="97"/>
                    </a:lnTo>
                    <a:lnTo>
                      <a:pt x="7" y="96"/>
                    </a:lnTo>
                    <a:lnTo>
                      <a:pt x="7" y="94"/>
                    </a:lnTo>
                    <a:lnTo>
                      <a:pt x="6" y="93"/>
                    </a:lnTo>
                    <a:lnTo>
                      <a:pt x="5" y="93"/>
                    </a:lnTo>
                    <a:lnTo>
                      <a:pt x="4" y="93"/>
                    </a:lnTo>
                    <a:lnTo>
                      <a:pt x="3" y="93"/>
                    </a:lnTo>
                    <a:lnTo>
                      <a:pt x="1" y="93"/>
                    </a:lnTo>
                    <a:lnTo>
                      <a:pt x="0" y="93"/>
                    </a:lnTo>
                    <a:lnTo>
                      <a:pt x="0" y="92"/>
                    </a:lnTo>
                    <a:lnTo>
                      <a:pt x="0" y="91"/>
                    </a:lnTo>
                    <a:lnTo>
                      <a:pt x="0" y="90"/>
                    </a:lnTo>
                    <a:lnTo>
                      <a:pt x="1" y="90"/>
                    </a:lnTo>
                    <a:lnTo>
                      <a:pt x="1" y="89"/>
                    </a:lnTo>
                    <a:lnTo>
                      <a:pt x="3" y="88"/>
                    </a:lnTo>
                    <a:lnTo>
                      <a:pt x="3" y="87"/>
                    </a:lnTo>
                    <a:lnTo>
                      <a:pt x="4" y="85"/>
                    </a:lnTo>
                    <a:lnTo>
                      <a:pt x="4" y="84"/>
                    </a:lnTo>
                    <a:lnTo>
                      <a:pt x="5" y="83"/>
                    </a:lnTo>
                    <a:lnTo>
                      <a:pt x="5" y="81"/>
                    </a:lnTo>
                    <a:lnTo>
                      <a:pt x="5" y="80"/>
                    </a:lnTo>
                    <a:lnTo>
                      <a:pt x="4" y="79"/>
                    </a:lnTo>
                    <a:lnTo>
                      <a:pt x="4" y="78"/>
                    </a:lnTo>
                    <a:lnTo>
                      <a:pt x="4" y="77"/>
                    </a:lnTo>
                    <a:lnTo>
                      <a:pt x="5" y="77"/>
                    </a:lnTo>
                    <a:lnTo>
                      <a:pt x="5" y="76"/>
                    </a:lnTo>
                    <a:lnTo>
                      <a:pt x="4" y="76"/>
                    </a:lnTo>
                    <a:lnTo>
                      <a:pt x="4" y="75"/>
                    </a:lnTo>
                    <a:lnTo>
                      <a:pt x="5" y="74"/>
                    </a:lnTo>
                    <a:lnTo>
                      <a:pt x="5" y="73"/>
                    </a:lnTo>
                    <a:lnTo>
                      <a:pt x="5" y="72"/>
                    </a:lnTo>
                    <a:lnTo>
                      <a:pt x="5" y="71"/>
                    </a:lnTo>
                    <a:lnTo>
                      <a:pt x="6" y="69"/>
                    </a:lnTo>
                    <a:lnTo>
                      <a:pt x="6" y="68"/>
                    </a:lnTo>
                    <a:lnTo>
                      <a:pt x="6" y="67"/>
                    </a:lnTo>
                    <a:lnTo>
                      <a:pt x="6" y="66"/>
                    </a:lnTo>
                    <a:lnTo>
                      <a:pt x="7" y="66"/>
                    </a:lnTo>
                    <a:lnTo>
                      <a:pt x="7" y="65"/>
                    </a:lnTo>
                    <a:lnTo>
                      <a:pt x="7" y="64"/>
                    </a:lnTo>
                    <a:lnTo>
                      <a:pt x="8" y="64"/>
                    </a:lnTo>
                    <a:lnTo>
                      <a:pt x="9" y="63"/>
                    </a:lnTo>
                    <a:lnTo>
                      <a:pt x="11" y="63"/>
                    </a:lnTo>
                    <a:lnTo>
                      <a:pt x="12" y="63"/>
                    </a:lnTo>
                    <a:lnTo>
                      <a:pt x="13" y="63"/>
                    </a:lnTo>
                    <a:lnTo>
                      <a:pt x="14" y="63"/>
                    </a:lnTo>
                    <a:lnTo>
                      <a:pt x="14" y="62"/>
                    </a:lnTo>
                    <a:lnTo>
                      <a:pt x="14" y="63"/>
                    </a:lnTo>
                    <a:lnTo>
                      <a:pt x="16" y="63"/>
                    </a:lnTo>
                    <a:lnTo>
                      <a:pt x="16" y="64"/>
                    </a:lnTo>
                    <a:lnTo>
                      <a:pt x="17" y="64"/>
                    </a:lnTo>
                    <a:lnTo>
                      <a:pt x="17" y="65"/>
                    </a:lnTo>
                    <a:lnTo>
                      <a:pt x="18" y="65"/>
                    </a:lnTo>
                    <a:lnTo>
                      <a:pt x="18" y="66"/>
                    </a:lnTo>
                    <a:lnTo>
                      <a:pt x="19" y="66"/>
                    </a:lnTo>
                    <a:lnTo>
                      <a:pt x="20" y="66"/>
                    </a:lnTo>
                    <a:lnTo>
                      <a:pt x="20" y="67"/>
                    </a:lnTo>
                    <a:lnTo>
                      <a:pt x="21" y="67"/>
                    </a:lnTo>
                    <a:lnTo>
                      <a:pt x="21" y="68"/>
                    </a:lnTo>
                    <a:lnTo>
                      <a:pt x="22" y="68"/>
                    </a:lnTo>
                    <a:lnTo>
                      <a:pt x="23" y="69"/>
                    </a:lnTo>
                    <a:lnTo>
                      <a:pt x="24" y="69"/>
                    </a:lnTo>
                    <a:lnTo>
                      <a:pt x="25" y="69"/>
                    </a:lnTo>
                    <a:lnTo>
                      <a:pt x="26" y="71"/>
                    </a:lnTo>
                    <a:lnTo>
                      <a:pt x="27" y="71"/>
                    </a:lnTo>
                    <a:lnTo>
                      <a:pt x="27" y="72"/>
                    </a:lnTo>
                    <a:lnTo>
                      <a:pt x="29" y="72"/>
                    </a:lnTo>
                    <a:lnTo>
                      <a:pt x="29" y="73"/>
                    </a:lnTo>
                    <a:lnTo>
                      <a:pt x="30" y="73"/>
                    </a:lnTo>
                    <a:lnTo>
                      <a:pt x="31" y="73"/>
                    </a:lnTo>
                    <a:lnTo>
                      <a:pt x="32" y="73"/>
                    </a:lnTo>
                    <a:lnTo>
                      <a:pt x="32" y="74"/>
                    </a:lnTo>
                    <a:lnTo>
                      <a:pt x="33" y="74"/>
                    </a:lnTo>
                    <a:lnTo>
                      <a:pt x="33" y="73"/>
                    </a:lnTo>
                    <a:lnTo>
                      <a:pt x="34" y="73"/>
                    </a:lnTo>
                    <a:lnTo>
                      <a:pt x="35" y="72"/>
                    </a:lnTo>
                    <a:lnTo>
                      <a:pt x="36" y="72"/>
                    </a:lnTo>
                    <a:lnTo>
                      <a:pt x="36" y="73"/>
                    </a:lnTo>
                    <a:lnTo>
                      <a:pt x="36" y="72"/>
                    </a:lnTo>
                    <a:lnTo>
                      <a:pt x="37" y="72"/>
                    </a:lnTo>
                    <a:lnTo>
                      <a:pt x="38" y="71"/>
                    </a:lnTo>
                    <a:lnTo>
                      <a:pt x="39" y="71"/>
                    </a:lnTo>
                    <a:lnTo>
                      <a:pt x="71" y="59"/>
                    </a:lnTo>
                    <a:lnTo>
                      <a:pt x="73" y="58"/>
                    </a:lnTo>
                    <a:lnTo>
                      <a:pt x="75" y="60"/>
                    </a:lnTo>
                    <a:lnTo>
                      <a:pt x="76" y="60"/>
                    </a:lnTo>
                    <a:lnTo>
                      <a:pt x="76" y="61"/>
                    </a:lnTo>
                    <a:lnTo>
                      <a:pt x="77" y="61"/>
                    </a:lnTo>
                    <a:lnTo>
                      <a:pt x="77" y="60"/>
                    </a:lnTo>
                    <a:lnTo>
                      <a:pt x="78" y="61"/>
                    </a:lnTo>
                    <a:lnTo>
                      <a:pt x="80" y="61"/>
                    </a:lnTo>
                    <a:lnTo>
                      <a:pt x="81" y="61"/>
                    </a:lnTo>
                    <a:lnTo>
                      <a:pt x="82" y="61"/>
                    </a:lnTo>
                    <a:lnTo>
                      <a:pt x="83" y="61"/>
                    </a:lnTo>
                    <a:lnTo>
                      <a:pt x="84" y="61"/>
                    </a:lnTo>
                    <a:lnTo>
                      <a:pt x="84" y="62"/>
                    </a:lnTo>
                    <a:lnTo>
                      <a:pt x="84" y="63"/>
                    </a:lnTo>
                    <a:lnTo>
                      <a:pt x="85" y="63"/>
                    </a:lnTo>
                    <a:lnTo>
                      <a:pt x="85" y="64"/>
                    </a:lnTo>
                    <a:lnTo>
                      <a:pt x="86" y="65"/>
                    </a:lnTo>
                    <a:lnTo>
                      <a:pt x="87" y="65"/>
                    </a:lnTo>
                    <a:lnTo>
                      <a:pt x="88" y="65"/>
                    </a:lnTo>
                    <a:lnTo>
                      <a:pt x="89" y="65"/>
                    </a:lnTo>
                    <a:lnTo>
                      <a:pt x="90" y="65"/>
                    </a:lnTo>
                    <a:lnTo>
                      <a:pt x="91" y="65"/>
                    </a:lnTo>
                    <a:lnTo>
                      <a:pt x="93" y="65"/>
                    </a:lnTo>
                    <a:lnTo>
                      <a:pt x="94" y="65"/>
                    </a:lnTo>
                    <a:lnTo>
                      <a:pt x="95" y="65"/>
                    </a:lnTo>
                    <a:lnTo>
                      <a:pt x="95" y="66"/>
                    </a:lnTo>
                    <a:lnTo>
                      <a:pt x="96" y="66"/>
                    </a:lnTo>
                    <a:lnTo>
                      <a:pt x="96" y="67"/>
                    </a:lnTo>
                    <a:lnTo>
                      <a:pt x="97" y="67"/>
                    </a:lnTo>
                    <a:lnTo>
                      <a:pt x="98" y="68"/>
                    </a:lnTo>
                    <a:lnTo>
                      <a:pt x="99" y="68"/>
                    </a:lnTo>
                    <a:lnTo>
                      <a:pt x="100" y="68"/>
                    </a:lnTo>
                    <a:lnTo>
                      <a:pt x="101" y="69"/>
                    </a:lnTo>
                    <a:lnTo>
                      <a:pt x="102" y="69"/>
                    </a:lnTo>
                    <a:lnTo>
                      <a:pt x="103" y="69"/>
                    </a:lnTo>
                    <a:lnTo>
                      <a:pt x="104" y="71"/>
                    </a:lnTo>
                    <a:lnTo>
                      <a:pt x="106" y="71"/>
                    </a:lnTo>
                    <a:lnTo>
                      <a:pt x="106" y="72"/>
                    </a:lnTo>
                    <a:lnTo>
                      <a:pt x="107" y="72"/>
                    </a:lnTo>
                    <a:lnTo>
                      <a:pt x="107" y="73"/>
                    </a:lnTo>
                    <a:lnTo>
                      <a:pt x="108" y="74"/>
                    </a:lnTo>
                    <a:lnTo>
                      <a:pt x="137" y="74"/>
                    </a:lnTo>
                    <a:lnTo>
                      <a:pt x="145" y="74"/>
                    </a:lnTo>
                    <a:lnTo>
                      <a:pt x="148" y="74"/>
                    </a:lnTo>
                    <a:lnTo>
                      <a:pt x="162" y="74"/>
                    </a:lnTo>
                    <a:lnTo>
                      <a:pt x="189" y="74"/>
                    </a:lnTo>
                    <a:lnTo>
                      <a:pt x="190" y="74"/>
                    </a:lnTo>
                    <a:lnTo>
                      <a:pt x="190" y="73"/>
                    </a:lnTo>
                    <a:lnTo>
                      <a:pt x="189" y="72"/>
                    </a:lnTo>
                    <a:lnTo>
                      <a:pt x="187" y="71"/>
                    </a:lnTo>
                    <a:lnTo>
                      <a:pt x="184" y="69"/>
                    </a:lnTo>
                    <a:lnTo>
                      <a:pt x="180" y="68"/>
                    </a:lnTo>
                    <a:lnTo>
                      <a:pt x="180" y="67"/>
                    </a:lnTo>
                    <a:lnTo>
                      <a:pt x="178" y="60"/>
                    </a:lnTo>
                    <a:lnTo>
                      <a:pt x="175" y="54"/>
                    </a:lnTo>
                    <a:lnTo>
                      <a:pt x="169" y="47"/>
                    </a:lnTo>
                    <a:lnTo>
                      <a:pt x="167" y="43"/>
                    </a:lnTo>
                    <a:lnTo>
                      <a:pt x="167" y="39"/>
                    </a:lnTo>
                    <a:lnTo>
                      <a:pt x="165" y="35"/>
                    </a:lnTo>
                    <a:lnTo>
                      <a:pt x="163" y="33"/>
                    </a:lnTo>
                    <a:lnTo>
                      <a:pt x="159" y="33"/>
                    </a:lnTo>
                    <a:lnTo>
                      <a:pt x="154" y="34"/>
                    </a:lnTo>
                    <a:lnTo>
                      <a:pt x="153" y="32"/>
                    </a:lnTo>
                    <a:lnTo>
                      <a:pt x="151" y="29"/>
                    </a:lnTo>
                    <a:lnTo>
                      <a:pt x="151" y="23"/>
                    </a:lnTo>
                    <a:lnTo>
                      <a:pt x="150" y="20"/>
                    </a:lnTo>
                    <a:lnTo>
                      <a:pt x="148" y="14"/>
                    </a:lnTo>
                    <a:lnTo>
                      <a:pt x="147" y="14"/>
                    </a:lnTo>
                    <a:lnTo>
                      <a:pt x="146" y="14"/>
                    </a:lnTo>
                    <a:lnTo>
                      <a:pt x="145" y="12"/>
                    </a:lnTo>
                    <a:lnTo>
                      <a:pt x="143" y="9"/>
                    </a:lnTo>
                    <a:lnTo>
                      <a:pt x="143" y="3"/>
                    </a:lnTo>
                    <a:lnTo>
                      <a:pt x="142" y="0"/>
                    </a:lnTo>
                    <a:lnTo>
                      <a:pt x="145" y="0"/>
                    </a:lnTo>
                    <a:lnTo>
                      <a:pt x="177" y="0"/>
                    </a:lnTo>
                    <a:lnTo>
                      <a:pt x="176" y="4"/>
                    </a:lnTo>
                    <a:lnTo>
                      <a:pt x="181" y="12"/>
                    </a:lnTo>
                    <a:lnTo>
                      <a:pt x="184" y="13"/>
                    </a:lnTo>
                    <a:lnTo>
                      <a:pt x="186" y="15"/>
                    </a:lnTo>
                    <a:lnTo>
                      <a:pt x="191" y="16"/>
                    </a:lnTo>
                    <a:lnTo>
                      <a:pt x="192" y="17"/>
                    </a:lnTo>
                    <a:lnTo>
                      <a:pt x="201" y="26"/>
                    </a:lnTo>
                    <a:lnTo>
                      <a:pt x="200" y="26"/>
                    </a:lnTo>
                    <a:lnTo>
                      <a:pt x="210" y="35"/>
                    </a:lnTo>
                    <a:lnTo>
                      <a:pt x="211" y="38"/>
                    </a:lnTo>
                    <a:lnTo>
                      <a:pt x="214" y="39"/>
                    </a:lnTo>
                    <a:lnTo>
                      <a:pt x="214" y="40"/>
                    </a:lnTo>
                    <a:lnTo>
                      <a:pt x="216" y="45"/>
                    </a:lnTo>
                    <a:lnTo>
                      <a:pt x="214" y="49"/>
                    </a:lnTo>
                    <a:lnTo>
                      <a:pt x="217" y="53"/>
                    </a:lnTo>
                    <a:lnTo>
                      <a:pt x="217" y="54"/>
                    </a:lnTo>
                    <a:lnTo>
                      <a:pt x="217" y="55"/>
                    </a:lnTo>
                    <a:lnTo>
                      <a:pt x="218" y="58"/>
                    </a:lnTo>
                    <a:lnTo>
                      <a:pt x="220" y="59"/>
                    </a:lnTo>
                    <a:lnTo>
                      <a:pt x="222" y="60"/>
                    </a:lnTo>
                    <a:lnTo>
                      <a:pt x="220" y="62"/>
                    </a:lnTo>
                    <a:lnTo>
                      <a:pt x="220" y="63"/>
                    </a:lnTo>
                    <a:lnTo>
                      <a:pt x="220" y="65"/>
                    </a:lnTo>
                    <a:lnTo>
                      <a:pt x="222" y="68"/>
                    </a:lnTo>
                    <a:lnTo>
                      <a:pt x="222" y="71"/>
                    </a:lnTo>
                    <a:lnTo>
                      <a:pt x="223" y="72"/>
                    </a:lnTo>
                    <a:lnTo>
                      <a:pt x="223" y="73"/>
                    </a:lnTo>
                    <a:lnTo>
                      <a:pt x="224" y="74"/>
                    </a:lnTo>
                    <a:lnTo>
                      <a:pt x="223" y="75"/>
                    </a:lnTo>
                    <a:lnTo>
                      <a:pt x="223" y="77"/>
                    </a:lnTo>
                    <a:lnTo>
                      <a:pt x="223" y="79"/>
                    </a:lnTo>
                    <a:lnTo>
                      <a:pt x="220" y="81"/>
                    </a:lnTo>
                    <a:lnTo>
                      <a:pt x="222" y="83"/>
                    </a:lnTo>
                    <a:lnTo>
                      <a:pt x="222" y="85"/>
                    </a:lnTo>
                    <a:lnTo>
                      <a:pt x="220" y="86"/>
                    </a:lnTo>
                    <a:lnTo>
                      <a:pt x="218" y="87"/>
                    </a:lnTo>
                    <a:lnTo>
                      <a:pt x="216" y="88"/>
                    </a:lnTo>
                    <a:lnTo>
                      <a:pt x="213" y="89"/>
                    </a:lnTo>
                    <a:lnTo>
                      <a:pt x="212" y="89"/>
                    </a:lnTo>
                    <a:lnTo>
                      <a:pt x="212" y="90"/>
                    </a:lnTo>
                    <a:lnTo>
                      <a:pt x="209" y="94"/>
                    </a:lnTo>
                    <a:lnTo>
                      <a:pt x="211" y="96"/>
                    </a:lnTo>
                    <a:lnTo>
                      <a:pt x="213" y="97"/>
                    </a:lnTo>
                    <a:lnTo>
                      <a:pt x="215" y="98"/>
                    </a:lnTo>
                    <a:lnTo>
                      <a:pt x="217" y="99"/>
                    </a:lnTo>
                    <a:lnTo>
                      <a:pt x="217" y="100"/>
                    </a:lnTo>
                    <a:lnTo>
                      <a:pt x="218" y="100"/>
                    </a:lnTo>
                    <a:lnTo>
                      <a:pt x="223" y="102"/>
                    </a:lnTo>
                    <a:lnTo>
                      <a:pt x="223" y="103"/>
                    </a:lnTo>
                    <a:lnTo>
                      <a:pt x="223" y="104"/>
                    </a:lnTo>
                    <a:lnTo>
                      <a:pt x="222" y="105"/>
                    </a:lnTo>
                    <a:lnTo>
                      <a:pt x="222" y="106"/>
                    </a:lnTo>
                    <a:lnTo>
                      <a:pt x="223" y="107"/>
                    </a:lnTo>
                    <a:lnTo>
                      <a:pt x="223" y="109"/>
                    </a:lnTo>
                    <a:lnTo>
                      <a:pt x="223" y="110"/>
                    </a:lnTo>
                    <a:lnTo>
                      <a:pt x="224" y="111"/>
                    </a:lnTo>
                    <a:lnTo>
                      <a:pt x="224" y="114"/>
                    </a:lnTo>
                    <a:lnTo>
                      <a:pt x="223" y="114"/>
                    </a:lnTo>
                    <a:lnTo>
                      <a:pt x="223" y="116"/>
                    </a:lnTo>
                    <a:lnTo>
                      <a:pt x="223" y="117"/>
                    </a:lnTo>
                    <a:lnTo>
                      <a:pt x="222" y="118"/>
                    </a:lnTo>
                    <a:lnTo>
                      <a:pt x="222" y="119"/>
                    </a:lnTo>
                    <a:lnTo>
                      <a:pt x="223" y="124"/>
                    </a:lnTo>
                    <a:lnTo>
                      <a:pt x="223" y="125"/>
                    </a:lnTo>
                    <a:lnTo>
                      <a:pt x="226" y="133"/>
                    </a:lnTo>
                    <a:lnTo>
                      <a:pt x="227" y="136"/>
                    </a:lnTo>
                    <a:lnTo>
                      <a:pt x="231" y="142"/>
                    </a:lnTo>
                    <a:lnTo>
                      <a:pt x="232" y="143"/>
                    </a:lnTo>
                    <a:lnTo>
                      <a:pt x="236" y="149"/>
                    </a:lnTo>
                    <a:lnTo>
                      <a:pt x="244" y="157"/>
                    </a:lnTo>
                    <a:lnTo>
                      <a:pt x="245" y="160"/>
                    </a:lnTo>
                    <a:lnTo>
                      <a:pt x="245" y="163"/>
                    </a:lnTo>
                    <a:lnTo>
                      <a:pt x="244" y="164"/>
                    </a:lnTo>
                    <a:lnTo>
                      <a:pt x="244" y="166"/>
                    </a:lnTo>
                    <a:lnTo>
                      <a:pt x="244" y="169"/>
                    </a:lnTo>
                    <a:lnTo>
                      <a:pt x="245" y="171"/>
                    </a:lnTo>
                    <a:lnTo>
                      <a:pt x="252" y="176"/>
                    </a:lnTo>
                    <a:lnTo>
                      <a:pt x="253" y="178"/>
                    </a:lnTo>
                    <a:lnTo>
                      <a:pt x="256" y="180"/>
                    </a:lnTo>
                    <a:lnTo>
                      <a:pt x="258" y="181"/>
                    </a:lnTo>
                    <a:lnTo>
                      <a:pt x="262" y="182"/>
                    </a:lnTo>
                    <a:lnTo>
                      <a:pt x="264" y="182"/>
                    </a:lnTo>
                    <a:lnTo>
                      <a:pt x="266" y="182"/>
                    </a:lnTo>
                    <a:lnTo>
                      <a:pt x="269" y="182"/>
                    </a:lnTo>
                    <a:lnTo>
                      <a:pt x="271" y="183"/>
                    </a:lnTo>
                    <a:lnTo>
                      <a:pt x="274" y="183"/>
                    </a:lnTo>
                    <a:lnTo>
                      <a:pt x="275" y="183"/>
                    </a:lnTo>
                    <a:lnTo>
                      <a:pt x="276" y="183"/>
                    </a:lnTo>
                    <a:lnTo>
                      <a:pt x="278" y="183"/>
                    </a:lnTo>
                    <a:lnTo>
                      <a:pt x="279" y="182"/>
                    </a:lnTo>
                    <a:lnTo>
                      <a:pt x="280" y="182"/>
                    </a:lnTo>
                    <a:lnTo>
                      <a:pt x="281" y="182"/>
                    </a:lnTo>
                    <a:lnTo>
                      <a:pt x="283" y="182"/>
                    </a:lnTo>
                    <a:lnTo>
                      <a:pt x="287" y="182"/>
                    </a:lnTo>
                    <a:lnTo>
                      <a:pt x="289" y="182"/>
                    </a:lnTo>
                    <a:lnTo>
                      <a:pt x="291" y="182"/>
                    </a:lnTo>
                    <a:lnTo>
                      <a:pt x="293" y="183"/>
                    </a:lnTo>
                    <a:lnTo>
                      <a:pt x="294" y="183"/>
                    </a:lnTo>
                    <a:lnTo>
                      <a:pt x="300" y="184"/>
                    </a:lnTo>
                    <a:lnTo>
                      <a:pt x="302" y="184"/>
                    </a:lnTo>
                    <a:lnTo>
                      <a:pt x="303" y="186"/>
                    </a:lnTo>
                    <a:lnTo>
                      <a:pt x="304" y="186"/>
                    </a:lnTo>
                    <a:lnTo>
                      <a:pt x="306" y="187"/>
                    </a:lnTo>
                    <a:lnTo>
                      <a:pt x="309" y="188"/>
                    </a:lnTo>
                    <a:lnTo>
                      <a:pt x="311" y="189"/>
                    </a:lnTo>
                    <a:lnTo>
                      <a:pt x="313" y="190"/>
                    </a:lnTo>
                    <a:lnTo>
                      <a:pt x="315" y="191"/>
                    </a:lnTo>
                    <a:lnTo>
                      <a:pt x="315" y="192"/>
                    </a:lnTo>
                    <a:lnTo>
                      <a:pt x="315" y="193"/>
                    </a:lnTo>
                    <a:lnTo>
                      <a:pt x="314" y="194"/>
                    </a:lnTo>
                    <a:lnTo>
                      <a:pt x="313" y="194"/>
                    </a:lnTo>
                    <a:lnTo>
                      <a:pt x="311" y="195"/>
                    </a:lnTo>
                    <a:lnTo>
                      <a:pt x="311" y="196"/>
                    </a:lnTo>
                    <a:lnTo>
                      <a:pt x="310" y="196"/>
                    </a:lnTo>
                    <a:lnTo>
                      <a:pt x="310" y="197"/>
                    </a:lnTo>
                    <a:lnTo>
                      <a:pt x="311" y="199"/>
                    </a:lnTo>
                    <a:lnTo>
                      <a:pt x="310" y="199"/>
                    </a:lnTo>
                    <a:lnTo>
                      <a:pt x="310" y="200"/>
                    </a:lnTo>
                    <a:lnTo>
                      <a:pt x="309" y="201"/>
                    </a:lnTo>
                    <a:lnTo>
                      <a:pt x="308" y="201"/>
                    </a:lnTo>
                    <a:lnTo>
                      <a:pt x="308" y="202"/>
                    </a:lnTo>
                    <a:lnTo>
                      <a:pt x="307" y="204"/>
                    </a:lnTo>
                    <a:lnTo>
                      <a:pt x="307" y="205"/>
                    </a:lnTo>
                    <a:lnTo>
                      <a:pt x="306" y="206"/>
                    </a:lnTo>
                    <a:lnTo>
                      <a:pt x="306" y="207"/>
                    </a:lnTo>
                    <a:lnTo>
                      <a:pt x="306" y="208"/>
                    </a:lnTo>
                    <a:lnTo>
                      <a:pt x="307" y="208"/>
                    </a:lnTo>
                    <a:lnTo>
                      <a:pt x="307" y="209"/>
                    </a:lnTo>
                    <a:lnTo>
                      <a:pt x="306" y="210"/>
                    </a:lnTo>
                    <a:lnTo>
                      <a:pt x="305" y="210"/>
                    </a:lnTo>
                    <a:lnTo>
                      <a:pt x="306" y="210"/>
                    </a:lnTo>
                    <a:lnTo>
                      <a:pt x="306" y="212"/>
                    </a:lnTo>
                    <a:lnTo>
                      <a:pt x="306" y="213"/>
                    </a:lnTo>
                    <a:lnTo>
                      <a:pt x="307" y="213"/>
                    </a:lnTo>
                    <a:lnTo>
                      <a:pt x="307" y="214"/>
                    </a:lnTo>
                    <a:lnTo>
                      <a:pt x="308" y="214"/>
                    </a:lnTo>
                    <a:lnTo>
                      <a:pt x="308" y="215"/>
                    </a:lnTo>
                    <a:lnTo>
                      <a:pt x="310" y="216"/>
                    </a:lnTo>
                    <a:lnTo>
                      <a:pt x="311" y="216"/>
                    </a:lnTo>
                    <a:lnTo>
                      <a:pt x="313" y="217"/>
                    </a:lnTo>
                    <a:lnTo>
                      <a:pt x="314" y="217"/>
                    </a:lnTo>
                    <a:lnTo>
                      <a:pt x="316" y="219"/>
                    </a:lnTo>
                    <a:lnTo>
                      <a:pt x="316" y="220"/>
                    </a:lnTo>
                    <a:lnTo>
                      <a:pt x="317" y="220"/>
                    </a:lnTo>
                    <a:lnTo>
                      <a:pt x="317" y="221"/>
                    </a:lnTo>
                    <a:lnTo>
                      <a:pt x="317" y="222"/>
                    </a:lnTo>
                    <a:lnTo>
                      <a:pt x="317" y="225"/>
                    </a:lnTo>
                    <a:lnTo>
                      <a:pt x="316" y="225"/>
                    </a:lnTo>
                    <a:lnTo>
                      <a:pt x="316" y="226"/>
                    </a:lnTo>
                    <a:lnTo>
                      <a:pt x="317" y="226"/>
                    </a:lnTo>
                    <a:lnTo>
                      <a:pt x="317" y="227"/>
                    </a:lnTo>
                    <a:lnTo>
                      <a:pt x="317" y="229"/>
                    </a:lnTo>
                    <a:lnTo>
                      <a:pt x="318" y="230"/>
                    </a:lnTo>
                    <a:lnTo>
                      <a:pt x="318" y="231"/>
                    </a:lnTo>
                    <a:lnTo>
                      <a:pt x="318" y="232"/>
                    </a:lnTo>
                    <a:lnTo>
                      <a:pt x="318" y="233"/>
                    </a:lnTo>
                    <a:lnTo>
                      <a:pt x="318" y="234"/>
                    </a:lnTo>
                    <a:lnTo>
                      <a:pt x="319" y="234"/>
                    </a:lnTo>
                    <a:lnTo>
                      <a:pt x="319" y="235"/>
                    </a:lnTo>
                    <a:lnTo>
                      <a:pt x="319" y="236"/>
                    </a:lnTo>
                    <a:lnTo>
                      <a:pt x="319" y="238"/>
                    </a:lnTo>
                    <a:lnTo>
                      <a:pt x="319" y="240"/>
                    </a:lnTo>
                    <a:lnTo>
                      <a:pt x="319" y="241"/>
                    </a:lnTo>
                    <a:lnTo>
                      <a:pt x="319" y="247"/>
                    </a:lnTo>
                    <a:lnTo>
                      <a:pt x="319" y="248"/>
                    </a:lnTo>
                    <a:lnTo>
                      <a:pt x="318" y="248"/>
                    </a:lnTo>
                    <a:lnTo>
                      <a:pt x="317" y="250"/>
                    </a:lnTo>
                    <a:lnTo>
                      <a:pt x="317" y="251"/>
                    </a:lnTo>
                    <a:lnTo>
                      <a:pt x="317" y="252"/>
                    </a:lnTo>
                    <a:lnTo>
                      <a:pt x="317" y="253"/>
                    </a:lnTo>
                    <a:lnTo>
                      <a:pt x="317" y="254"/>
                    </a:lnTo>
                    <a:lnTo>
                      <a:pt x="318" y="254"/>
                    </a:lnTo>
                    <a:lnTo>
                      <a:pt x="319" y="255"/>
                    </a:lnTo>
                    <a:lnTo>
                      <a:pt x="320" y="255"/>
                    </a:lnTo>
                    <a:lnTo>
                      <a:pt x="320" y="257"/>
                    </a:lnTo>
                    <a:lnTo>
                      <a:pt x="321" y="258"/>
                    </a:lnTo>
                    <a:lnTo>
                      <a:pt x="322" y="258"/>
                    </a:lnTo>
                    <a:lnTo>
                      <a:pt x="323" y="260"/>
                    </a:lnTo>
                    <a:lnTo>
                      <a:pt x="323" y="261"/>
                    </a:lnTo>
                    <a:lnTo>
                      <a:pt x="322" y="265"/>
                    </a:lnTo>
                    <a:lnTo>
                      <a:pt x="321" y="266"/>
                    </a:lnTo>
                    <a:lnTo>
                      <a:pt x="319" y="268"/>
                    </a:lnTo>
                    <a:lnTo>
                      <a:pt x="319" y="269"/>
                    </a:lnTo>
                    <a:lnTo>
                      <a:pt x="319" y="270"/>
                    </a:lnTo>
                    <a:lnTo>
                      <a:pt x="318" y="270"/>
                    </a:lnTo>
                    <a:lnTo>
                      <a:pt x="317" y="271"/>
                    </a:lnTo>
                    <a:lnTo>
                      <a:pt x="317" y="272"/>
                    </a:lnTo>
                    <a:lnTo>
                      <a:pt x="317" y="273"/>
                    </a:lnTo>
                    <a:lnTo>
                      <a:pt x="317" y="274"/>
                    </a:lnTo>
                    <a:lnTo>
                      <a:pt x="317" y="276"/>
                    </a:lnTo>
                    <a:lnTo>
                      <a:pt x="318" y="276"/>
                    </a:lnTo>
                    <a:lnTo>
                      <a:pt x="318" y="277"/>
                    </a:lnTo>
                    <a:lnTo>
                      <a:pt x="319" y="278"/>
                    </a:lnTo>
                    <a:lnTo>
                      <a:pt x="320" y="278"/>
                    </a:lnTo>
                    <a:lnTo>
                      <a:pt x="320" y="279"/>
                    </a:lnTo>
                    <a:lnTo>
                      <a:pt x="321" y="280"/>
                    </a:lnTo>
                    <a:lnTo>
                      <a:pt x="321" y="281"/>
                    </a:lnTo>
                    <a:lnTo>
                      <a:pt x="368" y="281"/>
                    </a:lnTo>
                    <a:lnTo>
                      <a:pt x="367" y="282"/>
                    </a:lnTo>
                    <a:lnTo>
                      <a:pt x="367" y="283"/>
                    </a:lnTo>
                    <a:lnTo>
                      <a:pt x="368" y="283"/>
                    </a:lnTo>
                    <a:lnTo>
                      <a:pt x="369" y="283"/>
                    </a:lnTo>
                    <a:lnTo>
                      <a:pt x="370" y="283"/>
                    </a:lnTo>
                    <a:lnTo>
                      <a:pt x="370" y="284"/>
                    </a:lnTo>
                    <a:lnTo>
                      <a:pt x="372" y="284"/>
                    </a:lnTo>
                    <a:lnTo>
                      <a:pt x="373" y="285"/>
                    </a:lnTo>
                    <a:lnTo>
                      <a:pt x="374" y="285"/>
                    </a:lnTo>
                    <a:lnTo>
                      <a:pt x="374" y="286"/>
                    </a:lnTo>
                    <a:lnTo>
                      <a:pt x="374" y="287"/>
                    </a:lnTo>
                    <a:lnTo>
                      <a:pt x="374" y="290"/>
                    </a:lnTo>
                    <a:lnTo>
                      <a:pt x="374" y="291"/>
                    </a:lnTo>
                    <a:lnTo>
                      <a:pt x="375" y="291"/>
                    </a:lnTo>
                    <a:lnTo>
                      <a:pt x="375" y="292"/>
                    </a:lnTo>
                    <a:lnTo>
                      <a:pt x="375" y="293"/>
                    </a:lnTo>
                    <a:lnTo>
                      <a:pt x="377" y="293"/>
                    </a:lnTo>
                    <a:lnTo>
                      <a:pt x="377" y="294"/>
                    </a:lnTo>
                    <a:lnTo>
                      <a:pt x="378" y="294"/>
                    </a:lnTo>
                    <a:lnTo>
                      <a:pt x="378" y="295"/>
                    </a:lnTo>
                    <a:lnTo>
                      <a:pt x="378" y="296"/>
                    </a:lnTo>
                    <a:lnTo>
                      <a:pt x="379" y="296"/>
                    </a:lnTo>
                    <a:lnTo>
                      <a:pt x="379" y="297"/>
                    </a:lnTo>
                    <a:lnTo>
                      <a:pt x="379" y="299"/>
                    </a:lnTo>
                    <a:lnTo>
                      <a:pt x="380" y="299"/>
                    </a:lnTo>
                    <a:lnTo>
                      <a:pt x="380" y="300"/>
                    </a:lnTo>
                    <a:lnTo>
                      <a:pt x="380" y="302"/>
                    </a:lnTo>
                    <a:lnTo>
                      <a:pt x="380" y="306"/>
                    </a:lnTo>
                    <a:lnTo>
                      <a:pt x="380" y="307"/>
                    </a:lnTo>
                    <a:lnTo>
                      <a:pt x="379" y="307"/>
                    </a:lnTo>
                    <a:lnTo>
                      <a:pt x="378" y="307"/>
                    </a:lnTo>
                    <a:lnTo>
                      <a:pt x="378" y="308"/>
                    </a:lnTo>
                    <a:lnTo>
                      <a:pt x="378" y="309"/>
                    </a:lnTo>
                    <a:lnTo>
                      <a:pt x="379" y="309"/>
                    </a:lnTo>
                    <a:lnTo>
                      <a:pt x="379" y="310"/>
                    </a:lnTo>
                    <a:lnTo>
                      <a:pt x="380" y="310"/>
                    </a:lnTo>
                    <a:lnTo>
                      <a:pt x="380" y="311"/>
                    </a:lnTo>
                    <a:close/>
                    <a:moveTo>
                      <a:pt x="545" y="565"/>
                    </a:moveTo>
                    <a:lnTo>
                      <a:pt x="537" y="563"/>
                    </a:lnTo>
                    <a:lnTo>
                      <a:pt x="529" y="554"/>
                    </a:lnTo>
                    <a:lnTo>
                      <a:pt x="524" y="548"/>
                    </a:lnTo>
                    <a:lnTo>
                      <a:pt x="508" y="549"/>
                    </a:lnTo>
                    <a:lnTo>
                      <a:pt x="496" y="546"/>
                    </a:lnTo>
                    <a:lnTo>
                      <a:pt x="495" y="546"/>
                    </a:lnTo>
                    <a:lnTo>
                      <a:pt x="495" y="544"/>
                    </a:lnTo>
                    <a:lnTo>
                      <a:pt x="493" y="543"/>
                    </a:lnTo>
                    <a:lnTo>
                      <a:pt x="490" y="541"/>
                    </a:lnTo>
                    <a:lnTo>
                      <a:pt x="486" y="537"/>
                    </a:lnTo>
                    <a:lnTo>
                      <a:pt x="480" y="533"/>
                    </a:lnTo>
                    <a:lnTo>
                      <a:pt x="474" y="529"/>
                    </a:lnTo>
                    <a:lnTo>
                      <a:pt x="471" y="529"/>
                    </a:lnTo>
                    <a:lnTo>
                      <a:pt x="468" y="530"/>
                    </a:lnTo>
                    <a:lnTo>
                      <a:pt x="465" y="530"/>
                    </a:lnTo>
                    <a:lnTo>
                      <a:pt x="462" y="529"/>
                    </a:lnTo>
                    <a:lnTo>
                      <a:pt x="459" y="529"/>
                    </a:lnTo>
                    <a:lnTo>
                      <a:pt x="457" y="528"/>
                    </a:lnTo>
                    <a:lnTo>
                      <a:pt x="453" y="527"/>
                    </a:lnTo>
                    <a:lnTo>
                      <a:pt x="452" y="527"/>
                    </a:lnTo>
                    <a:lnTo>
                      <a:pt x="443" y="525"/>
                    </a:lnTo>
                    <a:lnTo>
                      <a:pt x="442" y="524"/>
                    </a:lnTo>
                    <a:lnTo>
                      <a:pt x="434" y="523"/>
                    </a:lnTo>
                    <a:lnTo>
                      <a:pt x="427" y="521"/>
                    </a:lnTo>
                    <a:lnTo>
                      <a:pt x="423" y="520"/>
                    </a:lnTo>
                    <a:lnTo>
                      <a:pt x="407" y="518"/>
                    </a:lnTo>
                    <a:lnTo>
                      <a:pt x="400" y="518"/>
                    </a:lnTo>
                    <a:lnTo>
                      <a:pt x="396" y="518"/>
                    </a:lnTo>
                    <a:lnTo>
                      <a:pt x="395" y="518"/>
                    </a:lnTo>
                    <a:lnTo>
                      <a:pt x="391" y="518"/>
                    </a:lnTo>
                    <a:lnTo>
                      <a:pt x="390" y="518"/>
                    </a:lnTo>
                    <a:lnTo>
                      <a:pt x="387" y="516"/>
                    </a:lnTo>
                    <a:lnTo>
                      <a:pt x="377" y="510"/>
                    </a:lnTo>
                    <a:lnTo>
                      <a:pt x="375" y="510"/>
                    </a:lnTo>
                    <a:lnTo>
                      <a:pt x="369" y="507"/>
                    </a:lnTo>
                    <a:lnTo>
                      <a:pt x="369" y="505"/>
                    </a:lnTo>
                    <a:lnTo>
                      <a:pt x="373" y="487"/>
                    </a:lnTo>
                    <a:lnTo>
                      <a:pt x="373" y="486"/>
                    </a:lnTo>
                    <a:lnTo>
                      <a:pt x="375" y="477"/>
                    </a:lnTo>
                    <a:lnTo>
                      <a:pt x="377" y="474"/>
                    </a:lnTo>
                    <a:lnTo>
                      <a:pt x="377" y="473"/>
                    </a:lnTo>
                    <a:lnTo>
                      <a:pt x="377" y="471"/>
                    </a:lnTo>
                    <a:lnTo>
                      <a:pt x="377" y="470"/>
                    </a:lnTo>
                    <a:lnTo>
                      <a:pt x="373" y="464"/>
                    </a:lnTo>
                    <a:lnTo>
                      <a:pt x="371" y="462"/>
                    </a:lnTo>
                    <a:lnTo>
                      <a:pt x="365" y="451"/>
                    </a:lnTo>
                    <a:lnTo>
                      <a:pt x="360" y="443"/>
                    </a:lnTo>
                    <a:lnTo>
                      <a:pt x="359" y="441"/>
                    </a:lnTo>
                    <a:lnTo>
                      <a:pt x="355" y="423"/>
                    </a:lnTo>
                    <a:lnTo>
                      <a:pt x="353" y="421"/>
                    </a:lnTo>
                    <a:lnTo>
                      <a:pt x="322" y="395"/>
                    </a:lnTo>
                    <a:lnTo>
                      <a:pt x="320" y="393"/>
                    </a:lnTo>
                    <a:lnTo>
                      <a:pt x="317" y="390"/>
                    </a:lnTo>
                    <a:lnTo>
                      <a:pt x="317" y="384"/>
                    </a:lnTo>
                    <a:lnTo>
                      <a:pt x="320" y="384"/>
                    </a:lnTo>
                    <a:lnTo>
                      <a:pt x="322" y="384"/>
                    </a:lnTo>
                    <a:lnTo>
                      <a:pt x="344" y="382"/>
                    </a:lnTo>
                    <a:lnTo>
                      <a:pt x="346" y="382"/>
                    </a:lnTo>
                    <a:lnTo>
                      <a:pt x="352" y="382"/>
                    </a:lnTo>
                    <a:lnTo>
                      <a:pt x="353" y="382"/>
                    </a:lnTo>
                    <a:lnTo>
                      <a:pt x="377" y="380"/>
                    </a:lnTo>
                    <a:lnTo>
                      <a:pt x="403" y="377"/>
                    </a:lnTo>
                    <a:lnTo>
                      <a:pt x="410" y="376"/>
                    </a:lnTo>
                    <a:lnTo>
                      <a:pt x="419" y="376"/>
                    </a:lnTo>
                    <a:lnTo>
                      <a:pt x="424" y="375"/>
                    </a:lnTo>
                    <a:lnTo>
                      <a:pt x="443" y="374"/>
                    </a:lnTo>
                    <a:lnTo>
                      <a:pt x="444" y="374"/>
                    </a:lnTo>
                    <a:lnTo>
                      <a:pt x="449" y="373"/>
                    </a:lnTo>
                    <a:lnTo>
                      <a:pt x="449" y="374"/>
                    </a:lnTo>
                    <a:lnTo>
                      <a:pt x="450" y="374"/>
                    </a:lnTo>
                    <a:lnTo>
                      <a:pt x="450" y="375"/>
                    </a:lnTo>
                    <a:lnTo>
                      <a:pt x="450" y="376"/>
                    </a:lnTo>
                    <a:lnTo>
                      <a:pt x="451" y="376"/>
                    </a:lnTo>
                    <a:lnTo>
                      <a:pt x="451" y="377"/>
                    </a:lnTo>
                    <a:lnTo>
                      <a:pt x="451" y="379"/>
                    </a:lnTo>
                    <a:lnTo>
                      <a:pt x="451" y="380"/>
                    </a:lnTo>
                    <a:lnTo>
                      <a:pt x="452" y="380"/>
                    </a:lnTo>
                    <a:lnTo>
                      <a:pt x="452" y="381"/>
                    </a:lnTo>
                    <a:lnTo>
                      <a:pt x="452" y="382"/>
                    </a:lnTo>
                    <a:lnTo>
                      <a:pt x="451" y="382"/>
                    </a:lnTo>
                    <a:lnTo>
                      <a:pt x="451" y="383"/>
                    </a:lnTo>
                    <a:lnTo>
                      <a:pt x="452" y="384"/>
                    </a:lnTo>
                    <a:lnTo>
                      <a:pt x="453" y="384"/>
                    </a:lnTo>
                    <a:lnTo>
                      <a:pt x="455" y="384"/>
                    </a:lnTo>
                    <a:lnTo>
                      <a:pt x="456" y="384"/>
                    </a:lnTo>
                    <a:lnTo>
                      <a:pt x="456" y="385"/>
                    </a:lnTo>
                    <a:lnTo>
                      <a:pt x="456" y="386"/>
                    </a:lnTo>
                    <a:lnTo>
                      <a:pt x="455" y="387"/>
                    </a:lnTo>
                    <a:lnTo>
                      <a:pt x="453" y="387"/>
                    </a:lnTo>
                    <a:lnTo>
                      <a:pt x="455" y="388"/>
                    </a:lnTo>
                    <a:lnTo>
                      <a:pt x="456" y="389"/>
                    </a:lnTo>
                    <a:lnTo>
                      <a:pt x="457" y="392"/>
                    </a:lnTo>
                    <a:lnTo>
                      <a:pt x="457" y="393"/>
                    </a:lnTo>
                    <a:lnTo>
                      <a:pt x="458" y="394"/>
                    </a:lnTo>
                    <a:lnTo>
                      <a:pt x="459" y="395"/>
                    </a:lnTo>
                    <a:lnTo>
                      <a:pt x="460" y="397"/>
                    </a:lnTo>
                    <a:lnTo>
                      <a:pt x="461" y="397"/>
                    </a:lnTo>
                    <a:lnTo>
                      <a:pt x="462" y="398"/>
                    </a:lnTo>
                    <a:lnTo>
                      <a:pt x="464" y="399"/>
                    </a:lnTo>
                    <a:lnTo>
                      <a:pt x="465" y="400"/>
                    </a:lnTo>
                    <a:lnTo>
                      <a:pt x="465" y="401"/>
                    </a:lnTo>
                    <a:lnTo>
                      <a:pt x="465" y="402"/>
                    </a:lnTo>
                    <a:lnTo>
                      <a:pt x="465" y="403"/>
                    </a:lnTo>
                    <a:lnTo>
                      <a:pt x="464" y="405"/>
                    </a:lnTo>
                    <a:lnTo>
                      <a:pt x="464" y="406"/>
                    </a:lnTo>
                    <a:lnTo>
                      <a:pt x="463" y="407"/>
                    </a:lnTo>
                    <a:lnTo>
                      <a:pt x="463" y="408"/>
                    </a:lnTo>
                    <a:lnTo>
                      <a:pt x="463" y="409"/>
                    </a:lnTo>
                    <a:lnTo>
                      <a:pt x="463" y="410"/>
                    </a:lnTo>
                    <a:lnTo>
                      <a:pt x="463" y="411"/>
                    </a:lnTo>
                    <a:lnTo>
                      <a:pt x="464" y="412"/>
                    </a:lnTo>
                    <a:lnTo>
                      <a:pt x="465" y="412"/>
                    </a:lnTo>
                    <a:lnTo>
                      <a:pt x="466" y="413"/>
                    </a:lnTo>
                    <a:lnTo>
                      <a:pt x="468" y="414"/>
                    </a:lnTo>
                    <a:lnTo>
                      <a:pt x="468" y="415"/>
                    </a:lnTo>
                    <a:lnTo>
                      <a:pt x="469" y="415"/>
                    </a:lnTo>
                    <a:lnTo>
                      <a:pt x="470" y="417"/>
                    </a:lnTo>
                    <a:lnTo>
                      <a:pt x="471" y="417"/>
                    </a:lnTo>
                    <a:lnTo>
                      <a:pt x="473" y="418"/>
                    </a:lnTo>
                    <a:lnTo>
                      <a:pt x="474" y="418"/>
                    </a:lnTo>
                    <a:lnTo>
                      <a:pt x="475" y="419"/>
                    </a:lnTo>
                    <a:lnTo>
                      <a:pt x="477" y="422"/>
                    </a:lnTo>
                    <a:lnTo>
                      <a:pt x="478" y="424"/>
                    </a:lnTo>
                    <a:lnTo>
                      <a:pt x="478" y="425"/>
                    </a:lnTo>
                    <a:lnTo>
                      <a:pt x="480" y="426"/>
                    </a:lnTo>
                    <a:lnTo>
                      <a:pt x="478" y="428"/>
                    </a:lnTo>
                    <a:lnTo>
                      <a:pt x="478" y="430"/>
                    </a:lnTo>
                    <a:lnTo>
                      <a:pt x="478" y="432"/>
                    </a:lnTo>
                    <a:lnTo>
                      <a:pt x="478" y="434"/>
                    </a:lnTo>
                    <a:lnTo>
                      <a:pt x="480" y="435"/>
                    </a:lnTo>
                    <a:lnTo>
                      <a:pt x="480" y="436"/>
                    </a:lnTo>
                    <a:lnTo>
                      <a:pt x="480" y="437"/>
                    </a:lnTo>
                    <a:lnTo>
                      <a:pt x="480" y="438"/>
                    </a:lnTo>
                    <a:lnTo>
                      <a:pt x="481" y="439"/>
                    </a:lnTo>
                    <a:lnTo>
                      <a:pt x="481" y="440"/>
                    </a:lnTo>
                    <a:lnTo>
                      <a:pt x="482" y="443"/>
                    </a:lnTo>
                    <a:lnTo>
                      <a:pt x="482" y="444"/>
                    </a:lnTo>
                    <a:lnTo>
                      <a:pt x="483" y="447"/>
                    </a:lnTo>
                    <a:lnTo>
                      <a:pt x="483" y="449"/>
                    </a:lnTo>
                    <a:lnTo>
                      <a:pt x="483" y="450"/>
                    </a:lnTo>
                    <a:lnTo>
                      <a:pt x="483" y="451"/>
                    </a:lnTo>
                    <a:lnTo>
                      <a:pt x="484" y="451"/>
                    </a:lnTo>
                    <a:lnTo>
                      <a:pt x="484" y="452"/>
                    </a:lnTo>
                    <a:lnTo>
                      <a:pt x="487" y="454"/>
                    </a:lnTo>
                    <a:lnTo>
                      <a:pt x="488" y="456"/>
                    </a:lnTo>
                    <a:lnTo>
                      <a:pt x="489" y="458"/>
                    </a:lnTo>
                    <a:lnTo>
                      <a:pt x="491" y="460"/>
                    </a:lnTo>
                    <a:lnTo>
                      <a:pt x="493" y="462"/>
                    </a:lnTo>
                    <a:lnTo>
                      <a:pt x="494" y="462"/>
                    </a:lnTo>
                    <a:lnTo>
                      <a:pt x="496" y="462"/>
                    </a:lnTo>
                    <a:lnTo>
                      <a:pt x="498" y="463"/>
                    </a:lnTo>
                    <a:lnTo>
                      <a:pt x="500" y="463"/>
                    </a:lnTo>
                    <a:lnTo>
                      <a:pt x="506" y="464"/>
                    </a:lnTo>
                    <a:lnTo>
                      <a:pt x="509" y="465"/>
                    </a:lnTo>
                    <a:lnTo>
                      <a:pt x="510" y="466"/>
                    </a:lnTo>
                    <a:lnTo>
                      <a:pt x="512" y="467"/>
                    </a:lnTo>
                    <a:lnTo>
                      <a:pt x="514" y="469"/>
                    </a:lnTo>
                    <a:lnTo>
                      <a:pt x="515" y="469"/>
                    </a:lnTo>
                    <a:lnTo>
                      <a:pt x="516" y="469"/>
                    </a:lnTo>
                    <a:lnTo>
                      <a:pt x="519" y="469"/>
                    </a:lnTo>
                    <a:lnTo>
                      <a:pt x="520" y="469"/>
                    </a:lnTo>
                    <a:lnTo>
                      <a:pt x="521" y="469"/>
                    </a:lnTo>
                    <a:lnTo>
                      <a:pt x="522" y="469"/>
                    </a:lnTo>
                    <a:lnTo>
                      <a:pt x="523" y="469"/>
                    </a:lnTo>
                    <a:lnTo>
                      <a:pt x="524" y="469"/>
                    </a:lnTo>
                    <a:lnTo>
                      <a:pt x="525" y="469"/>
                    </a:lnTo>
                    <a:lnTo>
                      <a:pt x="527" y="470"/>
                    </a:lnTo>
                    <a:lnTo>
                      <a:pt x="528" y="471"/>
                    </a:lnTo>
                    <a:lnTo>
                      <a:pt x="529" y="472"/>
                    </a:lnTo>
                    <a:lnTo>
                      <a:pt x="530" y="474"/>
                    </a:lnTo>
                    <a:lnTo>
                      <a:pt x="532" y="475"/>
                    </a:lnTo>
                    <a:lnTo>
                      <a:pt x="533" y="475"/>
                    </a:lnTo>
                    <a:lnTo>
                      <a:pt x="535" y="476"/>
                    </a:lnTo>
                    <a:lnTo>
                      <a:pt x="536" y="476"/>
                    </a:lnTo>
                    <a:lnTo>
                      <a:pt x="537" y="476"/>
                    </a:lnTo>
                    <a:lnTo>
                      <a:pt x="538" y="476"/>
                    </a:lnTo>
                    <a:lnTo>
                      <a:pt x="539" y="477"/>
                    </a:lnTo>
                    <a:lnTo>
                      <a:pt x="539" y="478"/>
                    </a:lnTo>
                    <a:lnTo>
                      <a:pt x="539" y="479"/>
                    </a:lnTo>
                    <a:lnTo>
                      <a:pt x="540" y="479"/>
                    </a:lnTo>
                    <a:lnTo>
                      <a:pt x="540" y="480"/>
                    </a:lnTo>
                    <a:lnTo>
                      <a:pt x="541" y="483"/>
                    </a:lnTo>
                    <a:lnTo>
                      <a:pt x="542" y="483"/>
                    </a:lnTo>
                    <a:lnTo>
                      <a:pt x="543" y="483"/>
                    </a:lnTo>
                    <a:lnTo>
                      <a:pt x="543" y="484"/>
                    </a:lnTo>
                    <a:lnTo>
                      <a:pt x="545" y="484"/>
                    </a:lnTo>
                    <a:lnTo>
                      <a:pt x="545" y="485"/>
                    </a:lnTo>
                    <a:lnTo>
                      <a:pt x="546" y="486"/>
                    </a:lnTo>
                    <a:lnTo>
                      <a:pt x="546" y="487"/>
                    </a:lnTo>
                    <a:lnTo>
                      <a:pt x="547" y="487"/>
                    </a:lnTo>
                    <a:lnTo>
                      <a:pt x="547" y="488"/>
                    </a:lnTo>
                    <a:lnTo>
                      <a:pt x="547" y="489"/>
                    </a:lnTo>
                    <a:lnTo>
                      <a:pt x="547" y="490"/>
                    </a:lnTo>
                    <a:lnTo>
                      <a:pt x="548" y="491"/>
                    </a:lnTo>
                    <a:lnTo>
                      <a:pt x="548" y="492"/>
                    </a:lnTo>
                    <a:lnTo>
                      <a:pt x="549" y="493"/>
                    </a:lnTo>
                    <a:lnTo>
                      <a:pt x="549" y="495"/>
                    </a:lnTo>
                    <a:lnTo>
                      <a:pt x="548" y="495"/>
                    </a:lnTo>
                    <a:lnTo>
                      <a:pt x="548" y="496"/>
                    </a:lnTo>
                    <a:lnTo>
                      <a:pt x="547" y="497"/>
                    </a:lnTo>
                    <a:lnTo>
                      <a:pt x="547" y="498"/>
                    </a:lnTo>
                    <a:lnTo>
                      <a:pt x="547" y="499"/>
                    </a:lnTo>
                    <a:lnTo>
                      <a:pt x="546" y="500"/>
                    </a:lnTo>
                    <a:lnTo>
                      <a:pt x="546" y="501"/>
                    </a:lnTo>
                    <a:lnTo>
                      <a:pt x="546" y="502"/>
                    </a:lnTo>
                    <a:lnTo>
                      <a:pt x="545" y="505"/>
                    </a:lnTo>
                    <a:lnTo>
                      <a:pt x="546" y="507"/>
                    </a:lnTo>
                    <a:lnTo>
                      <a:pt x="546" y="508"/>
                    </a:lnTo>
                    <a:lnTo>
                      <a:pt x="547" y="509"/>
                    </a:lnTo>
                    <a:lnTo>
                      <a:pt x="547" y="510"/>
                    </a:lnTo>
                    <a:lnTo>
                      <a:pt x="546" y="511"/>
                    </a:lnTo>
                    <a:lnTo>
                      <a:pt x="546" y="512"/>
                    </a:lnTo>
                    <a:lnTo>
                      <a:pt x="545" y="512"/>
                    </a:lnTo>
                    <a:lnTo>
                      <a:pt x="545" y="513"/>
                    </a:lnTo>
                    <a:lnTo>
                      <a:pt x="545" y="514"/>
                    </a:lnTo>
                    <a:lnTo>
                      <a:pt x="545" y="515"/>
                    </a:lnTo>
                    <a:lnTo>
                      <a:pt x="546" y="516"/>
                    </a:lnTo>
                    <a:lnTo>
                      <a:pt x="547" y="517"/>
                    </a:lnTo>
                    <a:lnTo>
                      <a:pt x="548" y="518"/>
                    </a:lnTo>
                    <a:lnTo>
                      <a:pt x="548" y="520"/>
                    </a:lnTo>
                    <a:lnTo>
                      <a:pt x="548" y="521"/>
                    </a:lnTo>
                    <a:lnTo>
                      <a:pt x="549" y="521"/>
                    </a:lnTo>
                    <a:lnTo>
                      <a:pt x="549" y="522"/>
                    </a:lnTo>
                    <a:lnTo>
                      <a:pt x="549" y="523"/>
                    </a:lnTo>
                    <a:lnTo>
                      <a:pt x="550" y="523"/>
                    </a:lnTo>
                    <a:lnTo>
                      <a:pt x="550" y="524"/>
                    </a:lnTo>
                    <a:lnTo>
                      <a:pt x="550" y="525"/>
                    </a:lnTo>
                    <a:lnTo>
                      <a:pt x="551" y="525"/>
                    </a:lnTo>
                    <a:lnTo>
                      <a:pt x="551" y="526"/>
                    </a:lnTo>
                    <a:lnTo>
                      <a:pt x="550" y="527"/>
                    </a:lnTo>
                    <a:lnTo>
                      <a:pt x="550" y="528"/>
                    </a:lnTo>
                    <a:lnTo>
                      <a:pt x="550" y="529"/>
                    </a:lnTo>
                    <a:lnTo>
                      <a:pt x="550" y="530"/>
                    </a:lnTo>
                    <a:lnTo>
                      <a:pt x="549" y="530"/>
                    </a:lnTo>
                    <a:lnTo>
                      <a:pt x="549" y="531"/>
                    </a:lnTo>
                    <a:lnTo>
                      <a:pt x="549" y="533"/>
                    </a:lnTo>
                    <a:lnTo>
                      <a:pt x="549" y="534"/>
                    </a:lnTo>
                    <a:lnTo>
                      <a:pt x="549" y="535"/>
                    </a:lnTo>
                    <a:lnTo>
                      <a:pt x="548" y="535"/>
                    </a:lnTo>
                    <a:lnTo>
                      <a:pt x="548" y="536"/>
                    </a:lnTo>
                    <a:lnTo>
                      <a:pt x="548" y="537"/>
                    </a:lnTo>
                    <a:lnTo>
                      <a:pt x="548" y="539"/>
                    </a:lnTo>
                    <a:lnTo>
                      <a:pt x="547" y="539"/>
                    </a:lnTo>
                    <a:lnTo>
                      <a:pt x="546" y="540"/>
                    </a:lnTo>
                    <a:lnTo>
                      <a:pt x="545" y="540"/>
                    </a:lnTo>
                    <a:lnTo>
                      <a:pt x="543" y="539"/>
                    </a:lnTo>
                    <a:lnTo>
                      <a:pt x="542" y="539"/>
                    </a:lnTo>
                    <a:lnTo>
                      <a:pt x="541" y="540"/>
                    </a:lnTo>
                    <a:lnTo>
                      <a:pt x="540" y="541"/>
                    </a:lnTo>
                    <a:lnTo>
                      <a:pt x="545" y="565"/>
                    </a:lnTo>
                    <a:close/>
                  </a:path>
                </a:pathLst>
              </a:custGeom>
              <a:solidFill>
                <a:srgbClr val="2272C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1" name="Freeform 11">
                <a:extLst>
                  <a:ext uri="{FF2B5EF4-FFF2-40B4-BE49-F238E27FC236}">
                    <a16:creationId xmlns:a16="http://schemas.microsoft.com/office/drawing/2014/main" id="{0A3ED721-73E8-D832-D9B8-AD72C305AC6B}"/>
                  </a:ext>
                </a:extLst>
              </p:cNvPr>
              <p:cNvSpPr>
                <a:spLocks noEditPoints="1"/>
              </p:cNvSpPr>
              <p:nvPr/>
            </p:nvSpPr>
            <p:spPr bwMode="auto">
              <a:xfrm>
                <a:off x="3098801" y="4435475"/>
                <a:ext cx="788988" cy="725488"/>
              </a:xfrm>
              <a:custGeom>
                <a:avLst/>
                <a:gdLst>
                  <a:gd name="T0" fmla="*/ 422 w 497"/>
                  <a:gd name="T1" fmla="*/ 43 h 457"/>
                  <a:gd name="T2" fmla="*/ 476 w 497"/>
                  <a:gd name="T3" fmla="*/ 58 h 457"/>
                  <a:gd name="T4" fmla="*/ 497 w 497"/>
                  <a:gd name="T5" fmla="*/ 60 h 457"/>
                  <a:gd name="T6" fmla="*/ 475 w 497"/>
                  <a:gd name="T7" fmla="*/ 86 h 457"/>
                  <a:gd name="T8" fmla="*/ 446 w 497"/>
                  <a:gd name="T9" fmla="*/ 109 h 457"/>
                  <a:gd name="T10" fmla="*/ 320 w 497"/>
                  <a:gd name="T11" fmla="*/ 119 h 457"/>
                  <a:gd name="T12" fmla="*/ 219 w 497"/>
                  <a:gd name="T13" fmla="*/ 166 h 457"/>
                  <a:gd name="T14" fmla="*/ 108 w 497"/>
                  <a:gd name="T15" fmla="*/ 268 h 457"/>
                  <a:gd name="T16" fmla="*/ 101 w 497"/>
                  <a:gd name="T17" fmla="*/ 254 h 457"/>
                  <a:gd name="T18" fmla="*/ 111 w 497"/>
                  <a:gd name="T19" fmla="*/ 237 h 457"/>
                  <a:gd name="T20" fmla="*/ 113 w 497"/>
                  <a:gd name="T21" fmla="*/ 238 h 457"/>
                  <a:gd name="T22" fmla="*/ 124 w 497"/>
                  <a:gd name="T23" fmla="*/ 244 h 457"/>
                  <a:gd name="T24" fmla="*/ 128 w 497"/>
                  <a:gd name="T25" fmla="*/ 237 h 457"/>
                  <a:gd name="T26" fmla="*/ 127 w 497"/>
                  <a:gd name="T27" fmla="*/ 220 h 457"/>
                  <a:gd name="T28" fmla="*/ 120 w 497"/>
                  <a:gd name="T29" fmla="*/ 208 h 457"/>
                  <a:gd name="T30" fmla="*/ 102 w 497"/>
                  <a:gd name="T31" fmla="*/ 207 h 457"/>
                  <a:gd name="T32" fmla="*/ 82 w 497"/>
                  <a:gd name="T33" fmla="*/ 204 h 457"/>
                  <a:gd name="T34" fmla="*/ 65 w 497"/>
                  <a:gd name="T35" fmla="*/ 212 h 457"/>
                  <a:gd name="T36" fmla="*/ 44 w 497"/>
                  <a:gd name="T37" fmla="*/ 209 h 457"/>
                  <a:gd name="T38" fmla="*/ 25 w 497"/>
                  <a:gd name="T39" fmla="*/ 105 h 457"/>
                  <a:gd name="T40" fmla="*/ 47 w 497"/>
                  <a:gd name="T41" fmla="*/ 45 h 457"/>
                  <a:gd name="T42" fmla="*/ 150 w 497"/>
                  <a:gd name="T43" fmla="*/ 30 h 457"/>
                  <a:gd name="T44" fmla="*/ 168 w 497"/>
                  <a:gd name="T45" fmla="*/ 9 h 457"/>
                  <a:gd name="T46" fmla="*/ 191 w 497"/>
                  <a:gd name="T47" fmla="*/ 1 h 457"/>
                  <a:gd name="T48" fmla="*/ 206 w 497"/>
                  <a:gd name="T49" fmla="*/ 3 h 457"/>
                  <a:gd name="T50" fmla="*/ 219 w 497"/>
                  <a:gd name="T51" fmla="*/ 9 h 457"/>
                  <a:gd name="T52" fmla="*/ 232 w 497"/>
                  <a:gd name="T53" fmla="*/ 16 h 457"/>
                  <a:gd name="T54" fmla="*/ 262 w 497"/>
                  <a:gd name="T55" fmla="*/ 55 h 457"/>
                  <a:gd name="T56" fmla="*/ 327 w 497"/>
                  <a:gd name="T57" fmla="*/ 57 h 457"/>
                  <a:gd name="T58" fmla="*/ 356 w 497"/>
                  <a:gd name="T59" fmla="*/ 45 h 457"/>
                  <a:gd name="T60" fmla="*/ 87 w 497"/>
                  <a:gd name="T61" fmla="*/ 348 h 457"/>
                  <a:gd name="T62" fmla="*/ 98 w 497"/>
                  <a:gd name="T63" fmla="*/ 349 h 457"/>
                  <a:gd name="T64" fmla="*/ 112 w 497"/>
                  <a:gd name="T65" fmla="*/ 352 h 457"/>
                  <a:gd name="T66" fmla="*/ 116 w 497"/>
                  <a:gd name="T67" fmla="*/ 353 h 457"/>
                  <a:gd name="T68" fmla="*/ 129 w 497"/>
                  <a:gd name="T69" fmla="*/ 366 h 457"/>
                  <a:gd name="T70" fmla="*/ 139 w 497"/>
                  <a:gd name="T71" fmla="*/ 373 h 457"/>
                  <a:gd name="T72" fmla="*/ 150 w 497"/>
                  <a:gd name="T73" fmla="*/ 375 h 457"/>
                  <a:gd name="T74" fmla="*/ 159 w 497"/>
                  <a:gd name="T75" fmla="*/ 391 h 457"/>
                  <a:gd name="T76" fmla="*/ 170 w 497"/>
                  <a:gd name="T77" fmla="*/ 387 h 457"/>
                  <a:gd name="T78" fmla="*/ 182 w 497"/>
                  <a:gd name="T79" fmla="*/ 386 h 457"/>
                  <a:gd name="T80" fmla="*/ 187 w 497"/>
                  <a:gd name="T81" fmla="*/ 397 h 457"/>
                  <a:gd name="T82" fmla="*/ 200 w 497"/>
                  <a:gd name="T83" fmla="*/ 391 h 457"/>
                  <a:gd name="T84" fmla="*/ 191 w 497"/>
                  <a:gd name="T85" fmla="*/ 404 h 457"/>
                  <a:gd name="T86" fmla="*/ 167 w 497"/>
                  <a:gd name="T87" fmla="*/ 420 h 457"/>
                  <a:gd name="T88" fmla="*/ 159 w 497"/>
                  <a:gd name="T89" fmla="*/ 437 h 457"/>
                  <a:gd name="T90" fmla="*/ 149 w 497"/>
                  <a:gd name="T91" fmla="*/ 451 h 457"/>
                  <a:gd name="T92" fmla="*/ 130 w 497"/>
                  <a:gd name="T93" fmla="*/ 455 h 457"/>
                  <a:gd name="T94" fmla="*/ 113 w 497"/>
                  <a:gd name="T95" fmla="*/ 452 h 457"/>
                  <a:gd name="T96" fmla="*/ 103 w 497"/>
                  <a:gd name="T97" fmla="*/ 436 h 457"/>
                  <a:gd name="T98" fmla="*/ 88 w 497"/>
                  <a:gd name="T99" fmla="*/ 433 h 457"/>
                  <a:gd name="T100" fmla="*/ 69 w 497"/>
                  <a:gd name="T101" fmla="*/ 424 h 457"/>
                  <a:gd name="T102" fmla="*/ 53 w 497"/>
                  <a:gd name="T103" fmla="*/ 415 h 457"/>
                  <a:gd name="T104" fmla="*/ 38 w 497"/>
                  <a:gd name="T105" fmla="*/ 409 h 457"/>
                  <a:gd name="T106" fmla="*/ 12 w 497"/>
                  <a:gd name="T107" fmla="*/ 397 h 457"/>
                  <a:gd name="T108" fmla="*/ 7 w 497"/>
                  <a:gd name="T109" fmla="*/ 386 h 457"/>
                  <a:gd name="T110" fmla="*/ 10 w 497"/>
                  <a:gd name="T111" fmla="*/ 377 h 457"/>
                  <a:gd name="T112" fmla="*/ 28 w 497"/>
                  <a:gd name="T113" fmla="*/ 361 h 457"/>
                  <a:gd name="T114" fmla="*/ 32 w 497"/>
                  <a:gd name="T115" fmla="*/ 362 h 457"/>
                  <a:gd name="T116" fmla="*/ 46 w 497"/>
                  <a:gd name="T117" fmla="*/ 362 h 457"/>
                  <a:gd name="T118" fmla="*/ 63 w 497"/>
                  <a:gd name="T119" fmla="*/ 358 h 457"/>
                  <a:gd name="T120" fmla="*/ 65 w 497"/>
                  <a:gd name="T121" fmla="*/ 345 h 457"/>
                  <a:gd name="T122" fmla="*/ 128 w 497"/>
                  <a:gd name="T123" fmla="*/ 456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7" h="457">
                    <a:moveTo>
                      <a:pt x="407" y="44"/>
                    </a:moveTo>
                    <a:lnTo>
                      <a:pt x="407" y="45"/>
                    </a:lnTo>
                    <a:lnTo>
                      <a:pt x="408" y="46"/>
                    </a:lnTo>
                    <a:lnTo>
                      <a:pt x="408" y="48"/>
                    </a:lnTo>
                    <a:lnTo>
                      <a:pt x="409" y="48"/>
                    </a:lnTo>
                    <a:lnTo>
                      <a:pt x="410" y="46"/>
                    </a:lnTo>
                    <a:lnTo>
                      <a:pt x="411" y="46"/>
                    </a:lnTo>
                    <a:lnTo>
                      <a:pt x="412" y="46"/>
                    </a:lnTo>
                    <a:lnTo>
                      <a:pt x="413" y="46"/>
                    </a:lnTo>
                    <a:lnTo>
                      <a:pt x="413" y="45"/>
                    </a:lnTo>
                    <a:lnTo>
                      <a:pt x="414" y="45"/>
                    </a:lnTo>
                    <a:lnTo>
                      <a:pt x="415" y="44"/>
                    </a:lnTo>
                    <a:lnTo>
                      <a:pt x="415" y="43"/>
                    </a:lnTo>
                    <a:lnTo>
                      <a:pt x="417" y="43"/>
                    </a:lnTo>
                    <a:lnTo>
                      <a:pt x="418" y="43"/>
                    </a:lnTo>
                    <a:lnTo>
                      <a:pt x="419" y="43"/>
                    </a:lnTo>
                    <a:lnTo>
                      <a:pt x="420" y="43"/>
                    </a:lnTo>
                    <a:lnTo>
                      <a:pt x="422" y="43"/>
                    </a:lnTo>
                    <a:lnTo>
                      <a:pt x="424" y="43"/>
                    </a:lnTo>
                    <a:lnTo>
                      <a:pt x="425" y="43"/>
                    </a:lnTo>
                    <a:lnTo>
                      <a:pt x="426" y="44"/>
                    </a:lnTo>
                    <a:lnTo>
                      <a:pt x="427" y="44"/>
                    </a:lnTo>
                    <a:lnTo>
                      <a:pt x="463" y="44"/>
                    </a:lnTo>
                    <a:lnTo>
                      <a:pt x="464" y="44"/>
                    </a:lnTo>
                    <a:lnTo>
                      <a:pt x="467" y="44"/>
                    </a:lnTo>
                    <a:lnTo>
                      <a:pt x="469" y="45"/>
                    </a:lnTo>
                    <a:lnTo>
                      <a:pt x="470" y="46"/>
                    </a:lnTo>
                    <a:lnTo>
                      <a:pt x="471" y="48"/>
                    </a:lnTo>
                    <a:lnTo>
                      <a:pt x="471" y="49"/>
                    </a:lnTo>
                    <a:lnTo>
                      <a:pt x="471" y="51"/>
                    </a:lnTo>
                    <a:lnTo>
                      <a:pt x="472" y="51"/>
                    </a:lnTo>
                    <a:lnTo>
                      <a:pt x="472" y="52"/>
                    </a:lnTo>
                    <a:lnTo>
                      <a:pt x="473" y="53"/>
                    </a:lnTo>
                    <a:lnTo>
                      <a:pt x="473" y="54"/>
                    </a:lnTo>
                    <a:lnTo>
                      <a:pt x="474" y="56"/>
                    </a:lnTo>
                    <a:lnTo>
                      <a:pt x="476" y="58"/>
                    </a:lnTo>
                    <a:lnTo>
                      <a:pt x="477" y="58"/>
                    </a:lnTo>
                    <a:lnTo>
                      <a:pt x="479" y="62"/>
                    </a:lnTo>
                    <a:lnTo>
                      <a:pt x="483" y="64"/>
                    </a:lnTo>
                    <a:lnTo>
                      <a:pt x="485" y="65"/>
                    </a:lnTo>
                    <a:lnTo>
                      <a:pt x="485" y="66"/>
                    </a:lnTo>
                    <a:lnTo>
                      <a:pt x="486" y="65"/>
                    </a:lnTo>
                    <a:lnTo>
                      <a:pt x="487" y="65"/>
                    </a:lnTo>
                    <a:lnTo>
                      <a:pt x="487" y="64"/>
                    </a:lnTo>
                    <a:lnTo>
                      <a:pt x="487" y="63"/>
                    </a:lnTo>
                    <a:lnTo>
                      <a:pt x="489" y="60"/>
                    </a:lnTo>
                    <a:lnTo>
                      <a:pt x="489" y="58"/>
                    </a:lnTo>
                    <a:lnTo>
                      <a:pt x="490" y="57"/>
                    </a:lnTo>
                    <a:lnTo>
                      <a:pt x="492" y="56"/>
                    </a:lnTo>
                    <a:lnTo>
                      <a:pt x="493" y="56"/>
                    </a:lnTo>
                    <a:lnTo>
                      <a:pt x="495" y="56"/>
                    </a:lnTo>
                    <a:lnTo>
                      <a:pt x="496" y="57"/>
                    </a:lnTo>
                    <a:lnTo>
                      <a:pt x="497" y="58"/>
                    </a:lnTo>
                    <a:lnTo>
                      <a:pt x="497" y="60"/>
                    </a:lnTo>
                    <a:lnTo>
                      <a:pt x="497" y="64"/>
                    </a:lnTo>
                    <a:lnTo>
                      <a:pt x="497" y="65"/>
                    </a:lnTo>
                    <a:lnTo>
                      <a:pt x="497" y="66"/>
                    </a:lnTo>
                    <a:lnTo>
                      <a:pt x="496" y="67"/>
                    </a:lnTo>
                    <a:lnTo>
                      <a:pt x="496" y="68"/>
                    </a:lnTo>
                    <a:lnTo>
                      <a:pt x="495" y="70"/>
                    </a:lnTo>
                    <a:lnTo>
                      <a:pt x="493" y="73"/>
                    </a:lnTo>
                    <a:lnTo>
                      <a:pt x="492" y="76"/>
                    </a:lnTo>
                    <a:lnTo>
                      <a:pt x="491" y="78"/>
                    </a:lnTo>
                    <a:lnTo>
                      <a:pt x="490" y="81"/>
                    </a:lnTo>
                    <a:lnTo>
                      <a:pt x="489" y="84"/>
                    </a:lnTo>
                    <a:lnTo>
                      <a:pt x="488" y="86"/>
                    </a:lnTo>
                    <a:lnTo>
                      <a:pt x="487" y="87"/>
                    </a:lnTo>
                    <a:lnTo>
                      <a:pt x="483" y="87"/>
                    </a:lnTo>
                    <a:lnTo>
                      <a:pt x="480" y="86"/>
                    </a:lnTo>
                    <a:lnTo>
                      <a:pt x="477" y="86"/>
                    </a:lnTo>
                    <a:lnTo>
                      <a:pt x="476" y="86"/>
                    </a:lnTo>
                    <a:lnTo>
                      <a:pt x="475" y="86"/>
                    </a:lnTo>
                    <a:lnTo>
                      <a:pt x="474" y="86"/>
                    </a:lnTo>
                    <a:lnTo>
                      <a:pt x="474" y="87"/>
                    </a:lnTo>
                    <a:lnTo>
                      <a:pt x="474" y="96"/>
                    </a:lnTo>
                    <a:lnTo>
                      <a:pt x="474" y="97"/>
                    </a:lnTo>
                    <a:lnTo>
                      <a:pt x="475" y="99"/>
                    </a:lnTo>
                    <a:lnTo>
                      <a:pt x="475" y="100"/>
                    </a:lnTo>
                    <a:lnTo>
                      <a:pt x="475" y="101"/>
                    </a:lnTo>
                    <a:lnTo>
                      <a:pt x="475" y="102"/>
                    </a:lnTo>
                    <a:lnTo>
                      <a:pt x="476" y="102"/>
                    </a:lnTo>
                    <a:lnTo>
                      <a:pt x="476" y="103"/>
                    </a:lnTo>
                    <a:lnTo>
                      <a:pt x="476" y="104"/>
                    </a:lnTo>
                    <a:lnTo>
                      <a:pt x="476" y="105"/>
                    </a:lnTo>
                    <a:lnTo>
                      <a:pt x="477" y="106"/>
                    </a:lnTo>
                    <a:lnTo>
                      <a:pt x="476" y="106"/>
                    </a:lnTo>
                    <a:lnTo>
                      <a:pt x="471" y="107"/>
                    </a:lnTo>
                    <a:lnTo>
                      <a:pt x="470" y="107"/>
                    </a:lnTo>
                    <a:lnTo>
                      <a:pt x="451" y="108"/>
                    </a:lnTo>
                    <a:lnTo>
                      <a:pt x="446" y="109"/>
                    </a:lnTo>
                    <a:lnTo>
                      <a:pt x="437" y="109"/>
                    </a:lnTo>
                    <a:lnTo>
                      <a:pt x="430" y="110"/>
                    </a:lnTo>
                    <a:lnTo>
                      <a:pt x="404" y="113"/>
                    </a:lnTo>
                    <a:lnTo>
                      <a:pt x="380" y="115"/>
                    </a:lnTo>
                    <a:lnTo>
                      <a:pt x="379" y="115"/>
                    </a:lnTo>
                    <a:lnTo>
                      <a:pt x="373" y="115"/>
                    </a:lnTo>
                    <a:lnTo>
                      <a:pt x="371" y="115"/>
                    </a:lnTo>
                    <a:lnTo>
                      <a:pt x="349" y="117"/>
                    </a:lnTo>
                    <a:lnTo>
                      <a:pt x="347" y="117"/>
                    </a:lnTo>
                    <a:lnTo>
                      <a:pt x="344" y="117"/>
                    </a:lnTo>
                    <a:lnTo>
                      <a:pt x="335" y="118"/>
                    </a:lnTo>
                    <a:lnTo>
                      <a:pt x="334" y="118"/>
                    </a:lnTo>
                    <a:lnTo>
                      <a:pt x="331" y="118"/>
                    </a:lnTo>
                    <a:lnTo>
                      <a:pt x="327" y="118"/>
                    </a:lnTo>
                    <a:lnTo>
                      <a:pt x="323" y="119"/>
                    </a:lnTo>
                    <a:lnTo>
                      <a:pt x="322" y="119"/>
                    </a:lnTo>
                    <a:lnTo>
                      <a:pt x="321" y="119"/>
                    </a:lnTo>
                    <a:lnTo>
                      <a:pt x="320" y="119"/>
                    </a:lnTo>
                    <a:lnTo>
                      <a:pt x="315" y="119"/>
                    </a:lnTo>
                    <a:lnTo>
                      <a:pt x="314" y="119"/>
                    </a:lnTo>
                    <a:lnTo>
                      <a:pt x="295" y="121"/>
                    </a:lnTo>
                    <a:lnTo>
                      <a:pt x="254" y="125"/>
                    </a:lnTo>
                    <a:lnTo>
                      <a:pt x="251" y="125"/>
                    </a:lnTo>
                    <a:lnTo>
                      <a:pt x="250" y="126"/>
                    </a:lnTo>
                    <a:lnTo>
                      <a:pt x="245" y="131"/>
                    </a:lnTo>
                    <a:lnTo>
                      <a:pt x="243" y="135"/>
                    </a:lnTo>
                    <a:lnTo>
                      <a:pt x="234" y="146"/>
                    </a:lnTo>
                    <a:lnTo>
                      <a:pt x="232" y="148"/>
                    </a:lnTo>
                    <a:lnTo>
                      <a:pt x="231" y="150"/>
                    </a:lnTo>
                    <a:lnTo>
                      <a:pt x="231" y="151"/>
                    </a:lnTo>
                    <a:lnTo>
                      <a:pt x="230" y="152"/>
                    </a:lnTo>
                    <a:lnTo>
                      <a:pt x="229" y="153"/>
                    </a:lnTo>
                    <a:lnTo>
                      <a:pt x="228" y="155"/>
                    </a:lnTo>
                    <a:lnTo>
                      <a:pt x="226" y="157"/>
                    </a:lnTo>
                    <a:lnTo>
                      <a:pt x="221" y="164"/>
                    </a:lnTo>
                    <a:lnTo>
                      <a:pt x="219" y="166"/>
                    </a:lnTo>
                    <a:lnTo>
                      <a:pt x="213" y="174"/>
                    </a:lnTo>
                    <a:lnTo>
                      <a:pt x="212" y="176"/>
                    </a:lnTo>
                    <a:lnTo>
                      <a:pt x="209" y="179"/>
                    </a:lnTo>
                    <a:lnTo>
                      <a:pt x="201" y="191"/>
                    </a:lnTo>
                    <a:lnTo>
                      <a:pt x="198" y="195"/>
                    </a:lnTo>
                    <a:lnTo>
                      <a:pt x="174" y="216"/>
                    </a:lnTo>
                    <a:lnTo>
                      <a:pt x="153" y="233"/>
                    </a:lnTo>
                    <a:lnTo>
                      <a:pt x="142" y="242"/>
                    </a:lnTo>
                    <a:lnTo>
                      <a:pt x="118" y="262"/>
                    </a:lnTo>
                    <a:lnTo>
                      <a:pt x="114" y="267"/>
                    </a:lnTo>
                    <a:lnTo>
                      <a:pt x="111" y="270"/>
                    </a:lnTo>
                    <a:lnTo>
                      <a:pt x="110" y="271"/>
                    </a:lnTo>
                    <a:lnTo>
                      <a:pt x="109" y="270"/>
                    </a:lnTo>
                    <a:lnTo>
                      <a:pt x="109" y="269"/>
                    </a:lnTo>
                    <a:lnTo>
                      <a:pt x="110" y="269"/>
                    </a:lnTo>
                    <a:lnTo>
                      <a:pt x="110" y="268"/>
                    </a:lnTo>
                    <a:lnTo>
                      <a:pt x="109" y="268"/>
                    </a:lnTo>
                    <a:lnTo>
                      <a:pt x="108" y="268"/>
                    </a:lnTo>
                    <a:lnTo>
                      <a:pt x="107" y="267"/>
                    </a:lnTo>
                    <a:lnTo>
                      <a:pt x="107" y="264"/>
                    </a:lnTo>
                    <a:lnTo>
                      <a:pt x="104" y="264"/>
                    </a:lnTo>
                    <a:lnTo>
                      <a:pt x="104" y="266"/>
                    </a:lnTo>
                    <a:lnTo>
                      <a:pt x="103" y="266"/>
                    </a:lnTo>
                    <a:lnTo>
                      <a:pt x="102" y="266"/>
                    </a:lnTo>
                    <a:lnTo>
                      <a:pt x="99" y="264"/>
                    </a:lnTo>
                    <a:lnTo>
                      <a:pt x="96" y="264"/>
                    </a:lnTo>
                    <a:lnTo>
                      <a:pt x="95" y="262"/>
                    </a:lnTo>
                    <a:lnTo>
                      <a:pt x="94" y="259"/>
                    </a:lnTo>
                    <a:lnTo>
                      <a:pt x="95" y="258"/>
                    </a:lnTo>
                    <a:lnTo>
                      <a:pt x="96" y="257"/>
                    </a:lnTo>
                    <a:lnTo>
                      <a:pt x="97" y="257"/>
                    </a:lnTo>
                    <a:lnTo>
                      <a:pt x="99" y="256"/>
                    </a:lnTo>
                    <a:lnTo>
                      <a:pt x="99" y="255"/>
                    </a:lnTo>
                    <a:lnTo>
                      <a:pt x="100" y="255"/>
                    </a:lnTo>
                    <a:lnTo>
                      <a:pt x="101" y="255"/>
                    </a:lnTo>
                    <a:lnTo>
                      <a:pt x="101" y="254"/>
                    </a:lnTo>
                    <a:lnTo>
                      <a:pt x="100" y="253"/>
                    </a:lnTo>
                    <a:lnTo>
                      <a:pt x="101" y="251"/>
                    </a:lnTo>
                    <a:lnTo>
                      <a:pt x="101" y="250"/>
                    </a:lnTo>
                    <a:lnTo>
                      <a:pt x="101" y="249"/>
                    </a:lnTo>
                    <a:lnTo>
                      <a:pt x="102" y="248"/>
                    </a:lnTo>
                    <a:lnTo>
                      <a:pt x="103" y="247"/>
                    </a:lnTo>
                    <a:lnTo>
                      <a:pt x="104" y="247"/>
                    </a:lnTo>
                    <a:lnTo>
                      <a:pt x="105" y="246"/>
                    </a:lnTo>
                    <a:lnTo>
                      <a:pt x="107" y="245"/>
                    </a:lnTo>
                    <a:lnTo>
                      <a:pt x="108" y="244"/>
                    </a:lnTo>
                    <a:lnTo>
                      <a:pt x="108" y="243"/>
                    </a:lnTo>
                    <a:lnTo>
                      <a:pt x="109" y="242"/>
                    </a:lnTo>
                    <a:lnTo>
                      <a:pt x="110" y="241"/>
                    </a:lnTo>
                    <a:lnTo>
                      <a:pt x="110" y="240"/>
                    </a:lnTo>
                    <a:lnTo>
                      <a:pt x="111" y="240"/>
                    </a:lnTo>
                    <a:lnTo>
                      <a:pt x="111" y="238"/>
                    </a:lnTo>
                    <a:lnTo>
                      <a:pt x="110" y="237"/>
                    </a:lnTo>
                    <a:lnTo>
                      <a:pt x="111" y="237"/>
                    </a:lnTo>
                    <a:lnTo>
                      <a:pt x="111" y="236"/>
                    </a:lnTo>
                    <a:lnTo>
                      <a:pt x="111" y="235"/>
                    </a:lnTo>
                    <a:lnTo>
                      <a:pt x="111" y="234"/>
                    </a:lnTo>
                    <a:lnTo>
                      <a:pt x="111" y="233"/>
                    </a:lnTo>
                    <a:lnTo>
                      <a:pt x="112" y="233"/>
                    </a:lnTo>
                    <a:lnTo>
                      <a:pt x="112" y="232"/>
                    </a:lnTo>
                    <a:lnTo>
                      <a:pt x="111" y="232"/>
                    </a:lnTo>
                    <a:lnTo>
                      <a:pt x="112" y="231"/>
                    </a:lnTo>
                    <a:lnTo>
                      <a:pt x="112" y="232"/>
                    </a:lnTo>
                    <a:lnTo>
                      <a:pt x="112" y="233"/>
                    </a:lnTo>
                    <a:lnTo>
                      <a:pt x="113" y="233"/>
                    </a:lnTo>
                    <a:lnTo>
                      <a:pt x="112" y="234"/>
                    </a:lnTo>
                    <a:lnTo>
                      <a:pt x="113" y="235"/>
                    </a:lnTo>
                    <a:lnTo>
                      <a:pt x="112" y="235"/>
                    </a:lnTo>
                    <a:lnTo>
                      <a:pt x="112" y="236"/>
                    </a:lnTo>
                    <a:lnTo>
                      <a:pt x="112" y="237"/>
                    </a:lnTo>
                    <a:lnTo>
                      <a:pt x="113" y="237"/>
                    </a:lnTo>
                    <a:lnTo>
                      <a:pt x="113" y="238"/>
                    </a:lnTo>
                    <a:lnTo>
                      <a:pt x="113" y="240"/>
                    </a:lnTo>
                    <a:lnTo>
                      <a:pt x="114" y="240"/>
                    </a:lnTo>
                    <a:lnTo>
                      <a:pt x="114" y="241"/>
                    </a:lnTo>
                    <a:lnTo>
                      <a:pt x="114" y="242"/>
                    </a:lnTo>
                    <a:lnTo>
                      <a:pt x="115" y="242"/>
                    </a:lnTo>
                    <a:lnTo>
                      <a:pt x="116" y="243"/>
                    </a:lnTo>
                    <a:lnTo>
                      <a:pt x="117" y="243"/>
                    </a:lnTo>
                    <a:lnTo>
                      <a:pt x="118" y="243"/>
                    </a:lnTo>
                    <a:lnTo>
                      <a:pt x="118" y="245"/>
                    </a:lnTo>
                    <a:lnTo>
                      <a:pt x="118" y="246"/>
                    </a:lnTo>
                    <a:lnTo>
                      <a:pt x="120" y="246"/>
                    </a:lnTo>
                    <a:lnTo>
                      <a:pt x="120" y="247"/>
                    </a:lnTo>
                    <a:lnTo>
                      <a:pt x="121" y="247"/>
                    </a:lnTo>
                    <a:lnTo>
                      <a:pt x="121" y="246"/>
                    </a:lnTo>
                    <a:lnTo>
                      <a:pt x="121" y="245"/>
                    </a:lnTo>
                    <a:lnTo>
                      <a:pt x="122" y="245"/>
                    </a:lnTo>
                    <a:lnTo>
                      <a:pt x="123" y="244"/>
                    </a:lnTo>
                    <a:lnTo>
                      <a:pt x="124" y="244"/>
                    </a:lnTo>
                    <a:lnTo>
                      <a:pt x="124" y="243"/>
                    </a:lnTo>
                    <a:lnTo>
                      <a:pt x="125" y="243"/>
                    </a:lnTo>
                    <a:lnTo>
                      <a:pt x="125" y="244"/>
                    </a:lnTo>
                    <a:lnTo>
                      <a:pt x="126" y="244"/>
                    </a:lnTo>
                    <a:lnTo>
                      <a:pt x="127" y="244"/>
                    </a:lnTo>
                    <a:lnTo>
                      <a:pt x="126" y="244"/>
                    </a:lnTo>
                    <a:lnTo>
                      <a:pt x="126" y="243"/>
                    </a:lnTo>
                    <a:lnTo>
                      <a:pt x="127" y="243"/>
                    </a:lnTo>
                    <a:lnTo>
                      <a:pt x="127" y="242"/>
                    </a:lnTo>
                    <a:lnTo>
                      <a:pt x="128" y="242"/>
                    </a:lnTo>
                    <a:lnTo>
                      <a:pt x="127" y="242"/>
                    </a:lnTo>
                    <a:lnTo>
                      <a:pt x="127" y="241"/>
                    </a:lnTo>
                    <a:lnTo>
                      <a:pt x="127" y="240"/>
                    </a:lnTo>
                    <a:lnTo>
                      <a:pt x="128" y="240"/>
                    </a:lnTo>
                    <a:lnTo>
                      <a:pt x="127" y="240"/>
                    </a:lnTo>
                    <a:lnTo>
                      <a:pt x="127" y="238"/>
                    </a:lnTo>
                    <a:lnTo>
                      <a:pt x="127" y="237"/>
                    </a:lnTo>
                    <a:lnTo>
                      <a:pt x="128" y="237"/>
                    </a:lnTo>
                    <a:lnTo>
                      <a:pt x="128" y="236"/>
                    </a:lnTo>
                    <a:lnTo>
                      <a:pt x="129" y="236"/>
                    </a:lnTo>
                    <a:lnTo>
                      <a:pt x="128" y="236"/>
                    </a:lnTo>
                    <a:lnTo>
                      <a:pt x="128" y="235"/>
                    </a:lnTo>
                    <a:lnTo>
                      <a:pt x="128" y="234"/>
                    </a:lnTo>
                    <a:lnTo>
                      <a:pt x="128" y="233"/>
                    </a:lnTo>
                    <a:lnTo>
                      <a:pt x="129" y="233"/>
                    </a:lnTo>
                    <a:lnTo>
                      <a:pt x="129" y="232"/>
                    </a:lnTo>
                    <a:lnTo>
                      <a:pt x="129" y="231"/>
                    </a:lnTo>
                    <a:lnTo>
                      <a:pt x="129" y="230"/>
                    </a:lnTo>
                    <a:lnTo>
                      <a:pt x="129" y="229"/>
                    </a:lnTo>
                    <a:lnTo>
                      <a:pt x="129" y="228"/>
                    </a:lnTo>
                    <a:lnTo>
                      <a:pt x="129" y="226"/>
                    </a:lnTo>
                    <a:lnTo>
                      <a:pt x="129" y="224"/>
                    </a:lnTo>
                    <a:lnTo>
                      <a:pt x="127" y="223"/>
                    </a:lnTo>
                    <a:lnTo>
                      <a:pt x="127" y="222"/>
                    </a:lnTo>
                    <a:lnTo>
                      <a:pt x="127" y="221"/>
                    </a:lnTo>
                    <a:lnTo>
                      <a:pt x="127" y="220"/>
                    </a:lnTo>
                    <a:lnTo>
                      <a:pt x="127" y="219"/>
                    </a:lnTo>
                    <a:lnTo>
                      <a:pt x="127" y="218"/>
                    </a:lnTo>
                    <a:lnTo>
                      <a:pt x="127" y="217"/>
                    </a:lnTo>
                    <a:lnTo>
                      <a:pt x="126" y="216"/>
                    </a:lnTo>
                    <a:lnTo>
                      <a:pt x="125" y="213"/>
                    </a:lnTo>
                    <a:lnTo>
                      <a:pt x="124" y="212"/>
                    </a:lnTo>
                    <a:lnTo>
                      <a:pt x="124" y="211"/>
                    </a:lnTo>
                    <a:lnTo>
                      <a:pt x="125" y="211"/>
                    </a:lnTo>
                    <a:lnTo>
                      <a:pt x="125" y="210"/>
                    </a:lnTo>
                    <a:lnTo>
                      <a:pt x="125" y="209"/>
                    </a:lnTo>
                    <a:lnTo>
                      <a:pt x="125" y="207"/>
                    </a:lnTo>
                    <a:lnTo>
                      <a:pt x="126" y="207"/>
                    </a:lnTo>
                    <a:lnTo>
                      <a:pt x="126" y="206"/>
                    </a:lnTo>
                    <a:lnTo>
                      <a:pt x="125" y="206"/>
                    </a:lnTo>
                    <a:lnTo>
                      <a:pt x="124" y="207"/>
                    </a:lnTo>
                    <a:lnTo>
                      <a:pt x="122" y="207"/>
                    </a:lnTo>
                    <a:lnTo>
                      <a:pt x="121" y="208"/>
                    </a:lnTo>
                    <a:lnTo>
                      <a:pt x="120" y="208"/>
                    </a:lnTo>
                    <a:lnTo>
                      <a:pt x="118" y="208"/>
                    </a:lnTo>
                    <a:lnTo>
                      <a:pt x="117" y="208"/>
                    </a:lnTo>
                    <a:lnTo>
                      <a:pt x="117" y="207"/>
                    </a:lnTo>
                    <a:lnTo>
                      <a:pt x="116" y="207"/>
                    </a:lnTo>
                    <a:lnTo>
                      <a:pt x="115" y="207"/>
                    </a:lnTo>
                    <a:lnTo>
                      <a:pt x="114" y="207"/>
                    </a:lnTo>
                    <a:lnTo>
                      <a:pt x="113" y="207"/>
                    </a:lnTo>
                    <a:lnTo>
                      <a:pt x="112" y="207"/>
                    </a:lnTo>
                    <a:lnTo>
                      <a:pt x="111" y="208"/>
                    </a:lnTo>
                    <a:lnTo>
                      <a:pt x="110" y="208"/>
                    </a:lnTo>
                    <a:lnTo>
                      <a:pt x="109" y="209"/>
                    </a:lnTo>
                    <a:lnTo>
                      <a:pt x="108" y="209"/>
                    </a:lnTo>
                    <a:lnTo>
                      <a:pt x="107" y="209"/>
                    </a:lnTo>
                    <a:lnTo>
                      <a:pt x="105" y="209"/>
                    </a:lnTo>
                    <a:lnTo>
                      <a:pt x="104" y="209"/>
                    </a:lnTo>
                    <a:lnTo>
                      <a:pt x="103" y="208"/>
                    </a:lnTo>
                    <a:lnTo>
                      <a:pt x="102" y="208"/>
                    </a:lnTo>
                    <a:lnTo>
                      <a:pt x="102" y="207"/>
                    </a:lnTo>
                    <a:lnTo>
                      <a:pt x="101" y="207"/>
                    </a:lnTo>
                    <a:lnTo>
                      <a:pt x="100" y="207"/>
                    </a:lnTo>
                    <a:lnTo>
                      <a:pt x="100" y="206"/>
                    </a:lnTo>
                    <a:lnTo>
                      <a:pt x="99" y="206"/>
                    </a:lnTo>
                    <a:lnTo>
                      <a:pt x="98" y="205"/>
                    </a:lnTo>
                    <a:lnTo>
                      <a:pt x="97" y="205"/>
                    </a:lnTo>
                    <a:lnTo>
                      <a:pt x="96" y="204"/>
                    </a:lnTo>
                    <a:lnTo>
                      <a:pt x="95" y="204"/>
                    </a:lnTo>
                    <a:lnTo>
                      <a:pt x="95" y="203"/>
                    </a:lnTo>
                    <a:lnTo>
                      <a:pt x="92" y="203"/>
                    </a:lnTo>
                    <a:lnTo>
                      <a:pt x="91" y="203"/>
                    </a:lnTo>
                    <a:lnTo>
                      <a:pt x="90" y="202"/>
                    </a:lnTo>
                    <a:lnTo>
                      <a:pt x="89" y="202"/>
                    </a:lnTo>
                    <a:lnTo>
                      <a:pt x="88" y="202"/>
                    </a:lnTo>
                    <a:lnTo>
                      <a:pt x="86" y="203"/>
                    </a:lnTo>
                    <a:lnTo>
                      <a:pt x="85" y="203"/>
                    </a:lnTo>
                    <a:lnTo>
                      <a:pt x="84" y="203"/>
                    </a:lnTo>
                    <a:lnTo>
                      <a:pt x="82" y="204"/>
                    </a:lnTo>
                    <a:lnTo>
                      <a:pt x="79" y="205"/>
                    </a:lnTo>
                    <a:lnTo>
                      <a:pt x="77" y="205"/>
                    </a:lnTo>
                    <a:lnTo>
                      <a:pt x="76" y="206"/>
                    </a:lnTo>
                    <a:lnTo>
                      <a:pt x="77" y="206"/>
                    </a:lnTo>
                    <a:lnTo>
                      <a:pt x="76" y="207"/>
                    </a:lnTo>
                    <a:lnTo>
                      <a:pt x="76" y="208"/>
                    </a:lnTo>
                    <a:lnTo>
                      <a:pt x="76" y="209"/>
                    </a:lnTo>
                    <a:lnTo>
                      <a:pt x="76" y="210"/>
                    </a:lnTo>
                    <a:lnTo>
                      <a:pt x="75" y="210"/>
                    </a:lnTo>
                    <a:lnTo>
                      <a:pt x="74" y="212"/>
                    </a:lnTo>
                    <a:lnTo>
                      <a:pt x="73" y="213"/>
                    </a:lnTo>
                    <a:lnTo>
                      <a:pt x="72" y="215"/>
                    </a:lnTo>
                    <a:lnTo>
                      <a:pt x="71" y="213"/>
                    </a:lnTo>
                    <a:lnTo>
                      <a:pt x="71" y="212"/>
                    </a:lnTo>
                    <a:lnTo>
                      <a:pt x="70" y="212"/>
                    </a:lnTo>
                    <a:lnTo>
                      <a:pt x="67" y="212"/>
                    </a:lnTo>
                    <a:lnTo>
                      <a:pt x="66" y="212"/>
                    </a:lnTo>
                    <a:lnTo>
                      <a:pt x="65" y="212"/>
                    </a:lnTo>
                    <a:lnTo>
                      <a:pt x="64" y="212"/>
                    </a:lnTo>
                    <a:lnTo>
                      <a:pt x="63" y="212"/>
                    </a:lnTo>
                    <a:lnTo>
                      <a:pt x="62" y="212"/>
                    </a:lnTo>
                    <a:lnTo>
                      <a:pt x="62" y="213"/>
                    </a:lnTo>
                    <a:lnTo>
                      <a:pt x="62" y="215"/>
                    </a:lnTo>
                    <a:lnTo>
                      <a:pt x="61" y="215"/>
                    </a:lnTo>
                    <a:lnTo>
                      <a:pt x="60" y="215"/>
                    </a:lnTo>
                    <a:lnTo>
                      <a:pt x="59" y="216"/>
                    </a:lnTo>
                    <a:lnTo>
                      <a:pt x="58" y="216"/>
                    </a:lnTo>
                    <a:lnTo>
                      <a:pt x="58" y="215"/>
                    </a:lnTo>
                    <a:lnTo>
                      <a:pt x="57" y="215"/>
                    </a:lnTo>
                    <a:lnTo>
                      <a:pt x="56" y="215"/>
                    </a:lnTo>
                    <a:lnTo>
                      <a:pt x="53" y="212"/>
                    </a:lnTo>
                    <a:lnTo>
                      <a:pt x="52" y="211"/>
                    </a:lnTo>
                    <a:lnTo>
                      <a:pt x="50" y="210"/>
                    </a:lnTo>
                    <a:lnTo>
                      <a:pt x="47" y="210"/>
                    </a:lnTo>
                    <a:lnTo>
                      <a:pt x="45" y="209"/>
                    </a:lnTo>
                    <a:lnTo>
                      <a:pt x="44" y="209"/>
                    </a:lnTo>
                    <a:lnTo>
                      <a:pt x="44" y="208"/>
                    </a:lnTo>
                    <a:lnTo>
                      <a:pt x="43" y="207"/>
                    </a:lnTo>
                    <a:lnTo>
                      <a:pt x="41" y="206"/>
                    </a:lnTo>
                    <a:lnTo>
                      <a:pt x="40" y="205"/>
                    </a:lnTo>
                    <a:lnTo>
                      <a:pt x="41" y="203"/>
                    </a:lnTo>
                    <a:lnTo>
                      <a:pt x="39" y="203"/>
                    </a:lnTo>
                    <a:lnTo>
                      <a:pt x="38" y="204"/>
                    </a:lnTo>
                    <a:lnTo>
                      <a:pt x="37" y="204"/>
                    </a:lnTo>
                    <a:lnTo>
                      <a:pt x="37" y="202"/>
                    </a:lnTo>
                    <a:lnTo>
                      <a:pt x="30" y="132"/>
                    </a:lnTo>
                    <a:lnTo>
                      <a:pt x="28" y="123"/>
                    </a:lnTo>
                    <a:lnTo>
                      <a:pt x="28" y="121"/>
                    </a:lnTo>
                    <a:lnTo>
                      <a:pt x="27" y="117"/>
                    </a:lnTo>
                    <a:lnTo>
                      <a:pt x="27" y="116"/>
                    </a:lnTo>
                    <a:lnTo>
                      <a:pt x="26" y="107"/>
                    </a:lnTo>
                    <a:lnTo>
                      <a:pt x="25" y="107"/>
                    </a:lnTo>
                    <a:lnTo>
                      <a:pt x="25" y="106"/>
                    </a:lnTo>
                    <a:lnTo>
                      <a:pt x="25" y="105"/>
                    </a:lnTo>
                    <a:lnTo>
                      <a:pt x="24" y="104"/>
                    </a:lnTo>
                    <a:lnTo>
                      <a:pt x="24" y="101"/>
                    </a:lnTo>
                    <a:lnTo>
                      <a:pt x="24" y="97"/>
                    </a:lnTo>
                    <a:lnTo>
                      <a:pt x="24" y="96"/>
                    </a:lnTo>
                    <a:lnTo>
                      <a:pt x="25" y="96"/>
                    </a:lnTo>
                    <a:lnTo>
                      <a:pt x="25" y="95"/>
                    </a:lnTo>
                    <a:lnTo>
                      <a:pt x="26" y="94"/>
                    </a:lnTo>
                    <a:lnTo>
                      <a:pt x="27" y="94"/>
                    </a:lnTo>
                    <a:lnTo>
                      <a:pt x="28" y="93"/>
                    </a:lnTo>
                    <a:lnTo>
                      <a:pt x="30" y="93"/>
                    </a:lnTo>
                    <a:lnTo>
                      <a:pt x="32" y="93"/>
                    </a:lnTo>
                    <a:lnTo>
                      <a:pt x="37" y="75"/>
                    </a:lnTo>
                    <a:lnTo>
                      <a:pt x="40" y="65"/>
                    </a:lnTo>
                    <a:lnTo>
                      <a:pt x="41" y="62"/>
                    </a:lnTo>
                    <a:lnTo>
                      <a:pt x="43" y="61"/>
                    </a:lnTo>
                    <a:lnTo>
                      <a:pt x="43" y="60"/>
                    </a:lnTo>
                    <a:lnTo>
                      <a:pt x="44" y="57"/>
                    </a:lnTo>
                    <a:lnTo>
                      <a:pt x="47" y="45"/>
                    </a:lnTo>
                    <a:lnTo>
                      <a:pt x="50" y="35"/>
                    </a:lnTo>
                    <a:lnTo>
                      <a:pt x="52" y="35"/>
                    </a:lnTo>
                    <a:lnTo>
                      <a:pt x="58" y="35"/>
                    </a:lnTo>
                    <a:lnTo>
                      <a:pt x="67" y="35"/>
                    </a:lnTo>
                    <a:lnTo>
                      <a:pt x="77" y="35"/>
                    </a:lnTo>
                    <a:lnTo>
                      <a:pt x="84" y="45"/>
                    </a:lnTo>
                    <a:lnTo>
                      <a:pt x="96" y="39"/>
                    </a:lnTo>
                    <a:lnTo>
                      <a:pt x="97" y="39"/>
                    </a:lnTo>
                    <a:lnTo>
                      <a:pt x="131" y="55"/>
                    </a:lnTo>
                    <a:lnTo>
                      <a:pt x="134" y="53"/>
                    </a:lnTo>
                    <a:lnTo>
                      <a:pt x="135" y="51"/>
                    </a:lnTo>
                    <a:lnTo>
                      <a:pt x="143" y="39"/>
                    </a:lnTo>
                    <a:lnTo>
                      <a:pt x="142" y="37"/>
                    </a:lnTo>
                    <a:lnTo>
                      <a:pt x="147" y="33"/>
                    </a:lnTo>
                    <a:lnTo>
                      <a:pt x="147" y="32"/>
                    </a:lnTo>
                    <a:lnTo>
                      <a:pt x="148" y="32"/>
                    </a:lnTo>
                    <a:lnTo>
                      <a:pt x="149" y="31"/>
                    </a:lnTo>
                    <a:lnTo>
                      <a:pt x="150" y="30"/>
                    </a:lnTo>
                    <a:lnTo>
                      <a:pt x="152" y="29"/>
                    </a:lnTo>
                    <a:lnTo>
                      <a:pt x="153" y="27"/>
                    </a:lnTo>
                    <a:lnTo>
                      <a:pt x="154" y="27"/>
                    </a:lnTo>
                    <a:lnTo>
                      <a:pt x="155" y="26"/>
                    </a:lnTo>
                    <a:lnTo>
                      <a:pt x="156" y="25"/>
                    </a:lnTo>
                    <a:lnTo>
                      <a:pt x="159" y="24"/>
                    </a:lnTo>
                    <a:lnTo>
                      <a:pt x="160" y="23"/>
                    </a:lnTo>
                    <a:lnTo>
                      <a:pt x="161" y="23"/>
                    </a:lnTo>
                    <a:lnTo>
                      <a:pt x="167" y="22"/>
                    </a:lnTo>
                    <a:lnTo>
                      <a:pt x="166" y="20"/>
                    </a:lnTo>
                    <a:lnTo>
                      <a:pt x="166" y="19"/>
                    </a:lnTo>
                    <a:lnTo>
                      <a:pt x="165" y="17"/>
                    </a:lnTo>
                    <a:lnTo>
                      <a:pt x="162" y="18"/>
                    </a:lnTo>
                    <a:lnTo>
                      <a:pt x="164" y="10"/>
                    </a:lnTo>
                    <a:lnTo>
                      <a:pt x="165" y="10"/>
                    </a:lnTo>
                    <a:lnTo>
                      <a:pt x="166" y="9"/>
                    </a:lnTo>
                    <a:lnTo>
                      <a:pt x="167" y="9"/>
                    </a:lnTo>
                    <a:lnTo>
                      <a:pt x="168" y="9"/>
                    </a:lnTo>
                    <a:lnTo>
                      <a:pt x="169" y="9"/>
                    </a:lnTo>
                    <a:lnTo>
                      <a:pt x="170" y="7"/>
                    </a:lnTo>
                    <a:lnTo>
                      <a:pt x="172" y="6"/>
                    </a:lnTo>
                    <a:lnTo>
                      <a:pt x="174" y="5"/>
                    </a:lnTo>
                    <a:lnTo>
                      <a:pt x="175" y="3"/>
                    </a:lnTo>
                    <a:lnTo>
                      <a:pt x="176" y="3"/>
                    </a:lnTo>
                    <a:lnTo>
                      <a:pt x="178" y="2"/>
                    </a:lnTo>
                    <a:lnTo>
                      <a:pt x="180" y="2"/>
                    </a:lnTo>
                    <a:lnTo>
                      <a:pt x="181" y="2"/>
                    </a:lnTo>
                    <a:lnTo>
                      <a:pt x="182" y="2"/>
                    </a:lnTo>
                    <a:lnTo>
                      <a:pt x="183" y="1"/>
                    </a:lnTo>
                    <a:lnTo>
                      <a:pt x="185" y="0"/>
                    </a:lnTo>
                    <a:lnTo>
                      <a:pt x="186" y="0"/>
                    </a:lnTo>
                    <a:lnTo>
                      <a:pt x="187" y="0"/>
                    </a:lnTo>
                    <a:lnTo>
                      <a:pt x="188" y="0"/>
                    </a:lnTo>
                    <a:lnTo>
                      <a:pt x="189" y="0"/>
                    </a:lnTo>
                    <a:lnTo>
                      <a:pt x="190" y="1"/>
                    </a:lnTo>
                    <a:lnTo>
                      <a:pt x="191" y="1"/>
                    </a:lnTo>
                    <a:lnTo>
                      <a:pt x="192" y="1"/>
                    </a:lnTo>
                    <a:lnTo>
                      <a:pt x="192" y="2"/>
                    </a:lnTo>
                    <a:lnTo>
                      <a:pt x="193" y="2"/>
                    </a:lnTo>
                    <a:lnTo>
                      <a:pt x="195" y="3"/>
                    </a:lnTo>
                    <a:lnTo>
                      <a:pt x="196" y="3"/>
                    </a:lnTo>
                    <a:lnTo>
                      <a:pt x="198" y="3"/>
                    </a:lnTo>
                    <a:lnTo>
                      <a:pt x="199" y="3"/>
                    </a:lnTo>
                    <a:lnTo>
                      <a:pt x="200" y="3"/>
                    </a:lnTo>
                    <a:lnTo>
                      <a:pt x="200" y="2"/>
                    </a:lnTo>
                    <a:lnTo>
                      <a:pt x="201" y="2"/>
                    </a:lnTo>
                    <a:lnTo>
                      <a:pt x="201" y="1"/>
                    </a:lnTo>
                    <a:lnTo>
                      <a:pt x="202" y="1"/>
                    </a:lnTo>
                    <a:lnTo>
                      <a:pt x="203" y="0"/>
                    </a:lnTo>
                    <a:lnTo>
                      <a:pt x="203" y="1"/>
                    </a:lnTo>
                    <a:lnTo>
                      <a:pt x="204" y="1"/>
                    </a:lnTo>
                    <a:lnTo>
                      <a:pt x="205" y="1"/>
                    </a:lnTo>
                    <a:lnTo>
                      <a:pt x="206" y="2"/>
                    </a:lnTo>
                    <a:lnTo>
                      <a:pt x="206" y="3"/>
                    </a:lnTo>
                    <a:lnTo>
                      <a:pt x="206" y="4"/>
                    </a:lnTo>
                    <a:lnTo>
                      <a:pt x="207" y="5"/>
                    </a:lnTo>
                    <a:lnTo>
                      <a:pt x="208" y="5"/>
                    </a:lnTo>
                    <a:lnTo>
                      <a:pt x="211" y="5"/>
                    </a:lnTo>
                    <a:lnTo>
                      <a:pt x="212" y="6"/>
                    </a:lnTo>
                    <a:lnTo>
                      <a:pt x="213" y="6"/>
                    </a:lnTo>
                    <a:lnTo>
                      <a:pt x="213" y="9"/>
                    </a:lnTo>
                    <a:lnTo>
                      <a:pt x="214" y="9"/>
                    </a:lnTo>
                    <a:lnTo>
                      <a:pt x="214" y="10"/>
                    </a:lnTo>
                    <a:lnTo>
                      <a:pt x="215" y="11"/>
                    </a:lnTo>
                    <a:lnTo>
                      <a:pt x="216" y="11"/>
                    </a:lnTo>
                    <a:lnTo>
                      <a:pt x="216" y="12"/>
                    </a:lnTo>
                    <a:lnTo>
                      <a:pt x="217" y="12"/>
                    </a:lnTo>
                    <a:lnTo>
                      <a:pt x="218" y="12"/>
                    </a:lnTo>
                    <a:lnTo>
                      <a:pt x="218" y="11"/>
                    </a:lnTo>
                    <a:lnTo>
                      <a:pt x="219" y="11"/>
                    </a:lnTo>
                    <a:lnTo>
                      <a:pt x="219" y="10"/>
                    </a:lnTo>
                    <a:lnTo>
                      <a:pt x="219" y="9"/>
                    </a:lnTo>
                    <a:lnTo>
                      <a:pt x="219" y="7"/>
                    </a:lnTo>
                    <a:lnTo>
                      <a:pt x="220" y="7"/>
                    </a:lnTo>
                    <a:lnTo>
                      <a:pt x="221" y="7"/>
                    </a:lnTo>
                    <a:lnTo>
                      <a:pt x="221" y="6"/>
                    </a:lnTo>
                    <a:lnTo>
                      <a:pt x="223" y="6"/>
                    </a:lnTo>
                    <a:lnTo>
                      <a:pt x="224" y="6"/>
                    </a:lnTo>
                    <a:lnTo>
                      <a:pt x="224" y="7"/>
                    </a:lnTo>
                    <a:lnTo>
                      <a:pt x="225" y="7"/>
                    </a:lnTo>
                    <a:lnTo>
                      <a:pt x="225" y="9"/>
                    </a:lnTo>
                    <a:lnTo>
                      <a:pt x="226" y="9"/>
                    </a:lnTo>
                    <a:lnTo>
                      <a:pt x="227" y="9"/>
                    </a:lnTo>
                    <a:lnTo>
                      <a:pt x="228" y="9"/>
                    </a:lnTo>
                    <a:lnTo>
                      <a:pt x="229" y="10"/>
                    </a:lnTo>
                    <a:lnTo>
                      <a:pt x="230" y="11"/>
                    </a:lnTo>
                    <a:lnTo>
                      <a:pt x="230" y="12"/>
                    </a:lnTo>
                    <a:lnTo>
                      <a:pt x="231" y="13"/>
                    </a:lnTo>
                    <a:lnTo>
                      <a:pt x="231" y="14"/>
                    </a:lnTo>
                    <a:lnTo>
                      <a:pt x="232" y="16"/>
                    </a:lnTo>
                    <a:lnTo>
                      <a:pt x="233" y="17"/>
                    </a:lnTo>
                    <a:lnTo>
                      <a:pt x="236" y="19"/>
                    </a:lnTo>
                    <a:lnTo>
                      <a:pt x="238" y="24"/>
                    </a:lnTo>
                    <a:lnTo>
                      <a:pt x="240" y="27"/>
                    </a:lnTo>
                    <a:lnTo>
                      <a:pt x="241" y="29"/>
                    </a:lnTo>
                    <a:lnTo>
                      <a:pt x="246" y="36"/>
                    </a:lnTo>
                    <a:lnTo>
                      <a:pt x="249" y="36"/>
                    </a:lnTo>
                    <a:lnTo>
                      <a:pt x="253" y="37"/>
                    </a:lnTo>
                    <a:lnTo>
                      <a:pt x="255" y="38"/>
                    </a:lnTo>
                    <a:lnTo>
                      <a:pt x="256" y="38"/>
                    </a:lnTo>
                    <a:lnTo>
                      <a:pt x="258" y="38"/>
                    </a:lnTo>
                    <a:lnTo>
                      <a:pt x="259" y="41"/>
                    </a:lnTo>
                    <a:lnTo>
                      <a:pt x="260" y="43"/>
                    </a:lnTo>
                    <a:lnTo>
                      <a:pt x="262" y="45"/>
                    </a:lnTo>
                    <a:lnTo>
                      <a:pt x="262" y="48"/>
                    </a:lnTo>
                    <a:lnTo>
                      <a:pt x="262" y="50"/>
                    </a:lnTo>
                    <a:lnTo>
                      <a:pt x="260" y="53"/>
                    </a:lnTo>
                    <a:lnTo>
                      <a:pt x="262" y="55"/>
                    </a:lnTo>
                    <a:lnTo>
                      <a:pt x="262" y="56"/>
                    </a:lnTo>
                    <a:lnTo>
                      <a:pt x="264" y="58"/>
                    </a:lnTo>
                    <a:lnTo>
                      <a:pt x="265" y="61"/>
                    </a:lnTo>
                    <a:lnTo>
                      <a:pt x="265" y="62"/>
                    </a:lnTo>
                    <a:lnTo>
                      <a:pt x="265" y="63"/>
                    </a:lnTo>
                    <a:lnTo>
                      <a:pt x="283" y="63"/>
                    </a:lnTo>
                    <a:lnTo>
                      <a:pt x="284" y="63"/>
                    </a:lnTo>
                    <a:lnTo>
                      <a:pt x="299" y="63"/>
                    </a:lnTo>
                    <a:lnTo>
                      <a:pt x="302" y="63"/>
                    </a:lnTo>
                    <a:lnTo>
                      <a:pt x="322" y="63"/>
                    </a:lnTo>
                    <a:lnTo>
                      <a:pt x="322" y="62"/>
                    </a:lnTo>
                    <a:lnTo>
                      <a:pt x="322" y="61"/>
                    </a:lnTo>
                    <a:lnTo>
                      <a:pt x="322" y="60"/>
                    </a:lnTo>
                    <a:lnTo>
                      <a:pt x="322" y="58"/>
                    </a:lnTo>
                    <a:lnTo>
                      <a:pt x="323" y="58"/>
                    </a:lnTo>
                    <a:lnTo>
                      <a:pt x="324" y="57"/>
                    </a:lnTo>
                    <a:lnTo>
                      <a:pt x="325" y="57"/>
                    </a:lnTo>
                    <a:lnTo>
                      <a:pt x="327" y="57"/>
                    </a:lnTo>
                    <a:lnTo>
                      <a:pt x="328" y="57"/>
                    </a:lnTo>
                    <a:lnTo>
                      <a:pt x="329" y="57"/>
                    </a:lnTo>
                    <a:lnTo>
                      <a:pt x="330" y="57"/>
                    </a:lnTo>
                    <a:lnTo>
                      <a:pt x="330" y="56"/>
                    </a:lnTo>
                    <a:lnTo>
                      <a:pt x="330" y="55"/>
                    </a:lnTo>
                    <a:lnTo>
                      <a:pt x="330" y="53"/>
                    </a:lnTo>
                    <a:lnTo>
                      <a:pt x="330" y="52"/>
                    </a:lnTo>
                    <a:lnTo>
                      <a:pt x="331" y="51"/>
                    </a:lnTo>
                    <a:lnTo>
                      <a:pt x="331" y="50"/>
                    </a:lnTo>
                    <a:lnTo>
                      <a:pt x="332" y="49"/>
                    </a:lnTo>
                    <a:lnTo>
                      <a:pt x="333" y="48"/>
                    </a:lnTo>
                    <a:lnTo>
                      <a:pt x="333" y="45"/>
                    </a:lnTo>
                    <a:lnTo>
                      <a:pt x="334" y="45"/>
                    </a:lnTo>
                    <a:lnTo>
                      <a:pt x="337" y="45"/>
                    </a:lnTo>
                    <a:lnTo>
                      <a:pt x="349" y="45"/>
                    </a:lnTo>
                    <a:lnTo>
                      <a:pt x="350" y="45"/>
                    </a:lnTo>
                    <a:lnTo>
                      <a:pt x="355" y="45"/>
                    </a:lnTo>
                    <a:lnTo>
                      <a:pt x="356" y="45"/>
                    </a:lnTo>
                    <a:lnTo>
                      <a:pt x="362" y="45"/>
                    </a:lnTo>
                    <a:lnTo>
                      <a:pt x="363" y="45"/>
                    </a:lnTo>
                    <a:lnTo>
                      <a:pt x="368" y="45"/>
                    </a:lnTo>
                    <a:lnTo>
                      <a:pt x="404" y="44"/>
                    </a:lnTo>
                    <a:lnTo>
                      <a:pt x="407" y="44"/>
                    </a:lnTo>
                    <a:close/>
                    <a:moveTo>
                      <a:pt x="82" y="343"/>
                    </a:moveTo>
                    <a:lnTo>
                      <a:pt x="80" y="343"/>
                    </a:lnTo>
                    <a:lnTo>
                      <a:pt x="80" y="344"/>
                    </a:lnTo>
                    <a:lnTo>
                      <a:pt x="82" y="343"/>
                    </a:lnTo>
                    <a:lnTo>
                      <a:pt x="82" y="344"/>
                    </a:lnTo>
                    <a:lnTo>
                      <a:pt x="82" y="345"/>
                    </a:lnTo>
                    <a:lnTo>
                      <a:pt x="83" y="345"/>
                    </a:lnTo>
                    <a:lnTo>
                      <a:pt x="83" y="346"/>
                    </a:lnTo>
                    <a:lnTo>
                      <a:pt x="84" y="346"/>
                    </a:lnTo>
                    <a:lnTo>
                      <a:pt x="84" y="347"/>
                    </a:lnTo>
                    <a:lnTo>
                      <a:pt x="85" y="347"/>
                    </a:lnTo>
                    <a:lnTo>
                      <a:pt x="87" y="347"/>
                    </a:lnTo>
                    <a:lnTo>
                      <a:pt x="87" y="348"/>
                    </a:lnTo>
                    <a:lnTo>
                      <a:pt x="86" y="348"/>
                    </a:lnTo>
                    <a:lnTo>
                      <a:pt x="86" y="349"/>
                    </a:lnTo>
                    <a:lnTo>
                      <a:pt x="87" y="349"/>
                    </a:lnTo>
                    <a:lnTo>
                      <a:pt x="88" y="349"/>
                    </a:lnTo>
                    <a:lnTo>
                      <a:pt x="89" y="349"/>
                    </a:lnTo>
                    <a:lnTo>
                      <a:pt x="90" y="348"/>
                    </a:lnTo>
                    <a:lnTo>
                      <a:pt x="91" y="349"/>
                    </a:lnTo>
                    <a:lnTo>
                      <a:pt x="92" y="349"/>
                    </a:lnTo>
                    <a:lnTo>
                      <a:pt x="94" y="349"/>
                    </a:lnTo>
                    <a:lnTo>
                      <a:pt x="95" y="348"/>
                    </a:lnTo>
                    <a:lnTo>
                      <a:pt x="95" y="349"/>
                    </a:lnTo>
                    <a:lnTo>
                      <a:pt x="95" y="350"/>
                    </a:lnTo>
                    <a:lnTo>
                      <a:pt x="96" y="351"/>
                    </a:lnTo>
                    <a:lnTo>
                      <a:pt x="96" y="350"/>
                    </a:lnTo>
                    <a:lnTo>
                      <a:pt x="97" y="350"/>
                    </a:lnTo>
                    <a:lnTo>
                      <a:pt x="97" y="349"/>
                    </a:lnTo>
                    <a:lnTo>
                      <a:pt x="98" y="348"/>
                    </a:lnTo>
                    <a:lnTo>
                      <a:pt x="98" y="349"/>
                    </a:lnTo>
                    <a:lnTo>
                      <a:pt x="99" y="349"/>
                    </a:lnTo>
                    <a:lnTo>
                      <a:pt x="99" y="348"/>
                    </a:lnTo>
                    <a:lnTo>
                      <a:pt x="100" y="348"/>
                    </a:lnTo>
                    <a:lnTo>
                      <a:pt x="101" y="348"/>
                    </a:lnTo>
                    <a:lnTo>
                      <a:pt x="101" y="349"/>
                    </a:lnTo>
                    <a:lnTo>
                      <a:pt x="101" y="348"/>
                    </a:lnTo>
                    <a:lnTo>
                      <a:pt x="102" y="347"/>
                    </a:lnTo>
                    <a:lnTo>
                      <a:pt x="103" y="348"/>
                    </a:lnTo>
                    <a:lnTo>
                      <a:pt x="103" y="349"/>
                    </a:lnTo>
                    <a:lnTo>
                      <a:pt x="104" y="350"/>
                    </a:lnTo>
                    <a:lnTo>
                      <a:pt x="107" y="351"/>
                    </a:lnTo>
                    <a:lnTo>
                      <a:pt x="108" y="352"/>
                    </a:lnTo>
                    <a:lnTo>
                      <a:pt x="109" y="352"/>
                    </a:lnTo>
                    <a:lnTo>
                      <a:pt x="110" y="351"/>
                    </a:lnTo>
                    <a:lnTo>
                      <a:pt x="111" y="351"/>
                    </a:lnTo>
                    <a:lnTo>
                      <a:pt x="112" y="352"/>
                    </a:lnTo>
                    <a:lnTo>
                      <a:pt x="112" y="353"/>
                    </a:lnTo>
                    <a:lnTo>
                      <a:pt x="112" y="352"/>
                    </a:lnTo>
                    <a:lnTo>
                      <a:pt x="112" y="351"/>
                    </a:lnTo>
                    <a:lnTo>
                      <a:pt x="113" y="351"/>
                    </a:lnTo>
                    <a:lnTo>
                      <a:pt x="113" y="350"/>
                    </a:lnTo>
                    <a:lnTo>
                      <a:pt x="113" y="349"/>
                    </a:lnTo>
                    <a:lnTo>
                      <a:pt x="114" y="349"/>
                    </a:lnTo>
                    <a:lnTo>
                      <a:pt x="114" y="348"/>
                    </a:lnTo>
                    <a:lnTo>
                      <a:pt x="113" y="348"/>
                    </a:lnTo>
                    <a:lnTo>
                      <a:pt x="112" y="347"/>
                    </a:lnTo>
                    <a:lnTo>
                      <a:pt x="113" y="347"/>
                    </a:lnTo>
                    <a:lnTo>
                      <a:pt x="113" y="348"/>
                    </a:lnTo>
                    <a:lnTo>
                      <a:pt x="114" y="348"/>
                    </a:lnTo>
                    <a:lnTo>
                      <a:pt x="115" y="348"/>
                    </a:lnTo>
                    <a:lnTo>
                      <a:pt x="116" y="348"/>
                    </a:lnTo>
                    <a:lnTo>
                      <a:pt x="117" y="348"/>
                    </a:lnTo>
                    <a:lnTo>
                      <a:pt x="117" y="349"/>
                    </a:lnTo>
                    <a:lnTo>
                      <a:pt x="117" y="350"/>
                    </a:lnTo>
                    <a:lnTo>
                      <a:pt x="117" y="352"/>
                    </a:lnTo>
                    <a:lnTo>
                      <a:pt x="116" y="353"/>
                    </a:lnTo>
                    <a:lnTo>
                      <a:pt x="117" y="356"/>
                    </a:lnTo>
                    <a:lnTo>
                      <a:pt x="117" y="357"/>
                    </a:lnTo>
                    <a:lnTo>
                      <a:pt x="120" y="358"/>
                    </a:lnTo>
                    <a:lnTo>
                      <a:pt x="121" y="360"/>
                    </a:lnTo>
                    <a:lnTo>
                      <a:pt x="122" y="360"/>
                    </a:lnTo>
                    <a:lnTo>
                      <a:pt x="123" y="360"/>
                    </a:lnTo>
                    <a:lnTo>
                      <a:pt x="124" y="360"/>
                    </a:lnTo>
                    <a:lnTo>
                      <a:pt x="125" y="362"/>
                    </a:lnTo>
                    <a:lnTo>
                      <a:pt x="126" y="363"/>
                    </a:lnTo>
                    <a:lnTo>
                      <a:pt x="126" y="364"/>
                    </a:lnTo>
                    <a:lnTo>
                      <a:pt x="127" y="364"/>
                    </a:lnTo>
                    <a:lnTo>
                      <a:pt x="128" y="365"/>
                    </a:lnTo>
                    <a:lnTo>
                      <a:pt x="128" y="366"/>
                    </a:lnTo>
                    <a:lnTo>
                      <a:pt x="127" y="366"/>
                    </a:lnTo>
                    <a:lnTo>
                      <a:pt x="127" y="367"/>
                    </a:lnTo>
                    <a:lnTo>
                      <a:pt x="128" y="367"/>
                    </a:lnTo>
                    <a:lnTo>
                      <a:pt x="128" y="366"/>
                    </a:lnTo>
                    <a:lnTo>
                      <a:pt x="129" y="366"/>
                    </a:lnTo>
                    <a:lnTo>
                      <a:pt x="129" y="365"/>
                    </a:lnTo>
                    <a:lnTo>
                      <a:pt x="130" y="365"/>
                    </a:lnTo>
                    <a:lnTo>
                      <a:pt x="130" y="366"/>
                    </a:lnTo>
                    <a:lnTo>
                      <a:pt x="131" y="367"/>
                    </a:lnTo>
                    <a:lnTo>
                      <a:pt x="133" y="367"/>
                    </a:lnTo>
                    <a:lnTo>
                      <a:pt x="133" y="366"/>
                    </a:lnTo>
                    <a:lnTo>
                      <a:pt x="134" y="366"/>
                    </a:lnTo>
                    <a:lnTo>
                      <a:pt x="134" y="367"/>
                    </a:lnTo>
                    <a:lnTo>
                      <a:pt x="135" y="367"/>
                    </a:lnTo>
                    <a:lnTo>
                      <a:pt x="136" y="367"/>
                    </a:lnTo>
                    <a:lnTo>
                      <a:pt x="137" y="367"/>
                    </a:lnTo>
                    <a:lnTo>
                      <a:pt x="137" y="369"/>
                    </a:lnTo>
                    <a:lnTo>
                      <a:pt x="138" y="369"/>
                    </a:lnTo>
                    <a:lnTo>
                      <a:pt x="139" y="369"/>
                    </a:lnTo>
                    <a:lnTo>
                      <a:pt x="139" y="370"/>
                    </a:lnTo>
                    <a:lnTo>
                      <a:pt x="139" y="371"/>
                    </a:lnTo>
                    <a:lnTo>
                      <a:pt x="138" y="372"/>
                    </a:lnTo>
                    <a:lnTo>
                      <a:pt x="139" y="373"/>
                    </a:lnTo>
                    <a:lnTo>
                      <a:pt x="139" y="374"/>
                    </a:lnTo>
                    <a:lnTo>
                      <a:pt x="140" y="374"/>
                    </a:lnTo>
                    <a:lnTo>
                      <a:pt x="140" y="375"/>
                    </a:lnTo>
                    <a:lnTo>
                      <a:pt x="140" y="376"/>
                    </a:lnTo>
                    <a:lnTo>
                      <a:pt x="140" y="377"/>
                    </a:lnTo>
                    <a:lnTo>
                      <a:pt x="140" y="378"/>
                    </a:lnTo>
                    <a:lnTo>
                      <a:pt x="141" y="378"/>
                    </a:lnTo>
                    <a:lnTo>
                      <a:pt x="142" y="378"/>
                    </a:lnTo>
                    <a:lnTo>
                      <a:pt x="142" y="377"/>
                    </a:lnTo>
                    <a:lnTo>
                      <a:pt x="141" y="377"/>
                    </a:lnTo>
                    <a:lnTo>
                      <a:pt x="141" y="376"/>
                    </a:lnTo>
                    <a:lnTo>
                      <a:pt x="143" y="376"/>
                    </a:lnTo>
                    <a:lnTo>
                      <a:pt x="146" y="377"/>
                    </a:lnTo>
                    <a:lnTo>
                      <a:pt x="147" y="376"/>
                    </a:lnTo>
                    <a:lnTo>
                      <a:pt x="147" y="375"/>
                    </a:lnTo>
                    <a:lnTo>
                      <a:pt x="148" y="375"/>
                    </a:lnTo>
                    <a:lnTo>
                      <a:pt x="149" y="375"/>
                    </a:lnTo>
                    <a:lnTo>
                      <a:pt x="150" y="375"/>
                    </a:lnTo>
                    <a:lnTo>
                      <a:pt x="150" y="374"/>
                    </a:lnTo>
                    <a:lnTo>
                      <a:pt x="151" y="374"/>
                    </a:lnTo>
                    <a:lnTo>
                      <a:pt x="152" y="373"/>
                    </a:lnTo>
                    <a:lnTo>
                      <a:pt x="153" y="374"/>
                    </a:lnTo>
                    <a:lnTo>
                      <a:pt x="153" y="375"/>
                    </a:lnTo>
                    <a:lnTo>
                      <a:pt x="155" y="376"/>
                    </a:lnTo>
                    <a:lnTo>
                      <a:pt x="156" y="377"/>
                    </a:lnTo>
                    <a:lnTo>
                      <a:pt x="157" y="377"/>
                    </a:lnTo>
                    <a:lnTo>
                      <a:pt x="159" y="377"/>
                    </a:lnTo>
                    <a:lnTo>
                      <a:pt x="159" y="378"/>
                    </a:lnTo>
                    <a:lnTo>
                      <a:pt x="157" y="379"/>
                    </a:lnTo>
                    <a:lnTo>
                      <a:pt x="157" y="380"/>
                    </a:lnTo>
                    <a:lnTo>
                      <a:pt x="157" y="382"/>
                    </a:lnTo>
                    <a:lnTo>
                      <a:pt x="156" y="384"/>
                    </a:lnTo>
                    <a:lnTo>
                      <a:pt x="157" y="386"/>
                    </a:lnTo>
                    <a:lnTo>
                      <a:pt x="157" y="387"/>
                    </a:lnTo>
                    <a:lnTo>
                      <a:pt x="157" y="390"/>
                    </a:lnTo>
                    <a:lnTo>
                      <a:pt x="159" y="391"/>
                    </a:lnTo>
                    <a:lnTo>
                      <a:pt x="161" y="392"/>
                    </a:lnTo>
                    <a:lnTo>
                      <a:pt x="162" y="391"/>
                    </a:lnTo>
                    <a:lnTo>
                      <a:pt x="163" y="391"/>
                    </a:lnTo>
                    <a:lnTo>
                      <a:pt x="163" y="390"/>
                    </a:lnTo>
                    <a:lnTo>
                      <a:pt x="163" y="389"/>
                    </a:lnTo>
                    <a:lnTo>
                      <a:pt x="162" y="388"/>
                    </a:lnTo>
                    <a:lnTo>
                      <a:pt x="162" y="387"/>
                    </a:lnTo>
                    <a:lnTo>
                      <a:pt x="163" y="387"/>
                    </a:lnTo>
                    <a:lnTo>
                      <a:pt x="164" y="387"/>
                    </a:lnTo>
                    <a:lnTo>
                      <a:pt x="164" y="386"/>
                    </a:lnTo>
                    <a:lnTo>
                      <a:pt x="165" y="386"/>
                    </a:lnTo>
                    <a:lnTo>
                      <a:pt x="166" y="386"/>
                    </a:lnTo>
                    <a:lnTo>
                      <a:pt x="167" y="387"/>
                    </a:lnTo>
                    <a:lnTo>
                      <a:pt x="167" y="388"/>
                    </a:lnTo>
                    <a:lnTo>
                      <a:pt x="168" y="388"/>
                    </a:lnTo>
                    <a:lnTo>
                      <a:pt x="168" y="387"/>
                    </a:lnTo>
                    <a:lnTo>
                      <a:pt x="169" y="387"/>
                    </a:lnTo>
                    <a:lnTo>
                      <a:pt x="170" y="387"/>
                    </a:lnTo>
                    <a:lnTo>
                      <a:pt x="172" y="386"/>
                    </a:lnTo>
                    <a:lnTo>
                      <a:pt x="173" y="386"/>
                    </a:lnTo>
                    <a:lnTo>
                      <a:pt x="173" y="387"/>
                    </a:lnTo>
                    <a:lnTo>
                      <a:pt x="174" y="387"/>
                    </a:lnTo>
                    <a:lnTo>
                      <a:pt x="175" y="387"/>
                    </a:lnTo>
                    <a:lnTo>
                      <a:pt x="176" y="387"/>
                    </a:lnTo>
                    <a:lnTo>
                      <a:pt x="177" y="387"/>
                    </a:lnTo>
                    <a:lnTo>
                      <a:pt x="178" y="387"/>
                    </a:lnTo>
                    <a:lnTo>
                      <a:pt x="179" y="386"/>
                    </a:lnTo>
                    <a:lnTo>
                      <a:pt x="180" y="386"/>
                    </a:lnTo>
                    <a:lnTo>
                      <a:pt x="181" y="385"/>
                    </a:lnTo>
                    <a:lnTo>
                      <a:pt x="182" y="384"/>
                    </a:lnTo>
                    <a:lnTo>
                      <a:pt x="183" y="383"/>
                    </a:lnTo>
                    <a:lnTo>
                      <a:pt x="183" y="382"/>
                    </a:lnTo>
                    <a:lnTo>
                      <a:pt x="183" y="380"/>
                    </a:lnTo>
                    <a:lnTo>
                      <a:pt x="183" y="383"/>
                    </a:lnTo>
                    <a:lnTo>
                      <a:pt x="182" y="384"/>
                    </a:lnTo>
                    <a:lnTo>
                      <a:pt x="182" y="386"/>
                    </a:lnTo>
                    <a:lnTo>
                      <a:pt x="181" y="387"/>
                    </a:lnTo>
                    <a:lnTo>
                      <a:pt x="181" y="388"/>
                    </a:lnTo>
                    <a:lnTo>
                      <a:pt x="180" y="389"/>
                    </a:lnTo>
                    <a:lnTo>
                      <a:pt x="181" y="389"/>
                    </a:lnTo>
                    <a:lnTo>
                      <a:pt x="180" y="391"/>
                    </a:lnTo>
                    <a:lnTo>
                      <a:pt x="181" y="392"/>
                    </a:lnTo>
                    <a:lnTo>
                      <a:pt x="181" y="393"/>
                    </a:lnTo>
                    <a:lnTo>
                      <a:pt x="181" y="395"/>
                    </a:lnTo>
                    <a:lnTo>
                      <a:pt x="180" y="395"/>
                    </a:lnTo>
                    <a:lnTo>
                      <a:pt x="182" y="395"/>
                    </a:lnTo>
                    <a:lnTo>
                      <a:pt x="182" y="396"/>
                    </a:lnTo>
                    <a:lnTo>
                      <a:pt x="182" y="397"/>
                    </a:lnTo>
                    <a:lnTo>
                      <a:pt x="183" y="397"/>
                    </a:lnTo>
                    <a:lnTo>
                      <a:pt x="183" y="396"/>
                    </a:lnTo>
                    <a:lnTo>
                      <a:pt x="185" y="395"/>
                    </a:lnTo>
                    <a:lnTo>
                      <a:pt x="186" y="396"/>
                    </a:lnTo>
                    <a:lnTo>
                      <a:pt x="187" y="396"/>
                    </a:lnTo>
                    <a:lnTo>
                      <a:pt x="187" y="397"/>
                    </a:lnTo>
                    <a:lnTo>
                      <a:pt x="188" y="397"/>
                    </a:lnTo>
                    <a:lnTo>
                      <a:pt x="188" y="396"/>
                    </a:lnTo>
                    <a:lnTo>
                      <a:pt x="188" y="395"/>
                    </a:lnTo>
                    <a:lnTo>
                      <a:pt x="189" y="395"/>
                    </a:lnTo>
                    <a:lnTo>
                      <a:pt x="190" y="393"/>
                    </a:lnTo>
                    <a:lnTo>
                      <a:pt x="191" y="393"/>
                    </a:lnTo>
                    <a:lnTo>
                      <a:pt x="191" y="395"/>
                    </a:lnTo>
                    <a:lnTo>
                      <a:pt x="192" y="395"/>
                    </a:lnTo>
                    <a:lnTo>
                      <a:pt x="194" y="395"/>
                    </a:lnTo>
                    <a:lnTo>
                      <a:pt x="195" y="395"/>
                    </a:lnTo>
                    <a:lnTo>
                      <a:pt x="195" y="393"/>
                    </a:lnTo>
                    <a:lnTo>
                      <a:pt x="194" y="392"/>
                    </a:lnTo>
                    <a:lnTo>
                      <a:pt x="195" y="392"/>
                    </a:lnTo>
                    <a:lnTo>
                      <a:pt x="195" y="391"/>
                    </a:lnTo>
                    <a:lnTo>
                      <a:pt x="196" y="391"/>
                    </a:lnTo>
                    <a:lnTo>
                      <a:pt x="198" y="391"/>
                    </a:lnTo>
                    <a:lnTo>
                      <a:pt x="199" y="390"/>
                    </a:lnTo>
                    <a:lnTo>
                      <a:pt x="200" y="391"/>
                    </a:lnTo>
                    <a:lnTo>
                      <a:pt x="200" y="390"/>
                    </a:lnTo>
                    <a:lnTo>
                      <a:pt x="200" y="389"/>
                    </a:lnTo>
                    <a:lnTo>
                      <a:pt x="201" y="389"/>
                    </a:lnTo>
                    <a:lnTo>
                      <a:pt x="201" y="391"/>
                    </a:lnTo>
                    <a:lnTo>
                      <a:pt x="199" y="391"/>
                    </a:lnTo>
                    <a:lnTo>
                      <a:pt x="199" y="392"/>
                    </a:lnTo>
                    <a:lnTo>
                      <a:pt x="198" y="392"/>
                    </a:lnTo>
                    <a:lnTo>
                      <a:pt x="198" y="393"/>
                    </a:lnTo>
                    <a:lnTo>
                      <a:pt x="199" y="395"/>
                    </a:lnTo>
                    <a:lnTo>
                      <a:pt x="199" y="396"/>
                    </a:lnTo>
                    <a:lnTo>
                      <a:pt x="198" y="397"/>
                    </a:lnTo>
                    <a:lnTo>
                      <a:pt x="196" y="397"/>
                    </a:lnTo>
                    <a:lnTo>
                      <a:pt x="196" y="398"/>
                    </a:lnTo>
                    <a:lnTo>
                      <a:pt x="195" y="398"/>
                    </a:lnTo>
                    <a:lnTo>
                      <a:pt x="196" y="399"/>
                    </a:lnTo>
                    <a:lnTo>
                      <a:pt x="196" y="400"/>
                    </a:lnTo>
                    <a:lnTo>
                      <a:pt x="191" y="403"/>
                    </a:lnTo>
                    <a:lnTo>
                      <a:pt x="191" y="404"/>
                    </a:lnTo>
                    <a:lnTo>
                      <a:pt x="188" y="407"/>
                    </a:lnTo>
                    <a:lnTo>
                      <a:pt x="186" y="408"/>
                    </a:lnTo>
                    <a:lnTo>
                      <a:pt x="185" y="409"/>
                    </a:lnTo>
                    <a:lnTo>
                      <a:pt x="183" y="410"/>
                    </a:lnTo>
                    <a:lnTo>
                      <a:pt x="182" y="411"/>
                    </a:lnTo>
                    <a:lnTo>
                      <a:pt x="181" y="411"/>
                    </a:lnTo>
                    <a:lnTo>
                      <a:pt x="179" y="412"/>
                    </a:lnTo>
                    <a:lnTo>
                      <a:pt x="178" y="412"/>
                    </a:lnTo>
                    <a:lnTo>
                      <a:pt x="177" y="413"/>
                    </a:lnTo>
                    <a:lnTo>
                      <a:pt x="176" y="413"/>
                    </a:lnTo>
                    <a:lnTo>
                      <a:pt x="175" y="413"/>
                    </a:lnTo>
                    <a:lnTo>
                      <a:pt x="174" y="414"/>
                    </a:lnTo>
                    <a:lnTo>
                      <a:pt x="173" y="414"/>
                    </a:lnTo>
                    <a:lnTo>
                      <a:pt x="172" y="415"/>
                    </a:lnTo>
                    <a:lnTo>
                      <a:pt x="170" y="417"/>
                    </a:lnTo>
                    <a:lnTo>
                      <a:pt x="169" y="418"/>
                    </a:lnTo>
                    <a:lnTo>
                      <a:pt x="168" y="420"/>
                    </a:lnTo>
                    <a:lnTo>
                      <a:pt x="167" y="420"/>
                    </a:lnTo>
                    <a:lnTo>
                      <a:pt x="166" y="420"/>
                    </a:lnTo>
                    <a:lnTo>
                      <a:pt x="166" y="418"/>
                    </a:lnTo>
                    <a:lnTo>
                      <a:pt x="165" y="418"/>
                    </a:lnTo>
                    <a:lnTo>
                      <a:pt x="164" y="418"/>
                    </a:lnTo>
                    <a:lnTo>
                      <a:pt x="164" y="420"/>
                    </a:lnTo>
                    <a:lnTo>
                      <a:pt x="164" y="421"/>
                    </a:lnTo>
                    <a:lnTo>
                      <a:pt x="165" y="422"/>
                    </a:lnTo>
                    <a:lnTo>
                      <a:pt x="164" y="423"/>
                    </a:lnTo>
                    <a:lnTo>
                      <a:pt x="163" y="424"/>
                    </a:lnTo>
                    <a:lnTo>
                      <a:pt x="163" y="426"/>
                    </a:lnTo>
                    <a:lnTo>
                      <a:pt x="162" y="427"/>
                    </a:lnTo>
                    <a:lnTo>
                      <a:pt x="161" y="428"/>
                    </a:lnTo>
                    <a:lnTo>
                      <a:pt x="161" y="430"/>
                    </a:lnTo>
                    <a:lnTo>
                      <a:pt x="161" y="431"/>
                    </a:lnTo>
                    <a:lnTo>
                      <a:pt x="160" y="433"/>
                    </a:lnTo>
                    <a:lnTo>
                      <a:pt x="159" y="435"/>
                    </a:lnTo>
                    <a:lnTo>
                      <a:pt x="159" y="436"/>
                    </a:lnTo>
                    <a:lnTo>
                      <a:pt x="159" y="437"/>
                    </a:lnTo>
                    <a:lnTo>
                      <a:pt x="159" y="439"/>
                    </a:lnTo>
                    <a:lnTo>
                      <a:pt x="160" y="441"/>
                    </a:lnTo>
                    <a:lnTo>
                      <a:pt x="161" y="442"/>
                    </a:lnTo>
                    <a:lnTo>
                      <a:pt x="161" y="443"/>
                    </a:lnTo>
                    <a:lnTo>
                      <a:pt x="161" y="444"/>
                    </a:lnTo>
                    <a:lnTo>
                      <a:pt x="162" y="446"/>
                    </a:lnTo>
                    <a:lnTo>
                      <a:pt x="163" y="446"/>
                    </a:lnTo>
                    <a:lnTo>
                      <a:pt x="162" y="447"/>
                    </a:lnTo>
                    <a:lnTo>
                      <a:pt x="161" y="447"/>
                    </a:lnTo>
                    <a:lnTo>
                      <a:pt x="160" y="447"/>
                    </a:lnTo>
                    <a:lnTo>
                      <a:pt x="160" y="448"/>
                    </a:lnTo>
                    <a:lnTo>
                      <a:pt x="159" y="448"/>
                    </a:lnTo>
                    <a:lnTo>
                      <a:pt x="157" y="449"/>
                    </a:lnTo>
                    <a:lnTo>
                      <a:pt x="155" y="450"/>
                    </a:lnTo>
                    <a:lnTo>
                      <a:pt x="153" y="451"/>
                    </a:lnTo>
                    <a:lnTo>
                      <a:pt x="152" y="451"/>
                    </a:lnTo>
                    <a:lnTo>
                      <a:pt x="150" y="451"/>
                    </a:lnTo>
                    <a:lnTo>
                      <a:pt x="149" y="451"/>
                    </a:lnTo>
                    <a:lnTo>
                      <a:pt x="148" y="451"/>
                    </a:lnTo>
                    <a:lnTo>
                      <a:pt x="147" y="451"/>
                    </a:lnTo>
                    <a:lnTo>
                      <a:pt x="147" y="450"/>
                    </a:lnTo>
                    <a:lnTo>
                      <a:pt x="146" y="449"/>
                    </a:lnTo>
                    <a:lnTo>
                      <a:pt x="144" y="449"/>
                    </a:lnTo>
                    <a:lnTo>
                      <a:pt x="143" y="448"/>
                    </a:lnTo>
                    <a:lnTo>
                      <a:pt x="142" y="448"/>
                    </a:lnTo>
                    <a:lnTo>
                      <a:pt x="141" y="448"/>
                    </a:lnTo>
                    <a:lnTo>
                      <a:pt x="139" y="448"/>
                    </a:lnTo>
                    <a:lnTo>
                      <a:pt x="138" y="449"/>
                    </a:lnTo>
                    <a:lnTo>
                      <a:pt x="137" y="450"/>
                    </a:lnTo>
                    <a:lnTo>
                      <a:pt x="136" y="450"/>
                    </a:lnTo>
                    <a:lnTo>
                      <a:pt x="135" y="450"/>
                    </a:lnTo>
                    <a:lnTo>
                      <a:pt x="134" y="451"/>
                    </a:lnTo>
                    <a:lnTo>
                      <a:pt x="133" y="452"/>
                    </a:lnTo>
                    <a:lnTo>
                      <a:pt x="131" y="453"/>
                    </a:lnTo>
                    <a:lnTo>
                      <a:pt x="131" y="455"/>
                    </a:lnTo>
                    <a:lnTo>
                      <a:pt x="130" y="455"/>
                    </a:lnTo>
                    <a:lnTo>
                      <a:pt x="130" y="454"/>
                    </a:lnTo>
                    <a:lnTo>
                      <a:pt x="129" y="454"/>
                    </a:lnTo>
                    <a:lnTo>
                      <a:pt x="129" y="453"/>
                    </a:lnTo>
                    <a:lnTo>
                      <a:pt x="128" y="453"/>
                    </a:lnTo>
                    <a:lnTo>
                      <a:pt x="129" y="455"/>
                    </a:lnTo>
                    <a:lnTo>
                      <a:pt x="128" y="455"/>
                    </a:lnTo>
                    <a:lnTo>
                      <a:pt x="127" y="455"/>
                    </a:lnTo>
                    <a:lnTo>
                      <a:pt x="126" y="455"/>
                    </a:lnTo>
                    <a:lnTo>
                      <a:pt x="126" y="454"/>
                    </a:lnTo>
                    <a:lnTo>
                      <a:pt x="125" y="454"/>
                    </a:lnTo>
                    <a:lnTo>
                      <a:pt x="124" y="454"/>
                    </a:lnTo>
                    <a:lnTo>
                      <a:pt x="124" y="453"/>
                    </a:lnTo>
                    <a:lnTo>
                      <a:pt x="122" y="453"/>
                    </a:lnTo>
                    <a:lnTo>
                      <a:pt x="121" y="453"/>
                    </a:lnTo>
                    <a:lnTo>
                      <a:pt x="118" y="453"/>
                    </a:lnTo>
                    <a:lnTo>
                      <a:pt x="117" y="454"/>
                    </a:lnTo>
                    <a:lnTo>
                      <a:pt x="114" y="453"/>
                    </a:lnTo>
                    <a:lnTo>
                      <a:pt x="113" y="452"/>
                    </a:lnTo>
                    <a:lnTo>
                      <a:pt x="113" y="451"/>
                    </a:lnTo>
                    <a:lnTo>
                      <a:pt x="113" y="450"/>
                    </a:lnTo>
                    <a:lnTo>
                      <a:pt x="112" y="449"/>
                    </a:lnTo>
                    <a:lnTo>
                      <a:pt x="113" y="448"/>
                    </a:lnTo>
                    <a:lnTo>
                      <a:pt x="112" y="447"/>
                    </a:lnTo>
                    <a:lnTo>
                      <a:pt x="112" y="446"/>
                    </a:lnTo>
                    <a:lnTo>
                      <a:pt x="111" y="446"/>
                    </a:lnTo>
                    <a:lnTo>
                      <a:pt x="111" y="443"/>
                    </a:lnTo>
                    <a:lnTo>
                      <a:pt x="111" y="442"/>
                    </a:lnTo>
                    <a:lnTo>
                      <a:pt x="110" y="442"/>
                    </a:lnTo>
                    <a:lnTo>
                      <a:pt x="110" y="441"/>
                    </a:lnTo>
                    <a:lnTo>
                      <a:pt x="109" y="440"/>
                    </a:lnTo>
                    <a:lnTo>
                      <a:pt x="109" y="439"/>
                    </a:lnTo>
                    <a:lnTo>
                      <a:pt x="108" y="438"/>
                    </a:lnTo>
                    <a:lnTo>
                      <a:pt x="107" y="438"/>
                    </a:lnTo>
                    <a:lnTo>
                      <a:pt x="105" y="437"/>
                    </a:lnTo>
                    <a:lnTo>
                      <a:pt x="104" y="437"/>
                    </a:lnTo>
                    <a:lnTo>
                      <a:pt x="103" y="436"/>
                    </a:lnTo>
                    <a:lnTo>
                      <a:pt x="101" y="436"/>
                    </a:lnTo>
                    <a:lnTo>
                      <a:pt x="101" y="437"/>
                    </a:lnTo>
                    <a:lnTo>
                      <a:pt x="100" y="437"/>
                    </a:lnTo>
                    <a:lnTo>
                      <a:pt x="100" y="436"/>
                    </a:lnTo>
                    <a:lnTo>
                      <a:pt x="99" y="436"/>
                    </a:lnTo>
                    <a:lnTo>
                      <a:pt x="97" y="436"/>
                    </a:lnTo>
                    <a:lnTo>
                      <a:pt x="96" y="436"/>
                    </a:lnTo>
                    <a:lnTo>
                      <a:pt x="95" y="437"/>
                    </a:lnTo>
                    <a:lnTo>
                      <a:pt x="94" y="437"/>
                    </a:lnTo>
                    <a:lnTo>
                      <a:pt x="94" y="438"/>
                    </a:lnTo>
                    <a:lnTo>
                      <a:pt x="92" y="438"/>
                    </a:lnTo>
                    <a:lnTo>
                      <a:pt x="91" y="438"/>
                    </a:lnTo>
                    <a:lnTo>
                      <a:pt x="91" y="437"/>
                    </a:lnTo>
                    <a:lnTo>
                      <a:pt x="90" y="436"/>
                    </a:lnTo>
                    <a:lnTo>
                      <a:pt x="89" y="435"/>
                    </a:lnTo>
                    <a:lnTo>
                      <a:pt x="89" y="434"/>
                    </a:lnTo>
                    <a:lnTo>
                      <a:pt x="88" y="434"/>
                    </a:lnTo>
                    <a:lnTo>
                      <a:pt x="88" y="433"/>
                    </a:lnTo>
                    <a:lnTo>
                      <a:pt x="86" y="433"/>
                    </a:lnTo>
                    <a:lnTo>
                      <a:pt x="86" y="431"/>
                    </a:lnTo>
                    <a:lnTo>
                      <a:pt x="85" y="431"/>
                    </a:lnTo>
                    <a:lnTo>
                      <a:pt x="84" y="431"/>
                    </a:lnTo>
                    <a:lnTo>
                      <a:pt x="84" y="430"/>
                    </a:lnTo>
                    <a:lnTo>
                      <a:pt x="83" y="429"/>
                    </a:lnTo>
                    <a:lnTo>
                      <a:pt x="82" y="429"/>
                    </a:lnTo>
                    <a:lnTo>
                      <a:pt x="82" y="428"/>
                    </a:lnTo>
                    <a:lnTo>
                      <a:pt x="80" y="428"/>
                    </a:lnTo>
                    <a:lnTo>
                      <a:pt x="78" y="426"/>
                    </a:lnTo>
                    <a:lnTo>
                      <a:pt x="77" y="426"/>
                    </a:lnTo>
                    <a:lnTo>
                      <a:pt x="76" y="426"/>
                    </a:lnTo>
                    <a:lnTo>
                      <a:pt x="74" y="426"/>
                    </a:lnTo>
                    <a:lnTo>
                      <a:pt x="73" y="426"/>
                    </a:lnTo>
                    <a:lnTo>
                      <a:pt x="72" y="426"/>
                    </a:lnTo>
                    <a:lnTo>
                      <a:pt x="71" y="425"/>
                    </a:lnTo>
                    <a:lnTo>
                      <a:pt x="70" y="424"/>
                    </a:lnTo>
                    <a:lnTo>
                      <a:pt x="69" y="424"/>
                    </a:lnTo>
                    <a:lnTo>
                      <a:pt x="67" y="423"/>
                    </a:lnTo>
                    <a:lnTo>
                      <a:pt x="66" y="423"/>
                    </a:lnTo>
                    <a:lnTo>
                      <a:pt x="65" y="423"/>
                    </a:lnTo>
                    <a:lnTo>
                      <a:pt x="64" y="423"/>
                    </a:lnTo>
                    <a:lnTo>
                      <a:pt x="63" y="422"/>
                    </a:lnTo>
                    <a:lnTo>
                      <a:pt x="62" y="422"/>
                    </a:lnTo>
                    <a:lnTo>
                      <a:pt x="62" y="421"/>
                    </a:lnTo>
                    <a:lnTo>
                      <a:pt x="61" y="420"/>
                    </a:lnTo>
                    <a:lnTo>
                      <a:pt x="61" y="418"/>
                    </a:lnTo>
                    <a:lnTo>
                      <a:pt x="60" y="418"/>
                    </a:lnTo>
                    <a:lnTo>
                      <a:pt x="59" y="418"/>
                    </a:lnTo>
                    <a:lnTo>
                      <a:pt x="58" y="418"/>
                    </a:lnTo>
                    <a:lnTo>
                      <a:pt x="57" y="418"/>
                    </a:lnTo>
                    <a:lnTo>
                      <a:pt x="57" y="417"/>
                    </a:lnTo>
                    <a:lnTo>
                      <a:pt x="57" y="416"/>
                    </a:lnTo>
                    <a:lnTo>
                      <a:pt x="56" y="416"/>
                    </a:lnTo>
                    <a:lnTo>
                      <a:pt x="54" y="415"/>
                    </a:lnTo>
                    <a:lnTo>
                      <a:pt x="53" y="415"/>
                    </a:lnTo>
                    <a:lnTo>
                      <a:pt x="52" y="415"/>
                    </a:lnTo>
                    <a:lnTo>
                      <a:pt x="52" y="414"/>
                    </a:lnTo>
                    <a:lnTo>
                      <a:pt x="51" y="414"/>
                    </a:lnTo>
                    <a:lnTo>
                      <a:pt x="49" y="413"/>
                    </a:lnTo>
                    <a:lnTo>
                      <a:pt x="48" y="412"/>
                    </a:lnTo>
                    <a:lnTo>
                      <a:pt x="47" y="412"/>
                    </a:lnTo>
                    <a:lnTo>
                      <a:pt x="46" y="413"/>
                    </a:lnTo>
                    <a:lnTo>
                      <a:pt x="45" y="413"/>
                    </a:lnTo>
                    <a:lnTo>
                      <a:pt x="44" y="413"/>
                    </a:lnTo>
                    <a:lnTo>
                      <a:pt x="44" y="414"/>
                    </a:lnTo>
                    <a:lnTo>
                      <a:pt x="43" y="414"/>
                    </a:lnTo>
                    <a:lnTo>
                      <a:pt x="41" y="414"/>
                    </a:lnTo>
                    <a:lnTo>
                      <a:pt x="41" y="413"/>
                    </a:lnTo>
                    <a:lnTo>
                      <a:pt x="40" y="413"/>
                    </a:lnTo>
                    <a:lnTo>
                      <a:pt x="39" y="412"/>
                    </a:lnTo>
                    <a:lnTo>
                      <a:pt x="39" y="411"/>
                    </a:lnTo>
                    <a:lnTo>
                      <a:pt x="38" y="410"/>
                    </a:lnTo>
                    <a:lnTo>
                      <a:pt x="38" y="409"/>
                    </a:lnTo>
                    <a:lnTo>
                      <a:pt x="36" y="408"/>
                    </a:lnTo>
                    <a:lnTo>
                      <a:pt x="33" y="407"/>
                    </a:lnTo>
                    <a:lnTo>
                      <a:pt x="32" y="407"/>
                    </a:lnTo>
                    <a:lnTo>
                      <a:pt x="31" y="407"/>
                    </a:lnTo>
                    <a:lnTo>
                      <a:pt x="31" y="405"/>
                    </a:lnTo>
                    <a:lnTo>
                      <a:pt x="30" y="405"/>
                    </a:lnTo>
                    <a:lnTo>
                      <a:pt x="28" y="404"/>
                    </a:lnTo>
                    <a:lnTo>
                      <a:pt x="25" y="403"/>
                    </a:lnTo>
                    <a:lnTo>
                      <a:pt x="24" y="402"/>
                    </a:lnTo>
                    <a:lnTo>
                      <a:pt x="23" y="402"/>
                    </a:lnTo>
                    <a:lnTo>
                      <a:pt x="22" y="402"/>
                    </a:lnTo>
                    <a:lnTo>
                      <a:pt x="20" y="401"/>
                    </a:lnTo>
                    <a:lnTo>
                      <a:pt x="19" y="400"/>
                    </a:lnTo>
                    <a:lnTo>
                      <a:pt x="18" y="400"/>
                    </a:lnTo>
                    <a:lnTo>
                      <a:pt x="17" y="399"/>
                    </a:lnTo>
                    <a:lnTo>
                      <a:pt x="14" y="398"/>
                    </a:lnTo>
                    <a:lnTo>
                      <a:pt x="13" y="397"/>
                    </a:lnTo>
                    <a:lnTo>
                      <a:pt x="12" y="397"/>
                    </a:lnTo>
                    <a:lnTo>
                      <a:pt x="11" y="396"/>
                    </a:lnTo>
                    <a:lnTo>
                      <a:pt x="10" y="395"/>
                    </a:lnTo>
                    <a:lnTo>
                      <a:pt x="8" y="393"/>
                    </a:lnTo>
                    <a:lnTo>
                      <a:pt x="5" y="392"/>
                    </a:lnTo>
                    <a:lnTo>
                      <a:pt x="4" y="390"/>
                    </a:lnTo>
                    <a:lnTo>
                      <a:pt x="1" y="388"/>
                    </a:lnTo>
                    <a:lnTo>
                      <a:pt x="1" y="387"/>
                    </a:lnTo>
                    <a:lnTo>
                      <a:pt x="0" y="385"/>
                    </a:lnTo>
                    <a:lnTo>
                      <a:pt x="0" y="384"/>
                    </a:lnTo>
                    <a:lnTo>
                      <a:pt x="1" y="385"/>
                    </a:lnTo>
                    <a:lnTo>
                      <a:pt x="2" y="386"/>
                    </a:lnTo>
                    <a:lnTo>
                      <a:pt x="4" y="386"/>
                    </a:lnTo>
                    <a:lnTo>
                      <a:pt x="4" y="387"/>
                    </a:lnTo>
                    <a:lnTo>
                      <a:pt x="5" y="387"/>
                    </a:lnTo>
                    <a:lnTo>
                      <a:pt x="6" y="386"/>
                    </a:lnTo>
                    <a:lnTo>
                      <a:pt x="6" y="387"/>
                    </a:lnTo>
                    <a:lnTo>
                      <a:pt x="7" y="387"/>
                    </a:lnTo>
                    <a:lnTo>
                      <a:pt x="7" y="386"/>
                    </a:lnTo>
                    <a:lnTo>
                      <a:pt x="8" y="386"/>
                    </a:lnTo>
                    <a:lnTo>
                      <a:pt x="9" y="386"/>
                    </a:lnTo>
                    <a:lnTo>
                      <a:pt x="9" y="385"/>
                    </a:lnTo>
                    <a:lnTo>
                      <a:pt x="8" y="385"/>
                    </a:lnTo>
                    <a:lnTo>
                      <a:pt x="9" y="384"/>
                    </a:lnTo>
                    <a:lnTo>
                      <a:pt x="9" y="385"/>
                    </a:lnTo>
                    <a:lnTo>
                      <a:pt x="10" y="385"/>
                    </a:lnTo>
                    <a:lnTo>
                      <a:pt x="10" y="384"/>
                    </a:lnTo>
                    <a:lnTo>
                      <a:pt x="10" y="383"/>
                    </a:lnTo>
                    <a:lnTo>
                      <a:pt x="10" y="382"/>
                    </a:lnTo>
                    <a:lnTo>
                      <a:pt x="11" y="382"/>
                    </a:lnTo>
                    <a:lnTo>
                      <a:pt x="10" y="382"/>
                    </a:lnTo>
                    <a:lnTo>
                      <a:pt x="10" y="380"/>
                    </a:lnTo>
                    <a:lnTo>
                      <a:pt x="10" y="379"/>
                    </a:lnTo>
                    <a:lnTo>
                      <a:pt x="9" y="378"/>
                    </a:lnTo>
                    <a:lnTo>
                      <a:pt x="10" y="378"/>
                    </a:lnTo>
                    <a:lnTo>
                      <a:pt x="11" y="378"/>
                    </a:lnTo>
                    <a:lnTo>
                      <a:pt x="10" y="377"/>
                    </a:lnTo>
                    <a:lnTo>
                      <a:pt x="9" y="377"/>
                    </a:lnTo>
                    <a:lnTo>
                      <a:pt x="9" y="376"/>
                    </a:lnTo>
                    <a:lnTo>
                      <a:pt x="10" y="375"/>
                    </a:lnTo>
                    <a:lnTo>
                      <a:pt x="11" y="375"/>
                    </a:lnTo>
                    <a:lnTo>
                      <a:pt x="13" y="375"/>
                    </a:lnTo>
                    <a:lnTo>
                      <a:pt x="15" y="374"/>
                    </a:lnTo>
                    <a:lnTo>
                      <a:pt x="17" y="371"/>
                    </a:lnTo>
                    <a:lnTo>
                      <a:pt x="17" y="369"/>
                    </a:lnTo>
                    <a:lnTo>
                      <a:pt x="18" y="367"/>
                    </a:lnTo>
                    <a:lnTo>
                      <a:pt x="18" y="366"/>
                    </a:lnTo>
                    <a:lnTo>
                      <a:pt x="20" y="365"/>
                    </a:lnTo>
                    <a:lnTo>
                      <a:pt x="22" y="364"/>
                    </a:lnTo>
                    <a:lnTo>
                      <a:pt x="24" y="362"/>
                    </a:lnTo>
                    <a:lnTo>
                      <a:pt x="25" y="362"/>
                    </a:lnTo>
                    <a:lnTo>
                      <a:pt x="26" y="361"/>
                    </a:lnTo>
                    <a:lnTo>
                      <a:pt x="27" y="360"/>
                    </a:lnTo>
                    <a:lnTo>
                      <a:pt x="27" y="361"/>
                    </a:lnTo>
                    <a:lnTo>
                      <a:pt x="28" y="361"/>
                    </a:lnTo>
                    <a:lnTo>
                      <a:pt x="27" y="361"/>
                    </a:lnTo>
                    <a:lnTo>
                      <a:pt x="27" y="362"/>
                    </a:lnTo>
                    <a:lnTo>
                      <a:pt x="28" y="362"/>
                    </a:lnTo>
                    <a:lnTo>
                      <a:pt x="28" y="363"/>
                    </a:lnTo>
                    <a:lnTo>
                      <a:pt x="30" y="363"/>
                    </a:lnTo>
                    <a:lnTo>
                      <a:pt x="30" y="364"/>
                    </a:lnTo>
                    <a:lnTo>
                      <a:pt x="30" y="365"/>
                    </a:lnTo>
                    <a:lnTo>
                      <a:pt x="30" y="366"/>
                    </a:lnTo>
                    <a:lnTo>
                      <a:pt x="31" y="366"/>
                    </a:lnTo>
                    <a:lnTo>
                      <a:pt x="31" y="367"/>
                    </a:lnTo>
                    <a:lnTo>
                      <a:pt x="32" y="367"/>
                    </a:lnTo>
                    <a:lnTo>
                      <a:pt x="33" y="367"/>
                    </a:lnTo>
                    <a:lnTo>
                      <a:pt x="33" y="366"/>
                    </a:lnTo>
                    <a:lnTo>
                      <a:pt x="33" y="365"/>
                    </a:lnTo>
                    <a:lnTo>
                      <a:pt x="32" y="365"/>
                    </a:lnTo>
                    <a:lnTo>
                      <a:pt x="32" y="364"/>
                    </a:lnTo>
                    <a:lnTo>
                      <a:pt x="32" y="363"/>
                    </a:lnTo>
                    <a:lnTo>
                      <a:pt x="32" y="362"/>
                    </a:lnTo>
                    <a:lnTo>
                      <a:pt x="31" y="362"/>
                    </a:lnTo>
                    <a:lnTo>
                      <a:pt x="31" y="363"/>
                    </a:lnTo>
                    <a:lnTo>
                      <a:pt x="31" y="362"/>
                    </a:lnTo>
                    <a:lnTo>
                      <a:pt x="31" y="361"/>
                    </a:lnTo>
                    <a:lnTo>
                      <a:pt x="31" y="360"/>
                    </a:lnTo>
                    <a:lnTo>
                      <a:pt x="31" y="359"/>
                    </a:lnTo>
                    <a:lnTo>
                      <a:pt x="32" y="359"/>
                    </a:lnTo>
                    <a:lnTo>
                      <a:pt x="34" y="360"/>
                    </a:lnTo>
                    <a:lnTo>
                      <a:pt x="35" y="360"/>
                    </a:lnTo>
                    <a:lnTo>
                      <a:pt x="36" y="361"/>
                    </a:lnTo>
                    <a:lnTo>
                      <a:pt x="38" y="362"/>
                    </a:lnTo>
                    <a:lnTo>
                      <a:pt x="39" y="362"/>
                    </a:lnTo>
                    <a:lnTo>
                      <a:pt x="39" y="363"/>
                    </a:lnTo>
                    <a:lnTo>
                      <a:pt x="40" y="363"/>
                    </a:lnTo>
                    <a:lnTo>
                      <a:pt x="43" y="363"/>
                    </a:lnTo>
                    <a:lnTo>
                      <a:pt x="44" y="362"/>
                    </a:lnTo>
                    <a:lnTo>
                      <a:pt x="45" y="362"/>
                    </a:lnTo>
                    <a:lnTo>
                      <a:pt x="46" y="362"/>
                    </a:lnTo>
                    <a:lnTo>
                      <a:pt x="46" y="363"/>
                    </a:lnTo>
                    <a:lnTo>
                      <a:pt x="47" y="363"/>
                    </a:lnTo>
                    <a:lnTo>
                      <a:pt x="47" y="362"/>
                    </a:lnTo>
                    <a:lnTo>
                      <a:pt x="48" y="362"/>
                    </a:lnTo>
                    <a:lnTo>
                      <a:pt x="49" y="362"/>
                    </a:lnTo>
                    <a:lnTo>
                      <a:pt x="49" y="363"/>
                    </a:lnTo>
                    <a:lnTo>
                      <a:pt x="50" y="362"/>
                    </a:lnTo>
                    <a:lnTo>
                      <a:pt x="50" y="363"/>
                    </a:lnTo>
                    <a:lnTo>
                      <a:pt x="51" y="363"/>
                    </a:lnTo>
                    <a:lnTo>
                      <a:pt x="52" y="362"/>
                    </a:lnTo>
                    <a:lnTo>
                      <a:pt x="54" y="362"/>
                    </a:lnTo>
                    <a:lnTo>
                      <a:pt x="56" y="362"/>
                    </a:lnTo>
                    <a:lnTo>
                      <a:pt x="58" y="362"/>
                    </a:lnTo>
                    <a:lnTo>
                      <a:pt x="59" y="362"/>
                    </a:lnTo>
                    <a:lnTo>
                      <a:pt x="59" y="361"/>
                    </a:lnTo>
                    <a:lnTo>
                      <a:pt x="61" y="360"/>
                    </a:lnTo>
                    <a:lnTo>
                      <a:pt x="62" y="359"/>
                    </a:lnTo>
                    <a:lnTo>
                      <a:pt x="63" y="358"/>
                    </a:lnTo>
                    <a:lnTo>
                      <a:pt x="64" y="356"/>
                    </a:lnTo>
                    <a:lnTo>
                      <a:pt x="65" y="354"/>
                    </a:lnTo>
                    <a:lnTo>
                      <a:pt x="66" y="354"/>
                    </a:lnTo>
                    <a:lnTo>
                      <a:pt x="66" y="353"/>
                    </a:lnTo>
                    <a:lnTo>
                      <a:pt x="67" y="353"/>
                    </a:lnTo>
                    <a:lnTo>
                      <a:pt x="67" y="352"/>
                    </a:lnTo>
                    <a:lnTo>
                      <a:pt x="66" y="352"/>
                    </a:lnTo>
                    <a:lnTo>
                      <a:pt x="65" y="351"/>
                    </a:lnTo>
                    <a:lnTo>
                      <a:pt x="65" y="350"/>
                    </a:lnTo>
                    <a:lnTo>
                      <a:pt x="66" y="349"/>
                    </a:lnTo>
                    <a:lnTo>
                      <a:pt x="66" y="348"/>
                    </a:lnTo>
                    <a:lnTo>
                      <a:pt x="65" y="348"/>
                    </a:lnTo>
                    <a:lnTo>
                      <a:pt x="65" y="347"/>
                    </a:lnTo>
                    <a:lnTo>
                      <a:pt x="65" y="346"/>
                    </a:lnTo>
                    <a:lnTo>
                      <a:pt x="64" y="346"/>
                    </a:lnTo>
                    <a:lnTo>
                      <a:pt x="64" y="345"/>
                    </a:lnTo>
                    <a:lnTo>
                      <a:pt x="64" y="344"/>
                    </a:lnTo>
                    <a:lnTo>
                      <a:pt x="65" y="345"/>
                    </a:lnTo>
                    <a:lnTo>
                      <a:pt x="66" y="346"/>
                    </a:lnTo>
                    <a:lnTo>
                      <a:pt x="67" y="346"/>
                    </a:lnTo>
                    <a:lnTo>
                      <a:pt x="71" y="346"/>
                    </a:lnTo>
                    <a:lnTo>
                      <a:pt x="72" y="347"/>
                    </a:lnTo>
                    <a:lnTo>
                      <a:pt x="72" y="348"/>
                    </a:lnTo>
                    <a:lnTo>
                      <a:pt x="72" y="347"/>
                    </a:lnTo>
                    <a:lnTo>
                      <a:pt x="73" y="347"/>
                    </a:lnTo>
                    <a:lnTo>
                      <a:pt x="74" y="346"/>
                    </a:lnTo>
                    <a:lnTo>
                      <a:pt x="74" y="345"/>
                    </a:lnTo>
                    <a:lnTo>
                      <a:pt x="75" y="344"/>
                    </a:lnTo>
                    <a:lnTo>
                      <a:pt x="77" y="344"/>
                    </a:lnTo>
                    <a:lnTo>
                      <a:pt x="79" y="343"/>
                    </a:lnTo>
                    <a:lnTo>
                      <a:pt x="80" y="341"/>
                    </a:lnTo>
                    <a:lnTo>
                      <a:pt x="82" y="341"/>
                    </a:lnTo>
                    <a:lnTo>
                      <a:pt x="82" y="343"/>
                    </a:lnTo>
                    <a:close/>
                    <a:moveTo>
                      <a:pt x="130" y="457"/>
                    </a:moveTo>
                    <a:lnTo>
                      <a:pt x="129" y="457"/>
                    </a:lnTo>
                    <a:lnTo>
                      <a:pt x="128" y="456"/>
                    </a:lnTo>
                    <a:lnTo>
                      <a:pt x="128" y="455"/>
                    </a:lnTo>
                    <a:lnTo>
                      <a:pt x="130" y="455"/>
                    </a:lnTo>
                    <a:lnTo>
                      <a:pt x="130" y="456"/>
                    </a:lnTo>
                    <a:lnTo>
                      <a:pt x="130" y="457"/>
                    </a:lnTo>
                    <a:close/>
                    <a:moveTo>
                      <a:pt x="266" y="433"/>
                    </a:moveTo>
                    <a:lnTo>
                      <a:pt x="265" y="433"/>
                    </a:lnTo>
                    <a:lnTo>
                      <a:pt x="266" y="433"/>
                    </a:lnTo>
                    <a:lnTo>
                      <a:pt x="267" y="433"/>
                    </a:lnTo>
                    <a:lnTo>
                      <a:pt x="267" y="431"/>
                    </a:lnTo>
                    <a:lnTo>
                      <a:pt x="268" y="431"/>
                    </a:lnTo>
                    <a:lnTo>
                      <a:pt x="267" y="433"/>
                    </a:lnTo>
                    <a:lnTo>
                      <a:pt x="266" y="433"/>
                    </a:lnTo>
                    <a:close/>
                  </a:path>
                </a:pathLst>
              </a:custGeom>
              <a:solidFill>
                <a:srgbClr val="175CAC"/>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2" name="Freeform 12">
                <a:extLst>
                  <a:ext uri="{FF2B5EF4-FFF2-40B4-BE49-F238E27FC236}">
                    <a16:creationId xmlns:a16="http://schemas.microsoft.com/office/drawing/2014/main" id="{C25CF6AD-3358-8E63-89BF-B6DD781A45C8}"/>
                  </a:ext>
                </a:extLst>
              </p:cNvPr>
              <p:cNvSpPr>
                <a:spLocks noEditPoints="1"/>
              </p:cNvSpPr>
              <p:nvPr/>
            </p:nvSpPr>
            <p:spPr bwMode="auto">
              <a:xfrm>
                <a:off x="3248026" y="4621213"/>
                <a:ext cx="774700" cy="638175"/>
              </a:xfrm>
              <a:custGeom>
                <a:avLst/>
                <a:gdLst>
                  <a:gd name="T0" fmla="*/ 484 w 488"/>
                  <a:gd name="T1" fmla="*/ 226 h 402"/>
                  <a:gd name="T2" fmla="*/ 465 w 488"/>
                  <a:gd name="T3" fmla="*/ 246 h 402"/>
                  <a:gd name="T4" fmla="*/ 436 w 488"/>
                  <a:gd name="T5" fmla="*/ 256 h 402"/>
                  <a:gd name="T6" fmla="*/ 408 w 488"/>
                  <a:gd name="T7" fmla="*/ 259 h 402"/>
                  <a:gd name="T8" fmla="*/ 382 w 488"/>
                  <a:gd name="T9" fmla="*/ 291 h 402"/>
                  <a:gd name="T10" fmla="*/ 373 w 488"/>
                  <a:gd name="T11" fmla="*/ 319 h 402"/>
                  <a:gd name="T12" fmla="*/ 354 w 488"/>
                  <a:gd name="T13" fmla="*/ 337 h 402"/>
                  <a:gd name="T14" fmla="*/ 336 w 488"/>
                  <a:gd name="T15" fmla="*/ 331 h 402"/>
                  <a:gd name="T16" fmla="*/ 326 w 488"/>
                  <a:gd name="T17" fmla="*/ 318 h 402"/>
                  <a:gd name="T18" fmla="*/ 295 w 488"/>
                  <a:gd name="T19" fmla="*/ 312 h 402"/>
                  <a:gd name="T20" fmla="*/ 290 w 488"/>
                  <a:gd name="T21" fmla="*/ 318 h 402"/>
                  <a:gd name="T22" fmla="*/ 285 w 488"/>
                  <a:gd name="T23" fmla="*/ 323 h 402"/>
                  <a:gd name="T24" fmla="*/ 275 w 488"/>
                  <a:gd name="T25" fmla="*/ 305 h 402"/>
                  <a:gd name="T26" fmla="*/ 250 w 488"/>
                  <a:gd name="T27" fmla="*/ 300 h 402"/>
                  <a:gd name="T28" fmla="*/ 263 w 488"/>
                  <a:gd name="T29" fmla="*/ 296 h 402"/>
                  <a:gd name="T30" fmla="*/ 230 w 488"/>
                  <a:gd name="T31" fmla="*/ 297 h 402"/>
                  <a:gd name="T32" fmla="*/ 217 w 488"/>
                  <a:gd name="T33" fmla="*/ 284 h 402"/>
                  <a:gd name="T34" fmla="*/ 208 w 488"/>
                  <a:gd name="T35" fmla="*/ 254 h 402"/>
                  <a:gd name="T36" fmla="*/ 191 w 488"/>
                  <a:gd name="T37" fmla="*/ 223 h 402"/>
                  <a:gd name="T38" fmla="*/ 148 w 488"/>
                  <a:gd name="T39" fmla="*/ 223 h 402"/>
                  <a:gd name="T40" fmla="*/ 158 w 488"/>
                  <a:gd name="T41" fmla="*/ 191 h 402"/>
                  <a:gd name="T42" fmla="*/ 164 w 488"/>
                  <a:gd name="T43" fmla="*/ 144 h 402"/>
                  <a:gd name="T44" fmla="*/ 122 w 488"/>
                  <a:gd name="T45" fmla="*/ 149 h 402"/>
                  <a:gd name="T46" fmla="*/ 91 w 488"/>
                  <a:gd name="T47" fmla="*/ 147 h 402"/>
                  <a:gd name="T48" fmla="*/ 47 w 488"/>
                  <a:gd name="T49" fmla="*/ 157 h 402"/>
                  <a:gd name="T50" fmla="*/ 22 w 488"/>
                  <a:gd name="T51" fmla="*/ 172 h 402"/>
                  <a:gd name="T52" fmla="*/ 16 w 488"/>
                  <a:gd name="T53" fmla="*/ 176 h 402"/>
                  <a:gd name="T54" fmla="*/ 0 w 488"/>
                  <a:gd name="T55" fmla="*/ 172 h 402"/>
                  <a:gd name="T56" fmla="*/ 20 w 488"/>
                  <a:gd name="T57" fmla="*/ 150 h 402"/>
                  <a:gd name="T58" fmla="*/ 227 w 488"/>
                  <a:gd name="T59" fmla="*/ 2 h 402"/>
                  <a:gd name="T60" fmla="*/ 320 w 488"/>
                  <a:gd name="T61" fmla="*/ 132 h 402"/>
                  <a:gd name="T62" fmla="*/ 457 w 488"/>
                  <a:gd name="T63" fmla="*/ 164 h 402"/>
                  <a:gd name="T64" fmla="*/ 337 w 488"/>
                  <a:gd name="T65" fmla="*/ 358 h 402"/>
                  <a:gd name="T66" fmla="*/ 327 w 488"/>
                  <a:gd name="T67" fmla="*/ 374 h 402"/>
                  <a:gd name="T68" fmla="*/ 325 w 488"/>
                  <a:gd name="T69" fmla="*/ 358 h 402"/>
                  <a:gd name="T70" fmla="*/ 333 w 488"/>
                  <a:gd name="T71" fmla="*/ 350 h 402"/>
                  <a:gd name="T72" fmla="*/ 362 w 488"/>
                  <a:gd name="T73" fmla="*/ 348 h 402"/>
                  <a:gd name="T74" fmla="*/ 380 w 488"/>
                  <a:gd name="T75" fmla="*/ 366 h 402"/>
                  <a:gd name="T76" fmla="*/ 375 w 488"/>
                  <a:gd name="T77" fmla="*/ 369 h 402"/>
                  <a:gd name="T78" fmla="*/ 372 w 488"/>
                  <a:gd name="T79" fmla="*/ 385 h 402"/>
                  <a:gd name="T80" fmla="*/ 367 w 488"/>
                  <a:gd name="T81" fmla="*/ 352 h 402"/>
                  <a:gd name="T82" fmla="*/ 350 w 488"/>
                  <a:gd name="T83" fmla="*/ 386 h 402"/>
                  <a:gd name="T84" fmla="*/ 344 w 488"/>
                  <a:gd name="T85" fmla="*/ 381 h 402"/>
                  <a:gd name="T86" fmla="*/ 337 w 488"/>
                  <a:gd name="T87" fmla="*/ 389 h 402"/>
                  <a:gd name="T88" fmla="*/ 333 w 488"/>
                  <a:gd name="T89" fmla="*/ 385 h 402"/>
                  <a:gd name="T90" fmla="*/ 365 w 488"/>
                  <a:gd name="T91" fmla="*/ 369 h 402"/>
                  <a:gd name="T92" fmla="*/ 359 w 488"/>
                  <a:gd name="T93" fmla="*/ 383 h 402"/>
                  <a:gd name="T94" fmla="*/ 358 w 488"/>
                  <a:gd name="T95" fmla="*/ 365 h 402"/>
                  <a:gd name="T96" fmla="*/ 352 w 488"/>
                  <a:gd name="T97" fmla="*/ 364 h 402"/>
                  <a:gd name="T98" fmla="*/ 350 w 488"/>
                  <a:gd name="T99" fmla="*/ 343 h 402"/>
                  <a:gd name="T100" fmla="*/ 271 w 488"/>
                  <a:gd name="T101" fmla="*/ 319 h 402"/>
                  <a:gd name="T102" fmla="*/ 266 w 488"/>
                  <a:gd name="T103" fmla="*/ 313 h 402"/>
                  <a:gd name="T104" fmla="*/ 254 w 488"/>
                  <a:gd name="T105" fmla="*/ 311 h 402"/>
                  <a:gd name="T106" fmla="*/ 259 w 488"/>
                  <a:gd name="T107" fmla="*/ 308 h 402"/>
                  <a:gd name="T108" fmla="*/ 274 w 488"/>
                  <a:gd name="T109" fmla="*/ 296 h 402"/>
                  <a:gd name="T110" fmla="*/ 271 w 488"/>
                  <a:gd name="T111" fmla="*/ 298 h 402"/>
                  <a:gd name="T112" fmla="*/ 260 w 488"/>
                  <a:gd name="T113" fmla="*/ 319 h 402"/>
                  <a:gd name="T114" fmla="*/ 261 w 488"/>
                  <a:gd name="T115" fmla="*/ 312 h 402"/>
                  <a:gd name="T116" fmla="*/ 275 w 488"/>
                  <a:gd name="T117" fmla="*/ 318 h 402"/>
                  <a:gd name="T118" fmla="*/ 342 w 488"/>
                  <a:gd name="T119" fmla="*/ 369 h 402"/>
                  <a:gd name="T120" fmla="*/ 250 w 488"/>
                  <a:gd name="T121" fmla="*/ 314 h 402"/>
                  <a:gd name="T122" fmla="*/ 248 w 488"/>
                  <a:gd name="T123" fmla="*/ 316 h 402"/>
                  <a:gd name="T124" fmla="*/ 273 w 488"/>
                  <a:gd name="T125" fmla="*/ 32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8" h="402">
                    <a:moveTo>
                      <a:pt x="478" y="181"/>
                    </a:moveTo>
                    <a:lnTo>
                      <a:pt x="478" y="182"/>
                    </a:lnTo>
                    <a:lnTo>
                      <a:pt x="479" y="182"/>
                    </a:lnTo>
                    <a:lnTo>
                      <a:pt x="479" y="183"/>
                    </a:lnTo>
                    <a:lnTo>
                      <a:pt x="480" y="183"/>
                    </a:lnTo>
                    <a:lnTo>
                      <a:pt x="481" y="183"/>
                    </a:lnTo>
                    <a:lnTo>
                      <a:pt x="481" y="184"/>
                    </a:lnTo>
                    <a:lnTo>
                      <a:pt x="481" y="185"/>
                    </a:lnTo>
                    <a:lnTo>
                      <a:pt x="480" y="186"/>
                    </a:lnTo>
                    <a:lnTo>
                      <a:pt x="479" y="186"/>
                    </a:lnTo>
                    <a:lnTo>
                      <a:pt x="479" y="188"/>
                    </a:lnTo>
                    <a:lnTo>
                      <a:pt x="479" y="190"/>
                    </a:lnTo>
                    <a:lnTo>
                      <a:pt x="478" y="191"/>
                    </a:lnTo>
                    <a:lnTo>
                      <a:pt x="479" y="194"/>
                    </a:lnTo>
                    <a:lnTo>
                      <a:pt x="479" y="197"/>
                    </a:lnTo>
                    <a:lnTo>
                      <a:pt x="479" y="202"/>
                    </a:lnTo>
                    <a:lnTo>
                      <a:pt x="478" y="208"/>
                    </a:lnTo>
                    <a:lnTo>
                      <a:pt x="478" y="210"/>
                    </a:lnTo>
                    <a:lnTo>
                      <a:pt x="478" y="211"/>
                    </a:lnTo>
                    <a:lnTo>
                      <a:pt x="476" y="214"/>
                    </a:lnTo>
                    <a:lnTo>
                      <a:pt x="475" y="218"/>
                    </a:lnTo>
                    <a:lnTo>
                      <a:pt x="474" y="219"/>
                    </a:lnTo>
                    <a:lnTo>
                      <a:pt x="474" y="220"/>
                    </a:lnTo>
                    <a:lnTo>
                      <a:pt x="474" y="221"/>
                    </a:lnTo>
                    <a:lnTo>
                      <a:pt x="475" y="222"/>
                    </a:lnTo>
                    <a:lnTo>
                      <a:pt x="481" y="223"/>
                    </a:lnTo>
                    <a:lnTo>
                      <a:pt x="482" y="223"/>
                    </a:lnTo>
                    <a:lnTo>
                      <a:pt x="483" y="224"/>
                    </a:lnTo>
                    <a:lnTo>
                      <a:pt x="484" y="226"/>
                    </a:lnTo>
                    <a:lnTo>
                      <a:pt x="485" y="226"/>
                    </a:lnTo>
                    <a:lnTo>
                      <a:pt x="486" y="227"/>
                    </a:lnTo>
                    <a:lnTo>
                      <a:pt x="487" y="228"/>
                    </a:lnTo>
                    <a:lnTo>
                      <a:pt x="487" y="230"/>
                    </a:lnTo>
                    <a:lnTo>
                      <a:pt x="488" y="231"/>
                    </a:lnTo>
                    <a:lnTo>
                      <a:pt x="488" y="233"/>
                    </a:lnTo>
                    <a:lnTo>
                      <a:pt x="487" y="234"/>
                    </a:lnTo>
                    <a:lnTo>
                      <a:pt x="486" y="235"/>
                    </a:lnTo>
                    <a:lnTo>
                      <a:pt x="485" y="235"/>
                    </a:lnTo>
                    <a:lnTo>
                      <a:pt x="484" y="236"/>
                    </a:lnTo>
                    <a:lnTo>
                      <a:pt x="483" y="236"/>
                    </a:lnTo>
                    <a:lnTo>
                      <a:pt x="481" y="235"/>
                    </a:lnTo>
                    <a:lnTo>
                      <a:pt x="480" y="235"/>
                    </a:lnTo>
                    <a:lnTo>
                      <a:pt x="479" y="235"/>
                    </a:lnTo>
                    <a:lnTo>
                      <a:pt x="478" y="236"/>
                    </a:lnTo>
                    <a:lnTo>
                      <a:pt x="476" y="239"/>
                    </a:lnTo>
                    <a:lnTo>
                      <a:pt x="475" y="239"/>
                    </a:lnTo>
                    <a:lnTo>
                      <a:pt x="474" y="239"/>
                    </a:lnTo>
                    <a:lnTo>
                      <a:pt x="473" y="239"/>
                    </a:lnTo>
                    <a:lnTo>
                      <a:pt x="472" y="239"/>
                    </a:lnTo>
                    <a:lnTo>
                      <a:pt x="470" y="239"/>
                    </a:lnTo>
                    <a:lnTo>
                      <a:pt x="469" y="239"/>
                    </a:lnTo>
                    <a:lnTo>
                      <a:pt x="468" y="239"/>
                    </a:lnTo>
                    <a:lnTo>
                      <a:pt x="467" y="240"/>
                    </a:lnTo>
                    <a:lnTo>
                      <a:pt x="467" y="241"/>
                    </a:lnTo>
                    <a:lnTo>
                      <a:pt x="467" y="242"/>
                    </a:lnTo>
                    <a:lnTo>
                      <a:pt x="466" y="244"/>
                    </a:lnTo>
                    <a:lnTo>
                      <a:pt x="466" y="245"/>
                    </a:lnTo>
                    <a:lnTo>
                      <a:pt x="465" y="246"/>
                    </a:lnTo>
                    <a:lnTo>
                      <a:pt x="463" y="246"/>
                    </a:lnTo>
                    <a:lnTo>
                      <a:pt x="460" y="246"/>
                    </a:lnTo>
                    <a:lnTo>
                      <a:pt x="459" y="246"/>
                    </a:lnTo>
                    <a:lnTo>
                      <a:pt x="458" y="245"/>
                    </a:lnTo>
                    <a:lnTo>
                      <a:pt x="457" y="245"/>
                    </a:lnTo>
                    <a:lnTo>
                      <a:pt x="455" y="245"/>
                    </a:lnTo>
                    <a:lnTo>
                      <a:pt x="454" y="245"/>
                    </a:lnTo>
                    <a:lnTo>
                      <a:pt x="454" y="246"/>
                    </a:lnTo>
                    <a:lnTo>
                      <a:pt x="453" y="246"/>
                    </a:lnTo>
                    <a:lnTo>
                      <a:pt x="454" y="248"/>
                    </a:lnTo>
                    <a:lnTo>
                      <a:pt x="454" y="249"/>
                    </a:lnTo>
                    <a:lnTo>
                      <a:pt x="453" y="250"/>
                    </a:lnTo>
                    <a:lnTo>
                      <a:pt x="452" y="250"/>
                    </a:lnTo>
                    <a:lnTo>
                      <a:pt x="450" y="250"/>
                    </a:lnTo>
                    <a:lnTo>
                      <a:pt x="448" y="249"/>
                    </a:lnTo>
                    <a:lnTo>
                      <a:pt x="447" y="249"/>
                    </a:lnTo>
                    <a:lnTo>
                      <a:pt x="446" y="249"/>
                    </a:lnTo>
                    <a:lnTo>
                      <a:pt x="445" y="249"/>
                    </a:lnTo>
                    <a:lnTo>
                      <a:pt x="444" y="250"/>
                    </a:lnTo>
                    <a:lnTo>
                      <a:pt x="444" y="252"/>
                    </a:lnTo>
                    <a:lnTo>
                      <a:pt x="444" y="253"/>
                    </a:lnTo>
                    <a:lnTo>
                      <a:pt x="443" y="254"/>
                    </a:lnTo>
                    <a:lnTo>
                      <a:pt x="443" y="255"/>
                    </a:lnTo>
                    <a:lnTo>
                      <a:pt x="442" y="255"/>
                    </a:lnTo>
                    <a:lnTo>
                      <a:pt x="441" y="256"/>
                    </a:lnTo>
                    <a:lnTo>
                      <a:pt x="440" y="257"/>
                    </a:lnTo>
                    <a:lnTo>
                      <a:pt x="439" y="257"/>
                    </a:lnTo>
                    <a:lnTo>
                      <a:pt x="437" y="256"/>
                    </a:lnTo>
                    <a:lnTo>
                      <a:pt x="436" y="256"/>
                    </a:lnTo>
                    <a:lnTo>
                      <a:pt x="435" y="256"/>
                    </a:lnTo>
                    <a:lnTo>
                      <a:pt x="434" y="255"/>
                    </a:lnTo>
                    <a:lnTo>
                      <a:pt x="433" y="254"/>
                    </a:lnTo>
                    <a:lnTo>
                      <a:pt x="432" y="253"/>
                    </a:lnTo>
                    <a:lnTo>
                      <a:pt x="432" y="250"/>
                    </a:lnTo>
                    <a:lnTo>
                      <a:pt x="432" y="249"/>
                    </a:lnTo>
                    <a:lnTo>
                      <a:pt x="432" y="248"/>
                    </a:lnTo>
                    <a:lnTo>
                      <a:pt x="432" y="247"/>
                    </a:lnTo>
                    <a:lnTo>
                      <a:pt x="432" y="246"/>
                    </a:lnTo>
                    <a:lnTo>
                      <a:pt x="431" y="245"/>
                    </a:lnTo>
                    <a:lnTo>
                      <a:pt x="430" y="245"/>
                    </a:lnTo>
                    <a:lnTo>
                      <a:pt x="429" y="245"/>
                    </a:lnTo>
                    <a:lnTo>
                      <a:pt x="428" y="245"/>
                    </a:lnTo>
                    <a:lnTo>
                      <a:pt x="427" y="246"/>
                    </a:lnTo>
                    <a:lnTo>
                      <a:pt x="426" y="246"/>
                    </a:lnTo>
                    <a:lnTo>
                      <a:pt x="424" y="247"/>
                    </a:lnTo>
                    <a:lnTo>
                      <a:pt x="424" y="248"/>
                    </a:lnTo>
                    <a:lnTo>
                      <a:pt x="423" y="249"/>
                    </a:lnTo>
                    <a:lnTo>
                      <a:pt x="422" y="249"/>
                    </a:lnTo>
                    <a:lnTo>
                      <a:pt x="421" y="250"/>
                    </a:lnTo>
                    <a:lnTo>
                      <a:pt x="420" y="250"/>
                    </a:lnTo>
                    <a:lnTo>
                      <a:pt x="418" y="252"/>
                    </a:lnTo>
                    <a:lnTo>
                      <a:pt x="417" y="252"/>
                    </a:lnTo>
                    <a:lnTo>
                      <a:pt x="416" y="253"/>
                    </a:lnTo>
                    <a:lnTo>
                      <a:pt x="415" y="254"/>
                    </a:lnTo>
                    <a:lnTo>
                      <a:pt x="414" y="255"/>
                    </a:lnTo>
                    <a:lnTo>
                      <a:pt x="411" y="257"/>
                    </a:lnTo>
                    <a:lnTo>
                      <a:pt x="409" y="258"/>
                    </a:lnTo>
                    <a:lnTo>
                      <a:pt x="408" y="259"/>
                    </a:lnTo>
                    <a:lnTo>
                      <a:pt x="406" y="261"/>
                    </a:lnTo>
                    <a:lnTo>
                      <a:pt x="405" y="262"/>
                    </a:lnTo>
                    <a:lnTo>
                      <a:pt x="404" y="265"/>
                    </a:lnTo>
                    <a:lnTo>
                      <a:pt x="403" y="266"/>
                    </a:lnTo>
                    <a:lnTo>
                      <a:pt x="402" y="267"/>
                    </a:lnTo>
                    <a:lnTo>
                      <a:pt x="402" y="268"/>
                    </a:lnTo>
                    <a:lnTo>
                      <a:pt x="401" y="268"/>
                    </a:lnTo>
                    <a:lnTo>
                      <a:pt x="401" y="270"/>
                    </a:lnTo>
                    <a:lnTo>
                      <a:pt x="401" y="271"/>
                    </a:lnTo>
                    <a:lnTo>
                      <a:pt x="401" y="273"/>
                    </a:lnTo>
                    <a:lnTo>
                      <a:pt x="402" y="276"/>
                    </a:lnTo>
                    <a:lnTo>
                      <a:pt x="402" y="278"/>
                    </a:lnTo>
                    <a:lnTo>
                      <a:pt x="402" y="279"/>
                    </a:lnTo>
                    <a:lnTo>
                      <a:pt x="402" y="280"/>
                    </a:lnTo>
                    <a:lnTo>
                      <a:pt x="401" y="280"/>
                    </a:lnTo>
                    <a:lnTo>
                      <a:pt x="399" y="281"/>
                    </a:lnTo>
                    <a:lnTo>
                      <a:pt x="399" y="282"/>
                    </a:lnTo>
                    <a:lnTo>
                      <a:pt x="397" y="283"/>
                    </a:lnTo>
                    <a:lnTo>
                      <a:pt x="395" y="285"/>
                    </a:lnTo>
                    <a:lnTo>
                      <a:pt x="395" y="286"/>
                    </a:lnTo>
                    <a:lnTo>
                      <a:pt x="394" y="286"/>
                    </a:lnTo>
                    <a:lnTo>
                      <a:pt x="392" y="288"/>
                    </a:lnTo>
                    <a:lnTo>
                      <a:pt x="391" y="288"/>
                    </a:lnTo>
                    <a:lnTo>
                      <a:pt x="390" y="288"/>
                    </a:lnTo>
                    <a:lnTo>
                      <a:pt x="389" y="290"/>
                    </a:lnTo>
                    <a:lnTo>
                      <a:pt x="388" y="290"/>
                    </a:lnTo>
                    <a:lnTo>
                      <a:pt x="385" y="290"/>
                    </a:lnTo>
                    <a:lnTo>
                      <a:pt x="384" y="291"/>
                    </a:lnTo>
                    <a:lnTo>
                      <a:pt x="382" y="291"/>
                    </a:lnTo>
                    <a:lnTo>
                      <a:pt x="379" y="291"/>
                    </a:lnTo>
                    <a:lnTo>
                      <a:pt x="378" y="291"/>
                    </a:lnTo>
                    <a:lnTo>
                      <a:pt x="377" y="292"/>
                    </a:lnTo>
                    <a:lnTo>
                      <a:pt x="376" y="292"/>
                    </a:lnTo>
                    <a:lnTo>
                      <a:pt x="376" y="293"/>
                    </a:lnTo>
                    <a:lnTo>
                      <a:pt x="375" y="294"/>
                    </a:lnTo>
                    <a:lnTo>
                      <a:pt x="373" y="295"/>
                    </a:lnTo>
                    <a:lnTo>
                      <a:pt x="373" y="296"/>
                    </a:lnTo>
                    <a:lnTo>
                      <a:pt x="372" y="297"/>
                    </a:lnTo>
                    <a:lnTo>
                      <a:pt x="372" y="299"/>
                    </a:lnTo>
                    <a:lnTo>
                      <a:pt x="372" y="300"/>
                    </a:lnTo>
                    <a:lnTo>
                      <a:pt x="372" y="301"/>
                    </a:lnTo>
                    <a:lnTo>
                      <a:pt x="372" y="303"/>
                    </a:lnTo>
                    <a:lnTo>
                      <a:pt x="372" y="305"/>
                    </a:lnTo>
                    <a:lnTo>
                      <a:pt x="372" y="306"/>
                    </a:lnTo>
                    <a:lnTo>
                      <a:pt x="373" y="307"/>
                    </a:lnTo>
                    <a:lnTo>
                      <a:pt x="373" y="308"/>
                    </a:lnTo>
                    <a:lnTo>
                      <a:pt x="375" y="308"/>
                    </a:lnTo>
                    <a:lnTo>
                      <a:pt x="375" y="310"/>
                    </a:lnTo>
                    <a:lnTo>
                      <a:pt x="376" y="310"/>
                    </a:lnTo>
                    <a:lnTo>
                      <a:pt x="376" y="312"/>
                    </a:lnTo>
                    <a:lnTo>
                      <a:pt x="377" y="312"/>
                    </a:lnTo>
                    <a:lnTo>
                      <a:pt x="377" y="313"/>
                    </a:lnTo>
                    <a:lnTo>
                      <a:pt x="377" y="314"/>
                    </a:lnTo>
                    <a:lnTo>
                      <a:pt x="377" y="316"/>
                    </a:lnTo>
                    <a:lnTo>
                      <a:pt x="376" y="317"/>
                    </a:lnTo>
                    <a:lnTo>
                      <a:pt x="376" y="318"/>
                    </a:lnTo>
                    <a:lnTo>
                      <a:pt x="375" y="319"/>
                    </a:lnTo>
                    <a:lnTo>
                      <a:pt x="373" y="319"/>
                    </a:lnTo>
                    <a:lnTo>
                      <a:pt x="372" y="320"/>
                    </a:lnTo>
                    <a:lnTo>
                      <a:pt x="372" y="321"/>
                    </a:lnTo>
                    <a:lnTo>
                      <a:pt x="371" y="322"/>
                    </a:lnTo>
                    <a:lnTo>
                      <a:pt x="370" y="322"/>
                    </a:lnTo>
                    <a:lnTo>
                      <a:pt x="369" y="323"/>
                    </a:lnTo>
                    <a:lnTo>
                      <a:pt x="369" y="324"/>
                    </a:lnTo>
                    <a:lnTo>
                      <a:pt x="368" y="324"/>
                    </a:lnTo>
                    <a:lnTo>
                      <a:pt x="368" y="325"/>
                    </a:lnTo>
                    <a:lnTo>
                      <a:pt x="368" y="326"/>
                    </a:lnTo>
                    <a:lnTo>
                      <a:pt x="368" y="327"/>
                    </a:lnTo>
                    <a:lnTo>
                      <a:pt x="367" y="327"/>
                    </a:lnTo>
                    <a:lnTo>
                      <a:pt x="367" y="329"/>
                    </a:lnTo>
                    <a:lnTo>
                      <a:pt x="367" y="330"/>
                    </a:lnTo>
                    <a:lnTo>
                      <a:pt x="367" y="331"/>
                    </a:lnTo>
                    <a:lnTo>
                      <a:pt x="366" y="333"/>
                    </a:lnTo>
                    <a:lnTo>
                      <a:pt x="366" y="334"/>
                    </a:lnTo>
                    <a:lnTo>
                      <a:pt x="365" y="335"/>
                    </a:lnTo>
                    <a:lnTo>
                      <a:pt x="364" y="335"/>
                    </a:lnTo>
                    <a:lnTo>
                      <a:pt x="364" y="336"/>
                    </a:lnTo>
                    <a:lnTo>
                      <a:pt x="363" y="336"/>
                    </a:lnTo>
                    <a:lnTo>
                      <a:pt x="363" y="337"/>
                    </a:lnTo>
                    <a:lnTo>
                      <a:pt x="362" y="337"/>
                    </a:lnTo>
                    <a:lnTo>
                      <a:pt x="360" y="337"/>
                    </a:lnTo>
                    <a:lnTo>
                      <a:pt x="358" y="338"/>
                    </a:lnTo>
                    <a:lnTo>
                      <a:pt x="357" y="338"/>
                    </a:lnTo>
                    <a:lnTo>
                      <a:pt x="357" y="337"/>
                    </a:lnTo>
                    <a:lnTo>
                      <a:pt x="356" y="337"/>
                    </a:lnTo>
                    <a:lnTo>
                      <a:pt x="355" y="337"/>
                    </a:lnTo>
                    <a:lnTo>
                      <a:pt x="354" y="337"/>
                    </a:lnTo>
                    <a:lnTo>
                      <a:pt x="353" y="336"/>
                    </a:lnTo>
                    <a:lnTo>
                      <a:pt x="352" y="336"/>
                    </a:lnTo>
                    <a:lnTo>
                      <a:pt x="351" y="335"/>
                    </a:lnTo>
                    <a:lnTo>
                      <a:pt x="350" y="335"/>
                    </a:lnTo>
                    <a:lnTo>
                      <a:pt x="349" y="335"/>
                    </a:lnTo>
                    <a:lnTo>
                      <a:pt x="347" y="335"/>
                    </a:lnTo>
                    <a:lnTo>
                      <a:pt x="346" y="334"/>
                    </a:lnTo>
                    <a:lnTo>
                      <a:pt x="346" y="333"/>
                    </a:lnTo>
                    <a:lnTo>
                      <a:pt x="346" y="332"/>
                    </a:lnTo>
                    <a:lnTo>
                      <a:pt x="347" y="332"/>
                    </a:lnTo>
                    <a:lnTo>
                      <a:pt x="347" y="331"/>
                    </a:lnTo>
                    <a:lnTo>
                      <a:pt x="347" y="330"/>
                    </a:lnTo>
                    <a:lnTo>
                      <a:pt x="347" y="329"/>
                    </a:lnTo>
                    <a:lnTo>
                      <a:pt x="346" y="330"/>
                    </a:lnTo>
                    <a:lnTo>
                      <a:pt x="346" y="331"/>
                    </a:lnTo>
                    <a:lnTo>
                      <a:pt x="345" y="332"/>
                    </a:lnTo>
                    <a:lnTo>
                      <a:pt x="344" y="332"/>
                    </a:lnTo>
                    <a:lnTo>
                      <a:pt x="343" y="333"/>
                    </a:lnTo>
                    <a:lnTo>
                      <a:pt x="342" y="333"/>
                    </a:lnTo>
                    <a:lnTo>
                      <a:pt x="341" y="333"/>
                    </a:lnTo>
                    <a:lnTo>
                      <a:pt x="340" y="333"/>
                    </a:lnTo>
                    <a:lnTo>
                      <a:pt x="339" y="334"/>
                    </a:lnTo>
                    <a:lnTo>
                      <a:pt x="338" y="334"/>
                    </a:lnTo>
                    <a:lnTo>
                      <a:pt x="338" y="333"/>
                    </a:lnTo>
                    <a:lnTo>
                      <a:pt x="337" y="333"/>
                    </a:lnTo>
                    <a:lnTo>
                      <a:pt x="336" y="333"/>
                    </a:lnTo>
                    <a:lnTo>
                      <a:pt x="334" y="332"/>
                    </a:lnTo>
                    <a:lnTo>
                      <a:pt x="334" y="331"/>
                    </a:lnTo>
                    <a:lnTo>
                      <a:pt x="336" y="331"/>
                    </a:lnTo>
                    <a:lnTo>
                      <a:pt x="337" y="331"/>
                    </a:lnTo>
                    <a:lnTo>
                      <a:pt x="338" y="331"/>
                    </a:lnTo>
                    <a:lnTo>
                      <a:pt x="339" y="331"/>
                    </a:lnTo>
                    <a:lnTo>
                      <a:pt x="340" y="331"/>
                    </a:lnTo>
                    <a:lnTo>
                      <a:pt x="341" y="330"/>
                    </a:lnTo>
                    <a:lnTo>
                      <a:pt x="341" y="329"/>
                    </a:lnTo>
                    <a:lnTo>
                      <a:pt x="340" y="329"/>
                    </a:lnTo>
                    <a:lnTo>
                      <a:pt x="338" y="329"/>
                    </a:lnTo>
                    <a:lnTo>
                      <a:pt x="337" y="329"/>
                    </a:lnTo>
                    <a:lnTo>
                      <a:pt x="336" y="329"/>
                    </a:lnTo>
                    <a:lnTo>
                      <a:pt x="334" y="329"/>
                    </a:lnTo>
                    <a:lnTo>
                      <a:pt x="332" y="329"/>
                    </a:lnTo>
                    <a:lnTo>
                      <a:pt x="331" y="329"/>
                    </a:lnTo>
                    <a:lnTo>
                      <a:pt x="330" y="327"/>
                    </a:lnTo>
                    <a:lnTo>
                      <a:pt x="328" y="326"/>
                    </a:lnTo>
                    <a:lnTo>
                      <a:pt x="326" y="325"/>
                    </a:lnTo>
                    <a:lnTo>
                      <a:pt x="326" y="324"/>
                    </a:lnTo>
                    <a:lnTo>
                      <a:pt x="325" y="324"/>
                    </a:lnTo>
                    <a:lnTo>
                      <a:pt x="326" y="323"/>
                    </a:lnTo>
                    <a:lnTo>
                      <a:pt x="326" y="322"/>
                    </a:lnTo>
                    <a:lnTo>
                      <a:pt x="326" y="323"/>
                    </a:lnTo>
                    <a:lnTo>
                      <a:pt x="327" y="323"/>
                    </a:lnTo>
                    <a:lnTo>
                      <a:pt x="328" y="323"/>
                    </a:lnTo>
                    <a:lnTo>
                      <a:pt x="328" y="322"/>
                    </a:lnTo>
                    <a:lnTo>
                      <a:pt x="328" y="321"/>
                    </a:lnTo>
                    <a:lnTo>
                      <a:pt x="328" y="320"/>
                    </a:lnTo>
                    <a:lnTo>
                      <a:pt x="327" y="319"/>
                    </a:lnTo>
                    <a:lnTo>
                      <a:pt x="327" y="318"/>
                    </a:lnTo>
                    <a:lnTo>
                      <a:pt x="326" y="318"/>
                    </a:lnTo>
                    <a:lnTo>
                      <a:pt x="326" y="317"/>
                    </a:lnTo>
                    <a:lnTo>
                      <a:pt x="326" y="316"/>
                    </a:lnTo>
                    <a:lnTo>
                      <a:pt x="325" y="316"/>
                    </a:lnTo>
                    <a:lnTo>
                      <a:pt x="325" y="314"/>
                    </a:lnTo>
                    <a:lnTo>
                      <a:pt x="324" y="313"/>
                    </a:lnTo>
                    <a:lnTo>
                      <a:pt x="324" y="312"/>
                    </a:lnTo>
                    <a:lnTo>
                      <a:pt x="321" y="311"/>
                    </a:lnTo>
                    <a:lnTo>
                      <a:pt x="320" y="311"/>
                    </a:lnTo>
                    <a:lnTo>
                      <a:pt x="321" y="310"/>
                    </a:lnTo>
                    <a:lnTo>
                      <a:pt x="320" y="310"/>
                    </a:lnTo>
                    <a:lnTo>
                      <a:pt x="319" y="310"/>
                    </a:lnTo>
                    <a:lnTo>
                      <a:pt x="318" y="311"/>
                    </a:lnTo>
                    <a:lnTo>
                      <a:pt x="317" y="312"/>
                    </a:lnTo>
                    <a:lnTo>
                      <a:pt x="316" y="312"/>
                    </a:lnTo>
                    <a:lnTo>
                      <a:pt x="315" y="312"/>
                    </a:lnTo>
                    <a:lnTo>
                      <a:pt x="314" y="312"/>
                    </a:lnTo>
                    <a:lnTo>
                      <a:pt x="312" y="311"/>
                    </a:lnTo>
                    <a:lnTo>
                      <a:pt x="311" y="311"/>
                    </a:lnTo>
                    <a:lnTo>
                      <a:pt x="310" y="311"/>
                    </a:lnTo>
                    <a:lnTo>
                      <a:pt x="307" y="311"/>
                    </a:lnTo>
                    <a:lnTo>
                      <a:pt x="306" y="311"/>
                    </a:lnTo>
                    <a:lnTo>
                      <a:pt x="305" y="311"/>
                    </a:lnTo>
                    <a:lnTo>
                      <a:pt x="302" y="311"/>
                    </a:lnTo>
                    <a:lnTo>
                      <a:pt x="301" y="312"/>
                    </a:lnTo>
                    <a:lnTo>
                      <a:pt x="300" y="312"/>
                    </a:lnTo>
                    <a:lnTo>
                      <a:pt x="299" y="312"/>
                    </a:lnTo>
                    <a:lnTo>
                      <a:pt x="298" y="312"/>
                    </a:lnTo>
                    <a:lnTo>
                      <a:pt x="297" y="312"/>
                    </a:lnTo>
                    <a:lnTo>
                      <a:pt x="295" y="312"/>
                    </a:lnTo>
                    <a:lnTo>
                      <a:pt x="294" y="312"/>
                    </a:lnTo>
                    <a:lnTo>
                      <a:pt x="293" y="313"/>
                    </a:lnTo>
                    <a:lnTo>
                      <a:pt x="292" y="313"/>
                    </a:lnTo>
                    <a:lnTo>
                      <a:pt x="291" y="313"/>
                    </a:lnTo>
                    <a:lnTo>
                      <a:pt x="289" y="312"/>
                    </a:lnTo>
                    <a:lnTo>
                      <a:pt x="288" y="312"/>
                    </a:lnTo>
                    <a:lnTo>
                      <a:pt x="286" y="312"/>
                    </a:lnTo>
                    <a:lnTo>
                      <a:pt x="285" y="312"/>
                    </a:lnTo>
                    <a:lnTo>
                      <a:pt x="282" y="311"/>
                    </a:lnTo>
                    <a:lnTo>
                      <a:pt x="280" y="310"/>
                    </a:lnTo>
                    <a:lnTo>
                      <a:pt x="280" y="311"/>
                    </a:lnTo>
                    <a:lnTo>
                      <a:pt x="281" y="311"/>
                    </a:lnTo>
                    <a:lnTo>
                      <a:pt x="282" y="311"/>
                    </a:lnTo>
                    <a:lnTo>
                      <a:pt x="282" y="312"/>
                    </a:lnTo>
                    <a:lnTo>
                      <a:pt x="281" y="312"/>
                    </a:lnTo>
                    <a:lnTo>
                      <a:pt x="280" y="312"/>
                    </a:lnTo>
                    <a:lnTo>
                      <a:pt x="282" y="313"/>
                    </a:lnTo>
                    <a:lnTo>
                      <a:pt x="284" y="313"/>
                    </a:lnTo>
                    <a:lnTo>
                      <a:pt x="285" y="313"/>
                    </a:lnTo>
                    <a:lnTo>
                      <a:pt x="286" y="313"/>
                    </a:lnTo>
                    <a:lnTo>
                      <a:pt x="286" y="314"/>
                    </a:lnTo>
                    <a:lnTo>
                      <a:pt x="287" y="314"/>
                    </a:lnTo>
                    <a:lnTo>
                      <a:pt x="288" y="314"/>
                    </a:lnTo>
                    <a:lnTo>
                      <a:pt x="291" y="314"/>
                    </a:lnTo>
                    <a:lnTo>
                      <a:pt x="290" y="314"/>
                    </a:lnTo>
                    <a:lnTo>
                      <a:pt x="288" y="314"/>
                    </a:lnTo>
                    <a:lnTo>
                      <a:pt x="289" y="316"/>
                    </a:lnTo>
                    <a:lnTo>
                      <a:pt x="289" y="317"/>
                    </a:lnTo>
                    <a:lnTo>
                      <a:pt x="290" y="318"/>
                    </a:lnTo>
                    <a:lnTo>
                      <a:pt x="291" y="318"/>
                    </a:lnTo>
                    <a:lnTo>
                      <a:pt x="292" y="318"/>
                    </a:lnTo>
                    <a:lnTo>
                      <a:pt x="293" y="318"/>
                    </a:lnTo>
                    <a:lnTo>
                      <a:pt x="294" y="319"/>
                    </a:lnTo>
                    <a:lnTo>
                      <a:pt x="293" y="319"/>
                    </a:lnTo>
                    <a:lnTo>
                      <a:pt x="293" y="320"/>
                    </a:lnTo>
                    <a:lnTo>
                      <a:pt x="293" y="321"/>
                    </a:lnTo>
                    <a:lnTo>
                      <a:pt x="292" y="320"/>
                    </a:lnTo>
                    <a:lnTo>
                      <a:pt x="291" y="320"/>
                    </a:lnTo>
                    <a:lnTo>
                      <a:pt x="289" y="319"/>
                    </a:lnTo>
                    <a:lnTo>
                      <a:pt x="288" y="319"/>
                    </a:lnTo>
                    <a:lnTo>
                      <a:pt x="287" y="319"/>
                    </a:lnTo>
                    <a:lnTo>
                      <a:pt x="286" y="319"/>
                    </a:lnTo>
                    <a:lnTo>
                      <a:pt x="285" y="319"/>
                    </a:lnTo>
                    <a:lnTo>
                      <a:pt x="284" y="319"/>
                    </a:lnTo>
                    <a:lnTo>
                      <a:pt x="284" y="320"/>
                    </a:lnTo>
                    <a:lnTo>
                      <a:pt x="285" y="320"/>
                    </a:lnTo>
                    <a:lnTo>
                      <a:pt x="286" y="320"/>
                    </a:lnTo>
                    <a:lnTo>
                      <a:pt x="286" y="321"/>
                    </a:lnTo>
                    <a:lnTo>
                      <a:pt x="287" y="321"/>
                    </a:lnTo>
                    <a:lnTo>
                      <a:pt x="289" y="321"/>
                    </a:lnTo>
                    <a:lnTo>
                      <a:pt x="289" y="322"/>
                    </a:lnTo>
                    <a:lnTo>
                      <a:pt x="290" y="322"/>
                    </a:lnTo>
                    <a:lnTo>
                      <a:pt x="289" y="323"/>
                    </a:lnTo>
                    <a:lnTo>
                      <a:pt x="289" y="322"/>
                    </a:lnTo>
                    <a:lnTo>
                      <a:pt x="287" y="322"/>
                    </a:lnTo>
                    <a:lnTo>
                      <a:pt x="286" y="322"/>
                    </a:lnTo>
                    <a:lnTo>
                      <a:pt x="286" y="323"/>
                    </a:lnTo>
                    <a:lnTo>
                      <a:pt x="285" y="323"/>
                    </a:lnTo>
                    <a:lnTo>
                      <a:pt x="285" y="322"/>
                    </a:lnTo>
                    <a:lnTo>
                      <a:pt x="284" y="322"/>
                    </a:lnTo>
                    <a:lnTo>
                      <a:pt x="284" y="323"/>
                    </a:lnTo>
                    <a:lnTo>
                      <a:pt x="285" y="324"/>
                    </a:lnTo>
                    <a:lnTo>
                      <a:pt x="284" y="324"/>
                    </a:lnTo>
                    <a:lnTo>
                      <a:pt x="284" y="323"/>
                    </a:lnTo>
                    <a:lnTo>
                      <a:pt x="284" y="322"/>
                    </a:lnTo>
                    <a:lnTo>
                      <a:pt x="284" y="321"/>
                    </a:lnTo>
                    <a:lnTo>
                      <a:pt x="282" y="321"/>
                    </a:lnTo>
                    <a:lnTo>
                      <a:pt x="282" y="320"/>
                    </a:lnTo>
                    <a:lnTo>
                      <a:pt x="282" y="319"/>
                    </a:lnTo>
                    <a:lnTo>
                      <a:pt x="282" y="318"/>
                    </a:lnTo>
                    <a:lnTo>
                      <a:pt x="281" y="318"/>
                    </a:lnTo>
                    <a:lnTo>
                      <a:pt x="281" y="317"/>
                    </a:lnTo>
                    <a:lnTo>
                      <a:pt x="280" y="317"/>
                    </a:lnTo>
                    <a:lnTo>
                      <a:pt x="280" y="316"/>
                    </a:lnTo>
                    <a:lnTo>
                      <a:pt x="280" y="314"/>
                    </a:lnTo>
                    <a:lnTo>
                      <a:pt x="279" y="314"/>
                    </a:lnTo>
                    <a:lnTo>
                      <a:pt x="279" y="313"/>
                    </a:lnTo>
                    <a:lnTo>
                      <a:pt x="280" y="313"/>
                    </a:lnTo>
                    <a:lnTo>
                      <a:pt x="280" y="312"/>
                    </a:lnTo>
                    <a:lnTo>
                      <a:pt x="279" y="312"/>
                    </a:lnTo>
                    <a:lnTo>
                      <a:pt x="278" y="311"/>
                    </a:lnTo>
                    <a:lnTo>
                      <a:pt x="277" y="309"/>
                    </a:lnTo>
                    <a:lnTo>
                      <a:pt x="276" y="308"/>
                    </a:lnTo>
                    <a:lnTo>
                      <a:pt x="276" y="307"/>
                    </a:lnTo>
                    <a:lnTo>
                      <a:pt x="275" y="307"/>
                    </a:lnTo>
                    <a:lnTo>
                      <a:pt x="275" y="306"/>
                    </a:lnTo>
                    <a:lnTo>
                      <a:pt x="275" y="305"/>
                    </a:lnTo>
                    <a:lnTo>
                      <a:pt x="275" y="303"/>
                    </a:lnTo>
                    <a:lnTo>
                      <a:pt x="276" y="301"/>
                    </a:lnTo>
                    <a:lnTo>
                      <a:pt x="276" y="300"/>
                    </a:lnTo>
                    <a:lnTo>
                      <a:pt x="276" y="299"/>
                    </a:lnTo>
                    <a:lnTo>
                      <a:pt x="276" y="298"/>
                    </a:lnTo>
                    <a:lnTo>
                      <a:pt x="276" y="295"/>
                    </a:lnTo>
                    <a:lnTo>
                      <a:pt x="278" y="292"/>
                    </a:lnTo>
                    <a:lnTo>
                      <a:pt x="277" y="288"/>
                    </a:lnTo>
                    <a:lnTo>
                      <a:pt x="275" y="292"/>
                    </a:lnTo>
                    <a:lnTo>
                      <a:pt x="273" y="293"/>
                    </a:lnTo>
                    <a:lnTo>
                      <a:pt x="269" y="294"/>
                    </a:lnTo>
                    <a:lnTo>
                      <a:pt x="267" y="295"/>
                    </a:lnTo>
                    <a:lnTo>
                      <a:pt x="265" y="296"/>
                    </a:lnTo>
                    <a:lnTo>
                      <a:pt x="264" y="297"/>
                    </a:lnTo>
                    <a:lnTo>
                      <a:pt x="263" y="297"/>
                    </a:lnTo>
                    <a:lnTo>
                      <a:pt x="262" y="297"/>
                    </a:lnTo>
                    <a:lnTo>
                      <a:pt x="262" y="298"/>
                    </a:lnTo>
                    <a:lnTo>
                      <a:pt x="261" y="298"/>
                    </a:lnTo>
                    <a:lnTo>
                      <a:pt x="260" y="298"/>
                    </a:lnTo>
                    <a:lnTo>
                      <a:pt x="259" y="298"/>
                    </a:lnTo>
                    <a:lnTo>
                      <a:pt x="257" y="298"/>
                    </a:lnTo>
                    <a:lnTo>
                      <a:pt x="257" y="299"/>
                    </a:lnTo>
                    <a:lnTo>
                      <a:pt x="256" y="299"/>
                    </a:lnTo>
                    <a:lnTo>
                      <a:pt x="255" y="299"/>
                    </a:lnTo>
                    <a:lnTo>
                      <a:pt x="254" y="299"/>
                    </a:lnTo>
                    <a:lnTo>
                      <a:pt x="253" y="299"/>
                    </a:lnTo>
                    <a:lnTo>
                      <a:pt x="253" y="300"/>
                    </a:lnTo>
                    <a:lnTo>
                      <a:pt x="252" y="300"/>
                    </a:lnTo>
                    <a:lnTo>
                      <a:pt x="250" y="300"/>
                    </a:lnTo>
                    <a:lnTo>
                      <a:pt x="249" y="300"/>
                    </a:lnTo>
                    <a:lnTo>
                      <a:pt x="250" y="300"/>
                    </a:lnTo>
                    <a:lnTo>
                      <a:pt x="251" y="300"/>
                    </a:lnTo>
                    <a:lnTo>
                      <a:pt x="252" y="300"/>
                    </a:lnTo>
                    <a:lnTo>
                      <a:pt x="252" y="299"/>
                    </a:lnTo>
                    <a:lnTo>
                      <a:pt x="252" y="298"/>
                    </a:lnTo>
                    <a:lnTo>
                      <a:pt x="251" y="297"/>
                    </a:lnTo>
                    <a:lnTo>
                      <a:pt x="251" y="296"/>
                    </a:lnTo>
                    <a:lnTo>
                      <a:pt x="248" y="296"/>
                    </a:lnTo>
                    <a:lnTo>
                      <a:pt x="249" y="296"/>
                    </a:lnTo>
                    <a:lnTo>
                      <a:pt x="250" y="296"/>
                    </a:lnTo>
                    <a:lnTo>
                      <a:pt x="250" y="295"/>
                    </a:lnTo>
                    <a:lnTo>
                      <a:pt x="252" y="295"/>
                    </a:lnTo>
                    <a:lnTo>
                      <a:pt x="252" y="296"/>
                    </a:lnTo>
                    <a:lnTo>
                      <a:pt x="253" y="297"/>
                    </a:lnTo>
                    <a:lnTo>
                      <a:pt x="254" y="298"/>
                    </a:lnTo>
                    <a:lnTo>
                      <a:pt x="255" y="298"/>
                    </a:lnTo>
                    <a:lnTo>
                      <a:pt x="256" y="298"/>
                    </a:lnTo>
                    <a:lnTo>
                      <a:pt x="256" y="297"/>
                    </a:lnTo>
                    <a:lnTo>
                      <a:pt x="256" y="296"/>
                    </a:lnTo>
                    <a:lnTo>
                      <a:pt x="257" y="296"/>
                    </a:lnTo>
                    <a:lnTo>
                      <a:pt x="257" y="295"/>
                    </a:lnTo>
                    <a:lnTo>
                      <a:pt x="257" y="296"/>
                    </a:lnTo>
                    <a:lnTo>
                      <a:pt x="259" y="297"/>
                    </a:lnTo>
                    <a:lnTo>
                      <a:pt x="260" y="297"/>
                    </a:lnTo>
                    <a:lnTo>
                      <a:pt x="260" y="296"/>
                    </a:lnTo>
                    <a:lnTo>
                      <a:pt x="261" y="296"/>
                    </a:lnTo>
                    <a:lnTo>
                      <a:pt x="262" y="296"/>
                    </a:lnTo>
                    <a:lnTo>
                      <a:pt x="263" y="296"/>
                    </a:lnTo>
                    <a:lnTo>
                      <a:pt x="263" y="295"/>
                    </a:lnTo>
                    <a:lnTo>
                      <a:pt x="262" y="295"/>
                    </a:lnTo>
                    <a:lnTo>
                      <a:pt x="262" y="294"/>
                    </a:lnTo>
                    <a:lnTo>
                      <a:pt x="261" y="294"/>
                    </a:lnTo>
                    <a:lnTo>
                      <a:pt x="260" y="294"/>
                    </a:lnTo>
                    <a:lnTo>
                      <a:pt x="260" y="293"/>
                    </a:lnTo>
                    <a:lnTo>
                      <a:pt x="260" y="292"/>
                    </a:lnTo>
                    <a:lnTo>
                      <a:pt x="259" y="292"/>
                    </a:lnTo>
                    <a:lnTo>
                      <a:pt x="256" y="292"/>
                    </a:lnTo>
                    <a:lnTo>
                      <a:pt x="254" y="292"/>
                    </a:lnTo>
                    <a:lnTo>
                      <a:pt x="253" y="292"/>
                    </a:lnTo>
                    <a:lnTo>
                      <a:pt x="255" y="291"/>
                    </a:lnTo>
                    <a:lnTo>
                      <a:pt x="256" y="291"/>
                    </a:lnTo>
                    <a:lnTo>
                      <a:pt x="255" y="291"/>
                    </a:lnTo>
                    <a:lnTo>
                      <a:pt x="253" y="291"/>
                    </a:lnTo>
                    <a:lnTo>
                      <a:pt x="252" y="291"/>
                    </a:lnTo>
                    <a:lnTo>
                      <a:pt x="252" y="290"/>
                    </a:lnTo>
                    <a:lnTo>
                      <a:pt x="251" y="290"/>
                    </a:lnTo>
                    <a:lnTo>
                      <a:pt x="251" y="291"/>
                    </a:lnTo>
                    <a:lnTo>
                      <a:pt x="250" y="291"/>
                    </a:lnTo>
                    <a:lnTo>
                      <a:pt x="248" y="292"/>
                    </a:lnTo>
                    <a:lnTo>
                      <a:pt x="246" y="292"/>
                    </a:lnTo>
                    <a:lnTo>
                      <a:pt x="244" y="293"/>
                    </a:lnTo>
                    <a:lnTo>
                      <a:pt x="243" y="293"/>
                    </a:lnTo>
                    <a:lnTo>
                      <a:pt x="241" y="294"/>
                    </a:lnTo>
                    <a:lnTo>
                      <a:pt x="238" y="294"/>
                    </a:lnTo>
                    <a:lnTo>
                      <a:pt x="235" y="294"/>
                    </a:lnTo>
                    <a:lnTo>
                      <a:pt x="233" y="295"/>
                    </a:lnTo>
                    <a:lnTo>
                      <a:pt x="230" y="297"/>
                    </a:lnTo>
                    <a:lnTo>
                      <a:pt x="228" y="298"/>
                    </a:lnTo>
                    <a:lnTo>
                      <a:pt x="226" y="298"/>
                    </a:lnTo>
                    <a:lnTo>
                      <a:pt x="225" y="299"/>
                    </a:lnTo>
                    <a:lnTo>
                      <a:pt x="223" y="300"/>
                    </a:lnTo>
                    <a:lnTo>
                      <a:pt x="221" y="301"/>
                    </a:lnTo>
                    <a:lnTo>
                      <a:pt x="220" y="301"/>
                    </a:lnTo>
                    <a:lnTo>
                      <a:pt x="217" y="300"/>
                    </a:lnTo>
                    <a:lnTo>
                      <a:pt x="216" y="301"/>
                    </a:lnTo>
                    <a:lnTo>
                      <a:pt x="214" y="301"/>
                    </a:lnTo>
                    <a:lnTo>
                      <a:pt x="213" y="301"/>
                    </a:lnTo>
                    <a:lnTo>
                      <a:pt x="209" y="304"/>
                    </a:lnTo>
                    <a:lnTo>
                      <a:pt x="207" y="304"/>
                    </a:lnTo>
                    <a:lnTo>
                      <a:pt x="208" y="304"/>
                    </a:lnTo>
                    <a:lnTo>
                      <a:pt x="208" y="303"/>
                    </a:lnTo>
                    <a:lnTo>
                      <a:pt x="209" y="301"/>
                    </a:lnTo>
                    <a:lnTo>
                      <a:pt x="210" y="301"/>
                    </a:lnTo>
                    <a:lnTo>
                      <a:pt x="211" y="300"/>
                    </a:lnTo>
                    <a:lnTo>
                      <a:pt x="211" y="299"/>
                    </a:lnTo>
                    <a:lnTo>
                      <a:pt x="212" y="298"/>
                    </a:lnTo>
                    <a:lnTo>
                      <a:pt x="213" y="296"/>
                    </a:lnTo>
                    <a:lnTo>
                      <a:pt x="214" y="295"/>
                    </a:lnTo>
                    <a:lnTo>
                      <a:pt x="215" y="294"/>
                    </a:lnTo>
                    <a:lnTo>
                      <a:pt x="216" y="292"/>
                    </a:lnTo>
                    <a:lnTo>
                      <a:pt x="217" y="291"/>
                    </a:lnTo>
                    <a:lnTo>
                      <a:pt x="217" y="290"/>
                    </a:lnTo>
                    <a:lnTo>
                      <a:pt x="217" y="288"/>
                    </a:lnTo>
                    <a:lnTo>
                      <a:pt x="217" y="286"/>
                    </a:lnTo>
                    <a:lnTo>
                      <a:pt x="217" y="285"/>
                    </a:lnTo>
                    <a:lnTo>
                      <a:pt x="217" y="284"/>
                    </a:lnTo>
                    <a:lnTo>
                      <a:pt x="217" y="285"/>
                    </a:lnTo>
                    <a:lnTo>
                      <a:pt x="216" y="285"/>
                    </a:lnTo>
                    <a:lnTo>
                      <a:pt x="216" y="284"/>
                    </a:lnTo>
                    <a:lnTo>
                      <a:pt x="216" y="283"/>
                    </a:lnTo>
                    <a:lnTo>
                      <a:pt x="216" y="282"/>
                    </a:lnTo>
                    <a:lnTo>
                      <a:pt x="215" y="281"/>
                    </a:lnTo>
                    <a:lnTo>
                      <a:pt x="214" y="280"/>
                    </a:lnTo>
                    <a:lnTo>
                      <a:pt x="213" y="279"/>
                    </a:lnTo>
                    <a:lnTo>
                      <a:pt x="212" y="278"/>
                    </a:lnTo>
                    <a:lnTo>
                      <a:pt x="211" y="278"/>
                    </a:lnTo>
                    <a:lnTo>
                      <a:pt x="211" y="276"/>
                    </a:lnTo>
                    <a:lnTo>
                      <a:pt x="211" y="275"/>
                    </a:lnTo>
                    <a:lnTo>
                      <a:pt x="210" y="273"/>
                    </a:lnTo>
                    <a:lnTo>
                      <a:pt x="209" y="273"/>
                    </a:lnTo>
                    <a:lnTo>
                      <a:pt x="210" y="271"/>
                    </a:lnTo>
                    <a:lnTo>
                      <a:pt x="210" y="270"/>
                    </a:lnTo>
                    <a:lnTo>
                      <a:pt x="209" y="270"/>
                    </a:lnTo>
                    <a:lnTo>
                      <a:pt x="210" y="269"/>
                    </a:lnTo>
                    <a:lnTo>
                      <a:pt x="210" y="267"/>
                    </a:lnTo>
                    <a:lnTo>
                      <a:pt x="210" y="266"/>
                    </a:lnTo>
                    <a:lnTo>
                      <a:pt x="211" y="265"/>
                    </a:lnTo>
                    <a:lnTo>
                      <a:pt x="211" y="263"/>
                    </a:lnTo>
                    <a:lnTo>
                      <a:pt x="211" y="262"/>
                    </a:lnTo>
                    <a:lnTo>
                      <a:pt x="211" y="260"/>
                    </a:lnTo>
                    <a:lnTo>
                      <a:pt x="210" y="259"/>
                    </a:lnTo>
                    <a:lnTo>
                      <a:pt x="209" y="257"/>
                    </a:lnTo>
                    <a:lnTo>
                      <a:pt x="209" y="256"/>
                    </a:lnTo>
                    <a:lnTo>
                      <a:pt x="209" y="255"/>
                    </a:lnTo>
                    <a:lnTo>
                      <a:pt x="208" y="254"/>
                    </a:lnTo>
                    <a:lnTo>
                      <a:pt x="208" y="253"/>
                    </a:lnTo>
                    <a:lnTo>
                      <a:pt x="207" y="250"/>
                    </a:lnTo>
                    <a:lnTo>
                      <a:pt x="207" y="249"/>
                    </a:lnTo>
                    <a:lnTo>
                      <a:pt x="205" y="249"/>
                    </a:lnTo>
                    <a:lnTo>
                      <a:pt x="205" y="248"/>
                    </a:lnTo>
                    <a:lnTo>
                      <a:pt x="205" y="247"/>
                    </a:lnTo>
                    <a:lnTo>
                      <a:pt x="204" y="245"/>
                    </a:lnTo>
                    <a:lnTo>
                      <a:pt x="204" y="244"/>
                    </a:lnTo>
                    <a:lnTo>
                      <a:pt x="204" y="242"/>
                    </a:lnTo>
                    <a:lnTo>
                      <a:pt x="204" y="241"/>
                    </a:lnTo>
                    <a:lnTo>
                      <a:pt x="203" y="240"/>
                    </a:lnTo>
                    <a:lnTo>
                      <a:pt x="203" y="237"/>
                    </a:lnTo>
                    <a:lnTo>
                      <a:pt x="203" y="236"/>
                    </a:lnTo>
                    <a:lnTo>
                      <a:pt x="202" y="234"/>
                    </a:lnTo>
                    <a:lnTo>
                      <a:pt x="202" y="233"/>
                    </a:lnTo>
                    <a:lnTo>
                      <a:pt x="202" y="232"/>
                    </a:lnTo>
                    <a:lnTo>
                      <a:pt x="201" y="231"/>
                    </a:lnTo>
                    <a:lnTo>
                      <a:pt x="201" y="228"/>
                    </a:lnTo>
                    <a:lnTo>
                      <a:pt x="200" y="228"/>
                    </a:lnTo>
                    <a:lnTo>
                      <a:pt x="199" y="227"/>
                    </a:lnTo>
                    <a:lnTo>
                      <a:pt x="198" y="224"/>
                    </a:lnTo>
                    <a:lnTo>
                      <a:pt x="197" y="224"/>
                    </a:lnTo>
                    <a:lnTo>
                      <a:pt x="196" y="223"/>
                    </a:lnTo>
                    <a:lnTo>
                      <a:pt x="195" y="223"/>
                    </a:lnTo>
                    <a:lnTo>
                      <a:pt x="194" y="223"/>
                    </a:lnTo>
                    <a:lnTo>
                      <a:pt x="194" y="224"/>
                    </a:lnTo>
                    <a:lnTo>
                      <a:pt x="192" y="224"/>
                    </a:lnTo>
                    <a:lnTo>
                      <a:pt x="191" y="224"/>
                    </a:lnTo>
                    <a:lnTo>
                      <a:pt x="191" y="223"/>
                    </a:lnTo>
                    <a:lnTo>
                      <a:pt x="190" y="223"/>
                    </a:lnTo>
                    <a:lnTo>
                      <a:pt x="189" y="223"/>
                    </a:lnTo>
                    <a:lnTo>
                      <a:pt x="186" y="223"/>
                    </a:lnTo>
                    <a:lnTo>
                      <a:pt x="185" y="223"/>
                    </a:lnTo>
                    <a:lnTo>
                      <a:pt x="184" y="224"/>
                    </a:lnTo>
                    <a:lnTo>
                      <a:pt x="183" y="224"/>
                    </a:lnTo>
                    <a:lnTo>
                      <a:pt x="182" y="224"/>
                    </a:lnTo>
                    <a:lnTo>
                      <a:pt x="181" y="224"/>
                    </a:lnTo>
                    <a:lnTo>
                      <a:pt x="179" y="224"/>
                    </a:lnTo>
                    <a:lnTo>
                      <a:pt x="177" y="226"/>
                    </a:lnTo>
                    <a:lnTo>
                      <a:pt x="176" y="226"/>
                    </a:lnTo>
                    <a:lnTo>
                      <a:pt x="176" y="227"/>
                    </a:lnTo>
                    <a:lnTo>
                      <a:pt x="175" y="227"/>
                    </a:lnTo>
                    <a:lnTo>
                      <a:pt x="174" y="228"/>
                    </a:lnTo>
                    <a:lnTo>
                      <a:pt x="173" y="228"/>
                    </a:lnTo>
                    <a:lnTo>
                      <a:pt x="171" y="228"/>
                    </a:lnTo>
                    <a:lnTo>
                      <a:pt x="165" y="230"/>
                    </a:lnTo>
                    <a:lnTo>
                      <a:pt x="163" y="230"/>
                    </a:lnTo>
                    <a:lnTo>
                      <a:pt x="160" y="231"/>
                    </a:lnTo>
                    <a:lnTo>
                      <a:pt x="155" y="231"/>
                    </a:lnTo>
                    <a:lnTo>
                      <a:pt x="152" y="230"/>
                    </a:lnTo>
                    <a:lnTo>
                      <a:pt x="150" y="229"/>
                    </a:lnTo>
                    <a:lnTo>
                      <a:pt x="148" y="229"/>
                    </a:lnTo>
                    <a:lnTo>
                      <a:pt x="146" y="229"/>
                    </a:lnTo>
                    <a:lnTo>
                      <a:pt x="145" y="229"/>
                    </a:lnTo>
                    <a:lnTo>
                      <a:pt x="143" y="227"/>
                    </a:lnTo>
                    <a:lnTo>
                      <a:pt x="144" y="226"/>
                    </a:lnTo>
                    <a:lnTo>
                      <a:pt x="146" y="224"/>
                    </a:lnTo>
                    <a:lnTo>
                      <a:pt x="148" y="223"/>
                    </a:lnTo>
                    <a:lnTo>
                      <a:pt x="149" y="222"/>
                    </a:lnTo>
                    <a:lnTo>
                      <a:pt x="150" y="223"/>
                    </a:lnTo>
                    <a:lnTo>
                      <a:pt x="150" y="221"/>
                    </a:lnTo>
                    <a:lnTo>
                      <a:pt x="150" y="220"/>
                    </a:lnTo>
                    <a:lnTo>
                      <a:pt x="149" y="219"/>
                    </a:lnTo>
                    <a:lnTo>
                      <a:pt x="149" y="218"/>
                    </a:lnTo>
                    <a:lnTo>
                      <a:pt x="150" y="217"/>
                    </a:lnTo>
                    <a:lnTo>
                      <a:pt x="150" y="216"/>
                    </a:lnTo>
                    <a:lnTo>
                      <a:pt x="151" y="215"/>
                    </a:lnTo>
                    <a:lnTo>
                      <a:pt x="153" y="216"/>
                    </a:lnTo>
                    <a:lnTo>
                      <a:pt x="153" y="215"/>
                    </a:lnTo>
                    <a:lnTo>
                      <a:pt x="152" y="215"/>
                    </a:lnTo>
                    <a:lnTo>
                      <a:pt x="152" y="214"/>
                    </a:lnTo>
                    <a:lnTo>
                      <a:pt x="153" y="213"/>
                    </a:lnTo>
                    <a:lnTo>
                      <a:pt x="155" y="213"/>
                    </a:lnTo>
                    <a:lnTo>
                      <a:pt x="155" y="210"/>
                    </a:lnTo>
                    <a:lnTo>
                      <a:pt x="155" y="209"/>
                    </a:lnTo>
                    <a:lnTo>
                      <a:pt x="155" y="208"/>
                    </a:lnTo>
                    <a:lnTo>
                      <a:pt x="156" y="207"/>
                    </a:lnTo>
                    <a:lnTo>
                      <a:pt x="156" y="205"/>
                    </a:lnTo>
                    <a:lnTo>
                      <a:pt x="156" y="204"/>
                    </a:lnTo>
                    <a:lnTo>
                      <a:pt x="157" y="202"/>
                    </a:lnTo>
                    <a:lnTo>
                      <a:pt x="158" y="201"/>
                    </a:lnTo>
                    <a:lnTo>
                      <a:pt x="157" y="200"/>
                    </a:lnTo>
                    <a:lnTo>
                      <a:pt x="157" y="198"/>
                    </a:lnTo>
                    <a:lnTo>
                      <a:pt x="157" y="196"/>
                    </a:lnTo>
                    <a:lnTo>
                      <a:pt x="156" y="195"/>
                    </a:lnTo>
                    <a:lnTo>
                      <a:pt x="156" y="193"/>
                    </a:lnTo>
                    <a:lnTo>
                      <a:pt x="158" y="191"/>
                    </a:lnTo>
                    <a:lnTo>
                      <a:pt x="158" y="190"/>
                    </a:lnTo>
                    <a:lnTo>
                      <a:pt x="158" y="189"/>
                    </a:lnTo>
                    <a:lnTo>
                      <a:pt x="158" y="188"/>
                    </a:lnTo>
                    <a:lnTo>
                      <a:pt x="158" y="185"/>
                    </a:lnTo>
                    <a:lnTo>
                      <a:pt x="158" y="184"/>
                    </a:lnTo>
                    <a:lnTo>
                      <a:pt x="158" y="182"/>
                    </a:lnTo>
                    <a:lnTo>
                      <a:pt x="158" y="180"/>
                    </a:lnTo>
                    <a:lnTo>
                      <a:pt x="159" y="178"/>
                    </a:lnTo>
                    <a:lnTo>
                      <a:pt x="161" y="176"/>
                    </a:lnTo>
                    <a:lnTo>
                      <a:pt x="160" y="175"/>
                    </a:lnTo>
                    <a:lnTo>
                      <a:pt x="161" y="173"/>
                    </a:lnTo>
                    <a:lnTo>
                      <a:pt x="161" y="172"/>
                    </a:lnTo>
                    <a:lnTo>
                      <a:pt x="161" y="171"/>
                    </a:lnTo>
                    <a:lnTo>
                      <a:pt x="161" y="167"/>
                    </a:lnTo>
                    <a:lnTo>
                      <a:pt x="160" y="164"/>
                    </a:lnTo>
                    <a:lnTo>
                      <a:pt x="160" y="162"/>
                    </a:lnTo>
                    <a:lnTo>
                      <a:pt x="159" y="159"/>
                    </a:lnTo>
                    <a:lnTo>
                      <a:pt x="159" y="156"/>
                    </a:lnTo>
                    <a:lnTo>
                      <a:pt x="159" y="154"/>
                    </a:lnTo>
                    <a:lnTo>
                      <a:pt x="160" y="154"/>
                    </a:lnTo>
                    <a:lnTo>
                      <a:pt x="161" y="153"/>
                    </a:lnTo>
                    <a:lnTo>
                      <a:pt x="162" y="153"/>
                    </a:lnTo>
                    <a:lnTo>
                      <a:pt x="162" y="152"/>
                    </a:lnTo>
                    <a:lnTo>
                      <a:pt x="162" y="151"/>
                    </a:lnTo>
                    <a:lnTo>
                      <a:pt x="162" y="150"/>
                    </a:lnTo>
                    <a:lnTo>
                      <a:pt x="162" y="147"/>
                    </a:lnTo>
                    <a:lnTo>
                      <a:pt x="162" y="146"/>
                    </a:lnTo>
                    <a:lnTo>
                      <a:pt x="163" y="145"/>
                    </a:lnTo>
                    <a:lnTo>
                      <a:pt x="164" y="144"/>
                    </a:lnTo>
                    <a:lnTo>
                      <a:pt x="164" y="143"/>
                    </a:lnTo>
                    <a:lnTo>
                      <a:pt x="164" y="142"/>
                    </a:lnTo>
                    <a:lnTo>
                      <a:pt x="164" y="141"/>
                    </a:lnTo>
                    <a:lnTo>
                      <a:pt x="163" y="140"/>
                    </a:lnTo>
                    <a:lnTo>
                      <a:pt x="162" y="139"/>
                    </a:lnTo>
                    <a:lnTo>
                      <a:pt x="161" y="139"/>
                    </a:lnTo>
                    <a:lnTo>
                      <a:pt x="160" y="139"/>
                    </a:lnTo>
                    <a:lnTo>
                      <a:pt x="159" y="140"/>
                    </a:lnTo>
                    <a:lnTo>
                      <a:pt x="159" y="141"/>
                    </a:lnTo>
                    <a:lnTo>
                      <a:pt x="160" y="142"/>
                    </a:lnTo>
                    <a:lnTo>
                      <a:pt x="159" y="143"/>
                    </a:lnTo>
                    <a:lnTo>
                      <a:pt x="158" y="145"/>
                    </a:lnTo>
                    <a:lnTo>
                      <a:pt x="157" y="147"/>
                    </a:lnTo>
                    <a:lnTo>
                      <a:pt x="156" y="149"/>
                    </a:lnTo>
                    <a:lnTo>
                      <a:pt x="155" y="150"/>
                    </a:lnTo>
                    <a:lnTo>
                      <a:pt x="152" y="150"/>
                    </a:lnTo>
                    <a:lnTo>
                      <a:pt x="151" y="150"/>
                    </a:lnTo>
                    <a:lnTo>
                      <a:pt x="149" y="151"/>
                    </a:lnTo>
                    <a:lnTo>
                      <a:pt x="148" y="150"/>
                    </a:lnTo>
                    <a:lnTo>
                      <a:pt x="146" y="150"/>
                    </a:lnTo>
                    <a:lnTo>
                      <a:pt x="143" y="150"/>
                    </a:lnTo>
                    <a:lnTo>
                      <a:pt x="142" y="150"/>
                    </a:lnTo>
                    <a:lnTo>
                      <a:pt x="139" y="149"/>
                    </a:lnTo>
                    <a:lnTo>
                      <a:pt x="136" y="149"/>
                    </a:lnTo>
                    <a:lnTo>
                      <a:pt x="135" y="149"/>
                    </a:lnTo>
                    <a:lnTo>
                      <a:pt x="131" y="147"/>
                    </a:lnTo>
                    <a:lnTo>
                      <a:pt x="126" y="149"/>
                    </a:lnTo>
                    <a:lnTo>
                      <a:pt x="125" y="149"/>
                    </a:lnTo>
                    <a:lnTo>
                      <a:pt x="122" y="149"/>
                    </a:lnTo>
                    <a:lnTo>
                      <a:pt x="120" y="150"/>
                    </a:lnTo>
                    <a:lnTo>
                      <a:pt x="119" y="150"/>
                    </a:lnTo>
                    <a:lnTo>
                      <a:pt x="118" y="150"/>
                    </a:lnTo>
                    <a:lnTo>
                      <a:pt x="117" y="151"/>
                    </a:lnTo>
                    <a:lnTo>
                      <a:pt x="115" y="151"/>
                    </a:lnTo>
                    <a:lnTo>
                      <a:pt x="114" y="151"/>
                    </a:lnTo>
                    <a:lnTo>
                      <a:pt x="114" y="150"/>
                    </a:lnTo>
                    <a:lnTo>
                      <a:pt x="113" y="150"/>
                    </a:lnTo>
                    <a:lnTo>
                      <a:pt x="113" y="151"/>
                    </a:lnTo>
                    <a:lnTo>
                      <a:pt x="111" y="151"/>
                    </a:lnTo>
                    <a:lnTo>
                      <a:pt x="109" y="152"/>
                    </a:lnTo>
                    <a:lnTo>
                      <a:pt x="108" y="152"/>
                    </a:lnTo>
                    <a:lnTo>
                      <a:pt x="107" y="152"/>
                    </a:lnTo>
                    <a:lnTo>
                      <a:pt x="107" y="153"/>
                    </a:lnTo>
                    <a:lnTo>
                      <a:pt x="106" y="153"/>
                    </a:lnTo>
                    <a:lnTo>
                      <a:pt x="105" y="153"/>
                    </a:lnTo>
                    <a:lnTo>
                      <a:pt x="104" y="154"/>
                    </a:lnTo>
                    <a:lnTo>
                      <a:pt x="102" y="154"/>
                    </a:lnTo>
                    <a:lnTo>
                      <a:pt x="102" y="155"/>
                    </a:lnTo>
                    <a:lnTo>
                      <a:pt x="101" y="155"/>
                    </a:lnTo>
                    <a:lnTo>
                      <a:pt x="100" y="154"/>
                    </a:lnTo>
                    <a:lnTo>
                      <a:pt x="99" y="153"/>
                    </a:lnTo>
                    <a:lnTo>
                      <a:pt x="98" y="153"/>
                    </a:lnTo>
                    <a:lnTo>
                      <a:pt x="97" y="152"/>
                    </a:lnTo>
                    <a:lnTo>
                      <a:pt x="95" y="151"/>
                    </a:lnTo>
                    <a:lnTo>
                      <a:pt x="95" y="150"/>
                    </a:lnTo>
                    <a:lnTo>
                      <a:pt x="93" y="149"/>
                    </a:lnTo>
                    <a:lnTo>
                      <a:pt x="92" y="147"/>
                    </a:lnTo>
                    <a:lnTo>
                      <a:pt x="91" y="147"/>
                    </a:lnTo>
                    <a:lnTo>
                      <a:pt x="89" y="147"/>
                    </a:lnTo>
                    <a:lnTo>
                      <a:pt x="89" y="146"/>
                    </a:lnTo>
                    <a:lnTo>
                      <a:pt x="88" y="146"/>
                    </a:lnTo>
                    <a:lnTo>
                      <a:pt x="87" y="145"/>
                    </a:lnTo>
                    <a:lnTo>
                      <a:pt x="86" y="145"/>
                    </a:lnTo>
                    <a:lnTo>
                      <a:pt x="86" y="146"/>
                    </a:lnTo>
                    <a:lnTo>
                      <a:pt x="86" y="145"/>
                    </a:lnTo>
                    <a:lnTo>
                      <a:pt x="85" y="145"/>
                    </a:lnTo>
                    <a:lnTo>
                      <a:pt x="83" y="145"/>
                    </a:lnTo>
                    <a:lnTo>
                      <a:pt x="82" y="145"/>
                    </a:lnTo>
                    <a:lnTo>
                      <a:pt x="80" y="145"/>
                    </a:lnTo>
                    <a:lnTo>
                      <a:pt x="78" y="146"/>
                    </a:lnTo>
                    <a:lnTo>
                      <a:pt x="75" y="146"/>
                    </a:lnTo>
                    <a:lnTo>
                      <a:pt x="73" y="146"/>
                    </a:lnTo>
                    <a:lnTo>
                      <a:pt x="72" y="147"/>
                    </a:lnTo>
                    <a:lnTo>
                      <a:pt x="67" y="149"/>
                    </a:lnTo>
                    <a:lnTo>
                      <a:pt x="66" y="149"/>
                    </a:lnTo>
                    <a:lnTo>
                      <a:pt x="65" y="150"/>
                    </a:lnTo>
                    <a:lnTo>
                      <a:pt x="61" y="151"/>
                    </a:lnTo>
                    <a:lnTo>
                      <a:pt x="60" y="151"/>
                    </a:lnTo>
                    <a:lnTo>
                      <a:pt x="59" y="151"/>
                    </a:lnTo>
                    <a:lnTo>
                      <a:pt x="58" y="152"/>
                    </a:lnTo>
                    <a:lnTo>
                      <a:pt x="57" y="153"/>
                    </a:lnTo>
                    <a:lnTo>
                      <a:pt x="55" y="154"/>
                    </a:lnTo>
                    <a:lnTo>
                      <a:pt x="54" y="155"/>
                    </a:lnTo>
                    <a:lnTo>
                      <a:pt x="52" y="155"/>
                    </a:lnTo>
                    <a:lnTo>
                      <a:pt x="50" y="156"/>
                    </a:lnTo>
                    <a:lnTo>
                      <a:pt x="49" y="156"/>
                    </a:lnTo>
                    <a:lnTo>
                      <a:pt x="47" y="157"/>
                    </a:lnTo>
                    <a:lnTo>
                      <a:pt x="46" y="157"/>
                    </a:lnTo>
                    <a:lnTo>
                      <a:pt x="45" y="158"/>
                    </a:lnTo>
                    <a:lnTo>
                      <a:pt x="43" y="160"/>
                    </a:lnTo>
                    <a:lnTo>
                      <a:pt x="41" y="160"/>
                    </a:lnTo>
                    <a:lnTo>
                      <a:pt x="41" y="162"/>
                    </a:lnTo>
                    <a:lnTo>
                      <a:pt x="40" y="162"/>
                    </a:lnTo>
                    <a:lnTo>
                      <a:pt x="39" y="163"/>
                    </a:lnTo>
                    <a:lnTo>
                      <a:pt x="37" y="163"/>
                    </a:lnTo>
                    <a:lnTo>
                      <a:pt x="36" y="163"/>
                    </a:lnTo>
                    <a:lnTo>
                      <a:pt x="36" y="162"/>
                    </a:lnTo>
                    <a:lnTo>
                      <a:pt x="37" y="162"/>
                    </a:lnTo>
                    <a:lnTo>
                      <a:pt x="36" y="162"/>
                    </a:lnTo>
                    <a:lnTo>
                      <a:pt x="35" y="163"/>
                    </a:lnTo>
                    <a:lnTo>
                      <a:pt x="35" y="164"/>
                    </a:lnTo>
                    <a:lnTo>
                      <a:pt x="34" y="165"/>
                    </a:lnTo>
                    <a:lnTo>
                      <a:pt x="33" y="165"/>
                    </a:lnTo>
                    <a:lnTo>
                      <a:pt x="32" y="166"/>
                    </a:lnTo>
                    <a:lnTo>
                      <a:pt x="31" y="166"/>
                    </a:lnTo>
                    <a:lnTo>
                      <a:pt x="30" y="166"/>
                    </a:lnTo>
                    <a:lnTo>
                      <a:pt x="29" y="166"/>
                    </a:lnTo>
                    <a:lnTo>
                      <a:pt x="28" y="167"/>
                    </a:lnTo>
                    <a:lnTo>
                      <a:pt x="27" y="169"/>
                    </a:lnTo>
                    <a:lnTo>
                      <a:pt x="26" y="169"/>
                    </a:lnTo>
                    <a:lnTo>
                      <a:pt x="26" y="170"/>
                    </a:lnTo>
                    <a:lnTo>
                      <a:pt x="24" y="170"/>
                    </a:lnTo>
                    <a:lnTo>
                      <a:pt x="24" y="171"/>
                    </a:lnTo>
                    <a:lnTo>
                      <a:pt x="23" y="171"/>
                    </a:lnTo>
                    <a:lnTo>
                      <a:pt x="23" y="172"/>
                    </a:lnTo>
                    <a:lnTo>
                      <a:pt x="22" y="172"/>
                    </a:lnTo>
                    <a:lnTo>
                      <a:pt x="21" y="172"/>
                    </a:lnTo>
                    <a:lnTo>
                      <a:pt x="21" y="171"/>
                    </a:lnTo>
                    <a:lnTo>
                      <a:pt x="21" y="172"/>
                    </a:lnTo>
                    <a:lnTo>
                      <a:pt x="20" y="172"/>
                    </a:lnTo>
                    <a:lnTo>
                      <a:pt x="21" y="173"/>
                    </a:lnTo>
                    <a:lnTo>
                      <a:pt x="20" y="173"/>
                    </a:lnTo>
                    <a:lnTo>
                      <a:pt x="20" y="175"/>
                    </a:lnTo>
                    <a:lnTo>
                      <a:pt x="19" y="175"/>
                    </a:lnTo>
                    <a:lnTo>
                      <a:pt x="19" y="173"/>
                    </a:lnTo>
                    <a:lnTo>
                      <a:pt x="19" y="171"/>
                    </a:lnTo>
                    <a:lnTo>
                      <a:pt x="20" y="171"/>
                    </a:lnTo>
                    <a:lnTo>
                      <a:pt x="22" y="171"/>
                    </a:lnTo>
                    <a:lnTo>
                      <a:pt x="23" y="171"/>
                    </a:lnTo>
                    <a:lnTo>
                      <a:pt x="23" y="170"/>
                    </a:lnTo>
                    <a:lnTo>
                      <a:pt x="22" y="170"/>
                    </a:lnTo>
                    <a:lnTo>
                      <a:pt x="22" y="169"/>
                    </a:lnTo>
                    <a:lnTo>
                      <a:pt x="22" y="168"/>
                    </a:lnTo>
                    <a:lnTo>
                      <a:pt x="21" y="168"/>
                    </a:lnTo>
                    <a:lnTo>
                      <a:pt x="20" y="168"/>
                    </a:lnTo>
                    <a:lnTo>
                      <a:pt x="19" y="169"/>
                    </a:lnTo>
                    <a:lnTo>
                      <a:pt x="18" y="170"/>
                    </a:lnTo>
                    <a:lnTo>
                      <a:pt x="17" y="170"/>
                    </a:lnTo>
                    <a:lnTo>
                      <a:pt x="17" y="171"/>
                    </a:lnTo>
                    <a:lnTo>
                      <a:pt x="16" y="172"/>
                    </a:lnTo>
                    <a:lnTo>
                      <a:pt x="16" y="173"/>
                    </a:lnTo>
                    <a:lnTo>
                      <a:pt x="16" y="175"/>
                    </a:lnTo>
                    <a:lnTo>
                      <a:pt x="17" y="175"/>
                    </a:lnTo>
                    <a:lnTo>
                      <a:pt x="17" y="176"/>
                    </a:lnTo>
                    <a:lnTo>
                      <a:pt x="16" y="176"/>
                    </a:lnTo>
                    <a:lnTo>
                      <a:pt x="15" y="177"/>
                    </a:lnTo>
                    <a:lnTo>
                      <a:pt x="14" y="177"/>
                    </a:lnTo>
                    <a:lnTo>
                      <a:pt x="13" y="176"/>
                    </a:lnTo>
                    <a:lnTo>
                      <a:pt x="13" y="175"/>
                    </a:lnTo>
                    <a:lnTo>
                      <a:pt x="11" y="173"/>
                    </a:lnTo>
                    <a:lnTo>
                      <a:pt x="13" y="171"/>
                    </a:lnTo>
                    <a:lnTo>
                      <a:pt x="11" y="172"/>
                    </a:lnTo>
                    <a:lnTo>
                      <a:pt x="9" y="172"/>
                    </a:lnTo>
                    <a:lnTo>
                      <a:pt x="9" y="173"/>
                    </a:lnTo>
                    <a:lnTo>
                      <a:pt x="8" y="173"/>
                    </a:lnTo>
                    <a:lnTo>
                      <a:pt x="7" y="172"/>
                    </a:lnTo>
                    <a:lnTo>
                      <a:pt x="6" y="172"/>
                    </a:lnTo>
                    <a:lnTo>
                      <a:pt x="5" y="171"/>
                    </a:lnTo>
                    <a:lnTo>
                      <a:pt x="4" y="171"/>
                    </a:lnTo>
                    <a:lnTo>
                      <a:pt x="3" y="171"/>
                    </a:lnTo>
                    <a:lnTo>
                      <a:pt x="4" y="172"/>
                    </a:lnTo>
                    <a:lnTo>
                      <a:pt x="3" y="172"/>
                    </a:lnTo>
                    <a:lnTo>
                      <a:pt x="3" y="173"/>
                    </a:lnTo>
                    <a:lnTo>
                      <a:pt x="2" y="173"/>
                    </a:lnTo>
                    <a:lnTo>
                      <a:pt x="1" y="173"/>
                    </a:lnTo>
                    <a:lnTo>
                      <a:pt x="0" y="173"/>
                    </a:lnTo>
                    <a:lnTo>
                      <a:pt x="0" y="172"/>
                    </a:lnTo>
                    <a:lnTo>
                      <a:pt x="1" y="173"/>
                    </a:lnTo>
                    <a:lnTo>
                      <a:pt x="2" y="173"/>
                    </a:lnTo>
                    <a:lnTo>
                      <a:pt x="1" y="173"/>
                    </a:lnTo>
                    <a:lnTo>
                      <a:pt x="1" y="172"/>
                    </a:lnTo>
                    <a:lnTo>
                      <a:pt x="0" y="172"/>
                    </a:lnTo>
                    <a:lnTo>
                      <a:pt x="1" y="172"/>
                    </a:lnTo>
                    <a:lnTo>
                      <a:pt x="0" y="172"/>
                    </a:lnTo>
                    <a:lnTo>
                      <a:pt x="0" y="171"/>
                    </a:lnTo>
                    <a:lnTo>
                      <a:pt x="1" y="171"/>
                    </a:lnTo>
                    <a:lnTo>
                      <a:pt x="0" y="171"/>
                    </a:lnTo>
                    <a:lnTo>
                      <a:pt x="1" y="170"/>
                    </a:lnTo>
                    <a:lnTo>
                      <a:pt x="2" y="169"/>
                    </a:lnTo>
                    <a:lnTo>
                      <a:pt x="3" y="169"/>
                    </a:lnTo>
                    <a:lnTo>
                      <a:pt x="5" y="168"/>
                    </a:lnTo>
                    <a:lnTo>
                      <a:pt x="5" y="167"/>
                    </a:lnTo>
                    <a:lnTo>
                      <a:pt x="6" y="167"/>
                    </a:lnTo>
                    <a:lnTo>
                      <a:pt x="7" y="167"/>
                    </a:lnTo>
                    <a:lnTo>
                      <a:pt x="8" y="167"/>
                    </a:lnTo>
                    <a:lnTo>
                      <a:pt x="9" y="165"/>
                    </a:lnTo>
                    <a:lnTo>
                      <a:pt x="10" y="164"/>
                    </a:lnTo>
                    <a:lnTo>
                      <a:pt x="11" y="163"/>
                    </a:lnTo>
                    <a:lnTo>
                      <a:pt x="13" y="162"/>
                    </a:lnTo>
                    <a:lnTo>
                      <a:pt x="14" y="162"/>
                    </a:lnTo>
                    <a:lnTo>
                      <a:pt x="15" y="160"/>
                    </a:lnTo>
                    <a:lnTo>
                      <a:pt x="16" y="160"/>
                    </a:lnTo>
                    <a:lnTo>
                      <a:pt x="17" y="160"/>
                    </a:lnTo>
                    <a:lnTo>
                      <a:pt x="17" y="159"/>
                    </a:lnTo>
                    <a:lnTo>
                      <a:pt x="16" y="158"/>
                    </a:lnTo>
                    <a:lnTo>
                      <a:pt x="16" y="157"/>
                    </a:lnTo>
                    <a:lnTo>
                      <a:pt x="15" y="157"/>
                    </a:lnTo>
                    <a:lnTo>
                      <a:pt x="16" y="157"/>
                    </a:lnTo>
                    <a:lnTo>
                      <a:pt x="16" y="156"/>
                    </a:lnTo>
                    <a:lnTo>
                      <a:pt x="16" y="155"/>
                    </a:lnTo>
                    <a:lnTo>
                      <a:pt x="16" y="154"/>
                    </a:lnTo>
                    <a:lnTo>
                      <a:pt x="17" y="153"/>
                    </a:lnTo>
                    <a:lnTo>
                      <a:pt x="20" y="150"/>
                    </a:lnTo>
                    <a:lnTo>
                      <a:pt x="24" y="145"/>
                    </a:lnTo>
                    <a:lnTo>
                      <a:pt x="48" y="125"/>
                    </a:lnTo>
                    <a:lnTo>
                      <a:pt x="59" y="116"/>
                    </a:lnTo>
                    <a:lnTo>
                      <a:pt x="80" y="99"/>
                    </a:lnTo>
                    <a:lnTo>
                      <a:pt x="104" y="78"/>
                    </a:lnTo>
                    <a:lnTo>
                      <a:pt x="107" y="74"/>
                    </a:lnTo>
                    <a:lnTo>
                      <a:pt x="115" y="62"/>
                    </a:lnTo>
                    <a:lnTo>
                      <a:pt x="118" y="59"/>
                    </a:lnTo>
                    <a:lnTo>
                      <a:pt x="119" y="57"/>
                    </a:lnTo>
                    <a:lnTo>
                      <a:pt x="125" y="49"/>
                    </a:lnTo>
                    <a:lnTo>
                      <a:pt x="127" y="47"/>
                    </a:lnTo>
                    <a:lnTo>
                      <a:pt x="132" y="40"/>
                    </a:lnTo>
                    <a:lnTo>
                      <a:pt x="134" y="38"/>
                    </a:lnTo>
                    <a:lnTo>
                      <a:pt x="135" y="36"/>
                    </a:lnTo>
                    <a:lnTo>
                      <a:pt x="136" y="35"/>
                    </a:lnTo>
                    <a:lnTo>
                      <a:pt x="137" y="34"/>
                    </a:lnTo>
                    <a:lnTo>
                      <a:pt x="137" y="33"/>
                    </a:lnTo>
                    <a:lnTo>
                      <a:pt x="138" y="31"/>
                    </a:lnTo>
                    <a:lnTo>
                      <a:pt x="140" y="29"/>
                    </a:lnTo>
                    <a:lnTo>
                      <a:pt x="149" y="18"/>
                    </a:lnTo>
                    <a:lnTo>
                      <a:pt x="151" y="14"/>
                    </a:lnTo>
                    <a:lnTo>
                      <a:pt x="156" y="9"/>
                    </a:lnTo>
                    <a:lnTo>
                      <a:pt x="157" y="8"/>
                    </a:lnTo>
                    <a:lnTo>
                      <a:pt x="160" y="8"/>
                    </a:lnTo>
                    <a:lnTo>
                      <a:pt x="201" y="4"/>
                    </a:lnTo>
                    <a:lnTo>
                      <a:pt x="220" y="2"/>
                    </a:lnTo>
                    <a:lnTo>
                      <a:pt x="221" y="2"/>
                    </a:lnTo>
                    <a:lnTo>
                      <a:pt x="226" y="2"/>
                    </a:lnTo>
                    <a:lnTo>
                      <a:pt x="227" y="2"/>
                    </a:lnTo>
                    <a:lnTo>
                      <a:pt x="228" y="2"/>
                    </a:lnTo>
                    <a:lnTo>
                      <a:pt x="229" y="2"/>
                    </a:lnTo>
                    <a:lnTo>
                      <a:pt x="233" y="1"/>
                    </a:lnTo>
                    <a:lnTo>
                      <a:pt x="237" y="1"/>
                    </a:lnTo>
                    <a:lnTo>
                      <a:pt x="240" y="1"/>
                    </a:lnTo>
                    <a:lnTo>
                      <a:pt x="241" y="1"/>
                    </a:lnTo>
                    <a:lnTo>
                      <a:pt x="250" y="0"/>
                    </a:lnTo>
                    <a:lnTo>
                      <a:pt x="250" y="6"/>
                    </a:lnTo>
                    <a:lnTo>
                      <a:pt x="253" y="9"/>
                    </a:lnTo>
                    <a:lnTo>
                      <a:pt x="255" y="11"/>
                    </a:lnTo>
                    <a:lnTo>
                      <a:pt x="286" y="37"/>
                    </a:lnTo>
                    <a:lnTo>
                      <a:pt x="288" y="39"/>
                    </a:lnTo>
                    <a:lnTo>
                      <a:pt x="292" y="57"/>
                    </a:lnTo>
                    <a:lnTo>
                      <a:pt x="293" y="59"/>
                    </a:lnTo>
                    <a:lnTo>
                      <a:pt x="298" y="67"/>
                    </a:lnTo>
                    <a:lnTo>
                      <a:pt x="304" y="78"/>
                    </a:lnTo>
                    <a:lnTo>
                      <a:pt x="306" y="80"/>
                    </a:lnTo>
                    <a:lnTo>
                      <a:pt x="310" y="86"/>
                    </a:lnTo>
                    <a:lnTo>
                      <a:pt x="310" y="87"/>
                    </a:lnTo>
                    <a:lnTo>
                      <a:pt x="310" y="89"/>
                    </a:lnTo>
                    <a:lnTo>
                      <a:pt x="310" y="90"/>
                    </a:lnTo>
                    <a:lnTo>
                      <a:pt x="308" y="93"/>
                    </a:lnTo>
                    <a:lnTo>
                      <a:pt x="306" y="102"/>
                    </a:lnTo>
                    <a:lnTo>
                      <a:pt x="306" y="103"/>
                    </a:lnTo>
                    <a:lnTo>
                      <a:pt x="302" y="121"/>
                    </a:lnTo>
                    <a:lnTo>
                      <a:pt x="302" y="123"/>
                    </a:lnTo>
                    <a:lnTo>
                      <a:pt x="308" y="126"/>
                    </a:lnTo>
                    <a:lnTo>
                      <a:pt x="310" y="126"/>
                    </a:lnTo>
                    <a:lnTo>
                      <a:pt x="320" y="132"/>
                    </a:lnTo>
                    <a:lnTo>
                      <a:pt x="323" y="134"/>
                    </a:lnTo>
                    <a:lnTo>
                      <a:pt x="324" y="134"/>
                    </a:lnTo>
                    <a:lnTo>
                      <a:pt x="328" y="134"/>
                    </a:lnTo>
                    <a:lnTo>
                      <a:pt x="329" y="134"/>
                    </a:lnTo>
                    <a:lnTo>
                      <a:pt x="333" y="134"/>
                    </a:lnTo>
                    <a:lnTo>
                      <a:pt x="340" y="134"/>
                    </a:lnTo>
                    <a:lnTo>
                      <a:pt x="356" y="136"/>
                    </a:lnTo>
                    <a:lnTo>
                      <a:pt x="360" y="137"/>
                    </a:lnTo>
                    <a:lnTo>
                      <a:pt x="367" y="139"/>
                    </a:lnTo>
                    <a:lnTo>
                      <a:pt x="375" y="140"/>
                    </a:lnTo>
                    <a:lnTo>
                      <a:pt x="376" y="141"/>
                    </a:lnTo>
                    <a:lnTo>
                      <a:pt x="385" y="143"/>
                    </a:lnTo>
                    <a:lnTo>
                      <a:pt x="386" y="143"/>
                    </a:lnTo>
                    <a:lnTo>
                      <a:pt x="390" y="144"/>
                    </a:lnTo>
                    <a:lnTo>
                      <a:pt x="392" y="145"/>
                    </a:lnTo>
                    <a:lnTo>
                      <a:pt x="395" y="145"/>
                    </a:lnTo>
                    <a:lnTo>
                      <a:pt x="398" y="146"/>
                    </a:lnTo>
                    <a:lnTo>
                      <a:pt x="401" y="146"/>
                    </a:lnTo>
                    <a:lnTo>
                      <a:pt x="404" y="145"/>
                    </a:lnTo>
                    <a:lnTo>
                      <a:pt x="407" y="145"/>
                    </a:lnTo>
                    <a:lnTo>
                      <a:pt x="413" y="149"/>
                    </a:lnTo>
                    <a:lnTo>
                      <a:pt x="419" y="153"/>
                    </a:lnTo>
                    <a:lnTo>
                      <a:pt x="423" y="157"/>
                    </a:lnTo>
                    <a:lnTo>
                      <a:pt x="426" y="159"/>
                    </a:lnTo>
                    <a:lnTo>
                      <a:pt x="428" y="160"/>
                    </a:lnTo>
                    <a:lnTo>
                      <a:pt x="428" y="162"/>
                    </a:lnTo>
                    <a:lnTo>
                      <a:pt x="429" y="162"/>
                    </a:lnTo>
                    <a:lnTo>
                      <a:pt x="441" y="165"/>
                    </a:lnTo>
                    <a:lnTo>
                      <a:pt x="457" y="164"/>
                    </a:lnTo>
                    <a:lnTo>
                      <a:pt x="462" y="170"/>
                    </a:lnTo>
                    <a:lnTo>
                      <a:pt x="470" y="179"/>
                    </a:lnTo>
                    <a:lnTo>
                      <a:pt x="478" y="181"/>
                    </a:lnTo>
                    <a:close/>
                    <a:moveTo>
                      <a:pt x="360" y="350"/>
                    </a:moveTo>
                    <a:lnTo>
                      <a:pt x="360" y="351"/>
                    </a:lnTo>
                    <a:lnTo>
                      <a:pt x="359" y="351"/>
                    </a:lnTo>
                    <a:lnTo>
                      <a:pt x="359" y="352"/>
                    </a:lnTo>
                    <a:lnTo>
                      <a:pt x="358" y="352"/>
                    </a:lnTo>
                    <a:lnTo>
                      <a:pt x="357" y="352"/>
                    </a:lnTo>
                    <a:lnTo>
                      <a:pt x="356" y="353"/>
                    </a:lnTo>
                    <a:lnTo>
                      <a:pt x="355" y="355"/>
                    </a:lnTo>
                    <a:lnTo>
                      <a:pt x="354" y="355"/>
                    </a:lnTo>
                    <a:lnTo>
                      <a:pt x="354" y="356"/>
                    </a:lnTo>
                    <a:lnTo>
                      <a:pt x="353" y="356"/>
                    </a:lnTo>
                    <a:lnTo>
                      <a:pt x="352" y="356"/>
                    </a:lnTo>
                    <a:lnTo>
                      <a:pt x="352" y="357"/>
                    </a:lnTo>
                    <a:lnTo>
                      <a:pt x="351" y="357"/>
                    </a:lnTo>
                    <a:lnTo>
                      <a:pt x="350" y="357"/>
                    </a:lnTo>
                    <a:lnTo>
                      <a:pt x="349" y="358"/>
                    </a:lnTo>
                    <a:lnTo>
                      <a:pt x="347" y="358"/>
                    </a:lnTo>
                    <a:lnTo>
                      <a:pt x="346" y="358"/>
                    </a:lnTo>
                    <a:lnTo>
                      <a:pt x="345" y="359"/>
                    </a:lnTo>
                    <a:lnTo>
                      <a:pt x="344" y="359"/>
                    </a:lnTo>
                    <a:lnTo>
                      <a:pt x="343" y="359"/>
                    </a:lnTo>
                    <a:lnTo>
                      <a:pt x="342" y="359"/>
                    </a:lnTo>
                    <a:lnTo>
                      <a:pt x="341" y="359"/>
                    </a:lnTo>
                    <a:lnTo>
                      <a:pt x="340" y="359"/>
                    </a:lnTo>
                    <a:lnTo>
                      <a:pt x="339" y="358"/>
                    </a:lnTo>
                    <a:lnTo>
                      <a:pt x="337" y="358"/>
                    </a:lnTo>
                    <a:lnTo>
                      <a:pt x="337" y="359"/>
                    </a:lnTo>
                    <a:lnTo>
                      <a:pt x="337" y="360"/>
                    </a:lnTo>
                    <a:lnTo>
                      <a:pt x="338" y="361"/>
                    </a:lnTo>
                    <a:lnTo>
                      <a:pt x="337" y="362"/>
                    </a:lnTo>
                    <a:lnTo>
                      <a:pt x="337" y="363"/>
                    </a:lnTo>
                    <a:lnTo>
                      <a:pt x="336" y="363"/>
                    </a:lnTo>
                    <a:lnTo>
                      <a:pt x="334" y="363"/>
                    </a:lnTo>
                    <a:lnTo>
                      <a:pt x="336" y="364"/>
                    </a:lnTo>
                    <a:lnTo>
                      <a:pt x="336" y="365"/>
                    </a:lnTo>
                    <a:lnTo>
                      <a:pt x="336" y="366"/>
                    </a:lnTo>
                    <a:lnTo>
                      <a:pt x="336" y="368"/>
                    </a:lnTo>
                    <a:lnTo>
                      <a:pt x="334" y="368"/>
                    </a:lnTo>
                    <a:lnTo>
                      <a:pt x="334" y="369"/>
                    </a:lnTo>
                    <a:lnTo>
                      <a:pt x="334" y="370"/>
                    </a:lnTo>
                    <a:lnTo>
                      <a:pt x="333" y="370"/>
                    </a:lnTo>
                    <a:lnTo>
                      <a:pt x="333" y="371"/>
                    </a:lnTo>
                    <a:lnTo>
                      <a:pt x="332" y="371"/>
                    </a:lnTo>
                    <a:lnTo>
                      <a:pt x="331" y="371"/>
                    </a:lnTo>
                    <a:lnTo>
                      <a:pt x="330" y="371"/>
                    </a:lnTo>
                    <a:lnTo>
                      <a:pt x="330" y="372"/>
                    </a:lnTo>
                    <a:lnTo>
                      <a:pt x="330" y="373"/>
                    </a:lnTo>
                    <a:lnTo>
                      <a:pt x="330" y="374"/>
                    </a:lnTo>
                    <a:lnTo>
                      <a:pt x="330" y="375"/>
                    </a:lnTo>
                    <a:lnTo>
                      <a:pt x="329" y="375"/>
                    </a:lnTo>
                    <a:lnTo>
                      <a:pt x="329" y="376"/>
                    </a:lnTo>
                    <a:lnTo>
                      <a:pt x="328" y="376"/>
                    </a:lnTo>
                    <a:lnTo>
                      <a:pt x="327" y="376"/>
                    </a:lnTo>
                    <a:lnTo>
                      <a:pt x="327" y="375"/>
                    </a:lnTo>
                    <a:lnTo>
                      <a:pt x="327" y="374"/>
                    </a:lnTo>
                    <a:lnTo>
                      <a:pt x="327" y="373"/>
                    </a:lnTo>
                    <a:lnTo>
                      <a:pt x="328" y="373"/>
                    </a:lnTo>
                    <a:lnTo>
                      <a:pt x="329" y="373"/>
                    </a:lnTo>
                    <a:lnTo>
                      <a:pt x="329" y="372"/>
                    </a:lnTo>
                    <a:lnTo>
                      <a:pt x="328" y="371"/>
                    </a:lnTo>
                    <a:lnTo>
                      <a:pt x="329" y="370"/>
                    </a:lnTo>
                    <a:lnTo>
                      <a:pt x="330" y="369"/>
                    </a:lnTo>
                    <a:lnTo>
                      <a:pt x="330" y="368"/>
                    </a:lnTo>
                    <a:lnTo>
                      <a:pt x="330" y="366"/>
                    </a:lnTo>
                    <a:lnTo>
                      <a:pt x="329" y="366"/>
                    </a:lnTo>
                    <a:lnTo>
                      <a:pt x="328" y="366"/>
                    </a:lnTo>
                    <a:lnTo>
                      <a:pt x="327" y="366"/>
                    </a:lnTo>
                    <a:lnTo>
                      <a:pt x="326" y="368"/>
                    </a:lnTo>
                    <a:lnTo>
                      <a:pt x="323" y="368"/>
                    </a:lnTo>
                    <a:lnTo>
                      <a:pt x="323" y="366"/>
                    </a:lnTo>
                    <a:lnTo>
                      <a:pt x="321" y="366"/>
                    </a:lnTo>
                    <a:lnTo>
                      <a:pt x="323" y="365"/>
                    </a:lnTo>
                    <a:lnTo>
                      <a:pt x="324" y="364"/>
                    </a:lnTo>
                    <a:lnTo>
                      <a:pt x="325" y="364"/>
                    </a:lnTo>
                    <a:lnTo>
                      <a:pt x="326" y="364"/>
                    </a:lnTo>
                    <a:lnTo>
                      <a:pt x="326" y="363"/>
                    </a:lnTo>
                    <a:lnTo>
                      <a:pt x="327" y="363"/>
                    </a:lnTo>
                    <a:lnTo>
                      <a:pt x="328" y="362"/>
                    </a:lnTo>
                    <a:lnTo>
                      <a:pt x="328" y="361"/>
                    </a:lnTo>
                    <a:lnTo>
                      <a:pt x="327" y="361"/>
                    </a:lnTo>
                    <a:lnTo>
                      <a:pt x="327" y="360"/>
                    </a:lnTo>
                    <a:lnTo>
                      <a:pt x="326" y="360"/>
                    </a:lnTo>
                    <a:lnTo>
                      <a:pt x="325" y="359"/>
                    </a:lnTo>
                    <a:lnTo>
                      <a:pt x="325" y="358"/>
                    </a:lnTo>
                    <a:lnTo>
                      <a:pt x="326" y="358"/>
                    </a:lnTo>
                    <a:lnTo>
                      <a:pt x="327" y="358"/>
                    </a:lnTo>
                    <a:lnTo>
                      <a:pt x="327" y="357"/>
                    </a:lnTo>
                    <a:lnTo>
                      <a:pt x="327" y="356"/>
                    </a:lnTo>
                    <a:lnTo>
                      <a:pt x="326" y="356"/>
                    </a:lnTo>
                    <a:lnTo>
                      <a:pt x="326" y="355"/>
                    </a:lnTo>
                    <a:lnTo>
                      <a:pt x="325" y="355"/>
                    </a:lnTo>
                    <a:lnTo>
                      <a:pt x="324" y="353"/>
                    </a:lnTo>
                    <a:lnTo>
                      <a:pt x="325" y="353"/>
                    </a:lnTo>
                    <a:lnTo>
                      <a:pt x="326" y="353"/>
                    </a:lnTo>
                    <a:lnTo>
                      <a:pt x="327" y="353"/>
                    </a:lnTo>
                    <a:lnTo>
                      <a:pt x="328" y="353"/>
                    </a:lnTo>
                    <a:lnTo>
                      <a:pt x="329" y="355"/>
                    </a:lnTo>
                    <a:lnTo>
                      <a:pt x="329" y="353"/>
                    </a:lnTo>
                    <a:lnTo>
                      <a:pt x="330" y="352"/>
                    </a:lnTo>
                    <a:lnTo>
                      <a:pt x="329" y="352"/>
                    </a:lnTo>
                    <a:lnTo>
                      <a:pt x="329" y="351"/>
                    </a:lnTo>
                    <a:lnTo>
                      <a:pt x="330" y="351"/>
                    </a:lnTo>
                    <a:lnTo>
                      <a:pt x="331" y="350"/>
                    </a:lnTo>
                    <a:lnTo>
                      <a:pt x="330" y="349"/>
                    </a:lnTo>
                    <a:lnTo>
                      <a:pt x="331" y="349"/>
                    </a:lnTo>
                    <a:lnTo>
                      <a:pt x="332" y="349"/>
                    </a:lnTo>
                    <a:lnTo>
                      <a:pt x="333" y="349"/>
                    </a:lnTo>
                    <a:lnTo>
                      <a:pt x="332" y="350"/>
                    </a:lnTo>
                    <a:lnTo>
                      <a:pt x="332" y="351"/>
                    </a:lnTo>
                    <a:lnTo>
                      <a:pt x="333" y="351"/>
                    </a:lnTo>
                    <a:lnTo>
                      <a:pt x="334" y="351"/>
                    </a:lnTo>
                    <a:lnTo>
                      <a:pt x="334" y="350"/>
                    </a:lnTo>
                    <a:lnTo>
                      <a:pt x="333" y="350"/>
                    </a:lnTo>
                    <a:lnTo>
                      <a:pt x="334" y="349"/>
                    </a:lnTo>
                    <a:lnTo>
                      <a:pt x="336" y="348"/>
                    </a:lnTo>
                    <a:lnTo>
                      <a:pt x="337" y="348"/>
                    </a:lnTo>
                    <a:lnTo>
                      <a:pt x="338" y="348"/>
                    </a:lnTo>
                    <a:lnTo>
                      <a:pt x="338" y="349"/>
                    </a:lnTo>
                    <a:lnTo>
                      <a:pt x="339" y="349"/>
                    </a:lnTo>
                    <a:lnTo>
                      <a:pt x="339" y="350"/>
                    </a:lnTo>
                    <a:lnTo>
                      <a:pt x="340" y="350"/>
                    </a:lnTo>
                    <a:lnTo>
                      <a:pt x="341" y="350"/>
                    </a:lnTo>
                    <a:lnTo>
                      <a:pt x="341" y="349"/>
                    </a:lnTo>
                    <a:lnTo>
                      <a:pt x="340" y="349"/>
                    </a:lnTo>
                    <a:lnTo>
                      <a:pt x="339" y="348"/>
                    </a:lnTo>
                    <a:lnTo>
                      <a:pt x="339" y="347"/>
                    </a:lnTo>
                    <a:lnTo>
                      <a:pt x="347" y="345"/>
                    </a:lnTo>
                    <a:lnTo>
                      <a:pt x="360" y="340"/>
                    </a:lnTo>
                    <a:lnTo>
                      <a:pt x="365" y="338"/>
                    </a:lnTo>
                    <a:lnTo>
                      <a:pt x="366" y="337"/>
                    </a:lnTo>
                    <a:lnTo>
                      <a:pt x="366" y="338"/>
                    </a:lnTo>
                    <a:lnTo>
                      <a:pt x="366" y="339"/>
                    </a:lnTo>
                    <a:lnTo>
                      <a:pt x="366" y="340"/>
                    </a:lnTo>
                    <a:lnTo>
                      <a:pt x="365" y="340"/>
                    </a:lnTo>
                    <a:lnTo>
                      <a:pt x="365" y="342"/>
                    </a:lnTo>
                    <a:lnTo>
                      <a:pt x="364" y="343"/>
                    </a:lnTo>
                    <a:lnTo>
                      <a:pt x="364" y="344"/>
                    </a:lnTo>
                    <a:lnTo>
                      <a:pt x="363" y="344"/>
                    </a:lnTo>
                    <a:lnTo>
                      <a:pt x="363" y="345"/>
                    </a:lnTo>
                    <a:lnTo>
                      <a:pt x="362" y="346"/>
                    </a:lnTo>
                    <a:lnTo>
                      <a:pt x="362" y="347"/>
                    </a:lnTo>
                    <a:lnTo>
                      <a:pt x="362" y="348"/>
                    </a:lnTo>
                    <a:lnTo>
                      <a:pt x="362" y="349"/>
                    </a:lnTo>
                    <a:lnTo>
                      <a:pt x="360" y="350"/>
                    </a:lnTo>
                    <a:close/>
                    <a:moveTo>
                      <a:pt x="375" y="346"/>
                    </a:moveTo>
                    <a:lnTo>
                      <a:pt x="376" y="347"/>
                    </a:lnTo>
                    <a:lnTo>
                      <a:pt x="377" y="348"/>
                    </a:lnTo>
                    <a:lnTo>
                      <a:pt x="377" y="349"/>
                    </a:lnTo>
                    <a:lnTo>
                      <a:pt x="377" y="350"/>
                    </a:lnTo>
                    <a:lnTo>
                      <a:pt x="378" y="351"/>
                    </a:lnTo>
                    <a:lnTo>
                      <a:pt x="378" y="352"/>
                    </a:lnTo>
                    <a:lnTo>
                      <a:pt x="378" y="356"/>
                    </a:lnTo>
                    <a:lnTo>
                      <a:pt x="378" y="357"/>
                    </a:lnTo>
                    <a:lnTo>
                      <a:pt x="377" y="356"/>
                    </a:lnTo>
                    <a:lnTo>
                      <a:pt x="377" y="355"/>
                    </a:lnTo>
                    <a:lnTo>
                      <a:pt x="376" y="355"/>
                    </a:lnTo>
                    <a:lnTo>
                      <a:pt x="375" y="355"/>
                    </a:lnTo>
                    <a:lnTo>
                      <a:pt x="375" y="356"/>
                    </a:lnTo>
                    <a:lnTo>
                      <a:pt x="376" y="356"/>
                    </a:lnTo>
                    <a:lnTo>
                      <a:pt x="376" y="357"/>
                    </a:lnTo>
                    <a:lnTo>
                      <a:pt x="377" y="357"/>
                    </a:lnTo>
                    <a:lnTo>
                      <a:pt x="377" y="358"/>
                    </a:lnTo>
                    <a:lnTo>
                      <a:pt x="378" y="359"/>
                    </a:lnTo>
                    <a:lnTo>
                      <a:pt x="378" y="360"/>
                    </a:lnTo>
                    <a:lnTo>
                      <a:pt x="379" y="362"/>
                    </a:lnTo>
                    <a:lnTo>
                      <a:pt x="380" y="363"/>
                    </a:lnTo>
                    <a:lnTo>
                      <a:pt x="380" y="364"/>
                    </a:lnTo>
                    <a:lnTo>
                      <a:pt x="381" y="364"/>
                    </a:lnTo>
                    <a:lnTo>
                      <a:pt x="381" y="365"/>
                    </a:lnTo>
                    <a:lnTo>
                      <a:pt x="381" y="366"/>
                    </a:lnTo>
                    <a:lnTo>
                      <a:pt x="380" y="366"/>
                    </a:lnTo>
                    <a:lnTo>
                      <a:pt x="380" y="365"/>
                    </a:lnTo>
                    <a:lnTo>
                      <a:pt x="380" y="364"/>
                    </a:lnTo>
                    <a:lnTo>
                      <a:pt x="379" y="363"/>
                    </a:lnTo>
                    <a:lnTo>
                      <a:pt x="378" y="362"/>
                    </a:lnTo>
                    <a:lnTo>
                      <a:pt x="377" y="360"/>
                    </a:lnTo>
                    <a:lnTo>
                      <a:pt x="376" y="360"/>
                    </a:lnTo>
                    <a:lnTo>
                      <a:pt x="376" y="359"/>
                    </a:lnTo>
                    <a:lnTo>
                      <a:pt x="375" y="359"/>
                    </a:lnTo>
                    <a:lnTo>
                      <a:pt x="373" y="359"/>
                    </a:lnTo>
                    <a:lnTo>
                      <a:pt x="373" y="360"/>
                    </a:lnTo>
                    <a:lnTo>
                      <a:pt x="375" y="360"/>
                    </a:lnTo>
                    <a:lnTo>
                      <a:pt x="376" y="361"/>
                    </a:lnTo>
                    <a:lnTo>
                      <a:pt x="376" y="362"/>
                    </a:lnTo>
                    <a:lnTo>
                      <a:pt x="377" y="362"/>
                    </a:lnTo>
                    <a:lnTo>
                      <a:pt x="377" y="363"/>
                    </a:lnTo>
                    <a:lnTo>
                      <a:pt x="377" y="364"/>
                    </a:lnTo>
                    <a:lnTo>
                      <a:pt x="376" y="364"/>
                    </a:lnTo>
                    <a:lnTo>
                      <a:pt x="375" y="364"/>
                    </a:lnTo>
                    <a:lnTo>
                      <a:pt x="373" y="363"/>
                    </a:lnTo>
                    <a:lnTo>
                      <a:pt x="372" y="363"/>
                    </a:lnTo>
                    <a:lnTo>
                      <a:pt x="372" y="362"/>
                    </a:lnTo>
                    <a:lnTo>
                      <a:pt x="371" y="362"/>
                    </a:lnTo>
                    <a:lnTo>
                      <a:pt x="371" y="363"/>
                    </a:lnTo>
                    <a:lnTo>
                      <a:pt x="371" y="364"/>
                    </a:lnTo>
                    <a:lnTo>
                      <a:pt x="372" y="365"/>
                    </a:lnTo>
                    <a:lnTo>
                      <a:pt x="376" y="366"/>
                    </a:lnTo>
                    <a:lnTo>
                      <a:pt x="376" y="368"/>
                    </a:lnTo>
                    <a:lnTo>
                      <a:pt x="375" y="368"/>
                    </a:lnTo>
                    <a:lnTo>
                      <a:pt x="375" y="369"/>
                    </a:lnTo>
                    <a:lnTo>
                      <a:pt x="375" y="370"/>
                    </a:lnTo>
                    <a:lnTo>
                      <a:pt x="375" y="371"/>
                    </a:lnTo>
                    <a:lnTo>
                      <a:pt x="376" y="371"/>
                    </a:lnTo>
                    <a:lnTo>
                      <a:pt x="377" y="371"/>
                    </a:lnTo>
                    <a:lnTo>
                      <a:pt x="378" y="371"/>
                    </a:lnTo>
                    <a:lnTo>
                      <a:pt x="379" y="371"/>
                    </a:lnTo>
                    <a:lnTo>
                      <a:pt x="380" y="372"/>
                    </a:lnTo>
                    <a:lnTo>
                      <a:pt x="381" y="372"/>
                    </a:lnTo>
                    <a:lnTo>
                      <a:pt x="383" y="373"/>
                    </a:lnTo>
                    <a:lnTo>
                      <a:pt x="382" y="373"/>
                    </a:lnTo>
                    <a:lnTo>
                      <a:pt x="381" y="373"/>
                    </a:lnTo>
                    <a:lnTo>
                      <a:pt x="378" y="372"/>
                    </a:lnTo>
                    <a:lnTo>
                      <a:pt x="376" y="373"/>
                    </a:lnTo>
                    <a:lnTo>
                      <a:pt x="375" y="373"/>
                    </a:lnTo>
                    <a:lnTo>
                      <a:pt x="375" y="372"/>
                    </a:lnTo>
                    <a:lnTo>
                      <a:pt x="373" y="372"/>
                    </a:lnTo>
                    <a:lnTo>
                      <a:pt x="372" y="373"/>
                    </a:lnTo>
                    <a:lnTo>
                      <a:pt x="372" y="375"/>
                    </a:lnTo>
                    <a:lnTo>
                      <a:pt x="371" y="376"/>
                    </a:lnTo>
                    <a:lnTo>
                      <a:pt x="371" y="377"/>
                    </a:lnTo>
                    <a:lnTo>
                      <a:pt x="371" y="378"/>
                    </a:lnTo>
                    <a:lnTo>
                      <a:pt x="371" y="380"/>
                    </a:lnTo>
                    <a:lnTo>
                      <a:pt x="372" y="380"/>
                    </a:lnTo>
                    <a:lnTo>
                      <a:pt x="371" y="381"/>
                    </a:lnTo>
                    <a:lnTo>
                      <a:pt x="371" y="382"/>
                    </a:lnTo>
                    <a:lnTo>
                      <a:pt x="371" y="383"/>
                    </a:lnTo>
                    <a:lnTo>
                      <a:pt x="372" y="383"/>
                    </a:lnTo>
                    <a:lnTo>
                      <a:pt x="372" y="384"/>
                    </a:lnTo>
                    <a:lnTo>
                      <a:pt x="372" y="385"/>
                    </a:lnTo>
                    <a:lnTo>
                      <a:pt x="371" y="385"/>
                    </a:lnTo>
                    <a:lnTo>
                      <a:pt x="369" y="385"/>
                    </a:lnTo>
                    <a:lnTo>
                      <a:pt x="369" y="384"/>
                    </a:lnTo>
                    <a:lnTo>
                      <a:pt x="368" y="384"/>
                    </a:lnTo>
                    <a:lnTo>
                      <a:pt x="368" y="383"/>
                    </a:lnTo>
                    <a:lnTo>
                      <a:pt x="367" y="383"/>
                    </a:lnTo>
                    <a:lnTo>
                      <a:pt x="366" y="383"/>
                    </a:lnTo>
                    <a:lnTo>
                      <a:pt x="366" y="382"/>
                    </a:lnTo>
                    <a:lnTo>
                      <a:pt x="366" y="381"/>
                    </a:lnTo>
                    <a:lnTo>
                      <a:pt x="367" y="378"/>
                    </a:lnTo>
                    <a:lnTo>
                      <a:pt x="367" y="377"/>
                    </a:lnTo>
                    <a:lnTo>
                      <a:pt x="367" y="375"/>
                    </a:lnTo>
                    <a:lnTo>
                      <a:pt x="367" y="374"/>
                    </a:lnTo>
                    <a:lnTo>
                      <a:pt x="367" y="373"/>
                    </a:lnTo>
                    <a:lnTo>
                      <a:pt x="367" y="372"/>
                    </a:lnTo>
                    <a:lnTo>
                      <a:pt x="367" y="371"/>
                    </a:lnTo>
                    <a:lnTo>
                      <a:pt x="366" y="369"/>
                    </a:lnTo>
                    <a:lnTo>
                      <a:pt x="366" y="368"/>
                    </a:lnTo>
                    <a:lnTo>
                      <a:pt x="366" y="364"/>
                    </a:lnTo>
                    <a:lnTo>
                      <a:pt x="365" y="363"/>
                    </a:lnTo>
                    <a:lnTo>
                      <a:pt x="365" y="362"/>
                    </a:lnTo>
                    <a:lnTo>
                      <a:pt x="365" y="361"/>
                    </a:lnTo>
                    <a:lnTo>
                      <a:pt x="365" y="360"/>
                    </a:lnTo>
                    <a:lnTo>
                      <a:pt x="366" y="358"/>
                    </a:lnTo>
                    <a:lnTo>
                      <a:pt x="366" y="357"/>
                    </a:lnTo>
                    <a:lnTo>
                      <a:pt x="366" y="356"/>
                    </a:lnTo>
                    <a:lnTo>
                      <a:pt x="366" y="355"/>
                    </a:lnTo>
                    <a:lnTo>
                      <a:pt x="367" y="353"/>
                    </a:lnTo>
                    <a:lnTo>
                      <a:pt x="367" y="352"/>
                    </a:lnTo>
                    <a:lnTo>
                      <a:pt x="368" y="351"/>
                    </a:lnTo>
                    <a:lnTo>
                      <a:pt x="368" y="350"/>
                    </a:lnTo>
                    <a:lnTo>
                      <a:pt x="369" y="348"/>
                    </a:lnTo>
                    <a:lnTo>
                      <a:pt x="369" y="347"/>
                    </a:lnTo>
                    <a:lnTo>
                      <a:pt x="370" y="347"/>
                    </a:lnTo>
                    <a:lnTo>
                      <a:pt x="370" y="346"/>
                    </a:lnTo>
                    <a:lnTo>
                      <a:pt x="371" y="346"/>
                    </a:lnTo>
                    <a:lnTo>
                      <a:pt x="372" y="346"/>
                    </a:lnTo>
                    <a:lnTo>
                      <a:pt x="372" y="345"/>
                    </a:lnTo>
                    <a:lnTo>
                      <a:pt x="372" y="344"/>
                    </a:lnTo>
                    <a:lnTo>
                      <a:pt x="373" y="344"/>
                    </a:lnTo>
                    <a:lnTo>
                      <a:pt x="375" y="345"/>
                    </a:lnTo>
                    <a:lnTo>
                      <a:pt x="375" y="346"/>
                    </a:lnTo>
                    <a:close/>
                    <a:moveTo>
                      <a:pt x="346" y="371"/>
                    </a:moveTo>
                    <a:lnTo>
                      <a:pt x="346" y="372"/>
                    </a:lnTo>
                    <a:lnTo>
                      <a:pt x="347" y="373"/>
                    </a:lnTo>
                    <a:lnTo>
                      <a:pt x="347" y="374"/>
                    </a:lnTo>
                    <a:lnTo>
                      <a:pt x="349" y="375"/>
                    </a:lnTo>
                    <a:lnTo>
                      <a:pt x="350" y="377"/>
                    </a:lnTo>
                    <a:lnTo>
                      <a:pt x="350" y="380"/>
                    </a:lnTo>
                    <a:lnTo>
                      <a:pt x="349" y="380"/>
                    </a:lnTo>
                    <a:lnTo>
                      <a:pt x="347" y="381"/>
                    </a:lnTo>
                    <a:lnTo>
                      <a:pt x="347" y="382"/>
                    </a:lnTo>
                    <a:lnTo>
                      <a:pt x="349" y="382"/>
                    </a:lnTo>
                    <a:lnTo>
                      <a:pt x="349" y="383"/>
                    </a:lnTo>
                    <a:lnTo>
                      <a:pt x="350" y="383"/>
                    </a:lnTo>
                    <a:lnTo>
                      <a:pt x="350" y="384"/>
                    </a:lnTo>
                    <a:lnTo>
                      <a:pt x="350" y="385"/>
                    </a:lnTo>
                    <a:lnTo>
                      <a:pt x="350" y="386"/>
                    </a:lnTo>
                    <a:lnTo>
                      <a:pt x="350" y="387"/>
                    </a:lnTo>
                    <a:lnTo>
                      <a:pt x="350" y="388"/>
                    </a:lnTo>
                    <a:lnTo>
                      <a:pt x="350" y="389"/>
                    </a:lnTo>
                    <a:lnTo>
                      <a:pt x="350" y="390"/>
                    </a:lnTo>
                    <a:lnTo>
                      <a:pt x="350" y="391"/>
                    </a:lnTo>
                    <a:lnTo>
                      <a:pt x="350" y="393"/>
                    </a:lnTo>
                    <a:lnTo>
                      <a:pt x="349" y="394"/>
                    </a:lnTo>
                    <a:lnTo>
                      <a:pt x="349" y="395"/>
                    </a:lnTo>
                    <a:lnTo>
                      <a:pt x="349" y="396"/>
                    </a:lnTo>
                    <a:lnTo>
                      <a:pt x="347" y="397"/>
                    </a:lnTo>
                    <a:lnTo>
                      <a:pt x="346" y="397"/>
                    </a:lnTo>
                    <a:lnTo>
                      <a:pt x="346" y="396"/>
                    </a:lnTo>
                    <a:lnTo>
                      <a:pt x="345" y="396"/>
                    </a:lnTo>
                    <a:lnTo>
                      <a:pt x="346" y="395"/>
                    </a:lnTo>
                    <a:lnTo>
                      <a:pt x="347" y="394"/>
                    </a:lnTo>
                    <a:lnTo>
                      <a:pt x="347" y="393"/>
                    </a:lnTo>
                    <a:lnTo>
                      <a:pt x="347" y="391"/>
                    </a:lnTo>
                    <a:lnTo>
                      <a:pt x="349" y="391"/>
                    </a:lnTo>
                    <a:lnTo>
                      <a:pt x="349" y="390"/>
                    </a:lnTo>
                    <a:lnTo>
                      <a:pt x="349" y="389"/>
                    </a:lnTo>
                    <a:lnTo>
                      <a:pt x="349" y="388"/>
                    </a:lnTo>
                    <a:lnTo>
                      <a:pt x="347" y="387"/>
                    </a:lnTo>
                    <a:lnTo>
                      <a:pt x="347" y="386"/>
                    </a:lnTo>
                    <a:lnTo>
                      <a:pt x="346" y="386"/>
                    </a:lnTo>
                    <a:lnTo>
                      <a:pt x="345" y="384"/>
                    </a:lnTo>
                    <a:lnTo>
                      <a:pt x="345" y="383"/>
                    </a:lnTo>
                    <a:lnTo>
                      <a:pt x="345" y="382"/>
                    </a:lnTo>
                    <a:lnTo>
                      <a:pt x="345" y="381"/>
                    </a:lnTo>
                    <a:lnTo>
                      <a:pt x="344" y="381"/>
                    </a:lnTo>
                    <a:lnTo>
                      <a:pt x="344" y="383"/>
                    </a:lnTo>
                    <a:lnTo>
                      <a:pt x="344" y="384"/>
                    </a:lnTo>
                    <a:lnTo>
                      <a:pt x="343" y="384"/>
                    </a:lnTo>
                    <a:lnTo>
                      <a:pt x="343" y="383"/>
                    </a:lnTo>
                    <a:lnTo>
                      <a:pt x="343" y="381"/>
                    </a:lnTo>
                    <a:lnTo>
                      <a:pt x="343" y="380"/>
                    </a:lnTo>
                    <a:lnTo>
                      <a:pt x="342" y="380"/>
                    </a:lnTo>
                    <a:lnTo>
                      <a:pt x="342" y="381"/>
                    </a:lnTo>
                    <a:lnTo>
                      <a:pt x="341" y="381"/>
                    </a:lnTo>
                    <a:lnTo>
                      <a:pt x="341" y="382"/>
                    </a:lnTo>
                    <a:lnTo>
                      <a:pt x="341" y="383"/>
                    </a:lnTo>
                    <a:lnTo>
                      <a:pt x="340" y="384"/>
                    </a:lnTo>
                    <a:lnTo>
                      <a:pt x="339" y="384"/>
                    </a:lnTo>
                    <a:lnTo>
                      <a:pt x="339" y="383"/>
                    </a:lnTo>
                    <a:lnTo>
                      <a:pt x="338" y="384"/>
                    </a:lnTo>
                    <a:lnTo>
                      <a:pt x="338" y="385"/>
                    </a:lnTo>
                    <a:lnTo>
                      <a:pt x="339" y="385"/>
                    </a:lnTo>
                    <a:lnTo>
                      <a:pt x="338" y="386"/>
                    </a:lnTo>
                    <a:lnTo>
                      <a:pt x="338" y="388"/>
                    </a:lnTo>
                    <a:lnTo>
                      <a:pt x="339" y="388"/>
                    </a:lnTo>
                    <a:lnTo>
                      <a:pt x="339" y="389"/>
                    </a:lnTo>
                    <a:lnTo>
                      <a:pt x="339" y="390"/>
                    </a:lnTo>
                    <a:lnTo>
                      <a:pt x="339" y="393"/>
                    </a:lnTo>
                    <a:lnTo>
                      <a:pt x="339" y="394"/>
                    </a:lnTo>
                    <a:lnTo>
                      <a:pt x="338" y="394"/>
                    </a:lnTo>
                    <a:lnTo>
                      <a:pt x="338" y="393"/>
                    </a:lnTo>
                    <a:lnTo>
                      <a:pt x="338" y="391"/>
                    </a:lnTo>
                    <a:lnTo>
                      <a:pt x="337" y="390"/>
                    </a:lnTo>
                    <a:lnTo>
                      <a:pt x="337" y="389"/>
                    </a:lnTo>
                    <a:lnTo>
                      <a:pt x="337" y="388"/>
                    </a:lnTo>
                    <a:lnTo>
                      <a:pt x="337" y="387"/>
                    </a:lnTo>
                    <a:lnTo>
                      <a:pt x="337" y="386"/>
                    </a:lnTo>
                    <a:lnTo>
                      <a:pt x="337" y="385"/>
                    </a:lnTo>
                    <a:lnTo>
                      <a:pt x="336" y="384"/>
                    </a:lnTo>
                    <a:lnTo>
                      <a:pt x="336" y="383"/>
                    </a:lnTo>
                    <a:lnTo>
                      <a:pt x="336" y="382"/>
                    </a:lnTo>
                    <a:lnTo>
                      <a:pt x="334" y="382"/>
                    </a:lnTo>
                    <a:lnTo>
                      <a:pt x="333" y="383"/>
                    </a:lnTo>
                    <a:lnTo>
                      <a:pt x="333" y="384"/>
                    </a:lnTo>
                    <a:lnTo>
                      <a:pt x="334" y="385"/>
                    </a:lnTo>
                    <a:lnTo>
                      <a:pt x="334" y="386"/>
                    </a:lnTo>
                    <a:lnTo>
                      <a:pt x="334" y="388"/>
                    </a:lnTo>
                    <a:lnTo>
                      <a:pt x="334" y="389"/>
                    </a:lnTo>
                    <a:lnTo>
                      <a:pt x="334" y="390"/>
                    </a:lnTo>
                    <a:lnTo>
                      <a:pt x="334" y="391"/>
                    </a:lnTo>
                    <a:lnTo>
                      <a:pt x="334" y="395"/>
                    </a:lnTo>
                    <a:lnTo>
                      <a:pt x="334" y="396"/>
                    </a:lnTo>
                    <a:lnTo>
                      <a:pt x="334" y="397"/>
                    </a:lnTo>
                    <a:lnTo>
                      <a:pt x="334" y="396"/>
                    </a:lnTo>
                    <a:lnTo>
                      <a:pt x="334" y="394"/>
                    </a:lnTo>
                    <a:lnTo>
                      <a:pt x="333" y="393"/>
                    </a:lnTo>
                    <a:lnTo>
                      <a:pt x="333" y="391"/>
                    </a:lnTo>
                    <a:lnTo>
                      <a:pt x="333" y="390"/>
                    </a:lnTo>
                    <a:lnTo>
                      <a:pt x="333" y="389"/>
                    </a:lnTo>
                    <a:lnTo>
                      <a:pt x="333" y="387"/>
                    </a:lnTo>
                    <a:lnTo>
                      <a:pt x="332" y="386"/>
                    </a:lnTo>
                    <a:lnTo>
                      <a:pt x="332" y="385"/>
                    </a:lnTo>
                    <a:lnTo>
                      <a:pt x="333" y="385"/>
                    </a:lnTo>
                    <a:lnTo>
                      <a:pt x="333" y="383"/>
                    </a:lnTo>
                    <a:lnTo>
                      <a:pt x="332" y="382"/>
                    </a:lnTo>
                    <a:lnTo>
                      <a:pt x="333" y="381"/>
                    </a:lnTo>
                    <a:lnTo>
                      <a:pt x="334" y="381"/>
                    </a:lnTo>
                    <a:lnTo>
                      <a:pt x="334" y="380"/>
                    </a:lnTo>
                    <a:lnTo>
                      <a:pt x="334" y="378"/>
                    </a:lnTo>
                    <a:lnTo>
                      <a:pt x="336" y="377"/>
                    </a:lnTo>
                    <a:lnTo>
                      <a:pt x="336" y="376"/>
                    </a:lnTo>
                    <a:lnTo>
                      <a:pt x="337" y="376"/>
                    </a:lnTo>
                    <a:lnTo>
                      <a:pt x="338" y="376"/>
                    </a:lnTo>
                    <a:lnTo>
                      <a:pt x="338" y="375"/>
                    </a:lnTo>
                    <a:lnTo>
                      <a:pt x="339" y="375"/>
                    </a:lnTo>
                    <a:lnTo>
                      <a:pt x="339" y="374"/>
                    </a:lnTo>
                    <a:lnTo>
                      <a:pt x="340" y="374"/>
                    </a:lnTo>
                    <a:lnTo>
                      <a:pt x="341" y="374"/>
                    </a:lnTo>
                    <a:lnTo>
                      <a:pt x="342" y="374"/>
                    </a:lnTo>
                    <a:lnTo>
                      <a:pt x="342" y="373"/>
                    </a:lnTo>
                    <a:lnTo>
                      <a:pt x="343" y="373"/>
                    </a:lnTo>
                    <a:lnTo>
                      <a:pt x="343" y="372"/>
                    </a:lnTo>
                    <a:lnTo>
                      <a:pt x="344" y="372"/>
                    </a:lnTo>
                    <a:lnTo>
                      <a:pt x="345" y="371"/>
                    </a:lnTo>
                    <a:lnTo>
                      <a:pt x="346" y="371"/>
                    </a:lnTo>
                    <a:close/>
                    <a:moveTo>
                      <a:pt x="363" y="360"/>
                    </a:moveTo>
                    <a:lnTo>
                      <a:pt x="364" y="362"/>
                    </a:lnTo>
                    <a:lnTo>
                      <a:pt x="364" y="363"/>
                    </a:lnTo>
                    <a:lnTo>
                      <a:pt x="364" y="364"/>
                    </a:lnTo>
                    <a:lnTo>
                      <a:pt x="364" y="368"/>
                    </a:lnTo>
                    <a:lnTo>
                      <a:pt x="364" y="369"/>
                    </a:lnTo>
                    <a:lnTo>
                      <a:pt x="365" y="369"/>
                    </a:lnTo>
                    <a:lnTo>
                      <a:pt x="365" y="370"/>
                    </a:lnTo>
                    <a:lnTo>
                      <a:pt x="365" y="371"/>
                    </a:lnTo>
                    <a:lnTo>
                      <a:pt x="365" y="372"/>
                    </a:lnTo>
                    <a:lnTo>
                      <a:pt x="366" y="373"/>
                    </a:lnTo>
                    <a:lnTo>
                      <a:pt x="366" y="374"/>
                    </a:lnTo>
                    <a:lnTo>
                      <a:pt x="366" y="375"/>
                    </a:lnTo>
                    <a:lnTo>
                      <a:pt x="366" y="377"/>
                    </a:lnTo>
                    <a:lnTo>
                      <a:pt x="366" y="380"/>
                    </a:lnTo>
                    <a:lnTo>
                      <a:pt x="365" y="381"/>
                    </a:lnTo>
                    <a:lnTo>
                      <a:pt x="365" y="382"/>
                    </a:lnTo>
                    <a:lnTo>
                      <a:pt x="365" y="381"/>
                    </a:lnTo>
                    <a:lnTo>
                      <a:pt x="365" y="380"/>
                    </a:lnTo>
                    <a:lnTo>
                      <a:pt x="365" y="376"/>
                    </a:lnTo>
                    <a:lnTo>
                      <a:pt x="365" y="375"/>
                    </a:lnTo>
                    <a:lnTo>
                      <a:pt x="365" y="376"/>
                    </a:lnTo>
                    <a:lnTo>
                      <a:pt x="364" y="377"/>
                    </a:lnTo>
                    <a:lnTo>
                      <a:pt x="364" y="378"/>
                    </a:lnTo>
                    <a:lnTo>
                      <a:pt x="363" y="378"/>
                    </a:lnTo>
                    <a:lnTo>
                      <a:pt x="363" y="380"/>
                    </a:lnTo>
                    <a:lnTo>
                      <a:pt x="363" y="381"/>
                    </a:lnTo>
                    <a:lnTo>
                      <a:pt x="362" y="382"/>
                    </a:lnTo>
                    <a:lnTo>
                      <a:pt x="360" y="382"/>
                    </a:lnTo>
                    <a:lnTo>
                      <a:pt x="360" y="383"/>
                    </a:lnTo>
                    <a:lnTo>
                      <a:pt x="360" y="384"/>
                    </a:lnTo>
                    <a:lnTo>
                      <a:pt x="359" y="385"/>
                    </a:lnTo>
                    <a:lnTo>
                      <a:pt x="358" y="385"/>
                    </a:lnTo>
                    <a:lnTo>
                      <a:pt x="358" y="384"/>
                    </a:lnTo>
                    <a:lnTo>
                      <a:pt x="358" y="383"/>
                    </a:lnTo>
                    <a:lnTo>
                      <a:pt x="359" y="383"/>
                    </a:lnTo>
                    <a:lnTo>
                      <a:pt x="359" y="382"/>
                    </a:lnTo>
                    <a:lnTo>
                      <a:pt x="359" y="381"/>
                    </a:lnTo>
                    <a:lnTo>
                      <a:pt x="359" y="380"/>
                    </a:lnTo>
                    <a:lnTo>
                      <a:pt x="360" y="380"/>
                    </a:lnTo>
                    <a:lnTo>
                      <a:pt x="360" y="378"/>
                    </a:lnTo>
                    <a:lnTo>
                      <a:pt x="362" y="378"/>
                    </a:lnTo>
                    <a:lnTo>
                      <a:pt x="362" y="377"/>
                    </a:lnTo>
                    <a:lnTo>
                      <a:pt x="362" y="376"/>
                    </a:lnTo>
                    <a:lnTo>
                      <a:pt x="363" y="375"/>
                    </a:lnTo>
                    <a:lnTo>
                      <a:pt x="363" y="374"/>
                    </a:lnTo>
                    <a:lnTo>
                      <a:pt x="364" y="374"/>
                    </a:lnTo>
                    <a:lnTo>
                      <a:pt x="364" y="373"/>
                    </a:lnTo>
                    <a:lnTo>
                      <a:pt x="364" y="372"/>
                    </a:lnTo>
                    <a:lnTo>
                      <a:pt x="363" y="372"/>
                    </a:lnTo>
                    <a:lnTo>
                      <a:pt x="363" y="373"/>
                    </a:lnTo>
                    <a:lnTo>
                      <a:pt x="362" y="373"/>
                    </a:lnTo>
                    <a:lnTo>
                      <a:pt x="360" y="374"/>
                    </a:lnTo>
                    <a:lnTo>
                      <a:pt x="359" y="373"/>
                    </a:lnTo>
                    <a:lnTo>
                      <a:pt x="358" y="373"/>
                    </a:lnTo>
                    <a:lnTo>
                      <a:pt x="359" y="372"/>
                    </a:lnTo>
                    <a:lnTo>
                      <a:pt x="360" y="371"/>
                    </a:lnTo>
                    <a:lnTo>
                      <a:pt x="362" y="370"/>
                    </a:lnTo>
                    <a:lnTo>
                      <a:pt x="362" y="369"/>
                    </a:lnTo>
                    <a:lnTo>
                      <a:pt x="362" y="368"/>
                    </a:lnTo>
                    <a:lnTo>
                      <a:pt x="360" y="368"/>
                    </a:lnTo>
                    <a:lnTo>
                      <a:pt x="359" y="368"/>
                    </a:lnTo>
                    <a:lnTo>
                      <a:pt x="359" y="365"/>
                    </a:lnTo>
                    <a:lnTo>
                      <a:pt x="358" y="364"/>
                    </a:lnTo>
                    <a:lnTo>
                      <a:pt x="358" y="365"/>
                    </a:lnTo>
                    <a:lnTo>
                      <a:pt x="357" y="365"/>
                    </a:lnTo>
                    <a:lnTo>
                      <a:pt x="357" y="366"/>
                    </a:lnTo>
                    <a:lnTo>
                      <a:pt x="355" y="366"/>
                    </a:lnTo>
                    <a:lnTo>
                      <a:pt x="354" y="365"/>
                    </a:lnTo>
                    <a:lnTo>
                      <a:pt x="353" y="368"/>
                    </a:lnTo>
                    <a:lnTo>
                      <a:pt x="353" y="369"/>
                    </a:lnTo>
                    <a:lnTo>
                      <a:pt x="354" y="369"/>
                    </a:lnTo>
                    <a:lnTo>
                      <a:pt x="354" y="370"/>
                    </a:lnTo>
                    <a:lnTo>
                      <a:pt x="353" y="370"/>
                    </a:lnTo>
                    <a:lnTo>
                      <a:pt x="353" y="371"/>
                    </a:lnTo>
                    <a:lnTo>
                      <a:pt x="352" y="371"/>
                    </a:lnTo>
                    <a:lnTo>
                      <a:pt x="351" y="372"/>
                    </a:lnTo>
                    <a:lnTo>
                      <a:pt x="351" y="373"/>
                    </a:lnTo>
                    <a:lnTo>
                      <a:pt x="351" y="374"/>
                    </a:lnTo>
                    <a:lnTo>
                      <a:pt x="351" y="375"/>
                    </a:lnTo>
                    <a:lnTo>
                      <a:pt x="352" y="376"/>
                    </a:lnTo>
                    <a:lnTo>
                      <a:pt x="352" y="377"/>
                    </a:lnTo>
                    <a:lnTo>
                      <a:pt x="351" y="377"/>
                    </a:lnTo>
                    <a:lnTo>
                      <a:pt x="351" y="376"/>
                    </a:lnTo>
                    <a:lnTo>
                      <a:pt x="350" y="374"/>
                    </a:lnTo>
                    <a:lnTo>
                      <a:pt x="349" y="373"/>
                    </a:lnTo>
                    <a:lnTo>
                      <a:pt x="349" y="372"/>
                    </a:lnTo>
                    <a:lnTo>
                      <a:pt x="349" y="371"/>
                    </a:lnTo>
                    <a:lnTo>
                      <a:pt x="347" y="371"/>
                    </a:lnTo>
                    <a:lnTo>
                      <a:pt x="349" y="370"/>
                    </a:lnTo>
                    <a:lnTo>
                      <a:pt x="349" y="369"/>
                    </a:lnTo>
                    <a:lnTo>
                      <a:pt x="350" y="368"/>
                    </a:lnTo>
                    <a:lnTo>
                      <a:pt x="351" y="365"/>
                    </a:lnTo>
                    <a:lnTo>
                      <a:pt x="352" y="364"/>
                    </a:lnTo>
                    <a:lnTo>
                      <a:pt x="352" y="363"/>
                    </a:lnTo>
                    <a:lnTo>
                      <a:pt x="353" y="363"/>
                    </a:lnTo>
                    <a:lnTo>
                      <a:pt x="354" y="363"/>
                    </a:lnTo>
                    <a:lnTo>
                      <a:pt x="355" y="363"/>
                    </a:lnTo>
                    <a:lnTo>
                      <a:pt x="355" y="362"/>
                    </a:lnTo>
                    <a:lnTo>
                      <a:pt x="355" y="361"/>
                    </a:lnTo>
                    <a:lnTo>
                      <a:pt x="356" y="361"/>
                    </a:lnTo>
                    <a:lnTo>
                      <a:pt x="357" y="361"/>
                    </a:lnTo>
                    <a:lnTo>
                      <a:pt x="357" y="360"/>
                    </a:lnTo>
                    <a:lnTo>
                      <a:pt x="358" y="360"/>
                    </a:lnTo>
                    <a:lnTo>
                      <a:pt x="358" y="359"/>
                    </a:lnTo>
                    <a:lnTo>
                      <a:pt x="359" y="359"/>
                    </a:lnTo>
                    <a:lnTo>
                      <a:pt x="359" y="358"/>
                    </a:lnTo>
                    <a:lnTo>
                      <a:pt x="360" y="358"/>
                    </a:lnTo>
                    <a:lnTo>
                      <a:pt x="362" y="359"/>
                    </a:lnTo>
                    <a:lnTo>
                      <a:pt x="363" y="360"/>
                    </a:lnTo>
                    <a:close/>
                    <a:moveTo>
                      <a:pt x="347" y="339"/>
                    </a:moveTo>
                    <a:lnTo>
                      <a:pt x="349" y="339"/>
                    </a:lnTo>
                    <a:lnTo>
                      <a:pt x="350" y="339"/>
                    </a:lnTo>
                    <a:lnTo>
                      <a:pt x="353" y="339"/>
                    </a:lnTo>
                    <a:lnTo>
                      <a:pt x="354" y="340"/>
                    </a:lnTo>
                    <a:lnTo>
                      <a:pt x="355" y="340"/>
                    </a:lnTo>
                    <a:lnTo>
                      <a:pt x="356" y="340"/>
                    </a:lnTo>
                    <a:lnTo>
                      <a:pt x="355" y="340"/>
                    </a:lnTo>
                    <a:lnTo>
                      <a:pt x="355" y="342"/>
                    </a:lnTo>
                    <a:lnTo>
                      <a:pt x="354" y="342"/>
                    </a:lnTo>
                    <a:lnTo>
                      <a:pt x="353" y="342"/>
                    </a:lnTo>
                    <a:lnTo>
                      <a:pt x="351" y="343"/>
                    </a:lnTo>
                    <a:lnTo>
                      <a:pt x="350" y="343"/>
                    </a:lnTo>
                    <a:lnTo>
                      <a:pt x="349" y="343"/>
                    </a:lnTo>
                    <a:lnTo>
                      <a:pt x="347" y="344"/>
                    </a:lnTo>
                    <a:lnTo>
                      <a:pt x="346" y="344"/>
                    </a:lnTo>
                    <a:lnTo>
                      <a:pt x="345" y="344"/>
                    </a:lnTo>
                    <a:lnTo>
                      <a:pt x="344" y="345"/>
                    </a:lnTo>
                    <a:lnTo>
                      <a:pt x="343" y="345"/>
                    </a:lnTo>
                    <a:lnTo>
                      <a:pt x="342" y="345"/>
                    </a:lnTo>
                    <a:lnTo>
                      <a:pt x="341" y="345"/>
                    </a:lnTo>
                    <a:lnTo>
                      <a:pt x="340" y="346"/>
                    </a:lnTo>
                    <a:lnTo>
                      <a:pt x="339" y="346"/>
                    </a:lnTo>
                    <a:lnTo>
                      <a:pt x="338" y="346"/>
                    </a:lnTo>
                    <a:lnTo>
                      <a:pt x="337" y="346"/>
                    </a:lnTo>
                    <a:lnTo>
                      <a:pt x="337" y="345"/>
                    </a:lnTo>
                    <a:lnTo>
                      <a:pt x="337" y="344"/>
                    </a:lnTo>
                    <a:lnTo>
                      <a:pt x="338" y="343"/>
                    </a:lnTo>
                    <a:lnTo>
                      <a:pt x="337" y="342"/>
                    </a:lnTo>
                    <a:lnTo>
                      <a:pt x="338" y="342"/>
                    </a:lnTo>
                    <a:lnTo>
                      <a:pt x="339" y="342"/>
                    </a:lnTo>
                    <a:lnTo>
                      <a:pt x="340" y="342"/>
                    </a:lnTo>
                    <a:lnTo>
                      <a:pt x="339" y="342"/>
                    </a:lnTo>
                    <a:lnTo>
                      <a:pt x="340" y="340"/>
                    </a:lnTo>
                    <a:lnTo>
                      <a:pt x="341" y="339"/>
                    </a:lnTo>
                    <a:lnTo>
                      <a:pt x="344" y="339"/>
                    </a:lnTo>
                    <a:lnTo>
                      <a:pt x="346" y="339"/>
                    </a:lnTo>
                    <a:lnTo>
                      <a:pt x="347" y="339"/>
                    </a:lnTo>
                    <a:close/>
                    <a:moveTo>
                      <a:pt x="272" y="314"/>
                    </a:moveTo>
                    <a:lnTo>
                      <a:pt x="272" y="317"/>
                    </a:lnTo>
                    <a:lnTo>
                      <a:pt x="271" y="318"/>
                    </a:lnTo>
                    <a:lnTo>
                      <a:pt x="271" y="319"/>
                    </a:lnTo>
                    <a:lnTo>
                      <a:pt x="271" y="320"/>
                    </a:lnTo>
                    <a:lnTo>
                      <a:pt x="271" y="321"/>
                    </a:lnTo>
                    <a:lnTo>
                      <a:pt x="269" y="321"/>
                    </a:lnTo>
                    <a:lnTo>
                      <a:pt x="269" y="322"/>
                    </a:lnTo>
                    <a:lnTo>
                      <a:pt x="269" y="323"/>
                    </a:lnTo>
                    <a:lnTo>
                      <a:pt x="268" y="323"/>
                    </a:lnTo>
                    <a:lnTo>
                      <a:pt x="268" y="322"/>
                    </a:lnTo>
                    <a:lnTo>
                      <a:pt x="268" y="321"/>
                    </a:lnTo>
                    <a:lnTo>
                      <a:pt x="268" y="320"/>
                    </a:lnTo>
                    <a:lnTo>
                      <a:pt x="269" y="319"/>
                    </a:lnTo>
                    <a:lnTo>
                      <a:pt x="269" y="318"/>
                    </a:lnTo>
                    <a:lnTo>
                      <a:pt x="269" y="317"/>
                    </a:lnTo>
                    <a:lnTo>
                      <a:pt x="268" y="317"/>
                    </a:lnTo>
                    <a:lnTo>
                      <a:pt x="267" y="317"/>
                    </a:lnTo>
                    <a:lnTo>
                      <a:pt x="267" y="318"/>
                    </a:lnTo>
                    <a:lnTo>
                      <a:pt x="267" y="319"/>
                    </a:lnTo>
                    <a:lnTo>
                      <a:pt x="267" y="320"/>
                    </a:lnTo>
                    <a:lnTo>
                      <a:pt x="267" y="321"/>
                    </a:lnTo>
                    <a:lnTo>
                      <a:pt x="267" y="322"/>
                    </a:lnTo>
                    <a:lnTo>
                      <a:pt x="266" y="322"/>
                    </a:lnTo>
                    <a:lnTo>
                      <a:pt x="265" y="322"/>
                    </a:lnTo>
                    <a:lnTo>
                      <a:pt x="265" y="321"/>
                    </a:lnTo>
                    <a:lnTo>
                      <a:pt x="265" y="319"/>
                    </a:lnTo>
                    <a:lnTo>
                      <a:pt x="265" y="318"/>
                    </a:lnTo>
                    <a:lnTo>
                      <a:pt x="265" y="317"/>
                    </a:lnTo>
                    <a:lnTo>
                      <a:pt x="265" y="316"/>
                    </a:lnTo>
                    <a:lnTo>
                      <a:pt x="266" y="316"/>
                    </a:lnTo>
                    <a:lnTo>
                      <a:pt x="266" y="314"/>
                    </a:lnTo>
                    <a:lnTo>
                      <a:pt x="266" y="313"/>
                    </a:lnTo>
                    <a:lnTo>
                      <a:pt x="267" y="313"/>
                    </a:lnTo>
                    <a:lnTo>
                      <a:pt x="267" y="312"/>
                    </a:lnTo>
                    <a:lnTo>
                      <a:pt x="268" y="311"/>
                    </a:lnTo>
                    <a:lnTo>
                      <a:pt x="269" y="310"/>
                    </a:lnTo>
                    <a:lnTo>
                      <a:pt x="271" y="310"/>
                    </a:lnTo>
                    <a:lnTo>
                      <a:pt x="271" y="311"/>
                    </a:lnTo>
                    <a:lnTo>
                      <a:pt x="271" y="312"/>
                    </a:lnTo>
                    <a:lnTo>
                      <a:pt x="272" y="313"/>
                    </a:lnTo>
                    <a:lnTo>
                      <a:pt x="272" y="314"/>
                    </a:lnTo>
                    <a:close/>
                    <a:moveTo>
                      <a:pt x="260" y="301"/>
                    </a:moveTo>
                    <a:lnTo>
                      <a:pt x="261" y="303"/>
                    </a:lnTo>
                    <a:lnTo>
                      <a:pt x="261" y="304"/>
                    </a:lnTo>
                    <a:lnTo>
                      <a:pt x="262" y="304"/>
                    </a:lnTo>
                    <a:lnTo>
                      <a:pt x="262" y="305"/>
                    </a:lnTo>
                    <a:lnTo>
                      <a:pt x="263" y="305"/>
                    </a:lnTo>
                    <a:lnTo>
                      <a:pt x="263" y="306"/>
                    </a:lnTo>
                    <a:lnTo>
                      <a:pt x="264" y="306"/>
                    </a:lnTo>
                    <a:lnTo>
                      <a:pt x="265" y="306"/>
                    </a:lnTo>
                    <a:lnTo>
                      <a:pt x="265" y="307"/>
                    </a:lnTo>
                    <a:lnTo>
                      <a:pt x="264" y="308"/>
                    </a:lnTo>
                    <a:lnTo>
                      <a:pt x="263" y="309"/>
                    </a:lnTo>
                    <a:lnTo>
                      <a:pt x="262" y="309"/>
                    </a:lnTo>
                    <a:lnTo>
                      <a:pt x="262" y="310"/>
                    </a:lnTo>
                    <a:lnTo>
                      <a:pt x="261" y="310"/>
                    </a:lnTo>
                    <a:lnTo>
                      <a:pt x="260" y="310"/>
                    </a:lnTo>
                    <a:lnTo>
                      <a:pt x="260" y="311"/>
                    </a:lnTo>
                    <a:lnTo>
                      <a:pt x="259" y="311"/>
                    </a:lnTo>
                    <a:lnTo>
                      <a:pt x="257" y="311"/>
                    </a:lnTo>
                    <a:lnTo>
                      <a:pt x="254" y="311"/>
                    </a:lnTo>
                    <a:lnTo>
                      <a:pt x="254" y="310"/>
                    </a:lnTo>
                    <a:lnTo>
                      <a:pt x="253" y="310"/>
                    </a:lnTo>
                    <a:lnTo>
                      <a:pt x="253" y="309"/>
                    </a:lnTo>
                    <a:lnTo>
                      <a:pt x="252" y="309"/>
                    </a:lnTo>
                    <a:lnTo>
                      <a:pt x="251" y="309"/>
                    </a:lnTo>
                    <a:lnTo>
                      <a:pt x="250" y="309"/>
                    </a:lnTo>
                    <a:lnTo>
                      <a:pt x="251" y="309"/>
                    </a:lnTo>
                    <a:lnTo>
                      <a:pt x="252" y="309"/>
                    </a:lnTo>
                    <a:lnTo>
                      <a:pt x="252" y="308"/>
                    </a:lnTo>
                    <a:lnTo>
                      <a:pt x="251" y="308"/>
                    </a:lnTo>
                    <a:lnTo>
                      <a:pt x="252" y="308"/>
                    </a:lnTo>
                    <a:lnTo>
                      <a:pt x="253" y="309"/>
                    </a:lnTo>
                    <a:lnTo>
                      <a:pt x="254" y="309"/>
                    </a:lnTo>
                    <a:lnTo>
                      <a:pt x="254" y="310"/>
                    </a:lnTo>
                    <a:lnTo>
                      <a:pt x="256" y="310"/>
                    </a:lnTo>
                    <a:lnTo>
                      <a:pt x="257" y="310"/>
                    </a:lnTo>
                    <a:lnTo>
                      <a:pt x="257" y="309"/>
                    </a:lnTo>
                    <a:lnTo>
                      <a:pt x="257" y="310"/>
                    </a:lnTo>
                    <a:lnTo>
                      <a:pt x="256" y="309"/>
                    </a:lnTo>
                    <a:lnTo>
                      <a:pt x="257" y="309"/>
                    </a:lnTo>
                    <a:lnTo>
                      <a:pt x="257" y="308"/>
                    </a:lnTo>
                    <a:lnTo>
                      <a:pt x="259" y="308"/>
                    </a:lnTo>
                    <a:lnTo>
                      <a:pt x="259" y="309"/>
                    </a:lnTo>
                    <a:lnTo>
                      <a:pt x="260" y="309"/>
                    </a:lnTo>
                    <a:lnTo>
                      <a:pt x="261" y="309"/>
                    </a:lnTo>
                    <a:lnTo>
                      <a:pt x="261" y="308"/>
                    </a:lnTo>
                    <a:lnTo>
                      <a:pt x="260" y="309"/>
                    </a:lnTo>
                    <a:lnTo>
                      <a:pt x="260" y="308"/>
                    </a:lnTo>
                    <a:lnTo>
                      <a:pt x="259" y="308"/>
                    </a:lnTo>
                    <a:lnTo>
                      <a:pt x="259" y="307"/>
                    </a:lnTo>
                    <a:lnTo>
                      <a:pt x="260" y="307"/>
                    </a:lnTo>
                    <a:lnTo>
                      <a:pt x="261" y="307"/>
                    </a:lnTo>
                    <a:lnTo>
                      <a:pt x="261" y="306"/>
                    </a:lnTo>
                    <a:lnTo>
                      <a:pt x="260" y="306"/>
                    </a:lnTo>
                    <a:lnTo>
                      <a:pt x="259" y="306"/>
                    </a:lnTo>
                    <a:lnTo>
                      <a:pt x="257" y="306"/>
                    </a:lnTo>
                    <a:lnTo>
                      <a:pt x="259" y="306"/>
                    </a:lnTo>
                    <a:lnTo>
                      <a:pt x="260" y="306"/>
                    </a:lnTo>
                    <a:lnTo>
                      <a:pt x="260" y="305"/>
                    </a:lnTo>
                    <a:lnTo>
                      <a:pt x="259" y="305"/>
                    </a:lnTo>
                    <a:lnTo>
                      <a:pt x="257" y="304"/>
                    </a:lnTo>
                    <a:lnTo>
                      <a:pt x="256" y="304"/>
                    </a:lnTo>
                    <a:lnTo>
                      <a:pt x="255" y="304"/>
                    </a:lnTo>
                    <a:lnTo>
                      <a:pt x="254" y="304"/>
                    </a:lnTo>
                    <a:lnTo>
                      <a:pt x="254" y="303"/>
                    </a:lnTo>
                    <a:lnTo>
                      <a:pt x="256" y="303"/>
                    </a:lnTo>
                    <a:lnTo>
                      <a:pt x="257" y="303"/>
                    </a:lnTo>
                    <a:lnTo>
                      <a:pt x="259" y="304"/>
                    </a:lnTo>
                    <a:lnTo>
                      <a:pt x="260" y="304"/>
                    </a:lnTo>
                    <a:lnTo>
                      <a:pt x="261" y="304"/>
                    </a:lnTo>
                    <a:lnTo>
                      <a:pt x="261" y="303"/>
                    </a:lnTo>
                    <a:lnTo>
                      <a:pt x="260" y="303"/>
                    </a:lnTo>
                    <a:lnTo>
                      <a:pt x="259" y="303"/>
                    </a:lnTo>
                    <a:lnTo>
                      <a:pt x="257" y="303"/>
                    </a:lnTo>
                    <a:lnTo>
                      <a:pt x="257" y="301"/>
                    </a:lnTo>
                    <a:lnTo>
                      <a:pt x="259" y="301"/>
                    </a:lnTo>
                    <a:lnTo>
                      <a:pt x="260" y="301"/>
                    </a:lnTo>
                    <a:close/>
                    <a:moveTo>
                      <a:pt x="274" y="296"/>
                    </a:moveTo>
                    <a:lnTo>
                      <a:pt x="274" y="297"/>
                    </a:lnTo>
                    <a:lnTo>
                      <a:pt x="273" y="298"/>
                    </a:lnTo>
                    <a:lnTo>
                      <a:pt x="273" y="300"/>
                    </a:lnTo>
                    <a:lnTo>
                      <a:pt x="272" y="300"/>
                    </a:lnTo>
                    <a:lnTo>
                      <a:pt x="271" y="303"/>
                    </a:lnTo>
                    <a:lnTo>
                      <a:pt x="269" y="303"/>
                    </a:lnTo>
                    <a:lnTo>
                      <a:pt x="268" y="304"/>
                    </a:lnTo>
                    <a:lnTo>
                      <a:pt x="267" y="304"/>
                    </a:lnTo>
                    <a:lnTo>
                      <a:pt x="267" y="305"/>
                    </a:lnTo>
                    <a:lnTo>
                      <a:pt x="266" y="305"/>
                    </a:lnTo>
                    <a:lnTo>
                      <a:pt x="265" y="305"/>
                    </a:lnTo>
                    <a:lnTo>
                      <a:pt x="264" y="305"/>
                    </a:lnTo>
                    <a:lnTo>
                      <a:pt x="263" y="305"/>
                    </a:lnTo>
                    <a:lnTo>
                      <a:pt x="263" y="304"/>
                    </a:lnTo>
                    <a:lnTo>
                      <a:pt x="262" y="304"/>
                    </a:lnTo>
                    <a:lnTo>
                      <a:pt x="262" y="303"/>
                    </a:lnTo>
                    <a:lnTo>
                      <a:pt x="262" y="304"/>
                    </a:lnTo>
                    <a:lnTo>
                      <a:pt x="263" y="304"/>
                    </a:lnTo>
                    <a:lnTo>
                      <a:pt x="264" y="304"/>
                    </a:lnTo>
                    <a:lnTo>
                      <a:pt x="265" y="304"/>
                    </a:lnTo>
                    <a:lnTo>
                      <a:pt x="266" y="304"/>
                    </a:lnTo>
                    <a:lnTo>
                      <a:pt x="266" y="303"/>
                    </a:lnTo>
                    <a:lnTo>
                      <a:pt x="267" y="303"/>
                    </a:lnTo>
                    <a:lnTo>
                      <a:pt x="268" y="303"/>
                    </a:lnTo>
                    <a:lnTo>
                      <a:pt x="268" y="301"/>
                    </a:lnTo>
                    <a:lnTo>
                      <a:pt x="268" y="300"/>
                    </a:lnTo>
                    <a:lnTo>
                      <a:pt x="269" y="300"/>
                    </a:lnTo>
                    <a:lnTo>
                      <a:pt x="269" y="298"/>
                    </a:lnTo>
                    <a:lnTo>
                      <a:pt x="271" y="298"/>
                    </a:lnTo>
                    <a:lnTo>
                      <a:pt x="271" y="297"/>
                    </a:lnTo>
                    <a:lnTo>
                      <a:pt x="271" y="296"/>
                    </a:lnTo>
                    <a:lnTo>
                      <a:pt x="269" y="296"/>
                    </a:lnTo>
                    <a:lnTo>
                      <a:pt x="269" y="297"/>
                    </a:lnTo>
                    <a:lnTo>
                      <a:pt x="268" y="297"/>
                    </a:lnTo>
                    <a:lnTo>
                      <a:pt x="267" y="297"/>
                    </a:lnTo>
                    <a:lnTo>
                      <a:pt x="266" y="297"/>
                    </a:lnTo>
                    <a:lnTo>
                      <a:pt x="266" y="298"/>
                    </a:lnTo>
                    <a:lnTo>
                      <a:pt x="265" y="298"/>
                    </a:lnTo>
                    <a:lnTo>
                      <a:pt x="265" y="299"/>
                    </a:lnTo>
                    <a:lnTo>
                      <a:pt x="264" y="299"/>
                    </a:lnTo>
                    <a:lnTo>
                      <a:pt x="266" y="297"/>
                    </a:lnTo>
                    <a:lnTo>
                      <a:pt x="268" y="296"/>
                    </a:lnTo>
                    <a:lnTo>
                      <a:pt x="269" y="296"/>
                    </a:lnTo>
                    <a:lnTo>
                      <a:pt x="271" y="296"/>
                    </a:lnTo>
                    <a:lnTo>
                      <a:pt x="272" y="295"/>
                    </a:lnTo>
                    <a:lnTo>
                      <a:pt x="273" y="295"/>
                    </a:lnTo>
                    <a:lnTo>
                      <a:pt x="274" y="296"/>
                    </a:lnTo>
                    <a:close/>
                    <a:moveTo>
                      <a:pt x="262" y="313"/>
                    </a:moveTo>
                    <a:lnTo>
                      <a:pt x="262" y="314"/>
                    </a:lnTo>
                    <a:lnTo>
                      <a:pt x="262" y="316"/>
                    </a:lnTo>
                    <a:lnTo>
                      <a:pt x="261" y="317"/>
                    </a:lnTo>
                    <a:lnTo>
                      <a:pt x="261" y="318"/>
                    </a:lnTo>
                    <a:lnTo>
                      <a:pt x="260" y="319"/>
                    </a:lnTo>
                    <a:lnTo>
                      <a:pt x="259" y="320"/>
                    </a:lnTo>
                    <a:lnTo>
                      <a:pt x="257" y="321"/>
                    </a:lnTo>
                    <a:lnTo>
                      <a:pt x="259" y="320"/>
                    </a:lnTo>
                    <a:lnTo>
                      <a:pt x="259" y="319"/>
                    </a:lnTo>
                    <a:lnTo>
                      <a:pt x="260" y="319"/>
                    </a:lnTo>
                    <a:lnTo>
                      <a:pt x="260" y="318"/>
                    </a:lnTo>
                    <a:lnTo>
                      <a:pt x="260" y="317"/>
                    </a:lnTo>
                    <a:lnTo>
                      <a:pt x="261" y="316"/>
                    </a:lnTo>
                    <a:lnTo>
                      <a:pt x="261" y="314"/>
                    </a:lnTo>
                    <a:lnTo>
                      <a:pt x="260" y="313"/>
                    </a:lnTo>
                    <a:lnTo>
                      <a:pt x="260" y="314"/>
                    </a:lnTo>
                    <a:lnTo>
                      <a:pt x="259" y="314"/>
                    </a:lnTo>
                    <a:lnTo>
                      <a:pt x="259" y="316"/>
                    </a:lnTo>
                    <a:lnTo>
                      <a:pt x="257" y="316"/>
                    </a:lnTo>
                    <a:lnTo>
                      <a:pt x="256" y="316"/>
                    </a:lnTo>
                    <a:lnTo>
                      <a:pt x="256" y="314"/>
                    </a:lnTo>
                    <a:lnTo>
                      <a:pt x="255" y="316"/>
                    </a:lnTo>
                    <a:lnTo>
                      <a:pt x="254" y="316"/>
                    </a:lnTo>
                    <a:lnTo>
                      <a:pt x="253" y="316"/>
                    </a:lnTo>
                    <a:lnTo>
                      <a:pt x="252" y="317"/>
                    </a:lnTo>
                    <a:lnTo>
                      <a:pt x="251" y="317"/>
                    </a:lnTo>
                    <a:lnTo>
                      <a:pt x="252" y="317"/>
                    </a:lnTo>
                    <a:lnTo>
                      <a:pt x="252" y="316"/>
                    </a:lnTo>
                    <a:lnTo>
                      <a:pt x="253" y="316"/>
                    </a:lnTo>
                    <a:lnTo>
                      <a:pt x="253" y="314"/>
                    </a:lnTo>
                    <a:lnTo>
                      <a:pt x="254" y="314"/>
                    </a:lnTo>
                    <a:lnTo>
                      <a:pt x="255" y="314"/>
                    </a:lnTo>
                    <a:lnTo>
                      <a:pt x="256" y="314"/>
                    </a:lnTo>
                    <a:lnTo>
                      <a:pt x="256" y="313"/>
                    </a:lnTo>
                    <a:lnTo>
                      <a:pt x="257" y="313"/>
                    </a:lnTo>
                    <a:lnTo>
                      <a:pt x="259" y="313"/>
                    </a:lnTo>
                    <a:lnTo>
                      <a:pt x="259" y="312"/>
                    </a:lnTo>
                    <a:lnTo>
                      <a:pt x="260" y="312"/>
                    </a:lnTo>
                    <a:lnTo>
                      <a:pt x="261" y="312"/>
                    </a:lnTo>
                    <a:lnTo>
                      <a:pt x="262" y="312"/>
                    </a:lnTo>
                    <a:lnTo>
                      <a:pt x="262" y="311"/>
                    </a:lnTo>
                    <a:lnTo>
                      <a:pt x="263" y="311"/>
                    </a:lnTo>
                    <a:lnTo>
                      <a:pt x="263" y="312"/>
                    </a:lnTo>
                    <a:lnTo>
                      <a:pt x="263" y="313"/>
                    </a:lnTo>
                    <a:lnTo>
                      <a:pt x="262" y="313"/>
                    </a:lnTo>
                    <a:close/>
                    <a:moveTo>
                      <a:pt x="277" y="314"/>
                    </a:moveTo>
                    <a:lnTo>
                      <a:pt x="277" y="316"/>
                    </a:lnTo>
                    <a:lnTo>
                      <a:pt x="278" y="317"/>
                    </a:lnTo>
                    <a:lnTo>
                      <a:pt x="278" y="318"/>
                    </a:lnTo>
                    <a:lnTo>
                      <a:pt x="279" y="319"/>
                    </a:lnTo>
                    <a:lnTo>
                      <a:pt x="280" y="321"/>
                    </a:lnTo>
                    <a:lnTo>
                      <a:pt x="280" y="322"/>
                    </a:lnTo>
                    <a:lnTo>
                      <a:pt x="280" y="321"/>
                    </a:lnTo>
                    <a:lnTo>
                      <a:pt x="279" y="321"/>
                    </a:lnTo>
                    <a:lnTo>
                      <a:pt x="279" y="320"/>
                    </a:lnTo>
                    <a:lnTo>
                      <a:pt x="278" y="320"/>
                    </a:lnTo>
                    <a:lnTo>
                      <a:pt x="278" y="319"/>
                    </a:lnTo>
                    <a:lnTo>
                      <a:pt x="278" y="318"/>
                    </a:lnTo>
                    <a:lnTo>
                      <a:pt x="278" y="317"/>
                    </a:lnTo>
                    <a:lnTo>
                      <a:pt x="277" y="317"/>
                    </a:lnTo>
                    <a:lnTo>
                      <a:pt x="277" y="316"/>
                    </a:lnTo>
                    <a:lnTo>
                      <a:pt x="276" y="316"/>
                    </a:lnTo>
                    <a:lnTo>
                      <a:pt x="276" y="314"/>
                    </a:lnTo>
                    <a:lnTo>
                      <a:pt x="275" y="314"/>
                    </a:lnTo>
                    <a:lnTo>
                      <a:pt x="275" y="316"/>
                    </a:lnTo>
                    <a:lnTo>
                      <a:pt x="274" y="316"/>
                    </a:lnTo>
                    <a:lnTo>
                      <a:pt x="274" y="317"/>
                    </a:lnTo>
                    <a:lnTo>
                      <a:pt x="275" y="318"/>
                    </a:lnTo>
                    <a:lnTo>
                      <a:pt x="276" y="319"/>
                    </a:lnTo>
                    <a:lnTo>
                      <a:pt x="276" y="320"/>
                    </a:lnTo>
                    <a:lnTo>
                      <a:pt x="276" y="321"/>
                    </a:lnTo>
                    <a:lnTo>
                      <a:pt x="277" y="321"/>
                    </a:lnTo>
                    <a:lnTo>
                      <a:pt x="277" y="322"/>
                    </a:lnTo>
                    <a:lnTo>
                      <a:pt x="277" y="323"/>
                    </a:lnTo>
                    <a:lnTo>
                      <a:pt x="277" y="322"/>
                    </a:lnTo>
                    <a:lnTo>
                      <a:pt x="276" y="322"/>
                    </a:lnTo>
                    <a:lnTo>
                      <a:pt x="275" y="321"/>
                    </a:lnTo>
                    <a:lnTo>
                      <a:pt x="275" y="320"/>
                    </a:lnTo>
                    <a:lnTo>
                      <a:pt x="275" y="319"/>
                    </a:lnTo>
                    <a:lnTo>
                      <a:pt x="274" y="319"/>
                    </a:lnTo>
                    <a:lnTo>
                      <a:pt x="274" y="317"/>
                    </a:lnTo>
                    <a:lnTo>
                      <a:pt x="274" y="312"/>
                    </a:lnTo>
                    <a:lnTo>
                      <a:pt x="274" y="311"/>
                    </a:lnTo>
                    <a:lnTo>
                      <a:pt x="275" y="311"/>
                    </a:lnTo>
                    <a:lnTo>
                      <a:pt x="276" y="313"/>
                    </a:lnTo>
                    <a:lnTo>
                      <a:pt x="277" y="314"/>
                    </a:lnTo>
                    <a:close/>
                    <a:moveTo>
                      <a:pt x="345" y="365"/>
                    </a:moveTo>
                    <a:lnTo>
                      <a:pt x="345" y="366"/>
                    </a:lnTo>
                    <a:lnTo>
                      <a:pt x="345" y="368"/>
                    </a:lnTo>
                    <a:lnTo>
                      <a:pt x="345" y="369"/>
                    </a:lnTo>
                    <a:lnTo>
                      <a:pt x="344" y="370"/>
                    </a:lnTo>
                    <a:lnTo>
                      <a:pt x="343" y="370"/>
                    </a:lnTo>
                    <a:lnTo>
                      <a:pt x="343" y="369"/>
                    </a:lnTo>
                    <a:lnTo>
                      <a:pt x="343" y="368"/>
                    </a:lnTo>
                    <a:lnTo>
                      <a:pt x="342" y="366"/>
                    </a:lnTo>
                    <a:lnTo>
                      <a:pt x="342" y="368"/>
                    </a:lnTo>
                    <a:lnTo>
                      <a:pt x="342" y="369"/>
                    </a:lnTo>
                    <a:lnTo>
                      <a:pt x="341" y="370"/>
                    </a:lnTo>
                    <a:lnTo>
                      <a:pt x="340" y="370"/>
                    </a:lnTo>
                    <a:lnTo>
                      <a:pt x="340" y="369"/>
                    </a:lnTo>
                    <a:lnTo>
                      <a:pt x="340" y="368"/>
                    </a:lnTo>
                    <a:lnTo>
                      <a:pt x="341" y="366"/>
                    </a:lnTo>
                    <a:lnTo>
                      <a:pt x="342" y="365"/>
                    </a:lnTo>
                    <a:lnTo>
                      <a:pt x="343" y="365"/>
                    </a:lnTo>
                    <a:lnTo>
                      <a:pt x="344" y="365"/>
                    </a:lnTo>
                    <a:lnTo>
                      <a:pt x="345" y="365"/>
                    </a:lnTo>
                    <a:close/>
                    <a:moveTo>
                      <a:pt x="248" y="310"/>
                    </a:moveTo>
                    <a:lnTo>
                      <a:pt x="249" y="310"/>
                    </a:lnTo>
                    <a:lnTo>
                      <a:pt x="251" y="310"/>
                    </a:lnTo>
                    <a:lnTo>
                      <a:pt x="252" y="310"/>
                    </a:lnTo>
                    <a:lnTo>
                      <a:pt x="253" y="310"/>
                    </a:lnTo>
                    <a:lnTo>
                      <a:pt x="253" y="311"/>
                    </a:lnTo>
                    <a:lnTo>
                      <a:pt x="254" y="311"/>
                    </a:lnTo>
                    <a:lnTo>
                      <a:pt x="259" y="311"/>
                    </a:lnTo>
                    <a:lnTo>
                      <a:pt x="257" y="312"/>
                    </a:lnTo>
                    <a:lnTo>
                      <a:pt x="256" y="312"/>
                    </a:lnTo>
                    <a:lnTo>
                      <a:pt x="255" y="312"/>
                    </a:lnTo>
                    <a:lnTo>
                      <a:pt x="255" y="313"/>
                    </a:lnTo>
                    <a:lnTo>
                      <a:pt x="254" y="313"/>
                    </a:lnTo>
                    <a:lnTo>
                      <a:pt x="253" y="313"/>
                    </a:lnTo>
                    <a:lnTo>
                      <a:pt x="252" y="314"/>
                    </a:lnTo>
                    <a:lnTo>
                      <a:pt x="251" y="314"/>
                    </a:lnTo>
                    <a:lnTo>
                      <a:pt x="251" y="316"/>
                    </a:lnTo>
                    <a:lnTo>
                      <a:pt x="250" y="314"/>
                    </a:lnTo>
                    <a:lnTo>
                      <a:pt x="249" y="314"/>
                    </a:lnTo>
                    <a:lnTo>
                      <a:pt x="250" y="314"/>
                    </a:lnTo>
                    <a:lnTo>
                      <a:pt x="251" y="314"/>
                    </a:lnTo>
                    <a:lnTo>
                      <a:pt x="251" y="313"/>
                    </a:lnTo>
                    <a:lnTo>
                      <a:pt x="252" y="313"/>
                    </a:lnTo>
                    <a:lnTo>
                      <a:pt x="252" y="312"/>
                    </a:lnTo>
                    <a:lnTo>
                      <a:pt x="251" y="313"/>
                    </a:lnTo>
                    <a:lnTo>
                      <a:pt x="251" y="312"/>
                    </a:lnTo>
                    <a:lnTo>
                      <a:pt x="252" y="312"/>
                    </a:lnTo>
                    <a:lnTo>
                      <a:pt x="252" y="311"/>
                    </a:lnTo>
                    <a:lnTo>
                      <a:pt x="253" y="311"/>
                    </a:lnTo>
                    <a:lnTo>
                      <a:pt x="252" y="311"/>
                    </a:lnTo>
                    <a:lnTo>
                      <a:pt x="252" y="310"/>
                    </a:lnTo>
                    <a:lnTo>
                      <a:pt x="250" y="310"/>
                    </a:lnTo>
                    <a:lnTo>
                      <a:pt x="249" y="310"/>
                    </a:lnTo>
                    <a:lnTo>
                      <a:pt x="248" y="310"/>
                    </a:lnTo>
                    <a:lnTo>
                      <a:pt x="248" y="309"/>
                    </a:lnTo>
                    <a:lnTo>
                      <a:pt x="247" y="309"/>
                    </a:lnTo>
                    <a:lnTo>
                      <a:pt x="248" y="309"/>
                    </a:lnTo>
                    <a:lnTo>
                      <a:pt x="248" y="310"/>
                    </a:lnTo>
                    <a:close/>
                    <a:moveTo>
                      <a:pt x="246" y="319"/>
                    </a:moveTo>
                    <a:lnTo>
                      <a:pt x="246" y="320"/>
                    </a:lnTo>
                    <a:lnTo>
                      <a:pt x="244" y="320"/>
                    </a:lnTo>
                    <a:lnTo>
                      <a:pt x="244" y="319"/>
                    </a:lnTo>
                    <a:lnTo>
                      <a:pt x="247" y="319"/>
                    </a:lnTo>
                    <a:lnTo>
                      <a:pt x="248" y="318"/>
                    </a:lnTo>
                    <a:lnTo>
                      <a:pt x="249" y="317"/>
                    </a:lnTo>
                    <a:lnTo>
                      <a:pt x="248" y="317"/>
                    </a:lnTo>
                    <a:lnTo>
                      <a:pt x="248" y="316"/>
                    </a:lnTo>
                    <a:lnTo>
                      <a:pt x="249" y="316"/>
                    </a:lnTo>
                    <a:lnTo>
                      <a:pt x="248" y="316"/>
                    </a:lnTo>
                    <a:lnTo>
                      <a:pt x="248" y="314"/>
                    </a:lnTo>
                    <a:lnTo>
                      <a:pt x="247" y="314"/>
                    </a:lnTo>
                    <a:lnTo>
                      <a:pt x="247" y="313"/>
                    </a:lnTo>
                    <a:lnTo>
                      <a:pt x="246" y="313"/>
                    </a:lnTo>
                    <a:lnTo>
                      <a:pt x="244" y="313"/>
                    </a:lnTo>
                    <a:lnTo>
                      <a:pt x="244" y="312"/>
                    </a:lnTo>
                    <a:lnTo>
                      <a:pt x="246" y="312"/>
                    </a:lnTo>
                    <a:lnTo>
                      <a:pt x="247" y="312"/>
                    </a:lnTo>
                    <a:lnTo>
                      <a:pt x="247" y="313"/>
                    </a:lnTo>
                    <a:lnTo>
                      <a:pt x="248" y="313"/>
                    </a:lnTo>
                    <a:lnTo>
                      <a:pt x="248" y="314"/>
                    </a:lnTo>
                    <a:lnTo>
                      <a:pt x="249" y="314"/>
                    </a:lnTo>
                    <a:lnTo>
                      <a:pt x="250" y="316"/>
                    </a:lnTo>
                    <a:lnTo>
                      <a:pt x="251" y="316"/>
                    </a:lnTo>
                    <a:lnTo>
                      <a:pt x="250" y="317"/>
                    </a:lnTo>
                    <a:lnTo>
                      <a:pt x="249" y="318"/>
                    </a:lnTo>
                    <a:lnTo>
                      <a:pt x="248" y="319"/>
                    </a:lnTo>
                    <a:lnTo>
                      <a:pt x="247" y="319"/>
                    </a:lnTo>
                    <a:lnTo>
                      <a:pt x="246" y="319"/>
                    </a:lnTo>
                    <a:close/>
                    <a:moveTo>
                      <a:pt x="274" y="320"/>
                    </a:moveTo>
                    <a:lnTo>
                      <a:pt x="274" y="321"/>
                    </a:lnTo>
                    <a:lnTo>
                      <a:pt x="274" y="322"/>
                    </a:lnTo>
                    <a:lnTo>
                      <a:pt x="275" y="323"/>
                    </a:lnTo>
                    <a:lnTo>
                      <a:pt x="276" y="324"/>
                    </a:lnTo>
                    <a:lnTo>
                      <a:pt x="275" y="324"/>
                    </a:lnTo>
                    <a:lnTo>
                      <a:pt x="275" y="323"/>
                    </a:lnTo>
                    <a:lnTo>
                      <a:pt x="274" y="323"/>
                    </a:lnTo>
                    <a:lnTo>
                      <a:pt x="274" y="322"/>
                    </a:lnTo>
                    <a:lnTo>
                      <a:pt x="273" y="321"/>
                    </a:lnTo>
                    <a:lnTo>
                      <a:pt x="272" y="323"/>
                    </a:lnTo>
                    <a:lnTo>
                      <a:pt x="272" y="324"/>
                    </a:lnTo>
                    <a:lnTo>
                      <a:pt x="272" y="323"/>
                    </a:lnTo>
                    <a:lnTo>
                      <a:pt x="272" y="322"/>
                    </a:lnTo>
                    <a:lnTo>
                      <a:pt x="272" y="321"/>
                    </a:lnTo>
                    <a:lnTo>
                      <a:pt x="273" y="320"/>
                    </a:lnTo>
                    <a:lnTo>
                      <a:pt x="273" y="319"/>
                    </a:lnTo>
                    <a:lnTo>
                      <a:pt x="274" y="320"/>
                    </a:lnTo>
                    <a:close/>
                    <a:moveTo>
                      <a:pt x="310" y="397"/>
                    </a:moveTo>
                    <a:lnTo>
                      <a:pt x="308" y="397"/>
                    </a:lnTo>
                    <a:lnTo>
                      <a:pt x="307" y="397"/>
                    </a:lnTo>
                    <a:lnTo>
                      <a:pt x="306" y="396"/>
                    </a:lnTo>
                    <a:lnTo>
                      <a:pt x="306" y="395"/>
                    </a:lnTo>
                    <a:lnTo>
                      <a:pt x="307" y="395"/>
                    </a:lnTo>
                    <a:lnTo>
                      <a:pt x="308" y="395"/>
                    </a:lnTo>
                    <a:lnTo>
                      <a:pt x="308" y="396"/>
                    </a:lnTo>
                    <a:lnTo>
                      <a:pt x="310" y="396"/>
                    </a:lnTo>
                    <a:lnTo>
                      <a:pt x="310" y="397"/>
                    </a:lnTo>
                    <a:close/>
                    <a:moveTo>
                      <a:pt x="305" y="401"/>
                    </a:moveTo>
                    <a:lnTo>
                      <a:pt x="306" y="401"/>
                    </a:lnTo>
                    <a:lnTo>
                      <a:pt x="306" y="402"/>
                    </a:lnTo>
                    <a:lnTo>
                      <a:pt x="305" y="402"/>
                    </a:lnTo>
                    <a:lnTo>
                      <a:pt x="305" y="401"/>
                    </a:lnTo>
                    <a:close/>
                    <a:moveTo>
                      <a:pt x="311" y="390"/>
                    </a:moveTo>
                    <a:lnTo>
                      <a:pt x="313" y="390"/>
                    </a:lnTo>
                    <a:lnTo>
                      <a:pt x="313" y="393"/>
                    </a:lnTo>
                    <a:lnTo>
                      <a:pt x="311" y="393"/>
                    </a:lnTo>
                    <a:lnTo>
                      <a:pt x="311" y="390"/>
                    </a:lnTo>
                    <a:close/>
                  </a:path>
                </a:pathLst>
              </a:custGeom>
              <a:solidFill>
                <a:srgbClr val="1F6BC5"/>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3" name="Freeform 13">
                <a:extLst>
                  <a:ext uri="{FF2B5EF4-FFF2-40B4-BE49-F238E27FC236}">
                    <a16:creationId xmlns:a16="http://schemas.microsoft.com/office/drawing/2014/main" id="{2282FBF2-E969-8628-55A8-DB32EFE6EB42}"/>
                  </a:ext>
                </a:extLst>
              </p:cNvPr>
              <p:cNvSpPr>
                <a:spLocks/>
              </p:cNvSpPr>
              <p:nvPr/>
            </p:nvSpPr>
            <p:spPr bwMode="auto">
              <a:xfrm>
                <a:off x="3851276" y="4479925"/>
                <a:ext cx="363538" cy="511175"/>
              </a:xfrm>
              <a:custGeom>
                <a:avLst/>
                <a:gdLst>
                  <a:gd name="T0" fmla="*/ 181 w 229"/>
                  <a:gd name="T1" fmla="*/ 33 h 322"/>
                  <a:gd name="T2" fmla="*/ 195 w 229"/>
                  <a:gd name="T3" fmla="*/ 74 h 322"/>
                  <a:gd name="T4" fmla="*/ 212 w 229"/>
                  <a:gd name="T5" fmla="*/ 104 h 322"/>
                  <a:gd name="T6" fmla="*/ 229 w 229"/>
                  <a:gd name="T7" fmla="*/ 122 h 322"/>
                  <a:gd name="T8" fmla="*/ 205 w 229"/>
                  <a:gd name="T9" fmla="*/ 176 h 322"/>
                  <a:gd name="T10" fmla="*/ 177 w 229"/>
                  <a:gd name="T11" fmla="*/ 229 h 322"/>
                  <a:gd name="T12" fmla="*/ 131 w 229"/>
                  <a:gd name="T13" fmla="*/ 292 h 322"/>
                  <a:gd name="T14" fmla="*/ 108 w 229"/>
                  <a:gd name="T15" fmla="*/ 322 h 322"/>
                  <a:gd name="T16" fmla="*/ 105 w 229"/>
                  <a:gd name="T17" fmla="*/ 315 h 322"/>
                  <a:gd name="T18" fmla="*/ 95 w 229"/>
                  <a:gd name="T19" fmla="*/ 311 h 322"/>
                  <a:gd name="T20" fmla="*/ 96 w 229"/>
                  <a:gd name="T21" fmla="*/ 303 h 322"/>
                  <a:gd name="T22" fmla="*/ 99 w 229"/>
                  <a:gd name="T23" fmla="*/ 286 h 322"/>
                  <a:gd name="T24" fmla="*/ 99 w 229"/>
                  <a:gd name="T25" fmla="*/ 275 h 322"/>
                  <a:gd name="T26" fmla="*/ 100 w 229"/>
                  <a:gd name="T27" fmla="*/ 272 h 322"/>
                  <a:gd name="T28" fmla="*/ 93 w 229"/>
                  <a:gd name="T29" fmla="*/ 246 h 322"/>
                  <a:gd name="T30" fmla="*/ 99 w 229"/>
                  <a:gd name="T31" fmla="*/ 245 h 322"/>
                  <a:gd name="T32" fmla="*/ 101 w 229"/>
                  <a:gd name="T33" fmla="*/ 240 h 322"/>
                  <a:gd name="T34" fmla="*/ 102 w 229"/>
                  <a:gd name="T35" fmla="*/ 235 h 322"/>
                  <a:gd name="T36" fmla="*/ 104 w 229"/>
                  <a:gd name="T37" fmla="*/ 231 h 322"/>
                  <a:gd name="T38" fmla="*/ 102 w 229"/>
                  <a:gd name="T39" fmla="*/ 228 h 322"/>
                  <a:gd name="T40" fmla="*/ 101 w 229"/>
                  <a:gd name="T41" fmla="*/ 223 h 322"/>
                  <a:gd name="T42" fmla="*/ 98 w 229"/>
                  <a:gd name="T43" fmla="*/ 218 h 322"/>
                  <a:gd name="T44" fmla="*/ 100 w 229"/>
                  <a:gd name="T45" fmla="*/ 214 h 322"/>
                  <a:gd name="T46" fmla="*/ 99 w 229"/>
                  <a:gd name="T47" fmla="*/ 206 h 322"/>
                  <a:gd name="T48" fmla="*/ 101 w 229"/>
                  <a:gd name="T49" fmla="*/ 201 h 322"/>
                  <a:gd name="T50" fmla="*/ 101 w 229"/>
                  <a:gd name="T51" fmla="*/ 196 h 322"/>
                  <a:gd name="T52" fmla="*/ 99 w 229"/>
                  <a:gd name="T53" fmla="*/ 192 h 322"/>
                  <a:gd name="T54" fmla="*/ 96 w 229"/>
                  <a:gd name="T55" fmla="*/ 188 h 322"/>
                  <a:gd name="T56" fmla="*/ 92 w 229"/>
                  <a:gd name="T57" fmla="*/ 184 h 322"/>
                  <a:gd name="T58" fmla="*/ 89 w 229"/>
                  <a:gd name="T59" fmla="*/ 181 h 322"/>
                  <a:gd name="T60" fmla="*/ 82 w 229"/>
                  <a:gd name="T61" fmla="*/ 177 h 322"/>
                  <a:gd name="T62" fmla="*/ 76 w 229"/>
                  <a:gd name="T63" fmla="*/ 174 h 322"/>
                  <a:gd name="T64" fmla="*/ 69 w 229"/>
                  <a:gd name="T65" fmla="*/ 174 h 322"/>
                  <a:gd name="T66" fmla="*/ 62 w 229"/>
                  <a:gd name="T67" fmla="*/ 170 h 322"/>
                  <a:gd name="T68" fmla="*/ 47 w 229"/>
                  <a:gd name="T69" fmla="*/ 167 h 322"/>
                  <a:gd name="T70" fmla="*/ 40 w 229"/>
                  <a:gd name="T71" fmla="*/ 159 h 322"/>
                  <a:gd name="T72" fmla="*/ 36 w 229"/>
                  <a:gd name="T73" fmla="*/ 154 h 322"/>
                  <a:gd name="T74" fmla="*/ 34 w 229"/>
                  <a:gd name="T75" fmla="*/ 144 h 322"/>
                  <a:gd name="T76" fmla="*/ 31 w 229"/>
                  <a:gd name="T77" fmla="*/ 139 h 322"/>
                  <a:gd name="T78" fmla="*/ 31 w 229"/>
                  <a:gd name="T79" fmla="*/ 130 h 322"/>
                  <a:gd name="T80" fmla="*/ 26 w 229"/>
                  <a:gd name="T81" fmla="*/ 123 h 322"/>
                  <a:gd name="T82" fmla="*/ 21 w 229"/>
                  <a:gd name="T83" fmla="*/ 119 h 322"/>
                  <a:gd name="T84" fmla="*/ 16 w 229"/>
                  <a:gd name="T85" fmla="*/ 115 h 322"/>
                  <a:gd name="T86" fmla="*/ 17 w 229"/>
                  <a:gd name="T87" fmla="*/ 110 h 322"/>
                  <a:gd name="T88" fmla="*/ 17 w 229"/>
                  <a:gd name="T89" fmla="*/ 104 h 322"/>
                  <a:gd name="T90" fmla="*/ 11 w 229"/>
                  <a:gd name="T91" fmla="*/ 99 h 322"/>
                  <a:gd name="T92" fmla="*/ 6 w 229"/>
                  <a:gd name="T93" fmla="*/ 92 h 322"/>
                  <a:gd name="T94" fmla="*/ 8 w 229"/>
                  <a:gd name="T95" fmla="*/ 89 h 322"/>
                  <a:gd name="T96" fmla="*/ 5 w 229"/>
                  <a:gd name="T97" fmla="*/ 87 h 322"/>
                  <a:gd name="T98" fmla="*/ 4 w 229"/>
                  <a:gd name="T99" fmla="*/ 82 h 322"/>
                  <a:gd name="T100" fmla="*/ 2 w 229"/>
                  <a:gd name="T101" fmla="*/ 79 h 322"/>
                  <a:gd name="T102" fmla="*/ 2 w 229"/>
                  <a:gd name="T103" fmla="*/ 75 h 322"/>
                  <a:gd name="T104" fmla="*/ 1 w 229"/>
                  <a:gd name="T105" fmla="*/ 71 h 322"/>
                  <a:gd name="T106" fmla="*/ 1 w 229"/>
                  <a:gd name="T107" fmla="*/ 58 h 322"/>
                  <a:gd name="T108" fmla="*/ 13 w 229"/>
                  <a:gd name="T109" fmla="*/ 59 h 322"/>
                  <a:gd name="T110" fmla="*/ 18 w 229"/>
                  <a:gd name="T111" fmla="*/ 48 h 322"/>
                  <a:gd name="T112" fmla="*/ 94 w 229"/>
                  <a:gd name="T113" fmla="*/ 14 h 322"/>
                  <a:gd name="T114" fmla="*/ 115 w 229"/>
                  <a:gd name="T115" fmla="*/ 2 h 322"/>
                  <a:gd name="T116" fmla="*/ 127 w 229"/>
                  <a:gd name="T117" fmla="*/ 7 h 322"/>
                  <a:gd name="T118" fmla="*/ 143 w 229"/>
                  <a:gd name="T119" fmla="*/ 5 h 322"/>
                  <a:gd name="T120" fmla="*/ 168 w 229"/>
                  <a:gd name="T121" fmla="*/ 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 h="322">
                    <a:moveTo>
                      <a:pt x="181" y="11"/>
                    </a:moveTo>
                    <a:lnTo>
                      <a:pt x="181" y="15"/>
                    </a:lnTo>
                    <a:lnTo>
                      <a:pt x="181" y="17"/>
                    </a:lnTo>
                    <a:lnTo>
                      <a:pt x="181" y="23"/>
                    </a:lnTo>
                    <a:lnTo>
                      <a:pt x="181" y="33"/>
                    </a:lnTo>
                    <a:lnTo>
                      <a:pt x="183" y="33"/>
                    </a:lnTo>
                    <a:lnTo>
                      <a:pt x="183" y="53"/>
                    </a:lnTo>
                    <a:lnTo>
                      <a:pt x="183" y="74"/>
                    </a:lnTo>
                    <a:lnTo>
                      <a:pt x="191" y="74"/>
                    </a:lnTo>
                    <a:lnTo>
                      <a:pt x="195" y="74"/>
                    </a:lnTo>
                    <a:lnTo>
                      <a:pt x="204" y="74"/>
                    </a:lnTo>
                    <a:lnTo>
                      <a:pt x="204" y="85"/>
                    </a:lnTo>
                    <a:lnTo>
                      <a:pt x="204" y="89"/>
                    </a:lnTo>
                    <a:lnTo>
                      <a:pt x="204" y="104"/>
                    </a:lnTo>
                    <a:lnTo>
                      <a:pt x="212" y="104"/>
                    </a:lnTo>
                    <a:lnTo>
                      <a:pt x="223" y="104"/>
                    </a:lnTo>
                    <a:lnTo>
                      <a:pt x="228" y="104"/>
                    </a:lnTo>
                    <a:lnTo>
                      <a:pt x="229" y="104"/>
                    </a:lnTo>
                    <a:lnTo>
                      <a:pt x="229" y="112"/>
                    </a:lnTo>
                    <a:lnTo>
                      <a:pt x="229" y="122"/>
                    </a:lnTo>
                    <a:lnTo>
                      <a:pt x="229" y="125"/>
                    </a:lnTo>
                    <a:lnTo>
                      <a:pt x="229" y="144"/>
                    </a:lnTo>
                    <a:lnTo>
                      <a:pt x="214" y="145"/>
                    </a:lnTo>
                    <a:lnTo>
                      <a:pt x="209" y="161"/>
                    </a:lnTo>
                    <a:lnTo>
                      <a:pt x="205" y="176"/>
                    </a:lnTo>
                    <a:lnTo>
                      <a:pt x="205" y="178"/>
                    </a:lnTo>
                    <a:lnTo>
                      <a:pt x="205" y="179"/>
                    </a:lnTo>
                    <a:lnTo>
                      <a:pt x="195" y="196"/>
                    </a:lnTo>
                    <a:lnTo>
                      <a:pt x="191" y="205"/>
                    </a:lnTo>
                    <a:lnTo>
                      <a:pt x="177" y="229"/>
                    </a:lnTo>
                    <a:lnTo>
                      <a:pt x="170" y="239"/>
                    </a:lnTo>
                    <a:lnTo>
                      <a:pt x="155" y="259"/>
                    </a:lnTo>
                    <a:lnTo>
                      <a:pt x="151" y="265"/>
                    </a:lnTo>
                    <a:lnTo>
                      <a:pt x="134" y="286"/>
                    </a:lnTo>
                    <a:lnTo>
                      <a:pt x="131" y="292"/>
                    </a:lnTo>
                    <a:lnTo>
                      <a:pt x="130" y="293"/>
                    </a:lnTo>
                    <a:lnTo>
                      <a:pt x="129" y="295"/>
                    </a:lnTo>
                    <a:lnTo>
                      <a:pt x="122" y="304"/>
                    </a:lnTo>
                    <a:lnTo>
                      <a:pt x="108" y="321"/>
                    </a:lnTo>
                    <a:lnTo>
                      <a:pt x="108" y="322"/>
                    </a:lnTo>
                    <a:lnTo>
                      <a:pt x="108" y="320"/>
                    </a:lnTo>
                    <a:lnTo>
                      <a:pt x="107" y="319"/>
                    </a:lnTo>
                    <a:lnTo>
                      <a:pt x="107" y="317"/>
                    </a:lnTo>
                    <a:lnTo>
                      <a:pt x="106" y="316"/>
                    </a:lnTo>
                    <a:lnTo>
                      <a:pt x="105" y="315"/>
                    </a:lnTo>
                    <a:lnTo>
                      <a:pt x="104" y="315"/>
                    </a:lnTo>
                    <a:lnTo>
                      <a:pt x="103" y="313"/>
                    </a:lnTo>
                    <a:lnTo>
                      <a:pt x="102" y="312"/>
                    </a:lnTo>
                    <a:lnTo>
                      <a:pt x="101" y="312"/>
                    </a:lnTo>
                    <a:lnTo>
                      <a:pt x="95" y="311"/>
                    </a:lnTo>
                    <a:lnTo>
                      <a:pt x="94" y="310"/>
                    </a:lnTo>
                    <a:lnTo>
                      <a:pt x="94" y="309"/>
                    </a:lnTo>
                    <a:lnTo>
                      <a:pt x="94" y="308"/>
                    </a:lnTo>
                    <a:lnTo>
                      <a:pt x="95" y="307"/>
                    </a:lnTo>
                    <a:lnTo>
                      <a:pt x="96" y="303"/>
                    </a:lnTo>
                    <a:lnTo>
                      <a:pt x="98" y="300"/>
                    </a:lnTo>
                    <a:lnTo>
                      <a:pt x="98" y="299"/>
                    </a:lnTo>
                    <a:lnTo>
                      <a:pt x="98" y="297"/>
                    </a:lnTo>
                    <a:lnTo>
                      <a:pt x="99" y="291"/>
                    </a:lnTo>
                    <a:lnTo>
                      <a:pt x="99" y="286"/>
                    </a:lnTo>
                    <a:lnTo>
                      <a:pt x="99" y="283"/>
                    </a:lnTo>
                    <a:lnTo>
                      <a:pt x="98" y="280"/>
                    </a:lnTo>
                    <a:lnTo>
                      <a:pt x="99" y="279"/>
                    </a:lnTo>
                    <a:lnTo>
                      <a:pt x="99" y="277"/>
                    </a:lnTo>
                    <a:lnTo>
                      <a:pt x="99" y="275"/>
                    </a:lnTo>
                    <a:lnTo>
                      <a:pt x="100" y="275"/>
                    </a:lnTo>
                    <a:lnTo>
                      <a:pt x="101" y="274"/>
                    </a:lnTo>
                    <a:lnTo>
                      <a:pt x="101" y="273"/>
                    </a:lnTo>
                    <a:lnTo>
                      <a:pt x="101" y="272"/>
                    </a:lnTo>
                    <a:lnTo>
                      <a:pt x="100" y="272"/>
                    </a:lnTo>
                    <a:lnTo>
                      <a:pt x="99" y="272"/>
                    </a:lnTo>
                    <a:lnTo>
                      <a:pt x="99" y="271"/>
                    </a:lnTo>
                    <a:lnTo>
                      <a:pt x="98" y="271"/>
                    </a:lnTo>
                    <a:lnTo>
                      <a:pt x="98" y="270"/>
                    </a:lnTo>
                    <a:lnTo>
                      <a:pt x="93" y="246"/>
                    </a:lnTo>
                    <a:lnTo>
                      <a:pt x="94" y="245"/>
                    </a:lnTo>
                    <a:lnTo>
                      <a:pt x="95" y="244"/>
                    </a:lnTo>
                    <a:lnTo>
                      <a:pt x="96" y="244"/>
                    </a:lnTo>
                    <a:lnTo>
                      <a:pt x="98" y="245"/>
                    </a:lnTo>
                    <a:lnTo>
                      <a:pt x="99" y="245"/>
                    </a:lnTo>
                    <a:lnTo>
                      <a:pt x="100" y="244"/>
                    </a:lnTo>
                    <a:lnTo>
                      <a:pt x="101" y="244"/>
                    </a:lnTo>
                    <a:lnTo>
                      <a:pt x="101" y="242"/>
                    </a:lnTo>
                    <a:lnTo>
                      <a:pt x="101" y="241"/>
                    </a:lnTo>
                    <a:lnTo>
                      <a:pt x="101" y="240"/>
                    </a:lnTo>
                    <a:lnTo>
                      <a:pt x="102" y="240"/>
                    </a:lnTo>
                    <a:lnTo>
                      <a:pt x="102" y="239"/>
                    </a:lnTo>
                    <a:lnTo>
                      <a:pt x="102" y="238"/>
                    </a:lnTo>
                    <a:lnTo>
                      <a:pt x="102" y="236"/>
                    </a:lnTo>
                    <a:lnTo>
                      <a:pt x="102" y="235"/>
                    </a:lnTo>
                    <a:lnTo>
                      <a:pt x="103" y="235"/>
                    </a:lnTo>
                    <a:lnTo>
                      <a:pt x="103" y="234"/>
                    </a:lnTo>
                    <a:lnTo>
                      <a:pt x="103" y="233"/>
                    </a:lnTo>
                    <a:lnTo>
                      <a:pt x="103" y="232"/>
                    </a:lnTo>
                    <a:lnTo>
                      <a:pt x="104" y="231"/>
                    </a:lnTo>
                    <a:lnTo>
                      <a:pt x="104" y="230"/>
                    </a:lnTo>
                    <a:lnTo>
                      <a:pt x="103" y="230"/>
                    </a:lnTo>
                    <a:lnTo>
                      <a:pt x="103" y="229"/>
                    </a:lnTo>
                    <a:lnTo>
                      <a:pt x="103" y="228"/>
                    </a:lnTo>
                    <a:lnTo>
                      <a:pt x="102" y="228"/>
                    </a:lnTo>
                    <a:lnTo>
                      <a:pt x="102" y="227"/>
                    </a:lnTo>
                    <a:lnTo>
                      <a:pt x="102" y="226"/>
                    </a:lnTo>
                    <a:lnTo>
                      <a:pt x="101" y="226"/>
                    </a:lnTo>
                    <a:lnTo>
                      <a:pt x="101" y="225"/>
                    </a:lnTo>
                    <a:lnTo>
                      <a:pt x="101" y="223"/>
                    </a:lnTo>
                    <a:lnTo>
                      <a:pt x="100" y="222"/>
                    </a:lnTo>
                    <a:lnTo>
                      <a:pt x="99" y="221"/>
                    </a:lnTo>
                    <a:lnTo>
                      <a:pt x="98" y="220"/>
                    </a:lnTo>
                    <a:lnTo>
                      <a:pt x="98" y="219"/>
                    </a:lnTo>
                    <a:lnTo>
                      <a:pt x="98" y="218"/>
                    </a:lnTo>
                    <a:lnTo>
                      <a:pt x="98" y="217"/>
                    </a:lnTo>
                    <a:lnTo>
                      <a:pt x="99" y="217"/>
                    </a:lnTo>
                    <a:lnTo>
                      <a:pt x="99" y="216"/>
                    </a:lnTo>
                    <a:lnTo>
                      <a:pt x="100" y="215"/>
                    </a:lnTo>
                    <a:lnTo>
                      <a:pt x="100" y="214"/>
                    </a:lnTo>
                    <a:lnTo>
                      <a:pt x="99" y="213"/>
                    </a:lnTo>
                    <a:lnTo>
                      <a:pt x="99" y="212"/>
                    </a:lnTo>
                    <a:lnTo>
                      <a:pt x="98" y="210"/>
                    </a:lnTo>
                    <a:lnTo>
                      <a:pt x="99" y="207"/>
                    </a:lnTo>
                    <a:lnTo>
                      <a:pt x="99" y="206"/>
                    </a:lnTo>
                    <a:lnTo>
                      <a:pt x="99" y="205"/>
                    </a:lnTo>
                    <a:lnTo>
                      <a:pt x="100" y="204"/>
                    </a:lnTo>
                    <a:lnTo>
                      <a:pt x="100" y="203"/>
                    </a:lnTo>
                    <a:lnTo>
                      <a:pt x="100" y="202"/>
                    </a:lnTo>
                    <a:lnTo>
                      <a:pt x="101" y="201"/>
                    </a:lnTo>
                    <a:lnTo>
                      <a:pt x="101" y="200"/>
                    </a:lnTo>
                    <a:lnTo>
                      <a:pt x="102" y="200"/>
                    </a:lnTo>
                    <a:lnTo>
                      <a:pt x="102" y="198"/>
                    </a:lnTo>
                    <a:lnTo>
                      <a:pt x="101" y="197"/>
                    </a:lnTo>
                    <a:lnTo>
                      <a:pt x="101" y="196"/>
                    </a:lnTo>
                    <a:lnTo>
                      <a:pt x="100" y="195"/>
                    </a:lnTo>
                    <a:lnTo>
                      <a:pt x="100" y="194"/>
                    </a:lnTo>
                    <a:lnTo>
                      <a:pt x="100" y="193"/>
                    </a:lnTo>
                    <a:lnTo>
                      <a:pt x="100" y="192"/>
                    </a:lnTo>
                    <a:lnTo>
                      <a:pt x="99" y="192"/>
                    </a:lnTo>
                    <a:lnTo>
                      <a:pt x="99" y="191"/>
                    </a:lnTo>
                    <a:lnTo>
                      <a:pt x="98" y="190"/>
                    </a:lnTo>
                    <a:lnTo>
                      <a:pt x="98" y="189"/>
                    </a:lnTo>
                    <a:lnTo>
                      <a:pt x="96" y="189"/>
                    </a:lnTo>
                    <a:lnTo>
                      <a:pt x="96" y="188"/>
                    </a:lnTo>
                    <a:lnTo>
                      <a:pt x="95" y="188"/>
                    </a:lnTo>
                    <a:lnTo>
                      <a:pt x="94" y="188"/>
                    </a:lnTo>
                    <a:lnTo>
                      <a:pt x="93" y="185"/>
                    </a:lnTo>
                    <a:lnTo>
                      <a:pt x="93" y="184"/>
                    </a:lnTo>
                    <a:lnTo>
                      <a:pt x="92" y="184"/>
                    </a:lnTo>
                    <a:lnTo>
                      <a:pt x="92" y="183"/>
                    </a:lnTo>
                    <a:lnTo>
                      <a:pt x="92" y="182"/>
                    </a:lnTo>
                    <a:lnTo>
                      <a:pt x="91" y="181"/>
                    </a:lnTo>
                    <a:lnTo>
                      <a:pt x="90" y="181"/>
                    </a:lnTo>
                    <a:lnTo>
                      <a:pt x="89" y="181"/>
                    </a:lnTo>
                    <a:lnTo>
                      <a:pt x="88" y="181"/>
                    </a:lnTo>
                    <a:lnTo>
                      <a:pt x="86" y="180"/>
                    </a:lnTo>
                    <a:lnTo>
                      <a:pt x="85" y="180"/>
                    </a:lnTo>
                    <a:lnTo>
                      <a:pt x="83" y="179"/>
                    </a:lnTo>
                    <a:lnTo>
                      <a:pt x="82" y="177"/>
                    </a:lnTo>
                    <a:lnTo>
                      <a:pt x="81" y="176"/>
                    </a:lnTo>
                    <a:lnTo>
                      <a:pt x="80" y="175"/>
                    </a:lnTo>
                    <a:lnTo>
                      <a:pt x="78" y="174"/>
                    </a:lnTo>
                    <a:lnTo>
                      <a:pt x="77" y="174"/>
                    </a:lnTo>
                    <a:lnTo>
                      <a:pt x="76" y="174"/>
                    </a:lnTo>
                    <a:lnTo>
                      <a:pt x="75" y="174"/>
                    </a:lnTo>
                    <a:lnTo>
                      <a:pt x="74" y="174"/>
                    </a:lnTo>
                    <a:lnTo>
                      <a:pt x="73" y="174"/>
                    </a:lnTo>
                    <a:lnTo>
                      <a:pt x="72" y="174"/>
                    </a:lnTo>
                    <a:lnTo>
                      <a:pt x="69" y="174"/>
                    </a:lnTo>
                    <a:lnTo>
                      <a:pt x="68" y="174"/>
                    </a:lnTo>
                    <a:lnTo>
                      <a:pt x="67" y="174"/>
                    </a:lnTo>
                    <a:lnTo>
                      <a:pt x="65" y="172"/>
                    </a:lnTo>
                    <a:lnTo>
                      <a:pt x="63" y="171"/>
                    </a:lnTo>
                    <a:lnTo>
                      <a:pt x="62" y="170"/>
                    </a:lnTo>
                    <a:lnTo>
                      <a:pt x="59" y="169"/>
                    </a:lnTo>
                    <a:lnTo>
                      <a:pt x="53" y="168"/>
                    </a:lnTo>
                    <a:lnTo>
                      <a:pt x="51" y="168"/>
                    </a:lnTo>
                    <a:lnTo>
                      <a:pt x="49" y="167"/>
                    </a:lnTo>
                    <a:lnTo>
                      <a:pt x="47" y="167"/>
                    </a:lnTo>
                    <a:lnTo>
                      <a:pt x="46" y="167"/>
                    </a:lnTo>
                    <a:lnTo>
                      <a:pt x="44" y="165"/>
                    </a:lnTo>
                    <a:lnTo>
                      <a:pt x="42" y="163"/>
                    </a:lnTo>
                    <a:lnTo>
                      <a:pt x="41" y="161"/>
                    </a:lnTo>
                    <a:lnTo>
                      <a:pt x="40" y="159"/>
                    </a:lnTo>
                    <a:lnTo>
                      <a:pt x="37" y="157"/>
                    </a:lnTo>
                    <a:lnTo>
                      <a:pt x="37" y="156"/>
                    </a:lnTo>
                    <a:lnTo>
                      <a:pt x="36" y="156"/>
                    </a:lnTo>
                    <a:lnTo>
                      <a:pt x="36" y="155"/>
                    </a:lnTo>
                    <a:lnTo>
                      <a:pt x="36" y="154"/>
                    </a:lnTo>
                    <a:lnTo>
                      <a:pt x="36" y="152"/>
                    </a:lnTo>
                    <a:lnTo>
                      <a:pt x="35" y="149"/>
                    </a:lnTo>
                    <a:lnTo>
                      <a:pt x="35" y="148"/>
                    </a:lnTo>
                    <a:lnTo>
                      <a:pt x="34" y="145"/>
                    </a:lnTo>
                    <a:lnTo>
                      <a:pt x="34" y="144"/>
                    </a:lnTo>
                    <a:lnTo>
                      <a:pt x="33" y="143"/>
                    </a:lnTo>
                    <a:lnTo>
                      <a:pt x="33" y="142"/>
                    </a:lnTo>
                    <a:lnTo>
                      <a:pt x="33" y="141"/>
                    </a:lnTo>
                    <a:lnTo>
                      <a:pt x="33" y="140"/>
                    </a:lnTo>
                    <a:lnTo>
                      <a:pt x="31" y="139"/>
                    </a:lnTo>
                    <a:lnTo>
                      <a:pt x="31" y="137"/>
                    </a:lnTo>
                    <a:lnTo>
                      <a:pt x="31" y="135"/>
                    </a:lnTo>
                    <a:lnTo>
                      <a:pt x="31" y="133"/>
                    </a:lnTo>
                    <a:lnTo>
                      <a:pt x="33" y="131"/>
                    </a:lnTo>
                    <a:lnTo>
                      <a:pt x="31" y="130"/>
                    </a:lnTo>
                    <a:lnTo>
                      <a:pt x="31" y="129"/>
                    </a:lnTo>
                    <a:lnTo>
                      <a:pt x="30" y="127"/>
                    </a:lnTo>
                    <a:lnTo>
                      <a:pt x="28" y="124"/>
                    </a:lnTo>
                    <a:lnTo>
                      <a:pt x="27" y="123"/>
                    </a:lnTo>
                    <a:lnTo>
                      <a:pt x="26" y="123"/>
                    </a:lnTo>
                    <a:lnTo>
                      <a:pt x="24" y="122"/>
                    </a:lnTo>
                    <a:lnTo>
                      <a:pt x="23" y="122"/>
                    </a:lnTo>
                    <a:lnTo>
                      <a:pt x="22" y="120"/>
                    </a:lnTo>
                    <a:lnTo>
                      <a:pt x="21" y="120"/>
                    </a:lnTo>
                    <a:lnTo>
                      <a:pt x="21" y="119"/>
                    </a:lnTo>
                    <a:lnTo>
                      <a:pt x="19" y="118"/>
                    </a:lnTo>
                    <a:lnTo>
                      <a:pt x="18" y="117"/>
                    </a:lnTo>
                    <a:lnTo>
                      <a:pt x="17" y="117"/>
                    </a:lnTo>
                    <a:lnTo>
                      <a:pt x="16" y="116"/>
                    </a:lnTo>
                    <a:lnTo>
                      <a:pt x="16" y="115"/>
                    </a:lnTo>
                    <a:lnTo>
                      <a:pt x="16" y="114"/>
                    </a:lnTo>
                    <a:lnTo>
                      <a:pt x="16" y="113"/>
                    </a:lnTo>
                    <a:lnTo>
                      <a:pt x="16" y="112"/>
                    </a:lnTo>
                    <a:lnTo>
                      <a:pt x="17" y="111"/>
                    </a:lnTo>
                    <a:lnTo>
                      <a:pt x="17" y="110"/>
                    </a:lnTo>
                    <a:lnTo>
                      <a:pt x="18" y="108"/>
                    </a:lnTo>
                    <a:lnTo>
                      <a:pt x="18" y="107"/>
                    </a:lnTo>
                    <a:lnTo>
                      <a:pt x="18" y="106"/>
                    </a:lnTo>
                    <a:lnTo>
                      <a:pt x="18" y="105"/>
                    </a:lnTo>
                    <a:lnTo>
                      <a:pt x="17" y="104"/>
                    </a:lnTo>
                    <a:lnTo>
                      <a:pt x="15" y="103"/>
                    </a:lnTo>
                    <a:lnTo>
                      <a:pt x="14" y="102"/>
                    </a:lnTo>
                    <a:lnTo>
                      <a:pt x="13" y="102"/>
                    </a:lnTo>
                    <a:lnTo>
                      <a:pt x="12" y="100"/>
                    </a:lnTo>
                    <a:lnTo>
                      <a:pt x="11" y="99"/>
                    </a:lnTo>
                    <a:lnTo>
                      <a:pt x="10" y="98"/>
                    </a:lnTo>
                    <a:lnTo>
                      <a:pt x="10" y="97"/>
                    </a:lnTo>
                    <a:lnTo>
                      <a:pt x="9" y="94"/>
                    </a:lnTo>
                    <a:lnTo>
                      <a:pt x="8" y="93"/>
                    </a:lnTo>
                    <a:lnTo>
                      <a:pt x="6" y="92"/>
                    </a:lnTo>
                    <a:lnTo>
                      <a:pt x="8" y="92"/>
                    </a:lnTo>
                    <a:lnTo>
                      <a:pt x="9" y="91"/>
                    </a:lnTo>
                    <a:lnTo>
                      <a:pt x="9" y="90"/>
                    </a:lnTo>
                    <a:lnTo>
                      <a:pt x="9" y="89"/>
                    </a:lnTo>
                    <a:lnTo>
                      <a:pt x="8" y="89"/>
                    </a:lnTo>
                    <a:lnTo>
                      <a:pt x="6" y="89"/>
                    </a:lnTo>
                    <a:lnTo>
                      <a:pt x="5" y="89"/>
                    </a:lnTo>
                    <a:lnTo>
                      <a:pt x="4" y="88"/>
                    </a:lnTo>
                    <a:lnTo>
                      <a:pt x="4" y="87"/>
                    </a:lnTo>
                    <a:lnTo>
                      <a:pt x="5" y="87"/>
                    </a:lnTo>
                    <a:lnTo>
                      <a:pt x="5" y="86"/>
                    </a:lnTo>
                    <a:lnTo>
                      <a:pt x="5" y="85"/>
                    </a:lnTo>
                    <a:lnTo>
                      <a:pt x="4" y="85"/>
                    </a:lnTo>
                    <a:lnTo>
                      <a:pt x="4" y="84"/>
                    </a:lnTo>
                    <a:lnTo>
                      <a:pt x="4" y="82"/>
                    </a:lnTo>
                    <a:lnTo>
                      <a:pt x="4" y="81"/>
                    </a:lnTo>
                    <a:lnTo>
                      <a:pt x="3" y="81"/>
                    </a:lnTo>
                    <a:lnTo>
                      <a:pt x="3" y="80"/>
                    </a:lnTo>
                    <a:lnTo>
                      <a:pt x="3" y="79"/>
                    </a:lnTo>
                    <a:lnTo>
                      <a:pt x="2" y="79"/>
                    </a:lnTo>
                    <a:lnTo>
                      <a:pt x="2" y="78"/>
                    </a:lnTo>
                    <a:lnTo>
                      <a:pt x="3" y="78"/>
                    </a:lnTo>
                    <a:lnTo>
                      <a:pt x="2" y="77"/>
                    </a:lnTo>
                    <a:lnTo>
                      <a:pt x="2" y="76"/>
                    </a:lnTo>
                    <a:lnTo>
                      <a:pt x="2" y="75"/>
                    </a:lnTo>
                    <a:lnTo>
                      <a:pt x="2" y="74"/>
                    </a:lnTo>
                    <a:lnTo>
                      <a:pt x="1" y="74"/>
                    </a:lnTo>
                    <a:lnTo>
                      <a:pt x="1" y="73"/>
                    </a:lnTo>
                    <a:lnTo>
                      <a:pt x="1" y="72"/>
                    </a:lnTo>
                    <a:lnTo>
                      <a:pt x="1" y="71"/>
                    </a:lnTo>
                    <a:lnTo>
                      <a:pt x="0" y="69"/>
                    </a:lnTo>
                    <a:lnTo>
                      <a:pt x="0" y="68"/>
                    </a:lnTo>
                    <a:lnTo>
                      <a:pt x="0" y="59"/>
                    </a:lnTo>
                    <a:lnTo>
                      <a:pt x="0" y="58"/>
                    </a:lnTo>
                    <a:lnTo>
                      <a:pt x="1" y="58"/>
                    </a:lnTo>
                    <a:lnTo>
                      <a:pt x="2" y="58"/>
                    </a:lnTo>
                    <a:lnTo>
                      <a:pt x="3" y="58"/>
                    </a:lnTo>
                    <a:lnTo>
                      <a:pt x="6" y="58"/>
                    </a:lnTo>
                    <a:lnTo>
                      <a:pt x="9" y="59"/>
                    </a:lnTo>
                    <a:lnTo>
                      <a:pt x="13" y="59"/>
                    </a:lnTo>
                    <a:lnTo>
                      <a:pt x="14" y="58"/>
                    </a:lnTo>
                    <a:lnTo>
                      <a:pt x="15" y="56"/>
                    </a:lnTo>
                    <a:lnTo>
                      <a:pt x="16" y="53"/>
                    </a:lnTo>
                    <a:lnTo>
                      <a:pt x="17" y="50"/>
                    </a:lnTo>
                    <a:lnTo>
                      <a:pt x="18" y="48"/>
                    </a:lnTo>
                    <a:lnTo>
                      <a:pt x="19" y="45"/>
                    </a:lnTo>
                    <a:lnTo>
                      <a:pt x="21" y="42"/>
                    </a:lnTo>
                    <a:lnTo>
                      <a:pt x="22" y="40"/>
                    </a:lnTo>
                    <a:lnTo>
                      <a:pt x="61" y="26"/>
                    </a:lnTo>
                    <a:lnTo>
                      <a:pt x="94" y="14"/>
                    </a:lnTo>
                    <a:lnTo>
                      <a:pt x="104" y="14"/>
                    </a:lnTo>
                    <a:lnTo>
                      <a:pt x="104" y="4"/>
                    </a:lnTo>
                    <a:lnTo>
                      <a:pt x="111" y="3"/>
                    </a:lnTo>
                    <a:lnTo>
                      <a:pt x="113" y="0"/>
                    </a:lnTo>
                    <a:lnTo>
                      <a:pt x="115" y="2"/>
                    </a:lnTo>
                    <a:lnTo>
                      <a:pt x="116" y="2"/>
                    </a:lnTo>
                    <a:lnTo>
                      <a:pt x="118" y="4"/>
                    </a:lnTo>
                    <a:lnTo>
                      <a:pt x="121" y="7"/>
                    </a:lnTo>
                    <a:lnTo>
                      <a:pt x="125" y="9"/>
                    </a:lnTo>
                    <a:lnTo>
                      <a:pt x="127" y="7"/>
                    </a:lnTo>
                    <a:lnTo>
                      <a:pt x="128" y="8"/>
                    </a:lnTo>
                    <a:lnTo>
                      <a:pt x="131" y="7"/>
                    </a:lnTo>
                    <a:lnTo>
                      <a:pt x="142" y="4"/>
                    </a:lnTo>
                    <a:lnTo>
                      <a:pt x="143" y="4"/>
                    </a:lnTo>
                    <a:lnTo>
                      <a:pt x="143" y="5"/>
                    </a:lnTo>
                    <a:lnTo>
                      <a:pt x="155" y="2"/>
                    </a:lnTo>
                    <a:lnTo>
                      <a:pt x="158" y="5"/>
                    </a:lnTo>
                    <a:lnTo>
                      <a:pt x="159" y="7"/>
                    </a:lnTo>
                    <a:lnTo>
                      <a:pt x="165" y="10"/>
                    </a:lnTo>
                    <a:lnTo>
                      <a:pt x="168" y="12"/>
                    </a:lnTo>
                    <a:lnTo>
                      <a:pt x="170" y="12"/>
                    </a:lnTo>
                    <a:lnTo>
                      <a:pt x="176" y="12"/>
                    </a:lnTo>
                    <a:lnTo>
                      <a:pt x="180" y="12"/>
                    </a:lnTo>
                    <a:lnTo>
                      <a:pt x="181" y="11"/>
                    </a:lnTo>
                    <a:close/>
                  </a:path>
                </a:pathLst>
              </a:custGeom>
              <a:solidFill>
                <a:srgbClr val="82BB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4" name="Freeform 14">
                <a:extLst>
                  <a:ext uri="{FF2B5EF4-FFF2-40B4-BE49-F238E27FC236}">
                    <a16:creationId xmlns:a16="http://schemas.microsoft.com/office/drawing/2014/main" id="{206C54D3-05E3-BCC6-F14B-F1802C18B503}"/>
                  </a:ext>
                </a:extLst>
              </p:cNvPr>
              <p:cNvSpPr>
                <a:spLocks noEditPoints="1"/>
              </p:cNvSpPr>
              <p:nvPr/>
            </p:nvSpPr>
            <p:spPr bwMode="auto">
              <a:xfrm>
                <a:off x="4802188" y="4516438"/>
                <a:ext cx="365125" cy="987425"/>
              </a:xfrm>
              <a:custGeom>
                <a:avLst/>
                <a:gdLst>
                  <a:gd name="T0" fmla="*/ 165 w 230"/>
                  <a:gd name="T1" fmla="*/ 107 h 622"/>
                  <a:gd name="T2" fmla="*/ 128 w 230"/>
                  <a:gd name="T3" fmla="*/ 173 h 622"/>
                  <a:gd name="T4" fmla="*/ 168 w 230"/>
                  <a:gd name="T5" fmla="*/ 292 h 622"/>
                  <a:gd name="T6" fmla="*/ 180 w 230"/>
                  <a:gd name="T7" fmla="*/ 335 h 622"/>
                  <a:gd name="T8" fmla="*/ 180 w 230"/>
                  <a:gd name="T9" fmla="*/ 413 h 622"/>
                  <a:gd name="T10" fmla="*/ 158 w 230"/>
                  <a:gd name="T11" fmla="*/ 390 h 622"/>
                  <a:gd name="T12" fmla="*/ 127 w 230"/>
                  <a:gd name="T13" fmla="*/ 377 h 622"/>
                  <a:gd name="T14" fmla="*/ 114 w 230"/>
                  <a:gd name="T15" fmla="*/ 362 h 622"/>
                  <a:gd name="T16" fmla="*/ 94 w 230"/>
                  <a:gd name="T17" fmla="*/ 333 h 622"/>
                  <a:gd name="T18" fmla="*/ 99 w 230"/>
                  <a:gd name="T19" fmla="*/ 275 h 622"/>
                  <a:gd name="T20" fmla="*/ 86 w 230"/>
                  <a:gd name="T21" fmla="*/ 262 h 622"/>
                  <a:gd name="T22" fmla="*/ 48 w 230"/>
                  <a:gd name="T23" fmla="*/ 254 h 622"/>
                  <a:gd name="T24" fmla="*/ 9 w 230"/>
                  <a:gd name="T25" fmla="*/ 104 h 622"/>
                  <a:gd name="T26" fmla="*/ 26 w 230"/>
                  <a:gd name="T27" fmla="*/ 6 h 622"/>
                  <a:gd name="T28" fmla="*/ 94 w 230"/>
                  <a:gd name="T29" fmla="*/ 19 h 622"/>
                  <a:gd name="T30" fmla="*/ 139 w 230"/>
                  <a:gd name="T31" fmla="*/ 401 h 622"/>
                  <a:gd name="T32" fmla="*/ 116 w 230"/>
                  <a:gd name="T33" fmla="*/ 408 h 622"/>
                  <a:gd name="T34" fmla="*/ 120 w 230"/>
                  <a:gd name="T35" fmla="*/ 386 h 622"/>
                  <a:gd name="T36" fmla="*/ 78 w 230"/>
                  <a:gd name="T37" fmla="*/ 362 h 622"/>
                  <a:gd name="T38" fmla="*/ 75 w 230"/>
                  <a:gd name="T39" fmla="*/ 342 h 622"/>
                  <a:gd name="T40" fmla="*/ 176 w 230"/>
                  <a:gd name="T41" fmla="*/ 577 h 622"/>
                  <a:gd name="T42" fmla="*/ 160 w 230"/>
                  <a:gd name="T43" fmla="*/ 582 h 622"/>
                  <a:gd name="T44" fmla="*/ 175 w 230"/>
                  <a:gd name="T45" fmla="*/ 570 h 622"/>
                  <a:gd name="T46" fmla="*/ 200 w 230"/>
                  <a:gd name="T47" fmla="*/ 553 h 622"/>
                  <a:gd name="T48" fmla="*/ 163 w 230"/>
                  <a:gd name="T49" fmla="*/ 418 h 622"/>
                  <a:gd name="T50" fmla="*/ 175 w 230"/>
                  <a:gd name="T51" fmla="*/ 431 h 622"/>
                  <a:gd name="T52" fmla="*/ 167 w 230"/>
                  <a:gd name="T53" fmla="*/ 435 h 622"/>
                  <a:gd name="T54" fmla="*/ 161 w 230"/>
                  <a:gd name="T55" fmla="*/ 427 h 622"/>
                  <a:gd name="T56" fmla="*/ 135 w 230"/>
                  <a:gd name="T57" fmla="*/ 411 h 622"/>
                  <a:gd name="T58" fmla="*/ 88 w 230"/>
                  <a:gd name="T59" fmla="*/ 311 h 622"/>
                  <a:gd name="T60" fmla="*/ 83 w 230"/>
                  <a:gd name="T61" fmla="*/ 289 h 622"/>
                  <a:gd name="T62" fmla="*/ 132 w 230"/>
                  <a:gd name="T63" fmla="*/ 596 h 622"/>
                  <a:gd name="T64" fmla="*/ 135 w 230"/>
                  <a:gd name="T65" fmla="*/ 601 h 622"/>
                  <a:gd name="T66" fmla="*/ 146 w 230"/>
                  <a:gd name="T67" fmla="*/ 396 h 622"/>
                  <a:gd name="T68" fmla="*/ 144 w 230"/>
                  <a:gd name="T69" fmla="*/ 403 h 622"/>
                  <a:gd name="T70" fmla="*/ 206 w 230"/>
                  <a:gd name="T71" fmla="*/ 543 h 622"/>
                  <a:gd name="T72" fmla="*/ 166 w 230"/>
                  <a:gd name="T73" fmla="*/ 490 h 622"/>
                  <a:gd name="T74" fmla="*/ 170 w 230"/>
                  <a:gd name="T75" fmla="*/ 480 h 622"/>
                  <a:gd name="T76" fmla="*/ 190 w 230"/>
                  <a:gd name="T77" fmla="*/ 554 h 622"/>
                  <a:gd name="T78" fmla="*/ 149 w 230"/>
                  <a:gd name="T79" fmla="*/ 431 h 622"/>
                  <a:gd name="T80" fmla="*/ 177 w 230"/>
                  <a:gd name="T81" fmla="*/ 416 h 622"/>
                  <a:gd name="T82" fmla="*/ 189 w 230"/>
                  <a:gd name="T83" fmla="*/ 524 h 622"/>
                  <a:gd name="T84" fmla="*/ 179 w 230"/>
                  <a:gd name="T85" fmla="*/ 430 h 622"/>
                  <a:gd name="T86" fmla="*/ 165 w 230"/>
                  <a:gd name="T87" fmla="*/ 570 h 622"/>
                  <a:gd name="T88" fmla="*/ 128 w 230"/>
                  <a:gd name="T89" fmla="*/ 403 h 622"/>
                  <a:gd name="T90" fmla="*/ 140 w 230"/>
                  <a:gd name="T91" fmla="*/ 599 h 622"/>
                  <a:gd name="T92" fmla="*/ 192 w 230"/>
                  <a:gd name="T93" fmla="*/ 547 h 622"/>
                  <a:gd name="T94" fmla="*/ 176 w 230"/>
                  <a:gd name="T95" fmla="*/ 495 h 622"/>
                  <a:gd name="T96" fmla="*/ 181 w 230"/>
                  <a:gd name="T97" fmla="*/ 495 h 622"/>
                  <a:gd name="T98" fmla="*/ 184 w 230"/>
                  <a:gd name="T99" fmla="*/ 519 h 622"/>
                  <a:gd name="T100" fmla="*/ 165 w 230"/>
                  <a:gd name="T101" fmla="*/ 469 h 622"/>
                  <a:gd name="T102" fmla="*/ 167 w 230"/>
                  <a:gd name="T103" fmla="*/ 439 h 622"/>
                  <a:gd name="T104" fmla="*/ 158 w 230"/>
                  <a:gd name="T105" fmla="*/ 492 h 622"/>
                  <a:gd name="T106" fmla="*/ 155 w 230"/>
                  <a:gd name="T107" fmla="*/ 473 h 622"/>
                  <a:gd name="T108" fmla="*/ 72 w 230"/>
                  <a:gd name="T109" fmla="*/ 362 h 622"/>
                  <a:gd name="T110" fmla="*/ 144 w 230"/>
                  <a:gd name="T111" fmla="*/ 584 h 622"/>
                  <a:gd name="T112" fmla="*/ 188 w 230"/>
                  <a:gd name="T113" fmla="*/ 518 h 622"/>
                  <a:gd name="T114" fmla="*/ 87 w 230"/>
                  <a:gd name="T115" fmla="*/ 272 h 622"/>
                  <a:gd name="T116" fmla="*/ 83 w 230"/>
                  <a:gd name="T117" fmla="*/ 269 h 622"/>
                  <a:gd name="T118" fmla="*/ 172 w 230"/>
                  <a:gd name="T119" fmla="*/ 399 h 622"/>
                  <a:gd name="T120" fmla="*/ 172 w 230"/>
                  <a:gd name="T121" fmla="*/ 565 h 622"/>
                  <a:gd name="T122" fmla="*/ 180 w 230"/>
                  <a:gd name="T123" fmla="*/ 490 h 622"/>
                  <a:gd name="T124" fmla="*/ 180 w 230"/>
                  <a:gd name="T125" fmla="*/ 492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 h="622">
                    <a:moveTo>
                      <a:pt x="98" y="22"/>
                    </a:moveTo>
                    <a:lnTo>
                      <a:pt x="97" y="36"/>
                    </a:lnTo>
                    <a:lnTo>
                      <a:pt x="97" y="38"/>
                    </a:lnTo>
                    <a:lnTo>
                      <a:pt x="96" y="43"/>
                    </a:lnTo>
                    <a:lnTo>
                      <a:pt x="96" y="44"/>
                    </a:lnTo>
                    <a:lnTo>
                      <a:pt x="96" y="45"/>
                    </a:lnTo>
                    <a:lnTo>
                      <a:pt x="96" y="50"/>
                    </a:lnTo>
                    <a:lnTo>
                      <a:pt x="96" y="52"/>
                    </a:lnTo>
                    <a:lnTo>
                      <a:pt x="96" y="53"/>
                    </a:lnTo>
                    <a:lnTo>
                      <a:pt x="96" y="54"/>
                    </a:lnTo>
                    <a:lnTo>
                      <a:pt x="95" y="55"/>
                    </a:lnTo>
                    <a:lnTo>
                      <a:pt x="95" y="56"/>
                    </a:lnTo>
                    <a:lnTo>
                      <a:pt x="94" y="58"/>
                    </a:lnTo>
                    <a:lnTo>
                      <a:pt x="93" y="61"/>
                    </a:lnTo>
                    <a:lnTo>
                      <a:pt x="91" y="61"/>
                    </a:lnTo>
                    <a:lnTo>
                      <a:pt x="88" y="68"/>
                    </a:lnTo>
                    <a:lnTo>
                      <a:pt x="88" y="69"/>
                    </a:lnTo>
                    <a:lnTo>
                      <a:pt x="86" y="72"/>
                    </a:lnTo>
                    <a:lnTo>
                      <a:pt x="87" y="79"/>
                    </a:lnTo>
                    <a:lnTo>
                      <a:pt x="87" y="89"/>
                    </a:lnTo>
                    <a:lnTo>
                      <a:pt x="87" y="93"/>
                    </a:lnTo>
                    <a:lnTo>
                      <a:pt x="90" y="96"/>
                    </a:lnTo>
                    <a:lnTo>
                      <a:pt x="94" y="99"/>
                    </a:lnTo>
                    <a:lnTo>
                      <a:pt x="95" y="99"/>
                    </a:lnTo>
                    <a:lnTo>
                      <a:pt x="100" y="100"/>
                    </a:lnTo>
                    <a:lnTo>
                      <a:pt x="110" y="99"/>
                    </a:lnTo>
                    <a:lnTo>
                      <a:pt x="114" y="97"/>
                    </a:lnTo>
                    <a:lnTo>
                      <a:pt x="116" y="97"/>
                    </a:lnTo>
                    <a:lnTo>
                      <a:pt x="119" y="96"/>
                    </a:lnTo>
                    <a:lnTo>
                      <a:pt x="120" y="95"/>
                    </a:lnTo>
                    <a:lnTo>
                      <a:pt x="127" y="92"/>
                    </a:lnTo>
                    <a:lnTo>
                      <a:pt x="128" y="92"/>
                    </a:lnTo>
                    <a:lnTo>
                      <a:pt x="131" y="91"/>
                    </a:lnTo>
                    <a:lnTo>
                      <a:pt x="133" y="88"/>
                    </a:lnTo>
                    <a:lnTo>
                      <a:pt x="134" y="88"/>
                    </a:lnTo>
                    <a:lnTo>
                      <a:pt x="136" y="84"/>
                    </a:lnTo>
                    <a:lnTo>
                      <a:pt x="136" y="79"/>
                    </a:lnTo>
                    <a:lnTo>
                      <a:pt x="137" y="79"/>
                    </a:lnTo>
                    <a:lnTo>
                      <a:pt x="136" y="74"/>
                    </a:lnTo>
                    <a:lnTo>
                      <a:pt x="139" y="77"/>
                    </a:lnTo>
                    <a:lnTo>
                      <a:pt x="139" y="78"/>
                    </a:lnTo>
                    <a:lnTo>
                      <a:pt x="140" y="78"/>
                    </a:lnTo>
                    <a:lnTo>
                      <a:pt x="140" y="79"/>
                    </a:lnTo>
                    <a:lnTo>
                      <a:pt x="141" y="79"/>
                    </a:lnTo>
                    <a:lnTo>
                      <a:pt x="141" y="80"/>
                    </a:lnTo>
                    <a:lnTo>
                      <a:pt x="142" y="81"/>
                    </a:lnTo>
                    <a:lnTo>
                      <a:pt x="144" y="82"/>
                    </a:lnTo>
                    <a:lnTo>
                      <a:pt x="145" y="83"/>
                    </a:lnTo>
                    <a:lnTo>
                      <a:pt x="146" y="84"/>
                    </a:lnTo>
                    <a:lnTo>
                      <a:pt x="148" y="87"/>
                    </a:lnTo>
                    <a:lnTo>
                      <a:pt x="150" y="89"/>
                    </a:lnTo>
                    <a:lnTo>
                      <a:pt x="161" y="101"/>
                    </a:lnTo>
                    <a:lnTo>
                      <a:pt x="162" y="103"/>
                    </a:lnTo>
                    <a:lnTo>
                      <a:pt x="163" y="104"/>
                    </a:lnTo>
                    <a:lnTo>
                      <a:pt x="164" y="104"/>
                    </a:lnTo>
                    <a:lnTo>
                      <a:pt x="165" y="107"/>
                    </a:lnTo>
                    <a:lnTo>
                      <a:pt x="167" y="108"/>
                    </a:lnTo>
                    <a:lnTo>
                      <a:pt x="167" y="109"/>
                    </a:lnTo>
                    <a:lnTo>
                      <a:pt x="166" y="112"/>
                    </a:lnTo>
                    <a:lnTo>
                      <a:pt x="164" y="116"/>
                    </a:lnTo>
                    <a:lnTo>
                      <a:pt x="163" y="119"/>
                    </a:lnTo>
                    <a:lnTo>
                      <a:pt x="162" y="119"/>
                    </a:lnTo>
                    <a:lnTo>
                      <a:pt x="161" y="121"/>
                    </a:lnTo>
                    <a:lnTo>
                      <a:pt x="161" y="123"/>
                    </a:lnTo>
                    <a:lnTo>
                      <a:pt x="160" y="123"/>
                    </a:lnTo>
                    <a:lnTo>
                      <a:pt x="160" y="126"/>
                    </a:lnTo>
                    <a:lnTo>
                      <a:pt x="159" y="127"/>
                    </a:lnTo>
                    <a:lnTo>
                      <a:pt x="158" y="129"/>
                    </a:lnTo>
                    <a:lnTo>
                      <a:pt x="158" y="130"/>
                    </a:lnTo>
                    <a:lnTo>
                      <a:pt x="158" y="131"/>
                    </a:lnTo>
                    <a:lnTo>
                      <a:pt x="158" y="132"/>
                    </a:lnTo>
                    <a:lnTo>
                      <a:pt x="158" y="133"/>
                    </a:lnTo>
                    <a:lnTo>
                      <a:pt x="157" y="134"/>
                    </a:lnTo>
                    <a:lnTo>
                      <a:pt x="157" y="136"/>
                    </a:lnTo>
                    <a:lnTo>
                      <a:pt x="157" y="138"/>
                    </a:lnTo>
                    <a:lnTo>
                      <a:pt x="155" y="139"/>
                    </a:lnTo>
                    <a:lnTo>
                      <a:pt x="153" y="141"/>
                    </a:lnTo>
                    <a:lnTo>
                      <a:pt x="152" y="142"/>
                    </a:lnTo>
                    <a:lnTo>
                      <a:pt x="151" y="143"/>
                    </a:lnTo>
                    <a:lnTo>
                      <a:pt x="149" y="144"/>
                    </a:lnTo>
                    <a:lnTo>
                      <a:pt x="148" y="144"/>
                    </a:lnTo>
                    <a:lnTo>
                      <a:pt x="147" y="144"/>
                    </a:lnTo>
                    <a:lnTo>
                      <a:pt x="147" y="145"/>
                    </a:lnTo>
                    <a:lnTo>
                      <a:pt x="146" y="146"/>
                    </a:lnTo>
                    <a:lnTo>
                      <a:pt x="145" y="147"/>
                    </a:lnTo>
                    <a:lnTo>
                      <a:pt x="141" y="148"/>
                    </a:lnTo>
                    <a:lnTo>
                      <a:pt x="140" y="149"/>
                    </a:lnTo>
                    <a:lnTo>
                      <a:pt x="139" y="149"/>
                    </a:lnTo>
                    <a:lnTo>
                      <a:pt x="138" y="151"/>
                    </a:lnTo>
                    <a:lnTo>
                      <a:pt x="137" y="151"/>
                    </a:lnTo>
                    <a:lnTo>
                      <a:pt x="136" y="151"/>
                    </a:lnTo>
                    <a:lnTo>
                      <a:pt x="136" y="152"/>
                    </a:lnTo>
                    <a:lnTo>
                      <a:pt x="135" y="152"/>
                    </a:lnTo>
                    <a:lnTo>
                      <a:pt x="135" y="153"/>
                    </a:lnTo>
                    <a:lnTo>
                      <a:pt x="134" y="153"/>
                    </a:lnTo>
                    <a:lnTo>
                      <a:pt x="133" y="153"/>
                    </a:lnTo>
                    <a:lnTo>
                      <a:pt x="132" y="154"/>
                    </a:lnTo>
                    <a:lnTo>
                      <a:pt x="132" y="155"/>
                    </a:lnTo>
                    <a:lnTo>
                      <a:pt x="131" y="155"/>
                    </a:lnTo>
                    <a:lnTo>
                      <a:pt x="131" y="156"/>
                    </a:lnTo>
                    <a:lnTo>
                      <a:pt x="129" y="156"/>
                    </a:lnTo>
                    <a:lnTo>
                      <a:pt x="129" y="157"/>
                    </a:lnTo>
                    <a:lnTo>
                      <a:pt x="131" y="158"/>
                    </a:lnTo>
                    <a:lnTo>
                      <a:pt x="131" y="159"/>
                    </a:lnTo>
                    <a:lnTo>
                      <a:pt x="131" y="160"/>
                    </a:lnTo>
                    <a:lnTo>
                      <a:pt x="129" y="162"/>
                    </a:lnTo>
                    <a:lnTo>
                      <a:pt x="129" y="165"/>
                    </a:lnTo>
                    <a:lnTo>
                      <a:pt x="128" y="169"/>
                    </a:lnTo>
                    <a:lnTo>
                      <a:pt x="128" y="170"/>
                    </a:lnTo>
                    <a:lnTo>
                      <a:pt x="128" y="171"/>
                    </a:lnTo>
                    <a:lnTo>
                      <a:pt x="128" y="172"/>
                    </a:lnTo>
                    <a:lnTo>
                      <a:pt x="128" y="173"/>
                    </a:lnTo>
                    <a:lnTo>
                      <a:pt x="129" y="174"/>
                    </a:lnTo>
                    <a:lnTo>
                      <a:pt x="131" y="175"/>
                    </a:lnTo>
                    <a:lnTo>
                      <a:pt x="131" y="177"/>
                    </a:lnTo>
                    <a:lnTo>
                      <a:pt x="131" y="178"/>
                    </a:lnTo>
                    <a:lnTo>
                      <a:pt x="132" y="182"/>
                    </a:lnTo>
                    <a:lnTo>
                      <a:pt x="133" y="183"/>
                    </a:lnTo>
                    <a:lnTo>
                      <a:pt x="133" y="184"/>
                    </a:lnTo>
                    <a:lnTo>
                      <a:pt x="133" y="185"/>
                    </a:lnTo>
                    <a:lnTo>
                      <a:pt x="134" y="186"/>
                    </a:lnTo>
                    <a:lnTo>
                      <a:pt x="135" y="186"/>
                    </a:lnTo>
                    <a:lnTo>
                      <a:pt x="135" y="187"/>
                    </a:lnTo>
                    <a:lnTo>
                      <a:pt x="135" y="189"/>
                    </a:lnTo>
                    <a:lnTo>
                      <a:pt x="134" y="189"/>
                    </a:lnTo>
                    <a:lnTo>
                      <a:pt x="131" y="192"/>
                    </a:lnTo>
                    <a:lnTo>
                      <a:pt x="129" y="193"/>
                    </a:lnTo>
                    <a:lnTo>
                      <a:pt x="128" y="194"/>
                    </a:lnTo>
                    <a:lnTo>
                      <a:pt x="127" y="195"/>
                    </a:lnTo>
                    <a:lnTo>
                      <a:pt x="127" y="196"/>
                    </a:lnTo>
                    <a:lnTo>
                      <a:pt x="126" y="196"/>
                    </a:lnTo>
                    <a:lnTo>
                      <a:pt x="126" y="197"/>
                    </a:lnTo>
                    <a:lnTo>
                      <a:pt x="128" y="203"/>
                    </a:lnTo>
                    <a:lnTo>
                      <a:pt x="132" y="209"/>
                    </a:lnTo>
                    <a:lnTo>
                      <a:pt x="132" y="211"/>
                    </a:lnTo>
                    <a:lnTo>
                      <a:pt x="132" y="212"/>
                    </a:lnTo>
                    <a:lnTo>
                      <a:pt x="132" y="217"/>
                    </a:lnTo>
                    <a:lnTo>
                      <a:pt x="131" y="218"/>
                    </a:lnTo>
                    <a:lnTo>
                      <a:pt x="131" y="219"/>
                    </a:lnTo>
                    <a:lnTo>
                      <a:pt x="131" y="220"/>
                    </a:lnTo>
                    <a:lnTo>
                      <a:pt x="134" y="225"/>
                    </a:lnTo>
                    <a:lnTo>
                      <a:pt x="138" y="231"/>
                    </a:lnTo>
                    <a:lnTo>
                      <a:pt x="139" y="232"/>
                    </a:lnTo>
                    <a:lnTo>
                      <a:pt x="142" y="236"/>
                    </a:lnTo>
                    <a:lnTo>
                      <a:pt x="144" y="236"/>
                    </a:lnTo>
                    <a:lnTo>
                      <a:pt x="146" y="239"/>
                    </a:lnTo>
                    <a:lnTo>
                      <a:pt x="146" y="241"/>
                    </a:lnTo>
                    <a:lnTo>
                      <a:pt x="147" y="242"/>
                    </a:lnTo>
                    <a:lnTo>
                      <a:pt x="148" y="243"/>
                    </a:lnTo>
                    <a:lnTo>
                      <a:pt x="148" y="244"/>
                    </a:lnTo>
                    <a:lnTo>
                      <a:pt x="149" y="247"/>
                    </a:lnTo>
                    <a:lnTo>
                      <a:pt x="151" y="252"/>
                    </a:lnTo>
                    <a:lnTo>
                      <a:pt x="152" y="254"/>
                    </a:lnTo>
                    <a:lnTo>
                      <a:pt x="153" y="255"/>
                    </a:lnTo>
                    <a:lnTo>
                      <a:pt x="154" y="256"/>
                    </a:lnTo>
                    <a:lnTo>
                      <a:pt x="154" y="257"/>
                    </a:lnTo>
                    <a:lnTo>
                      <a:pt x="155" y="257"/>
                    </a:lnTo>
                    <a:lnTo>
                      <a:pt x="160" y="262"/>
                    </a:lnTo>
                    <a:lnTo>
                      <a:pt x="162" y="266"/>
                    </a:lnTo>
                    <a:lnTo>
                      <a:pt x="164" y="273"/>
                    </a:lnTo>
                    <a:lnTo>
                      <a:pt x="165" y="276"/>
                    </a:lnTo>
                    <a:lnTo>
                      <a:pt x="165" y="277"/>
                    </a:lnTo>
                    <a:lnTo>
                      <a:pt x="166" y="280"/>
                    </a:lnTo>
                    <a:lnTo>
                      <a:pt x="166" y="281"/>
                    </a:lnTo>
                    <a:lnTo>
                      <a:pt x="166" y="284"/>
                    </a:lnTo>
                    <a:lnTo>
                      <a:pt x="167" y="287"/>
                    </a:lnTo>
                    <a:lnTo>
                      <a:pt x="168" y="289"/>
                    </a:lnTo>
                    <a:lnTo>
                      <a:pt x="168" y="292"/>
                    </a:lnTo>
                    <a:lnTo>
                      <a:pt x="170" y="296"/>
                    </a:lnTo>
                    <a:lnTo>
                      <a:pt x="171" y="299"/>
                    </a:lnTo>
                    <a:lnTo>
                      <a:pt x="171" y="300"/>
                    </a:lnTo>
                    <a:lnTo>
                      <a:pt x="171" y="301"/>
                    </a:lnTo>
                    <a:lnTo>
                      <a:pt x="172" y="302"/>
                    </a:lnTo>
                    <a:lnTo>
                      <a:pt x="173" y="301"/>
                    </a:lnTo>
                    <a:lnTo>
                      <a:pt x="174" y="301"/>
                    </a:lnTo>
                    <a:lnTo>
                      <a:pt x="174" y="302"/>
                    </a:lnTo>
                    <a:lnTo>
                      <a:pt x="175" y="302"/>
                    </a:lnTo>
                    <a:lnTo>
                      <a:pt x="176" y="302"/>
                    </a:lnTo>
                    <a:lnTo>
                      <a:pt x="177" y="302"/>
                    </a:lnTo>
                    <a:lnTo>
                      <a:pt x="178" y="301"/>
                    </a:lnTo>
                    <a:lnTo>
                      <a:pt x="178" y="302"/>
                    </a:lnTo>
                    <a:lnTo>
                      <a:pt x="179" y="302"/>
                    </a:lnTo>
                    <a:lnTo>
                      <a:pt x="180" y="303"/>
                    </a:lnTo>
                    <a:lnTo>
                      <a:pt x="181" y="305"/>
                    </a:lnTo>
                    <a:lnTo>
                      <a:pt x="181" y="306"/>
                    </a:lnTo>
                    <a:lnTo>
                      <a:pt x="181" y="307"/>
                    </a:lnTo>
                    <a:lnTo>
                      <a:pt x="180" y="307"/>
                    </a:lnTo>
                    <a:lnTo>
                      <a:pt x="179" y="307"/>
                    </a:lnTo>
                    <a:lnTo>
                      <a:pt x="179" y="308"/>
                    </a:lnTo>
                    <a:lnTo>
                      <a:pt x="180" y="309"/>
                    </a:lnTo>
                    <a:lnTo>
                      <a:pt x="180" y="310"/>
                    </a:lnTo>
                    <a:lnTo>
                      <a:pt x="181" y="311"/>
                    </a:lnTo>
                    <a:lnTo>
                      <a:pt x="183" y="311"/>
                    </a:lnTo>
                    <a:lnTo>
                      <a:pt x="184" y="311"/>
                    </a:lnTo>
                    <a:lnTo>
                      <a:pt x="184" y="312"/>
                    </a:lnTo>
                    <a:lnTo>
                      <a:pt x="185" y="312"/>
                    </a:lnTo>
                    <a:lnTo>
                      <a:pt x="184" y="313"/>
                    </a:lnTo>
                    <a:lnTo>
                      <a:pt x="184" y="314"/>
                    </a:lnTo>
                    <a:lnTo>
                      <a:pt x="183" y="315"/>
                    </a:lnTo>
                    <a:lnTo>
                      <a:pt x="183" y="316"/>
                    </a:lnTo>
                    <a:lnTo>
                      <a:pt x="183" y="318"/>
                    </a:lnTo>
                    <a:lnTo>
                      <a:pt x="184" y="319"/>
                    </a:lnTo>
                    <a:lnTo>
                      <a:pt x="185" y="320"/>
                    </a:lnTo>
                    <a:lnTo>
                      <a:pt x="184" y="321"/>
                    </a:lnTo>
                    <a:lnTo>
                      <a:pt x="184" y="322"/>
                    </a:lnTo>
                    <a:lnTo>
                      <a:pt x="184" y="323"/>
                    </a:lnTo>
                    <a:lnTo>
                      <a:pt x="184" y="324"/>
                    </a:lnTo>
                    <a:lnTo>
                      <a:pt x="184" y="325"/>
                    </a:lnTo>
                    <a:lnTo>
                      <a:pt x="184" y="326"/>
                    </a:lnTo>
                    <a:lnTo>
                      <a:pt x="185" y="326"/>
                    </a:lnTo>
                    <a:lnTo>
                      <a:pt x="186" y="326"/>
                    </a:lnTo>
                    <a:lnTo>
                      <a:pt x="186" y="325"/>
                    </a:lnTo>
                    <a:lnTo>
                      <a:pt x="187" y="325"/>
                    </a:lnTo>
                    <a:lnTo>
                      <a:pt x="187" y="326"/>
                    </a:lnTo>
                    <a:lnTo>
                      <a:pt x="186" y="327"/>
                    </a:lnTo>
                    <a:lnTo>
                      <a:pt x="185" y="327"/>
                    </a:lnTo>
                    <a:lnTo>
                      <a:pt x="184" y="328"/>
                    </a:lnTo>
                    <a:lnTo>
                      <a:pt x="184" y="329"/>
                    </a:lnTo>
                    <a:lnTo>
                      <a:pt x="184" y="331"/>
                    </a:lnTo>
                    <a:lnTo>
                      <a:pt x="184" y="332"/>
                    </a:lnTo>
                    <a:lnTo>
                      <a:pt x="184" y="333"/>
                    </a:lnTo>
                    <a:lnTo>
                      <a:pt x="183" y="333"/>
                    </a:lnTo>
                    <a:lnTo>
                      <a:pt x="181" y="334"/>
                    </a:lnTo>
                    <a:lnTo>
                      <a:pt x="180" y="335"/>
                    </a:lnTo>
                    <a:lnTo>
                      <a:pt x="180" y="336"/>
                    </a:lnTo>
                    <a:lnTo>
                      <a:pt x="181" y="336"/>
                    </a:lnTo>
                    <a:lnTo>
                      <a:pt x="181" y="337"/>
                    </a:lnTo>
                    <a:lnTo>
                      <a:pt x="183" y="337"/>
                    </a:lnTo>
                    <a:lnTo>
                      <a:pt x="183" y="338"/>
                    </a:lnTo>
                    <a:lnTo>
                      <a:pt x="183" y="339"/>
                    </a:lnTo>
                    <a:lnTo>
                      <a:pt x="183" y="340"/>
                    </a:lnTo>
                    <a:lnTo>
                      <a:pt x="183" y="341"/>
                    </a:lnTo>
                    <a:lnTo>
                      <a:pt x="181" y="341"/>
                    </a:lnTo>
                    <a:lnTo>
                      <a:pt x="180" y="342"/>
                    </a:lnTo>
                    <a:lnTo>
                      <a:pt x="179" y="344"/>
                    </a:lnTo>
                    <a:lnTo>
                      <a:pt x="179" y="345"/>
                    </a:lnTo>
                    <a:lnTo>
                      <a:pt x="179" y="346"/>
                    </a:lnTo>
                    <a:lnTo>
                      <a:pt x="179" y="348"/>
                    </a:lnTo>
                    <a:lnTo>
                      <a:pt x="179" y="353"/>
                    </a:lnTo>
                    <a:lnTo>
                      <a:pt x="179" y="354"/>
                    </a:lnTo>
                    <a:lnTo>
                      <a:pt x="180" y="356"/>
                    </a:lnTo>
                    <a:lnTo>
                      <a:pt x="180" y="357"/>
                    </a:lnTo>
                    <a:lnTo>
                      <a:pt x="180" y="358"/>
                    </a:lnTo>
                    <a:lnTo>
                      <a:pt x="180" y="359"/>
                    </a:lnTo>
                    <a:lnTo>
                      <a:pt x="181" y="360"/>
                    </a:lnTo>
                    <a:lnTo>
                      <a:pt x="181" y="361"/>
                    </a:lnTo>
                    <a:lnTo>
                      <a:pt x="180" y="361"/>
                    </a:lnTo>
                    <a:lnTo>
                      <a:pt x="180" y="362"/>
                    </a:lnTo>
                    <a:lnTo>
                      <a:pt x="181" y="362"/>
                    </a:lnTo>
                    <a:lnTo>
                      <a:pt x="181" y="363"/>
                    </a:lnTo>
                    <a:lnTo>
                      <a:pt x="183" y="363"/>
                    </a:lnTo>
                    <a:lnTo>
                      <a:pt x="184" y="362"/>
                    </a:lnTo>
                    <a:lnTo>
                      <a:pt x="184" y="361"/>
                    </a:lnTo>
                    <a:lnTo>
                      <a:pt x="185" y="361"/>
                    </a:lnTo>
                    <a:lnTo>
                      <a:pt x="185" y="362"/>
                    </a:lnTo>
                    <a:lnTo>
                      <a:pt x="185" y="363"/>
                    </a:lnTo>
                    <a:lnTo>
                      <a:pt x="185" y="364"/>
                    </a:lnTo>
                    <a:lnTo>
                      <a:pt x="185" y="365"/>
                    </a:lnTo>
                    <a:lnTo>
                      <a:pt x="185" y="367"/>
                    </a:lnTo>
                    <a:lnTo>
                      <a:pt x="185" y="369"/>
                    </a:lnTo>
                    <a:lnTo>
                      <a:pt x="185" y="371"/>
                    </a:lnTo>
                    <a:lnTo>
                      <a:pt x="185" y="373"/>
                    </a:lnTo>
                    <a:lnTo>
                      <a:pt x="185" y="374"/>
                    </a:lnTo>
                    <a:lnTo>
                      <a:pt x="185" y="375"/>
                    </a:lnTo>
                    <a:lnTo>
                      <a:pt x="185" y="384"/>
                    </a:lnTo>
                    <a:lnTo>
                      <a:pt x="185" y="385"/>
                    </a:lnTo>
                    <a:lnTo>
                      <a:pt x="185" y="389"/>
                    </a:lnTo>
                    <a:lnTo>
                      <a:pt x="185" y="390"/>
                    </a:lnTo>
                    <a:lnTo>
                      <a:pt x="185" y="398"/>
                    </a:lnTo>
                    <a:lnTo>
                      <a:pt x="186" y="398"/>
                    </a:lnTo>
                    <a:lnTo>
                      <a:pt x="186" y="404"/>
                    </a:lnTo>
                    <a:lnTo>
                      <a:pt x="186" y="405"/>
                    </a:lnTo>
                    <a:lnTo>
                      <a:pt x="186" y="408"/>
                    </a:lnTo>
                    <a:lnTo>
                      <a:pt x="186" y="416"/>
                    </a:lnTo>
                    <a:lnTo>
                      <a:pt x="185" y="417"/>
                    </a:lnTo>
                    <a:lnTo>
                      <a:pt x="184" y="417"/>
                    </a:lnTo>
                    <a:lnTo>
                      <a:pt x="184" y="416"/>
                    </a:lnTo>
                    <a:lnTo>
                      <a:pt x="181" y="415"/>
                    </a:lnTo>
                    <a:lnTo>
                      <a:pt x="180" y="414"/>
                    </a:lnTo>
                    <a:lnTo>
                      <a:pt x="180" y="413"/>
                    </a:lnTo>
                    <a:lnTo>
                      <a:pt x="180" y="411"/>
                    </a:lnTo>
                    <a:lnTo>
                      <a:pt x="179" y="410"/>
                    </a:lnTo>
                    <a:lnTo>
                      <a:pt x="179" y="409"/>
                    </a:lnTo>
                    <a:lnTo>
                      <a:pt x="179" y="408"/>
                    </a:lnTo>
                    <a:lnTo>
                      <a:pt x="179" y="406"/>
                    </a:lnTo>
                    <a:lnTo>
                      <a:pt x="178" y="406"/>
                    </a:lnTo>
                    <a:lnTo>
                      <a:pt x="178" y="405"/>
                    </a:lnTo>
                    <a:lnTo>
                      <a:pt x="179" y="405"/>
                    </a:lnTo>
                    <a:lnTo>
                      <a:pt x="179" y="404"/>
                    </a:lnTo>
                    <a:lnTo>
                      <a:pt x="179" y="403"/>
                    </a:lnTo>
                    <a:lnTo>
                      <a:pt x="178" y="403"/>
                    </a:lnTo>
                    <a:lnTo>
                      <a:pt x="178" y="404"/>
                    </a:lnTo>
                    <a:lnTo>
                      <a:pt x="177" y="404"/>
                    </a:lnTo>
                    <a:lnTo>
                      <a:pt x="177" y="403"/>
                    </a:lnTo>
                    <a:lnTo>
                      <a:pt x="177" y="402"/>
                    </a:lnTo>
                    <a:lnTo>
                      <a:pt x="177" y="401"/>
                    </a:lnTo>
                    <a:lnTo>
                      <a:pt x="176" y="401"/>
                    </a:lnTo>
                    <a:lnTo>
                      <a:pt x="176" y="400"/>
                    </a:lnTo>
                    <a:lnTo>
                      <a:pt x="175" y="400"/>
                    </a:lnTo>
                    <a:lnTo>
                      <a:pt x="175" y="399"/>
                    </a:lnTo>
                    <a:lnTo>
                      <a:pt x="174" y="399"/>
                    </a:lnTo>
                    <a:lnTo>
                      <a:pt x="174" y="398"/>
                    </a:lnTo>
                    <a:lnTo>
                      <a:pt x="174" y="399"/>
                    </a:lnTo>
                    <a:lnTo>
                      <a:pt x="173" y="399"/>
                    </a:lnTo>
                    <a:lnTo>
                      <a:pt x="172" y="399"/>
                    </a:lnTo>
                    <a:lnTo>
                      <a:pt x="171" y="399"/>
                    </a:lnTo>
                    <a:lnTo>
                      <a:pt x="171" y="400"/>
                    </a:lnTo>
                    <a:lnTo>
                      <a:pt x="170" y="400"/>
                    </a:lnTo>
                    <a:lnTo>
                      <a:pt x="168" y="401"/>
                    </a:lnTo>
                    <a:lnTo>
                      <a:pt x="167" y="401"/>
                    </a:lnTo>
                    <a:lnTo>
                      <a:pt x="167" y="400"/>
                    </a:lnTo>
                    <a:lnTo>
                      <a:pt x="166" y="400"/>
                    </a:lnTo>
                    <a:lnTo>
                      <a:pt x="166" y="399"/>
                    </a:lnTo>
                    <a:lnTo>
                      <a:pt x="166" y="398"/>
                    </a:lnTo>
                    <a:lnTo>
                      <a:pt x="166" y="397"/>
                    </a:lnTo>
                    <a:lnTo>
                      <a:pt x="165" y="397"/>
                    </a:lnTo>
                    <a:lnTo>
                      <a:pt x="165" y="396"/>
                    </a:lnTo>
                    <a:lnTo>
                      <a:pt x="165" y="393"/>
                    </a:lnTo>
                    <a:lnTo>
                      <a:pt x="164" y="392"/>
                    </a:lnTo>
                    <a:lnTo>
                      <a:pt x="164" y="391"/>
                    </a:lnTo>
                    <a:lnTo>
                      <a:pt x="165" y="391"/>
                    </a:lnTo>
                    <a:lnTo>
                      <a:pt x="165" y="390"/>
                    </a:lnTo>
                    <a:lnTo>
                      <a:pt x="164" y="391"/>
                    </a:lnTo>
                    <a:lnTo>
                      <a:pt x="163" y="391"/>
                    </a:lnTo>
                    <a:lnTo>
                      <a:pt x="163" y="390"/>
                    </a:lnTo>
                    <a:lnTo>
                      <a:pt x="163" y="389"/>
                    </a:lnTo>
                    <a:lnTo>
                      <a:pt x="162" y="389"/>
                    </a:lnTo>
                    <a:lnTo>
                      <a:pt x="160" y="388"/>
                    </a:lnTo>
                    <a:lnTo>
                      <a:pt x="159" y="388"/>
                    </a:lnTo>
                    <a:lnTo>
                      <a:pt x="159" y="389"/>
                    </a:lnTo>
                    <a:lnTo>
                      <a:pt x="160" y="390"/>
                    </a:lnTo>
                    <a:lnTo>
                      <a:pt x="160" y="391"/>
                    </a:lnTo>
                    <a:lnTo>
                      <a:pt x="159" y="392"/>
                    </a:lnTo>
                    <a:lnTo>
                      <a:pt x="158" y="392"/>
                    </a:lnTo>
                    <a:lnTo>
                      <a:pt x="158" y="391"/>
                    </a:lnTo>
                    <a:lnTo>
                      <a:pt x="158" y="390"/>
                    </a:lnTo>
                    <a:lnTo>
                      <a:pt x="157" y="390"/>
                    </a:lnTo>
                    <a:lnTo>
                      <a:pt x="157" y="391"/>
                    </a:lnTo>
                    <a:lnTo>
                      <a:pt x="158" y="391"/>
                    </a:lnTo>
                    <a:lnTo>
                      <a:pt x="158" y="392"/>
                    </a:lnTo>
                    <a:lnTo>
                      <a:pt x="157" y="392"/>
                    </a:lnTo>
                    <a:lnTo>
                      <a:pt x="157" y="391"/>
                    </a:lnTo>
                    <a:lnTo>
                      <a:pt x="157" y="392"/>
                    </a:lnTo>
                    <a:lnTo>
                      <a:pt x="155" y="391"/>
                    </a:lnTo>
                    <a:lnTo>
                      <a:pt x="155" y="392"/>
                    </a:lnTo>
                    <a:lnTo>
                      <a:pt x="155" y="391"/>
                    </a:lnTo>
                    <a:lnTo>
                      <a:pt x="154" y="391"/>
                    </a:lnTo>
                    <a:lnTo>
                      <a:pt x="152" y="391"/>
                    </a:lnTo>
                    <a:lnTo>
                      <a:pt x="151" y="391"/>
                    </a:lnTo>
                    <a:lnTo>
                      <a:pt x="150" y="392"/>
                    </a:lnTo>
                    <a:lnTo>
                      <a:pt x="149" y="392"/>
                    </a:lnTo>
                    <a:lnTo>
                      <a:pt x="150" y="392"/>
                    </a:lnTo>
                    <a:lnTo>
                      <a:pt x="150" y="393"/>
                    </a:lnTo>
                    <a:lnTo>
                      <a:pt x="149" y="393"/>
                    </a:lnTo>
                    <a:lnTo>
                      <a:pt x="149" y="392"/>
                    </a:lnTo>
                    <a:lnTo>
                      <a:pt x="149" y="391"/>
                    </a:lnTo>
                    <a:lnTo>
                      <a:pt x="149" y="390"/>
                    </a:lnTo>
                    <a:lnTo>
                      <a:pt x="148" y="391"/>
                    </a:lnTo>
                    <a:lnTo>
                      <a:pt x="147" y="391"/>
                    </a:lnTo>
                    <a:lnTo>
                      <a:pt x="147" y="392"/>
                    </a:lnTo>
                    <a:lnTo>
                      <a:pt x="148" y="392"/>
                    </a:lnTo>
                    <a:lnTo>
                      <a:pt x="149" y="392"/>
                    </a:lnTo>
                    <a:lnTo>
                      <a:pt x="148" y="392"/>
                    </a:lnTo>
                    <a:lnTo>
                      <a:pt x="147" y="392"/>
                    </a:lnTo>
                    <a:lnTo>
                      <a:pt x="146" y="392"/>
                    </a:lnTo>
                    <a:lnTo>
                      <a:pt x="146" y="391"/>
                    </a:lnTo>
                    <a:lnTo>
                      <a:pt x="147" y="391"/>
                    </a:lnTo>
                    <a:lnTo>
                      <a:pt x="147" y="390"/>
                    </a:lnTo>
                    <a:lnTo>
                      <a:pt x="146" y="390"/>
                    </a:lnTo>
                    <a:lnTo>
                      <a:pt x="146" y="389"/>
                    </a:lnTo>
                    <a:lnTo>
                      <a:pt x="146" y="388"/>
                    </a:lnTo>
                    <a:lnTo>
                      <a:pt x="146" y="387"/>
                    </a:lnTo>
                    <a:lnTo>
                      <a:pt x="145" y="387"/>
                    </a:lnTo>
                    <a:lnTo>
                      <a:pt x="145" y="386"/>
                    </a:lnTo>
                    <a:lnTo>
                      <a:pt x="145" y="385"/>
                    </a:lnTo>
                    <a:lnTo>
                      <a:pt x="144" y="385"/>
                    </a:lnTo>
                    <a:lnTo>
                      <a:pt x="142" y="385"/>
                    </a:lnTo>
                    <a:lnTo>
                      <a:pt x="141" y="385"/>
                    </a:lnTo>
                    <a:lnTo>
                      <a:pt x="140" y="385"/>
                    </a:lnTo>
                    <a:lnTo>
                      <a:pt x="139" y="385"/>
                    </a:lnTo>
                    <a:lnTo>
                      <a:pt x="139" y="384"/>
                    </a:lnTo>
                    <a:lnTo>
                      <a:pt x="138" y="384"/>
                    </a:lnTo>
                    <a:lnTo>
                      <a:pt x="138" y="383"/>
                    </a:lnTo>
                    <a:lnTo>
                      <a:pt x="137" y="382"/>
                    </a:lnTo>
                    <a:lnTo>
                      <a:pt x="136" y="382"/>
                    </a:lnTo>
                    <a:lnTo>
                      <a:pt x="135" y="382"/>
                    </a:lnTo>
                    <a:lnTo>
                      <a:pt x="134" y="382"/>
                    </a:lnTo>
                    <a:lnTo>
                      <a:pt x="132" y="382"/>
                    </a:lnTo>
                    <a:lnTo>
                      <a:pt x="131" y="382"/>
                    </a:lnTo>
                    <a:lnTo>
                      <a:pt x="129" y="380"/>
                    </a:lnTo>
                    <a:lnTo>
                      <a:pt x="128" y="378"/>
                    </a:lnTo>
                    <a:lnTo>
                      <a:pt x="127" y="377"/>
                    </a:lnTo>
                    <a:lnTo>
                      <a:pt x="126" y="376"/>
                    </a:lnTo>
                    <a:lnTo>
                      <a:pt x="125" y="375"/>
                    </a:lnTo>
                    <a:lnTo>
                      <a:pt x="125" y="374"/>
                    </a:lnTo>
                    <a:lnTo>
                      <a:pt x="125" y="373"/>
                    </a:lnTo>
                    <a:lnTo>
                      <a:pt x="124" y="373"/>
                    </a:lnTo>
                    <a:lnTo>
                      <a:pt x="123" y="373"/>
                    </a:lnTo>
                    <a:lnTo>
                      <a:pt x="123" y="372"/>
                    </a:lnTo>
                    <a:lnTo>
                      <a:pt x="123" y="371"/>
                    </a:lnTo>
                    <a:lnTo>
                      <a:pt x="123" y="370"/>
                    </a:lnTo>
                    <a:lnTo>
                      <a:pt x="124" y="370"/>
                    </a:lnTo>
                    <a:lnTo>
                      <a:pt x="124" y="369"/>
                    </a:lnTo>
                    <a:lnTo>
                      <a:pt x="124" y="367"/>
                    </a:lnTo>
                    <a:lnTo>
                      <a:pt x="125" y="367"/>
                    </a:lnTo>
                    <a:lnTo>
                      <a:pt x="125" y="366"/>
                    </a:lnTo>
                    <a:lnTo>
                      <a:pt x="126" y="366"/>
                    </a:lnTo>
                    <a:lnTo>
                      <a:pt x="127" y="365"/>
                    </a:lnTo>
                    <a:lnTo>
                      <a:pt x="128" y="365"/>
                    </a:lnTo>
                    <a:lnTo>
                      <a:pt x="129" y="365"/>
                    </a:lnTo>
                    <a:lnTo>
                      <a:pt x="129" y="366"/>
                    </a:lnTo>
                    <a:lnTo>
                      <a:pt x="129" y="367"/>
                    </a:lnTo>
                    <a:lnTo>
                      <a:pt x="131" y="367"/>
                    </a:lnTo>
                    <a:lnTo>
                      <a:pt x="132" y="367"/>
                    </a:lnTo>
                    <a:lnTo>
                      <a:pt x="134" y="367"/>
                    </a:lnTo>
                    <a:lnTo>
                      <a:pt x="135" y="367"/>
                    </a:lnTo>
                    <a:lnTo>
                      <a:pt x="136" y="367"/>
                    </a:lnTo>
                    <a:lnTo>
                      <a:pt x="136" y="366"/>
                    </a:lnTo>
                    <a:lnTo>
                      <a:pt x="137" y="366"/>
                    </a:lnTo>
                    <a:lnTo>
                      <a:pt x="137" y="365"/>
                    </a:lnTo>
                    <a:lnTo>
                      <a:pt x="136" y="365"/>
                    </a:lnTo>
                    <a:lnTo>
                      <a:pt x="135" y="365"/>
                    </a:lnTo>
                    <a:lnTo>
                      <a:pt x="134" y="365"/>
                    </a:lnTo>
                    <a:lnTo>
                      <a:pt x="133" y="365"/>
                    </a:lnTo>
                    <a:lnTo>
                      <a:pt x="132" y="365"/>
                    </a:lnTo>
                    <a:lnTo>
                      <a:pt x="132" y="364"/>
                    </a:lnTo>
                    <a:lnTo>
                      <a:pt x="131" y="363"/>
                    </a:lnTo>
                    <a:lnTo>
                      <a:pt x="131" y="362"/>
                    </a:lnTo>
                    <a:lnTo>
                      <a:pt x="129" y="361"/>
                    </a:lnTo>
                    <a:lnTo>
                      <a:pt x="127" y="361"/>
                    </a:lnTo>
                    <a:lnTo>
                      <a:pt x="126" y="362"/>
                    </a:lnTo>
                    <a:lnTo>
                      <a:pt x="126" y="363"/>
                    </a:lnTo>
                    <a:lnTo>
                      <a:pt x="125" y="363"/>
                    </a:lnTo>
                    <a:lnTo>
                      <a:pt x="125" y="364"/>
                    </a:lnTo>
                    <a:lnTo>
                      <a:pt x="124" y="364"/>
                    </a:lnTo>
                    <a:lnTo>
                      <a:pt x="124" y="363"/>
                    </a:lnTo>
                    <a:lnTo>
                      <a:pt x="124" y="361"/>
                    </a:lnTo>
                    <a:lnTo>
                      <a:pt x="123" y="360"/>
                    </a:lnTo>
                    <a:lnTo>
                      <a:pt x="122" y="360"/>
                    </a:lnTo>
                    <a:lnTo>
                      <a:pt x="121" y="360"/>
                    </a:lnTo>
                    <a:lnTo>
                      <a:pt x="120" y="360"/>
                    </a:lnTo>
                    <a:lnTo>
                      <a:pt x="119" y="360"/>
                    </a:lnTo>
                    <a:lnTo>
                      <a:pt x="119" y="361"/>
                    </a:lnTo>
                    <a:lnTo>
                      <a:pt x="117" y="362"/>
                    </a:lnTo>
                    <a:lnTo>
                      <a:pt x="116" y="362"/>
                    </a:lnTo>
                    <a:lnTo>
                      <a:pt x="115" y="363"/>
                    </a:lnTo>
                    <a:lnTo>
                      <a:pt x="114" y="363"/>
                    </a:lnTo>
                    <a:lnTo>
                      <a:pt x="114" y="362"/>
                    </a:lnTo>
                    <a:lnTo>
                      <a:pt x="114" y="361"/>
                    </a:lnTo>
                    <a:lnTo>
                      <a:pt x="113" y="362"/>
                    </a:lnTo>
                    <a:lnTo>
                      <a:pt x="112" y="363"/>
                    </a:lnTo>
                    <a:lnTo>
                      <a:pt x="113" y="364"/>
                    </a:lnTo>
                    <a:lnTo>
                      <a:pt x="112" y="364"/>
                    </a:lnTo>
                    <a:lnTo>
                      <a:pt x="111" y="364"/>
                    </a:lnTo>
                    <a:lnTo>
                      <a:pt x="110" y="364"/>
                    </a:lnTo>
                    <a:lnTo>
                      <a:pt x="109" y="364"/>
                    </a:lnTo>
                    <a:lnTo>
                      <a:pt x="108" y="365"/>
                    </a:lnTo>
                    <a:lnTo>
                      <a:pt x="107" y="365"/>
                    </a:lnTo>
                    <a:lnTo>
                      <a:pt x="107" y="364"/>
                    </a:lnTo>
                    <a:lnTo>
                      <a:pt x="107" y="363"/>
                    </a:lnTo>
                    <a:lnTo>
                      <a:pt x="106" y="363"/>
                    </a:lnTo>
                    <a:lnTo>
                      <a:pt x="104" y="362"/>
                    </a:lnTo>
                    <a:lnTo>
                      <a:pt x="104" y="361"/>
                    </a:lnTo>
                    <a:lnTo>
                      <a:pt x="103" y="361"/>
                    </a:lnTo>
                    <a:lnTo>
                      <a:pt x="103" y="360"/>
                    </a:lnTo>
                    <a:lnTo>
                      <a:pt x="102" y="360"/>
                    </a:lnTo>
                    <a:lnTo>
                      <a:pt x="101" y="359"/>
                    </a:lnTo>
                    <a:lnTo>
                      <a:pt x="100" y="359"/>
                    </a:lnTo>
                    <a:lnTo>
                      <a:pt x="99" y="359"/>
                    </a:lnTo>
                    <a:lnTo>
                      <a:pt x="98" y="358"/>
                    </a:lnTo>
                    <a:lnTo>
                      <a:pt x="98" y="357"/>
                    </a:lnTo>
                    <a:lnTo>
                      <a:pt x="98" y="356"/>
                    </a:lnTo>
                    <a:lnTo>
                      <a:pt x="98" y="354"/>
                    </a:lnTo>
                    <a:lnTo>
                      <a:pt x="99" y="354"/>
                    </a:lnTo>
                    <a:lnTo>
                      <a:pt x="98" y="354"/>
                    </a:lnTo>
                    <a:lnTo>
                      <a:pt x="98" y="353"/>
                    </a:lnTo>
                    <a:lnTo>
                      <a:pt x="97" y="353"/>
                    </a:lnTo>
                    <a:lnTo>
                      <a:pt x="96" y="352"/>
                    </a:lnTo>
                    <a:lnTo>
                      <a:pt x="96" y="351"/>
                    </a:lnTo>
                    <a:lnTo>
                      <a:pt x="95" y="351"/>
                    </a:lnTo>
                    <a:lnTo>
                      <a:pt x="94" y="351"/>
                    </a:lnTo>
                    <a:lnTo>
                      <a:pt x="93" y="351"/>
                    </a:lnTo>
                    <a:lnTo>
                      <a:pt x="91" y="351"/>
                    </a:lnTo>
                    <a:lnTo>
                      <a:pt x="90" y="350"/>
                    </a:lnTo>
                    <a:lnTo>
                      <a:pt x="90" y="349"/>
                    </a:lnTo>
                    <a:lnTo>
                      <a:pt x="90" y="348"/>
                    </a:lnTo>
                    <a:lnTo>
                      <a:pt x="90" y="347"/>
                    </a:lnTo>
                    <a:lnTo>
                      <a:pt x="90" y="346"/>
                    </a:lnTo>
                    <a:lnTo>
                      <a:pt x="90" y="345"/>
                    </a:lnTo>
                    <a:lnTo>
                      <a:pt x="89" y="345"/>
                    </a:lnTo>
                    <a:lnTo>
                      <a:pt x="89" y="342"/>
                    </a:lnTo>
                    <a:lnTo>
                      <a:pt x="89" y="341"/>
                    </a:lnTo>
                    <a:lnTo>
                      <a:pt x="89" y="340"/>
                    </a:lnTo>
                    <a:lnTo>
                      <a:pt x="89" y="339"/>
                    </a:lnTo>
                    <a:lnTo>
                      <a:pt x="89" y="338"/>
                    </a:lnTo>
                    <a:lnTo>
                      <a:pt x="89" y="337"/>
                    </a:lnTo>
                    <a:lnTo>
                      <a:pt x="89" y="336"/>
                    </a:lnTo>
                    <a:lnTo>
                      <a:pt x="90" y="336"/>
                    </a:lnTo>
                    <a:lnTo>
                      <a:pt x="91" y="336"/>
                    </a:lnTo>
                    <a:lnTo>
                      <a:pt x="91" y="335"/>
                    </a:lnTo>
                    <a:lnTo>
                      <a:pt x="91" y="334"/>
                    </a:lnTo>
                    <a:lnTo>
                      <a:pt x="93" y="334"/>
                    </a:lnTo>
                    <a:lnTo>
                      <a:pt x="94" y="334"/>
                    </a:lnTo>
                    <a:lnTo>
                      <a:pt x="94" y="333"/>
                    </a:lnTo>
                    <a:lnTo>
                      <a:pt x="94" y="332"/>
                    </a:lnTo>
                    <a:lnTo>
                      <a:pt x="94" y="331"/>
                    </a:lnTo>
                    <a:lnTo>
                      <a:pt x="95" y="331"/>
                    </a:lnTo>
                    <a:lnTo>
                      <a:pt x="95" y="329"/>
                    </a:lnTo>
                    <a:lnTo>
                      <a:pt x="96" y="329"/>
                    </a:lnTo>
                    <a:lnTo>
                      <a:pt x="97" y="329"/>
                    </a:lnTo>
                    <a:lnTo>
                      <a:pt x="98" y="329"/>
                    </a:lnTo>
                    <a:lnTo>
                      <a:pt x="98" y="328"/>
                    </a:lnTo>
                    <a:lnTo>
                      <a:pt x="98" y="327"/>
                    </a:lnTo>
                    <a:lnTo>
                      <a:pt x="98" y="326"/>
                    </a:lnTo>
                    <a:lnTo>
                      <a:pt x="98" y="325"/>
                    </a:lnTo>
                    <a:lnTo>
                      <a:pt x="99" y="324"/>
                    </a:lnTo>
                    <a:lnTo>
                      <a:pt x="100" y="323"/>
                    </a:lnTo>
                    <a:lnTo>
                      <a:pt x="101" y="324"/>
                    </a:lnTo>
                    <a:lnTo>
                      <a:pt x="101" y="323"/>
                    </a:lnTo>
                    <a:lnTo>
                      <a:pt x="101" y="322"/>
                    </a:lnTo>
                    <a:lnTo>
                      <a:pt x="101" y="321"/>
                    </a:lnTo>
                    <a:lnTo>
                      <a:pt x="102" y="320"/>
                    </a:lnTo>
                    <a:lnTo>
                      <a:pt x="102" y="319"/>
                    </a:lnTo>
                    <a:lnTo>
                      <a:pt x="103" y="316"/>
                    </a:lnTo>
                    <a:lnTo>
                      <a:pt x="102" y="316"/>
                    </a:lnTo>
                    <a:lnTo>
                      <a:pt x="103" y="315"/>
                    </a:lnTo>
                    <a:lnTo>
                      <a:pt x="103" y="314"/>
                    </a:lnTo>
                    <a:lnTo>
                      <a:pt x="103" y="313"/>
                    </a:lnTo>
                    <a:lnTo>
                      <a:pt x="104" y="311"/>
                    </a:lnTo>
                    <a:lnTo>
                      <a:pt x="103" y="311"/>
                    </a:lnTo>
                    <a:lnTo>
                      <a:pt x="103" y="310"/>
                    </a:lnTo>
                    <a:lnTo>
                      <a:pt x="103" y="309"/>
                    </a:lnTo>
                    <a:lnTo>
                      <a:pt x="103" y="306"/>
                    </a:lnTo>
                    <a:lnTo>
                      <a:pt x="102" y="305"/>
                    </a:lnTo>
                    <a:lnTo>
                      <a:pt x="102" y="303"/>
                    </a:lnTo>
                    <a:lnTo>
                      <a:pt x="101" y="303"/>
                    </a:lnTo>
                    <a:lnTo>
                      <a:pt x="101" y="302"/>
                    </a:lnTo>
                    <a:lnTo>
                      <a:pt x="102" y="301"/>
                    </a:lnTo>
                    <a:lnTo>
                      <a:pt x="103" y="300"/>
                    </a:lnTo>
                    <a:lnTo>
                      <a:pt x="103" y="299"/>
                    </a:lnTo>
                    <a:lnTo>
                      <a:pt x="104" y="298"/>
                    </a:lnTo>
                    <a:lnTo>
                      <a:pt x="104" y="297"/>
                    </a:lnTo>
                    <a:lnTo>
                      <a:pt x="103" y="296"/>
                    </a:lnTo>
                    <a:lnTo>
                      <a:pt x="103" y="295"/>
                    </a:lnTo>
                    <a:lnTo>
                      <a:pt x="103" y="294"/>
                    </a:lnTo>
                    <a:lnTo>
                      <a:pt x="103" y="293"/>
                    </a:lnTo>
                    <a:lnTo>
                      <a:pt x="104" y="292"/>
                    </a:lnTo>
                    <a:lnTo>
                      <a:pt x="103" y="289"/>
                    </a:lnTo>
                    <a:lnTo>
                      <a:pt x="103" y="288"/>
                    </a:lnTo>
                    <a:lnTo>
                      <a:pt x="103" y="286"/>
                    </a:lnTo>
                    <a:lnTo>
                      <a:pt x="103" y="285"/>
                    </a:lnTo>
                    <a:lnTo>
                      <a:pt x="103" y="284"/>
                    </a:lnTo>
                    <a:lnTo>
                      <a:pt x="102" y="284"/>
                    </a:lnTo>
                    <a:lnTo>
                      <a:pt x="101" y="282"/>
                    </a:lnTo>
                    <a:lnTo>
                      <a:pt x="101" y="281"/>
                    </a:lnTo>
                    <a:lnTo>
                      <a:pt x="100" y="280"/>
                    </a:lnTo>
                    <a:lnTo>
                      <a:pt x="100" y="279"/>
                    </a:lnTo>
                    <a:lnTo>
                      <a:pt x="100" y="277"/>
                    </a:lnTo>
                    <a:lnTo>
                      <a:pt x="100" y="276"/>
                    </a:lnTo>
                    <a:lnTo>
                      <a:pt x="99" y="275"/>
                    </a:lnTo>
                    <a:lnTo>
                      <a:pt x="99" y="274"/>
                    </a:lnTo>
                    <a:lnTo>
                      <a:pt x="98" y="274"/>
                    </a:lnTo>
                    <a:lnTo>
                      <a:pt x="97" y="273"/>
                    </a:lnTo>
                    <a:lnTo>
                      <a:pt x="97" y="272"/>
                    </a:lnTo>
                    <a:lnTo>
                      <a:pt x="98" y="271"/>
                    </a:lnTo>
                    <a:lnTo>
                      <a:pt x="99" y="271"/>
                    </a:lnTo>
                    <a:lnTo>
                      <a:pt x="101" y="271"/>
                    </a:lnTo>
                    <a:lnTo>
                      <a:pt x="101" y="272"/>
                    </a:lnTo>
                    <a:lnTo>
                      <a:pt x="102" y="271"/>
                    </a:lnTo>
                    <a:lnTo>
                      <a:pt x="103" y="270"/>
                    </a:lnTo>
                    <a:lnTo>
                      <a:pt x="102" y="270"/>
                    </a:lnTo>
                    <a:lnTo>
                      <a:pt x="101" y="270"/>
                    </a:lnTo>
                    <a:lnTo>
                      <a:pt x="101" y="269"/>
                    </a:lnTo>
                    <a:lnTo>
                      <a:pt x="100" y="269"/>
                    </a:lnTo>
                    <a:lnTo>
                      <a:pt x="100" y="268"/>
                    </a:lnTo>
                    <a:lnTo>
                      <a:pt x="99" y="268"/>
                    </a:lnTo>
                    <a:lnTo>
                      <a:pt x="98" y="268"/>
                    </a:lnTo>
                    <a:lnTo>
                      <a:pt x="97" y="267"/>
                    </a:lnTo>
                    <a:lnTo>
                      <a:pt x="96" y="267"/>
                    </a:lnTo>
                    <a:lnTo>
                      <a:pt x="95" y="267"/>
                    </a:lnTo>
                    <a:lnTo>
                      <a:pt x="94" y="267"/>
                    </a:lnTo>
                    <a:lnTo>
                      <a:pt x="93" y="267"/>
                    </a:lnTo>
                    <a:lnTo>
                      <a:pt x="93" y="268"/>
                    </a:lnTo>
                    <a:lnTo>
                      <a:pt x="91" y="268"/>
                    </a:lnTo>
                    <a:lnTo>
                      <a:pt x="91" y="269"/>
                    </a:lnTo>
                    <a:lnTo>
                      <a:pt x="91" y="270"/>
                    </a:lnTo>
                    <a:lnTo>
                      <a:pt x="90" y="271"/>
                    </a:lnTo>
                    <a:lnTo>
                      <a:pt x="89" y="271"/>
                    </a:lnTo>
                    <a:lnTo>
                      <a:pt x="89" y="272"/>
                    </a:lnTo>
                    <a:lnTo>
                      <a:pt x="88" y="271"/>
                    </a:lnTo>
                    <a:lnTo>
                      <a:pt x="88" y="270"/>
                    </a:lnTo>
                    <a:lnTo>
                      <a:pt x="88" y="269"/>
                    </a:lnTo>
                    <a:lnTo>
                      <a:pt x="88" y="268"/>
                    </a:lnTo>
                    <a:lnTo>
                      <a:pt x="87" y="268"/>
                    </a:lnTo>
                    <a:lnTo>
                      <a:pt x="87" y="267"/>
                    </a:lnTo>
                    <a:lnTo>
                      <a:pt x="88" y="267"/>
                    </a:lnTo>
                    <a:lnTo>
                      <a:pt x="89" y="267"/>
                    </a:lnTo>
                    <a:lnTo>
                      <a:pt x="89" y="266"/>
                    </a:lnTo>
                    <a:lnTo>
                      <a:pt x="90" y="266"/>
                    </a:lnTo>
                    <a:lnTo>
                      <a:pt x="91" y="266"/>
                    </a:lnTo>
                    <a:lnTo>
                      <a:pt x="93" y="264"/>
                    </a:lnTo>
                    <a:lnTo>
                      <a:pt x="91" y="264"/>
                    </a:lnTo>
                    <a:lnTo>
                      <a:pt x="91" y="263"/>
                    </a:lnTo>
                    <a:lnTo>
                      <a:pt x="91" y="262"/>
                    </a:lnTo>
                    <a:lnTo>
                      <a:pt x="93" y="262"/>
                    </a:lnTo>
                    <a:lnTo>
                      <a:pt x="94" y="262"/>
                    </a:lnTo>
                    <a:lnTo>
                      <a:pt x="94" y="261"/>
                    </a:lnTo>
                    <a:lnTo>
                      <a:pt x="93" y="261"/>
                    </a:lnTo>
                    <a:lnTo>
                      <a:pt x="91" y="261"/>
                    </a:lnTo>
                    <a:lnTo>
                      <a:pt x="90" y="261"/>
                    </a:lnTo>
                    <a:lnTo>
                      <a:pt x="89" y="261"/>
                    </a:lnTo>
                    <a:lnTo>
                      <a:pt x="89" y="262"/>
                    </a:lnTo>
                    <a:lnTo>
                      <a:pt x="88" y="261"/>
                    </a:lnTo>
                    <a:lnTo>
                      <a:pt x="88" y="262"/>
                    </a:lnTo>
                    <a:lnTo>
                      <a:pt x="87" y="262"/>
                    </a:lnTo>
                    <a:lnTo>
                      <a:pt x="86" y="262"/>
                    </a:lnTo>
                    <a:lnTo>
                      <a:pt x="85" y="262"/>
                    </a:lnTo>
                    <a:lnTo>
                      <a:pt x="85" y="263"/>
                    </a:lnTo>
                    <a:lnTo>
                      <a:pt x="84" y="263"/>
                    </a:lnTo>
                    <a:lnTo>
                      <a:pt x="84" y="264"/>
                    </a:lnTo>
                    <a:lnTo>
                      <a:pt x="83" y="266"/>
                    </a:lnTo>
                    <a:lnTo>
                      <a:pt x="83" y="267"/>
                    </a:lnTo>
                    <a:lnTo>
                      <a:pt x="82" y="267"/>
                    </a:lnTo>
                    <a:lnTo>
                      <a:pt x="83" y="267"/>
                    </a:lnTo>
                    <a:lnTo>
                      <a:pt x="83" y="266"/>
                    </a:lnTo>
                    <a:lnTo>
                      <a:pt x="83" y="264"/>
                    </a:lnTo>
                    <a:lnTo>
                      <a:pt x="83" y="263"/>
                    </a:lnTo>
                    <a:lnTo>
                      <a:pt x="83" y="262"/>
                    </a:lnTo>
                    <a:lnTo>
                      <a:pt x="83" y="261"/>
                    </a:lnTo>
                    <a:lnTo>
                      <a:pt x="83" y="260"/>
                    </a:lnTo>
                    <a:lnTo>
                      <a:pt x="83" y="259"/>
                    </a:lnTo>
                    <a:lnTo>
                      <a:pt x="83" y="258"/>
                    </a:lnTo>
                    <a:lnTo>
                      <a:pt x="82" y="258"/>
                    </a:lnTo>
                    <a:lnTo>
                      <a:pt x="81" y="258"/>
                    </a:lnTo>
                    <a:lnTo>
                      <a:pt x="80" y="258"/>
                    </a:lnTo>
                    <a:lnTo>
                      <a:pt x="78" y="257"/>
                    </a:lnTo>
                    <a:lnTo>
                      <a:pt x="77" y="257"/>
                    </a:lnTo>
                    <a:lnTo>
                      <a:pt x="76" y="257"/>
                    </a:lnTo>
                    <a:lnTo>
                      <a:pt x="76" y="256"/>
                    </a:lnTo>
                    <a:lnTo>
                      <a:pt x="75" y="257"/>
                    </a:lnTo>
                    <a:lnTo>
                      <a:pt x="74" y="257"/>
                    </a:lnTo>
                    <a:lnTo>
                      <a:pt x="71" y="257"/>
                    </a:lnTo>
                    <a:lnTo>
                      <a:pt x="71" y="256"/>
                    </a:lnTo>
                    <a:lnTo>
                      <a:pt x="70" y="256"/>
                    </a:lnTo>
                    <a:lnTo>
                      <a:pt x="69" y="256"/>
                    </a:lnTo>
                    <a:lnTo>
                      <a:pt x="68" y="256"/>
                    </a:lnTo>
                    <a:lnTo>
                      <a:pt x="67" y="256"/>
                    </a:lnTo>
                    <a:lnTo>
                      <a:pt x="65" y="257"/>
                    </a:lnTo>
                    <a:lnTo>
                      <a:pt x="64" y="258"/>
                    </a:lnTo>
                    <a:lnTo>
                      <a:pt x="63" y="258"/>
                    </a:lnTo>
                    <a:lnTo>
                      <a:pt x="63" y="259"/>
                    </a:lnTo>
                    <a:lnTo>
                      <a:pt x="62" y="259"/>
                    </a:lnTo>
                    <a:lnTo>
                      <a:pt x="61" y="260"/>
                    </a:lnTo>
                    <a:lnTo>
                      <a:pt x="60" y="260"/>
                    </a:lnTo>
                    <a:lnTo>
                      <a:pt x="60" y="261"/>
                    </a:lnTo>
                    <a:lnTo>
                      <a:pt x="59" y="261"/>
                    </a:lnTo>
                    <a:lnTo>
                      <a:pt x="59" y="260"/>
                    </a:lnTo>
                    <a:lnTo>
                      <a:pt x="58" y="260"/>
                    </a:lnTo>
                    <a:lnTo>
                      <a:pt x="57" y="260"/>
                    </a:lnTo>
                    <a:lnTo>
                      <a:pt x="56" y="259"/>
                    </a:lnTo>
                    <a:lnTo>
                      <a:pt x="56" y="258"/>
                    </a:lnTo>
                    <a:lnTo>
                      <a:pt x="55" y="258"/>
                    </a:lnTo>
                    <a:lnTo>
                      <a:pt x="55" y="257"/>
                    </a:lnTo>
                    <a:lnTo>
                      <a:pt x="54" y="256"/>
                    </a:lnTo>
                    <a:lnTo>
                      <a:pt x="54" y="255"/>
                    </a:lnTo>
                    <a:lnTo>
                      <a:pt x="54" y="254"/>
                    </a:lnTo>
                    <a:lnTo>
                      <a:pt x="52" y="254"/>
                    </a:lnTo>
                    <a:lnTo>
                      <a:pt x="51" y="255"/>
                    </a:lnTo>
                    <a:lnTo>
                      <a:pt x="50" y="255"/>
                    </a:lnTo>
                    <a:lnTo>
                      <a:pt x="49" y="255"/>
                    </a:lnTo>
                    <a:lnTo>
                      <a:pt x="48" y="255"/>
                    </a:lnTo>
                    <a:lnTo>
                      <a:pt x="48" y="254"/>
                    </a:lnTo>
                    <a:lnTo>
                      <a:pt x="48" y="252"/>
                    </a:lnTo>
                    <a:lnTo>
                      <a:pt x="34" y="252"/>
                    </a:lnTo>
                    <a:lnTo>
                      <a:pt x="32" y="252"/>
                    </a:lnTo>
                    <a:lnTo>
                      <a:pt x="43" y="225"/>
                    </a:lnTo>
                    <a:lnTo>
                      <a:pt x="48" y="211"/>
                    </a:lnTo>
                    <a:lnTo>
                      <a:pt x="62" y="181"/>
                    </a:lnTo>
                    <a:lnTo>
                      <a:pt x="67" y="173"/>
                    </a:lnTo>
                    <a:lnTo>
                      <a:pt x="68" y="173"/>
                    </a:lnTo>
                    <a:lnTo>
                      <a:pt x="68" y="172"/>
                    </a:lnTo>
                    <a:lnTo>
                      <a:pt x="69" y="172"/>
                    </a:lnTo>
                    <a:lnTo>
                      <a:pt x="69" y="171"/>
                    </a:lnTo>
                    <a:lnTo>
                      <a:pt x="68" y="168"/>
                    </a:lnTo>
                    <a:lnTo>
                      <a:pt x="68" y="167"/>
                    </a:lnTo>
                    <a:lnTo>
                      <a:pt x="69" y="166"/>
                    </a:lnTo>
                    <a:lnTo>
                      <a:pt x="69" y="165"/>
                    </a:lnTo>
                    <a:lnTo>
                      <a:pt x="70" y="165"/>
                    </a:lnTo>
                    <a:lnTo>
                      <a:pt x="70" y="164"/>
                    </a:lnTo>
                    <a:lnTo>
                      <a:pt x="70" y="162"/>
                    </a:lnTo>
                    <a:lnTo>
                      <a:pt x="69" y="162"/>
                    </a:lnTo>
                    <a:lnTo>
                      <a:pt x="68" y="161"/>
                    </a:lnTo>
                    <a:lnTo>
                      <a:pt x="67" y="159"/>
                    </a:lnTo>
                    <a:lnTo>
                      <a:pt x="67" y="158"/>
                    </a:lnTo>
                    <a:lnTo>
                      <a:pt x="65" y="157"/>
                    </a:lnTo>
                    <a:lnTo>
                      <a:pt x="64" y="157"/>
                    </a:lnTo>
                    <a:lnTo>
                      <a:pt x="60" y="157"/>
                    </a:lnTo>
                    <a:lnTo>
                      <a:pt x="25" y="133"/>
                    </a:lnTo>
                    <a:lnTo>
                      <a:pt x="24" y="129"/>
                    </a:lnTo>
                    <a:lnTo>
                      <a:pt x="24" y="128"/>
                    </a:lnTo>
                    <a:lnTo>
                      <a:pt x="25" y="127"/>
                    </a:lnTo>
                    <a:lnTo>
                      <a:pt x="25" y="126"/>
                    </a:lnTo>
                    <a:lnTo>
                      <a:pt x="24" y="126"/>
                    </a:lnTo>
                    <a:lnTo>
                      <a:pt x="23" y="125"/>
                    </a:lnTo>
                    <a:lnTo>
                      <a:pt x="23" y="123"/>
                    </a:lnTo>
                    <a:lnTo>
                      <a:pt x="23" y="122"/>
                    </a:lnTo>
                    <a:lnTo>
                      <a:pt x="23" y="121"/>
                    </a:lnTo>
                    <a:lnTo>
                      <a:pt x="23" y="120"/>
                    </a:lnTo>
                    <a:lnTo>
                      <a:pt x="23" y="119"/>
                    </a:lnTo>
                    <a:lnTo>
                      <a:pt x="21" y="118"/>
                    </a:lnTo>
                    <a:lnTo>
                      <a:pt x="20" y="117"/>
                    </a:lnTo>
                    <a:lnTo>
                      <a:pt x="19" y="116"/>
                    </a:lnTo>
                    <a:lnTo>
                      <a:pt x="19" y="115"/>
                    </a:lnTo>
                    <a:lnTo>
                      <a:pt x="18" y="115"/>
                    </a:lnTo>
                    <a:lnTo>
                      <a:pt x="17" y="114"/>
                    </a:lnTo>
                    <a:lnTo>
                      <a:pt x="16" y="113"/>
                    </a:lnTo>
                    <a:lnTo>
                      <a:pt x="16" y="110"/>
                    </a:lnTo>
                    <a:lnTo>
                      <a:pt x="15" y="110"/>
                    </a:lnTo>
                    <a:lnTo>
                      <a:pt x="15" y="109"/>
                    </a:lnTo>
                    <a:lnTo>
                      <a:pt x="13" y="108"/>
                    </a:lnTo>
                    <a:lnTo>
                      <a:pt x="13" y="107"/>
                    </a:lnTo>
                    <a:lnTo>
                      <a:pt x="12" y="107"/>
                    </a:lnTo>
                    <a:lnTo>
                      <a:pt x="11" y="107"/>
                    </a:lnTo>
                    <a:lnTo>
                      <a:pt x="10" y="107"/>
                    </a:lnTo>
                    <a:lnTo>
                      <a:pt x="10" y="106"/>
                    </a:lnTo>
                    <a:lnTo>
                      <a:pt x="10" y="105"/>
                    </a:lnTo>
                    <a:lnTo>
                      <a:pt x="9" y="105"/>
                    </a:lnTo>
                    <a:lnTo>
                      <a:pt x="9" y="104"/>
                    </a:lnTo>
                    <a:lnTo>
                      <a:pt x="9" y="103"/>
                    </a:lnTo>
                    <a:lnTo>
                      <a:pt x="8" y="103"/>
                    </a:lnTo>
                    <a:lnTo>
                      <a:pt x="8" y="102"/>
                    </a:lnTo>
                    <a:lnTo>
                      <a:pt x="7" y="101"/>
                    </a:lnTo>
                    <a:lnTo>
                      <a:pt x="7" y="100"/>
                    </a:lnTo>
                    <a:lnTo>
                      <a:pt x="7" y="97"/>
                    </a:lnTo>
                    <a:lnTo>
                      <a:pt x="6" y="97"/>
                    </a:lnTo>
                    <a:lnTo>
                      <a:pt x="6" y="96"/>
                    </a:lnTo>
                    <a:lnTo>
                      <a:pt x="5" y="91"/>
                    </a:lnTo>
                    <a:lnTo>
                      <a:pt x="5" y="90"/>
                    </a:lnTo>
                    <a:lnTo>
                      <a:pt x="5" y="88"/>
                    </a:lnTo>
                    <a:lnTo>
                      <a:pt x="4" y="78"/>
                    </a:lnTo>
                    <a:lnTo>
                      <a:pt x="4" y="77"/>
                    </a:lnTo>
                    <a:lnTo>
                      <a:pt x="2" y="63"/>
                    </a:lnTo>
                    <a:lnTo>
                      <a:pt x="2" y="62"/>
                    </a:lnTo>
                    <a:lnTo>
                      <a:pt x="0" y="58"/>
                    </a:lnTo>
                    <a:lnTo>
                      <a:pt x="0" y="55"/>
                    </a:lnTo>
                    <a:lnTo>
                      <a:pt x="0" y="54"/>
                    </a:lnTo>
                    <a:lnTo>
                      <a:pt x="0" y="52"/>
                    </a:lnTo>
                    <a:lnTo>
                      <a:pt x="0" y="50"/>
                    </a:lnTo>
                    <a:lnTo>
                      <a:pt x="0" y="43"/>
                    </a:lnTo>
                    <a:lnTo>
                      <a:pt x="0" y="41"/>
                    </a:lnTo>
                    <a:lnTo>
                      <a:pt x="0" y="40"/>
                    </a:lnTo>
                    <a:lnTo>
                      <a:pt x="0" y="36"/>
                    </a:lnTo>
                    <a:lnTo>
                      <a:pt x="0" y="33"/>
                    </a:lnTo>
                    <a:lnTo>
                      <a:pt x="0" y="32"/>
                    </a:lnTo>
                    <a:lnTo>
                      <a:pt x="0" y="31"/>
                    </a:lnTo>
                    <a:lnTo>
                      <a:pt x="0" y="30"/>
                    </a:lnTo>
                    <a:lnTo>
                      <a:pt x="0" y="26"/>
                    </a:lnTo>
                    <a:lnTo>
                      <a:pt x="0" y="19"/>
                    </a:lnTo>
                    <a:lnTo>
                      <a:pt x="0" y="5"/>
                    </a:lnTo>
                    <a:lnTo>
                      <a:pt x="2" y="1"/>
                    </a:lnTo>
                    <a:lnTo>
                      <a:pt x="3" y="0"/>
                    </a:lnTo>
                    <a:lnTo>
                      <a:pt x="7" y="1"/>
                    </a:lnTo>
                    <a:lnTo>
                      <a:pt x="9" y="2"/>
                    </a:lnTo>
                    <a:lnTo>
                      <a:pt x="10" y="1"/>
                    </a:lnTo>
                    <a:lnTo>
                      <a:pt x="13" y="1"/>
                    </a:lnTo>
                    <a:lnTo>
                      <a:pt x="19" y="3"/>
                    </a:lnTo>
                    <a:lnTo>
                      <a:pt x="21" y="6"/>
                    </a:lnTo>
                    <a:lnTo>
                      <a:pt x="22" y="6"/>
                    </a:lnTo>
                    <a:lnTo>
                      <a:pt x="22" y="7"/>
                    </a:lnTo>
                    <a:lnTo>
                      <a:pt x="22" y="6"/>
                    </a:lnTo>
                    <a:lnTo>
                      <a:pt x="23" y="3"/>
                    </a:lnTo>
                    <a:lnTo>
                      <a:pt x="23" y="4"/>
                    </a:lnTo>
                    <a:lnTo>
                      <a:pt x="24" y="4"/>
                    </a:lnTo>
                    <a:lnTo>
                      <a:pt x="23" y="4"/>
                    </a:lnTo>
                    <a:lnTo>
                      <a:pt x="23" y="5"/>
                    </a:lnTo>
                    <a:lnTo>
                      <a:pt x="23" y="6"/>
                    </a:lnTo>
                    <a:lnTo>
                      <a:pt x="23" y="5"/>
                    </a:lnTo>
                    <a:lnTo>
                      <a:pt x="24" y="4"/>
                    </a:lnTo>
                    <a:lnTo>
                      <a:pt x="24" y="5"/>
                    </a:lnTo>
                    <a:lnTo>
                      <a:pt x="25" y="5"/>
                    </a:lnTo>
                    <a:lnTo>
                      <a:pt x="26" y="4"/>
                    </a:lnTo>
                    <a:lnTo>
                      <a:pt x="28" y="4"/>
                    </a:lnTo>
                    <a:lnTo>
                      <a:pt x="26" y="5"/>
                    </a:lnTo>
                    <a:lnTo>
                      <a:pt x="26" y="6"/>
                    </a:lnTo>
                    <a:lnTo>
                      <a:pt x="26" y="5"/>
                    </a:lnTo>
                    <a:lnTo>
                      <a:pt x="28" y="5"/>
                    </a:lnTo>
                    <a:lnTo>
                      <a:pt x="28" y="6"/>
                    </a:lnTo>
                    <a:lnTo>
                      <a:pt x="28" y="5"/>
                    </a:lnTo>
                    <a:lnTo>
                      <a:pt x="29" y="5"/>
                    </a:lnTo>
                    <a:lnTo>
                      <a:pt x="28" y="5"/>
                    </a:lnTo>
                    <a:lnTo>
                      <a:pt x="28" y="6"/>
                    </a:lnTo>
                    <a:lnTo>
                      <a:pt x="28" y="7"/>
                    </a:lnTo>
                    <a:lnTo>
                      <a:pt x="29" y="7"/>
                    </a:lnTo>
                    <a:lnTo>
                      <a:pt x="30" y="7"/>
                    </a:lnTo>
                    <a:lnTo>
                      <a:pt x="34" y="10"/>
                    </a:lnTo>
                    <a:lnTo>
                      <a:pt x="36" y="12"/>
                    </a:lnTo>
                    <a:lnTo>
                      <a:pt x="37" y="11"/>
                    </a:lnTo>
                    <a:lnTo>
                      <a:pt x="37" y="12"/>
                    </a:lnTo>
                    <a:lnTo>
                      <a:pt x="38" y="12"/>
                    </a:lnTo>
                    <a:lnTo>
                      <a:pt x="39" y="13"/>
                    </a:lnTo>
                    <a:lnTo>
                      <a:pt x="43" y="14"/>
                    </a:lnTo>
                    <a:lnTo>
                      <a:pt x="48" y="15"/>
                    </a:lnTo>
                    <a:lnTo>
                      <a:pt x="55" y="17"/>
                    </a:lnTo>
                    <a:lnTo>
                      <a:pt x="56" y="17"/>
                    </a:lnTo>
                    <a:lnTo>
                      <a:pt x="59" y="18"/>
                    </a:lnTo>
                    <a:lnTo>
                      <a:pt x="60" y="19"/>
                    </a:lnTo>
                    <a:lnTo>
                      <a:pt x="61" y="19"/>
                    </a:lnTo>
                    <a:lnTo>
                      <a:pt x="62" y="19"/>
                    </a:lnTo>
                    <a:lnTo>
                      <a:pt x="64" y="19"/>
                    </a:lnTo>
                    <a:lnTo>
                      <a:pt x="65" y="19"/>
                    </a:lnTo>
                    <a:lnTo>
                      <a:pt x="67" y="19"/>
                    </a:lnTo>
                    <a:lnTo>
                      <a:pt x="69" y="20"/>
                    </a:lnTo>
                    <a:lnTo>
                      <a:pt x="72" y="20"/>
                    </a:lnTo>
                    <a:lnTo>
                      <a:pt x="73" y="20"/>
                    </a:lnTo>
                    <a:lnTo>
                      <a:pt x="74" y="20"/>
                    </a:lnTo>
                    <a:lnTo>
                      <a:pt x="75" y="20"/>
                    </a:lnTo>
                    <a:lnTo>
                      <a:pt x="76" y="20"/>
                    </a:lnTo>
                    <a:lnTo>
                      <a:pt x="77" y="20"/>
                    </a:lnTo>
                    <a:lnTo>
                      <a:pt x="77" y="19"/>
                    </a:lnTo>
                    <a:lnTo>
                      <a:pt x="78" y="20"/>
                    </a:lnTo>
                    <a:lnTo>
                      <a:pt x="78" y="22"/>
                    </a:lnTo>
                    <a:lnTo>
                      <a:pt x="80" y="22"/>
                    </a:lnTo>
                    <a:lnTo>
                      <a:pt x="82" y="22"/>
                    </a:lnTo>
                    <a:lnTo>
                      <a:pt x="83" y="22"/>
                    </a:lnTo>
                    <a:lnTo>
                      <a:pt x="83" y="20"/>
                    </a:lnTo>
                    <a:lnTo>
                      <a:pt x="83" y="22"/>
                    </a:lnTo>
                    <a:lnTo>
                      <a:pt x="84" y="22"/>
                    </a:lnTo>
                    <a:lnTo>
                      <a:pt x="84" y="20"/>
                    </a:lnTo>
                    <a:lnTo>
                      <a:pt x="84" y="19"/>
                    </a:lnTo>
                    <a:lnTo>
                      <a:pt x="85" y="19"/>
                    </a:lnTo>
                    <a:lnTo>
                      <a:pt x="85" y="20"/>
                    </a:lnTo>
                    <a:lnTo>
                      <a:pt x="84" y="20"/>
                    </a:lnTo>
                    <a:lnTo>
                      <a:pt x="85" y="20"/>
                    </a:lnTo>
                    <a:lnTo>
                      <a:pt x="85" y="19"/>
                    </a:lnTo>
                    <a:lnTo>
                      <a:pt x="85" y="20"/>
                    </a:lnTo>
                    <a:lnTo>
                      <a:pt x="86" y="22"/>
                    </a:lnTo>
                    <a:lnTo>
                      <a:pt x="89" y="22"/>
                    </a:lnTo>
                    <a:lnTo>
                      <a:pt x="94" y="22"/>
                    </a:lnTo>
                    <a:lnTo>
                      <a:pt x="94" y="20"/>
                    </a:lnTo>
                    <a:lnTo>
                      <a:pt x="94" y="19"/>
                    </a:lnTo>
                    <a:lnTo>
                      <a:pt x="95" y="19"/>
                    </a:lnTo>
                    <a:lnTo>
                      <a:pt x="95" y="18"/>
                    </a:lnTo>
                    <a:lnTo>
                      <a:pt x="97" y="18"/>
                    </a:lnTo>
                    <a:lnTo>
                      <a:pt x="96" y="18"/>
                    </a:lnTo>
                    <a:lnTo>
                      <a:pt x="96" y="19"/>
                    </a:lnTo>
                    <a:lnTo>
                      <a:pt x="96" y="20"/>
                    </a:lnTo>
                    <a:lnTo>
                      <a:pt x="97" y="20"/>
                    </a:lnTo>
                    <a:lnTo>
                      <a:pt x="97" y="19"/>
                    </a:lnTo>
                    <a:lnTo>
                      <a:pt x="97" y="18"/>
                    </a:lnTo>
                    <a:lnTo>
                      <a:pt x="97" y="19"/>
                    </a:lnTo>
                    <a:lnTo>
                      <a:pt x="97" y="18"/>
                    </a:lnTo>
                    <a:lnTo>
                      <a:pt x="98" y="18"/>
                    </a:lnTo>
                    <a:lnTo>
                      <a:pt x="98" y="22"/>
                    </a:lnTo>
                    <a:close/>
                    <a:moveTo>
                      <a:pt x="126" y="385"/>
                    </a:moveTo>
                    <a:lnTo>
                      <a:pt x="127" y="386"/>
                    </a:lnTo>
                    <a:lnTo>
                      <a:pt x="127" y="387"/>
                    </a:lnTo>
                    <a:lnTo>
                      <a:pt x="128" y="387"/>
                    </a:lnTo>
                    <a:lnTo>
                      <a:pt x="129" y="387"/>
                    </a:lnTo>
                    <a:lnTo>
                      <a:pt x="131" y="388"/>
                    </a:lnTo>
                    <a:lnTo>
                      <a:pt x="132" y="388"/>
                    </a:lnTo>
                    <a:lnTo>
                      <a:pt x="133" y="388"/>
                    </a:lnTo>
                    <a:lnTo>
                      <a:pt x="134" y="387"/>
                    </a:lnTo>
                    <a:lnTo>
                      <a:pt x="134" y="388"/>
                    </a:lnTo>
                    <a:lnTo>
                      <a:pt x="134" y="387"/>
                    </a:lnTo>
                    <a:lnTo>
                      <a:pt x="134" y="386"/>
                    </a:lnTo>
                    <a:lnTo>
                      <a:pt x="135" y="386"/>
                    </a:lnTo>
                    <a:lnTo>
                      <a:pt x="134" y="385"/>
                    </a:lnTo>
                    <a:lnTo>
                      <a:pt x="135" y="385"/>
                    </a:lnTo>
                    <a:lnTo>
                      <a:pt x="136" y="385"/>
                    </a:lnTo>
                    <a:lnTo>
                      <a:pt x="136" y="386"/>
                    </a:lnTo>
                    <a:lnTo>
                      <a:pt x="136" y="387"/>
                    </a:lnTo>
                    <a:lnTo>
                      <a:pt x="137" y="387"/>
                    </a:lnTo>
                    <a:lnTo>
                      <a:pt x="137" y="386"/>
                    </a:lnTo>
                    <a:lnTo>
                      <a:pt x="138" y="386"/>
                    </a:lnTo>
                    <a:lnTo>
                      <a:pt x="138" y="387"/>
                    </a:lnTo>
                    <a:lnTo>
                      <a:pt x="137" y="387"/>
                    </a:lnTo>
                    <a:lnTo>
                      <a:pt x="138" y="387"/>
                    </a:lnTo>
                    <a:lnTo>
                      <a:pt x="138" y="388"/>
                    </a:lnTo>
                    <a:lnTo>
                      <a:pt x="138" y="389"/>
                    </a:lnTo>
                    <a:lnTo>
                      <a:pt x="139" y="389"/>
                    </a:lnTo>
                    <a:lnTo>
                      <a:pt x="139" y="390"/>
                    </a:lnTo>
                    <a:lnTo>
                      <a:pt x="138" y="390"/>
                    </a:lnTo>
                    <a:lnTo>
                      <a:pt x="137" y="390"/>
                    </a:lnTo>
                    <a:lnTo>
                      <a:pt x="137" y="391"/>
                    </a:lnTo>
                    <a:lnTo>
                      <a:pt x="137" y="392"/>
                    </a:lnTo>
                    <a:lnTo>
                      <a:pt x="138" y="392"/>
                    </a:lnTo>
                    <a:lnTo>
                      <a:pt x="138" y="393"/>
                    </a:lnTo>
                    <a:lnTo>
                      <a:pt x="137" y="393"/>
                    </a:lnTo>
                    <a:lnTo>
                      <a:pt x="136" y="396"/>
                    </a:lnTo>
                    <a:lnTo>
                      <a:pt x="135" y="397"/>
                    </a:lnTo>
                    <a:lnTo>
                      <a:pt x="136" y="398"/>
                    </a:lnTo>
                    <a:lnTo>
                      <a:pt x="136" y="399"/>
                    </a:lnTo>
                    <a:lnTo>
                      <a:pt x="137" y="400"/>
                    </a:lnTo>
                    <a:lnTo>
                      <a:pt x="138" y="400"/>
                    </a:lnTo>
                    <a:lnTo>
                      <a:pt x="138" y="401"/>
                    </a:lnTo>
                    <a:lnTo>
                      <a:pt x="139" y="401"/>
                    </a:lnTo>
                    <a:lnTo>
                      <a:pt x="140" y="402"/>
                    </a:lnTo>
                    <a:lnTo>
                      <a:pt x="141" y="402"/>
                    </a:lnTo>
                    <a:lnTo>
                      <a:pt x="142" y="402"/>
                    </a:lnTo>
                    <a:lnTo>
                      <a:pt x="142" y="403"/>
                    </a:lnTo>
                    <a:lnTo>
                      <a:pt x="144" y="404"/>
                    </a:lnTo>
                    <a:lnTo>
                      <a:pt x="141" y="405"/>
                    </a:lnTo>
                    <a:lnTo>
                      <a:pt x="138" y="405"/>
                    </a:lnTo>
                    <a:lnTo>
                      <a:pt x="138" y="404"/>
                    </a:lnTo>
                    <a:lnTo>
                      <a:pt x="138" y="403"/>
                    </a:lnTo>
                    <a:lnTo>
                      <a:pt x="138" y="402"/>
                    </a:lnTo>
                    <a:lnTo>
                      <a:pt x="137" y="402"/>
                    </a:lnTo>
                    <a:lnTo>
                      <a:pt x="137" y="401"/>
                    </a:lnTo>
                    <a:lnTo>
                      <a:pt x="136" y="401"/>
                    </a:lnTo>
                    <a:lnTo>
                      <a:pt x="136" y="400"/>
                    </a:lnTo>
                    <a:lnTo>
                      <a:pt x="135" y="400"/>
                    </a:lnTo>
                    <a:lnTo>
                      <a:pt x="135" y="399"/>
                    </a:lnTo>
                    <a:lnTo>
                      <a:pt x="135" y="398"/>
                    </a:lnTo>
                    <a:lnTo>
                      <a:pt x="135" y="397"/>
                    </a:lnTo>
                    <a:lnTo>
                      <a:pt x="134" y="397"/>
                    </a:lnTo>
                    <a:lnTo>
                      <a:pt x="133" y="397"/>
                    </a:lnTo>
                    <a:lnTo>
                      <a:pt x="133" y="396"/>
                    </a:lnTo>
                    <a:lnTo>
                      <a:pt x="132" y="396"/>
                    </a:lnTo>
                    <a:lnTo>
                      <a:pt x="131" y="395"/>
                    </a:lnTo>
                    <a:lnTo>
                      <a:pt x="129" y="395"/>
                    </a:lnTo>
                    <a:lnTo>
                      <a:pt x="128" y="396"/>
                    </a:lnTo>
                    <a:lnTo>
                      <a:pt x="127" y="395"/>
                    </a:lnTo>
                    <a:lnTo>
                      <a:pt x="126" y="393"/>
                    </a:lnTo>
                    <a:lnTo>
                      <a:pt x="125" y="393"/>
                    </a:lnTo>
                    <a:lnTo>
                      <a:pt x="125" y="392"/>
                    </a:lnTo>
                    <a:lnTo>
                      <a:pt x="123" y="392"/>
                    </a:lnTo>
                    <a:lnTo>
                      <a:pt x="121" y="392"/>
                    </a:lnTo>
                    <a:lnTo>
                      <a:pt x="119" y="392"/>
                    </a:lnTo>
                    <a:lnTo>
                      <a:pt x="117" y="392"/>
                    </a:lnTo>
                    <a:lnTo>
                      <a:pt x="117" y="393"/>
                    </a:lnTo>
                    <a:lnTo>
                      <a:pt x="116" y="395"/>
                    </a:lnTo>
                    <a:lnTo>
                      <a:pt x="116" y="396"/>
                    </a:lnTo>
                    <a:lnTo>
                      <a:pt x="117" y="396"/>
                    </a:lnTo>
                    <a:lnTo>
                      <a:pt x="117" y="397"/>
                    </a:lnTo>
                    <a:lnTo>
                      <a:pt x="119" y="397"/>
                    </a:lnTo>
                    <a:lnTo>
                      <a:pt x="119" y="398"/>
                    </a:lnTo>
                    <a:lnTo>
                      <a:pt x="120" y="398"/>
                    </a:lnTo>
                    <a:lnTo>
                      <a:pt x="120" y="399"/>
                    </a:lnTo>
                    <a:lnTo>
                      <a:pt x="121" y="399"/>
                    </a:lnTo>
                    <a:lnTo>
                      <a:pt x="121" y="400"/>
                    </a:lnTo>
                    <a:lnTo>
                      <a:pt x="121" y="401"/>
                    </a:lnTo>
                    <a:lnTo>
                      <a:pt x="121" y="402"/>
                    </a:lnTo>
                    <a:lnTo>
                      <a:pt x="122" y="402"/>
                    </a:lnTo>
                    <a:lnTo>
                      <a:pt x="122" y="403"/>
                    </a:lnTo>
                    <a:lnTo>
                      <a:pt x="122" y="404"/>
                    </a:lnTo>
                    <a:lnTo>
                      <a:pt x="121" y="404"/>
                    </a:lnTo>
                    <a:lnTo>
                      <a:pt x="120" y="405"/>
                    </a:lnTo>
                    <a:lnTo>
                      <a:pt x="119" y="405"/>
                    </a:lnTo>
                    <a:lnTo>
                      <a:pt x="119" y="406"/>
                    </a:lnTo>
                    <a:lnTo>
                      <a:pt x="117" y="406"/>
                    </a:lnTo>
                    <a:lnTo>
                      <a:pt x="117" y="408"/>
                    </a:lnTo>
                    <a:lnTo>
                      <a:pt x="116" y="408"/>
                    </a:lnTo>
                    <a:lnTo>
                      <a:pt x="116" y="409"/>
                    </a:lnTo>
                    <a:lnTo>
                      <a:pt x="116" y="410"/>
                    </a:lnTo>
                    <a:lnTo>
                      <a:pt x="115" y="410"/>
                    </a:lnTo>
                    <a:lnTo>
                      <a:pt x="114" y="410"/>
                    </a:lnTo>
                    <a:lnTo>
                      <a:pt x="113" y="411"/>
                    </a:lnTo>
                    <a:lnTo>
                      <a:pt x="112" y="411"/>
                    </a:lnTo>
                    <a:lnTo>
                      <a:pt x="112" y="410"/>
                    </a:lnTo>
                    <a:lnTo>
                      <a:pt x="113" y="410"/>
                    </a:lnTo>
                    <a:lnTo>
                      <a:pt x="113" y="409"/>
                    </a:lnTo>
                    <a:lnTo>
                      <a:pt x="114" y="406"/>
                    </a:lnTo>
                    <a:lnTo>
                      <a:pt x="113" y="405"/>
                    </a:lnTo>
                    <a:lnTo>
                      <a:pt x="113" y="404"/>
                    </a:lnTo>
                    <a:lnTo>
                      <a:pt x="113" y="403"/>
                    </a:lnTo>
                    <a:lnTo>
                      <a:pt x="113" y="402"/>
                    </a:lnTo>
                    <a:lnTo>
                      <a:pt x="113" y="401"/>
                    </a:lnTo>
                    <a:lnTo>
                      <a:pt x="113" y="400"/>
                    </a:lnTo>
                    <a:lnTo>
                      <a:pt x="113" y="399"/>
                    </a:lnTo>
                    <a:lnTo>
                      <a:pt x="112" y="399"/>
                    </a:lnTo>
                    <a:lnTo>
                      <a:pt x="111" y="399"/>
                    </a:lnTo>
                    <a:lnTo>
                      <a:pt x="111" y="398"/>
                    </a:lnTo>
                    <a:lnTo>
                      <a:pt x="111" y="395"/>
                    </a:lnTo>
                    <a:lnTo>
                      <a:pt x="110" y="395"/>
                    </a:lnTo>
                    <a:lnTo>
                      <a:pt x="110" y="393"/>
                    </a:lnTo>
                    <a:lnTo>
                      <a:pt x="109" y="393"/>
                    </a:lnTo>
                    <a:lnTo>
                      <a:pt x="108" y="393"/>
                    </a:lnTo>
                    <a:lnTo>
                      <a:pt x="104" y="392"/>
                    </a:lnTo>
                    <a:lnTo>
                      <a:pt x="101" y="392"/>
                    </a:lnTo>
                    <a:lnTo>
                      <a:pt x="101" y="393"/>
                    </a:lnTo>
                    <a:lnTo>
                      <a:pt x="100" y="393"/>
                    </a:lnTo>
                    <a:lnTo>
                      <a:pt x="100" y="392"/>
                    </a:lnTo>
                    <a:lnTo>
                      <a:pt x="99" y="392"/>
                    </a:lnTo>
                    <a:lnTo>
                      <a:pt x="100" y="392"/>
                    </a:lnTo>
                    <a:lnTo>
                      <a:pt x="100" y="391"/>
                    </a:lnTo>
                    <a:lnTo>
                      <a:pt x="100" y="390"/>
                    </a:lnTo>
                    <a:lnTo>
                      <a:pt x="101" y="390"/>
                    </a:lnTo>
                    <a:lnTo>
                      <a:pt x="101" y="389"/>
                    </a:lnTo>
                    <a:lnTo>
                      <a:pt x="101" y="388"/>
                    </a:lnTo>
                    <a:lnTo>
                      <a:pt x="102" y="388"/>
                    </a:lnTo>
                    <a:lnTo>
                      <a:pt x="103" y="388"/>
                    </a:lnTo>
                    <a:lnTo>
                      <a:pt x="103" y="387"/>
                    </a:lnTo>
                    <a:lnTo>
                      <a:pt x="104" y="386"/>
                    </a:lnTo>
                    <a:lnTo>
                      <a:pt x="106" y="386"/>
                    </a:lnTo>
                    <a:lnTo>
                      <a:pt x="107" y="386"/>
                    </a:lnTo>
                    <a:lnTo>
                      <a:pt x="108" y="386"/>
                    </a:lnTo>
                    <a:lnTo>
                      <a:pt x="109" y="386"/>
                    </a:lnTo>
                    <a:lnTo>
                      <a:pt x="109" y="385"/>
                    </a:lnTo>
                    <a:lnTo>
                      <a:pt x="110" y="385"/>
                    </a:lnTo>
                    <a:lnTo>
                      <a:pt x="110" y="384"/>
                    </a:lnTo>
                    <a:lnTo>
                      <a:pt x="112" y="385"/>
                    </a:lnTo>
                    <a:lnTo>
                      <a:pt x="113" y="385"/>
                    </a:lnTo>
                    <a:lnTo>
                      <a:pt x="113" y="384"/>
                    </a:lnTo>
                    <a:lnTo>
                      <a:pt x="114" y="384"/>
                    </a:lnTo>
                    <a:lnTo>
                      <a:pt x="115" y="385"/>
                    </a:lnTo>
                    <a:lnTo>
                      <a:pt x="117" y="386"/>
                    </a:lnTo>
                    <a:lnTo>
                      <a:pt x="119" y="386"/>
                    </a:lnTo>
                    <a:lnTo>
                      <a:pt x="120" y="386"/>
                    </a:lnTo>
                    <a:lnTo>
                      <a:pt x="121" y="385"/>
                    </a:lnTo>
                    <a:lnTo>
                      <a:pt x="122" y="385"/>
                    </a:lnTo>
                    <a:lnTo>
                      <a:pt x="122" y="384"/>
                    </a:lnTo>
                    <a:lnTo>
                      <a:pt x="122" y="383"/>
                    </a:lnTo>
                    <a:lnTo>
                      <a:pt x="123" y="383"/>
                    </a:lnTo>
                    <a:lnTo>
                      <a:pt x="123" y="382"/>
                    </a:lnTo>
                    <a:lnTo>
                      <a:pt x="123" y="380"/>
                    </a:lnTo>
                    <a:lnTo>
                      <a:pt x="123" y="379"/>
                    </a:lnTo>
                    <a:lnTo>
                      <a:pt x="124" y="379"/>
                    </a:lnTo>
                    <a:lnTo>
                      <a:pt x="124" y="378"/>
                    </a:lnTo>
                    <a:lnTo>
                      <a:pt x="125" y="379"/>
                    </a:lnTo>
                    <a:lnTo>
                      <a:pt x="125" y="380"/>
                    </a:lnTo>
                    <a:lnTo>
                      <a:pt x="126" y="382"/>
                    </a:lnTo>
                    <a:lnTo>
                      <a:pt x="126" y="383"/>
                    </a:lnTo>
                    <a:lnTo>
                      <a:pt x="126" y="384"/>
                    </a:lnTo>
                    <a:lnTo>
                      <a:pt x="126" y="385"/>
                    </a:lnTo>
                    <a:close/>
                    <a:moveTo>
                      <a:pt x="83" y="334"/>
                    </a:moveTo>
                    <a:lnTo>
                      <a:pt x="83" y="335"/>
                    </a:lnTo>
                    <a:lnTo>
                      <a:pt x="84" y="335"/>
                    </a:lnTo>
                    <a:lnTo>
                      <a:pt x="84" y="334"/>
                    </a:lnTo>
                    <a:lnTo>
                      <a:pt x="84" y="335"/>
                    </a:lnTo>
                    <a:lnTo>
                      <a:pt x="85" y="336"/>
                    </a:lnTo>
                    <a:lnTo>
                      <a:pt x="86" y="336"/>
                    </a:lnTo>
                    <a:lnTo>
                      <a:pt x="87" y="337"/>
                    </a:lnTo>
                    <a:lnTo>
                      <a:pt x="88" y="337"/>
                    </a:lnTo>
                    <a:lnTo>
                      <a:pt x="88" y="338"/>
                    </a:lnTo>
                    <a:lnTo>
                      <a:pt x="88" y="339"/>
                    </a:lnTo>
                    <a:lnTo>
                      <a:pt x="88" y="340"/>
                    </a:lnTo>
                    <a:lnTo>
                      <a:pt x="88" y="341"/>
                    </a:lnTo>
                    <a:lnTo>
                      <a:pt x="88" y="342"/>
                    </a:lnTo>
                    <a:lnTo>
                      <a:pt x="89" y="344"/>
                    </a:lnTo>
                    <a:lnTo>
                      <a:pt x="89" y="345"/>
                    </a:lnTo>
                    <a:lnTo>
                      <a:pt x="89" y="346"/>
                    </a:lnTo>
                    <a:lnTo>
                      <a:pt x="89" y="347"/>
                    </a:lnTo>
                    <a:lnTo>
                      <a:pt x="89" y="348"/>
                    </a:lnTo>
                    <a:lnTo>
                      <a:pt x="89" y="350"/>
                    </a:lnTo>
                    <a:lnTo>
                      <a:pt x="90" y="350"/>
                    </a:lnTo>
                    <a:lnTo>
                      <a:pt x="89" y="351"/>
                    </a:lnTo>
                    <a:lnTo>
                      <a:pt x="89" y="352"/>
                    </a:lnTo>
                    <a:lnTo>
                      <a:pt x="88" y="352"/>
                    </a:lnTo>
                    <a:lnTo>
                      <a:pt x="87" y="354"/>
                    </a:lnTo>
                    <a:lnTo>
                      <a:pt x="86" y="356"/>
                    </a:lnTo>
                    <a:lnTo>
                      <a:pt x="86" y="357"/>
                    </a:lnTo>
                    <a:lnTo>
                      <a:pt x="85" y="358"/>
                    </a:lnTo>
                    <a:lnTo>
                      <a:pt x="85" y="359"/>
                    </a:lnTo>
                    <a:lnTo>
                      <a:pt x="84" y="359"/>
                    </a:lnTo>
                    <a:lnTo>
                      <a:pt x="84" y="360"/>
                    </a:lnTo>
                    <a:lnTo>
                      <a:pt x="83" y="361"/>
                    </a:lnTo>
                    <a:lnTo>
                      <a:pt x="83" y="362"/>
                    </a:lnTo>
                    <a:lnTo>
                      <a:pt x="82" y="362"/>
                    </a:lnTo>
                    <a:lnTo>
                      <a:pt x="82" y="363"/>
                    </a:lnTo>
                    <a:lnTo>
                      <a:pt x="81" y="364"/>
                    </a:lnTo>
                    <a:lnTo>
                      <a:pt x="81" y="363"/>
                    </a:lnTo>
                    <a:lnTo>
                      <a:pt x="81" y="362"/>
                    </a:lnTo>
                    <a:lnTo>
                      <a:pt x="80" y="362"/>
                    </a:lnTo>
                    <a:lnTo>
                      <a:pt x="78" y="362"/>
                    </a:lnTo>
                    <a:lnTo>
                      <a:pt x="77" y="362"/>
                    </a:lnTo>
                    <a:lnTo>
                      <a:pt x="76" y="362"/>
                    </a:lnTo>
                    <a:lnTo>
                      <a:pt x="76" y="361"/>
                    </a:lnTo>
                    <a:lnTo>
                      <a:pt x="77" y="361"/>
                    </a:lnTo>
                    <a:lnTo>
                      <a:pt x="78" y="361"/>
                    </a:lnTo>
                    <a:lnTo>
                      <a:pt x="78" y="360"/>
                    </a:lnTo>
                    <a:lnTo>
                      <a:pt x="77" y="360"/>
                    </a:lnTo>
                    <a:lnTo>
                      <a:pt x="77" y="361"/>
                    </a:lnTo>
                    <a:lnTo>
                      <a:pt x="76" y="361"/>
                    </a:lnTo>
                    <a:lnTo>
                      <a:pt x="76" y="360"/>
                    </a:lnTo>
                    <a:lnTo>
                      <a:pt x="76" y="358"/>
                    </a:lnTo>
                    <a:lnTo>
                      <a:pt x="77" y="358"/>
                    </a:lnTo>
                    <a:lnTo>
                      <a:pt x="77" y="357"/>
                    </a:lnTo>
                    <a:lnTo>
                      <a:pt x="77" y="356"/>
                    </a:lnTo>
                    <a:lnTo>
                      <a:pt x="77" y="354"/>
                    </a:lnTo>
                    <a:lnTo>
                      <a:pt x="77" y="353"/>
                    </a:lnTo>
                    <a:lnTo>
                      <a:pt x="77" y="354"/>
                    </a:lnTo>
                    <a:lnTo>
                      <a:pt x="76" y="354"/>
                    </a:lnTo>
                    <a:lnTo>
                      <a:pt x="76" y="353"/>
                    </a:lnTo>
                    <a:lnTo>
                      <a:pt x="76" y="352"/>
                    </a:lnTo>
                    <a:lnTo>
                      <a:pt x="75" y="352"/>
                    </a:lnTo>
                    <a:lnTo>
                      <a:pt x="76" y="354"/>
                    </a:lnTo>
                    <a:lnTo>
                      <a:pt x="75" y="354"/>
                    </a:lnTo>
                    <a:lnTo>
                      <a:pt x="75" y="353"/>
                    </a:lnTo>
                    <a:lnTo>
                      <a:pt x="75" y="352"/>
                    </a:lnTo>
                    <a:lnTo>
                      <a:pt x="75" y="351"/>
                    </a:lnTo>
                    <a:lnTo>
                      <a:pt x="74" y="351"/>
                    </a:lnTo>
                    <a:lnTo>
                      <a:pt x="74" y="350"/>
                    </a:lnTo>
                    <a:lnTo>
                      <a:pt x="73" y="350"/>
                    </a:lnTo>
                    <a:lnTo>
                      <a:pt x="72" y="350"/>
                    </a:lnTo>
                    <a:lnTo>
                      <a:pt x="72" y="349"/>
                    </a:lnTo>
                    <a:lnTo>
                      <a:pt x="71" y="349"/>
                    </a:lnTo>
                    <a:lnTo>
                      <a:pt x="70" y="349"/>
                    </a:lnTo>
                    <a:lnTo>
                      <a:pt x="69" y="348"/>
                    </a:lnTo>
                    <a:lnTo>
                      <a:pt x="69" y="347"/>
                    </a:lnTo>
                    <a:lnTo>
                      <a:pt x="69" y="346"/>
                    </a:lnTo>
                    <a:lnTo>
                      <a:pt x="68" y="346"/>
                    </a:lnTo>
                    <a:lnTo>
                      <a:pt x="67" y="346"/>
                    </a:lnTo>
                    <a:lnTo>
                      <a:pt x="65" y="346"/>
                    </a:lnTo>
                    <a:lnTo>
                      <a:pt x="64" y="346"/>
                    </a:lnTo>
                    <a:lnTo>
                      <a:pt x="65" y="346"/>
                    </a:lnTo>
                    <a:lnTo>
                      <a:pt x="65" y="345"/>
                    </a:lnTo>
                    <a:lnTo>
                      <a:pt x="65" y="344"/>
                    </a:lnTo>
                    <a:lnTo>
                      <a:pt x="67" y="342"/>
                    </a:lnTo>
                    <a:lnTo>
                      <a:pt x="67" y="341"/>
                    </a:lnTo>
                    <a:lnTo>
                      <a:pt x="68" y="341"/>
                    </a:lnTo>
                    <a:lnTo>
                      <a:pt x="69" y="342"/>
                    </a:lnTo>
                    <a:lnTo>
                      <a:pt x="70" y="342"/>
                    </a:lnTo>
                    <a:lnTo>
                      <a:pt x="71" y="342"/>
                    </a:lnTo>
                    <a:lnTo>
                      <a:pt x="71" y="341"/>
                    </a:lnTo>
                    <a:lnTo>
                      <a:pt x="72" y="342"/>
                    </a:lnTo>
                    <a:lnTo>
                      <a:pt x="72" y="341"/>
                    </a:lnTo>
                    <a:lnTo>
                      <a:pt x="73" y="341"/>
                    </a:lnTo>
                    <a:lnTo>
                      <a:pt x="73" y="342"/>
                    </a:lnTo>
                    <a:lnTo>
                      <a:pt x="74" y="342"/>
                    </a:lnTo>
                    <a:lnTo>
                      <a:pt x="75" y="342"/>
                    </a:lnTo>
                    <a:lnTo>
                      <a:pt x="75" y="341"/>
                    </a:lnTo>
                    <a:lnTo>
                      <a:pt x="76" y="341"/>
                    </a:lnTo>
                    <a:lnTo>
                      <a:pt x="76" y="340"/>
                    </a:lnTo>
                    <a:lnTo>
                      <a:pt x="77" y="340"/>
                    </a:lnTo>
                    <a:lnTo>
                      <a:pt x="77" y="339"/>
                    </a:lnTo>
                    <a:lnTo>
                      <a:pt x="76" y="338"/>
                    </a:lnTo>
                    <a:lnTo>
                      <a:pt x="76" y="337"/>
                    </a:lnTo>
                    <a:lnTo>
                      <a:pt x="76" y="336"/>
                    </a:lnTo>
                    <a:lnTo>
                      <a:pt x="76" y="335"/>
                    </a:lnTo>
                    <a:lnTo>
                      <a:pt x="76" y="334"/>
                    </a:lnTo>
                    <a:lnTo>
                      <a:pt x="76" y="333"/>
                    </a:lnTo>
                    <a:lnTo>
                      <a:pt x="77" y="333"/>
                    </a:lnTo>
                    <a:lnTo>
                      <a:pt x="78" y="333"/>
                    </a:lnTo>
                    <a:lnTo>
                      <a:pt x="77" y="333"/>
                    </a:lnTo>
                    <a:lnTo>
                      <a:pt x="78" y="334"/>
                    </a:lnTo>
                    <a:lnTo>
                      <a:pt x="78" y="333"/>
                    </a:lnTo>
                    <a:lnTo>
                      <a:pt x="80" y="333"/>
                    </a:lnTo>
                    <a:lnTo>
                      <a:pt x="81" y="333"/>
                    </a:lnTo>
                    <a:lnTo>
                      <a:pt x="81" y="332"/>
                    </a:lnTo>
                    <a:lnTo>
                      <a:pt x="82" y="332"/>
                    </a:lnTo>
                    <a:lnTo>
                      <a:pt x="83" y="331"/>
                    </a:lnTo>
                    <a:lnTo>
                      <a:pt x="83" y="332"/>
                    </a:lnTo>
                    <a:lnTo>
                      <a:pt x="83" y="333"/>
                    </a:lnTo>
                    <a:lnTo>
                      <a:pt x="83" y="334"/>
                    </a:lnTo>
                    <a:close/>
                    <a:moveTo>
                      <a:pt x="201" y="550"/>
                    </a:moveTo>
                    <a:lnTo>
                      <a:pt x="202" y="551"/>
                    </a:lnTo>
                    <a:lnTo>
                      <a:pt x="203" y="552"/>
                    </a:lnTo>
                    <a:lnTo>
                      <a:pt x="203" y="553"/>
                    </a:lnTo>
                    <a:lnTo>
                      <a:pt x="203" y="554"/>
                    </a:lnTo>
                    <a:lnTo>
                      <a:pt x="203" y="555"/>
                    </a:lnTo>
                    <a:lnTo>
                      <a:pt x="203" y="556"/>
                    </a:lnTo>
                    <a:lnTo>
                      <a:pt x="202" y="557"/>
                    </a:lnTo>
                    <a:lnTo>
                      <a:pt x="201" y="558"/>
                    </a:lnTo>
                    <a:lnTo>
                      <a:pt x="201" y="559"/>
                    </a:lnTo>
                    <a:lnTo>
                      <a:pt x="201" y="560"/>
                    </a:lnTo>
                    <a:lnTo>
                      <a:pt x="200" y="560"/>
                    </a:lnTo>
                    <a:lnTo>
                      <a:pt x="200" y="562"/>
                    </a:lnTo>
                    <a:lnTo>
                      <a:pt x="199" y="562"/>
                    </a:lnTo>
                    <a:lnTo>
                      <a:pt x="198" y="563"/>
                    </a:lnTo>
                    <a:lnTo>
                      <a:pt x="196" y="564"/>
                    </a:lnTo>
                    <a:lnTo>
                      <a:pt x="193" y="565"/>
                    </a:lnTo>
                    <a:lnTo>
                      <a:pt x="192" y="566"/>
                    </a:lnTo>
                    <a:lnTo>
                      <a:pt x="191" y="567"/>
                    </a:lnTo>
                    <a:lnTo>
                      <a:pt x="190" y="567"/>
                    </a:lnTo>
                    <a:lnTo>
                      <a:pt x="189" y="567"/>
                    </a:lnTo>
                    <a:lnTo>
                      <a:pt x="188" y="568"/>
                    </a:lnTo>
                    <a:lnTo>
                      <a:pt x="187" y="569"/>
                    </a:lnTo>
                    <a:lnTo>
                      <a:pt x="185" y="570"/>
                    </a:lnTo>
                    <a:lnTo>
                      <a:pt x="184" y="571"/>
                    </a:lnTo>
                    <a:lnTo>
                      <a:pt x="183" y="571"/>
                    </a:lnTo>
                    <a:lnTo>
                      <a:pt x="181" y="572"/>
                    </a:lnTo>
                    <a:lnTo>
                      <a:pt x="179" y="573"/>
                    </a:lnTo>
                    <a:lnTo>
                      <a:pt x="179" y="575"/>
                    </a:lnTo>
                    <a:lnTo>
                      <a:pt x="178" y="575"/>
                    </a:lnTo>
                    <a:lnTo>
                      <a:pt x="178" y="576"/>
                    </a:lnTo>
                    <a:lnTo>
                      <a:pt x="176" y="577"/>
                    </a:lnTo>
                    <a:lnTo>
                      <a:pt x="175" y="577"/>
                    </a:lnTo>
                    <a:lnTo>
                      <a:pt x="174" y="578"/>
                    </a:lnTo>
                    <a:lnTo>
                      <a:pt x="173" y="579"/>
                    </a:lnTo>
                    <a:lnTo>
                      <a:pt x="171" y="580"/>
                    </a:lnTo>
                    <a:lnTo>
                      <a:pt x="168" y="581"/>
                    </a:lnTo>
                    <a:lnTo>
                      <a:pt x="165" y="583"/>
                    </a:lnTo>
                    <a:lnTo>
                      <a:pt x="160" y="588"/>
                    </a:lnTo>
                    <a:lnTo>
                      <a:pt x="155" y="591"/>
                    </a:lnTo>
                    <a:lnTo>
                      <a:pt x="152" y="593"/>
                    </a:lnTo>
                    <a:lnTo>
                      <a:pt x="151" y="595"/>
                    </a:lnTo>
                    <a:lnTo>
                      <a:pt x="147" y="599"/>
                    </a:lnTo>
                    <a:lnTo>
                      <a:pt x="146" y="599"/>
                    </a:lnTo>
                    <a:lnTo>
                      <a:pt x="146" y="598"/>
                    </a:lnTo>
                    <a:lnTo>
                      <a:pt x="145" y="598"/>
                    </a:lnTo>
                    <a:lnTo>
                      <a:pt x="145" y="597"/>
                    </a:lnTo>
                    <a:lnTo>
                      <a:pt x="146" y="596"/>
                    </a:lnTo>
                    <a:lnTo>
                      <a:pt x="147" y="596"/>
                    </a:lnTo>
                    <a:lnTo>
                      <a:pt x="148" y="595"/>
                    </a:lnTo>
                    <a:lnTo>
                      <a:pt x="149" y="595"/>
                    </a:lnTo>
                    <a:lnTo>
                      <a:pt x="149" y="594"/>
                    </a:lnTo>
                    <a:lnTo>
                      <a:pt x="149" y="593"/>
                    </a:lnTo>
                    <a:lnTo>
                      <a:pt x="150" y="594"/>
                    </a:lnTo>
                    <a:lnTo>
                      <a:pt x="150" y="593"/>
                    </a:lnTo>
                    <a:lnTo>
                      <a:pt x="151" y="593"/>
                    </a:lnTo>
                    <a:lnTo>
                      <a:pt x="150" y="593"/>
                    </a:lnTo>
                    <a:lnTo>
                      <a:pt x="150" y="592"/>
                    </a:lnTo>
                    <a:lnTo>
                      <a:pt x="151" y="593"/>
                    </a:lnTo>
                    <a:lnTo>
                      <a:pt x="150" y="592"/>
                    </a:lnTo>
                    <a:lnTo>
                      <a:pt x="151" y="593"/>
                    </a:lnTo>
                    <a:lnTo>
                      <a:pt x="151" y="592"/>
                    </a:lnTo>
                    <a:lnTo>
                      <a:pt x="150" y="592"/>
                    </a:lnTo>
                    <a:lnTo>
                      <a:pt x="151" y="592"/>
                    </a:lnTo>
                    <a:lnTo>
                      <a:pt x="151" y="591"/>
                    </a:lnTo>
                    <a:lnTo>
                      <a:pt x="152" y="591"/>
                    </a:lnTo>
                    <a:lnTo>
                      <a:pt x="152" y="590"/>
                    </a:lnTo>
                    <a:lnTo>
                      <a:pt x="152" y="591"/>
                    </a:lnTo>
                    <a:lnTo>
                      <a:pt x="153" y="590"/>
                    </a:lnTo>
                    <a:lnTo>
                      <a:pt x="154" y="589"/>
                    </a:lnTo>
                    <a:lnTo>
                      <a:pt x="153" y="589"/>
                    </a:lnTo>
                    <a:lnTo>
                      <a:pt x="154" y="589"/>
                    </a:lnTo>
                    <a:lnTo>
                      <a:pt x="154" y="588"/>
                    </a:lnTo>
                    <a:lnTo>
                      <a:pt x="155" y="588"/>
                    </a:lnTo>
                    <a:lnTo>
                      <a:pt x="155" y="586"/>
                    </a:lnTo>
                    <a:lnTo>
                      <a:pt x="157" y="586"/>
                    </a:lnTo>
                    <a:lnTo>
                      <a:pt x="155" y="586"/>
                    </a:lnTo>
                    <a:lnTo>
                      <a:pt x="157" y="586"/>
                    </a:lnTo>
                    <a:lnTo>
                      <a:pt x="157" y="585"/>
                    </a:lnTo>
                    <a:lnTo>
                      <a:pt x="158" y="585"/>
                    </a:lnTo>
                    <a:lnTo>
                      <a:pt x="158" y="584"/>
                    </a:lnTo>
                    <a:lnTo>
                      <a:pt x="159" y="584"/>
                    </a:lnTo>
                    <a:lnTo>
                      <a:pt x="159" y="583"/>
                    </a:lnTo>
                    <a:lnTo>
                      <a:pt x="159" y="582"/>
                    </a:lnTo>
                    <a:lnTo>
                      <a:pt x="160" y="582"/>
                    </a:lnTo>
                    <a:lnTo>
                      <a:pt x="159" y="582"/>
                    </a:lnTo>
                    <a:lnTo>
                      <a:pt x="159" y="581"/>
                    </a:lnTo>
                    <a:lnTo>
                      <a:pt x="160" y="582"/>
                    </a:lnTo>
                    <a:lnTo>
                      <a:pt x="159" y="582"/>
                    </a:lnTo>
                    <a:lnTo>
                      <a:pt x="160" y="582"/>
                    </a:lnTo>
                    <a:lnTo>
                      <a:pt x="160" y="581"/>
                    </a:lnTo>
                    <a:lnTo>
                      <a:pt x="160" y="582"/>
                    </a:lnTo>
                    <a:lnTo>
                      <a:pt x="160" y="581"/>
                    </a:lnTo>
                    <a:lnTo>
                      <a:pt x="160" y="580"/>
                    </a:lnTo>
                    <a:lnTo>
                      <a:pt x="160" y="581"/>
                    </a:lnTo>
                    <a:lnTo>
                      <a:pt x="161" y="580"/>
                    </a:lnTo>
                    <a:lnTo>
                      <a:pt x="162" y="580"/>
                    </a:lnTo>
                    <a:lnTo>
                      <a:pt x="162" y="579"/>
                    </a:lnTo>
                    <a:lnTo>
                      <a:pt x="161" y="579"/>
                    </a:lnTo>
                    <a:lnTo>
                      <a:pt x="162" y="579"/>
                    </a:lnTo>
                    <a:lnTo>
                      <a:pt x="161" y="579"/>
                    </a:lnTo>
                    <a:lnTo>
                      <a:pt x="162" y="579"/>
                    </a:lnTo>
                    <a:lnTo>
                      <a:pt x="163" y="580"/>
                    </a:lnTo>
                    <a:lnTo>
                      <a:pt x="162" y="579"/>
                    </a:lnTo>
                    <a:lnTo>
                      <a:pt x="162" y="578"/>
                    </a:lnTo>
                    <a:lnTo>
                      <a:pt x="162" y="577"/>
                    </a:lnTo>
                    <a:lnTo>
                      <a:pt x="162" y="578"/>
                    </a:lnTo>
                    <a:lnTo>
                      <a:pt x="163" y="577"/>
                    </a:lnTo>
                    <a:lnTo>
                      <a:pt x="164" y="577"/>
                    </a:lnTo>
                    <a:lnTo>
                      <a:pt x="164" y="578"/>
                    </a:lnTo>
                    <a:lnTo>
                      <a:pt x="164" y="579"/>
                    </a:lnTo>
                    <a:lnTo>
                      <a:pt x="164" y="578"/>
                    </a:lnTo>
                    <a:lnTo>
                      <a:pt x="164" y="577"/>
                    </a:lnTo>
                    <a:lnTo>
                      <a:pt x="165" y="577"/>
                    </a:lnTo>
                    <a:lnTo>
                      <a:pt x="164" y="577"/>
                    </a:lnTo>
                    <a:lnTo>
                      <a:pt x="165" y="577"/>
                    </a:lnTo>
                    <a:lnTo>
                      <a:pt x="165" y="576"/>
                    </a:lnTo>
                    <a:lnTo>
                      <a:pt x="166" y="576"/>
                    </a:lnTo>
                    <a:lnTo>
                      <a:pt x="167" y="576"/>
                    </a:lnTo>
                    <a:lnTo>
                      <a:pt x="167" y="575"/>
                    </a:lnTo>
                    <a:lnTo>
                      <a:pt x="168" y="575"/>
                    </a:lnTo>
                    <a:lnTo>
                      <a:pt x="168" y="576"/>
                    </a:lnTo>
                    <a:lnTo>
                      <a:pt x="170" y="576"/>
                    </a:lnTo>
                    <a:lnTo>
                      <a:pt x="168" y="576"/>
                    </a:lnTo>
                    <a:lnTo>
                      <a:pt x="168" y="575"/>
                    </a:lnTo>
                    <a:lnTo>
                      <a:pt x="168" y="576"/>
                    </a:lnTo>
                    <a:lnTo>
                      <a:pt x="168" y="575"/>
                    </a:lnTo>
                    <a:lnTo>
                      <a:pt x="170" y="575"/>
                    </a:lnTo>
                    <a:lnTo>
                      <a:pt x="168" y="575"/>
                    </a:lnTo>
                    <a:lnTo>
                      <a:pt x="168" y="573"/>
                    </a:lnTo>
                    <a:lnTo>
                      <a:pt x="168" y="575"/>
                    </a:lnTo>
                    <a:lnTo>
                      <a:pt x="168" y="573"/>
                    </a:lnTo>
                    <a:lnTo>
                      <a:pt x="168" y="572"/>
                    </a:lnTo>
                    <a:lnTo>
                      <a:pt x="170" y="572"/>
                    </a:lnTo>
                    <a:lnTo>
                      <a:pt x="170" y="571"/>
                    </a:lnTo>
                    <a:lnTo>
                      <a:pt x="171" y="571"/>
                    </a:lnTo>
                    <a:lnTo>
                      <a:pt x="172" y="571"/>
                    </a:lnTo>
                    <a:lnTo>
                      <a:pt x="173" y="571"/>
                    </a:lnTo>
                    <a:lnTo>
                      <a:pt x="173" y="570"/>
                    </a:lnTo>
                    <a:lnTo>
                      <a:pt x="173" y="571"/>
                    </a:lnTo>
                    <a:lnTo>
                      <a:pt x="173" y="570"/>
                    </a:lnTo>
                    <a:lnTo>
                      <a:pt x="174" y="571"/>
                    </a:lnTo>
                    <a:lnTo>
                      <a:pt x="174" y="570"/>
                    </a:lnTo>
                    <a:lnTo>
                      <a:pt x="175" y="570"/>
                    </a:lnTo>
                    <a:lnTo>
                      <a:pt x="176" y="570"/>
                    </a:lnTo>
                    <a:lnTo>
                      <a:pt x="176" y="569"/>
                    </a:lnTo>
                    <a:lnTo>
                      <a:pt x="177" y="569"/>
                    </a:lnTo>
                    <a:lnTo>
                      <a:pt x="178" y="569"/>
                    </a:lnTo>
                    <a:lnTo>
                      <a:pt x="177" y="568"/>
                    </a:lnTo>
                    <a:lnTo>
                      <a:pt x="178" y="568"/>
                    </a:lnTo>
                    <a:lnTo>
                      <a:pt x="178" y="569"/>
                    </a:lnTo>
                    <a:lnTo>
                      <a:pt x="178" y="568"/>
                    </a:lnTo>
                    <a:lnTo>
                      <a:pt x="179" y="568"/>
                    </a:lnTo>
                    <a:lnTo>
                      <a:pt x="179" y="567"/>
                    </a:lnTo>
                    <a:lnTo>
                      <a:pt x="180" y="567"/>
                    </a:lnTo>
                    <a:lnTo>
                      <a:pt x="180" y="566"/>
                    </a:lnTo>
                    <a:lnTo>
                      <a:pt x="181" y="566"/>
                    </a:lnTo>
                    <a:lnTo>
                      <a:pt x="183" y="566"/>
                    </a:lnTo>
                    <a:lnTo>
                      <a:pt x="183" y="565"/>
                    </a:lnTo>
                    <a:lnTo>
                      <a:pt x="184" y="565"/>
                    </a:lnTo>
                    <a:lnTo>
                      <a:pt x="184" y="564"/>
                    </a:lnTo>
                    <a:lnTo>
                      <a:pt x="185" y="564"/>
                    </a:lnTo>
                    <a:lnTo>
                      <a:pt x="186" y="563"/>
                    </a:lnTo>
                    <a:lnTo>
                      <a:pt x="186" y="562"/>
                    </a:lnTo>
                    <a:lnTo>
                      <a:pt x="187" y="562"/>
                    </a:lnTo>
                    <a:lnTo>
                      <a:pt x="187" y="563"/>
                    </a:lnTo>
                    <a:lnTo>
                      <a:pt x="187" y="562"/>
                    </a:lnTo>
                    <a:lnTo>
                      <a:pt x="190" y="560"/>
                    </a:lnTo>
                    <a:lnTo>
                      <a:pt x="191" y="562"/>
                    </a:lnTo>
                    <a:lnTo>
                      <a:pt x="192" y="560"/>
                    </a:lnTo>
                    <a:lnTo>
                      <a:pt x="191" y="560"/>
                    </a:lnTo>
                    <a:lnTo>
                      <a:pt x="192" y="558"/>
                    </a:lnTo>
                    <a:lnTo>
                      <a:pt x="193" y="558"/>
                    </a:lnTo>
                    <a:lnTo>
                      <a:pt x="193" y="557"/>
                    </a:lnTo>
                    <a:lnTo>
                      <a:pt x="193" y="558"/>
                    </a:lnTo>
                    <a:lnTo>
                      <a:pt x="193" y="557"/>
                    </a:lnTo>
                    <a:lnTo>
                      <a:pt x="194" y="556"/>
                    </a:lnTo>
                    <a:lnTo>
                      <a:pt x="194" y="555"/>
                    </a:lnTo>
                    <a:lnTo>
                      <a:pt x="196" y="555"/>
                    </a:lnTo>
                    <a:lnTo>
                      <a:pt x="194" y="555"/>
                    </a:lnTo>
                    <a:lnTo>
                      <a:pt x="196" y="555"/>
                    </a:lnTo>
                    <a:lnTo>
                      <a:pt x="197" y="554"/>
                    </a:lnTo>
                    <a:lnTo>
                      <a:pt x="198" y="554"/>
                    </a:lnTo>
                    <a:lnTo>
                      <a:pt x="197" y="554"/>
                    </a:lnTo>
                    <a:lnTo>
                      <a:pt x="198" y="554"/>
                    </a:lnTo>
                    <a:lnTo>
                      <a:pt x="198" y="555"/>
                    </a:lnTo>
                    <a:lnTo>
                      <a:pt x="198" y="556"/>
                    </a:lnTo>
                    <a:lnTo>
                      <a:pt x="198" y="555"/>
                    </a:lnTo>
                    <a:lnTo>
                      <a:pt x="199" y="555"/>
                    </a:lnTo>
                    <a:lnTo>
                      <a:pt x="198" y="556"/>
                    </a:lnTo>
                    <a:lnTo>
                      <a:pt x="199" y="555"/>
                    </a:lnTo>
                    <a:lnTo>
                      <a:pt x="198" y="555"/>
                    </a:lnTo>
                    <a:lnTo>
                      <a:pt x="198" y="554"/>
                    </a:lnTo>
                    <a:lnTo>
                      <a:pt x="199" y="554"/>
                    </a:lnTo>
                    <a:lnTo>
                      <a:pt x="198" y="554"/>
                    </a:lnTo>
                    <a:lnTo>
                      <a:pt x="198" y="553"/>
                    </a:lnTo>
                    <a:lnTo>
                      <a:pt x="198" y="552"/>
                    </a:lnTo>
                    <a:lnTo>
                      <a:pt x="199" y="552"/>
                    </a:lnTo>
                    <a:lnTo>
                      <a:pt x="200" y="552"/>
                    </a:lnTo>
                    <a:lnTo>
                      <a:pt x="200" y="553"/>
                    </a:lnTo>
                    <a:lnTo>
                      <a:pt x="201" y="552"/>
                    </a:lnTo>
                    <a:lnTo>
                      <a:pt x="202" y="553"/>
                    </a:lnTo>
                    <a:lnTo>
                      <a:pt x="202" y="552"/>
                    </a:lnTo>
                    <a:lnTo>
                      <a:pt x="202" y="551"/>
                    </a:lnTo>
                    <a:lnTo>
                      <a:pt x="201" y="551"/>
                    </a:lnTo>
                    <a:lnTo>
                      <a:pt x="200" y="551"/>
                    </a:lnTo>
                    <a:lnTo>
                      <a:pt x="199" y="551"/>
                    </a:lnTo>
                    <a:lnTo>
                      <a:pt x="199" y="550"/>
                    </a:lnTo>
                    <a:lnTo>
                      <a:pt x="200" y="550"/>
                    </a:lnTo>
                    <a:lnTo>
                      <a:pt x="201" y="550"/>
                    </a:lnTo>
                    <a:close/>
                    <a:moveTo>
                      <a:pt x="136" y="405"/>
                    </a:moveTo>
                    <a:lnTo>
                      <a:pt x="137" y="406"/>
                    </a:lnTo>
                    <a:lnTo>
                      <a:pt x="138" y="406"/>
                    </a:lnTo>
                    <a:lnTo>
                      <a:pt x="138" y="408"/>
                    </a:lnTo>
                    <a:lnTo>
                      <a:pt x="138" y="406"/>
                    </a:lnTo>
                    <a:lnTo>
                      <a:pt x="139" y="406"/>
                    </a:lnTo>
                    <a:lnTo>
                      <a:pt x="140" y="408"/>
                    </a:lnTo>
                    <a:lnTo>
                      <a:pt x="141" y="408"/>
                    </a:lnTo>
                    <a:lnTo>
                      <a:pt x="142" y="408"/>
                    </a:lnTo>
                    <a:lnTo>
                      <a:pt x="142" y="406"/>
                    </a:lnTo>
                    <a:lnTo>
                      <a:pt x="144" y="406"/>
                    </a:lnTo>
                    <a:lnTo>
                      <a:pt x="145" y="406"/>
                    </a:lnTo>
                    <a:lnTo>
                      <a:pt x="146" y="406"/>
                    </a:lnTo>
                    <a:lnTo>
                      <a:pt x="147" y="406"/>
                    </a:lnTo>
                    <a:lnTo>
                      <a:pt x="148" y="406"/>
                    </a:lnTo>
                    <a:lnTo>
                      <a:pt x="149" y="405"/>
                    </a:lnTo>
                    <a:lnTo>
                      <a:pt x="149" y="406"/>
                    </a:lnTo>
                    <a:lnTo>
                      <a:pt x="150" y="406"/>
                    </a:lnTo>
                    <a:lnTo>
                      <a:pt x="150" y="408"/>
                    </a:lnTo>
                    <a:lnTo>
                      <a:pt x="151" y="408"/>
                    </a:lnTo>
                    <a:lnTo>
                      <a:pt x="152" y="408"/>
                    </a:lnTo>
                    <a:lnTo>
                      <a:pt x="152" y="409"/>
                    </a:lnTo>
                    <a:lnTo>
                      <a:pt x="154" y="410"/>
                    </a:lnTo>
                    <a:lnTo>
                      <a:pt x="155" y="410"/>
                    </a:lnTo>
                    <a:lnTo>
                      <a:pt x="157" y="409"/>
                    </a:lnTo>
                    <a:lnTo>
                      <a:pt x="155" y="409"/>
                    </a:lnTo>
                    <a:lnTo>
                      <a:pt x="157" y="409"/>
                    </a:lnTo>
                    <a:lnTo>
                      <a:pt x="157" y="408"/>
                    </a:lnTo>
                    <a:lnTo>
                      <a:pt x="158" y="408"/>
                    </a:lnTo>
                    <a:lnTo>
                      <a:pt x="158" y="409"/>
                    </a:lnTo>
                    <a:lnTo>
                      <a:pt x="157" y="409"/>
                    </a:lnTo>
                    <a:lnTo>
                      <a:pt x="158" y="409"/>
                    </a:lnTo>
                    <a:lnTo>
                      <a:pt x="158" y="410"/>
                    </a:lnTo>
                    <a:lnTo>
                      <a:pt x="158" y="411"/>
                    </a:lnTo>
                    <a:lnTo>
                      <a:pt x="158" y="412"/>
                    </a:lnTo>
                    <a:lnTo>
                      <a:pt x="157" y="412"/>
                    </a:lnTo>
                    <a:lnTo>
                      <a:pt x="158" y="412"/>
                    </a:lnTo>
                    <a:lnTo>
                      <a:pt x="158" y="413"/>
                    </a:lnTo>
                    <a:lnTo>
                      <a:pt x="159" y="413"/>
                    </a:lnTo>
                    <a:lnTo>
                      <a:pt x="160" y="414"/>
                    </a:lnTo>
                    <a:lnTo>
                      <a:pt x="161" y="414"/>
                    </a:lnTo>
                    <a:lnTo>
                      <a:pt x="161" y="415"/>
                    </a:lnTo>
                    <a:lnTo>
                      <a:pt x="162" y="415"/>
                    </a:lnTo>
                    <a:lnTo>
                      <a:pt x="162" y="416"/>
                    </a:lnTo>
                    <a:lnTo>
                      <a:pt x="162" y="417"/>
                    </a:lnTo>
                    <a:lnTo>
                      <a:pt x="163" y="418"/>
                    </a:lnTo>
                    <a:lnTo>
                      <a:pt x="163" y="419"/>
                    </a:lnTo>
                    <a:lnTo>
                      <a:pt x="163" y="421"/>
                    </a:lnTo>
                    <a:lnTo>
                      <a:pt x="164" y="421"/>
                    </a:lnTo>
                    <a:lnTo>
                      <a:pt x="164" y="422"/>
                    </a:lnTo>
                    <a:lnTo>
                      <a:pt x="164" y="423"/>
                    </a:lnTo>
                    <a:lnTo>
                      <a:pt x="165" y="423"/>
                    </a:lnTo>
                    <a:lnTo>
                      <a:pt x="166" y="423"/>
                    </a:lnTo>
                    <a:lnTo>
                      <a:pt x="166" y="422"/>
                    </a:lnTo>
                    <a:lnTo>
                      <a:pt x="166" y="421"/>
                    </a:lnTo>
                    <a:lnTo>
                      <a:pt x="165" y="419"/>
                    </a:lnTo>
                    <a:lnTo>
                      <a:pt x="167" y="419"/>
                    </a:lnTo>
                    <a:lnTo>
                      <a:pt x="168" y="419"/>
                    </a:lnTo>
                    <a:lnTo>
                      <a:pt x="170" y="418"/>
                    </a:lnTo>
                    <a:lnTo>
                      <a:pt x="171" y="417"/>
                    </a:lnTo>
                    <a:lnTo>
                      <a:pt x="172" y="417"/>
                    </a:lnTo>
                    <a:lnTo>
                      <a:pt x="172" y="416"/>
                    </a:lnTo>
                    <a:lnTo>
                      <a:pt x="172" y="415"/>
                    </a:lnTo>
                    <a:lnTo>
                      <a:pt x="173" y="416"/>
                    </a:lnTo>
                    <a:lnTo>
                      <a:pt x="173" y="417"/>
                    </a:lnTo>
                    <a:lnTo>
                      <a:pt x="172" y="418"/>
                    </a:lnTo>
                    <a:lnTo>
                      <a:pt x="172" y="419"/>
                    </a:lnTo>
                    <a:lnTo>
                      <a:pt x="171" y="421"/>
                    </a:lnTo>
                    <a:lnTo>
                      <a:pt x="170" y="422"/>
                    </a:lnTo>
                    <a:lnTo>
                      <a:pt x="170" y="423"/>
                    </a:lnTo>
                    <a:lnTo>
                      <a:pt x="170" y="424"/>
                    </a:lnTo>
                    <a:lnTo>
                      <a:pt x="171" y="424"/>
                    </a:lnTo>
                    <a:lnTo>
                      <a:pt x="171" y="425"/>
                    </a:lnTo>
                    <a:lnTo>
                      <a:pt x="171" y="426"/>
                    </a:lnTo>
                    <a:lnTo>
                      <a:pt x="172" y="428"/>
                    </a:lnTo>
                    <a:lnTo>
                      <a:pt x="171" y="428"/>
                    </a:lnTo>
                    <a:lnTo>
                      <a:pt x="171" y="429"/>
                    </a:lnTo>
                    <a:lnTo>
                      <a:pt x="172" y="429"/>
                    </a:lnTo>
                    <a:lnTo>
                      <a:pt x="172" y="430"/>
                    </a:lnTo>
                    <a:lnTo>
                      <a:pt x="173" y="431"/>
                    </a:lnTo>
                    <a:lnTo>
                      <a:pt x="174" y="431"/>
                    </a:lnTo>
                    <a:lnTo>
                      <a:pt x="174" y="430"/>
                    </a:lnTo>
                    <a:lnTo>
                      <a:pt x="174" y="429"/>
                    </a:lnTo>
                    <a:lnTo>
                      <a:pt x="173" y="429"/>
                    </a:lnTo>
                    <a:lnTo>
                      <a:pt x="173" y="428"/>
                    </a:lnTo>
                    <a:lnTo>
                      <a:pt x="174" y="427"/>
                    </a:lnTo>
                    <a:lnTo>
                      <a:pt x="173" y="425"/>
                    </a:lnTo>
                    <a:lnTo>
                      <a:pt x="173" y="424"/>
                    </a:lnTo>
                    <a:lnTo>
                      <a:pt x="172" y="423"/>
                    </a:lnTo>
                    <a:lnTo>
                      <a:pt x="171" y="422"/>
                    </a:lnTo>
                    <a:lnTo>
                      <a:pt x="172" y="422"/>
                    </a:lnTo>
                    <a:lnTo>
                      <a:pt x="173" y="422"/>
                    </a:lnTo>
                    <a:lnTo>
                      <a:pt x="173" y="419"/>
                    </a:lnTo>
                    <a:lnTo>
                      <a:pt x="173" y="421"/>
                    </a:lnTo>
                    <a:lnTo>
                      <a:pt x="173" y="422"/>
                    </a:lnTo>
                    <a:lnTo>
                      <a:pt x="173" y="423"/>
                    </a:lnTo>
                    <a:lnTo>
                      <a:pt x="174" y="426"/>
                    </a:lnTo>
                    <a:lnTo>
                      <a:pt x="174" y="427"/>
                    </a:lnTo>
                    <a:lnTo>
                      <a:pt x="174" y="428"/>
                    </a:lnTo>
                    <a:lnTo>
                      <a:pt x="175" y="429"/>
                    </a:lnTo>
                    <a:lnTo>
                      <a:pt x="175" y="430"/>
                    </a:lnTo>
                    <a:lnTo>
                      <a:pt x="175" y="431"/>
                    </a:lnTo>
                    <a:lnTo>
                      <a:pt x="175" y="434"/>
                    </a:lnTo>
                    <a:lnTo>
                      <a:pt x="175" y="435"/>
                    </a:lnTo>
                    <a:lnTo>
                      <a:pt x="175" y="436"/>
                    </a:lnTo>
                    <a:lnTo>
                      <a:pt x="175" y="437"/>
                    </a:lnTo>
                    <a:lnTo>
                      <a:pt x="176" y="439"/>
                    </a:lnTo>
                    <a:lnTo>
                      <a:pt x="176" y="440"/>
                    </a:lnTo>
                    <a:lnTo>
                      <a:pt x="176" y="441"/>
                    </a:lnTo>
                    <a:lnTo>
                      <a:pt x="175" y="441"/>
                    </a:lnTo>
                    <a:lnTo>
                      <a:pt x="175" y="440"/>
                    </a:lnTo>
                    <a:lnTo>
                      <a:pt x="174" y="440"/>
                    </a:lnTo>
                    <a:lnTo>
                      <a:pt x="174" y="441"/>
                    </a:lnTo>
                    <a:lnTo>
                      <a:pt x="173" y="441"/>
                    </a:lnTo>
                    <a:lnTo>
                      <a:pt x="173" y="442"/>
                    </a:lnTo>
                    <a:lnTo>
                      <a:pt x="173" y="443"/>
                    </a:lnTo>
                    <a:lnTo>
                      <a:pt x="172" y="444"/>
                    </a:lnTo>
                    <a:lnTo>
                      <a:pt x="172" y="443"/>
                    </a:lnTo>
                    <a:lnTo>
                      <a:pt x="171" y="443"/>
                    </a:lnTo>
                    <a:lnTo>
                      <a:pt x="171" y="442"/>
                    </a:lnTo>
                    <a:lnTo>
                      <a:pt x="171" y="441"/>
                    </a:lnTo>
                    <a:lnTo>
                      <a:pt x="172" y="441"/>
                    </a:lnTo>
                    <a:lnTo>
                      <a:pt x="173" y="441"/>
                    </a:lnTo>
                    <a:lnTo>
                      <a:pt x="173" y="440"/>
                    </a:lnTo>
                    <a:lnTo>
                      <a:pt x="174" y="440"/>
                    </a:lnTo>
                    <a:lnTo>
                      <a:pt x="174" y="439"/>
                    </a:lnTo>
                    <a:lnTo>
                      <a:pt x="174" y="440"/>
                    </a:lnTo>
                    <a:lnTo>
                      <a:pt x="173" y="440"/>
                    </a:lnTo>
                    <a:lnTo>
                      <a:pt x="173" y="439"/>
                    </a:lnTo>
                    <a:lnTo>
                      <a:pt x="173" y="440"/>
                    </a:lnTo>
                    <a:lnTo>
                      <a:pt x="172" y="440"/>
                    </a:lnTo>
                    <a:lnTo>
                      <a:pt x="172" y="439"/>
                    </a:lnTo>
                    <a:lnTo>
                      <a:pt x="172" y="438"/>
                    </a:lnTo>
                    <a:lnTo>
                      <a:pt x="173" y="438"/>
                    </a:lnTo>
                    <a:lnTo>
                      <a:pt x="174" y="438"/>
                    </a:lnTo>
                    <a:lnTo>
                      <a:pt x="175" y="438"/>
                    </a:lnTo>
                    <a:lnTo>
                      <a:pt x="175" y="437"/>
                    </a:lnTo>
                    <a:lnTo>
                      <a:pt x="175" y="435"/>
                    </a:lnTo>
                    <a:lnTo>
                      <a:pt x="174" y="434"/>
                    </a:lnTo>
                    <a:lnTo>
                      <a:pt x="174" y="432"/>
                    </a:lnTo>
                    <a:lnTo>
                      <a:pt x="173" y="432"/>
                    </a:lnTo>
                    <a:lnTo>
                      <a:pt x="172" y="434"/>
                    </a:lnTo>
                    <a:lnTo>
                      <a:pt x="172" y="435"/>
                    </a:lnTo>
                    <a:lnTo>
                      <a:pt x="171" y="435"/>
                    </a:lnTo>
                    <a:lnTo>
                      <a:pt x="171" y="436"/>
                    </a:lnTo>
                    <a:lnTo>
                      <a:pt x="172" y="436"/>
                    </a:lnTo>
                    <a:lnTo>
                      <a:pt x="172" y="437"/>
                    </a:lnTo>
                    <a:lnTo>
                      <a:pt x="171" y="437"/>
                    </a:lnTo>
                    <a:lnTo>
                      <a:pt x="170" y="437"/>
                    </a:lnTo>
                    <a:lnTo>
                      <a:pt x="170" y="436"/>
                    </a:lnTo>
                    <a:lnTo>
                      <a:pt x="170" y="435"/>
                    </a:lnTo>
                    <a:lnTo>
                      <a:pt x="170" y="434"/>
                    </a:lnTo>
                    <a:lnTo>
                      <a:pt x="170" y="435"/>
                    </a:lnTo>
                    <a:lnTo>
                      <a:pt x="170" y="436"/>
                    </a:lnTo>
                    <a:lnTo>
                      <a:pt x="168" y="435"/>
                    </a:lnTo>
                    <a:lnTo>
                      <a:pt x="168" y="436"/>
                    </a:lnTo>
                    <a:lnTo>
                      <a:pt x="168" y="435"/>
                    </a:lnTo>
                    <a:lnTo>
                      <a:pt x="167" y="435"/>
                    </a:lnTo>
                    <a:lnTo>
                      <a:pt x="167" y="434"/>
                    </a:lnTo>
                    <a:lnTo>
                      <a:pt x="168" y="434"/>
                    </a:lnTo>
                    <a:lnTo>
                      <a:pt x="168" y="435"/>
                    </a:lnTo>
                    <a:lnTo>
                      <a:pt x="168" y="434"/>
                    </a:lnTo>
                    <a:lnTo>
                      <a:pt x="170" y="434"/>
                    </a:lnTo>
                    <a:lnTo>
                      <a:pt x="171" y="432"/>
                    </a:lnTo>
                    <a:lnTo>
                      <a:pt x="171" y="434"/>
                    </a:lnTo>
                    <a:lnTo>
                      <a:pt x="172" y="434"/>
                    </a:lnTo>
                    <a:lnTo>
                      <a:pt x="171" y="434"/>
                    </a:lnTo>
                    <a:lnTo>
                      <a:pt x="172" y="432"/>
                    </a:lnTo>
                    <a:lnTo>
                      <a:pt x="173" y="432"/>
                    </a:lnTo>
                    <a:lnTo>
                      <a:pt x="172" y="432"/>
                    </a:lnTo>
                    <a:lnTo>
                      <a:pt x="172" y="431"/>
                    </a:lnTo>
                    <a:lnTo>
                      <a:pt x="172" y="432"/>
                    </a:lnTo>
                    <a:lnTo>
                      <a:pt x="171" y="432"/>
                    </a:lnTo>
                    <a:lnTo>
                      <a:pt x="171" y="431"/>
                    </a:lnTo>
                    <a:lnTo>
                      <a:pt x="170" y="431"/>
                    </a:lnTo>
                    <a:lnTo>
                      <a:pt x="171" y="431"/>
                    </a:lnTo>
                    <a:lnTo>
                      <a:pt x="172" y="431"/>
                    </a:lnTo>
                    <a:lnTo>
                      <a:pt x="172" y="430"/>
                    </a:lnTo>
                    <a:lnTo>
                      <a:pt x="171" y="430"/>
                    </a:lnTo>
                    <a:lnTo>
                      <a:pt x="170" y="430"/>
                    </a:lnTo>
                    <a:lnTo>
                      <a:pt x="168" y="430"/>
                    </a:lnTo>
                    <a:lnTo>
                      <a:pt x="170" y="430"/>
                    </a:lnTo>
                    <a:lnTo>
                      <a:pt x="170" y="429"/>
                    </a:lnTo>
                    <a:lnTo>
                      <a:pt x="171" y="429"/>
                    </a:lnTo>
                    <a:lnTo>
                      <a:pt x="171" y="430"/>
                    </a:lnTo>
                    <a:lnTo>
                      <a:pt x="171" y="429"/>
                    </a:lnTo>
                    <a:lnTo>
                      <a:pt x="171" y="428"/>
                    </a:lnTo>
                    <a:lnTo>
                      <a:pt x="171" y="427"/>
                    </a:lnTo>
                    <a:lnTo>
                      <a:pt x="170" y="427"/>
                    </a:lnTo>
                    <a:lnTo>
                      <a:pt x="171" y="427"/>
                    </a:lnTo>
                    <a:lnTo>
                      <a:pt x="171" y="428"/>
                    </a:lnTo>
                    <a:lnTo>
                      <a:pt x="170" y="428"/>
                    </a:lnTo>
                    <a:lnTo>
                      <a:pt x="168" y="429"/>
                    </a:lnTo>
                    <a:lnTo>
                      <a:pt x="167" y="429"/>
                    </a:lnTo>
                    <a:lnTo>
                      <a:pt x="167" y="428"/>
                    </a:lnTo>
                    <a:lnTo>
                      <a:pt x="168" y="428"/>
                    </a:lnTo>
                    <a:lnTo>
                      <a:pt x="170" y="428"/>
                    </a:lnTo>
                    <a:lnTo>
                      <a:pt x="168" y="427"/>
                    </a:lnTo>
                    <a:lnTo>
                      <a:pt x="168" y="428"/>
                    </a:lnTo>
                    <a:lnTo>
                      <a:pt x="167" y="427"/>
                    </a:lnTo>
                    <a:lnTo>
                      <a:pt x="166" y="427"/>
                    </a:lnTo>
                    <a:lnTo>
                      <a:pt x="166" y="426"/>
                    </a:lnTo>
                    <a:lnTo>
                      <a:pt x="166" y="427"/>
                    </a:lnTo>
                    <a:lnTo>
                      <a:pt x="165" y="427"/>
                    </a:lnTo>
                    <a:lnTo>
                      <a:pt x="164" y="427"/>
                    </a:lnTo>
                    <a:lnTo>
                      <a:pt x="165" y="428"/>
                    </a:lnTo>
                    <a:lnTo>
                      <a:pt x="164" y="428"/>
                    </a:lnTo>
                    <a:lnTo>
                      <a:pt x="164" y="429"/>
                    </a:lnTo>
                    <a:lnTo>
                      <a:pt x="164" y="428"/>
                    </a:lnTo>
                    <a:lnTo>
                      <a:pt x="163" y="428"/>
                    </a:lnTo>
                    <a:lnTo>
                      <a:pt x="162" y="427"/>
                    </a:lnTo>
                    <a:lnTo>
                      <a:pt x="162" y="428"/>
                    </a:lnTo>
                    <a:lnTo>
                      <a:pt x="161" y="428"/>
                    </a:lnTo>
                    <a:lnTo>
                      <a:pt x="161" y="427"/>
                    </a:lnTo>
                    <a:lnTo>
                      <a:pt x="160" y="427"/>
                    </a:lnTo>
                    <a:lnTo>
                      <a:pt x="160" y="428"/>
                    </a:lnTo>
                    <a:lnTo>
                      <a:pt x="159" y="428"/>
                    </a:lnTo>
                    <a:lnTo>
                      <a:pt x="159" y="427"/>
                    </a:lnTo>
                    <a:lnTo>
                      <a:pt x="160" y="427"/>
                    </a:lnTo>
                    <a:lnTo>
                      <a:pt x="161" y="427"/>
                    </a:lnTo>
                    <a:lnTo>
                      <a:pt x="162" y="427"/>
                    </a:lnTo>
                    <a:lnTo>
                      <a:pt x="162" y="426"/>
                    </a:lnTo>
                    <a:lnTo>
                      <a:pt x="162" y="427"/>
                    </a:lnTo>
                    <a:lnTo>
                      <a:pt x="163" y="427"/>
                    </a:lnTo>
                    <a:lnTo>
                      <a:pt x="163" y="426"/>
                    </a:lnTo>
                    <a:lnTo>
                      <a:pt x="162" y="426"/>
                    </a:lnTo>
                    <a:lnTo>
                      <a:pt x="162" y="425"/>
                    </a:lnTo>
                    <a:lnTo>
                      <a:pt x="162" y="426"/>
                    </a:lnTo>
                    <a:lnTo>
                      <a:pt x="162" y="425"/>
                    </a:lnTo>
                    <a:lnTo>
                      <a:pt x="162" y="424"/>
                    </a:lnTo>
                    <a:lnTo>
                      <a:pt x="160" y="422"/>
                    </a:lnTo>
                    <a:lnTo>
                      <a:pt x="160" y="421"/>
                    </a:lnTo>
                    <a:lnTo>
                      <a:pt x="160" y="419"/>
                    </a:lnTo>
                    <a:lnTo>
                      <a:pt x="160" y="418"/>
                    </a:lnTo>
                    <a:lnTo>
                      <a:pt x="160" y="417"/>
                    </a:lnTo>
                    <a:lnTo>
                      <a:pt x="159" y="417"/>
                    </a:lnTo>
                    <a:lnTo>
                      <a:pt x="158" y="415"/>
                    </a:lnTo>
                    <a:lnTo>
                      <a:pt x="155" y="414"/>
                    </a:lnTo>
                    <a:lnTo>
                      <a:pt x="154" y="413"/>
                    </a:lnTo>
                    <a:lnTo>
                      <a:pt x="153" y="413"/>
                    </a:lnTo>
                    <a:lnTo>
                      <a:pt x="152" y="413"/>
                    </a:lnTo>
                    <a:lnTo>
                      <a:pt x="151" y="412"/>
                    </a:lnTo>
                    <a:lnTo>
                      <a:pt x="150" y="412"/>
                    </a:lnTo>
                    <a:lnTo>
                      <a:pt x="150" y="413"/>
                    </a:lnTo>
                    <a:lnTo>
                      <a:pt x="150" y="412"/>
                    </a:lnTo>
                    <a:lnTo>
                      <a:pt x="150" y="413"/>
                    </a:lnTo>
                    <a:lnTo>
                      <a:pt x="149" y="413"/>
                    </a:lnTo>
                    <a:lnTo>
                      <a:pt x="149" y="412"/>
                    </a:lnTo>
                    <a:lnTo>
                      <a:pt x="148" y="412"/>
                    </a:lnTo>
                    <a:lnTo>
                      <a:pt x="149" y="412"/>
                    </a:lnTo>
                    <a:lnTo>
                      <a:pt x="149" y="413"/>
                    </a:lnTo>
                    <a:lnTo>
                      <a:pt x="149" y="412"/>
                    </a:lnTo>
                    <a:lnTo>
                      <a:pt x="148" y="412"/>
                    </a:lnTo>
                    <a:lnTo>
                      <a:pt x="147" y="412"/>
                    </a:lnTo>
                    <a:lnTo>
                      <a:pt x="146" y="412"/>
                    </a:lnTo>
                    <a:lnTo>
                      <a:pt x="145" y="412"/>
                    </a:lnTo>
                    <a:lnTo>
                      <a:pt x="145" y="413"/>
                    </a:lnTo>
                    <a:lnTo>
                      <a:pt x="144" y="413"/>
                    </a:lnTo>
                    <a:lnTo>
                      <a:pt x="144" y="414"/>
                    </a:lnTo>
                    <a:lnTo>
                      <a:pt x="142" y="414"/>
                    </a:lnTo>
                    <a:lnTo>
                      <a:pt x="141" y="414"/>
                    </a:lnTo>
                    <a:lnTo>
                      <a:pt x="140" y="414"/>
                    </a:lnTo>
                    <a:lnTo>
                      <a:pt x="139" y="414"/>
                    </a:lnTo>
                    <a:lnTo>
                      <a:pt x="138" y="414"/>
                    </a:lnTo>
                    <a:lnTo>
                      <a:pt x="137" y="414"/>
                    </a:lnTo>
                    <a:lnTo>
                      <a:pt x="137" y="413"/>
                    </a:lnTo>
                    <a:lnTo>
                      <a:pt x="137" y="412"/>
                    </a:lnTo>
                    <a:lnTo>
                      <a:pt x="136" y="412"/>
                    </a:lnTo>
                    <a:lnTo>
                      <a:pt x="136" y="411"/>
                    </a:lnTo>
                    <a:lnTo>
                      <a:pt x="135" y="411"/>
                    </a:lnTo>
                    <a:lnTo>
                      <a:pt x="134" y="411"/>
                    </a:lnTo>
                    <a:lnTo>
                      <a:pt x="134" y="410"/>
                    </a:lnTo>
                    <a:lnTo>
                      <a:pt x="134" y="409"/>
                    </a:lnTo>
                    <a:lnTo>
                      <a:pt x="134" y="410"/>
                    </a:lnTo>
                    <a:lnTo>
                      <a:pt x="133" y="410"/>
                    </a:lnTo>
                    <a:lnTo>
                      <a:pt x="133" y="409"/>
                    </a:lnTo>
                    <a:lnTo>
                      <a:pt x="133" y="408"/>
                    </a:lnTo>
                    <a:lnTo>
                      <a:pt x="133" y="406"/>
                    </a:lnTo>
                    <a:lnTo>
                      <a:pt x="134" y="406"/>
                    </a:lnTo>
                    <a:lnTo>
                      <a:pt x="135" y="406"/>
                    </a:lnTo>
                    <a:lnTo>
                      <a:pt x="134" y="406"/>
                    </a:lnTo>
                    <a:lnTo>
                      <a:pt x="135" y="406"/>
                    </a:lnTo>
                    <a:lnTo>
                      <a:pt x="135" y="405"/>
                    </a:lnTo>
                    <a:lnTo>
                      <a:pt x="136" y="405"/>
                    </a:lnTo>
                    <a:close/>
                    <a:moveTo>
                      <a:pt x="87" y="279"/>
                    </a:moveTo>
                    <a:lnTo>
                      <a:pt x="87" y="280"/>
                    </a:lnTo>
                    <a:lnTo>
                      <a:pt x="88" y="280"/>
                    </a:lnTo>
                    <a:lnTo>
                      <a:pt x="89" y="280"/>
                    </a:lnTo>
                    <a:lnTo>
                      <a:pt x="90" y="281"/>
                    </a:lnTo>
                    <a:lnTo>
                      <a:pt x="90" y="282"/>
                    </a:lnTo>
                    <a:lnTo>
                      <a:pt x="91" y="282"/>
                    </a:lnTo>
                    <a:lnTo>
                      <a:pt x="91" y="283"/>
                    </a:lnTo>
                    <a:lnTo>
                      <a:pt x="93" y="283"/>
                    </a:lnTo>
                    <a:lnTo>
                      <a:pt x="93" y="284"/>
                    </a:lnTo>
                    <a:lnTo>
                      <a:pt x="91" y="284"/>
                    </a:lnTo>
                    <a:lnTo>
                      <a:pt x="91" y="285"/>
                    </a:lnTo>
                    <a:lnTo>
                      <a:pt x="91" y="286"/>
                    </a:lnTo>
                    <a:lnTo>
                      <a:pt x="91" y="287"/>
                    </a:lnTo>
                    <a:lnTo>
                      <a:pt x="90" y="287"/>
                    </a:lnTo>
                    <a:lnTo>
                      <a:pt x="90" y="288"/>
                    </a:lnTo>
                    <a:lnTo>
                      <a:pt x="90" y="289"/>
                    </a:lnTo>
                    <a:lnTo>
                      <a:pt x="90" y="290"/>
                    </a:lnTo>
                    <a:lnTo>
                      <a:pt x="91" y="292"/>
                    </a:lnTo>
                    <a:lnTo>
                      <a:pt x="91" y="293"/>
                    </a:lnTo>
                    <a:lnTo>
                      <a:pt x="90" y="294"/>
                    </a:lnTo>
                    <a:lnTo>
                      <a:pt x="89" y="294"/>
                    </a:lnTo>
                    <a:lnTo>
                      <a:pt x="89" y="295"/>
                    </a:lnTo>
                    <a:lnTo>
                      <a:pt x="89" y="296"/>
                    </a:lnTo>
                    <a:lnTo>
                      <a:pt x="88" y="297"/>
                    </a:lnTo>
                    <a:lnTo>
                      <a:pt x="88" y="296"/>
                    </a:lnTo>
                    <a:lnTo>
                      <a:pt x="87" y="296"/>
                    </a:lnTo>
                    <a:lnTo>
                      <a:pt x="87" y="297"/>
                    </a:lnTo>
                    <a:lnTo>
                      <a:pt x="86" y="297"/>
                    </a:lnTo>
                    <a:lnTo>
                      <a:pt x="85" y="298"/>
                    </a:lnTo>
                    <a:lnTo>
                      <a:pt x="84" y="299"/>
                    </a:lnTo>
                    <a:lnTo>
                      <a:pt x="84" y="301"/>
                    </a:lnTo>
                    <a:lnTo>
                      <a:pt x="85" y="301"/>
                    </a:lnTo>
                    <a:lnTo>
                      <a:pt x="85" y="302"/>
                    </a:lnTo>
                    <a:lnTo>
                      <a:pt x="84" y="303"/>
                    </a:lnTo>
                    <a:lnTo>
                      <a:pt x="84" y="305"/>
                    </a:lnTo>
                    <a:lnTo>
                      <a:pt x="84" y="306"/>
                    </a:lnTo>
                    <a:lnTo>
                      <a:pt x="85" y="308"/>
                    </a:lnTo>
                    <a:lnTo>
                      <a:pt x="86" y="310"/>
                    </a:lnTo>
                    <a:lnTo>
                      <a:pt x="87" y="310"/>
                    </a:lnTo>
                    <a:lnTo>
                      <a:pt x="87" y="311"/>
                    </a:lnTo>
                    <a:lnTo>
                      <a:pt x="88" y="311"/>
                    </a:lnTo>
                    <a:lnTo>
                      <a:pt x="88" y="310"/>
                    </a:lnTo>
                    <a:lnTo>
                      <a:pt x="88" y="309"/>
                    </a:lnTo>
                    <a:lnTo>
                      <a:pt x="89" y="309"/>
                    </a:lnTo>
                    <a:lnTo>
                      <a:pt x="90" y="309"/>
                    </a:lnTo>
                    <a:lnTo>
                      <a:pt x="90" y="310"/>
                    </a:lnTo>
                    <a:lnTo>
                      <a:pt x="90" y="311"/>
                    </a:lnTo>
                    <a:lnTo>
                      <a:pt x="90" y="312"/>
                    </a:lnTo>
                    <a:lnTo>
                      <a:pt x="90" y="313"/>
                    </a:lnTo>
                    <a:lnTo>
                      <a:pt x="90" y="314"/>
                    </a:lnTo>
                    <a:lnTo>
                      <a:pt x="88" y="315"/>
                    </a:lnTo>
                    <a:lnTo>
                      <a:pt x="87" y="316"/>
                    </a:lnTo>
                    <a:lnTo>
                      <a:pt x="87" y="318"/>
                    </a:lnTo>
                    <a:lnTo>
                      <a:pt x="86" y="319"/>
                    </a:lnTo>
                    <a:lnTo>
                      <a:pt x="86" y="320"/>
                    </a:lnTo>
                    <a:lnTo>
                      <a:pt x="86" y="321"/>
                    </a:lnTo>
                    <a:lnTo>
                      <a:pt x="86" y="322"/>
                    </a:lnTo>
                    <a:lnTo>
                      <a:pt x="85" y="325"/>
                    </a:lnTo>
                    <a:lnTo>
                      <a:pt x="84" y="327"/>
                    </a:lnTo>
                    <a:lnTo>
                      <a:pt x="83" y="327"/>
                    </a:lnTo>
                    <a:lnTo>
                      <a:pt x="83" y="326"/>
                    </a:lnTo>
                    <a:lnTo>
                      <a:pt x="84" y="323"/>
                    </a:lnTo>
                    <a:lnTo>
                      <a:pt x="85" y="322"/>
                    </a:lnTo>
                    <a:lnTo>
                      <a:pt x="85" y="321"/>
                    </a:lnTo>
                    <a:lnTo>
                      <a:pt x="85" y="320"/>
                    </a:lnTo>
                    <a:lnTo>
                      <a:pt x="85" y="319"/>
                    </a:lnTo>
                    <a:lnTo>
                      <a:pt x="84" y="319"/>
                    </a:lnTo>
                    <a:lnTo>
                      <a:pt x="84" y="318"/>
                    </a:lnTo>
                    <a:lnTo>
                      <a:pt x="83" y="318"/>
                    </a:lnTo>
                    <a:lnTo>
                      <a:pt x="83" y="316"/>
                    </a:lnTo>
                    <a:lnTo>
                      <a:pt x="83" y="315"/>
                    </a:lnTo>
                    <a:lnTo>
                      <a:pt x="83" y="314"/>
                    </a:lnTo>
                    <a:lnTo>
                      <a:pt x="84" y="313"/>
                    </a:lnTo>
                    <a:lnTo>
                      <a:pt x="84" y="312"/>
                    </a:lnTo>
                    <a:lnTo>
                      <a:pt x="84" y="311"/>
                    </a:lnTo>
                    <a:lnTo>
                      <a:pt x="83" y="311"/>
                    </a:lnTo>
                    <a:lnTo>
                      <a:pt x="83" y="310"/>
                    </a:lnTo>
                    <a:lnTo>
                      <a:pt x="82" y="310"/>
                    </a:lnTo>
                    <a:lnTo>
                      <a:pt x="81" y="310"/>
                    </a:lnTo>
                    <a:lnTo>
                      <a:pt x="81" y="309"/>
                    </a:lnTo>
                    <a:lnTo>
                      <a:pt x="82" y="308"/>
                    </a:lnTo>
                    <a:lnTo>
                      <a:pt x="81" y="307"/>
                    </a:lnTo>
                    <a:lnTo>
                      <a:pt x="80" y="306"/>
                    </a:lnTo>
                    <a:lnTo>
                      <a:pt x="80" y="305"/>
                    </a:lnTo>
                    <a:lnTo>
                      <a:pt x="81" y="303"/>
                    </a:lnTo>
                    <a:lnTo>
                      <a:pt x="81" y="302"/>
                    </a:lnTo>
                    <a:lnTo>
                      <a:pt x="81" y="301"/>
                    </a:lnTo>
                    <a:lnTo>
                      <a:pt x="81" y="300"/>
                    </a:lnTo>
                    <a:lnTo>
                      <a:pt x="81" y="298"/>
                    </a:lnTo>
                    <a:lnTo>
                      <a:pt x="82" y="298"/>
                    </a:lnTo>
                    <a:lnTo>
                      <a:pt x="82" y="297"/>
                    </a:lnTo>
                    <a:lnTo>
                      <a:pt x="81" y="296"/>
                    </a:lnTo>
                    <a:lnTo>
                      <a:pt x="81" y="295"/>
                    </a:lnTo>
                    <a:lnTo>
                      <a:pt x="81" y="294"/>
                    </a:lnTo>
                    <a:lnTo>
                      <a:pt x="82" y="292"/>
                    </a:lnTo>
                    <a:lnTo>
                      <a:pt x="83" y="290"/>
                    </a:lnTo>
                    <a:lnTo>
                      <a:pt x="83" y="289"/>
                    </a:lnTo>
                    <a:lnTo>
                      <a:pt x="82" y="288"/>
                    </a:lnTo>
                    <a:lnTo>
                      <a:pt x="82" y="287"/>
                    </a:lnTo>
                    <a:lnTo>
                      <a:pt x="82" y="286"/>
                    </a:lnTo>
                    <a:lnTo>
                      <a:pt x="82" y="285"/>
                    </a:lnTo>
                    <a:lnTo>
                      <a:pt x="82" y="284"/>
                    </a:lnTo>
                    <a:lnTo>
                      <a:pt x="82" y="283"/>
                    </a:lnTo>
                    <a:lnTo>
                      <a:pt x="82" y="282"/>
                    </a:lnTo>
                    <a:lnTo>
                      <a:pt x="83" y="282"/>
                    </a:lnTo>
                    <a:lnTo>
                      <a:pt x="83" y="281"/>
                    </a:lnTo>
                    <a:lnTo>
                      <a:pt x="83" y="280"/>
                    </a:lnTo>
                    <a:lnTo>
                      <a:pt x="83" y="279"/>
                    </a:lnTo>
                    <a:lnTo>
                      <a:pt x="84" y="279"/>
                    </a:lnTo>
                    <a:lnTo>
                      <a:pt x="85" y="279"/>
                    </a:lnTo>
                    <a:lnTo>
                      <a:pt x="86" y="279"/>
                    </a:lnTo>
                    <a:lnTo>
                      <a:pt x="87" y="279"/>
                    </a:lnTo>
                    <a:close/>
                    <a:moveTo>
                      <a:pt x="117" y="622"/>
                    </a:moveTo>
                    <a:lnTo>
                      <a:pt x="117" y="621"/>
                    </a:lnTo>
                    <a:lnTo>
                      <a:pt x="119" y="620"/>
                    </a:lnTo>
                    <a:lnTo>
                      <a:pt x="119" y="619"/>
                    </a:lnTo>
                    <a:lnTo>
                      <a:pt x="119" y="618"/>
                    </a:lnTo>
                    <a:lnTo>
                      <a:pt x="120" y="618"/>
                    </a:lnTo>
                    <a:lnTo>
                      <a:pt x="120" y="617"/>
                    </a:lnTo>
                    <a:lnTo>
                      <a:pt x="119" y="617"/>
                    </a:lnTo>
                    <a:lnTo>
                      <a:pt x="120" y="616"/>
                    </a:lnTo>
                    <a:lnTo>
                      <a:pt x="119" y="616"/>
                    </a:lnTo>
                    <a:lnTo>
                      <a:pt x="119" y="615"/>
                    </a:lnTo>
                    <a:lnTo>
                      <a:pt x="119" y="614"/>
                    </a:lnTo>
                    <a:lnTo>
                      <a:pt x="117" y="613"/>
                    </a:lnTo>
                    <a:lnTo>
                      <a:pt x="116" y="613"/>
                    </a:lnTo>
                    <a:lnTo>
                      <a:pt x="116" y="611"/>
                    </a:lnTo>
                    <a:lnTo>
                      <a:pt x="117" y="611"/>
                    </a:lnTo>
                    <a:lnTo>
                      <a:pt x="120" y="610"/>
                    </a:lnTo>
                    <a:lnTo>
                      <a:pt x="120" y="609"/>
                    </a:lnTo>
                    <a:lnTo>
                      <a:pt x="121" y="609"/>
                    </a:lnTo>
                    <a:lnTo>
                      <a:pt x="120" y="609"/>
                    </a:lnTo>
                    <a:lnTo>
                      <a:pt x="120" y="608"/>
                    </a:lnTo>
                    <a:lnTo>
                      <a:pt x="121" y="608"/>
                    </a:lnTo>
                    <a:lnTo>
                      <a:pt x="120" y="607"/>
                    </a:lnTo>
                    <a:lnTo>
                      <a:pt x="121" y="607"/>
                    </a:lnTo>
                    <a:lnTo>
                      <a:pt x="121" y="606"/>
                    </a:lnTo>
                    <a:lnTo>
                      <a:pt x="122" y="606"/>
                    </a:lnTo>
                    <a:lnTo>
                      <a:pt x="122" y="605"/>
                    </a:lnTo>
                    <a:lnTo>
                      <a:pt x="123" y="604"/>
                    </a:lnTo>
                    <a:lnTo>
                      <a:pt x="124" y="603"/>
                    </a:lnTo>
                    <a:lnTo>
                      <a:pt x="125" y="603"/>
                    </a:lnTo>
                    <a:lnTo>
                      <a:pt x="125" y="602"/>
                    </a:lnTo>
                    <a:lnTo>
                      <a:pt x="126" y="602"/>
                    </a:lnTo>
                    <a:lnTo>
                      <a:pt x="127" y="602"/>
                    </a:lnTo>
                    <a:lnTo>
                      <a:pt x="127" y="601"/>
                    </a:lnTo>
                    <a:lnTo>
                      <a:pt x="128" y="601"/>
                    </a:lnTo>
                    <a:lnTo>
                      <a:pt x="128" y="599"/>
                    </a:lnTo>
                    <a:lnTo>
                      <a:pt x="128" y="598"/>
                    </a:lnTo>
                    <a:lnTo>
                      <a:pt x="129" y="598"/>
                    </a:lnTo>
                    <a:lnTo>
                      <a:pt x="129" y="597"/>
                    </a:lnTo>
                    <a:lnTo>
                      <a:pt x="131" y="597"/>
                    </a:lnTo>
                    <a:lnTo>
                      <a:pt x="132" y="596"/>
                    </a:lnTo>
                    <a:lnTo>
                      <a:pt x="133" y="596"/>
                    </a:lnTo>
                    <a:lnTo>
                      <a:pt x="134" y="596"/>
                    </a:lnTo>
                    <a:lnTo>
                      <a:pt x="134" y="595"/>
                    </a:lnTo>
                    <a:lnTo>
                      <a:pt x="134" y="594"/>
                    </a:lnTo>
                    <a:lnTo>
                      <a:pt x="135" y="594"/>
                    </a:lnTo>
                    <a:lnTo>
                      <a:pt x="136" y="594"/>
                    </a:lnTo>
                    <a:lnTo>
                      <a:pt x="135" y="594"/>
                    </a:lnTo>
                    <a:lnTo>
                      <a:pt x="136" y="594"/>
                    </a:lnTo>
                    <a:lnTo>
                      <a:pt x="136" y="593"/>
                    </a:lnTo>
                    <a:lnTo>
                      <a:pt x="135" y="593"/>
                    </a:lnTo>
                    <a:lnTo>
                      <a:pt x="136" y="593"/>
                    </a:lnTo>
                    <a:lnTo>
                      <a:pt x="137" y="593"/>
                    </a:lnTo>
                    <a:lnTo>
                      <a:pt x="138" y="593"/>
                    </a:lnTo>
                    <a:lnTo>
                      <a:pt x="138" y="592"/>
                    </a:lnTo>
                    <a:lnTo>
                      <a:pt x="138" y="593"/>
                    </a:lnTo>
                    <a:lnTo>
                      <a:pt x="139" y="593"/>
                    </a:lnTo>
                    <a:lnTo>
                      <a:pt x="139" y="592"/>
                    </a:lnTo>
                    <a:lnTo>
                      <a:pt x="139" y="591"/>
                    </a:lnTo>
                    <a:lnTo>
                      <a:pt x="140" y="591"/>
                    </a:lnTo>
                    <a:lnTo>
                      <a:pt x="139" y="591"/>
                    </a:lnTo>
                    <a:lnTo>
                      <a:pt x="140" y="591"/>
                    </a:lnTo>
                    <a:lnTo>
                      <a:pt x="140" y="590"/>
                    </a:lnTo>
                    <a:lnTo>
                      <a:pt x="139" y="590"/>
                    </a:lnTo>
                    <a:lnTo>
                      <a:pt x="140" y="590"/>
                    </a:lnTo>
                    <a:lnTo>
                      <a:pt x="140" y="591"/>
                    </a:lnTo>
                    <a:lnTo>
                      <a:pt x="140" y="590"/>
                    </a:lnTo>
                    <a:lnTo>
                      <a:pt x="141" y="591"/>
                    </a:lnTo>
                    <a:lnTo>
                      <a:pt x="140" y="590"/>
                    </a:lnTo>
                    <a:lnTo>
                      <a:pt x="141" y="590"/>
                    </a:lnTo>
                    <a:lnTo>
                      <a:pt x="141" y="589"/>
                    </a:lnTo>
                    <a:lnTo>
                      <a:pt x="142" y="589"/>
                    </a:lnTo>
                    <a:lnTo>
                      <a:pt x="141" y="589"/>
                    </a:lnTo>
                    <a:lnTo>
                      <a:pt x="141" y="588"/>
                    </a:lnTo>
                    <a:lnTo>
                      <a:pt x="142" y="588"/>
                    </a:lnTo>
                    <a:lnTo>
                      <a:pt x="141" y="588"/>
                    </a:lnTo>
                    <a:lnTo>
                      <a:pt x="141" y="589"/>
                    </a:lnTo>
                    <a:lnTo>
                      <a:pt x="142" y="589"/>
                    </a:lnTo>
                    <a:lnTo>
                      <a:pt x="141" y="589"/>
                    </a:lnTo>
                    <a:lnTo>
                      <a:pt x="142" y="588"/>
                    </a:lnTo>
                    <a:lnTo>
                      <a:pt x="142" y="589"/>
                    </a:lnTo>
                    <a:lnTo>
                      <a:pt x="142" y="590"/>
                    </a:lnTo>
                    <a:lnTo>
                      <a:pt x="142" y="591"/>
                    </a:lnTo>
                    <a:lnTo>
                      <a:pt x="141" y="591"/>
                    </a:lnTo>
                    <a:lnTo>
                      <a:pt x="141" y="592"/>
                    </a:lnTo>
                    <a:lnTo>
                      <a:pt x="140" y="593"/>
                    </a:lnTo>
                    <a:lnTo>
                      <a:pt x="139" y="594"/>
                    </a:lnTo>
                    <a:lnTo>
                      <a:pt x="139" y="595"/>
                    </a:lnTo>
                    <a:lnTo>
                      <a:pt x="138" y="595"/>
                    </a:lnTo>
                    <a:lnTo>
                      <a:pt x="138" y="596"/>
                    </a:lnTo>
                    <a:lnTo>
                      <a:pt x="138" y="595"/>
                    </a:lnTo>
                    <a:lnTo>
                      <a:pt x="137" y="596"/>
                    </a:lnTo>
                    <a:lnTo>
                      <a:pt x="137" y="597"/>
                    </a:lnTo>
                    <a:lnTo>
                      <a:pt x="136" y="597"/>
                    </a:lnTo>
                    <a:lnTo>
                      <a:pt x="136" y="598"/>
                    </a:lnTo>
                    <a:lnTo>
                      <a:pt x="136" y="599"/>
                    </a:lnTo>
                    <a:lnTo>
                      <a:pt x="135" y="601"/>
                    </a:lnTo>
                    <a:lnTo>
                      <a:pt x="135" y="602"/>
                    </a:lnTo>
                    <a:lnTo>
                      <a:pt x="135" y="601"/>
                    </a:lnTo>
                    <a:lnTo>
                      <a:pt x="134" y="601"/>
                    </a:lnTo>
                    <a:lnTo>
                      <a:pt x="134" y="602"/>
                    </a:lnTo>
                    <a:lnTo>
                      <a:pt x="135" y="602"/>
                    </a:lnTo>
                    <a:lnTo>
                      <a:pt x="134" y="602"/>
                    </a:lnTo>
                    <a:lnTo>
                      <a:pt x="134" y="603"/>
                    </a:lnTo>
                    <a:lnTo>
                      <a:pt x="134" y="604"/>
                    </a:lnTo>
                    <a:lnTo>
                      <a:pt x="133" y="604"/>
                    </a:lnTo>
                    <a:lnTo>
                      <a:pt x="133" y="605"/>
                    </a:lnTo>
                    <a:lnTo>
                      <a:pt x="133" y="606"/>
                    </a:lnTo>
                    <a:lnTo>
                      <a:pt x="132" y="606"/>
                    </a:lnTo>
                    <a:lnTo>
                      <a:pt x="132" y="607"/>
                    </a:lnTo>
                    <a:lnTo>
                      <a:pt x="131" y="607"/>
                    </a:lnTo>
                    <a:lnTo>
                      <a:pt x="132" y="607"/>
                    </a:lnTo>
                    <a:lnTo>
                      <a:pt x="132" y="608"/>
                    </a:lnTo>
                    <a:lnTo>
                      <a:pt x="131" y="608"/>
                    </a:lnTo>
                    <a:lnTo>
                      <a:pt x="131" y="609"/>
                    </a:lnTo>
                    <a:lnTo>
                      <a:pt x="129" y="609"/>
                    </a:lnTo>
                    <a:lnTo>
                      <a:pt x="131" y="609"/>
                    </a:lnTo>
                    <a:lnTo>
                      <a:pt x="129" y="609"/>
                    </a:lnTo>
                    <a:lnTo>
                      <a:pt x="129" y="610"/>
                    </a:lnTo>
                    <a:lnTo>
                      <a:pt x="128" y="611"/>
                    </a:lnTo>
                    <a:lnTo>
                      <a:pt x="128" y="610"/>
                    </a:lnTo>
                    <a:lnTo>
                      <a:pt x="128" y="611"/>
                    </a:lnTo>
                    <a:lnTo>
                      <a:pt x="129" y="611"/>
                    </a:lnTo>
                    <a:lnTo>
                      <a:pt x="129" y="610"/>
                    </a:lnTo>
                    <a:lnTo>
                      <a:pt x="129" y="611"/>
                    </a:lnTo>
                    <a:lnTo>
                      <a:pt x="128" y="611"/>
                    </a:lnTo>
                    <a:lnTo>
                      <a:pt x="128" y="613"/>
                    </a:lnTo>
                    <a:lnTo>
                      <a:pt x="127" y="613"/>
                    </a:lnTo>
                    <a:lnTo>
                      <a:pt x="126" y="615"/>
                    </a:lnTo>
                    <a:lnTo>
                      <a:pt x="127" y="615"/>
                    </a:lnTo>
                    <a:lnTo>
                      <a:pt x="127" y="616"/>
                    </a:lnTo>
                    <a:lnTo>
                      <a:pt x="126" y="616"/>
                    </a:lnTo>
                    <a:lnTo>
                      <a:pt x="126" y="617"/>
                    </a:lnTo>
                    <a:lnTo>
                      <a:pt x="125" y="617"/>
                    </a:lnTo>
                    <a:lnTo>
                      <a:pt x="124" y="617"/>
                    </a:lnTo>
                    <a:lnTo>
                      <a:pt x="124" y="618"/>
                    </a:lnTo>
                    <a:lnTo>
                      <a:pt x="123" y="618"/>
                    </a:lnTo>
                    <a:lnTo>
                      <a:pt x="123" y="619"/>
                    </a:lnTo>
                    <a:lnTo>
                      <a:pt x="121" y="620"/>
                    </a:lnTo>
                    <a:lnTo>
                      <a:pt x="120" y="620"/>
                    </a:lnTo>
                    <a:lnTo>
                      <a:pt x="120" y="619"/>
                    </a:lnTo>
                    <a:lnTo>
                      <a:pt x="120" y="620"/>
                    </a:lnTo>
                    <a:lnTo>
                      <a:pt x="120" y="621"/>
                    </a:lnTo>
                    <a:lnTo>
                      <a:pt x="119" y="621"/>
                    </a:lnTo>
                    <a:lnTo>
                      <a:pt x="119" y="622"/>
                    </a:lnTo>
                    <a:lnTo>
                      <a:pt x="117" y="622"/>
                    </a:lnTo>
                    <a:close/>
                    <a:moveTo>
                      <a:pt x="141" y="392"/>
                    </a:moveTo>
                    <a:lnTo>
                      <a:pt x="141" y="393"/>
                    </a:lnTo>
                    <a:lnTo>
                      <a:pt x="142" y="392"/>
                    </a:lnTo>
                    <a:lnTo>
                      <a:pt x="142" y="393"/>
                    </a:lnTo>
                    <a:lnTo>
                      <a:pt x="144" y="393"/>
                    </a:lnTo>
                    <a:lnTo>
                      <a:pt x="145" y="395"/>
                    </a:lnTo>
                    <a:lnTo>
                      <a:pt x="146" y="396"/>
                    </a:lnTo>
                    <a:lnTo>
                      <a:pt x="147" y="396"/>
                    </a:lnTo>
                    <a:lnTo>
                      <a:pt x="147" y="397"/>
                    </a:lnTo>
                    <a:lnTo>
                      <a:pt x="148" y="397"/>
                    </a:lnTo>
                    <a:lnTo>
                      <a:pt x="148" y="398"/>
                    </a:lnTo>
                    <a:lnTo>
                      <a:pt x="150" y="398"/>
                    </a:lnTo>
                    <a:lnTo>
                      <a:pt x="151" y="398"/>
                    </a:lnTo>
                    <a:lnTo>
                      <a:pt x="152" y="397"/>
                    </a:lnTo>
                    <a:lnTo>
                      <a:pt x="153" y="397"/>
                    </a:lnTo>
                    <a:lnTo>
                      <a:pt x="153" y="396"/>
                    </a:lnTo>
                    <a:lnTo>
                      <a:pt x="154" y="396"/>
                    </a:lnTo>
                    <a:lnTo>
                      <a:pt x="155" y="396"/>
                    </a:lnTo>
                    <a:lnTo>
                      <a:pt x="155" y="397"/>
                    </a:lnTo>
                    <a:lnTo>
                      <a:pt x="157" y="397"/>
                    </a:lnTo>
                    <a:lnTo>
                      <a:pt x="158" y="397"/>
                    </a:lnTo>
                    <a:lnTo>
                      <a:pt x="159" y="397"/>
                    </a:lnTo>
                    <a:lnTo>
                      <a:pt x="160" y="397"/>
                    </a:lnTo>
                    <a:lnTo>
                      <a:pt x="160" y="398"/>
                    </a:lnTo>
                    <a:lnTo>
                      <a:pt x="161" y="398"/>
                    </a:lnTo>
                    <a:lnTo>
                      <a:pt x="161" y="399"/>
                    </a:lnTo>
                    <a:lnTo>
                      <a:pt x="161" y="400"/>
                    </a:lnTo>
                    <a:lnTo>
                      <a:pt x="162" y="401"/>
                    </a:lnTo>
                    <a:lnTo>
                      <a:pt x="162" y="402"/>
                    </a:lnTo>
                    <a:lnTo>
                      <a:pt x="163" y="402"/>
                    </a:lnTo>
                    <a:lnTo>
                      <a:pt x="163" y="403"/>
                    </a:lnTo>
                    <a:lnTo>
                      <a:pt x="162" y="402"/>
                    </a:lnTo>
                    <a:lnTo>
                      <a:pt x="162" y="403"/>
                    </a:lnTo>
                    <a:lnTo>
                      <a:pt x="161" y="403"/>
                    </a:lnTo>
                    <a:lnTo>
                      <a:pt x="161" y="402"/>
                    </a:lnTo>
                    <a:lnTo>
                      <a:pt x="160" y="402"/>
                    </a:lnTo>
                    <a:lnTo>
                      <a:pt x="160" y="403"/>
                    </a:lnTo>
                    <a:lnTo>
                      <a:pt x="161" y="403"/>
                    </a:lnTo>
                    <a:lnTo>
                      <a:pt x="160" y="403"/>
                    </a:lnTo>
                    <a:lnTo>
                      <a:pt x="160" y="404"/>
                    </a:lnTo>
                    <a:lnTo>
                      <a:pt x="161" y="404"/>
                    </a:lnTo>
                    <a:lnTo>
                      <a:pt x="162" y="404"/>
                    </a:lnTo>
                    <a:lnTo>
                      <a:pt x="162" y="405"/>
                    </a:lnTo>
                    <a:lnTo>
                      <a:pt x="161" y="405"/>
                    </a:lnTo>
                    <a:lnTo>
                      <a:pt x="160" y="405"/>
                    </a:lnTo>
                    <a:lnTo>
                      <a:pt x="159" y="405"/>
                    </a:lnTo>
                    <a:lnTo>
                      <a:pt x="158" y="404"/>
                    </a:lnTo>
                    <a:lnTo>
                      <a:pt x="157" y="405"/>
                    </a:lnTo>
                    <a:lnTo>
                      <a:pt x="157" y="404"/>
                    </a:lnTo>
                    <a:lnTo>
                      <a:pt x="155" y="404"/>
                    </a:lnTo>
                    <a:lnTo>
                      <a:pt x="154" y="404"/>
                    </a:lnTo>
                    <a:lnTo>
                      <a:pt x="154" y="405"/>
                    </a:lnTo>
                    <a:lnTo>
                      <a:pt x="153" y="405"/>
                    </a:lnTo>
                    <a:lnTo>
                      <a:pt x="153" y="404"/>
                    </a:lnTo>
                    <a:lnTo>
                      <a:pt x="152" y="404"/>
                    </a:lnTo>
                    <a:lnTo>
                      <a:pt x="151" y="404"/>
                    </a:lnTo>
                    <a:lnTo>
                      <a:pt x="150" y="404"/>
                    </a:lnTo>
                    <a:lnTo>
                      <a:pt x="149" y="404"/>
                    </a:lnTo>
                    <a:lnTo>
                      <a:pt x="148" y="404"/>
                    </a:lnTo>
                    <a:lnTo>
                      <a:pt x="147" y="404"/>
                    </a:lnTo>
                    <a:lnTo>
                      <a:pt x="146" y="404"/>
                    </a:lnTo>
                    <a:lnTo>
                      <a:pt x="145" y="404"/>
                    </a:lnTo>
                    <a:lnTo>
                      <a:pt x="144" y="403"/>
                    </a:lnTo>
                    <a:lnTo>
                      <a:pt x="145" y="403"/>
                    </a:lnTo>
                    <a:lnTo>
                      <a:pt x="146" y="403"/>
                    </a:lnTo>
                    <a:lnTo>
                      <a:pt x="145" y="402"/>
                    </a:lnTo>
                    <a:lnTo>
                      <a:pt x="145" y="403"/>
                    </a:lnTo>
                    <a:lnTo>
                      <a:pt x="145" y="402"/>
                    </a:lnTo>
                    <a:lnTo>
                      <a:pt x="145" y="401"/>
                    </a:lnTo>
                    <a:lnTo>
                      <a:pt x="146" y="401"/>
                    </a:lnTo>
                    <a:lnTo>
                      <a:pt x="146" y="400"/>
                    </a:lnTo>
                    <a:lnTo>
                      <a:pt x="147" y="400"/>
                    </a:lnTo>
                    <a:lnTo>
                      <a:pt x="147" y="401"/>
                    </a:lnTo>
                    <a:lnTo>
                      <a:pt x="147" y="400"/>
                    </a:lnTo>
                    <a:lnTo>
                      <a:pt x="146" y="399"/>
                    </a:lnTo>
                    <a:lnTo>
                      <a:pt x="146" y="398"/>
                    </a:lnTo>
                    <a:lnTo>
                      <a:pt x="145" y="398"/>
                    </a:lnTo>
                    <a:lnTo>
                      <a:pt x="144" y="398"/>
                    </a:lnTo>
                    <a:lnTo>
                      <a:pt x="144" y="397"/>
                    </a:lnTo>
                    <a:lnTo>
                      <a:pt x="142" y="397"/>
                    </a:lnTo>
                    <a:lnTo>
                      <a:pt x="142" y="396"/>
                    </a:lnTo>
                    <a:lnTo>
                      <a:pt x="141" y="396"/>
                    </a:lnTo>
                    <a:lnTo>
                      <a:pt x="141" y="395"/>
                    </a:lnTo>
                    <a:lnTo>
                      <a:pt x="141" y="393"/>
                    </a:lnTo>
                    <a:lnTo>
                      <a:pt x="140" y="392"/>
                    </a:lnTo>
                    <a:lnTo>
                      <a:pt x="140" y="391"/>
                    </a:lnTo>
                    <a:lnTo>
                      <a:pt x="141" y="392"/>
                    </a:lnTo>
                    <a:close/>
                    <a:moveTo>
                      <a:pt x="229" y="531"/>
                    </a:moveTo>
                    <a:lnTo>
                      <a:pt x="230" y="531"/>
                    </a:lnTo>
                    <a:lnTo>
                      <a:pt x="230" y="532"/>
                    </a:lnTo>
                    <a:lnTo>
                      <a:pt x="229" y="533"/>
                    </a:lnTo>
                    <a:lnTo>
                      <a:pt x="228" y="534"/>
                    </a:lnTo>
                    <a:lnTo>
                      <a:pt x="227" y="536"/>
                    </a:lnTo>
                    <a:lnTo>
                      <a:pt x="226" y="536"/>
                    </a:lnTo>
                    <a:lnTo>
                      <a:pt x="225" y="537"/>
                    </a:lnTo>
                    <a:lnTo>
                      <a:pt x="224" y="538"/>
                    </a:lnTo>
                    <a:lnTo>
                      <a:pt x="223" y="539"/>
                    </a:lnTo>
                    <a:lnTo>
                      <a:pt x="222" y="539"/>
                    </a:lnTo>
                    <a:lnTo>
                      <a:pt x="218" y="541"/>
                    </a:lnTo>
                    <a:lnTo>
                      <a:pt x="215" y="543"/>
                    </a:lnTo>
                    <a:lnTo>
                      <a:pt x="214" y="543"/>
                    </a:lnTo>
                    <a:lnTo>
                      <a:pt x="212" y="544"/>
                    </a:lnTo>
                    <a:lnTo>
                      <a:pt x="211" y="545"/>
                    </a:lnTo>
                    <a:lnTo>
                      <a:pt x="209" y="547"/>
                    </a:lnTo>
                    <a:lnTo>
                      <a:pt x="207" y="549"/>
                    </a:lnTo>
                    <a:lnTo>
                      <a:pt x="206" y="549"/>
                    </a:lnTo>
                    <a:lnTo>
                      <a:pt x="205" y="549"/>
                    </a:lnTo>
                    <a:lnTo>
                      <a:pt x="205" y="547"/>
                    </a:lnTo>
                    <a:lnTo>
                      <a:pt x="204" y="547"/>
                    </a:lnTo>
                    <a:lnTo>
                      <a:pt x="204" y="546"/>
                    </a:lnTo>
                    <a:lnTo>
                      <a:pt x="204" y="545"/>
                    </a:lnTo>
                    <a:lnTo>
                      <a:pt x="203" y="545"/>
                    </a:lnTo>
                    <a:lnTo>
                      <a:pt x="203" y="544"/>
                    </a:lnTo>
                    <a:lnTo>
                      <a:pt x="204" y="545"/>
                    </a:lnTo>
                    <a:lnTo>
                      <a:pt x="205" y="545"/>
                    </a:lnTo>
                    <a:lnTo>
                      <a:pt x="205" y="546"/>
                    </a:lnTo>
                    <a:lnTo>
                      <a:pt x="206" y="545"/>
                    </a:lnTo>
                    <a:lnTo>
                      <a:pt x="206" y="544"/>
                    </a:lnTo>
                    <a:lnTo>
                      <a:pt x="206" y="543"/>
                    </a:lnTo>
                    <a:lnTo>
                      <a:pt x="207" y="544"/>
                    </a:lnTo>
                    <a:lnTo>
                      <a:pt x="207" y="546"/>
                    </a:lnTo>
                    <a:lnTo>
                      <a:pt x="207" y="545"/>
                    </a:lnTo>
                    <a:lnTo>
                      <a:pt x="207" y="544"/>
                    </a:lnTo>
                    <a:lnTo>
                      <a:pt x="207" y="545"/>
                    </a:lnTo>
                    <a:lnTo>
                      <a:pt x="207" y="544"/>
                    </a:lnTo>
                    <a:lnTo>
                      <a:pt x="207" y="543"/>
                    </a:lnTo>
                    <a:lnTo>
                      <a:pt x="206" y="542"/>
                    </a:lnTo>
                    <a:lnTo>
                      <a:pt x="207" y="543"/>
                    </a:lnTo>
                    <a:lnTo>
                      <a:pt x="209" y="543"/>
                    </a:lnTo>
                    <a:lnTo>
                      <a:pt x="210" y="542"/>
                    </a:lnTo>
                    <a:lnTo>
                      <a:pt x="211" y="542"/>
                    </a:lnTo>
                    <a:lnTo>
                      <a:pt x="210" y="542"/>
                    </a:lnTo>
                    <a:lnTo>
                      <a:pt x="211" y="541"/>
                    </a:lnTo>
                    <a:lnTo>
                      <a:pt x="212" y="541"/>
                    </a:lnTo>
                    <a:lnTo>
                      <a:pt x="213" y="541"/>
                    </a:lnTo>
                    <a:lnTo>
                      <a:pt x="214" y="541"/>
                    </a:lnTo>
                    <a:lnTo>
                      <a:pt x="214" y="540"/>
                    </a:lnTo>
                    <a:lnTo>
                      <a:pt x="215" y="540"/>
                    </a:lnTo>
                    <a:lnTo>
                      <a:pt x="216" y="540"/>
                    </a:lnTo>
                    <a:lnTo>
                      <a:pt x="216" y="539"/>
                    </a:lnTo>
                    <a:lnTo>
                      <a:pt x="217" y="539"/>
                    </a:lnTo>
                    <a:lnTo>
                      <a:pt x="216" y="539"/>
                    </a:lnTo>
                    <a:lnTo>
                      <a:pt x="215" y="540"/>
                    </a:lnTo>
                    <a:lnTo>
                      <a:pt x="214" y="540"/>
                    </a:lnTo>
                    <a:lnTo>
                      <a:pt x="212" y="541"/>
                    </a:lnTo>
                    <a:lnTo>
                      <a:pt x="211" y="541"/>
                    </a:lnTo>
                    <a:lnTo>
                      <a:pt x="210" y="541"/>
                    </a:lnTo>
                    <a:lnTo>
                      <a:pt x="211" y="541"/>
                    </a:lnTo>
                    <a:lnTo>
                      <a:pt x="211" y="540"/>
                    </a:lnTo>
                    <a:lnTo>
                      <a:pt x="212" y="540"/>
                    </a:lnTo>
                    <a:lnTo>
                      <a:pt x="212" y="539"/>
                    </a:lnTo>
                    <a:lnTo>
                      <a:pt x="212" y="538"/>
                    </a:lnTo>
                    <a:lnTo>
                      <a:pt x="213" y="538"/>
                    </a:lnTo>
                    <a:lnTo>
                      <a:pt x="214" y="538"/>
                    </a:lnTo>
                    <a:lnTo>
                      <a:pt x="215" y="538"/>
                    </a:lnTo>
                    <a:lnTo>
                      <a:pt x="216" y="538"/>
                    </a:lnTo>
                    <a:lnTo>
                      <a:pt x="217" y="538"/>
                    </a:lnTo>
                    <a:lnTo>
                      <a:pt x="217" y="537"/>
                    </a:lnTo>
                    <a:lnTo>
                      <a:pt x="218" y="537"/>
                    </a:lnTo>
                    <a:lnTo>
                      <a:pt x="219" y="536"/>
                    </a:lnTo>
                    <a:lnTo>
                      <a:pt x="220" y="536"/>
                    </a:lnTo>
                    <a:lnTo>
                      <a:pt x="222" y="534"/>
                    </a:lnTo>
                    <a:lnTo>
                      <a:pt x="223" y="534"/>
                    </a:lnTo>
                    <a:lnTo>
                      <a:pt x="224" y="533"/>
                    </a:lnTo>
                    <a:lnTo>
                      <a:pt x="227" y="532"/>
                    </a:lnTo>
                    <a:lnTo>
                      <a:pt x="227" y="531"/>
                    </a:lnTo>
                    <a:lnTo>
                      <a:pt x="228" y="531"/>
                    </a:lnTo>
                    <a:lnTo>
                      <a:pt x="229" y="531"/>
                    </a:lnTo>
                    <a:close/>
                    <a:moveTo>
                      <a:pt x="168" y="483"/>
                    </a:moveTo>
                    <a:lnTo>
                      <a:pt x="168" y="485"/>
                    </a:lnTo>
                    <a:lnTo>
                      <a:pt x="167" y="485"/>
                    </a:lnTo>
                    <a:lnTo>
                      <a:pt x="166" y="486"/>
                    </a:lnTo>
                    <a:lnTo>
                      <a:pt x="166" y="487"/>
                    </a:lnTo>
                    <a:lnTo>
                      <a:pt x="166" y="489"/>
                    </a:lnTo>
                    <a:lnTo>
                      <a:pt x="166" y="490"/>
                    </a:lnTo>
                    <a:lnTo>
                      <a:pt x="167" y="492"/>
                    </a:lnTo>
                    <a:lnTo>
                      <a:pt x="168" y="493"/>
                    </a:lnTo>
                    <a:lnTo>
                      <a:pt x="170" y="493"/>
                    </a:lnTo>
                    <a:lnTo>
                      <a:pt x="171" y="494"/>
                    </a:lnTo>
                    <a:lnTo>
                      <a:pt x="172" y="494"/>
                    </a:lnTo>
                    <a:lnTo>
                      <a:pt x="171" y="494"/>
                    </a:lnTo>
                    <a:lnTo>
                      <a:pt x="172" y="494"/>
                    </a:lnTo>
                    <a:lnTo>
                      <a:pt x="173" y="494"/>
                    </a:lnTo>
                    <a:lnTo>
                      <a:pt x="173" y="495"/>
                    </a:lnTo>
                    <a:lnTo>
                      <a:pt x="172" y="495"/>
                    </a:lnTo>
                    <a:lnTo>
                      <a:pt x="173" y="496"/>
                    </a:lnTo>
                    <a:lnTo>
                      <a:pt x="173" y="495"/>
                    </a:lnTo>
                    <a:lnTo>
                      <a:pt x="173" y="496"/>
                    </a:lnTo>
                    <a:lnTo>
                      <a:pt x="173" y="495"/>
                    </a:lnTo>
                    <a:lnTo>
                      <a:pt x="174" y="495"/>
                    </a:lnTo>
                    <a:lnTo>
                      <a:pt x="174" y="494"/>
                    </a:lnTo>
                    <a:lnTo>
                      <a:pt x="175" y="494"/>
                    </a:lnTo>
                    <a:lnTo>
                      <a:pt x="176" y="494"/>
                    </a:lnTo>
                    <a:lnTo>
                      <a:pt x="176" y="493"/>
                    </a:lnTo>
                    <a:lnTo>
                      <a:pt x="177" y="493"/>
                    </a:lnTo>
                    <a:lnTo>
                      <a:pt x="177" y="492"/>
                    </a:lnTo>
                    <a:lnTo>
                      <a:pt x="178" y="492"/>
                    </a:lnTo>
                    <a:lnTo>
                      <a:pt x="172" y="496"/>
                    </a:lnTo>
                    <a:lnTo>
                      <a:pt x="171" y="498"/>
                    </a:lnTo>
                    <a:lnTo>
                      <a:pt x="170" y="498"/>
                    </a:lnTo>
                    <a:lnTo>
                      <a:pt x="168" y="499"/>
                    </a:lnTo>
                    <a:lnTo>
                      <a:pt x="167" y="499"/>
                    </a:lnTo>
                    <a:lnTo>
                      <a:pt x="167" y="498"/>
                    </a:lnTo>
                    <a:lnTo>
                      <a:pt x="166" y="498"/>
                    </a:lnTo>
                    <a:lnTo>
                      <a:pt x="166" y="496"/>
                    </a:lnTo>
                    <a:lnTo>
                      <a:pt x="165" y="496"/>
                    </a:lnTo>
                    <a:lnTo>
                      <a:pt x="165" y="495"/>
                    </a:lnTo>
                    <a:lnTo>
                      <a:pt x="165" y="494"/>
                    </a:lnTo>
                    <a:lnTo>
                      <a:pt x="164" y="494"/>
                    </a:lnTo>
                    <a:lnTo>
                      <a:pt x="164" y="493"/>
                    </a:lnTo>
                    <a:lnTo>
                      <a:pt x="165" y="493"/>
                    </a:lnTo>
                    <a:lnTo>
                      <a:pt x="165" y="494"/>
                    </a:lnTo>
                    <a:lnTo>
                      <a:pt x="166" y="494"/>
                    </a:lnTo>
                    <a:lnTo>
                      <a:pt x="166" y="493"/>
                    </a:lnTo>
                    <a:lnTo>
                      <a:pt x="166" y="492"/>
                    </a:lnTo>
                    <a:lnTo>
                      <a:pt x="166" y="491"/>
                    </a:lnTo>
                    <a:lnTo>
                      <a:pt x="166" y="492"/>
                    </a:lnTo>
                    <a:lnTo>
                      <a:pt x="166" y="491"/>
                    </a:lnTo>
                    <a:lnTo>
                      <a:pt x="166" y="490"/>
                    </a:lnTo>
                    <a:lnTo>
                      <a:pt x="165" y="489"/>
                    </a:lnTo>
                    <a:lnTo>
                      <a:pt x="165" y="488"/>
                    </a:lnTo>
                    <a:lnTo>
                      <a:pt x="165" y="487"/>
                    </a:lnTo>
                    <a:lnTo>
                      <a:pt x="165" y="486"/>
                    </a:lnTo>
                    <a:lnTo>
                      <a:pt x="166" y="486"/>
                    </a:lnTo>
                    <a:lnTo>
                      <a:pt x="166" y="485"/>
                    </a:lnTo>
                    <a:lnTo>
                      <a:pt x="166" y="483"/>
                    </a:lnTo>
                    <a:lnTo>
                      <a:pt x="167" y="483"/>
                    </a:lnTo>
                    <a:lnTo>
                      <a:pt x="167" y="482"/>
                    </a:lnTo>
                    <a:lnTo>
                      <a:pt x="167" y="481"/>
                    </a:lnTo>
                    <a:lnTo>
                      <a:pt x="168" y="480"/>
                    </a:lnTo>
                    <a:lnTo>
                      <a:pt x="170" y="480"/>
                    </a:lnTo>
                    <a:lnTo>
                      <a:pt x="168" y="480"/>
                    </a:lnTo>
                    <a:lnTo>
                      <a:pt x="167" y="481"/>
                    </a:lnTo>
                    <a:lnTo>
                      <a:pt x="167" y="482"/>
                    </a:lnTo>
                    <a:lnTo>
                      <a:pt x="167" y="483"/>
                    </a:lnTo>
                    <a:lnTo>
                      <a:pt x="168" y="483"/>
                    </a:lnTo>
                    <a:close/>
                    <a:moveTo>
                      <a:pt x="191" y="554"/>
                    </a:moveTo>
                    <a:lnTo>
                      <a:pt x="192" y="554"/>
                    </a:lnTo>
                    <a:lnTo>
                      <a:pt x="193" y="554"/>
                    </a:lnTo>
                    <a:lnTo>
                      <a:pt x="193" y="555"/>
                    </a:lnTo>
                    <a:lnTo>
                      <a:pt x="194" y="555"/>
                    </a:lnTo>
                    <a:lnTo>
                      <a:pt x="193" y="555"/>
                    </a:lnTo>
                    <a:lnTo>
                      <a:pt x="193" y="556"/>
                    </a:lnTo>
                    <a:lnTo>
                      <a:pt x="192" y="557"/>
                    </a:lnTo>
                    <a:lnTo>
                      <a:pt x="191" y="558"/>
                    </a:lnTo>
                    <a:lnTo>
                      <a:pt x="190" y="559"/>
                    </a:lnTo>
                    <a:lnTo>
                      <a:pt x="189" y="559"/>
                    </a:lnTo>
                    <a:lnTo>
                      <a:pt x="187" y="559"/>
                    </a:lnTo>
                    <a:lnTo>
                      <a:pt x="186" y="559"/>
                    </a:lnTo>
                    <a:lnTo>
                      <a:pt x="186" y="560"/>
                    </a:lnTo>
                    <a:lnTo>
                      <a:pt x="185" y="560"/>
                    </a:lnTo>
                    <a:lnTo>
                      <a:pt x="184" y="562"/>
                    </a:lnTo>
                    <a:lnTo>
                      <a:pt x="183" y="562"/>
                    </a:lnTo>
                    <a:lnTo>
                      <a:pt x="184" y="560"/>
                    </a:lnTo>
                    <a:lnTo>
                      <a:pt x="184" y="559"/>
                    </a:lnTo>
                    <a:lnTo>
                      <a:pt x="183" y="559"/>
                    </a:lnTo>
                    <a:lnTo>
                      <a:pt x="183" y="558"/>
                    </a:lnTo>
                    <a:lnTo>
                      <a:pt x="184" y="558"/>
                    </a:lnTo>
                    <a:lnTo>
                      <a:pt x="183" y="558"/>
                    </a:lnTo>
                    <a:lnTo>
                      <a:pt x="181" y="558"/>
                    </a:lnTo>
                    <a:lnTo>
                      <a:pt x="181" y="557"/>
                    </a:lnTo>
                    <a:lnTo>
                      <a:pt x="183" y="557"/>
                    </a:lnTo>
                    <a:lnTo>
                      <a:pt x="183" y="558"/>
                    </a:lnTo>
                    <a:lnTo>
                      <a:pt x="184" y="558"/>
                    </a:lnTo>
                    <a:lnTo>
                      <a:pt x="184" y="557"/>
                    </a:lnTo>
                    <a:lnTo>
                      <a:pt x="183" y="557"/>
                    </a:lnTo>
                    <a:lnTo>
                      <a:pt x="184" y="557"/>
                    </a:lnTo>
                    <a:lnTo>
                      <a:pt x="183" y="557"/>
                    </a:lnTo>
                    <a:lnTo>
                      <a:pt x="184" y="557"/>
                    </a:lnTo>
                    <a:lnTo>
                      <a:pt x="185" y="557"/>
                    </a:lnTo>
                    <a:lnTo>
                      <a:pt x="186" y="558"/>
                    </a:lnTo>
                    <a:lnTo>
                      <a:pt x="187" y="558"/>
                    </a:lnTo>
                    <a:lnTo>
                      <a:pt x="187" y="559"/>
                    </a:lnTo>
                    <a:lnTo>
                      <a:pt x="187" y="558"/>
                    </a:lnTo>
                    <a:lnTo>
                      <a:pt x="188" y="558"/>
                    </a:lnTo>
                    <a:lnTo>
                      <a:pt x="189" y="558"/>
                    </a:lnTo>
                    <a:lnTo>
                      <a:pt x="189" y="557"/>
                    </a:lnTo>
                    <a:lnTo>
                      <a:pt x="189" y="556"/>
                    </a:lnTo>
                    <a:lnTo>
                      <a:pt x="189" y="555"/>
                    </a:lnTo>
                    <a:lnTo>
                      <a:pt x="189" y="554"/>
                    </a:lnTo>
                    <a:lnTo>
                      <a:pt x="189" y="555"/>
                    </a:lnTo>
                    <a:lnTo>
                      <a:pt x="189" y="556"/>
                    </a:lnTo>
                    <a:lnTo>
                      <a:pt x="190" y="556"/>
                    </a:lnTo>
                    <a:lnTo>
                      <a:pt x="190" y="555"/>
                    </a:lnTo>
                    <a:lnTo>
                      <a:pt x="190" y="556"/>
                    </a:lnTo>
                    <a:lnTo>
                      <a:pt x="190" y="555"/>
                    </a:lnTo>
                    <a:lnTo>
                      <a:pt x="190" y="554"/>
                    </a:lnTo>
                    <a:lnTo>
                      <a:pt x="191" y="554"/>
                    </a:lnTo>
                    <a:close/>
                    <a:moveTo>
                      <a:pt x="154" y="422"/>
                    </a:moveTo>
                    <a:lnTo>
                      <a:pt x="155" y="422"/>
                    </a:lnTo>
                    <a:lnTo>
                      <a:pt x="155" y="423"/>
                    </a:lnTo>
                    <a:lnTo>
                      <a:pt x="157" y="423"/>
                    </a:lnTo>
                    <a:lnTo>
                      <a:pt x="157" y="424"/>
                    </a:lnTo>
                    <a:lnTo>
                      <a:pt x="157" y="423"/>
                    </a:lnTo>
                    <a:lnTo>
                      <a:pt x="155" y="423"/>
                    </a:lnTo>
                    <a:lnTo>
                      <a:pt x="154" y="423"/>
                    </a:lnTo>
                    <a:lnTo>
                      <a:pt x="153" y="423"/>
                    </a:lnTo>
                    <a:lnTo>
                      <a:pt x="153" y="424"/>
                    </a:lnTo>
                    <a:lnTo>
                      <a:pt x="153" y="425"/>
                    </a:lnTo>
                    <a:lnTo>
                      <a:pt x="153" y="426"/>
                    </a:lnTo>
                    <a:lnTo>
                      <a:pt x="152" y="426"/>
                    </a:lnTo>
                    <a:lnTo>
                      <a:pt x="152" y="425"/>
                    </a:lnTo>
                    <a:lnTo>
                      <a:pt x="152" y="426"/>
                    </a:lnTo>
                    <a:lnTo>
                      <a:pt x="152" y="427"/>
                    </a:lnTo>
                    <a:lnTo>
                      <a:pt x="152" y="426"/>
                    </a:lnTo>
                    <a:lnTo>
                      <a:pt x="152" y="427"/>
                    </a:lnTo>
                    <a:lnTo>
                      <a:pt x="151" y="427"/>
                    </a:lnTo>
                    <a:lnTo>
                      <a:pt x="150" y="427"/>
                    </a:lnTo>
                    <a:lnTo>
                      <a:pt x="151" y="428"/>
                    </a:lnTo>
                    <a:lnTo>
                      <a:pt x="150" y="428"/>
                    </a:lnTo>
                    <a:lnTo>
                      <a:pt x="150" y="429"/>
                    </a:lnTo>
                    <a:lnTo>
                      <a:pt x="149" y="429"/>
                    </a:lnTo>
                    <a:lnTo>
                      <a:pt x="150" y="429"/>
                    </a:lnTo>
                    <a:lnTo>
                      <a:pt x="151" y="429"/>
                    </a:lnTo>
                    <a:lnTo>
                      <a:pt x="152" y="429"/>
                    </a:lnTo>
                    <a:lnTo>
                      <a:pt x="152" y="428"/>
                    </a:lnTo>
                    <a:lnTo>
                      <a:pt x="152" y="429"/>
                    </a:lnTo>
                    <a:lnTo>
                      <a:pt x="152" y="428"/>
                    </a:lnTo>
                    <a:lnTo>
                      <a:pt x="151" y="428"/>
                    </a:lnTo>
                    <a:lnTo>
                      <a:pt x="152" y="428"/>
                    </a:lnTo>
                    <a:lnTo>
                      <a:pt x="152" y="427"/>
                    </a:lnTo>
                    <a:lnTo>
                      <a:pt x="152" y="428"/>
                    </a:lnTo>
                    <a:lnTo>
                      <a:pt x="153" y="428"/>
                    </a:lnTo>
                    <a:lnTo>
                      <a:pt x="153" y="427"/>
                    </a:lnTo>
                    <a:lnTo>
                      <a:pt x="153" y="428"/>
                    </a:lnTo>
                    <a:lnTo>
                      <a:pt x="154" y="428"/>
                    </a:lnTo>
                    <a:lnTo>
                      <a:pt x="155" y="428"/>
                    </a:lnTo>
                    <a:lnTo>
                      <a:pt x="155" y="429"/>
                    </a:lnTo>
                    <a:lnTo>
                      <a:pt x="154" y="429"/>
                    </a:lnTo>
                    <a:lnTo>
                      <a:pt x="153" y="430"/>
                    </a:lnTo>
                    <a:lnTo>
                      <a:pt x="153" y="431"/>
                    </a:lnTo>
                    <a:lnTo>
                      <a:pt x="152" y="431"/>
                    </a:lnTo>
                    <a:lnTo>
                      <a:pt x="153" y="432"/>
                    </a:lnTo>
                    <a:lnTo>
                      <a:pt x="153" y="434"/>
                    </a:lnTo>
                    <a:lnTo>
                      <a:pt x="154" y="434"/>
                    </a:lnTo>
                    <a:lnTo>
                      <a:pt x="154" y="435"/>
                    </a:lnTo>
                    <a:lnTo>
                      <a:pt x="153" y="435"/>
                    </a:lnTo>
                    <a:lnTo>
                      <a:pt x="153" y="434"/>
                    </a:lnTo>
                    <a:lnTo>
                      <a:pt x="152" y="434"/>
                    </a:lnTo>
                    <a:lnTo>
                      <a:pt x="152" y="432"/>
                    </a:lnTo>
                    <a:lnTo>
                      <a:pt x="151" y="432"/>
                    </a:lnTo>
                    <a:lnTo>
                      <a:pt x="150" y="432"/>
                    </a:lnTo>
                    <a:lnTo>
                      <a:pt x="149" y="431"/>
                    </a:lnTo>
                    <a:lnTo>
                      <a:pt x="149" y="430"/>
                    </a:lnTo>
                    <a:lnTo>
                      <a:pt x="149" y="429"/>
                    </a:lnTo>
                    <a:lnTo>
                      <a:pt x="149" y="428"/>
                    </a:lnTo>
                    <a:lnTo>
                      <a:pt x="149" y="427"/>
                    </a:lnTo>
                    <a:lnTo>
                      <a:pt x="150" y="427"/>
                    </a:lnTo>
                    <a:lnTo>
                      <a:pt x="150" y="426"/>
                    </a:lnTo>
                    <a:lnTo>
                      <a:pt x="151" y="426"/>
                    </a:lnTo>
                    <a:lnTo>
                      <a:pt x="151" y="425"/>
                    </a:lnTo>
                    <a:lnTo>
                      <a:pt x="152" y="425"/>
                    </a:lnTo>
                    <a:lnTo>
                      <a:pt x="152" y="424"/>
                    </a:lnTo>
                    <a:lnTo>
                      <a:pt x="152" y="423"/>
                    </a:lnTo>
                    <a:lnTo>
                      <a:pt x="151" y="423"/>
                    </a:lnTo>
                    <a:lnTo>
                      <a:pt x="152" y="423"/>
                    </a:lnTo>
                    <a:lnTo>
                      <a:pt x="151" y="423"/>
                    </a:lnTo>
                    <a:lnTo>
                      <a:pt x="151" y="422"/>
                    </a:lnTo>
                    <a:lnTo>
                      <a:pt x="152" y="422"/>
                    </a:lnTo>
                    <a:lnTo>
                      <a:pt x="153" y="422"/>
                    </a:lnTo>
                    <a:lnTo>
                      <a:pt x="153" y="423"/>
                    </a:lnTo>
                    <a:lnTo>
                      <a:pt x="154" y="422"/>
                    </a:lnTo>
                    <a:close/>
                    <a:moveTo>
                      <a:pt x="179" y="421"/>
                    </a:moveTo>
                    <a:lnTo>
                      <a:pt x="179" y="422"/>
                    </a:lnTo>
                    <a:lnTo>
                      <a:pt x="178" y="422"/>
                    </a:lnTo>
                    <a:lnTo>
                      <a:pt x="177" y="423"/>
                    </a:lnTo>
                    <a:lnTo>
                      <a:pt x="177" y="424"/>
                    </a:lnTo>
                    <a:lnTo>
                      <a:pt x="177" y="425"/>
                    </a:lnTo>
                    <a:lnTo>
                      <a:pt x="177" y="426"/>
                    </a:lnTo>
                    <a:lnTo>
                      <a:pt x="176" y="427"/>
                    </a:lnTo>
                    <a:lnTo>
                      <a:pt x="175" y="428"/>
                    </a:lnTo>
                    <a:lnTo>
                      <a:pt x="175" y="429"/>
                    </a:lnTo>
                    <a:lnTo>
                      <a:pt x="175" y="428"/>
                    </a:lnTo>
                    <a:lnTo>
                      <a:pt x="175" y="427"/>
                    </a:lnTo>
                    <a:lnTo>
                      <a:pt x="175" y="425"/>
                    </a:lnTo>
                    <a:lnTo>
                      <a:pt x="175" y="424"/>
                    </a:lnTo>
                    <a:lnTo>
                      <a:pt x="174" y="424"/>
                    </a:lnTo>
                    <a:lnTo>
                      <a:pt x="174" y="423"/>
                    </a:lnTo>
                    <a:lnTo>
                      <a:pt x="174" y="422"/>
                    </a:lnTo>
                    <a:lnTo>
                      <a:pt x="174" y="421"/>
                    </a:lnTo>
                    <a:lnTo>
                      <a:pt x="174" y="418"/>
                    </a:lnTo>
                    <a:lnTo>
                      <a:pt x="174" y="417"/>
                    </a:lnTo>
                    <a:lnTo>
                      <a:pt x="173" y="417"/>
                    </a:lnTo>
                    <a:lnTo>
                      <a:pt x="173" y="416"/>
                    </a:lnTo>
                    <a:lnTo>
                      <a:pt x="174" y="416"/>
                    </a:lnTo>
                    <a:lnTo>
                      <a:pt x="174" y="417"/>
                    </a:lnTo>
                    <a:lnTo>
                      <a:pt x="175" y="416"/>
                    </a:lnTo>
                    <a:lnTo>
                      <a:pt x="175" y="417"/>
                    </a:lnTo>
                    <a:lnTo>
                      <a:pt x="175" y="418"/>
                    </a:lnTo>
                    <a:lnTo>
                      <a:pt x="175" y="419"/>
                    </a:lnTo>
                    <a:lnTo>
                      <a:pt x="174" y="419"/>
                    </a:lnTo>
                    <a:lnTo>
                      <a:pt x="174" y="418"/>
                    </a:lnTo>
                    <a:lnTo>
                      <a:pt x="174" y="419"/>
                    </a:lnTo>
                    <a:lnTo>
                      <a:pt x="174" y="421"/>
                    </a:lnTo>
                    <a:lnTo>
                      <a:pt x="177" y="419"/>
                    </a:lnTo>
                    <a:lnTo>
                      <a:pt x="177" y="418"/>
                    </a:lnTo>
                    <a:lnTo>
                      <a:pt x="177" y="417"/>
                    </a:lnTo>
                    <a:lnTo>
                      <a:pt x="176" y="416"/>
                    </a:lnTo>
                    <a:lnTo>
                      <a:pt x="177" y="416"/>
                    </a:lnTo>
                    <a:lnTo>
                      <a:pt x="178" y="417"/>
                    </a:lnTo>
                    <a:lnTo>
                      <a:pt x="178" y="418"/>
                    </a:lnTo>
                    <a:lnTo>
                      <a:pt x="179" y="418"/>
                    </a:lnTo>
                    <a:lnTo>
                      <a:pt x="179" y="419"/>
                    </a:lnTo>
                    <a:lnTo>
                      <a:pt x="179" y="421"/>
                    </a:lnTo>
                    <a:close/>
                    <a:moveTo>
                      <a:pt x="178" y="442"/>
                    </a:moveTo>
                    <a:lnTo>
                      <a:pt x="178" y="443"/>
                    </a:lnTo>
                    <a:lnTo>
                      <a:pt x="179" y="443"/>
                    </a:lnTo>
                    <a:lnTo>
                      <a:pt x="180" y="443"/>
                    </a:lnTo>
                    <a:lnTo>
                      <a:pt x="180" y="444"/>
                    </a:lnTo>
                    <a:lnTo>
                      <a:pt x="181" y="444"/>
                    </a:lnTo>
                    <a:lnTo>
                      <a:pt x="183" y="444"/>
                    </a:lnTo>
                    <a:lnTo>
                      <a:pt x="183" y="443"/>
                    </a:lnTo>
                    <a:lnTo>
                      <a:pt x="183" y="444"/>
                    </a:lnTo>
                    <a:lnTo>
                      <a:pt x="184" y="444"/>
                    </a:lnTo>
                    <a:lnTo>
                      <a:pt x="185" y="444"/>
                    </a:lnTo>
                    <a:lnTo>
                      <a:pt x="184" y="444"/>
                    </a:lnTo>
                    <a:lnTo>
                      <a:pt x="184" y="446"/>
                    </a:lnTo>
                    <a:lnTo>
                      <a:pt x="183" y="446"/>
                    </a:lnTo>
                    <a:lnTo>
                      <a:pt x="183" y="447"/>
                    </a:lnTo>
                    <a:lnTo>
                      <a:pt x="183" y="448"/>
                    </a:lnTo>
                    <a:lnTo>
                      <a:pt x="181" y="448"/>
                    </a:lnTo>
                    <a:lnTo>
                      <a:pt x="181" y="449"/>
                    </a:lnTo>
                    <a:lnTo>
                      <a:pt x="180" y="450"/>
                    </a:lnTo>
                    <a:lnTo>
                      <a:pt x="180" y="451"/>
                    </a:lnTo>
                    <a:lnTo>
                      <a:pt x="180" y="452"/>
                    </a:lnTo>
                    <a:lnTo>
                      <a:pt x="180" y="453"/>
                    </a:lnTo>
                    <a:lnTo>
                      <a:pt x="179" y="453"/>
                    </a:lnTo>
                    <a:lnTo>
                      <a:pt x="179" y="454"/>
                    </a:lnTo>
                    <a:lnTo>
                      <a:pt x="179" y="453"/>
                    </a:lnTo>
                    <a:lnTo>
                      <a:pt x="178" y="453"/>
                    </a:lnTo>
                    <a:lnTo>
                      <a:pt x="178" y="452"/>
                    </a:lnTo>
                    <a:lnTo>
                      <a:pt x="178" y="451"/>
                    </a:lnTo>
                    <a:lnTo>
                      <a:pt x="178" y="450"/>
                    </a:lnTo>
                    <a:lnTo>
                      <a:pt x="178" y="449"/>
                    </a:lnTo>
                    <a:lnTo>
                      <a:pt x="178" y="448"/>
                    </a:lnTo>
                    <a:lnTo>
                      <a:pt x="178" y="447"/>
                    </a:lnTo>
                    <a:lnTo>
                      <a:pt x="178" y="446"/>
                    </a:lnTo>
                    <a:lnTo>
                      <a:pt x="178" y="444"/>
                    </a:lnTo>
                    <a:lnTo>
                      <a:pt x="177" y="443"/>
                    </a:lnTo>
                    <a:lnTo>
                      <a:pt x="177" y="442"/>
                    </a:lnTo>
                    <a:lnTo>
                      <a:pt x="178" y="442"/>
                    </a:lnTo>
                    <a:close/>
                    <a:moveTo>
                      <a:pt x="190" y="518"/>
                    </a:moveTo>
                    <a:lnTo>
                      <a:pt x="190" y="519"/>
                    </a:lnTo>
                    <a:lnTo>
                      <a:pt x="190" y="520"/>
                    </a:lnTo>
                    <a:lnTo>
                      <a:pt x="191" y="520"/>
                    </a:lnTo>
                    <a:lnTo>
                      <a:pt x="191" y="521"/>
                    </a:lnTo>
                    <a:lnTo>
                      <a:pt x="191" y="523"/>
                    </a:lnTo>
                    <a:lnTo>
                      <a:pt x="190" y="523"/>
                    </a:lnTo>
                    <a:lnTo>
                      <a:pt x="190" y="524"/>
                    </a:lnTo>
                    <a:lnTo>
                      <a:pt x="190" y="523"/>
                    </a:lnTo>
                    <a:lnTo>
                      <a:pt x="189" y="523"/>
                    </a:lnTo>
                    <a:lnTo>
                      <a:pt x="189" y="524"/>
                    </a:lnTo>
                    <a:lnTo>
                      <a:pt x="190" y="525"/>
                    </a:lnTo>
                    <a:lnTo>
                      <a:pt x="189" y="525"/>
                    </a:lnTo>
                    <a:lnTo>
                      <a:pt x="189" y="524"/>
                    </a:lnTo>
                    <a:lnTo>
                      <a:pt x="189" y="525"/>
                    </a:lnTo>
                    <a:lnTo>
                      <a:pt x="188" y="525"/>
                    </a:lnTo>
                    <a:lnTo>
                      <a:pt x="188" y="526"/>
                    </a:lnTo>
                    <a:lnTo>
                      <a:pt x="189" y="526"/>
                    </a:lnTo>
                    <a:lnTo>
                      <a:pt x="189" y="525"/>
                    </a:lnTo>
                    <a:lnTo>
                      <a:pt x="190" y="525"/>
                    </a:lnTo>
                    <a:lnTo>
                      <a:pt x="190" y="526"/>
                    </a:lnTo>
                    <a:lnTo>
                      <a:pt x="190" y="527"/>
                    </a:lnTo>
                    <a:lnTo>
                      <a:pt x="189" y="527"/>
                    </a:lnTo>
                    <a:lnTo>
                      <a:pt x="189" y="528"/>
                    </a:lnTo>
                    <a:lnTo>
                      <a:pt x="188" y="528"/>
                    </a:lnTo>
                    <a:lnTo>
                      <a:pt x="187" y="527"/>
                    </a:lnTo>
                    <a:lnTo>
                      <a:pt x="187" y="528"/>
                    </a:lnTo>
                    <a:lnTo>
                      <a:pt x="187" y="527"/>
                    </a:lnTo>
                    <a:lnTo>
                      <a:pt x="186" y="527"/>
                    </a:lnTo>
                    <a:lnTo>
                      <a:pt x="186" y="526"/>
                    </a:lnTo>
                    <a:lnTo>
                      <a:pt x="187" y="526"/>
                    </a:lnTo>
                    <a:lnTo>
                      <a:pt x="186" y="526"/>
                    </a:lnTo>
                    <a:lnTo>
                      <a:pt x="186" y="525"/>
                    </a:lnTo>
                    <a:lnTo>
                      <a:pt x="185" y="525"/>
                    </a:lnTo>
                    <a:lnTo>
                      <a:pt x="186" y="525"/>
                    </a:lnTo>
                    <a:lnTo>
                      <a:pt x="186" y="524"/>
                    </a:lnTo>
                    <a:lnTo>
                      <a:pt x="186" y="523"/>
                    </a:lnTo>
                    <a:lnTo>
                      <a:pt x="186" y="524"/>
                    </a:lnTo>
                    <a:lnTo>
                      <a:pt x="187" y="524"/>
                    </a:lnTo>
                    <a:lnTo>
                      <a:pt x="188" y="523"/>
                    </a:lnTo>
                    <a:lnTo>
                      <a:pt x="188" y="524"/>
                    </a:lnTo>
                    <a:lnTo>
                      <a:pt x="187" y="524"/>
                    </a:lnTo>
                    <a:lnTo>
                      <a:pt x="188" y="524"/>
                    </a:lnTo>
                    <a:lnTo>
                      <a:pt x="188" y="523"/>
                    </a:lnTo>
                    <a:lnTo>
                      <a:pt x="188" y="521"/>
                    </a:lnTo>
                    <a:lnTo>
                      <a:pt x="187" y="521"/>
                    </a:lnTo>
                    <a:lnTo>
                      <a:pt x="188" y="521"/>
                    </a:lnTo>
                    <a:lnTo>
                      <a:pt x="188" y="520"/>
                    </a:lnTo>
                    <a:lnTo>
                      <a:pt x="187" y="520"/>
                    </a:lnTo>
                    <a:lnTo>
                      <a:pt x="187" y="519"/>
                    </a:lnTo>
                    <a:lnTo>
                      <a:pt x="188" y="520"/>
                    </a:lnTo>
                    <a:lnTo>
                      <a:pt x="188" y="519"/>
                    </a:lnTo>
                    <a:lnTo>
                      <a:pt x="188" y="520"/>
                    </a:lnTo>
                    <a:lnTo>
                      <a:pt x="188" y="521"/>
                    </a:lnTo>
                    <a:lnTo>
                      <a:pt x="188" y="520"/>
                    </a:lnTo>
                    <a:lnTo>
                      <a:pt x="188" y="519"/>
                    </a:lnTo>
                    <a:lnTo>
                      <a:pt x="189" y="519"/>
                    </a:lnTo>
                    <a:lnTo>
                      <a:pt x="188" y="526"/>
                    </a:lnTo>
                    <a:lnTo>
                      <a:pt x="189" y="519"/>
                    </a:lnTo>
                    <a:lnTo>
                      <a:pt x="190" y="519"/>
                    </a:lnTo>
                    <a:lnTo>
                      <a:pt x="189" y="519"/>
                    </a:lnTo>
                    <a:lnTo>
                      <a:pt x="189" y="518"/>
                    </a:lnTo>
                    <a:lnTo>
                      <a:pt x="190" y="518"/>
                    </a:lnTo>
                    <a:lnTo>
                      <a:pt x="189" y="518"/>
                    </a:lnTo>
                    <a:lnTo>
                      <a:pt x="189" y="517"/>
                    </a:lnTo>
                    <a:lnTo>
                      <a:pt x="189" y="516"/>
                    </a:lnTo>
                    <a:lnTo>
                      <a:pt x="190" y="516"/>
                    </a:lnTo>
                    <a:lnTo>
                      <a:pt x="190" y="518"/>
                    </a:lnTo>
                    <a:close/>
                    <a:moveTo>
                      <a:pt x="179" y="429"/>
                    </a:moveTo>
                    <a:lnTo>
                      <a:pt x="179" y="430"/>
                    </a:lnTo>
                    <a:lnTo>
                      <a:pt x="179" y="431"/>
                    </a:lnTo>
                    <a:lnTo>
                      <a:pt x="180" y="431"/>
                    </a:lnTo>
                    <a:lnTo>
                      <a:pt x="181" y="431"/>
                    </a:lnTo>
                    <a:lnTo>
                      <a:pt x="180" y="432"/>
                    </a:lnTo>
                    <a:lnTo>
                      <a:pt x="179" y="432"/>
                    </a:lnTo>
                    <a:lnTo>
                      <a:pt x="179" y="434"/>
                    </a:lnTo>
                    <a:lnTo>
                      <a:pt x="178" y="434"/>
                    </a:lnTo>
                    <a:lnTo>
                      <a:pt x="178" y="435"/>
                    </a:lnTo>
                    <a:lnTo>
                      <a:pt x="178" y="436"/>
                    </a:lnTo>
                    <a:lnTo>
                      <a:pt x="178" y="437"/>
                    </a:lnTo>
                    <a:lnTo>
                      <a:pt x="178" y="438"/>
                    </a:lnTo>
                    <a:lnTo>
                      <a:pt x="178" y="439"/>
                    </a:lnTo>
                    <a:lnTo>
                      <a:pt x="178" y="438"/>
                    </a:lnTo>
                    <a:lnTo>
                      <a:pt x="177" y="438"/>
                    </a:lnTo>
                    <a:lnTo>
                      <a:pt x="177" y="439"/>
                    </a:lnTo>
                    <a:lnTo>
                      <a:pt x="178" y="439"/>
                    </a:lnTo>
                    <a:lnTo>
                      <a:pt x="178" y="440"/>
                    </a:lnTo>
                    <a:lnTo>
                      <a:pt x="177" y="440"/>
                    </a:lnTo>
                    <a:lnTo>
                      <a:pt x="177" y="439"/>
                    </a:lnTo>
                    <a:lnTo>
                      <a:pt x="176" y="439"/>
                    </a:lnTo>
                    <a:lnTo>
                      <a:pt x="176" y="438"/>
                    </a:lnTo>
                    <a:lnTo>
                      <a:pt x="176" y="437"/>
                    </a:lnTo>
                    <a:lnTo>
                      <a:pt x="176" y="436"/>
                    </a:lnTo>
                    <a:lnTo>
                      <a:pt x="176" y="435"/>
                    </a:lnTo>
                    <a:lnTo>
                      <a:pt x="176" y="432"/>
                    </a:lnTo>
                    <a:lnTo>
                      <a:pt x="175" y="432"/>
                    </a:lnTo>
                    <a:lnTo>
                      <a:pt x="176" y="431"/>
                    </a:lnTo>
                    <a:lnTo>
                      <a:pt x="175" y="431"/>
                    </a:lnTo>
                    <a:lnTo>
                      <a:pt x="175" y="430"/>
                    </a:lnTo>
                    <a:lnTo>
                      <a:pt x="176" y="431"/>
                    </a:lnTo>
                    <a:lnTo>
                      <a:pt x="177" y="431"/>
                    </a:lnTo>
                    <a:lnTo>
                      <a:pt x="178" y="430"/>
                    </a:lnTo>
                    <a:lnTo>
                      <a:pt x="177" y="430"/>
                    </a:lnTo>
                    <a:lnTo>
                      <a:pt x="177" y="431"/>
                    </a:lnTo>
                    <a:lnTo>
                      <a:pt x="177" y="430"/>
                    </a:lnTo>
                    <a:lnTo>
                      <a:pt x="177" y="429"/>
                    </a:lnTo>
                    <a:lnTo>
                      <a:pt x="178" y="429"/>
                    </a:lnTo>
                    <a:lnTo>
                      <a:pt x="178" y="428"/>
                    </a:lnTo>
                    <a:lnTo>
                      <a:pt x="179" y="428"/>
                    </a:lnTo>
                    <a:lnTo>
                      <a:pt x="179" y="429"/>
                    </a:lnTo>
                    <a:close/>
                    <a:moveTo>
                      <a:pt x="163" y="564"/>
                    </a:moveTo>
                    <a:lnTo>
                      <a:pt x="164" y="564"/>
                    </a:lnTo>
                    <a:lnTo>
                      <a:pt x="164" y="565"/>
                    </a:lnTo>
                    <a:lnTo>
                      <a:pt x="165" y="565"/>
                    </a:lnTo>
                    <a:lnTo>
                      <a:pt x="164" y="565"/>
                    </a:lnTo>
                    <a:lnTo>
                      <a:pt x="165" y="566"/>
                    </a:lnTo>
                    <a:lnTo>
                      <a:pt x="165" y="567"/>
                    </a:lnTo>
                    <a:lnTo>
                      <a:pt x="165" y="568"/>
                    </a:lnTo>
                    <a:lnTo>
                      <a:pt x="165" y="569"/>
                    </a:lnTo>
                    <a:lnTo>
                      <a:pt x="166" y="569"/>
                    </a:lnTo>
                    <a:lnTo>
                      <a:pt x="166" y="570"/>
                    </a:lnTo>
                    <a:lnTo>
                      <a:pt x="167" y="570"/>
                    </a:lnTo>
                    <a:lnTo>
                      <a:pt x="166" y="570"/>
                    </a:lnTo>
                    <a:lnTo>
                      <a:pt x="165" y="570"/>
                    </a:lnTo>
                    <a:lnTo>
                      <a:pt x="165" y="571"/>
                    </a:lnTo>
                    <a:lnTo>
                      <a:pt x="165" y="570"/>
                    </a:lnTo>
                    <a:lnTo>
                      <a:pt x="164" y="570"/>
                    </a:lnTo>
                    <a:lnTo>
                      <a:pt x="165" y="570"/>
                    </a:lnTo>
                    <a:lnTo>
                      <a:pt x="164" y="569"/>
                    </a:lnTo>
                    <a:lnTo>
                      <a:pt x="165" y="569"/>
                    </a:lnTo>
                    <a:lnTo>
                      <a:pt x="164" y="569"/>
                    </a:lnTo>
                    <a:lnTo>
                      <a:pt x="163" y="570"/>
                    </a:lnTo>
                    <a:lnTo>
                      <a:pt x="162" y="570"/>
                    </a:lnTo>
                    <a:lnTo>
                      <a:pt x="162" y="569"/>
                    </a:lnTo>
                    <a:lnTo>
                      <a:pt x="163" y="569"/>
                    </a:lnTo>
                    <a:lnTo>
                      <a:pt x="162" y="569"/>
                    </a:lnTo>
                    <a:lnTo>
                      <a:pt x="163" y="569"/>
                    </a:lnTo>
                    <a:lnTo>
                      <a:pt x="163" y="568"/>
                    </a:lnTo>
                    <a:lnTo>
                      <a:pt x="162" y="568"/>
                    </a:lnTo>
                    <a:lnTo>
                      <a:pt x="162" y="569"/>
                    </a:lnTo>
                    <a:lnTo>
                      <a:pt x="161" y="569"/>
                    </a:lnTo>
                    <a:lnTo>
                      <a:pt x="160" y="570"/>
                    </a:lnTo>
                    <a:lnTo>
                      <a:pt x="160" y="571"/>
                    </a:lnTo>
                    <a:lnTo>
                      <a:pt x="159" y="571"/>
                    </a:lnTo>
                    <a:lnTo>
                      <a:pt x="158" y="571"/>
                    </a:lnTo>
                    <a:lnTo>
                      <a:pt x="158" y="570"/>
                    </a:lnTo>
                    <a:lnTo>
                      <a:pt x="157" y="570"/>
                    </a:lnTo>
                    <a:lnTo>
                      <a:pt x="158" y="570"/>
                    </a:lnTo>
                    <a:lnTo>
                      <a:pt x="159" y="570"/>
                    </a:lnTo>
                    <a:lnTo>
                      <a:pt x="158" y="570"/>
                    </a:lnTo>
                    <a:lnTo>
                      <a:pt x="159" y="570"/>
                    </a:lnTo>
                    <a:lnTo>
                      <a:pt x="159" y="569"/>
                    </a:lnTo>
                    <a:lnTo>
                      <a:pt x="160" y="569"/>
                    </a:lnTo>
                    <a:lnTo>
                      <a:pt x="159" y="569"/>
                    </a:lnTo>
                    <a:lnTo>
                      <a:pt x="160" y="568"/>
                    </a:lnTo>
                    <a:lnTo>
                      <a:pt x="159" y="568"/>
                    </a:lnTo>
                    <a:lnTo>
                      <a:pt x="160" y="568"/>
                    </a:lnTo>
                    <a:lnTo>
                      <a:pt x="160" y="569"/>
                    </a:lnTo>
                    <a:lnTo>
                      <a:pt x="160" y="568"/>
                    </a:lnTo>
                    <a:lnTo>
                      <a:pt x="161" y="567"/>
                    </a:lnTo>
                    <a:lnTo>
                      <a:pt x="161" y="566"/>
                    </a:lnTo>
                    <a:lnTo>
                      <a:pt x="162" y="566"/>
                    </a:lnTo>
                    <a:lnTo>
                      <a:pt x="162" y="565"/>
                    </a:lnTo>
                    <a:lnTo>
                      <a:pt x="163" y="565"/>
                    </a:lnTo>
                    <a:lnTo>
                      <a:pt x="163" y="566"/>
                    </a:lnTo>
                    <a:lnTo>
                      <a:pt x="164" y="566"/>
                    </a:lnTo>
                    <a:lnTo>
                      <a:pt x="164" y="565"/>
                    </a:lnTo>
                    <a:lnTo>
                      <a:pt x="164" y="564"/>
                    </a:lnTo>
                    <a:lnTo>
                      <a:pt x="163" y="564"/>
                    </a:lnTo>
                    <a:lnTo>
                      <a:pt x="162" y="564"/>
                    </a:lnTo>
                    <a:lnTo>
                      <a:pt x="163" y="564"/>
                    </a:lnTo>
                    <a:close/>
                    <a:moveTo>
                      <a:pt x="134" y="401"/>
                    </a:moveTo>
                    <a:lnTo>
                      <a:pt x="135" y="402"/>
                    </a:lnTo>
                    <a:lnTo>
                      <a:pt x="134" y="402"/>
                    </a:lnTo>
                    <a:lnTo>
                      <a:pt x="134" y="403"/>
                    </a:lnTo>
                    <a:lnTo>
                      <a:pt x="134" y="402"/>
                    </a:lnTo>
                    <a:lnTo>
                      <a:pt x="133" y="402"/>
                    </a:lnTo>
                    <a:lnTo>
                      <a:pt x="133" y="401"/>
                    </a:lnTo>
                    <a:lnTo>
                      <a:pt x="132" y="401"/>
                    </a:lnTo>
                    <a:lnTo>
                      <a:pt x="129" y="402"/>
                    </a:lnTo>
                    <a:lnTo>
                      <a:pt x="128" y="402"/>
                    </a:lnTo>
                    <a:lnTo>
                      <a:pt x="128" y="403"/>
                    </a:lnTo>
                    <a:lnTo>
                      <a:pt x="128" y="404"/>
                    </a:lnTo>
                    <a:lnTo>
                      <a:pt x="128" y="405"/>
                    </a:lnTo>
                    <a:lnTo>
                      <a:pt x="127" y="405"/>
                    </a:lnTo>
                    <a:lnTo>
                      <a:pt x="125" y="405"/>
                    </a:lnTo>
                    <a:lnTo>
                      <a:pt x="125" y="404"/>
                    </a:lnTo>
                    <a:lnTo>
                      <a:pt x="124" y="404"/>
                    </a:lnTo>
                    <a:lnTo>
                      <a:pt x="125" y="404"/>
                    </a:lnTo>
                    <a:lnTo>
                      <a:pt x="125" y="403"/>
                    </a:lnTo>
                    <a:lnTo>
                      <a:pt x="126" y="403"/>
                    </a:lnTo>
                    <a:lnTo>
                      <a:pt x="127" y="403"/>
                    </a:lnTo>
                    <a:lnTo>
                      <a:pt x="128" y="402"/>
                    </a:lnTo>
                    <a:lnTo>
                      <a:pt x="128" y="401"/>
                    </a:lnTo>
                    <a:lnTo>
                      <a:pt x="128" y="400"/>
                    </a:lnTo>
                    <a:lnTo>
                      <a:pt x="129" y="400"/>
                    </a:lnTo>
                    <a:lnTo>
                      <a:pt x="131" y="399"/>
                    </a:lnTo>
                    <a:lnTo>
                      <a:pt x="131" y="398"/>
                    </a:lnTo>
                    <a:lnTo>
                      <a:pt x="131" y="397"/>
                    </a:lnTo>
                    <a:lnTo>
                      <a:pt x="132" y="397"/>
                    </a:lnTo>
                    <a:lnTo>
                      <a:pt x="133" y="397"/>
                    </a:lnTo>
                    <a:lnTo>
                      <a:pt x="133" y="398"/>
                    </a:lnTo>
                    <a:lnTo>
                      <a:pt x="134" y="398"/>
                    </a:lnTo>
                    <a:lnTo>
                      <a:pt x="133" y="398"/>
                    </a:lnTo>
                    <a:lnTo>
                      <a:pt x="133" y="399"/>
                    </a:lnTo>
                    <a:lnTo>
                      <a:pt x="133" y="400"/>
                    </a:lnTo>
                    <a:lnTo>
                      <a:pt x="134" y="400"/>
                    </a:lnTo>
                    <a:lnTo>
                      <a:pt x="134" y="401"/>
                    </a:lnTo>
                    <a:close/>
                    <a:moveTo>
                      <a:pt x="119" y="364"/>
                    </a:moveTo>
                    <a:lnTo>
                      <a:pt x="117" y="365"/>
                    </a:lnTo>
                    <a:lnTo>
                      <a:pt x="117" y="366"/>
                    </a:lnTo>
                    <a:lnTo>
                      <a:pt x="117" y="367"/>
                    </a:lnTo>
                    <a:lnTo>
                      <a:pt x="119" y="367"/>
                    </a:lnTo>
                    <a:lnTo>
                      <a:pt x="120" y="367"/>
                    </a:lnTo>
                    <a:lnTo>
                      <a:pt x="121" y="367"/>
                    </a:lnTo>
                    <a:lnTo>
                      <a:pt x="121" y="369"/>
                    </a:lnTo>
                    <a:lnTo>
                      <a:pt x="120" y="369"/>
                    </a:lnTo>
                    <a:lnTo>
                      <a:pt x="121" y="369"/>
                    </a:lnTo>
                    <a:lnTo>
                      <a:pt x="120" y="370"/>
                    </a:lnTo>
                    <a:lnTo>
                      <a:pt x="119" y="370"/>
                    </a:lnTo>
                    <a:lnTo>
                      <a:pt x="119" y="371"/>
                    </a:lnTo>
                    <a:lnTo>
                      <a:pt x="117" y="371"/>
                    </a:lnTo>
                    <a:lnTo>
                      <a:pt x="116" y="371"/>
                    </a:lnTo>
                    <a:lnTo>
                      <a:pt x="116" y="370"/>
                    </a:lnTo>
                    <a:lnTo>
                      <a:pt x="116" y="369"/>
                    </a:lnTo>
                    <a:lnTo>
                      <a:pt x="116" y="367"/>
                    </a:lnTo>
                    <a:lnTo>
                      <a:pt x="115" y="367"/>
                    </a:lnTo>
                    <a:lnTo>
                      <a:pt x="114" y="367"/>
                    </a:lnTo>
                    <a:lnTo>
                      <a:pt x="114" y="366"/>
                    </a:lnTo>
                    <a:lnTo>
                      <a:pt x="114" y="365"/>
                    </a:lnTo>
                    <a:lnTo>
                      <a:pt x="115" y="365"/>
                    </a:lnTo>
                    <a:lnTo>
                      <a:pt x="115" y="364"/>
                    </a:lnTo>
                    <a:lnTo>
                      <a:pt x="116" y="364"/>
                    </a:lnTo>
                    <a:lnTo>
                      <a:pt x="117" y="363"/>
                    </a:lnTo>
                    <a:lnTo>
                      <a:pt x="117" y="364"/>
                    </a:lnTo>
                    <a:lnTo>
                      <a:pt x="119" y="364"/>
                    </a:lnTo>
                    <a:close/>
                    <a:moveTo>
                      <a:pt x="140" y="597"/>
                    </a:moveTo>
                    <a:lnTo>
                      <a:pt x="140" y="599"/>
                    </a:lnTo>
                    <a:lnTo>
                      <a:pt x="141" y="601"/>
                    </a:lnTo>
                    <a:lnTo>
                      <a:pt x="141" y="602"/>
                    </a:lnTo>
                    <a:lnTo>
                      <a:pt x="142" y="602"/>
                    </a:lnTo>
                    <a:lnTo>
                      <a:pt x="142" y="603"/>
                    </a:lnTo>
                    <a:lnTo>
                      <a:pt x="142" y="604"/>
                    </a:lnTo>
                    <a:lnTo>
                      <a:pt x="142" y="605"/>
                    </a:lnTo>
                    <a:lnTo>
                      <a:pt x="141" y="606"/>
                    </a:lnTo>
                    <a:lnTo>
                      <a:pt x="140" y="606"/>
                    </a:lnTo>
                    <a:lnTo>
                      <a:pt x="140" y="607"/>
                    </a:lnTo>
                    <a:lnTo>
                      <a:pt x="139" y="607"/>
                    </a:lnTo>
                    <a:lnTo>
                      <a:pt x="137" y="609"/>
                    </a:lnTo>
                    <a:lnTo>
                      <a:pt x="136" y="610"/>
                    </a:lnTo>
                    <a:lnTo>
                      <a:pt x="133" y="611"/>
                    </a:lnTo>
                    <a:lnTo>
                      <a:pt x="134" y="611"/>
                    </a:lnTo>
                    <a:lnTo>
                      <a:pt x="134" y="610"/>
                    </a:lnTo>
                    <a:lnTo>
                      <a:pt x="135" y="610"/>
                    </a:lnTo>
                    <a:lnTo>
                      <a:pt x="135" y="609"/>
                    </a:lnTo>
                    <a:lnTo>
                      <a:pt x="135" y="608"/>
                    </a:lnTo>
                    <a:lnTo>
                      <a:pt x="136" y="608"/>
                    </a:lnTo>
                    <a:lnTo>
                      <a:pt x="136" y="609"/>
                    </a:lnTo>
                    <a:lnTo>
                      <a:pt x="136" y="608"/>
                    </a:lnTo>
                    <a:lnTo>
                      <a:pt x="137" y="608"/>
                    </a:lnTo>
                    <a:lnTo>
                      <a:pt x="137" y="607"/>
                    </a:lnTo>
                    <a:lnTo>
                      <a:pt x="138" y="606"/>
                    </a:lnTo>
                    <a:lnTo>
                      <a:pt x="138" y="607"/>
                    </a:lnTo>
                    <a:lnTo>
                      <a:pt x="138" y="606"/>
                    </a:lnTo>
                    <a:lnTo>
                      <a:pt x="139" y="606"/>
                    </a:lnTo>
                    <a:lnTo>
                      <a:pt x="139" y="607"/>
                    </a:lnTo>
                    <a:lnTo>
                      <a:pt x="139" y="606"/>
                    </a:lnTo>
                    <a:lnTo>
                      <a:pt x="139" y="607"/>
                    </a:lnTo>
                    <a:lnTo>
                      <a:pt x="140" y="606"/>
                    </a:lnTo>
                    <a:lnTo>
                      <a:pt x="141" y="606"/>
                    </a:lnTo>
                    <a:lnTo>
                      <a:pt x="141" y="605"/>
                    </a:lnTo>
                    <a:lnTo>
                      <a:pt x="141" y="604"/>
                    </a:lnTo>
                    <a:lnTo>
                      <a:pt x="142" y="604"/>
                    </a:lnTo>
                    <a:lnTo>
                      <a:pt x="142" y="603"/>
                    </a:lnTo>
                    <a:lnTo>
                      <a:pt x="141" y="603"/>
                    </a:lnTo>
                    <a:lnTo>
                      <a:pt x="141" y="602"/>
                    </a:lnTo>
                    <a:lnTo>
                      <a:pt x="141" y="601"/>
                    </a:lnTo>
                    <a:lnTo>
                      <a:pt x="140" y="601"/>
                    </a:lnTo>
                    <a:lnTo>
                      <a:pt x="140" y="599"/>
                    </a:lnTo>
                    <a:lnTo>
                      <a:pt x="139" y="599"/>
                    </a:lnTo>
                    <a:lnTo>
                      <a:pt x="138" y="599"/>
                    </a:lnTo>
                    <a:lnTo>
                      <a:pt x="138" y="598"/>
                    </a:lnTo>
                    <a:lnTo>
                      <a:pt x="138" y="597"/>
                    </a:lnTo>
                    <a:lnTo>
                      <a:pt x="138" y="598"/>
                    </a:lnTo>
                    <a:lnTo>
                      <a:pt x="138" y="597"/>
                    </a:lnTo>
                    <a:lnTo>
                      <a:pt x="139" y="597"/>
                    </a:lnTo>
                    <a:lnTo>
                      <a:pt x="139" y="596"/>
                    </a:lnTo>
                    <a:lnTo>
                      <a:pt x="140" y="596"/>
                    </a:lnTo>
                    <a:lnTo>
                      <a:pt x="140" y="597"/>
                    </a:lnTo>
                    <a:close/>
                    <a:moveTo>
                      <a:pt x="193" y="544"/>
                    </a:moveTo>
                    <a:lnTo>
                      <a:pt x="192" y="545"/>
                    </a:lnTo>
                    <a:lnTo>
                      <a:pt x="193" y="545"/>
                    </a:lnTo>
                    <a:lnTo>
                      <a:pt x="193" y="546"/>
                    </a:lnTo>
                    <a:lnTo>
                      <a:pt x="192" y="547"/>
                    </a:lnTo>
                    <a:lnTo>
                      <a:pt x="192" y="549"/>
                    </a:lnTo>
                    <a:lnTo>
                      <a:pt x="191" y="549"/>
                    </a:lnTo>
                    <a:lnTo>
                      <a:pt x="191" y="547"/>
                    </a:lnTo>
                    <a:lnTo>
                      <a:pt x="190" y="547"/>
                    </a:lnTo>
                    <a:lnTo>
                      <a:pt x="190" y="546"/>
                    </a:lnTo>
                    <a:lnTo>
                      <a:pt x="191" y="546"/>
                    </a:lnTo>
                    <a:lnTo>
                      <a:pt x="191" y="545"/>
                    </a:lnTo>
                    <a:lnTo>
                      <a:pt x="190" y="545"/>
                    </a:lnTo>
                    <a:lnTo>
                      <a:pt x="189" y="544"/>
                    </a:lnTo>
                    <a:lnTo>
                      <a:pt x="188" y="544"/>
                    </a:lnTo>
                    <a:lnTo>
                      <a:pt x="189" y="544"/>
                    </a:lnTo>
                    <a:lnTo>
                      <a:pt x="189" y="545"/>
                    </a:lnTo>
                    <a:lnTo>
                      <a:pt x="188" y="545"/>
                    </a:lnTo>
                    <a:lnTo>
                      <a:pt x="187" y="545"/>
                    </a:lnTo>
                    <a:lnTo>
                      <a:pt x="186" y="545"/>
                    </a:lnTo>
                    <a:lnTo>
                      <a:pt x="186" y="544"/>
                    </a:lnTo>
                    <a:lnTo>
                      <a:pt x="185" y="544"/>
                    </a:lnTo>
                    <a:lnTo>
                      <a:pt x="186" y="544"/>
                    </a:lnTo>
                    <a:lnTo>
                      <a:pt x="187" y="544"/>
                    </a:lnTo>
                    <a:lnTo>
                      <a:pt x="188" y="544"/>
                    </a:lnTo>
                    <a:lnTo>
                      <a:pt x="189" y="544"/>
                    </a:lnTo>
                    <a:lnTo>
                      <a:pt x="189" y="543"/>
                    </a:lnTo>
                    <a:lnTo>
                      <a:pt x="190" y="543"/>
                    </a:lnTo>
                    <a:lnTo>
                      <a:pt x="190" y="542"/>
                    </a:lnTo>
                    <a:lnTo>
                      <a:pt x="191" y="542"/>
                    </a:lnTo>
                    <a:lnTo>
                      <a:pt x="191" y="543"/>
                    </a:lnTo>
                    <a:lnTo>
                      <a:pt x="192" y="543"/>
                    </a:lnTo>
                    <a:lnTo>
                      <a:pt x="192" y="544"/>
                    </a:lnTo>
                    <a:lnTo>
                      <a:pt x="193" y="544"/>
                    </a:lnTo>
                    <a:close/>
                    <a:moveTo>
                      <a:pt x="181" y="492"/>
                    </a:moveTo>
                    <a:lnTo>
                      <a:pt x="181" y="493"/>
                    </a:lnTo>
                    <a:lnTo>
                      <a:pt x="181" y="494"/>
                    </a:lnTo>
                    <a:lnTo>
                      <a:pt x="181" y="495"/>
                    </a:lnTo>
                    <a:lnTo>
                      <a:pt x="180" y="495"/>
                    </a:lnTo>
                    <a:lnTo>
                      <a:pt x="180" y="494"/>
                    </a:lnTo>
                    <a:lnTo>
                      <a:pt x="180" y="493"/>
                    </a:lnTo>
                    <a:lnTo>
                      <a:pt x="179" y="493"/>
                    </a:lnTo>
                    <a:lnTo>
                      <a:pt x="178" y="493"/>
                    </a:lnTo>
                    <a:lnTo>
                      <a:pt x="177" y="494"/>
                    </a:lnTo>
                    <a:lnTo>
                      <a:pt x="177" y="495"/>
                    </a:lnTo>
                    <a:lnTo>
                      <a:pt x="177" y="496"/>
                    </a:lnTo>
                    <a:lnTo>
                      <a:pt x="178" y="496"/>
                    </a:lnTo>
                    <a:lnTo>
                      <a:pt x="178" y="498"/>
                    </a:lnTo>
                    <a:lnTo>
                      <a:pt x="179" y="498"/>
                    </a:lnTo>
                    <a:lnTo>
                      <a:pt x="179" y="499"/>
                    </a:lnTo>
                    <a:lnTo>
                      <a:pt x="178" y="498"/>
                    </a:lnTo>
                    <a:lnTo>
                      <a:pt x="177" y="498"/>
                    </a:lnTo>
                    <a:lnTo>
                      <a:pt x="176" y="498"/>
                    </a:lnTo>
                    <a:lnTo>
                      <a:pt x="176" y="499"/>
                    </a:lnTo>
                    <a:lnTo>
                      <a:pt x="175" y="499"/>
                    </a:lnTo>
                    <a:lnTo>
                      <a:pt x="175" y="500"/>
                    </a:lnTo>
                    <a:lnTo>
                      <a:pt x="175" y="499"/>
                    </a:lnTo>
                    <a:lnTo>
                      <a:pt x="174" y="499"/>
                    </a:lnTo>
                    <a:lnTo>
                      <a:pt x="174" y="498"/>
                    </a:lnTo>
                    <a:lnTo>
                      <a:pt x="175" y="496"/>
                    </a:lnTo>
                    <a:lnTo>
                      <a:pt x="176" y="495"/>
                    </a:lnTo>
                    <a:lnTo>
                      <a:pt x="176" y="494"/>
                    </a:lnTo>
                    <a:lnTo>
                      <a:pt x="180" y="491"/>
                    </a:lnTo>
                    <a:lnTo>
                      <a:pt x="181" y="492"/>
                    </a:lnTo>
                    <a:close/>
                    <a:moveTo>
                      <a:pt x="154" y="488"/>
                    </a:moveTo>
                    <a:lnTo>
                      <a:pt x="154" y="489"/>
                    </a:lnTo>
                    <a:lnTo>
                      <a:pt x="155" y="489"/>
                    </a:lnTo>
                    <a:lnTo>
                      <a:pt x="157" y="489"/>
                    </a:lnTo>
                    <a:lnTo>
                      <a:pt x="157" y="490"/>
                    </a:lnTo>
                    <a:lnTo>
                      <a:pt x="157" y="491"/>
                    </a:lnTo>
                    <a:lnTo>
                      <a:pt x="158" y="491"/>
                    </a:lnTo>
                    <a:lnTo>
                      <a:pt x="158" y="492"/>
                    </a:lnTo>
                    <a:lnTo>
                      <a:pt x="157" y="492"/>
                    </a:lnTo>
                    <a:lnTo>
                      <a:pt x="157" y="491"/>
                    </a:lnTo>
                    <a:lnTo>
                      <a:pt x="157" y="490"/>
                    </a:lnTo>
                    <a:lnTo>
                      <a:pt x="157" y="491"/>
                    </a:lnTo>
                    <a:lnTo>
                      <a:pt x="157" y="492"/>
                    </a:lnTo>
                    <a:lnTo>
                      <a:pt x="155" y="492"/>
                    </a:lnTo>
                    <a:lnTo>
                      <a:pt x="155" y="493"/>
                    </a:lnTo>
                    <a:lnTo>
                      <a:pt x="154" y="493"/>
                    </a:lnTo>
                    <a:lnTo>
                      <a:pt x="154" y="492"/>
                    </a:lnTo>
                    <a:lnTo>
                      <a:pt x="153" y="492"/>
                    </a:lnTo>
                    <a:lnTo>
                      <a:pt x="153" y="491"/>
                    </a:lnTo>
                    <a:lnTo>
                      <a:pt x="153" y="490"/>
                    </a:lnTo>
                    <a:lnTo>
                      <a:pt x="152" y="490"/>
                    </a:lnTo>
                    <a:lnTo>
                      <a:pt x="152" y="489"/>
                    </a:lnTo>
                    <a:lnTo>
                      <a:pt x="153" y="489"/>
                    </a:lnTo>
                    <a:lnTo>
                      <a:pt x="153" y="488"/>
                    </a:lnTo>
                    <a:lnTo>
                      <a:pt x="154" y="488"/>
                    </a:lnTo>
                    <a:lnTo>
                      <a:pt x="153" y="488"/>
                    </a:lnTo>
                    <a:lnTo>
                      <a:pt x="154" y="488"/>
                    </a:lnTo>
                    <a:lnTo>
                      <a:pt x="154" y="487"/>
                    </a:lnTo>
                    <a:lnTo>
                      <a:pt x="154" y="488"/>
                    </a:lnTo>
                    <a:close/>
                    <a:moveTo>
                      <a:pt x="183" y="491"/>
                    </a:moveTo>
                    <a:lnTo>
                      <a:pt x="184" y="491"/>
                    </a:lnTo>
                    <a:lnTo>
                      <a:pt x="185" y="491"/>
                    </a:lnTo>
                    <a:lnTo>
                      <a:pt x="186" y="491"/>
                    </a:lnTo>
                    <a:lnTo>
                      <a:pt x="187" y="491"/>
                    </a:lnTo>
                    <a:lnTo>
                      <a:pt x="187" y="492"/>
                    </a:lnTo>
                    <a:lnTo>
                      <a:pt x="186" y="492"/>
                    </a:lnTo>
                    <a:lnTo>
                      <a:pt x="185" y="492"/>
                    </a:lnTo>
                    <a:lnTo>
                      <a:pt x="185" y="493"/>
                    </a:lnTo>
                    <a:lnTo>
                      <a:pt x="185" y="494"/>
                    </a:lnTo>
                    <a:lnTo>
                      <a:pt x="185" y="495"/>
                    </a:lnTo>
                    <a:lnTo>
                      <a:pt x="185" y="496"/>
                    </a:lnTo>
                    <a:lnTo>
                      <a:pt x="184" y="496"/>
                    </a:lnTo>
                    <a:lnTo>
                      <a:pt x="184" y="495"/>
                    </a:lnTo>
                    <a:lnTo>
                      <a:pt x="184" y="496"/>
                    </a:lnTo>
                    <a:lnTo>
                      <a:pt x="185" y="496"/>
                    </a:lnTo>
                    <a:lnTo>
                      <a:pt x="185" y="495"/>
                    </a:lnTo>
                    <a:lnTo>
                      <a:pt x="184" y="495"/>
                    </a:lnTo>
                    <a:lnTo>
                      <a:pt x="183" y="495"/>
                    </a:lnTo>
                    <a:lnTo>
                      <a:pt x="183" y="494"/>
                    </a:lnTo>
                    <a:lnTo>
                      <a:pt x="183" y="495"/>
                    </a:lnTo>
                    <a:lnTo>
                      <a:pt x="183" y="496"/>
                    </a:lnTo>
                    <a:lnTo>
                      <a:pt x="181" y="496"/>
                    </a:lnTo>
                    <a:lnTo>
                      <a:pt x="181" y="495"/>
                    </a:lnTo>
                    <a:lnTo>
                      <a:pt x="181" y="494"/>
                    </a:lnTo>
                    <a:lnTo>
                      <a:pt x="183" y="494"/>
                    </a:lnTo>
                    <a:lnTo>
                      <a:pt x="181" y="493"/>
                    </a:lnTo>
                    <a:lnTo>
                      <a:pt x="183" y="493"/>
                    </a:lnTo>
                    <a:lnTo>
                      <a:pt x="183" y="492"/>
                    </a:lnTo>
                    <a:lnTo>
                      <a:pt x="181" y="492"/>
                    </a:lnTo>
                    <a:lnTo>
                      <a:pt x="183" y="491"/>
                    </a:lnTo>
                    <a:close/>
                    <a:moveTo>
                      <a:pt x="158" y="552"/>
                    </a:moveTo>
                    <a:lnTo>
                      <a:pt x="159" y="552"/>
                    </a:lnTo>
                    <a:lnTo>
                      <a:pt x="159" y="553"/>
                    </a:lnTo>
                    <a:lnTo>
                      <a:pt x="160" y="553"/>
                    </a:lnTo>
                    <a:lnTo>
                      <a:pt x="159" y="553"/>
                    </a:lnTo>
                    <a:lnTo>
                      <a:pt x="159" y="554"/>
                    </a:lnTo>
                    <a:lnTo>
                      <a:pt x="160" y="554"/>
                    </a:lnTo>
                    <a:lnTo>
                      <a:pt x="159" y="554"/>
                    </a:lnTo>
                    <a:lnTo>
                      <a:pt x="159" y="555"/>
                    </a:lnTo>
                    <a:lnTo>
                      <a:pt x="158" y="556"/>
                    </a:lnTo>
                    <a:lnTo>
                      <a:pt x="158" y="555"/>
                    </a:lnTo>
                    <a:lnTo>
                      <a:pt x="157" y="555"/>
                    </a:lnTo>
                    <a:lnTo>
                      <a:pt x="157" y="556"/>
                    </a:lnTo>
                    <a:lnTo>
                      <a:pt x="155" y="557"/>
                    </a:lnTo>
                    <a:lnTo>
                      <a:pt x="155" y="556"/>
                    </a:lnTo>
                    <a:lnTo>
                      <a:pt x="155" y="555"/>
                    </a:lnTo>
                    <a:lnTo>
                      <a:pt x="154" y="555"/>
                    </a:lnTo>
                    <a:lnTo>
                      <a:pt x="155" y="555"/>
                    </a:lnTo>
                    <a:lnTo>
                      <a:pt x="155" y="554"/>
                    </a:lnTo>
                    <a:lnTo>
                      <a:pt x="157" y="554"/>
                    </a:lnTo>
                    <a:lnTo>
                      <a:pt x="158" y="554"/>
                    </a:lnTo>
                    <a:lnTo>
                      <a:pt x="157" y="553"/>
                    </a:lnTo>
                    <a:lnTo>
                      <a:pt x="157" y="554"/>
                    </a:lnTo>
                    <a:lnTo>
                      <a:pt x="155" y="554"/>
                    </a:lnTo>
                    <a:lnTo>
                      <a:pt x="154" y="554"/>
                    </a:lnTo>
                    <a:lnTo>
                      <a:pt x="155" y="553"/>
                    </a:lnTo>
                    <a:lnTo>
                      <a:pt x="157" y="553"/>
                    </a:lnTo>
                    <a:lnTo>
                      <a:pt x="157" y="552"/>
                    </a:lnTo>
                    <a:lnTo>
                      <a:pt x="158" y="553"/>
                    </a:lnTo>
                    <a:lnTo>
                      <a:pt x="158" y="552"/>
                    </a:lnTo>
                    <a:close/>
                    <a:moveTo>
                      <a:pt x="185" y="517"/>
                    </a:moveTo>
                    <a:lnTo>
                      <a:pt x="186" y="517"/>
                    </a:lnTo>
                    <a:lnTo>
                      <a:pt x="186" y="518"/>
                    </a:lnTo>
                    <a:lnTo>
                      <a:pt x="186" y="519"/>
                    </a:lnTo>
                    <a:lnTo>
                      <a:pt x="186" y="520"/>
                    </a:lnTo>
                    <a:lnTo>
                      <a:pt x="186" y="521"/>
                    </a:lnTo>
                    <a:lnTo>
                      <a:pt x="185" y="521"/>
                    </a:lnTo>
                    <a:lnTo>
                      <a:pt x="185" y="523"/>
                    </a:lnTo>
                    <a:lnTo>
                      <a:pt x="186" y="523"/>
                    </a:lnTo>
                    <a:lnTo>
                      <a:pt x="186" y="524"/>
                    </a:lnTo>
                    <a:lnTo>
                      <a:pt x="185" y="525"/>
                    </a:lnTo>
                    <a:lnTo>
                      <a:pt x="185" y="524"/>
                    </a:lnTo>
                    <a:lnTo>
                      <a:pt x="185" y="525"/>
                    </a:lnTo>
                    <a:lnTo>
                      <a:pt x="184" y="524"/>
                    </a:lnTo>
                    <a:lnTo>
                      <a:pt x="184" y="523"/>
                    </a:lnTo>
                    <a:lnTo>
                      <a:pt x="183" y="521"/>
                    </a:lnTo>
                    <a:lnTo>
                      <a:pt x="183" y="520"/>
                    </a:lnTo>
                    <a:lnTo>
                      <a:pt x="183" y="519"/>
                    </a:lnTo>
                    <a:lnTo>
                      <a:pt x="184" y="519"/>
                    </a:lnTo>
                    <a:lnTo>
                      <a:pt x="184" y="520"/>
                    </a:lnTo>
                    <a:lnTo>
                      <a:pt x="185" y="520"/>
                    </a:lnTo>
                    <a:lnTo>
                      <a:pt x="185" y="521"/>
                    </a:lnTo>
                    <a:lnTo>
                      <a:pt x="185" y="520"/>
                    </a:lnTo>
                    <a:lnTo>
                      <a:pt x="185" y="519"/>
                    </a:lnTo>
                    <a:lnTo>
                      <a:pt x="186" y="519"/>
                    </a:lnTo>
                    <a:lnTo>
                      <a:pt x="185" y="519"/>
                    </a:lnTo>
                    <a:lnTo>
                      <a:pt x="186" y="519"/>
                    </a:lnTo>
                    <a:lnTo>
                      <a:pt x="185" y="519"/>
                    </a:lnTo>
                    <a:lnTo>
                      <a:pt x="186" y="519"/>
                    </a:lnTo>
                    <a:lnTo>
                      <a:pt x="185" y="518"/>
                    </a:lnTo>
                    <a:lnTo>
                      <a:pt x="186" y="518"/>
                    </a:lnTo>
                    <a:lnTo>
                      <a:pt x="185" y="518"/>
                    </a:lnTo>
                    <a:lnTo>
                      <a:pt x="184" y="517"/>
                    </a:lnTo>
                    <a:lnTo>
                      <a:pt x="184" y="516"/>
                    </a:lnTo>
                    <a:lnTo>
                      <a:pt x="185" y="516"/>
                    </a:lnTo>
                    <a:lnTo>
                      <a:pt x="184" y="517"/>
                    </a:lnTo>
                    <a:lnTo>
                      <a:pt x="185" y="517"/>
                    </a:lnTo>
                    <a:close/>
                    <a:moveTo>
                      <a:pt x="84" y="373"/>
                    </a:moveTo>
                    <a:lnTo>
                      <a:pt x="85" y="373"/>
                    </a:lnTo>
                    <a:lnTo>
                      <a:pt x="87" y="372"/>
                    </a:lnTo>
                    <a:lnTo>
                      <a:pt x="87" y="373"/>
                    </a:lnTo>
                    <a:lnTo>
                      <a:pt x="87" y="374"/>
                    </a:lnTo>
                    <a:lnTo>
                      <a:pt x="86" y="374"/>
                    </a:lnTo>
                    <a:lnTo>
                      <a:pt x="86" y="373"/>
                    </a:lnTo>
                    <a:lnTo>
                      <a:pt x="85" y="374"/>
                    </a:lnTo>
                    <a:lnTo>
                      <a:pt x="84" y="374"/>
                    </a:lnTo>
                    <a:lnTo>
                      <a:pt x="83" y="374"/>
                    </a:lnTo>
                    <a:lnTo>
                      <a:pt x="83" y="375"/>
                    </a:lnTo>
                    <a:lnTo>
                      <a:pt x="82" y="375"/>
                    </a:lnTo>
                    <a:lnTo>
                      <a:pt x="81" y="375"/>
                    </a:lnTo>
                    <a:lnTo>
                      <a:pt x="81" y="374"/>
                    </a:lnTo>
                    <a:lnTo>
                      <a:pt x="81" y="373"/>
                    </a:lnTo>
                    <a:lnTo>
                      <a:pt x="82" y="372"/>
                    </a:lnTo>
                    <a:lnTo>
                      <a:pt x="82" y="371"/>
                    </a:lnTo>
                    <a:lnTo>
                      <a:pt x="83" y="371"/>
                    </a:lnTo>
                    <a:lnTo>
                      <a:pt x="83" y="372"/>
                    </a:lnTo>
                    <a:lnTo>
                      <a:pt x="84" y="372"/>
                    </a:lnTo>
                    <a:lnTo>
                      <a:pt x="84" y="373"/>
                    </a:lnTo>
                    <a:close/>
                    <a:moveTo>
                      <a:pt x="164" y="463"/>
                    </a:moveTo>
                    <a:lnTo>
                      <a:pt x="164" y="464"/>
                    </a:lnTo>
                    <a:lnTo>
                      <a:pt x="165" y="464"/>
                    </a:lnTo>
                    <a:lnTo>
                      <a:pt x="165" y="465"/>
                    </a:lnTo>
                    <a:lnTo>
                      <a:pt x="166" y="465"/>
                    </a:lnTo>
                    <a:lnTo>
                      <a:pt x="166" y="466"/>
                    </a:lnTo>
                    <a:lnTo>
                      <a:pt x="167" y="466"/>
                    </a:lnTo>
                    <a:lnTo>
                      <a:pt x="167" y="465"/>
                    </a:lnTo>
                    <a:lnTo>
                      <a:pt x="168" y="465"/>
                    </a:lnTo>
                    <a:lnTo>
                      <a:pt x="167" y="466"/>
                    </a:lnTo>
                    <a:lnTo>
                      <a:pt x="168" y="466"/>
                    </a:lnTo>
                    <a:lnTo>
                      <a:pt x="168" y="467"/>
                    </a:lnTo>
                    <a:lnTo>
                      <a:pt x="167" y="467"/>
                    </a:lnTo>
                    <a:lnTo>
                      <a:pt x="166" y="467"/>
                    </a:lnTo>
                    <a:lnTo>
                      <a:pt x="166" y="468"/>
                    </a:lnTo>
                    <a:lnTo>
                      <a:pt x="166" y="469"/>
                    </a:lnTo>
                    <a:lnTo>
                      <a:pt x="165" y="469"/>
                    </a:lnTo>
                    <a:lnTo>
                      <a:pt x="165" y="468"/>
                    </a:lnTo>
                    <a:lnTo>
                      <a:pt x="165" y="467"/>
                    </a:lnTo>
                    <a:lnTo>
                      <a:pt x="165" y="466"/>
                    </a:lnTo>
                    <a:lnTo>
                      <a:pt x="164" y="465"/>
                    </a:lnTo>
                    <a:lnTo>
                      <a:pt x="163" y="465"/>
                    </a:lnTo>
                    <a:lnTo>
                      <a:pt x="162" y="464"/>
                    </a:lnTo>
                    <a:lnTo>
                      <a:pt x="163" y="464"/>
                    </a:lnTo>
                    <a:lnTo>
                      <a:pt x="164" y="463"/>
                    </a:lnTo>
                    <a:lnTo>
                      <a:pt x="164" y="464"/>
                    </a:lnTo>
                    <a:lnTo>
                      <a:pt x="164" y="463"/>
                    </a:lnTo>
                    <a:close/>
                    <a:moveTo>
                      <a:pt x="166" y="459"/>
                    </a:moveTo>
                    <a:lnTo>
                      <a:pt x="166" y="460"/>
                    </a:lnTo>
                    <a:lnTo>
                      <a:pt x="165" y="460"/>
                    </a:lnTo>
                    <a:lnTo>
                      <a:pt x="166" y="460"/>
                    </a:lnTo>
                    <a:lnTo>
                      <a:pt x="166" y="461"/>
                    </a:lnTo>
                    <a:lnTo>
                      <a:pt x="166" y="460"/>
                    </a:lnTo>
                    <a:lnTo>
                      <a:pt x="166" y="461"/>
                    </a:lnTo>
                    <a:lnTo>
                      <a:pt x="167" y="461"/>
                    </a:lnTo>
                    <a:lnTo>
                      <a:pt x="167" y="462"/>
                    </a:lnTo>
                    <a:lnTo>
                      <a:pt x="166" y="462"/>
                    </a:lnTo>
                    <a:lnTo>
                      <a:pt x="165" y="461"/>
                    </a:lnTo>
                    <a:lnTo>
                      <a:pt x="164" y="461"/>
                    </a:lnTo>
                    <a:lnTo>
                      <a:pt x="163" y="461"/>
                    </a:lnTo>
                    <a:lnTo>
                      <a:pt x="163" y="462"/>
                    </a:lnTo>
                    <a:lnTo>
                      <a:pt x="163" y="461"/>
                    </a:lnTo>
                    <a:lnTo>
                      <a:pt x="162" y="461"/>
                    </a:lnTo>
                    <a:lnTo>
                      <a:pt x="161" y="461"/>
                    </a:lnTo>
                    <a:lnTo>
                      <a:pt x="160" y="461"/>
                    </a:lnTo>
                    <a:lnTo>
                      <a:pt x="161" y="461"/>
                    </a:lnTo>
                    <a:lnTo>
                      <a:pt x="162" y="461"/>
                    </a:lnTo>
                    <a:lnTo>
                      <a:pt x="162" y="460"/>
                    </a:lnTo>
                    <a:lnTo>
                      <a:pt x="163" y="460"/>
                    </a:lnTo>
                    <a:lnTo>
                      <a:pt x="163" y="459"/>
                    </a:lnTo>
                    <a:lnTo>
                      <a:pt x="164" y="460"/>
                    </a:lnTo>
                    <a:lnTo>
                      <a:pt x="165" y="460"/>
                    </a:lnTo>
                    <a:lnTo>
                      <a:pt x="165" y="459"/>
                    </a:lnTo>
                    <a:lnTo>
                      <a:pt x="165" y="457"/>
                    </a:lnTo>
                    <a:lnTo>
                      <a:pt x="166" y="457"/>
                    </a:lnTo>
                    <a:lnTo>
                      <a:pt x="166" y="456"/>
                    </a:lnTo>
                    <a:lnTo>
                      <a:pt x="166" y="455"/>
                    </a:lnTo>
                    <a:lnTo>
                      <a:pt x="167" y="455"/>
                    </a:lnTo>
                    <a:lnTo>
                      <a:pt x="167" y="456"/>
                    </a:lnTo>
                    <a:lnTo>
                      <a:pt x="166" y="456"/>
                    </a:lnTo>
                    <a:lnTo>
                      <a:pt x="166" y="457"/>
                    </a:lnTo>
                    <a:lnTo>
                      <a:pt x="167" y="457"/>
                    </a:lnTo>
                    <a:lnTo>
                      <a:pt x="166" y="457"/>
                    </a:lnTo>
                    <a:lnTo>
                      <a:pt x="167" y="459"/>
                    </a:lnTo>
                    <a:lnTo>
                      <a:pt x="166" y="459"/>
                    </a:lnTo>
                    <a:close/>
                    <a:moveTo>
                      <a:pt x="165" y="437"/>
                    </a:moveTo>
                    <a:lnTo>
                      <a:pt x="166" y="437"/>
                    </a:lnTo>
                    <a:lnTo>
                      <a:pt x="166" y="438"/>
                    </a:lnTo>
                    <a:lnTo>
                      <a:pt x="167" y="438"/>
                    </a:lnTo>
                    <a:lnTo>
                      <a:pt x="166" y="438"/>
                    </a:lnTo>
                    <a:lnTo>
                      <a:pt x="166" y="437"/>
                    </a:lnTo>
                    <a:lnTo>
                      <a:pt x="167" y="438"/>
                    </a:lnTo>
                    <a:lnTo>
                      <a:pt x="167" y="439"/>
                    </a:lnTo>
                    <a:lnTo>
                      <a:pt x="168" y="439"/>
                    </a:lnTo>
                    <a:lnTo>
                      <a:pt x="168" y="440"/>
                    </a:lnTo>
                    <a:lnTo>
                      <a:pt x="167" y="440"/>
                    </a:lnTo>
                    <a:lnTo>
                      <a:pt x="167" y="441"/>
                    </a:lnTo>
                    <a:lnTo>
                      <a:pt x="166" y="441"/>
                    </a:lnTo>
                    <a:lnTo>
                      <a:pt x="166" y="440"/>
                    </a:lnTo>
                    <a:lnTo>
                      <a:pt x="165" y="440"/>
                    </a:lnTo>
                    <a:lnTo>
                      <a:pt x="166" y="440"/>
                    </a:lnTo>
                    <a:lnTo>
                      <a:pt x="165" y="440"/>
                    </a:lnTo>
                    <a:lnTo>
                      <a:pt x="164" y="440"/>
                    </a:lnTo>
                    <a:lnTo>
                      <a:pt x="164" y="439"/>
                    </a:lnTo>
                    <a:lnTo>
                      <a:pt x="164" y="438"/>
                    </a:lnTo>
                    <a:lnTo>
                      <a:pt x="164" y="439"/>
                    </a:lnTo>
                    <a:lnTo>
                      <a:pt x="165" y="438"/>
                    </a:lnTo>
                    <a:lnTo>
                      <a:pt x="165" y="439"/>
                    </a:lnTo>
                    <a:lnTo>
                      <a:pt x="165" y="438"/>
                    </a:lnTo>
                    <a:lnTo>
                      <a:pt x="165" y="437"/>
                    </a:lnTo>
                    <a:close/>
                    <a:moveTo>
                      <a:pt x="190" y="540"/>
                    </a:moveTo>
                    <a:lnTo>
                      <a:pt x="189" y="540"/>
                    </a:lnTo>
                    <a:lnTo>
                      <a:pt x="190" y="541"/>
                    </a:lnTo>
                    <a:lnTo>
                      <a:pt x="191" y="541"/>
                    </a:lnTo>
                    <a:lnTo>
                      <a:pt x="190" y="541"/>
                    </a:lnTo>
                    <a:lnTo>
                      <a:pt x="190" y="542"/>
                    </a:lnTo>
                    <a:lnTo>
                      <a:pt x="189" y="542"/>
                    </a:lnTo>
                    <a:lnTo>
                      <a:pt x="189" y="543"/>
                    </a:lnTo>
                    <a:lnTo>
                      <a:pt x="188" y="543"/>
                    </a:lnTo>
                    <a:lnTo>
                      <a:pt x="187" y="543"/>
                    </a:lnTo>
                    <a:lnTo>
                      <a:pt x="187" y="544"/>
                    </a:lnTo>
                    <a:lnTo>
                      <a:pt x="186" y="544"/>
                    </a:lnTo>
                    <a:lnTo>
                      <a:pt x="186" y="543"/>
                    </a:lnTo>
                    <a:lnTo>
                      <a:pt x="186" y="542"/>
                    </a:lnTo>
                    <a:lnTo>
                      <a:pt x="187" y="542"/>
                    </a:lnTo>
                    <a:lnTo>
                      <a:pt x="188" y="542"/>
                    </a:lnTo>
                    <a:lnTo>
                      <a:pt x="187" y="542"/>
                    </a:lnTo>
                    <a:lnTo>
                      <a:pt x="187" y="541"/>
                    </a:lnTo>
                    <a:lnTo>
                      <a:pt x="188" y="541"/>
                    </a:lnTo>
                    <a:lnTo>
                      <a:pt x="188" y="540"/>
                    </a:lnTo>
                    <a:lnTo>
                      <a:pt x="189" y="540"/>
                    </a:lnTo>
                    <a:lnTo>
                      <a:pt x="190" y="539"/>
                    </a:lnTo>
                    <a:lnTo>
                      <a:pt x="190" y="540"/>
                    </a:lnTo>
                    <a:close/>
                    <a:moveTo>
                      <a:pt x="163" y="492"/>
                    </a:moveTo>
                    <a:lnTo>
                      <a:pt x="163" y="493"/>
                    </a:lnTo>
                    <a:lnTo>
                      <a:pt x="164" y="493"/>
                    </a:lnTo>
                    <a:lnTo>
                      <a:pt x="163" y="493"/>
                    </a:lnTo>
                    <a:lnTo>
                      <a:pt x="162" y="493"/>
                    </a:lnTo>
                    <a:lnTo>
                      <a:pt x="161" y="493"/>
                    </a:lnTo>
                    <a:lnTo>
                      <a:pt x="160" y="493"/>
                    </a:lnTo>
                    <a:lnTo>
                      <a:pt x="160" y="494"/>
                    </a:lnTo>
                    <a:lnTo>
                      <a:pt x="160" y="495"/>
                    </a:lnTo>
                    <a:lnTo>
                      <a:pt x="160" y="494"/>
                    </a:lnTo>
                    <a:lnTo>
                      <a:pt x="159" y="494"/>
                    </a:lnTo>
                    <a:lnTo>
                      <a:pt x="158" y="494"/>
                    </a:lnTo>
                    <a:lnTo>
                      <a:pt x="157" y="494"/>
                    </a:lnTo>
                    <a:lnTo>
                      <a:pt x="157" y="493"/>
                    </a:lnTo>
                    <a:lnTo>
                      <a:pt x="157" y="492"/>
                    </a:lnTo>
                    <a:lnTo>
                      <a:pt x="158" y="492"/>
                    </a:lnTo>
                    <a:lnTo>
                      <a:pt x="158" y="493"/>
                    </a:lnTo>
                    <a:lnTo>
                      <a:pt x="158" y="492"/>
                    </a:lnTo>
                    <a:lnTo>
                      <a:pt x="158" y="493"/>
                    </a:lnTo>
                    <a:lnTo>
                      <a:pt x="159" y="493"/>
                    </a:lnTo>
                    <a:lnTo>
                      <a:pt x="160" y="493"/>
                    </a:lnTo>
                    <a:lnTo>
                      <a:pt x="160" y="492"/>
                    </a:lnTo>
                    <a:lnTo>
                      <a:pt x="161" y="492"/>
                    </a:lnTo>
                    <a:lnTo>
                      <a:pt x="161" y="491"/>
                    </a:lnTo>
                    <a:lnTo>
                      <a:pt x="162" y="491"/>
                    </a:lnTo>
                    <a:lnTo>
                      <a:pt x="163" y="491"/>
                    </a:lnTo>
                    <a:lnTo>
                      <a:pt x="163" y="492"/>
                    </a:lnTo>
                    <a:close/>
                    <a:moveTo>
                      <a:pt x="181" y="557"/>
                    </a:moveTo>
                    <a:lnTo>
                      <a:pt x="180" y="557"/>
                    </a:lnTo>
                    <a:lnTo>
                      <a:pt x="180" y="558"/>
                    </a:lnTo>
                    <a:lnTo>
                      <a:pt x="179" y="558"/>
                    </a:lnTo>
                    <a:lnTo>
                      <a:pt x="179" y="559"/>
                    </a:lnTo>
                    <a:lnTo>
                      <a:pt x="178" y="560"/>
                    </a:lnTo>
                    <a:lnTo>
                      <a:pt x="177" y="562"/>
                    </a:lnTo>
                    <a:lnTo>
                      <a:pt x="177" y="563"/>
                    </a:lnTo>
                    <a:lnTo>
                      <a:pt x="176" y="563"/>
                    </a:lnTo>
                    <a:lnTo>
                      <a:pt x="177" y="562"/>
                    </a:lnTo>
                    <a:lnTo>
                      <a:pt x="176" y="562"/>
                    </a:lnTo>
                    <a:lnTo>
                      <a:pt x="177" y="562"/>
                    </a:lnTo>
                    <a:lnTo>
                      <a:pt x="177" y="560"/>
                    </a:lnTo>
                    <a:lnTo>
                      <a:pt x="177" y="562"/>
                    </a:lnTo>
                    <a:lnTo>
                      <a:pt x="177" y="560"/>
                    </a:lnTo>
                    <a:lnTo>
                      <a:pt x="178" y="560"/>
                    </a:lnTo>
                    <a:lnTo>
                      <a:pt x="178" y="559"/>
                    </a:lnTo>
                    <a:lnTo>
                      <a:pt x="177" y="560"/>
                    </a:lnTo>
                    <a:lnTo>
                      <a:pt x="177" y="559"/>
                    </a:lnTo>
                    <a:lnTo>
                      <a:pt x="178" y="558"/>
                    </a:lnTo>
                    <a:lnTo>
                      <a:pt x="178" y="557"/>
                    </a:lnTo>
                    <a:lnTo>
                      <a:pt x="179" y="557"/>
                    </a:lnTo>
                    <a:lnTo>
                      <a:pt x="179" y="556"/>
                    </a:lnTo>
                    <a:lnTo>
                      <a:pt x="179" y="557"/>
                    </a:lnTo>
                    <a:lnTo>
                      <a:pt x="180" y="557"/>
                    </a:lnTo>
                    <a:lnTo>
                      <a:pt x="180" y="556"/>
                    </a:lnTo>
                    <a:lnTo>
                      <a:pt x="181" y="556"/>
                    </a:lnTo>
                    <a:lnTo>
                      <a:pt x="181" y="557"/>
                    </a:lnTo>
                    <a:close/>
                    <a:moveTo>
                      <a:pt x="157" y="472"/>
                    </a:moveTo>
                    <a:lnTo>
                      <a:pt x="159" y="472"/>
                    </a:lnTo>
                    <a:lnTo>
                      <a:pt x="160" y="472"/>
                    </a:lnTo>
                    <a:lnTo>
                      <a:pt x="160" y="473"/>
                    </a:lnTo>
                    <a:lnTo>
                      <a:pt x="161" y="473"/>
                    </a:lnTo>
                    <a:lnTo>
                      <a:pt x="162" y="473"/>
                    </a:lnTo>
                    <a:lnTo>
                      <a:pt x="162" y="474"/>
                    </a:lnTo>
                    <a:lnTo>
                      <a:pt x="163" y="474"/>
                    </a:lnTo>
                    <a:lnTo>
                      <a:pt x="163" y="475"/>
                    </a:lnTo>
                    <a:lnTo>
                      <a:pt x="162" y="475"/>
                    </a:lnTo>
                    <a:lnTo>
                      <a:pt x="161" y="475"/>
                    </a:lnTo>
                    <a:lnTo>
                      <a:pt x="161" y="474"/>
                    </a:lnTo>
                    <a:lnTo>
                      <a:pt x="160" y="473"/>
                    </a:lnTo>
                    <a:lnTo>
                      <a:pt x="159" y="473"/>
                    </a:lnTo>
                    <a:lnTo>
                      <a:pt x="158" y="473"/>
                    </a:lnTo>
                    <a:lnTo>
                      <a:pt x="157" y="473"/>
                    </a:lnTo>
                    <a:lnTo>
                      <a:pt x="155" y="473"/>
                    </a:lnTo>
                    <a:lnTo>
                      <a:pt x="155" y="472"/>
                    </a:lnTo>
                    <a:lnTo>
                      <a:pt x="155" y="473"/>
                    </a:lnTo>
                    <a:lnTo>
                      <a:pt x="157" y="473"/>
                    </a:lnTo>
                    <a:lnTo>
                      <a:pt x="158" y="473"/>
                    </a:lnTo>
                    <a:lnTo>
                      <a:pt x="157" y="473"/>
                    </a:lnTo>
                    <a:lnTo>
                      <a:pt x="159" y="472"/>
                    </a:lnTo>
                    <a:lnTo>
                      <a:pt x="158" y="472"/>
                    </a:lnTo>
                    <a:lnTo>
                      <a:pt x="157" y="472"/>
                    </a:lnTo>
                    <a:lnTo>
                      <a:pt x="157" y="473"/>
                    </a:lnTo>
                    <a:lnTo>
                      <a:pt x="157" y="472"/>
                    </a:lnTo>
                    <a:lnTo>
                      <a:pt x="155" y="472"/>
                    </a:lnTo>
                    <a:lnTo>
                      <a:pt x="157" y="472"/>
                    </a:lnTo>
                    <a:close/>
                    <a:moveTo>
                      <a:pt x="174" y="498"/>
                    </a:moveTo>
                    <a:lnTo>
                      <a:pt x="174" y="499"/>
                    </a:lnTo>
                    <a:lnTo>
                      <a:pt x="174" y="500"/>
                    </a:lnTo>
                    <a:lnTo>
                      <a:pt x="175" y="500"/>
                    </a:lnTo>
                    <a:lnTo>
                      <a:pt x="174" y="500"/>
                    </a:lnTo>
                    <a:lnTo>
                      <a:pt x="173" y="500"/>
                    </a:lnTo>
                    <a:lnTo>
                      <a:pt x="173" y="499"/>
                    </a:lnTo>
                    <a:lnTo>
                      <a:pt x="172" y="499"/>
                    </a:lnTo>
                    <a:lnTo>
                      <a:pt x="171" y="498"/>
                    </a:lnTo>
                    <a:lnTo>
                      <a:pt x="172" y="498"/>
                    </a:lnTo>
                    <a:lnTo>
                      <a:pt x="176" y="494"/>
                    </a:lnTo>
                    <a:lnTo>
                      <a:pt x="176" y="495"/>
                    </a:lnTo>
                    <a:lnTo>
                      <a:pt x="175" y="495"/>
                    </a:lnTo>
                    <a:lnTo>
                      <a:pt x="175" y="496"/>
                    </a:lnTo>
                    <a:lnTo>
                      <a:pt x="174" y="496"/>
                    </a:lnTo>
                    <a:lnTo>
                      <a:pt x="174" y="498"/>
                    </a:lnTo>
                    <a:close/>
                    <a:moveTo>
                      <a:pt x="189" y="515"/>
                    </a:moveTo>
                    <a:lnTo>
                      <a:pt x="189" y="516"/>
                    </a:lnTo>
                    <a:lnTo>
                      <a:pt x="189" y="518"/>
                    </a:lnTo>
                    <a:lnTo>
                      <a:pt x="188" y="518"/>
                    </a:lnTo>
                    <a:lnTo>
                      <a:pt x="188" y="517"/>
                    </a:lnTo>
                    <a:lnTo>
                      <a:pt x="187" y="517"/>
                    </a:lnTo>
                    <a:lnTo>
                      <a:pt x="187" y="516"/>
                    </a:lnTo>
                    <a:lnTo>
                      <a:pt x="186" y="516"/>
                    </a:lnTo>
                    <a:lnTo>
                      <a:pt x="186" y="515"/>
                    </a:lnTo>
                    <a:lnTo>
                      <a:pt x="186" y="514"/>
                    </a:lnTo>
                    <a:lnTo>
                      <a:pt x="189" y="515"/>
                    </a:lnTo>
                    <a:close/>
                    <a:moveTo>
                      <a:pt x="176" y="481"/>
                    </a:moveTo>
                    <a:lnTo>
                      <a:pt x="176" y="482"/>
                    </a:lnTo>
                    <a:lnTo>
                      <a:pt x="175" y="482"/>
                    </a:lnTo>
                    <a:lnTo>
                      <a:pt x="174" y="482"/>
                    </a:lnTo>
                    <a:lnTo>
                      <a:pt x="173" y="481"/>
                    </a:lnTo>
                    <a:lnTo>
                      <a:pt x="173" y="480"/>
                    </a:lnTo>
                    <a:lnTo>
                      <a:pt x="173" y="479"/>
                    </a:lnTo>
                    <a:lnTo>
                      <a:pt x="174" y="479"/>
                    </a:lnTo>
                    <a:lnTo>
                      <a:pt x="175" y="479"/>
                    </a:lnTo>
                    <a:lnTo>
                      <a:pt x="175" y="480"/>
                    </a:lnTo>
                    <a:lnTo>
                      <a:pt x="176" y="481"/>
                    </a:lnTo>
                    <a:close/>
                    <a:moveTo>
                      <a:pt x="75" y="360"/>
                    </a:moveTo>
                    <a:lnTo>
                      <a:pt x="75" y="361"/>
                    </a:lnTo>
                    <a:lnTo>
                      <a:pt x="74" y="361"/>
                    </a:lnTo>
                    <a:lnTo>
                      <a:pt x="74" y="362"/>
                    </a:lnTo>
                    <a:lnTo>
                      <a:pt x="73" y="362"/>
                    </a:lnTo>
                    <a:lnTo>
                      <a:pt x="72" y="362"/>
                    </a:lnTo>
                    <a:lnTo>
                      <a:pt x="72" y="361"/>
                    </a:lnTo>
                    <a:lnTo>
                      <a:pt x="73" y="361"/>
                    </a:lnTo>
                    <a:lnTo>
                      <a:pt x="73" y="360"/>
                    </a:lnTo>
                    <a:lnTo>
                      <a:pt x="74" y="360"/>
                    </a:lnTo>
                    <a:lnTo>
                      <a:pt x="75" y="360"/>
                    </a:lnTo>
                    <a:lnTo>
                      <a:pt x="75" y="359"/>
                    </a:lnTo>
                    <a:lnTo>
                      <a:pt x="75" y="358"/>
                    </a:lnTo>
                    <a:lnTo>
                      <a:pt x="76" y="358"/>
                    </a:lnTo>
                    <a:lnTo>
                      <a:pt x="76" y="359"/>
                    </a:lnTo>
                    <a:lnTo>
                      <a:pt x="75" y="360"/>
                    </a:lnTo>
                    <a:close/>
                    <a:moveTo>
                      <a:pt x="170" y="455"/>
                    </a:moveTo>
                    <a:lnTo>
                      <a:pt x="171" y="455"/>
                    </a:lnTo>
                    <a:lnTo>
                      <a:pt x="171" y="456"/>
                    </a:lnTo>
                    <a:lnTo>
                      <a:pt x="170" y="456"/>
                    </a:lnTo>
                    <a:lnTo>
                      <a:pt x="170" y="457"/>
                    </a:lnTo>
                    <a:lnTo>
                      <a:pt x="170" y="459"/>
                    </a:lnTo>
                    <a:lnTo>
                      <a:pt x="170" y="460"/>
                    </a:lnTo>
                    <a:lnTo>
                      <a:pt x="168" y="460"/>
                    </a:lnTo>
                    <a:lnTo>
                      <a:pt x="168" y="461"/>
                    </a:lnTo>
                    <a:lnTo>
                      <a:pt x="168" y="462"/>
                    </a:lnTo>
                    <a:lnTo>
                      <a:pt x="168" y="461"/>
                    </a:lnTo>
                    <a:lnTo>
                      <a:pt x="167" y="460"/>
                    </a:lnTo>
                    <a:lnTo>
                      <a:pt x="168" y="460"/>
                    </a:lnTo>
                    <a:lnTo>
                      <a:pt x="168" y="459"/>
                    </a:lnTo>
                    <a:lnTo>
                      <a:pt x="170" y="459"/>
                    </a:lnTo>
                    <a:lnTo>
                      <a:pt x="168" y="459"/>
                    </a:lnTo>
                    <a:lnTo>
                      <a:pt x="170" y="457"/>
                    </a:lnTo>
                    <a:lnTo>
                      <a:pt x="168" y="457"/>
                    </a:lnTo>
                    <a:lnTo>
                      <a:pt x="168" y="456"/>
                    </a:lnTo>
                    <a:lnTo>
                      <a:pt x="170" y="456"/>
                    </a:lnTo>
                    <a:lnTo>
                      <a:pt x="170" y="455"/>
                    </a:lnTo>
                    <a:close/>
                    <a:moveTo>
                      <a:pt x="198" y="525"/>
                    </a:moveTo>
                    <a:lnTo>
                      <a:pt x="198" y="526"/>
                    </a:lnTo>
                    <a:lnTo>
                      <a:pt x="199" y="526"/>
                    </a:lnTo>
                    <a:lnTo>
                      <a:pt x="199" y="527"/>
                    </a:lnTo>
                    <a:lnTo>
                      <a:pt x="198" y="527"/>
                    </a:lnTo>
                    <a:lnTo>
                      <a:pt x="196" y="527"/>
                    </a:lnTo>
                    <a:lnTo>
                      <a:pt x="196" y="526"/>
                    </a:lnTo>
                    <a:lnTo>
                      <a:pt x="196" y="525"/>
                    </a:lnTo>
                    <a:lnTo>
                      <a:pt x="197" y="525"/>
                    </a:lnTo>
                    <a:lnTo>
                      <a:pt x="197" y="524"/>
                    </a:lnTo>
                    <a:lnTo>
                      <a:pt x="197" y="525"/>
                    </a:lnTo>
                    <a:lnTo>
                      <a:pt x="198" y="525"/>
                    </a:lnTo>
                    <a:close/>
                    <a:moveTo>
                      <a:pt x="146" y="582"/>
                    </a:moveTo>
                    <a:lnTo>
                      <a:pt x="146" y="583"/>
                    </a:lnTo>
                    <a:lnTo>
                      <a:pt x="146" y="584"/>
                    </a:lnTo>
                    <a:lnTo>
                      <a:pt x="145" y="584"/>
                    </a:lnTo>
                    <a:lnTo>
                      <a:pt x="145" y="585"/>
                    </a:lnTo>
                    <a:lnTo>
                      <a:pt x="144" y="585"/>
                    </a:lnTo>
                    <a:lnTo>
                      <a:pt x="144" y="586"/>
                    </a:lnTo>
                    <a:lnTo>
                      <a:pt x="142" y="586"/>
                    </a:lnTo>
                    <a:lnTo>
                      <a:pt x="142" y="585"/>
                    </a:lnTo>
                    <a:lnTo>
                      <a:pt x="144" y="585"/>
                    </a:lnTo>
                    <a:lnTo>
                      <a:pt x="142" y="585"/>
                    </a:lnTo>
                    <a:lnTo>
                      <a:pt x="144" y="585"/>
                    </a:lnTo>
                    <a:lnTo>
                      <a:pt x="144" y="584"/>
                    </a:lnTo>
                    <a:lnTo>
                      <a:pt x="144" y="583"/>
                    </a:lnTo>
                    <a:lnTo>
                      <a:pt x="145" y="583"/>
                    </a:lnTo>
                    <a:lnTo>
                      <a:pt x="144" y="583"/>
                    </a:lnTo>
                    <a:lnTo>
                      <a:pt x="145" y="583"/>
                    </a:lnTo>
                    <a:lnTo>
                      <a:pt x="145" y="582"/>
                    </a:lnTo>
                    <a:lnTo>
                      <a:pt x="145" y="583"/>
                    </a:lnTo>
                    <a:lnTo>
                      <a:pt x="146" y="583"/>
                    </a:lnTo>
                    <a:lnTo>
                      <a:pt x="146" y="582"/>
                    </a:lnTo>
                    <a:lnTo>
                      <a:pt x="145" y="582"/>
                    </a:lnTo>
                    <a:lnTo>
                      <a:pt x="145" y="583"/>
                    </a:lnTo>
                    <a:lnTo>
                      <a:pt x="144" y="583"/>
                    </a:lnTo>
                    <a:lnTo>
                      <a:pt x="144" y="582"/>
                    </a:lnTo>
                    <a:lnTo>
                      <a:pt x="145" y="582"/>
                    </a:lnTo>
                    <a:lnTo>
                      <a:pt x="146" y="582"/>
                    </a:lnTo>
                    <a:lnTo>
                      <a:pt x="146" y="581"/>
                    </a:lnTo>
                    <a:lnTo>
                      <a:pt x="146" y="582"/>
                    </a:lnTo>
                    <a:close/>
                    <a:moveTo>
                      <a:pt x="88" y="266"/>
                    </a:moveTo>
                    <a:lnTo>
                      <a:pt x="87" y="267"/>
                    </a:lnTo>
                    <a:lnTo>
                      <a:pt x="87" y="268"/>
                    </a:lnTo>
                    <a:lnTo>
                      <a:pt x="86" y="268"/>
                    </a:lnTo>
                    <a:lnTo>
                      <a:pt x="86" y="269"/>
                    </a:lnTo>
                    <a:lnTo>
                      <a:pt x="86" y="268"/>
                    </a:lnTo>
                    <a:lnTo>
                      <a:pt x="86" y="267"/>
                    </a:lnTo>
                    <a:lnTo>
                      <a:pt x="85" y="267"/>
                    </a:lnTo>
                    <a:lnTo>
                      <a:pt x="84" y="267"/>
                    </a:lnTo>
                    <a:lnTo>
                      <a:pt x="85" y="267"/>
                    </a:lnTo>
                    <a:lnTo>
                      <a:pt x="85" y="266"/>
                    </a:lnTo>
                    <a:lnTo>
                      <a:pt x="86" y="267"/>
                    </a:lnTo>
                    <a:lnTo>
                      <a:pt x="86" y="266"/>
                    </a:lnTo>
                    <a:lnTo>
                      <a:pt x="87" y="266"/>
                    </a:lnTo>
                    <a:lnTo>
                      <a:pt x="88" y="266"/>
                    </a:lnTo>
                    <a:lnTo>
                      <a:pt x="88" y="264"/>
                    </a:lnTo>
                    <a:lnTo>
                      <a:pt x="89" y="264"/>
                    </a:lnTo>
                    <a:lnTo>
                      <a:pt x="89" y="266"/>
                    </a:lnTo>
                    <a:lnTo>
                      <a:pt x="88" y="266"/>
                    </a:lnTo>
                    <a:close/>
                    <a:moveTo>
                      <a:pt x="145" y="416"/>
                    </a:moveTo>
                    <a:lnTo>
                      <a:pt x="146" y="416"/>
                    </a:lnTo>
                    <a:lnTo>
                      <a:pt x="146" y="417"/>
                    </a:lnTo>
                    <a:lnTo>
                      <a:pt x="146" y="418"/>
                    </a:lnTo>
                    <a:lnTo>
                      <a:pt x="146" y="419"/>
                    </a:lnTo>
                    <a:lnTo>
                      <a:pt x="146" y="418"/>
                    </a:lnTo>
                    <a:lnTo>
                      <a:pt x="145" y="418"/>
                    </a:lnTo>
                    <a:lnTo>
                      <a:pt x="145" y="417"/>
                    </a:lnTo>
                    <a:lnTo>
                      <a:pt x="144" y="418"/>
                    </a:lnTo>
                    <a:lnTo>
                      <a:pt x="144" y="417"/>
                    </a:lnTo>
                    <a:lnTo>
                      <a:pt x="145" y="417"/>
                    </a:lnTo>
                    <a:lnTo>
                      <a:pt x="144" y="417"/>
                    </a:lnTo>
                    <a:lnTo>
                      <a:pt x="145" y="416"/>
                    </a:lnTo>
                    <a:lnTo>
                      <a:pt x="144" y="416"/>
                    </a:lnTo>
                    <a:lnTo>
                      <a:pt x="145" y="416"/>
                    </a:lnTo>
                    <a:lnTo>
                      <a:pt x="144" y="415"/>
                    </a:lnTo>
                    <a:lnTo>
                      <a:pt x="145" y="415"/>
                    </a:lnTo>
                    <a:lnTo>
                      <a:pt x="145" y="414"/>
                    </a:lnTo>
                    <a:lnTo>
                      <a:pt x="145" y="415"/>
                    </a:lnTo>
                    <a:lnTo>
                      <a:pt x="145" y="416"/>
                    </a:lnTo>
                    <a:close/>
                    <a:moveTo>
                      <a:pt x="188" y="518"/>
                    </a:moveTo>
                    <a:lnTo>
                      <a:pt x="188" y="519"/>
                    </a:lnTo>
                    <a:lnTo>
                      <a:pt x="187" y="519"/>
                    </a:lnTo>
                    <a:lnTo>
                      <a:pt x="187" y="520"/>
                    </a:lnTo>
                    <a:lnTo>
                      <a:pt x="186" y="520"/>
                    </a:lnTo>
                    <a:lnTo>
                      <a:pt x="186" y="517"/>
                    </a:lnTo>
                    <a:lnTo>
                      <a:pt x="187" y="517"/>
                    </a:lnTo>
                    <a:lnTo>
                      <a:pt x="187" y="518"/>
                    </a:lnTo>
                    <a:lnTo>
                      <a:pt x="188" y="518"/>
                    </a:lnTo>
                    <a:close/>
                    <a:moveTo>
                      <a:pt x="163" y="452"/>
                    </a:moveTo>
                    <a:lnTo>
                      <a:pt x="163" y="453"/>
                    </a:lnTo>
                    <a:lnTo>
                      <a:pt x="164" y="453"/>
                    </a:lnTo>
                    <a:lnTo>
                      <a:pt x="164" y="454"/>
                    </a:lnTo>
                    <a:lnTo>
                      <a:pt x="164" y="453"/>
                    </a:lnTo>
                    <a:lnTo>
                      <a:pt x="165" y="453"/>
                    </a:lnTo>
                    <a:lnTo>
                      <a:pt x="165" y="454"/>
                    </a:lnTo>
                    <a:lnTo>
                      <a:pt x="164" y="455"/>
                    </a:lnTo>
                    <a:lnTo>
                      <a:pt x="164" y="454"/>
                    </a:lnTo>
                    <a:lnTo>
                      <a:pt x="163" y="454"/>
                    </a:lnTo>
                    <a:lnTo>
                      <a:pt x="163" y="453"/>
                    </a:lnTo>
                    <a:lnTo>
                      <a:pt x="162" y="453"/>
                    </a:lnTo>
                    <a:lnTo>
                      <a:pt x="161" y="453"/>
                    </a:lnTo>
                    <a:lnTo>
                      <a:pt x="160" y="453"/>
                    </a:lnTo>
                    <a:lnTo>
                      <a:pt x="161" y="453"/>
                    </a:lnTo>
                    <a:lnTo>
                      <a:pt x="162" y="453"/>
                    </a:lnTo>
                    <a:lnTo>
                      <a:pt x="162" y="452"/>
                    </a:lnTo>
                    <a:lnTo>
                      <a:pt x="163" y="452"/>
                    </a:lnTo>
                    <a:close/>
                    <a:moveTo>
                      <a:pt x="153" y="492"/>
                    </a:moveTo>
                    <a:lnTo>
                      <a:pt x="153" y="493"/>
                    </a:lnTo>
                    <a:lnTo>
                      <a:pt x="152" y="493"/>
                    </a:lnTo>
                    <a:lnTo>
                      <a:pt x="152" y="492"/>
                    </a:lnTo>
                    <a:lnTo>
                      <a:pt x="151" y="492"/>
                    </a:lnTo>
                    <a:lnTo>
                      <a:pt x="151" y="493"/>
                    </a:lnTo>
                    <a:lnTo>
                      <a:pt x="151" y="492"/>
                    </a:lnTo>
                    <a:lnTo>
                      <a:pt x="152" y="492"/>
                    </a:lnTo>
                    <a:lnTo>
                      <a:pt x="152" y="491"/>
                    </a:lnTo>
                    <a:lnTo>
                      <a:pt x="152" y="490"/>
                    </a:lnTo>
                    <a:lnTo>
                      <a:pt x="153" y="491"/>
                    </a:lnTo>
                    <a:lnTo>
                      <a:pt x="153" y="492"/>
                    </a:lnTo>
                    <a:close/>
                    <a:moveTo>
                      <a:pt x="177" y="451"/>
                    </a:moveTo>
                    <a:lnTo>
                      <a:pt x="177" y="452"/>
                    </a:lnTo>
                    <a:lnTo>
                      <a:pt x="177" y="453"/>
                    </a:lnTo>
                    <a:lnTo>
                      <a:pt x="177" y="454"/>
                    </a:lnTo>
                    <a:lnTo>
                      <a:pt x="176" y="454"/>
                    </a:lnTo>
                    <a:lnTo>
                      <a:pt x="176" y="453"/>
                    </a:lnTo>
                    <a:lnTo>
                      <a:pt x="177" y="453"/>
                    </a:lnTo>
                    <a:lnTo>
                      <a:pt x="177" y="452"/>
                    </a:lnTo>
                    <a:lnTo>
                      <a:pt x="177" y="453"/>
                    </a:lnTo>
                    <a:lnTo>
                      <a:pt x="177" y="452"/>
                    </a:lnTo>
                    <a:lnTo>
                      <a:pt x="176" y="452"/>
                    </a:lnTo>
                    <a:lnTo>
                      <a:pt x="177" y="451"/>
                    </a:lnTo>
                    <a:close/>
                    <a:moveTo>
                      <a:pt x="87" y="273"/>
                    </a:moveTo>
                    <a:lnTo>
                      <a:pt x="86" y="273"/>
                    </a:lnTo>
                    <a:lnTo>
                      <a:pt x="85" y="273"/>
                    </a:lnTo>
                    <a:lnTo>
                      <a:pt x="85" y="272"/>
                    </a:lnTo>
                    <a:lnTo>
                      <a:pt x="86" y="272"/>
                    </a:lnTo>
                    <a:lnTo>
                      <a:pt x="87" y="272"/>
                    </a:lnTo>
                    <a:lnTo>
                      <a:pt x="87" y="273"/>
                    </a:lnTo>
                    <a:close/>
                    <a:moveTo>
                      <a:pt x="76" y="356"/>
                    </a:moveTo>
                    <a:lnTo>
                      <a:pt x="76" y="357"/>
                    </a:lnTo>
                    <a:lnTo>
                      <a:pt x="76" y="358"/>
                    </a:lnTo>
                    <a:lnTo>
                      <a:pt x="75" y="357"/>
                    </a:lnTo>
                    <a:lnTo>
                      <a:pt x="74" y="357"/>
                    </a:lnTo>
                    <a:lnTo>
                      <a:pt x="75" y="357"/>
                    </a:lnTo>
                    <a:lnTo>
                      <a:pt x="75" y="356"/>
                    </a:lnTo>
                    <a:lnTo>
                      <a:pt x="76" y="356"/>
                    </a:lnTo>
                    <a:close/>
                    <a:moveTo>
                      <a:pt x="166" y="473"/>
                    </a:moveTo>
                    <a:lnTo>
                      <a:pt x="165" y="474"/>
                    </a:lnTo>
                    <a:lnTo>
                      <a:pt x="164" y="474"/>
                    </a:lnTo>
                    <a:lnTo>
                      <a:pt x="164" y="473"/>
                    </a:lnTo>
                    <a:lnTo>
                      <a:pt x="163" y="473"/>
                    </a:lnTo>
                    <a:lnTo>
                      <a:pt x="164" y="473"/>
                    </a:lnTo>
                    <a:lnTo>
                      <a:pt x="165" y="473"/>
                    </a:lnTo>
                    <a:lnTo>
                      <a:pt x="165" y="472"/>
                    </a:lnTo>
                    <a:lnTo>
                      <a:pt x="166" y="472"/>
                    </a:lnTo>
                    <a:lnTo>
                      <a:pt x="165" y="472"/>
                    </a:lnTo>
                    <a:lnTo>
                      <a:pt x="166" y="473"/>
                    </a:lnTo>
                    <a:close/>
                    <a:moveTo>
                      <a:pt x="88" y="279"/>
                    </a:moveTo>
                    <a:lnTo>
                      <a:pt x="88" y="277"/>
                    </a:lnTo>
                    <a:lnTo>
                      <a:pt x="87" y="276"/>
                    </a:lnTo>
                    <a:lnTo>
                      <a:pt x="88" y="276"/>
                    </a:lnTo>
                    <a:lnTo>
                      <a:pt x="89" y="276"/>
                    </a:lnTo>
                    <a:lnTo>
                      <a:pt x="88" y="277"/>
                    </a:lnTo>
                    <a:lnTo>
                      <a:pt x="88" y="279"/>
                    </a:lnTo>
                    <a:close/>
                    <a:moveTo>
                      <a:pt x="129" y="615"/>
                    </a:moveTo>
                    <a:lnTo>
                      <a:pt x="128" y="614"/>
                    </a:lnTo>
                    <a:lnTo>
                      <a:pt x="129" y="614"/>
                    </a:lnTo>
                    <a:lnTo>
                      <a:pt x="129" y="613"/>
                    </a:lnTo>
                    <a:lnTo>
                      <a:pt x="129" y="611"/>
                    </a:lnTo>
                    <a:lnTo>
                      <a:pt x="131" y="610"/>
                    </a:lnTo>
                    <a:lnTo>
                      <a:pt x="131" y="611"/>
                    </a:lnTo>
                    <a:lnTo>
                      <a:pt x="131" y="613"/>
                    </a:lnTo>
                    <a:lnTo>
                      <a:pt x="129" y="613"/>
                    </a:lnTo>
                    <a:lnTo>
                      <a:pt x="131" y="613"/>
                    </a:lnTo>
                    <a:lnTo>
                      <a:pt x="131" y="614"/>
                    </a:lnTo>
                    <a:lnTo>
                      <a:pt x="129" y="615"/>
                    </a:lnTo>
                    <a:close/>
                    <a:moveTo>
                      <a:pt x="184" y="518"/>
                    </a:moveTo>
                    <a:lnTo>
                      <a:pt x="183" y="518"/>
                    </a:lnTo>
                    <a:lnTo>
                      <a:pt x="183" y="517"/>
                    </a:lnTo>
                    <a:lnTo>
                      <a:pt x="183" y="516"/>
                    </a:lnTo>
                    <a:lnTo>
                      <a:pt x="184" y="516"/>
                    </a:lnTo>
                    <a:lnTo>
                      <a:pt x="184" y="517"/>
                    </a:lnTo>
                    <a:lnTo>
                      <a:pt x="184" y="518"/>
                    </a:lnTo>
                    <a:close/>
                    <a:moveTo>
                      <a:pt x="83" y="269"/>
                    </a:moveTo>
                    <a:lnTo>
                      <a:pt x="82" y="269"/>
                    </a:lnTo>
                    <a:lnTo>
                      <a:pt x="81" y="269"/>
                    </a:lnTo>
                    <a:lnTo>
                      <a:pt x="82" y="269"/>
                    </a:lnTo>
                    <a:lnTo>
                      <a:pt x="82" y="268"/>
                    </a:lnTo>
                    <a:lnTo>
                      <a:pt x="83" y="267"/>
                    </a:lnTo>
                    <a:lnTo>
                      <a:pt x="83" y="268"/>
                    </a:lnTo>
                    <a:lnTo>
                      <a:pt x="82" y="268"/>
                    </a:lnTo>
                    <a:lnTo>
                      <a:pt x="83" y="268"/>
                    </a:lnTo>
                    <a:lnTo>
                      <a:pt x="83" y="269"/>
                    </a:lnTo>
                    <a:close/>
                    <a:moveTo>
                      <a:pt x="157" y="462"/>
                    </a:moveTo>
                    <a:lnTo>
                      <a:pt x="158" y="462"/>
                    </a:lnTo>
                    <a:lnTo>
                      <a:pt x="158" y="463"/>
                    </a:lnTo>
                    <a:lnTo>
                      <a:pt x="157" y="463"/>
                    </a:lnTo>
                    <a:lnTo>
                      <a:pt x="157" y="462"/>
                    </a:lnTo>
                    <a:close/>
                    <a:moveTo>
                      <a:pt x="175" y="565"/>
                    </a:moveTo>
                    <a:lnTo>
                      <a:pt x="175" y="564"/>
                    </a:lnTo>
                    <a:lnTo>
                      <a:pt x="176" y="564"/>
                    </a:lnTo>
                    <a:lnTo>
                      <a:pt x="177" y="563"/>
                    </a:lnTo>
                    <a:lnTo>
                      <a:pt x="176" y="564"/>
                    </a:lnTo>
                    <a:lnTo>
                      <a:pt x="176" y="565"/>
                    </a:lnTo>
                    <a:lnTo>
                      <a:pt x="175" y="565"/>
                    </a:lnTo>
                    <a:close/>
                    <a:moveTo>
                      <a:pt x="161" y="390"/>
                    </a:moveTo>
                    <a:lnTo>
                      <a:pt x="162" y="390"/>
                    </a:lnTo>
                    <a:lnTo>
                      <a:pt x="161" y="390"/>
                    </a:lnTo>
                    <a:lnTo>
                      <a:pt x="162" y="390"/>
                    </a:lnTo>
                    <a:lnTo>
                      <a:pt x="162" y="391"/>
                    </a:lnTo>
                    <a:lnTo>
                      <a:pt x="161" y="391"/>
                    </a:lnTo>
                    <a:lnTo>
                      <a:pt x="161" y="392"/>
                    </a:lnTo>
                    <a:lnTo>
                      <a:pt x="162" y="392"/>
                    </a:lnTo>
                    <a:lnTo>
                      <a:pt x="161" y="391"/>
                    </a:lnTo>
                    <a:lnTo>
                      <a:pt x="161" y="390"/>
                    </a:lnTo>
                    <a:lnTo>
                      <a:pt x="160" y="390"/>
                    </a:lnTo>
                    <a:lnTo>
                      <a:pt x="161" y="390"/>
                    </a:lnTo>
                    <a:close/>
                    <a:moveTo>
                      <a:pt x="189" y="436"/>
                    </a:moveTo>
                    <a:lnTo>
                      <a:pt x="189" y="437"/>
                    </a:lnTo>
                    <a:lnTo>
                      <a:pt x="188" y="437"/>
                    </a:lnTo>
                    <a:lnTo>
                      <a:pt x="187" y="437"/>
                    </a:lnTo>
                    <a:lnTo>
                      <a:pt x="187" y="436"/>
                    </a:lnTo>
                    <a:lnTo>
                      <a:pt x="188" y="437"/>
                    </a:lnTo>
                    <a:lnTo>
                      <a:pt x="188" y="436"/>
                    </a:lnTo>
                    <a:lnTo>
                      <a:pt x="189" y="436"/>
                    </a:lnTo>
                    <a:close/>
                    <a:moveTo>
                      <a:pt x="148" y="427"/>
                    </a:moveTo>
                    <a:lnTo>
                      <a:pt x="149" y="427"/>
                    </a:lnTo>
                    <a:lnTo>
                      <a:pt x="149" y="429"/>
                    </a:lnTo>
                    <a:lnTo>
                      <a:pt x="148" y="429"/>
                    </a:lnTo>
                    <a:lnTo>
                      <a:pt x="148" y="427"/>
                    </a:lnTo>
                    <a:close/>
                    <a:moveTo>
                      <a:pt x="128" y="409"/>
                    </a:moveTo>
                    <a:lnTo>
                      <a:pt x="128" y="410"/>
                    </a:lnTo>
                    <a:lnTo>
                      <a:pt x="128" y="411"/>
                    </a:lnTo>
                    <a:lnTo>
                      <a:pt x="127" y="411"/>
                    </a:lnTo>
                    <a:lnTo>
                      <a:pt x="128" y="411"/>
                    </a:lnTo>
                    <a:lnTo>
                      <a:pt x="128" y="410"/>
                    </a:lnTo>
                    <a:lnTo>
                      <a:pt x="127" y="410"/>
                    </a:lnTo>
                    <a:lnTo>
                      <a:pt x="128" y="410"/>
                    </a:lnTo>
                    <a:lnTo>
                      <a:pt x="128" y="409"/>
                    </a:lnTo>
                    <a:close/>
                    <a:moveTo>
                      <a:pt x="181" y="514"/>
                    </a:moveTo>
                    <a:lnTo>
                      <a:pt x="183" y="514"/>
                    </a:lnTo>
                    <a:lnTo>
                      <a:pt x="183" y="516"/>
                    </a:lnTo>
                    <a:lnTo>
                      <a:pt x="181" y="516"/>
                    </a:lnTo>
                    <a:lnTo>
                      <a:pt x="181" y="514"/>
                    </a:lnTo>
                    <a:close/>
                    <a:moveTo>
                      <a:pt x="173" y="399"/>
                    </a:moveTo>
                    <a:lnTo>
                      <a:pt x="173" y="400"/>
                    </a:lnTo>
                    <a:lnTo>
                      <a:pt x="172" y="400"/>
                    </a:lnTo>
                    <a:lnTo>
                      <a:pt x="171" y="400"/>
                    </a:lnTo>
                    <a:lnTo>
                      <a:pt x="172" y="399"/>
                    </a:lnTo>
                    <a:lnTo>
                      <a:pt x="173" y="399"/>
                    </a:lnTo>
                    <a:close/>
                    <a:moveTo>
                      <a:pt x="180" y="498"/>
                    </a:moveTo>
                    <a:lnTo>
                      <a:pt x="180" y="499"/>
                    </a:lnTo>
                    <a:lnTo>
                      <a:pt x="180" y="498"/>
                    </a:lnTo>
                    <a:lnTo>
                      <a:pt x="180" y="496"/>
                    </a:lnTo>
                    <a:lnTo>
                      <a:pt x="180" y="498"/>
                    </a:lnTo>
                    <a:close/>
                    <a:moveTo>
                      <a:pt x="183" y="498"/>
                    </a:moveTo>
                    <a:lnTo>
                      <a:pt x="183" y="499"/>
                    </a:lnTo>
                    <a:lnTo>
                      <a:pt x="183" y="500"/>
                    </a:lnTo>
                    <a:lnTo>
                      <a:pt x="181" y="500"/>
                    </a:lnTo>
                    <a:lnTo>
                      <a:pt x="181" y="499"/>
                    </a:lnTo>
                    <a:lnTo>
                      <a:pt x="181" y="498"/>
                    </a:lnTo>
                    <a:lnTo>
                      <a:pt x="183" y="498"/>
                    </a:lnTo>
                    <a:lnTo>
                      <a:pt x="181" y="498"/>
                    </a:lnTo>
                    <a:lnTo>
                      <a:pt x="183" y="498"/>
                    </a:lnTo>
                    <a:close/>
                    <a:moveTo>
                      <a:pt x="80" y="363"/>
                    </a:moveTo>
                    <a:lnTo>
                      <a:pt x="80" y="364"/>
                    </a:lnTo>
                    <a:lnTo>
                      <a:pt x="78" y="363"/>
                    </a:lnTo>
                    <a:lnTo>
                      <a:pt x="77" y="363"/>
                    </a:lnTo>
                    <a:lnTo>
                      <a:pt x="78" y="363"/>
                    </a:lnTo>
                    <a:lnTo>
                      <a:pt x="80" y="363"/>
                    </a:lnTo>
                    <a:close/>
                    <a:moveTo>
                      <a:pt x="172" y="480"/>
                    </a:moveTo>
                    <a:lnTo>
                      <a:pt x="172" y="481"/>
                    </a:lnTo>
                    <a:lnTo>
                      <a:pt x="173" y="481"/>
                    </a:lnTo>
                    <a:lnTo>
                      <a:pt x="172" y="481"/>
                    </a:lnTo>
                    <a:lnTo>
                      <a:pt x="172" y="480"/>
                    </a:lnTo>
                    <a:lnTo>
                      <a:pt x="172" y="479"/>
                    </a:lnTo>
                    <a:lnTo>
                      <a:pt x="172" y="480"/>
                    </a:lnTo>
                    <a:lnTo>
                      <a:pt x="172" y="479"/>
                    </a:lnTo>
                    <a:lnTo>
                      <a:pt x="173" y="479"/>
                    </a:lnTo>
                    <a:lnTo>
                      <a:pt x="173" y="480"/>
                    </a:lnTo>
                    <a:lnTo>
                      <a:pt x="172" y="480"/>
                    </a:lnTo>
                    <a:close/>
                    <a:moveTo>
                      <a:pt x="165" y="570"/>
                    </a:moveTo>
                    <a:lnTo>
                      <a:pt x="167" y="570"/>
                    </a:lnTo>
                    <a:lnTo>
                      <a:pt x="167" y="572"/>
                    </a:lnTo>
                    <a:lnTo>
                      <a:pt x="165" y="572"/>
                    </a:lnTo>
                    <a:lnTo>
                      <a:pt x="165" y="570"/>
                    </a:lnTo>
                    <a:close/>
                    <a:moveTo>
                      <a:pt x="164" y="435"/>
                    </a:moveTo>
                    <a:lnTo>
                      <a:pt x="164" y="436"/>
                    </a:lnTo>
                    <a:lnTo>
                      <a:pt x="163" y="436"/>
                    </a:lnTo>
                    <a:lnTo>
                      <a:pt x="162" y="436"/>
                    </a:lnTo>
                    <a:lnTo>
                      <a:pt x="162" y="437"/>
                    </a:lnTo>
                    <a:lnTo>
                      <a:pt x="161" y="437"/>
                    </a:lnTo>
                    <a:lnTo>
                      <a:pt x="162" y="437"/>
                    </a:lnTo>
                    <a:lnTo>
                      <a:pt x="162" y="436"/>
                    </a:lnTo>
                    <a:lnTo>
                      <a:pt x="163" y="436"/>
                    </a:lnTo>
                    <a:lnTo>
                      <a:pt x="163" y="435"/>
                    </a:lnTo>
                    <a:lnTo>
                      <a:pt x="164" y="435"/>
                    </a:lnTo>
                    <a:close/>
                    <a:moveTo>
                      <a:pt x="173" y="566"/>
                    </a:moveTo>
                    <a:lnTo>
                      <a:pt x="174" y="565"/>
                    </a:lnTo>
                    <a:lnTo>
                      <a:pt x="174" y="566"/>
                    </a:lnTo>
                    <a:lnTo>
                      <a:pt x="173" y="566"/>
                    </a:lnTo>
                    <a:lnTo>
                      <a:pt x="172" y="566"/>
                    </a:lnTo>
                    <a:lnTo>
                      <a:pt x="172" y="567"/>
                    </a:lnTo>
                    <a:lnTo>
                      <a:pt x="172" y="566"/>
                    </a:lnTo>
                    <a:lnTo>
                      <a:pt x="172" y="565"/>
                    </a:lnTo>
                    <a:lnTo>
                      <a:pt x="173" y="565"/>
                    </a:lnTo>
                    <a:lnTo>
                      <a:pt x="173" y="566"/>
                    </a:lnTo>
                    <a:close/>
                    <a:moveTo>
                      <a:pt x="155" y="564"/>
                    </a:moveTo>
                    <a:lnTo>
                      <a:pt x="157" y="564"/>
                    </a:lnTo>
                    <a:lnTo>
                      <a:pt x="157" y="565"/>
                    </a:lnTo>
                    <a:lnTo>
                      <a:pt x="155" y="565"/>
                    </a:lnTo>
                    <a:lnTo>
                      <a:pt x="155" y="564"/>
                    </a:lnTo>
                    <a:lnTo>
                      <a:pt x="155" y="563"/>
                    </a:lnTo>
                    <a:lnTo>
                      <a:pt x="155" y="562"/>
                    </a:lnTo>
                    <a:lnTo>
                      <a:pt x="157" y="562"/>
                    </a:lnTo>
                    <a:lnTo>
                      <a:pt x="157" y="563"/>
                    </a:lnTo>
                    <a:lnTo>
                      <a:pt x="155" y="564"/>
                    </a:lnTo>
                    <a:close/>
                    <a:moveTo>
                      <a:pt x="181" y="427"/>
                    </a:moveTo>
                    <a:lnTo>
                      <a:pt x="183" y="427"/>
                    </a:lnTo>
                    <a:lnTo>
                      <a:pt x="183" y="429"/>
                    </a:lnTo>
                    <a:lnTo>
                      <a:pt x="181" y="429"/>
                    </a:lnTo>
                    <a:lnTo>
                      <a:pt x="181" y="427"/>
                    </a:lnTo>
                    <a:close/>
                    <a:moveTo>
                      <a:pt x="158" y="461"/>
                    </a:moveTo>
                    <a:lnTo>
                      <a:pt x="159" y="461"/>
                    </a:lnTo>
                    <a:lnTo>
                      <a:pt x="159" y="463"/>
                    </a:lnTo>
                    <a:lnTo>
                      <a:pt x="158" y="463"/>
                    </a:lnTo>
                    <a:lnTo>
                      <a:pt x="158" y="461"/>
                    </a:lnTo>
                    <a:close/>
                    <a:moveTo>
                      <a:pt x="134" y="414"/>
                    </a:moveTo>
                    <a:lnTo>
                      <a:pt x="135" y="414"/>
                    </a:lnTo>
                    <a:lnTo>
                      <a:pt x="135" y="415"/>
                    </a:lnTo>
                    <a:lnTo>
                      <a:pt x="134" y="415"/>
                    </a:lnTo>
                    <a:lnTo>
                      <a:pt x="134" y="414"/>
                    </a:lnTo>
                    <a:close/>
                    <a:moveTo>
                      <a:pt x="185" y="541"/>
                    </a:moveTo>
                    <a:lnTo>
                      <a:pt x="186" y="541"/>
                    </a:lnTo>
                    <a:lnTo>
                      <a:pt x="186" y="542"/>
                    </a:lnTo>
                    <a:lnTo>
                      <a:pt x="185" y="542"/>
                    </a:lnTo>
                    <a:lnTo>
                      <a:pt x="185" y="541"/>
                    </a:lnTo>
                    <a:close/>
                    <a:moveTo>
                      <a:pt x="129" y="413"/>
                    </a:moveTo>
                    <a:lnTo>
                      <a:pt x="131" y="413"/>
                    </a:lnTo>
                    <a:lnTo>
                      <a:pt x="132" y="413"/>
                    </a:lnTo>
                    <a:lnTo>
                      <a:pt x="132" y="414"/>
                    </a:lnTo>
                    <a:lnTo>
                      <a:pt x="131" y="414"/>
                    </a:lnTo>
                    <a:lnTo>
                      <a:pt x="131" y="413"/>
                    </a:lnTo>
                    <a:lnTo>
                      <a:pt x="129" y="413"/>
                    </a:lnTo>
                    <a:close/>
                    <a:moveTo>
                      <a:pt x="196" y="553"/>
                    </a:moveTo>
                    <a:lnTo>
                      <a:pt x="197" y="553"/>
                    </a:lnTo>
                    <a:lnTo>
                      <a:pt x="197" y="554"/>
                    </a:lnTo>
                    <a:lnTo>
                      <a:pt x="196" y="554"/>
                    </a:lnTo>
                    <a:lnTo>
                      <a:pt x="196" y="553"/>
                    </a:lnTo>
                    <a:close/>
                    <a:moveTo>
                      <a:pt x="164" y="452"/>
                    </a:moveTo>
                    <a:lnTo>
                      <a:pt x="165" y="452"/>
                    </a:lnTo>
                    <a:lnTo>
                      <a:pt x="165" y="453"/>
                    </a:lnTo>
                    <a:lnTo>
                      <a:pt x="164" y="453"/>
                    </a:lnTo>
                    <a:lnTo>
                      <a:pt x="164" y="452"/>
                    </a:lnTo>
                    <a:close/>
                    <a:moveTo>
                      <a:pt x="138" y="390"/>
                    </a:moveTo>
                    <a:lnTo>
                      <a:pt x="140" y="390"/>
                    </a:lnTo>
                    <a:lnTo>
                      <a:pt x="140" y="392"/>
                    </a:lnTo>
                    <a:lnTo>
                      <a:pt x="138" y="392"/>
                    </a:lnTo>
                    <a:lnTo>
                      <a:pt x="138" y="390"/>
                    </a:lnTo>
                    <a:close/>
                    <a:moveTo>
                      <a:pt x="180" y="488"/>
                    </a:moveTo>
                    <a:lnTo>
                      <a:pt x="180" y="490"/>
                    </a:lnTo>
                    <a:lnTo>
                      <a:pt x="180" y="488"/>
                    </a:lnTo>
                    <a:close/>
                    <a:moveTo>
                      <a:pt x="181" y="523"/>
                    </a:moveTo>
                    <a:lnTo>
                      <a:pt x="183" y="523"/>
                    </a:lnTo>
                    <a:lnTo>
                      <a:pt x="183" y="524"/>
                    </a:lnTo>
                    <a:lnTo>
                      <a:pt x="181" y="524"/>
                    </a:lnTo>
                    <a:lnTo>
                      <a:pt x="181" y="523"/>
                    </a:lnTo>
                    <a:close/>
                    <a:moveTo>
                      <a:pt x="133" y="413"/>
                    </a:moveTo>
                    <a:lnTo>
                      <a:pt x="134" y="413"/>
                    </a:lnTo>
                    <a:lnTo>
                      <a:pt x="134" y="414"/>
                    </a:lnTo>
                    <a:lnTo>
                      <a:pt x="133" y="414"/>
                    </a:lnTo>
                    <a:lnTo>
                      <a:pt x="133" y="413"/>
                    </a:lnTo>
                    <a:close/>
                    <a:moveTo>
                      <a:pt x="155" y="473"/>
                    </a:moveTo>
                    <a:lnTo>
                      <a:pt x="157" y="473"/>
                    </a:lnTo>
                    <a:lnTo>
                      <a:pt x="157" y="475"/>
                    </a:lnTo>
                    <a:lnTo>
                      <a:pt x="155" y="475"/>
                    </a:lnTo>
                    <a:lnTo>
                      <a:pt x="155" y="473"/>
                    </a:lnTo>
                    <a:close/>
                    <a:moveTo>
                      <a:pt x="170" y="479"/>
                    </a:moveTo>
                    <a:lnTo>
                      <a:pt x="171" y="479"/>
                    </a:lnTo>
                    <a:lnTo>
                      <a:pt x="171" y="480"/>
                    </a:lnTo>
                    <a:lnTo>
                      <a:pt x="170" y="480"/>
                    </a:lnTo>
                    <a:lnTo>
                      <a:pt x="170" y="479"/>
                    </a:lnTo>
                    <a:close/>
                    <a:moveTo>
                      <a:pt x="151" y="491"/>
                    </a:moveTo>
                    <a:lnTo>
                      <a:pt x="152" y="491"/>
                    </a:lnTo>
                    <a:lnTo>
                      <a:pt x="152" y="492"/>
                    </a:lnTo>
                    <a:lnTo>
                      <a:pt x="151" y="492"/>
                    </a:lnTo>
                    <a:lnTo>
                      <a:pt x="151" y="491"/>
                    </a:lnTo>
                    <a:close/>
                    <a:moveTo>
                      <a:pt x="191" y="541"/>
                    </a:moveTo>
                    <a:lnTo>
                      <a:pt x="192" y="541"/>
                    </a:lnTo>
                    <a:lnTo>
                      <a:pt x="192" y="542"/>
                    </a:lnTo>
                    <a:lnTo>
                      <a:pt x="191" y="542"/>
                    </a:lnTo>
                    <a:lnTo>
                      <a:pt x="191" y="541"/>
                    </a:lnTo>
                    <a:close/>
                    <a:moveTo>
                      <a:pt x="157" y="461"/>
                    </a:moveTo>
                    <a:lnTo>
                      <a:pt x="158" y="461"/>
                    </a:lnTo>
                    <a:lnTo>
                      <a:pt x="157" y="461"/>
                    </a:lnTo>
                    <a:close/>
                    <a:moveTo>
                      <a:pt x="171" y="477"/>
                    </a:moveTo>
                    <a:lnTo>
                      <a:pt x="172" y="477"/>
                    </a:lnTo>
                    <a:lnTo>
                      <a:pt x="172" y="478"/>
                    </a:lnTo>
                    <a:lnTo>
                      <a:pt x="171" y="478"/>
                    </a:lnTo>
                    <a:lnTo>
                      <a:pt x="171" y="477"/>
                    </a:lnTo>
                    <a:close/>
                    <a:moveTo>
                      <a:pt x="165" y="431"/>
                    </a:moveTo>
                    <a:lnTo>
                      <a:pt x="166" y="431"/>
                    </a:lnTo>
                    <a:lnTo>
                      <a:pt x="166" y="432"/>
                    </a:lnTo>
                    <a:lnTo>
                      <a:pt x="165" y="432"/>
                    </a:lnTo>
                    <a:lnTo>
                      <a:pt x="165" y="431"/>
                    </a:lnTo>
                    <a:close/>
                    <a:moveTo>
                      <a:pt x="159" y="566"/>
                    </a:moveTo>
                    <a:lnTo>
                      <a:pt x="160" y="566"/>
                    </a:lnTo>
                    <a:lnTo>
                      <a:pt x="159" y="566"/>
                    </a:lnTo>
                    <a:close/>
                    <a:moveTo>
                      <a:pt x="147" y="580"/>
                    </a:moveTo>
                    <a:lnTo>
                      <a:pt x="148" y="580"/>
                    </a:lnTo>
                    <a:lnTo>
                      <a:pt x="147" y="580"/>
                    </a:lnTo>
                    <a:close/>
                    <a:moveTo>
                      <a:pt x="188" y="514"/>
                    </a:moveTo>
                    <a:lnTo>
                      <a:pt x="188" y="515"/>
                    </a:lnTo>
                    <a:lnTo>
                      <a:pt x="188" y="514"/>
                    </a:lnTo>
                    <a:close/>
                    <a:moveTo>
                      <a:pt x="179" y="491"/>
                    </a:moveTo>
                    <a:lnTo>
                      <a:pt x="180" y="491"/>
                    </a:lnTo>
                    <a:lnTo>
                      <a:pt x="180" y="492"/>
                    </a:lnTo>
                    <a:lnTo>
                      <a:pt x="179" y="492"/>
                    </a:lnTo>
                    <a:lnTo>
                      <a:pt x="179" y="491"/>
                    </a:lnTo>
                    <a:close/>
                    <a:moveTo>
                      <a:pt x="189" y="524"/>
                    </a:moveTo>
                    <a:lnTo>
                      <a:pt x="190" y="524"/>
                    </a:lnTo>
                    <a:lnTo>
                      <a:pt x="190" y="525"/>
                    </a:lnTo>
                    <a:lnTo>
                      <a:pt x="189" y="525"/>
                    </a:lnTo>
                    <a:lnTo>
                      <a:pt x="189" y="524"/>
                    </a:lnTo>
                    <a:close/>
                    <a:moveTo>
                      <a:pt x="157" y="565"/>
                    </a:moveTo>
                    <a:lnTo>
                      <a:pt x="157" y="566"/>
                    </a:lnTo>
                    <a:lnTo>
                      <a:pt x="157" y="565"/>
                    </a:lnTo>
                    <a:close/>
                    <a:moveTo>
                      <a:pt x="184" y="541"/>
                    </a:moveTo>
                    <a:lnTo>
                      <a:pt x="185" y="541"/>
                    </a:lnTo>
                    <a:lnTo>
                      <a:pt x="185" y="542"/>
                    </a:lnTo>
                    <a:lnTo>
                      <a:pt x="184" y="542"/>
                    </a:lnTo>
                    <a:lnTo>
                      <a:pt x="184" y="541"/>
                    </a:lnTo>
                    <a:close/>
                    <a:moveTo>
                      <a:pt x="167" y="452"/>
                    </a:moveTo>
                    <a:lnTo>
                      <a:pt x="167" y="453"/>
                    </a:lnTo>
                    <a:lnTo>
                      <a:pt x="167" y="452"/>
                    </a:lnTo>
                    <a:close/>
                    <a:moveTo>
                      <a:pt x="158" y="424"/>
                    </a:moveTo>
                    <a:lnTo>
                      <a:pt x="159" y="424"/>
                    </a:lnTo>
                    <a:lnTo>
                      <a:pt x="159" y="425"/>
                    </a:lnTo>
                    <a:lnTo>
                      <a:pt x="158" y="425"/>
                    </a:lnTo>
                    <a:lnTo>
                      <a:pt x="158" y="424"/>
                    </a:lnTo>
                    <a:close/>
                    <a:moveTo>
                      <a:pt x="166" y="431"/>
                    </a:moveTo>
                    <a:lnTo>
                      <a:pt x="167" y="431"/>
                    </a:lnTo>
                    <a:lnTo>
                      <a:pt x="166" y="431"/>
                    </a:lnTo>
                    <a:close/>
                    <a:moveTo>
                      <a:pt x="186" y="513"/>
                    </a:moveTo>
                    <a:lnTo>
                      <a:pt x="187" y="513"/>
                    </a:lnTo>
                    <a:lnTo>
                      <a:pt x="187" y="514"/>
                    </a:lnTo>
                    <a:lnTo>
                      <a:pt x="186" y="514"/>
                    </a:lnTo>
                    <a:lnTo>
                      <a:pt x="186" y="513"/>
                    </a:lnTo>
                    <a:close/>
                    <a:moveTo>
                      <a:pt x="133" y="594"/>
                    </a:moveTo>
                    <a:lnTo>
                      <a:pt x="134" y="594"/>
                    </a:lnTo>
                    <a:lnTo>
                      <a:pt x="134" y="595"/>
                    </a:lnTo>
                    <a:lnTo>
                      <a:pt x="133" y="595"/>
                    </a:lnTo>
                    <a:lnTo>
                      <a:pt x="133" y="594"/>
                    </a:lnTo>
                    <a:close/>
                    <a:moveTo>
                      <a:pt x="159" y="454"/>
                    </a:moveTo>
                    <a:lnTo>
                      <a:pt x="159" y="455"/>
                    </a:lnTo>
                    <a:lnTo>
                      <a:pt x="159" y="454"/>
                    </a:lnTo>
                    <a:close/>
                    <a:moveTo>
                      <a:pt x="175" y="501"/>
                    </a:moveTo>
                    <a:lnTo>
                      <a:pt x="176" y="501"/>
                    </a:lnTo>
                    <a:lnTo>
                      <a:pt x="176" y="502"/>
                    </a:lnTo>
                    <a:lnTo>
                      <a:pt x="175" y="502"/>
                    </a:lnTo>
                    <a:lnTo>
                      <a:pt x="175" y="501"/>
                    </a:lnTo>
                    <a:close/>
                    <a:moveTo>
                      <a:pt x="134" y="593"/>
                    </a:moveTo>
                    <a:lnTo>
                      <a:pt x="134" y="594"/>
                    </a:lnTo>
                    <a:lnTo>
                      <a:pt x="134" y="593"/>
                    </a:lnTo>
                    <a:close/>
                    <a:moveTo>
                      <a:pt x="172" y="440"/>
                    </a:moveTo>
                    <a:lnTo>
                      <a:pt x="172" y="441"/>
                    </a:lnTo>
                    <a:lnTo>
                      <a:pt x="172" y="440"/>
                    </a:lnTo>
                    <a:close/>
                  </a:path>
                </a:pathLst>
              </a:custGeom>
              <a:solidFill>
                <a:srgbClr val="04367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5" name="Freeform 15">
                <a:extLst>
                  <a:ext uri="{FF2B5EF4-FFF2-40B4-BE49-F238E27FC236}">
                    <a16:creationId xmlns:a16="http://schemas.microsoft.com/office/drawing/2014/main" id="{C6C4286F-168D-491E-D3A1-42B48902B207}"/>
                  </a:ext>
                </a:extLst>
              </p:cNvPr>
              <p:cNvSpPr>
                <a:spLocks/>
              </p:cNvSpPr>
              <p:nvPr/>
            </p:nvSpPr>
            <p:spPr bwMode="auto">
              <a:xfrm>
                <a:off x="4541838" y="4481513"/>
                <a:ext cx="371475" cy="434975"/>
              </a:xfrm>
              <a:custGeom>
                <a:avLst/>
                <a:gdLst>
                  <a:gd name="T0" fmla="*/ 164 w 234"/>
                  <a:gd name="T1" fmla="*/ 54 h 274"/>
                  <a:gd name="T2" fmla="*/ 164 w 234"/>
                  <a:gd name="T3" fmla="*/ 74 h 274"/>
                  <a:gd name="T4" fmla="*/ 168 w 234"/>
                  <a:gd name="T5" fmla="*/ 100 h 274"/>
                  <a:gd name="T6" fmla="*/ 171 w 234"/>
                  <a:gd name="T7" fmla="*/ 122 h 274"/>
                  <a:gd name="T8" fmla="*/ 174 w 234"/>
                  <a:gd name="T9" fmla="*/ 127 h 274"/>
                  <a:gd name="T10" fmla="*/ 179 w 234"/>
                  <a:gd name="T11" fmla="*/ 131 h 274"/>
                  <a:gd name="T12" fmla="*/ 183 w 234"/>
                  <a:gd name="T13" fmla="*/ 138 h 274"/>
                  <a:gd name="T14" fmla="*/ 187 w 234"/>
                  <a:gd name="T15" fmla="*/ 145 h 274"/>
                  <a:gd name="T16" fmla="*/ 189 w 234"/>
                  <a:gd name="T17" fmla="*/ 155 h 274"/>
                  <a:gd name="T18" fmla="*/ 233 w 234"/>
                  <a:gd name="T19" fmla="*/ 184 h 274"/>
                  <a:gd name="T20" fmla="*/ 232 w 234"/>
                  <a:gd name="T21" fmla="*/ 190 h 274"/>
                  <a:gd name="T22" fmla="*/ 212 w 234"/>
                  <a:gd name="T23" fmla="*/ 233 h 274"/>
                  <a:gd name="T24" fmla="*/ 124 w 234"/>
                  <a:gd name="T25" fmla="*/ 273 h 274"/>
                  <a:gd name="T26" fmla="*/ 119 w 234"/>
                  <a:gd name="T27" fmla="*/ 270 h 274"/>
                  <a:gd name="T28" fmla="*/ 115 w 234"/>
                  <a:gd name="T29" fmla="*/ 261 h 274"/>
                  <a:gd name="T30" fmla="*/ 115 w 234"/>
                  <a:gd name="T31" fmla="*/ 254 h 274"/>
                  <a:gd name="T32" fmla="*/ 113 w 234"/>
                  <a:gd name="T33" fmla="*/ 247 h 274"/>
                  <a:gd name="T34" fmla="*/ 113 w 234"/>
                  <a:gd name="T35" fmla="*/ 240 h 274"/>
                  <a:gd name="T36" fmla="*/ 108 w 234"/>
                  <a:gd name="T37" fmla="*/ 233 h 274"/>
                  <a:gd name="T38" fmla="*/ 107 w 234"/>
                  <a:gd name="T39" fmla="*/ 225 h 274"/>
                  <a:gd name="T40" fmla="*/ 99 w 234"/>
                  <a:gd name="T41" fmla="*/ 222 h 274"/>
                  <a:gd name="T42" fmla="*/ 92 w 234"/>
                  <a:gd name="T43" fmla="*/ 219 h 274"/>
                  <a:gd name="T44" fmla="*/ 84 w 234"/>
                  <a:gd name="T45" fmla="*/ 218 h 274"/>
                  <a:gd name="T46" fmla="*/ 77 w 234"/>
                  <a:gd name="T47" fmla="*/ 215 h 274"/>
                  <a:gd name="T48" fmla="*/ 70 w 234"/>
                  <a:gd name="T49" fmla="*/ 213 h 274"/>
                  <a:gd name="T50" fmla="*/ 64 w 234"/>
                  <a:gd name="T51" fmla="*/ 206 h 274"/>
                  <a:gd name="T52" fmla="*/ 56 w 234"/>
                  <a:gd name="T53" fmla="*/ 202 h 274"/>
                  <a:gd name="T54" fmla="*/ 48 w 234"/>
                  <a:gd name="T55" fmla="*/ 195 h 274"/>
                  <a:gd name="T56" fmla="*/ 44 w 234"/>
                  <a:gd name="T57" fmla="*/ 189 h 274"/>
                  <a:gd name="T58" fmla="*/ 44 w 234"/>
                  <a:gd name="T59" fmla="*/ 179 h 274"/>
                  <a:gd name="T60" fmla="*/ 42 w 234"/>
                  <a:gd name="T61" fmla="*/ 169 h 274"/>
                  <a:gd name="T62" fmla="*/ 40 w 234"/>
                  <a:gd name="T63" fmla="*/ 162 h 274"/>
                  <a:gd name="T64" fmla="*/ 37 w 234"/>
                  <a:gd name="T65" fmla="*/ 157 h 274"/>
                  <a:gd name="T66" fmla="*/ 32 w 234"/>
                  <a:gd name="T67" fmla="*/ 153 h 274"/>
                  <a:gd name="T68" fmla="*/ 27 w 234"/>
                  <a:gd name="T69" fmla="*/ 153 h 274"/>
                  <a:gd name="T70" fmla="*/ 18 w 234"/>
                  <a:gd name="T71" fmla="*/ 150 h 274"/>
                  <a:gd name="T72" fmla="*/ 9 w 234"/>
                  <a:gd name="T73" fmla="*/ 136 h 274"/>
                  <a:gd name="T74" fmla="*/ 8 w 234"/>
                  <a:gd name="T75" fmla="*/ 118 h 274"/>
                  <a:gd name="T76" fmla="*/ 8 w 234"/>
                  <a:gd name="T77" fmla="*/ 113 h 274"/>
                  <a:gd name="T78" fmla="*/ 5 w 234"/>
                  <a:gd name="T79" fmla="*/ 102 h 274"/>
                  <a:gd name="T80" fmla="*/ 4 w 234"/>
                  <a:gd name="T81" fmla="*/ 80 h 274"/>
                  <a:gd name="T82" fmla="*/ 0 w 234"/>
                  <a:gd name="T83" fmla="*/ 58 h 274"/>
                  <a:gd name="T84" fmla="*/ 8 w 234"/>
                  <a:gd name="T85" fmla="*/ 45 h 274"/>
                  <a:gd name="T86" fmla="*/ 48 w 234"/>
                  <a:gd name="T87" fmla="*/ 35 h 274"/>
                  <a:gd name="T88" fmla="*/ 78 w 234"/>
                  <a:gd name="T89" fmla="*/ 12 h 274"/>
                  <a:gd name="T90" fmla="*/ 90 w 234"/>
                  <a:gd name="T91" fmla="*/ 2 h 274"/>
                  <a:gd name="T92" fmla="*/ 97 w 234"/>
                  <a:gd name="T93" fmla="*/ 10 h 274"/>
                  <a:gd name="T94" fmla="*/ 106 w 234"/>
                  <a:gd name="T95" fmla="*/ 15 h 274"/>
                  <a:gd name="T96" fmla="*/ 108 w 234"/>
                  <a:gd name="T97" fmla="*/ 15 h 274"/>
                  <a:gd name="T98" fmla="*/ 112 w 234"/>
                  <a:gd name="T99" fmla="*/ 16 h 274"/>
                  <a:gd name="T100" fmla="*/ 122 w 234"/>
                  <a:gd name="T101" fmla="*/ 19 h 274"/>
                  <a:gd name="T102" fmla="*/ 136 w 234"/>
                  <a:gd name="T103" fmla="*/ 20 h 274"/>
                  <a:gd name="T104" fmla="*/ 141 w 234"/>
                  <a:gd name="T105" fmla="*/ 17 h 274"/>
                  <a:gd name="T106" fmla="*/ 147 w 234"/>
                  <a:gd name="T107" fmla="*/ 20 h 274"/>
                  <a:gd name="T108" fmla="*/ 153 w 234"/>
                  <a:gd name="T109" fmla="*/ 20 h 274"/>
                  <a:gd name="T110" fmla="*/ 158 w 234"/>
                  <a:gd name="T111" fmla="*/ 22 h 274"/>
                  <a:gd name="T112" fmla="*/ 162 w 234"/>
                  <a:gd name="T113" fmla="*/ 2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4" h="274">
                    <a:moveTo>
                      <a:pt x="166" y="23"/>
                    </a:moveTo>
                    <a:lnTo>
                      <a:pt x="164" y="27"/>
                    </a:lnTo>
                    <a:lnTo>
                      <a:pt x="164" y="41"/>
                    </a:lnTo>
                    <a:lnTo>
                      <a:pt x="164" y="48"/>
                    </a:lnTo>
                    <a:lnTo>
                      <a:pt x="164" y="52"/>
                    </a:lnTo>
                    <a:lnTo>
                      <a:pt x="164" y="53"/>
                    </a:lnTo>
                    <a:lnTo>
                      <a:pt x="164" y="54"/>
                    </a:lnTo>
                    <a:lnTo>
                      <a:pt x="164" y="55"/>
                    </a:lnTo>
                    <a:lnTo>
                      <a:pt x="164" y="58"/>
                    </a:lnTo>
                    <a:lnTo>
                      <a:pt x="164" y="62"/>
                    </a:lnTo>
                    <a:lnTo>
                      <a:pt x="164" y="63"/>
                    </a:lnTo>
                    <a:lnTo>
                      <a:pt x="164" y="65"/>
                    </a:lnTo>
                    <a:lnTo>
                      <a:pt x="164" y="72"/>
                    </a:lnTo>
                    <a:lnTo>
                      <a:pt x="164" y="74"/>
                    </a:lnTo>
                    <a:lnTo>
                      <a:pt x="164" y="76"/>
                    </a:lnTo>
                    <a:lnTo>
                      <a:pt x="164" y="77"/>
                    </a:lnTo>
                    <a:lnTo>
                      <a:pt x="164" y="80"/>
                    </a:lnTo>
                    <a:lnTo>
                      <a:pt x="166" y="84"/>
                    </a:lnTo>
                    <a:lnTo>
                      <a:pt x="166" y="85"/>
                    </a:lnTo>
                    <a:lnTo>
                      <a:pt x="168" y="99"/>
                    </a:lnTo>
                    <a:lnTo>
                      <a:pt x="168" y="100"/>
                    </a:lnTo>
                    <a:lnTo>
                      <a:pt x="169" y="110"/>
                    </a:lnTo>
                    <a:lnTo>
                      <a:pt x="169" y="112"/>
                    </a:lnTo>
                    <a:lnTo>
                      <a:pt x="169" y="113"/>
                    </a:lnTo>
                    <a:lnTo>
                      <a:pt x="170" y="118"/>
                    </a:lnTo>
                    <a:lnTo>
                      <a:pt x="170" y="119"/>
                    </a:lnTo>
                    <a:lnTo>
                      <a:pt x="171" y="119"/>
                    </a:lnTo>
                    <a:lnTo>
                      <a:pt x="171" y="122"/>
                    </a:lnTo>
                    <a:lnTo>
                      <a:pt x="171" y="123"/>
                    </a:lnTo>
                    <a:lnTo>
                      <a:pt x="172" y="124"/>
                    </a:lnTo>
                    <a:lnTo>
                      <a:pt x="172" y="125"/>
                    </a:lnTo>
                    <a:lnTo>
                      <a:pt x="173" y="125"/>
                    </a:lnTo>
                    <a:lnTo>
                      <a:pt x="173" y="126"/>
                    </a:lnTo>
                    <a:lnTo>
                      <a:pt x="173" y="127"/>
                    </a:lnTo>
                    <a:lnTo>
                      <a:pt x="174" y="127"/>
                    </a:lnTo>
                    <a:lnTo>
                      <a:pt x="174" y="128"/>
                    </a:lnTo>
                    <a:lnTo>
                      <a:pt x="174" y="129"/>
                    </a:lnTo>
                    <a:lnTo>
                      <a:pt x="175" y="129"/>
                    </a:lnTo>
                    <a:lnTo>
                      <a:pt x="176" y="129"/>
                    </a:lnTo>
                    <a:lnTo>
                      <a:pt x="177" y="129"/>
                    </a:lnTo>
                    <a:lnTo>
                      <a:pt x="177" y="130"/>
                    </a:lnTo>
                    <a:lnTo>
                      <a:pt x="179" y="131"/>
                    </a:lnTo>
                    <a:lnTo>
                      <a:pt x="179" y="132"/>
                    </a:lnTo>
                    <a:lnTo>
                      <a:pt x="180" y="132"/>
                    </a:lnTo>
                    <a:lnTo>
                      <a:pt x="180" y="135"/>
                    </a:lnTo>
                    <a:lnTo>
                      <a:pt x="181" y="136"/>
                    </a:lnTo>
                    <a:lnTo>
                      <a:pt x="182" y="137"/>
                    </a:lnTo>
                    <a:lnTo>
                      <a:pt x="183" y="137"/>
                    </a:lnTo>
                    <a:lnTo>
                      <a:pt x="183" y="138"/>
                    </a:lnTo>
                    <a:lnTo>
                      <a:pt x="184" y="139"/>
                    </a:lnTo>
                    <a:lnTo>
                      <a:pt x="185" y="140"/>
                    </a:lnTo>
                    <a:lnTo>
                      <a:pt x="187" y="141"/>
                    </a:lnTo>
                    <a:lnTo>
                      <a:pt x="187" y="142"/>
                    </a:lnTo>
                    <a:lnTo>
                      <a:pt x="187" y="143"/>
                    </a:lnTo>
                    <a:lnTo>
                      <a:pt x="187" y="144"/>
                    </a:lnTo>
                    <a:lnTo>
                      <a:pt x="187" y="145"/>
                    </a:lnTo>
                    <a:lnTo>
                      <a:pt x="187" y="147"/>
                    </a:lnTo>
                    <a:lnTo>
                      <a:pt x="188" y="148"/>
                    </a:lnTo>
                    <a:lnTo>
                      <a:pt x="189" y="148"/>
                    </a:lnTo>
                    <a:lnTo>
                      <a:pt x="189" y="149"/>
                    </a:lnTo>
                    <a:lnTo>
                      <a:pt x="188" y="150"/>
                    </a:lnTo>
                    <a:lnTo>
                      <a:pt x="188" y="151"/>
                    </a:lnTo>
                    <a:lnTo>
                      <a:pt x="189" y="155"/>
                    </a:lnTo>
                    <a:lnTo>
                      <a:pt x="224" y="179"/>
                    </a:lnTo>
                    <a:lnTo>
                      <a:pt x="228" y="179"/>
                    </a:lnTo>
                    <a:lnTo>
                      <a:pt x="229" y="179"/>
                    </a:lnTo>
                    <a:lnTo>
                      <a:pt x="231" y="180"/>
                    </a:lnTo>
                    <a:lnTo>
                      <a:pt x="231" y="181"/>
                    </a:lnTo>
                    <a:lnTo>
                      <a:pt x="232" y="183"/>
                    </a:lnTo>
                    <a:lnTo>
                      <a:pt x="233" y="184"/>
                    </a:lnTo>
                    <a:lnTo>
                      <a:pt x="234" y="184"/>
                    </a:lnTo>
                    <a:lnTo>
                      <a:pt x="234" y="186"/>
                    </a:lnTo>
                    <a:lnTo>
                      <a:pt x="234" y="187"/>
                    </a:lnTo>
                    <a:lnTo>
                      <a:pt x="233" y="187"/>
                    </a:lnTo>
                    <a:lnTo>
                      <a:pt x="233" y="188"/>
                    </a:lnTo>
                    <a:lnTo>
                      <a:pt x="232" y="189"/>
                    </a:lnTo>
                    <a:lnTo>
                      <a:pt x="232" y="190"/>
                    </a:lnTo>
                    <a:lnTo>
                      <a:pt x="233" y="193"/>
                    </a:lnTo>
                    <a:lnTo>
                      <a:pt x="233" y="194"/>
                    </a:lnTo>
                    <a:lnTo>
                      <a:pt x="232" y="194"/>
                    </a:lnTo>
                    <a:lnTo>
                      <a:pt x="232" y="195"/>
                    </a:lnTo>
                    <a:lnTo>
                      <a:pt x="231" y="195"/>
                    </a:lnTo>
                    <a:lnTo>
                      <a:pt x="226" y="203"/>
                    </a:lnTo>
                    <a:lnTo>
                      <a:pt x="212" y="233"/>
                    </a:lnTo>
                    <a:lnTo>
                      <a:pt x="207" y="247"/>
                    </a:lnTo>
                    <a:lnTo>
                      <a:pt x="196" y="274"/>
                    </a:lnTo>
                    <a:lnTo>
                      <a:pt x="149" y="274"/>
                    </a:lnTo>
                    <a:lnTo>
                      <a:pt x="144" y="274"/>
                    </a:lnTo>
                    <a:lnTo>
                      <a:pt x="142" y="274"/>
                    </a:lnTo>
                    <a:lnTo>
                      <a:pt x="128" y="274"/>
                    </a:lnTo>
                    <a:lnTo>
                      <a:pt x="124" y="273"/>
                    </a:lnTo>
                    <a:lnTo>
                      <a:pt x="123" y="273"/>
                    </a:lnTo>
                    <a:lnTo>
                      <a:pt x="122" y="272"/>
                    </a:lnTo>
                    <a:lnTo>
                      <a:pt x="121" y="272"/>
                    </a:lnTo>
                    <a:lnTo>
                      <a:pt x="120" y="272"/>
                    </a:lnTo>
                    <a:lnTo>
                      <a:pt x="120" y="271"/>
                    </a:lnTo>
                    <a:lnTo>
                      <a:pt x="119" y="271"/>
                    </a:lnTo>
                    <a:lnTo>
                      <a:pt x="119" y="270"/>
                    </a:lnTo>
                    <a:lnTo>
                      <a:pt x="118" y="269"/>
                    </a:lnTo>
                    <a:lnTo>
                      <a:pt x="117" y="268"/>
                    </a:lnTo>
                    <a:lnTo>
                      <a:pt x="117" y="267"/>
                    </a:lnTo>
                    <a:lnTo>
                      <a:pt x="116" y="266"/>
                    </a:lnTo>
                    <a:lnTo>
                      <a:pt x="115" y="265"/>
                    </a:lnTo>
                    <a:lnTo>
                      <a:pt x="115" y="263"/>
                    </a:lnTo>
                    <a:lnTo>
                      <a:pt x="115" y="261"/>
                    </a:lnTo>
                    <a:lnTo>
                      <a:pt x="115" y="260"/>
                    </a:lnTo>
                    <a:lnTo>
                      <a:pt x="115" y="259"/>
                    </a:lnTo>
                    <a:lnTo>
                      <a:pt x="115" y="258"/>
                    </a:lnTo>
                    <a:lnTo>
                      <a:pt x="116" y="258"/>
                    </a:lnTo>
                    <a:lnTo>
                      <a:pt x="116" y="257"/>
                    </a:lnTo>
                    <a:lnTo>
                      <a:pt x="116" y="256"/>
                    </a:lnTo>
                    <a:lnTo>
                      <a:pt x="115" y="254"/>
                    </a:lnTo>
                    <a:lnTo>
                      <a:pt x="116" y="253"/>
                    </a:lnTo>
                    <a:lnTo>
                      <a:pt x="116" y="252"/>
                    </a:lnTo>
                    <a:lnTo>
                      <a:pt x="116" y="251"/>
                    </a:lnTo>
                    <a:lnTo>
                      <a:pt x="115" y="251"/>
                    </a:lnTo>
                    <a:lnTo>
                      <a:pt x="115" y="250"/>
                    </a:lnTo>
                    <a:lnTo>
                      <a:pt x="113" y="248"/>
                    </a:lnTo>
                    <a:lnTo>
                      <a:pt x="113" y="247"/>
                    </a:lnTo>
                    <a:lnTo>
                      <a:pt x="113" y="246"/>
                    </a:lnTo>
                    <a:lnTo>
                      <a:pt x="115" y="245"/>
                    </a:lnTo>
                    <a:lnTo>
                      <a:pt x="115" y="244"/>
                    </a:lnTo>
                    <a:lnTo>
                      <a:pt x="115" y="243"/>
                    </a:lnTo>
                    <a:lnTo>
                      <a:pt x="115" y="242"/>
                    </a:lnTo>
                    <a:lnTo>
                      <a:pt x="115" y="241"/>
                    </a:lnTo>
                    <a:lnTo>
                      <a:pt x="113" y="240"/>
                    </a:lnTo>
                    <a:lnTo>
                      <a:pt x="111" y="239"/>
                    </a:lnTo>
                    <a:lnTo>
                      <a:pt x="110" y="238"/>
                    </a:lnTo>
                    <a:lnTo>
                      <a:pt x="109" y="238"/>
                    </a:lnTo>
                    <a:lnTo>
                      <a:pt x="109" y="237"/>
                    </a:lnTo>
                    <a:lnTo>
                      <a:pt x="108" y="235"/>
                    </a:lnTo>
                    <a:lnTo>
                      <a:pt x="108" y="234"/>
                    </a:lnTo>
                    <a:lnTo>
                      <a:pt x="108" y="233"/>
                    </a:lnTo>
                    <a:lnTo>
                      <a:pt x="108" y="231"/>
                    </a:lnTo>
                    <a:lnTo>
                      <a:pt x="108" y="230"/>
                    </a:lnTo>
                    <a:lnTo>
                      <a:pt x="108" y="229"/>
                    </a:lnTo>
                    <a:lnTo>
                      <a:pt x="108" y="228"/>
                    </a:lnTo>
                    <a:lnTo>
                      <a:pt x="108" y="227"/>
                    </a:lnTo>
                    <a:lnTo>
                      <a:pt x="107" y="226"/>
                    </a:lnTo>
                    <a:lnTo>
                      <a:pt x="107" y="225"/>
                    </a:lnTo>
                    <a:lnTo>
                      <a:pt x="105" y="225"/>
                    </a:lnTo>
                    <a:lnTo>
                      <a:pt x="105" y="224"/>
                    </a:lnTo>
                    <a:lnTo>
                      <a:pt x="104" y="224"/>
                    </a:lnTo>
                    <a:lnTo>
                      <a:pt x="103" y="224"/>
                    </a:lnTo>
                    <a:lnTo>
                      <a:pt x="102" y="224"/>
                    </a:lnTo>
                    <a:lnTo>
                      <a:pt x="100" y="222"/>
                    </a:lnTo>
                    <a:lnTo>
                      <a:pt x="99" y="222"/>
                    </a:lnTo>
                    <a:lnTo>
                      <a:pt x="98" y="222"/>
                    </a:lnTo>
                    <a:lnTo>
                      <a:pt x="97" y="221"/>
                    </a:lnTo>
                    <a:lnTo>
                      <a:pt x="96" y="221"/>
                    </a:lnTo>
                    <a:lnTo>
                      <a:pt x="95" y="221"/>
                    </a:lnTo>
                    <a:lnTo>
                      <a:pt x="94" y="220"/>
                    </a:lnTo>
                    <a:lnTo>
                      <a:pt x="93" y="219"/>
                    </a:lnTo>
                    <a:lnTo>
                      <a:pt x="92" y="219"/>
                    </a:lnTo>
                    <a:lnTo>
                      <a:pt x="91" y="218"/>
                    </a:lnTo>
                    <a:lnTo>
                      <a:pt x="90" y="218"/>
                    </a:lnTo>
                    <a:lnTo>
                      <a:pt x="89" y="217"/>
                    </a:lnTo>
                    <a:lnTo>
                      <a:pt x="87" y="217"/>
                    </a:lnTo>
                    <a:lnTo>
                      <a:pt x="86" y="217"/>
                    </a:lnTo>
                    <a:lnTo>
                      <a:pt x="85" y="218"/>
                    </a:lnTo>
                    <a:lnTo>
                      <a:pt x="84" y="218"/>
                    </a:lnTo>
                    <a:lnTo>
                      <a:pt x="83" y="217"/>
                    </a:lnTo>
                    <a:lnTo>
                      <a:pt x="82" y="217"/>
                    </a:lnTo>
                    <a:lnTo>
                      <a:pt x="81" y="217"/>
                    </a:lnTo>
                    <a:lnTo>
                      <a:pt x="81" y="216"/>
                    </a:lnTo>
                    <a:lnTo>
                      <a:pt x="79" y="216"/>
                    </a:lnTo>
                    <a:lnTo>
                      <a:pt x="78" y="215"/>
                    </a:lnTo>
                    <a:lnTo>
                      <a:pt x="77" y="215"/>
                    </a:lnTo>
                    <a:lnTo>
                      <a:pt x="76" y="216"/>
                    </a:lnTo>
                    <a:lnTo>
                      <a:pt x="74" y="216"/>
                    </a:lnTo>
                    <a:lnTo>
                      <a:pt x="73" y="216"/>
                    </a:lnTo>
                    <a:lnTo>
                      <a:pt x="72" y="215"/>
                    </a:lnTo>
                    <a:lnTo>
                      <a:pt x="71" y="214"/>
                    </a:lnTo>
                    <a:lnTo>
                      <a:pt x="70" y="214"/>
                    </a:lnTo>
                    <a:lnTo>
                      <a:pt x="70" y="213"/>
                    </a:lnTo>
                    <a:lnTo>
                      <a:pt x="69" y="213"/>
                    </a:lnTo>
                    <a:lnTo>
                      <a:pt x="68" y="212"/>
                    </a:lnTo>
                    <a:lnTo>
                      <a:pt x="68" y="211"/>
                    </a:lnTo>
                    <a:lnTo>
                      <a:pt x="66" y="209"/>
                    </a:lnTo>
                    <a:lnTo>
                      <a:pt x="66" y="208"/>
                    </a:lnTo>
                    <a:lnTo>
                      <a:pt x="65" y="207"/>
                    </a:lnTo>
                    <a:lnTo>
                      <a:pt x="64" y="206"/>
                    </a:lnTo>
                    <a:lnTo>
                      <a:pt x="63" y="205"/>
                    </a:lnTo>
                    <a:lnTo>
                      <a:pt x="61" y="205"/>
                    </a:lnTo>
                    <a:lnTo>
                      <a:pt x="60" y="204"/>
                    </a:lnTo>
                    <a:lnTo>
                      <a:pt x="59" y="204"/>
                    </a:lnTo>
                    <a:lnTo>
                      <a:pt x="58" y="204"/>
                    </a:lnTo>
                    <a:lnTo>
                      <a:pt x="58" y="203"/>
                    </a:lnTo>
                    <a:lnTo>
                      <a:pt x="56" y="202"/>
                    </a:lnTo>
                    <a:lnTo>
                      <a:pt x="55" y="201"/>
                    </a:lnTo>
                    <a:lnTo>
                      <a:pt x="54" y="200"/>
                    </a:lnTo>
                    <a:lnTo>
                      <a:pt x="53" y="199"/>
                    </a:lnTo>
                    <a:lnTo>
                      <a:pt x="53" y="197"/>
                    </a:lnTo>
                    <a:lnTo>
                      <a:pt x="51" y="196"/>
                    </a:lnTo>
                    <a:lnTo>
                      <a:pt x="50" y="196"/>
                    </a:lnTo>
                    <a:lnTo>
                      <a:pt x="48" y="195"/>
                    </a:lnTo>
                    <a:lnTo>
                      <a:pt x="48" y="194"/>
                    </a:lnTo>
                    <a:lnTo>
                      <a:pt x="47" y="193"/>
                    </a:lnTo>
                    <a:lnTo>
                      <a:pt x="47" y="192"/>
                    </a:lnTo>
                    <a:lnTo>
                      <a:pt x="47" y="191"/>
                    </a:lnTo>
                    <a:lnTo>
                      <a:pt x="46" y="191"/>
                    </a:lnTo>
                    <a:lnTo>
                      <a:pt x="45" y="190"/>
                    </a:lnTo>
                    <a:lnTo>
                      <a:pt x="44" y="189"/>
                    </a:lnTo>
                    <a:lnTo>
                      <a:pt x="44" y="187"/>
                    </a:lnTo>
                    <a:lnTo>
                      <a:pt x="44" y="184"/>
                    </a:lnTo>
                    <a:lnTo>
                      <a:pt x="44" y="183"/>
                    </a:lnTo>
                    <a:lnTo>
                      <a:pt x="44" y="182"/>
                    </a:lnTo>
                    <a:lnTo>
                      <a:pt x="44" y="181"/>
                    </a:lnTo>
                    <a:lnTo>
                      <a:pt x="44" y="180"/>
                    </a:lnTo>
                    <a:lnTo>
                      <a:pt x="44" y="179"/>
                    </a:lnTo>
                    <a:lnTo>
                      <a:pt x="44" y="178"/>
                    </a:lnTo>
                    <a:lnTo>
                      <a:pt x="44" y="176"/>
                    </a:lnTo>
                    <a:lnTo>
                      <a:pt x="43" y="174"/>
                    </a:lnTo>
                    <a:lnTo>
                      <a:pt x="43" y="173"/>
                    </a:lnTo>
                    <a:lnTo>
                      <a:pt x="42" y="171"/>
                    </a:lnTo>
                    <a:lnTo>
                      <a:pt x="42" y="170"/>
                    </a:lnTo>
                    <a:lnTo>
                      <a:pt x="42" y="169"/>
                    </a:lnTo>
                    <a:lnTo>
                      <a:pt x="43" y="168"/>
                    </a:lnTo>
                    <a:lnTo>
                      <a:pt x="43" y="167"/>
                    </a:lnTo>
                    <a:lnTo>
                      <a:pt x="43" y="166"/>
                    </a:lnTo>
                    <a:lnTo>
                      <a:pt x="42" y="165"/>
                    </a:lnTo>
                    <a:lnTo>
                      <a:pt x="41" y="164"/>
                    </a:lnTo>
                    <a:lnTo>
                      <a:pt x="40" y="163"/>
                    </a:lnTo>
                    <a:lnTo>
                      <a:pt x="40" y="162"/>
                    </a:lnTo>
                    <a:lnTo>
                      <a:pt x="39" y="162"/>
                    </a:lnTo>
                    <a:lnTo>
                      <a:pt x="39" y="161"/>
                    </a:lnTo>
                    <a:lnTo>
                      <a:pt x="38" y="161"/>
                    </a:lnTo>
                    <a:lnTo>
                      <a:pt x="38" y="160"/>
                    </a:lnTo>
                    <a:lnTo>
                      <a:pt x="38" y="158"/>
                    </a:lnTo>
                    <a:lnTo>
                      <a:pt x="38" y="157"/>
                    </a:lnTo>
                    <a:lnTo>
                      <a:pt x="37" y="157"/>
                    </a:lnTo>
                    <a:lnTo>
                      <a:pt x="37" y="156"/>
                    </a:lnTo>
                    <a:lnTo>
                      <a:pt x="35" y="156"/>
                    </a:lnTo>
                    <a:lnTo>
                      <a:pt x="34" y="156"/>
                    </a:lnTo>
                    <a:lnTo>
                      <a:pt x="33" y="155"/>
                    </a:lnTo>
                    <a:lnTo>
                      <a:pt x="33" y="154"/>
                    </a:lnTo>
                    <a:lnTo>
                      <a:pt x="32" y="154"/>
                    </a:lnTo>
                    <a:lnTo>
                      <a:pt x="32" y="153"/>
                    </a:lnTo>
                    <a:lnTo>
                      <a:pt x="31" y="153"/>
                    </a:lnTo>
                    <a:lnTo>
                      <a:pt x="30" y="153"/>
                    </a:lnTo>
                    <a:lnTo>
                      <a:pt x="30" y="152"/>
                    </a:lnTo>
                    <a:lnTo>
                      <a:pt x="29" y="152"/>
                    </a:lnTo>
                    <a:lnTo>
                      <a:pt x="28" y="152"/>
                    </a:lnTo>
                    <a:lnTo>
                      <a:pt x="28" y="153"/>
                    </a:lnTo>
                    <a:lnTo>
                      <a:pt x="27" y="153"/>
                    </a:lnTo>
                    <a:lnTo>
                      <a:pt x="26" y="153"/>
                    </a:lnTo>
                    <a:lnTo>
                      <a:pt x="25" y="154"/>
                    </a:lnTo>
                    <a:lnTo>
                      <a:pt x="24" y="154"/>
                    </a:lnTo>
                    <a:lnTo>
                      <a:pt x="21" y="154"/>
                    </a:lnTo>
                    <a:lnTo>
                      <a:pt x="20" y="153"/>
                    </a:lnTo>
                    <a:lnTo>
                      <a:pt x="20" y="152"/>
                    </a:lnTo>
                    <a:lnTo>
                      <a:pt x="18" y="150"/>
                    </a:lnTo>
                    <a:lnTo>
                      <a:pt x="17" y="149"/>
                    </a:lnTo>
                    <a:lnTo>
                      <a:pt x="16" y="148"/>
                    </a:lnTo>
                    <a:lnTo>
                      <a:pt x="15" y="145"/>
                    </a:lnTo>
                    <a:lnTo>
                      <a:pt x="12" y="139"/>
                    </a:lnTo>
                    <a:lnTo>
                      <a:pt x="12" y="138"/>
                    </a:lnTo>
                    <a:lnTo>
                      <a:pt x="11" y="137"/>
                    </a:lnTo>
                    <a:lnTo>
                      <a:pt x="9" y="136"/>
                    </a:lnTo>
                    <a:lnTo>
                      <a:pt x="8" y="136"/>
                    </a:lnTo>
                    <a:lnTo>
                      <a:pt x="7" y="136"/>
                    </a:lnTo>
                    <a:lnTo>
                      <a:pt x="4" y="134"/>
                    </a:lnTo>
                    <a:lnTo>
                      <a:pt x="6" y="129"/>
                    </a:lnTo>
                    <a:lnTo>
                      <a:pt x="8" y="121"/>
                    </a:lnTo>
                    <a:lnTo>
                      <a:pt x="8" y="119"/>
                    </a:lnTo>
                    <a:lnTo>
                      <a:pt x="8" y="118"/>
                    </a:lnTo>
                    <a:lnTo>
                      <a:pt x="8" y="117"/>
                    </a:lnTo>
                    <a:lnTo>
                      <a:pt x="8" y="118"/>
                    </a:lnTo>
                    <a:lnTo>
                      <a:pt x="8" y="117"/>
                    </a:lnTo>
                    <a:lnTo>
                      <a:pt x="8" y="116"/>
                    </a:lnTo>
                    <a:lnTo>
                      <a:pt x="8" y="115"/>
                    </a:lnTo>
                    <a:lnTo>
                      <a:pt x="8" y="114"/>
                    </a:lnTo>
                    <a:lnTo>
                      <a:pt x="8" y="113"/>
                    </a:lnTo>
                    <a:lnTo>
                      <a:pt x="8" y="112"/>
                    </a:lnTo>
                    <a:lnTo>
                      <a:pt x="8" y="110"/>
                    </a:lnTo>
                    <a:lnTo>
                      <a:pt x="8" y="109"/>
                    </a:lnTo>
                    <a:lnTo>
                      <a:pt x="7" y="106"/>
                    </a:lnTo>
                    <a:lnTo>
                      <a:pt x="6" y="104"/>
                    </a:lnTo>
                    <a:lnTo>
                      <a:pt x="6" y="103"/>
                    </a:lnTo>
                    <a:lnTo>
                      <a:pt x="5" y="102"/>
                    </a:lnTo>
                    <a:lnTo>
                      <a:pt x="4" y="100"/>
                    </a:lnTo>
                    <a:lnTo>
                      <a:pt x="5" y="90"/>
                    </a:lnTo>
                    <a:lnTo>
                      <a:pt x="4" y="87"/>
                    </a:lnTo>
                    <a:lnTo>
                      <a:pt x="4" y="85"/>
                    </a:lnTo>
                    <a:lnTo>
                      <a:pt x="4" y="83"/>
                    </a:lnTo>
                    <a:lnTo>
                      <a:pt x="4" y="81"/>
                    </a:lnTo>
                    <a:lnTo>
                      <a:pt x="4" y="80"/>
                    </a:lnTo>
                    <a:lnTo>
                      <a:pt x="4" y="79"/>
                    </a:lnTo>
                    <a:lnTo>
                      <a:pt x="4" y="72"/>
                    </a:lnTo>
                    <a:lnTo>
                      <a:pt x="4" y="71"/>
                    </a:lnTo>
                    <a:lnTo>
                      <a:pt x="4" y="68"/>
                    </a:lnTo>
                    <a:lnTo>
                      <a:pt x="0" y="68"/>
                    </a:lnTo>
                    <a:lnTo>
                      <a:pt x="0" y="63"/>
                    </a:lnTo>
                    <a:lnTo>
                      <a:pt x="0" y="58"/>
                    </a:lnTo>
                    <a:lnTo>
                      <a:pt x="0" y="55"/>
                    </a:lnTo>
                    <a:lnTo>
                      <a:pt x="6" y="55"/>
                    </a:lnTo>
                    <a:lnTo>
                      <a:pt x="6" y="52"/>
                    </a:lnTo>
                    <a:lnTo>
                      <a:pt x="6" y="48"/>
                    </a:lnTo>
                    <a:lnTo>
                      <a:pt x="6" y="46"/>
                    </a:lnTo>
                    <a:lnTo>
                      <a:pt x="7" y="45"/>
                    </a:lnTo>
                    <a:lnTo>
                      <a:pt x="8" y="45"/>
                    </a:lnTo>
                    <a:lnTo>
                      <a:pt x="28" y="38"/>
                    </a:lnTo>
                    <a:lnTo>
                      <a:pt x="33" y="36"/>
                    </a:lnTo>
                    <a:lnTo>
                      <a:pt x="41" y="37"/>
                    </a:lnTo>
                    <a:lnTo>
                      <a:pt x="42" y="37"/>
                    </a:lnTo>
                    <a:lnTo>
                      <a:pt x="43" y="37"/>
                    </a:lnTo>
                    <a:lnTo>
                      <a:pt x="45" y="36"/>
                    </a:lnTo>
                    <a:lnTo>
                      <a:pt x="48" y="35"/>
                    </a:lnTo>
                    <a:lnTo>
                      <a:pt x="50" y="35"/>
                    </a:lnTo>
                    <a:lnTo>
                      <a:pt x="51" y="35"/>
                    </a:lnTo>
                    <a:lnTo>
                      <a:pt x="56" y="34"/>
                    </a:lnTo>
                    <a:lnTo>
                      <a:pt x="61" y="34"/>
                    </a:lnTo>
                    <a:lnTo>
                      <a:pt x="64" y="31"/>
                    </a:lnTo>
                    <a:lnTo>
                      <a:pt x="66" y="28"/>
                    </a:lnTo>
                    <a:lnTo>
                      <a:pt x="78" y="12"/>
                    </a:lnTo>
                    <a:lnTo>
                      <a:pt x="83" y="4"/>
                    </a:lnTo>
                    <a:lnTo>
                      <a:pt x="85" y="1"/>
                    </a:lnTo>
                    <a:lnTo>
                      <a:pt x="86" y="0"/>
                    </a:lnTo>
                    <a:lnTo>
                      <a:pt x="87" y="1"/>
                    </a:lnTo>
                    <a:lnTo>
                      <a:pt x="87" y="2"/>
                    </a:lnTo>
                    <a:lnTo>
                      <a:pt x="89" y="2"/>
                    </a:lnTo>
                    <a:lnTo>
                      <a:pt x="90" y="2"/>
                    </a:lnTo>
                    <a:lnTo>
                      <a:pt x="90" y="3"/>
                    </a:lnTo>
                    <a:lnTo>
                      <a:pt x="91" y="3"/>
                    </a:lnTo>
                    <a:lnTo>
                      <a:pt x="92" y="4"/>
                    </a:lnTo>
                    <a:lnTo>
                      <a:pt x="92" y="6"/>
                    </a:lnTo>
                    <a:lnTo>
                      <a:pt x="93" y="7"/>
                    </a:lnTo>
                    <a:lnTo>
                      <a:pt x="95" y="9"/>
                    </a:lnTo>
                    <a:lnTo>
                      <a:pt x="97" y="10"/>
                    </a:lnTo>
                    <a:lnTo>
                      <a:pt x="98" y="11"/>
                    </a:lnTo>
                    <a:lnTo>
                      <a:pt x="99" y="11"/>
                    </a:lnTo>
                    <a:lnTo>
                      <a:pt x="100" y="12"/>
                    </a:lnTo>
                    <a:lnTo>
                      <a:pt x="102" y="13"/>
                    </a:lnTo>
                    <a:lnTo>
                      <a:pt x="104" y="14"/>
                    </a:lnTo>
                    <a:lnTo>
                      <a:pt x="105" y="15"/>
                    </a:lnTo>
                    <a:lnTo>
                      <a:pt x="106" y="15"/>
                    </a:lnTo>
                    <a:lnTo>
                      <a:pt x="103" y="13"/>
                    </a:lnTo>
                    <a:lnTo>
                      <a:pt x="104" y="13"/>
                    </a:lnTo>
                    <a:lnTo>
                      <a:pt x="104" y="14"/>
                    </a:lnTo>
                    <a:lnTo>
                      <a:pt x="105" y="14"/>
                    </a:lnTo>
                    <a:lnTo>
                      <a:pt x="106" y="14"/>
                    </a:lnTo>
                    <a:lnTo>
                      <a:pt x="107" y="15"/>
                    </a:lnTo>
                    <a:lnTo>
                      <a:pt x="108" y="15"/>
                    </a:lnTo>
                    <a:lnTo>
                      <a:pt x="108" y="16"/>
                    </a:lnTo>
                    <a:lnTo>
                      <a:pt x="109" y="16"/>
                    </a:lnTo>
                    <a:lnTo>
                      <a:pt x="110" y="16"/>
                    </a:lnTo>
                    <a:lnTo>
                      <a:pt x="110" y="17"/>
                    </a:lnTo>
                    <a:lnTo>
                      <a:pt x="110" y="16"/>
                    </a:lnTo>
                    <a:lnTo>
                      <a:pt x="111" y="16"/>
                    </a:lnTo>
                    <a:lnTo>
                      <a:pt x="112" y="16"/>
                    </a:lnTo>
                    <a:lnTo>
                      <a:pt x="113" y="16"/>
                    </a:lnTo>
                    <a:lnTo>
                      <a:pt x="115" y="16"/>
                    </a:lnTo>
                    <a:lnTo>
                      <a:pt x="116" y="17"/>
                    </a:lnTo>
                    <a:lnTo>
                      <a:pt x="117" y="17"/>
                    </a:lnTo>
                    <a:lnTo>
                      <a:pt x="118" y="17"/>
                    </a:lnTo>
                    <a:lnTo>
                      <a:pt x="119" y="17"/>
                    </a:lnTo>
                    <a:lnTo>
                      <a:pt x="122" y="19"/>
                    </a:lnTo>
                    <a:lnTo>
                      <a:pt x="123" y="19"/>
                    </a:lnTo>
                    <a:lnTo>
                      <a:pt x="124" y="19"/>
                    </a:lnTo>
                    <a:lnTo>
                      <a:pt x="125" y="19"/>
                    </a:lnTo>
                    <a:lnTo>
                      <a:pt x="133" y="20"/>
                    </a:lnTo>
                    <a:lnTo>
                      <a:pt x="134" y="20"/>
                    </a:lnTo>
                    <a:lnTo>
                      <a:pt x="135" y="20"/>
                    </a:lnTo>
                    <a:lnTo>
                      <a:pt x="136" y="20"/>
                    </a:lnTo>
                    <a:lnTo>
                      <a:pt x="136" y="21"/>
                    </a:lnTo>
                    <a:lnTo>
                      <a:pt x="136" y="20"/>
                    </a:lnTo>
                    <a:lnTo>
                      <a:pt x="136" y="19"/>
                    </a:lnTo>
                    <a:lnTo>
                      <a:pt x="137" y="19"/>
                    </a:lnTo>
                    <a:lnTo>
                      <a:pt x="138" y="19"/>
                    </a:lnTo>
                    <a:lnTo>
                      <a:pt x="139" y="19"/>
                    </a:lnTo>
                    <a:lnTo>
                      <a:pt x="141" y="17"/>
                    </a:lnTo>
                    <a:lnTo>
                      <a:pt x="142" y="17"/>
                    </a:lnTo>
                    <a:lnTo>
                      <a:pt x="143" y="17"/>
                    </a:lnTo>
                    <a:lnTo>
                      <a:pt x="144" y="17"/>
                    </a:lnTo>
                    <a:lnTo>
                      <a:pt x="145" y="19"/>
                    </a:lnTo>
                    <a:lnTo>
                      <a:pt x="146" y="19"/>
                    </a:lnTo>
                    <a:lnTo>
                      <a:pt x="147" y="19"/>
                    </a:lnTo>
                    <a:lnTo>
                      <a:pt x="147" y="20"/>
                    </a:lnTo>
                    <a:lnTo>
                      <a:pt x="148" y="20"/>
                    </a:lnTo>
                    <a:lnTo>
                      <a:pt x="149" y="19"/>
                    </a:lnTo>
                    <a:lnTo>
                      <a:pt x="149" y="20"/>
                    </a:lnTo>
                    <a:lnTo>
                      <a:pt x="149" y="19"/>
                    </a:lnTo>
                    <a:lnTo>
                      <a:pt x="150" y="19"/>
                    </a:lnTo>
                    <a:lnTo>
                      <a:pt x="151" y="20"/>
                    </a:lnTo>
                    <a:lnTo>
                      <a:pt x="153" y="20"/>
                    </a:lnTo>
                    <a:lnTo>
                      <a:pt x="154" y="20"/>
                    </a:lnTo>
                    <a:lnTo>
                      <a:pt x="155" y="20"/>
                    </a:lnTo>
                    <a:lnTo>
                      <a:pt x="155" y="21"/>
                    </a:lnTo>
                    <a:lnTo>
                      <a:pt x="156" y="21"/>
                    </a:lnTo>
                    <a:lnTo>
                      <a:pt x="157" y="21"/>
                    </a:lnTo>
                    <a:lnTo>
                      <a:pt x="158" y="21"/>
                    </a:lnTo>
                    <a:lnTo>
                      <a:pt x="158" y="22"/>
                    </a:lnTo>
                    <a:lnTo>
                      <a:pt x="159" y="22"/>
                    </a:lnTo>
                    <a:lnTo>
                      <a:pt x="160" y="22"/>
                    </a:lnTo>
                    <a:lnTo>
                      <a:pt x="160" y="23"/>
                    </a:lnTo>
                    <a:lnTo>
                      <a:pt x="161" y="23"/>
                    </a:lnTo>
                    <a:lnTo>
                      <a:pt x="161" y="22"/>
                    </a:lnTo>
                    <a:lnTo>
                      <a:pt x="162" y="23"/>
                    </a:lnTo>
                    <a:lnTo>
                      <a:pt x="162" y="22"/>
                    </a:lnTo>
                    <a:lnTo>
                      <a:pt x="162" y="23"/>
                    </a:lnTo>
                    <a:lnTo>
                      <a:pt x="163" y="23"/>
                    </a:lnTo>
                    <a:lnTo>
                      <a:pt x="163" y="24"/>
                    </a:lnTo>
                    <a:lnTo>
                      <a:pt x="164" y="24"/>
                    </a:lnTo>
                    <a:lnTo>
                      <a:pt x="164" y="23"/>
                    </a:lnTo>
                    <a:lnTo>
                      <a:pt x="166" y="23"/>
                    </a:lnTo>
                    <a:close/>
                  </a:path>
                </a:pathLst>
              </a:custGeom>
              <a:solidFill>
                <a:srgbClr val="2E8BF7"/>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6" name="Freeform 16">
                <a:extLst>
                  <a:ext uri="{FF2B5EF4-FFF2-40B4-BE49-F238E27FC236}">
                    <a16:creationId xmlns:a16="http://schemas.microsoft.com/office/drawing/2014/main" id="{E0A66715-1074-B012-A3E7-CB1DBCDC33FB}"/>
                  </a:ext>
                </a:extLst>
              </p:cNvPr>
              <p:cNvSpPr>
                <a:spLocks/>
              </p:cNvSpPr>
              <p:nvPr/>
            </p:nvSpPr>
            <p:spPr bwMode="auto">
              <a:xfrm>
                <a:off x="4405313" y="4235450"/>
                <a:ext cx="369888" cy="468313"/>
              </a:xfrm>
              <a:custGeom>
                <a:avLst/>
                <a:gdLst>
                  <a:gd name="T0" fmla="*/ 233 w 233"/>
                  <a:gd name="T1" fmla="*/ 5 h 295"/>
                  <a:gd name="T2" fmla="*/ 229 w 233"/>
                  <a:gd name="T3" fmla="*/ 9 h 295"/>
                  <a:gd name="T4" fmla="*/ 227 w 233"/>
                  <a:gd name="T5" fmla="*/ 10 h 295"/>
                  <a:gd name="T6" fmla="*/ 224 w 233"/>
                  <a:gd name="T7" fmla="*/ 13 h 295"/>
                  <a:gd name="T8" fmla="*/ 221 w 233"/>
                  <a:gd name="T9" fmla="*/ 17 h 295"/>
                  <a:gd name="T10" fmla="*/ 219 w 233"/>
                  <a:gd name="T11" fmla="*/ 21 h 295"/>
                  <a:gd name="T12" fmla="*/ 216 w 233"/>
                  <a:gd name="T13" fmla="*/ 25 h 295"/>
                  <a:gd name="T14" fmla="*/ 215 w 233"/>
                  <a:gd name="T15" fmla="*/ 27 h 295"/>
                  <a:gd name="T16" fmla="*/ 215 w 233"/>
                  <a:gd name="T17" fmla="*/ 30 h 295"/>
                  <a:gd name="T18" fmla="*/ 203 w 233"/>
                  <a:gd name="T19" fmla="*/ 42 h 295"/>
                  <a:gd name="T20" fmla="*/ 189 w 233"/>
                  <a:gd name="T21" fmla="*/ 49 h 295"/>
                  <a:gd name="T22" fmla="*/ 176 w 233"/>
                  <a:gd name="T23" fmla="*/ 58 h 295"/>
                  <a:gd name="T24" fmla="*/ 163 w 233"/>
                  <a:gd name="T25" fmla="*/ 77 h 295"/>
                  <a:gd name="T26" fmla="*/ 157 w 233"/>
                  <a:gd name="T27" fmla="*/ 116 h 295"/>
                  <a:gd name="T28" fmla="*/ 163 w 233"/>
                  <a:gd name="T29" fmla="*/ 136 h 295"/>
                  <a:gd name="T30" fmla="*/ 163 w 233"/>
                  <a:gd name="T31" fmla="*/ 139 h 295"/>
                  <a:gd name="T32" fmla="*/ 164 w 233"/>
                  <a:gd name="T33" fmla="*/ 139 h 295"/>
                  <a:gd name="T34" fmla="*/ 167 w 233"/>
                  <a:gd name="T35" fmla="*/ 146 h 295"/>
                  <a:gd name="T36" fmla="*/ 172 w 233"/>
                  <a:gd name="T37" fmla="*/ 154 h 295"/>
                  <a:gd name="T38" fmla="*/ 147 w 233"/>
                  <a:gd name="T39" fmla="*/ 189 h 295"/>
                  <a:gd name="T40" fmla="*/ 128 w 233"/>
                  <a:gd name="T41" fmla="*/ 192 h 295"/>
                  <a:gd name="T42" fmla="*/ 92 w 233"/>
                  <a:gd name="T43" fmla="*/ 203 h 295"/>
                  <a:gd name="T44" fmla="*/ 90 w 233"/>
                  <a:gd name="T45" fmla="*/ 223 h 295"/>
                  <a:gd name="T46" fmla="*/ 90 w 233"/>
                  <a:gd name="T47" fmla="*/ 240 h 295"/>
                  <a:gd name="T48" fmla="*/ 93 w 233"/>
                  <a:gd name="T49" fmla="*/ 261 h 295"/>
                  <a:gd name="T50" fmla="*/ 94 w 233"/>
                  <a:gd name="T51" fmla="*/ 271 h 295"/>
                  <a:gd name="T52" fmla="*/ 92 w 233"/>
                  <a:gd name="T53" fmla="*/ 284 h 295"/>
                  <a:gd name="T54" fmla="*/ 57 w 233"/>
                  <a:gd name="T55" fmla="*/ 289 h 295"/>
                  <a:gd name="T56" fmla="*/ 51 w 233"/>
                  <a:gd name="T57" fmla="*/ 294 h 295"/>
                  <a:gd name="T58" fmla="*/ 48 w 233"/>
                  <a:gd name="T59" fmla="*/ 291 h 295"/>
                  <a:gd name="T60" fmla="*/ 42 w 233"/>
                  <a:gd name="T61" fmla="*/ 289 h 295"/>
                  <a:gd name="T62" fmla="*/ 36 w 233"/>
                  <a:gd name="T63" fmla="*/ 286 h 295"/>
                  <a:gd name="T64" fmla="*/ 30 w 233"/>
                  <a:gd name="T65" fmla="*/ 289 h 295"/>
                  <a:gd name="T66" fmla="*/ 27 w 233"/>
                  <a:gd name="T67" fmla="*/ 289 h 295"/>
                  <a:gd name="T68" fmla="*/ 21 w 233"/>
                  <a:gd name="T69" fmla="*/ 290 h 295"/>
                  <a:gd name="T70" fmla="*/ 14 w 233"/>
                  <a:gd name="T71" fmla="*/ 270 h 295"/>
                  <a:gd name="T72" fmla="*/ 10 w 233"/>
                  <a:gd name="T73" fmla="*/ 246 h 295"/>
                  <a:gd name="T74" fmla="*/ 9 w 233"/>
                  <a:gd name="T75" fmla="*/ 221 h 295"/>
                  <a:gd name="T76" fmla="*/ 9 w 233"/>
                  <a:gd name="T77" fmla="*/ 213 h 295"/>
                  <a:gd name="T78" fmla="*/ 9 w 233"/>
                  <a:gd name="T79" fmla="*/ 182 h 295"/>
                  <a:gd name="T80" fmla="*/ 16 w 233"/>
                  <a:gd name="T81" fmla="*/ 169 h 295"/>
                  <a:gd name="T82" fmla="*/ 14 w 233"/>
                  <a:gd name="T83" fmla="*/ 159 h 295"/>
                  <a:gd name="T84" fmla="*/ 34 w 233"/>
                  <a:gd name="T85" fmla="*/ 62 h 295"/>
                  <a:gd name="T86" fmla="*/ 44 w 233"/>
                  <a:gd name="T87" fmla="*/ 58 h 295"/>
                  <a:gd name="T88" fmla="*/ 49 w 233"/>
                  <a:gd name="T89" fmla="*/ 60 h 295"/>
                  <a:gd name="T90" fmla="*/ 56 w 233"/>
                  <a:gd name="T91" fmla="*/ 60 h 295"/>
                  <a:gd name="T92" fmla="*/ 68 w 233"/>
                  <a:gd name="T93" fmla="*/ 74 h 295"/>
                  <a:gd name="T94" fmla="*/ 85 w 233"/>
                  <a:gd name="T95" fmla="*/ 73 h 295"/>
                  <a:gd name="T96" fmla="*/ 102 w 233"/>
                  <a:gd name="T97" fmla="*/ 56 h 295"/>
                  <a:gd name="T98" fmla="*/ 120 w 233"/>
                  <a:gd name="T99" fmla="*/ 28 h 295"/>
                  <a:gd name="T100" fmla="*/ 150 w 233"/>
                  <a:gd name="T101" fmla="*/ 16 h 295"/>
                  <a:gd name="T102" fmla="*/ 171 w 233"/>
                  <a:gd name="T103" fmla="*/ 13 h 295"/>
                  <a:gd name="T104" fmla="*/ 182 w 233"/>
                  <a:gd name="T105" fmla="*/ 10 h 295"/>
                  <a:gd name="T106" fmla="*/ 190 w 233"/>
                  <a:gd name="T107" fmla="*/ 11 h 295"/>
                  <a:gd name="T108" fmla="*/ 197 w 233"/>
                  <a:gd name="T109" fmla="*/ 8 h 295"/>
                  <a:gd name="T110" fmla="*/ 210 w 233"/>
                  <a:gd name="T111" fmla="*/ 2 h 295"/>
                  <a:gd name="T112" fmla="*/ 224 w 233"/>
                  <a:gd name="T113"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3" h="295">
                    <a:moveTo>
                      <a:pt x="232" y="3"/>
                    </a:moveTo>
                    <a:lnTo>
                      <a:pt x="231" y="4"/>
                    </a:lnTo>
                    <a:lnTo>
                      <a:pt x="232" y="4"/>
                    </a:lnTo>
                    <a:lnTo>
                      <a:pt x="232" y="5"/>
                    </a:lnTo>
                    <a:lnTo>
                      <a:pt x="233" y="5"/>
                    </a:lnTo>
                    <a:lnTo>
                      <a:pt x="233" y="7"/>
                    </a:lnTo>
                    <a:lnTo>
                      <a:pt x="233" y="5"/>
                    </a:lnTo>
                    <a:lnTo>
                      <a:pt x="233" y="7"/>
                    </a:lnTo>
                    <a:lnTo>
                      <a:pt x="232" y="7"/>
                    </a:lnTo>
                    <a:lnTo>
                      <a:pt x="231" y="7"/>
                    </a:lnTo>
                    <a:lnTo>
                      <a:pt x="230" y="7"/>
                    </a:lnTo>
                    <a:lnTo>
                      <a:pt x="230" y="8"/>
                    </a:lnTo>
                    <a:lnTo>
                      <a:pt x="229" y="8"/>
                    </a:lnTo>
                    <a:lnTo>
                      <a:pt x="229" y="9"/>
                    </a:lnTo>
                    <a:lnTo>
                      <a:pt x="228" y="9"/>
                    </a:lnTo>
                    <a:lnTo>
                      <a:pt x="229" y="9"/>
                    </a:lnTo>
                    <a:lnTo>
                      <a:pt x="228" y="9"/>
                    </a:lnTo>
                    <a:lnTo>
                      <a:pt x="229" y="9"/>
                    </a:lnTo>
                    <a:lnTo>
                      <a:pt x="228" y="9"/>
                    </a:lnTo>
                    <a:lnTo>
                      <a:pt x="228" y="10"/>
                    </a:lnTo>
                    <a:lnTo>
                      <a:pt x="227" y="10"/>
                    </a:lnTo>
                    <a:lnTo>
                      <a:pt x="227" y="11"/>
                    </a:lnTo>
                    <a:lnTo>
                      <a:pt x="225" y="11"/>
                    </a:lnTo>
                    <a:lnTo>
                      <a:pt x="225" y="12"/>
                    </a:lnTo>
                    <a:lnTo>
                      <a:pt x="225" y="11"/>
                    </a:lnTo>
                    <a:lnTo>
                      <a:pt x="225" y="12"/>
                    </a:lnTo>
                    <a:lnTo>
                      <a:pt x="224" y="12"/>
                    </a:lnTo>
                    <a:lnTo>
                      <a:pt x="224" y="13"/>
                    </a:lnTo>
                    <a:lnTo>
                      <a:pt x="223" y="13"/>
                    </a:lnTo>
                    <a:lnTo>
                      <a:pt x="223" y="14"/>
                    </a:lnTo>
                    <a:lnTo>
                      <a:pt x="223" y="15"/>
                    </a:lnTo>
                    <a:lnTo>
                      <a:pt x="222" y="15"/>
                    </a:lnTo>
                    <a:lnTo>
                      <a:pt x="222" y="16"/>
                    </a:lnTo>
                    <a:lnTo>
                      <a:pt x="221" y="16"/>
                    </a:lnTo>
                    <a:lnTo>
                      <a:pt x="221" y="17"/>
                    </a:lnTo>
                    <a:lnTo>
                      <a:pt x="221" y="19"/>
                    </a:lnTo>
                    <a:lnTo>
                      <a:pt x="220" y="19"/>
                    </a:lnTo>
                    <a:lnTo>
                      <a:pt x="220" y="20"/>
                    </a:lnTo>
                    <a:lnTo>
                      <a:pt x="220" y="19"/>
                    </a:lnTo>
                    <a:lnTo>
                      <a:pt x="220" y="20"/>
                    </a:lnTo>
                    <a:lnTo>
                      <a:pt x="219" y="20"/>
                    </a:lnTo>
                    <a:lnTo>
                      <a:pt x="219" y="21"/>
                    </a:lnTo>
                    <a:lnTo>
                      <a:pt x="218" y="22"/>
                    </a:lnTo>
                    <a:lnTo>
                      <a:pt x="218" y="23"/>
                    </a:lnTo>
                    <a:lnTo>
                      <a:pt x="217" y="23"/>
                    </a:lnTo>
                    <a:lnTo>
                      <a:pt x="218" y="24"/>
                    </a:lnTo>
                    <a:lnTo>
                      <a:pt x="217" y="24"/>
                    </a:lnTo>
                    <a:lnTo>
                      <a:pt x="217" y="25"/>
                    </a:lnTo>
                    <a:lnTo>
                      <a:pt x="216" y="25"/>
                    </a:lnTo>
                    <a:lnTo>
                      <a:pt x="217" y="25"/>
                    </a:lnTo>
                    <a:lnTo>
                      <a:pt x="216" y="25"/>
                    </a:lnTo>
                    <a:lnTo>
                      <a:pt x="216" y="26"/>
                    </a:lnTo>
                    <a:lnTo>
                      <a:pt x="217" y="26"/>
                    </a:lnTo>
                    <a:lnTo>
                      <a:pt x="216" y="26"/>
                    </a:lnTo>
                    <a:lnTo>
                      <a:pt x="216" y="27"/>
                    </a:lnTo>
                    <a:lnTo>
                      <a:pt x="215" y="27"/>
                    </a:lnTo>
                    <a:lnTo>
                      <a:pt x="215" y="28"/>
                    </a:lnTo>
                    <a:lnTo>
                      <a:pt x="215" y="29"/>
                    </a:lnTo>
                    <a:lnTo>
                      <a:pt x="214" y="29"/>
                    </a:lnTo>
                    <a:lnTo>
                      <a:pt x="215" y="29"/>
                    </a:lnTo>
                    <a:lnTo>
                      <a:pt x="214" y="29"/>
                    </a:lnTo>
                    <a:lnTo>
                      <a:pt x="215" y="29"/>
                    </a:lnTo>
                    <a:lnTo>
                      <a:pt x="215" y="30"/>
                    </a:lnTo>
                    <a:lnTo>
                      <a:pt x="214" y="30"/>
                    </a:lnTo>
                    <a:lnTo>
                      <a:pt x="214" y="32"/>
                    </a:lnTo>
                    <a:lnTo>
                      <a:pt x="212" y="33"/>
                    </a:lnTo>
                    <a:lnTo>
                      <a:pt x="210" y="33"/>
                    </a:lnTo>
                    <a:lnTo>
                      <a:pt x="208" y="35"/>
                    </a:lnTo>
                    <a:lnTo>
                      <a:pt x="208" y="37"/>
                    </a:lnTo>
                    <a:lnTo>
                      <a:pt x="203" y="42"/>
                    </a:lnTo>
                    <a:lnTo>
                      <a:pt x="201" y="42"/>
                    </a:lnTo>
                    <a:lnTo>
                      <a:pt x="199" y="42"/>
                    </a:lnTo>
                    <a:lnTo>
                      <a:pt x="197" y="43"/>
                    </a:lnTo>
                    <a:lnTo>
                      <a:pt x="195" y="45"/>
                    </a:lnTo>
                    <a:lnTo>
                      <a:pt x="194" y="47"/>
                    </a:lnTo>
                    <a:lnTo>
                      <a:pt x="192" y="49"/>
                    </a:lnTo>
                    <a:lnTo>
                      <a:pt x="189" y="49"/>
                    </a:lnTo>
                    <a:lnTo>
                      <a:pt x="188" y="50"/>
                    </a:lnTo>
                    <a:lnTo>
                      <a:pt x="186" y="51"/>
                    </a:lnTo>
                    <a:lnTo>
                      <a:pt x="184" y="52"/>
                    </a:lnTo>
                    <a:lnTo>
                      <a:pt x="182" y="54"/>
                    </a:lnTo>
                    <a:lnTo>
                      <a:pt x="180" y="54"/>
                    </a:lnTo>
                    <a:lnTo>
                      <a:pt x="178" y="55"/>
                    </a:lnTo>
                    <a:lnTo>
                      <a:pt x="176" y="58"/>
                    </a:lnTo>
                    <a:lnTo>
                      <a:pt x="175" y="58"/>
                    </a:lnTo>
                    <a:lnTo>
                      <a:pt x="173" y="59"/>
                    </a:lnTo>
                    <a:lnTo>
                      <a:pt x="172" y="60"/>
                    </a:lnTo>
                    <a:lnTo>
                      <a:pt x="171" y="63"/>
                    </a:lnTo>
                    <a:lnTo>
                      <a:pt x="169" y="66"/>
                    </a:lnTo>
                    <a:lnTo>
                      <a:pt x="166" y="71"/>
                    </a:lnTo>
                    <a:lnTo>
                      <a:pt x="163" y="77"/>
                    </a:lnTo>
                    <a:lnTo>
                      <a:pt x="159" y="85"/>
                    </a:lnTo>
                    <a:lnTo>
                      <a:pt x="158" y="93"/>
                    </a:lnTo>
                    <a:lnTo>
                      <a:pt x="156" y="101"/>
                    </a:lnTo>
                    <a:lnTo>
                      <a:pt x="157" y="102"/>
                    </a:lnTo>
                    <a:lnTo>
                      <a:pt x="156" y="106"/>
                    </a:lnTo>
                    <a:lnTo>
                      <a:pt x="156" y="113"/>
                    </a:lnTo>
                    <a:lnTo>
                      <a:pt x="157" y="116"/>
                    </a:lnTo>
                    <a:lnTo>
                      <a:pt x="157" y="120"/>
                    </a:lnTo>
                    <a:lnTo>
                      <a:pt x="158" y="125"/>
                    </a:lnTo>
                    <a:lnTo>
                      <a:pt x="159" y="128"/>
                    </a:lnTo>
                    <a:lnTo>
                      <a:pt x="160" y="133"/>
                    </a:lnTo>
                    <a:lnTo>
                      <a:pt x="162" y="135"/>
                    </a:lnTo>
                    <a:lnTo>
                      <a:pt x="163" y="135"/>
                    </a:lnTo>
                    <a:lnTo>
                      <a:pt x="163" y="136"/>
                    </a:lnTo>
                    <a:lnTo>
                      <a:pt x="163" y="137"/>
                    </a:lnTo>
                    <a:lnTo>
                      <a:pt x="164" y="137"/>
                    </a:lnTo>
                    <a:lnTo>
                      <a:pt x="163" y="137"/>
                    </a:lnTo>
                    <a:lnTo>
                      <a:pt x="164" y="137"/>
                    </a:lnTo>
                    <a:lnTo>
                      <a:pt x="164" y="138"/>
                    </a:lnTo>
                    <a:lnTo>
                      <a:pt x="163" y="138"/>
                    </a:lnTo>
                    <a:lnTo>
                      <a:pt x="163" y="139"/>
                    </a:lnTo>
                    <a:lnTo>
                      <a:pt x="164" y="139"/>
                    </a:lnTo>
                    <a:lnTo>
                      <a:pt x="163" y="139"/>
                    </a:lnTo>
                    <a:lnTo>
                      <a:pt x="164" y="139"/>
                    </a:lnTo>
                    <a:lnTo>
                      <a:pt x="163" y="139"/>
                    </a:lnTo>
                    <a:lnTo>
                      <a:pt x="164" y="139"/>
                    </a:lnTo>
                    <a:lnTo>
                      <a:pt x="163" y="139"/>
                    </a:lnTo>
                    <a:lnTo>
                      <a:pt x="164" y="139"/>
                    </a:lnTo>
                    <a:lnTo>
                      <a:pt x="164" y="140"/>
                    </a:lnTo>
                    <a:lnTo>
                      <a:pt x="165" y="141"/>
                    </a:lnTo>
                    <a:lnTo>
                      <a:pt x="165" y="142"/>
                    </a:lnTo>
                    <a:lnTo>
                      <a:pt x="165" y="143"/>
                    </a:lnTo>
                    <a:lnTo>
                      <a:pt x="166" y="144"/>
                    </a:lnTo>
                    <a:lnTo>
                      <a:pt x="166" y="145"/>
                    </a:lnTo>
                    <a:lnTo>
                      <a:pt x="167" y="146"/>
                    </a:lnTo>
                    <a:lnTo>
                      <a:pt x="167" y="148"/>
                    </a:lnTo>
                    <a:lnTo>
                      <a:pt x="168" y="149"/>
                    </a:lnTo>
                    <a:lnTo>
                      <a:pt x="168" y="150"/>
                    </a:lnTo>
                    <a:lnTo>
                      <a:pt x="169" y="151"/>
                    </a:lnTo>
                    <a:lnTo>
                      <a:pt x="170" y="152"/>
                    </a:lnTo>
                    <a:lnTo>
                      <a:pt x="170" y="153"/>
                    </a:lnTo>
                    <a:lnTo>
                      <a:pt x="172" y="154"/>
                    </a:lnTo>
                    <a:lnTo>
                      <a:pt x="172" y="155"/>
                    </a:lnTo>
                    <a:lnTo>
                      <a:pt x="171" y="156"/>
                    </a:lnTo>
                    <a:lnTo>
                      <a:pt x="169" y="159"/>
                    </a:lnTo>
                    <a:lnTo>
                      <a:pt x="164" y="167"/>
                    </a:lnTo>
                    <a:lnTo>
                      <a:pt x="152" y="183"/>
                    </a:lnTo>
                    <a:lnTo>
                      <a:pt x="150" y="186"/>
                    </a:lnTo>
                    <a:lnTo>
                      <a:pt x="147" y="189"/>
                    </a:lnTo>
                    <a:lnTo>
                      <a:pt x="142" y="189"/>
                    </a:lnTo>
                    <a:lnTo>
                      <a:pt x="137" y="190"/>
                    </a:lnTo>
                    <a:lnTo>
                      <a:pt x="136" y="190"/>
                    </a:lnTo>
                    <a:lnTo>
                      <a:pt x="134" y="190"/>
                    </a:lnTo>
                    <a:lnTo>
                      <a:pt x="131" y="191"/>
                    </a:lnTo>
                    <a:lnTo>
                      <a:pt x="129" y="192"/>
                    </a:lnTo>
                    <a:lnTo>
                      <a:pt x="128" y="192"/>
                    </a:lnTo>
                    <a:lnTo>
                      <a:pt x="127" y="192"/>
                    </a:lnTo>
                    <a:lnTo>
                      <a:pt x="119" y="191"/>
                    </a:lnTo>
                    <a:lnTo>
                      <a:pt x="114" y="193"/>
                    </a:lnTo>
                    <a:lnTo>
                      <a:pt x="94" y="200"/>
                    </a:lnTo>
                    <a:lnTo>
                      <a:pt x="93" y="200"/>
                    </a:lnTo>
                    <a:lnTo>
                      <a:pt x="92" y="201"/>
                    </a:lnTo>
                    <a:lnTo>
                      <a:pt x="92" y="203"/>
                    </a:lnTo>
                    <a:lnTo>
                      <a:pt x="92" y="207"/>
                    </a:lnTo>
                    <a:lnTo>
                      <a:pt x="92" y="210"/>
                    </a:lnTo>
                    <a:lnTo>
                      <a:pt x="86" y="210"/>
                    </a:lnTo>
                    <a:lnTo>
                      <a:pt x="86" y="213"/>
                    </a:lnTo>
                    <a:lnTo>
                      <a:pt x="86" y="218"/>
                    </a:lnTo>
                    <a:lnTo>
                      <a:pt x="86" y="223"/>
                    </a:lnTo>
                    <a:lnTo>
                      <a:pt x="90" y="223"/>
                    </a:lnTo>
                    <a:lnTo>
                      <a:pt x="90" y="226"/>
                    </a:lnTo>
                    <a:lnTo>
                      <a:pt x="90" y="227"/>
                    </a:lnTo>
                    <a:lnTo>
                      <a:pt x="90" y="234"/>
                    </a:lnTo>
                    <a:lnTo>
                      <a:pt x="90" y="235"/>
                    </a:lnTo>
                    <a:lnTo>
                      <a:pt x="90" y="236"/>
                    </a:lnTo>
                    <a:lnTo>
                      <a:pt x="90" y="238"/>
                    </a:lnTo>
                    <a:lnTo>
                      <a:pt x="90" y="240"/>
                    </a:lnTo>
                    <a:lnTo>
                      <a:pt x="90" y="242"/>
                    </a:lnTo>
                    <a:lnTo>
                      <a:pt x="91" y="245"/>
                    </a:lnTo>
                    <a:lnTo>
                      <a:pt x="90" y="255"/>
                    </a:lnTo>
                    <a:lnTo>
                      <a:pt x="91" y="257"/>
                    </a:lnTo>
                    <a:lnTo>
                      <a:pt x="92" y="258"/>
                    </a:lnTo>
                    <a:lnTo>
                      <a:pt x="92" y="259"/>
                    </a:lnTo>
                    <a:lnTo>
                      <a:pt x="93" y="261"/>
                    </a:lnTo>
                    <a:lnTo>
                      <a:pt x="94" y="264"/>
                    </a:lnTo>
                    <a:lnTo>
                      <a:pt x="94" y="265"/>
                    </a:lnTo>
                    <a:lnTo>
                      <a:pt x="94" y="267"/>
                    </a:lnTo>
                    <a:lnTo>
                      <a:pt x="94" y="268"/>
                    </a:lnTo>
                    <a:lnTo>
                      <a:pt x="94" y="269"/>
                    </a:lnTo>
                    <a:lnTo>
                      <a:pt x="94" y="270"/>
                    </a:lnTo>
                    <a:lnTo>
                      <a:pt x="94" y="271"/>
                    </a:lnTo>
                    <a:lnTo>
                      <a:pt x="94" y="272"/>
                    </a:lnTo>
                    <a:lnTo>
                      <a:pt x="94" y="273"/>
                    </a:lnTo>
                    <a:lnTo>
                      <a:pt x="94" y="272"/>
                    </a:lnTo>
                    <a:lnTo>
                      <a:pt x="94" y="273"/>
                    </a:lnTo>
                    <a:lnTo>
                      <a:pt x="94" y="274"/>
                    </a:lnTo>
                    <a:lnTo>
                      <a:pt x="94" y="276"/>
                    </a:lnTo>
                    <a:lnTo>
                      <a:pt x="92" y="284"/>
                    </a:lnTo>
                    <a:lnTo>
                      <a:pt x="90" y="289"/>
                    </a:lnTo>
                    <a:lnTo>
                      <a:pt x="89" y="289"/>
                    </a:lnTo>
                    <a:lnTo>
                      <a:pt x="88" y="289"/>
                    </a:lnTo>
                    <a:lnTo>
                      <a:pt x="83" y="287"/>
                    </a:lnTo>
                    <a:lnTo>
                      <a:pt x="67" y="287"/>
                    </a:lnTo>
                    <a:lnTo>
                      <a:pt x="59" y="287"/>
                    </a:lnTo>
                    <a:lnTo>
                      <a:pt x="57" y="289"/>
                    </a:lnTo>
                    <a:lnTo>
                      <a:pt x="56" y="289"/>
                    </a:lnTo>
                    <a:lnTo>
                      <a:pt x="56" y="290"/>
                    </a:lnTo>
                    <a:lnTo>
                      <a:pt x="55" y="290"/>
                    </a:lnTo>
                    <a:lnTo>
                      <a:pt x="54" y="292"/>
                    </a:lnTo>
                    <a:lnTo>
                      <a:pt x="53" y="293"/>
                    </a:lnTo>
                    <a:lnTo>
                      <a:pt x="52" y="294"/>
                    </a:lnTo>
                    <a:lnTo>
                      <a:pt x="51" y="294"/>
                    </a:lnTo>
                    <a:lnTo>
                      <a:pt x="50" y="295"/>
                    </a:lnTo>
                    <a:lnTo>
                      <a:pt x="49" y="295"/>
                    </a:lnTo>
                    <a:lnTo>
                      <a:pt x="48" y="295"/>
                    </a:lnTo>
                    <a:lnTo>
                      <a:pt x="48" y="294"/>
                    </a:lnTo>
                    <a:lnTo>
                      <a:pt x="48" y="293"/>
                    </a:lnTo>
                    <a:lnTo>
                      <a:pt x="48" y="292"/>
                    </a:lnTo>
                    <a:lnTo>
                      <a:pt x="48" y="291"/>
                    </a:lnTo>
                    <a:lnTo>
                      <a:pt x="48" y="290"/>
                    </a:lnTo>
                    <a:lnTo>
                      <a:pt x="47" y="290"/>
                    </a:lnTo>
                    <a:lnTo>
                      <a:pt x="46" y="290"/>
                    </a:lnTo>
                    <a:lnTo>
                      <a:pt x="44" y="290"/>
                    </a:lnTo>
                    <a:lnTo>
                      <a:pt x="43" y="290"/>
                    </a:lnTo>
                    <a:lnTo>
                      <a:pt x="43" y="289"/>
                    </a:lnTo>
                    <a:lnTo>
                      <a:pt x="42" y="289"/>
                    </a:lnTo>
                    <a:lnTo>
                      <a:pt x="41" y="289"/>
                    </a:lnTo>
                    <a:lnTo>
                      <a:pt x="40" y="287"/>
                    </a:lnTo>
                    <a:lnTo>
                      <a:pt x="39" y="287"/>
                    </a:lnTo>
                    <a:lnTo>
                      <a:pt x="39" y="286"/>
                    </a:lnTo>
                    <a:lnTo>
                      <a:pt x="38" y="286"/>
                    </a:lnTo>
                    <a:lnTo>
                      <a:pt x="37" y="286"/>
                    </a:lnTo>
                    <a:lnTo>
                      <a:pt x="36" y="286"/>
                    </a:lnTo>
                    <a:lnTo>
                      <a:pt x="35" y="286"/>
                    </a:lnTo>
                    <a:lnTo>
                      <a:pt x="34" y="286"/>
                    </a:lnTo>
                    <a:lnTo>
                      <a:pt x="33" y="286"/>
                    </a:lnTo>
                    <a:lnTo>
                      <a:pt x="33" y="287"/>
                    </a:lnTo>
                    <a:lnTo>
                      <a:pt x="31" y="287"/>
                    </a:lnTo>
                    <a:lnTo>
                      <a:pt x="30" y="287"/>
                    </a:lnTo>
                    <a:lnTo>
                      <a:pt x="30" y="289"/>
                    </a:lnTo>
                    <a:lnTo>
                      <a:pt x="29" y="289"/>
                    </a:lnTo>
                    <a:lnTo>
                      <a:pt x="29" y="287"/>
                    </a:lnTo>
                    <a:lnTo>
                      <a:pt x="28" y="287"/>
                    </a:lnTo>
                    <a:lnTo>
                      <a:pt x="27" y="287"/>
                    </a:lnTo>
                    <a:lnTo>
                      <a:pt x="27" y="289"/>
                    </a:lnTo>
                    <a:lnTo>
                      <a:pt x="27" y="287"/>
                    </a:lnTo>
                    <a:lnTo>
                      <a:pt x="27" y="289"/>
                    </a:lnTo>
                    <a:lnTo>
                      <a:pt x="26" y="289"/>
                    </a:lnTo>
                    <a:lnTo>
                      <a:pt x="25" y="289"/>
                    </a:lnTo>
                    <a:lnTo>
                      <a:pt x="24" y="289"/>
                    </a:lnTo>
                    <a:lnTo>
                      <a:pt x="23" y="289"/>
                    </a:lnTo>
                    <a:lnTo>
                      <a:pt x="23" y="290"/>
                    </a:lnTo>
                    <a:lnTo>
                      <a:pt x="22" y="290"/>
                    </a:lnTo>
                    <a:lnTo>
                      <a:pt x="21" y="290"/>
                    </a:lnTo>
                    <a:lnTo>
                      <a:pt x="21" y="291"/>
                    </a:lnTo>
                    <a:lnTo>
                      <a:pt x="21" y="290"/>
                    </a:lnTo>
                    <a:lnTo>
                      <a:pt x="21" y="291"/>
                    </a:lnTo>
                    <a:lnTo>
                      <a:pt x="15" y="279"/>
                    </a:lnTo>
                    <a:lnTo>
                      <a:pt x="15" y="278"/>
                    </a:lnTo>
                    <a:lnTo>
                      <a:pt x="15" y="274"/>
                    </a:lnTo>
                    <a:lnTo>
                      <a:pt x="14" y="270"/>
                    </a:lnTo>
                    <a:lnTo>
                      <a:pt x="14" y="268"/>
                    </a:lnTo>
                    <a:lnTo>
                      <a:pt x="14" y="267"/>
                    </a:lnTo>
                    <a:lnTo>
                      <a:pt x="14" y="262"/>
                    </a:lnTo>
                    <a:lnTo>
                      <a:pt x="14" y="253"/>
                    </a:lnTo>
                    <a:lnTo>
                      <a:pt x="14" y="252"/>
                    </a:lnTo>
                    <a:lnTo>
                      <a:pt x="14" y="246"/>
                    </a:lnTo>
                    <a:lnTo>
                      <a:pt x="10" y="246"/>
                    </a:lnTo>
                    <a:lnTo>
                      <a:pt x="9" y="246"/>
                    </a:lnTo>
                    <a:lnTo>
                      <a:pt x="9" y="245"/>
                    </a:lnTo>
                    <a:lnTo>
                      <a:pt x="9" y="236"/>
                    </a:lnTo>
                    <a:lnTo>
                      <a:pt x="14" y="236"/>
                    </a:lnTo>
                    <a:lnTo>
                      <a:pt x="14" y="226"/>
                    </a:lnTo>
                    <a:lnTo>
                      <a:pt x="9" y="226"/>
                    </a:lnTo>
                    <a:lnTo>
                      <a:pt x="9" y="221"/>
                    </a:lnTo>
                    <a:lnTo>
                      <a:pt x="8" y="221"/>
                    </a:lnTo>
                    <a:lnTo>
                      <a:pt x="8" y="220"/>
                    </a:lnTo>
                    <a:lnTo>
                      <a:pt x="9" y="219"/>
                    </a:lnTo>
                    <a:lnTo>
                      <a:pt x="11" y="218"/>
                    </a:lnTo>
                    <a:lnTo>
                      <a:pt x="11" y="217"/>
                    </a:lnTo>
                    <a:lnTo>
                      <a:pt x="10" y="215"/>
                    </a:lnTo>
                    <a:lnTo>
                      <a:pt x="9" y="213"/>
                    </a:lnTo>
                    <a:lnTo>
                      <a:pt x="5" y="202"/>
                    </a:lnTo>
                    <a:lnTo>
                      <a:pt x="1" y="190"/>
                    </a:lnTo>
                    <a:lnTo>
                      <a:pt x="1" y="189"/>
                    </a:lnTo>
                    <a:lnTo>
                      <a:pt x="0" y="187"/>
                    </a:lnTo>
                    <a:lnTo>
                      <a:pt x="1" y="187"/>
                    </a:lnTo>
                    <a:lnTo>
                      <a:pt x="3" y="186"/>
                    </a:lnTo>
                    <a:lnTo>
                      <a:pt x="9" y="182"/>
                    </a:lnTo>
                    <a:lnTo>
                      <a:pt x="11" y="181"/>
                    </a:lnTo>
                    <a:lnTo>
                      <a:pt x="12" y="180"/>
                    </a:lnTo>
                    <a:lnTo>
                      <a:pt x="17" y="177"/>
                    </a:lnTo>
                    <a:lnTo>
                      <a:pt x="17" y="175"/>
                    </a:lnTo>
                    <a:lnTo>
                      <a:pt x="16" y="172"/>
                    </a:lnTo>
                    <a:lnTo>
                      <a:pt x="16" y="171"/>
                    </a:lnTo>
                    <a:lnTo>
                      <a:pt x="16" y="169"/>
                    </a:lnTo>
                    <a:lnTo>
                      <a:pt x="15" y="167"/>
                    </a:lnTo>
                    <a:lnTo>
                      <a:pt x="15" y="166"/>
                    </a:lnTo>
                    <a:lnTo>
                      <a:pt x="15" y="165"/>
                    </a:lnTo>
                    <a:lnTo>
                      <a:pt x="14" y="163"/>
                    </a:lnTo>
                    <a:lnTo>
                      <a:pt x="14" y="162"/>
                    </a:lnTo>
                    <a:lnTo>
                      <a:pt x="14" y="161"/>
                    </a:lnTo>
                    <a:lnTo>
                      <a:pt x="14" y="159"/>
                    </a:lnTo>
                    <a:lnTo>
                      <a:pt x="11" y="145"/>
                    </a:lnTo>
                    <a:lnTo>
                      <a:pt x="22" y="144"/>
                    </a:lnTo>
                    <a:lnTo>
                      <a:pt x="24" y="129"/>
                    </a:lnTo>
                    <a:lnTo>
                      <a:pt x="24" y="127"/>
                    </a:lnTo>
                    <a:lnTo>
                      <a:pt x="28" y="101"/>
                    </a:lnTo>
                    <a:lnTo>
                      <a:pt x="29" y="94"/>
                    </a:lnTo>
                    <a:lnTo>
                      <a:pt x="34" y="62"/>
                    </a:lnTo>
                    <a:lnTo>
                      <a:pt x="35" y="56"/>
                    </a:lnTo>
                    <a:lnTo>
                      <a:pt x="35" y="55"/>
                    </a:lnTo>
                    <a:lnTo>
                      <a:pt x="39" y="56"/>
                    </a:lnTo>
                    <a:lnTo>
                      <a:pt x="40" y="56"/>
                    </a:lnTo>
                    <a:lnTo>
                      <a:pt x="43" y="56"/>
                    </a:lnTo>
                    <a:lnTo>
                      <a:pt x="44" y="56"/>
                    </a:lnTo>
                    <a:lnTo>
                      <a:pt x="44" y="58"/>
                    </a:lnTo>
                    <a:lnTo>
                      <a:pt x="46" y="59"/>
                    </a:lnTo>
                    <a:lnTo>
                      <a:pt x="46" y="60"/>
                    </a:lnTo>
                    <a:lnTo>
                      <a:pt x="47" y="60"/>
                    </a:lnTo>
                    <a:lnTo>
                      <a:pt x="47" y="61"/>
                    </a:lnTo>
                    <a:lnTo>
                      <a:pt x="48" y="61"/>
                    </a:lnTo>
                    <a:lnTo>
                      <a:pt x="49" y="61"/>
                    </a:lnTo>
                    <a:lnTo>
                      <a:pt x="49" y="60"/>
                    </a:lnTo>
                    <a:lnTo>
                      <a:pt x="50" y="60"/>
                    </a:lnTo>
                    <a:lnTo>
                      <a:pt x="51" y="59"/>
                    </a:lnTo>
                    <a:lnTo>
                      <a:pt x="52" y="59"/>
                    </a:lnTo>
                    <a:lnTo>
                      <a:pt x="53" y="59"/>
                    </a:lnTo>
                    <a:lnTo>
                      <a:pt x="54" y="59"/>
                    </a:lnTo>
                    <a:lnTo>
                      <a:pt x="55" y="59"/>
                    </a:lnTo>
                    <a:lnTo>
                      <a:pt x="56" y="60"/>
                    </a:lnTo>
                    <a:lnTo>
                      <a:pt x="57" y="61"/>
                    </a:lnTo>
                    <a:lnTo>
                      <a:pt x="59" y="64"/>
                    </a:lnTo>
                    <a:lnTo>
                      <a:pt x="60" y="65"/>
                    </a:lnTo>
                    <a:lnTo>
                      <a:pt x="63" y="69"/>
                    </a:lnTo>
                    <a:lnTo>
                      <a:pt x="65" y="71"/>
                    </a:lnTo>
                    <a:lnTo>
                      <a:pt x="66" y="72"/>
                    </a:lnTo>
                    <a:lnTo>
                      <a:pt x="68" y="74"/>
                    </a:lnTo>
                    <a:lnTo>
                      <a:pt x="72" y="75"/>
                    </a:lnTo>
                    <a:lnTo>
                      <a:pt x="73" y="75"/>
                    </a:lnTo>
                    <a:lnTo>
                      <a:pt x="75" y="75"/>
                    </a:lnTo>
                    <a:lnTo>
                      <a:pt x="77" y="75"/>
                    </a:lnTo>
                    <a:lnTo>
                      <a:pt x="80" y="75"/>
                    </a:lnTo>
                    <a:lnTo>
                      <a:pt x="82" y="74"/>
                    </a:lnTo>
                    <a:lnTo>
                      <a:pt x="85" y="73"/>
                    </a:lnTo>
                    <a:lnTo>
                      <a:pt x="87" y="72"/>
                    </a:lnTo>
                    <a:lnTo>
                      <a:pt x="90" y="71"/>
                    </a:lnTo>
                    <a:lnTo>
                      <a:pt x="92" y="68"/>
                    </a:lnTo>
                    <a:lnTo>
                      <a:pt x="95" y="66"/>
                    </a:lnTo>
                    <a:lnTo>
                      <a:pt x="98" y="63"/>
                    </a:lnTo>
                    <a:lnTo>
                      <a:pt x="100" y="60"/>
                    </a:lnTo>
                    <a:lnTo>
                      <a:pt x="102" y="56"/>
                    </a:lnTo>
                    <a:lnTo>
                      <a:pt x="106" y="49"/>
                    </a:lnTo>
                    <a:lnTo>
                      <a:pt x="115" y="34"/>
                    </a:lnTo>
                    <a:lnTo>
                      <a:pt x="116" y="33"/>
                    </a:lnTo>
                    <a:lnTo>
                      <a:pt x="116" y="32"/>
                    </a:lnTo>
                    <a:lnTo>
                      <a:pt x="117" y="32"/>
                    </a:lnTo>
                    <a:lnTo>
                      <a:pt x="118" y="30"/>
                    </a:lnTo>
                    <a:lnTo>
                      <a:pt x="120" y="28"/>
                    </a:lnTo>
                    <a:lnTo>
                      <a:pt x="123" y="27"/>
                    </a:lnTo>
                    <a:lnTo>
                      <a:pt x="127" y="25"/>
                    </a:lnTo>
                    <a:lnTo>
                      <a:pt x="131" y="23"/>
                    </a:lnTo>
                    <a:lnTo>
                      <a:pt x="134" y="22"/>
                    </a:lnTo>
                    <a:lnTo>
                      <a:pt x="140" y="20"/>
                    </a:lnTo>
                    <a:lnTo>
                      <a:pt x="144" y="19"/>
                    </a:lnTo>
                    <a:lnTo>
                      <a:pt x="150" y="16"/>
                    </a:lnTo>
                    <a:lnTo>
                      <a:pt x="155" y="16"/>
                    </a:lnTo>
                    <a:lnTo>
                      <a:pt x="158" y="15"/>
                    </a:lnTo>
                    <a:lnTo>
                      <a:pt x="162" y="15"/>
                    </a:lnTo>
                    <a:lnTo>
                      <a:pt x="166" y="14"/>
                    </a:lnTo>
                    <a:lnTo>
                      <a:pt x="169" y="13"/>
                    </a:lnTo>
                    <a:lnTo>
                      <a:pt x="170" y="13"/>
                    </a:lnTo>
                    <a:lnTo>
                      <a:pt x="171" y="13"/>
                    </a:lnTo>
                    <a:lnTo>
                      <a:pt x="175" y="11"/>
                    </a:lnTo>
                    <a:lnTo>
                      <a:pt x="177" y="10"/>
                    </a:lnTo>
                    <a:lnTo>
                      <a:pt x="178" y="10"/>
                    </a:lnTo>
                    <a:lnTo>
                      <a:pt x="179" y="10"/>
                    </a:lnTo>
                    <a:lnTo>
                      <a:pt x="180" y="10"/>
                    </a:lnTo>
                    <a:lnTo>
                      <a:pt x="181" y="10"/>
                    </a:lnTo>
                    <a:lnTo>
                      <a:pt x="182" y="10"/>
                    </a:lnTo>
                    <a:lnTo>
                      <a:pt x="183" y="10"/>
                    </a:lnTo>
                    <a:lnTo>
                      <a:pt x="184" y="10"/>
                    </a:lnTo>
                    <a:lnTo>
                      <a:pt x="185" y="9"/>
                    </a:lnTo>
                    <a:lnTo>
                      <a:pt x="186" y="9"/>
                    </a:lnTo>
                    <a:lnTo>
                      <a:pt x="188" y="10"/>
                    </a:lnTo>
                    <a:lnTo>
                      <a:pt x="189" y="10"/>
                    </a:lnTo>
                    <a:lnTo>
                      <a:pt x="190" y="11"/>
                    </a:lnTo>
                    <a:lnTo>
                      <a:pt x="191" y="11"/>
                    </a:lnTo>
                    <a:lnTo>
                      <a:pt x="192" y="11"/>
                    </a:lnTo>
                    <a:lnTo>
                      <a:pt x="193" y="12"/>
                    </a:lnTo>
                    <a:lnTo>
                      <a:pt x="194" y="11"/>
                    </a:lnTo>
                    <a:lnTo>
                      <a:pt x="195" y="11"/>
                    </a:lnTo>
                    <a:lnTo>
                      <a:pt x="196" y="10"/>
                    </a:lnTo>
                    <a:lnTo>
                      <a:pt x="197" y="8"/>
                    </a:lnTo>
                    <a:lnTo>
                      <a:pt x="199" y="7"/>
                    </a:lnTo>
                    <a:lnTo>
                      <a:pt x="203" y="4"/>
                    </a:lnTo>
                    <a:lnTo>
                      <a:pt x="206" y="3"/>
                    </a:lnTo>
                    <a:lnTo>
                      <a:pt x="207" y="2"/>
                    </a:lnTo>
                    <a:lnTo>
                      <a:pt x="208" y="2"/>
                    </a:lnTo>
                    <a:lnTo>
                      <a:pt x="209" y="1"/>
                    </a:lnTo>
                    <a:lnTo>
                      <a:pt x="210" y="2"/>
                    </a:lnTo>
                    <a:lnTo>
                      <a:pt x="211" y="2"/>
                    </a:lnTo>
                    <a:lnTo>
                      <a:pt x="214" y="3"/>
                    </a:lnTo>
                    <a:lnTo>
                      <a:pt x="216" y="3"/>
                    </a:lnTo>
                    <a:lnTo>
                      <a:pt x="218" y="3"/>
                    </a:lnTo>
                    <a:lnTo>
                      <a:pt x="221" y="2"/>
                    </a:lnTo>
                    <a:lnTo>
                      <a:pt x="224" y="1"/>
                    </a:lnTo>
                    <a:lnTo>
                      <a:pt x="224" y="0"/>
                    </a:lnTo>
                    <a:lnTo>
                      <a:pt x="225" y="0"/>
                    </a:lnTo>
                    <a:lnTo>
                      <a:pt x="227" y="1"/>
                    </a:lnTo>
                    <a:lnTo>
                      <a:pt x="229" y="2"/>
                    </a:lnTo>
                    <a:lnTo>
                      <a:pt x="231" y="3"/>
                    </a:lnTo>
                    <a:lnTo>
                      <a:pt x="232" y="3"/>
                    </a:lnTo>
                    <a:close/>
                  </a:path>
                </a:pathLst>
              </a:custGeom>
              <a:solidFill>
                <a:srgbClr val="2375D4"/>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7" name="Freeform 17">
                <a:extLst>
                  <a:ext uri="{FF2B5EF4-FFF2-40B4-BE49-F238E27FC236}">
                    <a16:creationId xmlns:a16="http://schemas.microsoft.com/office/drawing/2014/main" id="{CA460CE0-1B5D-18CE-F8DE-BD05E4732F6A}"/>
                  </a:ext>
                </a:extLst>
              </p:cNvPr>
              <p:cNvSpPr>
                <a:spLocks/>
              </p:cNvSpPr>
              <p:nvPr/>
            </p:nvSpPr>
            <p:spPr bwMode="auto">
              <a:xfrm>
                <a:off x="3998913" y="4181475"/>
                <a:ext cx="461963" cy="320675"/>
              </a:xfrm>
              <a:custGeom>
                <a:avLst/>
                <a:gdLst>
                  <a:gd name="T0" fmla="*/ 137 w 291"/>
                  <a:gd name="T1" fmla="*/ 2 h 202"/>
                  <a:gd name="T2" fmla="*/ 140 w 291"/>
                  <a:gd name="T3" fmla="*/ 3 h 202"/>
                  <a:gd name="T4" fmla="*/ 147 w 291"/>
                  <a:gd name="T5" fmla="*/ 4 h 202"/>
                  <a:gd name="T6" fmla="*/ 153 w 291"/>
                  <a:gd name="T7" fmla="*/ 5 h 202"/>
                  <a:gd name="T8" fmla="*/ 156 w 291"/>
                  <a:gd name="T9" fmla="*/ 11 h 202"/>
                  <a:gd name="T10" fmla="*/ 165 w 291"/>
                  <a:gd name="T11" fmla="*/ 16 h 202"/>
                  <a:gd name="T12" fmla="*/ 165 w 291"/>
                  <a:gd name="T13" fmla="*/ 21 h 202"/>
                  <a:gd name="T14" fmla="*/ 170 w 291"/>
                  <a:gd name="T15" fmla="*/ 24 h 202"/>
                  <a:gd name="T16" fmla="*/ 174 w 291"/>
                  <a:gd name="T17" fmla="*/ 33 h 202"/>
                  <a:gd name="T18" fmla="*/ 174 w 291"/>
                  <a:gd name="T19" fmla="*/ 38 h 202"/>
                  <a:gd name="T20" fmla="*/ 179 w 291"/>
                  <a:gd name="T21" fmla="*/ 41 h 202"/>
                  <a:gd name="T22" fmla="*/ 181 w 291"/>
                  <a:gd name="T23" fmla="*/ 50 h 202"/>
                  <a:gd name="T24" fmla="*/ 188 w 291"/>
                  <a:gd name="T25" fmla="*/ 48 h 202"/>
                  <a:gd name="T26" fmla="*/ 191 w 291"/>
                  <a:gd name="T27" fmla="*/ 47 h 202"/>
                  <a:gd name="T28" fmla="*/ 197 w 291"/>
                  <a:gd name="T29" fmla="*/ 50 h 202"/>
                  <a:gd name="T30" fmla="*/ 194 w 291"/>
                  <a:gd name="T31" fmla="*/ 57 h 202"/>
                  <a:gd name="T32" fmla="*/ 196 w 291"/>
                  <a:gd name="T33" fmla="*/ 64 h 202"/>
                  <a:gd name="T34" fmla="*/ 203 w 291"/>
                  <a:gd name="T35" fmla="*/ 68 h 202"/>
                  <a:gd name="T36" fmla="*/ 204 w 291"/>
                  <a:gd name="T37" fmla="*/ 73 h 202"/>
                  <a:gd name="T38" fmla="*/ 211 w 291"/>
                  <a:gd name="T39" fmla="*/ 76 h 202"/>
                  <a:gd name="T40" fmla="*/ 216 w 291"/>
                  <a:gd name="T41" fmla="*/ 75 h 202"/>
                  <a:gd name="T42" fmla="*/ 220 w 291"/>
                  <a:gd name="T43" fmla="*/ 79 h 202"/>
                  <a:gd name="T44" fmla="*/ 224 w 291"/>
                  <a:gd name="T45" fmla="*/ 83 h 202"/>
                  <a:gd name="T46" fmla="*/ 228 w 291"/>
                  <a:gd name="T47" fmla="*/ 88 h 202"/>
                  <a:gd name="T48" fmla="*/ 228 w 291"/>
                  <a:gd name="T49" fmla="*/ 94 h 202"/>
                  <a:gd name="T50" fmla="*/ 232 w 291"/>
                  <a:gd name="T51" fmla="*/ 97 h 202"/>
                  <a:gd name="T52" fmla="*/ 235 w 291"/>
                  <a:gd name="T53" fmla="*/ 105 h 202"/>
                  <a:gd name="T54" fmla="*/ 239 w 291"/>
                  <a:gd name="T55" fmla="*/ 112 h 202"/>
                  <a:gd name="T56" fmla="*/ 244 w 291"/>
                  <a:gd name="T57" fmla="*/ 114 h 202"/>
                  <a:gd name="T58" fmla="*/ 250 w 291"/>
                  <a:gd name="T59" fmla="*/ 121 h 202"/>
                  <a:gd name="T60" fmla="*/ 257 w 291"/>
                  <a:gd name="T61" fmla="*/ 120 h 202"/>
                  <a:gd name="T62" fmla="*/ 263 w 291"/>
                  <a:gd name="T63" fmla="*/ 111 h 202"/>
                  <a:gd name="T64" fmla="*/ 266 w 291"/>
                  <a:gd name="T65" fmla="*/ 106 h 202"/>
                  <a:gd name="T66" fmla="*/ 265 w 291"/>
                  <a:gd name="T67" fmla="*/ 96 h 202"/>
                  <a:gd name="T68" fmla="*/ 272 w 291"/>
                  <a:gd name="T69" fmla="*/ 95 h 202"/>
                  <a:gd name="T70" fmla="*/ 281 w 291"/>
                  <a:gd name="T71" fmla="*/ 82 h 202"/>
                  <a:gd name="T72" fmla="*/ 290 w 291"/>
                  <a:gd name="T73" fmla="*/ 89 h 202"/>
                  <a:gd name="T74" fmla="*/ 219 w 291"/>
                  <a:gd name="T75" fmla="*/ 144 h 202"/>
                  <a:gd name="T76" fmla="*/ 140 w 291"/>
                  <a:gd name="T77" fmla="*/ 161 h 202"/>
                  <a:gd name="T78" fmla="*/ 115 w 291"/>
                  <a:gd name="T79" fmla="*/ 172 h 202"/>
                  <a:gd name="T80" fmla="*/ 95 w 291"/>
                  <a:gd name="T81" fmla="*/ 195 h 202"/>
                  <a:gd name="T82" fmla="*/ 65 w 291"/>
                  <a:gd name="T83" fmla="*/ 193 h 202"/>
                  <a:gd name="T84" fmla="*/ 32 w 291"/>
                  <a:gd name="T85" fmla="*/ 197 h 202"/>
                  <a:gd name="T86" fmla="*/ 11 w 291"/>
                  <a:gd name="T87" fmla="*/ 202 h 202"/>
                  <a:gd name="T88" fmla="*/ 11 w 291"/>
                  <a:gd name="T89" fmla="*/ 163 h 202"/>
                  <a:gd name="T90" fmla="*/ 27 w 291"/>
                  <a:gd name="T91" fmla="*/ 103 h 202"/>
                  <a:gd name="T92" fmla="*/ 41 w 291"/>
                  <a:gd name="T93" fmla="*/ 57 h 202"/>
                  <a:gd name="T94" fmla="*/ 54 w 291"/>
                  <a:gd name="T95" fmla="*/ 17 h 202"/>
                  <a:gd name="T96" fmla="*/ 57 w 291"/>
                  <a:gd name="T97" fmla="*/ 10 h 202"/>
                  <a:gd name="T98" fmla="*/ 63 w 291"/>
                  <a:gd name="T99" fmla="*/ 8 h 202"/>
                  <a:gd name="T100" fmla="*/ 70 w 291"/>
                  <a:gd name="T101" fmla="*/ 4 h 202"/>
                  <a:gd name="T102" fmla="*/ 77 w 291"/>
                  <a:gd name="T103" fmla="*/ 3 h 202"/>
                  <a:gd name="T104" fmla="*/ 84 w 291"/>
                  <a:gd name="T105" fmla="*/ 2 h 202"/>
                  <a:gd name="T106" fmla="*/ 90 w 291"/>
                  <a:gd name="T107" fmla="*/ 2 h 202"/>
                  <a:gd name="T108" fmla="*/ 98 w 291"/>
                  <a:gd name="T109" fmla="*/ 2 h 202"/>
                  <a:gd name="T110" fmla="*/ 100 w 291"/>
                  <a:gd name="T111" fmla="*/ 5 h 202"/>
                  <a:gd name="T112" fmla="*/ 109 w 291"/>
                  <a:gd name="T113" fmla="*/ 4 h 202"/>
                  <a:gd name="T114" fmla="*/ 115 w 291"/>
                  <a:gd name="T115" fmla="*/ 2 h 202"/>
                  <a:gd name="T116" fmla="*/ 122 w 291"/>
                  <a:gd name="T117" fmla="*/ 5 h 202"/>
                  <a:gd name="T118" fmla="*/ 128 w 291"/>
                  <a:gd name="T119" fmla="*/ 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202">
                    <a:moveTo>
                      <a:pt x="132" y="2"/>
                    </a:moveTo>
                    <a:lnTo>
                      <a:pt x="132" y="3"/>
                    </a:lnTo>
                    <a:lnTo>
                      <a:pt x="134" y="3"/>
                    </a:lnTo>
                    <a:lnTo>
                      <a:pt x="135" y="2"/>
                    </a:lnTo>
                    <a:lnTo>
                      <a:pt x="135" y="0"/>
                    </a:lnTo>
                    <a:lnTo>
                      <a:pt x="136" y="0"/>
                    </a:lnTo>
                    <a:lnTo>
                      <a:pt x="136" y="2"/>
                    </a:lnTo>
                    <a:lnTo>
                      <a:pt x="137" y="2"/>
                    </a:lnTo>
                    <a:lnTo>
                      <a:pt x="137" y="3"/>
                    </a:lnTo>
                    <a:lnTo>
                      <a:pt x="137" y="4"/>
                    </a:lnTo>
                    <a:lnTo>
                      <a:pt x="138" y="4"/>
                    </a:lnTo>
                    <a:lnTo>
                      <a:pt x="138" y="3"/>
                    </a:lnTo>
                    <a:lnTo>
                      <a:pt x="138" y="2"/>
                    </a:lnTo>
                    <a:lnTo>
                      <a:pt x="139" y="2"/>
                    </a:lnTo>
                    <a:lnTo>
                      <a:pt x="139" y="3"/>
                    </a:lnTo>
                    <a:lnTo>
                      <a:pt x="140" y="3"/>
                    </a:lnTo>
                    <a:lnTo>
                      <a:pt x="141" y="3"/>
                    </a:lnTo>
                    <a:lnTo>
                      <a:pt x="142" y="3"/>
                    </a:lnTo>
                    <a:lnTo>
                      <a:pt x="143" y="2"/>
                    </a:lnTo>
                    <a:lnTo>
                      <a:pt x="144" y="2"/>
                    </a:lnTo>
                    <a:lnTo>
                      <a:pt x="144" y="3"/>
                    </a:lnTo>
                    <a:lnTo>
                      <a:pt x="144" y="4"/>
                    </a:lnTo>
                    <a:lnTo>
                      <a:pt x="145" y="4"/>
                    </a:lnTo>
                    <a:lnTo>
                      <a:pt x="147" y="4"/>
                    </a:lnTo>
                    <a:lnTo>
                      <a:pt x="148" y="4"/>
                    </a:lnTo>
                    <a:lnTo>
                      <a:pt x="148" y="5"/>
                    </a:lnTo>
                    <a:lnTo>
                      <a:pt x="149" y="5"/>
                    </a:lnTo>
                    <a:lnTo>
                      <a:pt x="150" y="5"/>
                    </a:lnTo>
                    <a:lnTo>
                      <a:pt x="151" y="4"/>
                    </a:lnTo>
                    <a:lnTo>
                      <a:pt x="152" y="3"/>
                    </a:lnTo>
                    <a:lnTo>
                      <a:pt x="153" y="4"/>
                    </a:lnTo>
                    <a:lnTo>
                      <a:pt x="153" y="5"/>
                    </a:lnTo>
                    <a:lnTo>
                      <a:pt x="152" y="5"/>
                    </a:lnTo>
                    <a:lnTo>
                      <a:pt x="152" y="6"/>
                    </a:lnTo>
                    <a:lnTo>
                      <a:pt x="152" y="7"/>
                    </a:lnTo>
                    <a:lnTo>
                      <a:pt x="153" y="7"/>
                    </a:lnTo>
                    <a:lnTo>
                      <a:pt x="154" y="9"/>
                    </a:lnTo>
                    <a:lnTo>
                      <a:pt x="155" y="9"/>
                    </a:lnTo>
                    <a:lnTo>
                      <a:pt x="156" y="10"/>
                    </a:lnTo>
                    <a:lnTo>
                      <a:pt x="156" y="11"/>
                    </a:lnTo>
                    <a:lnTo>
                      <a:pt x="157" y="12"/>
                    </a:lnTo>
                    <a:lnTo>
                      <a:pt x="158" y="13"/>
                    </a:lnTo>
                    <a:lnTo>
                      <a:pt x="160" y="13"/>
                    </a:lnTo>
                    <a:lnTo>
                      <a:pt x="161" y="13"/>
                    </a:lnTo>
                    <a:lnTo>
                      <a:pt x="162" y="13"/>
                    </a:lnTo>
                    <a:lnTo>
                      <a:pt x="163" y="15"/>
                    </a:lnTo>
                    <a:lnTo>
                      <a:pt x="164" y="15"/>
                    </a:lnTo>
                    <a:lnTo>
                      <a:pt x="165" y="16"/>
                    </a:lnTo>
                    <a:lnTo>
                      <a:pt x="166" y="16"/>
                    </a:lnTo>
                    <a:lnTo>
                      <a:pt x="166" y="17"/>
                    </a:lnTo>
                    <a:lnTo>
                      <a:pt x="165" y="17"/>
                    </a:lnTo>
                    <a:lnTo>
                      <a:pt x="164" y="17"/>
                    </a:lnTo>
                    <a:lnTo>
                      <a:pt x="164" y="18"/>
                    </a:lnTo>
                    <a:lnTo>
                      <a:pt x="164" y="19"/>
                    </a:lnTo>
                    <a:lnTo>
                      <a:pt x="164" y="20"/>
                    </a:lnTo>
                    <a:lnTo>
                      <a:pt x="165" y="21"/>
                    </a:lnTo>
                    <a:lnTo>
                      <a:pt x="166" y="21"/>
                    </a:lnTo>
                    <a:lnTo>
                      <a:pt x="167" y="21"/>
                    </a:lnTo>
                    <a:lnTo>
                      <a:pt x="169" y="21"/>
                    </a:lnTo>
                    <a:lnTo>
                      <a:pt x="170" y="21"/>
                    </a:lnTo>
                    <a:lnTo>
                      <a:pt x="170" y="22"/>
                    </a:lnTo>
                    <a:lnTo>
                      <a:pt x="170" y="23"/>
                    </a:lnTo>
                    <a:lnTo>
                      <a:pt x="169" y="24"/>
                    </a:lnTo>
                    <a:lnTo>
                      <a:pt x="170" y="24"/>
                    </a:lnTo>
                    <a:lnTo>
                      <a:pt x="170" y="25"/>
                    </a:lnTo>
                    <a:lnTo>
                      <a:pt x="171" y="26"/>
                    </a:lnTo>
                    <a:lnTo>
                      <a:pt x="171" y="28"/>
                    </a:lnTo>
                    <a:lnTo>
                      <a:pt x="171" y="29"/>
                    </a:lnTo>
                    <a:lnTo>
                      <a:pt x="173" y="30"/>
                    </a:lnTo>
                    <a:lnTo>
                      <a:pt x="173" y="31"/>
                    </a:lnTo>
                    <a:lnTo>
                      <a:pt x="173" y="32"/>
                    </a:lnTo>
                    <a:lnTo>
                      <a:pt x="174" y="33"/>
                    </a:lnTo>
                    <a:lnTo>
                      <a:pt x="175" y="33"/>
                    </a:lnTo>
                    <a:lnTo>
                      <a:pt x="175" y="34"/>
                    </a:lnTo>
                    <a:lnTo>
                      <a:pt x="174" y="34"/>
                    </a:lnTo>
                    <a:lnTo>
                      <a:pt x="173" y="34"/>
                    </a:lnTo>
                    <a:lnTo>
                      <a:pt x="173" y="35"/>
                    </a:lnTo>
                    <a:lnTo>
                      <a:pt x="173" y="36"/>
                    </a:lnTo>
                    <a:lnTo>
                      <a:pt x="173" y="38"/>
                    </a:lnTo>
                    <a:lnTo>
                      <a:pt x="174" y="38"/>
                    </a:lnTo>
                    <a:lnTo>
                      <a:pt x="175" y="39"/>
                    </a:lnTo>
                    <a:lnTo>
                      <a:pt x="176" y="39"/>
                    </a:lnTo>
                    <a:lnTo>
                      <a:pt x="177" y="39"/>
                    </a:lnTo>
                    <a:lnTo>
                      <a:pt x="178" y="39"/>
                    </a:lnTo>
                    <a:lnTo>
                      <a:pt x="179" y="39"/>
                    </a:lnTo>
                    <a:lnTo>
                      <a:pt x="180" y="39"/>
                    </a:lnTo>
                    <a:lnTo>
                      <a:pt x="180" y="41"/>
                    </a:lnTo>
                    <a:lnTo>
                      <a:pt x="179" y="41"/>
                    </a:lnTo>
                    <a:lnTo>
                      <a:pt x="179" y="42"/>
                    </a:lnTo>
                    <a:lnTo>
                      <a:pt x="178" y="42"/>
                    </a:lnTo>
                    <a:lnTo>
                      <a:pt x="178" y="43"/>
                    </a:lnTo>
                    <a:lnTo>
                      <a:pt x="179" y="45"/>
                    </a:lnTo>
                    <a:lnTo>
                      <a:pt x="180" y="46"/>
                    </a:lnTo>
                    <a:lnTo>
                      <a:pt x="180" y="48"/>
                    </a:lnTo>
                    <a:lnTo>
                      <a:pt x="181" y="49"/>
                    </a:lnTo>
                    <a:lnTo>
                      <a:pt x="181" y="50"/>
                    </a:lnTo>
                    <a:lnTo>
                      <a:pt x="181" y="51"/>
                    </a:lnTo>
                    <a:lnTo>
                      <a:pt x="182" y="51"/>
                    </a:lnTo>
                    <a:lnTo>
                      <a:pt x="183" y="51"/>
                    </a:lnTo>
                    <a:lnTo>
                      <a:pt x="183" y="50"/>
                    </a:lnTo>
                    <a:lnTo>
                      <a:pt x="184" y="50"/>
                    </a:lnTo>
                    <a:lnTo>
                      <a:pt x="184" y="49"/>
                    </a:lnTo>
                    <a:lnTo>
                      <a:pt x="186" y="49"/>
                    </a:lnTo>
                    <a:lnTo>
                      <a:pt x="188" y="48"/>
                    </a:lnTo>
                    <a:lnTo>
                      <a:pt x="189" y="48"/>
                    </a:lnTo>
                    <a:lnTo>
                      <a:pt x="190" y="48"/>
                    </a:lnTo>
                    <a:lnTo>
                      <a:pt x="190" y="47"/>
                    </a:lnTo>
                    <a:lnTo>
                      <a:pt x="189" y="46"/>
                    </a:lnTo>
                    <a:lnTo>
                      <a:pt x="189" y="45"/>
                    </a:lnTo>
                    <a:lnTo>
                      <a:pt x="190" y="45"/>
                    </a:lnTo>
                    <a:lnTo>
                      <a:pt x="191" y="46"/>
                    </a:lnTo>
                    <a:lnTo>
                      <a:pt x="191" y="47"/>
                    </a:lnTo>
                    <a:lnTo>
                      <a:pt x="192" y="47"/>
                    </a:lnTo>
                    <a:lnTo>
                      <a:pt x="193" y="47"/>
                    </a:lnTo>
                    <a:lnTo>
                      <a:pt x="194" y="47"/>
                    </a:lnTo>
                    <a:lnTo>
                      <a:pt x="195" y="47"/>
                    </a:lnTo>
                    <a:lnTo>
                      <a:pt x="196" y="47"/>
                    </a:lnTo>
                    <a:lnTo>
                      <a:pt x="197" y="48"/>
                    </a:lnTo>
                    <a:lnTo>
                      <a:pt x="197" y="49"/>
                    </a:lnTo>
                    <a:lnTo>
                      <a:pt x="197" y="50"/>
                    </a:lnTo>
                    <a:lnTo>
                      <a:pt x="199" y="50"/>
                    </a:lnTo>
                    <a:lnTo>
                      <a:pt x="199" y="51"/>
                    </a:lnTo>
                    <a:lnTo>
                      <a:pt x="200" y="51"/>
                    </a:lnTo>
                    <a:lnTo>
                      <a:pt x="199" y="51"/>
                    </a:lnTo>
                    <a:lnTo>
                      <a:pt x="197" y="53"/>
                    </a:lnTo>
                    <a:lnTo>
                      <a:pt x="196" y="54"/>
                    </a:lnTo>
                    <a:lnTo>
                      <a:pt x="195" y="56"/>
                    </a:lnTo>
                    <a:lnTo>
                      <a:pt x="194" y="57"/>
                    </a:lnTo>
                    <a:lnTo>
                      <a:pt x="193" y="58"/>
                    </a:lnTo>
                    <a:lnTo>
                      <a:pt x="193" y="59"/>
                    </a:lnTo>
                    <a:lnTo>
                      <a:pt x="194" y="60"/>
                    </a:lnTo>
                    <a:lnTo>
                      <a:pt x="194" y="61"/>
                    </a:lnTo>
                    <a:lnTo>
                      <a:pt x="195" y="62"/>
                    </a:lnTo>
                    <a:lnTo>
                      <a:pt x="195" y="63"/>
                    </a:lnTo>
                    <a:lnTo>
                      <a:pt x="196" y="63"/>
                    </a:lnTo>
                    <a:lnTo>
                      <a:pt x="196" y="64"/>
                    </a:lnTo>
                    <a:lnTo>
                      <a:pt x="197" y="66"/>
                    </a:lnTo>
                    <a:lnTo>
                      <a:pt x="199" y="66"/>
                    </a:lnTo>
                    <a:lnTo>
                      <a:pt x="200" y="66"/>
                    </a:lnTo>
                    <a:lnTo>
                      <a:pt x="200" y="67"/>
                    </a:lnTo>
                    <a:lnTo>
                      <a:pt x="201" y="67"/>
                    </a:lnTo>
                    <a:lnTo>
                      <a:pt x="202" y="67"/>
                    </a:lnTo>
                    <a:lnTo>
                      <a:pt x="202" y="68"/>
                    </a:lnTo>
                    <a:lnTo>
                      <a:pt x="203" y="68"/>
                    </a:lnTo>
                    <a:lnTo>
                      <a:pt x="204" y="68"/>
                    </a:lnTo>
                    <a:lnTo>
                      <a:pt x="204" y="69"/>
                    </a:lnTo>
                    <a:lnTo>
                      <a:pt x="204" y="70"/>
                    </a:lnTo>
                    <a:lnTo>
                      <a:pt x="203" y="70"/>
                    </a:lnTo>
                    <a:lnTo>
                      <a:pt x="203" y="71"/>
                    </a:lnTo>
                    <a:lnTo>
                      <a:pt x="204" y="71"/>
                    </a:lnTo>
                    <a:lnTo>
                      <a:pt x="204" y="72"/>
                    </a:lnTo>
                    <a:lnTo>
                      <a:pt x="204" y="73"/>
                    </a:lnTo>
                    <a:lnTo>
                      <a:pt x="205" y="73"/>
                    </a:lnTo>
                    <a:lnTo>
                      <a:pt x="206" y="73"/>
                    </a:lnTo>
                    <a:lnTo>
                      <a:pt x="206" y="74"/>
                    </a:lnTo>
                    <a:lnTo>
                      <a:pt x="207" y="75"/>
                    </a:lnTo>
                    <a:lnTo>
                      <a:pt x="208" y="75"/>
                    </a:lnTo>
                    <a:lnTo>
                      <a:pt x="208" y="76"/>
                    </a:lnTo>
                    <a:lnTo>
                      <a:pt x="209" y="76"/>
                    </a:lnTo>
                    <a:lnTo>
                      <a:pt x="211" y="76"/>
                    </a:lnTo>
                    <a:lnTo>
                      <a:pt x="212" y="77"/>
                    </a:lnTo>
                    <a:lnTo>
                      <a:pt x="212" y="76"/>
                    </a:lnTo>
                    <a:lnTo>
                      <a:pt x="213" y="76"/>
                    </a:lnTo>
                    <a:lnTo>
                      <a:pt x="214" y="76"/>
                    </a:lnTo>
                    <a:lnTo>
                      <a:pt x="214" y="75"/>
                    </a:lnTo>
                    <a:lnTo>
                      <a:pt x="215" y="75"/>
                    </a:lnTo>
                    <a:lnTo>
                      <a:pt x="216" y="76"/>
                    </a:lnTo>
                    <a:lnTo>
                      <a:pt x="216" y="75"/>
                    </a:lnTo>
                    <a:lnTo>
                      <a:pt x="217" y="75"/>
                    </a:lnTo>
                    <a:lnTo>
                      <a:pt x="217" y="76"/>
                    </a:lnTo>
                    <a:lnTo>
                      <a:pt x="217" y="75"/>
                    </a:lnTo>
                    <a:lnTo>
                      <a:pt x="218" y="75"/>
                    </a:lnTo>
                    <a:lnTo>
                      <a:pt x="219" y="75"/>
                    </a:lnTo>
                    <a:lnTo>
                      <a:pt x="219" y="76"/>
                    </a:lnTo>
                    <a:lnTo>
                      <a:pt x="220" y="77"/>
                    </a:lnTo>
                    <a:lnTo>
                      <a:pt x="220" y="79"/>
                    </a:lnTo>
                    <a:lnTo>
                      <a:pt x="221" y="79"/>
                    </a:lnTo>
                    <a:lnTo>
                      <a:pt x="222" y="80"/>
                    </a:lnTo>
                    <a:lnTo>
                      <a:pt x="224" y="80"/>
                    </a:lnTo>
                    <a:lnTo>
                      <a:pt x="224" y="79"/>
                    </a:lnTo>
                    <a:lnTo>
                      <a:pt x="224" y="80"/>
                    </a:lnTo>
                    <a:lnTo>
                      <a:pt x="224" y="81"/>
                    </a:lnTo>
                    <a:lnTo>
                      <a:pt x="224" y="82"/>
                    </a:lnTo>
                    <a:lnTo>
                      <a:pt x="224" y="83"/>
                    </a:lnTo>
                    <a:lnTo>
                      <a:pt x="225" y="84"/>
                    </a:lnTo>
                    <a:lnTo>
                      <a:pt x="225" y="85"/>
                    </a:lnTo>
                    <a:lnTo>
                      <a:pt x="226" y="85"/>
                    </a:lnTo>
                    <a:lnTo>
                      <a:pt x="226" y="86"/>
                    </a:lnTo>
                    <a:lnTo>
                      <a:pt x="227" y="87"/>
                    </a:lnTo>
                    <a:lnTo>
                      <a:pt x="228" y="87"/>
                    </a:lnTo>
                    <a:lnTo>
                      <a:pt x="229" y="87"/>
                    </a:lnTo>
                    <a:lnTo>
                      <a:pt x="228" y="88"/>
                    </a:lnTo>
                    <a:lnTo>
                      <a:pt x="229" y="88"/>
                    </a:lnTo>
                    <a:lnTo>
                      <a:pt x="230" y="89"/>
                    </a:lnTo>
                    <a:lnTo>
                      <a:pt x="230" y="90"/>
                    </a:lnTo>
                    <a:lnTo>
                      <a:pt x="230" y="92"/>
                    </a:lnTo>
                    <a:lnTo>
                      <a:pt x="230" y="93"/>
                    </a:lnTo>
                    <a:lnTo>
                      <a:pt x="230" y="94"/>
                    </a:lnTo>
                    <a:lnTo>
                      <a:pt x="229" y="94"/>
                    </a:lnTo>
                    <a:lnTo>
                      <a:pt x="228" y="94"/>
                    </a:lnTo>
                    <a:lnTo>
                      <a:pt x="228" y="95"/>
                    </a:lnTo>
                    <a:lnTo>
                      <a:pt x="228" y="96"/>
                    </a:lnTo>
                    <a:lnTo>
                      <a:pt x="229" y="97"/>
                    </a:lnTo>
                    <a:lnTo>
                      <a:pt x="230" y="97"/>
                    </a:lnTo>
                    <a:lnTo>
                      <a:pt x="230" y="96"/>
                    </a:lnTo>
                    <a:lnTo>
                      <a:pt x="231" y="96"/>
                    </a:lnTo>
                    <a:lnTo>
                      <a:pt x="232" y="96"/>
                    </a:lnTo>
                    <a:lnTo>
                      <a:pt x="232" y="97"/>
                    </a:lnTo>
                    <a:lnTo>
                      <a:pt x="233" y="97"/>
                    </a:lnTo>
                    <a:lnTo>
                      <a:pt x="234" y="98"/>
                    </a:lnTo>
                    <a:lnTo>
                      <a:pt x="234" y="99"/>
                    </a:lnTo>
                    <a:lnTo>
                      <a:pt x="235" y="100"/>
                    </a:lnTo>
                    <a:lnTo>
                      <a:pt x="235" y="101"/>
                    </a:lnTo>
                    <a:lnTo>
                      <a:pt x="235" y="102"/>
                    </a:lnTo>
                    <a:lnTo>
                      <a:pt x="235" y="103"/>
                    </a:lnTo>
                    <a:lnTo>
                      <a:pt x="235" y="105"/>
                    </a:lnTo>
                    <a:lnTo>
                      <a:pt x="237" y="105"/>
                    </a:lnTo>
                    <a:lnTo>
                      <a:pt x="238" y="106"/>
                    </a:lnTo>
                    <a:lnTo>
                      <a:pt x="238" y="107"/>
                    </a:lnTo>
                    <a:lnTo>
                      <a:pt x="238" y="108"/>
                    </a:lnTo>
                    <a:lnTo>
                      <a:pt x="238" y="109"/>
                    </a:lnTo>
                    <a:lnTo>
                      <a:pt x="238" y="110"/>
                    </a:lnTo>
                    <a:lnTo>
                      <a:pt x="238" y="112"/>
                    </a:lnTo>
                    <a:lnTo>
                      <a:pt x="239" y="112"/>
                    </a:lnTo>
                    <a:lnTo>
                      <a:pt x="239" y="113"/>
                    </a:lnTo>
                    <a:lnTo>
                      <a:pt x="240" y="113"/>
                    </a:lnTo>
                    <a:lnTo>
                      <a:pt x="240" y="114"/>
                    </a:lnTo>
                    <a:lnTo>
                      <a:pt x="241" y="114"/>
                    </a:lnTo>
                    <a:lnTo>
                      <a:pt x="242" y="115"/>
                    </a:lnTo>
                    <a:lnTo>
                      <a:pt x="243" y="115"/>
                    </a:lnTo>
                    <a:lnTo>
                      <a:pt x="244" y="115"/>
                    </a:lnTo>
                    <a:lnTo>
                      <a:pt x="244" y="114"/>
                    </a:lnTo>
                    <a:lnTo>
                      <a:pt x="245" y="114"/>
                    </a:lnTo>
                    <a:lnTo>
                      <a:pt x="246" y="114"/>
                    </a:lnTo>
                    <a:lnTo>
                      <a:pt x="247" y="114"/>
                    </a:lnTo>
                    <a:lnTo>
                      <a:pt x="248" y="116"/>
                    </a:lnTo>
                    <a:lnTo>
                      <a:pt x="248" y="118"/>
                    </a:lnTo>
                    <a:lnTo>
                      <a:pt x="248" y="119"/>
                    </a:lnTo>
                    <a:lnTo>
                      <a:pt x="250" y="120"/>
                    </a:lnTo>
                    <a:lnTo>
                      <a:pt x="250" y="121"/>
                    </a:lnTo>
                    <a:lnTo>
                      <a:pt x="250" y="122"/>
                    </a:lnTo>
                    <a:lnTo>
                      <a:pt x="251" y="122"/>
                    </a:lnTo>
                    <a:lnTo>
                      <a:pt x="252" y="122"/>
                    </a:lnTo>
                    <a:lnTo>
                      <a:pt x="253" y="122"/>
                    </a:lnTo>
                    <a:lnTo>
                      <a:pt x="254" y="122"/>
                    </a:lnTo>
                    <a:lnTo>
                      <a:pt x="255" y="122"/>
                    </a:lnTo>
                    <a:lnTo>
                      <a:pt x="256" y="121"/>
                    </a:lnTo>
                    <a:lnTo>
                      <a:pt x="257" y="120"/>
                    </a:lnTo>
                    <a:lnTo>
                      <a:pt x="258" y="119"/>
                    </a:lnTo>
                    <a:lnTo>
                      <a:pt x="259" y="118"/>
                    </a:lnTo>
                    <a:lnTo>
                      <a:pt x="259" y="116"/>
                    </a:lnTo>
                    <a:lnTo>
                      <a:pt x="260" y="115"/>
                    </a:lnTo>
                    <a:lnTo>
                      <a:pt x="260" y="113"/>
                    </a:lnTo>
                    <a:lnTo>
                      <a:pt x="260" y="112"/>
                    </a:lnTo>
                    <a:lnTo>
                      <a:pt x="261" y="111"/>
                    </a:lnTo>
                    <a:lnTo>
                      <a:pt x="263" y="111"/>
                    </a:lnTo>
                    <a:lnTo>
                      <a:pt x="264" y="110"/>
                    </a:lnTo>
                    <a:lnTo>
                      <a:pt x="264" y="109"/>
                    </a:lnTo>
                    <a:lnTo>
                      <a:pt x="263" y="109"/>
                    </a:lnTo>
                    <a:lnTo>
                      <a:pt x="264" y="108"/>
                    </a:lnTo>
                    <a:lnTo>
                      <a:pt x="264" y="107"/>
                    </a:lnTo>
                    <a:lnTo>
                      <a:pt x="265" y="107"/>
                    </a:lnTo>
                    <a:lnTo>
                      <a:pt x="266" y="107"/>
                    </a:lnTo>
                    <a:lnTo>
                      <a:pt x="266" y="106"/>
                    </a:lnTo>
                    <a:lnTo>
                      <a:pt x="266" y="105"/>
                    </a:lnTo>
                    <a:lnTo>
                      <a:pt x="265" y="103"/>
                    </a:lnTo>
                    <a:lnTo>
                      <a:pt x="264" y="102"/>
                    </a:lnTo>
                    <a:lnTo>
                      <a:pt x="263" y="101"/>
                    </a:lnTo>
                    <a:lnTo>
                      <a:pt x="263" y="100"/>
                    </a:lnTo>
                    <a:lnTo>
                      <a:pt x="263" y="99"/>
                    </a:lnTo>
                    <a:lnTo>
                      <a:pt x="263" y="98"/>
                    </a:lnTo>
                    <a:lnTo>
                      <a:pt x="265" y="96"/>
                    </a:lnTo>
                    <a:lnTo>
                      <a:pt x="267" y="95"/>
                    </a:lnTo>
                    <a:lnTo>
                      <a:pt x="268" y="94"/>
                    </a:lnTo>
                    <a:lnTo>
                      <a:pt x="269" y="94"/>
                    </a:lnTo>
                    <a:lnTo>
                      <a:pt x="270" y="94"/>
                    </a:lnTo>
                    <a:lnTo>
                      <a:pt x="271" y="96"/>
                    </a:lnTo>
                    <a:lnTo>
                      <a:pt x="272" y="96"/>
                    </a:lnTo>
                    <a:lnTo>
                      <a:pt x="273" y="95"/>
                    </a:lnTo>
                    <a:lnTo>
                      <a:pt x="272" y="95"/>
                    </a:lnTo>
                    <a:lnTo>
                      <a:pt x="272" y="94"/>
                    </a:lnTo>
                    <a:lnTo>
                      <a:pt x="272" y="93"/>
                    </a:lnTo>
                    <a:lnTo>
                      <a:pt x="271" y="92"/>
                    </a:lnTo>
                    <a:lnTo>
                      <a:pt x="272" y="90"/>
                    </a:lnTo>
                    <a:lnTo>
                      <a:pt x="273" y="86"/>
                    </a:lnTo>
                    <a:lnTo>
                      <a:pt x="274" y="86"/>
                    </a:lnTo>
                    <a:lnTo>
                      <a:pt x="278" y="85"/>
                    </a:lnTo>
                    <a:lnTo>
                      <a:pt x="281" y="82"/>
                    </a:lnTo>
                    <a:lnTo>
                      <a:pt x="282" y="82"/>
                    </a:lnTo>
                    <a:lnTo>
                      <a:pt x="284" y="84"/>
                    </a:lnTo>
                    <a:lnTo>
                      <a:pt x="286" y="85"/>
                    </a:lnTo>
                    <a:lnTo>
                      <a:pt x="287" y="85"/>
                    </a:lnTo>
                    <a:lnTo>
                      <a:pt x="289" y="85"/>
                    </a:lnTo>
                    <a:lnTo>
                      <a:pt x="290" y="87"/>
                    </a:lnTo>
                    <a:lnTo>
                      <a:pt x="290" y="88"/>
                    </a:lnTo>
                    <a:lnTo>
                      <a:pt x="290" y="89"/>
                    </a:lnTo>
                    <a:lnTo>
                      <a:pt x="291" y="89"/>
                    </a:lnTo>
                    <a:lnTo>
                      <a:pt x="291" y="90"/>
                    </a:lnTo>
                    <a:lnTo>
                      <a:pt x="290" y="96"/>
                    </a:lnTo>
                    <a:lnTo>
                      <a:pt x="285" y="128"/>
                    </a:lnTo>
                    <a:lnTo>
                      <a:pt x="245" y="137"/>
                    </a:lnTo>
                    <a:lnTo>
                      <a:pt x="244" y="137"/>
                    </a:lnTo>
                    <a:lnTo>
                      <a:pt x="232" y="140"/>
                    </a:lnTo>
                    <a:lnTo>
                      <a:pt x="219" y="144"/>
                    </a:lnTo>
                    <a:lnTo>
                      <a:pt x="213" y="145"/>
                    </a:lnTo>
                    <a:lnTo>
                      <a:pt x="196" y="148"/>
                    </a:lnTo>
                    <a:lnTo>
                      <a:pt x="195" y="149"/>
                    </a:lnTo>
                    <a:lnTo>
                      <a:pt x="157" y="158"/>
                    </a:lnTo>
                    <a:lnTo>
                      <a:pt x="153" y="159"/>
                    </a:lnTo>
                    <a:lnTo>
                      <a:pt x="149" y="160"/>
                    </a:lnTo>
                    <a:lnTo>
                      <a:pt x="145" y="160"/>
                    </a:lnTo>
                    <a:lnTo>
                      <a:pt x="140" y="161"/>
                    </a:lnTo>
                    <a:lnTo>
                      <a:pt x="138" y="162"/>
                    </a:lnTo>
                    <a:lnTo>
                      <a:pt x="134" y="163"/>
                    </a:lnTo>
                    <a:lnTo>
                      <a:pt x="126" y="164"/>
                    </a:lnTo>
                    <a:lnTo>
                      <a:pt x="119" y="165"/>
                    </a:lnTo>
                    <a:lnTo>
                      <a:pt x="117" y="166"/>
                    </a:lnTo>
                    <a:lnTo>
                      <a:pt x="118" y="170"/>
                    </a:lnTo>
                    <a:lnTo>
                      <a:pt x="116" y="171"/>
                    </a:lnTo>
                    <a:lnTo>
                      <a:pt x="115" y="172"/>
                    </a:lnTo>
                    <a:lnTo>
                      <a:pt x="105" y="179"/>
                    </a:lnTo>
                    <a:lnTo>
                      <a:pt x="105" y="180"/>
                    </a:lnTo>
                    <a:lnTo>
                      <a:pt x="105" y="182"/>
                    </a:lnTo>
                    <a:lnTo>
                      <a:pt x="105" y="183"/>
                    </a:lnTo>
                    <a:lnTo>
                      <a:pt x="104" y="183"/>
                    </a:lnTo>
                    <a:lnTo>
                      <a:pt x="104" y="184"/>
                    </a:lnTo>
                    <a:lnTo>
                      <a:pt x="105" y="186"/>
                    </a:lnTo>
                    <a:lnTo>
                      <a:pt x="95" y="195"/>
                    </a:lnTo>
                    <a:lnTo>
                      <a:pt x="88" y="199"/>
                    </a:lnTo>
                    <a:lnTo>
                      <a:pt x="87" y="200"/>
                    </a:lnTo>
                    <a:lnTo>
                      <a:pt x="83" y="200"/>
                    </a:lnTo>
                    <a:lnTo>
                      <a:pt x="77" y="200"/>
                    </a:lnTo>
                    <a:lnTo>
                      <a:pt x="75" y="200"/>
                    </a:lnTo>
                    <a:lnTo>
                      <a:pt x="72" y="198"/>
                    </a:lnTo>
                    <a:lnTo>
                      <a:pt x="66" y="195"/>
                    </a:lnTo>
                    <a:lnTo>
                      <a:pt x="65" y="193"/>
                    </a:lnTo>
                    <a:lnTo>
                      <a:pt x="62" y="190"/>
                    </a:lnTo>
                    <a:lnTo>
                      <a:pt x="50" y="193"/>
                    </a:lnTo>
                    <a:lnTo>
                      <a:pt x="50" y="192"/>
                    </a:lnTo>
                    <a:lnTo>
                      <a:pt x="49" y="192"/>
                    </a:lnTo>
                    <a:lnTo>
                      <a:pt x="38" y="195"/>
                    </a:lnTo>
                    <a:lnTo>
                      <a:pt x="35" y="196"/>
                    </a:lnTo>
                    <a:lnTo>
                      <a:pt x="34" y="195"/>
                    </a:lnTo>
                    <a:lnTo>
                      <a:pt x="32" y="197"/>
                    </a:lnTo>
                    <a:lnTo>
                      <a:pt x="28" y="195"/>
                    </a:lnTo>
                    <a:lnTo>
                      <a:pt x="25" y="192"/>
                    </a:lnTo>
                    <a:lnTo>
                      <a:pt x="23" y="190"/>
                    </a:lnTo>
                    <a:lnTo>
                      <a:pt x="22" y="190"/>
                    </a:lnTo>
                    <a:lnTo>
                      <a:pt x="20" y="188"/>
                    </a:lnTo>
                    <a:lnTo>
                      <a:pt x="18" y="191"/>
                    </a:lnTo>
                    <a:lnTo>
                      <a:pt x="11" y="192"/>
                    </a:lnTo>
                    <a:lnTo>
                      <a:pt x="11" y="202"/>
                    </a:lnTo>
                    <a:lnTo>
                      <a:pt x="1" y="202"/>
                    </a:lnTo>
                    <a:lnTo>
                      <a:pt x="0" y="189"/>
                    </a:lnTo>
                    <a:lnTo>
                      <a:pt x="0" y="179"/>
                    </a:lnTo>
                    <a:lnTo>
                      <a:pt x="0" y="170"/>
                    </a:lnTo>
                    <a:lnTo>
                      <a:pt x="11" y="170"/>
                    </a:lnTo>
                    <a:lnTo>
                      <a:pt x="11" y="169"/>
                    </a:lnTo>
                    <a:lnTo>
                      <a:pt x="11" y="166"/>
                    </a:lnTo>
                    <a:lnTo>
                      <a:pt x="11" y="163"/>
                    </a:lnTo>
                    <a:lnTo>
                      <a:pt x="11" y="151"/>
                    </a:lnTo>
                    <a:lnTo>
                      <a:pt x="11" y="150"/>
                    </a:lnTo>
                    <a:lnTo>
                      <a:pt x="11" y="137"/>
                    </a:lnTo>
                    <a:lnTo>
                      <a:pt x="18" y="133"/>
                    </a:lnTo>
                    <a:lnTo>
                      <a:pt x="19" y="132"/>
                    </a:lnTo>
                    <a:lnTo>
                      <a:pt x="21" y="133"/>
                    </a:lnTo>
                    <a:lnTo>
                      <a:pt x="23" y="118"/>
                    </a:lnTo>
                    <a:lnTo>
                      <a:pt x="27" y="103"/>
                    </a:lnTo>
                    <a:lnTo>
                      <a:pt x="29" y="98"/>
                    </a:lnTo>
                    <a:lnTo>
                      <a:pt x="29" y="96"/>
                    </a:lnTo>
                    <a:lnTo>
                      <a:pt x="31" y="93"/>
                    </a:lnTo>
                    <a:lnTo>
                      <a:pt x="36" y="75"/>
                    </a:lnTo>
                    <a:lnTo>
                      <a:pt x="38" y="69"/>
                    </a:lnTo>
                    <a:lnTo>
                      <a:pt x="38" y="68"/>
                    </a:lnTo>
                    <a:lnTo>
                      <a:pt x="40" y="61"/>
                    </a:lnTo>
                    <a:lnTo>
                      <a:pt x="41" y="57"/>
                    </a:lnTo>
                    <a:lnTo>
                      <a:pt x="47" y="43"/>
                    </a:lnTo>
                    <a:lnTo>
                      <a:pt x="52" y="24"/>
                    </a:lnTo>
                    <a:lnTo>
                      <a:pt x="54" y="21"/>
                    </a:lnTo>
                    <a:lnTo>
                      <a:pt x="53" y="20"/>
                    </a:lnTo>
                    <a:lnTo>
                      <a:pt x="53" y="19"/>
                    </a:lnTo>
                    <a:lnTo>
                      <a:pt x="53" y="18"/>
                    </a:lnTo>
                    <a:lnTo>
                      <a:pt x="54" y="18"/>
                    </a:lnTo>
                    <a:lnTo>
                      <a:pt x="54" y="17"/>
                    </a:lnTo>
                    <a:lnTo>
                      <a:pt x="55" y="15"/>
                    </a:lnTo>
                    <a:lnTo>
                      <a:pt x="55" y="13"/>
                    </a:lnTo>
                    <a:lnTo>
                      <a:pt x="57" y="13"/>
                    </a:lnTo>
                    <a:lnTo>
                      <a:pt x="57" y="12"/>
                    </a:lnTo>
                    <a:lnTo>
                      <a:pt x="58" y="12"/>
                    </a:lnTo>
                    <a:lnTo>
                      <a:pt x="58" y="11"/>
                    </a:lnTo>
                    <a:lnTo>
                      <a:pt x="57" y="11"/>
                    </a:lnTo>
                    <a:lnTo>
                      <a:pt x="57" y="10"/>
                    </a:lnTo>
                    <a:lnTo>
                      <a:pt x="57" y="9"/>
                    </a:lnTo>
                    <a:lnTo>
                      <a:pt x="58" y="9"/>
                    </a:lnTo>
                    <a:lnTo>
                      <a:pt x="58" y="8"/>
                    </a:lnTo>
                    <a:lnTo>
                      <a:pt x="59" y="8"/>
                    </a:lnTo>
                    <a:lnTo>
                      <a:pt x="60" y="8"/>
                    </a:lnTo>
                    <a:lnTo>
                      <a:pt x="61" y="7"/>
                    </a:lnTo>
                    <a:lnTo>
                      <a:pt x="62" y="7"/>
                    </a:lnTo>
                    <a:lnTo>
                      <a:pt x="63" y="8"/>
                    </a:lnTo>
                    <a:lnTo>
                      <a:pt x="64" y="8"/>
                    </a:lnTo>
                    <a:lnTo>
                      <a:pt x="65" y="8"/>
                    </a:lnTo>
                    <a:lnTo>
                      <a:pt x="65" y="7"/>
                    </a:lnTo>
                    <a:lnTo>
                      <a:pt x="66" y="7"/>
                    </a:lnTo>
                    <a:lnTo>
                      <a:pt x="66" y="6"/>
                    </a:lnTo>
                    <a:lnTo>
                      <a:pt x="67" y="5"/>
                    </a:lnTo>
                    <a:lnTo>
                      <a:pt x="68" y="4"/>
                    </a:lnTo>
                    <a:lnTo>
                      <a:pt x="70" y="4"/>
                    </a:lnTo>
                    <a:lnTo>
                      <a:pt x="71" y="4"/>
                    </a:lnTo>
                    <a:lnTo>
                      <a:pt x="72" y="4"/>
                    </a:lnTo>
                    <a:lnTo>
                      <a:pt x="73" y="3"/>
                    </a:lnTo>
                    <a:lnTo>
                      <a:pt x="74" y="2"/>
                    </a:lnTo>
                    <a:lnTo>
                      <a:pt x="75" y="2"/>
                    </a:lnTo>
                    <a:lnTo>
                      <a:pt x="75" y="3"/>
                    </a:lnTo>
                    <a:lnTo>
                      <a:pt x="76" y="3"/>
                    </a:lnTo>
                    <a:lnTo>
                      <a:pt x="77" y="3"/>
                    </a:lnTo>
                    <a:lnTo>
                      <a:pt x="79" y="3"/>
                    </a:lnTo>
                    <a:lnTo>
                      <a:pt x="80" y="3"/>
                    </a:lnTo>
                    <a:lnTo>
                      <a:pt x="80" y="2"/>
                    </a:lnTo>
                    <a:lnTo>
                      <a:pt x="80" y="0"/>
                    </a:lnTo>
                    <a:lnTo>
                      <a:pt x="82" y="0"/>
                    </a:lnTo>
                    <a:lnTo>
                      <a:pt x="83" y="0"/>
                    </a:lnTo>
                    <a:lnTo>
                      <a:pt x="84" y="0"/>
                    </a:lnTo>
                    <a:lnTo>
                      <a:pt x="84" y="2"/>
                    </a:lnTo>
                    <a:lnTo>
                      <a:pt x="85" y="2"/>
                    </a:lnTo>
                    <a:lnTo>
                      <a:pt x="86" y="2"/>
                    </a:lnTo>
                    <a:lnTo>
                      <a:pt x="86" y="0"/>
                    </a:lnTo>
                    <a:lnTo>
                      <a:pt x="87" y="0"/>
                    </a:lnTo>
                    <a:lnTo>
                      <a:pt x="88" y="0"/>
                    </a:lnTo>
                    <a:lnTo>
                      <a:pt x="88" y="2"/>
                    </a:lnTo>
                    <a:lnTo>
                      <a:pt x="89" y="2"/>
                    </a:lnTo>
                    <a:lnTo>
                      <a:pt x="90" y="2"/>
                    </a:lnTo>
                    <a:lnTo>
                      <a:pt x="91" y="2"/>
                    </a:lnTo>
                    <a:lnTo>
                      <a:pt x="92" y="2"/>
                    </a:lnTo>
                    <a:lnTo>
                      <a:pt x="93" y="2"/>
                    </a:lnTo>
                    <a:lnTo>
                      <a:pt x="95" y="2"/>
                    </a:lnTo>
                    <a:lnTo>
                      <a:pt x="96" y="2"/>
                    </a:lnTo>
                    <a:lnTo>
                      <a:pt x="96" y="3"/>
                    </a:lnTo>
                    <a:lnTo>
                      <a:pt x="97" y="2"/>
                    </a:lnTo>
                    <a:lnTo>
                      <a:pt x="98" y="2"/>
                    </a:lnTo>
                    <a:lnTo>
                      <a:pt x="98" y="3"/>
                    </a:lnTo>
                    <a:lnTo>
                      <a:pt x="97" y="3"/>
                    </a:lnTo>
                    <a:lnTo>
                      <a:pt x="97" y="4"/>
                    </a:lnTo>
                    <a:lnTo>
                      <a:pt x="98" y="4"/>
                    </a:lnTo>
                    <a:lnTo>
                      <a:pt x="99" y="3"/>
                    </a:lnTo>
                    <a:lnTo>
                      <a:pt x="99" y="4"/>
                    </a:lnTo>
                    <a:lnTo>
                      <a:pt x="100" y="4"/>
                    </a:lnTo>
                    <a:lnTo>
                      <a:pt x="100" y="5"/>
                    </a:lnTo>
                    <a:lnTo>
                      <a:pt x="101" y="5"/>
                    </a:lnTo>
                    <a:lnTo>
                      <a:pt x="102" y="5"/>
                    </a:lnTo>
                    <a:lnTo>
                      <a:pt x="103" y="5"/>
                    </a:lnTo>
                    <a:lnTo>
                      <a:pt x="104" y="5"/>
                    </a:lnTo>
                    <a:lnTo>
                      <a:pt x="105" y="4"/>
                    </a:lnTo>
                    <a:lnTo>
                      <a:pt x="106" y="5"/>
                    </a:lnTo>
                    <a:lnTo>
                      <a:pt x="108" y="4"/>
                    </a:lnTo>
                    <a:lnTo>
                      <a:pt x="109" y="4"/>
                    </a:lnTo>
                    <a:lnTo>
                      <a:pt x="109" y="5"/>
                    </a:lnTo>
                    <a:lnTo>
                      <a:pt x="110" y="5"/>
                    </a:lnTo>
                    <a:lnTo>
                      <a:pt x="110" y="4"/>
                    </a:lnTo>
                    <a:lnTo>
                      <a:pt x="110" y="3"/>
                    </a:lnTo>
                    <a:lnTo>
                      <a:pt x="111" y="3"/>
                    </a:lnTo>
                    <a:lnTo>
                      <a:pt x="112" y="3"/>
                    </a:lnTo>
                    <a:lnTo>
                      <a:pt x="113" y="2"/>
                    </a:lnTo>
                    <a:lnTo>
                      <a:pt x="115" y="2"/>
                    </a:lnTo>
                    <a:lnTo>
                      <a:pt x="116" y="3"/>
                    </a:lnTo>
                    <a:lnTo>
                      <a:pt x="116" y="4"/>
                    </a:lnTo>
                    <a:lnTo>
                      <a:pt x="116" y="5"/>
                    </a:lnTo>
                    <a:lnTo>
                      <a:pt x="117" y="5"/>
                    </a:lnTo>
                    <a:lnTo>
                      <a:pt x="118" y="5"/>
                    </a:lnTo>
                    <a:lnTo>
                      <a:pt x="119" y="5"/>
                    </a:lnTo>
                    <a:lnTo>
                      <a:pt x="121" y="6"/>
                    </a:lnTo>
                    <a:lnTo>
                      <a:pt x="122" y="5"/>
                    </a:lnTo>
                    <a:lnTo>
                      <a:pt x="123" y="4"/>
                    </a:lnTo>
                    <a:lnTo>
                      <a:pt x="124" y="4"/>
                    </a:lnTo>
                    <a:lnTo>
                      <a:pt x="124" y="5"/>
                    </a:lnTo>
                    <a:lnTo>
                      <a:pt x="125" y="5"/>
                    </a:lnTo>
                    <a:lnTo>
                      <a:pt x="125" y="4"/>
                    </a:lnTo>
                    <a:lnTo>
                      <a:pt x="126" y="4"/>
                    </a:lnTo>
                    <a:lnTo>
                      <a:pt x="127" y="4"/>
                    </a:lnTo>
                    <a:lnTo>
                      <a:pt x="128" y="3"/>
                    </a:lnTo>
                    <a:lnTo>
                      <a:pt x="129" y="3"/>
                    </a:lnTo>
                    <a:lnTo>
                      <a:pt x="129" y="2"/>
                    </a:lnTo>
                    <a:lnTo>
                      <a:pt x="130" y="2"/>
                    </a:lnTo>
                    <a:lnTo>
                      <a:pt x="131" y="2"/>
                    </a:lnTo>
                    <a:lnTo>
                      <a:pt x="132" y="2"/>
                    </a:lnTo>
                    <a:close/>
                  </a:path>
                </a:pathLst>
              </a:custGeom>
              <a:solidFill>
                <a:srgbClr val="1559A7"/>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8" name="Freeform 18">
                <a:extLst>
                  <a:ext uri="{FF2B5EF4-FFF2-40B4-BE49-F238E27FC236}">
                    <a16:creationId xmlns:a16="http://schemas.microsoft.com/office/drawing/2014/main" id="{ED70F9C7-20C8-5594-C8B2-6CCDE440EE87}"/>
                  </a:ext>
                </a:extLst>
              </p:cNvPr>
              <p:cNvSpPr>
                <a:spLocks/>
              </p:cNvSpPr>
              <p:nvPr/>
            </p:nvSpPr>
            <p:spPr bwMode="auto">
              <a:xfrm>
                <a:off x="4138613" y="4384675"/>
                <a:ext cx="312738" cy="312738"/>
              </a:xfrm>
              <a:custGeom>
                <a:avLst/>
                <a:gdLst>
                  <a:gd name="T0" fmla="*/ 186 w 197"/>
                  <a:gd name="T1" fmla="*/ 196 h 197"/>
                  <a:gd name="T2" fmla="*/ 184 w 197"/>
                  <a:gd name="T3" fmla="*/ 196 h 197"/>
                  <a:gd name="T4" fmla="*/ 183 w 197"/>
                  <a:gd name="T5" fmla="*/ 195 h 197"/>
                  <a:gd name="T6" fmla="*/ 181 w 197"/>
                  <a:gd name="T7" fmla="*/ 197 h 197"/>
                  <a:gd name="T8" fmla="*/ 178 w 197"/>
                  <a:gd name="T9" fmla="*/ 196 h 197"/>
                  <a:gd name="T10" fmla="*/ 175 w 197"/>
                  <a:gd name="T11" fmla="*/ 193 h 197"/>
                  <a:gd name="T12" fmla="*/ 173 w 197"/>
                  <a:gd name="T13" fmla="*/ 193 h 197"/>
                  <a:gd name="T14" fmla="*/ 171 w 197"/>
                  <a:gd name="T15" fmla="*/ 191 h 197"/>
                  <a:gd name="T16" fmla="*/ 169 w 197"/>
                  <a:gd name="T17" fmla="*/ 189 h 197"/>
                  <a:gd name="T18" fmla="*/ 168 w 197"/>
                  <a:gd name="T19" fmla="*/ 187 h 197"/>
                  <a:gd name="T20" fmla="*/ 165 w 197"/>
                  <a:gd name="T21" fmla="*/ 187 h 197"/>
                  <a:gd name="T22" fmla="*/ 163 w 197"/>
                  <a:gd name="T23" fmla="*/ 188 h 197"/>
                  <a:gd name="T24" fmla="*/ 160 w 197"/>
                  <a:gd name="T25" fmla="*/ 186 h 197"/>
                  <a:gd name="T26" fmla="*/ 158 w 197"/>
                  <a:gd name="T27" fmla="*/ 188 h 197"/>
                  <a:gd name="T28" fmla="*/ 155 w 197"/>
                  <a:gd name="T29" fmla="*/ 188 h 197"/>
                  <a:gd name="T30" fmla="*/ 156 w 197"/>
                  <a:gd name="T31" fmla="*/ 191 h 197"/>
                  <a:gd name="T32" fmla="*/ 152 w 197"/>
                  <a:gd name="T33" fmla="*/ 191 h 197"/>
                  <a:gd name="T34" fmla="*/ 151 w 197"/>
                  <a:gd name="T35" fmla="*/ 188 h 197"/>
                  <a:gd name="T36" fmla="*/ 149 w 197"/>
                  <a:gd name="T37" fmla="*/ 186 h 197"/>
                  <a:gd name="T38" fmla="*/ 146 w 197"/>
                  <a:gd name="T39" fmla="*/ 184 h 197"/>
                  <a:gd name="T40" fmla="*/ 143 w 197"/>
                  <a:gd name="T41" fmla="*/ 185 h 197"/>
                  <a:gd name="T42" fmla="*/ 143 w 197"/>
                  <a:gd name="T43" fmla="*/ 183 h 197"/>
                  <a:gd name="T44" fmla="*/ 143 w 197"/>
                  <a:gd name="T45" fmla="*/ 180 h 197"/>
                  <a:gd name="T46" fmla="*/ 140 w 197"/>
                  <a:gd name="T47" fmla="*/ 182 h 197"/>
                  <a:gd name="T48" fmla="*/ 136 w 197"/>
                  <a:gd name="T49" fmla="*/ 180 h 197"/>
                  <a:gd name="T50" fmla="*/ 131 w 197"/>
                  <a:gd name="T51" fmla="*/ 179 h 197"/>
                  <a:gd name="T52" fmla="*/ 127 w 197"/>
                  <a:gd name="T53" fmla="*/ 178 h 197"/>
                  <a:gd name="T54" fmla="*/ 121 w 197"/>
                  <a:gd name="T55" fmla="*/ 176 h 197"/>
                  <a:gd name="T56" fmla="*/ 115 w 197"/>
                  <a:gd name="T57" fmla="*/ 174 h 197"/>
                  <a:gd name="T58" fmla="*/ 103 w 197"/>
                  <a:gd name="T59" fmla="*/ 184 h 197"/>
                  <a:gd name="T60" fmla="*/ 48 w 197"/>
                  <a:gd name="T61" fmla="*/ 172 h 197"/>
                  <a:gd name="T62" fmla="*/ 31 w 197"/>
                  <a:gd name="T63" fmla="*/ 164 h 197"/>
                  <a:gd name="T64" fmla="*/ 23 w 197"/>
                  <a:gd name="T65" fmla="*/ 134 h 197"/>
                  <a:gd name="T66" fmla="*/ 2 w 197"/>
                  <a:gd name="T67" fmla="*/ 113 h 197"/>
                  <a:gd name="T68" fmla="*/ 0 w 197"/>
                  <a:gd name="T69" fmla="*/ 77 h 197"/>
                  <a:gd name="T70" fmla="*/ 17 w 197"/>
                  <a:gd name="T71" fmla="*/ 58 h 197"/>
                  <a:gd name="T72" fmla="*/ 17 w 197"/>
                  <a:gd name="T73" fmla="*/ 54 h 197"/>
                  <a:gd name="T74" fmla="*/ 28 w 197"/>
                  <a:gd name="T75" fmla="*/ 43 h 197"/>
                  <a:gd name="T76" fmla="*/ 38 w 197"/>
                  <a:gd name="T77" fmla="*/ 36 h 197"/>
                  <a:gd name="T78" fmla="*/ 57 w 197"/>
                  <a:gd name="T79" fmla="*/ 32 h 197"/>
                  <a:gd name="T80" fmla="*/ 107 w 197"/>
                  <a:gd name="T81" fmla="*/ 21 h 197"/>
                  <a:gd name="T82" fmla="*/ 144 w 197"/>
                  <a:gd name="T83" fmla="*/ 12 h 197"/>
                  <a:gd name="T84" fmla="*/ 196 w 197"/>
                  <a:gd name="T85" fmla="*/ 7 h 197"/>
                  <a:gd name="T86" fmla="*/ 179 w 197"/>
                  <a:gd name="T87" fmla="*/ 51 h 197"/>
                  <a:gd name="T88" fmla="*/ 182 w 197"/>
                  <a:gd name="T89" fmla="*/ 69 h 197"/>
                  <a:gd name="T90" fmla="*/ 184 w 197"/>
                  <a:gd name="T91" fmla="*/ 75 h 197"/>
                  <a:gd name="T92" fmla="*/ 185 w 197"/>
                  <a:gd name="T93" fmla="*/ 83 h 197"/>
                  <a:gd name="T94" fmla="*/ 171 w 197"/>
                  <a:gd name="T95" fmla="*/ 92 h 197"/>
                  <a:gd name="T96" fmla="*/ 169 w 197"/>
                  <a:gd name="T97" fmla="*/ 96 h 197"/>
                  <a:gd name="T98" fmla="*/ 179 w 197"/>
                  <a:gd name="T99" fmla="*/ 123 h 197"/>
                  <a:gd name="T100" fmla="*/ 176 w 197"/>
                  <a:gd name="T101" fmla="*/ 127 h 197"/>
                  <a:gd name="T102" fmla="*/ 182 w 197"/>
                  <a:gd name="T103" fmla="*/ 142 h 197"/>
                  <a:gd name="T104" fmla="*/ 178 w 197"/>
                  <a:gd name="T105" fmla="*/ 152 h 197"/>
                  <a:gd name="T106" fmla="*/ 182 w 197"/>
                  <a:gd name="T107" fmla="*/ 168 h 197"/>
                  <a:gd name="T108" fmla="*/ 183 w 197"/>
                  <a:gd name="T109" fmla="*/ 18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 h="197">
                    <a:moveTo>
                      <a:pt x="189" y="197"/>
                    </a:moveTo>
                    <a:lnTo>
                      <a:pt x="188" y="197"/>
                    </a:lnTo>
                    <a:lnTo>
                      <a:pt x="186" y="197"/>
                    </a:lnTo>
                    <a:lnTo>
                      <a:pt x="186" y="196"/>
                    </a:lnTo>
                    <a:lnTo>
                      <a:pt x="185" y="196"/>
                    </a:lnTo>
                    <a:lnTo>
                      <a:pt x="185" y="195"/>
                    </a:lnTo>
                    <a:lnTo>
                      <a:pt x="185" y="196"/>
                    </a:lnTo>
                    <a:lnTo>
                      <a:pt x="184" y="196"/>
                    </a:lnTo>
                    <a:lnTo>
                      <a:pt x="183" y="196"/>
                    </a:lnTo>
                    <a:lnTo>
                      <a:pt x="182" y="196"/>
                    </a:lnTo>
                    <a:lnTo>
                      <a:pt x="183" y="196"/>
                    </a:lnTo>
                    <a:lnTo>
                      <a:pt x="183" y="195"/>
                    </a:lnTo>
                    <a:lnTo>
                      <a:pt x="182" y="195"/>
                    </a:lnTo>
                    <a:lnTo>
                      <a:pt x="182" y="196"/>
                    </a:lnTo>
                    <a:lnTo>
                      <a:pt x="181" y="196"/>
                    </a:lnTo>
                    <a:lnTo>
                      <a:pt x="181" y="197"/>
                    </a:lnTo>
                    <a:lnTo>
                      <a:pt x="180" y="197"/>
                    </a:lnTo>
                    <a:lnTo>
                      <a:pt x="180" y="196"/>
                    </a:lnTo>
                    <a:lnTo>
                      <a:pt x="179" y="196"/>
                    </a:lnTo>
                    <a:lnTo>
                      <a:pt x="178" y="196"/>
                    </a:lnTo>
                    <a:lnTo>
                      <a:pt x="178" y="195"/>
                    </a:lnTo>
                    <a:lnTo>
                      <a:pt x="177" y="193"/>
                    </a:lnTo>
                    <a:lnTo>
                      <a:pt x="176" y="193"/>
                    </a:lnTo>
                    <a:lnTo>
                      <a:pt x="175" y="193"/>
                    </a:lnTo>
                    <a:lnTo>
                      <a:pt x="175" y="195"/>
                    </a:lnTo>
                    <a:lnTo>
                      <a:pt x="175" y="193"/>
                    </a:lnTo>
                    <a:lnTo>
                      <a:pt x="173" y="195"/>
                    </a:lnTo>
                    <a:lnTo>
                      <a:pt x="173" y="193"/>
                    </a:lnTo>
                    <a:lnTo>
                      <a:pt x="173" y="192"/>
                    </a:lnTo>
                    <a:lnTo>
                      <a:pt x="172" y="192"/>
                    </a:lnTo>
                    <a:lnTo>
                      <a:pt x="172" y="191"/>
                    </a:lnTo>
                    <a:lnTo>
                      <a:pt x="171" y="191"/>
                    </a:lnTo>
                    <a:lnTo>
                      <a:pt x="171" y="190"/>
                    </a:lnTo>
                    <a:lnTo>
                      <a:pt x="170" y="190"/>
                    </a:lnTo>
                    <a:lnTo>
                      <a:pt x="169" y="190"/>
                    </a:lnTo>
                    <a:lnTo>
                      <a:pt x="169" y="189"/>
                    </a:lnTo>
                    <a:lnTo>
                      <a:pt x="168" y="189"/>
                    </a:lnTo>
                    <a:lnTo>
                      <a:pt x="168" y="188"/>
                    </a:lnTo>
                    <a:lnTo>
                      <a:pt x="169" y="187"/>
                    </a:lnTo>
                    <a:lnTo>
                      <a:pt x="168" y="187"/>
                    </a:lnTo>
                    <a:lnTo>
                      <a:pt x="168" y="186"/>
                    </a:lnTo>
                    <a:lnTo>
                      <a:pt x="167" y="186"/>
                    </a:lnTo>
                    <a:lnTo>
                      <a:pt x="166" y="186"/>
                    </a:lnTo>
                    <a:lnTo>
                      <a:pt x="165" y="187"/>
                    </a:lnTo>
                    <a:lnTo>
                      <a:pt x="164" y="188"/>
                    </a:lnTo>
                    <a:lnTo>
                      <a:pt x="164" y="189"/>
                    </a:lnTo>
                    <a:lnTo>
                      <a:pt x="163" y="189"/>
                    </a:lnTo>
                    <a:lnTo>
                      <a:pt x="163" y="188"/>
                    </a:lnTo>
                    <a:lnTo>
                      <a:pt x="163" y="187"/>
                    </a:lnTo>
                    <a:lnTo>
                      <a:pt x="162" y="187"/>
                    </a:lnTo>
                    <a:lnTo>
                      <a:pt x="162" y="186"/>
                    </a:lnTo>
                    <a:lnTo>
                      <a:pt x="160" y="186"/>
                    </a:lnTo>
                    <a:lnTo>
                      <a:pt x="160" y="187"/>
                    </a:lnTo>
                    <a:lnTo>
                      <a:pt x="159" y="187"/>
                    </a:lnTo>
                    <a:lnTo>
                      <a:pt x="158" y="187"/>
                    </a:lnTo>
                    <a:lnTo>
                      <a:pt x="158" y="188"/>
                    </a:lnTo>
                    <a:lnTo>
                      <a:pt x="157" y="188"/>
                    </a:lnTo>
                    <a:lnTo>
                      <a:pt x="156" y="187"/>
                    </a:lnTo>
                    <a:lnTo>
                      <a:pt x="156" y="188"/>
                    </a:lnTo>
                    <a:lnTo>
                      <a:pt x="155" y="188"/>
                    </a:lnTo>
                    <a:lnTo>
                      <a:pt x="155" y="189"/>
                    </a:lnTo>
                    <a:lnTo>
                      <a:pt x="155" y="190"/>
                    </a:lnTo>
                    <a:lnTo>
                      <a:pt x="156" y="190"/>
                    </a:lnTo>
                    <a:lnTo>
                      <a:pt x="156" y="191"/>
                    </a:lnTo>
                    <a:lnTo>
                      <a:pt x="155" y="191"/>
                    </a:lnTo>
                    <a:lnTo>
                      <a:pt x="154" y="191"/>
                    </a:lnTo>
                    <a:lnTo>
                      <a:pt x="153" y="191"/>
                    </a:lnTo>
                    <a:lnTo>
                      <a:pt x="152" y="191"/>
                    </a:lnTo>
                    <a:lnTo>
                      <a:pt x="151" y="191"/>
                    </a:lnTo>
                    <a:lnTo>
                      <a:pt x="151" y="190"/>
                    </a:lnTo>
                    <a:lnTo>
                      <a:pt x="151" y="189"/>
                    </a:lnTo>
                    <a:lnTo>
                      <a:pt x="151" y="188"/>
                    </a:lnTo>
                    <a:lnTo>
                      <a:pt x="151" y="187"/>
                    </a:lnTo>
                    <a:lnTo>
                      <a:pt x="150" y="187"/>
                    </a:lnTo>
                    <a:lnTo>
                      <a:pt x="150" y="186"/>
                    </a:lnTo>
                    <a:lnTo>
                      <a:pt x="149" y="186"/>
                    </a:lnTo>
                    <a:lnTo>
                      <a:pt x="149" y="185"/>
                    </a:lnTo>
                    <a:lnTo>
                      <a:pt x="147" y="185"/>
                    </a:lnTo>
                    <a:lnTo>
                      <a:pt x="147" y="184"/>
                    </a:lnTo>
                    <a:lnTo>
                      <a:pt x="146" y="184"/>
                    </a:lnTo>
                    <a:lnTo>
                      <a:pt x="146" y="185"/>
                    </a:lnTo>
                    <a:lnTo>
                      <a:pt x="145" y="185"/>
                    </a:lnTo>
                    <a:lnTo>
                      <a:pt x="144" y="185"/>
                    </a:lnTo>
                    <a:lnTo>
                      <a:pt x="143" y="185"/>
                    </a:lnTo>
                    <a:lnTo>
                      <a:pt x="144" y="185"/>
                    </a:lnTo>
                    <a:lnTo>
                      <a:pt x="143" y="185"/>
                    </a:lnTo>
                    <a:lnTo>
                      <a:pt x="143" y="184"/>
                    </a:lnTo>
                    <a:lnTo>
                      <a:pt x="143" y="183"/>
                    </a:lnTo>
                    <a:lnTo>
                      <a:pt x="143" y="182"/>
                    </a:lnTo>
                    <a:lnTo>
                      <a:pt x="144" y="182"/>
                    </a:lnTo>
                    <a:lnTo>
                      <a:pt x="143" y="182"/>
                    </a:lnTo>
                    <a:lnTo>
                      <a:pt x="143" y="180"/>
                    </a:lnTo>
                    <a:lnTo>
                      <a:pt x="143" y="182"/>
                    </a:lnTo>
                    <a:lnTo>
                      <a:pt x="142" y="182"/>
                    </a:lnTo>
                    <a:lnTo>
                      <a:pt x="141" y="182"/>
                    </a:lnTo>
                    <a:lnTo>
                      <a:pt x="140" y="182"/>
                    </a:lnTo>
                    <a:lnTo>
                      <a:pt x="139" y="182"/>
                    </a:lnTo>
                    <a:lnTo>
                      <a:pt x="138" y="182"/>
                    </a:lnTo>
                    <a:lnTo>
                      <a:pt x="137" y="180"/>
                    </a:lnTo>
                    <a:lnTo>
                      <a:pt x="136" y="180"/>
                    </a:lnTo>
                    <a:lnTo>
                      <a:pt x="134" y="180"/>
                    </a:lnTo>
                    <a:lnTo>
                      <a:pt x="132" y="180"/>
                    </a:lnTo>
                    <a:lnTo>
                      <a:pt x="131" y="180"/>
                    </a:lnTo>
                    <a:lnTo>
                      <a:pt x="131" y="179"/>
                    </a:lnTo>
                    <a:lnTo>
                      <a:pt x="130" y="179"/>
                    </a:lnTo>
                    <a:lnTo>
                      <a:pt x="129" y="179"/>
                    </a:lnTo>
                    <a:lnTo>
                      <a:pt x="128" y="178"/>
                    </a:lnTo>
                    <a:lnTo>
                      <a:pt x="127" y="178"/>
                    </a:lnTo>
                    <a:lnTo>
                      <a:pt x="125" y="178"/>
                    </a:lnTo>
                    <a:lnTo>
                      <a:pt x="124" y="178"/>
                    </a:lnTo>
                    <a:lnTo>
                      <a:pt x="123" y="177"/>
                    </a:lnTo>
                    <a:lnTo>
                      <a:pt x="121" y="176"/>
                    </a:lnTo>
                    <a:lnTo>
                      <a:pt x="119" y="176"/>
                    </a:lnTo>
                    <a:lnTo>
                      <a:pt x="117" y="175"/>
                    </a:lnTo>
                    <a:lnTo>
                      <a:pt x="116" y="175"/>
                    </a:lnTo>
                    <a:lnTo>
                      <a:pt x="115" y="174"/>
                    </a:lnTo>
                    <a:lnTo>
                      <a:pt x="114" y="173"/>
                    </a:lnTo>
                    <a:lnTo>
                      <a:pt x="108" y="174"/>
                    </a:lnTo>
                    <a:lnTo>
                      <a:pt x="109" y="184"/>
                    </a:lnTo>
                    <a:lnTo>
                      <a:pt x="103" y="184"/>
                    </a:lnTo>
                    <a:lnTo>
                      <a:pt x="54" y="185"/>
                    </a:lnTo>
                    <a:lnTo>
                      <a:pt x="48" y="185"/>
                    </a:lnTo>
                    <a:lnTo>
                      <a:pt x="48" y="182"/>
                    </a:lnTo>
                    <a:lnTo>
                      <a:pt x="48" y="172"/>
                    </a:lnTo>
                    <a:lnTo>
                      <a:pt x="48" y="164"/>
                    </a:lnTo>
                    <a:lnTo>
                      <a:pt x="47" y="164"/>
                    </a:lnTo>
                    <a:lnTo>
                      <a:pt x="42" y="164"/>
                    </a:lnTo>
                    <a:lnTo>
                      <a:pt x="31" y="164"/>
                    </a:lnTo>
                    <a:lnTo>
                      <a:pt x="23" y="164"/>
                    </a:lnTo>
                    <a:lnTo>
                      <a:pt x="23" y="149"/>
                    </a:lnTo>
                    <a:lnTo>
                      <a:pt x="23" y="145"/>
                    </a:lnTo>
                    <a:lnTo>
                      <a:pt x="23" y="134"/>
                    </a:lnTo>
                    <a:lnTo>
                      <a:pt x="14" y="134"/>
                    </a:lnTo>
                    <a:lnTo>
                      <a:pt x="10" y="134"/>
                    </a:lnTo>
                    <a:lnTo>
                      <a:pt x="2" y="134"/>
                    </a:lnTo>
                    <a:lnTo>
                      <a:pt x="2" y="113"/>
                    </a:lnTo>
                    <a:lnTo>
                      <a:pt x="2" y="93"/>
                    </a:lnTo>
                    <a:lnTo>
                      <a:pt x="0" y="93"/>
                    </a:lnTo>
                    <a:lnTo>
                      <a:pt x="0" y="83"/>
                    </a:lnTo>
                    <a:lnTo>
                      <a:pt x="0" y="77"/>
                    </a:lnTo>
                    <a:lnTo>
                      <a:pt x="0" y="75"/>
                    </a:lnTo>
                    <a:lnTo>
                      <a:pt x="0" y="71"/>
                    </a:lnTo>
                    <a:lnTo>
                      <a:pt x="7" y="67"/>
                    </a:lnTo>
                    <a:lnTo>
                      <a:pt x="17" y="58"/>
                    </a:lnTo>
                    <a:lnTo>
                      <a:pt x="16" y="56"/>
                    </a:lnTo>
                    <a:lnTo>
                      <a:pt x="16" y="55"/>
                    </a:lnTo>
                    <a:lnTo>
                      <a:pt x="17" y="55"/>
                    </a:lnTo>
                    <a:lnTo>
                      <a:pt x="17" y="54"/>
                    </a:lnTo>
                    <a:lnTo>
                      <a:pt x="17" y="52"/>
                    </a:lnTo>
                    <a:lnTo>
                      <a:pt x="17" y="51"/>
                    </a:lnTo>
                    <a:lnTo>
                      <a:pt x="27" y="44"/>
                    </a:lnTo>
                    <a:lnTo>
                      <a:pt x="28" y="43"/>
                    </a:lnTo>
                    <a:lnTo>
                      <a:pt x="30" y="42"/>
                    </a:lnTo>
                    <a:lnTo>
                      <a:pt x="29" y="38"/>
                    </a:lnTo>
                    <a:lnTo>
                      <a:pt x="31" y="37"/>
                    </a:lnTo>
                    <a:lnTo>
                      <a:pt x="38" y="36"/>
                    </a:lnTo>
                    <a:lnTo>
                      <a:pt x="46" y="35"/>
                    </a:lnTo>
                    <a:lnTo>
                      <a:pt x="50" y="34"/>
                    </a:lnTo>
                    <a:lnTo>
                      <a:pt x="52" y="33"/>
                    </a:lnTo>
                    <a:lnTo>
                      <a:pt x="57" y="32"/>
                    </a:lnTo>
                    <a:lnTo>
                      <a:pt x="61" y="32"/>
                    </a:lnTo>
                    <a:lnTo>
                      <a:pt x="65" y="31"/>
                    </a:lnTo>
                    <a:lnTo>
                      <a:pt x="69" y="30"/>
                    </a:lnTo>
                    <a:lnTo>
                      <a:pt x="107" y="21"/>
                    </a:lnTo>
                    <a:lnTo>
                      <a:pt x="108" y="20"/>
                    </a:lnTo>
                    <a:lnTo>
                      <a:pt x="125" y="17"/>
                    </a:lnTo>
                    <a:lnTo>
                      <a:pt x="131" y="16"/>
                    </a:lnTo>
                    <a:lnTo>
                      <a:pt x="144" y="12"/>
                    </a:lnTo>
                    <a:lnTo>
                      <a:pt x="156" y="9"/>
                    </a:lnTo>
                    <a:lnTo>
                      <a:pt x="157" y="9"/>
                    </a:lnTo>
                    <a:lnTo>
                      <a:pt x="197" y="0"/>
                    </a:lnTo>
                    <a:lnTo>
                      <a:pt x="196" y="7"/>
                    </a:lnTo>
                    <a:lnTo>
                      <a:pt x="192" y="33"/>
                    </a:lnTo>
                    <a:lnTo>
                      <a:pt x="192" y="35"/>
                    </a:lnTo>
                    <a:lnTo>
                      <a:pt x="190" y="50"/>
                    </a:lnTo>
                    <a:lnTo>
                      <a:pt x="179" y="51"/>
                    </a:lnTo>
                    <a:lnTo>
                      <a:pt x="182" y="65"/>
                    </a:lnTo>
                    <a:lnTo>
                      <a:pt x="182" y="67"/>
                    </a:lnTo>
                    <a:lnTo>
                      <a:pt x="182" y="68"/>
                    </a:lnTo>
                    <a:lnTo>
                      <a:pt x="182" y="69"/>
                    </a:lnTo>
                    <a:lnTo>
                      <a:pt x="183" y="71"/>
                    </a:lnTo>
                    <a:lnTo>
                      <a:pt x="183" y="72"/>
                    </a:lnTo>
                    <a:lnTo>
                      <a:pt x="183" y="73"/>
                    </a:lnTo>
                    <a:lnTo>
                      <a:pt x="184" y="75"/>
                    </a:lnTo>
                    <a:lnTo>
                      <a:pt x="184" y="77"/>
                    </a:lnTo>
                    <a:lnTo>
                      <a:pt x="184" y="78"/>
                    </a:lnTo>
                    <a:lnTo>
                      <a:pt x="185" y="81"/>
                    </a:lnTo>
                    <a:lnTo>
                      <a:pt x="185" y="83"/>
                    </a:lnTo>
                    <a:lnTo>
                      <a:pt x="180" y="86"/>
                    </a:lnTo>
                    <a:lnTo>
                      <a:pt x="179" y="87"/>
                    </a:lnTo>
                    <a:lnTo>
                      <a:pt x="177" y="88"/>
                    </a:lnTo>
                    <a:lnTo>
                      <a:pt x="171" y="92"/>
                    </a:lnTo>
                    <a:lnTo>
                      <a:pt x="169" y="93"/>
                    </a:lnTo>
                    <a:lnTo>
                      <a:pt x="168" y="93"/>
                    </a:lnTo>
                    <a:lnTo>
                      <a:pt x="169" y="95"/>
                    </a:lnTo>
                    <a:lnTo>
                      <a:pt x="169" y="96"/>
                    </a:lnTo>
                    <a:lnTo>
                      <a:pt x="173" y="108"/>
                    </a:lnTo>
                    <a:lnTo>
                      <a:pt x="177" y="119"/>
                    </a:lnTo>
                    <a:lnTo>
                      <a:pt x="178" y="121"/>
                    </a:lnTo>
                    <a:lnTo>
                      <a:pt x="179" y="123"/>
                    </a:lnTo>
                    <a:lnTo>
                      <a:pt x="179" y="124"/>
                    </a:lnTo>
                    <a:lnTo>
                      <a:pt x="177" y="125"/>
                    </a:lnTo>
                    <a:lnTo>
                      <a:pt x="176" y="126"/>
                    </a:lnTo>
                    <a:lnTo>
                      <a:pt x="176" y="127"/>
                    </a:lnTo>
                    <a:lnTo>
                      <a:pt x="177" y="127"/>
                    </a:lnTo>
                    <a:lnTo>
                      <a:pt x="177" y="132"/>
                    </a:lnTo>
                    <a:lnTo>
                      <a:pt x="182" y="132"/>
                    </a:lnTo>
                    <a:lnTo>
                      <a:pt x="182" y="142"/>
                    </a:lnTo>
                    <a:lnTo>
                      <a:pt x="177" y="142"/>
                    </a:lnTo>
                    <a:lnTo>
                      <a:pt x="177" y="151"/>
                    </a:lnTo>
                    <a:lnTo>
                      <a:pt x="177" y="152"/>
                    </a:lnTo>
                    <a:lnTo>
                      <a:pt x="178" y="152"/>
                    </a:lnTo>
                    <a:lnTo>
                      <a:pt x="182" y="152"/>
                    </a:lnTo>
                    <a:lnTo>
                      <a:pt x="182" y="158"/>
                    </a:lnTo>
                    <a:lnTo>
                      <a:pt x="182" y="159"/>
                    </a:lnTo>
                    <a:lnTo>
                      <a:pt x="182" y="168"/>
                    </a:lnTo>
                    <a:lnTo>
                      <a:pt x="182" y="173"/>
                    </a:lnTo>
                    <a:lnTo>
                      <a:pt x="182" y="174"/>
                    </a:lnTo>
                    <a:lnTo>
                      <a:pt x="182" y="176"/>
                    </a:lnTo>
                    <a:lnTo>
                      <a:pt x="183" y="180"/>
                    </a:lnTo>
                    <a:lnTo>
                      <a:pt x="183" y="184"/>
                    </a:lnTo>
                    <a:lnTo>
                      <a:pt x="183" y="185"/>
                    </a:lnTo>
                    <a:lnTo>
                      <a:pt x="189" y="197"/>
                    </a:lnTo>
                    <a:close/>
                  </a:path>
                </a:pathLst>
              </a:custGeom>
              <a:solidFill>
                <a:srgbClr val="77B6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9" name="Freeform 19">
                <a:extLst>
                  <a:ext uri="{FF2B5EF4-FFF2-40B4-BE49-F238E27FC236}">
                    <a16:creationId xmlns:a16="http://schemas.microsoft.com/office/drawing/2014/main" id="{AEC4838B-9C4B-59BA-D64F-4EAC2F63EA56}"/>
                  </a:ext>
                </a:extLst>
              </p:cNvPr>
              <p:cNvSpPr>
                <a:spLocks/>
              </p:cNvSpPr>
              <p:nvPr/>
            </p:nvSpPr>
            <p:spPr bwMode="auto">
              <a:xfrm>
                <a:off x="3421063" y="4011613"/>
                <a:ext cx="663575" cy="531813"/>
              </a:xfrm>
              <a:custGeom>
                <a:avLst/>
                <a:gdLst>
                  <a:gd name="T0" fmla="*/ 179 w 418"/>
                  <a:gd name="T1" fmla="*/ 50 h 335"/>
                  <a:gd name="T2" fmla="*/ 231 w 418"/>
                  <a:gd name="T3" fmla="*/ 107 h 335"/>
                  <a:gd name="T4" fmla="*/ 282 w 418"/>
                  <a:gd name="T5" fmla="*/ 125 h 335"/>
                  <a:gd name="T6" fmla="*/ 340 w 418"/>
                  <a:gd name="T7" fmla="*/ 124 h 335"/>
                  <a:gd name="T8" fmla="*/ 346 w 418"/>
                  <a:gd name="T9" fmla="*/ 129 h 335"/>
                  <a:gd name="T10" fmla="*/ 352 w 418"/>
                  <a:gd name="T11" fmla="*/ 131 h 335"/>
                  <a:gd name="T12" fmla="*/ 360 w 418"/>
                  <a:gd name="T13" fmla="*/ 130 h 335"/>
                  <a:gd name="T14" fmla="*/ 366 w 418"/>
                  <a:gd name="T15" fmla="*/ 128 h 335"/>
                  <a:gd name="T16" fmla="*/ 373 w 418"/>
                  <a:gd name="T17" fmla="*/ 126 h 335"/>
                  <a:gd name="T18" fmla="*/ 383 w 418"/>
                  <a:gd name="T19" fmla="*/ 127 h 335"/>
                  <a:gd name="T20" fmla="*/ 391 w 418"/>
                  <a:gd name="T21" fmla="*/ 128 h 335"/>
                  <a:gd name="T22" fmla="*/ 397 w 418"/>
                  <a:gd name="T23" fmla="*/ 130 h 335"/>
                  <a:gd name="T24" fmla="*/ 405 w 418"/>
                  <a:gd name="T25" fmla="*/ 130 h 335"/>
                  <a:gd name="T26" fmla="*/ 415 w 418"/>
                  <a:gd name="T27" fmla="*/ 127 h 335"/>
                  <a:gd name="T28" fmla="*/ 404 w 418"/>
                  <a:gd name="T29" fmla="*/ 168 h 335"/>
                  <a:gd name="T30" fmla="*/ 387 w 418"/>
                  <a:gd name="T31" fmla="*/ 225 h 335"/>
                  <a:gd name="T32" fmla="*/ 375 w 418"/>
                  <a:gd name="T33" fmla="*/ 273 h 335"/>
                  <a:gd name="T34" fmla="*/ 293 w 418"/>
                  <a:gd name="T35" fmla="*/ 335 h 335"/>
                  <a:gd name="T36" fmla="*/ 292 w 418"/>
                  <a:gd name="T37" fmla="*/ 323 h 335"/>
                  <a:gd name="T38" fmla="*/ 284 w 418"/>
                  <a:gd name="T39" fmla="*/ 332 h 335"/>
                  <a:gd name="T40" fmla="*/ 271 w 418"/>
                  <a:gd name="T41" fmla="*/ 323 h 335"/>
                  <a:gd name="T42" fmla="*/ 267 w 418"/>
                  <a:gd name="T43" fmla="*/ 313 h 335"/>
                  <a:gd name="T44" fmla="*/ 221 w 418"/>
                  <a:gd name="T45" fmla="*/ 310 h 335"/>
                  <a:gd name="T46" fmla="*/ 211 w 418"/>
                  <a:gd name="T47" fmla="*/ 312 h 335"/>
                  <a:gd name="T48" fmla="*/ 205 w 418"/>
                  <a:gd name="T49" fmla="*/ 313 h 335"/>
                  <a:gd name="T50" fmla="*/ 202 w 418"/>
                  <a:gd name="T51" fmla="*/ 307 h 335"/>
                  <a:gd name="T52" fmla="*/ 203 w 418"/>
                  <a:gd name="T53" fmla="*/ 297 h 335"/>
                  <a:gd name="T54" fmla="*/ 199 w 418"/>
                  <a:gd name="T55" fmla="*/ 292 h 335"/>
                  <a:gd name="T56" fmla="*/ 196 w 418"/>
                  <a:gd name="T57" fmla="*/ 284 h 335"/>
                  <a:gd name="T58" fmla="*/ 145 w 418"/>
                  <a:gd name="T59" fmla="*/ 281 h 335"/>
                  <a:gd name="T60" fmla="*/ 141 w 418"/>
                  <a:gd name="T61" fmla="*/ 274 h 335"/>
                  <a:gd name="T62" fmla="*/ 145 w 418"/>
                  <a:gd name="T63" fmla="*/ 266 h 335"/>
                  <a:gd name="T64" fmla="*/ 143 w 418"/>
                  <a:gd name="T65" fmla="*/ 255 h 335"/>
                  <a:gd name="T66" fmla="*/ 143 w 418"/>
                  <a:gd name="T67" fmla="*/ 248 h 335"/>
                  <a:gd name="T68" fmla="*/ 142 w 418"/>
                  <a:gd name="T69" fmla="*/ 234 h 335"/>
                  <a:gd name="T70" fmla="*/ 140 w 418"/>
                  <a:gd name="T71" fmla="*/ 226 h 335"/>
                  <a:gd name="T72" fmla="*/ 138 w 418"/>
                  <a:gd name="T73" fmla="*/ 217 h 335"/>
                  <a:gd name="T74" fmla="*/ 130 w 418"/>
                  <a:gd name="T75" fmla="*/ 213 h 335"/>
                  <a:gd name="T76" fmla="*/ 130 w 418"/>
                  <a:gd name="T77" fmla="*/ 207 h 335"/>
                  <a:gd name="T78" fmla="*/ 134 w 418"/>
                  <a:gd name="T79" fmla="*/ 199 h 335"/>
                  <a:gd name="T80" fmla="*/ 139 w 418"/>
                  <a:gd name="T81" fmla="*/ 193 h 335"/>
                  <a:gd name="T82" fmla="*/ 127 w 418"/>
                  <a:gd name="T83" fmla="*/ 186 h 335"/>
                  <a:gd name="T84" fmla="*/ 107 w 418"/>
                  <a:gd name="T85" fmla="*/ 182 h 335"/>
                  <a:gd name="T86" fmla="*/ 95 w 418"/>
                  <a:gd name="T87" fmla="*/ 183 h 335"/>
                  <a:gd name="T88" fmla="*/ 76 w 418"/>
                  <a:gd name="T89" fmla="*/ 176 h 335"/>
                  <a:gd name="T90" fmla="*/ 60 w 418"/>
                  <a:gd name="T91" fmla="*/ 149 h 335"/>
                  <a:gd name="T92" fmla="*/ 46 w 418"/>
                  <a:gd name="T93" fmla="*/ 118 h 335"/>
                  <a:gd name="T94" fmla="*/ 47 w 418"/>
                  <a:gd name="T95" fmla="*/ 107 h 335"/>
                  <a:gd name="T96" fmla="*/ 41 w 418"/>
                  <a:gd name="T97" fmla="*/ 99 h 335"/>
                  <a:gd name="T98" fmla="*/ 40 w 418"/>
                  <a:gd name="T99" fmla="*/ 88 h 335"/>
                  <a:gd name="T100" fmla="*/ 47 w 418"/>
                  <a:gd name="T101" fmla="*/ 75 h 335"/>
                  <a:gd name="T102" fmla="*/ 44 w 418"/>
                  <a:gd name="T103" fmla="*/ 62 h 335"/>
                  <a:gd name="T104" fmla="*/ 40 w 418"/>
                  <a:gd name="T105" fmla="*/ 45 h 335"/>
                  <a:gd name="T106" fmla="*/ 15 w 418"/>
                  <a:gd name="T107" fmla="*/ 16 h 335"/>
                  <a:gd name="T108" fmla="*/ 73 w 418"/>
                  <a:gd name="T109" fmla="*/ 11 h 335"/>
                  <a:gd name="T110" fmla="*/ 120 w 418"/>
                  <a:gd name="T111" fmla="*/ 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8" h="335">
                    <a:moveTo>
                      <a:pt x="132" y="1"/>
                    </a:moveTo>
                    <a:lnTo>
                      <a:pt x="145" y="16"/>
                    </a:lnTo>
                    <a:lnTo>
                      <a:pt x="148" y="20"/>
                    </a:lnTo>
                    <a:lnTo>
                      <a:pt x="152" y="16"/>
                    </a:lnTo>
                    <a:lnTo>
                      <a:pt x="153" y="17"/>
                    </a:lnTo>
                    <a:lnTo>
                      <a:pt x="177" y="48"/>
                    </a:lnTo>
                    <a:lnTo>
                      <a:pt x="177" y="47"/>
                    </a:lnTo>
                    <a:lnTo>
                      <a:pt x="179" y="50"/>
                    </a:lnTo>
                    <a:lnTo>
                      <a:pt x="180" y="51"/>
                    </a:lnTo>
                    <a:lnTo>
                      <a:pt x="188" y="63"/>
                    </a:lnTo>
                    <a:lnTo>
                      <a:pt x="188" y="73"/>
                    </a:lnTo>
                    <a:lnTo>
                      <a:pt x="201" y="79"/>
                    </a:lnTo>
                    <a:lnTo>
                      <a:pt x="208" y="81"/>
                    </a:lnTo>
                    <a:lnTo>
                      <a:pt x="212" y="87"/>
                    </a:lnTo>
                    <a:lnTo>
                      <a:pt x="223" y="103"/>
                    </a:lnTo>
                    <a:lnTo>
                      <a:pt x="231" y="107"/>
                    </a:lnTo>
                    <a:lnTo>
                      <a:pt x="234" y="110"/>
                    </a:lnTo>
                    <a:lnTo>
                      <a:pt x="238" y="125"/>
                    </a:lnTo>
                    <a:lnTo>
                      <a:pt x="262" y="125"/>
                    </a:lnTo>
                    <a:lnTo>
                      <a:pt x="266" y="125"/>
                    </a:lnTo>
                    <a:lnTo>
                      <a:pt x="268" y="125"/>
                    </a:lnTo>
                    <a:lnTo>
                      <a:pt x="275" y="125"/>
                    </a:lnTo>
                    <a:lnTo>
                      <a:pt x="280" y="125"/>
                    </a:lnTo>
                    <a:lnTo>
                      <a:pt x="282" y="125"/>
                    </a:lnTo>
                    <a:lnTo>
                      <a:pt x="287" y="124"/>
                    </a:lnTo>
                    <a:lnTo>
                      <a:pt x="288" y="124"/>
                    </a:lnTo>
                    <a:lnTo>
                      <a:pt x="290" y="124"/>
                    </a:lnTo>
                    <a:lnTo>
                      <a:pt x="292" y="124"/>
                    </a:lnTo>
                    <a:lnTo>
                      <a:pt x="294" y="124"/>
                    </a:lnTo>
                    <a:lnTo>
                      <a:pt x="295" y="124"/>
                    </a:lnTo>
                    <a:lnTo>
                      <a:pt x="307" y="124"/>
                    </a:lnTo>
                    <a:lnTo>
                      <a:pt x="340" y="124"/>
                    </a:lnTo>
                    <a:lnTo>
                      <a:pt x="343" y="124"/>
                    </a:lnTo>
                    <a:lnTo>
                      <a:pt x="343" y="125"/>
                    </a:lnTo>
                    <a:lnTo>
                      <a:pt x="343" y="126"/>
                    </a:lnTo>
                    <a:lnTo>
                      <a:pt x="343" y="127"/>
                    </a:lnTo>
                    <a:lnTo>
                      <a:pt x="344" y="127"/>
                    </a:lnTo>
                    <a:lnTo>
                      <a:pt x="345" y="128"/>
                    </a:lnTo>
                    <a:lnTo>
                      <a:pt x="346" y="128"/>
                    </a:lnTo>
                    <a:lnTo>
                      <a:pt x="346" y="129"/>
                    </a:lnTo>
                    <a:lnTo>
                      <a:pt x="346" y="130"/>
                    </a:lnTo>
                    <a:lnTo>
                      <a:pt x="347" y="130"/>
                    </a:lnTo>
                    <a:lnTo>
                      <a:pt x="348" y="131"/>
                    </a:lnTo>
                    <a:lnTo>
                      <a:pt x="349" y="131"/>
                    </a:lnTo>
                    <a:lnTo>
                      <a:pt x="350" y="131"/>
                    </a:lnTo>
                    <a:lnTo>
                      <a:pt x="351" y="130"/>
                    </a:lnTo>
                    <a:lnTo>
                      <a:pt x="351" y="131"/>
                    </a:lnTo>
                    <a:lnTo>
                      <a:pt x="352" y="131"/>
                    </a:lnTo>
                    <a:lnTo>
                      <a:pt x="353" y="131"/>
                    </a:lnTo>
                    <a:lnTo>
                      <a:pt x="354" y="131"/>
                    </a:lnTo>
                    <a:lnTo>
                      <a:pt x="356" y="131"/>
                    </a:lnTo>
                    <a:lnTo>
                      <a:pt x="357" y="131"/>
                    </a:lnTo>
                    <a:lnTo>
                      <a:pt x="358" y="132"/>
                    </a:lnTo>
                    <a:lnTo>
                      <a:pt x="359" y="131"/>
                    </a:lnTo>
                    <a:lnTo>
                      <a:pt x="360" y="131"/>
                    </a:lnTo>
                    <a:lnTo>
                      <a:pt x="360" y="130"/>
                    </a:lnTo>
                    <a:lnTo>
                      <a:pt x="361" y="130"/>
                    </a:lnTo>
                    <a:lnTo>
                      <a:pt x="362" y="130"/>
                    </a:lnTo>
                    <a:lnTo>
                      <a:pt x="363" y="129"/>
                    </a:lnTo>
                    <a:lnTo>
                      <a:pt x="363" y="130"/>
                    </a:lnTo>
                    <a:lnTo>
                      <a:pt x="363" y="129"/>
                    </a:lnTo>
                    <a:lnTo>
                      <a:pt x="364" y="129"/>
                    </a:lnTo>
                    <a:lnTo>
                      <a:pt x="365" y="128"/>
                    </a:lnTo>
                    <a:lnTo>
                      <a:pt x="366" y="128"/>
                    </a:lnTo>
                    <a:lnTo>
                      <a:pt x="367" y="128"/>
                    </a:lnTo>
                    <a:lnTo>
                      <a:pt x="367" y="127"/>
                    </a:lnTo>
                    <a:lnTo>
                      <a:pt x="369" y="127"/>
                    </a:lnTo>
                    <a:lnTo>
                      <a:pt x="370" y="127"/>
                    </a:lnTo>
                    <a:lnTo>
                      <a:pt x="371" y="127"/>
                    </a:lnTo>
                    <a:lnTo>
                      <a:pt x="372" y="127"/>
                    </a:lnTo>
                    <a:lnTo>
                      <a:pt x="372" y="126"/>
                    </a:lnTo>
                    <a:lnTo>
                      <a:pt x="373" y="126"/>
                    </a:lnTo>
                    <a:lnTo>
                      <a:pt x="374" y="127"/>
                    </a:lnTo>
                    <a:lnTo>
                      <a:pt x="375" y="127"/>
                    </a:lnTo>
                    <a:lnTo>
                      <a:pt x="377" y="127"/>
                    </a:lnTo>
                    <a:lnTo>
                      <a:pt x="378" y="127"/>
                    </a:lnTo>
                    <a:lnTo>
                      <a:pt x="379" y="127"/>
                    </a:lnTo>
                    <a:lnTo>
                      <a:pt x="380" y="127"/>
                    </a:lnTo>
                    <a:lnTo>
                      <a:pt x="382" y="127"/>
                    </a:lnTo>
                    <a:lnTo>
                      <a:pt x="383" y="127"/>
                    </a:lnTo>
                    <a:lnTo>
                      <a:pt x="384" y="127"/>
                    </a:lnTo>
                    <a:lnTo>
                      <a:pt x="386" y="127"/>
                    </a:lnTo>
                    <a:lnTo>
                      <a:pt x="387" y="127"/>
                    </a:lnTo>
                    <a:lnTo>
                      <a:pt x="388" y="127"/>
                    </a:lnTo>
                    <a:lnTo>
                      <a:pt x="389" y="127"/>
                    </a:lnTo>
                    <a:lnTo>
                      <a:pt x="390" y="128"/>
                    </a:lnTo>
                    <a:lnTo>
                      <a:pt x="391" y="127"/>
                    </a:lnTo>
                    <a:lnTo>
                      <a:pt x="391" y="128"/>
                    </a:lnTo>
                    <a:lnTo>
                      <a:pt x="392" y="128"/>
                    </a:lnTo>
                    <a:lnTo>
                      <a:pt x="393" y="128"/>
                    </a:lnTo>
                    <a:lnTo>
                      <a:pt x="393" y="129"/>
                    </a:lnTo>
                    <a:lnTo>
                      <a:pt x="395" y="128"/>
                    </a:lnTo>
                    <a:lnTo>
                      <a:pt x="396" y="128"/>
                    </a:lnTo>
                    <a:lnTo>
                      <a:pt x="397" y="128"/>
                    </a:lnTo>
                    <a:lnTo>
                      <a:pt x="397" y="129"/>
                    </a:lnTo>
                    <a:lnTo>
                      <a:pt x="397" y="130"/>
                    </a:lnTo>
                    <a:lnTo>
                      <a:pt x="398" y="129"/>
                    </a:lnTo>
                    <a:lnTo>
                      <a:pt x="399" y="129"/>
                    </a:lnTo>
                    <a:lnTo>
                      <a:pt x="400" y="129"/>
                    </a:lnTo>
                    <a:lnTo>
                      <a:pt x="401" y="129"/>
                    </a:lnTo>
                    <a:lnTo>
                      <a:pt x="402" y="130"/>
                    </a:lnTo>
                    <a:lnTo>
                      <a:pt x="403" y="130"/>
                    </a:lnTo>
                    <a:lnTo>
                      <a:pt x="404" y="130"/>
                    </a:lnTo>
                    <a:lnTo>
                      <a:pt x="405" y="130"/>
                    </a:lnTo>
                    <a:lnTo>
                      <a:pt x="406" y="130"/>
                    </a:lnTo>
                    <a:lnTo>
                      <a:pt x="408" y="130"/>
                    </a:lnTo>
                    <a:lnTo>
                      <a:pt x="410" y="130"/>
                    </a:lnTo>
                    <a:lnTo>
                      <a:pt x="412" y="129"/>
                    </a:lnTo>
                    <a:lnTo>
                      <a:pt x="413" y="129"/>
                    </a:lnTo>
                    <a:lnTo>
                      <a:pt x="413" y="128"/>
                    </a:lnTo>
                    <a:lnTo>
                      <a:pt x="414" y="128"/>
                    </a:lnTo>
                    <a:lnTo>
                      <a:pt x="415" y="127"/>
                    </a:lnTo>
                    <a:lnTo>
                      <a:pt x="416" y="126"/>
                    </a:lnTo>
                    <a:lnTo>
                      <a:pt x="417" y="126"/>
                    </a:lnTo>
                    <a:lnTo>
                      <a:pt x="417" y="127"/>
                    </a:lnTo>
                    <a:lnTo>
                      <a:pt x="418" y="128"/>
                    </a:lnTo>
                    <a:lnTo>
                      <a:pt x="416" y="131"/>
                    </a:lnTo>
                    <a:lnTo>
                      <a:pt x="411" y="150"/>
                    </a:lnTo>
                    <a:lnTo>
                      <a:pt x="405" y="164"/>
                    </a:lnTo>
                    <a:lnTo>
                      <a:pt x="404" y="168"/>
                    </a:lnTo>
                    <a:lnTo>
                      <a:pt x="402" y="175"/>
                    </a:lnTo>
                    <a:lnTo>
                      <a:pt x="402" y="176"/>
                    </a:lnTo>
                    <a:lnTo>
                      <a:pt x="400" y="182"/>
                    </a:lnTo>
                    <a:lnTo>
                      <a:pt x="395" y="200"/>
                    </a:lnTo>
                    <a:lnTo>
                      <a:pt x="393" y="203"/>
                    </a:lnTo>
                    <a:lnTo>
                      <a:pt x="393" y="205"/>
                    </a:lnTo>
                    <a:lnTo>
                      <a:pt x="391" y="210"/>
                    </a:lnTo>
                    <a:lnTo>
                      <a:pt x="387" y="225"/>
                    </a:lnTo>
                    <a:lnTo>
                      <a:pt x="385" y="240"/>
                    </a:lnTo>
                    <a:lnTo>
                      <a:pt x="383" y="239"/>
                    </a:lnTo>
                    <a:lnTo>
                      <a:pt x="382" y="240"/>
                    </a:lnTo>
                    <a:lnTo>
                      <a:pt x="375" y="244"/>
                    </a:lnTo>
                    <a:lnTo>
                      <a:pt x="375" y="257"/>
                    </a:lnTo>
                    <a:lnTo>
                      <a:pt x="375" y="258"/>
                    </a:lnTo>
                    <a:lnTo>
                      <a:pt x="375" y="270"/>
                    </a:lnTo>
                    <a:lnTo>
                      <a:pt x="375" y="273"/>
                    </a:lnTo>
                    <a:lnTo>
                      <a:pt x="375" y="276"/>
                    </a:lnTo>
                    <a:lnTo>
                      <a:pt x="375" y="277"/>
                    </a:lnTo>
                    <a:lnTo>
                      <a:pt x="364" y="277"/>
                    </a:lnTo>
                    <a:lnTo>
                      <a:pt x="364" y="286"/>
                    </a:lnTo>
                    <a:lnTo>
                      <a:pt x="364" y="296"/>
                    </a:lnTo>
                    <a:lnTo>
                      <a:pt x="365" y="309"/>
                    </a:lnTo>
                    <a:lnTo>
                      <a:pt x="332" y="321"/>
                    </a:lnTo>
                    <a:lnTo>
                      <a:pt x="293" y="335"/>
                    </a:lnTo>
                    <a:lnTo>
                      <a:pt x="293" y="334"/>
                    </a:lnTo>
                    <a:lnTo>
                      <a:pt x="294" y="333"/>
                    </a:lnTo>
                    <a:lnTo>
                      <a:pt x="294" y="332"/>
                    </a:lnTo>
                    <a:lnTo>
                      <a:pt x="294" y="331"/>
                    </a:lnTo>
                    <a:lnTo>
                      <a:pt x="294" y="327"/>
                    </a:lnTo>
                    <a:lnTo>
                      <a:pt x="294" y="325"/>
                    </a:lnTo>
                    <a:lnTo>
                      <a:pt x="293" y="324"/>
                    </a:lnTo>
                    <a:lnTo>
                      <a:pt x="292" y="323"/>
                    </a:lnTo>
                    <a:lnTo>
                      <a:pt x="290" y="323"/>
                    </a:lnTo>
                    <a:lnTo>
                      <a:pt x="289" y="323"/>
                    </a:lnTo>
                    <a:lnTo>
                      <a:pt x="287" y="324"/>
                    </a:lnTo>
                    <a:lnTo>
                      <a:pt x="286" y="325"/>
                    </a:lnTo>
                    <a:lnTo>
                      <a:pt x="286" y="327"/>
                    </a:lnTo>
                    <a:lnTo>
                      <a:pt x="284" y="330"/>
                    </a:lnTo>
                    <a:lnTo>
                      <a:pt x="284" y="331"/>
                    </a:lnTo>
                    <a:lnTo>
                      <a:pt x="284" y="332"/>
                    </a:lnTo>
                    <a:lnTo>
                      <a:pt x="283" y="332"/>
                    </a:lnTo>
                    <a:lnTo>
                      <a:pt x="282" y="333"/>
                    </a:lnTo>
                    <a:lnTo>
                      <a:pt x="282" y="332"/>
                    </a:lnTo>
                    <a:lnTo>
                      <a:pt x="280" y="331"/>
                    </a:lnTo>
                    <a:lnTo>
                      <a:pt x="276" y="329"/>
                    </a:lnTo>
                    <a:lnTo>
                      <a:pt x="274" y="325"/>
                    </a:lnTo>
                    <a:lnTo>
                      <a:pt x="273" y="325"/>
                    </a:lnTo>
                    <a:lnTo>
                      <a:pt x="271" y="323"/>
                    </a:lnTo>
                    <a:lnTo>
                      <a:pt x="270" y="321"/>
                    </a:lnTo>
                    <a:lnTo>
                      <a:pt x="270" y="320"/>
                    </a:lnTo>
                    <a:lnTo>
                      <a:pt x="269" y="319"/>
                    </a:lnTo>
                    <a:lnTo>
                      <a:pt x="269" y="318"/>
                    </a:lnTo>
                    <a:lnTo>
                      <a:pt x="268" y="318"/>
                    </a:lnTo>
                    <a:lnTo>
                      <a:pt x="268" y="316"/>
                    </a:lnTo>
                    <a:lnTo>
                      <a:pt x="268" y="315"/>
                    </a:lnTo>
                    <a:lnTo>
                      <a:pt x="267" y="313"/>
                    </a:lnTo>
                    <a:lnTo>
                      <a:pt x="266" y="312"/>
                    </a:lnTo>
                    <a:lnTo>
                      <a:pt x="264" y="311"/>
                    </a:lnTo>
                    <a:lnTo>
                      <a:pt x="261" y="311"/>
                    </a:lnTo>
                    <a:lnTo>
                      <a:pt x="260" y="311"/>
                    </a:lnTo>
                    <a:lnTo>
                      <a:pt x="224" y="311"/>
                    </a:lnTo>
                    <a:lnTo>
                      <a:pt x="223" y="311"/>
                    </a:lnTo>
                    <a:lnTo>
                      <a:pt x="222" y="310"/>
                    </a:lnTo>
                    <a:lnTo>
                      <a:pt x="221" y="310"/>
                    </a:lnTo>
                    <a:lnTo>
                      <a:pt x="219" y="310"/>
                    </a:lnTo>
                    <a:lnTo>
                      <a:pt x="217" y="310"/>
                    </a:lnTo>
                    <a:lnTo>
                      <a:pt x="216" y="310"/>
                    </a:lnTo>
                    <a:lnTo>
                      <a:pt x="215" y="310"/>
                    </a:lnTo>
                    <a:lnTo>
                      <a:pt x="214" y="310"/>
                    </a:lnTo>
                    <a:lnTo>
                      <a:pt x="212" y="310"/>
                    </a:lnTo>
                    <a:lnTo>
                      <a:pt x="212" y="311"/>
                    </a:lnTo>
                    <a:lnTo>
                      <a:pt x="211" y="312"/>
                    </a:lnTo>
                    <a:lnTo>
                      <a:pt x="210" y="312"/>
                    </a:lnTo>
                    <a:lnTo>
                      <a:pt x="210" y="313"/>
                    </a:lnTo>
                    <a:lnTo>
                      <a:pt x="209" y="313"/>
                    </a:lnTo>
                    <a:lnTo>
                      <a:pt x="208" y="313"/>
                    </a:lnTo>
                    <a:lnTo>
                      <a:pt x="207" y="313"/>
                    </a:lnTo>
                    <a:lnTo>
                      <a:pt x="206" y="315"/>
                    </a:lnTo>
                    <a:lnTo>
                      <a:pt x="205" y="315"/>
                    </a:lnTo>
                    <a:lnTo>
                      <a:pt x="205" y="313"/>
                    </a:lnTo>
                    <a:lnTo>
                      <a:pt x="204" y="312"/>
                    </a:lnTo>
                    <a:lnTo>
                      <a:pt x="204" y="311"/>
                    </a:lnTo>
                    <a:lnTo>
                      <a:pt x="204" y="310"/>
                    </a:lnTo>
                    <a:lnTo>
                      <a:pt x="203" y="310"/>
                    </a:lnTo>
                    <a:lnTo>
                      <a:pt x="203" y="309"/>
                    </a:lnTo>
                    <a:lnTo>
                      <a:pt x="202" y="309"/>
                    </a:lnTo>
                    <a:lnTo>
                      <a:pt x="202" y="308"/>
                    </a:lnTo>
                    <a:lnTo>
                      <a:pt x="202" y="307"/>
                    </a:lnTo>
                    <a:lnTo>
                      <a:pt x="203" y="307"/>
                    </a:lnTo>
                    <a:lnTo>
                      <a:pt x="204" y="307"/>
                    </a:lnTo>
                    <a:lnTo>
                      <a:pt x="204" y="306"/>
                    </a:lnTo>
                    <a:lnTo>
                      <a:pt x="204" y="302"/>
                    </a:lnTo>
                    <a:lnTo>
                      <a:pt x="204" y="300"/>
                    </a:lnTo>
                    <a:lnTo>
                      <a:pt x="204" y="299"/>
                    </a:lnTo>
                    <a:lnTo>
                      <a:pt x="203" y="299"/>
                    </a:lnTo>
                    <a:lnTo>
                      <a:pt x="203" y="297"/>
                    </a:lnTo>
                    <a:lnTo>
                      <a:pt x="203" y="296"/>
                    </a:lnTo>
                    <a:lnTo>
                      <a:pt x="202" y="296"/>
                    </a:lnTo>
                    <a:lnTo>
                      <a:pt x="202" y="295"/>
                    </a:lnTo>
                    <a:lnTo>
                      <a:pt x="202" y="294"/>
                    </a:lnTo>
                    <a:lnTo>
                      <a:pt x="201" y="294"/>
                    </a:lnTo>
                    <a:lnTo>
                      <a:pt x="201" y="293"/>
                    </a:lnTo>
                    <a:lnTo>
                      <a:pt x="199" y="293"/>
                    </a:lnTo>
                    <a:lnTo>
                      <a:pt x="199" y="292"/>
                    </a:lnTo>
                    <a:lnTo>
                      <a:pt x="199" y="291"/>
                    </a:lnTo>
                    <a:lnTo>
                      <a:pt x="198" y="291"/>
                    </a:lnTo>
                    <a:lnTo>
                      <a:pt x="198" y="290"/>
                    </a:lnTo>
                    <a:lnTo>
                      <a:pt x="198" y="287"/>
                    </a:lnTo>
                    <a:lnTo>
                      <a:pt x="198" y="286"/>
                    </a:lnTo>
                    <a:lnTo>
                      <a:pt x="198" y="285"/>
                    </a:lnTo>
                    <a:lnTo>
                      <a:pt x="197" y="285"/>
                    </a:lnTo>
                    <a:lnTo>
                      <a:pt x="196" y="284"/>
                    </a:lnTo>
                    <a:lnTo>
                      <a:pt x="194" y="284"/>
                    </a:lnTo>
                    <a:lnTo>
                      <a:pt x="194" y="283"/>
                    </a:lnTo>
                    <a:lnTo>
                      <a:pt x="193" y="283"/>
                    </a:lnTo>
                    <a:lnTo>
                      <a:pt x="192" y="283"/>
                    </a:lnTo>
                    <a:lnTo>
                      <a:pt x="191" y="283"/>
                    </a:lnTo>
                    <a:lnTo>
                      <a:pt x="191" y="282"/>
                    </a:lnTo>
                    <a:lnTo>
                      <a:pt x="192" y="281"/>
                    </a:lnTo>
                    <a:lnTo>
                      <a:pt x="145" y="281"/>
                    </a:lnTo>
                    <a:lnTo>
                      <a:pt x="145" y="280"/>
                    </a:lnTo>
                    <a:lnTo>
                      <a:pt x="144" y="279"/>
                    </a:lnTo>
                    <a:lnTo>
                      <a:pt x="144" y="278"/>
                    </a:lnTo>
                    <a:lnTo>
                      <a:pt x="143" y="278"/>
                    </a:lnTo>
                    <a:lnTo>
                      <a:pt x="142" y="277"/>
                    </a:lnTo>
                    <a:lnTo>
                      <a:pt x="142" y="276"/>
                    </a:lnTo>
                    <a:lnTo>
                      <a:pt x="141" y="276"/>
                    </a:lnTo>
                    <a:lnTo>
                      <a:pt x="141" y="274"/>
                    </a:lnTo>
                    <a:lnTo>
                      <a:pt x="141" y="273"/>
                    </a:lnTo>
                    <a:lnTo>
                      <a:pt x="141" y="272"/>
                    </a:lnTo>
                    <a:lnTo>
                      <a:pt x="141" y="271"/>
                    </a:lnTo>
                    <a:lnTo>
                      <a:pt x="142" y="270"/>
                    </a:lnTo>
                    <a:lnTo>
                      <a:pt x="143" y="270"/>
                    </a:lnTo>
                    <a:lnTo>
                      <a:pt x="143" y="269"/>
                    </a:lnTo>
                    <a:lnTo>
                      <a:pt x="143" y="268"/>
                    </a:lnTo>
                    <a:lnTo>
                      <a:pt x="145" y="266"/>
                    </a:lnTo>
                    <a:lnTo>
                      <a:pt x="146" y="265"/>
                    </a:lnTo>
                    <a:lnTo>
                      <a:pt x="147" y="261"/>
                    </a:lnTo>
                    <a:lnTo>
                      <a:pt x="147" y="260"/>
                    </a:lnTo>
                    <a:lnTo>
                      <a:pt x="146" y="258"/>
                    </a:lnTo>
                    <a:lnTo>
                      <a:pt x="145" y="258"/>
                    </a:lnTo>
                    <a:lnTo>
                      <a:pt x="144" y="257"/>
                    </a:lnTo>
                    <a:lnTo>
                      <a:pt x="144" y="255"/>
                    </a:lnTo>
                    <a:lnTo>
                      <a:pt x="143" y="255"/>
                    </a:lnTo>
                    <a:lnTo>
                      <a:pt x="142" y="254"/>
                    </a:lnTo>
                    <a:lnTo>
                      <a:pt x="141" y="254"/>
                    </a:lnTo>
                    <a:lnTo>
                      <a:pt x="141" y="253"/>
                    </a:lnTo>
                    <a:lnTo>
                      <a:pt x="141" y="252"/>
                    </a:lnTo>
                    <a:lnTo>
                      <a:pt x="141" y="251"/>
                    </a:lnTo>
                    <a:lnTo>
                      <a:pt x="141" y="250"/>
                    </a:lnTo>
                    <a:lnTo>
                      <a:pt x="142" y="248"/>
                    </a:lnTo>
                    <a:lnTo>
                      <a:pt x="143" y="248"/>
                    </a:lnTo>
                    <a:lnTo>
                      <a:pt x="143" y="247"/>
                    </a:lnTo>
                    <a:lnTo>
                      <a:pt x="143" y="241"/>
                    </a:lnTo>
                    <a:lnTo>
                      <a:pt x="143" y="240"/>
                    </a:lnTo>
                    <a:lnTo>
                      <a:pt x="143" y="238"/>
                    </a:lnTo>
                    <a:lnTo>
                      <a:pt x="143" y="236"/>
                    </a:lnTo>
                    <a:lnTo>
                      <a:pt x="143" y="235"/>
                    </a:lnTo>
                    <a:lnTo>
                      <a:pt x="143" y="234"/>
                    </a:lnTo>
                    <a:lnTo>
                      <a:pt x="142" y="234"/>
                    </a:lnTo>
                    <a:lnTo>
                      <a:pt x="142" y="233"/>
                    </a:lnTo>
                    <a:lnTo>
                      <a:pt x="142" y="232"/>
                    </a:lnTo>
                    <a:lnTo>
                      <a:pt x="142" y="231"/>
                    </a:lnTo>
                    <a:lnTo>
                      <a:pt x="142" y="230"/>
                    </a:lnTo>
                    <a:lnTo>
                      <a:pt x="141" y="229"/>
                    </a:lnTo>
                    <a:lnTo>
                      <a:pt x="141" y="227"/>
                    </a:lnTo>
                    <a:lnTo>
                      <a:pt x="141" y="226"/>
                    </a:lnTo>
                    <a:lnTo>
                      <a:pt x="140" y="226"/>
                    </a:lnTo>
                    <a:lnTo>
                      <a:pt x="140" y="225"/>
                    </a:lnTo>
                    <a:lnTo>
                      <a:pt x="141" y="225"/>
                    </a:lnTo>
                    <a:lnTo>
                      <a:pt x="141" y="222"/>
                    </a:lnTo>
                    <a:lnTo>
                      <a:pt x="141" y="221"/>
                    </a:lnTo>
                    <a:lnTo>
                      <a:pt x="141" y="220"/>
                    </a:lnTo>
                    <a:lnTo>
                      <a:pt x="140" y="220"/>
                    </a:lnTo>
                    <a:lnTo>
                      <a:pt x="140" y="219"/>
                    </a:lnTo>
                    <a:lnTo>
                      <a:pt x="138" y="217"/>
                    </a:lnTo>
                    <a:lnTo>
                      <a:pt x="137" y="217"/>
                    </a:lnTo>
                    <a:lnTo>
                      <a:pt x="135" y="216"/>
                    </a:lnTo>
                    <a:lnTo>
                      <a:pt x="134" y="216"/>
                    </a:lnTo>
                    <a:lnTo>
                      <a:pt x="132" y="215"/>
                    </a:lnTo>
                    <a:lnTo>
                      <a:pt x="132" y="214"/>
                    </a:lnTo>
                    <a:lnTo>
                      <a:pt x="131" y="214"/>
                    </a:lnTo>
                    <a:lnTo>
                      <a:pt x="131" y="213"/>
                    </a:lnTo>
                    <a:lnTo>
                      <a:pt x="130" y="213"/>
                    </a:lnTo>
                    <a:lnTo>
                      <a:pt x="130" y="212"/>
                    </a:lnTo>
                    <a:lnTo>
                      <a:pt x="130" y="210"/>
                    </a:lnTo>
                    <a:lnTo>
                      <a:pt x="129" y="210"/>
                    </a:lnTo>
                    <a:lnTo>
                      <a:pt x="130" y="210"/>
                    </a:lnTo>
                    <a:lnTo>
                      <a:pt x="131" y="209"/>
                    </a:lnTo>
                    <a:lnTo>
                      <a:pt x="131" y="208"/>
                    </a:lnTo>
                    <a:lnTo>
                      <a:pt x="130" y="208"/>
                    </a:lnTo>
                    <a:lnTo>
                      <a:pt x="130" y="207"/>
                    </a:lnTo>
                    <a:lnTo>
                      <a:pt x="130" y="206"/>
                    </a:lnTo>
                    <a:lnTo>
                      <a:pt x="131" y="205"/>
                    </a:lnTo>
                    <a:lnTo>
                      <a:pt x="131" y="204"/>
                    </a:lnTo>
                    <a:lnTo>
                      <a:pt x="132" y="202"/>
                    </a:lnTo>
                    <a:lnTo>
                      <a:pt x="132" y="201"/>
                    </a:lnTo>
                    <a:lnTo>
                      <a:pt x="133" y="201"/>
                    </a:lnTo>
                    <a:lnTo>
                      <a:pt x="134" y="200"/>
                    </a:lnTo>
                    <a:lnTo>
                      <a:pt x="134" y="199"/>
                    </a:lnTo>
                    <a:lnTo>
                      <a:pt x="135" y="199"/>
                    </a:lnTo>
                    <a:lnTo>
                      <a:pt x="134" y="197"/>
                    </a:lnTo>
                    <a:lnTo>
                      <a:pt x="134" y="196"/>
                    </a:lnTo>
                    <a:lnTo>
                      <a:pt x="135" y="196"/>
                    </a:lnTo>
                    <a:lnTo>
                      <a:pt x="135" y="195"/>
                    </a:lnTo>
                    <a:lnTo>
                      <a:pt x="137" y="194"/>
                    </a:lnTo>
                    <a:lnTo>
                      <a:pt x="138" y="194"/>
                    </a:lnTo>
                    <a:lnTo>
                      <a:pt x="139" y="193"/>
                    </a:lnTo>
                    <a:lnTo>
                      <a:pt x="139" y="192"/>
                    </a:lnTo>
                    <a:lnTo>
                      <a:pt x="139" y="191"/>
                    </a:lnTo>
                    <a:lnTo>
                      <a:pt x="137" y="190"/>
                    </a:lnTo>
                    <a:lnTo>
                      <a:pt x="135" y="189"/>
                    </a:lnTo>
                    <a:lnTo>
                      <a:pt x="133" y="188"/>
                    </a:lnTo>
                    <a:lnTo>
                      <a:pt x="130" y="187"/>
                    </a:lnTo>
                    <a:lnTo>
                      <a:pt x="128" y="186"/>
                    </a:lnTo>
                    <a:lnTo>
                      <a:pt x="127" y="186"/>
                    </a:lnTo>
                    <a:lnTo>
                      <a:pt x="126" y="184"/>
                    </a:lnTo>
                    <a:lnTo>
                      <a:pt x="124" y="184"/>
                    </a:lnTo>
                    <a:lnTo>
                      <a:pt x="118" y="183"/>
                    </a:lnTo>
                    <a:lnTo>
                      <a:pt x="117" y="183"/>
                    </a:lnTo>
                    <a:lnTo>
                      <a:pt x="115" y="182"/>
                    </a:lnTo>
                    <a:lnTo>
                      <a:pt x="113" y="182"/>
                    </a:lnTo>
                    <a:lnTo>
                      <a:pt x="111" y="182"/>
                    </a:lnTo>
                    <a:lnTo>
                      <a:pt x="107" y="182"/>
                    </a:lnTo>
                    <a:lnTo>
                      <a:pt x="105" y="182"/>
                    </a:lnTo>
                    <a:lnTo>
                      <a:pt x="104" y="182"/>
                    </a:lnTo>
                    <a:lnTo>
                      <a:pt x="103" y="182"/>
                    </a:lnTo>
                    <a:lnTo>
                      <a:pt x="102" y="183"/>
                    </a:lnTo>
                    <a:lnTo>
                      <a:pt x="100" y="183"/>
                    </a:lnTo>
                    <a:lnTo>
                      <a:pt x="99" y="183"/>
                    </a:lnTo>
                    <a:lnTo>
                      <a:pt x="98" y="183"/>
                    </a:lnTo>
                    <a:lnTo>
                      <a:pt x="95" y="183"/>
                    </a:lnTo>
                    <a:lnTo>
                      <a:pt x="93" y="182"/>
                    </a:lnTo>
                    <a:lnTo>
                      <a:pt x="90" y="182"/>
                    </a:lnTo>
                    <a:lnTo>
                      <a:pt x="88" y="182"/>
                    </a:lnTo>
                    <a:lnTo>
                      <a:pt x="86" y="182"/>
                    </a:lnTo>
                    <a:lnTo>
                      <a:pt x="82" y="181"/>
                    </a:lnTo>
                    <a:lnTo>
                      <a:pt x="80" y="180"/>
                    </a:lnTo>
                    <a:lnTo>
                      <a:pt x="77" y="178"/>
                    </a:lnTo>
                    <a:lnTo>
                      <a:pt x="76" y="176"/>
                    </a:lnTo>
                    <a:lnTo>
                      <a:pt x="69" y="171"/>
                    </a:lnTo>
                    <a:lnTo>
                      <a:pt x="68" y="169"/>
                    </a:lnTo>
                    <a:lnTo>
                      <a:pt x="68" y="166"/>
                    </a:lnTo>
                    <a:lnTo>
                      <a:pt x="68" y="164"/>
                    </a:lnTo>
                    <a:lnTo>
                      <a:pt x="69" y="163"/>
                    </a:lnTo>
                    <a:lnTo>
                      <a:pt x="69" y="160"/>
                    </a:lnTo>
                    <a:lnTo>
                      <a:pt x="68" y="157"/>
                    </a:lnTo>
                    <a:lnTo>
                      <a:pt x="60" y="149"/>
                    </a:lnTo>
                    <a:lnTo>
                      <a:pt x="56" y="143"/>
                    </a:lnTo>
                    <a:lnTo>
                      <a:pt x="55" y="142"/>
                    </a:lnTo>
                    <a:lnTo>
                      <a:pt x="51" y="136"/>
                    </a:lnTo>
                    <a:lnTo>
                      <a:pt x="50" y="133"/>
                    </a:lnTo>
                    <a:lnTo>
                      <a:pt x="47" y="125"/>
                    </a:lnTo>
                    <a:lnTo>
                      <a:pt x="47" y="124"/>
                    </a:lnTo>
                    <a:lnTo>
                      <a:pt x="46" y="119"/>
                    </a:lnTo>
                    <a:lnTo>
                      <a:pt x="46" y="118"/>
                    </a:lnTo>
                    <a:lnTo>
                      <a:pt x="47" y="117"/>
                    </a:lnTo>
                    <a:lnTo>
                      <a:pt x="47" y="116"/>
                    </a:lnTo>
                    <a:lnTo>
                      <a:pt x="47" y="114"/>
                    </a:lnTo>
                    <a:lnTo>
                      <a:pt x="48" y="114"/>
                    </a:lnTo>
                    <a:lnTo>
                      <a:pt x="48" y="111"/>
                    </a:lnTo>
                    <a:lnTo>
                      <a:pt x="47" y="110"/>
                    </a:lnTo>
                    <a:lnTo>
                      <a:pt x="47" y="109"/>
                    </a:lnTo>
                    <a:lnTo>
                      <a:pt x="47" y="107"/>
                    </a:lnTo>
                    <a:lnTo>
                      <a:pt x="46" y="106"/>
                    </a:lnTo>
                    <a:lnTo>
                      <a:pt x="46" y="105"/>
                    </a:lnTo>
                    <a:lnTo>
                      <a:pt x="47" y="104"/>
                    </a:lnTo>
                    <a:lnTo>
                      <a:pt x="47" y="103"/>
                    </a:lnTo>
                    <a:lnTo>
                      <a:pt x="47" y="102"/>
                    </a:lnTo>
                    <a:lnTo>
                      <a:pt x="42" y="100"/>
                    </a:lnTo>
                    <a:lnTo>
                      <a:pt x="41" y="100"/>
                    </a:lnTo>
                    <a:lnTo>
                      <a:pt x="41" y="99"/>
                    </a:lnTo>
                    <a:lnTo>
                      <a:pt x="39" y="98"/>
                    </a:lnTo>
                    <a:lnTo>
                      <a:pt x="37" y="97"/>
                    </a:lnTo>
                    <a:lnTo>
                      <a:pt x="35" y="96"/>
                    </a:lnTo>
                    <a:lnTo>
                      <a:pt x="33" y="94"/>
                    </a:lnTo>
                    <a:lnTo>
                      <a:pt x="36" y="90"/>
                    </a:lnTo>
                    <a:lnTo>
                      <a:pt x="36" y="89"/>
                    </a:lnTo>
                    <a:lnTo>
                      <a:pt x="37" y="89"/>
                    </a:lnTo>
                    <a:lnTo>
                      <a:pt x="40" y="88"/>
                    </a:lnTo>
                    <a:lnTo>
                      <a:pt x="42" y="87"/>
                    </a:lnTo>
                    <a:lnTo>
                      <a:pt x="44" y="86"/>
                    </a:lnTo>
                    <a:lnTo>
                      <a:pt x="46" y="85"/>
                    </a:lnTo>
                    <a:lnTo>
                      <a:pt x="46" y="83"/>
                    </a:lnTo>
                    <a:lnTo>
                      <a:pt x="44" y="81"/>
                    </a:lnTo>
                    <a:lnTo>
                      <a:pt x="47" y="79"/>
                    </a:lnTo>
                    <a:lnTo>
                      <a:pt x="47" y="77"/>
                    </a:lnTo>
                    <a:lnTo>
                      <a:pt x="47" y="75"/>
                    </a:lnTo>
                    <a:lnTo>
                      <a:pt x="48" y="74"/>
                    </a:lnTo>
                    <a:lnTo>
                      <a:pt x="47" y="73"/>
                    </a:lnTo>
                    <a:lnTo>
                      <a:pt x="47" y="72"/>
                    </a:lnTo>
                    <a:lnTo>
                      <a:pt x="46" y="71"/>
                    </a:lnTo>
                    <a:lnTo>
                      <a:pt x="46" y="68"/>
                    </a:lnTo>
                    <a:lnTo>
                      <a:pt x="44" y="65"/>
                    </a:lnTo>
                    <a:lnTo>
                      <a:pt x="44" y="63"/>
                    </a:lnTo>
                    <a:lnTo>
                      <a:pt x="44" y="62"/>
                    </a:lnTo>
                    <a:lnTo>
                      <a:pt x="46" y="60"/>
                    </a:lnTo>
                    <a:lnTo>
                      <a:pt x="44" y="59"/>
                    </a:lnTo>
                    <a:lnTo>
                      <a:pt x="42" y="58"/>
                    </a:lnTo>
                    <a:lnTo>
                      <a:pt x="41" y="55"/>
                    </a:lnTo>
                    <a:lnTo>
                      <a:pt x="41" y="54"/>
                    </a:lnTo>
                    <a:lnTo>
                      <a:pt x="41" y="53"/>
                    </a:lnTo>
                    <a:lnTo>
                      <a:pt x="38" y="49"/>
                    </a:lnTo>
                    <a:lnTo>
                      <a:pt x="40" y="45"/>
                    </a:lnTo>
                    <a:lnTo>
                      <a:pt x="38" y="40"/>
                    </a:lnTo>
                    <a:lnTo>
                      <a:pt x="38" y="39"/>
                    </a:lnTo>
                    <a:lnTo>
                      <a:pt x="35" y="38"/>
                    </a:lnTo>
                    <a:lnTo>
                      <a:pt x="34" y="35"/>
                    </a:lnTo>
                    <a:lnTo>
                      <a:pt x="24" y="26"/>
                    </a:lnTo>
                    <a:lnTo>
                      <a:pt x="25" y="26"/>
                    </a:lnTo>
                    <a:lnTo>
                      <a:pt x="16" y="17"/>
                    </a:lnTo>
                    <a:lnTo>
                      <a:pt x="15" y="16"/>
                    </a:lnTo>
                    <a:lnTo>
                      <a:pt x="10" y="15"/>
                    </a:lnTo>
                    <a:lnTo>
                      <a:pt x="8" y="13"/>
                    </a:lnTo>
                    <a:lnTo>
                      <a:pt x="5" y="12"/>
                    </a:lnTo>
                    <a:lnTo>
                      <a:pt x="0" y="4"/>
                    </a:lnTo>
                    <a:lnTo>
                      <a:pt x="1" y="0"/>
                    </a:lnTo>
                    <a:lnTo>
                      <a:pt x="47" y="1"/>
                    </a:lnTo>
                    <a:lnTo>
                      <a:pt x="73" y="1"/>
                    </a:lnTo>
                    <a:lnTo>
                      <a:pt x="73" y="11"/>
                    </a:lnTo>
                    <a:lnTo>
                      <a:pt x="80" y="11"/>
                    </a:lnTo>
                    <a:lnTo>
                      <a:pt x="89" y="11"/>
                    </a:lnTo>
                    <a:lnTo>
                      <a:pt x="88" y="7"/>
                    </a:lnTo>
                    <a:lnTo>
                      <a:pt x="104" y="2"/>
                    </a:lnTo>
                    <a:lnTo>
                      <a:pt x="107" y="1"/>
                    </a:lnTo>
                    <a:lnTo>
                      <a:pt x="113" y="1"/>
                    </a:lnTo>
                    <a:lnTo>
                      <a:pt x="114" y="1"/>
                    </a:lnTo>
                    <a:lnTo>
                      <a:pt x="120" y="1"/>
                    </a:lnTo>
                    <a:lnTo>
                      <a:pt x="124" y="1"/>
                    </a:lnTo>
                    <a:lnTo>
                      <a:pt x="124" y="0"/>
                    </a:lnTo>
                    <a:lnTo>
                      <a:pt x="124" y="1"/>
                    </a:lnTo>
                    <a:lnTo>
                      <a:pt x="132" y="1"/>
                    </a:lnTo>
                    <a:close/>
                  </a:path>
                </a:pathLst>
              </a:custGeom>
              <a:solidFill>
                <a:srgbClr val="3894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0" name="Freeform 20">
                <a:extLst>
                  <a:ext uri="{FF2B5EF4-FFF2-40B4-BE49-F238E27FC236}">
                    <a16:creationId xmlns:a16="http://schemas.microsoft.com/office/drawing/2014/main" id="{889DF4B9-85BA-C0CF-9638-F6225EDD1B56}"/>
                  </a:ext>
                </a:extLst>
              </p:cNvPr>
              <p:cNvSpPr>
                <a:spLocks/>
              </p:cNvSpPr>
              <p:nvPr/>
            </p:nvSpPr>
            <p:spPr bwMode="auto">
              <a:xfrm>
                <a:off x="3630613" y="3830638"/>
                <a:ext cx="334963" cy="379413"/>
              </a:xfrm>
              <a:custGeom>
                <a:avLst/>
                <a:gdLst>
                  <a:gd name="T0" fmla="*/ 163 w 211"/>
                  <a:gd name="T1" fmla="*/ 238 h 239"/>
                  <a:gd name="T2" fmla="*/ 156 w 211"/>
                  <a:gd name="T3" fmla="*/ 238 h 239"/>
                  <a:gd name="T4" fmla="*/ 143 w 211"/>
                  <a:gd name="T5" fmla="*/ 239 h 239"/>
                  <a:gd name="T6" fmla="*/ 106 w 211"/>
                  <a:gd name="T7" fmla="*/ 239 h 239"/>
                  <a:gd name="T8" fmla="*/ 80 w 211"/>
                  <a:gd name="T9" fmla="*/ 201 h 239"/>
                  <a:gd name="T10" fmla="*/ 56 w 211"/>
                  <a:gd name="T11" fmla="*/ 177 h 239"/>
                  <a:gd name="T12" fmla="*/ 45 w 211"/>
                  <a:gd name="T13" fmla="*/ 162 h 239"/>
                  <a:gd name="T14" fmla="*/ 13 w 211"/>
                  <a:gd name="T15" fmla="*/ 130 h 239"/>
                  <a:gd name="T16" fmla="*/ 2 w 211"/>
                  <a:gd name="T17" fmla="*/ 109 h 239"/>
                  <a:gd name="T18" fmla="*/ 9 w 211"/>
                  <a:gd name="T19" fmla="*/ 105 h 239"/>
                  <a:gd name="T20" fmla="*/ 27 w 211"/>
                  <a:gd name="T21" fmla="*/ 104 h 239"/>
                  <a:gd name="T22" fmla="*/ 44 w 211"/>
                  <a:gd name="T23" fmla="*/ 95 h 239"/>
                  <a:gd name="T24" fmla="*/ 44 w 211"/>
                  <a:gd name="T25" fmla="*/ 84 h 239"/>
                  <a:gd name="T26" fmla="*/ 48 w 211"/>
                  <a:gd name="T27" fmla="*/ 80 h 239"/>
                  <a:gd name="T28" fmla="*/ 49 w 211"/>
                  <a:gd name="T29" fmla="*/ 76 h 239"/>
                  <a:gd name="T30" fmla="*/ 50 w 211"/>
                  <a:gd name="T31" fmla="*/ 72 h 239"/>
                  <a:gd name="T32" fmla="*/ 52 w 211"/>
                  <a:gd name="T33" fmla="*/ 69 h 239"/>
                  <a:gd name="T34" fmla="*/ 53 w 211"/>
                  <a:gd name="T35" fmla="*/ 64 h 239"/>
                  <a:gd name="T36" fmla="*/ 61 w 211"/>
                  <a:gd name="T37" fmla="*/ 64 h 239"/>
                  <a:gd name="T38" fmla="*/ 78 w 211"/>
                  <a:gd name="T39" fmla="*/ 46 h 239"/>
                  <a:gd name="T40" fmla="*/ 90 w 211"/>
                  <a:gd name="T41" fmla="*/ 33 h 239"/>
                  <a:gd name="T42" fmla="*/ 103 w 211"/>
                  <a:gd name="T43" fmla="*/ 15 h 239"/>
                  <a:gd name="T44" fmla="*/ 96 w 211"/>
                  <a:gd name="T45" fmla="*/ 3 h 239"/>
                  <a:gd name="T46" fmla="*/ 98 w 211"/>
                  <a:gd name="T47" fmla="*/ 1 h 239"/>
                  <a:gd name="T48" fmla="*/ 113 w 211"/>
                  <a:gd name="T49" fmla="*/ 5 h 239"/>
                  <a:gd name="T50" fmla="*/ 115 w 211"/>
                  <a:gd name="T51" fmla="*/ 7 h 239"/>
                  <a:gd name="T52" fmla="*/ 118 w 211"/>
                  <a:gd name="T53" fmla="*/ 14 h 239"/>
                  <a:gd name="T54" fmla="*/ 118 w 211"/>
                  <a:gd name="T55" fmla="*/ 21 h 239"/>
                  <a:gd name="T56" fmla="*/ 116 w 211"/>
                  <a:gd name="T57" fmla="*/ 25 h 239"/>
                  <a:gd name="T58" fmla="*/ 114 w 211"/>
                  <a:gd name="T59" fmla="*/ 31 h 239"/>
                  <a:gd name="T60" fmla="*/ 111 w 211"/>
                  <a:gd name="T61" fmla="*/ 35 h 239"/>
                  <a:gd name="T62" fmla="*/ 105 w 211"/>
                  <a:gd name="T63" fmla="*/ 44 h 239"/>
                  <a:gd name="T64" fmla="*/ 104 w 211"/>
                  <a:gd name="T65" fmla="*/ 52 h 239"/>
                  <a:gd name="T66" fmla="*/ 106 w 211"/>
                  <a:gd name="T67" fmla="*/ 59 h 239"/>
                  <a:gd name="T68" fmla="*/ 111 w 211"/>
                  <a:gd name="T69" fmla="*/ 61 h 239"/>
                  <a:gd name="T70" fmla="*/ 119 w 211"/>
                  <a:gd name="T71" fmla="*/ 61 h 239"/>
                  <a:gd name="T72" fmla="*/ 126 w 211"/>
                  <a:gd name="T73" fmla="*/ 61 h 239"/>
                  <a:gd name="T74" fmla="*/ 140 w 211"/>
                  <a:gd name="T75" fmla="*/ 64 h 239"/>
                  <a:gd name="T76" fmla="*/ 147 w 211"/>
                  <a:gd name="T77" fmla="*/ 71 h 239"/>
                  <a:gd name="T78" fmla="*/ 149 w 211"/>
                  <a:gd name="T79" fmla="*/ 75 h 239"/>
                  <a:gd name="T80" fmla="*/ 149 w 211"/>
                  <a:gd name="T81" fmla="*/ 80 h 239"/>
                  <a:gd name="T82" fmla="*/ 148 w 211"/>
                  <a:gd name="T83" fmla="*/ 86 h 239"/>
                  <a:gd name="T84" fmla="*/ 142 w 211"/>
                  <a:gd name="T85" fmla="*/ 90 h 239"/>
                  <a:gd name="T86" fmla="*/ 129 w 211"/>
                  <a:gd name="T87" fmla="*/ 98 h 239"/>
                  <a:gd name="T88" fmla="*/ 124 w 211"/>
                  <a:gd name="T89" fmla="*/ 103 h 239"/>
                  <a:gd name="T90" fmla="*/ 125 w 211"/>
                  <a:gd name="T91" fmla="*/ 109 h 239"/>
                  <a:gd name="T92" fmla="*/ 134 w 211"/>
                  <a:gd name="T93" fmla="*/ 110 h 239"/>
                  <a:gd name="T94" fmla="*/ 144 w 211"/>
                  <a:gd name="T95" fmla="*/ 107 h 239"/>
                  <a:gd name="T96" fmla="*/ 175 w 211"/>
                  <a:gd name="T97" fmla="*/ 100 h 239"/>
                  <a:gd name="T98" fmla="*/ 177 w 211"/>
                  <a:gd name="T99" fmla="*/ 135 h 239"/>
                  <a:gd name="T100" fmla="*/ 178 w 211"/>
                  <a:gd name="T101" fmla="*/ 155 h 239"/>
                  <a:gd name="T102" fmla="*/ 176 w 211"/>
                  <a:gd name="T103" fmla="*/ 170 h 239"/>
                  <a:gd name="T104" fmla="*/ 166 w 211"/>
                  <a:gd name="T105" fmla="*/ 188 h 239"/>
                  <a:gd name="T106" fmla="*/ 157 w 211"/>
                  <a:gd name="T107" fmla="*/ 198 h 239"/>
                  <a:gd name="T108" fmla="*/ 150 w 211"/>
                  <a:gd name="T109" fmla="*/ 214 h 239"/>
                  <a:gd name="T110" fmla="*/ 162 w 211"/>
                  <a:gd name="T111" fmla="*/ 226 h 239"/>
                  <a:gd name="T112" fmla="*/ 183 w 211"/>
                  <a:gd name="T113" fmla="*/ 221 h 239"/>
                  <a:gd name="T114" fmla="*/ 203 w 211"/>
                  <a:gd name="T115" fmla="*/ 227 h 239"/>
                  <a:gd name="T116" fmla="*/ 211 w 211"/>
                  <a:gd name="T117" fmla="*/ 23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239">
                    <a:moveTo>
                      <a:pt x="211" y="238"/>
                    </a:moveTo>
                    <a:lnTo>
                      <a:pt x="208" y="238"/>
                    </a:lnTo>
                    <a:lnTo>
                      <a:pt x="175" y="238"/>
                    </a:lnTo>
                    <a:lnTo>
                      <a:pt x="163" y="238"/>
                    </a:lnTo>
                    <a:lnTo>
                      <a:pt x="162" y="238"/>
                    </a:lnTo>
                    <a:lnTo>
                      <a:pt x="160" y="238"/>
                    </a:lnTo>
                    <a:lnTo>
                      <a:pt x="158" y="238"/>
                    </a:lnTo>
                    <a:lnTo>
                      <a:pt x="156" y="238"/>
                    </a:lnTo>
                    <a:lnTo>
                      <a:pt x="155" y="238"/>
                    </a:lnTo>
                    <a:lnTo>
                      <a:pt x="150" y="239"/>
                    </a:lnTo>
                    <a:lnTo>
                      <a:pt x="148" y="239"/>
                    </a:lnTo>
                    <a:lnTo>
                      <a:pt x="143" y="239"/>
                    </a:lnTo>
                    <a:lnTo>
                      <a:pt x="136" y="239"/>
                    </a:lnTo>
                    <a:lnTo>
                      <a:pt x="134" y="239"/>
                    </a:lnTo>
                    <a:lnTo>
                      <a:pt x="130" y="239"/>
                    </a:lnTo>
                    <a:lnTo>
                      <a:pt x="106" y="239"/>
                    </a:lnTo>
                    <a:lnTo>
                      <a:pt x="102" y="224"/>
                    </a:lnTo>
                    <a:lnTo>
                      <a:pt x="99" y="221"/>
                    </a:lnTo>
                    <a:lnTo>
                      <a:pt x="91" y="217"/>
                    </a:lnTo>
                    <a:lnTo>
                      <a:pt x="80" y="201"/>
                    </a:lnTo>
                    <a:lnTo>
                      <a:pt x="76" y="195"/>
                    </a:lnTo>
                    <a:lnTo>
                      <a:pt x="69" y="193"/>
                    </a:lnTo>
                    <a:lnTo>
                      <a:pt x="56" y="187"/>
                    </a:lnTo>
                    <a:lnTo>
                      <a:pt x="56" y="177"/>
                    </a:lnTo>
                    <a:lnTo>
                      <a:pt x="48" y="165"/>
                    </a:lnTo>
                    <a:lnTo>
                      <a:pt x="47" y="164"/>
                    </a:lnTo>
                    <a:lnTo>
                      <a:pt x="45" y="161"/>
                    </a:lnTo>
                    <a:lnTo>
                      <a:pt x="45" y="162"/>
                    </a:lnTo>
                    <a:lnTo>
                      <a:pt x="21" y="131"/>
                    </a:lnTo>
                    <a:lnTo>
                      <a:pt x="20" y="130"/>
                    </a:lnTo>
                    <a:lnTo>
                      <a:pt x="16" y="134"/>
                    </a:lnTo>
                    <a:lnTo>
                      <a:pt x="13" y="130"/>
                    </a:lnTo>
                    <a:lnTo>
                      <a:pt x="0" y="115"/>
                    </a:lnTo>
                    <a:lnTo>
                      <a:pt x="2" y="115"/>
                    </a:lnTo>
                    <a:lnTo>
                      <a:pt x="2" y="113"/>
                    </a:lnTo>
                    <a:lnTo>
                      <a:pt x="2" y="109"/>
                    </a:lnTo>
                    <a:lnTo>
                      <a:pt x="2" y="107"/>
                    </a:lnTo>
                    <a:lnTo>
                      <a:pt x="2" y="105"/>
                    </a:lnTo>
                    <a:lnTo>
                      <a:pt x="6" y="105"/>
                    </a:lnTo>
                    <a:lnTo>
                      <a:pt x="9" y="105"/>
                    </a:lnTo>
                    <a:lnTo>
                      <a:pt x="12" y="105"/>
                    </a:lnTo>
                    <a:lnTo>
                      <a:pt x="16" y="104"/>
                    </a:lnTo>
                    <a:lnTo>
                      <a:pt x="25" y="104"/>
                    </a:lnTo>
                    <a:lnTo>
                      <a:pt x="27" y="104"/>
                    </a:lnTo>
                    <a:lnTo>
                      <a:pt x="44" y="104"/>
                    </a:lnTo>
                    <a:lnTo>
                      <a:pt x="44" y="102"/>
                    </a:lnTo>
                    <a:lnTo>
                      <a:pt x="44" y="100"/>
                    </a:lnTo>
                    <a:lnTo>
                      <a:pt x="44" y="95"/>
                    </a:lnTo>
                    <a:lnTo>
                      <a:pt x="44" y="91"/>
                    </a:lnTo>
                    <a:lnTo>
                      <a:pt x="44" y="88"/>
                    </a:lnTo>
                    <a:lnTo>
                      <a:pt x="44" y="87"/>
                    </a:lnTo>
                    <a:lnTo>
                      <a:pt x="44" y="84"/>
                    </a:lnTo>
                    <a:lnTo>
                      <a:pt x="48" y="84"/>
                    </a:lnTo>
                    <a:lnTo>
                      <a:pt x="48" y="83"/>
                    </a:lnTo>
                    <a:lnTo>
                      <a:pt x="48" y="82"/>
                    </a:lnTo>
                    <a:lnTo>
                      <a:pt x="48" y="80"/>
                    </a:lnTo>
                    <a:lnTo>
                      <a:pt x="48" y="79"/>
                    </a:lnTo>
                    <a:lnTo>
                      <a:pt x="49" y="78"/>
                    </a:lnTo>
                    <a:lnTo>
                      <a:pt x="49" y="77"/>
                    </a:lnTo>
                    <a:lnTo>
                      <a:pt x="49" y="76"/>
                    </a:lnTo>
                    <a:lnTo>
                      <a:pt x="49" y="75"/>
                    </a:lnTo>
                    <a:lnTo>
                      <a:pt x="49" y="74"/>
                    </a:lnTo>
                    <a:lnTo>
                      <a:pt x="50" y="73"/>
                    </a:lnTo>
                    <a:lnTo>
                      <a:pt x="50" y="72"/>
                    </a:lnTo>
                    <a:lnTo>
                      <a:pt x="51" y="72"/>
                    </a:lnTo>
                    <a:lnTo>
                      <a:pt x="51" y="71"/>
                    </a:lnTo>
                    <a:lnTo>
                      <a:pt x="51" y="70"/>
                    </a:lnTo>
                    <a:lnTo>
                      <a:pt x="52" y="69"/>
                    </a:lnTo>
                    <a:lnTo>
                      <a:pt x="52" y="67"/>
                    </a:lnTo>
                    <a:lnTo>
                      <a:pt x="52" y="65"/>
                    </a:lnTo>
                    <a:lnTo>
                      <a:pt x="53" y="65"/>
                    </a:lnTo>
                    <a:lnTo>
                      <a:pt x="53" y="64"/>
                    </a:lnTo>
                    <a:lnTo>
                      <a:pt x="54" y="63"/>
                    </a:lnTo>
                    <a:lnTo>
                      <a:pt x="54" y="64"/>
                    </a:lnTo>
                    <a:lnTo>
                      <a:pt x="60" y="63"/>
                    </a:lnTo>
                    <a:lnTo>
                      <a:pt x="61" y="64"/>
                    </a:lnTo>
                    <a:lnTo>
                      <a:pt x="74" y="63"/>
                    </a:lnTo>
                    <a:lnTo>
                      <a:pt x="74" y="52"/>
                    </a:lnTo>
                    <a:lnTo>
                      <a:pt x="74" y="50"/>
                    </a:lnTo>
                    <a:lnTo>
                      <a:pt x="78" y="46"/>
                    </a:lnTo>
                    <a:lnTo>
                      <a:pt x="80" y="43"/>
                    </a:lnTo>
                    <a:lnTo>
                      <a:pt x="84" y="39"/>
                    </a:lnTo>
                    <a:lnTo>
                      <a:pt x="88" y="35"/>
                    </a:lnTo>
                    <a:lnTo>
                      <a:pt x="90" y="33"/>
                    </a:lnTo>
                    <a:lnTo>
                      <a:pt x="92" y="31"/>
                    </a:lnTo>
                    <a:lnTo>
                      <a:pt x="102" y="19"/>
                    </a:lnTo>
                    <a:lnTo>
                      <a:pt x="102" y="18"/>
                    </a:lnTo>
                    <a:lnTo>
                      <a:pt x="103" y="15"/>
                    </a:lnTo>
                    <a:lnTo>
                      <a:pt x="108" y="8"/>
                    </a:lnTo>
                    <a:lnTo>
                      <a:pt x="109" y="6"/>
                    </a:lnTo>
                    <a:lnTo>
                      <a:pt x="97" y="3"/>
                    </a:lnTo>
                    <a:lnTo>
                      <a:pt x="96" y="3"/>
                    </a:lnTo>
                    <a:lnTo>
                      <a:pt x="93" y="3"/>
                    </a:lnTo>
                    <a:lnTo>
                      <a:pt x="93" y="2"/>
                    </a:lnTo>
                    <a:lnTo>
                      <a:pt x="96" y="0"/>
                    </a:lnTo>
                    <a:lnTo>
                      <a:pt x="98" y="1"/>
                    </a:lnTo>
                    <a:lnTo>
                      <a:pt x="100" y="1"/>
                    </a:lnTo>
                    <a:lnTo>
                      <a:pt x="109" y="3"/>
                    </a:lnTo>
                    <a:lnTo>
                      <a:pt x="111" y="3"/>
                    </a:lnTo>
                    <a:lnTo>
                      <a:pt x="113" y="5"/>
                    </a:lnTo>
                    <a:lnTo>
                      <a:pt x="114" y="5"/>
                    </a:lnTo>
                    <a:lnTo>
                      <a:pt x="114" y="6"/>
                    </a:lnTo>
                    <a:lnTo>
                      <a:pt x="115" y="6"/>
                    </a:lnTo>
                    <a:lnTo>
                      <a:pt x="115" y="7"/>
                    </a:lnTo>
                    <a:lnTo>
                      <a:pt x="116" y="8"/>
                    </a:lnTo>
                    <a:lnTo>
                      <a:pt x="117" y="11"/>
                    </a:lnTo>
                    <a:lnTo>
                      <a:pt x="118" y="13"/>
                    </a:lnTo>
                    <a:lnTo>
                      <a:pt x="118" y="14"/>
                    </a:lnTo>
                    <a:lnTo>
                      <a:pt x="118" y="15"/>
                    </a:lnTo>
                    <a:lnTo>
                      <a:pt x="118" y="18"/>
                    </a:lnTo>
                    <a:lnTo>
                      <a:pt x="118" y="19"/>
                    </a:lnTo>
                    <a:lnTo>
                      <a:pt x="118" y="21"/>
                    </a:lnTo>
                    <a:lnTo>
                      <a:pt x="118" y="22"/>
                    </a:lnTo>
                    <a:lnTo>
                      <a:pt x="117" y="23"/>
                    </a:lnTo>
                    <a:lnTo>
                      <a:pt x="117" y="24"/>
                    </a:lnTo>
                    <a:lnTo>
                      <a:pt x="116" y="25"/>
                    </a:lnTo>
                    <a:lnTo>
                      <a:pt x="115" y="27"/>
                    </a:lnTo>
                    <a:lnTo>
                      <a:pt x="115" y="28"/>
                    </a:lnTo>
                    <a:lnTo>
                      <a:pt x="114" y="30"/>
                    </a:lnTo>
                    <a:lnTo>
                      <a:pt x="114" y="31"/>
                    </a:lnTo>
                    <a:lnTo>
                      <a:pt x="113" y="32"/>
                    </a:lnTo>
                    <a:lnTo>
                      <a:pt x="112" y="33"/>
                    </a:lnTo>
                    <a:lnTo>
                      <a:pt x="112" y="34"/>
                    </a:lnTo>
                    <a:lnTo>
                      <a:pt x="111" y="35"/>
                    </a:lnTo>
                    <a:lnTo>
                      <a:pt x="106" y="39"/>
                    </a:lnTo>
                    <a:lnTo>
                      <a:pt x="106" y="40"/>
                    </a:lnTo>
                    <a:lnTo>
                      <a:pt x="105" y="41"/>
                    </a:lnTo>
                    <a:lnTo>
                      <a:pt x="105" y="44"/>
                    </a:lnTo>
                    <a:lnTo>
                      <a:pt x="104" y="46"/>
                    </a:lnTo>
                    <a:lnTo>
                      <a:pt x="104" y="49"/>
                    </a:lnTo>
                    <a:lnTo>
                      <a:pt x="104" y="50"/>
                    </a:lnTo>
                    <a:lnTo>
                      <a:pt x="104" y="52"/>
                    </a:lnTo>
                    <a:lnTo>
                      <a:pt x="104" y="53"/>
                    </a:lnTo>
                    <a:lnTo>
                      <a:pt x="104" y="54"/>
                    </a:lnTo>
                    <a:lnTo>
                      <a:pt x="105" y="57"/>
                    </a:lnTo>
                    <a:lnTo>
                      <a:pt x="106" y="59"/>
                    </a:lnTo>
                    <a:lnTo>
                      <a:pt x="108" y="59"/>
                    </a:lnTo>
                    <a:lnTo>
                      <a:pt x="108" y="60"/>
                    </a:lnTo>
                    <a:lnTo>
                      <a:pt x="109" y="60"/>
                    </a:lnTo>
                    <a:lnTo>
                      <a:pt x="111" y="61"/>
                    </a:lnTo>
                    <a:lnTo>
                      <a:pt x="112" y="61"/>
                    </a:lnTo>
                    <a:lnTo>
                      <a:pt x="116" y="61"/>
                    </a:lnTo>
                    <a:lnTo>
                      <a:pt x="117" y="61"/>
                    </a:lnTo>
                    <a:lnTo>
                      <a:pt x="119" y="61"/>
                    </a:lnTo>
                    <a:lnTo>
                      <a:pt x="121" y="61"/>
                    </a:lnTo>
                    <a:lnTo>
                      <a:pt x="122" y="61"/>
                    </a:lnTo>
                    <a:lnTo>
                      <a:pt x="124" y="61"/>
                    </a:lnTo>
                    <a:lnTo>
                      <a:pt x="126" y="61"/>
                    </a:lnTo>
                    <a:lnTo>
                      <a:pt x="135" y="61"/>
                    </a:lnTo>
                    <a:lnTo>
                      <a:pt x="136" y="61"/>
                    </a:lnTo>
                    <a:lnTo>
                      <a:pt x="138" y="62"/>
                    </a:lnTo>
                    <a:lnTo>
                      <a:pt x="140" y="64"/>
                    </a:lnTo>
                    <a:lnTo>
                      <a:pt x="142" y="65"/>
                    </a:lnTo>
                    <a:lnTo>
                      <a:pt x="144" y="67"/>
                    </a:lnTo>
                    <a:lnTo>
                      <a:pt x="145" y="70"/>
                    </a:lnTo>
                    <a:lnTo>
                      <a:pt x="147" y="71"/>
                    </a:lnTo>
                    <a:lnTo>
                      <a:pt x="148" y="72"/>
                    </a:lnTo>
                    <a:lnTo>
                      <a:pt x="148" y="73"/>
                    </a:lnTo>
                    <a:lnTo>
                      <a:pt x="149" y="74"/>
                    </a:lnTo>
                    <a:lnTo>
                      <a:pt x="149" y="75"/>
                    </a:lnTo>
                    <a:lnTo>
                      <a:pt x="149" y="76"/>
                    </a:lnTo>
                    <a:lnTo>
                      <a:pt x="149" y="77"/>
                    </a:lnTo>
                    <a:lnTo>
                      <a:pt x="150" y="78"/>
                    </a:lnTo>
                    <a:lnTo>
                      <a:pt x="149" y="80"/>
                    </a:lnTo>
                    <a:lnTo>
                      <a:pt x="149" y="82"/>
                    </a:lnTo>
                    <a:lnTo>
                      <a:pt x="149" y="83"/>
                    </a:lnTo>
                    <a:lnTo>
                      <a:pt x="149" y="84"/>
                    </a:lnTo>
                    <a:lnTo>
                      <a:pt x="148" y="86"/>
                    </a:lnTo>
                    <a:lnTo>
                      <a:pt x="147" y="86"/>
                    </a:lnTo>
                    <a:lnTo>
                      <a:pt x="144" y="88"/>
                    </a:lnTo>
                    <a:lnTo>
                      <a:pt x="143" y="89"/>
                    </a:lnTo>
                    <a:lnTo>
                      <a:pt x="142" y="90"/>
                    </a:lnTo>
                    <a:lnTo>
                      <a:pt x="139" y="91"/>
                    </a:lnTo>
                    <a:lnTo>
                      <a:pt x="138" y="92"/>
                    </a:lnTo>
                    <a:lnTo>
                      <a:pt x="135" y="93"/>
                    </a:lnTo>
                    <a:lnTo>
                      <a:pt x="129" y="98"/>
                    </a:lnTo>
                    <a:lnTo>
                      <a:pt x="126" y="100"/>
                    </a:lnTo>
                    <a:lnTo>
                      <a:pt x="125" y="100"/>
                    </a:lnTo>
                    <a:lnTo>
                      <a:pt x="124" y="102"/>
                    </a:lnTo>
                    <a:lnTo>
                      <a:pt x="124" y="103"/>
                    </a:lnTo>
                    <a:lnTo>
                      <a:pt x="124" y="104"/>
                    </a:lnTo>
                    <a:lnTo>
                      <a:pt x="124" y="105"/>
                    </a:lnTo>
                    <a:lnTo>
                      <a:pt x="125" y="108"/>
                    </a:lnTo>
                    <a:lnTo>
                      <a:pt x="125" y="109"/>
                    </a:lnTo>
                    <a:lnTo>
                      <a:pt x="127" y="109"/>
                    </a:lnTo>
                    <a:lnTo>
                      <a:pt x="128" y="110"/>
                    </a:lnTo>
                    <a:lnTo>
                      <a:pt x="130" y="110"/>
                    </a:lnTo>
                    <a:lnTo>
                      <a:pt x="134" y="110"/>
                    </a:lnTo>
                    <a:lnTo>
                      <a:pt x="137" y="109"/>
                    </a:lnTo>
                    <a:lnTo>
                      <a:pt x="140" y="108"/>
                    </a:lnTo>
                    <a:lnTo>
                      <a:pt x="142" y="107"/>
                    </a:lnTo>
                    <a:lnTo>
                      <a:pt x="144" y="107"/>
                    </a:lnTo>
                    <a:lnTo>
                      <a:pt x="165" y="98"/>
                    </a:lnTo>
                    <a:lnTo>
                      <a:pt x="169" y="97"/>
                    </a:lnTo>
                    <a:lnTo>
                      <a:pt x="173" y="99"/>
                    </a:lnTo>
                    <a:lnTo>
                      <a:pt x="175" y="100"/>
                    </a:lnTo>
                    <a:lnTo>
                      <a:pt x="176" y="103"/>
                    </a:lnTo>
                    <a:lnTo>
                      <a:pt x="177" y="108"/>
                    </a:lnTo>
                    <a:lnTo>
                      <a:pt x="177" y="130"/>
                    </a:lnTo>
                    <a:lnTo>
                      <a:pt x="177" y="135"/>
                    </a:lnTo>
                    <a:lnTo>
                      <a:pt x="177" y="137"/>
                    </a:lnTo>
                    <a:lnTo>
                      <a:pt x="177" y="138"/>
                    </a:lnTo>
                    <a:lnTo>
                      <a:pt x="178" y="142"/>
                    </a:lnTo>
                    <a:lnTo>
                      <a:pt x="178" y="155"/>
                    </a:lnTo>
                    <a:lnTo>
                      <a:pt x="178" y="156"/>
                    </a:lnTo>
                    <a:lnTo>
                      <a:pt x="178" y="160"/>
                    </a:lnTo>
                    <a:lnTo>
                      <a:pt x="176" y="169"/>
                    </a:lnTo>
                    <a:lnTo>
                      <a:pt x="176" y="170"/>
                    </a:lnTo>
                    <a:lnTo>
                      <a:pt x="172" y="178"/>
                    </a:lnTo>
                    <a:lnTo>
                      <a:pt x="170" y="181"/>
                    </a:lnTo>
                    <a:lnTo>
                      <a:pt x="167" y="186"/>
                    </a:lnTo>
                    <a:lnTo>
                      <a:pt x="166" y="188"/>
                    </a:lnTo>
                    <a:lnTo>
                      <a:pt x="164" y="190"/>
                    </a:lnTo>
                    <a:lnTo>
                      <a:pt x="163" y="192"/>
                    </a:lnTo>
                    <a:lnTo>
                      <a:pt x="158" y="197"/>
                    </a:lnTo>
                    <a:lnTo>
                      <a:pt x="157" y="198"/>
                    </a:lnTo>
                    <a:lnTo>
                      <a:pt x="154" y="201"/>
                    </a:lnTo>
                    <a:lnTo>
                      <a:pt x="152" y="206"/>
                    </a:lnTo>
                    <a:lnTo>
                      <a:pt x="151" y="211"/>
                    </a:lnTo>
                    <a:lnTo>
                      <a:pt x="150" y="214"/>
                    </a:lnTo>
                    <a:lnTo>
                      <a:pt x="151" y="218"/>
                    </a:lnTo>
                    <a:lnTo>
                      <a:pt x="153" y="224"/>
                    </a:lnTo>
                    <a:lnTo>
                      <a:pt x="156" y="226"/>
                    </a:lnTo>
                    <a:lnTo>
                      <a:pt x="162" y="226"/>
                    </a:lnTo>
                    <a:lnTo>
                      <a:pt x="167" y="225"/>
                    </a:lnTo>
                    <a:lnTo>
                      <a:pt x="173" y="223"/>
                    </a:lnTo>
                    <a:lnTo>
                      <a:pt x="179" y="221"/>
                    </a:lnTo>
                    <a:lnTo>
                      <a:pt x="183" y="221"/>
                    </a:lnTo>
                    <a:lnTo>
                      <a:pt x="188" y="223"/>
                    </a:lnTo>
                    <a:lnTo>
                      <a:pt x="193" y="224"/>
                    </a:lnTo>
                    <a:lnTo>
                      <a:pt x="199" y="226"/>
                    </a:lnTo>
                    <a:lnTo>
                      <a:pt x="203" y="227"/>
                    </a:lnTo>
                    <a:lnTo>
                      <a:pt x="205" y="228"/>
                    </a:lnTo>
                    <a:lnTo>
                      <a:pt x="209" y="232"/>
                    </a:lnTo>
                    <a:lnTo>
                      <a:pt x="211" y="237"/>
                    </a:lnTo>
                    <a:lnTo>
                      <a:pt x="211" y="238"/>
                    </a:lnTo>
                    <a:close/>
                  </a:path>
                </a:pathLst>
              </a:custGeom>
              <a:solidFill>
                <a:srgbClr val="58A5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1" name="Freeform 21">
                <a:extLst>
                  <a:ext uri="{FF2B5EF4-FFF2-40B4-BE49-F238E27FC236}">
                    <a16:creationId xmlns:a16="http://schemas.microsoft.com/office/drawing/2014/main" id="{F965230D-E96B-7292-D9EC-4BC97CA73C9D}"/>
                  </a:ext>
                </a:extLst>
              </p:cNvPr>
              <p:cNvSpPr>
                <a:spLocks/>
              </p:cNvSpPr>
              <p:nvPr/>
            </p:nvSpPr>
            <p:spPr bwMode="auto">
              <a:xfrm>
                <a:off x="3795713" y="3762375"/>
                <a:ext cx="458788" cy="458788"/>
              </a:xfrm>
              <a:custGeom>
                <a:avLst/>
                <a:gdLst>
                  <a:gd name="T0" fmla="*/ 241 w 289"/>
                  <a:gd name="T1" fmla="*/ 58 h 289"/>
                  <a:gd name="T2" fmla="*/ 232 w 289"/>
                  <a:gd name="T3" fmla="*/ 67 h 289"/>
                  <a:gd name="T4" fmla="*/ 233 w 289"/>
                  <a:gd name="T5" fmla="*/ 74 h 289"/>
                  <a:gd name="T6" fmla="*/ 228 w 289"/>
                  <a:gd name="T7" fmla="*/ 78 h 289"/>
                  <a:gd name="T8" fmla="*/ 218 w 289"/>
                  <a:gd name="T9" fmla="*/ 81 h 289"/>
                  <a:gd name="T10" fmla="*/ 216 w 289"/>
                  <a:gd name="T11" fmla="*/ 87 h 289"/>
                  <a:gd name="T12" fmla="*/ 211 w 289"/>
                  <a:gd name="T13" fmla="*/ 90 h 289"/>
                  <a:gd name="T14" fmla="*/ 206 w 289"/>
                  <a:gd name="T15" fmla="*/ 94 h 289"/>
                  <a:gd name="T16" fmla="*/ 202 w 289"/>
                  <a:gd name="T17" fmla="*/ 103 h 289"/>
                  <a:gd name="T18" fmla="*/ 211 w 289"/>
                  <a:gd name="T19" fmla="*/ 109 h 289"/>
                  <a:gd name="T20" fmla="*/ 208 w 289"/>
                  <a:gd name="T21" fmla="*/ 122 h 289"/>
                  <a:gd name="T22" fmla="*/ 206 w 289"/>
                  <a:gd name="T23" fmla="*/ 131 h 289"/>
                  <a:gd name="T24" fmla="*/ 205 w 289"/>
                  <a:gd name="T25" fmla="*/ 139 h 289"/>
                  <a:gd name="T26" fmla="*/ 212 w 289"/>
                  <a:gd name="T27" fmla="*/ 148 h 289"/>
                  <a:gd name="T28" fmla="*/ 212 w 289"/>
                  <a:gd name="T29" fmla="*/ 159 h 289"/>
                  <a:gd name="T30" fmla="*/ 210 w 289"/>
                  <a:gd name="T31" fmla="*/ 169 h 289"/>
                  <a:gd name="T32" fmla="*/ 208 w 289"/>
                  <a:gd name="T33" fmla="*/ 179 h 289"/>
                  <a:gd name="T34" fmla="*/ 202 w 289"/>
                  <a:gd name="T35" fmla="*/ 191 h 289"/>
                  <a:gd name="T36" fmla="*/ 210 w 289"/>
                  <a:gd name="T37" fmla="*/ 199 h 289"/>
                  <a:gd name="T38" fmla="*/ 207 w 289"/>
                  <a:gd name="T39" fmla="*/ 212 h 289"/>
                  <a:gd name="T40" fmla="*/ 218 w 289"/>
                  <a:gd name="T41" fmla="*/ 220 h 289"/>
                  <a:gd name="T42" fmla="*/ 211 w 289"/>
                  <a:gd name="T43" fmla="*/ 228 h 289"/>
                  <a:gd name="T44" fmla="*/ 221 w 289"/>
                  <a:gd name="T45" fmla="*/ 234 h 289"/>
                  <a:gd name="T46" fmla="*/ 227 w 289"/>
                  <a:gd name="T47" fmla="*/ 237 h 289"/>
                  <a:gd name="T48" fmla="*/ 233 w 289"/>
                  <a:gd name="T49" fmla="*/ 246 h 289"/>
                  <a:gd name="T50" fmla="*/ 234 w 289"/>
                  <a:gd name="T51" fmla="*/ 251 h 289"/>
                  <a:gd name="T52" fmla="*/ 245 w 289"/>
                  <a:gd name="T53" fmla="*/ 255 h 289"/>
                  <a:gd name="T54" fmla="*/ 250 w 289"/>
                  <a:gd name="T55" fmla="*/ 257 h 289"/>
                  <a:gd name="T56" fmla="*/ 259 w 289"/>
                  <a:gd name="T57" fmla="*/ 264 h 289"/>
                  <a:gd name="T58" fmla="*/ 250 w 289"/>
                  <a:gd name="T59" fmla="*/ 269 h 289"/>
                  <a:gd name="T60" fmla="*/ 238 w 289"/>
                  <a:gd name="T61" fmla="*/ 269 h 289"/>
                  <a:gd name="T62" fmla="*/ 226 w 289"/>
                  <a:gd name="T63" fmla="*/ 268 h 289"/>
                  <a:gd name="T64" fmla="*/ 216 w 289"/>
                  <a:gd name="T65" fmla="*/ 266 h 289"/>
                  <a:gd name="T66" fmla="*/ 205 w 289"/>
                  <a:gd name="T67" fmla="*/ 267 h 289"/>
                  <a:gd name="T68" fmla="*/ 193 w 289"/>
                  <a:gd name="T69" fmla="*/ 272 h 289"/>
                  <a:gd name="T70" fmla="*/ 185 w 289"/>
                  <a:gd name="T71" fmla="*/ 276 h 289"/>
                  <a:gd name="T72" fmla="*/ 174 w 289"/>
                  <a:gd name="T73" fmla="*/ 287 h 289"/>
                  <a:gd name="T74" fmla="*/ 160 w 289"/>
                  <a:gd name="T75" fmla="*/ 285 h 289"/>
                  <a:gd name="T76" fmla="*/ 146 w 289"/>
                  <a:gd name="T77" fmla="*/ 284 h 289"/>
                  <a:gd name="T78" fmla="*/ 131 w 289"/>
                  <a:gd name="T79" fmla="*/ 285 h 289"/>
                  <a:gd name="T80" fmla="*/ 120 w 289"/>
                  <a:gd name="T81" fmla="*/ 288 h 289"/>
                  <a:gd name="T82" fmla="*/ 108 w 289"/>
                  <a:gd name="T83" fmla="*/ 284 h 289"/>
                  <a:gd name="T84" fmla="*/ 69 w 289"/>
                  <a:gd name="T85" fmla="*/ 266 h 289"/>
                  <a:gd name="T86" fmla="*/ 62 w 289"/>
                  <a:gd name="T87" fmla="*/ 231 h 289"/>
                  <a:gd name="T88" fmla="*/ 73 w 289"/>
                  <a:gd name="T89" fmla="*/ 151 h 289"/>
                  <a:gd name="T90" fmla="*/ 21 w 289"/>
                  <a:gd name="T91" fmla="*/ 152 h 289"/>
                  <a:gd name="T92" fmla="*/ 40 w 289"/>
                  <a:gd name="T93" fmla="*/ 131 h 289"/>
                  <a:gd name="T94" fmla="*/ 43 w 289"/>
                  <a:gd name="T95" fmla="*/ 114 h 289"/>
                  <a:gd name="T96" fmla="*/ 12 w 289"/>
                  <a:gd name="T97" fmla="*/ 104 h 289"/>
                  <a:gd name="T98" fmla="*/ 1 w 289"/>
                  <a:gd name="T99" fmla="*/ 87 h 289"/>
                  <a:gd name="T100" fmla="*/ 13 w 289"/>
                  <a:gd name="T101" fmla="*/ 66 h 289"/>
                  <a:gd name="T102" fmla="*/ 14 w 289"/>
                  <a:gd name="T103" fmla="*/ 45 h 289"/>
                  <a:gd name="T104" fmla="*/ 31 w 289"/>
                  <a:gd name="T105" fmla="*/ 16 h 289"/>
                  <a:gd name="T106" fmla="*/ 91 w 289"/>
                  <a:gd name="T107" fmla="*/ 7 h 289"/>
                  <a:gd name="T108" fmla="*/ 177 w 289"/>
                  <a:gd name="T109" fmla="*/ 4 h 289"/>
                  <a:gd name="T110" fmla="*/ 262 w 289"/>
                  <a:gd name="T111" fmla="*/ 1 h 289"/>
                  <a:gd name="T112" fmla="*/ 289 w 289"/>
                  <a:gd name="T113" fmla="*/ 7 h 289"/>
                  <a:gd name="T114" fmla="*/ 284 w 289"/>
                  <a:gd name="T115" fmla="*/ 13 h 289"/>
                  <a:gd name="T116" fmla="*/ 278 w 289"/>
                  <a:gd name="T117" fmla="*/ 19 h 289"/>
                  <a:gd name="T118" fmla="*/ 269 w 289"/>
                  <a:gd name="T119" fmla="*/ 24 h 289"/>
                  <a:gd name="T120" fmla="*/ 262 w 289"/>
                  <a:gd name="T121" fmla="*/ 32 h 289"/>
                  <a:gd name="T122" fmla="*/ 257 w 289"/>
                  <a:gd name="T123" fmla="*/ 39 h 289"/>
                  <a:gd name="T124" fmla="*/ 254 w 289"/>
                  <a:gd name="T125" fmla="*/ 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289">
                    <a:moveTo>
                      <a:pt x="249" y="50"/>
                    </a:moveTo>
                    <a:lnTo>
                      <a:pt x="249" y="51"/>
                    </a:lnTo>
                    <a:lnTo>
                      <a:pt x="249" y="52"/>
                    </a:lnTo>
                    <a:lnTo>
                      <a:pt x="247" y="52"/>
                    </a:lnTo>
                    <a:lnTo>
                      <a:pt x="246" y="51"/>
                    </a:lnTo>
                    <a:lnTo>
                      <a:pt x="245" y="51"/>
                    </a:lnTo>
                    <a:lnTo>
                      <a:pt x="245" y="52"/>
                    </a:lnTo>
                    <a:lnTo>
                      <a:pt x="244" y="53"/>
                    </a:lnTo>
                    <a:lnTo>
                      <a:pt x="244" y="54"/>
                    </a:lnTo>
                    <a:lnTo>
                      <a:pt x="244" y="55"/>
                    </a:lnTo>
                    <a:lnTo>
                      <a:pt x="244" y="56"/>
                    </a:lnTo>
                    <a:lnTo>
                      <a:pt x="244" y="57"/>
                    </a:lnTo>
                    <a:lnTo>
                      <a:pt x="242" y="58"/>
                    </a:lnTo>
                    <a:lnTo>
                      <a:pt x="241" y="58"/>
                    </a:lnTo>
                    <a:lnTo>
                      <a:pt x="241" y="57"/>
                    </a:lnTo>
                    <a:lnTo>
                      <a:pt x="240" y="57"/>
                    </a:lnTo>
                    <a:lnTo>
                      <a:pt x="239" y="57"/>
                    </a:lnTo>
                    <a:lnTo>
                      <a:pt x="238" y="58"/>
                    </a:lnTo>
                    <a:lnTo>
                      <a:pt x="238" y="60"/>
                    </a:lnTo>
                    <a:lnTo>
                      <a:pt x="237" y="61"/>
                    </a:lnTo>
                    <a:lnTo>
                      <a:pt x="237" y="62"/>
                    </a:lnTo>
                    <a:lnTo>
                      <a:pt x="236" y="63"/>
                    </a:lnTo>
                    <a:lnTo>
                      <a:pt x="234" y="63"/>
                    </a:lnTo>
                    <a:lnTo>
                      <a:pt x="234" y="64"/>
                    </a:lnTo>
                    <a:lnTo>
                      <a:pt x="233" y="65"/>
                    </a:lnTo>
                    <a:lnTo>
                      <a:pt x="233" y="66"/>
                    </a:lnTo>
                    <a:lnTo>
                      <a:pt x="232" y="66"/>
                    </a:lnTo>
                    <a:lnTo>
                      <a:pt x="232" y="67"/>
                    </a:lnTo>
                    <a:lnTo>
                      <a:pt x="232" y="68"/>
                    </a:lnTo>
                    <a:lnTo>
                      <a:pt x="231" y="68"/>
                    </a:lnTo>
                    <a:lnTo>
                      <a:pt x="230" y="69"/>
                    </a:lnTo>
                    <a:lnTo>
                      <a:pt x="230" y="70"/>
                    </a:lnTo>
                    <a:lnTo>
                      <a:pt x="230" y="71"/>
                    </a:lnTo>
                    <a:lnTo>
                      <a:pt x="231" y="71"/>
                    </a:lnTo>
                    <a:lnTo>
                      <a:pt x="232" y="71"/>
                    </a:lnTo>
                    <a:lnTo>
                      <a:pt x="233" y="70"/>
                    </a:lnTo>
                    <a:lnTo>
                      <a:pt x="233" y="69"/>
                    </a:lnTo>
                    <a:lnTo>
                      <a:pt x="234" y="70"/>
                    </a:lnTo>
                    <a:lnTo>
                      <a:pt x="236" y="71"/>
                    </a:lnTo>
                    <a:lnTo>
                      <a:pt x="234" y="73"/>
                    </a:lnTo>
                    <a:lnTo>
                      <a:pt x="233" y="73"/>
                    </a:lnTo>
                    <a:lnTo>
                      <a:pt x="233" y="74"/>
                    </a:lnTo>
                    <a:lnTo>
                      <a:pt x="233" y="75"/>
                    </a:lnTo>
                    <a:lnTo>
                      <a:pt x="234" y="75"/>
                    </a:lnTo>
                    <a:lnTo>
                      <a:pt x="234" y="76"/>
                    </a:lnTo>
                    <a:lnTo>
                      <a:pt x="233" y="76"/>
                    </a:lnTo>
                    <a:lnTo>
                      <a:pt x="233" y="75"/>
                    </a:lnTo>
                    <a:lnTo>
                      <a:pt x="232" y="75"/>
                    </a:lnTo>
                    <a:lnTo>
                      <a:pt x="232" y="76"/>
                    </a:lnTo>
                    <a:lnTo>
                      <a:pt x="231" y="76"/>
                    </a:lnTo>
                    <a:lnTo>
                      <a:pt x="231" y="77"/>
                    </a:lnTo>
                    <a:lnTo>
                      <a:pt x="231" y="78"/>
                    </a:lnTo>
                    <a:lnTo>
                      <a:pt x="230" y="78"/>
                    </a:lnTo>
                    <a:lnTo>
                      <a:pt x="229" y="79"/>
                    </a:lnTo>
                    <a:lnTo>
                      <a:pt x="228" y="79"/>
                    </a:lnTo>
                    <a:lnTo>
                      <a:pt x="228" y="78"/>
                    </a:lnTo>
                    <a:lnTo>
                      <a:pt x="227" y="78"/>
                    </a:lnTo>
                    <a:lnTo>
                      <a:pt x="226" y="78"/>
                    </a:lnTo>
                    <a:lnTo>
                      <a:pt x="226" y="79"/>
                    </a:lnTo>
                    <a:lnTo>
                      <a:pt x="226" y="80"/>
                    </a:lnTo>
                    <a:lnTo>
                      <a:pt x="226" y="81"/>
                    </a:lnTo>
                    <a:lnTo>
                      <a:pt x="225" y="81"/>
                    </a:lnTo>
                    <a:lnTo>
                      <a:pt x="224" y="81"/>
                    </a:lnTo>
                    <a:lnTo>
                      <a:pt x="223" y="81"/>
                    </a:lnTo>
                    <a:lnTo>
                      <a:pt x="221" y="81"/>
                    </a:lnTo>
                    <a:lnTo>
                      <a:pt x="220" y="81"/>
                    </a:lnTo>
                    <a:lnTo>
                      <a:pt x="219" y="81"/>
                    </a:lnTo>
                    <a:lnTo>
                      <a:pt x="219" y="80"/>
                    </a:lnTo>
                    <a:lnTo>
                      <a:pt x="218" y="80"/>
                    </a:lnTo>
                    <a:lnTo>
                      <a:pt x="218" y="81"/>
                    </a:lnTo>
                    <a:lnTo>
                      <a:pt x="218" y="82"/>
                    </a:lnTo>
                    <a:lnTo>
                      <a:pt x="219" y="83"/>
                    </a:lnTo>
                    <a:lnTo>
                      <a:pt x="220" y="83"/>
                    </a:lnTo>
                    <a:lnTo>
                      <a:pt x="220" y="84"/>
                    </a:lnTo>
                    <a:lnTo>
                      <a:pt x="219" y="86"/>
                    </a:lnTo>
                    <a:lnTo>
                      <a:pt x="218" y="86"/>
                    </a:lnTo>
                    <a:lnTo>
                      <a:pt x="217" y="86"/>
                    </a:lnTo>
                    <a:lnTo>
                      <a:pt x="217" y="84"/>
                    </a:lnTo>
                    <a:lnTo>
                      <a:pt x="218" y="84"/>
                    </a:lnTo>
                    <a:lnTo>
                      <a:pt x="217" y="83"/>
                    </a:lnTo>
                    <a:lnTo>
                      <a:pt x="217" y="84"/>
                    </a:lnTo>
                    <a:lnTo>
                      <a:pt x="216" y="84"/>
                    </a:lnTo>
                    <a:lnTo>
                      <a:pt x="216" y="86"/>
                    </a:lnTo>
                    <a:lnTo>
                      <a:pt x="216" y="87"/>
                    </a:lnTo>
                    <a:lnTo>
                      <a:pt x="216" y="88"/>
                    </a:lnTo>
                    <a:lnTo>
                      <a:pt x="216" y="89"/>
                    </a:lnTo>
                    <a:lnTo>
                      <a:pt x="215" y="89"/>
                    </a:lnTo>
                    <a:lnTo>
                      <a:pt x="214" y="89"/>
                    </a:lnTo>
                    <a:lnTo>
                      <a:pt x="214" y="88"/>
                    </a:lnTo>
                    <a:lnTo>
                      <a:pt x="215" y="88"/>
                    </a:lnTo>
                    <a:lnTo>
                      <a:pt x="215" y="87"/>
                    </a:lnTo>
                    <a:lnTo>
                      <a:pt x="214" y="87"/>
                    </a:lnTo>
                    <a:lnTo>
                      <a:pt x="213" y="87"/>
                    </a:lnTo>
                    <a:lnTo>
                      <a:pt x="212" y="87"/>
                    </a:lnTo>
                    <a:lnTo>
                      <a:pt x="211" y="87"/>
                    </a:lnTo>
                    <a:lnTo>
                      <a:pt x="211" y="88"/>
                    </a:lnTo>
                    <a:lnTo>
                      <a:pt x="211" y="89"/>
                    </a:lnTo>
                    <a:lnTo>
                      <a:pt x="211" y="90"/>
                    </a:lnTo>
                    <a:lnTo>
                      <a:pt x="210" y="90"/>
                    </a:lnTo>
                    <a:lnTo>
                      <a:pt x="208" y="90"/>
                    </a:lnTo>
                    <a:lnTo>
                      <a:pt x="208" y="89"/>
                    </a:lnTo>
                    <a:lnTo>
                      <a:pt x="207" y="89"/>
                    </a:lnTo>
                    <a:lnTo>
                      <a:pt x="207" y="90"/>
                    </a:lnTo>
                    <a:lnTo>
                      <a:pt x="207" y="91"/>
                    </a:lnTo>
                    <a:lnTo>
                      <a:pt x="207" y="92"/>
                    </a:lnTo>
                    <a:lnTo>
                      <a:pt x="206" y="92"/>
                    </a:lnTo>
                    <a:lnTo>
                      <a:pt x="206" y="91"/>
                    </a:lnTo>
                    <a:lnTo>
                      <a:pt x="205" y="91"/>
                    </a:lnTo>
                    <a:lnTo>
                      <a:pt x="205" y="92"/>
                    </a:lnTo>
                    <a:lnTo>
                      <a:pt x="206" y="92"/>
                    </a:lnTo>
                    <a:lnTo>
                      <a:pt x="206" y="93"/>
                    </a:lnTo>
                    <a:lnTo>
                      <a:pt x="206" y="94"/>
                    </a:lnTo>
                    <a:lnTo>
                      <a:pt x="206" y="95"/>
                    </a:lnTo>
                    <a:lnTo>
                      <a:pt x="205" y="95"/>
                    </a:lnTo>
                    <a:lnTo>
                      <a:pt x="204" y="95"/>
                    </a:lnTo>
                    <a:lnTo>
                      <a:pt x="203" y="95"/>
                    </a:lnTo>
                    <a:lnTo>
                      <a:pt x="202" y="96"/>
                    </a:lnTo>
                    <a:lnTo>
                      <a:pt x="203" y="96"/>
                    </a:lnTo>
                    <a:lnTo>
                      <a:pt x="203" y="97"/>
                    </a:lnTo>
                    <a:lnTo>
                      <a:pt x="203" y="99"/>
                    </a:lnTo>
                    <a:lnTo>
                      <a:pt x="204" y="99"/>
                    </a:lnTo>
                    <a:lnTo>
                      <a:pt x="204" y="100"/>
                    </a:lnTo>
                    <a:lnTo>
                      <a:pt x="203" y="101"/>
                    </a:lnTo>
                    <a:lnTo>
                      <a:pt x="202" y="101"/>
                    </a:lnTo>
                    <a:lnTo>
                      <a:pt x="202" y="102"/>
                    </a:lnTo>
                    <a:lnTo>
                      <a:pt x="202" y="103"/>
                    </a:lnTo>
                    <a:lnTo>
                      <a:pt x="201" y="104"/>
                    </a:lnTo>
                    <a:lnTo>
                      <a:pt x="201" y="105"/>
                    </a:lnTo>
                    <a:lnTo>
                      <a:pt x="202" y="105"/>
                    </a:lnTo>
                    <a:lnTo>
                      <a:pt x="203" y="105"/>
                    </a:lnTo>
                    <a:lnTo>
                      <a:pt x="204" y="105"/>
                    </a:lnTo>
                    <a:lnTo>
                      <a:pt x="205" y="105"/>
                    </a:lnTo>
                    <a:lnTo>
                      <a:pt x="205" y="106"/>
                    </a:lnTo>
                    <a:lnTo>
                      <a:pt x="205" y="107"/>
                    </a:lnTo>
                    <a:lnTo>
                      <a:pt x="207" y="107"/>
                    </a:lnTo>
                    <a:lnTo>
                      <a:pt x="208" y="107"/>
                    </a:lnTo>
                    <a:lnTo>
                      <a:pt x="208" y="108"/>
                    </a:lnTo>
                    <a:lnTo>
                      <a:pt x="208" y="109"/>
                    </a:lnTo>
                    <a:lnTo>
                      <a:pt x="210" y="109"/>
                    </a:lnTo>
                    <a:lnTo>
                      <a:pt x="211" y="109"/>
                    </a:lnTo>
                    <a:lnTo>
                      <a:pt x="211" y="110"/>
                    </a:lnTo>
                    <a:lnTo>
                      <a:pt x="212" y="110"/>
                    </a:lnTo>
                    <a:lnTo>
                      <a:pt x="212" y="112"/>
                    </a:lnTo>
                    <a:lnTo>
                      <a:pt x="211" y="112"/>
                    </a:lnTo>
                    <a:lnTo>
                      <a:pt x="211" y="113"/>
                    </a:lnTo>
                    <a:lnTo>
                      <a:pt x="211" y="114"/>
                    </a:lnTo>
                    <a:lnTo>
                      <a:pt x="211" y="115"/>
                    </a:lnTo>
                    <a:lnTo>
                      <a:pt x="211" y="116"/>
                    </a:lnTo>
                    <a:lnTo>
                      <a:pt x="211" y="117"/>
                    </a:lnTo>
                    <a:lnTo>
                      <a:pt x="211" y="119"/>
                    </a:lnTo>
                    <a:lnTo>
                      <a:pt x="211" y="120"/>
                    </a:lnTo>
                    <a:lnTo>
                      <a:pt x="210" y="121"/>
                    </a:lnTo>
                    <a:lnTo>
                      <a:pt x="208" y="121"/>
                    </a:lnTo>
                    <a:lnTo>
                      <a:pt x="208" y="122"/>
                    </a:lnTo>
                    <a:lnTo>
                      <a:pt x="208" y="123"/>
                    </a:lnTo>
                    <a:lnTo>
                      <a:pt x="210" y="125"/>
                    </a:lnTo>
                    <a:lnTo>
                      <a:pt x="211" y="125"/>
                    </a:lnTo>
                    <a:lnTo>
                      <a:pt x="211" y="126"/>
                    </a:lnTo>
                    <a:lnTo>
                      <a:pt x="211" y="127"/>
                    </a:lnTo>
                    <a:lnTo>
                      <a:pt x="210" y="127"/>
                    </a:lnTo>
                    <a:lnTo>
                      <a:pt x="210" y="128"/>
                    </a:lnTo>
                    <a:lnTo>
                      <a:pt x="208" y="128"/>
                    </a:lnTo>
                    <a:lnTo>
                      <a:pt x="207" y="129"/>
                    </a:lnTo>
                    <a:lnTo>
                      <a:pt x="206" y="129"/>
                    </a:lnTo>
                    <a:lnTo>
                      <a:pt x="205" y="129"/>
                    </a:lnTo>
                    <a:lnTo>
                      <a:pt x="205" y="130"/>
                    </a:lnTo>
                    <a:lnTo>
                      <a:pt x="205" y="131"/>
                    </a:lnTo>
                    <a:lnTo>
                      <a:pt x="206" y="131"/>
                    </a:lnTo>
                    <a:lnTo>
                      <a:pt x="205" y="132"/>
                    </a:lnTo>
                    <a:lnTo>
                      <a:pt x="204" y="132"/>
                    </a:lnTo>
                    <a:lnTo>
                      <a:pt x="204" y="133"/>
                    </a:lnTo>
                    <a:lnTo>
                      <a:pt x="203" y="133"/>
                    </a:lnTo>
                    <a:lnTo>
                      <a:pt x="203" y="134"/>
                    </a:lnTo>
                    <a:lnTo>
                      <a:pt x="204" y="134"/>
                    </a:lnTo>
                    <a:lnTo>
                      <a:pt x="205" y="134"/>
                    </a:lnTo>
                    <a:lnTo>
                      <a:pt x="206" y="134"/>
                    </a:lnTo>
                    <a:lnTo>
                      <a:pt x="206" y="135"/>
                    </a:lnTo>
                    <a:lnTo>
                      <a:pt x="207" y="136"/>
                    </a:lnTo>
                    <a:lnTo>
                      <a:pt x="207" y="138"/>
                    </a:lnTo>
                    <a:lnTo>
                      <a:pt x="207" y="139"/>
                    </a:lnTo>
                    <a:lnTo>
                      <a:pt x="206" y="139"/>
                    </a:lnTo>
                    <a:lnTo>
                      <a:pt x="205" y="139"/>
                    </a:lnTo>
                    <a:lnTo>
                      <a:pt x="205" y="140"/>
                    </a:lnTo>
                    <a:lnTo>
                      <a:pt x="204" y="140"/>
                    </a:lnTo>
                    <a:lnTo>
                      <a:pt x="205" y="140"/>
                    </a:lnTo>
                    <a:lnTo>
                      <a:pt x="207" y="141"/>
                    </a:lnTo>
                    <a:lnTo>
                      <a:pt x="207" y="142"/>
                    </a:lnTo>
                    <a:lnTo>
                      <a:pt x="205" y="143"/>
                    </a:lnTo>
                    <a:lnTo>
                      <a:pt x="206" y="143"/>
                    </a:lnTo>
                    <a:lnTo>
                      <a:pt x="206" y="144"/>
                    </a:lnTo>
                    <a:lnTo>
                      <a:pt x="207" y="145"/>
                    </a:lnTo>
                    <a:lnTo>
                      <a:pt x="208" y="145"/>
                    </a:lnTo>
                    <a:lnTo>
                      <a:pt x="210" y="146"/>
                    </a:lnTo>
                    <a:lnTo>
                      <a:pt x="211" y="147"/>
                    </a:lnTo>
                    <a:lnTo>
                      <a:pt x="212" y="147"/>
                    </a:lnTo>
                    <a:lnTo>
                      <a:pt x="212" y="148"/>
                    </a:lnTo>
                    <a:lnTo>
                      <a:pt x="212" y="150"/>
                    </a:lnTo>
                    <a:lnTo>
                      <a:pt x="212" y="151"/>
                    </a:lnTo>
                    <a:lnTo>
                      <a:pt x="213" y="152"/>
                    </a:lnTo>
                    <a:lnTo>
                      <a:pt x="214" y="153"/>
                    </a:lnTo>
                    <a:lnTo>
                      <a:pt x="213" y="153"/>
                    </a:lnTo>
                    <a:lnTo>
                      <a:pt x="212" y="154"/>
                    </a:lnTo>
                    <a:lnTo>
                      <a:pt x="210" y="155"/>
                    </a:lnTo>
                    <a:lnTo>
                      <a:pt x="208" y="156"/>
                    </a:lnTo>
                    <a:lnTo>
                      <a:pt x="208" y="157"/>
                    </a:lnTo>
                    <a:lnTo>
                      <a:pt x="210" y="158"/>
                    </a:lnTo>
                    <a:lnTo>
                      <a:pt x="211" y="157"/>
                    </a:lnTo>
                    <a:lnTo>
                      <a:pt x="212" y="157"/>
                    </a:lnTo>
                    <a:lnTo>
                      <a:pt x="212" y="158"/>
                    </a:lnTo>
                    <a:lnTo>
                      <a:pt x="212" y="159"/>
                    </a:lnTo>
                    <a:lnTo>
                      <a:pt x="213" y="160"/>
                    </a:lnTo>
                    <a:lnTo>
                      <a:pt x="212" y="161"/>
                    </a:lnTo>
                    <a:lnTo>
                      <a:pt x="211" y="161"/>
                    </a:lnTo>
                    <a:lnTo>
                      <a:pt x="211" y="163"/>
                    </a:lnTo>
                    <a:lnTo>
                      <a:pt x="211" y="164"/>
                    </a:lnTo>
                    <a:lnTo>
                      <a:pt x="211" y="165"/>
                    </a:lnTo>
                    <a:lnTo>
                      <a:pt x="211" y="166"/>
                    </a:lnTo>
                    <a:lnTo>
                      <a:pt x="212" y="166"/>
                    </a:lnTo>
                    <a:lnTo>
                      <a:pt x="211" y="166"/>
                    </a:lnTo>
                    <a:lnTo>
                      <a:pt x="210" y="167"/>
                    </a:lnTo>
                    <a:lnTo>
                      <a:pt x="208" y="167"/>
                    </a:lnTo>
                    <a:lnTo>
                      <a:pt x="208" y="168"/>
                    </a:lnTo>
                    <a:lnTo>
                      <a:pt x="210" y="168"/>
                    </a:lnTo>
                    <a:lnTo>
                      <a:pt x="210" y="169"/>
                    </a:lnTo>
                    <a:lnTo>
                      <a:pt x="208" y="169"/>
                    </a:lnTo>
                    <a:lnTo>
                      <a:pt x="208" y="170"/>
                    </a:lnTo>
                    <a:lnTo>
                      <a:pt x="207" y="170"/>
                    </a:lnTo>
                    <a:lnTo>
                      <a:pt x="206" y="170"/>
                    </a:lnTo>
                    <a:lnTo>
                      <a:pt x="207" y="171"/>
                    </a:lnTo>
                    <a:lnTo>
                      <a:pt x="207" y="172"/>
                    </a:lnTo>
                    <a:lnTo>
                      <a:pt x="208" y="172"/>
                    </a:lnTo>
                    <a:lnTo>
                      <a:pt x="210" y="173"/>
                    </a:lnTo>
                    <a:lnTo>
                      <a:pt x="208" y="174"/>
                    </a:lnTo>
                    <a:lnTo>
                      <a:pt x="210" y="176"/>
                    </a:lnTo>
                    <a:lnTo>
                      <a:pt x="210" y="177"/>
                    </a:lnTo>
                    <a:lnTo>
                      <a:pt x="210" y="178"/>
                    </a:lnTo>
                    <a:lnTo>
                      <a:pt x="208" y="178"/>
                    </a:lnTo>
                    <a:lnTo>
                      <a:pt x="208" y="179"/>
                    </a:lnTo>
                    <a:lnTo>
                      <a:pt x="207" y="179"/>
                    </a:lnTo>
                    <a:lnTo>
                      <a:pt x="206" y="179"/>
                    </a:lnTo>
                    <a:lnTo>
                      <a:pt x="205" y="179"/>
                    </a:lnTo>
                    <a:lnTo>
                      <a:pt x="205" y="180"/>
                    </a:lnTo>
                    <a:lnTo>
                      <a:pt x="204" y="179"/>
                    </a:lnTo>
                    <a:lnTo>
                      <a:pt x="203" y="179"/>
                    </a:lnTo>
                    <a:lnTo>
                      <a:pt x="202" y="179"/>
                    </a:lnTo>
                    <a:lnTo>
                      <a:pt x="202" y="180"/>
                    </a:lnTo>
                    <a:lnTo>
                      <a:pt x="201" y="180"/>
                    </a:lnTo>
                    <a:lnTo>
                      <a:pt x="200" y="181"/>
                    </a:lnTo>
                    <a:lnTo>
                      <a:pt x="199" y="182"/>
                    </a:lnTo>
                    <a:lnTo>
                      <a:pt x="201" y="187"/>
                    </a:lnTo>
                    <a:lnTo>
                      <a:pt x="205" y="190"/>
                    </a:lnTo>
                    <a:lnTo>
                      <a:pt x="202" y="191"/>
                    </a:lnTo>
                    <a:lnTo>
                      <a:pt x="203" y="193"/>
                    </a:lnTo>
                    <a:lnTo>
                      <a:pt x="203" y="194"/>
                    </a:lnTo>
                    <a:lnTo>
                      <a:pt x="203" y="195"/>
                    </a:lnTo>
                    <a:lnTo>
                      <a:pt x="204" y="195"/>
                    </a:lnTo>
                    <a:lnTo>
                      <a:pt x="205" y="196"/>
                    </a:lnTo>
                    <a:lnTo>
                      <a:pt x="205" y="197"/>
                    </a:lnTo>
                    <a:lnTo>
                      <a:pt x="206" y="198"/>
                    </a:lnTo>
                    <a:lnTo>
                      <a:pt x="207" y="198"/>
                    </a:lnTo>
                    <a:lnTo>
                      <a:pt x="207" y="199"/>
                    </a:lnTo>
                    <a:lnTo>
                      <a:pt x="208" y="199"/>
                    </a:lnTo>
                    <a:lnTo>
                      <a:pt x="210" y="198"/>
                    </a:lnTo>
                    <a:lnTo>
                      <a:pt x="211" y="198"/>
                    </a:lnTo>
                    <a:lnTo>
                      <a:pt x="211" y="199"/>
                    </a:lnTo>
                    <a:lnTo>
                      <a:pt x="210" y="199"/>
                    </a:lnTo>
                    <a:lnTo>
                      <a:pt x="210" y="200"/>
                    </a:lnTo>
                    <a:lnTo>
                      <a:pt x="208" y="202"/>
                    </a:lnTo>
                    <a:lnTo>
                      <a:pt x="207" y="203"/>
                    </a:lnTo>
                    <a:lnTo>
                      <a:pt x="206" y="203"/>
                    </a:lnTo>
                    <a:lnTo>
                      <a:pt x="205" y="204"/>
                    </a:lnTo>
                    <a:lnTo>
                      <a:pt x="205" y="205"/>
                    </a:lnTo>
                    <a:lnTo>
                      <a:pt x="206" y="206"/>
                    </a:lnTo>
                    <a:lnTo>
                      <a:pt x="206" y="207"/>
                    </a:lnTo>
                    <a:lnTo>
                      <a:pt x="205" y="207"/>
                    </a:lnTo>
                    <a:lnTo>
                      <a:pt x="205" y="208"/>
                    </a:lnTo>
                    <a:lnTo>
                      <a:pt x="204" y="209"/>
                    </a:lnTo>
                    <a:lnTo>
                      <a:pt x="205" y="210"/>
                    </a:lnTo>
                    <a:lnTo>
                      <a:pt x="206" y="211"/>
                    </a:lnTo>
                    <a:lnTo>
                      <a:pt x="207" y="212"/>
                    </a:lnTo>
                    <a:lnTo>
                      <a:pt x="208" y="212"/>
                    </a:lnTo>
                    <a:lnTo>
                      <a:pt x="210" y="212"/>
                    </a:lnTo>
                    <a:lnTo>
                      <a:pt x="211" y="212"/>
                    </a:lnTo>
                    <a:lnTo>
                      <a:pt x="212" y="212"/>
                    </a:lnTo>
                    <a:lnTo>
                      <a:pt x="213" y="212"/>
                    </a:lnTo>
                    <a:lnTo>
                      <a:pt x="214" y="213"/>
                    </a:lnTo>
                    <a:lnTo>
                      <a:pt x="215" y="213"/>
                    </a:lnTo>
                    <a:lnTo>
                      <a:pt x="216" y="213"/>
                    </a:lnTo>
                    <a:lnTo>
                      <a:pt x="215" y="216"/>
                    </a:lnTo>
                    <a:lnTo>
                      <a:pt x="215" y="217"/>
                    </a:lnTo>
                    <a:lnTo>
                      <a:pt x="216" y="217"/>
                    </a:lnTo>
                    <a:lnTo>
                      <a:pt x="216" y="218"/>
                    </a:lnTo>
                    <a:lnTo>
                      <a:pt x="217" y="219"/>
                    </a:lnTo>
                    <a:lnTo>
                      <a:pt x="218" y="220"/>
                    </a:lnTo>
                    <a:lnTo>
                      <a:pt x="219" y="221"/>
                    </a:lnTo>
                    <a:lnTo>
                      <a:pt x="219" y="222"/>
                    </a:lnTo>
                    <a:lnTo>
                      <a:pt x="219" y="223"/>
                    </a:lnTo>
                    <a:lnTo>
                      <a:pt x="218" y="224"/>
                    </a:lnTo>
                    <a:lnTo>
                      <a:pt x="217" y="224"/>
                    </a:lnTo>
                    <a:lnTo>
                      <a:pt x="216" y="224"/>
                    </a:lnTo>
                    <a:lnTo>
                      <a:pt x="215" y="224"/>
                    </a:lnTo>
                    <a:lnTo>
                      <a:pt x="214" y="223"/>
                    </a:lnTo>
                    <a:lnTo>
                      <a:pt x="213" y="223"/>
                    </a:lnTo>
                    <a:lnTo>
                      <a:pt x="212" y="223"/>
                    </a:lnTo>
                    <a:lnTo>
                      <a:pt x="212" y="224"/>
                    </a:lnTo>
                    <a:lnTo>
                      <a:pt x="211" y="225"/>
                    </a:lnTo>
                    <a:lnTo>
                      <a:pt x="211" y="226"/>
                    </a:lnTo>
                    <a:lnTo>
                      <a:pt x="211" y="228"/>
                    </a:lnTo>
                    <a:lnTo>
                      <a:pt x="211" y="229"/>
                    </a:lnTo>
                    <a:lnTo>
                      <a:pt x="212" y="230"/>
                    </a:lnTo>
                    <a:lnTo>
                      <a:pt x="213" y="232"/>
                    </a:lnTo>
                    <a:lnTo>
                      <a:pt x="213" y="233"/>
                    </a:lnTo>
                    <a:lnTo>
                      <a:pt x="213" y="234"/>
                    </a:lnTo>
                    <a:lnTo>
                      <a:pt x="214" y="235"/>
                    </a:lnTo>
                    <a:lnTo>
                      <a:pt x="214" y="234"/>
                    </a:lnTo>
                    <a:lnTo>
                      <a:pt x="215" y="234"/>
                    </a:lnTo>
                    <a:lnTo>
                      <a:pt x="216" y="234"/>
                    </a:lnTo>
                    <a:lnTo>
                      <a:pt x="217" y="235"/>
                    </a:lnTo>
                    <a:lnTo>
                      <a:pt x="218" y="235"/>
                    </a:lnTo>
                    <a:lnTo>
                      <a:pt x="219" y="235"/>
                    </a:lnTo>
                    <a:lnTo>
                      <a:pt x="220" y="234"/>
                    </a:lnTo>
                    <a:lnTo>
                      <a:pt x="221" y="234"/>
                    </a:lnTo>
                    <a:lnTo>
                      <a:pt x="223" y="233"/>
                    </a:lnTo>
                    <a:lnTo>
                      <a:pt x="224" y="232"/>
                    </a:lnTo>
                    <a:lnTo>
                      <a:pt x="225" y="231"/>
                    </a:lnTo>
                    <a:lnTo>
                      <a:pt x="226" y="231"/>
                    </a:lnTo>
                    <a:lnTo>
                      <a:pt x="227" y="231"/>
                    </a:lnTo>
                    <a:lnTo>
                      <a:pt x="227" y="232"/>
                    </a:lnTo>
                    <a:lnTo>
                      <a:pt x="228" y="233"/>
                    </a:lnTo>
                    <a:lnTo>
                      <a:pt x="229" y="233"/>
                    </a:lnTo>
                    <a:lnTo>
                      <a:pt x="229" y="234"/>
                    </a:lnTo>
                    <a:lnTo>
                      <a:pt x="228" y="235"/>
                    </a:lnTo>
                    <a:lnTo>
                      <a:pt x="228" y="236"/>
                    </a:lnTo>
                    <a:lnTo>
                      <a:pt x="227" y="237"/>
                    </a:lnTo>
                    <a:lnTo>
                      <a:pt x="226" y="237"/>
                    </a:lnTo>
                    <a:lnTo>
                      <a:pt x="227" y="237"/>
                    </a:lnTo>
                    <a:lnTo>
                      <a:pt x="227" y="238"/>
                    </a:lnTo>
                    <a:lnTo>
                      <a:pt x="228" y="238"/>
                    </a:lnTo>
                    <a:lnTo>
                      <a:pt x="228" y="240"/>
                    </a:lnTo>
                    <a:lnTo>
                      <a:pt x="227" y="241"/>
                    </a:lnTo>
                    <a:lnTo>
                      <a:pt x="227" y="242"/>
                    </a:lnTo>
                    <a:lnTo>
                      <a:pt x="228" y="242"/>
                    </a:lnTo>
                    <a:lnTo>
                      <a:pt x="228" y="243"/>
                    </a:lnTo>
                    <a:lnTo>
                      <a:pt x="228" y="244"/>
                    </a:lnTo>
                    <a:lnTo>
                      <a:pt x="229" y="244"/>
                    </a:lnTo>
                    <a:lnTo>
                      <a:pt x="229" y="245"/>
                    </a:lnTo>
                    <a:lnTo>
                      <a:pt x="230" y="245"/>
                    </a:lnTo>
                    <a:lnTo>
                      <a:pt x="232" y="245"/>
                    </a:lnTo>
                    <a:lnTo>
                      <a:pt x="232" y="246"/>
                    </a:lnTo>
                    <a:lnTo>
                      <a:pt x="233" y="246"/>
                    </a:lnTo>
                    <a:lnTo>
                      <a:pt x="234" y="246"/>
                    </a:lnTo>
                    <a:lnTo>
                      <a:pt x="236" y="246"/>
                    </a:lnTo>
                    <a:lnTo>
                      <a:pt x="236" y="247"/>
                    </a:lnTo>
                    <a:lnTo>
                      <a:pt x="236" y="248"/>
                    </a:lnTo>
                    <a:lnTo>
                      <a:pt x="234" y="249"/>
                    </a:lnTo>
                    <a:lnTo>
                      <a:pt x="233" y="250"/>
                    </a:lnTo>
                    <a:lnTo>
                      <a:pt x="232" y="250"/>
                    </a:lnTo>
                    <a:lnTo>
                      <a:pt x="232" y="251"/>
                    </a:lnTo>
                    <a:lnTo>
                      <a:pt x="232" y="253"/>
                    </a:lnTo>
                    <a:lnTo>
                      <a:pt x="233" y="253"/>
                    </a:lnTo>
                    <a:lnTo>
                      <a:pt x="233" y="251"/>
                    </a:lnTo>
                    <a:lnTo>
                      <a:pt x="234" y="251"/>
                    </a:lnTo>
                    <a:lnTo>
                      <a:pt x="234" y="250"/>
                    </a:lnTo>
                    <a:lnTo>
                      <a:pt x="234" y="251"/>
                    </a:lnTo>
                    <a:lnTo>
                      <a:pt x="236" y="251"/>
                    </a:lnTo>
                    <a:lnTo>
                      <a:pt x="236" y="253"/>
                    </a:lnTo>
                    <a:lnTo>
                      <a:pt x="237" y="254"/>
                    </a:lnTo>
                    <a:lnTo>
                      <a:pt x="238" y="254"/>
                    </a:lnTo>
                    <a:lnTo>
                      <a:pt x="238" y="253"/>
                    </a:lnTo>
                    <a:lnTo>
                      <a:pt x="239" y="253"/>
                    </a:lnTo>
                    <a:lnTo>
                      <a:pt x="241" y="251"/>
                    </a:lnTo>
                    <a:lnTo>
                      <a:pt x="242" y="251"/>
                    </a:lnTo>
                    <a:lnTo>
                      <a:pt x="243" y="251"/>
                    </a:lnTo>
                    <a:lnTo>
                      <a:pt x="244" y="251"/>
                    </a:lnTo>
                    <a:lnTo>
                      <a:pt x="244" y="253"/>
                    </a:lnTo>
                    <a:lnTo>
                      <a:pt x="244" y="254"/>
                    </a:lnTo>
                    <a:lnTo>
                      <a:pt x="245" y="254"/>
                    </a:lnTo>
                    <a:lnTo>
                      <a:pt x="245" y="255"/>
                    </a:lnTo>
                    <a:lnTo>
                      <a:pt x="245" y="256"/>
                    </a:lnTo>
                    <a:lnTo>
                      <a:pt x="246" y="256"/>
                    </a:lnTo>
                    <a:lnTo>
                      <a:pt x="247" y="256"/>
                    </a:lnTo>
                    <a:lnTo>
                      <a:pt x="249" y="256"/>
                    </a:lnTo>
                    <a:lnTo>
                      <a:pt x="249" y="255"/>
                    </a:lnTo>
                    <a:lnTo>
                      <a:pt x="250" y="255"/>
                    </a:lnTo>
                    <a:lnTo>
                      <a:pt x="251" y="255"/>
                    </a:lnTo>
                    <a:lnTo>
                      <a:pt x="252" y="255"/>
                    </a:lnTo>
                    <a:lnTo>
                      <a:pt x="253" y="255"/>
                    </a:lnTo>
                    <a:lnTo>
                      <a:pt x="253" y="256"/>
                    </a:lnTo>
                    <a:lnTo>
                      <a:pt x="253" y="257"/>
                    </a:lnTo>
                    <a:lnTo>
                      <a:pt x="252" y="257"/>
                    </a:lnTo>
                    <a:lnTo>
                      <a:pt x="251" y="257"/>
                    </a:lnTo>
                    <a:lnTo>
                      <a:pt x="250" y="257"/>
                    </a:lnTo>
                    <a:lnTo>
                      <a:pt x="250" y="258"/>
                    </a:lnTo>
                    <a:lnTo>
                      <a:pt x="251" y="258"/>
                    </a:lnTo>
                    <a:lnTo>
                      <a:pt x="251" y="259"/>
                    </a:lnTo>
                    <a:lnTo>
                      <a:pt x="252" y="259"/>
                    </a:lnTo>
                    <a:lnTo>
                      <a:pt x="253" y="258"/>
                    </a:lnTo>
                    <a:lnTo>
                      <a:pt x="254" y="259"/>
                    </a:lnTo>
                    <a:lnTo>
                      <a:pt x="255" y="261"/>
                    </a:lnTo>
                    <a:lnTo>
                      <a:pt x="255" y="262"/>
                    </a:lnTo>
                    <a:lnTo>
                      <a:pt x="255" y="263"/>
                    </a:lnTo>
                    <a:lnTo>
                      <a:pt x="255" y="264"/>
                    </a:lnTo>
                    <a:lnTo>
                      <a:pt x="256" y="263"/>
                    </a:lnTo>
                    <a:lnTo>
                      <a:pt x="257" y="263"/>
                    </a:lnTo>
                    <a:lnTo>
                      <a:pt x="258" y="264"/>
                    </a:lnTo>
                    <a:lnTo>
                      <a:pt x="259" y="264"/>
                    </a:lnTo>
                    <a:lnTo>
                      <a:pt x="260" y="266"/>
                    </a:lnTo>
                    <a:lnTo>
                      <a:pt x="259" y="266"/>
                    </a:lnTo>
                    <a:lnTo>
                      <a:pt x="258" y="266"/>
                    </a:lnTo>
                    <a:lnTo>
                      <a:pt x="257" y="266"/>
                    </a:lnTo>
                    <a:lnTo>
                      <a:pt x="257" y="267"/>
                    </a:lnTo>
                    <a:lnTo>
                      <a:pt x="256" y="267"/>
                    </a:lnTo>
                    <a:lnTo>
                      <a:pt x="255" y="268"/>
                    </a:lnTo>
                    <a:lnTo>
                      <a:pt x="254" y="268"/>
                    </a:lnTo>
                    <a:lnTo>
                      <a:pt x="253" y="268"/>
                    </a:lnTo>
                    <a:lnTo>
                      <a:pt x="253" y="269"/>
                    </a:lnTo>
                    <a:lnTo>
                      <a:pt x="252" y="269"/>
                    </a:lnTo>
                    <a:lnTo>
                      <a:pt x="252" y="268"/>
                    </a:lnTo>
                    <a:lnTo>
                      <a:pt x="251" y="268"/>
                    </a:lnTo>
                    <a:lnTo>
                      <a:pt x="250" y="269"/>
                    </a:lnTo>
                    <a:lnTo>
                      <a:pt x="249" y="270"/>
                    </a:lnTo>
                    <a:lnTo>
                      <a:pt x="247" y="269"/>
                    </a:lnTo>
                    <a:lnTo>
                      <a:pt x="246" y="269"/>
                    </a:lnTo>
                    <a:lnTo>
                      <a:pt x="245" y="269"/>
                    </a:lnTo>
                    <a:lnTo>
                      <a:pt x="244" y="269"/>
                    </a:lnTo>
                    <a:lnTo>
                      <a:pt x="244" y="268"/>
                    </a:lnTo>
                    <a:lnTo>
                      <a:pt x="244" y="267"/>
                    </a:lnTo>
                    <a:lnTo>
                      <a:pt x="243" y="266"/>
                    </a:lnTo>
                    <a:lnTo>
                      <a:pt x="241" y="266"/>
                    </a:lnTo>
                    <a:lnTo>
                      <a:pt x="240" y="267"/>
                    </a:lnTo>
                    <a:lnTo>
                      <a:pt x="239" y="267"/>
                    </a:lnTo>
                    <a:lnTo>
                      <a:pt x="238" y="267"/>
                    </a:lnTo>
                    <a:lnTo>
                      <a:pt x="238" y="268"/>
                    </a:lnTo>
                    <a:lnTo>
                      <a:pt x="238" y="269"/>
                    </a:lnTo>
                    <a:lnTo>
                      <a:pt x="237" y="269"/>
                    </a:lnTo>
                    <a:lnTo>
                      <a:pt x="237" y="268"/>
                    </a:lnTo>
                    <a:lnTo>
                      <a:pt x="236" y="268"/>
                    </a:lnTo>
                    <a:lnTo>
                      <a:pt x="234" y="269"/>
                    </a:lnTo>
                    <a:lnTo>
                      <a:pt x="233" y="268"/>
                    </a:lnTo>
                    <a:lnTo>
                      <a:pt x="232" y="269"/>
                    </a:lnTo>
                    <a:lnTo>
                      <a:pt x="231" y="269"/>
                    </a:lnTo>
                    <a:lnTo>
                      <a:pt x="230" y="269"/>
                    </a:lnTo>
                    <a:lnTo>
                      <a:pt x="229" y="269"/>
                    </a:lnTo>
                    <a:lnTo>
                      <a:pt x="228" y="269"/>
                    </a:lnTo>
                    <a:lnTo>
                      <a:pt x="228" y="268"/>
                    </a:lnTo>
                    <a:lnTo>
                      <a:pt x="227" y="268"/>
                    </a:lnTo>
                    <a:lnTo>
                      <a:pt x="227" y="267"/>
                    </a:lnTo>
                    <a:lnTo>
                      <a:pt x="226" y="268"/>
                    </a:lnTo>
                    <a:lnTo>
                      <a:pt x="225" y="268"/>
                    </a:lnTo>
                    <a:lnTo>
                      <a:pt x="225" y="267"/>
                    </a:lnTo>
                    <a:lnTo>
                      <a:pt x="226" y="267"/>
                    </a:lnTo>
                    <a:lnTo>
                      <a:pt x="226" y="266"/>
                    </a:lnTo>
                    <a:lnTo>
                      <a:pt x="225" y="266"/>
                    </a:lnTo>
                    <a:lnTo>
                      <a:pt x="224" y="267"/>
                    </a:lnTo>
                    <a:lnTo>
                      <a:pt x="224" y="266"/>
                    </a:lnTo>
                    <a:lnTo>
                      <a:pt x="223" y="266"/>
                    </a:lnTo>
                    <a:lnTo>
                      <a:pt x="221" y="266"/>
                    </a:lnTo>
                    <a:lnTo>
                      <a:pt x="220" y="266"/>
                    </a:lnTo>
                    <a:lnTo>
                      <a:pt x="219" y="266"/>
                    </a:lnTo>
                    <a:lnTo>
                      <a:pt x="218" y="266"/>
                    </a:lnTo>
                    <a:lnTo>
                      <a:pt x="217" y="266"/>
                    </a:lnTo>
                    <a:lnTo>
                      <a:pt x="216" y="266"/>
                    </a:lnTo>
                    <a:lnTo>
                      <a:pt x="216" y="264"/>
                    </a:lnTo>
                    <a:lnTo>
                      <a:pt x="215" y="264"/>
                    </a:lnTo>
                    <a:lnTo>
                      <a:pt x="214" y="264"/>
                    </a:lnTo>
                    <a:lnTo>
                      <a:pt x="214" y="266"/>
                    </a:lnTo>
                    <a:lnTo>
                      <a:pt x="213" y="266"/>
                    </a:lnTo>
                    <a:lnTo>
                      <a:pt x="212" y="266"/>
                    </a:lnTo>
                    <a:lnTo>
                      <a:pt x="212" y="264"/>
                    </a:lnTo>
                    <a:lnTo>
                      <a:pt x="211" y="264"/>
                    </a:lnTo>
                    <a:lnTo>
                      <a:pt x="210" y="264"/>
                    </a:lnTo>
                    <a:lnTo>
                      <a:pt x="208" y="264"/>
                    </a:lnTo>
                    <a:lnTo>
                      <a:pt x="208" y="266"/>
                    </a:lnTo>
                    <a:lnTo>
                      <a:pt x="208" y="267"/>
                    </a:lnTo>
                    <a:lnTo>
                      <a:pt x="207" y="267"/>
                    </a:lnTo>
                    <a:lnTo>
                      <a:pt x="205" y="267"/>
                    </a:lnTo>
                    <a:lnTo>
                      <a:pt x="204" y="267"/>
                    </a:lnTo>
                    <a:lnTo>
                      <a:pt x="203" y="267"/>
                    </a:lnTo>
                    <a:lnTo>
                      <a:pt x="203" y="266"/>
                    </a:lnTo>
                    <a:lnTo>
                      <a:pt x="202" y="266"/>
                    </a:lnTo>
                    <a:lnTo>
                      <a:pt x="201" y="267"/>
                    </a:lnTo>
                    <a:lnTo>
                      <a:pt x="200" y="268"/>
                    </a:lnTo>
                    <a:lnTo>
                      <a:pt x="199" y="268"/>
                    </a:lnTo>
                    <a:lnTo>
                      <a:pt x="198" y="268"/>
                    </a:lnTo>
                    <a:lnTo>
                      <a:pt x="196" y="268"/>
                    </a:lnTo>
                    <a:lnTo>
                      <a:pt x="195" y="269"/>
                    </a:lnTo>
                    <a:lnTo>
                      <a:pt x="194" y="270"/>
                    </a:lnTo>
                    <a:lnTo>
                      <a:pt x="194" y="271"/>
                    </a:lnTo>
                    <a:lnTo>
                      <a:pt x="193" y="271"/>
                    </a:lnTo>
                    <a:lnTo>
                      <a:pt x="193" y="272"/>
                    </a:lnTo>
                    <a:lnTo>
                      <a:pt x="192" y="272"/>
                    </a:lnTo>
                    <a:lnTo>
                      <a:pt x="191" y="272"/>
                    </a:lnTo>
                    <a:lnTo>
                      <a:pt x="190" y="271"/>
                    </a:lnTo>
                    <a:lnTo>
                      <a:pt x="189" y="271"/>
                    </a:lnTo>
                    <a:lnTo>
                      <a:pt x="188" y="272"/>
                    </a:lnTo>
                    <a:lnTo>
                      <a:pt x="187" y="272"/>
                    </a:lnTo>
                    <a:lnTo>
                      <a:pt x="186" y="272"/>
                    </a:lnTo>
                    <a:lnTo>
                      <a:pt x="186" y="273"/>
                    </a:lnTo>
                    <a:lnTo>
                      <a:pt x="185" y="273"/>
                    </a:lnTo>
                    <a:lnTo>
                      <a:pt x="185" y="274"/>
                    </a:lnTo>
                    <a:lnTo>
                      <a:pt x="185" y="275"/>
                    </a:lnTo>
                    <a:lnTo>
                      <a:pt x="186" y="275"/>
                    </a:lnTo>
                    <a:lnTo>
                      <a:pt x="186" y="276"/>
                    </a:lnTo>
                    <a:lnTo>
                      <a:pt x="185" y="276"/>
                    </a:lnTo>
                    <a:lnTo>
                      <a:pt x="185" y="277"/>
                    </a:lnTo>
                    <a:lnTo>
                      <a:pt x="183" y="277"/>
                    </a:lnTo>
                    <a:lnTo>
                      <a:pt x="183" y="279"/>
                    </a:lnTo>
                    <a:lnTo>
                      <a:pt x="182" y="281"/>
                    </a:lnTo>
                    <a:lnTo>
                      <a:pt x="182" y="282"/>
                    </a:lnTo>
                    <a:lnTo>
                      <a:pt x="181" y="282"/>
                    </a:lnTo>
                    <a:lnTo>
                      <a:pt x="181" y="283"/>
                    </a:lnTo>
                    <a:lnTo>
                      <a:pt x="180" y="283"/>
                    </a:lnTo>
                    <a:lnTo>
                      <a:pt x="179" y="284"/>
                    </a:lnTo>
                    <a:lnTo>
                      <a:pt x="178" y="285"/>
                    </a:lnTo>
                    <a:lnTo>
                      <a:pt x="177" y="285"/>
                    </a:lnTo>
                    <a:lnTo>
                      <a:pt x="177" y="286"/>
                    </a:lnTo>
                    <a:lnTo>
                      <a:pt x="176" y="286"/>
                    </a:lnTo>
                    <a:lnTo>
                      <a:pt x="174" y="287"/>
                    </a:lnTo>
                    <a:lnTo>
                      <a:pt x="172" y="287"/>
                    </a:lnTo>
                    <a:lnTo>
                      <a:pt x="170" y="287"/>
                    </a:lnTo>
                    <a:lnTo>
                      <a:pt x="169" y="287"/>
                    </a:lnTo>
                    <a:lnTo>
                      <a:pt x="168" y="287"/>
                    </a:lnTo>
                    <a:lnTo>
                      <a:pt x="167" y="287"/>
                    </a:lnTo>
                    <a:lnTo>
                      <a:pt x="166" y="287"/>
                    </a:lnTo>
                    <a:lnTo>
                      <a:pt x="165" y="286"/>
                    </a:lnTo>
                    <a:lnTo>
                      <a:pt x="164" y="286"/>
                    </a:lnTo>
                    <a:lnTo>
                      <a:pt x="163" y="286"/>
                    </a:lnTo>
                    <a:lnTo>
                      <a:pt x="162" y="286"/>
                    </a:lnTo>
                    <a:lnTo>
                      <a:pt x="161" y="287"/>
                    </a:lnTo>
                    <a:lnTo>
                      <a:pt x="161" y="286"/>
                    </a:lnTo>
                    <a:lnTo>
                      <a:pt x="161" y="285"/>
                    </a:lnTo>
                    <a:lnTo>
                      <a:pt x="160" y="285"/>
                    </a:lnTo>
                    <a:lnTo>
                      <a:pt x="159" y="285"/>
                    </a:lnTo>
                    <a:lnTo>
                      <a:pt x="157" y="286"/>
                    </a:lnTo>
                    <a:lnTo>
                      <a:pt x="157" y="285"/>
                    </a:lnTo>
                    <a:lnTo>
                      <a:pt x="156" y="285"/>
                    </a:lnTo>
                    <a:lnTo>
                      <a:pt x="155" y="285"/>
                    </a:lnTo>
                    <a:lnTo>
                      <a:pt x="155" y="284"/>
                    </a:lnTo>
                    <a:lnTo>
                      <a:pt x="154" y="285"/>
                    </a:lnTo>
                    <a:lnTo>
                      <a:pt x="153" y="284"/>
                    </a:lnTo>
                    <a:lnTo>
                      <a:pt x="152" y="284"/>
                    </a:lnTo>
                    <a:lnTo>
                      <a:pt x="151" y="284"/>
                    </a:lnTo>
                    <a:lnTo>
                      <a:pt x="150" y="284"/>
                    </a:lnTo>
                    <a:lnTo>
                      <a:pt x="148" y="284"/>
                    </a:lnTo>
                    <a:lnTo>
                      <a:pt x="147" y="284"/>
                    </a:lnTo>
                    <a:lnTo>
                      <a:pt x="146" y="284"/>
                    </a:lnTo>
                    <a:lnTo>
                      <a:pt x="144" y="284"/>
                    </a:lnTo>
                    <a:lnTo>
                      <a:pt x="143" y="284"/>
                    </a:lnTo>
                    <a:lnTo>
                      <a:pt x="142" y="284"/>
                    </a:lnTo>
                    <a:lnTo>
                      <a:pt x="141" y="284"/>
                    </a:lnTo>
                    <a:lnTo>
                      <a:pt x="139" y="284"/>
                    </a:lnTo>
                    <a:lnTo>
                      <a:pt x="138" y="284"/>
                    </a:lnTo>
                    <a:lnTo>
                      <a:pt x="137" y="283"/>
                    </a:lnTo>
                    <a:lnTo>
                      <a:pt x="136" y="283"/>
                    </a:lnTo>
                    <a:lnTo>
                      <a:pt x="136" y="284"/>
                    </a:lnTo>
                    <a:lnTo>
                      <a:pt x="135" y="284"/>
                    </a:lnTo>
                    <a:lnTo>
                      <a:pt x="134" y="284"/>
                    </a:lnTo>
                    <a:lnTo>
                      <a:pt x="133" y="284"/>
                    </a:lnTo>
                    <a:lnTo>
                      <a:pt x="131" y="284"/>
                    </a:lnTo>
                    <a:lnTo>
                      <a:pt x="131" y="285"/>
                    </a:lnTo>
                    <a:lnTo>
                      <a:pt x="130" y="285"/>
                    </a:lnTo>
                    <a:lnTo>
                      <a:pt x="129" y="285"/>
                    </a:lnTo>
                    <a:lnTo>
                      <a:pt x="128" y="286"/>
                    </a:lnTo>
                    <a:lnTo>
                      <a:pt x="127" y="286"/>
                    </a:lnTo>
                    <a:lnTo>
                      <a:pt x="127" y="287"/>
                    </a:lnTo>
                    <a:lnTo>
                      <a:pt x="127" y="286"/>
                    </a:lnTo>
                    <a:lnTo>
                      <a:pt x="126" y="287"/>
                    </a:lnTo>
                    <a:lnTo>
                      <a:pt x="125" y="287"/>
                    </a:lnTo>
                    <a:lnTo>
                      <a:pt x="124" y="287"/>
                    </a:lnTo>
                    <a:lnTo>
                      <a:pt x="124" y="288"/>
                    </a:lnTo>
                    <a:lnTo>
                      <a:pt x="123" y="288"/>
                    </a:lnTo>
                    <a:lnTo>
                      <a:pt x="122" y="289"/>
                    </a:lnTo>
                    <a:lnTo>
                      <a:pt x="121" y="288"/>
                    </a:lnTo>
                    <a:lnTo>
                      <a:pt x="120" y="288"/>
                    </a:lnTo>
                    <a:lnTo>
                      <a:pt x="118" y="288"/>
                    </a:lnTo>
                    <a:lnTo>
                      <a:pt x="117" y="288"/>
                    </a:lnTo>
                    <a:lnTo>
                      <a:pt x="116" y="288"/>
                    </a:lnTo>
                    <a:lnTo>
                      <a:pt x="115" y="288"/>
                    </a:lnTo>
                    <a:lnTo>
                      <a:pt x="115" y="287"/>
                    </a:lnTo>
                    <a:lnTo>
                      <a:pt x="114" y="288"/>
                    </a:lnTo>
                    <a:lnTo>
                      <a:pt x="113" y="288"/>
                    </a:lnTo>
                    <a:lnTo>
                      <a:pt x="112" y="288"/>
                    </a:lnTo>
                    <a:lnTo>
                      <a:pt x="111" y="287"/>
                    </a:lnTo>
                    <a:lnTo>
                      <a:pt x="110" y="287"/>
                    </a:lnTo>
                    <a:lnTo>
                      <a:pt x="110" y="286"/>
                    </a:lnTo>
                    <a:lnTo>
                      <a:pt x="110" y="285"/>
                    </a:lnTo>
                    <a:lnTo>
                      <a:pt x="109" y="285"/>
                    </a:lnTo>
                    <a:lnTo>
                      <a:pt x="108" y="284"/>
                    </a:lnTo>
                    <a:lnTo>
                      <a:pt x="107" y="284"/>
                    </a:lnTo>
                    <a:lnTo>
                      <a:pt x="107" y="283"/>
                    </a:lnTo>
                    <a:lnTo>
                      <a:pt x="107" y="282"/>
                    </a:lnTo>
                    <a:lnTo>
                      <a:pt x="107" y="281"/>
                    </a:lnTo>
                    <a:lnTo>
                      <a:pt x="107" y="280"/>
                    </a:lnTo>
                    <a:lnTo>
                      <a:pt x="105" y="275"/>
                    </a:lnTo>
                    <a:lnTo>
                      <a:pt x="101" y="271"/>
                    </a:lnTo>
                    <a:lnTo>
                      <a:pt x="99" y="270"/>
                    </a:lnTo>
                    <a:lnTo>
                      <a:pt x="95" y="269"/>
                    </a:lnTo>
                    <a:lnTo>
                      <a:pt x="89" y="267"/>
                    </a:lnTo>
                    <a:lnTo>
                      <a:pt x="84" y="266"/>
                    </a:lnTo>
                    <a:lnTo>
                      <a:pt x="79" y="264"/>
                    </a:lnTo>
                    <a:lnTo>
                      <a:pt x="75" y="264"/>
                    </a:lnTo>
                    <a:lnTo>
                      <a:pt x="69" y="266"/>
                    </a:lnTo>
                    <a:lnTo>
                      <a:pt x="63" y="268"/>
                    </a:lnTo>
                    <a:lnTo>
                      <a:pt x="58" y="269"/>
                    </a:lnTo>
                    <a:lnTo>
                      <a:pt x="52" y="269"/>
                    </a:lnTo>
                    <a:lnTo>
                      <a:pt x="49" y="267"/>
                    </a:lnTo>
                    <a:lnTo>
                      <a:pt x="47" y="261"/>
                    </a:lnTo>
                    <a:lnTo>
                      <a:pt x="46" y="257"/>
                    </a:lnTo>
                    <a:lnTo>
                      <a:pt x="47" y="254"/>
                    </a:lnTo>
                    <a:lnTo>
                      <a:pt x="48" y="249"/>
                    </a:lnTo>
                    <a:lnTo>
                      <a:pt x="50" y="244"/>
                    </a:lnTo>
                    <a:lnTo>
                      <a:pt x="53" y="241"/>
                    </a:lnTo>
                    <a:lnTo>
                      <a:pt x="54" y="240"/>
                    </a:lnTo>
                    <a:lnTo>
                      <a:pt x="59" y="235"/>
                    </a:lnTo>
                    <a:lnTo>
                      <a:pt x="60" y="233"/>
                    </a:lnTo>
                    <a:lnTo>
                      <a:pt x="62" y="231"/>
                    </a:lnTo>
                    <a:lnTo>
                      <a:pt x="63" y="229"/>
                    </a:lnTo>
                    <a:lnTo>
                      <a:pt x="66" y="224"/>
                    </a:lnTo>
                    <a:lnTo>
                      <a:pt x="68" y="221"/>
                    </a:lnTo>
                    <a:lnTo>
                      <a:pt x="72" y="213"/>
                    </a:lnTo>
                    <a:lnTo>
                      <a:pt x="72" y="212"/>
                    </a:lnTo>
                    <a:lnTo>
                      <a:pt x="74" y="203"/>
                    </a:lnTo>
                    <a:lnTo>
                      <a:pt x="74" y="199"/>
                    </a:lnTo>
                    <a:lnTo>
                      <a:pt x="74" y="198"/>
                    </a:lnTo>
                    <a:lnTo>
                      <a:pt x="74" y="185"/>
                    </a:lnTo>
                    <a:lnTo>
                      <a:pt x="73" y="181"/>
                    </a:lnTo>
                    <a:lnTo>
                      <a:pt x="73" y="180"/>
                    </a:lnTo>
                    <a:lnTo>
                      <a:pt x="73" y="178"/>
                    </a:lnTo>
                    <a:lnTo>
                      <a:pt x="73" y="173"/>
                    </a:lnTo>
                    <a:lnTo>
                      <a:pt x="73" y="151"/>
                    </a:lnTo>
                    <a:lnTo>
                      <a:pt x="72" y="146"/>
                    </a:lnTo>
                    <a:lnTo>
                      <a:pt x="71" y="143"/>
                    </a:lnTo>
                    <a:lnTo>
                      <a:pt x="69" y="142"/>
                    </a:lnTo>
                    <a:lnTo>
                      <a:pt x="65" y="140"/>
                    </a:lnTo>
                    <a:lnTo>
                      <a:pt x="61" y="141"/>
                    </a:lnTo>
                    <a:lnTo>
                      <a:pt x="40" y="150"/>
                    </a:lnTo>
                    <a:lnTo>
                      <a:pt x="38" y="150"/>
                    </a:lnTo>
                    <a:lnTo>
                      <a:pt x="36" y="151"/>
                    </a:lnTo>
                    <a:lnTo>
                      <a:pt x="33" y="152"/>
                    </a:lnTo>
                    <a:lnTo>
                      <a:pt x="30" y="153"/>
                    </a:lnTo>
                    <a:lnTo>
                      <a:pt x="26" y="153"/>
                    </a:lnTo>
                    <a:lnTo>
                      <a:pt x="24" y="153"/>
                    </a:lnTo>
                    <a:lnTo>
                      <a:pt x="23" y="152"/>
                    </a:lnTo>
                    <a:lnTo>
                      <a:pt x="21" y="152"/>
                    </a:lnTo>
                    <a:lnTo>
                      <a:pt x="21" y="151"/>
                    </a:lnTo>
                    <a:lnTo>
                      <a:pt x="20" y="148"/>
                    </a:lnTo>
                    <a:lnTo>
                      <a:pt x="20" y="147"/>
                    </a:lnTo>
                    <a:lnTo>
                      <a:pt x="20" y="146"/>
                    </a:lnTo>
                    <a:lnTo>
                      <a:pt x="20" y="145"/>
                    </a:lnTo>
                    <a:lnTo>
                      <a:pt x="21" y="143"/>
                    </a:lnTo>
                    <a:lnTo>
                      <a:pt x="22" y="143"/>
                    </a:lnTo>
                    <a:lnTo>
                      <a:pt x="25" y="141"/>
                    </a:lnTo>
                    <a:lnTo>
                      <a:pt x="31" y="136"/>
                    </a:lnTo>
                    <a:lnTo>
                      <a:pt x="34" y="135"/>
                    </a:lnTo>
                    <a:lnTo>
                      <a:pt x="35" y="134"/>
                    </a:lnTo>
                    <a:lnTo>
                      <a:pt x="38" y="133"/>
                    </a:lnTo>
                    <a:lnTo>
                      <a:pt x="39" y="132"/>
                    </a:lnTo>
                    <a:lnTo>
                      <a:pt x="40" y="131"/>
                    </a:lnTo>
                    <a:lnTo>
                      <a:pt x="43" y="129"/>
                    </a:lnTo>
                    <a:lnTo>
                      <a:pt x="44" y="129"/>
                    </a:lnTo>
                    <a:lnTo>
                      <a:pt x="45" y="127"/>
                    </a:lnTo>
                    <a:lnTo>
                      <a:pt x="45" y="126"/>
                    </a:lnTo>
                    <a:lnTo>
                      <a:pt x="45" y="125"/>
                    </a:lnTo>
                    <a:lnTo>
                      <a:pt x="45" y="123"/>
                    </a:lnTo>
                    <a:lnTo>
                      <a:pt x="46" y="121"/>
                    </a:lnTo>
                    <a:lnTo>
                      <a:pt x="45" y="120"/>
                    </a:lnTo>
                    <a:lnTo>
                      <a:pt x="45" y="119"/>
                    </a:lnTo>
                    <a:lnTo>
                      <a:pt x="45" y="118"/>
                    </a:lnTo>
                    <a:lnTo>
                      <a:pt x="45" y="117"/>
                    </a:lnTo>
                    <a:lnTo>
                      <a:pt x="44" y="116"/>
                    </a:lnTo>
                    <a:lnTo>
                      <a:pt x="44" y="115"/>
                    </a:lnTo>
                    <a:lnTo>
                      <a:pt x="43" y="114"/>
                    </a:lnTo>
                    <a:lnTo>
                      <a:pt x="41" y="113"/>
                    </a:lnTo>
                    <a:lnTo>
                      <a:pt x="40" y="110"/>
                    </a:lnTo>
                    <a:lnTo>
                      <a:pt x="38" y="108"/>
                    </a:lnTo>
                    <a:lnTo>
                      <a:pt x="36" y="107"/>
                    </a:lnTo>
                    <a:lnTo>
                      <a:pt x="34" y="105"/>
                    </a:lnTo>
                    <a:lnTo>
                      <a:pt x="32" y="104"/>
                    </a:lnTo>
                    <a:lnTo>
                      <a:pt x="31" y="104"/>
                    </a:lnTo>
                    <a:lnTo>
                      <a:pt x="22" y="104"/>
                    </a:lnTo>
                    <a:lnTo>
                      <a:pt x="20" y="104"/>
                    </a:lnTo>
                    <a:lnTo>
                      <a:pt x="18" y="104"/>
                    </a:lnTo>
                    <a:lnTo>
                      <a:pt x="17" y="104"/>
                    </a:lnTo>
                    <a:lnTo>
                      <a:pt x="15" y="104"/>
                    </a:lnTo>
                    <a:lnTo>
                      <a:pt x="13" y="104"/>
                    </a:lnTo>
                    <a:lnTo>
                      <a:pt x="12" y="104"/>
                    </a:lnTo>
                    <a:lnTo>
                      <a:pt x="8" y="104"/>
                    </a:lnTo>
                    <a:lnTo>
                      <a:pt x="7" y="104"/>
                    </a:lnTo>
                    <a:lnTo>
                      <a:pt x="5" y="103"/>
                    </a:lnTo>
                    <a:lnTo>
                      <a:pt x="4" y="103"/>
                    </a:lnTo>
                    <a:lnTo>
                      <a:pt x="4" y="102"/>
                    </a:lnTo>
                    <a:lnTo>
                      <a:pt x="2" y="102"/>
                    </a:lnTo>
                    <a:lnTo>
                      <a:pt x="1" y="100"/>
                    </a:lnTo>
                    <a:lnTo>
                      <a:pt x="0" y="97"/>
                    </a:lnTo>
                    <a:lnTo>
                      <a:pt x="0" y="96"/>
                    </a:lnTo>
                    <a:lnTo>
                      <a:pt x="0" y="95"/>
                    </a:lnTo>
                    <a:lnTo>
                      <a:pt x="0" y="93"/>
                    </a:lnTo>
                    <a:lnTo>
                      <a:pt x="0" y="92"/>
                    </a:lnTo>
                    <a:lnTo>
                      <a:pt x="0" y="89"/>
                    </a:lnTo>
                    <a:lnTo>
                      <a:pt x="1" y="87"/>
                    </a:lnTo>
                    <a:lnTo>
                      <a:pt x="1" y="84"/>
                    </a:lnTo>
                    <a:lnTo>
                      <a:pt x="2" y="83"/>
                    </a:lnTo>
                    <a:lnTo>
                      <a:pt x="2" y="82"/>
                    </a:lnTo>
                    <a:lnTo>
                      <a:pt x="7" y="78"/>
                    </a:lnTo>
                    <a:lnTo>
                      <a:pt x="8" y="77"/>
                    </a:lnTo>
                    <a:lnTo>
                      <a:pt x="8" y="76"/>
                    </a:lnTo>
                    <a:lnTo>
                      <a:pt x="9" y="75"/>
                    </a:lnTo>
                    <a:lnTo>
                      <a:pt x="10" y="74"/>
                    </a:lnTo>
                    <a:lnTo>
                      <a:pt x="10" y="73"/>
                    </a:lnTo>
                    <a:lnTo>
                      <a:pt x="11" y="71"/>
                    </a:lnTo>
                    <a:lnTo>
                      <a:pt x="11" y="70"/>
                    </a:lnTo>
                    <a:lnTo>
                      <a:pt x="12" y="68"/>
                    </a:lnTo>
                    <a:lnTo>
                      <a:pt x="13" y="67"/>
                    </a:lnTo>
                    <a:lnTo>
                      <a:pt x="13" y="66"/>
                    </a:lnTo>
                    <a:lnTo>
                      <a:pt x="14" y="65"/>
                    </a:lnTo>
                    <a:lnTo>
                      <a:pt x="14" y="64"/>
                    </a:lnTo>
                    <a:lnTo>
                      <a:pt x="14" y="62"/>
                    </a:lnTo>
                    <a:lnTo>
                      <a:pt x="14" y="61"/>
                    </a:lnTo>
                    <a:lnTo>
                      <a:pt x="14" y="58"/>
                    </a:lnTo>
                    <a:lnTo>
                      <a:pt x="14" y="57"/>
                    </a:lnTo>
                    <a:lnTo>
                      <a:pt x="14" y="56"/>
                    </a:lnTo>
                    <a:lnTo>
                      <a:pt x="13" y="54"/>
                    </a:lnTo>
                    <a:lnTo>
                      <a:pt x="12" y="51"/>
                    </a:lnTo>
                    <a:lnTo>
                      <a:pt x="11" y="50"/>
                    </a:lnTo>
                    <a:lnTo>
                      <a:pt x="12" y="49"/>
                    </a:lnTo>
                    <a:lnTo>
                      <a:pt x="12" y="48"/>
                    </a:lnTo>
                    <a:lnTo>
                      <a:pt x="13" y="48"/>
                    </a:lnTo>
                    <a:lnTo>
                      <a:pt x="14" y="45"/>
                    </a:lnTo>
                    <a:lnTo>
                      <a:pt x="14" y="44"/>
                    </a:lnTo>
                    <a:lnTo>
                      <a:pt x="14" y="43"/>
                    </a:lnTo>
                    <a:lnTo>
                      <a:pt x="14" y="40"/>
                    </a:lnTo>
                    <a:lnTo>
                      <a:pt x="15" y="39"/>
                    </a:lnTo>
                    <a:lnTo>
                      <a:pt x="17" y="37"/>
                    </a:lnTo>
                    <a:lnTo>
                      <a:pt x="17" y="29"/>
                    </a:lnTo>
                    <a:lnTo>
                      <a:pt x="28" y="27"/>
                    </a:lnTo>
                    <a:lnTo>
                      <a:pt x="30" y="24"/>
                    </a:lnTo>
                    <a:lnTo>
                      <a:pt x="30" y="22"/>
                    </a:lnTo>
                    <a:lnTo>
                      <a:pt x="30" y="20"/>
                    </a:lnTo>
                    <a:lnTo>
                      <a:pt x="30" y="19"/>
                    </a:lnTo>
                    <a:lnTo>
                      <a:pt x="31" y="18"/>
                    </a:lnTo>
                    <a:lnTo>
                      <a:pt x="30" y="17"/>
                    </a:lnTo>
                    <a:lnTo>
                      <a:pt x="31" y="16"/>
                    </a:lnTo>
                    <a:lnTo>
                      <a:pt x="32" y="15"/>
                    </a:lnTo>
                    <a:lnTo>
                      <a:pt x="32" y="14"/>
                    </a:lnTo>
                    <a:lnTo>
                      <a:pt x="33" y="14"/>
                    </a:lnTo>
                    <a:lnTo>
                      <a:pt x="34" y="13"/>
                    </a:lnTo>
                    <a:lnTo>
                      <a:pt x="36" y="12"/>
                    </a:lnTo>
                    <a:lnTo>
                      <a:pt x="37" y="11"/>
                    </a:lnTo>
                    <a:lnTo>
                      <a:pt x="38" y="10"/>
                    </a:lnTo>
                    <a:lnTo>
                      <a:pt x="40" y="10"/>
                    </a:lnTo>
                    <a:lnTo>
                      <a:pt x="46" y="10"/>
                    </a:lnTo>
                    <a:lnTo>
                      <a:pt x="61" y="9"/>
                    </a:lnTo>
                    <a:lnTo>
                      <a:pt x="63" y="9"/>
                    </a:lnTo>
                    <a:lnTo>
                      <a:pt x="81" y="9"/>
                    </a:lnTo>
                    <a:lnTo>
                      <a:pt x="90" y="7"/>
                    </a:lnTo>
                    <a:lnTo>
                      <a:pt x="91" y="7"/>
                    </a:lnTo>
                    <a:lnTo>
                      <a:pt x="100" y="7"/>
                    </a:lnTo>
                    <a:lnTo>
                      <a:pt x="101" y="7"/>
                    </a:lnTo>
                    <a:lnTo>
                      <a:pt x="102" y="7"/>
                    </a:lnTo>
                    <a:lnTo>
                      <a:pt x="105" y="7"/>
                    </a:lnTo>
                    <a:lnTo>
                      <a:pt x="109" y="7"/>
                    </a:lnTo>
                    <a:lnTo>
                      <a:pt x="122" y="6"/>
                    </a:lnTo>
                    <a:lnTo>
                      <a:pt x="131" y="6"/>
                    </a:lnTo>
                    <a:lnTo>
                      <a:pt x="134" y="6"/>
                    </a:lnTo>
                    <a:lnTo>
                      <a:pt x="136" y="5"/>
                    </a:lnTo>
                    <a:lnTo>
                      <a:pt x="139" y="5"/>
                    </a:lnTo>
                    <a:lnTo>
                      <a:pt x="146" y="5"/>
                    </a:lnTo>
                    <a:lnTo>
                      <a:pt x="161" y="4"/>
                    </a:lnTo>
                    <a:lnTo>
                      <a:pt x="168" y="4"/>
                    </a:lnTo>
                    <a:lnTo>
                      <a:pt x="177" y="4"/>
                    </a:lnTo>
                    <a:lnTo>
                      <a:pt x="178" y="4"/>
                    </a:lnTo>
                    <a:lnTo>
                      <a:pt x="179" y="4"/>
                    </a:lnTo>
                    <a:lnTo>
                      <a:pt x="193" y="3"/>
                    </a:lnTo>
                    <a:lnTo>
                      <a:pt x="205" y="3"/>
                    </a:lnTo>
                    <a:lnTo>
                      <a:pt x="213" y="2"/>
                    </a:lnTo>
                    <a:lnTo>
                      <a:pt x="218" y="2"/>
                    </a:lnTo>
                    <a:lnTo>
                      <a:pt x="224" y="2"/>
                    </a:lnTo>
                    <a:lnTo>
                      <a:pt x="228" y="2"/>
                    </a:lnTo>
                    <a:lnTo>
                      <a:pt x="233" y="2"/>
                    </a:lnTo>
                    <a:lnTo>
                      <a:pt x="238" y="2"/>
                    </a:lnTo>
                    <a:lnTo>
                      <a:pt x="241" y="1"/>
                    </a:lnTo>
                    <a:lnTo>
                      <a:pt x="244" y="1"/>
                    </a:lnTo>
                    <a:lnTo>
                      <a:pt x="254" y="1"/>
                    </a:lnTo>
                    <a:lnTo>
                      <a:pt x="262" y="1"/>
                    </a:lnTo>
                    <a:lnTo>
                      <a:pt x="270" y="1"/>
                    </a:lnTo>
                    <a:lnTo>
                      <a:pt x="286" y="0"/>
                    </a:lnTo>
                    <a:lnTo>
                      <a:pt x="286" y="1"/>
                    </a:lnTo>
                    <a:lnTo>
                      <a:pt x="286" y="2"/>
                    </a:lnTo>
                    <a:lnTo>
                      <a:pt x="288" y="2"/>
                    </a:lnTo>
                    <a:lnTo>
                      <a:pt x="288" y="3"/>
                    </a:lnTo>
                    <a:lnTo>
                      <a:pt x="286" y="3"/>
                    </a:lnTo>
                    <a:lnTo>
                      <a:pt x="286" y="4"/>
                    </a:lnTo>
                    <a:lnTo>
                      <a:pt x="288" y="4"/>
                    </a:lnTo>
                    <a:lnTo>
                      <a:pt x="289" y="4"/>
                    </a:lnTo>
                    <a:lnTo>
                      <a:pt x="289" y="5"/>
                    </a:lnTo>
                    <a:lnTo>
                      <a:pt x="289" y="6"/>
                    </a:lnTo>
                    <a:lnTo>
                      <a:pt x="288" y="6"/>
                    </a:lnTo>
                    <a:lnTo>
                      <a:pt x="289" y="7"/>
                    </a:lnTo>
                    <a:lnTo>
                      <a:pt x="289" y="9"/>
                    </a:lnTo>
                    <a:lnTo>
                      <a:pt x="288" y="9"/>
                    </a:lnTo>
                    <a:lnTo>
                      <a:pt x="286" y="10"/>
                    </a:lnTo>
                    <a:lnTo>
                      <a:pt x="286" y="11"/>
                    </a:lnTo>
                    <a:lnTo>
                      <a:pt x="286" y="10"/>
                    </a:lnTo>
                    <a:lnTo>
                      <a:pt x="285" y="10"/>
                    </a:lnTo>
                    <a:lnTo>
                      <a:pt x="284" y="10"/>
                    </a:lnTo>
                    <a:lnTo>
                      <a:pt x="284" y="11"/>
                    </a:lnTo>
                    <a:lnTo>
                      <a:pt x="284" y="12"/>
                    </a:lnTo>
                    <a:lnTo>
                      <a:pt x="283" y="12"/>
                    </a:lnTo>
                    <a:lnTo>
                      <a:pt x="283" y="13"/>
                    </a:lnTo>
                    <a:lnTo>
                      <a:pt x="284" y="13"/>
                    </a:lnTo>
                    <a:lnTo>
                      <a:pt x="285" y="13"/>
                    </a:lnTo>
                    <a:lnTo>
                      <a:pt x="284" y="13"/>
                    </a:lnTo>
                    <a:lnTo>
                      <a:pt x="284" y="14"/>
                    </a:lnTo>
                    <a:lnTo>
                      <a:pt x="284" y="15"/>
                    </a:lnTo>
                    <a:lnTo>
                      <a:pt x="283" y="15"/>
                    </a:lnTo>
                    <a:lnTo>
                      <a:pt x="283" y="16"/>
                    </a:lnTo>
                    <a:lnTo>
                      <a:pt x="283" y="17"/>
                    </a:lnTo>
                    <a:lnTo>
                      <a:pt x="282" y="16"/>
                    </a:lnTo>
                    <a:lnTo>
                      <a:pt x="281" y="17"/>
                    </a:lnTo>
                    <a:lnTo>
                      <a:pt x="281" y="16"/>
                    </a:lnTo>
                    <a:lnTo>
                      <a:pt x="280" y="16"/>
                    </a:lnTo>
                    <a:lnTo>
                      <a:pt x="279" y="16"/>
                    </a:lnTo>
                    <a:lnTo>
                      <a:pt x="279" y="17"/>
                    </a:lnTo>
                    <a:lnTo>
                      <a:pt x="280" y="18"/>
                    </a:lnTo>
                    <a:lnTo>
                      <a:pt x="279" y="19"/>
                    </a:lnTo>
                    <a:lnTo>
                      <a:pt x="278" y="19"/>
                    </a:lnTo>
                    <a:lnTo>
                      <a:pt x="277" y="18"/>
                    </a:lnTo>
                    <a:lnTo>
                      <a:pt x="276" y="18"/>
                    </a:lnTo>
                    <a:lnTo>
                      <a:pt x="275" y="18"/>
                    </a:lnTo>
                    <a:lnTo>
                      <a:pt x="275" y="19"/>
                    </a:lnTo>
                    <a:lnTo>
                      <a:pt x="273" y="19"/>
                    </a:lnTo>
                    <a:lnTo>
                      <a:pt x="273" y="18"/>
                    </a:lnTo>
                    <a:lnTo>
                      <a:pt x="272" y="18"/>
                    </a:lnTo>
                    <a:lnTo>
                      <a:pt x="272" y="19"/>
                    </a:lnTo>
                    <a:lnTo>
                      <a:pt x="273" y="20"/>
                    </a:lnTo>
                    <a:lnTo>
                      <a:pt x="273" y="22"/>
                    </a:lnTo>
                    <a:lnTo>
                      <a:pt x="272" y="23"/>
                    </a:lnTo>
                    <a:lnTo>
                      <a:pt x="270" y="23"/>
                    </a:lnTo>
                    <a:lnTo>
                      <a:pt x="269" y="23"/>
                    </a:lnTo>
                    <a:lnTo>
                      <a:pt x="269" y="24"/>
                    </a:lnTo>
                    <a:lnTo>
                      <a:pt x="269" y="25"/>
                    </a:lnTo>
                    <a:lnTo>
                      <a:pt x="268" y="26"/>
                    </a:lnTo>
                    <a:lnTo>
                      <a:pt x="268" y="27"/>
                    </a:lnTo>
                    <a:lnTo>
                      <a:pt x="269" y="27"/>
                    </a:lnTo>
                    <a:lnTo>
                      <a:pt x="269" y="28"/>
                    </a:lnTo>
                    <a:lnTo>
                      <a:pt x="268" y="28"/>
                    </a:lnTo>
                    <a:lnTo>
                      <a:pt x="267" y="28"/>
                    </a:lnTo>
                    <a:lnTo>
                      <a:pt x="267" y="29"/>
                    </a:lnTo>
                    <a:lnTo>
                      <a:pt x="266" y="29"/>
                    </a:lnTo>
                    <a:lnTo>
                      <a:pt x="265" y="29"/>
                    </a:lnTo>
                    <a:lnTo>
                      <a:pt x="264" y="30"/>
                    </a:lnTo>
                    <a:lnTo>
                      <a:pt x="264" y="31"/>
                    </a:lnTo>
                    <a:lnTo>
                      <a:pt x="263" y="32"/>
                    </a:lnTo>
                    <a:lnTo>
                      <a:pt x="262" y="32"/>
                    </a:lnTo>
                    <a:lnTo>
                      <a:pt x="260" y="32"/>
                    </a:lnTo>
                    <a:lnTo>
                      <a:pt x="260" y="33"/>
                    </a:lnTo>
                    <a:lnTo>
                      <a:pt x="262" y="33"/>
                    </a:lnTo>
                    <a:lnTo>
                      <a:pt x="262" y="35"/>
                    </a:lnTo>
                    <a:lnTo>
                      <a:pt x="259" y="33"/>
                    </a:lnTo>
                    <a:lnTo>
                      <a:pt x="259" y="35"/>
                    </a:lnTo>
                    <a:lnTo>
                      <a:pt x="258" y="35"/>
                    </a:lnTo>
                    <a:lnTo>
                      <a:pt x="258" y="36"/>
                    </a:lnTo>
                    <a:lnTo>
                      <a:pt x="257" y="36"/>
                    </a:lnTo>
                    <a:lnTo>
                      <a:pt x="257" y="37"/>
                    </a:lnTo>
                    <a:lnTo>
                      <a:pt x="258" y="37"/>
                    </a:lnTo>
                    <a:lnTo>
                      <a:pt x="258" y="38"/>
                    </a:lnTo>
                    <a:lnTo>
                      <a:pt x="258" y="39"/>
                    </a:lnTo>
                    <a:lnTo>
                      <a:pt x="257" y="39"/>
                    </a:lnTo>
                    <a:lnTo>
                      <a:pt x="255" y="38"/>
                    </a:lnTo>
                    <a:lnTo>
                      <a:pt x="254" y="38"/>
                    </a:lnTo>
                    <a:lnTo>
                      <a:pt x="254" y="39"/>
                    </a:lnTo>
                    <a:lnTo>
                      <a:pt x="255" y="40"/>
                    </a:lnTo>
                    <a:lnTo>
                      <a:pt x="255" y="41"/>
                    </a:lnTo>
                    <a:lnTo>
                      <a:pt x="254" y="42"/>
                    </a:lnTo>
                    <a:lnTo>
                      <a:pt x="253" y="42"/>
                    </a:lnTo>
                    <a:lnTo>
                      <a:pt x="253" y="43"/>
                    </a:lnTo>
                    <a:lnTo>
                      <a:pt x="254" y="43"/>
                    </a:lnTo>
                    <a:lnTo>
                      <a:pt x="254" y="42"/>
                    </a:lnTo>
                    <a:lnTo>
                      <a:pt x="255" y="43"/>
                    </a:lnTo>
                    <a:lnTo>
                      <a:pt x="255" y="44"/>
                    </a:lnTo>
                    <a:lnTo>
                      <a:pt x="254" y="44"/>
                    </a:lnTo>
                    <a:lnTo>
                      <a:pt x="254" y="45"/>
                    </a:lnTo>
                    <a:lnTo>
                      <a:pt x="253" y="45"/>
                    </a:lnTo>
                    <a:lnTo>
                      <a:pt x="252" y="45"/>
                    </a:lnTo>
                    <a:lnTo>
                      <a:pt x="251" y="45"/>
                    </a:lnTo>
                    <a:lnTo>
                      <a:pt x="251" y="44"/>
                    </a:lnTo>
                    <a:lnTo>
                      <a:pt x="250" y="44"/>
                    </a:lnTo>
                    <a:lnTo>
                      <a:pt x="250" y="45"/>
                    </a:lnTo>
                    <a:lnTo>
                      <a:pt x="249" y="46"/>
                    </a:lnTo>
                    <a:lnTo>
                      <a:pt x="249" y="48"/>
                    </a:lnTo>
                    <a:lnTo>
                      <a:pt x="247" y="48"/>
                    </a:lnTo>
                    <a:lnTo>
                      <a:pt x="247" y="49"/>
                    </a:lnTo>
                    <a:lnTo>
                      <a:pt x="249" y="49"/>
                    </a:lnTo>
                    <a:lnTo>
                      <a:pt x="249" y="50"/>
                    </a:lnTo>
                    <a:close/>
                  </a:path>
                </a:pathLst>
              </a:custGeom>
              <a:solidFill>
                <a:srgbClr val="002D62"/>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2" name="Freeform 22">
                <a:extLst>
                  <a:ext uri="{FF2B5EF4-FFF2-40B4-BE49-F238E27FC236}">
                    <a16:creationId xmlns:a16="http://schemas.microsoft.com/office/drawing/2014/main" id="{EF6D27E8-E14A-667F-D2FB-14966F8AE7C4}"/>
                  </a:ext>
                </a:extLst>
              </p:cNvPr>
              <p:cNvSpPr>
                <a:spLocks/>
              </p:cNvSpPr>
              <p:nvPr/>
            </p:nvSpPr>
            <p:spPr bwMode="auto">
              <a:xfrm>
                <a:off x="4111626" y="3840163"/>
                <a:ext cx="574675" cy="534988"/>
              </a:xfrm>
              <a:custGeom>
                <a:avLst/>
                <a:gdLst>
                  <a:gd name="T0" fmla="*/ 260 w 362"/>
                  <a:gd name="T1" fmla="*/ 107 h 337"/>
                  <a:gd name="T2" fmla="*/ 267 w 362"/>
                  <a:gd name="T3" fmla="*/ 123 h 337"/>
                  <a:gd name="T4" fmla="*/ 268 w 362"/>
                  <a:gd name="T5" fmla="*/ 136 h 337"/>
                  <a:gd name="T6" fmla="*/ 270 w 362"/>
                  <a:gd name="T7" fmla="*/ 148 h 337"/>
                  <a:gd name="T8" fmla="*/ 275 w 362"/>
                  <a:gd name="T9" fmla="*/ 158 h 337"/>
                  <a:gd name="T10" fmla="*/ 286 w 362"/>
                  <a:gd name="T11" fmla="*/ 164 h 337"/>
                  <a:gd name="T12" fmla="*/ 288 w 362"/>
                  <a:gd name="T13" fmla="*/ 170 h 337"/>
                  <a:gd name="T14" fmla="*/ 295 w 362"/>
                  <a:gd name="T15" fmla="*/ 182 h 337"/>
                  <a:gd name="T16" fmla="*/ 300 w 362"/>
                  <a:gd name="T17" fmla="*/ 197 h 337"/>
                  <a:gd name="T18" fmla="*/ 306 w 362"/>
                  <a:gd name="T19" fmla="*/ 208 h 337"/>
                  <a:gd name="T20" fmla="*/ 317 w 362"/>
                  <a:gd name="T21" fmla="*/ 218 h 337"/>
                  <a:gd name="T22" fmla="*/ 355 w 362"/>
                  <a:gd name="T23" fmla="*/ 262 h 337"/>
                  <a:gd name="T24" fmla="*/ 301 w 362"/>
                  <a:gd name="T25" fmla="*/ 281 h 337"/>
                  <a:gd name="T26" fmla="*/ 258 w 362"/>
                  <a:gd name="T27" fmla="*/ 324 h 337"/>
                  <a:gd name="T28" fmla="*/ 234 w 362"/>
                  <a:gd name="T29" fmla="*/ 309 h 337"/>
                  <a:gd name="T30" fmla="*/ 218 w 362"/>
                  <a:gd name="T31" fmla="*/ 300 h 337"/>
                  <a:gd name="T32" fmla="*/ 200 w 362"/>
                  <a:gd name="T33" fmla="*/ 311 h 337"/>
                  <a:gd name="T34" fmla="*/ 193 w 362"/>
                  <a:gd name="T35" fmla="*/ 322 h 337"/>
                  <a:gd name="T36" fmla="*/ 183 w 362"/>
                  <a:gd name="T37" fmla="*/ 337 h 337"/>
                  <a:gd name="T38" fmla="*/ 171 w 362"/>
                  <a:gd name="T39" fmla="*/ 330 h 337"/>
                  <a:gd name="T40" fmla="*/ 164 w 362"/>
                  <a:gd name="T41" fmla="*/ 316 h 337"/>
                  <a:gd name="T42" fmla="*/ 159 w 362"/>
                  <a:gd name="T43" fmla="*/ 308 h 337"/>
                  <a:gd name="T44" fmla="*/ 153 w 362"/>
                  <a:gd name="T45" fmla="*/ 295 h 337"/>
                  <a:gd name="T46" fmla="*/ 143 w 362"/>
                  <a:gd name="T47" fmla="*/ 290 h 337"/>
                  <a:gd name="T48" fmla="*/ 132 w 362"/>
                  <a:gd name="T49" fmla="*/ 286 h 337"/>
                  <a:gd name="T50" fmla="*/ 124 w 362"/>
                  <a:gd name="T51" fmla="*/ 277 h 337"/>
                  <a:gd name="T52" fmla="*/ 125 w 362"/>
                  <a:gd name="T53" fmla="*/ 262 h 337"/>
                  <a:gd name="T54" fmla="*/ 113 w 362"/>
                  <a:gd name="T55" fmla="*/ 265 h 337"/>
                  <a:gd name="T56" fmla="*/ 108 w 362"/>
                  <a:gd name="T57" fmla="*/ 254 h 337"/>
                  <a:gd name="T58" fmla="*/ 102 w 362"/>
                  <a:gd name="T59" fmla="*/ 245 h 337"/>
                  <a:gd name="T60" fmla="*/ 93 w 362"/>
                  <a:gd name="T61" fmla="*/ 233 h 337"/>
                  <a:gd name="T62" fmla="*/ 83 w 362"/>
                  <a:gd name="T63" fmla="*/ 224 h 337"/>
                  <a:gd name="T64" fmla="*/ 73 w 362"/>
                  <a:gd name="T65" fmla="*/ 218 h 337"/>
                  <a:gd name="T66" fmla="*/ 64 w 362"/>
                  <a:gd name="T67" fmla="*/ 215 h 337"/>
                  <a:gd name="T68" fmla="*/ 52 w 362"/>
                  <a:gd name="T69" fmla="*/ 210 h 337"/>
                  <a:gd name="T70" fmla="*/ 46 w 362"/>
                  <a:gd name="T71" fmla="*/ 207 h 337"/>
                  <a:gd name="T72" fmla="*/ 35 w 362"/>
                  <a:gd name="T73" fmla="*/ 201 h 337"/>
                  <a:gd name="T74" fmla="*/ 31 w 362"/>
                  <a:gd name="T75" fmla="*/ 196 h 337"/>
                  <a:gd name="T76" fmla="*/ 30 w 362"/>
                  <a:gd name="T77" fmla="*/ 185 h 337"/>
                  <a:gd name="T78" fmla="*/ 15 w 362"/>
                  <a:gd name="T79" fmla="*/ 185 h 337"/>
                  <a:gd name="T80" fmla="*/ 18 w 362"/>
                  <a:gd name="T81" fmla="*/ 175 h 337"/>
                  <a:gd name="T82" fmla="*/ 12 w 362"/>
                  <a:gd name="T83" fmla="*/ 163 h 337"/>
                  <a:gd name="T84" fmla="*/ 11 w 362"/>
                  <a:gd name="T85" fmla="*/ 151 h 337"/>
                  <a:gd name="T86" fmla="*/ 6 w 362"/>
                  <a:gd name="T87" fmla="*/ 141 h 337"/>
                  <a:gd name="T88" fmla="*/ 11 w 362"/>
                  <a:gd name="T89" fmla="*/ 128 h 337"/>
                  <a:gd name="T90" fmla="*/ 12 w 362"/>
                  <a:gd name="T91" fmla="*/ 117 h 337"/>
                  <a:gd name="T92" fmla="*/ 11 w 362"/>
                  <a:gd name="T93" fmla="*/ 106 h 337"/>
                  <a:gd name="T94" fmla="*/ 8 w 362"/>
                  <a:gd name="T95" fmla="*/ 93 h 337"/>
                  <a:gd name="T96" fmla="*/ 5 w 362"/>
                  <a:gd name="T97" fmla="*/ 84 h 337"/>
                  <a:gd name="T98" fmla="*/ 9 w 362"/>
                  <a:gd name="T99" fmla="*/ 74 h 337"/>
                  <a:gd name="T100" fmla="*/ 11 w 362"/>
                  <a:gd name="T101" fmla="*/ 60 h 337"/>
                  <a:gd name="T102" fmla="*/ 4 w 362"/>
                  <a:gd name="T103" fmla="*/ 52 h 337"/>
                  <a:gd name="T104" fmla="*/ 7 w 362"/>
                  <a:gd name="T105" fmla="*/ 42 h 337"/>
                  <a:gd name="T106" fmla="*/ 16 w 362"/>
                  <a:gd name="T107" fmla="*/ 38 h 337"/>
                  <a:gd name="T108" fmla="*/ 20 w 362"/>
                  <a:gd name="T109" fmla="*/ 37 h 337"/>
                  <a:gd name="T110" fmla="*/ 27 w 362"/>
                  <a:gd name="T111" fmla="*/ 30 h 337"/>
                  <a:gd name="T112" fmla="*/ 34 w 362"/>
                  <a:gd name="T113" fmla="*/ 26 h 337"/>
                  <a:gd name="T114" fmla="*/ 33 w 362"/>
                  <a:gd name="T115" fmla="*/ 17 h 337"/>
                  <a:gd name="T116" fmla="*/ 45 w 362"/>
                  <a:gd name="T117" fmla="*/ 7 h 337"/>
                  <a:gd name="T118" fmla="*/ 86 w 362"/>
                  <a:gd name="T119" fmla="*/ 1 h 337"/>
                  <a:gd name="T120" fmla="*/ 260 w 362"/>
                  <a:gd name="T12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2" h="337">
                    <a:moveTo>
                      <a:pt x="260" y="0"/>
                    </a:moveTo>
                    <a:lnTo>
                      <a:pt x="260" y="18"/>
                    </a:lnTo>
                    <a:lnTo>
                      <a:pt x="260" y="27"/>
                    </a:lnTo>
                    <a:lnTo>
                      <a:pt x="260" y="44"/>
                    </a:lnTo>
                    <a:lnTo>
                      <a:pt x="260" y="46"/>
                    </a:lnTo>
                    <a:lnTo>
                      <a:pt x="260" y="52"/>
                    </a:lnTo>
                    <a:lnTo>
                      <a:pt x="260" y="60"/>
                    </a:lnTo>
                    <a:lnTo>
                      <a:pt x="260" y="68"/>
                    </a:lnTo>
                    <a:lnTo>
                      <a:pt x="260" y="78"/>
                    </a:lnTo>
                    <a:lnTo>
                      <a:pt x="260" y="84"/>
                    </a:lnTo>
                    <a:lnTo>
                      <a:pt x="260" y="85"/>
                    </a:lnTo>
                    <a:lnTo>
                      <a:pt x="260" y="89"/>
                    </a:lnTo>
                    <a:lnTo>
                      <a:pt x="260" y="90"/>
                    </a:lnTo>
                    <a:lnTo>
                      <a:pt x="260" y="98"/>
                    </a:lnTo>
                    <a:lnTo>
                      <a:pt x="260" y="104"/>
                    </a:lnTo>
                    <a:lnTo>
                      <a:pt x="260" y="107"/>
                    </a:lnTo>
                    <a:lnTo>
                      <a:pt x="260" y="111"/>
                    </a:lnTo>
                    <a:lnTo>
                      <a:pt x="260" y="116"/>
                    </a:lnTo>
                    <a:lnTo>
                      <a:pt x="261" y="116"/>
                    </a:lnTo>
                    <a:lnTo>
                      <a:pt x="262" y="117"/>
                    </a:lnTo>
                    <a:lnTo>
                      <a:pt x="262" y="118"/>
                    </a:lnTo>
                    <a:lnTo>
                      <a:pt x="263" y="118"/>
                    </a:lnTo>
                    <a:lnTo>
                      <a:pt x="264" y="118"/>
                    </a:lnTo>
                    <a:lnTo>
                      <a:pt x="265" y="118"/>
                    </a:lnTo>
                    <a:lnTo>
                      <a:pt x="266" y="118"/>
                    </a:lnTo>
                    <a:lnTo>
                      <a:pt x="266" y="119"/>
                    </a:lnTo>
                    <a:lnTo>
                      <a:pt x="265" y="120"/>
                    </a:lnTo>
                    <a:lnTo>
                      <a:pt x="265" y="121"/>
                    </a:lnTo>
                    <a:lnTo>
                      <a:pt x="265" y="122"/>
                    </a:lnTo>
                    <a:lnTo>
                      <a:pt x="265" y="123"/>
                    </a:lnTo>
                    <a:lnTo>
                      <a:pt x="266" y="123"/>
                    </a:lnTo>
                    <a:lnTo>
                      <a:pt x="267" y="123"/>
                    </a:lnTo>
                    <a:lnTo>
                      <a:pt x="267" y="124"/>
                    </a:lnTo>
                    <a:lnTo>
                      <a:pt x="268" y="124"/>
                    </a:lnTo>
                    <a:lnTo>
                      <a:pt x="268" y="125"/>
                    </a:lnTo>
                    <a:lnTo>
                      <a:pt x="267" y="127"/>
                    </a:lnTo>
                    <a:lnTo>
                      <a:pt x="268" y="127"/>
                    </a:lnTo>
                    <a:lnTo>
                      <a:pt x="268" y="128"/>
                    </a:lnTo>
                    <a:lnTo>
                      <a:pt x="270" y="129"/>
                    </a:lnTo>
                    <a:lnTo>
                      <a:pt x="271" y="130"/>
                    </a:lnTo>
                    <a:lnTo>
                      <a:pt x="270" y="130"/>
                    </a:lnTo>
                    <a:lnTo>
                      <a:pt x="270" y="131"/>
                    </a:lnTo>
                    <a:lnTo>
                      <a:pt x="270" y="132"/>
                    </a:lnTo>
                    <a:lnTo>
                      <a:pt x="270" y="133"/>
                    </a:lnTo>
                    <a:lnTo>
                      <a:pt x="268" y="133"/>
                    </a:lnTo>
                    <a:lnTo>
                      <a:pt x="268" y="134"/>
                    </a:lnTo>
                    <a:lnTo>
                      <a:pt x="268" y="135"/>
                    </a:lnTo>
                    <a:lnTo>
                      <a:pt x="268" y="136"/>
                    </a:lnTo>
                    <a:lnTo>
                      <a:pt x="270" y="137"/>
                    </a:lnTo>
                    <a:lnTo>
                      <a:pt x="268" y="137"/>
                    </a:lnTo>
                    <a:lnTo>
                      <a:pt x="270" y="137"/>
                    </a:lnTo>
                    <a:lnTo>
                      <a:pt x="270" y="138"/>
                    </a:lnTo>
                    <a:lnTo>
                      <a:pt x="270" y="140"/>
                    </a:lnTo>
                    <a:lnTo>
                      <a:pt x="271" y="140"/>
                    </a:lnTo>
                    <a:lnTo>
                      <a:pt x="271" y="141"/>
                    </a:lnTo>
                    <a:lnTo>
                      <a:pt x="271" y="142"/>
                    </a:lnTo>
                    <a:lnTo>
                      <a:pt x="272" y="143"/>
                    </a:lnTo>
                    <a:lnTo>
                      <a:pt x="273" y="143"/>
                    </a:lnTo>
                    <a:lnTo>
                      <a:pt x="273" y="144"/>
                    </a:lnTo>
                    <a:lnTo>
                      <a:pt x="272" y="145"/>
                    </a:lnTo>
                    <a:lnTo>
                      <a:pt x="272" y="146"/>
                    </a:lnTo>
                    <a:lnTo>
                      <a:pt x="271" y="146"/>
                    </a:lnTo>
                    <a:lnTo>
                      <a:pt x="270" y="147"/>
                    </a:lnTo>
                    <a:lnTo>
                      <a:pt x="270" y="148"/>
                    </a:lnTo>
                    <a:lnTo>
                      <a:pt x="271" y="148"/>
                    </a:lnTo>
                    <a:lnTo>
                      <a:pt x="271" y="149"/>
                    </a:lnTo>
                    <a:lnTo>
                      <a:pt x="272" y="149"/>
                    </a:lnTo>
                    <a:lnTo>
                      <a:pt x="272" y="150"/>
                    </a:lnTo>
                    <a:lnTo>
                      <a:pt x="273" y="150"/>
                    </a:lnTo>
                    <a:lnTo>
                      <a:pt x="273" y="151"/>
                    </a:lnTo>
                    <a:lnTo>
                      <a:pt x="273" y="153"/>
                    </a:lnTo>
                    <a:lnTo>
                      <a:pt x="273" y="154"/>
                    </a:lnTo>
                    <a:lnTo>
                      <a:pt x="273" y="155"/>
                    </a:lnTo>
                    <a:lnTo>
                      <a:pt x="272" y="155"/>
                    </a:lnTo>
                    <a:lnTo>
                      <a:pt x="272" y="156"/>
                    </a:lnTo>
                    <a:lnTo>
                      <a:pt x="273" y="156"/>
                    </a:lnTo>
                    <a:lnTo>
                      <a:pt x="273" y="157"/>
                    </a:lnTo>
                    <a:lnTo>
                      <a:pt x="274" y="157"/>
                    </a:lnTo>
                    <a:lnTo>
                      <a:pt x="275" y="157"/>
                    </a:lnTo>
                    <a:lnTo>
                      <a:pt x="275" y="158"/>
                    </a:lnTo>
                    <a:lnTo>
                      <a:pt x="276" y="159"/>
                    </a:lnTo>
                    <a:lnTo>
                      <a:pt x="277" y="159"/>
                    </a:lnTo>
                    <a:lnTo>
                      <a:pt x="278" y="159"/>
                    </a:lnTo>
                    <a:lnTo>
                      <a:pt x="278" y="160"/>
                    </a:lnTo>
                    <a:lnTo>
                      <a:pt x="279" y="161"/>
                    </a:lnTo>
                    <a:lnTo>
                      <a:pt x="279" y="162"/>
                    </a:lnTo>
                    <a:lnTo>
                      <a:pt x="279" y="163"/>
                    </a:lnTo>
                    <a:lnTo>
                      <a:pt x="280" y="163"/>
                    </a:lnTo>
                    <a:lnTo>
                      <a:pt x="280" y="162"/>
                    </a:lnTo>
                    <a:lnTo>
                      <a:pt x="280" y="163"/>
                    </a:lnTo>
                    <a:lnTo>
                      <a:pt x="280" y="164"/>
                    </a:lnTo>
                    <a:lnTo>
                      <a:pt x="282" y="164"/>
                    </a:lnTo>
                    <a:lnTo>
                      <a:pt x="283" y="164"/>
                    </a:lnTo>
                    <a:lnTo>
                      <a:pt x="284" y="164"/>
                    </a:lnTo>
                    <a:lnTo>
                      <a:pt x="285" y="164"/>
                    </a:lnTo>
                    <a:lnTo>
                      <a:pt x="286" y="164"/>
                    </a:lnTo>
                    <a:lnTo>
                      <a:pt x="286" y="166"/>
                    </a:lnTo>
                    <a:lnTo>
                      <a:pt x="287" y="166"/>
                    </a:lnTo>
                    <a:lnTo>
                      <a:pt x="287" y="167"/>
                    </a:lnTo>
                    <a:lnTo>
                      <a:pt x="286" y="167"/>
                    </a:lnTo>
                    <a:lnTo>
                      <a:pt x="287" y="167"/>
                    </a:lnTo>
                    <a:lnTo>
                      <a:pt x="287" y="168"/>
                    </a:lnTo>
                    <a:lnTo>
                      <a:pt x="288" y="168"/>
                    </a:lnTo>
                    <a:lnTo>
                      <a:pt x="288" y="167"/>
                    </a:lnTo>
                    <a:lnTo>
                      <a:pt x="289" y="167"/>
                    </a:lnTo>
                    <a:lnTo>
                      <a:pt x="289" y="168"/>
                    </a:lnTo>
                    <a:lnTo>
                      <a:pt x="289" y="169"/>
                    </a:lnTo>
                    <a:lnTo>
                      <a:pt x="289" y="170"/>
                    </a:lnTo>
                    <a:lnTo>
                      <a:pt x="288" y="170"/>
                    </a:lnTo>
                    <a:lnTo>
                      <a:pt x="288" y="169"/>
                    </a:lnTo>
                    <a:lnTo>
                      <a:pt x="287" y="170"/>
                    </a:lnTo>
                    <a:lnTo>
                      <a:pt x="288" y="170"/>
                    </a:lnTo>
                    <a:lnTo>
                      <a:pt x="288" y="171"/>
                    </a:lnTo>
                    <a:lnTo>
                      <a:pt x="289" y="171"/>
                    </a:lnTo>
                    <a:lnTo>
                      <a:pt x="290" y="171"/>
                    </a:lnTo>
                    <a:lnTo>
                      <a:pt x="291" y="172"/>
                    </a:lnTo>
                    <a:lnTo>
                      <a:pt x="291" y="173"/>
                    </a:lnTo>
                    <a:lnTo>
                      <a:pt x="292" y="173"/>
                    </a:lnTo>
                    <a:lnTo>
                      <a:pt x="292" y="174"/>
                    </a:lnTo>
                    <a:lnTo>
                      <a:pt x="291" y="174"/>
                    </a:lnTo>
                    <a:lnTo>
                      <a:pt x="291" y="175"/>
                    </a:lnTo>
                    <a:lnTo>
                      <a:pt x="292" y="175"/>
                    </a:lnTo>
                    <a:lnTo>
                      <a:pt x="292" y="176"/>
                    </a:lnTo>
                    <a:lnTo>
                      <a:pt x="292" y="179"/>
                    </a:lnTo>
                    <a:lnTo>
                      <a:pt x="293" y="180"/>
                    </a:lnTo>
                    <a:lnTo>
                      <a:pt x="293" y="181"/>
                    </a:lnTo>
                    <a:lnTo>
                      <a:pt x="295" y="181"/>
                    </a:lnTo>
                    <a:lnTo>
                      <a:pt x="295" y="182"/>
                    </a:lnTo>
                    <a:lnTo>
                      <a:pt x="293" y="182"/>
                    </a:lnTo>
                    <a:lnTo>
                      <a:pt x="292" y="182"/>
                    </a:lnTo>
                    <a:lnTo>
                      <a:pt x="291" y="183"/>
                    </a:lnTo>
                    <a:lnTo>
                      <a:pt x="291" y="184"/>
                    </a:lnTo>
                    <a:lnTo>
                      <a:pt x="295" y="186"/>
                    </a:lnTo>
                    <a:lnTo>
                      <a:pt x="296" y="186"/>
                    </a:lnTo>
                    <a:lnTo>
                      <a:pt x="297" y="186"/>
                    </a:lnTo>
                    <a:lnTo>
                      <a:pt x="298" y="186"/>
                    </a:lnTo>
                    <a:lnTo>
                      <a:pt x="298" y="185"/>
                    </a:lnTo>
                    <a:lnTo>
                      <a:pt x="299" y="186"/>
                    </a:lnTo>
                    <a:lnTo>
                      <a:pt x="300" y="189"/>
                    </a:lnTo>
                    <a:lnTo>
                      <a:pt x="300" y="191"/>
                    </a:lnTo>
                    <a:lnTo>
                      <a:pt x="300" y="193"/>
                    </a:lnTo>
                    <a:lnTo>
                      <a:pt x="301" y="195"/>
                    </a:lnTo>
                    <a:lnTo>
                      <a:pt x="301" y="196"/>
                    </a:lnTo>
                    <a:lnTo>
                      <a:pt x="300" y="197"/>
                    </a:lnTo>
                    <a:lnTo>
                      <a:pt x="299" y="198"/>
                    </a:lnTo>
                    <a:lnTo>
                      <a:pt x="298" y="199"/>
                    </a:lnTo>
                    <a:lnTo>
                      <a:pt x="298" y="200"/>
                    </a:lnTo>
                    <a:lnTo>
                      <a:pt x="299" y="200"/>
                    </a:lnTo>
                    <a:lnTo>
                      <a:pt x="299" y="201"/>
                    </a:lnTo>
                    <a:lnTo>
                      <a:pt x="299" y="202"/>
                    </a:lnTo>
                    <a:lnTo>
                      <a:pt x="299" y="204"/>
                    </a:lnTo>
                    <a:lnTo>
                      <a:pt x="299" y="205"/>
                    </a:lnTo>
                    <a:lnTo>
                      <a:pt x="300" y="205"/>
                    </a:lnTo>
                    <a:lnTo>
                      <a:pt x="304" y="202"/>
                    </a:lnTo>
                    <a:lnTo>
                      <a:pt x="304" y="201"/>
                    </a:lnTo>
                    <a:lnTo>
                      <a:pt x="305" y="201"/>
                    </a:lnTo>
                    <a:lnTo>
                      <a:pt x="308" y="204"/>
                    </a:lnTo>
                    <a:lnTo>
                      <a:pt x="308" y="205"/>
                    </a:lnTo>
                    <a:lnTo>
                      <a:pt x="308" y="207"/>
                    </a:lnTo>
                    <a:lnTo>
                      <a:pt x="306" y="208"/>
                    </a:lnTo>
                    <a:lnTo>
                      <a:pt x="306" y="209"/>
                    </a:lnTo>
                    <a:lnTo>
                      <a:pt x="308" y="209"/>
                    </a:lnTo>
                    <a:lnTo>
                      <a:pt x="309" y="209"/>
                    </a:lnTo>
                    <a:lnTo>
                      <a:pt x="311" y="208"/>
                    </a:lnTo>
                    <a:lnTo>
                      <a:pt x="312" y="208"/>
                    </a:lnTo>
                    <a:lnTo>
                      <a:pt x="313" y="208"/>
                    </a:lnTo>
                    <a:lnTo>
                      <a:pt x="314" y="208"/>
                    </a:lnTo>
                    <a:lnTo>
                      <a:pt x="314" y="209"/>
                    </a:lnTo>
                    <a:lnTo>
                      <a:pt x="315" y="210"/>
                    </a:lnTo>
                    <a:lnTo>
                      <a:pt x="315" y="211"/>
                    </a:lnTo>
                    <a:lnTo>
                      <a:pt x="315" y="212"/>
                    </a:lnTo>
                    <a:lnTo>
                      <a:pt x="316" y="213"/>
                    </a:lnTo>
                    <a:lnTo>
                      <a:pt x="316" y="214"/>
                    </a:lnTo>
                    <a:lnTo>
                      <a:pt x="317" y="215"/>
                    </a:lnTo>
                    <a:lnTo>
                      <a:pt x="317" y="217"/>
                    </a:lnTo>
                    <a:lnTo>
                      <a:pt x="317" y="218"/>
                    </a:lnTo>
                    <a:lnTo>
                      <a:pt x="316" y="219"/>
                    </a:lnTo>
                    <a:lnTo>
                      <a:pt x="316" y="220"/>
                    </a:lnTo>
                    <a:lnTo>
                      <a:pt x="316" y="221"/>
                    </a:lnTo>
                    <a:lnTo>
                      <a:pt x="316" y="222"/>
                    </a:lnTo>
                    <a:lnTo>
                      <a:pt x="316" y="223"/>
                    </a:lnTo>
                    <a:lnTo>
                      <a:pt x="336" y="246"/>
                    </a:lnTo>
                    <a:lnTo>
                      <a:pt x="338" y="247"/>
                    </a:lnTo>
                    <a:lnTo>
                      <a:pt x="340" y="249"/>
                    </a:lnTo>
                    <a:lnTo>
                      <a:pt x="343" y="252"/>
                    </a:lnTo>
                    <a:lnTo>
                      <a:pt x="350" y="256"/>
                    </a:lnTo>
                    <a:lnTo>
                      <a:pt x="360" y="259"/>
                    </a:lnTo>
                    <a:lnTo>
                      <a:pt x="361" y="259"/>
                    </a:lnTo>
                    <a:lnTo>
                      <a:pt x="362" y="259"/>
                    </a:lnTo>
                    <a:lnTo>
                      <a:pt x="360" y="260"/>
                    </a:lnTo>
                    <a:lnTo>
                      <a:pt x="356" y="262"/>
                    </a:lnTo>
                    <a:lnTo>
                      <a:pt x="355" y="262"/>
                    </a:lnTo>
                    <a:lnTo>
                      <a:pt x="354" y="262"/>
                    </a:lnTo>
                    <a:lnTo>
                      <a:pt x="351" y="263"/>
                    </a:lnTo>
                    <a:lnTo>
                      <a:pt x="347" y="264"/>
                    </a:lnTo>
                    <a:lnTo>
                      <a:pt x="343" y="264"/>
                    </a:lnTo>
                    <a:lnTo>
                      <a:pt x="340" y="265"/>
                    </a:lnTo>
                    <a:lnTo>
                      <a:pt x="335" y="265"/>
                    </a:lnTo>
                    <a:lnTo>
                      <a:pt x="329" y="268"/>
                    </a:lnTo>
                    <a:lnTo>
                      <a:pt x="325" y="269"/>
                    </a:lnTo>
                    <a:lnTo>
                      <a:pt x="319" y="271"/>
                    </a:lnTo>
                    <a:lnTo>
                      <a:pt x="316" y="272"/>
                    </a:lnTo>
                    <a:lnTo>
                      <a:pt x="312" y="274"/>
                    </a:lnTo>
                    <a:lnTo>
                      <a:pt x="308" y="276"/>
                    </a:lnTo>
                    <a:lnTo>
                      <a:pt x="305" y="277"/>
                    </a:lnTo>
                    <a:lnTo>
                      <a:pt x="303" y="279"/>
                    </a:lnTo>
                    <a:lnTo>
                      <a:pt x="302" y="281"/>
                    </a:lnTo>
                    <a:lnTo>
                      <a:pt x="301" y="281"/>
                    </a:lnTo>
                    <a:lnTo>
                      <a:pt x="301" y="282"/>
                    </a:lnTo>
                    <a:lnTo>
                      <a:pt x="300" y="283"/>
                    </a:lnTo>
                    <a:lnTo>
                      <a:pt x="291" y="298"/>
                    </a:lnTo>
                    <a:lnTo>
                      <a:pt x="287" y="305"/>
                    </a:lnTo>
                    <a:lnTo>
                      <a:pt x="285" y="309"/>
                    </a:lnTo>
                    <a:lnTo>
                      <a:pt x="283" y="312"/>
                    </a:lnTo>
                    <a:lnTo>
                      <a:pt x="280" y="315"/>
                    </a:lnTo>
                    <a:lnTo>
                      <a:pt x="277" y="317"/>
                    </a:lnTo>
                    <a:lnTo>
                      <a:pt x="275" y="320"/>
                    </a:lnTo>
                    <a:lnTo>
                      <a:pt x="272" y="321"/>
                    </a:lnTo>
                    <a:lnTo>
                      <a:pt x="270" y="322"/>
                    </a:lnTo>
                    <a:lnTo>
                      <a:pt x="267" y="323"/>
                    </a:lnTo>
                    <a:lnTo>
                      <a:pt x="265" y="324"/>
                    </a:lnTo>
                    <a:lnTo>
                      <a:pt x="262" y="324"/>
                    </a:lnTo>
                    <a:lnTo>
                      <a:pt x="260" y="324"/>
                    </a:lnTo>
                    <a:lnTo>
                      <a:pt x="258" y="324"/>
                    </a:lnTo>
                    <a:lnTo>
                      <a:pt x="257" y="324"/>
                    </a:lnTo>
                    <a:lnTo>
                      <a:pt x="253" y="323"/>
                    </a:lnTo>
                    <a:lnTo>
                      <a:pt x="251" y="321"/>
                    </a:lnTo>
                    <a:lnTo>
                      <a:pt x="250" y="320"/>
                    </a:lnTo>
                    <a:lnTo>
                      <a:pt x="248" y="318"/>
                    </a:lnTo>
                    <a:lnTo>
                      <a:pt x="245" y="314"/>
                    </a:lnTo>
                    <a:lnTo>
                      <a:pt x="244" y="313"/>
                    </a:lnTo>
                    <a:lnTo>
                      <a:pt x="242" y="310"/>
                    </a:lnTo>
                    <a:lnTo>
                      <a:pt x="241" y="309"/>
                    </a:lnTo>
                    <a:lnTo>
                      <a:pt x="240" y="308"/>
                    </a:lnTo>
                    <a:lnTo>
                      <a:pt x="239" y="308"/>
                    </a:lnTo>
                    <a:lnTo>
                      <a:pt x="238" y="308"/>
                    </a:lnTo>
                    <a:lnTo>
                      <a:pt x="237" y="308"/>
                    </a:lnTo>
                    <a:lnTo>
                      <a:pt x="236" y="308"/>
                    </a:lnTo>
                    <a:lnTo>
                      <a:pt x="235" y="309"/>
                    </a:lnTo>
                    <a:lnTo>
                      <a:pt x="234" y="309"/>
                    </a:lnTo>
                    <a:lnTo>
                      <a:pt x="234" y="310"/>
                    </a:lnTo>
                    <a:lnTo>
                      <a:pt x="233" y="310"/>
                    </a:lnTo>
                    <a:lnTo>
                      <a:pt x="232" y="310"/>
                    </a:lnTo>
                    <a:lnTo>
                      <a:pt x="232" y="309"/>
                    </a:lnTo>
                    <a:lnTo>
                      <a:pt x="231" y="309"/>
                    </a:lnTo>
                    <a:lnTo>
                      <a:pt x="231" y="308"/>
                    </a:lnTo>
                    <a:lnTo>
                      <a:pt x="229" y="307"/>
                    </a:lnTo>
                    <a:lnTo>
                      <a:pt x="229" y="305"/>
                    </a:lnTo>
                    <a:lnTo>
                      <a:pt x="228" y="305"/>
                    </a:lnTo>
                    <a:lnTo>
                      <a:pt x="225" y="305"/>
                    </a:lnTo>
                    <a:lnTo>
                      <a:pt x="224" y="305"/>
                    </a:lnTo>
                    <a:lnTo>
                      <a:pt x="220" y="304"/>
                    </a:lnTo>
                    <a:lnTo>
                      <a:pt x="219" y="304"/>
                    </a:lnTo>
                    <a:lnTo>
                      <a:pt x="219" y="303"/>
                    </a:lnTo>
                    <a:lnTo>
                      <a:pt x="219" y="302"/>
                    </a:lnTo>
                    <a:lnTo>
                      <a:pt x="218" y="300"/>
                    </a:lnTo>
                    <a:lnTo>
                      <a:pt x="216" y="300"/>
                    </a:lnTo>
                    <a:lnTo>
                      <a:pt x="215" y="300"/>
                    </a:lnTo>
                    <a:lnTo>
                      <a:pt x="213" y="299"/>
                    </a:lnTo>
                    <a:lnTo>
                      <a:pt x="211" y="297"/>
                    </a:lnTo>
                    <a:lnTo>
                      <a:pt x="210" y="297"/>
                    </a:lnTo>
                    <a:lnTo>
                      <a:pt x="207" y="300"/>
                    </a:lnTo>
                    <a:lnTo>
                      <a:pt x="203" y="301"/>
                    </a:lnTo>
                    <a:lnTo>
                      <a:pt x="202" y="301"/>
                    </a:lnTo>
                    <a:lnTo>
                      <a:pt x="201" y="305"/>
                    </a:lnTo>
                    <a:lnTo>
                      <a:pt x="200" y="307"/>
                    </a:lnTo>
                    <a:lnTo>
                      <a:pt x="201" y="308"/>
                    </a:lnTo>
                    <a:lnTo>
                      <a:pt x="201" y="309"/>
                    </a:lnTo>
                    <a:lnTo>
                      <a:pt x="201" y="310"/>
                    </a:lnTo>
                    <a:lnTo>
                      <a:pt x="202" y="310"/>
                    </a:lnTo>
                    <a:lnTo>
                      <a:pt x="201" y="311"/>
                    </a:lnTo>
                    <a:lnTo>
                      <a:pt x="200" y="311"/>
                    </a:lnTo>
                    <a:lnTo>
                      <a:pt x="199" y="309"/>
                    </a:lnTo>
                    <a:lnTo>
                      <a:pt x="198" y="309"/>
                    </a:lnTo>
                    <a:lnTo>
                      <a:pt x="197" y="309"/>
                    </a:lnTo>
                    <a:lnTo>
                      <a:pt x="196" y="310"/>
                    </a:lnTo>
                    <a:lnTo>
                      <a:pt x="194" y="311"/>
                    </a:lnTo>
                    <a:lnTo>
                      <a:pt x="192" y="313"/>
                    </a:lnTo>
                    <a:lnTo>
                      <a:pt x="192" y="314"/>
                    </a:lnTo>
                    <a:lnTo>
                      <a:pt x="192" y="315"/>
                    </a:lnTo>
                    <a:lnTo>
                      <a:pt x="192" y="316"/>
                    </a:lnTo>
                    <a:lnTo>
                      <a:pt x="193" y="317"/>
                    </a:lnTo>
                    <a:lnTo>
                      <a:pt x="194" y="318"/>
                    </a:lnTo>
                    <a:lnTo>
                      <a:pt x="195" y="320"/>
                    </a:lnTo>
                    <a:lnTo>
                      <a:pt x="195" y="321"/>
                    </a:lnTo>
                    <a:lnTo>
                      <a:pt x="195" y="322"/>
                    </a:lnTo>
                    <a:lnTo>
                      <a:pt x="194" y="322"/>
                    </a:lnTo>
                    <a:lnTo>
                      <a:pt x="193" y="322"/>
                    </a:lnTo>
                    <a:lnTo>
                      <a:pt x="193" y="323"/>
                    </a:lnTo>
                    <a:lnTo>
                      <a:pt x="192" y="324"/>
                    </a:lnTo>
                    <a:lnTo>
                      <a:pt x="193" y="324"/>
                    </a:lnTo>
                    <a:lnTo>
                      <a:pt x="193" y="325"/>
                    </a:lnTo>
                    <a:lnTo>
                      <a:pt x="192" y="326"/>
                    </a:lnTo>
                    <a:lnTo>
                      <a:pt x="190" y="326"/>
                    </a:lnTo>
                    <a:lnTo>
                      <a:pt x="189" y="327"/>
                    </a:lnTo>
                    <a:lnTo>
                      <a:pt x="189" y="328"/>
                    </a:lnTo>
                    <a:lnTo>
                      <a:pt x="189" y="330"/>
                    </a:lnTo>
                    <a:lnTo>
                      <a:pt x="188" y="331"/>
                    </a:lnTo>
                    <a:lnTo>
                      <a:pt x="188" y="333"/>
                    </a:lnTo>
                    <a:lnTo>
                      <a:pt x="187" y="334"/>
                    </a:lnTo>
                    <a:lnTo>
                      <a:pt x="186" y="335"/>
                    </a:lnTo>
                    <a:lnTo>
                      <a:pt x="185" y="336"/>
                    </a:lnTo>
                    <a:lnTo>
                      <a:pt x="184" y="337"/>
                    </a:lnTo>
                    <a:lnTo>
                      <a:pt x="183" y="337"/>
                    </a:lnTo>
                    <a:lnTo>
                      <a:pt x="182" y="337"/>
                    </a:lnTo>
                    <a:lnTo>
                      <a:pt x="181" y="337"/>
                    </a:lnTo>
                    <a:lnTo>
                      <a:pt x="180" y="337"/>
                    </a:lnTo>
                    <a:lnTo>
                      <a:pt x="179" y="337"/>
                    </a:lnTo>
                    <a:lnTo>
                      <a:pt x="179" y="336"/>
                    </a:lnTo>
                    <a:lnTo>
                      <a:pt x="179" y="335"/>
                    </a:lnTo>
                    <a:lnTo>
                      <a:pt x="177" y="334"/>
                    </a:lnTo>
                    <a:lnTo>
                      <a:pt x="177" y="333"/>
                    </a:lnTo>
                    <a:lnTo>
                      <a:pt x="177" y="331"/>
                    </a:lnTo>
                    <a:lnTo>
                      <a:pt x="176" y="329"/>
                    </a:lnTo>
                    <a:lnTo>
                      <a:pt x="175" y="329"/>
                    </a:lnTo>
                    <a:lnTo>
                      <a:pt x="174" y="329"/>
                    </a:lnTo>
                    <a:lnTo>
                      <a:pt x="173" y="329"/>
                    </a:lnTo>
                    <a:lnTo>
                      <a:pt x="173" y="330"/>
                    </a:lnTo>
                    <a:lnTo>
                      <a:pt x="172" y="330"/>
                    </a:lnTo>
                    <a:lnTo>
                      <a:pt x="171" y="330"/>
                    </a:lnTo>
                    <a:lnTo>
                      <a:pt x="170" y="329"/>
                    </a:lnTo>
                    <a:lnTo>
                      <a:pt x="169" y="329"/>
                    </a:lnTo>
                    <a:lnTo>
                      <a:pt x="169" y="328"/>
                    </a:lnTo>
                    <a:lnTo>
                      <a:pt x="168" y="328"/>
                    </a:lnTo>
                    <a:lnTo>
                      <a:pt x="168" y="327"/>
                    </a:lnTo>
                    <a:lnTo>
                      <a:pt x="167" y="327"/>
                    </a:lnTo>
                    <a:lnTo>
                      <a:pt x="167" y="325"/>
                    </a:lnTo>
                    <a:lnTo>
                      <a:pt x="167" y="324"/>
                    </a:lnTo>
                    <a:lnTo>
                      <a:pt x="167" y="323"/>
                    </a:lnTo>
                    <a:lnTo>
                      <a:pt x="167" y="322"/>
                    </a:lnTo>
                    <a:lnTo>
                      <a:pt x="167" y="321"/>
                    </a:lnTo>
                    <a:lnTo>
                      <a:pt x="166" y="320"/>
                    </a:lnTo>
                    <a:lnTo>
                      <a:pt x="164" y="320"/>
                    </a:lnTo>
                    <a:lnTo>
                      <a:pt x="164" y="318"/>
                    </a:lnTo>
                    <a:lnTo>
                      <a:pt x="164" y="317"/>
                    </a:lnTo>
                    <a:lnTo>
                      <a:pt x="164" y="316"/>
                    </a:lnTo>
                    <a:lnTo>
                      <a:pt x="164" y="315"/>
                    </a:lnTo>
                    <a:lnTo>
                      <a:pt x="163" y="314"/>
                    </a:lnTo>
                    <a:lnTo>
                      <a:pt x="163" y="313"/>
                    </a:lnTo>
                    <a:lnTo>
                      <a:pt x="162" y="312"/>
                    </a:lnTo>
                    <a:lnTo>
                      <a:pt x="161" y="312"/>
                    </a:lnTo>
                    <a:lnTo>
                      <a:pt x="161" y="311"/>
                    </a:lnTo>
                    <a:lnTo>
                      <a:pt x="160" y="311"/>
                    </a:lnTo>
                    <a:lnTo>
                      <a:pt x="159" y="311"/>
                    </a:lnTo>
                    <a:lnTo>
                      <a:pt x="159" y="312"/>
                    </a:lnTo>
                    <a:lnTo>
                      <a:pt x="158" y="312"/>
                    </a:lnTo>
                    <a:lnTo>
                      <a:pt x="157" y="311"/>
                    </a:lnTo>
                    <a:lnTo>
                      <a:pt x="157" y="310"/>
                    </a:lnTo>
                    <a:lnTo>
                      <a:pt x="157" y="309"/>
                    </a:lnTo>
                    <a:lnTo>
                      <a:pt x="158" y="309"/>
                    </a:lnTo>
                    <a:lnTo>
                      <a:pt x="159" y="309"/>
                    </a:lnTo>
                    <a:lnTo>
                      <a:pt x="159" y="308"/>
                    </a:lnTo>
                    <a:lnTo>
                      <a:pt x="159" y="307"/>
                    </a:lnTo>
                    <a:lnTo>
                      <a:pt x="159" y="305"/>
                    </a:lnTo>
                    <a:lnTo>
                      <a:pt x="159" y="304"/>
                    </a:lnTo>
                    <a:lnTo>
                      <a:pt x="158" y="303"/>
                    </a:lnTo>
                    <a:lnTo>
                      <a:pt x="157" y="303"/>
                    </a:lnTo>
                    <a:lnTo>
                      <a:pt x="158" y="302"/>
                    </a:lnTo>
                    <a:lnTo>
                      <a:pt x="157" y="302"/>
                    </a:lnTo>
                    <a:lnTo>
                      <a:pt x="156" y="302"/>
                    </a:lnTo>
                    <a:lnTo>
                      <a:pt x="155" y="301"/>
                    </a:lnTo>
                    <a:lnTo>
                      <a:pt x="155" y="300"/>
                    </a:lnTo>
                    <a:lnTo>
                      <a:pt x="154" y="300"/>
                    </a:lnTo>
                    <a:lnTo>
                      <a:pt x="154" y="299"/>
                    </a:lnTo>
                    <a:lnTo>
                      <a:pt x="153" y="298"/>
                    </a:lnTo>
                    <a:lnTo>
                      <a:pt x="153" y="297"/>
                    </a:lnTo>
                    <a:lnTo>
                      <a:pt x="153" y="296"/>
                    </a:lnTo>
                    <a:lnTo>
                      <a:pt x="153" y="295"/>
                    </a:lnTo>
                    <a:lnTo>
                      <a:pt x="153" y="294"/>
                    </a:lnTo>
                    <a:lnTo>
                      <a:pt x="153" y="295"/>
                    </a:lnTo>
                    <a:lnTo>
                      <a:pt x="151" y="295"/>
                    </a:lnTo>
                    <a:lnTo>
                      <a:pt x="150" y="294"/>
                    </a:lnTo>
                    <a:lnTo>
                      <a:pt x="149" y="294"/>
                    </a:lnTo>
                    <a:lnTo>
                      <a:pt x="149" y="292"/>
                    </a:lnTo>
                    <a:lnTo>
                      <a:pt x="148" y="291"/>
                    </a:lnTo>
                    <a:lnTo>
                      <a:pt x="148" y="290"/>
                    </a:lnTo>
                    <a:lnTo>
                      <a:pt x="147" y="290"/>
                    </a:lnTo>
                    <a:lnTo>
                      <a:pt x="146" y="290"/>
                    </a:lnTo>
                    <a:lnTo>
                      <a:pt x="146" y="291"/>
                    </a:lnTo>
                    <a:lnTo>
                      <a:pt x="146" y="290"/>
                    </a:lnTo>
                    <a:lnTo>
                      <a:pt x="145" y="290"/>
                    </a:lnTo>
                    <a:lnTo>
                      <a:pt x="145" y="291"/>
                    </a:lnTo>
                    <a:lnTo>
                      <a:pt x="144" y="290"/>
                    </a:lnTo>
                    <a:lnTo>
                      <a:pt x="143" y="290"/>
                    </a:lnTo>
                    <a:lnTo>
                      <a:pt x="143" y="291"/>
                    </a:lnTo>
                    <a:lnTo>
                      <a:pt x="142" y="291"/>
                    </a:lnTo>
                    <a:lnTo>
                      <a:pt x="141" y="291"/>
                    </a:lnTo>
                    <a:lnTo>
                      <a:pt x="141" y="292"/>
                    </a:lnTo>
                    <a:lnTo>
                      <a:pt x="140" y="291"/>
                    </a:lnTo>
                    <a:lnTo>
                      <a:pt x="138" y="291"/>
                    </a:lnTo>
                    <a:lnTo>
                      <a:pt x="137" y="291"/>
                    </a:lnTo>
                    <a:lnTo>
                      <a:pt x="137" y="290"/>
                    </a:lnTo>
                    <a:lnTo>
                      <a:pt x="136" y="290"/>
                    </a:lnTo>
                    <a:lnTo>
                      <a:pt x="135" y="289"/>
                    </a:lnTo>
                    <a:lnTo>
                      <a:pt x="135" y="288"/>
                    </a:lnTo>
                    <a:lnTo>
                      <a:pt x="134" y="288"/>
                    </a:lnTo>
                    <a:lnTo>
                      <a:pt x="133" y="288"/>
                    </a:lnTo>
                    <a:lnTo>
                      <a:pt x="133" y="287"/>
                    </a:lnTo>
                    <a:lnTo>
                      <a:pt x="133" y="286"/>
                    </a:lnTo>
                    <a:lnTo>
                      <a:pt x="132" y="286"/>
                    </a:lnTo>
                    <a:lnTo>
                      <a:pt x="132" y="285"/>
                    </a:lnTo>
                    <a:lnTo>
                      <a:pt x="133" y="285"/>
                    </a:lnTo>
                    <a:lnTo>
                      <a:pt x="133" y="284"/>
                    </a:lnTo>
                    <a:lnTo>
                      <a:pt x="133" y="283"/>
                    </a:lnTo>
                    <a:lnTo>
                      <a:pt x="132" y="283"/>
                    </a:lnTo>
                    <a:lnTo>
                      <a:pt x="131" y="283"/>
                    </a:lnTo>
                    <a:lnTo>
                      <a:pt x="131" y="282"/>
                    </a:lnTo>
                    <a:lnTo>
                      <a:pt x="130" y="282"/>
                    </a:lnTo>
                    <a:lnTo>
                      <a:pt x="129" y="282"/>
                    </a:lnTo>
                    <a:lnTo>
                      <a:pt x="129" y="281"/>
                    </a:lnTo>
                    <a:lnTo>
                      <a:pt x="128" y="281"/>
                    </a:lnTo>
                    <a:lnTo>
                      <a:pt x="126" y="281"/>
                    </a:lnTo>
                    <a:lnTo>
                      <a:pt x="125" y="279"/>
                    </a:lnTo>
                    <a:lnTo>
                      <a:pt x="125" y="278"/>
                    </a:lnTo>
                    <a:lnTo>
                      <a:pt x="124" y="278"/>
                    </a:lnTo>
                    <a:lnTo>
                      <a:pt x="124" y="277"/>
                    </a:lnTo>
                    <a:lnTo>
                      <a:pt x="123" y="276"/>
                    </a:lnTo>
                    <a:lnTo>
                      <a:pt x="123" y="275"/>
                    </a:lnTo>
                    <a:lnTo>
                      <a:pt x="122" y="274"/>
                    </a:lnTo>
                    <a:lnTo>
                      <a:pt x="122" y="273"/>
                    </a:lnTo>
                    <a:lnTo>
                      <a:pt x="123" y="272"/>
                    </a:lnTo>
                    <a:lnTo>
                      <a:pt x="124" y="271"/>
                    </a:lnTo>
                    <a:lnTo>
                      <a:pt x="125" y="269"/>
                    </a:lnTo>
                    <a:lnTo>
                      <a:pt x="126" y="268"/>
                    </a:lnTo>
                    <a:lnTo>
                      <a:pt x="128" y="266"/>
                    </a:lnTo>
                    <a:lnTo>
                      <a:pt x="129" y="266"/>
                    </a:lnTo>
                    <a:lnTo>
                      <a:pt x="128" y="266"/>
                    </a:lnTo>
                    <a:lnTo>
                      <a:pt x="128" y="265"/>
                    </a:lnTo>
                    <a:lnTo>
                      <a:pt x="126" y="265"/>
                    </a:lnTo>
                    <a:lnTo>
                      <a:pt x="126" y="264"/>
                    </a:lnTo>
                    <a:lnTo>
                      <a:pt x="126" y="263"/>
                    </a:lnTo>
                    <a:lnTo>
                      <a:pt x="125" y="262"/>
                    </a:lnTo>
                    <a:lnTo>
                      <a:pt x="124" y="262"/>
                    </a:lnTo>
                    <a:lnTo>
                      <a:pt x="123" y="262"/>
                    </a:lnTo>
                    <a:lnTo>
                      <a:pt x="122" y="262"/>
                    </a:lnTo>
                    <a:lnTo>
                      <a:pt x="121" y="262"/>
                    </a:lnTo>
                    <a:lnTo>
                      <a:pt x="120" y="262"/>
                    </a:lnTo>
                    <a:lnTo>
                      <a:pt x="120" y="261"/>
                    </a:lnTo>
                    <a:lnTo>
                      <a:pt x="119" y="260"/>
                    </a:lnTo>
                    <a:lnTo>
                      <a:pt x="118" y="260"/>
                    </a:lnTo>
                    <a:lnTo>
                      <a:pt x="118" y="261"/>
                    </a:lnTo>
                    <a:lnTo>
                      <a:pt x="119" y="262"/>
                    </a:lnTo>
                    <a:lnTo>
                      <a:pt x="119" y="263"/>
                    </a:lnTo>
                    <a:lnTo>
                      <a:pt x="118" y="263"/>
                    </a:lnTo>
                    <a:lnTo>
                      <a:pt x="117" y="263"/>
                    </a:lnTo>
                    <a:lnTo>
                      <a:pt x="115" y="264"/>
                    </a:lnTo>
                    <a:lnTo>
                      <a:pt x="113" y="264"/>
                    </a:lnTo>
                    <a:lnTo>
                      <a:pt x="113" y="265"/>
                    </a:lnTo>
                    <a:lnTo>
                      <a:pt x="112" y="265"/>
                    </a:lnTo>
                    <a:lnTo>
                      <a:pt x="112" y="266"/>
                    </a:lnTo>
                    <a:lnTo>
                      <a:pt x="111" y="266"/>
                    </a:lnTo>
                    <a:lnTo>
                      <a:pt x="110" y="266"/>
                    </a:lnTo>
                    <a:lnTo>
                      <a:pt x="110" y="265"/>
                    </a:lnTo>
                    <a:lnTo>
                      <a:pt x="110" y="264"/>
                    </a:lnTo>
                    <a:lnTo>
                      <a:pt x="109" y="263"/>
                    </a:lnTo>
                    <a:lnTo>
                      <a:pt x="109" y="261"/>
                    </a:lnTo>
                    <a:lnTo>
                      <a:pt x="108" y="260"/>
                    </a:lnTo>
                    <a:lnTo>
                      <a:pt x="107" y="258"/>
                    </a:lnTo>
                    <a:lnTo>
                      <a:pt x="107" y="257"/>
                    </a:lnTo>
                    <a:lnTo>
                      <a:pt x="108" y="257"/>
                    </a:lnTo>
                    <a:lnTo>
                      <a:pt x="108" y="256"/>
                    </a:lnTo>
                    <a:lnTo>
                      <a:pt x="109" y="256"/>
                    </a:lnTo>
                    <a:lnTo>
                      <a:pt x="109" y="254"/>
                    </a:lnTo>
                    <a:lnTo>
                      <a:pt x="108" y="254"/>
                    </a:lnTo>
                    <a:lnTo>
                      <a:pt x="107" y="254"/>
                    </a:lnTo>
                    <a:lnTo>
                      <a:pt x="106" y="254"/>
                    </a:lnTo>
                    <a:lnTo>
                      <a:pt x="105" y="254"/>
                    </a:lnTo>
                    <a:lnTo>
                      <a:pt x="104" y="254"/>
                    </a:lnTo>
                    <a:lnTo>
                      <a:pt x="103" y="253"/>
                    </a:lnTo>
                    <a:lnTo>
                      <a:pt x="102" y="253"/>
                    </a:lnTo>
                    <a:lnTo>
                      <a:pt x="102" y="251"/>
                    </a:lnTo>
                    <a:lnTo>
                      <a:pt x="102" y="250"/>
                    </a:lnTo>
                    <a:lnTo>
                      <a:pt x="102" y="249"/>
                    </a:lnTo>
                    <a:lnTo>
                      <a:pt x="103" y="249"/>
                    </a:lnTo>
                    <a:lnTo>
                      <a:pt x="104" y="249"/>
                    </a:lnTo>
                    <a:lnTo>
                      <a:pt x="104" y="248"/>
                    </a:lnTo>
                    <a:lnTo>
                      <a:pt x="103" y="248"/>
                    </a:lnTo>
                    <a:lnTo>
                      <a:pt x="102" y="247"/>
                    </a:lnTo>
                    <a:lnTo>
                      <a:pt x="102" y="246"/>
                    </a:lnTo>
                    <a:lnTo>
                      <a:pt x="102" y="245"/>
                    </a:lnTo>
                    <a:lnTo>
                      <a:pt x="100" y="244"/>
                    </a:lnTo>
                    <a:lnTo>
                      <a:pt x="100" y="243"/>
                    </a:lnTo>
                    <a:lnTo>
                      <a:pt x="100" y="241"/>
                    </a:lnTo>
                    <a:lnTo>
                      <a:pt x="99" y="240"/>
                    </a:lnTo>
                    <a:lnTo>
                      <a:pt x="99" y="239"/>
                    </a:lnTo>
                    <a:lnTo>
                      <a:pt x="98" y="239"/>
                    </a:lnTo>
                    <a:lnTo>
                      <a:pt x="99" y="238"/>
                    </a:lnTo>
                    <a:lnTo>
                      <a:pt x="99" y="237"/>
                    </a:lnTo>
                    <a:lnTo>
                      <a:pt x="99" y="236"/>
                    </a:lnTo>
                    <a:lnTo>
                      <a:pt x="98" y="236"/>
                    </a:lnTo>
                    <a:lnTo>
                      <a:pt x="96" y="236"/>
                    </a:lnTo>
                    <a:lnTo>
                      <a:pt x="95" y="236"/>
                    </a:lnTo>
                    <a:lnTo>
                      <a:pt x="94" y="236"/>
                    </a:lnTo>
                    <a:lnTo>
                      <a:pt x="93" y="235"/>
                    </a:lnTo>
                    <a:lnTo>
                      <a:pt x="93" y="234"/>
                    </a:lnTo>
                    <a:lnTo>
                      <a:pt x="93" y="233"/>
                    </a:lnTo>
                    <a:lnTo>
                      <a:pt x="93" y="232"/>
                    </a:lnTo>
                    <a:lnTo>
                      <a:pt x="94" y="232"/>
                    </a:lnTo>
                    <a:lnTo>
                      <a:pt x="95" y="232"/>
                    </a:lnTo>
                    <a:lnTo>
                      <a:pt x="95" y="231"/>
                    </a:lnTo>
                    <a:lnTo>
                      <a:pt x="94" y="231"/>
                    </a:lnTo>
                    <a:lnTo>
                      <a:pt x="93" y="230"/>
                    </a:lnTo>
                    <a:lnTo>
                      <a:pt x="92" y="230"/>
                    </a:lnTo>
                    <a:lnTo>
                      <a:pt x="91" y="228"/>
                    </a:lnTo>
                    <a:lnTo>
                      <a:pt x="90" y="228"/>
                    </a:lnTo>
                    <a:lnTo>
                      <a:pt x="89" y="228"/>
                    </a:lnTo>
                    <a:lnTo>
                      <a:pt x="87" y="228"/>
                    </a:lnTo>
                    <a:lnTo>
                      <a:pt x="86" y="227"/>
                    </a:lnTo>
                    <a:lnTo>
                      <a:pt x="85" y="226"/>
                    </a:lnTo>
                    <a:lnTo>
                      <a:pt x="85" y="225"/>
                    </a:lnTo>
                    <a:lnTo>
                      <a:pt x="84" y="224"/>
                    </a:lnTo>
                    <a:lnTo>
                      <a:pt x="83" y="224"/>
                    </a:lnTo>
                    <a:lnTo>
                      <a:pt x="82" y="222"/>
                    </a:lnTo>
                    <a:lnTo>
                      <a:pt x="81" y="222"/>
                    </a:lnTo>
                    <a:lnTo>
                      <a:pt x="81" y="221"/>
                    </a:lnTo>
                    <a:lnTo>
                      <a:pt x="81" y="220"/>
                    </a:lnTo>
                    <a:lnTo>
                      <a:pt x="82" y="220"/>
                    </a:lnTo>
                    <a:lnTo>
                      <a:pt x="82" y="219"/>
                    </a:lnTo>
                    <a:lnTo>
                      <a:pt x="81" y="218"/>
                    </a:lnTo>
                    <a:lnTo>
                      <a:pt x="80" y="219"/>
                    </a:lnTo>
                    <a:lnTo>
                      <a:pt x="79" y="220"/>
                    </a:lnTo>
                    <a:lnTo>
                      <a:pt x="78" y="220"/>
                    </a:lnTo>
                    <a:lnTo>
                      <a:pt x="77" y="220"/>
                    </a:lnTo>
                    <a:lnTo>
                      <a:pt x="77" y="219"/>
                    </a:lnTo>
                    <a:lnTo>
                      <a:pt x="76" y="219"/>
                    </a:lnTo>
                    <a:lnTo>
                      <a:pt x="74" y="219"/>
                    </a:lnTo>
                    <a:lnTo>
                      <a:pt x="73" y="219"/>
                    </a:lnTo>
                    <a:lnTo>
                      <a:pt x="73" y="218"/>
                    </a:lnTo>
                    <a:lnTo>
                      <a:pt x="73" y="217"/>
                    </a:lnTo>
                    <a:lnTo>
                      <a:pt x="72" y="217"/>
                    </a:lnTo>
                    <a:lnTo>
                      <a:pt x="71" y="218"/>
                    </a:lnTo>
                    <a:lnTo>
                      <a:pt x="70" y="218"/>
                    </a:lnTo>
                    <a:lnTo>
                      <a:pt x="69" y="218"/>
                    </a:lnTo>
                    <a:lnTo>
                      <a:pt x="68" y="218"/>
                    </a:lnTo>
                    <a:lnTo>
                      <a:pt x="68" y="217"/>
                    </a:lnTo>
                    <a:lnTo>
                      <a:pt x="67" y="217"/>
                    </a:lnTo>
                    <a:lnTo>
                      <a:pt x="67" y="218"/>
                    </a:lnTo>
                    <a:lnTo>
                      <a:pt x="67" y="219"/>
                    </a:lnTo>
                    <a:lnTo>
                      <a:pt x="66" y="219"/>
                    </a:lnTo>
                    <a:lnTo>
                      <a:pt x="66" y="218"/>
                    </a:lnTo>
                    <a:lnTo>
                      <a:pt x="66" y="217"/>
                    </a:lnTo>
                    <a:lnTo>
                      <a:pt x="65" y="217"/>
                    </a:lnTo>
                    <a:lnTo>
                      <a:pt x="65" y="215"/>
                    </a:lnTo>
                    <a:lnTo>
                      <a:pt x="64" y="215"/>
                    </a:lnTo>
                    <a:lnTo>
                      <a:pt x="64" y="217"/>
                    </a:lnTo>
                    <a:lnTo>
                      <a:pt x="63" y="218"/>
                    </a:lnTo>
                    <a:lnTo>
                      <a:pt x="61" y="218"/>
                    </a:lnTo>
                    <a:lnTo>
                      <a:pt x="61" y="217"/>
                    </a:lnTo>
                    <a:lnTo>
                      <a:pt x="60" y="215"/>
                    </a:lnTo>
                    <a:lnTo>
                      <a:pt x="59" y="215"/>
                    </a:lnTo>
                    <a:lnTo>
                      <a:pt x="58" y="214"/>
                    </a:lnTo>
                    <a:lnTo>
                      <a:pt x="57" y="214"/>
                    </a:lnTo>
                    <a:lnTo>
                      <a:pt x="56" y="215"/>
                    </a:lnTo>
                    <a:lnTo>
                      <a:pt x="56" y="214"/>
                    </a:lnTo>
                    <a:lnTo>
                      <a:pt x="56" y="213"/>
                    </a:lnTo>
                    <a:lnTo>
                      <a:pt x="56" y="212"/>
                    </a:lnTo>
                    <a:lnTo>
                      <a:pt x="55" y="210"/>
                    </a:lnTo>
                    <a:lnTo>
                      <a:pt x="54" y="209"/>
                    </a:lnTo>
                    <a:lnTo>
                      <a:pt x="53" y="210"/>
                    </a:lnTo>
                    <a:lnTo>
                      <a:pt x="52" y="210"/>
                    </a:lnTo>
                    <a:lnTo>
                      <a:pt x="52" y="209"/>
                    </a:lnTo>
                    <a:lnTo>
                      <a:pt x="51" y="209"/>
                    </a:lnTo>
                    <a:lnTo>
                      <a:pt x="51" y="208"/>
                    </a:lnTo>
                    <a:lnTo>
                      <a:pt x="52" y="208"/>
                    </a:lnTo>
                    <a:lnTo>
                      <a:pt x="53" y="208"/>
                    </a:lnTo>
                    <a:lnTo>
                      <a:pt x="54" y="208"/>
                    </a:lnTo>
                    <a:lnTo>
                      <a:pt x="54" y="207"/>
                    </a:lnTo>
                    <a:lnTo>
                      <a:pt x="54" y="206"/>
                    </a:lnTo>
                    <a:lnTo>
                      <a:pt x="53" y="206"/>
                    </a:lnTo>
                    <a:lnTo>
                      <a:pt x="52" y="206"/>
                    </a:lnTo>
                    <a:lnTo>
                      <a:pt x="51" y="206"/>
                    </a:lnTo>
                    <a:lnTo>
                      <a:pt x="50" y="206"/>
                    </a:lnTo>
                    <a:lnTo>
                      <a:pt x="50" y="207"/>
                    </a:lnTo>
                    <a:lnTo>
                      <a:pt x="48" y="207"/>
                    </a:lnTo>
                    <a:lnTo>
                      <a:pt x="47" y="207"/>
                    </a:lnTo>
                    <a:lnTo>
                      <a:pt x="46" y="207"/>
                    </a:lnTo>
                    <a:lnTo>
                      <a:pt x="46" y="206"/>
                    </a:lnTo>
                    <a:lnTo>
                      <a:pt x="46" y="205"/>
                    </a:lnTo>
                    <a:lnTo>
                      <a:pt x="45" y="205"/>
                    </a:lnTo>
                    <a:lnTo>
                      <a:pt x="45" y="204"/>
                    </a:lnTo>
                    <a:lnTo>
                      <a:pt x="45" y="202"/>
                    </a:lnTo>
                    <a:lnTo>
                      <a:pt x="44" y="202"/>
                    </a:lnTo>
                    <a:lnTo>
                      <a:pt x="43" y="202"/>
                    </a:lnTo>
                    <a:lnTo>
                      <a:pt x="42" y="202"/>
                    </a:lnTo>
                    <a:lnTo>
                      <a:pt x="40" y="204"/>
                    </a:lnTo>
                    <a:lnTo>
                      <a:pt x="39" y="204"/>
                    </a:lnTo>
                    <a:lnTo>
                      <a:pt x="39" y="205"/>
                    </a:lnTo>
                    <a:lnTo>
                      <a:pt x="38" y="205"/>
                    </a:lnTo>
                    <a:lnTo>
                      <a:pt x="37" y="204"/>
                    </a:lnTo>
                    <a:lnTo>
                      <a:pt x="37" y="202"/>
                    </a:lnTo>
                    <a:lnTo>
                      <a:pt x="35" y="202"/>
                    </a:lnTo>
                    <a:lnTo>
                      <a:pt x="35" y="201"/>
                    </a:lnTo>
                    <a:lnTo>
                      <a:pt x="35" y="202"/>
                    </a:lnTo>
                    <a:lnTo>
                      <a:pt x="34" y="202"/>
                    </a:lnTo>
                    <a:lnTo>
                      <a:pt x="34" y="204"/>
                    </a:lnTo>
                    <a:lnTo>
                      <a:pt x="33" y="204"/>
                    </a:lnTo>
                    <a:lnTo>
                      <a:pt x="33" y="202"/>
                    </a:lnTo>
                    <a:lnTo>
                      <a:pt x="33" y="201"/>
                    </a:lnTo>
                    <a:lnTo>
                      <a:pt x="34" y="201"/>
                    </a:lnTo>
                    <a:lnTo>
                      <a:pt x="35" y="200"/>
                    </a:lnTo>
                    <a:lnTo>
                      <a:pt x="37" y="199"/>
                    </a:lnTo>
                    <a:lnTo>
                      <a:pt x="37" y="198"/>
                    </a:lnTo>
                    <a:lnTo>
                      <a:pt x="37" y="197"/>
                    </a:lnTo>
                    <a:lnTo>
                      <a:pt x="35" y="197"/>
                    </a:lnTo>
                    <a:lnTo>
                      <a:pt x="34" y="197"/>
                    </a:lnTo>
                    <a:lnTo>
                      <a:pt x="33" y="197"/>
                    </a:lnTo>
                    <a:lnTo>
                      <a:pt x="33" y="196"/>
                    </a:lnTo>
                    <a:lnTo>
                      <a:pt x="31" y="196"/>
                    </a:lnTo>
                    <a:lnTo>
                      <a:pt x="30" y="196"/>
                    </a:lnTo>
                    <a:lnTo>
                      <a:pt x="30" y="195"/>
                    </a:lnTo>
                    <a:lnTo>
                      <a:pt x="29" y="195"/>
                    </a:lnTo>
                    <a:lnTo>
                      <a:pt x="29" y="194"/>
                    </a:lnTo>
                    <a:lnTo>
                      <a:pt x="29" y="193"/>
                    </a:lnTo>
                    <a:lnTo>
                      <a:pt x="28" y="193"/>
                    </a:lnTo>
                    <a:lnTo>
                      <a:pt x="28" y="192"/>
                    </a:lnTo>
                    <a:lnTo>
                      <a:pt x="29" y="191"/>
                    </a:lnTo>
                    <a:lnTo>
                      <a:pt x="29" y="189"/>
                    </a:lnTo>
                    <a:lnTo>
                      <a:pt x="28" y="189"/>
                    </a:lnTo>
                    <a:lnTo>
                      <a:pt x="28" y="188"/>
                    </a:lnTo>
                    <a:lnTo>
                      <a:pt x="27" y="188"/>
                    </a:lnTo>
                    <a:lnTo>
                      <a:pt x="28" y="188"/>
                    </a:lnTo>
                    <a:lnTo>
                      <a:pt x="29" y="187"/>
                    </a:lnTo>
                    <a:lnTo>
                      <a:pt x="29" y="186"/>
                    </a:lnTo>
                    <a:lnTo>
                      <a:pt x="30" y="185"/>
                    </a:lnTo>
                    <a:lnTo>
                      <a:pt x="30" y="184"/>
                    </a:lnTo>
                    <a:lnTo>
                      <a:pt x="29" y="184"/>
                    </a:lnTo>
                    <a:lnTo>
                      <a:pt x="28" y="183"/>
                    </a:lnTo>
                    <a:lnTo>
                      <a:pt x="28" y="182"/>
                    </a:lnTo>
                    <a:lnTo>
                      <a:pt x="27" y="182"/>
                    </a:lnTo>
                    <a:lnTo>
                      <a:pt x="26" y="182"/>
                    </a:lnTo>
                    <a:lnTo>
                      <a:pt x="25" y="183"/>
                    </a:lnTo>
                    <a:lnTo>
                      <a:pt x="24" y="184"/>
                    </a:lnTo>
                    <a:lnTo>
                      <a:pt x="22" y="185"/>
                    </a:lnTo>
                    <a:lnTo>
                      <a:pt x="21" y="185"/>
                    </a:lnTo>
                    <a:lnTo>
                      <a:pt x="20" y="186"/>
                    </a:lnTo>
                    <a:lnTo>
                      <a:pt x="19" y="186"/>
                    </a:lnTo>
                    <a:lnTo>
                      <a:pt x="18" y="186"/>
                    </a:lnTo>
                    <a:lnTo>
                      <a:pt x="17" y="185"/>
                    </a:lnTo>
                    <a:lnTo>
                      <a:pt x="16" y="185"/>
                    </a:lnTo>
                    <a:lnTo>
                      <a:pt x="15" y="185"/>
                    </a:lnTo>
                    <a:lnTo>
                      <a:pt x="15" y="186"/>
                    </a:lnTo>
                    <a:lnTo>
                      <a:pt x="14" y="185"/>
                    </a:lnTo>
                    <a:lnTo>
                      <a:pt x="14" y="184"/>
                    </a:lnTo>
                    <a:lnTo>
                      <a:pt x="14" y="183"/>
                    </a:lnTo>
                    <a:lnTo>
                      <a:pt x="13" y="181"/>
                    </a:lnTo>
                    <a:lnTo>
                      <a:pt x="12" y="180"/>
                    </a:lnTo>
                    <a:lnTo>
                      <a:pt x="12" y="179"/>
                    </a:lnTo>
                    <a:lnTo>
                      <a:pt x="12" y="177"/>
                    </a:lnTo>
                    <a:lnTo>
                      <a:pt x="12" y="176"/>
                    </a:lnTo>
                    <a:lnTo>
                      <a:pt x="13" y="175"/>
                    </a:lnTo>
                    <a:lnTo>
                      <a:pt x="13" y="174"/>
                    </a:lnTo>
                    <a:lnTo>
                      <a:pt x="14" y="174"/>
                    </a:lnTo>
                    <a:lnTo>
                      <a:pt x="15" y="174"/>
                    </a:lnTo>
                    <a:lnTo>
                      <a:pt x="16" y="175"/>
                    </a:lnTo>
                    <a:lnTo>
                      <a:pt x="17" y="175"/>
                    </a:lnTo>
                    <a:lnTo>
                      <a:pt x="18" y="175"/>
                    </a:lnTo>
                    <a:lnTo>
                      <a:pt x="19" y="175"/>
                    </a:lnTo>
                    <a:lnTo>
                      <a:pt x="20" y="174"/>
                    </a:lnTo>
                    <a:lnTo>
                      <a:pt x="20" y="173"/>
                    </a:lnTo>
                    <a:lnTo>
                      <a:pt x="20" y="172"/>
                    </a:lnTo>
                    <a:lnTo>
                      <a:pt x="19" y="171"/>
                    </a:lnTo>
                    <a:lnTo>
                      <a:pt x="18" y="170"/>
                    </a:lnTo>
                    <a:lnTo>
                      <a:pt x="17" y="169"/>
                    </a:lnTo>
                    <a:lnTo>
                      <a:pt x="17" y="168"/>
                    </a:lnTo>
                    <a:lnTo>
                      <a:pt x="16" y="168"/>
                    </a:lnTo>
                    <a:lnTo>
                      <a:pt x="16" y="167"/>
                    </a:lnTo>
                    <a:lnTo>
                      <a:pt x="17" y="164"/>
                    </a:lnTo>
                    <a:lnTo>
                      <a:pt x="16" y="164"/>
                    </a:lnTo>
                    <a:lnTo>
                      <a:pt x="15" y="164"/>
                    </a:lnTo>
                    <a:lnTo>
                      <a:pt x="14" y="163"/>
                    </a:lnTo>
                    <a:lnTo>
                      <a:pt x="13" y="163"/>
                    </a:lnTo>
                    <a:lnTo>
                      <a:pt x="12" y="163"/>
                    </a:lnTo>
                    <a:lnTo>
                      <a:pt x="11" y="163"/>
                    </a:lnTo>
                    <a:lnTo>
                      <a:pt x="9" y="163"/>
                    </a:lnTo>
                    <a:lnTo>
                      <a:pt x="8" y="163"/>
                    </a:lnTo>
                    <a:lnTo>
                      <a:pt x="7" y="162"/>
                    </a:lnTo>
                    <a:lnTo>
                      <a:pt x="6" y="161"/>
                    </a:lnTo>
                    <a:lnTo>
                      <a:pt x="5" y="160"/>
                    </a:lnTo>
                    <a:lnTo>
                      <a:pt x="6" y="159"/>
                    </a:lnTo>
                    <a:lnTo>
                      <a:pt x="6" y="158"/>
                    </a:lnTo>
                    <a:lnTo>
                      <a:pt x="7" y="158"/>
                    </a:lnTo>
                    <a:lnTo>
                      <a:pt x="7" y="157"/>
                    </a:lnTo>
                    <a:lnTo>
                      <a:pt x="6" y="156"/>
                    </a:lnTo>
                    <a:lnTo>
                      <a:pt x="6" y="155"/>
                    </a:lnTo>
                    <a:lnTo>
                      <a:pt x="7" y="154"/>
                    </a:lnTo>
                    <a:lnTo>
                      <a:pt x="8" y="154"/>
                    </a:lnTo>
                    <a:lnTo>
                      <a:pt x="9" y="153"/>
                    </a:lnTo>
                    <a:lnTo>
                      <a:pt x="11" y="151"/>
                    </a:lnTo>
                    <a:lnTo>
                      <a:pt x="11" y="150"/>
                    </a:lnTo>
                    <a:lnTo>
                      <a:pt x="12" y="150"/>
                    </a:lnTo>
                    <a:lnTo>
                      <a:pt x="12" y="149"/>
                    </a:lnTo>
                    <a:lnTo>
                      <a:pt x="11" y="149"/>
                    </a:lnTo>
                    <a:lnTo>
                      <a:pt x="9" y="150"/>
                    </a:lnTo>
                    <a:lnTo>
                      <a:pt x="8" y="150"/>
                    </a:lnTo>
                    <a:lnTo>
                      <a:pt x="8" y="149"/>
                    </a:lnTo>
                    <a:lnTo>
                      <a:pt x="7" y="149"/>
                    </a:lnTo>
                    <a:lnTo>
                      <a:pt x="6" y="148"/>
                    </a:lnTo>
                    <a:lnTo>
                      <a:pt x="6" y="147"/>
                    </a:lnTo>
                    <a:lnTo>
                      <a:pt x="5" y="146"/>
                    </a:lnTo>
                    <a:lnTo>
                      <a:pt x="4" y="146"/>
                    </a:lnTo>
                    <a:lnTo>
                      <a:pt x="4" y="145"/>
                    </a:lnTo>
                    <a:lnTo>
                      <a:pt x="4" y="144"/>
                    </a:lnTo>
                    <a:lnTo>
                      <a:pt x="3" y="142"/>
                    </a:lnTo>
                    <a:lnTo>
                      <a:pt x="6" y="141"/>
                    </a:lnTo>
                    <a:lnTo>
                      <a:pt x="2" y="138"/>
                    </a:lnTo>
                    <a:lnTo>
                      <a:pt x="0" y="133"/>
                    </a:lnTo>
                    <a:lnTo>
                      <a:pt x="1" y="132"/>
                    </a:lnTo>
                    <a:lnTo>
                      <a:pt x="2" y="131"/>
                    </a:lnTo>
                    <a:lnTo>
                      <a:pt x="3" y="131"/>
                    </a:lnTo>
                    <a:lnTo>
                      <a:pt x="3" y="130"/>
                    </a:lnTo>
                    <a:lnTo>
                      <a:pt x="4" y="130"/>
                    </a:lnTo>
                    <a:lnTo>
                      <a:pt x="5" y="130"/>
                    </a:lnTo>
                    <a:lnTo>
                      <a:pt x="6" y="131"/>
                    </a:lnTo>
                    <a:lnTo>
                      <a:pt x="6" y="130"/>
                    </a:lnTo>
                    <a:lnTo>
                      <a:pt x="7" y="130"/>
                    </a:lnTo>
                    <a:lnTo>
                      <a:pt x="8" y="130"/>
                    </a:lnTo>
                    <a:lnTo>
                      <a:pt x="9" y="130"/>
                    </a:lnTo>
                    <a:lnTo>
                      <a:pt x="9" y="129"/>
                    </a:lnTo>
                    <a:lnTo>
                      <a:pt x="11" y="129"/>
                    </a:lnTo>
                    <a:lnTo>
                      <a:pt x="11" y="128"/>
                    </a:lnTo>
                    <a:lnTo>
                      <a:pt x="11" y="127"/>
                    </a:lnTo>
                    <a:lnTo>
                      <a:pt x="9" y="125"/>
                    </a:lnTo>
                    <a:lnTo>
                      <a:pt x="11" y="124"/>
                    </a:lnTo>
                    <a:lnTo>
                      <a:pt x="9" y="123"/>
                    </a:lnTo>
                    <a:lnTo>
                      <a:pt x="8" y="123"/>
                    </a:lnTo>
                    <a:lnTo>
                      <a:pt x="8" y="122"/>
                    </a:lnTo>
                    <a:lnTo>
                      <a:pt x="7" y="121"/>
                    </a:lnTo>
                    <a:lnTo>
                      <a:pt x="8" y="121"/>
                    </a:lnTo>
                    <a:lnTo>
                      <a:pt x="9" y="121"/>
                    </a:lnTo>
                    <a:lnTo>
                      <a:pt x="9" y="120"/>
                    </a:lnTo>
                    <a:lnTo>
                      <a:pt x="11" y="120"/>
                    </a:lnTo>
                    <a:lnTo>
                      <a:pt x="11" y="119"/>
                    </a:lnTo>
                    <a:lnTo>
                      <a:pt x="9" y="119"/>
                    </a:lnTo>
                    <a:lnTo>
                      <a:pt x="9" y="118"/>
                    </a:lnTo>
                    <a:lnTo>
                      <a:pt x="11" y="118"/>
                    </a:lnTo>
                    <a:lnTo>
                      <a:pt x="12" y="117"/>
                    </a:lnTo>
                    <a:lnTo>
                      <a:pt x="13" y="117"/>
                    </a:lnTo>
                    <a:lnTo>
                      <a:pt x="12" y="117"/>
                    </a:lnTo>
                    <a:lnTo>
                      <a:pt x="12" y="116"/>
                    </a:lnTo>
                    <a:lnTo>
                      <a:pt x="12" y="115"/>
                    </a:lnTo>
                    <a:lnTo>
                      <a:pt x="12" y="114"/>
                    </a:lnTo>
                    <a:lnTo>
                      <a:pt x="12" y="112"/>
                    </a:lnTo>
                    <a:lnTo>
                      <a:pt x="13" y="112"/>
                    </a:lnTo>
                    <a:lnTo>
                      <a:pt x="14" y="111"/>
                    </a:lnTo>
                    <a:lnTo>
                      <a:pt x="13" y="110"/>
                    </a:lnTo>
                    <a:lnTo>
                      <a:pt x="13" y="109"/>
                    </a:lnTo>
                    <a:lnTo>
                      <a:pt x="13" y="108"/>
                    </a:lnTo>
                    <a:lnTo>
                      <a:pt x="12" y="108"/>
                    </a:lnTo>
                    <a:lnTo>
                      <a:pt x="11" y="109"/>
                    </a:lnTo>
                    <a:lnTo>
                      <a:pt x="9" y="108"/>
                    </a:lnTo>
                    <a:lnTo>
                      <a:pt x="9" y="107"/>
                    </a:lnTo>
                    <a:lnTo>
                      <a:pt x="11" y="106"/>
                    </a:lnTo>
                    <a:lnTo>
                      <a:pt x="13" y="105"/>
                    </a:lnTo>
                    <a:lnTo>
                      <a:pt x="14" y="104"/>
                    </a:lnTo>
                    <a:lnTo>
                      <a:pt x="15" y="104"/>
                    </a:lnTo>
                    <a:lnTo>
                      <a:pt x="14" y="103"/>
                    </a:lnTo>
                    <a:lnTo>
                      <a:pt x="13" y="102"/>
                    </a:lnTo>
                    <a:lnTo>
                      <a:pt x="13" y="101"/>
                    </a:lnTo>
                    <a:lnTo>
                      <a:pt x="13" y="99"/>
                    </a:lnTo>
                    <a:lnTo>
                      <a:pt x="13" y="98"/>
                    </a:lnTo>
                    <a:lnTo>
                      <a:pt x="12" y="98"/>
                    </a:lnTo>
                    <a:lnTo>
                      <a:pt x="11" y="97"/>
                    </a:lnTo>
                    <a:lnTo>
                      <a:pt x="9" y="96"/>
                    </a:lnTo>
                    <a:lnTo>
                      <a:pt x="8" y="96"/>
                    </a:lnTo>
                    <a:lnTo>
                      <a:pt x="7" y="95"/>
                    </a:lnTo>
                    <a:lnTo>
                      <a:pt x="7" y="94"/>
                    </a:lnTo>
                    <a:lnTo>
                      <a:pt x="6" y="94"/>
                    </a:lnTo>
                    <a:lnTo>
                      <a:pt x="8" y="93"/>
                    </a:lnTo>
                    <a:lnTo>
                      <a:pt x="8" y="92"/>
                    </a:lnTo>
                    <a:lnTo>
                      <a:pt x="6" y="91"/>
                    </a:lnTo>
                    <a:lnTo>
                      <a:pt x="5" y="91"/>
                    </a:lnTo>
                    <a:lnTo>
                      <a:pt x="6" y="91"/>
                    </a:lnTo>
                    <a:lnTo>
                      <a:pt x="6" y="90"/>
                    </a:lnTo>
                    <a:lnTo>
                      <a:pt x="7" y="90"/>
                    </a:lnTo>
                    <a:lnTo>
                      <a:pt x="8" y="90"/>
                    </a:lnTo>
                    <a:lnTo>
                      <a:pt x="8" y="89"/>
                    </a:lnTo>
                    <a:lnTo>
                      <a:pt x="8" y="87"/>
                    </a:lnTo>
                    <a:lnTo>
                      <a:pt x="7" y="86"/>
                    </a:lnTo>
                    <a:lnTo>
                      <a:pt x="7" y="85"/>
                    </a:lnTo>
                    <a:lnTo>
                      <a:pt x="6" y="85"/>
                    </a:lnTo>
                    <a:lnTo>
                      <a:pt x="5" y="85"/>
                    </a:lnTo>
                    <a:lnTo>
                      <a:pt x="4" y="85"/>
                    </a:lnTo>
                    <a:lnTo>
                      <a:pt x="4" y="84"/>
                    </a:lnTo>
                    <a:lnTo>
                      <a:pt x="5" y="84"/>
                    </a:lnTo>
                    <a:lnTo>
                      <a:pt x="5" y="83"/>
                    </a:lnTo>
                    <a:lnTo>
                      <a:pt x="6" y="83"/>
                    </a:lnTo>
                    <a:lnTo>
                      <a:pt x="7" y="82"/>
                    </a:lnTo>
                    <a:lnTo>
                      <a:pt x="6" y="82"/>
                    </a:lnTo>
                    <a:lnTo>
                      <a:pt x="6" y="81"/>
                    </a:lnTo>
                    <a:lnTo>
                      <a:pt x="6" y="80"/>
                    </a:lnTo>
                    <a:lnTo>
                      <a:pt x="7" y="80"/>
                    </a:lnTo>
                    <a:lnTo>
                      <a:pt x="8" y="80"/>
                    </a:lnTo>
                    <a:lnTo>
                      <a:pt x="9" y="79"/>
                    </a:lnTo>
                    <a:lnTo>
                      <a:pt x="11" y="79"/>
                    </a:lnTo>
                    <a:lnTo>
                      <a:pt x="11" y="78"/>
                    </a:lnTo>
                    <a:lnTo>
                      <a:pt x="12" y="78"/>
                    </a:lnTo>
                    <a:lnTo>
                      <a:pt x="12" y="77"/>
                    </a:lnTo>
                    <a:lnTo>
                      <a:pt x="12" y="76"/>
                    </a:lnTo>
                    <a:lnTo>
                      <a:pt x="11" y="76"/>
                    </a:lnTo>
                    <a:lnTo>
                      <a:pt x="9" y="74"/>
                    </a:lnTo>
                    <a:lnTo>
                      <a:pt x="9" y="73"/>
                    </a:lnTo>
                    <a:lnTo>
                      <a:pt x="9" y="72"/>
                    </a:lnTo>
                    <a:lnTo>
                      <a:pt x="11" y="72"/>
                    </a:lnTo>
                    <a:lnTo>
                      <a:pt x="12" y="71"/>
                    </a:lnTo>
                    <a:lnTo>
                      <a:pt x="12" y="70"/>
                    </a:lnTo>
                    <a:lnTo>
                      <a:pt x="12" y="68"/>
                    </a:lnTo>
                    <a:lnTo>
                      <a:pt x="12" y="67"/>
                    </a:lnTo>
                    <a:lnTo>
                      <a:pt x="12" y="66"/>
                    </a:lnTo>
                    <a:lnTo>
                      <a:pt x="12" y="65"/>
                    </a:lnTo>
                    <a:lnTo>
                      <a:pt x="12" y="64"/>
                    </a:lnTo>
                    <a:lnTo>
                      <a:pt x="12" y="63"/>
                    </a:lnTo>
                    <a:lnTo>
                      <a:pt x="13" y="63"/>
                    </a:lnTo>
                    <a:lnTo>
                      <a:pt x="13" y="61"/>
                    </a:lnTo>
                    <a:lnTo>
                      <a:pt x="12" y="61"/>
                    </a:lnTo>
                    <a:lnTo>
                      <a:pt x="12" y="60"/>
                    </a:lnTo>
                    <a:lnTo>
                      <a:pt x="11" y="60"/>
                    </a:lnTo>
                    <a:lnTo>
                      <a:pt x="9" y="60"/>
                    </a:lnTo>
                    <a:lnTo>
                      <a:pt x="9" y="59"/>
                    </a:lnTo>
                    <a:lnTo>
                      <a:pt x="9" y="58"/>
                    </a:lnTo>
                    <a:lnTo>
                      <a:pt x="8" y="58"/>
                    </a:lnTo>
                    <a:lnTo>
                      <a:pt x="6" y="58"/>
                    </a:lnTo>
                    <a:lnTo>
                      <a:pt x="6" y="57"/>
                    </a:lnTo>
                    <a:lnTo>
                      <a:pt x="6" y="56"/>
                    </a:lnTo>
                    <a:lnTo>
                      <a:pt x="5" y="56"/>
                    </a:lnTo>
                    <a:lnTo>
                      <a:pt x="4" y="56"/>
                    </a:lnTo>
                    <a:lnTo>
                      <a:pt x="3" y="56"/>
                    </a:lnTo>
                    <a:lnTo>
                      <a:pt x="2" y="56"/>
                    </a:lnTo>
                    <a:lnTo>
                      <a:pt x="2" y="55"/>
                    </a:lnTo>
                    <a:lnTo>
                      <a:pt x="3" y="54"/>
                    </a:lnTo>
                    <a:lnTo>
                      <a:pt x="3" y="53"/>
                    </a:lnTo>
                    <a:lnTo>
                      <a:pt x="3" y="52"/>
                    </a:lnTo>
                    <a:lnTo>
                      <a:pt x="4" y="52"/>
                    </a:lnTo>
                    <a:lnTo>
                      <a:pt x="5" y="51"/>
                    </a:lnTo>
                    <a:lnTo>
                      <a:pt x="5" y="50"/>
                    </a:lnTo>
                    <a:lnTo>
                      <a:pt x="4" y="50"/>
                    </a:lnTo>
                    <a:lnTo>
                      <a:pt x="4" y="48"/>
                    </a:lnTo>
                    <a:lnTo>
                      <a:pt x="4" y="47"/>
                    </a:lnTo>
                    <a:lnTo>
                      <a:pt x="3" y="47"/>
                    </a:lnTo>
                    <a:lnTo>
                      <a:pt x="4" y="46"/>
                    </a:lnTo>
                    <a:lnTo>
                      <a:pt x="5" y="46"/>
                    </a:lnTo>
                    <a:lnTo>
                      <a:pt x="6" y="46"/>
                    </a:lnTo>
                    <a:lnTo>
                      <a:pt x="7" y="46"/>
                    </a:lnTo>
                    <a:lnTo>
                      <a:pt x="7" y="45"/>
                    </a:lnTo>
                    <a:lnTo>
                      <a:pt x="7" y="44"/>
                    </a:lnTo>
                    <a:lnTo>
                      <a:pt x="7" y="43"/>
                    </a:lnTo>
                    <a:lnTo>
                      <a:pt x="6" y="43"/>
                    </a:lnTo>
                    <a:lnTo>
                      <a:pt x="6" y="42"/>
                    </a:lnTo>
                    <a:lnTo>
                      <a:pt x="7" y="42"/>
                    </a:lnTo>
                    <a:lnTo>
                      <a:pt x="7" y="43"/>
                    </a:lnTo>
                    <a:lnTo>
                      <a:pt x="8" y="43"/>
                    </a:lnTo>
                    <a:lnTo>
                      <a:pt x="8" y="42"/>
                    </a:lnTo>
                    <a:lnTo>
                      <a:pt x="8" y="41"/>
                    </a:lnTo>
                    <a:lnTo>
                      <a:pt x="8" y="40"/>
                    </a:lnTo>
                    <a:lnTo>
                      <a:pt x="9" y="40"/>
                    </a:lnTo>
                    <a:lnTo>
                      <a:pt x="9" y="41"/>
                    </a:lnTo>
                    <a:lnTo>
                      <a:pt x="11" y="41"/>
                    </a:lnTo>
                    <a:lnTo>
                      <a:pt x="12" y="41"/>
                    </a:lnTo>
                    <a:lnTo>
                      <a:pt x="12" y="40"/>
                    </a:lnTo>
                    <a:lnTo>
                      <a:pt x="12" y="39"/>
                    </a:lnTo>
                    <a:lnTo>
                      <a:pt x="12" y="38"/>
                    </a:lnTo>
                    <a:lnTo>
                      <a:pt x="13" y="38"/>
                    </a:lnTo>
                    <a:lnTo>
                      <a:pt x="14" y="38"/>
                    </a:lnTo>
                    <a:lnTo>
                      <a:pt x="15" y="38"/>
                    </a:lnTo>
                    <a:lnTo>
                      <a:pt x="16" y="38"/>
                    </a:lnTo>
                    <a:lnTo>
                      <a:pt x="16" y="39"/>
                    </a:lnTo>
                    <a:lnTo>
                      <a:pt x="15" y="39"/>
                    </a:lnTo>
                    <a:lnTo>
                      <a:pt x="15" y="40"/>
                    </a:lnTo>
                    <a:lnTo>
                      <a:pt x="16" y="40"/>
                    </a:lnTo>
                    <a:lnTo>
                      <a:pt x="17" y="40"/>
                    </a:lnTo>
                    <a:lnTo>
                      <a:pt x="17" y="39"/>
                    </a:lnTo>
                    <a:lnTo>
                      <a:pt x="17" y="38"/>
                    </a:lnTo>
                    <a:lnTo>
                      <a:pt x="17" y="37"/>
                    </a:lnTo>
                    <a:lnTo>
                      <a:pt x="17" y="35"/>
                    </a:lnTo>
                    <a:lnTo>
                      <a:pt x="18" y="35"/>
                    </a:lnTo>
                    <a:lnTo>
                      <a:pt x="18" y="34"/>
                    </a:lnTo>
                    <a:lnTo>
                      <a:pt x="19" y="35"/>
                    </a:lnTo>
                    <a:lnTo>
                      <a:pt x="18" y="35"/>
                    </a:lnTo>
                    <a:lnTo>
                      <a:pt x="18" y="37"/>
                    </a:lnTo>
                    <a:lnTo>
                      <a:pt x="19" y="37"/>
                    </a:lnTo>
                    <a:lnTo>
                      <a:pt x="20" y="37"/>
                    </a:lnTo>
                    <a:lnTo>
                      <a:pt x="21" y="35"/>
                    </a:lnTo>
                    <a:lnTo>
                      <a:pt x="21" y="34"/>
                    </a:lnTo>
                    <a:lnTo>
                      <a:pt x="20" y="34"/>
                    </a:lnTo>
                    <a:lnTo>
                      <a:pt x="19" y="33"/>
                    </a:lnTo>
                    <a:lnTo>
                      <a:pt x="19" y="32"/>
                    </a:lnTo>
                    <a:lnTo>
                      <a:pt x="19" y="31"/>
                    </a:lnTo>
                    <a:lnTo>
                      <a:pt x="20" y="31"/>
                    </a:lnTo>
                    <a:lnTo>
                      <a:pt x="20" y="32"/>
                    </a:lnTo>
                    <a:lnTo>
                      <a:pt x="21" y="32"/>
                    </a:lnTo>
                    <a:lnTo>
                      <a:pt x="22" y="32"/>
                    </a:lnTo>
                    <a:lnTo>
                      <a:pt x="24" y="32"/>
                    </a:lnTo>
                    <a:lnTo>
                      <a:pt x="25" y="32"/>
                    </a:lnTo>
                    <a:lnTo>
                      <a:pt x="26" y="32"/>
                    </a:lnTo>
                    <a:lnTo>
                      <a:pt x="27" y="32"/>
                    </a:lnTo>
                    <a:lnTo>
                      <a:pt x="27" y="31"/>
                    </a:lnTo>
                    <a:lnTo>
                      <a:pt x="27" y="30"/>
                    </a:lnTo>
                    <a:lnTo>
                      <a:pt x="27" y="29"/>
                    </a:lnTo>
                    <a:lnTo>
                      <a:pt x="28" y="29"/>
                    </a:lnTo>
                    <a:lnTo>
                      <a:pt x="29" y="29"/>
                    </a:lnTo>
                    <a:lnTo>
                      <a:pt x="29" y="30"/>
                    </a:lnTo>
                    <a:lnTo>
                      <a:pt x="30" y="30"/>
                    </a:lnTo>
                    <a:lnTo>
                      <a:pt x="31" y="29"/>
                    </a:lnTo>
                    <a:lnTo>
                      <a:pt x="32" y="29"/>
                    </a:lnTo>
                    <a:lnTo>
                      <a:pt x="32" y="28"/>
                    </a:lnTo>
                    <a:lnTo>
                      <a:pt x="32" y="27"/>
                    </a:lnTo>
                    <a:lnTo>
                      <a:pt x="33" y="27"/>
                    </a:lnTo>
                    <a:lnTo>
                      <a:pt x="33" y="26"/>
                    </a:lnTo>
                    <a:lnTo>
                      <a:pt x="34" y="26"/>
                    </a:lnTo>
                    <a:lnTo>
                      <a:pt x="34" y="27"/>
                    </a:lnTo>
                    <a:lnTo>
                      <a:pt x="35" y="27"/>
                    </a:lnTo>
                    <a:lnTo>
                      <a:pt x="35" y="26"/>
                    </a:lnTo>
                    <a:lnTo>
                      <a:pt x="34" y="26"/>
                    </a:lnTo>
                    <a:lnTo>
                      <a:pt x="34" y="25"/>
                    </a:lnTo>
                    <a:lnTo>
                      <a:pt x="34" y="24"/>
                    </a:lnTo>
                    <a:lnTo>
                      <a:pt x="35" y="24"/>
                    </a:lnTo>
                    <a:lnTo>
                      <a:pt x="37" y="22"/>
                    </a:lnTo>
                    <a:lnTo>
                      <a:pt x="35" y="21"/>
                    </a:lnTo>
                    <a:lnTo>
                      <a:pt x="34" y="20"/>
                    </a:lnTo>
                    <a:lnTo>
                      <a:pt x="34" y="21"/>
                    </a:lnTo>
                    <a:lnTo>
                      <a:pt x="33" y="22"/>
                    </a:lnTo>
                    <a:lnTo>
                      <a:pt x="32" y="22"/>
                    </a:lnTo>
                    <a:lnTo>
                      <a:pt x="31" y="22"/>
                    </a:lnTo>
                    <a:lnTo>
                      <a:pt x="31" y="21"/>
                    </a:lnTo>
                    <a:lnTo>
                      <a:pt x="31" y="20"/>
                    </a:lnTo>
                    <a:lnTo>
                      <a:pt x="32" y="19"/>
                    </a:lnTo>
                    <a:lnTo>
                      <a:pt x="33" y="19"/>
                    </a:lnTo>
                    <a:lnTo>
                      <a:pt x="33" y="18"/>
                    </a:lnTo>
                    <a:lnTo>
                      <a:pt x="33" y="17"/>
                    </a:lnTo>
                    <a:lnTo>
                      <a:pt x="34" y="17"/>
                    </a:lnTo>
                    <a:lnTo>
                      <a:pt x="34" y="16"/>
                    </a:lnTo>
                    <a:lnTo>
                      <a:pt x="35" y="15"/>
                    </a:lnTo>
                    <a:lnTo>
                      <a:pt x="35" y="14"/>
                    </a:lnTo>
                    <a:lnTo>
                      <a:pt x="37" y="14"/>
                    </a:lnTo>
                    <a:lnTo>
                      <a:pt x="38" y="13"/>
                    </a:lnTo>
                    <a:lnTo>
                      <a:pt x="38" y="12"/>
                    </a:lnTo>
                    <a:lnTo>
                      <a:pt x="39" y="11"/>
                    </a:lnTo>
                    <a:lnTo>
                      <a:pt x="39" y="9"/>
                    </a:lnTo>
                    <a:lnTo>
                      <a:pt x="40" y="8"/>
                    </a:lnTo>
                    <a:lnTo>
                      <a:pt x="41" y="8"/>
                    </a:lnTo>
                    <a:lnTo>
                      <a:pt x="42" y="8"/>
                    </a:lnTo>
                    <a:lnTo>
                      <a:pt x="42" y="9"/>
                    </a:lnTo>
                    <a:lnTo>
                      <a:pt x="43" y="9"/>
                    </a:lnTo>
                    <a:lnTo>
                      <a:pt x="45" y="8"/>
                    </a:lnTo>
                    <a:lnTo>
                      <a:pt x="45" y="7"/>
                    </a:lnTo>
                    <a:lnTo>
                      <a:pt x="45" y="6"/>
                    </a:lnTo>
                    <a:lnTo>
                      <a:pt x="45" y="5"/>
                    </a:lnTo>
                    <a:lnTo>
                      <a:pt x="45" y="4"/>
                    </a:lnTo>
                    <a:lnTo>
                      <a:pt x="46" y="3"/>
                    </a:lnTo>
                    <a:lnTo>
                      <a:pt x="46" y="2"/>
                    </a:lnTo>
                    <a:lnTo>
                      <a:pt x="47" y="2"/>
                    </a:lnTo>
                    <a:lnTo>
                      <a:pt x="48" y="3"/>
                    </a:lnTo>
                    <a:lnTo>
                      <a:pt x="50" y="3"/>
                    </a:lnTo>
                    <a:lnTo>
                      <a:pt x="50" y="2"/>
                    </a:lnTo>
                    <a:lnTo>
                      <a:pt x="50" y="1"/>
                    </a:lnTo>
                    <a:lnTo>
                      <a:pt x="52" y="1"/>
                    </a:lnTo>
                    <a:lnTo>
                      <a:pt x="53" y="1"/>
                    </a:lnTo>
                    <a:lnTo>
                      <a:pt x="54" y="1"/>
                    </a:lnTo>
                    <a:lnTo>
                      <a:pt x="71" y="1"/>
                    </a:lnTo>
                    <a:lnTo>
                      <a:pt x="85" y="1"/>
                    </a:lnTo>
                    <a:lnTo>
                      <a:pt x="86" y="1"/>
                    </a:lnTo>
                    <a:lnTo>
                      <a:pt x="87" y="1"/>
                    </a:lnTo>
                    <a:lnTo>
                      <a:pt x="92" y="1"/>
                    </a:lnTo>
                    <a:lnTo>
                      <a:pt x="95" y="1"/>
                    </a:lnTo>
                    <a:lnTo>
                      <a:pt x="130" y="0"/>
                    </a:lnTo>
                    <a:lnTo>
                      <a:pt x="144" y="0"/>
                    </a:lnTo>
                    <a:lnTo>
                      <a:pt x="148" y="0"/>
                    </a:lnTo>
                    <a:lnTo>
                      <a:pt x="156" y="0"/>
                    </a:lnTo>
                    <a:lnTo>
                      <a:pt x="208" y="0"/>
                    </a:lnTo>
                    <a:lnTo>
                      <a:pt x="219" y="0"/>
                    </a:lnTo>
                    <a:lnTo>
                      <a:pt x="224" y="0"/>
                    </a:lnTo>
                    <a:lnTo>
                      <a:pt x="226" y="0"/>
                    </a:lnTo>
                    <a:lnTo>
                      <a:pt x="231" y="0"/>
                    </a:lnTo>
                    <a:lnTo>
                      <a:pt x="238" y="0"/>
                    </a:lnTo>
                    <a:lnTo>
                      <a:pt x="247" y="0"/>
                    </a:lnTo>
                    <a:lnTo>
                      <a:pt x="249" y="0"/>
                    </a:lnTo>
                    <a:lnTo>
                      <a:pt x="260" y="0"/>
                    </a:lnTo>
                    <a:close/>
                  </a:path>
                </a:pathLst>
              </a:custGeom>
              <a:solidFill>
                <a:srgbClr val="0F4C93"/>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3" name="Freeform 23">
                <a:extLst>
                  <a:ext uri="{FF2B5EF4-FFF2-40B4-BE49-F238E27FC236}">
                    <a16:creationId xmlns:a16="http://schemas.microsoft.com/office/drawing/2014/main" id="{0DDC3B05-C296-A942-ABD7-14A19C4C5BF5}"/>
                  </a:ext>
                </a:extLst>
              </p:cNvPr>
              <p:cNvSpPr>
                <a:spLocks/>
              </p:cNvSpPr>
              <p:nvPr/>
            </p:nvSpPr>
            <p:spPr bwMode="auto">
              <a:xfrm>
                <a:off x="4524376" y="3443288"/>
                <a:ext cx="314325" cy="811213"/>
              </a:xfrm>
              <a:custGeom>
                <a:avLst/>
                <a:gdLst>
                  <a:gd name="T0" fmla="*/ 193 w 198"/>
                  <a:gd name="T1" fmla="*/ 214 h 511"/>
                  <a:gd name="T2" fmla="*/ 193 w 198"/>
                  <a:gd name="T3" fmla="*/ 220 h 511"/>
                  <a:gd name="T4" fmla="*/ 196 w 198"/>
                  <a:gd name="T5" fmla="*/ 228 h 511"/>
                  <a:gd name="T6" fmla="*/ 194 w 198"/>
                  <a:gd name="T7" fmla="*/ 234 h 511"/>
                  <a:gd name="T8" fmla="*/ 195 w 198"/>
                  <a:gd name="T9" fmla="*/ 245 h 511"/>
                  <a:gd name="T10" fmla="*/ 196 w 198"/>
                  <a:gd name="T11" fmla="*/ 250 h 511"/>
                  <a:gd name="T12" fmla="*/ 197 w 198"/>
                  <a:gd name="T13" fmla="*/ 254 h 511"/>
                  <a:gd name="T14" fmla="*/ 196 w 198"/>
                  <a:gd name="T15" fmla="*/ 259 h 511"/>
                  <a:gd name="T16" fmla="*/ 195 w 198"/>
                  <a:gd name="T17" fmla="*/ 267 h 511"/>
                  <a:gd name="T18" fmla="*/ 195 w 198"/>
                  <a:gd name="T19" fmla="*/ 271 h 511"/>
                  <a:gd name="T20" fmla="*/ 195 w 198"/>
                  <a:gd name="T21" fmla="*/ 277 h 511"/>
                  <a:gd name="T22" fmla="*/ 195 w 198"/>
                  <a:gd name="T23" fmla="*/ 279 h 511"/>
                  <a:gd name="T24" fmla="*/ 196 w 198"/>
                  <a:gd name="T25" fmla="*/ 285 h 511"/>
                  <a:gd name="T26" fmla="*/ 197 w 198"/>
                  <a:gd name="T27" fmla="*/ 293 h 511"/>
                  <a:gd name="T28" fmla="*/ 196 w 198"/>
                  <a:gd name="T29" fmla="*/ 298 h 511"/>
                  <a:gd name="T30" fmla="*/ 197 w 198"/>
                  <a:gd name="T31" fmla="*/ 335 h 511"/>
                  <a:gd name="T32" fmla="*/ 197 w 198"/>
                  <a:gd name="T33" fmla="*/ 367 h 511"/>
                  <a:gd name="T34" fmla="*/ 197 w 198"/>
                  <a:gd name="T35" fmla="*/ 431 h 511"/>
                  <a:gd name="T36" fmla="*/ 192 w 198"/>
                  <a:gd name="T37" fmla="*/ 458 h 511"/>
                  <a:gd name="T38" fmla="*/ 179 w 198"/>
                  <a:gd name="T39" fmla="*/ 472 h 511"/>
                  <a:gd name="T40" fmla="*/ 172 w 198"/>
                  <a:gd name="T41" fmla="*/ 484 h 511"/>
                  <a:gd name="T42" fmla="*/ 161 w 198"/>
                  <a:gd name="T43" fmla="*/ 499 h 511"/>
                  <a:gd name="T44" fmla="*/ 146 w 198"/>
                  <a:gd name="T45" fmla="*/ 501 h 511"/>
                  <a:gd name="T46" fmla="*/ 122 w 198"/>
                  <a:gd name="T47" fmla="*/ 507 h 511"/>
                  <a:gd name="T48" fmla="*/ 109 w 198"/>
                  <a:gd name="T49" fmla="*/ 509 h 511"/>
                  <a:gd name="T50" fmla="*/ 80 w 198"/>
                  <a:gd name="T51" fmla="*/ 499 h 511"/>
                  <a:gd name="T52" fmla="*/ 56 w 198"/>
                  <a:gd name="T53" fmla="*/ 463 h 511"/>
                  <a:gd name="T54" fmla="*/ 46 w 198"/>
                  <a:gd name="T55" fmla="*/ 458 h 511"/>
                  <a:gd name="T56" fmla="*/ 39 w 198"/>
                  <a:gd name="T57" fmla="*/ 450 h 511"/>
                  <a:gd name="T58" fmla="*/ 38 w 198"/>
                  <a:gd name="T59" fmla="*/ 436 h 511"/>
                  <a:gd name="T60" fmla="*/ 32 w 198"/>
                  <a:gd name="T61" fmla="*/ 429 h 511"/>
                  <a:gd name="T62" fmla="*/ 28 w 198"/>
                  <a:gd name="T63" fmla="*/ 420 h 511"/>
                  <a:gd name="T64" fmla="*/ 26 w 198"/>
                  <a:gd name="T65" fmla="*/ 417 h 511"/>
                  <a:gd name="T66" fmla="*/ 20 w 198"/>
                  <a:gd name="T67" fmla="*/ 413 h 511"/>
                  <a:gd name="T68" fmla="*/ 13 w 198"/>
                  <a:gd name="T69" fmla="*/ 406 h 511"/>
                  <a:gd name="T70" fmla="*/ 10 w 198"/>
                  <a:gd name="T71" fmla="*/ 398 h 511"/>
                  <a:gd name="T72" fmla="*/ 10 w 198"/>
                  <a:gd name="T73" fmla="*/ 388 h 511"/>
                  <a:gd name="T74" fmla="*/ 11 w 198"/>
                  <a:gd name="T75" fmla="*/ 380 h 511"/>
                  <a:gd name="T76" fmla="*/ 5 w 198"/>
                  <a:gd name="T77" fmla="*/ 371 h 511"/>
                  <a:gd name="T78" fmla="*/ 0 w 198"/>
                  <a:gd name="T79" fmla="*/ 357 h 511"/>
                  <a:gd name="T80" fmla="*/ 0 w 198"/>
                  <a:gd name="T81" fmla="*/ 294 h 511"/>
                  <a:gd name="T82" fmla="*/ 0 w 198"/>
                  <a:gd name="T83" fmla="*/ 201 h 511"/>
                  <a:gd name="T84" fmla="*/ 0 w 198"/>
                  <a:gd name="T85" fmla="*/ 125 h 511"/>
                  <a:gd name="T86" fmla="*/ 0 w 198"/>
                  <a:gd name="T87" fmla="*/ 52 h 511"/>
                  <a:gd name="T88" fmla="*/ 56 w 198"/>
                  <a:gd name="T89" fmla="*/ 0 h 511"/>
                  <a:gd name="T90" fmla="*/ 120 w 198"/>
                  <a:gd name="T91" fmla="*/ 0 h 511"/>
                  <a:gd name="T92" fmla="*/ 143 w 198"/>
                  <a:gd name="T93" fmla="*/ 67 h 511"/>
                  <a:gd name="T94" fmla="*/ 153 w 198"/>
                  <a:gd name="T95" fmla="*/ 90 h 511"/>
                  <a:gd name="T96" fmla="*/ 157 w 198"/>
                  <a:gd name="T97" fmla="*/ 101 h 511"/>
                  <a:gd name="T98" fmla="*/ 166 w 198"/>
                  <a:gd name="T99" fmla="*/ 112 h 511"/>
                  <a:gd name="T100" fmla="*/ 166 w 198"/>
                  <a:gd name="T101" fmla="*/ 121 h 511"/>
                  <a:gd name="T102" fmla="*/ 169 w 198"/>
                  <a:gd name="T103" fmla="*/ 133 h 511"/>
                  <a:gd name="T104" fmla="*/ 168 w 198"/>
                  <a:gd name="T105" fmla="*/ 138 h 511"/>
                  <a:gd name="T106" fmla="*/ 173 w 198"/>
                  <a:gd name="T107" fmla="*/ 146 h 511"/>
                  <a:gd name="T108" fmla="*/ 175 w 198"/>
                  <a:gd name="T109" fmla="*/ 153 h 511"/>
                  <a:gd name="T110" fmla="*/ 179 w 198"/>
                  <a:gd name="T111" fmla="*/ 161 h 511"/>
                  <a:gd name="T112" fmla="*/ 186 w 198"/>
                  <a:gd name="T113" fmla="*/ 166 h 511"/>
                  <a:gd name="T114" fmla="*/ 185 w 198"/>
                  <a:gd name="T115" fmla="*/ 175 h 511"/>
                  <a:gd name="T116" fmla="*/ 187 w 198"/>
                  <a:gd name="T117" fmla="*/ 180 h 511"/>
                  <a:gd name="T118" fmla="*/ 190 w 198"/>
                  <a:gd name="T119" fmla="*/ 187 h 511"/>
                  <a:gd name="T120" fmla="*/ 190 w 198"/>
                  <a:gd name="T121" fmla="*/ 195 h 511"/>
                  <a:gd name="T122" fmla="*/ 190 w 198"/>
                  <a:gd name="T123" fmla="*/ 20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511">
                    <a:moveTo>
                      <a:pt x="191" y="206"/>
                    </a:moveTo>
                    <a:lnTo>
                      <a:pt x="191" y="207"/>
                    </a:lnTo>
                    <a:lnTo>
                      <a:pt x="191" y="208"/>
                    </a:lnTo>
                    <a:lnTo>
                      <a:pt x="191" y="210"/>
                    </a:lnTo>
                    <a:lnTo>
                      <a:pt x="192" y="211"/>
                    </a:lnTo>
                    <a:lnTo>
                      <a:pt x="191" y="212"/>
                    </a:lnTo>
                    <a:lnTo>
                      <a:pt x="191" y="213"/>
                    </a:lnTo>
                    <a:lnTo>
                      <a:pt x="191" y="214"/>
                    </a:lnTo>
                    <a:lnTo>
                      <a:pt x="191" y="213"/>
                    </a:lnTo>
                    <a:lnTo>
                      <a:pt x="192" y="213"/>
                    </a:lnTo>
                    <a:lnTo>
                      <a:pt x="192" y="214"/>
                    </a:lnTo>
                    <a:lnTo>
                      <a:pt x="193" y="214"/>
                    </a:lnTo>
                    <a:lnTo>
                      <a:pt x="193" y="215"/>
                    </a:lnTo>
                    <a:lnTo>
                      <a:pt x="193" y="216"/>
                    </a:lnTo>
                    <a:lnTo>
                      <a:pt x="192" y="216"/>
                    </a:lnTo>
                    <a:lnTo>
                      <a:pt x="193" y="216"/>
                    </a:lnTo>
                    <a:lnTo>
                      <a:pt x="193" y="217"/>
                    </a:lnTo>
                    <a:lnTo>
                      <a:pt x="194" y="217"/>
                    </a:lnTo>
                    <a:lnTo>
                      <a:pt x="194" y="218"/>
                    </a:lnTo>
                    <a:lnTo>
                      <a:pt x="193" y="219"/>
                    </a:lnTo>
                    <a:lnTo>
                      <a:pt x="194" y="219"/>
                    </a:lnTo>
                    <a:lnTo>
                      <a:pt x="193" y="220"/>
                    </a:lnTo>
                    <a:lnTo>
                      <a:pt x="194" y="220"/>
                    </a:lnTo>
                    <a:lnTo>
                      <a:pt x="193" y="220"/>
                    </a:lnTo>
                    <a:lnTo>
                      <a:pt x="193" y="221"/>
                    </a:lnTo>
                    <a:lnTo>
                      <a:pt x="193" y="223"/>
                    </a:lnTo>
                    <a:lnTo>
                      <a:pt x="193" y="224"/>
                    </a:lnTo>
                    <a:lnTo>
                      <a:pt x="194" y="224"/>
                    </a:lnTo>
                    <a:lnTo>
                      <a:pt x="194" y="225"/>
                    </a:lnTo>
                    <a:lnTo>
                      <a:pt x="194" y="224"/>
                    </a:lnTo>
                    <a:lnTo>
                      <a:pt x="194" y="225"/>
                    </a:lnTo>
                    <a:lnTo>
                      <a:pt x="194" y="226"/>
                    </a:lnTo>
                    <a:lnTo>
                      <a:pt x="195" y="226"/>
                    </a:lnTo>
                    <a:lnTo>
                      <a:pt x="195" y="227"/>
                    </a:lnTo>
                    <a:lnTo>
                      <a:pt x="196" y="227"/>
                    </a:lnTo>
                    <a:lnTo>
                      <a:pt x="196" y="228"/>
                    </a:lnTo>
                    <a:lnTo>
                      <a:pt x="196" y="229"/>
                    </a:lnTo>
                    <a:lnTo>
                      <a:pt x="196" y="230"/>
                    </a:lnTo>
                    <a:lnTo>
                      <a:pt x="195" y="230"/>
                    </a:lnTo>
                    <a:lnTo>
                      <a:pt x="194" y="230"/>
                    </a:lnTo>
                    <a:lnTo>
                      <a:pt x="194" y="231"/>
                    </a:lnTo>
                    <a:lnTo>
                      <a:pt x="194" y="232"/>
                    </a:lnTo>
                    <a:lnTo>
                      <a:pt x="193" y="232"/>
                    </a:lnTo>
                    <a:lnTo>
                      <a:pt x="194" y="232"/>
                    </a:lnTo>
                    <a:lnTo>
                      <a:pt x="194" y="233"/>
                    </a:lnTo>
                    <a:lnTo>
                      <a:pt x="193" y="233"/>
                    </a:lnTo>
                    <a:lnTo>
                      <a:pt x="194" y="233"/>
                    </a:lnTo>
                    <a:lnTo>
                      <a:pt x="194" y="234"/>
                    </a:lnTo>
                    <a:lnTo>
                      <a:pt x="194" y="236"/>
                    </a:lnTo>
                    <a:lnTo>
                      <a:pt x="194" y="237"/>
                    </a:lnTo>
                    <a:lnTo>
                      <a:pt x="193" y="239"/>
                    </a:lnTo>
                    <a:lnTo>
                      <a:pt x="193" y="240"/>
                    </a:lnTo>
                    <a:lnTo>
                      <a:pt x="193" y="241"/>
                    </a:lnTo>
                    <a:lnTo>
                      <a:pt x="194" y="241"/>
                    </a:lnTo>
                    <a:lnTo>
                      <a:pt x="194" y="242"/>
                    </a:lnTo>
                    <a:lnTo>
                      <a:pt x="195" y="242"/>
                    </a:lnTo>
                    <a:lnTo>
                      <a:pt x="195" y="243"/>
                    </a:lnTo>
                    <a:lnTo>
                      <a:pt x="194" y="243"/>
                    </a:lnTo>
                    <a:lnTo>
                      <a:pt x="194" y="244"/>
                    </a:lnTo>
                    <a:lnTo>
                      <a:pt x="195" y="245"/>
                    </a:lnTo>
                    <a:lnTo>
                      <a:pt x="194" y="246"/>
                    </a:lnTo>
                    <a:lnTo>
                      <a:pt x="195" y="246"/>
                    </a:lnTo>
                    <a:lnTo>
                      <a:pt x="194" y="246"/>
                    </a:lnTo>
                    <a:lnTo>
                      <a:pt x="194" y="247"/>
                    </a:lnTo>
                    <a:lnTo>
                      <a:pt x="194" y="249"/>
                    </a:lnTo>
                    <a:lnTo>
                      <a:pt x="194" y="247"/>
                    </a:lnTo>
                    <a:lnTo>
                      <a:pt x="194" y="249"/>
                    </a:lnTo>
                    <a:lnTo>
                      <a:pt x="194" y="250"/>
                    </a:lnTo>
                    <a:lnTo>
                      <a:pt x="194" y="249"/>
                    </a:lnTo>
                    <a:lnTo>
                      <a:pt x="195" y="249"/>
                    </a:lnTo>
                    <a:lnTo>
                      <a:pt x="195" y="250"/>
                    </a:lnTo>
                    <a:lnTo>
                      <a:pt x="196" y="250"/>
                    </a:lnTo>
                    <a:lnTo>
                      <a:pt x="196" y="251"/>
                    </a:lnTo>
                    <a:lnTo>
                      <a:pt x="195" y="251"/>
                    </a:lnTo>
                    <a:lnTo>
                      <a:pt x="196" y="251"/>
                    </a:lnTo>
                    <a:lnTo>
                      <a:pt x="197" y="252"/>
                    </a:lnTo>
                    <a:lnTo>
                      <a:pt x="198" y="252"/>
                    </a:lnTo>
                    <a:lnTo>
                      <a:pt x="197" y="253"/>
                    </a:lnTo>
                    <a:lnTo>
                      <a:pt x="198" y="253"/>
                    </a:lnTo>
                    <a:lnTo>
                      <a:pt x="197" y="253"/>
                    </a:lnTo>
                    <a:lnTo>
                      <a:pt x="197" y="254"/>
                    </a:lnTo>
                    <a:lnTo>
                      <a:pt x="198" y="253"/>
                    </a:lnTo>
                    <a:lnTo>
                      <a:pt x="198" y="254"/>
                    </a:lnTo>
                    <a:lnTo>
                      <a:pt x="197" y="254"/>
                    </a:lnTo>
                    <a:lnTo>
                      <a:pt x="197" y="255"/>
                    </a:lnTo>
                    <a:lnTo>
                      <a:pt x="196" y="255"/>
                    </a:lnTo>
                    <a:lnTo>
                      <a:pt x="197" y="255"/>
                    </a:lnTo>
                    <a:lnTo>
                      <a:pt x="197" y="256"/>
                    </a:lnTo>
                    <a:lnTo>
                      <a:pt x="197" y="257"/>
                    </a:lnTo>
                    <a:lnTo>
                      <a:pt x="197" y="258"/>
                    </a:lnTo>
                    <a:lnTo>
                      <a:pt x="196" y="258"/>
                    </a:lnTo>
                    <a:lnTo>
                      <a:pt x="197" y="258"/>
                    </a:lnTo>
                    <a:lnTo>
                      <a:pt x="196" y="258"/>
                    </a:lnTo>
                    <a:lnTo>
                      <a:pt x="196" y="259"/>
                    </a:lnTo>
                    <a:lnTo>
                      <a:pt x="197" y="259"/>
                    </a:lnTo>
                    <a:lnTo>
                      <a:pt x="196" y="259"/>
                    </a:lnTo>
                    <a:lnTo>
                      <a:pt x="196" y="261"/>
                    </a:lnTo>
                    <a:lnTo>
                      <a:pt x="196" y="262"/>
                    </a:lnTo>
                    <a:lnTo>
                      <a:pt x="196" y="263"/>
                    </a:lnTo>
                    <a:lnTo>
                      <a:pt x="196" y="264"/>
                    </a:lnTo>
                    <a:lnTo>
                      <a:pt x="197" y="264"/>
                    </a:lnTo>
                    <a:lnTo>
                      <a:pt x="196" y="264"/>
                    </a:lnTo>
                    <a:lnTo>
                      <a:pt x="196" y="265"/>
                    </a:lnTo>
                    <a:lnTo>
                      <a:pt x="195" y="265"/>
                    </a:lnTo>
                    <a:lnTo>
                      <a:pt x="195" y="266"/>
                    </a:lnTo>
                    <a:lnTo>
                      <a:pt x="196" y="266"/>
                    </a:lnTo>
                    <a:lnTo>
                      <a:pt x="195" y="266"/>
                    </a:lnTo>
                    <a:lnTo>
                      <a:pt x="195" y="267"/>
                    </a:lnTo>
                    <a:lnTo>
                      <a:pt x="194" y="267"/>
                    </a:lnTo>
                    <a:lnTo>
                      <a:pt x="193" y="267"/>
                    </a:lnTo>
                    <a:lnTo>
                      <a:pt x="194" y="267"/>
                    </a:lnTo>
                    <a:lnTo>
                      <a:pt x="194" y="268"/>
                    </a:lnTo>
                    <a:lnTo>
                      <a:pt x="193" y="269"/>
                    </a:lnTo>
                    <a:lnTo>
                      <a:pt x="194" y="269"/>
                    </a:lnTo>
                    <a:lnTo>
                      <a:pt x="194" y="270"/>
                    </a:lnTo>
                    <a:lnTo>
                      <a:pt x="195" y="270"/>
                    </a:lnTo>
                    <a:lnTo>
                      <a:pt x="194" y="271"/>
                    </a:lnTo>
                    <a:lnTo>
                      <a:pt x="195" y="271"/>
                    </a:lnTo>
                    <a:lnTo>
                      <a:pt x="194" y="271"/>
                    </a:lnTo>
                    <a:lnTo>
                      <a:pt x="195" y="271"/>
                    </a:lnTo>
                    <a:lnTo>
                      <a:pt x="194" y="272"/>
                    </a:lnTo>
                    <a:lnTo>
                      <a:pt x="194" y="274"/>
                    </a:lnTo>
                    <a:lnTo>
                      <a:pt x="195" y="274"/>
                    </a:lnTo>
                    <a:lnTo>
                      <a:pt x="194" y="274"/>
                    </a:lnTo>
                    <a:lnTo>
                      <a:pt x="195" y="274"/>
                    </a:lnTo>
                    <a:lnTo>
                      <a:pt x="195" y="275"/>
                    </a:lnTo>
                    <a:lnTo>
                      <a:pt x="194" y="275"/>
                    </a:lnTo>
                    <a:lnTo>
                      <a:pt x="194" y="276"/>
                    </a:lnTo>
                    <a:lnTo>
                      <a:pt x="194" y="277"/>
                    </a:lnTo>
                    <a:lnTo>
                      <a:pt x="195" y="277"/>
                    </a:lnTo>
                    <a:lnTo>
                      <a:pt x="196" y="277"/>
                    </a:lnTo>
                    <a:lnTo>
                      <a:pt x="195" y="277"/>
                    </a:lnTo>
                    <a:lnTo>
                      <a:pt x="196" y="277"/>
                    </a:lnTo>
                    <a:lnTo>
                      <a:pt x="195" y="277"/>
                    </a:lnTo>
                    <a:lnTo>
                      <a:pt x="195" y="278"/>
                    </a:lnTo>
                    <a:lnTo>
                      <a:pt x="196" y="278"/>
                    </a:lnTo>
                    <a:lnTo>
                      <a:pt x="195" y="278"/>
                    </a:lnTo>
                    <a:lnTo>
                      <a:pt x="196" y="278"/>
                    </a:lnTo>
                    <a:lnTo>
                      <a:pt x="196" y="279"/>
                    </a:lnTo>
                    <a:lnTo>
                      <a:pt x="195" y="279"/>
                    </a:lnTo>
                    <a:lnTo>
                      <a:pt x="196" y="279"/>
                    </a:lnTo>
                    <a:lnTo>
                      <a:pt x="195" y="279"/>
                    </a:lnTo>
                    <a:lnTo>
                      <a:pt x="196" y="279"/>
                    </a:lnTo>
                    <a:lnTo>
                      <a:pt x="195" y="279"/>
                    </a:lnTo>
                    <a:lnTo>
                      <a:pt x="195" y="280"/>
                    </a:lnTo>
                    <a:lnTo>
                      <a:pt x="196" y="280"/>
                    </a:lnTo>
                    <a:lnTo>
                      <a:pt x="195" y="280"/>
                    </a:lnTo>
                    <a:lnTo>
                      <a:pt x="196" y="281"/>
                    </a:lnTo>
                    <a:lnTo>
                      <a:pt x="195" y="281"/>
                    </a:lnTo>
                    <a:lnTo>
                      <a:pt x="195" y="282"/>
                    </a:lnTo>
                    <a:lnTo>
                      <a:pt x="195" y="281"/>
                    </a:lnTo>
                    <a:lnTo>
                      <a:pt x="195" y="282"/>
                    </a:lnTo>
                    <a:lnTo>
                      <a:pt x="195" y="283"/>
                    </a:lnTo>
                    <a:lnTo>
                      <a:pt x="195" y="284"/>
                    </a:lnTo>
                    <a:lnTo>
                      <a:pt x="196" y="284"/>
                    </a:lnTo>
                    <a:lnTo>
                      <a:pt x="196" y="285"/>
                    </a:lnTo>
                    <a:lnTo>
                      <a:pt x="197" y="285"/>
                    </a:lnTo>
                    <a:lnTo>
                      <a:pt x="197" y="287"/>
                    </a:lnTo>
                    <a:lnTo>
                      <a:pt x="197" y="288"/>
                    </a:lnTo>
                    <a:lnTo>
                      <a:pt x="198" y="288"/>
                    </a:lnTo>
                    <a:lnTo>
                      <a:pt x="198" y="289"/>
                    </a:lnTo>
                    <a:lnTo>
                      <a:pt x="198" y="290"/>
                    </a:lnTo>
                    <a:lnTo>
                      <a:pt x="198" y="291"/>
                    </a:lnTo>
                    <a:lnTo>
                      <a:pt x="197" y="291"/>
                    </a:lnTo>
                    <a:lnTo>
                      <a:pt x="197" y="292"/>
                    </a:lnTo>
                    <a:lnTo>
                      <a:pt x="197" y="291"/>
                    </a:lnTo>
                    <a:lnTo>
                      <a:pt x="197" y="292"/>
                    </a:lnTo>
                    <a:lnTo>
                      <a:pt x="197" y="293"/>
                    </a:lnTo>
                    <a:lnTo>
                      <a:pt x="196" y="293"/>
                    </a:lnTo>
                    <a:lnTo>
                      <a:pt x="196" y="294"/>
                    </a:lnTo>
                    <a:lnTo>
                      <a:pt x="195" y="294"/>
                    </a:lnTo>
                    <a:lnTo>
                      <a:pt x="196" y="294"/>
                    </a:lnTo>
                    <a:lnTo>
                      <a:pt x="195" y="294"/>
                    </a:lnTo>
                    <a:lnTo>
                      <a:pt x="195" y="295"/>
                    </a:lnTo>
                    <a:lnTo>
                      <a:pt x="196" y="295"/>
                    </a:lnTo>
                    <a:lnTo>
                      <a:pt x="196" y="296"/>
                    </a:lnTo>
                    <a:lnTo>
                      <a:pt x="195" y="296"/>
                    </a:lnTo>
                    <a:lnTo>
                      <a:pt x="196" y="296"/>
                    </a:lnTo>
                    <a:lnTo>
                      <a:pt x="196" y="297"/>
                    </a:lnTo>
                    <a:lnTo>
                      <a:pt x="196" y="298"/>
                    </a:lnTo>
                    <a:lnTo>
                      <a:pt x="197" y="300"/>
                    </a:lnTo>
                    <a:lnTo>
                      <a:pt x="197" y="303"/>
                    </a:lnTo>
                    <a:lnTo>
                      <a:pt x="197" y="306"/>
                    </a:lnTo>
                    <a:lnTo>
                      <a:pt x="197" y="308"/>
                    </a:lnTo>
                    <a:lnTo>
                      <a:pt x="197" y="309"/>
                    </a:lnTo>
                    <a:lnTo>
                      <a:pt x="197" y="310"/>
                    </a:lnTo>
                    <a:lnTo>
                      <a:pt x="197" y="311"/>
                    </a:lnTo>
                    <a:lnTo>
                      <a:pt x="198" y="313"/>
                    </a:lnTo>
                    <a:lnTo>
                      <a:pt x="197" y="318"/>
                    </a:lnTo>
                    <a:lnTo>
                      <a:pt x="197" y="322"/>
                    </a:lnTo>
                    <a:lnTo>
                      <a:pt x="197" y="329"/>
                    </a:lnTo>
                    <a:lnTo>
                      <a:pt x="197" y="335"/>
                    </a:lnTo>
                    <a:lnTo>
                      <a:pt x="197" y="336"/>
                    </a:lnTo>
                    <a:lnTo>
                      <a:pt x="197" y="349"/>
                    </a:lnTo>
                    <a:lnTo>
                      <a:pt x="197" y="351"/>
                    </a:lnTo>
                    <a:lnTo>
                      <a:pt x="198" y="352"/>
                    </a:lnTo>
                    <a:lnTo>
                      <a:pt x="197" y="352"/>
                    </a:lnTo>
                    <a:lnTo>
                      <a:pt x="197" y="353"/>
                    </a:lnTo>
                    <a:lnTo>
                      <a:pt x="197" y="354"/>
                    </a:lnTo>
                    <a:lnTo>
                      <a:pt x="197" y="357"/>
                    </a:lnTo>
                    <a:lnTo>
                      <a:pt x="197" y="358"/>
                    </a:lnTo>
                    <a:lnTo>
                      <a:pt x="197" y="359"/>
                    </a:lnTo>
                    <a:lnTo>
                      <a:pt x="197" y="364"/>
                    </a:lnTo>
                    <a:lnTo>
                      <a:pt x="197" y="367"/>
                    </a:lnTo>
                    <a:lnTo>
                      <a:pt x="197" y="371"/>
                    </a:lnTo>
                    <a:lnTo>
                      <a:pt x="197" y="375"/>
                    </a:lnTo>
                    <a:lnTo>
                      <a:pt x="197" y="380"/>
                    </a:lnTo>
                    <a:lnTo>
                      <a:pt x="197" y="386"/>
                    </a:lnTo>
                    <a:lnTo>
                      <a:pt x="197" y="397"/>
                    </a:lnTo>
                    <a:lnTo>
                      <a:pt x="197" y="401"/>
                    </a:lnTo>
                    <a:lnTo>
                      <a:pt x="197" y="403"/>
                    </a:lnTo>
                    <a:lnTo>
                      <a:pt x="197" y="417"/>
                    </a:lnTo>
                    <a:lnTo>
                      <a:pt x="197" y="422"/>
                    </a:lnTo>
                    <a:lnTo>
                      <a:pt x="198" y="430"/>
                    </a:lnTo>
                    <a:lnTo>
                      <a:pt x="198" y="431"/>
                    </a:lnTo>
                    <a:lnTo>
                      <a:pt x="197" y="431"/>
                    </a:lnTo>
                    <a:lnTo>
                      <a:pt x="198" y="431"/>
                    </a:lnTo>
                    <a:lnTo>
                      <a:pt x="198" y="432"/>
                    </a:lnTo>
                    <a:lnTo>
                      <a:pt x="198" y="445"/>
                    </a:lnTo>
                    <a:lnTo>
                      <a:pt x="198" y="454"/>
                    </a:lnTo>
                    <a:lnTo>
                      <a:pt x="197" y="454"/>
                    </a:lnTo>
                    <a:lnTo>
                      <a:pt x="196" y="455"/>
                    </a:lnTo>
                    <a:lnTo>
                      <a:pt x="196" y="456"/>
                    </a:lnTo>
                    <a:lnTo>
                      <a:pt x="195" y="456"/>
                    </a:lnTo>
                    <a:lnTo>
                      <a:pt x="195" y="457"/>
                    </a:lnTo>
                    <a:lnTo>
                      <a:pt x="194" y="457"/>
                    </a:lnTo>
                    <a:lnTo>
                      <a:pt x="193" y="458"/>
                    </a:lnTo>
                    <a:lnTo>
                      <a:pt x="192" y="458"/>
                    </a:lnTo>
                    <a:lnTo>
                      <a:pt x="192" y="459"/>
                    </a:lnTo>
                    <a:lnTo>
                      <a:pt x="191" y="459"/>
                    </a:lnTo>
                    <a:lnTo>
                      <a:pt x="190" y="460"/>
                    </a:lnTo>
                    <a:lnTo>
                      <a:pt x="188" y="461"/>
                    </a:lnTo>
                    <a:lnTo>
                      <a:pt x="187" y="462"/>
                    </a:lnTo>
                    <a:lnTo>
                      <a:pt x="185" y="464"/>
                    </a:lnTo>
                    <a:lnTo>
                      <a:pt x="184" y="467"/>
                    </a:lnTo>
                    <a:lnTo>
                      <a:pt x="183" y="468"/>
                    </a:lnTo>
                    <a:lnTo>
                      <a:pt x="181" y="470"/>
                    </a:lnTo>
                    <a:lnTo>
                      <a:pt x="181" y="471"/>
                    </a:lnTo>
                    <a:lnTo>
                      <a:pt x="180" y="471"/>
                    </a:lnTo>
                    <a:lnTo>
                      <a:pt x="179" y="472"/>
                    </a:lnTo>
                    <a:lnTo>
                      <a:pt x="178" y="472"/>
                    </a:lnTo>
                    <a:lnTo>
                      <a:pt x="178" y="473"/>
                    </a:lnTo>
                    <a:lnTo>
                      <a:pt x="178" y="474"/>
                    </a:lnTo>
                    <a:lnTo>
                      <a:pt x="178" y="475"/>
                    </a:lnTo>
                    <a:lnTo>
                      <a:pt x="177" y="476"/>
                    </a:lnTo>
                    <a:lnTo>
                      <a:pt x="175" y="477"/>
                    </a:lnTo>
                    <a:lnTo>
                      <a:pt x="174" y="478"/>
                    </a:lnTo>
                    <a:lnTo>
                      <a:pt x="174" y="480"/>
                    </a:lnTo>
                    <a:lnTo>
                      <a:pt x="173" y="481"/>
                    </a:lnTo>
                    <a:lnTo>
                      <a:pt x="172" y="482"/>
                    </a:lnTo>
                    <a:lnTo>
                      <a:pt x="172" y="483"/>
                    </a:lnTo>
                    <a:lnTo>
                      <a:pt x="172" y="484"/>
                    </a:lnTo>
                    <a:lnTo>
                      <a:pt x="171" y="485"/>
                    </a:lnTo>
                    <a:lnTo>
                      <a:pt x="170" y="486"/>
                    </a:lnTo>
                    <a:lnTo>
                      <a:pt x="169" y="487"/>
                    </a:lnTo>
                    <a:lnTo>
                      <a:pt x="169" y="488"/>
                    </a:lnTo>
                    <a:lnTo>
                      <a:pt x="169" y="489"/>
                    </a:lnTo>
                    <a:lnTo>
                      <a:pt x="168" y="490"/>
                    </a:lnTo>
                    <a:lnTo>
                      <a:pt x="168" y="491"/>
                    </a:lnTo>
                    <a:lnTo>
                      <a:pt x="166" y="495"/>
                    </a:lnTo>
                    <a:lnTo>
                      <a:pt x="165" y="497"/>
                    </a:lnTo>
                    <a:lnTo>
                      <a:pt x="164" y="498"/>
                    </a:lnTo>
                    <a:lnTo>
                      <a:pt x="162" y="499"/>
                    </a:lnTo>
                    <a:lnTo>
                      <a:pt x="161" y="499"/>
                    </a:lnTo>
                    <a:lnTo>
                      <a:pt x="160" y="500"/>
                    </a:lnTo>
                    <a:lnTo>
                      <a:pt x="159" y="500"/>
                    </a:lnTo>
                    <a:lnTo>
                      <a:pt x="158" y="500"/>
                    </a:lnTo>
                    <a:lnTo>
                      <a:pt x="157" y="501"/>
                    </a:lnTo>
                    <a:lnTo>
                      <a:pt x="157" y="502"/>
                    </a:lnTo>
                    <a:lnTo>
                      <a:pt x="156" y="502"/>
                    </a:lnTo>
                    <a:lnTo>
                      <a:pt x="154" y="501"/>
                    </a:lnTo>
                    <a:lnTo>
                      <a:pt x="152" y="500"/>
                    </a:lnTo>
                    <a:lnTo>
                      <a:pt x="150" y="499"/>
                    </a:lnTo>
                    <a:lnTo>
                      <a:pt x="149" y="499"/>
                    </a:lnTo>
                    <a:lnTo>
                      <a:pt x="149" y="500"/>
                    </a:lnTo>
                    <a:lnTo>
                      <a:pt x="146" y="501"/>
                    </a:lnTo>
                    <a:lnTo>
                      <a:pt x="143" y="502"/>
                    </a:lnTo>
                    <a:lnTo>
                      <a:pt x="141" y="502"/>
                    </a:lnTo>
                    <a:lnTo>
                      <a:pt x="139" y="502"/>
                    </a:lnTo>
                    <a:lnTo>
                      <a:pt x="136" y="501"/>
                    </a:lnTo>
                    <a:lnTo>
                      <a:pt x="135" y="501"/>
                    </a:lnTo>
                    <a:lnTo>
                      <a:pt x="134" y="500"/>
                    </a:lnTo>
                    <a:lnTo>
                      <a:pt x="133" y="501"/>
                    </a:lnTo>
                    <a:lnTo>
                      <a:pt x="132" y="501"/>
                    </a:lnTo>
                    <a:lnTo>
                      <a:pt x="131" y="502"/>
                    </a:lnTo>
                    <a:lnTo>
                      <a:pt x="128" y="503"/>
                    </a:lnTo>
                    <a:lnTo>
                      <a:pt x="124" y="506"/>
                    </a:lnTo>
                    <a:lnTo>
                      <a:pt x="122" y="507"/>
                    </a:lnTo>
                    <a:lnTo>
                      <a:pt x="121" y="509"/>
                    </a:lnTo>
                    <a:lnTo>
                      <a:pt x="120" y="510"/>
                    </a:lnTo>
                    <a:lnTo>
                      <a:pt x="119" y="510"/>
                    </a:lnTo>
                    <a:lnTo>
                      <a:pt x="118" y="511"/>
                    </a:lnTo>
                    <a:lnTo>
                      <a:pt x="117" y="510"/>
                    </a:lnTo>
                    <a:lnTo>
                      <a:pt x="116" y="510"/>
                    </a:lnTo>
                    <a:lnTo>
                      <a:pt x="115" y="510"/>
                    </a:lnTo>
                    <a:lnTo>
                      <a:pt x="114" y="509"/>
                    </a:lnTo>
                    <a:lnTo>
                      <a:pt x="113" y="509"/>
                    </a:lnTo>
                    <a:lnTo>
                      <a:pt x="111" y="508"/>
                    </a:lnTo>
                    <a:lnTo>
                      <a:pt x="110" y="508"/>
                    </a:lnTo>
                    <a:lnTo>
                      <a:pt x="109" y="509"/>
                    </a:lnTo>
                    <a:lnTo>
                      <a:pt x="108" y="509"/>
                    </a:lnTo>
                    <a:lnTo>
                      <a:pt x="107" y="509"/>
                    </a:lnTo>
                    <a:lnTo>
                      <a:pt x="106" y="509"/>
                    </a:lnTo>
                    <a:lnTo>
                      <a:pt x="105" y="509"/>
                    </a:lnTo>
                    <a:lnTo>
                      <a:pt x="104" y="509"/>
                    </a:lnTo>
                    <a:lnTo>
                      <a:pt x="103" y="509"/>
                    </a:lnTo>
                    <a:lnTo>
                      <a:pt x="102" y="509"/>
                    </a:lnTo>
                    <a:lnTo>
                      <a:pt x="101" y="509"/>
                    </a:lnTo>
                    <a:lnTo>
                      <a:pt x="100" y="509"/>
                    </a:lnTo>
                    <a:lnTo>
                      <a:pt x="90" y="506"/>
                    </a:lnTo>
                    <a:lnTo>
                      <a:pt x="83" y="502"/>
                    </a:lnTo>
                    <a:lnTo>
                      <a:pt x="80" y="499"/>
                    </a:lnTo>
                    <a:lnTo>
                      <a:pt x="78" y="497"/>
                    </a:lnTo>
                    <a:lnTo>
                      <a:pt x="76" y="496"/>
                    </a:lnTo>
                    <a:lnTo>
                      <a:pt x="56" y="473"/>
                    </a:lnTo>
                    <a:lnTo>
                      <a:pt x="56" y="472"/>
                    </a:lnTo>
                    <a:lnTo>
                      <a:pt x="56" y="471"/>
                    </a:lnTo>
                    <a:lnTo>
                      <a:pt x="56" y="470"/>
                    </a:lnTo>
                    <a:lnTo>
                      <a:pt x="56" y="469"/>
                    </a:lnTo>
                    <a:lnTo>
                      <a:pt x="57" y="468"/>
                    </a:lnTo>
                    <a:lnTo>
                      <a:pt x="57" y="467"/>
                    </a:lnTo>
                    <a:lnTo>
                      <a:pt x="57" y="465"/>
                    </a:lnTo>
                    <a:lnTo>
                      <a:pt x="56" y="464"/>
                    </a:lnTo>
                    <a:lnTo>
                      <a:pt x="56" y="463"/>
                    </a:lnTo>
                    <a:lnTo>
                      <a:pt x="55" y="462"/>
                    </a:lnTo>
                    <a:lnTo>
                      <a:pt x="55" y="461"/>
                    </a:lnTo>
                    <a:lnTo>
                      <a:pt x="55" y="460"/>
                    </a:lnTo>
                    <a:lnTo>
                      <a:pt x="54" y="459"/>
                    </a:lnTo>
                    <a:lnTo>
                      <a:pt x="54" y="458"/>
                    </a:lnTo>
                    <a:lnTo>
                      <a:pt x="53" y="458"/>
                    </a:lnTo>
                    <a:lnTo>
                      <a:pt x="52" y="458"/>
                    </a:lnTo>
                    <a:lnTo>
                      <a:pt x="51" y="458"/>
                    </a:lnTo>
                    <a:lnTo>
                      <a:pt x="49" y="459"/>
                    </a:lnTo>
                    <a:lnTo>
                      <a:pt x="48" y="459"/>
                    </a:lnTo>
                    <a:lnTo>
                      <a:pt x="46" y="459"/>
                    </a:lnTo>
                    <a:lnTo>
                      <a:pt x="46" y="458"/>
                    </a:lnTo>
                    <a:lnTo>
                      <a:pt x="48" y="457"/>
                    </a:lnTo>
                    <a:lnTo>
                      <a:pt x="48" y="455"/>
                    </a:lnTo>
                    <a:lnTo>
                      <a:pt x="48" y="454"/>
                    </a:lnTo>
                    <a:lnTo>
                      <a:pt x="45" y="451"/>
                    </a:lnTo>
                    <a:lnTo>
                      <a:pt x="44" y="451"/>
                    </a:lnTo>
                    <a:lnTo>
                      <a:pt x="44" y="452"/>
                    </a:lnTo>
                    <a:lnTo>
                      <a:pt x="40" y="455"/>
                    </a:lnTo>
                    <a:lnTo>
                      <a:pt x="39" y="455"/>
                    </a:lnTo>
                    <a:lnTo>
                      <a:pt x="39" y="454"/>
                    </a:lnTo>
                    <a:lnTo>
                      <a:pt x="39" y="452"/>
                    </a:lnTo>
                    <a:lnTo>
                      <a:pt x="39" y="451"/>
                    </a:lnTo>
                    <a:lnTo>
                      <a:pt x="39" y="450"/>
                    </a:lnTo>
                    <a:lnTo>
                      <a:pt x="38" y="450"/>
                    </a:lnTo>
                    <a:lnTo>
                      <a:pt x="38" y="449"/>
                    </a:lnTo>
                    <a:lnTo>
                      <a:pt x="39" y="448"/>
                    </a:lnTo>
                    <a:lnTo>
                      <a:pt x="40" y="447"/>
                    </a:lnTo>
                    <a:lnTo>
                      <a:pt x="41" y="446"/>
                    </a:lnTo>
                    <a:lnTo>
                      <a:pt x="41" y="445"/>
                    </a:lnTo>
                    <a:lnTo>
                      <a:pt x="40" y="443"/>
                    </a:lnTo>
                    <a:lnTo>
                      <a:pt x="40" y="441"/>
                    </a:lnTo>
                    <a:lnTo>
                      <a:pt x="40" y="439"/>
                    </a:lnTo>
                    <a:lnTo>
                      <a:pt x="39" y="436"/>
                    </a:lnTo>
                    <a:lnTo>
                      <a:pt x="38" y="435"/>
                    </a:lnTo>
                    <a:lnTo>
                      <a:pt x="38" y="436"/>
                    </a:lnTo>
                    <a:lnTo>
                      <a:pt x="37" y="436"/>
                    </a:lnTo>
                    <a:lnTo>
                      <a:pt x="36" y="436"/>
                    </a:lnTo>
                    <a:lnTo>
                      <a:pt x="35" y="436"/>
                    </a:lnTo>
                    <a:lnTo>
                      <a:pt x="31" y="434"/>
                    </a:lnTo>
                    <a:lnTo>
                      <a:pt x="31" y="433"/>
                    </a:lnTo>
                    <a:lnTo>
                      <a:pt x="32" y="432"/>
                    </a:lnTo>
                    <a:lnTo>
                      <a:pt x="33" y="432"/>
                    </a:lnTo>
                    <a:lnTo>
                      <a:pt x="35" y="432"/>
                    </a:lnTo>
                    <a:lnTo>
                      <a:pt x="35" y="431"/>
                    </a:lnTo>
                    <a:lnTo>
                      <a:pt x="33" y="431"/>
                    </a:lnTo>
                    <a:lnTo>
                      <a:pt x="33" y="430"/>
                    </a:lnTo>
                    <a:lnTo>
                      <a:pt x="32" y="429"/>
                    </a:lnTo>
                    <a:lnTo>
                      <a:pt x="32" y="426"/>
                    </a:lnTo>
                    <a:lnTo>
                      <a:pt x="32" y="425"/>
                    </a:lnTo>
                    <a:lnTo>
                      <a:pt x="31" y="425"/>
                    </a:lnTo>
                    <a:lnTo>
                      <a:pt x="31" y="424"/>
                    </a:lnTo>
                    <a:lnTo>
                      <a:pt x="32" y="424"/>
                    </a:lnTo>
                    <a:lnTo>
                      <a:pt x="32" y="423"/>
                    </a:lnTo>
                    <a:lnTo>
                      <a:pt x="31" y="423"/>
                    </a:lnTo>
                    <a:lnTo>
                      <a:pt x="31" y="422"/>
                    </a:lnTo>
                    <a:lnTo>
                      <a:pt x="30" y="421"/>
                    </a:lnTo>
                    <a:lnTo>
                      <a:pt x="29" y="421"/>
                    </a:lnTo>
                    <a:lnTo>
                      <a:pt x="28" y="421"/>
                    </a:lnTo>
                    <a:lnTo>
                      <a:pt x="28" y="420"/>
                    </a:lnTo>
                    <a:lnTo>
                      <a:pt x="27" y="420"/>
                    </a:lnTo>
                    <a:lnTo>
                      <a:pt x="28" y="419"/>
                    </a:lnTo>
                    <a:lnTo>
                      <a:pt x="28" y="420"/>
                    </a:lnTo>
                    <a:lnTo>
                      <a:pt x="29" y="420"/>
                    </a:lnTo>
                    <a:lnTo>
                      <a:pt x="29" y="419"/>
                    </a:lnTo>
                    <a:lnTo>
                      <a:pt x="29" y="418"/>
                    </a:lnTo>
                    <a:lnTo>
                      <a:pt x="29" y="417"/>
                    </a:lnTo>
                    <a:lnTo>
                      <a:pt x="28" y="417"/>
                    </a:lnTo>
                    <a:lnTo>
                      <a:pt x="28" y="418"/>
                    </a:lnTo>
                    <a:lnTo>
                      <a:pt x="27" y="418"/>
                    </a:lnTo>
                    <a:lnTo>
                      <a:pt x="27" y="417"/>
                    </a:lnTo>
                    <a:lnTo>
                      <a:pt x="26" y="417"/>
                    </a:lnTo>
                    <a:lnTo>
                      <a:pt x="27" y="417"/>
                    </a:lnTo>
                    <a:lnTo>
                      <a:pt x="27" y="416"/>
                    </a:lnTo>
                    <a:lnTo>
                      <a:pt x="26" y="416"/>
                    </a:lnTo>
                    <a:lnTo>
                      <a:pt x="26" y="414"/>
                    </a:lnTo>
                    <a:lnTo>
                      <a:pt x="25" y="414"/>
                    </a:lnTo>
                    <a:lnTo>
                      <a:pt x="24" y="414"/>
                    </a:lnTo>
                    <a:lnTo>
                      <a:pt x="23" y="414"/>
                    </a:lnTo>
                    <a:lnTo>
                      <a:pt x="22" y="414"/>
                    </a:lnTo>
                    <a:lnTo>
                      <a:pt x="20" y="414"/>
                    </a:lnTo>
                    <a:lnTo>
                      <a:pt x="20" y="413"/>
                    </a:lnTo>
                    <a:lnTo>
                      <a:pt x="20" y="412"/>
                    </a:lnTo>
                    <a:lnTo>
                      <a:pt x="20" y="413"/>
                    </a:lnTo>
                    <a:lnTo>
                      <a:pt x="19" y="413"/>
                    </a:lnTo>
                    <a:lnTo>
                      <a:pt x="19" y="412"/>
                    </a:lnTo>
                    <a:lnTo>
                      <a:pt x="19" y="411"/>
                    </a:lnTo>
                    <a:lnTo>
                      <a:pt x="18" y="410"/>
                    </a:lnTo>
                    <a:lnTo>
                      <a:pt x="18" y="409"/>
                    </a:lnTo>
                    <a:lnTo>
                      <a:pt x="17" y="409"/>
                    </a:lnTo>
                    <a:lnTo>
                      <a:pt x="16" y="409"/>
                    </a:lnTo>
                    <a:lnTo>
                      <a:pt x="15" y="408"/>
                    </a:lnTo>
                    <a:lnTo>
                      <a:pt x="15" y="407"/>
                    </a:lnTo>
                    <a:lnTo>
                      <a:pt x="14" y="407"/>
                    </a:lnTo>
                    <a:lnTo>
                      <a:pt x="13" y="407"/>
                    </a:lnTo>
                    <a:lnTo>
                      <a:pt x="13" y="406"/>
                    </a:lnTo>
                    <a:lnTo>
                      <a:pt x="12" y="406"/>
                    </a:lnTo>
                    <a:lnTo>
                      <a:pt x="12" y="405"/>
                    </a:lnTo>
                    <a:lnTo>
                      <a:pt x="13" y="405"/>
                    </a:lnTo>
                    <a:lnTo>
                      <a:pt x="13" y="404"/>
                    </a:lnTo>
                    <a:lnTo>
                      <a:pt x="13" y="403"/>
                    </a:lnTo>
                    <a:lnTo>
                      <a:pt x="13" y="401"/>
                    </a:lnTo>
                    <a:lnTo>
                      <a:pt x="13" y="400"/>
                    </a:lnTo>
                    <a:lnTo>
                      <a:pt x="12" y="400"/>
                    </a:lnTo>
                    <a:lnTo>
                      <a:pt x="12" y="399"/>
                    </a:lnTo>
                    <a:lnTo>
                      <a:pt x="11" y="399"/>
                    </a:lnTo>
                    <a:lnTo>
                      <a:pt x="11" y="398"/>
                    </a:lnTo>
                    <a:lnTo>
                      <a:pt x="10" y="398"/>
                    </a:lnTo>
                    <a:lnTo>
                      <a:pt x="10" y="397"/>
                    </a:lnTo>
                    <a:lnTo>
                      <a:pt x="11" y="396"/>
                    </a:lnTo>
                    <a:lnTo>
                      <a:pt x="12" y="396"/>
                    </a:lnTo>
                    <a:lnTo>
                      <a:pt x="12" y="395"/>
                    </a:lnTo>
                    <a:lnTo>
                      <a:pt x="13" y="394"/>
                    </a:lnTo>
                    <a:lnTo>
                      <a:pt x="13" y="393"/>
                    </a:lnTo>
                    <a:lnTo>
                      <a:pt x="12" y="393"/>
                    </a:lnTo>
                    <a:lnTo>
                      <a:pt x="11" y="392"/>
                    </a:lnTo>
                    <a:lnTo>
                      <a:pt x="11" y="391"/>
                    </a:lnTo>
                    <a:lnTo>
                      <a:pt x="11" y="390"/>
                    </a:lnTo>
                    <a:lnTo>
                      <a:pt x="10" y="390"/>
                    </a:lnTo>
                    <a:lnTo>
                      <a:pt x="10" y="388"/>
                    </a:lnTo>
                    <a:lnTo>
                      <a:pt x="10" y="387"/>
                    </a:lnTo>
                    <a:lnTo>
                      <a:pt x="8" y="387"/>
                    </a:lnTo>
                    <a:lnTo>
                      <a:pt x="10" y="387"/>
                    </a:lnTo>
                    <a:lnTo>
                      <a:pt x="8" y="386"/>
                    </a:lnTo>
                    <a:lnTo>
                      <a:pt x="8" y="385"/>
                    </a:lnTo>
                    <a:lnTo>
                      <a:pt x="8" y="384"/>
                    </a:lnTo>
                    <a:lnTo>
                      <a:pt x="8" y="383"/>
                    </a:lnTo>
                    <a:lnTo>
                      <a:pt x="10" y="383"/>
                    </a:lnTo>
                    <a:lnTo>
                      <a:pt x="10" y="382"/>
                    </a:lnTo>
                    <a:lnTo>
                      <a:pt x="10" y="381"/>
                    </a:lnTo>
                    <a:lnTo>
                      <a:pt x="10" y="380"/>
                    </a:lnTo>
                    <a:lnTo>
                      <a:pt x="11" y="380"/>
                    </a:lnTo>
                    <a:lnTo>
                      <a:pt x="10" y="379"/>
                    </a:lnTo>
                    <a:lnTo>
                      <a:pt x="8" y="378"/>
                    </a:lnTo>
                    <a:lnTo>
                      <a:pt x="8" y="377"/>
                    </a:lnTo>
                    <a:lnTo>
                      <a:pt x="7" y="377"/>
                    </a:lnTo>
                    <a:lnTo>
                      <a:pt x="8" y="375"/>
                    </a:lnTo>
                    <a:lnTo>
                      <a:pt x="8" y="374"/>
                    </a:lnTo>
                    <a:lnTo>
                      <a:pt x="7" y="374"/>
                    </a:lnTo>
                    <a:lnTo>
                      <a:pt x="7" y="373"/>
                    </a:lnTo>
                    <a:lnTo>
                      <a:pt x="6" y="373"/>
                    </a:lnTo>
                    <a:lnTo>
                      <a:pt x="5" y="373"/>
                    </a:lnTo>
                    <a:lnTo>
                      <a:pt x="5" y="372"/>
                    </a:lnTo>
                    <a:lnTo>
                      <a:pt x="5" y="371"/>
                    </a:lnTo>
                    <a:lnTo>
                      <a:pt x="5" y="370"/>
                    </a:lnTo>
                    <a:lnTo>
                      <a:pt x="6" y="369"/>
                    </a:lnTo>
                    <a:lnTo>
                      <a:pt x="6" y="368"/>
                    </a:lnTo>
                    <a:lnTo>
                      <a:pt x="5" y="368"/>
                    </a:lnTo>
                    <a:lnTo>
                      <a:pt x="4" y="368"/>
                    </a:lnTo>
                    <a:lnTo>
                      <a:pt x="3" y="368"/>
                    </a:lnTo>
                    <a:lnTo>
                      <a:pt x="2" y="368"/>
                    </a:lnTo>
                    <a:lnTo>
                      <a:pt x="2" y="367"/>
                    </a:lnTo>
                    <a:lnTo>
                      <a:pt x="1" y="366"/>
                    </a:lnTo>
                    <a:lnTo>
                      <a:pt x="0" y="366"/>
                    </a:lnTo>
                    <a:lnTo>
                      <a:pt x="0" y="361"/>
                    </a:lnTo>
                    <a:lnTo>
                      <a:pt x="0" y="357"/>
                    </a:lnTo>
                    <a:lnTo>
                      <a:pt x="0" y="354"/>
                    </a:lnTo>
                    <a:lnTo>
                      <a:pt x="0" y="348"/>
                    </a:lnTo>
                    <a:lnTo>
                      <a:pt x="0" y="340"/>
                    </a:lnTo>
                    <a:lnTo>
                      <a:pt x="0" y="339"/>
                    </a:lnTo>
                    <a:lnTo>
                      <a:pt x="0" y="335"/>
                    </a:lnTo>
                    <a:lnTo>
                      <a:pt x="0" y="334"/>
                    </a:lnTo>
                    <a:lnTo>
                      <a:pt x="0" y="328"/>
                    </a:lnTo>
                    <a:lnTo>
                      <a:pt x="0" y="318"/>
                    </a:lnTo>
                    <a:lnTo>
                      <a:pt x="0" y="310"/>
                    </a:lnTo>
                    <a:lnTo>
                      <a:pt x="0" y="302"/>
                    </a:lnTo>
                    <a:lnTo>
                      <a:pt x="0" y="296"/>
                    </a:lnTo>
                    <a:lnTo>
                      <a:pt x="0" y="294"/>
                    </a:lnTo>
                    <a:lnTo>
                      <a:pt x="0" y="277"/>
                    </a:lnTo>
                    <a:lnTo>
                      <a:pt x="0" y="268"/>
                    </a:lnTo>
                    <a:lnTo>
                      <a:pt x="0" y="250"/>
                    </a:lnTo>
                    <a:lnTo>
                      <a:pt x="1" y="240"/>
                    </a:lnTo>
                    <a:lnTo>
                      <a:pt x="1" y="239"/>
                    </a:lnTo>
                    <a:lnTo>
                      <a:pt x="1" y="231"/>
                    </a:lnTo>
                    <a:lnTo>
                      <a:pt x="0" y="225"/>
                    </a:lnTo>
                    <a:lnTo>
                      <a:pt x="1" y="225"/>
                    </a:lnTo>
                    <a:lnTo>
                      <a:pt x="1" y="224"/>
                    </a:lnTo>
                    <a:lnTo>
                      <a:pt x="0" y="207"/>
                    </a:lnTo>
                    <a:lnTo>
                      <a:pt x="0" y="203"/>
                    </a:lnTo>
                    <a:lnTo>
                      <a:pt x="0" y="201"/>
                    </a:lnTo>
                    <a:lnTo>
                      <a:pt x="0" y="198"/>
                    </a:lnTo>
                    <a:lnTo>
                      <a:pt x="0" y="191"/>
                    </a:lnTo>
                    <a:lnTo>
                      <a:pt x="0" y="190"/>
                    </a:lnTo>
                    <a:lnTo>
                      <a:pt x="0" y="189"/>
                    </a:lnTo>
                    <a:lnTo>
                      <a:pt x="0" y="186"/>
                    </a:lnTo>
                    <a:lnTo>
                      <a:pt x="0" y="184"/>
                    </a:lnTo>
                    <a:lnTo>
                      <a:pt x="0" y="180"/>
                    </a:lnTo>
                    <a:lnTo>
                      <a:pt x="0" y="179"/>
                    </a:lnTo>
                    <a:lnTo>
                      <a:pt x="0" y="176"/>
                    </a:lnTo>
                    <a:lnTo>
                      <a:pt x="0" y="154"/>
                    </a:lnTo>
                    <a:lnTo>
                      <a:pt x="0" y="151"/>
                    </a:lnTo>
                    <a:lnTo>
                      <a:pt x="0" y="125"/>
                    </a:lnTo>
                    <a:lnTo>
                      <a:pt x="0" y="124"/>
                    </a:lnTo>
                    <a:lnTo>
                      <a:pt x="0" y="118"/>
                    </a:lnTo>
                    <a:lnTo>
                      <a:pt x="0" y="116"/>
                    </a:lnTo>
                    <a:lnTo>
                      <a:pt x="0" y="104"/>
                    </a:lnTo>
                    <a:lnTo>
                      <a:pt x="0" y="100"/>
                    </a:lnTo>
                    <a:lnTo>
                      <a:pt x="0" y="86"/>
                    </a:lnTo>
                    <a:lnTo>
                      <a:pt x="0" y="77"/>
                    </a:lnTo>
                    <a:lnTo>
                      <a:pt x="0" y="76"/>
                    </a:lnTo>
                    <a:lnTo>
                      <a:pt x="0" y="75"/>
                    </a:lnTo>
                    <a:lnTo>
                      <a:pt x="0" y="67"/>
                    </a:lnTo>
                    <a:lnTo>
                      <a:pt x="0" y="54"/>
                    </a:lnTo>
                    <a:lnTo>
                      <a:pt x="0" y="52"/>
                    </a:lnTo>
                    <a:lnTo>
                      <a:pt x="0" y="38"/>
                    </a:lnTo>
                    <a:lnTo>
                      <a:pt x="0" y="0"/>
                    </a:lnTo>
                    <a:lnTo>
                      <a:pt x="12" y="0"/>
                    </a:lnTo>
                    <a:lnTo>
                      <a:pt x="22" y="0"/>
                    </a:lnTo>
                    <a:lnTo>
                      <a:pt x="23" y="0"/>
                    </a:lnTo>
                    <a:lnTo>
                      <a:pt x="31" y="0"/>
                    </a:lnTo>
                    <a:lnTo>
                      <a:pt x="37" y="0"/>
                    </a:lnTo>
                    <a:lnTo>
                      <a:pt x="49" y="0"/>
                    </a:lnTo>
                    <a:lnTo>
                      <a:pt x="51" y="0"/>
                    </a:lnTo>
                    <a:lnTo>
                      <a:pt x="52" y="0"/>
                    </a:lnTo>
                    <a:lnTo>
                      <a:pt x="54" y="0"/>
                    </a:lnTo>
                    <a:lnTo>
                      <a:pt x="56" y="0"/>
                    </a:lnTo>
                    <a:lnTo>
                      <a:pt x="57" y="0"/>
                    </a:lnTo>
                    <a:lnTo>
                      <a:pt x="67" y="0"/>
                    </a:lnTo>
                    <a:lnTo>
                      <a:pt x="74" y="0"/>
                    </a:lnTo>
                    <a:lnTo>
                      <a:pt x="76" y="0"/>
                    </a:lnTo>
                    <a:lnTo>
                      <a:pt x="77" y="0"/>
                    </a:lnTo>
                    <a:lnTo>
                      <a:pt x="83" y="0"/>
                    </a:lnTo>
                    <a:lnTo>
                      <a:pt x="89" y="0"/>
                    </a:lnTo>
                    <a:lnTo>
                      <a:pt x="90" y="0"/>
                    </a:lnTo>
                    <a:lnTo>
                      <a:pt x="92" y="0"/>
                    </a:lnTo>
                    <a:lnTo>
                      <a:pt x="114" y="0"/>
                    </a:lnTo>
                    <a:lnTo>
                      <a:pt x="117" y="0"/>
                    </a:lnTo>
                    <a:lnTo>
                      <a:pt x="120" y="0"/>
                    </a:lnTo>
                    <a:lnTo>
                      <a:pt x="121" y="0"/>
                    </a:lnTo>
                    <a:lnTo>
                      <a:pt x="134" y="0"/>
                    </a:lnTo>
                    <a:lnTo>
                      <a:pt x="134" y="4"/>
                    </a:lnTo>
                    <a:lnTo>
                      <a:pt x="134" y="5"/>
                    </a:lnTo>
                    <a:lnTo>
                      <a:pt x="134" y="6"/>
                    </a:lnTo>
                    <a:lnTo>
                      <a:pt x="134" y="20"/>
                    </a:lnTo>
                    <a:lnTo>
                      <a:pt x="134" y="21"/>
                    </a:lnTo>
                    <a:lnTo>
                      <a:pt x="134" y="23"/>
                    </a:lnTo>
                    <a:lnTo>
                      <a:pt x="134" y="41"/>
                    </a:lnTo>
                    <a:lnTo>
                      <a:pt x="134" y="63"/>
                    </a:lnTo>
                    <a:lnTo>
                      <a:pt x="134" y="67"/>
                    </a:lnTo>
                    <a:lnTo>
                      <a:pt x="143" y="67"/>
                    </a:lnTo>
                    <a:lnTo>
                      <a:pt x="143" y="71"/>
                    </a:lnTo>
                    <a:lnTo>
                      <a:pt x="145" y="71"/>
                    </a:lnTo>
                    <a:lnTo>
                      <a:pt x="145" y="72"/>
                    </a:lnTo>
                    <a:lnTo>
                      <a:pt x="145" y="78"/>
                    </a:lnTo>
                    <a:lnTo>
                      <a:pt x="153" y="78"/>
                    </a:lnTo>
                    <a:lnTo>
                      <a:pt x="153" y="85"/>
                    </a:lnTo>
                    <a:lnTo>
                      <a:pt x="153" y="86"/>
                    </a:lnTo>
                    <a:lnTo>
                      <a:pt x="154" y="87"/>
                    </a:lnTo>
                    <a:lnTo>
                      <a:pt x="154" y="88"/>
                    </a:lnTo>
                    <a:lnTo>
                      <a:pt x="154" y="89"/>
                    </a:lnTo>
                    <a:lnTo>
                      <a:pt x="153" y="89"/>
                    </a:lnTo>
                    <a:lnTo>
                      <a:pt x="153" y="90"/>
                    </a:lnTo>
                    <a:lnTo>
                      <a:pt x="152" y="90"/>
                    </a:lnTo>
                    <a:lnTo>
                      <a:pt x="153" y="91"/>
                    </a:lnTo>
                    <a:lnTo>
                      <a:pt x="153" y="92"/>
                    </a:lnTo>
                    <a:lnTo>
                      <a:pt x="154" y="92"/>
                    </a:lnTo>
                    <a:lnTo>
                      <a:pt x="154" y="94"/>
                    </a:lnTo>
                    <a:lnTo>
                      <a:pt x="155" y="95"/>
                    </a:lnTo>
                    <a:lnTo>
                      <a:pt x="155" y="96"/>
                    </a:lnTo>
                    <a:lnTo>
                      <a:pt x="155" y="97"/>
                    </a:lnTo>
                    <a:lnTo>
                      <a:pt x="155" y="98"/>
                    </a:lnTo>
                    <a:lnTo>
                      <a:pt x="156" y="100"/>
                    </a:lnTo>
                    <a:lnTo>
                      <a:pt x="157" y="100"/>
                    </a:lnTo>
                    <a:lnTo>
                      <a:pt x="157" y="101"/>
                    </a:lnTo>
                    <a:lnTo>
                      <a:pt x="157" y="102"/>
                    </a:lnTo>
                    <a:lnTo>
                      <a:pt x="158" y="103"/>
                    </a:lnTo>
                    <a:lnTo>
                      <a:pt x="158" y="104"/>
                    </a:lnTo>
                    <a:lnTo>
                      <a:pt x="161" y="105"/>
                    </a:lnTo>
                    <a:lnTo>
                      <a:pt x="162" y="107"/>
                    </a:lnTo>
                    <a:lnTo>
                      <a:pt x="164" y="108"/>
                    </a:lnTo>
                    <a:lnTo>
                      <a:pt x="164" y="109"/>
                    </a:lnTo>
                    <a:lnTo>
                      <a:pt x="165" y="109"/>
                    </a:lnTo>
                    <a:lnTo>
                      <a:pt x="165" y="110"/>
                    </a:lnTo>
                    <a:lnTo>
                      <a:pt x="165" y="111"/>
                    </a:lnTo>
                    <a:lnTo>
                      <a:pt x="165" y="112"/>
                    </a:lnTo>
                    <a:lnTo>
                      <a:pt x="166" y="112"/>
                    </a:lnTo>
                    <a:lnTo>
                      <a:pt x="165" y="112"/>
                    </a:lnTo>
                    <a:lnTo>
                      <a:pt x="165" y="113"/>
                    </a:lnTo>
                    <a:lnTo>
                      <a:pt x="166" y="113"/>
                    </a:lnTo>
                    <a:lnTo>
                      <a:pt x="166" y="114"/>
                    </a:lnTo>
                    <a:lnTo>
                      <a:pt x="165" y="114"/>
                    </a:lnTo>
                    <a:lnTo>
                      <a:pt x="166" y="115"/>
                    </a:lnTo>
                    <a:lnTo>
                      <a:pt x="166" y="116"/>
                    </a:lnTo>
                    <a:lnTo>
                      <a:pt x="166" y="117"/>
                    </a:lnTo>
                    <a:lnTo>
                      <a:pt x="166" y="118"/>
                    </a:lnTo>
                    <a:lnTo>
                      <a:pt x="166" y="120"/>
                    </a:lnTo>
                    <a:lnTo>
                      <a:pt x="165" y="120"/>
                    </a:lnTo>
                    <a:lnTo>
                      <a:pt x="166" y="121"/>
                    </a:lnTo>
                    <a:lnTo>
                      <a:pt x="166" y="122"/>
                    </a:lnTo>
                    <a:lnTo>
                      <a:pt x="167" y="123"/>
                    </a:lnTo>
                    <a:lnTo>
                      <a:pt x="167" y="124"/>
                    </a:lnTo>
                    <a:lnTo>
                      <a:pt x="168" y="125"/>
                    </a:lnTo>
                    <a:lnTo>
                      <a:pt x="169" y="126"/>
                    </a:lnTo>
                    <a:lnTo>
                      <a:pt x="169" y="127"/>
                    </a:lnTo>
                    <a:lnTo>
                      <a:pt x="169" y="128"/>
                    </a:lnTo>
                    <a:lnTo>
                      <a:pt x="169" y="129"/>
                    </a:lnTo>
                    <a:lnTo>
                      <a:pt x="169" y="130"/>
                    </a:lnTo>
                    <a:lnTo>
                      <a:pt x="168" y="130"/>
                    </a:lnTo>
                    <a:lnTo>
                      <a:pt x="168" y="131"/>
                    </a:lnTo>
                    <a:lnTo>
                      <a:pt x="169" y="133"/>
                    </a:lnTo>
                    <a:lnTo>
                      <a:pt x="168" y="133"/>
                    </a:lnTo>
                    <a:lnTo>
                      <a:pt x="167" y="133"/>
                    </a:lnTo>
                    <a:lnTo>
                      <a:pt x="167" y="134"/>
                    </a:lnTo>
                    <a:lnTo>
                      <a:pt x="167" y="135"/>
                    </a:lnTo>
                    <a:lnTo>
                      <a:pt x="168" y="135"/>
                    </a:lnTo>
                    <a:lnTo>
                      <a:pt x="168" y="136"/>
                    </a:lnTo>
                    <a:lnTo>
                      <a:pt x="167" y="136"/>
                    </a:lnTo>
                    <a:lnTo>
                      <a:pt x="167" y="137"/>
                    </a:lnTo>
                    <a:lnTo>
                      <a:pt x="167" y="138"/>
                    </a:lnTo>
                    <a:lnTo>
                      <a:pt x="167" y="139"/>
                    </a:lnTo>
                    <a:lnTo>
                      <a:pt x="168" y="139"/>
                    </a:lnTo>
                    <a:lnTo>
                      <a:pt x="168" y="138"/>
                    </a:lnTo>
                    <a:lnTo>
                      <a:pt x="168" y="139"/>
                    </a:lnTo>
                    <a:lnTo>
                      <a:pt x="169" y="139"/>
                    </a:lnTo>
                    <a:lnTo>
                      <a:pt x="169" y="140"/>
                    </a:lnTo>
                    <a:lnTo>
                      <a:pt x="170" y="140"/>
                    </a:lnTo>
                    <a:lnTo>
                      <a:pt x="170" y="141"/>
                    </a:lnTo>
                    <a:lnTo>
                      <a:pt x="170" y="142"/>
                    </a:lnTo>
                    <a:lnTo>
                      <a:pt x="171" y="142"/>
                    </a:lnTo>
                    <a:lnTo>
                      <a:pt x="172" y="142"/>
                    </a:lnTo>
                    <a:lnTo>
                      <a:pt x="172" y="143"/>
                    </a:lnTo>
                    <a:lnTo>
                      <a:pt x="173" y="143"/>
                    </a:lnTo>
                    <a:lnTo>
                      <a:pt x="173" y="144"/>
                    </a:lnTo>
                    <a:lnTo>
                      <a:pt x="173" y="146"/>
                    </a:lnTo>
                    <a:lnTo>
                      <a:pt x="174" y="146"/>
                    </a:lnTo>
                    <a:lnTo>
                      <a:pt x="174" y="147"/>
                    </a:lnTo>
                    <a:lnTo>
                      <a:pt x="175" y="147"/>
                    </a:lnTo>
                    <a:lnTo>
                      <a:pt x="177" y="147"/>
                    </a:lnTo>
                    <a:lnTo>
                      <a:pt x="177" y="148"/>
                    </a:lnTo>
                    <a:lnTo>
                      <a:pt x="175" y="149"/>
                    </a:lnTo>
                    <a:lnTo>
                      <a:pt x="175" y="150"/>
                    </a:lnTo>
                    <a:lnTo>
                      <a:pt x="175" y="151"/>
                    </a:lnTo>
                    <a:lnTo>
                      <a:pt x="177" y="151"/>
                    </a:lnTo>
                    <a:lnTo>
                      <a:pt x="175" y="151"/>
                    </a:lnTo>
                    <a:lnTo>
                      <a:pt x="175" y="152"/>
                    </a:lnTo>
                    <a:lnTo>
                      <a:pt x="175" y="153"/>
                    </a:lnTo>
                    <a:lnTo>
                      <a:pt x="177" y="153"/>
                    </a:lnTo>
                    <a:lnTo>
                      <a:pt x="177" y="154"/>
                    </a:lnTo>
                    <a:lnTo>
                      <a:pt x="177" y="155"/>
                    </a:lnTo>
                    <a:lnTo>
                      <a:pt x="177" y="156"/>
                    </a:lnTo>
                    <a:lnTo>
                      <a:pt x="178" y="156"/>
                    </a:lnTo>
                    <a:lnTo>
                      <a:pt x="178" y="157"/>
                    </a:lnTo>
                    <a:lnTo>
                      <a:pt x="177" y="157"/>
                    </a:lnTo>
                    <a:lnTo>
                      <a:pt x="178" y="157"/>
                    </a:lnTo>
                    <a:lnTo>
                      <a:pt x="178" y="159"/>
                    </a:lnTo>
                    <a:lnTo>
                      <a:pt x="178" y="160"/>
                    </a:lnTo>
                    <a:lnTo>
                      <a:pt x="179" y="160"/>
                    </a:lnTo>
                    <a:lnTo>
                      <a:pt x="179" y="161"/>
                    </a:lnTo>
                    <a:lnTo>
                      <a:pt x="180" y="161"/>
                    </a:lnTo>
                    <a:lnTo>
                      <a:pt x="180" y="162"/>
                    </a:lnTo>
                    <a:lnTo>
                      <a:pt x="180" y="163"/>
                    </a:lnTo>
                    <a:lnTo>
                      <a:pt x="181" y="163"/>
                    </a:lnTo>
                    <a:lnTo>
                      <a:pt x="182" y="163"/>
                    </a:lnTo>
                    <a:lnTo>
                      <a:pt x="182" y="164"/>
                    </a:lnTo>
                    <a:lnTo>
                      <a:pt x="183" y="165"/>
                    </a:lnTo>
                    <a:lnTo>
                      <a:pt x="184" y="165"/>
                    </a:lnTo>
                    <a:lnTo>
                      <a:pt x="185" y="165"/>
                    </a:lnTo>
                    <a:lnTo>
                      <a:pt x="184" y="166"/>
                    </a:lnTo>
                    <a:lnTo>
                      <a:pt x="185" y="166"/>
                    </a:lnTo>
                    <a:lnTo>
                      <a:pt x="186" y="166"/>
                    </a:lnTo>
                    <a:lnTo>
                      <a:pt x="186" y="167"/>
                    </a:lnTo>
                    <a:lnTo>
                      <a:pt x="186" y="168"/>
                    </a:lnTo>
                    <a:lnTo>
                      <a:pt x="185" y="168"/>
                    </a:lnTo>
                    <a:lnTo>
                      <a:pt x="185" y="169"/>
                    </a:lnTo>
                    <a:lnTo>
                      <a:pt x="185" y="170"/>
                    </a:lnTo>
                    <a:lnTo>
                      <a:pt x="185" y="172"/>
                    </a:lnTo>
                    <a:lnTo>
                      <a:pt x="185" y="173"/>
                    </a:lnTo>
                    <a:lnTo>
                      <a:pt x="185" y="174"/>
                    </a:lnTo>
                    <a:lnTo>
                      <a:pt x="184" y="173"/>
                    </a:lnTo>
                    <a:lnTo>
                      <a:pt x="184" y="174"/>
                    </a:lnTo>
                    <a:lnTo>
                      <a:pt x="185" y="174"/>
                    </a:lnTo>
                    <a:lnTo>
                      <a:pt x="185" y="175"/>
                    </a:lnTo>
                    <a:lnTo>
                      <a:pt x="184" y="175"/>
                    </a:lnTo>
                    <a:lnTo>
                      <a:pt x="184" y="176"/>
                    </a:lnTo>
                    <a:lnTo>
                      <a:pt x="183" y="177"/>
                    </a:lnTo>
                    <a:lnTo>
                      <a:pt x="184" y="177"/>
                    </a:lnTo>
                    <a:lnTo>
                      <a:pt x="185" y="177"/>
                    </a:lnTo>
                    <a:lnTo>
                      <a:pt x="185" y="178"/>
                    </a:lnTo>
                    <a:lnTo>
                      <a:pt x="185" y="179"/>
                    </a:lnTo>
                    <a:lnTo>
                      <a:pt x="186" y="179"/>
                    </a:lnTo>
                    <a:lnTo>
                      <a:pt x="187" y="179"/>
                    </a:lnTo>
                    <a:lnTo>
                      <a:pt x="186" y="179"/>
                    </a:lnTo>
                    <a:lnTo>
                      <a:pt x="186" y="180"/>
                    </a:lnTo>
                    <a:lnTo>
                      <a:pt x="187" y="180"/>
                    </a:lnTo>
                    <a:lnTo>
                      <a:pt x="186" y="180"/>
                    </a:lnTo>
                    <a:lnTo>
                      <a:pt x="186" y="181"/>
                    </a:lnTo>
                    <a:lnTo>
                      <a:pt x="187" y="181"/>
                    </a:lnTo>
                    <a:lnTo>
                      <a:pt x="186" y="181"/>
                    </a:lnTo>
                    <a:lnTo>
                      <a:pt x="186" y="182"/>
                    </a:lnTo>
                    <a:lnTo>
                      <a:pt x="187" y="182"/>
                    </a:lnTo>
                    <a:lnTo>
                      <a:pt x="187" y="184"/>
                    </a:lnTo>
                    <a:lnTo>
                      <a:pt x="187" y="185"/>
                    </a:lnTo>
                    <a:lnTo>
                      <a:pt x="187" y="186"/>
                    </a:lnTo>
                    <a:lnTo>
                      <a:pt x="187" y="187"/>
                    </a:lnTo>
                    <a:lnTo>
                      <a:pt x="188" y="187"/>
                    </a:lnTo>
                    <a:lnTo>
                      <a:pt x="190" y="187"/>
                    </a:lnTo>
                    <a:lnTo>
                      <a:pt x="191" y="188"/>
                    </a:lnTo>
                    <a:lnTo>
                      <a:pt x="192" y="189"/>
                    </a:lnTo>
                    <a:lnTo>
                      <a:pt x="192" y="190"/>
                    </a:lnTo>
                    <a:lnTo>
                      <a:pt x="191" y="190"/>
                    </a:lnTo>
                    <a:lnTo>
                      <a:pt x="191" y="191"/>
                    </a:lnTo>
                    <a:lnTo>
                      <a:pt x="190" y="191"/>
                    </a:lnTo>
                    <a:lnTo>
                      <a:pt x="191" y="191"/>
                    </a:lnTo>
                    <a:lnTo>
                      <a:pt x="191" y="192"/>
                    </a:lnTo>
                    <a:lnTo>
                      <a:pt x="191" y="193"/>
                    </a:lnTo>
                    <a:lnTo>
                      <a:pt x="191" y="194"/>
                    </a:lnTo>
                    <a:lnTo>
                      <a:pt x="191" y="195"/>
                    </a:lnTo>
                    <a:lnTo>
                      <a:pt x="190" y="195"/>
                    </a:lnTo>
                    <a:lnTo>
                      <a:pt x="191" y="195"/>
                    </a:lnTo>
                    <a:lnTo>
                      <a:pt x="191" y="197"/>
                    </a:lnTo>
                    <a:lnTo>
                      <a:pt x="191" y="198"/>
                    </a:lnTo>
                    <a:lnTo>
                      <a:pt x="191" y="199"/>
                    </a:lnTo>
                    <a:lnTo>
                      <a:pt x="192" y="199"/>
                    </a:lnTo>
                    <a:lnTo>
                      <a:pt x="192" y="200"/>
                    </a:lnTo>
                    <a:lnTo>
                      <a:pt x="191" y="200"/>
                    </a:lnTo>
                    <a:lnTo>
                      <a:pt x="191" y="201"/>
                    </a:lnTo>
                    <a:lnTo>
                      <a:pt x="190" y="201"/>
                    </a:lnTo>
                    <a:lnTo>
                      <a:pt x="191" y="201"/>
                    </a:lnTo>
                    <a:lnTo>
                      <a:pt x="191" y="202"/>
                    </a:lnTo>
                    <a:lnTo>
                      <a:pt x="190" y="202"/>
                    </a:lnTo>
                    <a:lnTo>
                      <a:pt x="191" y="202"/>
                    </a:lnTo>
                    <a:lnTo>
                      <a:pt x="190" y="203"/>
                    </a:lnTo>
                    <a:lnTo>
                      <a:pt x="190" y="204"/>
                    </a:lnTo>
                    <a:lnTo>
                      <a:pt x="190" y="205"/>
                    </a:lnTo>
                    <a:lnTo>
                      <a:pt x="191" y="205"/>
                    </a:lnTo>
                    <a:lnTo>
                      <a:pt x="191" y="206"/>
                    </a:lnTo>
                    <a:close/>
                  </a:path>
                </a:pathLst>
              </a:custGeom>
              <a:solidFill>
                <a:srgbClr val="0C4689"/>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4" name="Freeform 24">
                <a:extLst>
                  <a:ext uri="{FF2B5EF4-FFF2-40B4-BE49-F238E27FC236}">
                    <a16:creationId xmlns:a16="http://schemas.microsoft.com/office/drawing/2014/main" id="{DFEA8FFC-533C-51C7-07AD-AACA7EBD9DD6}"/>
                  </a:ext>
                </a:extLst>
              </p:cNvPr>
              <p:cNvSpPr>
                <a:spLocks/>
              </p:cNvSpPr>
              <p:nvPr/>
            </p:nvSpPr>
            <p:spPr bwMode="auto">
              <a:xfrm>
                <a:off x="4737101" y="3438525"/>
                <a:ext cx="603250" cy="384175"/>
              </a:xfrm>
              <a:custGeom>
                <a:avLst/>
                <a:gdLst>
                  <a:gd name="T0" fmla="*/ 251 w 380"/>
                  <a:gd name="T1" fmla="*/ 242 h 242"/>
                  <a:gd name="T2" fmla="*/ 215 w 380"/>
                  <a:gd name="T3" fmla="*/ 242 h 242"/>
                  <a:gd name="T4" fmla="*/ 141 w 380"/>
                  <a:gd name="T5" fmla="*/ 227 h 242"/>
                  <a:gd name="T6" fmla="*/ 89 w 380"/>
                  <a:gd name="T7" fmla="*/ 216 h 242"/>
                  <a:gd name="T8" fmla="*/ 57 w 380"/>
                  <a:gd name="T9" fmla="*/ 205 h 242"/>
                  <a:gd name="T10" fmla="*/ 57 w 380"/>
                  <a:gd name="T11" fmla="*/ 197 h 242"/>
                  <a:gd name="T12" fmla="*/ 53 w 380"/>
                  <a:gd name="T13" fmla="*/ 189 h 242"/>
                  <a:gd name="T14" fmla="*/ 52 w 380"/>
                  <a:gd name="T15" fmla="*/ 182 h 242"/>
                  <a:gd name="T16" fmla="*/ 51 w 380"/>
                  <a:gd name="T17" fmla="*/ 176 h 242"/>
                  <a:gd name="T18" fmla="*/ 48 w 380"/>
                  <a:gd name="T19" fmla="*/ 167 h 242"/>
                  <a:gd name="T20" fmla="*/ 44 w 380"/>
                  <a:gd name="T21" fmla="*/ 159 h 242"/>
                  <a:gd name="T22" fmla="*/ 43 w 380"/>
                  <a:gd name="T23" fmla="*/ 150 h 242"/>
                  <a:gd name="T24" fmla="*/ 35 w 380"/>
                  <a:gd name="T25" fmla="*/ 143 h 242"/>
                  <a:gd name="T26" fmla="*/ 33 w 380"/>
                  <a:gd name="T27" fmla="*/ 136 h 242"/>
                  <a:gd name="T28" fmla="*/ 32 w 380"/>
                  <a:gd name="T29" fmla="*/ 125 h 242"/>
                  <a:gd name="T30" fmla="*/ 32 w 380"/>
                  <a:gd name="T31" fmla="*/ 115 h 242"/>
                  <a:gd name="T32" fmla="*/ 23 w 380"/>
                  <a:gd name="T33" fmla="*/ 103 h 242"/>
                  <a:gd name="T34" fmla="*/ 20 w 380"/>
                  <a:gd name="T35" fmla="*/ 92 h 242"/>
                  <a:gd name="T36" fmla="*/ 0 w 380"/>
                  <a:gd name="T37" fmla="*/ 44 h 242"/>
                  <a:gd name="T38" fmla="*/ 74 w 380"/>
                  <a:gd name="T39" fmla="*/ 3 h 242"/>
                  <a:gd name="T40" fmla="*/ 142 w 380"/>
                  <a:gd name="T41" fmla="*/ 2 h 242"/>
                  <a:gd name="T42" fmla="*/ 224 w 380"/>
                  <a:gd name="T43" fmla="*/ 2 h 242"/>
                  <a:gd name="T44" fmla="*/ 314 w 380"/>
                  <a:gd name="T45" fmla="*/ 2 h 242"/>
                  <a:gd name="T46" fmla="*/ 372 w 380"/>
                  <a:gd name="T47" fmla="*/ 1 h 242"/>
                  <a:gd name="T48" fmla="*/ 377 w 380"/>
                  <a:gd name="T49" fmla="*/ 3 h 242"/>
                  <a:gd name="T50" fmla="*/ 379 w 380"/>
                  <a:gd name="T51" fmla="*/ 16 h 242"/>
                  <a:gd name="T52" fmla="*/ 380 w 380"/>
                  <a:gd name="T53" fmla="*/ 25 h 242"/>
                  <a:gd name="T54" fmla="*/ 370 w 380"/>
                  <a:gd name="T55" fmla="*/ 36 h 242"/>
                  <a:gd name="T56" fmla="*/ 367 w 380"/>
                  <a:gd name="T57" fmla="*/ 51 h 242"/>
                  <a:gd name="T58" fmla="*/ 369 w 380"/>
                  <a:gd name="T59" fmla="*/ 62 h 242"/>
                  <a:gd name="T60" fmla="*/ 358 w 380"/>
                  <a:gd name="T61" fmla="*/ 66 h 242"/>
                  <a:gd name="T62" fmla="*/ 360 w 380"/>
                  <a:gd name="T63" fmla="*/ 77 h 242"/>
                  <a:gd name="T64" fmla="*/ 353 w 380"/>
                  <a:gd name="T65" fmla="*/ 80 h 242"/>
                  <a:gd name="T66" fmla="*/ 351 w 380"/>
                  <a:gd name="T67" fmla="*/ 89 h 242"/>
                  <a:gd name="T68" fmla="*/ 353 w 380"/>
                  <a:gd name="T69" fmla="*/ 98 h 242"/>
                  <a:gd name="T70" fmla="*/ 347 w 380"/>
                  <a:gd name="T71" fmla="*/ 106 h 242"/>
                  <a:gd name="T72" fmla="*/ 344 w 380"/>
                  <a:gd name="T73" fmla="*/ 113 h 242"/>
                  <a:gd name="T74" fmla="*/ 343 w 380"/>
                  <a:gd name="T75" fmla="*/ 116 h 242"/>
                  <a:gd name="T76" fmla="*/ 346 w 380"/>
                  <a:gd name="T77" fmla="*/ 125 h 242"/>
                  <a:gd name="T78" fmla="*/ 346 w 380"/>
                  <a:gd name="T79" fmla="*/ 133 h 242"/>
                  <a:gd name="T80" fmla="*/ 337 w 380"/>
                  <a:gd name="T81" fmla="*/ 132 h 242"/>
                  <a:gd name="T82" fmla="*/ 335 w 380"/>
                  <a:gd name="T83" fmla="*/ 139 h 242"/>
                  <a:gd name="T84" fmla="*/ 327 w 380"/>
                  <a:gd name="T85" fmla="*/ 144 h 242"/>
                  <a:gd name="T86" fmla="*/ 333 w 380"/>
                  <a:gd name="T87" fmla="*/ 150 h 242"/>
                  <a:gd name="T88" fmla="*/ 328 w 380"/>
                  <a:gd name="T89" fmla="*/ 151 h 242"/>
                  <a:gd name="T90" fmla="*/ 323 w 380"/>
                  <a:gd name="T91" fmla="*/ 157 h 242"/>
                  <a:gd name="T92" fmla="*/ 319 w 380"/>
                  <a:gd name="T93" fmla="*/ 164 h 242"/>
                  <a:gd name="T94" fmla="*/ 315 w 380"/>
                  <a:gd name="T95" fmla="*/ 168 h 242"/>
                  <a:gd name="T96" fmla="*/ 318 w 380"/>
                  <a:gd name="T97" fmla="*/ 178 h 242"/>
                  <a:gd name="T98" fmla="*/ 322 w 380"/>
                  <a:gd name="T99" fmla="*/ 179 h 242"/>
                  <a:gd name="T100" fmla="*/ 320 w 380"/>
                  <a:gd name="T101" fmla="*/ 191 h 242"/>
                  <a:gd name="T102" fmla="*/ 319 w 380"/>
                  <a:gd name="T103" fmla="*/ 192 h 242"/>
                  <a:gd name="T104" fmla="*/ 318 w 380"/>
                  <a:gd name="T105" fmla="*/ 194 h 242"/>
                  <a:gd name="T106" fmla="*/ 320 w 380"/>
                  <a:gd name="T107" fmla="*/ 197 h 242"/>
                  <a:gd name="T108" fmla="*/ 314 w 380"/>
                  <a:gd name="T109" fmla="*/ 206 h 242"/>
                  <a:gd name="T110" fmla="*/ 310 w 380"/>
                  <a:gd name="T111" fmla="*/ 210 h 242"/>
                  <a:gd name="T112" fmla="*/ 312 w 380"/>
                  <a:gd name="T113" fmla="*/ 217 h 242"/>
                  <a:gd name="T114" fmla="*/ 307 w 380"/>
                  <a:gd name="T115" fmla="*/ 226 h 242"/>
                  <a:gd name="T116" fmla="*/ 309 w 380"/>
                  <a:gd name="T117" fmla="*/ 232 h 242"/>
                  <a:gd name="T118" fmla="*/ 307 w 380"/>
                  <a:gd name="T119" fmla="*/ 239 h 242"/>
                  <a:gd name="T120" fmla="*/ 310 w 380"/>
                  <a:gd name="T121" fmla="*/ 24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0" h="242">
                    <a:moveTo>
                      <a:pt x="309" y="242"/>
                    </a:moveTo>
                    <a:lnTo>
                      <a:pt x="298" y="242"/>
                    </a:lnTo>
                    <a:lnTo>
                      <a:pt x="297" y="242"/>
                    </a:lnTo>
                    <a:lnTo>
                      <a:pt x="296" y="242"/>
                    </a:lnTo>
                    <a:lnTo>
                      <a:pt x="293" y="242"/>
                    </a:lnTo>
                    <a:lnTo>
                      <a:pt x="292" y="242"/>
                    </a:lnTo>
                    <a:lnTo>
                      <a:pt x="290" y="242"/>
                    </a:lnTo>
                    <a:lnTo>
                      <a:pt x="276" y="242"/>
                    </a:lnTo>
                    <a:lnTo>
                      <a:pt x="272" y="242"/>
                    </a:lnTo>
                    <a:lnTo>
                      <a:pt x="269" y="242"/>
                    </a:lnTo>
                    <a:lnTo>
                      <a:pt x="259" y="242"/>
                    </a:lnTo>
                    <a:lnTo>
                      <a:pt x="254" y="242"/>
                    </a:lnTo>
                    <a:lnTo>
                      <a:pt x="251" y="242"/>
                    </a:lnTo>
                    <a:lnTo>
                      <a:pt x="246" y="242"/>
                    </a:lnTo>
                    <a:lnTo>
                      <a:pt x="245" y="242"/>
                    </a:lnTo>
                    <a:lnTo>
                      <a:pt x="238" y="242"/>
                    </a:lnTo>
                    <a:lnTo>
                      <a:pt x="235" y="242"/>
                    </a:lnTo>
                    <a:lnTo>
                      <a:pt x="227" y="242"/>
                    </a:lnTo>
                    <a:lnTo>
                      <a:pt x="225" y="242"/>
                    </a:lnTo>
                    <a:lnTo>
                      <a:pt x="224" y="242"/>
                    </a:lnTo>
                    <a:lnTo>
                      <a:pt x="221" y="242"/>
                    </a:lnTo>
                    <a:lnTo>
                      <a:pt x="220" y="242"/>
                    </a:lnTo>
                    <a:lnTo>
                      <a:pt x="218" y="242"/>
                    </a:lnTo>
                    <a:lnTo>
                      <a:pt x="217" y="242"/>
                    </a:lnTo>
                    <a:lnTo>
                      <a:pt x="216" y="242"/>
                    </a:lnTo>
                    <a:lnTo>
                      <a:pt x="215" y="242"/>
                    </a:lnTo>
                    <a:lnTo>
                      <a:pt x="213" y="241"/>
                    </a:lnTo>
                    <a:lnTo>
                      <a:pt x="212" y="241"/>
                    </a:lnTo>
                    <a:lnTo>
                      <a:pt x="207" y="240"/>
                    </a:lnTo>
                    <a:lnTo>
                      <a:pt x="200" y="239"/>
                    </a:lnTo>
                    <a:lnTo>
                      <a:pt x="188" y="236"/>
                    </a:lnTo>
                    <a:lnTo>
                      <a:pt x="186" y="235"/>
                    </a:lnTo>
                    <a:lnTo>
                      <a:pt x="180" y="234"/>
                    </a:lnTo>
                    <a:lnTo>
                      <a:pt x="174" y="233"/>
                    </a:lnTo>
                    <a:lnTo>
                      <a:pt x="172" y="233"/>
                    </a:lnTo>
                    <a:lnTo>
                      <a:pt x="164" y="231"/>
                    </a:lnTo>
                    <a:lnTo>
                      <a:pt x="154" y="229"/>
                    </a:lnTo>
                    <a:lnTo>
                      <a:pt x="144" y="228"/>
                    </a:lnTo>
                    <a:lnTo>
                      <a:pt x="141" y="227"/>
                    </a:lnTo>
                    <a:lnTo>
                      <a:pt x="140" y="227"/>
                    </a:lnTo>
                    <a:lnTo>
                      <a:pt x="138" y="226"/>
                    </a:lnTo>
                    <a:lnTo>
                      <a:pt x="134" y="224"/>
                    </a:lnTo>
                    <a:lnTo>
                      <a:pt x="129" y="223"/>
                    </a:lnTo>
                    <a:lnTo>
                      <a:pt x="128" y="223"/>
                    </a:lnTo>
                    <a:lnTo>
                      <a:pt x="114" y="220"/>
                    </a:lnTo>
                    <a:lnTo>
                      <a:pt x="113" y="220"/>
                    </a:lnTo>
                    <a:lnTo>
                      <a:pt x="112" y="220"/>
                    </a:lnTo>
                    <a:lnTo>
                      <a:pt x="110" y="220"/>
                    </a:lnTo>
                    <a:lnTo>
                      <a:pt x="110" y="219"/>
                    </a:lnTo>
                    <a:lnTo>
                      <a:pt x="106" y="219"/>
                    </a:lnTo>
                    <a:lnTo>
                      <a:pt x="101" y="218"/>
                    </a:lnTo>
                    <a:lnTo>
                      <a:pt x="89" y="216"/>
                    </a:lnTo>
                    <a:lnTo>
                      <a:pt x="82" y="214"/>
                    </a:lnTo>
                    <a:lnTo>
                      <a:pt x="80" y="214"/>
                    </a:lnTo>
                    <a:lnTo>
                      <a:pt x="77" y="213"/>
                    </a:lnTo>
                    <a:lnTo>
                      <a:pt x="75" y="213"/>
                    </a:lnTo>
                    <a:lnTo>
                      <a:pt x="64" y="210"/>
                    </a:lnTo>
                    <a:lnTo>
                      <a:pt x="57" y="209"/>
                    </a:lnTo>
                    <a:lnTo>
                      <a:pt x="57" y="208"/>
                    </a:lnTo>
                    <a:lnTo>
                      <a:pt x="56" y="208"/>
                    </a:lnTo>
                    <a:lnTo>
                      <a:pt x="56" y="207"/>
                    </a:lnTo>
                    <a:lnTo>
                      <a:pt x="56" y="206"/>
                    </a:lnTo>
                    <a:lnTo>
                      <a:pt x="57" y="205"/>
                    </a:lnTo>
                    <a:lnTo>
                      <a:pt x="56" y="205"/>
                    </a:lnTo>
                    <a:lnTo>
                      <a:pt x="57" y="205"/>
                    </a:lnTo>
                    <a:lnTo>
                      <a:pt x="57" y="204"/>
                    </a:lnTo>
                    <a:lnTo>
                      <a:pt x="56" y="204"/>
                    </a:lnTo>
                    <a:lnTo>
                      <a:pt x="57" y="204"/>
                    </a:lnTo>
                    <a:lnTo>
                      <a:pt x="57" y="203"/>
                    </a:lnTo>
                    <a:lnTo>
                      <a:pt x="58" y="203"/>
                    </a:lnTo>
                    <a:lnTo>
                      <a:pt x="58" y="202"/>
                    </a:lnTo>
                    <a:lnTo>
                      <a:pt x="57" y="202"/>
                    </a:lnTo>
                    <a:lnTo>
                      <a:pt x="57" y="201"/>
                    </a:lnTo>
                    <a:lnTo>
                      <a:pt x="57" y="200"/>
                    </a:lnTo>
                    <a:lnTo>
                      <a:pt x="57" y="198"/>
                    </a:lnTo>
                    <a:lnTo>
                      <a:pt x="56" y="198"/>
                    </a:lnTo>
                    <a:lnTo>
                      <a:pt x="57" y="198"/>
                    </a:lnTo>
                    <a:lnTo>
                      <a:pt x="57" y="197"/>
                    </a:lnTo>
                    <a:lnTo>
                      <a:pt x="57" y="196"/>
                    </a:lnTo>
                    <a:lnTo>
                      <a:pt x="57" y="195"/>
                    </a:lnTo>
                    <a:lnTo>
                      <a:pt x="57" y="194"/>
                    </a:lnTo>
                    <a:lnTo>
                      <a:pt x="56" y="194"/>
                    </a:lnTo>
                    <a:lnTo>
                      <a:pt x="57" y="194"/>
                    </a:lnTo>
                    <a:lnTo>
                      <a:pt x="57" y="193"/>
                    </a:lnTo>
                    <a:lnTo>
                      <a:pt x="58" y="193"/>
                    </a:lnTo>
                    <a:lnTo>
                      <a:pt x="58" y="192"/>
                    </a:lnTo>
                    <a:lnTo>
                      <a:pt x="57" y="191"/>
                    </a:lnTo>
                    <a:lnTo>
                      <a:pt x="56" y="190"/>
                    </a:lnTo>
                    <a:lnTo>
                      <a:pt x="54" y="190"/>
                    </a:lnTo>
                    <a:lnTo>
                      <a:pt x="53" y="190"/>
                    </a:lnTo>
                    <a:lnTo>
                      <a:pt x="53" y="189"/>
                    </a:lnTo>
                    <a:lnTo>
                      <a:pt x="53" y="188"/>
                    </a:lnTo>
                    <a:lnTo>
                      <a:pt x="53" y="187"/>
                    </a:lnTo>
                    <a:lnTo>
                      <a:pt x="53" y="185"/>
                    </a:lnTo>
                    <a:lnTo>
                      <a:pt x="52" y="185"/>
                    </a:lnTo>
                    <a:lnTo>
                      <a:pt x="52" y="184"/>
                    </a:lnTo>
                    <a:lnTo>
                      <a:pt x="53" y="184"/>
                    </a:lnTo>
                    <a:lnTo>
                      <a:pt x="52" y="184"/>
                    </a:lnTo>
                    <a:lnTo>
                      <a:pt x="52" y="183"/>
                    </a:lnTo>
                    <a:lnTo>
                      <a:pt x="53" y="183"/>
                    </a:lnTo>
                    <a:lnTo>
                      <a:pt x="52" y="183"/>
                    </a:lnTo>
                    <a:lnTo>
                      <a:pt x="52" y="182"/>
                    </a:lnTo>
                    <a:lnTo>
                      <a:pt x="53" y="182"/>
                    </a:lnTo>
                    <a:lnTo>
                      <a:pt x="52" y="182"/>
                    </a:lnTo>
                    <a:lnTo>
                      <a:pt x="51" y="182"/>
                    </a:lnTo>
                    <a:lnTo>
                      <a:pt x="51" y="181"/>
                    </a:lnTo>
                    <a:lnTo>
                      <a:pt x="51" y="180"/>
                    </a:lnTo>
                    <a:lnTo>
                      <a:pt x="50" y="180"/>
                    </a:lnTo>
                    <a:lnTo>
                      <a:pt x="49" y="180"/>
                    </a:lnTo>
                    <a:lnTo>
                      <a:pt x="50" y="179"/>
                    </a:lnTo>
                    <a:lnTo>
                      <a:pt x="50" y="178"/>
                    </a:lnTo>
                    <a:lnTo>
                      <a:pt x="51" y="178"/>
                    </a:lnTo>
                    <a:lnTo>
                      <a:pt x="51" y="177"/>
                    </a:lnTo>
                    <a:lnTo>
                      <a:pt x="50" y="177"/>
                    </a:lnTo>
                    <a:lnTo>
                      <a:pt x="50" y="176"/>
                    </a:lnTo>
                    <a:lnTo>
                      <a:pt x="51" y="177"/>
                    </a:lnTo>
                    <a:lnTo>
                      <a:pt x="51" y="176"/>
                    </a:lnTo>
                    <a:lnTo>
                      <a:pt x="51" y="175"/>
                    </a:lnTo>
                    <a:lnTo>
                      <a:pt x="51" y="173"/>
                    </a:lnTo>
                    <a:lnTo>
                      <a:pt x="51" y="172"/>
                    </a:lnTo>
                    <a:lnTo>
                      <a:pt x="51" y="171"/>
                    </a:lnTo>
                    <a:lnTo>
                      <a:pt x="52" y="171"/>
                    </a:lnTo>
                    <a:lnTo>
                      <a:pt x="52" y="170"/>
                    </a:lnTo>
                    <a:lnTo>
                      <a:pt x="52" y="169"/>
                    </a:lnTo>
                    <a:lnTo>
                      <a:pt x="51" y="169"/>
                    </a:lnTo>
                    <a:lnTo>
                      <a:pt x="50" y="169"/>
                    </a:lnTo>
                    <a:lnTo>
                      <a:pt x="51" y="168"/>
                    </a:lnTo>
                    <a:lnTo>
                      <a:pt x="50" y="168"/>
                    </a:lnTo>
                    <a:lnTo>
                      <a:pt x="49" y="168"/>
                    </a:lnTo>
                    <a:lnTo>
                      <a:pt x="48" y="167"/>
                    </a:lnTo>
                    <a:lnTo>
                      <a:pt x="48" y="166"/>
                    </a:lnTo>
                    <a:lnTo>
                      <a:pt x="47" y="166"/>
                    </a:lnTo>
                    <a:lnTo>
                      <a:pt x="46" y="166"/>
                    </a:lnTo>
                    <a:lnTo>
                      <a:pt x="46" y="165"/>
                    </a:lnTo>
                    <a:lnTo>
                      <a:pt x="46" y="164"/>
                    </a:lnTo>
                    <a:lnTo>
                      <a:pt x="45" y="164"/>
                    </a:lnTo>
                    <a:lnTo>
                      <a:pt x="45" y="163"/>
                    </a:lnTo>
                    <a:lnTo>
                      <a:pt x="44" y="163"/>
                    </a:lnTo>
                    <a:lnTo>
                      <a:pt x="44" y="162"/>
                    </a:lnTo>
                    <a:lnTo>
                      <a:pt x="44" y="160"/>
                    </a:lnTo>
                    <a:lnTo>
                      <a:pt x="43" y="160"/>
                    </a:lnTo>
                    <a:lnTo>
                      <a:pt x="44" y="160"/>
                    </a:lnTo>
                    <a:lnTo>
                      <a:pt x="44" y="159"/>
                    </a:lnTo>
                    <a:lnTo>
                      <a:pt x="43" y="159"/>
                    </a:lnTo>
                    <a:lnTo>
                      <a:pt x="43" y="158"/>
                    </a:lnTo>
                    <a:lnTo>
                      <a:pt x="43" y="157"/>
                    </a:lnTo>
                    <a:lnTo>
                      <a:pt x="43" y="156"/>
                    </a:lnTo>
                    <a:lnTo>
                      <a:pt x="41" y="156"/>
                    </a:lnTo>
                    <a:lnTo>
                      <a:pt x="41" y="155"/>
                    </a:lnTo>
                    <a:lnTo>
                      <a:pt x="41" y="154"/>
                    </a:lnTo>
                    <a:lnTo>
                      <a:pt x="43" y="154"/>
                    </a:lnTo>
                    <a:lnTo>
                      <a:pt x="41" y="154"/>
                    </a:lnTo>
                    <a:lnTo>
                      <a:pt x="41" y="153"/>
                    </a:lnTo>
                    <a:lnTo>
                      <a:pt x="41" y="152"/>
                    </a:lnTo>
                    <a:lnTo>
                      <a:pt x="43" y="151"/>
                    </a:lnTo>
                    <a:lnTo>
                      <a:pt x="43" y="150"/>
                    </a:lnTo>
                    <a:lnTo>
                      <a:pt x="41" y="150"/>
                    </a:lnTo>
                    <a:lnTo>
                      <a:pt x="40" y="150"/>
                    </a:lnTo>
                    <a:lnTo>
                      <a:pt x="40" y="149"/>
                    </a:lnTo>
                    <a:lnTo>
                      <a:pt x="39" y="149"/>
                    </a:lnTo>
                    <a:lnTo>
                      <a:pt x="39" y="147"/>
                    </a:lnTo>
                    <a:lnTo>
                      <a:pt x="39" y="146"/>
                    </a:lnTo>
                    <a:lnTo>
                      <a:pt x="38" y="146"/>
                    </a:lnTo>
                    <a:lnTo>
                      <a:pt x="38" y="145"/>
                    </a:lnTo>
                    <a:lnTo>
                      <a:pt x="37" y="145"/>
                    </a:lnTo>
                    <a:lnTo>
                      <a:pt x="36" y="145"/>
                    </a:lnTo>
                    <a:lnTo>
                      <a:pt x="36" y="144"/>
                    </a:lnTo>
                    <a:lnTo>
                      <a:pt x="36" y="143"/>
                    </a:lnTo>
                    <a:lnTo>
                      <a:pt x="35" y="143"/>
                    </a:lnTo>
                    <a:lnTo>
                      <a:pt x="35" y="142"/>
                    </a:lnTo>
                    <a:lnTo>
                      <a:pt x="34" y="142"/>
                    </a:lnTo>
                    <a:lnTo>
                      <a:pt x="34" y="141"/>
                    </a:lnTo>
                    <a:lnTo>
                      <a:pt x="34" y="142"/>
                    </a:lnTo>
                    <a:lnTo>
                      <a:pt x="33" y="142"/>
                    </a:lnTo>
                    <a:lnTo>
                      <a:pt x="33" y="141"/>
                    </a:lnTo>
                    <a:lnTo>
                      <a:pt x="33" y="140"/>
                    </a:lnTo>
                    <a:lnTo>
                      <a:pt x="33" y="139"/>
                    </a:lnTo>
                    <a:lnTo>
                      <a:pt x="34" y="139"/>
                    </a:lnTo>
                    <a:lnTo>
                      <a:pt x="34" y="138"/>
                    </a:lnTo>
                    <a:lnTo>
                      <a:pt x="33" y="138"/>
                    </a:lnTo>
                    <a:lnTo>
                      <a:pt x="33" y="137"/>
                    </a:lnTo>
                    <a:lnTo>
                      <a:pt x="33" y="136"/>
                    </a:lnTo>
                    <a:lnTo>
                      <a:pt x="34" y="136"/>
                    </a:lnTo>
                    <a:lnTo>
                      <a:pt x="35" y="136"/>
                    </a:lnTo>
                    <a:lnTo>
                      <a:pt x="34" y="134"/>
                    </a:lnTo>
                    <a:lnTo>
                      <a:pt x="34" y="133"/>
                    </a:lnTo>
                    <a:lnTo>
                      <a:pt x="35" y="133"/>
                    </a:lnTo>
                    <a:lnTo>
                      <a:pt x="35" y="132"/>
                    </a:lnTo>
                    <a:lnTo>
                      <a:pt x="35" y="131"/>
                    </a:lnTo>
                    <a:lnTo>
                      <a:pt x="35" y="130"/>
                    </a:lnTo>
                    <a:lnTo>
                      <a:pt x="35" y="129"/>
                    </a:lnTo>
                    <a:lnTo>
                      <a:pt x="34" y="128"/>
                    </a:lnTo>
                    <a:lnTo>
                      <a:pt x="33" y="127"/>
                    </a:lnTo>
                    <a:lnTo>
                      <a:pt x="33" y="126"/>
                    </a:lnTo>
                    <a:lnTo>
                      <a:pt x="32" y="125"/>
                    </a:lnTo>
                    <a:lnTo>
                      <a:pt x="32" y="124"/>
                    </a:lnTo>
                    <a:lnTo>
                      <a:pt x="31" y="123"/>
                    </a:lnTo>
                    <a:lnTo>
                      <a:pt x="32" y="123"/>
                    </a:lnTo>
                    <a:lnTo>
                      <a:pt x="32" y="121"/>
                    </a:lnTo>
                    <a:lnTo>
                      <a:pt x="32" y="120"/>
                    </a:lnTo>
                    <a:lnTo>
                      <a:pt x="32" y="119"/>
                    </a:lnTo>
                    <a:lnTo>
                      <a:pt x="32" y="118"/>
                    </a:lnTo>
                    <a:lnTo>
                      <a:pt x="31" y="117"/>
                    </a:lnTo>
                    <a:lnTo>
                      <a:pt x="32" y="117"/>
                    </a:lnTo>
                    <a:lnTo>
                      <a:pt x="32" y="116"/>
                    </a:lnTo>
                    <a:lnTo>
                      <a:pt x="31" y="116"/>
                    </a:lnTo>
                    <a:lnTo>
                      <a:pt x="31" y="115"/>
                    </a:lnTo>
                    <a:lnTo>
                      <a:pt x="32" y="115"/>
                    </a:lnTo>
                    <a:lnTo>
                      <a:pt x="31" y="115"/>
                    </a:lnTo>
                    <a:lnTo>
                      <a:pt x="31" y="114"/>
                    </a:lnTo>
                    <a:lnTo>
                      <a:pt x="31" y="113"/>
                    </a:lnTo>
                    <a:lnTo>
                      <a:pt x="31" y="112"/>
                    </a:lnTo>
                    <a:lnTo>
                      <a:pt x="30" y="112"/>
                    </a:lnTo>
                    <a:lnTo>
                      <a:pt x="30" y="111"/>
                    </a:lnTo>
                    <a:lnTo>
                      <a:pt x="28" y="110"/>
                    </a:lnTo>
                    <a:lnTo>
                      <a:pt x="27" y="108"/>
                    </a:lnTo>
                    <a:lnTo>
                      <a:pt x="24" y="107"/>
                    </a:lnTo>
                    <a:lnTo>
                      <a:pt x="24" y="106"/>
                    </a:lnTo>
                    <a:lnTo>
                      <a:pt x="23" y="105"/>
                    </a:lnTo>
                    <a:lnTo>
                      <a:pt x="23" y="104"/>
                    </a:lnTo>
                    <a:lnTo>
                      <a:pt x="23" y="103"/>
                    </a:lnTo>
                    <a:lnTo>
                      <a:pt x="22" y="103"/>
                    </a:lnTo>
                    <a:lnTo>
                      <a:pt x="21" y="101"/>
                    </a:lnTo>
                    <a:lnTo>
                      <a:pt x="21" y="100"/>
                    </a:lnTo>
                    <a:lnTo>
                      <a:pt x="21" y="99"/>
                    </a:lnTo>
                    <a:lnTo>
                      <a:pt x="21" y="98"/>
                    </a:lnTo>
                    <a:lnTo>
                      <a:pt x="20" y="97"/>
                    </a:lnTo>
                    <a:lnTo>
                      <a:pt x="20" y="95"/>
                    </a:lnTo>
                    <a:lnTo>
                      <a:pt x="19" y="95"/>
                    </a:lnTo>
                    <a:lnTo>
                      <a:pt x="19" y="94"/>
                    </a:lnTo>
                    <a:lnTo>
                      <a:pt x="18" y="93"/>
                    </a:lnTo>
                    <a:lnTo>
                      <a:pt x="19" y="93"/>
                    </a:lnTo>
                    <a:lnTo>
                      <a:pt x="19" y="92"/>
                    </a:lnTo>
                    <a:lnTo>
                      <a:pt x="20" y="92"/>
                    </a:lnTo>
                    <a:lnTo>
                      <a:pt x="20" y="91"/>
                    </a:lnTo>
                    <a:lnTo>
                      <a:pt x="20" y="90"/>
                    </a:lnTo>
                    <a:lnTo>
                      <a:pt x="19" y="89"/>
                    </a:lnTo>
                    <a:lnTo>
                      <a:pt x="19" y="88"/>
                    </a:lnTo>
                    <a:lnTo>
                      <a:pt x="19" y="81"/>
                    </a:lnTo>
                    <a:lnTo>
                      <a:pt x="11" y="81"/>
                    </a:lnTo>
                    <a:lnTo>
                      <a:pt x="11" y="75"/>
                    </a:lnTo>
                    <a:lnTo>
                      <a:pt x="11" y="74"/>
                    </a:lnTo>
                    <a:lnTo>
                      <a:pt x="9" y="74"/>
                    </a:lnTo>
                    <a:lnTo>
                      <a:pt x="9" y="70"/>
                    </a:lnTo>
                    <a:lnTo>
                      <a:pt x="0" y="70"/>
                    </a:lnTo>
                    <a:lnTo>
                      <a:pt x="0" y="66"/>
                    </a:lnTo>
                    <a:lnTo>
                      <a:pt x="0" y="44"/>
                    </a:lnTo>
                    <a:lnTo>
                      <a:pt x="0" y="26"/>
                    </a:lnTo>
                    <a:lnTo>
                      <a:pt x="0" y="24"/>
                    </a:lnTo>
                    <a:lnTo>
                      <a:pt x="0" y="23"/>
                    </a:lnTo>
                    <a:lnTo>
                      <a:pt x="0" y="9"/>
                    </a:lnTo>
                    <a:lnTo>
                      <a:pt x="0" y="8"/>
                    </a:lnTo>
                    <a:lnTo>
                      <a:pt x="0" y="7"/>
                    </a:lnTo>
                    <a:lnTo>
                      <a:pt x="0" y="3"/>
                    </a:lnTo>
                    <a:lnTo>
                      <a:pt x="2" y="3"/>
                    </a:lnTo>
                    <a:lnTo>
                      <a:pt x="54" y="3"/>
                    </a:lnTo>
                    <a:lnTo>
                      <a:pt x="60" y="3"/>
                    </a:lnTo>
                    <a:lnTo>
                      <a:pt x="70" y="3"/>
                    </a:lnTo>
                    <a:lnTo>
                      <a:pt x="73" y="3"/>
                    </a:lnTo>
                    <a:lnTo>
                      <a:pt x="74" y="3"/>
                    </a:lnTo>
                    <a:lnTo>
                      <a:pt x="76" y="3"/>
                    </a:lnTo>
                    <a:lnTo>
                      <a:pt x="84" y="3"/>
                    </a:lnTo>
                    <a:lnTo>
                      <a:pt x="95" y="3"/>
                    </a:lnTo>
                    <a:lnTo>
                      <a:pt x="99" y="3"/>
                    </a:lnTo>
                    <a:lnTo>
                      <a:pt x="103" y="3"/>
                    </a:lnTo>
                    <a:lnTo>
                      <a:pt x="113" y="2"/>
                    </a:lnTo>
                    <a:lnTo>
                      <a:pt x="122" y="2"/>
                    </a:lnTo>
                    <a:lnTo>
                      <a:pt x="129" y="2"/>
                    </a:lnTo>
                    <a:lnTo>
                      <a:pt x="131" y="2"/>
                    </a:lnTo>
                    <a:lnTo>
                      <a:pt x="132" y="3"/>
                    </a:lnTo>
                    <a:lnTo>
                      <a:pt x="135" y="2"/>
                    </a:lnTo>
                    <a:lnTo>
                      <a:pt x="140" y="2"/>
                    </a:lnTo>
                    <a:lnTo>
                      <a:pt x="142" y="2"/>
                    </a:lnTo>
                    <a:lnTo>
                      <a:pt x="153" y="2"/>
                    </a:lnTo>
                    <a:lnTo>
                      <a:pt x="181" y="2"/>
                    </a:lnTo>
                    <a:lnTo>
                      <a:pt x="186" y="2"/>
                    </a:lnTo>
                    <a:lnTo>
                      <a:pt x="191" y="2"/>
                    </a:lnTo>
                    <a:lnTo>
                      <a:pt x="194" y="2"/>
                    </a:lnTo>
                    <a:lnTo>
                      <a:pt x="195" y="2"/>
                    </a:lnTo>
                    <a:lnTo>
                      <a:pt x="200" y="2"/>
                    </a:lnTo>
                    <a:lnTo>
                      <a:pt x="203" y="2"/>
                    </a:lnTo>
                    <a:lnTo>
                      <a:pt x="206" y="2"/>
                    </a:lnTo>
                    <a:lnTo>
                      <a:pt x="209" y="2"/>
                    </a:lnTo>
                    <a:lnTo>
                      <a:pt x="213" y="2"/>
                    </a:lnTo>
                    <a:lnTo>
                      <a:pt x="218" y="2"/>
                    </a:lnTo>
                    <a:lnTo>
                      <a:pt x="224" y="2"/>
                    </a:lnTo>
                    <a:lnTo>
                      <a:pt x="229" y="2"/>
                    </a:lnTo>
                    <a:lnTo>
                      <a:pt x="230" y="2"/>
                    </a:lnTo>
                    <a:lnTo>
                      <a:pt x="250" y="2"/>
                    </a:lnTo>
                    <a:lnTo>
                      <a:pt x="260" y="2"/>
                    </a:lnTo>
                    <a:lnTo>
                      <a:pt x="276" y="2"/>
                    </a:lnTo>
                    <a:lnTo>
                      <a:pt x="279" y="2"/>
                    </a:lnTo>
                    <a:lnTo>
                      <a:pt x="290" y="2"/>
                    </a:lnTo>
                    <a:lnTo>
                      <a:pt x="291" y="2"/>
                    </a:lnTo>
                    <a:lnTo>
                      <a:pt x="299" y="2"/>
                    </a:lnTo>
                    <a:lnTo>
                      <a:pt x="303" y="2"/>
                    </a:lnTo>
                    <a:lnTo>
                      <a:pt x="308" y="2"/>
                    </a:lnTo>
                    <a:lnTo>
                      <a:pt x="311" y="2"/>
                    </a:lnTo>
                    <a:lnTo>
                      <a:pt x="314" y="2"/>
                    </a:lnTo>
                    <a:lnTo>
                      <a:pt x="320" y="2"/>
                    </a:lnTo>
                    <a:lnTo>
                      <a:pt x="324" y="2"/>
                    </a:lnTo>
                    <a:lnTo>
                      <a:pt x="325" y="2"/>
                    </a:lnTo>
                    <a:lnTo>
                      <a:pt x="335" y="2"/>
                    </a:lnTo>
                    <a:lnTo>
                      <a:pt x="364" y="2"/>
                    </a:lnTo>
                    <a:lnTo>
                      <a:pt x="364" y="3"/>
                    </a:lnTo>
                    <a:lnTo>
                      <a:pt x="366" y="3"/>
                    </a:lnTo>
                    <a:lnTo>
                      <a:pt x="367" y="3"/>
                    </a:lnTo>
                    <a:lnTo>
                      <a:pt x="368" y="3"/>
                    </a:lnTo>
                    <a:lnTo>
                      <a:pt x="369" y="2"/>
                    </a:lnTo>
                    <a:lnTo>
                      <a:pt x="370" y="1"/>
                    </a:lnTo>
                    <a:lnTo>
                      <a:pt x="371" y="1"/>
                    </a:lnTo>
                    <a:lnTo>
                      <a:pt x="372" y="1"/>
                    </a:lnTo>
                    <a:lnTo>
                      <a:pt x="373" y="1"/>
                    </a:lnTo>
                    <a:lnTo>
                      <a:pt x="374" y="1"/>
                    </a:lnTo>
                    <a:lnTo>
                      <a:pt x="374" y="2"/>
                    </a:lnTo>
                    <a:lnTo>
                      <a:pt x="375" y="2"/>
                    </a:lnTo>
                    <a:lnTo>
                      <a:pt x="375" y="1"/>
                    </a:lnTo>
                    <a:lnTo>
                      <a:pt x="376" y="0"/>
                    </a:lnTo>
                    <a:lnTo>
                      <a:pt x="377" y="0"/>
                    </a:lnTo>
                    <a:lnTo>
                      <a:pt x="379" y="1"/>
                    </a:lnTo>
                    <a:lnTo>
                      <a:pt x="380" y="1"/>
                    </a:lnTo>
                    <a:lnTo>
                      <a:pt x="380" y="2"/>
                    </a:lnTo>
                    <a:lnTo>
                      <a:pt x="380" y="3"/>
                    </a:lnTo>
                    <a:lnTo>
                      <a:pt x="379" y="3"/>
                    </a:lnTo>
                    <a:lnTo>
                      <a:pt x="377" y="3"/>
                    </a:lnTo>
                    <a:lnTo>
                      <a:pt x="376" y="3"/>
                    </a:lnTo>
                    <a:lnTo>
                      <a:pt x="375" y="3"/>
                    </a:lnTo>
                    <a:lnTo>
                      <a:pt x="375" y="4"/>
                    </a:lnTo>
                    <a:lnTo>
                      <a:pt x="375" y="5"/>
                    </a:lnTo>
                    <a:lnTo>
                      <a:pt x="375" y="7"/>
                    </a:lnTo>
                    <a:lnTo>
                      <a:pt x="376" y="8"/>
                    </a:lnTo>
                    <a:lnTo>
                      <a:pt x="377" y="8"/>
                    </a:lnTo>
                    <a:lnTo>
                      <a:pt x="380" y="8"/>
                    </a:lnTo>
                    <a:lnTo>
                      <a:pt x="380" y="9"/>
                    </a:lnTo>
                    <a:lnTo>
                      <a:pt x="379" y="12"/>
                    </a:lnTo>
                    <a:lnTo>
                      <a:pt x="377" y="13"/>
                    </a:lnTo>
                    <a:lnTo>
                      <a:pt x="379" y="14"/>
                    </a:lnTo>
                    <a:lnTo>
                      <a:pt x="379" y="16"/>
                    </a:lnTo>
                    <a:lnTo>
                      <a:pt x="379" y="17"/>
                    </a:lnTo>
                    <a:lnTo>
                      <a:pt x="377" y="17"/>
                    </a:lnTo>
                    <a:lnTo>
                      <a:pt x="377" y="18"/>
                    </a:lnTo>
                    <a:lnTo>
                      <a:pt x="377" y="20"/>
                    </a:lnTo>
                    <a:lnTo>
                      <a:pt x="376" y="20"/>
                    </a:lnTo>
                    <a:lnTo>
                      <a:pt x="375" y="20"/>
                    </a:lnTo>
                    <a:lnTo>
                      <a:pt x="374" y="20"/>
                    </a:lnTo>
                    <a:lnTo>
                      <a:pt x="374" y="21"/>
                    </a:lnTo>
                    <a:lnTo>
                      <a:pt x="374" y="22"/>
                    </a:lnTo>
                    <a:lnTo>
                      <a:pt x="375" y="22"/>
                    </a:lnTo>
                    <a:lnTo>
                      <a:pt x="379" y="24"/>
                    </a:lnTo>
                    <a:lnTo>
                      <a:pt x="380" y="24"/>
                    </a:lnTo>
                    <a:lnTo>
                      <a:pt x="380" y="25"/>
                    </a:lnTo>
                    <a:lnTo>
                      <a:pt x="380" y="26"/>
                    </a:lnTo>
                    <a:lnTo>
                      <a:pt x="380" y="27"/>
                    </a:lnTo>
                    <a:lnTo>
                      <a:pt x="379" y="27"/>
                    </a:lnTo>
                    <a:lnTo>
                      <a:pt x="377" y="27"/>
                    </a:lnTo>
                    <a:lnTo>
                      <a:pt x="376" y="27"/>
                    </a:lnTo>
                    <a:lnTo>
                      <a:pt x="375" y="27"/>
                    </a:lnTo>
                    <a:lnTo>
                      <a:pt x="373" y="29"/>
                    </a:lnTo>
                    <a:lnTo>
                      <a:pt x="372" y="30"/>
                    </a:lnTo>
                    <a:lnTo>
                      <a:pt x="371" y="31"/>
                    </a:lnTo>
                    <a:lnTo>
                      <a:pt x="370" y="31"/>
                    </a:lnTo>
                    <a:lnTo>
                      <a:pt x="370" y="33"/>
                    </a:lnTo>
                    <a:lnTo>
                      <a:pt x="370" y="35"/>
                    </a:lnTo>
                    <a:lnTo>
                      <a:pt x="370" y="36"/>
                    </a:lnTo>
                    <a:lnTo>
                      <a:pt x="366" y="38"/>
                    </a:lnTo>
                    <a:lnTo>
                      <a:pt x="363" y="41"/>
                    </a:lnTo>
                    <a:lnTo>
                      <a:pt x="363" y="42"/>
                    </a:lnTo>
                    <a:lnTo>
                      <a:pt x="362" y="43"/>
                    </a:lnTo>
                    <a:lnTo>
                      <a:pt x="362" y="44"/>
                    </a:lnTo>
                    <a:lnTo>
                      <a:pt x="362" y="46"/>
                    </a:lnTo>
                    <a:lnTo>
                      <a:pt x="362" y="47"/>
                    </a:lnTo>
                    <a:lnTo>
                      <a:pt x="363" y="47"/>
                    </a:lnTo>
                    <a:lnTo>
                      <a:pt x="363" y="48"/>
                    </a:lnTo>
                    <a:lnTo>
                      <a:pt x="364" y="48"/>
                    </a:lnTo>
                    <a:lnTo>
                      <a:pt x="366" y="49"/>
                    </a:lnTo>
                    <a:lnTo>
                      <a:pt x="367" y="50"/>
                    </a:lnTo>
                    <a:lnTo>
                      <a:pt x="367" y="51"/>
                    </a:lnTo>
                    <a:lnTo>
                      <a:pt x="367" y="52"/>
                    </a:lnTo>
                    <a:lnTo>
                      <a:pt x="366" y="53"/>
                    </a:lnTo>
                    <a:lnTo>
                      <a:pt x="364" y="54"/>
                    </a:lnTo>
                    <a:lnTo>
                      <a:pt x="364" y="55"/>
                    </a:lnTo>
                    <a:lnTo>
                      <a:pt x="364" y="56"/>
                    </a:lnTo>
                    <a:lnTo>
                      <a:pt x="364" y="57"/>
                    </a:lnTo>
                    <a:lnTo>
                      <a:pt x="366" y="57"/>
                    </a:lnTo>
                    <a:lnTo>
                      <a:pt x="366" y="59"/>
                    </a:lnTo>
                    <a:lnTo>
                      <a:pt x="367" y="59"/>
                    </a:lnTo>
                    <a:lnTo>
                      <a:pt x="369" y="59"/>
                    </a:lnTo>
                    <a:lnTo>
                      <a:pt x="369" y="60"/>
                    </a:lnTo>
                    <a:lnTo>
                      <a:pt x="370" y="60"/>
                    </a:lnTo>
                    <a:lnTo>
                      <a:pt x="369" y="62"/>
                    </a:lnTo>
                    <a:lnTo>
                      <a:pt x="369" y="63"/>
                    </a:lnTo>
                    <a:lnTo>
                      <a:pt x="368" y="64"/>
                    </a:lnTo>
                    <a:lnTo>
                      <a:pt x="366" y="65"/>
                    </a:lnTo>
                    <a:lnTo>
                      <a:pt x="366" y="66"/>
                    </a:lnTo>
                    <a:lnTo>
                      <a:pt x="364" y="66"/>
                    </a:lnTo>
                    <a:lnTo>
                      <a:pt x="363" y="66"/>
                    </a:lnTo>
                    <a:lnTo>
                      <a:pt x="362" y="65"/>
                    </a:lnTo>
                    <a:lnTo>
                      <a:pt x="362" y="64"/>
                    </a:lnTo>
                    <a:lnTo>
                      <a:pt x="361" y="64"/>
                    </a:lnTo>
                    <a:lnTo>
                      <a:pt x="360" y="64"/>
                    </a:lnTo>
                    <a:lnTo>
                      <a:pt x="359" y="64"/>
                    </a:lnTo>
                    <a:lnTo>
                      <a:pt x="358" y="65"/>
                    </a:lnTo>
                    <a:lnTo>
                      <a:pt x="358" y="66"/>
                    </a:lnTo>
                    <a:lnTo>
                      <a:pt x="357" y="66"/>
                    </a:lnTo>
                    <a:lnTo>
                      <a:pt x="357" y="67"/>
                    </a:lnTo>
                    <a:lnTo>
                      <a:pt x="358" y="68"/>
                    </a:lnTo>
                    <a:lnTo>
                      <a:pt x="358" y="69"/>
                    </a:lnTo>
                    <a:lnTo>
                      <a:pt x="359" y="70"/>
                    </a:lnTo>
                    <a:lnTo>
                      <a:pt x="360" y="70"/>
                    </a:lnTo>
                    <a:lnTo>
                      <a:pt x="361" y="72"/>
                    </a:lnTo>
                    <a:lnTo>
                      <a:pt x="361" y="73"/>
                    </a:lnTo>
                    <a:lnTo>
                      <a:pt x="362" y="74"/>
                    </a:lnTo>
                    <a:lnTo>
                      <a:pt x="362" y="75"/>
                    </a:lnTo>
                    <a:lnTo>
                      <a:pt x="361" y="76"/>
                    </a:lnTo>
                    <a:lnTo>
                      <a:pt x="361" y="77"/>
                    </a:lnTo>
                    <a:lnTo>
                      <a:pt x="360" y="77"/>
                    </a:lnTo>
                    <a:lnTo>
                      <a:pt x="359" y="77"/>
                    </a:lnTo>
                    <a:lnTo>
                      <a:pt x="358" y="77"/>
                    </a:lnTo>
                    <a:lnTo>
                      <a:pt x="357" y="77"/>
                    </a:lnTo>
                    <a:lnTo>
                      <a:pt x="356" y="77"/>
                    </a:lnTo>
                    <a:lnTo>
                      <a:pt x="356" y="76"/>
                    </a:lnTo>
                    <a:lnTo>
                      <a:pt x="355" y="76"/>
                    </a:lnTo>
                    <a:lnTo>
                      <a:pt x="354" y="75"/>
                    </a:lnTo>
                    <a:lnTo>
                      <a:pt x="353" y="76"/>
                    </a:lnTo>
                    <a:lnTo>
                      <a:pt x="351" y="76"/>
                    </a:lnTo>
                    <a:lnTo>
                      <a:pt x="351" y="77"/>
                    </a:lnTo>
                    <a:lnTo>
                      <a:pt x="351" y="78"/>
                    </a:lnTo>
                    <a:lnTo>
                      <a:pt x="353" y="79"/>
                    </a:lnTo>
                    <a:lnTo>
                      <a:pt x="353" y="80"/>
                    </a:lnTo>
                    <a:lnTo>
                      <a:pt x="353" y="81"/>
                    </a:lnTo>
                    <a:lnTo>
                      <a:pt x="353" y="82"/>
                    </a:lnTo>
                    <a:lnTo>
                      <a:pt x="351" y="83"/>
                    </a:lnTo>
                    <a:lnTo>
                      <a:pt x="351" y="85"/>
                    </a:lnTo>
                    <a:lnTo>
                      <a:pt x="351" y="86"/>
                    </a:lnTo>
                    <a:lnTo>
                      <a:pt x="353" y="86"/>
                    </a:lnTo>
                    <a:lnTo>
                      <a:pt x="353" y="87"/>
                    </a:lnTo>
                    <a:lnTo>
                      <a:pt x="354" y="88"/>
                    </a:lnTo>
                    <a:lnTo>
                      <a:pt x="354" y="89"/>
                    </a:lnTo>
                    <a:lnTo>
                      <a:pt x="354" y="90"/>
                    </a:lnTo>
                    <a:lnTo>
                      <a:pt x="353" y="90"/>
                    </a:lnTo>
                    <a:lnTo>
                      <a:pt x="351" y="90"/>
                    </a:lnTo>
                    <a:lnTo>
                      <a:pt x="351" y="89"/>
                    </a:lnTo>
                    <a:lnTo>
                      <a:pt x="350" y="88"/>
                    </a:lnTo>
                    <a:lnTo>
                      <a:pt x="349" y="88"/>
                    </a:lnTo>
                    <a:lnTo>
                      <a:pt x="349" y="89"/>
                    </a:lnTo>
                    <a:lnTo>
                      <a:pt x="348" y="90"/>
                    </a:lnTo>
                    <a:lnTo>
                      <a:pt x="348" y="91"/>
                    </a:lnTo>
                    <a:lnTo>
                      <a:pt x="348" y="92"/>
                    </a:lnTo>
                    <a:lnTo>
                      <a:pt x="348" y="93"/>
                    </a:lnTo>
                    <a:lnTo>
                      <a:pt x="349" y="93"/>
                    </a:lnTo>
                    <a:lnTo>
                      <a:pt x="349" y="94"/>
                    </a:lnTo>
                    <a:lnTo>
                      <a:pt x="350" y="94"/>
                    </a:lnTo>
                    <a:lnTo>
                      <a:pt x="351" y="95"/>
                    </a:lnTo>
                    <a:lnTo>
                      <a:pt x="353" y="97"/>
                    </a:lnTo>
                    <a:lnTo>
                      <a:pt x="353" y="98"/>
                    </a:lnTo>
                    <a:lnTo>
                      <a:pt x="355" y="99"/>
                    </a:lnTo>
                    <a:lnTo>
                      <a:pt x="355" y="100"/>
                    </a:lnTo>
                    <a:lnTo>
                      <a:pt x="355" y="101"/>
                    </a:lnTo>
                    <a:lnTo>
                      <a:pt x="353" y="102"/>
                    </a:lnTo>
                    <a:lnTo>
                      <a:pt x="353" y="103"/>
                    </a:lnTo>
                    <a:lnTo>
                      <a:pt x="353" y="104"/>
                    </a:lnTo>
                    <a:lnTo>
                      <a:pt x="353" y="106"/>
                    </a:lnTo>
                    <a:lnTo>
                      <a:pt x="353" y="107"/>
                    </a:lnTo>
                    <a:lnTo>
                      <a:pt x="351" y="108"/>
                    </a:lnTo>
                    <a:lnTo>
                      <a:pt x="350" y="108"/>
                    </a:lnTo>
                    <a:lnTo>
                      <a:pt x="350" y="107"/>
                    </a:lnTo>
                    <a:lnTo>
                      <a:pt x="348" y="106"/>
                    </a:lnTo>
                    <a:lnTo>
                      <a:pt x="347" y="106"/>
                    </a:lnTo>
                    <a:lnTo>
                      <a:pt x="346" y="106"/>
                    </a:lnTo>
                    <a:lnTo>
                      <a:pt x="345" y="106"/>
                    </a:lnTo>
                    <a:lnTo>
                      <a:pt x="345" y="107"/>
                    </a:lnTo>
                    <a:lnTo>
                      <a:pt x="345" y="108"/>
                    </a:lnTo>
                    <a:lnTo>
                      <a:pt x="346" y="110"/>
                    </a:lnTo>
                    <a:lnTo>
                      <a:pt x="347" y="111"/>
                    </a:lnTo>
                    <a:lnTo>
                      <a:pt x="347" y="112"/>
                    </a:lnTo>
                    <a:lnTo>
                      <a:pt x="347" y="113"/>
                    </a:lnTo>
                    <a:lnTo>
                      <a:pt x="347" y="114"/>
                    </a:lnTo>
                    <a:lnTo>
                      <a:pt x="346" y="114"/>
                    </a:lnTo>
                    <a:lnTo>
                      <a:pt x="345" y="114"/>
                    </a:lnTo>
                    <a:lnTo>
                      <a:pt x="345" y="113"/>
                    </a:lnTo>
                    <a:lnTo>
                      <a:pt x="344" y="113"/>
                    </a:lnTo>
                    <a:lnTo>
                      <a:pt x="344" y="112"/>
                    </a:lnTo>
                    <a:lnTo>
                      <a:pt x="344" y="111"/>
                    </a:lnTo>
                    <a:lnTo>
                      <a:pt x="343" y="111"/>
                    </a:lnTo>
                    <a:lnTo>
                      <a:pt x="342" y="110"/>
                    </a:lnTo>
                    <a:lnTo>
                      <a:pt x="341" y="110"/>
                    </a:lnTo>
                    <a:lnTo>
                      <a:pt x="340" y="111"/>
                    </a:lnTo>
                    <a:lnTo>
                      <a:pt x="341" y="111"/>
                    </a:lnTo>
                    <a:lnTo>
                      <a:pt x="341" y="112"/>
                    </a:lnTo>
                    <a:lnTo>
                      <a:pt x="342" y="113"/>
                    </a:lnTo>
                    <a:lnTo>
                      <a:pt x="343" y="113"/>
                    </a:lnTo>
                    <a:lnTo>
                      <a:pt x="343" y="114"/>
                    </a:lnTo>
                    <a:lnTo>
                      <a:pt x="343" y="115"/>
                    </a:lnTo>
                    <a:lnTo>
                      <a:pt x="343" y="116"/>
                    </a:lnTo>
                    <a:lnTo>
                      <a:pt x="342" y="118"/>
                    </a:lnTo>
                    <a:lnTo>
                      <a:pt x="342" y="119"/>
                    </a:lnTo>
                    <a:lnTo>
                      <a:pt x="342" y="121"/>
                    </a:lnTo>
                    <a:lnTo>
                      <a:pt x="341" y="124"/>
                    </a:lnTo>
                    <a:lnTo>
                      <a:pt x="342" y="124"/>
                    </a:lnTo>
                    <a:lnTo>
                      <a:pt x="342" y="125"/>
                    </a:lnTo>
                    <a:lnTo>
                      <a:pt x="343" y="125"/>
                    </a:lnTo>
                    <a:lnTo>
                      <a:pt x="344" y="125"/>
                    </a:lnTo>
                    <a:lnTo>
                      <a:pt x="344" y="124"/>
                    </a:lnTo>
                    <a:lnTo>
                      <a:pt x="345" y="123"/>
                    </a:lnTo>
                    <a:lnTo>
                      <a:pt x="346" y="123"/>
                    </a:lnTo>
                    <a:lnTo>
                      <a:pt x="346" y="124"/>
                    </a:lnTo>
                    <a:lnTo>
                      <a:pt x="346" y="125"/>
                    </a:lnTo>
                    <a:lnTo>
                      <a:pt x="346" y="126"/>
                    </a:lnTo>
                    <a:lnTo>
                      <a:pt x="345" y="127"/>
                    </a:lnTo>
                    <a:lnTo>
                      <a:pt x="345" y="128"/>
                    </a:lnTo>
                    <a:lnTo>
                      <a:pt x="344" y="128"/>
                    </a:lnTo>
                    <a:lnTo>
                      <a:pt x="343" y="129"/>
                    </a:lnTo>
                    <a:lnTo>
                      <a:pt x="343" y="130"/>
                    </a:lnTo>
                    <a:lnTo>
                      <a:pt x="344" y="130"/>
                    </a:lnTo>
                    <a:lnTo>
                      <a:pt x="344" y="131"/>
                    </a:lnTo>
                    <a:lnTo>
                      <a:pt x="345" y="131"/>
                    </a:lnTo>
                    <a:lnTo>
                      <a:pt x="346" y="131"/>
                    </a:lnTo>
                    <a:lnTo>
                      <a:pt x="347" y="131"/>
                    </a:lnTo>
                    <a:lnTo>
                      <a:pt x="347" y="132"/>
                    </a:lnTo>
                    <a:lnTo>
                      <a:pt x="346" y="133"/>
                    </a:lnTo>
                    <a:lnTo>
                      <a:pt x="345" y="134"/>
                    </a:lnTo>
                    <a:lnTo>
                      <a:pt x="344" y="134"/>
                    </a:lnTo>
                    <a:lnTo>
                      <a:pt x="343" y="133"/>
                    </a:lnTo>
                    <a:lnTo>
                      <a:pt x="342" y="133"/>
                    </a:lnTo>
                    <a:lnTo>
                      <a:pt x="342" y="132"/>
                    </a:lnTo>
                    <a:lnTo>
                      <a:pt x="341" y="132"/>
                    </a:lnTo>
                    <a:lnTo>
                      <a:pt x="341" y="131"/>
                    </a:lnTo>
                    <a:lnTo>
                      <a:pt x="340" y="131"/>
                    </a:lnTo>
                    <a:lnTo>
                      <a:pt x="340" y="132"/>
                    </a:lnTo>
                    <a:lnTo>
                      <a:pt x="340" y="133"/>
                    </a:lnTo>
                    <a:lnTo>
                      <a:pt x="338" y="133"/>
                    </a:lnTo>
                    <a:lnTo>
                      <a:pt x="337" y="133"/>
                    </a:lnTo>
                    <a:lnTo>
                      <a:pt x="337" y="132"/>
                    </a:lnTo>
                    <a:lnTo>
                      <a:pt x="338" y="131"/>
                    </a:lnTo>
                    <a:lnTo>
                      <a:pt x="337" y="131"/>
                    </a:lnTo>
                    <a:lnTo>
                      <a:pt x="336" y="131"/>
                    </a:lnTo>
                    <a:lnTo>
                      <a:pt x="335" y="132"/>
                    </a:lnTo>
                    <a:lnTo>
                      <a:pt x="335" y="133"/>
                    </a:lnTo>
                    <a:lnTo>
                      <a:pt x="335" y="134"/>
                    </a:lnTo>
                    <a:lnTo>
                      <a:pt x="335" y="136"/>
                    </a:lnTo>
                    <a:lnTo>
                      <a:pt x="336" y="136"/>
                    </a:lnTo>
                    <a:lnTo>
                      <a:pt x="336" y="137"/>
                    </a:lnTo>
                    <a:lnTo>
                      <a:pt x="337" y="137"/>
                    </a:lnTo>
                    <a:lnTo>
                      <a:pt x="337" y="138"/>
                    </a:lnTo>
                    <a:lnTo>
                      <a:pt x="336" y="138"/>
                    </a:lnTo>
                    <a:lnTo>
                      <a:pt x="335" y="139"/>
                    </a:lnTo>
                    <a:lnTo>
                      <a:pt x="334" y="139"/>
                    </a:lnTo>
                    <a:lnTo>
                      <a:pt x="333" y="141"/>
                    </a:lnTo>
                    <a:lnTo>
                      <a:pt x="333" y="142"/>
                    </a:lnTo>
                    <a:lnTo>
                      <a:pt x="333" y="143"/>
                    </a:lnTo>
                    <a:lnTo>
                      <a:pt x="333" y="144"/>
                    </a:lnTo>
                    <a:lnTo>
                      <a:pt x="331" y="145"/>
                    </a:lnTo>
                    <a:lnTo>
                      <a:pt x="330" y="146"/>
                    </a:lnTo>
                    <a:lnTo>
                      <a:pt x="329" y="146"/>
                    </a:lnTo>
                    <a:lnTo>
                      <a:pt x="328" y="145"/>
                    </a:lnTo>
                    <a:lnTo>
                      <a:pt x="327" y="143"/>
                    </a:lnTo>
                    <a:lnTo>
                      <a:pt x="325" y="143"/>
                    </a:lnTo>
                    <a:lnTo>
                      <a:pt x="325" y="144"/>
                    </a:lnTo>
                    <a:lnTo>
                      <a:pt x="327" y="144"/>
                    </a:lnTo>
                    <a:lnTo>
                      <a:pt x="327" y="145"/>
                    </a:lnTo>
                    <a:lnTo>
                      <a:pt x="328" y="145"/>
                    </a:lnTo>
                    <a:lnTo>
                      <a:pt x="329" y="147"/>
                    </a:lnTo>
                    <a:lnTo>
                      <a:pt x="330" y="147"/>
                    </a:lnTo>
                    <a:lnTo>
                      <a:pt x="330" y="149"/>
                    </a:lnTo>
                    <a:lnTo>
                      <a:pt x="331" y="149"/>
                    </a:lnTo>
                    <a:lnTo>
                      <a:pt x="331" y="150"/>
                    </a:lnTo>
                    <a:lnTo>
                      <a:pt x="330" y="151"/>
                    </a:lnTo>
                    <a:lnTo>
                      <a:pt x="330" y="152"/>
                    </a:lnTo>
                    <a:lnTo>
                      <a:pt x="331" y="152"/>
                    </a:lnTo>
                    <a:lnTo>
                      <a:pt x="332" y="152"/>
                    </a:lnTo>
                    <a:lnTo>
                      <a:pt x="332" y="151"/>
                    </a:lnTo>
                    <a:lnTo>
                      <a:pt x="333" y="150"/>
                    </a:lnTo>
                    <a:lnTo>
                      <a:pt x="334" y="151"/>
                    </a:lnTo>
                    <a:lnTo>
                      <a:pt x="334" y="152"/>
                    </a:lnTo>
                    <a:lnTo>
                      <a:pt x="333" y="152"/>
                    </a:lnTo>
                    <a:lnTo>
                      <a:pt x="333" y="153"/>
                    </a:lnTo>
                    <a:lnTo>
                      <a:pt x="332" y="154"/>
                    </a:lnTo>
                    <a:lnTo>
                      <a:pt x="331" y="154"/>
                    </a:lnTo>
                    <a:lnTo>
                      <a:pt x="330" y="155"/>
                    </a:lnTo>
                    <a:lnTo>
                      <a:pt x="329" y="155"/>
                    </a:lnTo>
                    <a:lnTo>
                      <a:pt x="328" y="155"/>
                    </a:lnTo>
                    <a:lnTo>
                      <a:pt x="328" y="154"/>
                    </a:lnTo>
                    <a:lnTo>
                      <a:pt x="328" y="153"/>
                    </a:lnTo>
                    <a:lnTo>
                      <a:pt x="328" y="152"/>
                    </a:lnTo>
                    <a:lnTo>
                      <a:pt x="328" y="151"/>
                    </a:lnTo>
                    <a:lnTo>
                      <a:pt x="325" y="150"/>
                    </a:lnTo>
                    <a:lnTo>
                      <a:pt x="325" y="149"/>
                    </a:lnTo>
                    <a:lnTo>
                      <a:pt x="324" y="149"/>
                    </a:lnTo>
                    <a:lnTo>
                      <a:pt x="324" y="150"/>
                    </a:lnTo>
                    <a:lnTo>
                      <a:pt x="323" y="150"/>
                    </a:lnTo>
                    <a:lnTo>
                      <a:pt x="323" y="151"/>
                    </a:lnTo>
                    <a:lnTo>
                      <a:pt x="322" y="151"/>
                    </a:lnTo>
                    <a:lnTo>
                      <a:pt x="322" y="152"/>
                    </a:lnTo>
                    <a:lnTo>
                      <a:pt x="322" y="153"/>
                    </a:lnTo>
                    <a:lnTo>
                      <a:pt x="322" y="154"/>
                    </a:lnTo>
                    <a:lnTo>
                      <a:pt x="323" y="155"/>
                    </a:lnTo>
                    <a:lnTo>
                      <a:pt x="323" y="156"/>
                    </a:lnTo>
                    <a:lnTo>
                      <a:pt x="323" y="157"/>
                    </a:lnTo>
                    <a:lnTo>
                      <a:pt x="323" y="158"/>
                    </a:lnTo>
                    <a:lnTo>
                      <a:pt x="322" y="159"/>
                    </a:lnTo>
                    <a:lnTo>
                      <a:pt x="321" y="160"/>
                    </a:lnTo>
                    <a:lnTo>
                      <a:pt x="320" y="160"/>
                    </a:lnTo>
                    <a:lnTo>
                      <a:pt x="319" y="159"/>
                    </a:lnTo>
                    <a:lnTo>
                      <a:pt x="319" y="158"/>
                    </a:lnTo>
                    <a:lnTo>
                      <a:pt x="318" y="158"/>
                    </a:lnTo>
                    <a:lnTo>
                      <a:pt x="317" y="159"/>
                    </a:lnTo>
                    <a:lnTo>
                      <a:pt x="317" y="160"/>
                    </a:lnTo>
                    <a:lnTo>
                      <a:pt x="317" y="162"/>
                    </a:lnTo>
                    <a:lnTo>
                      <a:pt x="318" y="163"/>
                    </a:lnTo>
                    <a:lnTo>
                      <a:pt x="318" y="164"/>
                    </a:lnTo>
                    <a:lnTo>
                      <a:pt x="319" y="164"/>
                    </a:lnTo>
                    <a:lnTo>
                      <a:pt x="319" y="165"/>
                    </a:lnTo>
                    <a:lnTo>
                      <a:pt x="319" y="166"/>
                    </a:lnTo>
                    <a:lnTo>
                      <a:pt x="319" y="167"/>
                    </a:lnTo>
                    <a:lnTo>
                      <a:pt x="318" y="168"/>
                    </a:lnTo>
                    <a:lnTo>
                      <a:pt x="318" y="169"/>
                    </a:lnTo>
                    <a:lnTo>
                      <a:pt x="317" y="169"/>
                    </a:lnTo>
                    <a:lnTo>
                      <a:pt x="316" y="169"/>
                    </a:lnTo>
                    <a:lnTo>
                      <a:pt x="316" y="168"/>
                    </a:lnTo>
                    <a:lnTo>
                      <a:pt x="316" y="167"/>
                    </a:lnTo>
                    <a:lnTo>
                      <a:pt x="315" y="166"/>
                    </a:lnTo>
                    <a:lnTo>
                      <a:pt x="314" y="167"/>
                    </a:lnTo>
                    <a:lnTo>
                      <a:pt x="314" y="168"/>
                    </a:lnTo>
                    <a:lnTo>
                      <a:pt x="315" y="168"/>
                    </a:lnTo>
                    <a:lnTo>
                      <a:pt x="316" y="169"/>
                    </a:lnTo>
                    <a:lnTo>
                      <a:pt x="316" y="170"/>
                    </a:lnTo>
                    <a:lnTo>
                      <a:pt x="316" y="171"/>
                    </a:lnTo>
                    <a:lnTo>
                      <a:pt x="317" y="172"/>
                    </a:lnTo>
                    <a:lnTo>
                      <a:pt x="317" y="173"/>
                    </a:lnTo>
                    <a:lnTo>
                      <a:pt x="318" y="175"/>
                    </a:lnTo>
                    <a:lnTo>
                      <a:pt x="319" y="175"/>
                    </a:lnTo>
                    <a:lnTo>
                      <a:pt x="319" y="176"/>
                    </a:lnTo>
                    <a:lnTo>
                      <a:pt x="320" y="176"/>
                    </a:lnTo>
                    <a:lnTo>
                      <a:pt x="320" y="177"/>
                    </a:lnTo>
                    <a:lnTo>
                      <a:pt x="319" y="177"/>
                    </a:lnTo>
                    <a:lnTo>
                      <a:pt x="319" y="178"/>
                    </a:lnTo>
                    <a:lnTo>
                      <a:pt x="318" y="178"/>
                    </a:lnTo>
                    <a:lnTo>
                      <a:pt x="317" y="178"/>
                    </a:lnTo>
                    <a:lnTo>
                      <a:pt x="316" y="178"/>
                    </a:lnTo>
                    <a:lnTo>
                      <a:pt x="315" y="178"/>
                    </a:lnTo>
                    <a:lnTo>
                      <a:pt x="315" y="179"/>
                    </a:lnTo>
                    <a:lnTo>
                      <a:pt x="316" y="180"/>
                    </a:lnTo>
                    <a:lnTo>
                      <a:pt x="317" y="181"/>
                    </a:lnTo>
                    <a:lnTo>
                      <a:pt x="318" y="181"/>
                    </a:lnTo>
                    <a:lnTo>
                      <a:pt x="318" y="180"/>
                    </a:lnTo>
                    <a:lnTo>
                      <a:pt x="319" y="180"/>
                    </a:lnTo>
                    <a:lnTo>
                      <a:pt x="319" y="179"/>
                    </a:lnTo>
                    <a:lnTo>
                      <a:pt x="320" y="179"/>
                    </a:lnTo>
                    <a:lnTo>
                      <a:pt x="321" y="178"/>
                    </a:lnTo>
                    <a:lnTo>
                      <a:pt x="322" y="179"/>
                    </a:lnTo>
                    <a:lnTo>
                      <a:pt x="320" y="182"/>
                    </a:lnTo>
                    <a:lnTo>
                      <a:pt x="320" y="183"/>
                    </a:lnTo>
                    <a:lnTo>
                      <a:pt x="320" y="184"/>
                    </a:lnTo>
                    <a:lnTo>
                      <a:pt x="320" y="185"/>
                    </a:lnTo>
                    <a:lnTo>
                      <a:pt x="320" y="187"/>
                    </a:lnTo>
                    <a:lnTo>
                      <a:pt x="320" y="188"/>
                    </a:lnTo>
                    <a:lnTo>
                      <a:pt x="320" y="189"/>
                    </a:lnTo>
                    <a:lnTo>
                      <a:pt x="319" y="189"/>
                    </a:lnTo>
                    <a:lnTo>
                      <a:pt x="318" y="189"/>
                    </a:lnTo>
                    <a:lnTo>
                      <a:pt x="318" y="190"/>
                    </a:lnTo>
                    <a:lnTo>
                      <a:pt x="318" y="191"/>
                    </a:lnTo>
                    <a:lnTo>
                      <a:pt x="319" y="191"/>
                    </a:lnTo>
                    <a:lnTo>
                      <a:pt x="320" y="191"/>
                    </a:lnTo>
                    <a:lnTo>
                      <a:pt x="320" y="190"/>
                    </a:lnTo>
                    <a:lnTo>
                      <a:pt x="321" y="189"/>
                    </a:lnTo>
                    <a:lnTo>
                      <a:pt x="323" y="189"/>
                    </a:lnTo>
                    <a:lnTo>
                      <a:pt x="325" y="189"/>
                    </a:lnTo>
                    <a:lnTo>
                      <a:pt x="325" y="190"/>
                    </a:lnTo>
                    <a:lnTo>
                      <a:pt x="325" y="191"/>
                    </a:lnTo>
                    <a:lnTo>
                      <a:pt x="324" y="191"/>
                    </a:lnTo>
                    <a:lnTo>
                      <a:pt x="323" y="191"/>
                    </a:lnTo>
                    <a:lnTo>
                      <a:pt x="322" y="191"/>
                    </a:lnTo>
                    <a:lnTo>
                      <a:pt x="321" y="191"/>
                    </a:lnTo>
                    <a:lnTo>
                      <a:pt x="320" y="191"/>
                    </a:lnTo>
                    <a:lnTo>
                      <a:pt x="319" y="191"/>
                    </a:lnTo>
                    <a:lnTo>
                      <a:pt x="319" y="192"/>
                    </a:lnTo>
                    <a:lnTo>
                      <a:pt x="318" y="192"/>
                    </a:lnTo>
                    <a:lnTo>
                      <a:pt x="318" y="191"/>
                    </a:lnTo>
                    <a:lnTo>
                      <a:pt x="317" y="191"/>
                    </a:lnTo>
                    <a:lnTo>
                      <a:pt x="316" y="191"/>
                    </a:lnTo>
                    <a:lnTo>
                      <a:pt x="315" y="191"/>
                    </a:lnTo>
                    <a:lnTo>
                      <a:pt x="314" y="192"/>
                    </a:lnTo>
                    <a:lnTo>
                      <a:pt x="312" y="192"/>
                    </a:lnTo>
                    <a:lnTo>
                      <a:pt x="312" y="193"/>
                    </a:lnTo>
                    <a:lnTo>
                      <a:pt x="314" y="194"/>
                    </a:lnTo>
                    <a:lnTo>
                      <a:pt x="315" y="194"/>
                    </a:lnTo>
                    <a:lnTo>
                      <a:pt x="316" y="194"/>
                    </a:lnTo>
                    <a:lnTo>
                      <a:pt x="317" y="194"/>
                    </a:lnTo>
                    <a:lnTo>
                      <a:pt x="318" y="194"/>
                    </a:lnTo>
                    <a:lnTo>
                      <a:pt x="319" y="194"/>
                    </a:lnTo>
                    <a:lnTo>
                      <a:pt x="319" y="195"/>
                    </a:lnTo>
                    <a:lnTo>
                      <a:pt x="318" y="195"/>
                    </a:lnTo>
                    <a:lnTo>
                      <a:pt x="317" y="196"/>
                    </a:lnTo>
                    <a:lnTo>
                      <a:pt x="315" y="196"/>
                    </a:lnTo>
                    <a:lnTo>
                      <a:pt x="314" y="196"/>
                    </a:lnTo>
                    <a:lnTo>
                      <a:pt x="312" y="197"/>
                    </a:lnTo>
                    <a:lnTo>
                      <a:pt x="314" y="198"/>
                    </a:lnTo>
                    <a:lnTo>
                      <a:pt x="315" y="198"/>
                    </a:lnTo>
                    <a:lnTo>
                      <a:pt x="316" y="198"/>
                    </a:lnTo>
                    <a:lnTo>
                      <a:pt x="318" y="197"/>
                    </a:lnTo>
                    <a:lnTo>
                      <a:pt x="319" y="197"/>
                    </a:lnTo>
                    <a:lnTo>
                      <a:pt x="320" y="197"/>
                    </a:lnTo>
                    <a:lnTo>
                      <a:pt x="320" y="198"/>
                    </a:lnTo>
                    <a:lnTo>
                      <a:pt x="319" y="198"/>
                    </a:lnTo>
                    <a:lnTo>
                      <a:pt x="318" y="200"/>
                    </a:lnTo>
                    <a:lnTo>
                      <a:pt x="318" y="201"/>
                    </a:lnTo>
                    <a:lnTo>
                      <a:pt x="317" y="201"/>
                    </a:lnTo>
                    <a:lnTo>
                      <a:pt x="317" y="202"/>
                    </a:lnTo>
                    <a:lnTo>
                      <a:pt x="316" y="202"/>
                    </a:lnTo>
                    <a:lnTo>
                      <a:pt x="317" y="204"/>
                    </a:lnTo>
                    <a:lnTo>
                      <a:pt x="317" y="205"/>
                    </a:lnTo>
                    <a:lnTo>
                      <a:pt x="317" y="206"/>
                    </a:lnTo>
                    <a:lnTo>
                      <a:pt x="316" y="206"/>
                    </a:lnTo>
                    <a:lnTo>
                      <a:pt x="315" y="206"/>
                    </a:lnTo>
                    <a:lnTo>
                      <a:pt x="314" y="206"/>
                    </a:lnTo>
                    <a:lnTo>
                      <a:pt x="312" y="206"/>
                    </a:lnTo>
                    <a:lnTo>
                      <a:pt x="312" y="205"/>
                    </a:lnTo>
                    <a:lnTo>
                      <a:pt x="312" y="204"/>
                    </a:lnTo>
                    <a:lnTo>
                      <a:pt x="311" y="204"/>
                    </a:lnTo>
                    <a:lnTo>
                      <a:pt x="311" y="203"/>
                    </a:lnTo>
                    <a:lnTo>
                      <a:pt x="310" y="203"/>
                    </a:lnTo>
                    <a:lnTo>
                      <a:pt x="309" y="203"/>
                    </a:lnTo>
                    <a:lnTo>
                      <a:pt x="309" y="204"/>
                    </a:lnTo>
                    <a:lnTo>
                      <a:pt x="310" y="206"/>
                    </a:lnTo>
                    <a:lnTo>
                      <a:pt x="310" y="207"/>
                    </a:lnTo>
                    <a:lnTo>
                      <a:pt x="310" y="208"/>
                    </a:lnTo>
                    <a:lnTo>
                      <a:pt x="311" y="209"/>
                    </a:lnTo>
                    <a:lnTo>
                      <a:pt x="310" y="210"/>
                    </a:lnTo>
                    <a:lnTo>
                      <a:pt x="309" y="211"/>
                    </a:lnTo>
                    <a:lnTo>
                      <a:pt x="308" y="211"/>
                    </a:lnTo>
                    <a:lnTo>
                      <a:pt x="307" y="213"/>
                    </a:lnTo>
                    <a:lnTo>
                      <a:pt x="307" y="214"/>
                    </a:lnTo>
                    <a:lnTo>
                      <a:pt x="307" y="215"/>
                    </a:lnTo>
                    <a:lnTo>
                      <a:pt x="308" y="215"/>
                    </a:lnTo>
                    <a:lnTo>
                      <a:pt x="309" y="216"/>
                    </a:lnTo>
                    <a:lnTo>
                      <a:pt x="310" y="216"/>
                    </a:lnTo>
                    <a:lnTo>
                      <a:pt x="310" y="215"/>
                    </a:lnTo>
                    <a:lnTo>
                      <a:pt x="311" y="215"/>
                    </a:lnTo>
                    <a:lnTo>
                      <a:pt x="312" y="215"/>
                    </a:lnTo>
                    <a:lnTo>
                      <a:pt x="312" y="216"/>
                    </a:lnTo>
                    <a:lnTo>
                      <a:pt x="312" y="217"/>
                    </a:lnTo>
                    <a:lnTo>
                      <a:pt x="314" y="217"/>
                    </a:lnTo>
                    <a:lnTo>
                      <a:pt x="314" y="218"/>
                    </a:lnTo>
                    <a:lnTo>
                      <a:pt x="314" y="219"/>
                    </a:lnTo>
                    <a:lnTo>
                      <a:pt x="312" y="220"/>
                    </a:lnTo>
                    <a:lnTo>
                      <a:pt x="312" y="221"/>
                    </a:lnTo>
                    <a:lnTo>
                      <a:pt x="314" y="222"/>
                    </a:lnTo>
                    <a:lnTo>
                      <a:pt x="314" y="223"/>
                    </a:lnTo>
                    <a:lnTo>
                      <a:pt x="312" y="224"/>
                    </a:lnTo>
                    <a:lnTo>
                      <a:pt x="311" y="224"/>
                    </a:lnTo>
                    <a:lnTo>
                      <a:pt x="309" y="223"/>
                    </a:lnTo>
                    <a:lnTo>
                      <a:pt x="308" y="223"/>
                    </a:lnTo>
                    <a:lnTo>
                      <a:pt x="308" y="224"/>
                    </a:lnTo>
                    <a:lnTo>
                      <a:pt x="307" y="226"/>
                    </a:lnTo>
                    <a:lnTo>
                      <a:pt x="307" y="227"/>
                    </a:lnTo>
                    <a:lnTo>
                      <a:pt x="308" y="227"/>
                    </a:lnTo>
                    <a:lnTo>
                      <a:pt x="309" y="227"/>
                    </a:lnTo>
                    <a:lnTo>
                      <a:pt x="310" y="227"/>
                    </a:lnTo>
                    <a:lnTo>
                      <a:pt x="311" y="227"/>
                    </a:lnTo>
                    <a:lnTo>
                      <a:pt x="312" y="226"/>
                    </a:lnTo>
                    <a:lnTo>
                      <a:pt x="312" y="227"/>
                    </a:lnTo>
                    <a:lnTo>
                      <a:pt x="312" y="228"/>
                    </a:lnTo>
                    <a:lnTo>
                      <a:pt x="311" y="229"/>
                    </a:lnTo>
                    <a:lnTo>
                      <a:pt x="310" y="229"/>
                    </a:lnTo>
                    <a:lnTo>
                      <a:pt x="310" y="230"/>
                    </a:lnTo>
                    <a:lnTo>
                      <a:pt x="309" y="231"/>
                    </a:lnTo>
                    <a:lnTo>
                      <a:pt x="309" y="232"/>
                    </a:lnTo>
                    <a:lnTo>
                      <a:pt x="310" y="232"/>
                    </a:lnTo>
                    <a:lnTo>
                      <a:pt x="311" y="232"/>
                    </a:lnTo>
                    <a:lnTo>
                      <a:pt x="312" y="232"/>
                    </a:lnTo>
                    <a:lnTo>
                      <a:pt x="312" y="233"/>
                    </a:lnTo>
                    <a:lnTo>
                      <a:pt x="312" y="234"/>
                    </a:lnTo>
                    <a:lnTo>
                      <a:pt x="311" y="234"/>
                    </a:lnTo>
                    <a:lnTo>
                      <a:pt x="310" y="234"/>
                    </a:lnTo>
                    <a:lnTo>
                      <a:pt x="309" y="234"/>
                    </a:lnTo>
                    <a:lnTo>
                      <a:pt x="309" y="235"/>
                    </a:lnTo>
                    <a:lnTo>
                      <a:pt x="308" y="236"/>
                    </a:lnTo>
                    <a:lnTo>
                      <a:pt x="308" y="237"/>
                    </a:lnTo>
                    <a:lnTo>
                      <a:pt x="307" y="237"/>
                    </a:lnTo>
                    <a:lnTo>
                      <a:pt x="307" y="239"/>
                    </a:lnTo>
                    <a:lnTo>
                      <a:pt x="307" y="240"/>
                    </a:lnTo>
                    <a:lnTo>
                      <a:pt x="308" y="240"/>
                    </a:lnTo>
                    <a:lnTo>
                      <a:pt x="309" y="240"/>
                    </a:lnTo>
                    <a:lnTo>
                      <a:pt x="309" y="239"/>
                    </a:lnTo>
                    <a:lnTo>
                      <a:pt x="309" y="237"/>
                    </a:lnTo>
                    <a:lnTo>
                      <a:pt x="310" y="237"/>
                    </a:lnTo>
                    <a:lnTo>
                      <a:pt x="310" y="236"/>
                    </a:lnTo>
                    <a:lnTo>
                      <a:pt x="311" y="236"/>
                    </a:lnTo>
                    <a:lnTo>
                      <a:pt x="312" y="236"/>
                    </a:lnTo>
                    <a:lnTo>
                      <a:pt x="312" y="237"/>
                    </a:lnTo>
                    <a:lnTo>
                      <a:pt x="312" y="239"/>
                    </a:lnTo>
                    <a:lnTo>
                      <a:pt x="311" y="240"/>
                    </a:lnTo>
                    <a:lnTo>
                      <a:pt x="310" y="241"/>
                    </a:lnTo>
                    <a:lnTo>
                      <a:pt x="309" y="242"/>
                    </a:lnTo>
                    <a:close/>
                  </a:path>
                </a:pathLst>
              </a:custGeom>
              <a:solidFill>
                <a:srgbClr val="1D68C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5" name="Freeform 25">
                <a:extLst>
                  <a:ext uri="{FF2B5EF4-FFF2-40B4-BE49-F238E27FC236}">
                    <a16:creationId xmlns:a16="http://schemas.microsoft.com/office/drawing/2014/main" id="{671028D5-D6A2-3323-C190-DE99F7D54B26}"/>
                  </a:ext>
                </a:extLst>
              </p:cNvPr>
              <p:cNvSpPr>
                <a:spLocks/>
              </p:cNvSpPr>
              <p:nvPr/>
            </p:nvSpPr>
            <p:spPr bwMode="auto">
              <a:xfrm>
                <a:off x="4187826" y="3443288"/>
                <a:ext cx="338138" cy="398463"/>
              </a:xfrm>
              <a:custGeom>
                <a:avLst/>
                <a:gdLst>
                  <a:gd name="T0" fmla="*/ 212 w 213"/>
                  <a:gd name="T1" fmla="*/ 86 h 251"/>
                  <a:gd name="T2" fmla="*/ 212 w 213"/>
                  <a:gd name="T3" fmla="*/ 176 h 251"/>
                  <a:gd name="T4" fmla="*/ 212 w 213"/>
                  <a:gd name="T5" fmla="*/ 201 h 251"/>
                  <a:gd name="T6" fmla="*/ 212 w 213"/>
                  <a:gd name="T7" fmla="*/ 250 h 251"/>
                  <a:gd name="T8" fmla="*/ 108 w 213"/>
                  <a:gd name="T9" fmla="*/ 250 h 251"/>
                  <a:gd name="T10" fmla="*/ 23 w 213"/>
                  <a:gd name="T11" fmla="*/ 251 h 251"/>
                  <a:gd name="T12" fmla="*/ 2 w 213"/>
                  <a:gd name="T13" fmla="*/ 247 h 251"/>
                  <a:gd name="T14" fmla="*/ 8 w 213"/>
                  <a:gd name="T15" fmla="*/ 245 h 251"/>
                  <a:gd name="T16" fmla="*/ 7 w 213"/>
                  <a:gd name="T17" fmla="*/ 240 h 251"/>
                  <a:gd name="T18" fmla="*/ 11 w 213"/>
                  <a:gd name="T19" fmla="*/ 237 h 251"/>
                  <a:gd name="T20" fmla="*/ 16 w 213"/>
                  <a:gd name="T21" fmla="*/ 233 h 251"/>
                  <a:gd name="T22" fmla="*/ 22 w 213"/>
                  <a:gd name="T23" fmla="*/ 228 h 251"/>
                  <a:gd name="T24" fmla="*/ 26 w 213"/>
                  <a:gd name="T25" fmla="*/ 221 h 251"/>
                  <a:gd name="T26" fmla="*/ 31 w 213"/>
                  <a:gd name="T27" fmla="*/ 220 h 251"/>
                  <a:gd name="T28" fmla="*/ 36 w 213"/>
                  <a:gd name="T29" fmla="*/ 218 h 251"/>
                  <a:gd name="T30" fmla="*/ 36 w 213"/>
                  <a:gd name="T31" fmla="*/ 213 h 251"/>
                  <a:gd name="T32" fmla="*/ 42 w 213"/>
                  <a:gd name="T33" fmla="*/ 210 h 251"/>
                  <a:gd name="T34" fmla="*/ 41 w 213"/>
                  <a:gd name="T35" fmla="*/ 204 h 251"/>
                  <a:gd name="T36" fmla="*/ 43 w 213"/>
                  <a:gd name="T37" fmla="*/ 201 h 251"/>
                  <a:gd name="T38" fmla="*/ 45 w 213"/>
                  <a:gd name="T39" fmla="*/ 198 h 251"/>
                  <a:gd name="T40" fmla="*/ 44 w 213"/>
                  <a:gd name="T41" fmla="*/ 194 h 251"/>
                  <a:gd name="T42" fmla="*/ 43 w 213"/>
                  <a:gd name="T43" fmla="*/ 188 h 251"/>
                  <a:gd name="T44" fmla="*/ 41 w 213"/>
                  <a:gd name="T45" fmla="*/ 180 h 251"/>
                  <a:gd name="T46" fmla="*/ 39 w 213"/>
                  <a:gd name="T47" fmla="*/ 176 h 251"/>
                  <a:gd name="T48" fmla="*/ 41 w 213"/>
                  <a:gd name="T49" fmla="*/ 169 h 251"/>
                  <a:gd name="T50" fmla="*/ 43 w 213"/>
                  <a:gd name="T51" fmla="*/ 164 h 251"/>
                  <a:gd name="T52" fmla="*/ 43 w 213"/>
                  <a:gd name="T53" fmla="*/ 157 h 251"/>
                  <a:gd name="T54" fmla="*/ 43 w 213"/>
                  <a:gd name="T55" fmla="*/ 151 h 251"/>
                  <a:gd name="T56" fmla="*/ 44 w 213"/>
                  <a:gd name="T57" fmla="*/ 144 h 251"/>
                  <a:gd name="T58" fmla="*/ 45 w 213"/>
                  <a:gd name="T59" fmla="*/ 143 h 251"/>
                  <a:gd name="T60" fmla="*/ 45 w 213"/>
                  <a:gd name="T61" fmla="*/ 136 h 251"/>
                  <a:gd name="T62" fmla="*/ 46 w 213"/>
                  <a:gd name="T63" fmla="*/ 129 h 251"/>
                  <a:gd name="T64" fmla="*/ 42 w 213"/>
                  <a:gd name="T65" fmla="*/ 122 h 251"/>
                  <a:gd name="T66" fmla="*/ 39 w 213"/>
                  <a:gd name="T67" fmla="*/ 116 h 251"/>
                  <a:gd name="T68" fmla="*/ 44 w 213"/>
                  <a:gd name="T69" fmla="*/ 114 h 251"/>
                  <a:gd name="T70" fmla="*/ 42 w 213"/>
                  <a:gd name="T71" fmla="*/ 109 h 251"/>
                  <a:gd name="T72" fmla="*/ 41 w 213"/>
                  <a:gd name="T73" fmla="*/ 104 h 251"/>
                  <a:gd name="T74" fmla="*/ 35 w 213"/>
                  <a:gd name="T75" fmla="*/ 102 h 251"/>
                  <a:gd name="T76" fmla="*/ 35 w 213"/>
                  <a:gd name="T77" fmla="*/ 98 h 251"/>
                  <a:gd name="T78" fmla="*/ 32 w 213"/>
                  <a:gd name="T79" fmla="*/ 92 h 251"/>
                  <a:gd name="T80" fmla="*/ 34 w 213"/>
                  <a:gd name="T81" fmla="*/ 91 h 251"/>
                  <a:gd name="T82" fmla="*/ 37 w 213"/>
                  <a:gd name="T83" fmla="*/ 86 h 251"/>
                  <a:gd name="T84" fmla="*/ 42 w 213"/>
                  <a:gd name="T85" fmla="*/ 82 h 251"/>
                  <a:gd name="T86" fmla="*/ 38 w 213"/>
                  <a:gd name="T87" fmla="*/ 74 h 251"/>
                  <a:gd name="T88" fmla="*/ 36 w 213"/>
                  <a:gd name="T89" fmla="*/ 70 h 251"/>
                  <a:gd name="T90" fmla="*/ 36 w 213"/>
                  <a:gd name="T91" fmla="*/ 65 h 251"/>
                  <a:gd name="T92" fmla="*/ 35 w 213"/>
                  <a:gd name="T93" fmla="*/ 62 h 251"/>
                  <a:gd name="T94" fmla="*/ 35 w 213"/>
                  <a:gd name="T95" fmla="*/ 54 h 251"/>
                  <a:gd name="T96" fmla="*/ 34 w 213"/>
                  <a:gd name="T97" fmla="*/ 49 h 251"/>
                  <a:gd name="T98" fmla="*/ 33 w 213"/>
                  <a:gd name="T99" fmla="*/ 44 h 251"/>
                  <a:gd name="T100" fmla="*/ 33 w 213"/>
                  <a:gd name="T101" fmla="*/ 38 h 251"/>
                  <a:gd name="T102" fmla="*/ 36 w 213"/>
                  <a:gd name="T103" fmla="*/ 36 h 251"/>
                  <a:gd name="T104" fmla="*/ 38 w 213"/>
                  <a:gd name="T105" fmla="*/ 31 h 251"/>
                  <a:gd name="T106" fmla="*/ 41 w 213"/>
                  <a:gd name="T107" fmla="*/ 27 h 251"/>
                  <a:gd name="T108" fmla="*/ 41 w 213"/>
                  <a:gd name="T109" fmla="*/ 23 h 251"/>
                  <a:gd name="T110" fmla="*/ 43 w 213"/>
                  <a:gd name="T111" fmla="*/ 18 h 251"/>
                  <a:gd name="T112" fmla="*/ 43 w 213"/>
                  <a:gd name="T113" fmla="*/ 10 h 251"/>
                  <a:gd name="T114" fmla="*/ 50 w 213"/>
                  <a:gd name="T115" fmla="*/ 5 h 251"/>
                  <a:gd name="T116" fmla="*/ 83 w 213"/>
                  <a:gd name="T117" fmla="*/ 0 h 251"/>
                  <a:gd name="T118" fmla="*/ 98 w 213"/>
                  <a:gd name="T119" fmla="*/ 1 h 251"/>
                  <a:gd name="T120" fmla="*/ 203 w 213"/>
                  <a:gd name="T1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251">
                    <a:moveTo>
                      <a:pt x="212" y="0"/>
                    </a:moveTo>
                    <a:lnTo>
                      <a:pt x="212" y="38"/>
                    </a:lnTo>
                    <a:lnTo>
                      <a:pt x="212" y="52"/>
                    </a:lnTo>
                    <a:lnTo>
                      <a:pt x="212" y="54"/>
                    </a:lnTo>
                    <a:lnTo>
                      <a:pt x="212" y="67"/>
                    </a:lnTo>
                    <a:lnTo>
                      <a:pt x="212" y="75"/>
                    </a:lnTo>
                    <a:lnTo>
                      <a:pt x="212" y="76"/>
                    </a:lnTo>
                    <a:lnTo>
                      <a:pt x="212" y="77"/>
                    </a:lnTo>
                    <a:lnTo>
                      <a:pt x="212" y="86"/>
                    </a:lnTo>
                    <a:lnTo>
                      <a:pt x="212" y="100"/>
                    </a:lnTo>
                    <a:lnTo>
                      <a:pt x="212" y="104"/>
                    </a:lnTo>
                    <a:lnTo>
                      <a:pt x="212" y="116"/>
                    </a:lnTo>
                    <a:lnTo>
                      <a:pt x="212" y="118"/>
                    </a:lnTo>
                    <a:lnTo>
                      <a:pt x="212" y="124"/>
                    </a:lnTo>
                    <a:lnTo>
                      <a:pt x="212" y="125"/>
                    </a:lnTo>
                    <a:lnTo>
                      <a:pt x="212" y="151"/>
                    </a:lnTo>
                    <a:lnTo>
                      <a:pt x="212" y="154"/>
                    </a:lnTo>
                    <a:lnTo>
                      <a:pt x="212" y="176"/>
                    </a:lnTo>
                    <a:lnTo>
                      <a:pt x="212" y="179"/>
                    </a:lnTo>
                    <a:lnTo>
                      <a:pt x="212" y="180"/>
                    </a:lnTo>
                    <a:lnTo>
                      <a:pt x="212" y="184"/>
                    </a:lnTo>
                    <a:lnTo>
                      <a:pt x="212" y="186"/>
                    </a:lnTo>
                    <a:lnTo>
                      <a:pt x="212" y="189"/>
                    </a:lnTo>
                    <a:lnTo>
                      <a:pt x="212" y="190"/>
                    </a:lnTo>
                    <a:lnTo>
                      <a:pt x="212" y="191"/>
                    </a:lnTo>
                    <a:lnTo>
                      <a:pt x="212" y="198"/>
                    </a:lnTo>
                    <a:lnTo>
                      <a:pt x="212" y="201"/>
                    </a:lnTo>
                    <a:lnTo>
                      <a:pt x="212" y="203"/>
                    </a:lnTo>
                    <a:lnTo>
                      <a:pt x="212" y="207"/>
                    </a:lnTo>
                    <a:lnTo>
                      <a:pt x="213" y="224"/>
                    </a:lnTo>
                    <a:lnTo>
                      <a:pt x="213" y="225"/>
                    </a:lnTo>
                    <a:lnTo>
                      <a:pt x="212" y="225"/>
                    </a:lnTo>
                    <a:lnTo>
                      <a:pt x="213" y="231"/>
                    </a:lnTo>
                    <a:lnTo>
                      <a:pt x="213" y="239"/>
                    </a:lnTo>
                    <a:lnTo>
                      <a:pt x="213" y="240"/>
                    </a:lnTo>
                    <a:lnTo>
                      <a:pt x="212" y="250"/>
                    </a:lnTo>
                    <a:lnTo>
                      <a:pt x="201" y="250"/>
                    </a:lnTo>
                    <a:lnTo>
                      <a:pt x="199" y="250"/>
                    </a:lnTo>
                    <a:lnTo>
                      <a:pt x="190" y="250"/>
                    </a:lnTo>
                    <a:lnTo>
                      <a:pt x="183" y="250"/>
                    </a:lnTo>
                    <a:lnTo>
                      <a:pt x="178" y="250"/>
                    </a:lnTo>
                    <a:lnTo>
                      <a:pt x="176" y="250"/>
                    </a:lnTo>
                    <a:lnTo>
                      <a:pt x="171" y="250"/>
                    </a:lnTo>
                    <a:lnTo>
                      <a:pt x="160" y="250"/>
                    </a:lnTo>
                    <a:lnTo>
                      <a:pt x="108" y="250"/>
                    </a:lnTo>
                    <a:lnTo>
                      <a:pt x="100" y="250"/>
                    </a:lnTo>
                    <a:lnTo>
                      <a:pt x="96" y="250"/>
                    </a:lnTo>
                    <a:lnTo>
                      <a:pt x="82" y="250"/>
                    </a:lnTo>
                    <a:lnTo>
                      <a:pt x="47" y="251"/>
                    </a:lnTo>
                    <a:lnTo>
                      <a:pt x="44" y="251"/>
                    </a:lnTo>
                    <a:lnTo>
                      <a:pt x="39" y="251"/>
                    </a:lnTo>
                    <a:lnTo>
                      <a:pt x="38" y="251"/>
                    </a:lnTo>
                    <a:lnTo>
                      <a:pt x="37" y="251"/>
                    </a:lnTo>
                    <a:lnTo>
                      <a:pt x="23" y="251"/>
                    </a:lnTo>
                    <a:lnTo>
                      <a:pt x="6" y="251"/>
                    </a:lnTo>
                    <a:lnTo>
                      <a:pt x="5" y="251"/>
                    </a:lnTo>
                    <a:lnTo>
                      <a:pt x="4" y="251"/>
                    </a:lnTo>
                    <a:lnTo>
                      <a:pt x="2" y="251"/>
                    </a:lnTo>
                    <a:lnTo>
                      <a:pt x="2" y="250"/>
                    </a:lnTo>
                    <a:lnTo>
                      <a:pt x="0" y="250"/>
                    </a:lnTo>
                    <a:lnTo>
                      <a:pt x="0" y="249"/>
                    </a:lnTo>
                    <a:lnTo>
                      <a:pt x="2" y="249"/>
                    </a:lnTo>
                    <a:lnTo>
                      <a:pt x="2" y="247"/>
                    </a:lnTo>
                    <a:lnTo>
                      <a:pt x="3" y="246"/>
                    </a:lnTo>
                    <a:lnTo>
                      <a:pt x="3" y="245"/>
                    </a:lnTo>
                    <a:lnTo>
                      <a:pt x="4" y="245"/>
                    </a:lnTo>
                    <a:lnTo>
                      <a:pt x="4" y="246"/>
                    </a:lnTo>
                    <a:lnTo>
                      <a:pt x="5" y="246"/>
                    </a:lnTo>
                    <a:lnTo>
                      <a:pt x="6" y="246"/>
                    </a:lnTo>
                    <a:lnTo>
                      <a:pt x="7" y="246"/>
                    </a:lnTo>
                    <a:lnTo>
                      <a:pt x="7" y="245"/>
                    </a:lnTo>
                    <a:lnTo>
                      <a:pt x="8" y="245"/>
                    </a:lnTo>
                    <a:lnTo>
                      <a:pt x="8" y="244"/>
                    </a:lnTo>
                    <a:lnTo>
                      <a:pt x="7" y="243"/>
                    </a:lnTo>
                    <a:lnTo>
                      <a:pt x="7" y="244"/>
                    </a:lnTo>
                    <a:lnTo>
                      <a:pt x="6" y="244"/>
                    </a:lnTo>
                    <a:lnTo>
                      <a:pt x="6" y="243"/>
                    </a:lnTo>
                    <a:lnTo>
                      <a:pt x="7" y="243"/>
                    </a:lnTo>
                    <a:lnTo>
                      <a:pt x="8" y="242"/>
                    </a:lnTo>
                    <a:lnTo>
                      <a:pt x="8" y="241"/>
                    </a:lnTo>
                    <a:lnTo>
                      <a:pt x="7" y="240"/>
                    </a:lnTo>
                    <a:lnTo>
                      <a:pt x="7" y="239"/>
                    </a:lnTo>
                    <a:lnTo>
                      <a:pt x="8" y="239"/>
                    </a:lnTo>
                    <a:lnTo>
                      <a:pt x="10" y="240"/>
                    </a:lnTo>
                    <a:lnTo>
                      <a:pt x="11" y="240"/>
                    </a:lnTo>
                    <a:lnTo>
                      <a:pt x="11" y="239"/>
                    </a:lnTo>
                    <a:lnTo>
                      <a:pt x="11" y="238"/>
                    </a:lnTo>
                    <a:lnTo>
                      <a:pt x="10" y="238"/>
                    </a:lnTo>
                    <a:lnTo>
                      <a:pt x="10" y="237"/>
                    </a:lnTo>
                    <a:lnTo>
                      <a:pt x="11" y="237"/>
                    </a:lnTo>
                    <a:lnTo>
                      <a:pt x="11" y="236"/>
                    </a:lnTo>
                    <a:lnTo>
                      <a:pt x="12" y="236"/>
                    </a:lnTo>
                    <a:lnTo>
                      <a:pt x="12" y="234"/>
                    </a:lnTo>
                    <a:lnTo>
                      <a:pt x="15" y="236"/>
                    </a:lnTo>
                    <a:lnTo>
                      <a:pt x="15" y="234"/>
                    </a:lnTo>
                    <a:lnTo>
                      <a:pt x="13" y="234"/>
                    </a:lnTo>
                    <a:lnTo>
                      <a:pt x="13" y="233"/>
                    </a:lnTo>
                    <a:lnTo>
                      <a:pt x="15" y="233"/>
                    </a:lnTo>
                    <a:lnTo>
                      <a:pt x="16" y="233"/>
                    </a:lnTo>
                    <a:lnTo>
                      <a:pt x="17" y="232"/>
                    </a:lnTo>
                    <a:lnTo>
                      <a:pt x="17" y="231"/>
                    </a:lnTo>
                    <a:lnTo>
                      <a:pt x="18" y="230"/>
                    </a:lnTo>
                    <a:lnTo>
                      <a:pt x="19" y="230"/>
                    </a:lnTo>
                    <a:lnTo>
                      <a:pt x="20" y="230"/>
                    </a:lnTo>
                    <a:lnTo>
                      <a:pt x="20" y="229"/>
                    </a:lnTo>
                    <a:lnTo>
                      <a:pt x="21" y="229"/>
                    </a:lnTo>
                    <a:lnTo>
                      <a:pt x="22" y="229"/>
                    </a:lnTo>
                    <a:lnTo>
                      <a:pt x="22" y="228"/>
                    </a:lnTo>
                    <a:lnTo>
                      <a:pt x="21" y="228"/>
                    </a:lnTo>
                    <a:lnTo>
                      <a:pt x="21" y="227"/>
                    </a:lnTo>
                    <a:lnTo>
                      <a:pt x="22" y="226"/>
                    </a:lnTo>
                    <a:lnTo>
                      <a:pt x="22" y="225"/>
                    </a:lnTo>
                    <a:lnTo>
                      <a:pt x="22" y="224"/>
                    </a:lnTo>
                    <a:lnTo>
                      <a:pt x="23" y="224"/>
                    </a:lnTo>
                    <a:lnTo>
                      <a:pt x="25" y="224"/>
                    </a:lnTo>
                    <a:lnTo>
                      <a:pt x="26" y="223"/>
                    </a:lnTo>
                    <a:lnTo>
                      <a:pt x="26" y="221"/>
                    </a:lnTo>
                    <a:lnTo>
                      <a:pt x="25" y="220"/>
                    </a:lnTo>
                    <a:lnTo>
                      <a:pt x="25" y="219"/>
                    </a:lnTo>
                    <a:lnTo>
                      <a:pt x="26" y="219"/>
                    </a:lnTo>
                    <a:lnTo>
                      <a:pt x="26" y="220"/>
                    </a:lnTo>
                    <a:lnTo>
                      <a:pt x="28" y="220"/>
                    </a:lnTo>
                    <a:lnTo>
                      <a:pt x="28" y="219"/>
                    </a:lnTo>
                    <a:lnTo>
                      <a:pt x="29" y="219"/>
                    </a:lnTo>
                    <a:lnTo>
                      <a:pt x="30" y="219"/>
                    </a:lnTo>
                    <a:lnTo>
                      <a:pt x="31" y="220"/>
                    </a:lnTo>
                    <a:lnTo>
                      <a:pt x="32" y="220"/>
                    </a:lnTo>
                    <a:lnTo>
                      <a:pt x="33" y="219"/>
                    </a:lnTo>
                    <a:lnTo>
                      <a:pt x="32" y="218"/>
                    </a:lnTo>
                    <a:lnTo>
                      <a:pt x="32" y="217"/>
                    </a:lnTo>
                    <a:lnTo>
                      <a:pt x="33" y="217"/>
                    </a:lnTo>
                    <a:lnTo>
                      <a:pt x="34" y="217"/>
                    </a:lnTo>
                    <a:lnTo>
                      <a:pt x="34" y="218"/>
                    </a:lnTo>
                    <a:lnTo>
                      <a:pt x="35" y="217"/>
                    </a:lnTo>
                    <a:lnTo>
                      <a:pt x="36" y="218"/>
                    </a:lnTo>
                    <a:lnTo>
                      <a:pt x="36" y="217"/>
                    </a:lnTo>
                    <a:lnTo>
                      <a:pt x="36" y="216"/>
                    </a:lnTo>
                    <a:lnTo>
                      <a:pt x="37" y="216"/>
                    </a:lnTo>
                    <a:lnTo>
                      <a:pt x="37" y="215"/>
                    </a:lnTo>
                    <a:lnTo>
                      <a:pt x="37" y="214"/>
                    </a:lnTo>
                    <a:lnTo>
                      <a:pt x="38" y="214"/>
                    </a:lnTo>
                    <a:lnTo>
                      <a:pt x="37" y="214"/>
                    </a:lnTo>
                    <a:lnTo>
                      <a:pt x="36" y="214"/>
                    </a:lnTo>
                    <a:lnTo>
                      <a:pt x="36" y="213"/>
                    </a:lnTo>
                    <a:lnTo>
                      <a:pt x="37" y="213"/>
                    </a:lnTo>
                    <a:lnTo>
                      <a:pt x="37" y="212"/>
                    </a:lnTo>
                    <a:lnTo>
                      <a:pt x="37" y="211"/>
                    </a:lnTo>
                    <a:lnTo>
                      <a:pt x="38" y="211"/>
                    </a:lnTo>
                    <a:lnTo>
                      <a:pt x="39" y="211"/>
                    </a:lnTo>
                    <a:lnTo>
                      <a:pt x="39" y="212"/>
                    </a:lnTo>
                    <a:lnTo>
                      <a:pt x="39" y="211"/>
                    </a:lnTo>
                    <a:lnTo>
                      <a:pt x="41" y="210"/>
                    </a:lnTo>
                    <a:lnTo>
                      <a:pt x="42" y="210"/>
                    </a:lnTo>
                    <a:lnTo>
                      <a:pt x="42" y="208"/>
                    </a:lnTo>
                    <a:lnTo>
                      <a:pt x="41" y="207"/>
                    </a:lnTo>
                    <a:lnTo>
                      <a:pt x="42" y="207"/>
                    </a:lnTo>
                    <a:lnTo>
                      <a:pt x="42" y="206"/>
                    </a:lnTo>
                    <a:lnTo>
                      <a:pt x="42" y="205"/>
                    </a:lnTo>
                    <a:lnTo>
                      <a:pt x="41" y="205"/>
                    </a:lnTo>
                    <a:lnTo>
                      <a:pt x="39" y="205"/>
                    </a:lnTo>
                    <a:lnTo>
                      <a:pt x="39" y="204"/>
                    </a:lnTo>
                    <a:lnTo>
                      <a:pt x="41" y="204"/>
                    </a:lnTo>
                    <a:lnTo>
                      <a:pt x="41" y="203"/>
                    </a:lnTo>
                    <a:lnTo>
                      <a:pt x="39" y="203"/>
                    </a:lnTo>
                    <a:lnTo>
                      <a:pt x="39" y="202"/>
                    </a:lnTo>
                    <a:lnTo>
                      <a:pt x="39" y="201"/>
                    </a:lnTo>
                    <a:lnTo>
                      <a:pt x="39" y="200"/>
                    </a:lnTo>
                    <a:lnTo>
                      <a:pt x="41" y="200"/>
                    </a:lnTo>
                    <a:lnTo>
                      <a:pt x="41" y="201"/>
                    </a:lnTo>
                    <a:lnTo>
                      <a:pt x="42" y="201"/>
                    </a:lnTo>
                    <a:lnTo>
                      <a:pt x="43" y="201"/>
                    </a:lnTo>
                    <a:lnTo>
                      <a:pt x="43" y="200"/>
                    </a:lnTo>
                    <a:lnTo>
                      <a:pt x="44" y="200"/>
                    </a:lnTo>
                    <a:lnTo>
                      <a:pt x="44" y="201"/>
                    </a:lnTo>
                    <a:lnTo>
                      <a:pt x="45" y="201"/>
                    </a:lnTo>
                    <a:lnTo>
                      <a:pt x="45" y="200"/>
                    </a:lnTo>
                    <a:lnTo>
                      <a:pt x="45" y="199"/>
                    </a:lnTo>
                    <a:lnTo>
                      <a:pt x="44" y="199"/>
                    </a:lnTo>
                    <a:lnTo>
                      <a:pt x="45" y="199"/>
                    </a:lnTo>
                    <a:lnTo>
                      <a:pt x="45" y="198"/>
                    </a:lnTo>
                    <a:lnTo>
                      <a:pt x="45" y="197"/>
                    </a:lnTo>
                    <a:lnTo>
                      <a:pt x="44" y="197"/>
                    </a:lnTo>
                    <a:lnTo>
                      <a:pt x="43" y="197"/>
                    </a:lnTo>
                    <a:lnTo>
                      <a:pt x="43" y="195"/>
                    </a:lnTo>
                    <a:lnTo>
                      <a:pt x="43" y="194"/>
                    </a:lnTo>
                    <a:lnTo>
                      <a:pt x="42" y="194"/>
                    </a:lnTo>
                    <a:lnTo>
                      <a:pt x="43" y="193"/>
                    </a:lnTo>
                    <a:lnTo>
                      <a:pt x="43" y="194"/>
                    </a:lnTo>
                    <a:lnTo>
                      <a:pt x="44" y="194"/>
                    </a:lnTo>
                    <a:lnTo>
                      <a:pt x="44" y="193"/>
                    </a:lnTo>
                    <a:lnTo>
                      <a:pt x="44" y="192"/>
                    </a:lnTo>
                    <a:lnTo>
                      <a:pt x="44" y="191"/>
                    </a:lnTo>
                    <a:lnTo>
                      <a:pt x="43" y="191"/>
                    </a:lnTo>
                    <a:lnTo>
                      <a:pt x="43" y="190"/>
                    </a:lnTo>
                    <a:lnTo>
                      <a:pt x="44" y="190"/>
                    </a:lnTo>
                    <a:lnTo>
                      <a:pt x="44" y="189"/>
                    </a:lnTo>
                    <a:lnTo>
                      <a:pt x="44" y="188"/>
                    </a:lnTo>
                    <a:lnTo>
                      <a:pt x="43" y="188"/>
                    </a:lnTo>
                    <a:lnTo>
                      <a:pt x="42" y="188"/>
                    </a:lnTo>
                    <a:lnTo>
                      <a:pt x="42" y="187"/>
                    </a:lnTo>
                    <a:lnTo>
                      <a:pt x="42" y="186"/>
                    </a:lnTo>
                    <a:lnTo>
                      <a:pt x="41" y="186"/>
                    </a:lnTo>
                    <a:lnTo>
                      <a:pt x="41" y="185"/>
                    </a:lnTo>
                    <a:lnTo>
                      <a:pt x="39" y="184"/>
                    </a:lnTo>
                    <a:lnTo>
                      <a:pt x="39" y="182"/>
                    </a:lnTo>
                    <a:lnTo>
                      <a:pt x="39" y="181"/>
                    </a:lnTo>
                    <a:lnTo>
                      <a:pt x="41" y="180"/>
                    </a:lnTo>
                    <a:lnTo>
                      <a:pt x="41" y="179"/>
                    </a:lnTo>
                    <a:lnTo>
                      <a:pt x="39" y="179"/>
                    </a:lnTo>
                    <a:lnTo>
                      <a:pt x="39" y="178"/>
                    </a:lnTo>
                    <a:lnTo>
                      <a:pt x="38" y="178"/>
                    </a:lnTo>
                    <a:lnTo>
                      <a:pt x="38" y="177"/>
                    </a:lnTo>
                    <a:lnTo>
                      <a:pt x="38" y="176"/>
                    </a:lnTo>
                    <a:lnTo>
                      <a:pt x="38" y="175"/>
                    </a:lnTo>
                    <a:lnTo>
                      <a:pt x="39" y="175"/>
                    </a:lnTo>
                    <a:lnTo>
                      <a:pt x="39" y="176"/>
                    </a:lnTo>
                    <a:lnTo>
                      <a:pt x="41" y="176"/>
                    </a:lnTo>
                    <a:lnTo>
                      <a:pt x="41" y="175"/>
                    </a:lnTo>
                    <a:lnTo>
                      <a:pt x="41" y="174"/>
                    </a:lnTo>
                    <a:lnTo>
                      <a:pt x="39" y="174"/>
                    </a:lnTo>
                    <a:lnTo>
                      <a:pt x="39" y="173"/>
                    </a:lnTo>
                    <a:lnTo>
                      <a:pt x="41" y="172"/>
                    </a:lnTo>
                    <a:lnTo>
                      <a:pt x="41" y="170"/>
                    </a:lnTo>
                    <a:lnTo>
                      <a:pt x="39" y="170"/>
                    </a:lnTo>
                    <a:lnTo>
                      <a:pt x="41" y="169"/>
                    </a:lnTo>
                    <a:lnTo>
                      <a:pt x="42" y="169"/>
                    </a:lnTo>
                    <a:lnTo>
                      <a:pt x="42" y="168"/>
                    </a:lnTo>
                    <a:lnTo>
                      <a:pt x="43" y="168"/>
                    </a:lnTo>
                    <a:lnTo>
                      <a:pt x="44" y="168"/>
                    </a:lnTo>
                    <a:lnTo>
                      <a:pt x="44" y="167"/>
                    </a:lnTo>
                    <a:lnTo>
                      <a:pt x="43" y="167"/>
                    </a:lnTo>
                    <a:lnTo>
                      <a:pt x="43" y="166"/>
                    </a:lnTo>
                    <a:lnTo>
                      <a:pt x="43" y="165"/>
                    </a:lnTo>
                    <a:lnTo>
                      <a:pt x="43" y="164"/>
                    </a:lnTo>
                    <a:lnTo>
                      <a:pt x="44" y="164"/>
                    </a:lnTo>
                    <a:lnTo>
                      <a:pt x="44" y="163"/>
                    </a:lnTo>
                    <a:lnTo>
                      <a:pt x="45" y="163"/>
                    </a:lnTo>
                    <a:lnTo>
                      <a:pt x="44" y="162"/>
                    </a:lnTo>
                    <a:lnTo>
                      <a:pt x="44" y="161"/>
                    </a:lnTo>
                    <a:lnTo>
                      <a:pt x="43" y="161"/>
                    </a:lnTo>
                    <a:lnTo>
                      <a:pt x="43" y="160"/>
                    </a:lnTo>
                    <a:lnTo>
                      <a:pt x="43" y="159"/>
                    </a:lnTo>
                    <a:lnTo>
                      <a:pt x="43" y="157"/>
                    </a:lnTo>
                    <a:lnTo>
                      <a:pt x="44" y="156"/>
                    </a:lnTo>
                    <a:lnTo>
                      <a:pt x="43" y="156"/>
                    </a:lnTo>
                    <a:lnTo>
                      <a:pt x="43" y="155"/>
                    </a:lnTo>
                    <a:lnTo>
                      <a:pt x="43" y="154"/>
                    </a:lnTo>
                    <a:lnTo>
                      <a:pt x="44" y="154"/>
                    </a:lnTo>
                    <a:lnTo>
                      <a:pt x="44" y="153"/>
                    </a:lnTo>
                    <a:lnTo>
                      <a:pt x="44" y="152"/>
                    </a:lnTo>
                    <a:lnTo>
                      <a:pt x="43" y="152"/>
                    </a:lnTo>
                    <a:lnTo>
                      <a:pt x="43" y="151"/>
                    </a:lnTo>
                    <a:lnTo>
                      <a:pt x="43" y="150"/>
                    </a:lnTo>
                    <a:lnTo>
                      <a:pt x="42" y="150"/>
                    </a:lnTo>
                    <a:lnTo>
                      <a:pt x="42" y="149"/>
                    </a:lnTo>
                    <a:lnTo>
                      <a:pt x="42" y="148"/>
                    </a:lnTo>
                    <a:lnTo>
                      <a:pt x="43" y="148"/>
                    </a:lnTo>
                    <a:lnTo>
                      <a:pt x="44" y="147"/>
                    </a:lnTo>
                    <a:lnTo>
                      <a:pt x="43" y="146"/>
                    </a:lnTo>
                    <a:lnTo>
                      <a:pt x="43" y="144"/>
                    </a:lnTo>
                    <a:lnTo>
                      <a:pt x="44" y="144"/>
                    </a:lnTo>
                    <a:lnTo>
                      <a:pt x="44" y="146"/>
                    </a:lnTo>
                    <a:lnTo>
                      <a:pt x="45" y="146"/>
                    </a:lnTo>
                    <a:lnTo>
                      <a:pt x="46" y="146"/>
                    </a:lnTo>
                    <a:lnTo>
                      <a:pt x="47" y="146"/>
                    </a:lnTo>
                    <a:lnTo>
                      <a:pt x="47" y="144"/>
                    </a:lnTo>
                    <a:lnTo>
                      <a:pt x="46" y="144"/>
                    </a:lnTo>
                    <a:lnTo>
                      <a:pt x="46" y="143"/>
                    </a:lnTo>
                    <a:lnTo>
                      <a:pt x="46" y="142"/>
                    </a:lnTo>
                    <a:lnTo>
                      <a:pt x="45" y="143"/>
                    </a:lnTo>
                    <a:lnTo>
                      <a:pt x="44" y="143"/>
                    </a:lnTo>
                    <a:lnTo>
                      <a:pt x="44" y="142"/>
                    </a:lnTo>
                    <a:lnTo>
                      <a:pt x="44" y="141"/>
                    </a:lnTo>
                    <a:lnTo>
                      <a:pt x="44" y="140"/>
                    </a:lnTo>
                    <a:lnTo>
                      <a:pt x="44" y="139"/>
                    </a:lnTo>
                    <a:lnTo>
                      <a:pt x="44" y="138"/>
                    </a:lnTo>
                    <a:lnTo>
                      <a:pt x="44" y="137"/>
                    </a:lnTo>
                    <a:lnTo>
                      <a:pt x="44" y="136"/>
                    </a:lnTo>
                    <a:lnTo>
                      <a:pt x="45" y="136"/>
                    </a:lnTo>
                    <a:lnTo>
                      <a:pt x="45" y="135"/>
                    </a:lnTo>
                    <a:lnTo>
                      <a:pt x="46" y="135"/>
                    </a:lnTo>
                    <a:lnTo>
                      <a:pt x="48" y="134"/>
                    </a:lnTo>
                    <a:lnTo>
                      <a:pt x="48" y="133"/>
                    </a:lnTo>
                    <a:lnTo>
                      <a:pt x="48" y="131"/>
                    </a:lnTo>
                    <a:lnTo>
                      <a:pt x="47" y="130"/>
                    </a:lnTo>
                    <a:lnTo>
                      <a:pt x="47" y="129"/>
                    </a:lnTo>
                    <a:lnTo>
                      <a:pt x="47" y="128"/>
                    </a:lnTo>
                    <a:lnTo>
                      <a:pt x="46" y="129"/>
                    </a:lnTo>
                    <a:lnTo>
                      <a:pt x="45" y="128"/>
                    </a:lnTo>
                    <a:lnTo>
                      <a:pt x="45" y="127"/>
                    </a:lnTo>
                    <a:lnTo>
                      <a:pt x="45" y="126"/>
                    </a:lnTo>
                    <a:lnTo>
                      <a:pt x="44" y="126"/>
                    </a:lnTo>
                    <a:lnTo>
                      <a:pt x="43" y="125"/>
                    </a:lnTo>
                    <a:lnTo>
                      <a:pt x="42" y="125"/>
                    </a:lnTo>
                    <a:lnTo>
                      <a:pt x="42" y="124"/>
                    </a:lnTo>
                    <a:lnTo>
                      <a:pt x="42" y="123"/>
                    </a:lnTo>
                    <a:lnTo>
                      <a:pt x="42" y="122"/>
                    </a:lnTo>
                    <a:lnTo>
                      <a:pt x="41" y="122"/>
                    </a:lnTo>
                    <a:lnTo>
                      <a:pt x="39" y="122"/>
                    </a:lnTo>
                    <a:lnTo>
                      <a:pt x="38" y="122"/>
                    </a:lnTo>
                    <a:lnTo>
                      <a:pt x="38" y="121"/>
                    </a:lnTo>
                    <a:lnTo>
                      <a:pt x="38" y="120"/>
                    </a:lnTo>
                    <a:lnTo>
                      <a:pt x="39" y="118"/>
                    </a:lnTo>
                    <a:lnTo>
                      <a:pt x="41" y="118"/>
                    </a:lnTo>
                    <a:lnTo>
                      <a:pt x="41" y="117"/>
                    </a:lnTo>
                    <a:lnTo>
                      <a:pt x="39" y="116"/>
                    </a:lnTo>
                    <a:lnTo>
                      <a:pt x="39" y="115"/>
                    </a:lnTo>
                    <a:lnTo>
                      <a:pt x="39" y="114"/>
                    </a:lnTo>
                    <a:lnTo>
                      <a:pt x="41" y="114"/>
                    </a:lnTo>
                    <a:lnTo>
                      <a:pt x="41" y="115"/>
                    </a:lnTo>
                    <a:lnTo>
                      <a:pt x="42" y="115"/>
                    </a:lnTo>
                    <a:lnTo>
                      <a:pt x="42" y="116"/>
                    </a:lnTo>
                    <a:lnTo>
                      <a:pt x="43" y="116"/>
                    </a:lnTo>
                    <a:lnTo>
                      <a:pt x="44" y="116"/>
                    </a:lnTo>
                    <a:lnTo>
                      <a:pt x="44" y="114"/>
                    </a:lnTo>
                    <a:lnTo>
                      <a:pt x="45" y="114"/>
                    </a:lnTo>
                    <a:lnTo>
                      <a:pt x="45" y="113"/>
                    </a:lnTo>
                    <a:lnTo>
                      <a:pt x="44" y="113"/>
                    </a:lnTo>
                    <a:lnTo>
                      <a:pt x="44" y="112"/>
                    </a:lnTo>
                    <a:lnTo>
                      <a:pt x="44" y="111"/>
                    </a:lnTo>
                    <a:lnTo>
                      <a:pt x="44" y="110"/>
                    </a:lnTo>
                    <a:lnTo>
                      <a:pt x="44" y="109"/>
                    </a:lnTo>
                    <a:lnTo>
                      <a:pt x="43" y="109"/>
                    </a:lnTo>
                    <a:lnTo>
                      <a:pt x="42" y="109"/>
                    </a:lnTo>
                    <a:lnTo>
                      <a:pt x="41" y="109"/>
                    </a:lnTo>
                    <a:lnTo>
                      <a:pt x="41" y="108"/>
                    </a:lnTo>
                    <a:lnTo>
                      <a:pt x="42" y="108"/>
                    </a:lnTo>
                    <a:lnTo>
                      <a:pt x="42" y="107"/>
                    </a:lnTo>
                    <a:lnTo>
                      <a:pt x="41" y="107"/>
                    </a:lnTo>
                    <a:lnTo>
                      <a:pt x="41" y="105"/>
                    </a:lnTo>
                    <a:lnTo>
                      <a:pt x="42" y="105"/>
                    </a:lnTo>
                    <a:lnTo>
                      <a:pt x="42" y="104"/>
                    </a:lnTo>
                    <a:lnTo>
                      <a:pt x="41" y="104"/>
                    </a:lnTo>
                    <a:lnTo>
                      <a:pt x="39" y="104"/>
                    </a:lnTo>
                    <a:lnTo>
                      <a:pt x="39" y="103"/>
                    </a:lnTo>
                    <a:lnTo>
                      <a:pt x="39" y="104"/>
                    </a:lnTo>
                    <a:lnTo>
                      <a:pt x="38" y="104"/>
                    </a:lnTo>
                    <a:lnTo>
                      <a:pt x="37" y="104"/>
                    </a:lnTo>
                    <a:lnTo>
                      <a:pt x="37" y="103"/>
                    </a:lnTo>
                    <a:lnTo>
                      <a:pt x="37" y="102"/>
                    </a:lnTo>
                    <a:lnTo>
                      <a:pt x="36" y="102"/>
                    </a:lnTo>
                    <a:lnTo>
                      <a:pt x="35" y="102"/>
                    </a:lnTo>
                    <a:lnTo>
                      <a:pt x="35" y="101"/>
                    </a:lnTo>
                    <a:lnTo>
                      <a:pt x="35" y="100"/>
                    </a:lnTo>
                    <a:lnTo>
                      <a:pt x="34" y="100"/>
                    </a:lnTo>
                    <a:lnTo>
                      <a:pt x="34" y="101"/>
                    </a:lnTo>
                    <a:lnTo>
                      <a:pt x="33" y="101"/>
                    </a:lnTo>
                    <a:lnTo>
                      <a:pt x="33" y="99"/>
                    </a:lnTo>
                    <a:lnTo>
                      <a:pt x="34" y="99"/>
                    </a:lnTo>
                    <a:lnTo>
                      <a:pt x="35" y="99"/>
                    </a:lnTo>
                    <a:lnTo>
                      <a:pt x="35" y="98"/>
                    </a:lnTo>
                    <a:lnTo>
                      <a:pt x="36" y="97"/>
                    </a:lnTo>
                    <a:lnTo>
                      <a:pt x="36" y="96"/>
                    </a:lnTo>
                    <a:lnTo>
                      <a:pt x="35" y="96"/>
                    </a:lnTo>
                    <a:lnTo>
                      <a:pt x="35" y="95"/>
                    </a:lnTo>
                    <a:lnTo>
                      <a:pt x="34" y="95"/>
                    </a:lnTo>
                    <a:lnTo>
                      <a:pt x="34" y="94"/>
                    </a:lnTo>
                    <a:lnTo>
                      <a:pt x="33" y="94"/>
                    </a:lnTo>
                    <a:lnTo>
                      <a:pt x="32" y="94"/>
                    </a:lnTo>
                    <a:lnTo>
                      <a:pt x="32" y="92"/>
                    </a:lnTo>
                    <a:lnTo>
                      <a:pt x="32" y="91"/>
                    </a:lnTo>
                    <a:lnTo>
                      <a:pt x="33" y="91"/>
                    </a:lnTo>
                    <a:lnTo>
                      <a:pt x="33" y="90"/>
                    </a:lnTo>
                    <a:lnTo>
                      <a:pt x="33" y="91"/>
                    </a:lnTo>
                    <a:lnTo>
                      <a:pt x="34" y="91"/>
                    </a:lnTo>
                    <a:lnTo>
                      <a:pt x="33" y="91"/>
                    </a:lnTo>
                    <a:lnTo>
                      <a:pt x="33" y="92"/>
                    </a:lnTo>
                    <a:lnTo>
                      <a:pt x="34" y="92"/>
                    </a:lnTo>
                    <a:lnTo>
                      <a:pt x="34" y="91"/>
                    </a:lnTo>
                    <a:lnTo>
                      <a:pt x="35" y="91"/>
                    </a:lnTo>
                    <a:lnTo>
                      <a:pt x="35" y="90"/>
                    </a:lnTo>
                    <a:lnTo>
                      <a:pt x="35" y="89"/>
                    </a:lnTo>
                    <a:lnTo>
                      <a:pt x="36" y="89"/>
                    </a:lnTo>
                    <a:lnTo>
                      <a:pt x="36" y="88"/>
                    </a:lnTo>
                    <a:lnTo>
                      <a:pt x="37" y="88"/>
                    </a:lnTo>
                    <a:lnTo>
                      <a:pt x="36" y="87"/>
                    </a:lnTo>
                    <a:lnTo>
                      <a:pt x="36" y="86"/>
                    </a:lnTo>
                    <a:lnTo>
                      <a:pt x="37" y="86"/>
                    </a:lnTo>
                    <a:lnTo>
                      <a:pt x="37" y="85"/>
                    </a:lnTo>
                    <a:lnTo>
                      <a:pt x="38" y="85"/>
                    </a:lnTo>
                    <a:lnTo>
                      <a:pt x="38" y="84"/>
                    </a:lnTo>
                    <a:lnTo>
                      <a:pt x="38" y="83"/>
                    </a:lnTo>
                    <a:lnTo>
                      <a:pt x="38" y="82"/>
                    </a:lnTo>
                    <a:lnTo>
                      <a:pt x="39" y="83"/>
                    </a:lnTo>
                    <a:lnTo>
                      <a:pt x="39" y="82"/>
                    </a:lnTo>
                    <a:lnTo>
                      <a:pt x="41" y="82"/>
                    </a:lnTo>
                    <a:lnTo>
                      <a:pt x="42" y="82"/>
                    </a:lnTo>
                    <a:lnTo>
                      <a:pt x="42" y="80"/>
                    </a:lnTo>
                    <a:lnTo>
                      <a:pt x="42" y="79"/>
                    </a:lnTo>
                    <a:lnTo>
                      <a:pt x="41" y="79"/>
                    </a:lnTo>
                    <a:lnTo>
                      <a:pt x="39" y="78"/>
                    </a:lnTo>
                    <a:lnTo>
                      <a:pt x="39" y="77"/>
                    </a:lnTo>
                    <a:lnTo>
                      <a:pt x="39" y="76"/>
                    </a:lnTo>
                    <a:lnTo>
                      <a:pt x="39" y="75"/>
                    </a:lnTo>
                    <a:lnTo>
                      <a:pt x="38" y="75"/>
                    </a:lnTo>
                    <a:lnTo>
                      <a:pt x="38" y="74"/>
                    </a:lnTo>
                    <a:lnTo>
                      <a:pt x="38" y="73"/>
                    </a:lnTo>
                    <a:lnTo>
                      <a:pt x="37" y="73"/>
                    </a:lnTo>
                    <a:lnTo>
                      <a:pt x="36" y="73"/>
                    </a:lnTo>
                    <a:lnTo>
                      <a:pt x="36" y="74"/>
                    </a:lnTo>
                    <a:lnTo>
                      <a:pt x="35" y="73"/>
                    </a:lnTo>
                    <a:lnTo>
                      <a:pt x="36" y="73"/>
                    </a:lnTo>
                    <a:lnTo>
                      <a:pt x="36" y="72"/>
                    </a:lnTo>
                    <a:lnTo>
                      <a:pt x="36" y="71"/>
                    </a:lnTo>
                    <a:lnTo>
                      <a:pt x="36" y="70"/>
                    </a:lnTo>
                    <a:lnTo>
                      <a:pt x="35" y="70"/>
                    </a:lnTo>
                    <a:lnTo>
                      <a:pt x="36" y="69"/>
                    </a:lnTo>
                    <a:lnTo>
                      <a:pt x="36" y="67"/>
                    </a:lnTo>
                    <a:lnTo>
                      <a:pt x="35" y="67"/>
                    </a:lnTo>
                    <a:lnTo>
                      <a:pt x="34" y="66"/>
                    </a:lnTo>
                    <a:lnTo>
                      <a:pt x="35" y="66"/>
                    </a:lnTo>
                    <a:lnTo>
                      <a:pt x="35" y="65"/>
                    </a:lnTo>
                    <a:lnTo>
                      <a:pt x="36" y="66"/>
                    </a:lnTo>
                    <a:lnTo>
                      <a:pt x="36" y="65"/>
                    </a:lnTo>
                    <a:lnTo>
                      <a:pt x="37" y="65"/>
                    </a:lnTo>
                    <a:lnTo>
                      <a:pt x="37" y="64"/>
                    </a:lnTo>
                    <a:lnTo>
                      <a:pt x="37" y="63"/>
                    </a:lnTo>
                    <a:lnTo>
                      <a:pt x="36" y="63"/>
                    </a:lnTo>
                    <a:lnTo>
                      <a:pt x="37" y="64"/>
                    </a:lnTo>
                    <a:lnTo>
                      <a:pt x="36" y="64"/>
                    </a:lnTo>
                    <a:lnTo>
                      <a:pt x="36" y="63"/>
                    </a:lnTo>
                    <a:lnTo>
                      <a:pt x="35" y="63"/>
                    </a:lnTo>
                    <a:lnTo>
                      <a:pt x="35" y="62"/>
                    </a:lnTo>
                    <a:lnTo>
                      <a:pt x="35" y="61"/>
                    </a:lnTo>
                    <a:lnTo>
                      <a:pt x="35" y="60"/>
                    </a:lnTo>
                    <a:lnTo>
                      <a:pt x="35" y="59"/>
                    </a:lnTo>
                    <a:lnTo>
                      <a:pt x="34" y="59"/>
                    </a:lnTo>
                    <a:lnTo>
                      <a:pt x="34" y="58"/>
                    </a:lnTo>
                    <a:lnTo>
                      <a:pt x="35" y="58"/>
                    </a:lnTo>
                    <a:lnTo>
                      <a:pt x="36" y="57"/>
                    </a:lnTo>
                    <a:lnTo>
                      <a:pt x="36" y="56"/>
                    </a:lnTo>
                    <a:lnTo>
                      <a:pt x="35" y="54"/>
                    </a:lnTo>
                    <a:lnTo>
                      <a:pt x="34" y="54"/>
                    </a:lnTo>
                    <a:lnTo>
                      <a:pt x="34" y="53"/>
                    </a:lnTo>
                    <a:lnTo>
                      <a:pt x="33" y="53"/>
                    </a:lnTo>
                    <a:lnTo>
                      <a:pt x="33" y="52"/>
                    </a:lnTo>
                    <a:lnTo>
                      <a:pt x="33" y="51"/>
                    </a:lnTo>
                    <a:lnTo>
                      <a:pt x="34" y="51"/>
                    </a:lnTo>
                    <a:lnTo>
                      <a:pt x="34" y="50"/>
                    </a:lnTo>
                    <a:lnTo>
                      <a:pt x="33" y="49"/>
                    </a:lnTo>
                    <a:lnTo>
                      <a:pt x="34" y="49"/>
                    </a:lnTo>
                    <a:lnTo>
                      <a:pt x="34" y="48"/>
                    </a:lnTo>
                    <a:lnTo>
                      <a:pt x="33" y="48"/>
                    </a:lnTo>
                    <a:lnTo>
                      <a:pt x="32" y="48"/>
                    </a:lnTo>
                    <a:lnTo>
                      <a:pt x="32" y="47"/>
                    </a:lnTo>
                    <a:lnTo>
                      <a:pt x="32" y="46"/>
                    </a:lnTo>
                    <a:lnTo>
                      <a:pt x="33" y="45"/>
                    </a:lnTo>
                    <a:lnTo>
                      <a:pt x="33" y="44"/>
                    </a:lnTo>
                    <a:lnTo>
                      <a:pt x="33" y="43"/>
                    </a:lnTo>
                    <a:lnTo>
                      <a:pt x="33" y="44"/>
                    </a:lnTo>
                    <a:lnTo>
                      <a:pt x="32" y="44"/>
                    </a:lnTo>
                    <a:lnTo>
                      <a:pt x="32" y="43"/>
                    </a:lnTo>
                    <a:lnTo>
                      <a:pt x="31" y="43"/>
                    </a:lnTo>
                    <a:lnTo>
                      <a:pt x="31" y="41"/>
                    </a:lnTo>
                    <a:lnTo>
                      <a:pt x="31" y="40"/>
                    </a:lnTo>
                    <a:lnTo>
                      <a:pt x="32" y="40"/>
                    </a:lnTo>
                    <a:lnTo>
                      <a:pt x="33" y="40"/>
                    </a:lnTo>
                    <a:lnTo>
                      <a:pt x="33" y="39"/>
                    </a:lnTo>
                    <a:lnTo>
                      <a:pt x="33" y="38"/>
                    </a:lnTo>
                    <a:lnTo>
                      <a:pt x="32" y="38"/>
                    </a:lnTo>
                    <a:lnTo>
                      <a:pt x="32" y="37"/>
                    </a:lnTo>
                    <a:lnTo>
                      <a:pt x="33" y="37"/>
                    </a:lnTo>
                    <a:lnTo>
                      <a:pt x="33" y="38"/>
                    </a:lnTo>
                    <a:lnTo>
                      <a:pt x="34" y="38"/>
                    </a:lnTo>
                    <a:lnTo>
                      <a:pt x="34" y="37"/>
                    </a:lnTo>
                    <a:lnTo>
                      <a:pt x="34" y="36"/>
                    </a:lnTo>
                    <a:lnTo>
                      <a:pt x="35" y="36"/>
                    </a:lnTo>
                    <a:lnTo>
                      <a:pt x="36" y="36"/>
                    </a:lnTo>
                    <a:lnTo>
                      <a:pt x="36" y="35"/>
                    </a:lnTo>
                    <a:lnTo>
                      <a:pt x="37" y="35"/>
                    </a:lnTo>
                    <a:lnTo>
                      <a:pt x="36" y="34"/>
                    </a:lnTo>
                    <a:lnTo>
                      <a:pt x="36" y="35"/>
                    </a:lnTo>
                    <a:lnTo>
                      <a:pt x="36" y="34"/>
                    </a:lnTo>
                    <a:lnTo>
                      <a:pt x="36" y="33"/>
                    </a:lnTo>
                    <a:lnTo>
                      <a:pt x="37" y="32"/>
                    </a:lnTo>
                    <a:lnTo>
                      <a:pt x="37" y="31"/>
                    </a:lnTo>
                    <a:lnTo>
                      <a:pt x="38" y="31"/>
                    </a:lnTo>
                    <a:lnTo>
                      <a:pt x="38" y="32"/>
                    </a:lnTo>
                    <a:lnTo>
                      <a:pt x="39" y="32"/>
                    </a:lnTo>
                    <a:lnTo>
                      <a:pt x="39" y="31"/>
                    </a:lnTo>
                    <a:lnTo>
                      <a:pt x="39" y="30"/>
                    </a:lnTo>
                    <a:lnTo>
                      <a:pt x="39" y="28"/>
                    </a:lnTo>
                    <a:lnTo>
                      <a:pt x="41" y="28"/>
                    </a:lnTo>
                    <a:lnTo>
                      <a:pt x="42" y="28"/>
                    </a:lnTo>
                    <a:lnTo>
                      <a:pt x="41" y="28"/>
                    </a:lnTo>
                    <a:lnTo>
                      <a:pt x="41" y="27"/>
                    </a:lnTo>
                    <a:lnTo>
                      <a:pt x="41" y="26"/>
                    </a:lnTo>
                    <a:lnTo>
                      <a:pt x="42" y="27"/>
                    </a:lnTo>
                    <a:lnTo>
                      <a:pt x="42" y="26"/>
                    </a:lnTo>
                    <a:lnTo>
                      <a:pt x="41" y="26"/>
                    </a:lnTo>
                    <a:lnTo>
                      <a:pt x="41" y="25"/>
                    </a:lnTo>
                    <a:lnTo>
                      <a:pt x="42" y="25"/>
                    </a:lnTo>
                    <a:lnTo>
                      <a:pt x="42" y="24"/>
                    </a:lnTo>
                    <a:lnTo>
                      <a:pt x="41" y="24"/>
                    </a:lnTo>
                    <a:lnTo>
                      <a:pt x="41" y="23"/>
                    </a:lnTo>
                    <a:lnTo>
                      <a:pt x="42" y="23"/>
                    </a:lnTo>
                    <a:lnTo>
                      <a:pt x="43" y="22"/>
                    </a:lnTo>
                    <a:lnTo>
                      <a:pt x="42" y="22"/>
                    </a:lnTo>
                    <a:lnTo>
                      <a:pt x="42" y="21"/>
                    </a:lnTo>
                    <a:lnTo>
                      <a:pt x="43" y="21"/>
                    </a:lnTo>
                    <a:lnTo>
                      <a:pt x="43" y="20"/>
                    </a:lnTo>
                    <a:lnTo>
                      <a:pt x="42" y="20"/>
                    </a:lnTo>
                    <a:lnTo>
                      <a:pt x="42" y="19"/>
                    </a:lnTo>
                    <a:lnTo>
                      <a:pt x="43" y="18"/>
                    </a:lnTo>
                    <a:lnTo>
                      <a:pt x="42" y="17"/>
                    </a:lnTo>
                    <a:lnTo>
                      <a:pt x="43" y="17"/>
                    </a:lnTo>
                    <a:lnTo>
                      <a:pt x="43" y="15"/>
                    </a:lnTo>
                    <a:lnTo>
                      <a:pt x="43" y="14"/>
                    </a:lnTo>
                    <a:lnTo>
                      <a:pt x="43" y="13"/>
                    </a:lnTo>
                    <a:lnTo>
                      <a:pt x="42" y="13"/>
                    </a:lnTo>
                    <a:lnTo>
                      <a:pt x="43" y="12"/>
                    </a:lnTo>
                    <a:lnTo>
                      <a:pt x="43" y="11"/>
                    </a:lnTo>
                    <a:lnTo>
                      <a:pt x="43" y="10"/>
                    </a:lnTo>
                    <a:lnTo>
                      <a:pt x="44" y="10"/>
                    </a:lnTo>
                    <a:lnTo>
                      <a:pt x="44" y="9"/>
                    </a:lnTo>
                    <a:lnTo>
                      <a:pt x="45" y="9"/>
                    </a:lnTo>
                    <a:lnTo>
                      <a:pt x="45" y="7"/>
                    </a:lnTo>
                    <a:lnTo>
                      <a:pt x="46" y="6"/>
                    </a:lnTo>
                    <a:lnTo>
                      <a:pt x="47" y="5"/>
                    </a:lnTo>
                    <a:lnTo>
                      <a:pt x="48" y="5"/>
                    </a:lnTo>
                    <a:lnTo>
                      <a:pt x="49" y="5"/>
                    </a:lnTo>
                    <a:lnTo>
                      <a:pt x="50" y="5"/>
                    </a:lnTo>
                    <a:lnTo>
                      <a:pt x="50" y="4"/>
                    </a:lnTo>
                    <a:lnTo>
                      <a:pt x="50" y="2"/>
                    </a:lnTo>
                    <a:lnTo>
                      <a:pt x="51" y="2"/>
                    </a:lnTo>
                    <a:lnTo>
                      <a:pt x="51" y="4"/>
                    </a:lnTo>
                    <a:lnTo>
                      <a:pt x="51" y="2"/>
                    </a:lnTo>
                    <a:lnTo>
                      <a:pt x="52" y="1"/>
                    </a:lnTo>
                    <a:lnTo>
                      <a:pt x="54" y="1"/>
                    </a:lnTo>
                    <a:lnTo>
                      <a:pt x="80" y="0"/>
                    </a:lnTo>
                    <a:lnTo>
                      <a:pt x="83" y="0"/>
                    </a:lnTo>
                    <a:lnTo>
                      <a:pt x="85" y="0"/>
                    </a:lnTo>
                    <a:lnTo>
                      <a:pt x="86" y="0"/>
                    </a:lnTo>
                    <a:lnTo>
                      <a:pt x="87" y="0"/>
                    </a:lnTo>
                    <a:lnTo>
                      <a:pt x="88" y="0"/>
                    </a:lnTo>
                    <a:lnTo>
                      <a:pt x="88" y="1"/>
                    </a:lnTo>
                    <a:lnTo>
                      <a:pt x="89" y="1"/>
                    </a:lnTo>
                    <a:lnTo>
                      <a:pt x="90" y="0"/>
                    </a:lnTo>
                    <a:lnTo>
                      <a:pt x="95" y="0"/>
                    </a:lnTo>
                    <a:lnTo>
                      <a:pt x="98" y="1"/>
                    </a:lnTo>
                    <a:lnTo>
                      <a:pt x="109" y="1"/>
                    </a:lnTo>
                    <a:lnTo>
                      <a:pt x="126" y="1"/>
                    </a:lnTo>
                    <a:lnTo>
                      <a:pt x="150" y="0"/>
                    </a:lnTo>
                    <a:lnTo>
                      <a:pt x="162" y="0"/>
                    </a:lnTo>
                    <a:lnTo>
                      <a:pt x="163" y="0"/>
                    </a:lnTo>
                    <a:lnTo>
                      <a:pt x="176" y="0"/>
                    </a:lnTo>
                    <a:lnTo>
                      <a:pt x="177" y="1"/>
                    </a:lnTo>
                    <a:lnTo>
                      <a:pt x="199" y="0"/>
                    </a:lnTo>
                    <a:lnTo>
                      <a:pt x="203" y="0"/>
                    </a:lnTo>
                    <a:lnTo>
                      <a:pt x="212" y="0"/>
                    </a:lnTo>
                    <a:close/>
                  </a:path>
                </a:pathLst>
              </a:custGeom>
              <a:solidFill>
                <a:srgbClr val="C6E0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6" name="Freeform 26">
                <a:extLst>
                  <a:ext uri="{FF2B5EF4-FFF2-40B4-BE49-F238E27FC236}">
                    <a16:creationId xmlns:a16="http://schemas.microsoft.com/office/drawing/2014/main" id="{4A4DC8DA-E209-77E7-91DA-86C4ABD180DB}"/>
                  </a:ext>
                </a:extLst>
              </p:cNvPr>
              <p:cNvSpPr>
                <a:spLocks/>
              </p:cNvSpPr>
              <p:nvPr/>
            </p:nvSpPr>
            <p:spPr bwMode="auto">
              <a:xfrm>
                <a:off x="3790951" y="3443288"/>
                <a:ext cx="482600" cy="398463"/>
              </a:xfrm>
              <a:custGeom>
                <a:avLst/>
                <a:gdLst>
                  <a:gd name="T0" fmla="*/ 296 w 304"/>
                  <a:gd name="T1" fmla="*/ 6 h 251"/>
                  <a:gd name="T2" fmla="*/ 293 w 304"/>
                  <a:gd name="T3" fmla="*/ 17 h 251"/>
                  <a:gd name="T4" fmla="*/ 291 w 304"/>
                  <a:gd name="T5" fmla="*/ 24 h 251"/>
                  <a:gd name="T6" fmla="*/ 289 w 304"/>
                  <a:gd name="T7" fmla="*/ 28 h 251"/>
                  <a:gd name="T8" fmla="*/ 287 w 304"/>
                  <a:gd name="T9" fmla="*/ 35 h 251"/>
                  <a:gd name="T10" fmla="*/ 283 w 304"/>
                  <a:gd name="T11" fmla="*/ 39 h 251"/>
                  <a:gd name="T12" fmla="*/ 282 w 304"/>
                  <a:gd name="T13" fmla="*/ 46 h 251"/>
                  <a:gd name="T14" fmla="*/ 284 w 304"/>
                  <a:gd name="T15" fmla="*/ 53 h 251"/>
                  <a:gd name="T16" fmla="*/ 285 w 304"/>
                  <a:gd name="T17" fmla="*/ 63 h 251"/>
                  <a:gd name="T18" fmla="*/ 284 w 304"/>
                  <a:gd name="T19" fmla="*/ 66 h 251"/>
                  <a:gd name="T20" fmla="*/ 287 w 304"/>
                  <a:gd name="T21" fmla="*/ 73 h 251"/>
                  <a:gd name="T22" fmla="*/ 291 w 304"/>
                  <a:gd name="T23" fmla="*/ 82 h 251"/>
                  <a:gd name="T24" fmla="*/ 286 w 304"/>
                  <a:gd name="T25" fmla="*/ 88 h 251"/>
                  <a:gd name="T26" fmla="*/ 283 w 304"/>
                  <a:gd name="T27" fmla="*/ 91 h 251"/>
                  <a:gd name="T28" fmla="*/ 285 w 304"/>
                  <a:gd name="T29" fmla="*/ 99 h 251"/>
                  <a:gd name="T30" fmla="*/ 287 w 304"/>
                  <a:gd name="T31" fmla="*/ 104 h 251"/>
                  <a:gd name="T32" fmla="*/ 291 w 304"/>
                  <a:gd name="T33" fmla="*/ 108 h 251"/>
                  <a:gd name="T34" fmla="*/ 294 w 304"/>
                  <a:gd name="T35" fmla="*/ 116 h 251"/>
                  <a:gd name="T36" fmla="*/ 288 w 304"/>
                  <a:gd name="T37" fmla="*/ 120 h 251"/>
                  <a:gd name="T38" fmla="*/ 295 w 304"/>
                  <a:gd name="T39" fmla="*/ 127 h 251"/>
                  <a:gd name="T40" fmla="*/ 294 w 304"/>
                  <a:gd name="T41" fmla="*/ 136 h 251"/>
                  <a:gd name="T42" fmla="*/ 297 w 304"/>
                  <a:gd name="T43" fmla="*/ 144 h 251"/>
                  <a:gd name="T44" fmla="*/ 292 w 304"/>
                  <a:gd name="T45" fmla="*/ 150 h 251"/>
                  <a:gd name="T46" fmla="*/ 293 w 304"/>
                  <a:gd name="T47" fmla="*/ 159 h 251"/>
                  <a:gd name="T48" fmla="*/ 294 w 304"/>
                  <a:gd name="T49" fmla="*/ 167 h 251"/>
                  <a:gd name="T50" fmla="*/ 291 w 304"/>
                  <a:gd name="T51" fmla="*/ 175 h 251"/>
                  <a:gd name="T52" fmla="*/ 289 w 304"/>
                  <a:gd name="T53" fmla="*/ 181 h 251"/>
                  <a:gd name="T54" fmla="*/ 293 w 304"/>
                  <a:gd name="T55" fmla="*/ 190 h 251"/>
                  <a:gd name="T56" fmla="*/ 294 w 304"/>
                  <a:gd name="T57" fmla="*/ 197 h 251"/>
                  <a:gd name="T58" fmla="*/ 292 w 304"/>
                  <a:gd name="T59" fmla="*/ 201 h 251"/>
                  <a:gd name="T60" fmla="*/ 231 w 304"/>
                  <a:gd name="T61" fmla="*/ 203 h 251"/>
                  <a:gd name="T62" fmla="*/ 142 w 304"/>
                  <a:gd name="T63" fmla="*/ 206 h 251"/>
                  <a:gd name="T64" fmla="*/ 84 w 304"/>
                  <a:gd name="T65" fmla="*/ 210 h 251"/>
                  <a:gd name="T66" fmla="*/ 34 w 304"/>
                  <a:gd name="T67" fmla="*/ 217 h 251"/>
                  <a:gd name="T68" fmla="*/ 17 w 304"/>
                  <a:gd name="T69" fmla="*/ 244 h 251"/>
                  <a:gd name="T70" fmla="*/ 10 w 304"/>
                  <a:gd name="T71" fmla="*/ 245 h 251"/>
                  <a:gd name="T72" fmla="*/ 5 w 304"/>
                  <a:gd name="T73" fmla="*/ 226 h 251"/>
                  <a:gd name="T74" fmla="*/ 7 w 304"/>
                  <a:gd name="T75" fmla="*/ 215 h 251"/>
                  <a:gd name="T76" fmla="*/ 12 w 304"/>
                  <a:gd name="T77" fmla="*/ 204 h 251"/>
                  <a:gd name="T78" fmla="*/ 16 w 304"/>
                  <a:gd name="T79" fmla="*/ 194 h 251"/>
                  <a:gd name="T80" fmla="*/ 23 w 304"/>
                  <a:gd name="T81" fmla="*/ 180 h 251"/>
                  <a:gd name="T82" fmla="*/ 29 w 304"/>
                  <a:gd name="T83" fmla="*/ 173 h 251"/>
                  <a:gd name="T84" fmla="*/ 36 w 304"/>
                  <a:gd name="T85" fmla="*/ 163 h 251"/>
                  <a:gd name="T86" fmla="*/ 42 w 304"/>
                  <a:gd name="T87" fmla="*/ 157 h 251"/>
                  <a:gd name="T88" fmla="*/ 52 w 304"/>
                  <a:gd name="T89" fmla="*/ 147 h 251"/>
                  <a:gd name="T90" fmla="*/ 53 w 304"/>
                  <a:gd name="T91" fmla="*/ 137 h 251"/>
                  <a:gd name="T92" fmla="*/ 53 w 304"/>
                  <a:gd name="T93" fmla="*/ 124 h 251"/>
                  <a:gd name="T94" fmla="*/ 59 w 304"/>
                  <a:gd name="T95" fmla="*/ 113 h 251"/>
                  <a:gd name="T96" fmla="*/ 59 w 304"/>
                  <a:gd name="T97" fmla="*/ 103 h 251"/>
                  <a:gd name="T98" fmla="*/ 60 w 304"/>
                  <a:gd name="T99" fmla="*/ 94 h 251"/>
                  <a:gd name="T100" fmla="*/ 63 w 304"/>
                  <a:gd name="T101" fmla="*/ 82 h 251"/>
                  <a:gd name="T102" fmla="*/ 71 w 304"/>
                  <a:gd name="T103" fmla="*/ 75 h 251"/>
                  <a:gd name="T104" fmla="*/ 71 w 304"/>
                  <a:gd name="T105" fmla="*/ 65 h 251"/>
                  <a:gd name="T106" fmla="*/ 75 w 304"/>
                  <a:gd name="T107" fmla="*/ 57 h 251"/>
                  <a:gd name="T108" fmla="*/ 82 w 304"/>
                  <a:gd name="T109" fmla="*/ 46 h 251"/>
                  <a:gd name="T110" fmla="*/ 77 w 304"/>
                  <a:gd name="T111" fmla="*/ 37 h 251"/>
                  <a:gd name="T112" fmla="*/ 80 w 304"/>
                  <a:gd name="T113" fmla="*/ 24 h 251"/>
                  <a:gd name="T114" fmla="*/ 85 w 304"/>
                  <a:gd name="T115" fmla="*/ 19 h 251"/>
                  <a:gd name="T116" fmla="*/ 87 w 304"/>
                  <a:gd name="T117" fmla="*/ 9 h 251"/>
                  <a:gd name="T118" fmla="*/ 121 w 304"/>
                  <a:gd name="T119" fmla="*/ 1 h 251"/>
                  <a:gd name="T120" fmla="*/ 269 w 304"/>
                  <a:gd name="T1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 h="251">
                    <a:moveTo>
                      <a:pt x="304" y="1"/>
                    </a:moveTo>
                    <a:lnTo>
                      <a:pt x="302" y="1"/>
                    </a:lnTo>
                    <a:lnTo>
                      <a:pt x="301" y="2"/>
                    </a:lnTo>
                    <a:lnTo>
                      <a:pt x="301" y="4"/>
                    </a:lnTo>
                    <a:lnTo>
                      <a:pt x="301" y="2"/>
                    </a:lnTo>
                    <a:lnTo>
                      <a:pt x="300" y="2"/>
                    </a:lnTo>
                    <a:lnTo>
                      <a:pt x="300" y="4"/>
                    </a:lnTo>
                    <a:lnTo>
                      <a:pt x="300" y="5"/>
                    </a:lnTo>
                    <a:lnTo>
                      <a:pt x="299" y="5"/>
                    </a:lnTo>
                    <a:lnTo>
                      <a:pt x="298" y="5"/>
                    </a:lnTo>
                    <a:lnTo>
                      <a:pt x="297" y="5"/>
                    </a:lnTo>
                    <a:lnTo>
                      <a:pt x="296" y="6"/>
                    </a:lnTo>
                    <a:lnTo>
                      <a:pt x="295" y="7"/>
                    </a:lnTo>
                    <a:lnTo>
                      <a:pt x="295" y="9"/>
                    </a:lnTo>
                    <a:lnTo>
                      <a:pt x="294" y="9"/>
                    </a:lnTo>
                    <a:lnTo>
                      <a:pt x="294" y="10"/>
                    </a:lnTo>
                    <a:lnTo>
                      <a:pt x="293" y="10"/>
                    </a:lnTo>
                    <a:lnTo>
                      <a:pt x="293" y="11"/>
                    </a:lnTo>
                    <a:lnTo>
                      <a:pt x="293" y="12"/>
                    </a:lnTo>
                    <a:lnTo>
                      <a:pt x="292" y="13"/>
                    </a:lnTo>
                    <a:lnTo>
                      <a:pt x="293" y="13"/>
                    </a:lnTo>
                    <a:lnTo>
                      <a:pt x="293" y="14"/>
                    </a:lnTo>
                    <a:lnTo>
                      <a:pt x="293" y="15"/>
                    </a:lnTo>
                    <a:lnTo>
                      <a:pt x="293" y="17"/>
                    </a:lnTo>
                    <a:lnTo>
                      <a:pt x="292" y="17"/>
                    </a:lnTo>
                    <a:lnTo>
                      <a:pt x="293" y="18"/>
                    </a:lnTo>
                    <a:lnTo>
                      <a:pt x="292" y="19"/>
                    </a:lnTo>
                    <a:lnTo>
                      <a:pt x="292" y="20"/>
                    </a:lnTo>
                    <a:lnTo>
                      <a:pt x="293" y="20"/>
                    </a:lnTo>
                    <a:lnTo>
                      <a:pt x="293" y="21"/>
                    </a:lnTo>
                    <a:lnTo>
                      <a:pt x="292" y="21"/>
                    </a:lnTo>
                    <a:lnTo>
                      <a:pt x="292" y="22"/>
                    </a:lnTo>
                    <a:lnTo>
                      <a:pt x="293" y="22"/>
                    </a:lnTo>
                    <a:lnTo>
                      <a:pt x="292" y="23"/>
                    </a:lnTo>
                    <a:lnTo>
                      <a:pt x="291" y="23"/>
                    </a:lnTo>
                    <a:lnTo>
                      <a:pt x="291" y="24"/>
                    </a:lnTo>
                    <a:lnTo>
                      <a:pt x="292" y="24"/>
                    </a:lnTo>
                    <a:lnTo>
                      <a:pt x="292" y="25"/>
                    </a:lnTo>
                    <a:lnTo>
                      <a:pt x="291" y="25"/>
                    </a:lnTo>
                    <a:lnTo>
                      <a:pt x="291" y="26"/>
                    </a:lnTo>
                    <a:lnTo>
                      <a:pt x="292" y="26"/>
                    </a:lnTo>
                    <a:lnTo>
                      <a:pt x="292" y="27"/>
                    </a:lnTo>
                    <a:lnTo>
                      <a:pt x="291" y="26"/>
                    </a:lnTo>
                    <a:lnTo>
                      <a:pt x="291" y="27"/>
                    </a:lnTo>
                    <a:lnTo>
                      <a:pt x="291" y="28"/>
                    </a:lnTo>
                    <a:lnTo>
                      <a:pt x="292" y="28"/>
                    </a:lnTo>
                    <a:lnTo>
                      <a:pt x="291" y="28"/>
                    </a:lnTo>
                    <a:lnTo>
                      <a:pt x="289" y="28"/>
                    </a:lnTo>
                    <a:lnTo>
                      <a:pt x="289" y="30"/>
                    </a:lnTo>
                    <a:lnTo>
                      <a:pt x="289" y="31"/>
                    </a:lnTo>
                    <a:lnTo>
                      <a:pt x="289" y="32"/>
                    </a:lnTo>
                    <a:lnTo>
                      <a:pt x="288" y="32"/>
                    </a:lnTo>
                    <a:lnTo>
                      <a:pt x="288" y="31"/>
                    </a:lnTo>
                    <a:lnTo>
                      <a:pt x="287" y="31"/>
                    </a:lnTo>
                    <a:lnTo>
                      <a:pt x="287" y="32"/>
                    </a:lnTo>
                    <a:lnTo>
                      <a:pt x="286" y="33"/>
                    </a:lnTo>
                    <a:lnTo>
                      <a:pt x="286" y="34"/>
                    </a:lnTo>
                    <a:lnTo>
                      <a:pt x="286" y="35"/>
                    </a:lnTo>
                    <a:lnTo>
                      <a:pt x="286" y="34"/>
                    </a:lnTo>
                    <a:lnTo>
                      <a:pt x="287" y="35"/>
                    </a:lnTo>
                    <a:lnTo>
                      <a:pt x="286" y="35"/>
                    </a:lnTo>
                    <a:lnTo>
                      <a:pt x="286" y="36"/>
                    </a:lnTo>
                    <a:lnTo>
                      <a:pt x="285" y="36"/>
                    </a:lnTo>
                    <a:lnTo>
                      <a:pt x="284" y="36"/>
                    </a:lnTo>
                    <a:lnTo>
                      <a:pt x="284" y="37"/>
                    </a:lnTo>
                    <a:lnTo>
                      <a:pt x="284" y="38"/>
                    </a:lnTo>
                    <a:lnTo>
                      <a:pt x="283" y="38"/>
                    </a:lnTo>
                    <a:lnTo>
                      <a:pt x="283" y="37"/>
                    </a:lnTo>
                    <a:lnTo>
                      <a:pt x="282" y="37"/>
                    </a:lnTo>
                    <a:lnTo>
                      <a:pt x="282" y="38"/>
                    </a:lnTo>
                    <a:lnTo>
                      <a:pt x="283" y="38"/>
                    </a:lnTo>
                    <a:lnTo>
                      <a:pt x="283" y="39"/>
                    </a:lnTo>
                    <a:lnTo>
                      <a:pt x="283" y="40"/>
                    </a:lnTo>
                    <a:lnTo>
                      <a:pt x="282" y="40"/>
                    </a:lnTo>
                    <a:lnTo>
                      <a:pt x="281" y="40"/>
                    </a:lnTo>
                    <a:lnTo>
                      <a:pt x="281" y="41"/>
                    </a:lnTo>
                    <a:lnTo>
                      <a:pt x="281" y="43"/>
                    </a:lnTo>
                    <a:lnTo>
                      <a:pt x="282" y="43"/>
                    </a:lnTo>
                    <a:lnTo>
                      <a:pt x="282" y="44"/>
                    </a:lnTo>
                    <a:lnTo>
                      <a:pt x="283" y="44"/>
                    </a:lnTo>
                    <a:lnTo>
                      <a:pt x="283" y="43"/>
                    </a:lnTo>
                    <a:lnTo>
                      <a:pt x="283" y="44"/>
                    </a:lnTo>
                    <a:lnTo>
                      <a:pt x="283" y="45"/>
                    </a:lnTo>
                    <a:lnTo>
                      <a:pt x="282" y="46"/>
                    </a:lnTo>
                    <a:lnTo>
                      <a:pt x="282" y="47"/>
                    </a:lnTo>
                    <a:lnTo>
                      <a:pt x="282" y="48"/>
                    </a:lnTo>
                    <a:lnTo>
                      <a:pt x="283" y="48"/>
                    </a:lnTo>
                    <a:lnTo>
                      <a:pt x="284" y="48"/>
                    </a:lnTo>
                    <a:lnTo>
                      <a:pt x="284" y="49"/>
                    </a:lnTo>
                    <a:lnTo>
                      <a:pt x="283" y="49"/>
                    </a:lnTo>
                    <a:lnTo>
                      <a:pt x="284" y="50"/>
                    </a:lnTo>
                    <a:lnTo>
                      <a:pt x="284" y="51"/>
                    </a:lnTo>
                    <a:lnTo>
                      <a:pt x="283" y="51"/>
                    </a:lnTo>
                    <a:lnTo>
                      <a:pt x="283" y="52"/>
                    </a:lnTo>
                    <a:lnTo>
                      <a:pt x="283" y="53"/>
                    </a:lnTo>
                    <a:lnTo>
                      <a:pt x="284" y="53"/>
                    </a:lnTo>
                    <a:lnTo>
                      <a:pt x="284" y="54"/>
                    </a:lnTo>
                    <a:lnTo>
                      <a:pt x="285" y="54"/>
                    </a:lnTo>
                    <a:lnTo>
                      <a:pt x="286" y="56"/>
                    </a:lnTo>
                    <a:lnTo>
                      <a:pt x="286" y="57"/>
                    </a:lnTo>
                    <a:lnTo>
                      <a:pt x="285" y="58"/>
                    </a:lnTo>
                    <a:lnTo>
                      <a:pt x="284" y="58"/>
                    </a:lnTo>
                    <a:lnTo>
                      <a:pt x="284" y="59"/>
                    </a:lnTo>
                    <a:lnTo>
                      <a:pt x="285" y="59"/>
                    </a:lnTo>
                    <a:lnTo>
                      <a:pt x="285" y="60"/>
                    </a:lnTo>
                    <a:lnTo>
                      <a:pt x="285" y="61"/>
                    </a:lnTo>
                    <a:lnTo>
                      <a:pt x="285" y="62"/>
                    </a:lnTo>
                    <a:lnTo>
                      <a:pt x="285" y="63"/>
                    </a:lnTo>
                    <a:lnTo>
                      <a:pt x="286" y="63"/>
                    </a:lnTo>
                    <a:lnTo>
                      <a:pt x="286" y="64"/>
                    </a:lnTo>
                    <a:lnTo>
                      <a:pt x="287" y="64"/>
                    </a:lnTo>
                    <a:lnTo>
                      <a:pt x="286" y="63"/>
                    </a:lnTo>
                    <a:lnTo>
                      <a:pt x="287" y="63"/>
                    </a:lnTo>
                    <a:lnTo>
                      <a:pt x="287" y="64"/>
                    </a:lnTo>
                    <a:lnTo>
                      <a:pt x="287" y="65"/>
                    </a:lnTo>
                    <a:lnTo>
                      <a:pt x="286" y="65"/>
                    </a:lnTo>
                    <a:lnTo>
                      <a:pt x="286" y="66"/>
                    </a:lnTo>
                    <a:lnTo>
                      <a:pt x="285" y="65"/>
                    </a:lnTo>
                    <a:lnTo>
                      <a:pt x="285" y="66"/>
                    </a:lnTo>
                    <a:lnTo>
                      <a:pt x="284" y="66"/>
                    </a:lnTo>
                    <a:lnTo>
                      <a:pt x="285" y="67"/>
                    </a:lnTo>
                    <a:lnTo>
                      <a:pt x="286" y="67"/>
                    </a:lnTo>
                    <a:lnTo>
                      <a:pt x="286" y="69"/>
                    </a:lnTo>
                    <a:lnTo>
                      <a:pt x="285" y="70"/>
                    </a:lnTo>
                    <a:lnTo>
                      <a:pt x="286" y="70"/>
                    </a:lnTo>
                    <a:lnTo>
                      <a:pt x="286" y="71"/>
                    </a:lnTo>
                    <a:lnTo>
                      <a:pt x="286" y="72"/>
                    </a:lnTo>
                    <a:lnTo>
                      <a:pt x="286" y="73"/>
                    </a:lnTo>
                    <a:lnTo>
                      <a:pt x="285" y="73"/>
                    </a:lnTo>
                    <a:lnTo>
                      <a:pt x="286" y="74"/>
                    </a:lnTo>
                    <a:lnTo>
                      <a:pt x="286" y="73"/>
                    </a:lnTo>
                    <a:lnTo>
                      <a:pt x="287" y="73"/>
                    </a:lnTo>
                    <a:lnTo>
                      <a:pt x="288" y="73"/>
                    </a:lnTo>
                    <a:lnTo>
                      <a:pt x="288" y="74"/>
                    </a:lnTo>
                    <a:lnTo>
                      <a:pt x="288" y="75"/>
                    </a:lnTo>
                    <a:lnTo>
                      <a:pt x="289" y="75"/>
                    </a:lnTo>
                    <a:lnTo>
                      <a:pt x="289" y="76"/>
                    </a:lnTo>
                    <a:lnTo>
                      <a:pt x="289" y="77"/>
                    </a:lnTo>
                    <a:lnTo>
                      <a:pt x="289" y="78"/>
                    </a:lnTo>
                    <a:lnTo>
                      <a:pt x="291" y="79"/>
                    </a:lnTo>
                    <a:lnTo>
                      <a:pt x="292" y="79"/>
                    </a:lnTo>
                    <a:lnTo>
                      <a:pt x="292" y="80"/>
                    </a:lnTo>
                    <a:lnTo>
                      <a:pt x="292" y="82"/>
                    </a:lnTo>
                    <a:lnTo>
                      <a:pt x="291" y="82"/>
                    </a:lnTo>
                    <a:lnTo>
                      <a:pt x="289" y="82"/>
                    </a:lnTo>
                    <a:lnTo>
                      <a:pt x="289" y="83"/>
                    </a:lnTo>
                    <a:lnTo>
                      <a:pt x="288" y="82"/>
                    </a:lnTo>
                    <a:lnTo>
                      <a:pt x="288" y="83"/>
                    </a:lnTo>
                    <a:lnTo>
                      <a:pt x="288" y="84"/>
                    </a:lnTo>
                    <a:lnTo>
                      <a:pt x="288" y="85"/>
                    </a:lnTo>
                    <a:lnTo>
                      <a:pt x="287" y="85"/>
                    </a:lnTo>
                    <a:lnTo>
                      <a:pt x="287" y="86"/>
                    </a:lnTo>
                    <a:lnTo>
                      <a:pt x="286" y="86"/>
                    </a:lnTo>
                    <a:lnTo>
                      <a:pt x="286" y="87"/>
                    </a:lnTo>
                    <a:lnTo>
                      <a:pt x="287" y="88"/>
                    </a:lnTo>
                    <a:lnTo>
                      <a:pt x="286" y="88"/>
                    </a:lnTo>
                    <a:lnTo>
                      <a:pt x="286" y="89"/>
                    </a:lnTo>
                    <a:lnTo>
                      <a:pt x="285" y="89"/>
                    </a:lnTo>
                    <a:lnTo>
                      <a:pt x="285" y="90"/>
                    </a:lnTo>
                    <a:lnTo>
                      <a:pt x="285" y="91"/>
                    </a:lnTo>
                    <a:lnTo>
                      <a:pt x="284" y="91"/>
                    </a:lnTo>
                    <a:lnTo>
                      <a:pt x="284" y="92"/>
                    </a:lnTo>
                    <a:lnTo>
                      <a:pt x="283" y="92"/>
                    </a:lnTo>
                    <a:lnTo>
                      <a:pt x="283" y="91"/>
                    </a:lnTo>
                    <a:lnTo>
                      <a:pt x="284" y="91"/>
                    </a:lnTo>
                    <a:lnTo>
                      <a:pt x="283" y="91"/>
                    </a:lnTo>
                    <a:lnTo>
                      <a:pt x="283" y="90"/>
                    </a:lnTo>
                    <a:lnTo>
                      <a:pt x="283" y="91"/>
                    </a:lnTo>
                    <a:lnTo>
                      <a:pt x="282" y="91"/>
                    </a:lnTo>
                    <a:lnTo>
                      <a:pt x="282" y="92"/>
                    </a:lnTo>
                    <a:lnTo>
                      <a:pt x="282" y="94"/>
                    </a:lnTo>
                    <a:lnTo>
                      <a:pt x="283" y="94"/>
                    </a:lnTo>
                    <a:lnTo>
                      <a:pt x="284" y="94"/>
                    </a:lnTo>
                    <a:lnTo>
                      <a:pt x="284" y="95"/>
                    </a:lnTo>
                    <a:lnTo>
                      <a:pt x="285" y="95"/>
                    </a:lnTo>
                    <a:lnTo>
                      <a:pt x="285" y="96"/>
                    </a:lnTo>
                    <a:lnTo>
                      <a:pt x="286" y="96"/>
                    </a:lnTo>
                    <a:lnTo>
                      <a:pt x="286" y="97"/>
                    </a:lnTo>
                    <a:lnTo>
                      <a:pt x="285" y="98"/>
                    </a:lnTo>
                    <a:lnTo>
                      <a:pt x="285" y="99"/>
                    </a:lnTo>
                    <a:lnTo>
                      <a:pt x="284" y="99"/>
                    </a:lnTo>
                    <a:lnTo>
                      <a:pt x="283" y="99"/>
                    </a:lnTo>
                    <a:lnTo>
                      <a:pt x="283" y="101"/>
                    </a:lnTo>
                    <a:lnTo>
                      <a:pt x="284" y="101"/>
                    </a:lnTo>
                    <a:lnTo>
                      <a:pt x="284" y="100"/>
                    </a:lnTo>
                    <a:lnTo>
                      <a:pt x="285" y="100"/>
                    </a:lnTo>
                    <a:lnTo>
                      <a:pt x="285" y="101"/>
                    </a:lnTo>
                    <a:lnTo>
                      <a:pt x="285" y="102"/>
                    </a:lnTo>
                    <a:lnTo>
                      <a:pt x="286" y="102"/>
                    </a:lnTo>
                    <a:lnTo>
                      <a:pt x="287" y="102"/>
                    </a:lnTo>
                    <a:lnTo>
                      <a:pt x="287" y="103"/>
                    </a:lnTo>
                    <a:lnTo>
                      <a:pt x="287" y="104"/>
                    </a:lnTo>
                    <a:lnTo>
                      <a:pt x="288" y="104"/>
                    </a:lnTo>
                    <a:lnTo>
                      <a:pt x="289" y="104"/>
                    </a:lnTo>
                    <a:lnTo>
                      <a:pt x="289" y="103"/>
                    </a:lnTo>
                    <a:lnTo>
                      <a:pt x="289" y="104"/>
                    </a:lnTo>
                    <a:lnTo>
                      <a:pt x="291" y="104"/>
                    </a:lnTo>
                    <a:lnTo>
                      <a:pt x="292" y="104"/>
                    </a:lnTo>
                    <a:lnTo>
                      <a:pt x="292" y="105"/>
                    </a:lnTo>
                    <a:lnTo>
                      <a:pt x="291" y="105"/>
                    </a:lnTo>
                    <a:lnTo>
                      <a:pt x="291" y="107"/>
                    </a:lnTo>
                    <a:lnTo>
                      <a:pt x="292" y="107"/>
                    </a:lnTo>
                    <a:lnTo>
                      <a:pt x="292" y="108"/>
                    </a:lnTo>
                    <a:lnTo>
                      <a:pt x="291" y="108"/>
                    </a:lnTo>
                    <a:lnTo>
                      <a:pt x="291" y="109"/>
                    </a:lnTo>
                    <a:lnTo>
                      <a:pt x="292" y="109"/>
                    </a:lnTo>
                    <a:lnTo>
                      <a:pt x="293" y="109"/>
                    </a:lnTo>
                    <a:lnTo>
                      <a:pt x="294" y="109"/>
                    </a:lnTo>
                    <a:lnTo>
                      <a:pt x="294" y="110"/>
                    </a:lnTo>
                    <a:lnTo>
                      <a:pt x="294" y="111"/>
                    </a:lnTo>
                    <a:lnTo>
                      <a:pt x="294" y="112"/>
                    </a:lnTo>
                    <a:lnTo>
                      <a:pt x="294" y="113"/>
                    </a:lnTo>
                    <a:lnTo>
                      <a:pt x="295" y="113"/>
                    </a:lnTo>
                    <a:lnTo>
                      <a:pt x="295" y="114"/>
                    </a:lnTo>
                    <a:lnTo>
                      <a:pt x="294" y="114"/>
                    </a:lnTo>
                    <a:lnTo>
                      <a:pt x="294" y="116"/>
                    </a:lnTo>
                    <a:lnTo>
                      <a:pt x="293" y="116"/>
                    </a:lnTo>
                    <a:lnTo>
                      <a:pt x="292" y="116"/>
                    </a:lnTo>
                    <a:lnTo>
                      <a:pt x="292" y="115"/>
                    </a:lnTo>
                    <a:lnTo>
                      <a:pt x="291" y="115"/>
                    </a:lnTo>
                    <a:lnTo>
                      <a:pt x="291" y="114"/>
                    </a:lnTo>
                    <a:lnTo>
                      <a:pt x="289" y="114"/>
                    </a:lnTo>
                    <a:lnTo>
                      <a:pt x="289" y="115"/>
                    </a:lnTo>
                    <a:lnTo>
                      <a:pt x="289" y="116"/>
                    </a:lnTo>
                    <a:lnTo>
                      <a:pt x="291" y="117"/>
                    </a:lnTo>
                    <a:lnTo>
                      <a:pt x="291" y="118"/>
                    </a:lnTo>
                    <a:lnTo>
                      <a:pt x="289" y="118"/>
                    </a:lnTo>
                    <a:lnTo>
                      <a:pt x="288" y="120"/>
                    </a:lnTo>
                    <a:lnTo>
                      <a:pt x="288" y="121"/>
                    </a:lnTo>
                    <a:lnTo>
                      <a:pt x="288" y="122"/>
                    </a:lnTo>
                    <a:lnTo>
                      <a:pt x="289" y="122"/>
                    </a:lnTo>
                    <a:lnTo>
                      <a:pt x="291" y="122"/>
                    </a:lnTo>
                    <a:lnTo>
                      <a:pt x="292" y="122"/>
                    </a:lnTo>
                    <a:lnTo>
                      <a:pt x="292" y="123"/>
                    </a:lnTo>
                    <a:lnTo>
                      <a:pt x="292" y="124"/>
                    </a:lnTo>
                    <a:lnTo>
                      <a:pt x="292" y="125"/>
                    </a:lnTo>
                    <a:lnTo>
                      <a:pt x="293" y="125"/>
                    </a:lnTo>
                    <a:lnTo>
                      <a:pt x="294" y="126"/>
                    </a:lnTo>
                    <a:lnTo>
                      <a:pt x="295" y="126"/>
                    </a:lnTo>
                    <a:lnTo>
                      <a:pt x="295" y="127"/>
                    </a:lnTo>
                    <a:lnTo>
                      <a:pt x="295" y="128"/>
                    </a:lnTo>
                    <a:lnTo>
                      <a:pt x="296" y="129"/>
                    </a:lnTo>
                    <a:lnTo>
                      <a:pt x="297" y="128"/>
                    </a:lnTo>
                    <a:lnTo>
                      <a:pt x="297" y="129"/>
                    </a:lnTo>
                    <a:lnTo>
                      <a:pt x="297" y="130"/>
                    </a:lnTo>
                    <a:lnTo>
                      <a:pt x="298" y="131"/>
                    </a:lnTo>
                    <a:lnTo>
                      <a:pt x="298" y="133"/>
                    </a:lnTo>
                    <a:lnTo>
                      <a:pt x="298" y="134"/>
                    </a:lnTo>
                    <a:lnTo>
                      <a:pt x="296" y="135"/>
                    </a:lnTo>
                    <a:lnTo>
                      <a:pt x="295" y="135"/>
                    </a:lnTo>
                    <a:lnTo>
                      <a:pt x="295" y="136"/>
                    </a:lnTo>
                    <a:lnTo>
                      <a:pt x="294" y="136"/>
                    </a:lnTo>
                    <a:lnTo>
                      <a:pt x="294" y="137"/>
                    </a:lnTo>
                    <a:lnTo>
                      <a:pt x="294" y="138"/>
                    </a:lnTo>
                    <a:lnTo>
                      <a:pt x="294" y="139"/>
                    </a:lnTo>
                    <a:lnTo>
                      <a:pt x="294" y="140"/>
                    </a:lnTo>
                    <a:lnTo>
                      <a:pt x="294" y="141"/>
                    </a:lnTo>
                    <a:lnTo>
                      <a:pt x="294" y="142"/>
                    </a:lnTo>
                    <a:lnTo>
                      <a:pt x="294" y="143"/>
                    </a:lnTo>
                    <a:lnTo>
                      <a:pt x="295" y="143"/>
                    </a:lnTo>
                    <a:lnTo>
                      <a:pt x="296" y="142"/>
                    </a:lnTo>
                    <a:lnTo>
                      <a:pt x="296" y="143"/>
                    </a:lnTo>
                    <a:lnTo>
                      <a:pt x="296" y="144"/>
                    </a:lnTo>
                    <a:lnTo>
                      <a:pt x="297" y="144"/>
                    </a:lnTo>
                    <a:lnTo>
                      <a:pt x="297" y="146"/>
                    </a:lnTo>
                    <a:lnTo>
                      <a:pt x="296" y="146"/>
                    </a:lnTo>
                    <a:lnTo>
                      <a:pt x="295" y="146"/>
                    </a:lnTo>
                    <a:lnTo>
                      <a:pt x="294" y="146"/>
                    </a:lnTo>
                    <a:lnTo>
                      <a:pt x="294" y="144"/>
                    </a:lnTo>
                    <a:lnTo>
                      <a:pt x="293" y="144"/>
                    </a:lnTo>
                    <a:lnTo>
                      <a:pt x="293" y="146"/>
                    </a:lnTo>
                    <a:lnTo>
                      <a:pt x="294" y="147"/>
                    </a:lnTo>
                    <a:lnTo>
                      <a:pt x="293" y="148"/>
                    </a:lnTo>
                    <a:lnTo>
                      <a:pt x="292" y="148"/>
                    </a:lnTo>
                    <a:lnTo>
                      <a:pt x="292" y="149"/>
                    </a:lnTo>
                    <a:lnTo>
                      <a:pt x="292" y="150"/>
                    </a:lnTo>
                    <a:lnTo>
                      <a:pt x="293" y="150"/>
                    </a:lnTo>
                    <a:lnTo>
                      <a:pt x="293" y="151"/>
                    </a:lnTo>
                    <a:lnTo>
                      <a:pt x="293" y="152"/>
                    </a:lnTo>
                    <a:lnTo>
                      <a:pt x="294" y="152"/>
                    </a:lnTo>
                    <a:lnTo>
                      <a:pt x="294" y="153"/>
                    </a:lnTo>
                    <a:lnTo>
                      <a:pt x="294" y="154"/>
                    </a:lnTo>
                    <a:lnTo>
                      <a:pt x="293" y="154"/>
                    </a:lnTo>
                    <a:lnTo>
                      <a:pt x="293" y="155"/>
                    </a:lnTo>
                    <a:lnTo>
                      <a:pt x="293" y="156"/>
                    </a:lnTo>
                    <a:lnTo>
                      <a:pt x="294" y="156"/>
                    </a:lnTo>
                    <a:lnTo>
                      <a:pt x="293" y="157"/>
                    </a:lnTo>
                    <a:lnTo>
                      <a:pt x="293" y="159"/>
                    </a:lnTo>
                    <a:lnTo>
                      <a:pt x="293" y="160"/>
                    </a:lnTo>
                    <a:lnTo>
                      <a:pt x="293" y="161"/>
                    </a:lnTo>
                    <a:lnTo>
                      <a:pt x="294" y="161"/>
                    </a:lnTo>
                    <a:lnTo>
                      <a:pt x="294" y="162"/>
                    </a:lnTo>
                    <a:lnTo>
                      <a:pt x="295" y="163"/>
                    </a:lnTo>
                    <a:lnTo>
                      <a:pt x="294" y="163"/>
                    </a:lnTo>
                    <a:lnTo>
                      <a:pt x="294" y="164"/>
                    </a:lnTo>
                    <a:lnTo>
                      <a:pt x="293" y="164"/>
                    </a:lnTo>
                    <a:lnTo>
                      <a:pt x="293" y="165"/>
                    </a:lnTo>
                    <a:lnTo>
                      <a:pt x="293" y="166"/>
                    </a:lnTo>
                    <a:lnTo>
                      <a:pt x="293" y="167"/>
                    </a:lnTo>
                    <a:lnTo>
                      <a:pt x="294" y="167"/>
                    </a:lnTo>
                    <a:lnTo>
                      <a:pt x="294" y="168"/>
                    </a:lnTo>
                    <a:lnTo>
                      <a:pt x="293" y="168"/>
                    </a:lnTo>
                    <a:lnTo>
                      <a:pt x="292" y="168"/>
                    </a:lnTo>
                    <a:lnTo>
                      <a:pt x="292" y="169"/>
                    </a:lnTo>
                    <a:lnTo>
                      <a:pt x="291" y="169"/>
                    </a:lnTo>
                    <a:lnTo>
                      <a:pt x="289" y="170"/>
                    </a:lnTo>
                    <a:lnTo>
                      <a:pt x="291" y="170"/>
                    </a:lnTo>
                    <a:lnTo>
                      <a:pt x="291" y="172"/>
                    </a:lnTo>
                    <a:lnTo>
                      <a:pt x="289" y="173"/>
                    </a:lnTo>
                    <a:lnTo>
                      <a:pt x="289" y="174"/>
                    </a:lnTo>
                    <a:lnTo>
                      <a:pt x="291" y="174"/>
                    </a:lnTo>
                    <a:lnTo>
                      <a:pt x="291" y="175"/>
                    </a:lnTo>
                    <a:lnTo>
                      <a:pt x="291" y="176"/>
                    </a:lnTo>
                    <a:lnTo>
                      <a:pt x="289" y="176"/>
                    </a:lnTo>
                    <a:lnTo>
                      <a:pt x="289" y="175"/>
                    </a:lnTo>
                    <a:lnTo>
                      <a:pt x="288" y="175"/>
                    </a:lnTo>
                    <a:lnTo>
                      <a:pt x="288" y="176"/>
                    </a:lnTo>
                    <a:lnTo>
                      <a:pt x="288" y="177"/>
                    </a:lnTo>
                    <a:lnTo>
                      <a:pt x="288" y="178"/>
                    </a:lnTo>
                    <a:lnTo>
                      <a:pt x="289" y="178"/>
                    </a:lnTo>
                    <a:lnTo>
                      <a:pt x="289" y="179"/>
                    </a:lnTo>
                    <a:lnTo>
                      <a:pt x="291" y="179"/>
                    </a:lnTo>
                    <a:lnTo>
                      <a:pt x="291" y="180"/>
                    </a:lnTo>
                    <a:lnTo>
                      <a:pt x="289" y="181"/>
                    </a:lnTo>
                    <a:lnTo>
                      <a:pt x="289" y="182"/>
                    </a:lnTo>
                    <a:lnTo>
                      <a:pt x="289" y="184"/>
                    </a:lnTo>
                    <a:lnTo>
                      <a:pt x="291" y="185"/>
                    </a:lnTo>
                    <a:lnTo>
                      <a:pt x="291" y="186"/>
                    </a:lnTo>
                    <a:lnTo>
                      <a:pt x="292" y="186"/>
                    </a:lnTo>
                    <a:lnTo>
                      <a:pt x="292" y="187"/>
                    </a:lnTo>
                    <a:lnTo>
                      <a:pt x="292" y="188"/>
                    </a:lnTo>
                    <a:lnTo>
                      <a:pt x="293" y="188"/>
                    </a:lnTo>
                    <a:lnTo>
                      <a:pt x="294" y="188"/>
                    </a:lnTo>
                    <a:lnTo>
                      <a:pt x="294" y="189"/>
                    </a:lnTo>
                    <a:lnTo>
                      <a:pt x="294" y="190"/>
                    </a:lnTo>
                    <a:lnTo>
                      <a:pt x="293" y="190"/>
                    </a:lnTo>
                    <a:lnTo>
                      <a:pt x="293" y="191"/>
                    </a:lnTo>
                    <a:lnTo>
                      <a:pt x="294" y="191"/>
                    </a:lnTo>
                    <a:lnTo>
                      <a:pt x="294" y="192"/>
                    </a:lnTo>
                    <a:lnTo>
                      <a:pt x="294" y="193"/>
                    </a:lnTo>
                    <a:lnTo>
                      <a:pt x="294" y="194"/>
                    </a:lnTo>
                    <a:lnTo>
                      <a:pt x="293" y="194"/>
                    </a:lnTo>
                    <a:lnTo>
                      <a:pt x="293" y="193"/>
                    </a:lnTo>
                    <a:lnTo>
                      <a:pt x="292" y="194"/>
                    </a:lnTo>
                    <a:lnTo>
                      <a:pt x="293" y="194"/>
                    </a:lnTo>
                    <a:lnTo>
                      <a:pt x="293" y="195"/>
                    </a:lnTo>
                    <a:lnTo>
                      <a:pt x="293" y="197"/>
                    </a:lnTo>
                    <a:lnTo>
                      <a:pt x="294" y="197"/>
                    </a:lnTo>
                    <a:lnTo>
                      <a:pt x="295" y="197"/>
                    </a:lnTo>
                    <a:lnTo>
                      <a:pt x="295" y="198"/>
                    </a:lnTo>
                    <a:lnTo>
                      <a:pt x="295" y="199"/>
                    </a:lnTo>
                    <a:lnTo>
                      <a:pt x="294" y="199"/>
                    </a:lnTo>
                    <a:lnTo>
                      <a:pt x="295" y="199"/>
                    </a:lnTo>
                    <a:lnTo>
                      <a:pt x="295" y="200"/>
                    </a:lnTo>
                    <a:lnTo>
                      <a:pt x="295" y="201"/>
                    </a:lnTo>
                    <a:lnTo>
                      <a:pt x="294" y="201"/>
                    </a:lnTo>
                    <a:lnTo>
                      <a:pt x="294" y="200"/>
                    </a:lnTo>
                    <a:lnTo>
                      <a:pt x="293" y="200"/>
                    </a:lnTo>
                    <a:lnTo>
                      <a:pt x="293" y="201"/>
                    </a:lnTo>
                    <a:lnTo>
                      <a:pt x="292" y="201"/>
                    </a:lnTo>
                    <a:lnTo>
                      <a:pt x="291" y="201"/>
                    </a:lnTo>
                    <a:lnTo>
                      <a:pt x="291" y="200"/>
                    </a:lnTo>
                    <a:lnTo>
                      <a:pt x="289" y="200"/>
                    </a:lnTo>
                    <a:lnTo>
                      <a:pt x="289" y="201"/>
                    </a:lnTo>
                    <a:lnTo>
                      <a:pt x="273" y="202"/>
                    </a:lnTo>
                    <a:lnTo>
                      <a:pt x="265" y="202"/>
                    </a:lnTo>
                    <a:lnTo>
                      <a:pt x="257" y="202"/>
                    </a:lnTo>
                    <a:lnTo>
                      <a:pt x="247" y="202"/>
                    </a:lnTo>
                    <a:lnTo>
                      <a:pt x="244" y="202"/>
                    </a:lnTo>
                    <a:lnTo>
                      <a:pt x="241" y="203"/>
                    </a:lnTo>
                    <a:lnTo>
                      <a:pt x="236" y="203"/>
                    </a:lnTo>
                    <a:lnTo>
                      <a:pt x="231" y="203"/>
                    </a:lnTo>
                    <a:lnTo>
                      <a:pt x="227" y="203"/>
                    </a:lnTo>
                    <a:lnTo>
                      <a:pt x="221" y="203"/>
                    </a:lnTo>
                    <a:lnTo>
                      <a:pt x="216" y="203"/>
                    </a:lnTo>
                    <a:lnTo>
                      <a:pt x="208" y="204"/>
                    </a:lnTo>
                    <a:lnTo>
                      <a:pt x="196" y="204"/>
                    </a:lnTo>
                    <a:lnTo>
                      <a:pt x="182" y="205"/>
                    </a:lnTo>
                    <a:lnTo>
                      <a:pt x="181" y="205"/>
                    </a:lnTo>
                    <a:lnTo>
                      <a:pt x="180" y="205"/>
                    </a:lnTo>
                    <a:lnTo>
                      <a:pt x="171" y="205"/>
                    </a:lnTo>
                    <a:lnTo>
                      <a:pt x="164" y="205"/>
                    </a:lnTo>
                    <a:lnTo>
                      <a:pt x="149" y="206"/>
                    </a:lnTo>
                    <a:lnTo>
                      <a:pt x="142" y="206"/>
                    </a:lnTo>
                    <a:lnTo>
                      <a:pt x="139" y="206"/>
                    </a:lnTo>
                    <a:lnTo>
                      <a:pt x="137" y="207"/>
                    </a:lnTo>
                    <a:lnTo>
                      <a:pt x="134" y="207"/>
                    </a:lnTo>
                    <a:lnTo>
                      <a:pt x="125" y="207"/>
                    </a:lnTo>
                    <a:lnTo>
                      <a:pt x="112" y="208"/>
                    </a:lnTo>
                    <a:lnTo>
                      <a:pt x="108" y="208"/>
                    </a:lnTo>
                    <a:lnTo>
                      <a:pt x="105" y="208"/>
                    </a:lnTo>
                    <a:lnTo>
                      <a:pt x="104" y="208"/>
                    </a:lnTo>
                    <a:lnTo>
                      <a:pt x="103" y="208"/>
                    </a:lnTo>
                    <a:lnTo>
                      <a:pt x="94" y="208"/>
                    </a:lnTo>
                    <a:lnTo>
                      <a:pt x="93" y="208"/>
                    </a:lnTo>
                    <a:lnTo>
                      <a:pt x="84" y="210"/>
                    </a:lnTo>
                    <a:lnTo>
                      <a:pt x="66" y="210"/>
                    </a:lnTo>
                    <a:lnTo>
                      <a:pt x="64" y="210"/>
                    </a:lnTo>
                    <a:lnTo>
                      <a:pt x="49" y="211"/>
                    </a:lnTo>
                    <a:lnTo>
                      <a:pt x="43" y="211"/>
                    </a:lnTo>
                    <a:lnTo>
                      <a:pt x="41" y="211"/>
                    </a:lnTo>
                    <a:lnTo>
                      <a:pt x="40" y="212"/>
                    </a:lnTo>
                    <a:lnTo>
                      <a:pt x="39" y="213"/>
                    </a:lnTo>
                    <a:lnTo>
                      <a:pt x="37" y="214"/>
                    </a:lnTo>
                    <a:lnTo>
                      <a:pt x="36" y="215"/>
                    </a:lnTo>
                    <a:lnTo>
                      <a:pt x="35" y="215"/>
                    </a:lnTo>
                    <a:lnTo>
                      <a:pt x="35" y="216"/>
                    </a:lnTo>
                    <a:lnTo>
                      <a:pt x="34" y="217"/>
                    </a:lnTo>
                    <a:lnTo>
                      <a:pt x="33" y="218"/>
                    </a:lnTo>
                    <a:lnTo>
                      <a:pt x="34" y="219"/>
                    </a:lnTo>
                    <a:lnTo>
                      <a:pt x="33" y="220"/>
                    </a:lnTo>
                    <a:lnTo>
                      <a:pt x="33" y="221"/>
                    </a:lnTo>
                    <a:lnTo>
                      <a:pt x="33" y="223"/>
                    </a:lnTo>
                    <a:lnTo>
                      <a:pt x="33" y="225"/>
                    </a:lnTo>
                    <a:lnTo>
                      <a:pt x="31" y="228"/>
                    </a:lnTo>
                    <a:lnTo>
                      <a:pt x="20" y="230"/>
                    </a:lnTo>
                    <a:lnTo>
                      <a:pt x="20" y="238"/>
                    </a:lnTo>
                    <a:lnTo>
                      <a:pt x="18" y="240"/>
                    </a:lnTo>
                    <a:lnTo>
                      <a:pt x="17" y="241"/>
                    </a:lnTo>
                    <a:lnTo>
                      <a:pt x="17" y="244"/>
                    </a:lnTo>
                    <a:lnTo>
                      <a:pt x="17" y="245"/>
                    </a:lnTo>
                    <a:lnTo>
                      <a:pt x="17" y="246"/>
                    </a:lnTo>
                    <a:lnTo>
                      <a:pt x="16" y="249"/>
                    </a:lnTo>
                    <a:lnTo>
                      <a:pt x="15" y="249"/>
                    </a:lnTo>
                    <a:lnTo>
                      <a:pt x="15" y="250"/>
                    </a:lnTo>
                    <a:lnTo>
                      <a:pt x="14" y="251"/>
                    </a:lnTo>
                    <a:lnTo>
                      <a:pt x="14" y="250"/>
                    </a:lnTo>
                    <a:lnTo>
                      <a:pt x="13" y="250"/>
                    </a:lnTo>
                    <a:lnTo>
                      <a:pt x="13" y="249"/>
                    </a:lnTo>
                    <a:lnTo>
                      <a:pt x="12" y="249"/>
                    </a:lnTo>
                    <a:lnTo>
                      <a:pt x="10" y="247"/>
                    </a:lnTo>
                    <a:lnTo>
                      <a:pt x="10" y="245"/>
                    </a:lnTo>
                    <a:lnTo>
                      <a:pt x="10" y="239"/>
                    </a:lnTo>
                    <a:lnTo>
                      <a:pt x="10" y="238"/>
                    </a:lnTo>
                    <a:lnTo>
                      <a:pt x="10" y="234"/>
                    </a:lnTo>
                    <a:lnTo>
                      <a:pt x="10" y="233"/>
                    </a:lnTo>
                    <a:lnTo>
                      <a:pt x="9" y="231"/>
                    </a:lnTo>
                    <a:lnTo>
                      <a:pt x="9" y="230"/>
                    </a:lnTo>
                    <a:lnTo>
                      <a:pt x="9" y="229"/>
                    </a:lnTo>
                    <a:lnTo>
                      <a:pt x="8" y="229"/>
                    </a:lnTo>
                    <a:lnTo>
                      <a:pt x="8" y="228"/>
                    </a:lnTo>
                    <a:lnTo>
                      <a:pt x="7" y="228"/>
                    </a:lnTo>
                    <a:lnTo>
                      <a:pt x="5" y="227"/>
                    </a:lnTo>
                    <a:lnTo>
                      <a:pt x="5" y="226"/>
                    </a:lnTo>
                    <a:lnTo>
                      <a:pt x="5" y="224"/>
                    </a:lnTo>
                    <a:lnTo>
                      <a:pt x="4" y="221"/>
                    </a:lnTo>
                    <a:lnTo>
                      <a:pt x="4" y="219"/>
                    </a:lnTo>
                    <a:lnTo>
                      <a:pt x="3" y="219"/>
                    </a:lnTo>
                    <a:lnTo>
                      <a:pt x="2" y="218"/>
                    </a:lnTo>
                    <a:lnTo>
                      <a:pt x="1" y="217"/>
                    </a:lnTo>
                    <a:lnTo>
                      <a:pt x="0" y="215"/>
                    </a:lnTo>
                    <a:lnTo>
                      <a:pt x="1" y="214"/>
                    </a:lnTo>
                    <a:lnTo>
                      <a:pt x="2" y="214"/>
                    </a:lnTo>
                    <a:lnTo>
                      <a:pt x="4" y="215"/>
                    </a:lnTo>
                    <a:lnTo>
                      <a:pt x="5" y="215"/>
                    </a:lnTo>
                    <a:lnTo>
                      <a:pt x="7" y="215"/>
                    </a:lnTo>
                    <a:lnTo>
                      <a:pt x="7" y="214"/>
                    </a:lnTo>
                    <a:lnTo>
                      <a:pt x="7" y="213"/>
                    </a:lnTo>
                    <a:lnTo>
                      <a:pt x="7" y="212"/>
                    </a:lnTo>
                    <a:lnTo>
                      <a:pt x="5" y="211"/>
                    </a:lnTo>
                    <a:lnTo>
                      <a:pt x="5" y="210"/>
                    </a:lnTo>
                    <a:lnTo>
                      <a:pt x="7" y="208"/>
                    </a:lnTo>
                    <a:lnTo>
                      <a:pt x="8" y="208"/>
                    </a:lnTo>
                    <a:lnTo>
                      <a:pt x="9" y="208"/>
                    </a:lnTo>
                    <a:lnTo>
                      <a:pt x="10" y="210"/>
                    </a:lnTo>
                    <a:lnTo>
                      <a:pt x="11" y="208"/>
                    </a:lnTo>
                    <a:lnTo>
                      <a:pt x="12" y="208"/>
                    </a:lnTo>
                    <a:lnTo>
                      <a:pt x="12" y="204"/>
                    </a:lnTo>
                    <a:lnTo>
                      <a:pt x="13" y="203"/>
                    </a:lnTo>
                    <a:lnTo>
                      <a:pt x="14" y="203"/>
                    </a:lnTo>
                    <a:lnTo>
                      <a:pt x="15" y="203"/>
                    </a:lnTo>
                    <a:lnTo>
                      <a:pt x="16" y="203"/>
                    </a:lnTo>
                    <a:lnTo>
                      <a:pt x="17" y="203"/>
                    </a:lnTo>
                    <a:lnTo>
                      <a:pt x="18" y="203"/>
                    </a:lnTo>
                    <a:lnTo>
                      <a:pt x="18" y="202"/>
                    </a:lnTo>
                    <a:lnTo>
                      <a:pt x="17" y="201"/>
                    </a:lnTo>
                    <a:lnTo>
                      <a:pt x="17" y="200"/>
                    </a:lnTo>
                    <a:lnTo>
                      <a:pt x="15" y="197"/>
                    </a:lnTo>
                    <a:lnTo>
                      <a:pt x="15" y="195"/>
                    </a:lnTo>
                    <a:lnTo>
                      <a:pt x="16" y="194"/>
                    </a:lnTo>
                    <a:lnTo>
                      <a:pt x="17" y="193"/>
                    </a:lnTo>
                    <a:lnTo>
                      <a:pt x="17" y="192"/>
                    </a:lnTo>
                    <a:lnTo>
                      <a:pt x="18" y="192"/>
                    </a:lnTo>
                    <a:lnTo>
                      <a:pt x="20" y="191"/>
                    </a:lnTo>
                    <a:lnTo>
                      <a:pt x="21" y="191"/>
                    </a:lnTo>
                    <a:lnTo>
                      <a:pt x="22" y="190"/>
                    </a:lnTo>
                    <a:lnTo>
                      <a:pt x="22" y="189"/>
                    </a:lnTo>
                    <a:lnTo>
                      <a:pt x="22" y="188"/>
                    </a:lnTo>
                    <a:lnTo>
                      <a:pt x="21" y="184"/>
                    </a:lnTo>
                    <a:lnTo>
                      <a:pt x="22" y="182"/>
                    </a:lnTo>
                    <a:lnTo>
                      <a:pt x="22" y="180"/>
                    </a:lnTo>
                    <a:lnTo>
                      <a:pt x="23" y="180"/>
                    </a:lnTo>
                    <a:lnTo>
                      <a:pt x="24" y="180"/>
                    </a:lnTo>
                    <a:lnTo>
                      <a:pt x="24" y="179"/>
                    </a:lnTo>
                    <a:lnTo>
                      <a:pt x="25" y="179"/>
                    </a:lnTo>
                    <a:lnTo>
                      <a:pt x="26" y="179"/>
                    </a:lnTo>
                    <a:lnTo>
                      <a:pt x="25" y="179"/>
                    </a:lnTo>
                    <a:lnTo>
                      <a:pt x="26" y="178"/>
                    </a:lnTo>
                    <a:lnTo>
                      <a:pt x="26" y="177"/>
                    </a:lnTo>
                    <a:lnTo>
                      <a:pt x="26" y="176"/>
                    </a:lnTo>
                    <a:lnTo>
                      <a:pt x="26" y="175"/>
                    </a:lnTo>
                    <a:lnTo>
                      <a:pt x="27" y="175"/>
                    </a:lnTo>
                    <a:lnTo>
                      <a:pt x="28" y="173"/>
                    </a:lnTo>
                    <a:lnTo>
                      <a:pt x="29" y="173"/>
                    </a:lnTo>
                    <a:lnTo>
                      <a:pt x="30" y="173"/>
                    </a:lnTo>
                    <a:lnTo>
                      <a:pt x="31" y="172"/>
                    </a:lnTo>
                    <a:lnTo>
                      <a:pt x="33" y="172"/>
                    </a:lnTo>
                    <a:lnTo>
                      <a:pt x="35" y="172"/>
                    </a:lnTo>
                    <a:lnTo>
                      <a:pt x="36" y="172"/>
                    </a:lnTo>
                    <a:lnTo>
                      <a:pt x="37" y="172"/>
                    </a:lnTo>
                    <a:lnTo>
                      <a:pt x="37" y="170"/>
                    </a:lnTo>
                    <a:lnTo>
                      <a:pt x="38" y="169"/>
                    </a:lnTo>
                    <a:lnTo>
                      <a:pt x="38" y="168"/>
                    </a:lnTo>
                    <a:lnTo>
                      <a:pt x="38" y="167"/>
                    </a:lnTo>
                    <a:lnTo>
                      <a:pt x="37" y="165"/>
                    </a:lnTo>
                    <a:lnTo>
                      <a:pt x="36" y="163"/>
                    </a:lnTo>
                    <a:lnTo>
                      <a:pt x="36" y="162"/>
                    </a:lnTo>
                    <a:lnTo>
                      <a:pt x="36" y="161"/>
                    </a:lnTo>
                    <a:lnTo>
                      <a:pt x="37" y="161"/>
                    </a:lnTo>
                    <a:lnTo>
                      <a:pt x="38" y="161"/>
                    </a:lnTo>
                    <a:lnTo>
                      <a:pt x="39" y="161"/>
                    </a:lnTo>
                    <a:lnTo>
                      <a:pt x="39" y="162"/>
                    </a:lnTo>
                    <a:lnTo>
                      <a:pt x="40" y="162"/>
                    </a:lnTo>
                    <a:lnTo>
                      <a:pt x="41" y="161"/>
                    </a:lnTo>
                    <a:lnTo>
                      <a:pt x="42" y="161"/>
                    </a:lnTo>
                    <a:lnTo>
                      <a:pt x="42" y="160"/>
                    </a:lnTo>
                    <a:lnTo>
                      <a:pt x="42" y="159"/>
                    </a:lnTo>
                    <a:lnTo>
                      <a:pt x="42" y="157"/>
                    </a:lnTo>
                    <a:lnTo>
                      <a:pt x="43" y="157"/>
                    </a:lnTo>
                    <a:lnTo>
                      <a:pt x="43" y="156"/>
                    </a:lnTo>
                    <a:lnTo>
                      <a:pt x="44" y="155"/>
                    </a:lnTo>
                    <a:lnTo>
                      <a:pt x="44" y="154"/>
                    </a:lnTo>
                    <a:lnTo>
                      <a:pt x="44" y="153"/>
                    </a:lnTo>
                    <a:lnTo>
                      <a:pt x="46" y="153"/>
                    </a:lnTo>
                    <a:lnTo>
                      <a:pt x="47" y="152"/>
                    </a:lnTo>
                    <a:lnTo>
                      <a:pt x="49" y="150"/>
                    </a:lnTo>
                    <a:lnTo>
                      <a:pt x="50" y="150"/>
                    </a:lnTo>
                    <a:lnTo>
                      <a:pt x="50" y="149"/>
                    </a:lnTo>
                    <a:lnTo>
                      <a:pt x="51" y="148"/>
                    </a:lnTo>
                    <a:lnTo>
                      <a:pt x="52" y="147"/>
                    </a:lnTo>
                    <a:lnTo>
                      <a:pt x="52" y="146"/>
                    </a:lnTo>
                    <a:lnTo>
                      <a:pt x="51" y="146"/>
                    </a:lnTo>
                    <a:lnTo>
                      <a:pt x="51" y="144"/>
                    </a:lnTo>
                    <a:lnTo>
                      <a:pt x="49" y="143"/>
                    </a:lnTo>
                    <a:lnTo>
                      <a:pt x="48" y="142"/>
                    </a:lnTo>
                    <a:lnTo>
                      <a:pt x="48" y="141"/>
                    </a:lnTo>
                    <a:lnTo>
                      <a:pt x="48" y="140"/>
                    </a:lnTo>
                    <a:lnTo>
                      <a:pt x="49" y="139"/>
                    </a:lnTo>
                    <a:lnTo>
                      <a:pt x="50" y="139"/>
                    </a:lnTo>
                    <a:lnTo>
                      <a:pt x="52" y="138"/>
                    </a:lnTo>
                    <a:lnTo>
                      <a:pt x="53" y="138"/>
                    </a:lnTo>
                    <a:lnTo>
                      <a:pt x="53" y="137"/>
                    </a:lnTo>
                    <a:lnTo>
                      <a:pt x="54" y="137"/>
                    </a:lnTo>
                    <a:lnTo>
                      <a:pt x="54" y="136"/>
                    </a:lnTo>
                    <a:lnTo>
                      <a:pt x="55" y="135"/>
                    </a:lnTo>
                    <a:lnTo>
                      <a:pt x="55" y="134"/>
                    </a:lnTo>
                    <a:lnTo>
                      <a:pt x="55" y="133"/>
                    </a:lnTo>
                    <a:lnTo>
                      <a:pt x="55" y="131"/>
                    </a:lnTo>
                    <a:lnTo>
                      <a:pt x="54" y="129"/>
                    </a:lnTo>
                    <a:lnTo>
                      <a:pt x="53" y="128"/>
                    </a:lnTo>
                    <a:lnTo>
                      <a:pt x="53" y="127"/>
                    </a:lnTo>
                    <a:lnTo>
                      <a:pt x="53" y="126"/>
                    </a:lnTo>
                    <a:lnTo>
                      <a:pt x="53" y="125"/>
                    </a:lnTo>
                    <a:lnTo>
                      <a:pt x="53" y="124"/>
                    </a:lnTo>
                    <a:lnTo>
                      <a:pt x="54" y="124"/>
                    </a:lnTo>
                    <a:lnTo>
                      <a:pt x="54" y="123"/>
                    </a:lnTo>
                    <a:lnTo>
                      <a:pt x="55" y="122"/>
                    </a:lnTo>
                    <a:lnTo>
                      <a:pt x="55" y="121"/>
                    </a:lnTo>
                    <a:lnTo>
                      <a:pt x="55" y="120"/>
                    </a:lnTo>
                    <a:lnTo>
                      <a:pt x="56" y="120"/>
                    </a:lnTo>
                    <a:lnTo>
                      <a:pt x="56" y="118"/>
                    </a:lnTo>
                    <a:lnTo>
                      <a:pt x="56" y="117"/>
                    </a:lnTo>
                    <a:lnTo>
                      <a:pt x="57" y="116"/>
                    </a:lnTo>
                    <a:lnTo>
                      <a:pt x="57" y="115"/>
                    </a:lnTo>
                    <a:lnTo>
                      <a:pt x="57" y="114"/>
                    </a:lnTo>
                    <a:lnTo>
                      <a:pt x="59" y="113"/>
                    </a:lnTo>
                    <a:lnTo>
                      <a:pt x="59" y="112"/>
                    </a:lnTo>
                    <a:lnTo>
                      <a:pt x="59" y="111"/>
                    </a:lnTo>
                    <a:lnTo>
                      <a:pt x="59" y="110"/>
                    </a:lnTo>
                    <a:lnTo>
                      <a:pt x="59" y="109"/>
                    </a:lnTo>
                    <a:lnTo>
                      <a:pt x="59" y="108"/>
                    </a:lnTo>
                    <a:lnTo>
                      <a:pt x="57" y="108"/>
                    </a:lnTo>
                    <a:lnTo>
                      <a:pt x="57" y="107"/>
                    </a:lnTo>
                    <a:lnTo>
                      <a:pt x="56" y="107"/>
                    </a:lnTo>
                    <a:lnTo>
                      <a:pt x="56" y="105"/>
                    </a:lnTo>
                    <a:lnTo>
                      <a:pt x="56" y="104"/>
                    </a:lnTo>
                    <a:lnTo>
                      <a:pt x="57" y="104"/>
                    </a:lnTo>
                    <a:lnTo>
                      <a:pt x="59" y="103"/>
                    </a:lnTo>
                    <a:lnTo>
                      <a:pt x="60" y="103"/>
                    </a:lnTo>
                    <a:lnTo>
                      <a:pt x="60" y="102"/>
                    </a:lnTo>
                    <a:lnTo>
                      <a:pt x="61" y="102"/>
                    </a:lnTo>
                    <a:lnTo>
                      <a:pt x="61" y="101"/>
                    </a:lnTo>
                    <a:lnTo>
                      <a:pt x="61" y="100"/>
                    </a:lnTo>
                    <a:lnTo>
                      <a:pt x="62" y="99"/>
                    </a:lnTo>
                    <a:lnTo>
                      <a:pt x="62" y="98"/>
                    </a:lnTo>
                    <a:lnTo>
                      <a:pt x="63" y="97"/>
                    </a:lnTo>
                    <a:lnTo>
                      <a:pt x="63" y="96"/>
                    </a:lnTo>
                    <a:lnTo>
                      <a:pt x="62" y="96"/>
                    </a:lnTo>
                    <a:lnTo>
                      <a:pt x="62" y="95"/>
                    </a:lnTo>
                    <a:lnTo>
                      <a:pt x="60" y="94"/>
                    </a:lnTo>
                    <a:lnTo>
                      <a:pt x="59" y="94"/>
                    </a:lnTo>
                    <a:lnTo>
                      <a:pt x="60" y="92"/>
                    </a:lnTo>
                    <a:lnTo>
                      <a:pt x="60" y="91"/>
                    </a:lnTo>
                    <a:lnTo>
                      <a:pt x="61" y="90"/>
                    </a:lnTo>
                    <a:lnTo>
                      <a:pt x="62" y="89"/>
                    </a:lnTo>
                    <a:lnTo>
                      <a:pt x="62" y="88"/>
                    </a:lnTo>
                    <a:lnTo>
                      <a:pt x="61" y="87"/>
                    </a:lnTo>
                    <a:lnTo>
                      <a:pt x="61" y="86"/>
                    </a:lnTo>
                    <a:lnTo>
                      <a:pt x="61" y="85"/>
                    </a:lnTo>
                    <a:lnTo>
                      <a:pt x="62" y="84"/>
                    </a:lnTo>
                    <a:lnTo>
                      <a:pt x="63" y="83"/>
                    </a:lnTo>
                    <a:lnTo>
                      <a:pt x="63" y="82"/>
                    </a:lnTo>
                    <a:lnTo>
                      <a:pt x="63" y="80"/>
                    </a:lnTo>
                    <a:lnTo>
                      <a:pt x="63" y="79"/>
                    </a:lnTo>
                    <a:lnTo>
                      <a:pt x="63" y="78"/>
                    </a:lnTo>
                    <a:lnTo>
                      <a:pt x="63" y="77"/>
                    </a:lnTo>
                    <a:lnTo>
                      <a:pt x="64" y="77"/>
                    </a:lnTo>
                    <a:lnTo>
                      <a:pt x="66" y="77"/>
                    </a:lnTo>
                    <a:lnTo>
                      <a:pt x="67" y="77"/>
                    </a:lnTo>
                    <a:lnTo>
                      <a:pt x="68" y="78"/>
                    </a:lnTo>
                    <a:lnTo>
                      <a:pt x="69" y="77"/>
                    </a:lnTo>
                    <a:lnTo>
                      <a:pt x="71" y="77"/>
                    </a:lnTo>
                    <a:lnTo>
                      <a:pt x="71" y="76"/>
                    </a:lnTo>
                    <a:lnTo>
                      <a:pt x="71" y="75"/>
                    </a:lnTo>
                    <a:lnTo>
                      <a:pt x="71" y="74"/>
                    </a:lnTo>
                    <a:lnTo>
                      <a:pt x="71" y="73"/>
                    </a:lnTo>
                    <a:lnTo>
                      <a:pt x="71" y="72"/>
                    </a:lnTo>
                    <a:lnTo>
                      <a:pt x="71" y="71"/>
                    </a:lnTo>
                    <a:lnTo>
                      <a:pt x="69" y="71"/>
                    </a:lnTo>
                    <a:lnTo>
                      <a:pt x="69" y="70"/>
                    </a:lnTo>
                    <a:lnTo>
                      <a:pt x="69" y="69"/>
                    </a:lnTo>
                    <a:lnTo>
                      <a:pt x="68" y="67"/>
                    </a:lnTo>
                    <a:lnTo>
                      <a:pt x="69" y="67"/>
                    </a:lnTo>
                    <a:lnTo>
                      <a:pt x="69" y="66"/>
                    </a:lnTo>
                    <a:lnTo>
                      <a:pt x="69" y="65"/>
                    </a:lnTo>
                    <a:lnTo>
                      <a:pt x="71" y="65"/>
                    </a:lnTo>
                    <a:lnTo>
                      <a:pt x="71" y="64"/>
                    </a:lnTo>
                    <a:lnTo>
                      <a:pt x="71" y="63"/>
                    </a:lnTo>
                    <a:lnTo>
                      <a:pt x="69" y="62"/>
                    </a:lnTo>
                    <a:lnTo>
                      <a:pt x="69" y="61"/>
                    </a:lnTo>
                    <a:lnTo>
                      <a:pt x="69" y="60"/>
                    </a:lnTo>
                    <a:lnTo>
                      <a:pt x="69" y="59"/>
                    </a:lnTo>
                    <a:lnTo>
                      <a:pt x="71" y="59"/>
                    </a:lnTo>
                    <a:lnTo>
                      <a:pt x="72" y="59"/>
                    </a:lnTo>
                    <a:lnTo>
                      <a:pt x="73" y="59"/>
                    </a:lnTo>
                    <a:lnTo>
                      <a:pt x="74" y="59"/>
                    </a:lnTo>
                    <a:lnTo>
                      <a:pt x="75" y="58"/>
                    </a:lnTo>
                    <a:lnTo>
                      <a:pt x="75" y="57"/>
                    </a:lnTo>
                    <a:lnTo>
                      <a:pt x="76" y="57"/>
                    </a:lnTo>
                    <a:lnTo>
                      <a:pt x="76" y="56"/>
                    </a:lnTo>
                    <a:lnTo>
                      <a:pt x="76" y="54"/>
                    </a:lnTo>
                    <a:lnTo>
                      <a:pt x="76" y="53"/>
                    </a:lnTo>
                    <a:lnTo>
                      <a:pt x="77" y="51"/>
                    </a:lnTo>
                    <a:lnTo>
                      <a:pt x="78" y="49"/>
                    </a:lnTo>
                    <a:lnTo>
                      <a:pt x="79" y="49"/>
                    </a:lnTo>
                    <a:lnTo>
                      <a:pt x="80" y="48"/>
                    </a:lnTo>
                    <a:lnTo>
                      <a:pt x="81" y="48"/>
                    </a:lnTo>
                    <a:lnTo>
                      <a:pt x="81" y="47"/>
                    </a:lnTo>
                    <a:lnTo>
                      <a:pt x="81" y="46"/>
                    </a:lnTo>
                    <a:lnTo>
                      <a:pt x="82" y="46"/>
                    </a:lnTo>
                    <a:lnTo>
                      <a:pt x="82" y="45"/>
                    </a:lnTo>
                    <a:lnTo>
                      <a:pt x="81" y="44"/>
                    </a:lnTo>
                    <a:lnTo>
                      <a:pt x="80" y="44"/>
                    </a:lnTo>
                    <a:lnTo>
                      <a:pt x="80" y="43"/>
                    </a:lnTo>
                    <a:lnTo>
                      <a:pt x="79" y="43"/>
                    </a:lnTo>
                    <a:lnTo>
                      <a:pt x="79" y="41"/>
                    </a:lnTo>
                    <a:lnTo>
                      <a:pt x="79" y="40"/>
                    </a:lnTo>
                    <a:lnTo>
                      <a:pt x="78" y="40"/>
                    </a:lnTo>
                    <a:lnTo>
                      <a:pt x="78" y="39"/>
                    </a:lnTo>
                    <a:lnTo>
                      <a:pt x="77" y="39"/>
                    </a:lnTo>
                    <a:lnTo>
                      <a:pt x="77" y="38"/>
                    </a:lnTo>
                    <a:lnTo>
                      <a:pt x="77" y="37"/>
                    </a:lnTo>
                    <a:lnTo>
                      <a:pt x="78" y="36"/>
                    </a:lnTo>
                    <a:lnTo>
                      <a:pt x="78" y="35"/>
                    </a:lnTo>
                    <a:lnTo>
                      <a:pt x="78" y="34"/>
                    </a:lnTo>
                    <a:lnTo>
                      <a:pt x="77" y="33"/>
                    </a:lnTo>
                    <a:lnTo>
                      <a:pt x="77" y="32"/>
                    </a:lnTo>
                    <a:lnTo>
                      <a:pt x="77" y="31"/>
                    </a:lnTo>
                    <a:lnTo>
                      <a:pt x="77" y="30"/>
                    </a:lnTo>
                    <a:lnTo>
                      <a:pt x="77" y="28"/>
                    </a:lnTo>
                    <a:lnTo>
                      <a:pt x="77" y="27"/>
                    </a:lnTo>
                    <a:lnTo>
                      <a:pt x="78" y="26"/>
                    </a:lnTo>
                    <a:lnTo>
                      <a:pt x="79" y="24"/>
                    </a:lnTo>
                    <a:lnTo>
                      <a:pt x="80" y="24"/>
                    </a:lnTo>
                    <a:lnTo>
                      <a:pt x="81" y="24"/>
                    </a:lnTo>
                    <a:lnTo>
                      <a:pt x="80" y="24"/>
                    </a:lnTo>
                    <a:lnTo>
                      <a:pt x="80" y="23"/>
                    </a:lnTo>
                    <a:lnTo>
                      <a:pt x="79" y="23"/>
                    </a:lnTo>
                    <a:lnTo>
                      <a:pt x="79" y="22"/>
                    </a:lnTo>
                    <a:lnTo>
                      <a:pt x="79" y="21"/>
                    </a:lnTo>
                    <a:lnTo>
                      <a:pt x="80" y="21"/>
                    </a:lnTo>
                    <a:lnTo>
                      <a:pt x="80" y="20"/>
                    </a:lnTo>
                    <a:lnTo>
                      <a:pt x="82" y="20"/>
                    </a:lnTo>
                    <a:lnTo>
                      <a:pt x="84" y="20"/>
                    </a:lnTo>
                    <a:lnTo>
                      <a:pt x="84" y="19"/>
                    </a:lnTo>
                    <a:lnTo>
                      <a:pt x="85" y="19"/>
                    </a:lnTo>
                    <a:lnTo>
                      <a:pt x="86" y="19"/>
                    </a:lnTo>
                    <a:lnTo>
                      <a:pt x="86" y="18"/>
                    </a:lnTo>
                    <a:lnTo>
                      <a:pt x="85" y="18"/>
                    </a:lnTo>
                    <a:lnTo>
                      <a:pt x="86" y="17"/>
                    </a:lnTo>
                    <a:lnTo>
                      <a:pt x="86" y="15"/>
                    </a:lnTo>
                    <a:lnTo>
                      <a:pt x="87" y="15"/>
                    </a:lnTo>
                    <a:lnTo>
                      <a:pt x="87" y="13"/>
                    </a:lnTo>
                    <a:lnTo>
                      <a:pt x="87" y="12"/>
                    </a:lnTo>
                    <a:lnTo>
                      <a:pt x="86" y="11"/>
                    </a:lnTo>
                    <a:lnTo>
                      <a:pt x="86" y="10"/>
                    </a:lnTo>
                    <a:lnTo>
                      <a:pt x="87" y="10"/>
                    </a:lnTo>
                    <a:lnTo>
                      <a:pt x="87" y="9"/>
                    </a:lnTo>
                    <a:lnTo>
                      <a:pt x="87" y="8"/>
                    </a:lnTo>
                    <a:lnTo>
                      <a:pt x="87" y="7"/>
                    </a:lnTo>
                    <a:lnTo>
                      <a:pt x="87" y="6"/>
                    </a:lnTo>
                    <a:lnTo>
                      <a:pt x="88" y="6"/>
                    </a:lnTo>
                    <a:lnTo>
                      <a:pt x="88" y="5"/>
                    </a:lnTo>
                    <a:lnTo>
                      <a:pt x="88" y="4"/>
                    </a:lnTo>
                    <a:lnTo>
                      <a:pt x="88" y="2"/>
                    </a:lnTo>
                    <a:lnTo>
                      <a:pt x="88" y="1"/>
                    </a:lnTo>
                    <a:lnTo>
                      <a:pt x="89" y="1"/>
                    </a:lnTo>
                    <a:lnTo>
                      <a:pt x="115" y="1"/>
                    </a:lnTo>
                    <a:lnTo>
                      <a:pt x="120" y="1"/>
                    </a:lnTo>
                    <a:lnTo>
                      <a:pt x="121" y="1"/>
                    </a:lnTo>
                    <a:lnTo>
                      <a:pt x="130" y="1"/>
                    </a:lnTo>
                    <a:lnTo>
                      <a:pt x="136" y="1"/>
                    </a:lnTo>
                    <a:lnTo>
                      <a:pt x="138" y="1"/>
                    </a:lnTo>
                    <a:lnTo>
                      <a:pt x="147" y="1"/>
                    </a:lnTo>
                    <a:lnTo>
                      <a:pt x="151" y="1"/>
                    </a:lnTo>
                    <a:lnTo>
                      <a:pt x="159" y="1"/>
                    </a:lnTo>
                    <a:lnTo>
                      <a:pt x="184" y="1"/>
                    </a:lnTo>
                    <a:lnTo>
                      <a:pt x="194" y="1"/>
                    </a:lnTo>
                    <a:lnTo>
                      <a:pt x="196" y="1"/>
                    </a:lnTo>
                    <a:lnTo>
                      <a:pt x="241" y="1"/>
                    </a:lnTo>
                    <a:lnTo>
                      <a:pt x="241" y="0"/>
                    </a:lnTo>
                    <a:lnTo>
                      <a:pt x="269" y="0"/>
                    </a:lnTo>
                    <a:lnTo>
                      <a:pt x="273" y="0"/>
                    </a:lnTo>
                    <a:lnTo>
                      <a:pt x="276" y="1"/>
                    </a:lnTo>
                    <a:lnTo>
                      <a:pt x="304" y="1"/>
                    </a:lnTo>
                    <a:close/>
                  </a:path>
                </a:pathLst>
              </a:custGeom>
              <a:solidFill>
                <a:srgbClr val="87BE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7" name="Freeform 27">
                <a:extLst>
                  <a:ext uri="{FF2B5EF4-FFF2-40B4-BE49-F238E27FC236}">
                    <a16:creationId xmlns:a16="http://schemas.microsoft.com/office/drawing/2014/main" id="{1F370E84-BC2A-E06E-C057-7A94A7981545}"/>
                  </a:ext>
                </a:extLst>
              </p:cNvPr>
              <p:cNvSpPr>
                <a:spLocks noEditPoints="1"/>
              </p:cNvSpPr>
              <p:nvPr/>
            </p:nvSpPr>
            <p:spPr bwMode="auto">
              <a:xfrm>
                <a:off x="3375026" y="3394075"/>
                <a:ext cx="557213" cy="441325"/>
              </a:xfrm>
              <a:custGeom>
                <a:avLst/>
                <a:gdLst>
                  <a:gd name="T0" fmla="*/ 349 w 351"/>
                  <a:gd name="T1" fmla="*/ 40 h 278"/>
                  <a:gd name="T2" fmla="*/ 348 w 351"/>
                  <a:gd name="T3" fmla="*/ 49 h 278"/>
                  <a:gd name="T4" fmla="*/ 341 w 351"/>
                  <a:gd name="T5" fmla="*/ 54 h 278"/>
                  <a:gd name="T6" fmla="*/ 339 w 351"/>
                  <a:gd name="T7" fmla="*/ 62 h 278"/>
                  <a:gd name="T8" fmla="*/ 340 w 351"/>
                  <a:gd name="T9" fmla="*/ 71 h 278"/>
                  <a:gd name="T10" fmla="*/ 343 w 351"/>
                  <a:gd name="T11" fmla="*/ 78 h 278"/>
                  <a:gd name="T12" fmla="*/ 337 w 351"/>
                  <a:gd name="T13" fmla="*/ 88 h 278"/>
                  <a:gd name="T14" fmla="*/ 333 w 351"/>
                  <a:gd name="T15" fmla="*/ 94 h 278"/>
                  <a:gd name="T16" fmla="*/ 333 w 351"/>
                  <a:gd name="T17" fmla="*/ 102 h 278"/>
                  <a:gd name="T18" fmla="*/ 328 w 351"/>
                  <a:gd name="T19" fmla="*/ 108 h 278"/>
                  <a:gd name="T20" fmla="*/ 323 w 351"/>
                  <a:gd name="T21" fmla="*/ 117 h 278"/>
                  <a:gd name="T22" fmla="*/ 324 w 351"/>
                  <a:gd name="T23" fmla="*/ 127 h 278"/>
                  <a:gd name="T24" fmla="*/ 321 w 351"/>
                  <a:gd name="T25" fmla="*/ 134 h 278"/>
                  <a:gd name="T26" fmla="*/ 321 w 351"/>
                  <a:gd name="T27" fmla="*/ 142 h 278"/>
                  <a:gd name="T28" fmla="*/ 317 w 351"/>
                  <a:gd name="T29" fmla="*/ 152 h 278"/>
                  <a:gd name="T30" fmla="*/ 317 w 351"/>
                  <a:gd name="T31" fmla="*/ 162 h 278"/>
                  <a:gd name="T32" fmla="*/ 311 w 351"/>
                  <a:gd name="T33" fmla="*/ 170 h 278"/>
                  <a:gd name="T34" fmla="*/ 312 w 351"/>
                  <a:gd name="T35" fmla="*/ 180 h 278"/>
                  <a:gd name="T36" fmla="*/ 304 w 351"/>
                  <a:gd name="T37" fmla="*/ 188 h 278"/>
                  <a:gd name="T38" fmla="*/ 298 w 351"/>
                  <a:gd name="T39" fmla="*/ 192 h 278"/>
                  <a:gd name="T40" fmla="*/ 297 w 351"/>
                  <a:gd name="T41" fmla="*/ 203 h 278"/>
                  <a:gd name="T42" fmla="*/ 288 w 351"/>
                  <a:gd name="T43" fmla="*/ 209 h 278"/>
                  <a:gd name="T44" fmla="*/ 284 w 351"/>
                  <a:gd name="T45" fmla="*/ 219 h 278"/>
                  <a:gd name="T46" fmla="*/ 277 w 351"/>
                  <a:gd name="T47" fmla="*/ 228 h 278"/>
                  <a:gd name="T48" fmla="*/ 274 w 351"/>
                  <a:gd name="T49" fmla="*/ 235 h 278"/>
                  <a:gd name="T50" fmla="*/ 269 w 351"/>
                  <a:gd name="T51" fmla="*/ 244 h 278"/>
                  <a:gd name="T52" fmla="*/ 265 w 351"/>
                  <a:gd name="T53" fmla="*/ 250 h 278"/>
                  <a:gd name="T54" fmla="*/ 271 w 351"/>
                  <a:gd name="T55" fmla="*/ 261 h 278"/>
                  <a:gd name="T56" fmla="*/ 259 w 351"/>
                  <a:gd name="T57" fmla="*/ 276 h 278"/>
                  <a:gd name="T58" fmla="*/ 247 w 351"/>
                  <a:gd name="T59" fmla="*/ 250 h 278"/>
                  <a:gd name="T60" fmla="*/ 237 w 351"/>
                  <a:gd name="T61" fmla="*/ 218 h 278"/>
                  <a:gd name="T62" fmla="*/ 206 w 351"/>
                  <a:gd name="T63" fmla="*/ 210 h 278"/>
                  <a:gd name="T64" fmla="*/ 171 w 351"/>
                  <a:gd name="T65" fmla="*/ 219 h 278"/>
                  <a:gd name="T66" fmla="*/ 151 w 351"/>
                  <a:gd name="T67" fmla="*/ 217 h 278"/>
                  <a:gd name="T68" fmla="*/ 116 w 351"/>
                  <a:gd name="T69" fmla="*/ 223 h 278"/>
                  <a:gd name="T70" fmla="*/ 94 w 351"/>
                  <a:gd name="T71" fmla="*/ 207 h 278"/>
                  <a:gd name="T72" fmla="*/ 108 w 351"/>
                  <a:gd name="T73" fmla="*/ 192 h 278"/>
                  <a:gd name="T74" fmla="*/ 129 w 351"/>
                  <a:gd name="T75" fmla="*/ 181 h 278"/>
                  <a:gd name="T76" fmla="*/ 144 w 351"/>
                  <a:gd name="T77" fmla="*/ 125 h 278"/>
                  <a:gd name="T78" fmla="*/ 129 w 351"/>
                  <a:gd name="T79" fmla="*/ 96 h 278"/>
                  <a:gd name="T80" fmla="*/ 83 w 351"/>
                  <a:gd name="T81" fmla="*/ 90 h 278"/>
                  <a:gd name="T82" fmla="*/ 89 w 351"/>
                  <a:gd name="T83" fmla="*/ 105 h 278"/>
                  <a:gd name="T84" fmla="*/ 110 w 351"/>
                  <a:gd name="T85" fmla="*/ 110 h 278"/>
                  <a:gd name="T86" fmla="*/ 117 w 351"/>
                  <a:gd name="T87" fmla="*/ 146 h 278"/>
                  <a:gd name="T88" fmla="*/ 108 w 351"/>
                  <a:gd name="T89" fmla="*/ 143 h 278"/>
                  <a:gd name="T90" fmla="*/ 85 w 351"/>
                  <a:gd name="T91" fmla="*/ 143 h 278"/>
                  <a:gd name="T92" fmla="*/ 55 w 351"/>
                  <a:gd name="T93" fmla="*/ 135 h 278"/>
                  <a:gd name="T94" fmla="*/ 54 w 351"/>
                  <a:gd name="T95" fmla="*/ 114 h 278"/>
                  <a:gd name="T96" fmla="*/ 63 w 351"/>
                  <a:gd name="T97" fmla="*/ 84 h 278"/>
                  <a:gd name="T98" fmla="*/ 54 w 351"/>
                  <a:gd name="T99" fmla="*/ 57 h 278"/>
                  <a:gd name="T100" fmla="*/ 63 w 351"/>
                  <a:gd name="T101" fmla="*/ 42 h 278"/>
                  <a:gd name="T102" fmla="*/ 102 w 351"/>
                  <a:gd name="T103" fmla="*/ 32 h 278"/>
                  <a:gd name="T104" fmla="*/ 199 w 351"/>
                  <a:gd name="T105" fmla="*/ 32 h 278"/>
                  <a:gd name="T106" fmla="*/ 308 w 351"/>
                  <a:gd name="T107" fmla="*/ 31 h 278"/>
                  <a:gd name="T108" fmla="*/ 52 w 351"/>
                  <a:gd name="T109" fmla="*/ 28 h 278"/>
                  <a:gd name="T110" fmla="*/ 32 w 351"/>
                  <a:gd name="T111" fmla="*/ 17 h 278"/>
                  <a:gd name="T112" fmla="*/ 18 w 351"/>
                  <a:gd name="T113" fmla="*/ 27 h 278"/>
                  <a:gd name="T114" fmla="*/ 0 w 351"/>
                  <a:gd name="T115" fmla="*/ 18 h 278"/>
                  <a:gd name="T116" fmla="*/ 16 w 351"/>
                  <a:gd name="T117" fmla="*/ 1 h 278"/>
                  <a:gd name="T118" fmla="*/ 29 w 351"/>
                  <a:gd name="T119" fmla="*/ 3 h 278"/>
                  <a:gd name="T120" fmla="*/ 41 w 351"/>
                  <a:gd name="T121" fmla="*/ 0 h 278"/>
                  <a:gd name="T122" fmla="*/ 58 w 351"/>
                  <a:gd name="T123" fmla="*/ 2 h 278"/>
                  <a:gd name="T124" fmla="*/ 64 w 351"/>
                  <a:gd name="T125"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1" h="278">
                    <a:moveTo>
                      <a:pt x="351" y="32"/>
                    </a:moveTo>
                    <a:lnTo>
                      <a:pt x="350" y="32"/>
                    </a:lnTo>
                    <a:lnTo>
                      <a:pt x="350" y="33"/>
                    </a:lnTo>
                    <a:lnTo>
                      <a:pt x="350" y="35"/>
                    </a:lnTo>
                    <a:lnTo>
                      <a:pt x="350" y="36"/>
                    </a:lnTo>
                    <a:lnTo>
                      <a:pt x="350" y="37"/>
                    </a:lnTo>
                    <a:lnTo>
                      <a:pt x="349" y="37"/>
                    </a:lnTo>
                    <a:lnTo>
                      <a:pt x="349" y="38"/>
                    </a:lnTo>
                    <a:lnTo>
                      <a:pt x="349" y="39"/>
                    </a:lnTo>
                    <a:lnTo>
                      <a:pt x="349" y="40"/>
                    </a:lnTo>
                    <a:lnTo>
                      <a:pt x="349" y="41"/>
                    </a:lnTo>
                    <a:lnTo>
                      <a:pt x="348" y="41"/>
                    </a:lnTo>
                    <a:lnTo>
                      <a:pt x="348" y="42"/>
                    </a:lnTo>
                    <a:lnTo>
                      <a:pt x="349" y="43"/>
                    </a:lnTo>
                    <a:lnTo>
                      <a:pt x="349" y="44"/>
                    </a:lnTo>
                    <a:lnTo>
                      <a:pt x="349" y="46"/>
                    </a:lnTo>
                    <a:lnTo>
                      <a:pt x="348" y="46"/>
                    </a:lnTo>
                    <a:lnTo>
                      <a:pt x="348" y="48"/>
                    </a:lnTo>
                    <a:lnTo>
                      <a:pt x="347" y="49"/>
                    </a:lnTo>
                    <a:lnTo>
                      <a:pt x="348" y="49"/>
                    </a:lnTo>
                    <a:lnTo>
                      <a:pt x="348" y="50"/>
                    </a:lnTo>
                    <a:lnTo>
                      <a:pt x="347" y="50"/>
                    </a:lnTo>
                    <a:lnTo>
                      <a:pt x="346" y="50"/>
                    </a:lnTo>
                    <a:lnTo>
                      <a:pt x="346" y="51"/>
                    </a:lnTo>
                    <a:lnTo>
                      <a:pt x="344" y="51"/>
                    </a:lnTo>
                    <a:lnTo>
                      <a:pt x="342" y="51"/>
                    </a:lnTo>
                    <a:lnTo>
                      <a:pt x="342" y="52"/>
                    </a:lnTo>
                    <a:lnTo>
                      <a:pt x="341" y="52"/>
                    </a:lnTo>
                    <a:lnTo>
                      <a:pt x="341" y="53"/>
                    </a:lnTo>
                    <a:lnTo>
                      <a:pt x="341" y="54"/>
                    </a:lnTo>
                    <a:lnTo>
                      <a:pt x="342" y="54"/>
                    </a:lnTo>
                    <a:lnTo>
                      <a:pt x="342" y="55"/>
                    </a:lnTo>
                    <a:lnTo>
                      <a:pt x="343" y="55"/>
                    </a:lnTo>
                    <a:lnTo>
                      <a:pt x="342" y="55"/>
                    </a:lnTo>
                    <a:lnTo>
                      <a:pt x="341" y="55"/>
                    </a:lnTo>
                    <a:lnTo>
                      <a:pt x="340" y="57"/>
                    </a:lnTo>
                    <a:lnTo>
                      <a:pt x="339" y="58"/>
                    </a:lnTo>
                    <a:lnTo>
                      <a:pt x="339" y="59"/>
                    </a:lnTo>
                    <a:lnTo>
                      <a:pt x="339" y="61"/>
                    </a:lnTo>
                    <a:lnTo>
                      <a:pt x="339" y="62"/>
                    </a:lnTo>
                    <a:lnTo>
                      <a:pt x="339" y="63"/>
                    </a:lnTo>
                    <a:lnTo>
                      <a:pt x="339" y="64"/>
                    </a:lnTo>
                    <a:lnTo>
                      <a:pt x="340" y="65"/>
                    </a:lnTo>
                    <a:lnTo>
                      <a:pt x="340" y="66"/>
                    </a:lnTo>
                    <a:lnTo>
                      <a:pt x="340" y="67"/>
                    </a:lnTo>
                    <a:lnTo>
                      <a:pt x="339" y="68"/>
                    </a:lnTo>
                    <a:lnTo>
                      <a:pt x="339" y="69"/>
                    </a:lnTo>
                    <a:lnTo>
                      <a:pt x="339" y="70"/>
                    </a:lnTo>
                    <a:lnTo>
                      <a:pt x="340" y="70"/>
                    </a:lnTo>
                    <a:lnTo>
                      <a:pt x="340" y="71"/>
                    </a:lnTo>
                    <a:lnTo>
                      <a:pt x="341" y="71"/>
                    </a:lnTo>
                    <a:lnTo>
                      <a:pt x="341" y="72"/>
                    </a:lnTo>
                    <a:lnTo>
                      <a:pt x="341" y="74"/>
                    </a:lnTo>
                    <a:lnTo>
                      <a:pt x="342" y="74"/>
                    </a:lnTo>
                    <a:lnTo>
                      <a:pt x="342" y="75"/>
                    </a:lnTo>
                    <a:lnTo>
                      <a:pt x="343" y="75"/>
                    </a:lnTo>
                    <a:lnTo>
                      <a:pt x="344" y="76"/>
                    </a:lnTo>
                    <a:lnTo>
                      <a:pt x="344" y="77"/>
                    </a:lnTo>
                    <a:lnTo>
                      <a:pt x="343" y="77"/>
                    </a:lnTo>
                    <a:lnTo>
                      <a:pt x="343" y="78"/>
                    </a:lnTo>
                    <a:lnTo>
                      <a:pt x="343" y="79"/>
                    </a:lnTo>
                    <a:lnTo>
                      <a:pt x="342" y="79"/>
                    </a:lnTo>
                    <a:lnTo>
                      <a:pt x="341" y="80"/>
                    </a:lnTo>
                    <a:lnTo>
                      <a:pt x="340" y="80"/>
                    </a:lnTo>
                    <a:lnTo>
                      <a:pt x="339" y="82"/>
                    </a:lnTo>
                    <a:lnTo>
                      <a:pt x="338" y="84"/>
                    </a:lnTo>
                    <a:lnTo>
                      <a:pt x="338" y="85"/>
                    </a:lnTo>
                    <a:lnTo>
                      <a:pt x="338" y="87"/>
                    </a:lnTo>
                    <a:lnTo>
                      <a:pt x="338" y="88"/>
                    </a:lnTo>
                    <a:lnTo>
                      <a:pt x="337" y="88"/>
                    </a:lnTo>
                    <a:lnTo>
                      <a:pt x="337" y="89"/>
                    </a:lnTo>
                    <a:lnTo>
                      <a:pt x="336" y="90"/>
                    </a:lnTo>
                    <a:lnTo>
                      <a:pt x="335" y="90"/>
                    </a:lnTo>
                    <a:lnTo>
                      <a:pt x="334" y="90"/>
                    </a:lnTo>
                    <a:lnTo>
                      <a:pt x="333" y="90"/>
                    </a:lnTo>
                    <a:lnTo>
                      <a:pt x="331" y="90"/>
                    </a:lnTo>
                    <a:lnTo>
                      <a:pt x="331" y="91"/>
                    </a:lnTo>
                    <a:lnTo>
                      <a:pt x="331" y="92"/>
                    </a:lnTo>
                    <a:lnTo>
                      <a:pt x="331" y="93"/>
                    </a:lnTo>
                    <a:lnTo>
                      <a:pt x="333" y="94"/>
                    </a:lnTo>
                    <a:lnTo>
                      <a:pt x="333" y="95"/>
                    </a:lnTo>
                    <a:lnTo>
                      <a:pt x="333" y="96"/>
                    </a:lnTo>
                    <a:lnTo>
                      <a:pt x="331" y="96"/>
                    </a:lnTo>
                    <a:lnTo>
                      <a:pt x="331" y="97"/>
                    </a:lnTo>
                    <a:lnTo>
                      <a:pt x="331" y="98"/>
                    </a:lnTo>
                    <a:lnTo>
                      <a:pt x="330" y="98"/>
                    </a:lnTo>
                    <a:lnTo>
                      <a:pt x="331" y="100"/>
                    </a:lnTo>
                    <a:lnTo>
                      <a:pt x="331" y="101"/>
                    </a:lnTo>
                    <a:lnTo>
                      <a:pt x="331" y="102"/>
                    </a:lnTo>
                    <a:lnTo>
                      <a:pt x="333" y="102"/>
                    </a:lnTo>
                    <a:lnTo>
                      <a:pt x="333" y="103"/>
                    </a:lnTo>
                    <a:lnTo>
                      <a:pt x="333" y="104"/>
                    </a:lnTo>
                    <a:lnTo>
                      <a:pt x="333" y="105"/>
                    </a:lnTo>
                    <a:lnTo>
                      <a:pt x="333" y="106"/>
                    </a:lnTo>
                    <a:lnTo>
                      <a:pt x="333" y="107"/>
                    </a:lnTo>
                    <a:lnTo>
                      <a:pt x="333" y="108"/>
                    </a:lnTo>
                    <a:lnTo>
                      <a:pt x="331" y="108"/>
                    </a:lnTo>
                    <a:lnTo>
                      <a:pt x="330" y="109"/>
                    </a:lnTo>
                    <a:lnTo>
                      <a:pt x="329" y="108"/>
                    </a:lnTo>
                    <a:lnTo>
                      <a:pt x="328" y="108"/>
                    </a:lnTo>
                    <a:lnTo>
                      <a:pt x="326" y="108"/>
                    </a:lnTo>
                    <a:lnTo>
                      <a:pt x="325" y="108"/>
                    </a:lnTo>
                    <a:lnTo>
                      <a:pt x="325" y="109"/>
                    </a:lnTo>
                    <a:lnTo>
                      <a:pt x="325" y="110"/>
                    </a:lnTo>
                    <a:lnTo>
                      <a:pt x="325" y="111"/>
                    </a:lnTo>
                    <a:lnTo>
                      <a:pt x="325" y="113"/>
                    </a:lnTo>
                    <a:lnTo>
                      <a:pt x="325" y="114"/>
                    </a:lnTo>
                    <a:lnTo>
                      <a:pt x="324" y="115"/>
                    </a:lnTo>
                    <a:lnTo>
                      <a:pt x="323" y="116"/>
                    </a:lnTo>
                    <a:lnTo>
                      <a:pt x="323" y="117"/>
                    </a:lnTo>
                    <a:lnTo>
                      <a:pt x="323" y="118"/>
                    </a:lnTo>
                    <a:lnTo>
                      <a:pt x="324" y="119"/>
                    </a:lnTo>
                    <a:lnTo>
                      <a:pt x="324" y="120"/>
                    </a:lnTo>
                    <a:lnTo>
                      <a:pt x="323" y="121"/>
                    </a:lnTo>
                    <a:lnTo>
                      <a:pt x="322" y="122"/>
                    </a:lnTo>
                    <a:lnTo>
                      <a:pt x="322" y="123"/>
                    </a:lnTo>
                    <a:lnTo>
                      <a:pt x="321" y="125"/>
                    </a:lnTo>
                    <a:lnTo>
                      <a:pt x="322" y="125"/>
                    </a:lnTo>
                    <a:lnTo>
                      <a:pt x="324" y="126"/>
                    </a:lnTo>
                    <a:lnTo>
                      <a:pt x="324" y="127"/>
                    </a:lnTo>
                    <a:lnTo>
                      <a:pt x="325" y="127"/>
                    </a:lnTo>
                    <a:lnTo>
                      <a:pt x="325" y="128"/>
                    </a:lnTo>
                    <a:lnTo>
                      <a:pt x="324" y="129"/>
                    </a:lnTo>
                    <a:lnTo>
                      <a:pt x="324" y="130"/>
                    </a:lnTo>
                    <a:lnTo>
                      <a:pt x="323" y="131"/>
                    </a:lnTo>
                    <a:lnTo>
                      <a:pt x="323" y="132"/>
                    </a:lnTo>
                    <a:lnTo>
                      <a:pt x="323" y="133"/>
                    </a:lnTo>
                    <a:lnTo>
                      <a:pt x="322" y="133"/>
                    </a:lnTo>
                    <a:lnTo>
                      <a:pt x="322" y="134"/>
                    </a:lnTo>
                    <a:lnTo>
                      <a:pt x="321" y="134"/>
                    </a:lnTo>
                    <a:lnTo>
                      <a:pt x="319" y="135"/>
                    </a:lnTo>
                    <a:lnTo>
                      <a:pt x="318" y="135"/>
                    </a:lnTo>
                    <a:lnTo>
                      <a:pt x="318" y="136"/>
                    </a:lnTo>
                    <a:lnTo>
                      <a:pt x="318" y="138"/>
                    </a:lnTo>
                    <a:lnTo>
                      <a:pt x="319" y="138"/>
                    </a:lnTo>
                    <a:lnTo>
                      <a:pt x="319" y="139"/>
                    </a:lnTo>
                    <a:lnTo>
                      <a:pt x="321" y="139"/>
                    </a:lnTo>
                    <a:lnTo>
                      <a:pt x="321" y="140"/>
                    </a:lnTo>
                    <a:lnTo>
                      <a:pt x="321" y="141"/>
                    </a:lnTo>
                    <a:lnTo>
                      <a:pt x="321" y="142"/>
                    </a:lnTo>
                    <a:lnTo>
                      <a:pt x="321" y="143"/>
                    </a:lnTo>
                    <a:lnTo>
                      <a:pt x="321" y="144"/>
                    </a:lnTo>
                    <a:lnTo>
                      <a:pt x="319" y="145"/>
                    </a:lnTo>
                    <a:lnTo>
                      <a:pt x="319" y="146"/>
                    </a:lnTo>
                    <a:lnTo>
                      <a:pt x="319" y="147"/>
                    </a:lnTo>
                    <a:lnTo>
                      <a:pt x="318" y="148"/>
                    </a:lnTo>
                    <a:lnTo>
                      <a:pt x="318" y="149"/>
                    </a:lnTo>
                    <a:lnTo>
                      <a:pt x="318" y="151"/>
                    </a:lnTo>
                    <a:lnTo>
                      <a:pt x="317" y="151"/>
                    </a:lnTo>
                    <a:lnTo>
                      <a:pt x="317" y="152"/>
                    </a:lnTo>
                    <a:lnTo>
                      <a:pt x="317" y="153"/>
                    </a:lnTo>
                    <a:lnTo>
                      <a:pt x="316" y="154"/>
                    </a:lnTo>
                    <a:lnTo>
                      <a:pt x="316" y="155"/>
                    </a:lnTo>
                    <a:lnTo>
                      <a:pt x="315" y="155"/>
                    </a:lnTo>
                    <a:lnTo>
                      <a:pt x="315" y="156"/>
                    </a:lnTo>
                    <a:lnTo>
                      <a:pt x="315" y="157"/>
                    </a:lnTo>
                    <a:lnTo>
                      <a:pt x="315" y="158"/>
                    </a:lnTo>
                    <a:lnTo>
                      <a:pt x="315" y="159"/>
                    </a:lnTo>
                    <a:lnTo>
                      <a:pt x="316" y="160"/>
                    </a:lnTo>
                    <a:lnTo>
                      <a:pt x="317" y="162"/>
                    </a:lnTo>
                    <a:lnTo>
                      <a:pt x="317" y="164"/>
                    </a:lnTo>
                    <a:lnTo>
                      <a:pt x="317" y="165"/>
                    </a:lnTo>
                    <a:lnTo>
                      <a:pt x="317" y="166"/>
                    </a:lnTo>
                    <a:lnTo>
                      <a:pt x="316" y="167"/>
                    </a:lnTo>
                    <a:lnTo>
                      <a:pt x="316" y="168"/>
                    </a:lnTo>
                    <a:lnTo>
                      <a:pt x="315" y="168"/>
                    </a:lnTo>
                    <a:lnTo>
                      <a:pt x="315" y="169"/>
                    </a:lnTo>
                    <a:lnTo>
                      <a:pt x="314" y="169"/>
                    </a:lnTo>
                    <a:lnTo>
                      <a:pt x="312" y="170"/>
                    </a:lnTo>
                    <a:lnTo>
                      <a:pt x="311" y="170"/>
                    </a:lnTo>
                    <a:lnTo>
                      <a:pt x="310" y="171"/>
                    </a:lnTo>
                    <a:lnTo>
                      <a:pt x="310" y="172"/>
                    </a:lnTo>
                    <a:lnTo>
                      <a:pt x="310" y="173"/>
                    </a:lnTo>
                    <a:lnTo>
                      <a:pt x="311" y="174"/>
                    </a:lnTo>
                    <a:lnTo>
                      <a:pt x="313" y="175"/>
                    </a:lnTo>
                    <a:lnTo>
                      <a:pt x="313" y="177"/>
                    </a:lnTo>
                    <a:lnTo>
                      <a:pt x="314" y="177"/>
                    </a:lnTo>
                    <a:lnTo>
                      <a:pt x="314" y="178"/>
                    </a:lnTo>
                    <a:lnTo>
                      <a:pt x="313" y="179"/>
                    </a:lnTo>
                    <a:lnTo>
                      <a:pt x="312" y="180"/>
                    </a:lnTo>
                    <a:lnTo>
                      <a:pt x="312" y="181"/>
                    </a:lnTo>
                    <a:lnTo>
                      <a:pt x="311" y="181"/>
                    </a:lnTo>
                    <a:lnTo>
                      <a:pt x="309" y="183"/>
                    </a:lnTo>
                    <a:lnTo>
                      <a:pt x="308" y="184"/>
                    </a:lnTo>
                    <a:lnTo>
                      <a:pt x="306" y="184"/>
                    </a:lnTo>
                    <a:lnTo>
                      <a:pt x="306" y="185"/>
                    </a:lnTo>
                    <a:lnTo>
                      <a:pt x="306" y="186"/>
                    </a:lnTo>
                    <a:lnTo>
                      <a:pt x="305" y="187"/>
                    </a:lnTo>
                    <a:lnTo>
                      <a:pt x="305" y="188"/>
                    </a:lnTo>
                    <a:lnTo>
                      <a:pt x="304" y="188"/>
                    </a:lnTo>
                    <a:lnTo>
                      <a:pt x="304" y="190"/>
                    </a:lnTo>
                    <a:lnTo>
                      <a:pt x="304" y="191"/>
                    </a:lnTo>
                    <a:lnTo>
                      <a:pt x="304" y="192"/>
                    </a:lnTo>
                    <a:lnTo>
                      <a:pt x="303" y="192"/>
                    </a:lnTo>
                    <a:lnTo>
                      <a:pt x="302" y="193"/>
                    </a:lnTo>
                    <a:lnTo>
                      <a:pt x="301" y="193"/>
                    </a:lnTo>
                    <a:lnTo>
                      <a:pt x="301" y="192"/>
                    </a:lnTo>
                    <a:lnTo>
                      <a:pt x="300" y="192"/>
                    </a:lnTo>
                    <a:lnTo>
                      <a:pt x="299" y="192"/>
                    </a:lnTo>
                    <a:lnTo>
                      <a:pt x="298" y="192"/>
                    </a:lnTo>
                    <a:lnTo>
                      <a:pt x="298" y="193"/>
                    </a:lnTo>
                    <a:lnTo>
                      <a:pt x="298" y="194"/>
                    </a:lnTo>
                    <a:lnTo>
                      <a:pt x="299" y="196"/>
                    </a:lnTo>
                    <a:lnTo>
                      <a:pt x="300" y="198"/>
                    </a:lnTo>
                    <a:lnTo>
                      <a:pt x="300" y="199"/>
                    </a:lnTo>
                    <a:lnTo>
                      <a:pt x="300" y="200"/>
                    </a:lnTo>
                    <a:lnTo>
                      <a:pt x="299" y="201"/>
                    </a:lnTo>
                    <a:lnTo>
                      <a:pt x="299" y="203"/>
                    </a:lnTo>
                    <a:lnTo>
                      <a:pt x="298" y="203"/>
                    </a:lnTo>
                    <a:lnTo>
                      <a:pt x="297" y="203"/>
                    </a:lnTo>
                    <a:lnTo>
                      <a:pt x="295" y="203"/>
                    </a:lnTo>
                    <a:lnTo>
                      <a:pt x="293" y="203"/>
                    </a:lnTo>
                    <a:lnTo>
                      <a:pt x="292" y="204"/>
                    </a:lnTo>
                    <a:lnTo>
                      <a:pt x="291" y="204"/>
                    </a:lnTo>
                    <a:lnTo>
                      <a:pt x="290" y="204"/>
                    </a:lnTo>
                    <a:lnTo>
                      <a:pt x="289" y="206"/>
                    </a:lnTo>
                    <a:lnTo>
                      <a:pt x="288" y="206"/>
                    </a:lnTo>
                    <a:lnTo>
                      <a:pt x="288" y="207"/>
                    </a:lnTo>
                    <a:lnTo>
                      <a:pt x="288" y="208"/>
                    </a:lnTo>
                    <a:lnTo>
                      <a:pt x="288" y="209"/>
                    </a:lnTo>
                    <a:lnTo>
                      <a:pt x="287" y="210"/>
                    </a:lnTo>
                    <a:lnTo>
                      <a:pt x="288" y="210"/>
                    </a:lnTo>
                    <a:lnTo>
                      <a:pt x="287" y="210"/>
                    </a:lnTo>
                    <a:lnTo>
                      <a:pt x="286" y="210"/>
                    </a:lnTo>
                    <a:lnTo>
                      <a:pt x="286" y="211"/>
                    </a:lnTo>
                    <a:lnTo>
                      <a:pt x="285" y="211"/>
                    </a:lnTo>
                    <a:lnTo>
                      <a:pt x="284" y="211"/>
                    </a:lnTo>
                    <a:lnTo>
                      <a:pt x="284" y="213"/>
                    </a:lnTo>
                    <a:lnTo>
                      <a:pt x="283" y="215"/>
                    </a:lnTo>
                    <a:lnTo>
                      <a:pt x="284" y="219"/>
                    </a:lnTo>
                    <a:lnTo>
                      <a:pt x="284" y="220"/>
                    </a:lnTo>
                    <a:lnTo>
                      <a:pt x="284" y="221"/>
                    </a:lnTo>
                    <a:lnTo>
                      <a:pt x="283" y="222"/>
                    </a:lnTo>
                    <a:lnTo>
                      <a:pt x="282" y="222"/>
                    </a:lnTo>
                    <a:lnTo>
                      <a:pt x="280" y="223"/>
                    </a:lnTo>
                    <a:lnTo>
                      <a:pt x="279" y="223"/>
                    </a:lnTo>
                    <a:lnTo>
                      <a:pt x="279" y="224"/>
                    </a:lnTo>
                    <a:lnTo>
                      <a:pt x="278" y="225"/>
                    </a:lnTo>
                    <a:lnTo>
                      <a:pt x="277" y="226"/>
                    </a:lnTo>
                    <a:lnTo>
                      <a:pt x="277" y="228"/>
                    </a:lnTo>
                    <a:lnTo>
                      <a:pt x="279" y="231"/>
                    </a:lnTo>
                    <a:lnTo>
                      <a:pt x="279" y="232"/>
                    </a:lnTo>
                    <a:lnTo>
                      <a:pt x="280" y="233"/>
                    </a:lnTo>
                    <a:lnTo>
                      <a:pt x="280" y="234"/>
                    </a:lnTo>
                    <a:lnTo>
                      <a:pt x="279" y="234"/>
                    </a:lnTo>
                    <a:lnTo>
                      <a:pt x="278" y="234"/>
                    </a:lnTo>
                    <a:lnTo>
                      <a:pt x="277" y="234"/>
                    </a:lnTo>
                    <a:lnTo>
                      <a:pt x="276" y="234"/>
                    </a:lnTo>
                    <a:lnTo>
                      <a:pt x="275" y="234"/>
                    </a:lnTo>
                    <a:lnTo>
                      <a:pt x="274" y="235"/>
                    </a:lnTo>
                    <a:lnTo>
                      <a:pt x="274" y="239"/>
                    </a:lnTo>
                    <a:lnTo>
                      <a:pt x="273" y="239"/>
                    </a:lnTo>
                    <a:lnTo>
                      <a:pt x="272" y="241"/>
                    </a:lnTo>
                    <a:lnTo>
                      <a:pt x="271" y="239"/>
                    </a:lnTo>
                    <a:lnTo>
                      <a:pt x="270" y="239"/>
                    </a:lnTo>
                    <a:lnTo>
                      <a:pt x="269" y="239"/>
                    </a:lnTo>
                    <a:lnTo>
                      <a:pt x="267" y="241"/>
                    </a:lnTo>
                    <a:lnTo>
                      <a:pt x="267" y="242"/>
                    </a:lnTo>
                    <a:lnTo>
                      <a:pt x="269" y="243"/>
                    </a:lnTo>
                    <a:lnTo>
                      <a:pt x="269" y="244"/>
                    </a:lnTo>
                    <a:lnTo>
                      <a:pt x="269" y="245"/>
                    </a:lnTo>
                    <a:lnTo>
                      <a:pt x="269" y="246"/>
                    </a:lnTo>
                    <a:lnTo>
                      <a:pt x="267" y="246"/>
                    </a:lnTo>
                    <a:lnTo>
                      <a:pt x="266" y="246"/>
                    </a:lnTo>
                    <a:lnTo>
                      <a:pt x="264" y="245"/>
                    </a:lnTo>
                    <a:lnTo>
                      <a:pt x="263" y="245"/>
                    </a:lnTo>
                    <a:lnTo>
                      <a:pt x="262" y="246"/>
                    </a:lnTo>
                    <a:lnTo>
                      <a:pt x="263" y="248"/>
                    </a:lnTo>
                    <a:lnTo>
                      <a:pt x="264" y="249"/>
                    </a:lnTo>
                    <a:lnTo>
                      <a:pt x="265" y="250"/>
                    </a:lnTo>
                    <a:lnTo>
                      <a:pt x="266" y="250"/>
                    </a:lnTo>
                    <a:lnTo>
                      <a:pt x="266" y="252"/>
                    </a:lnTo>
                    <a:lnTo>
                      <a:pt x="267" y="255"/>
                    </a:lnTo>
                    <a:lnTo>
                      <a:pt x="267" y="257"/>
                    </a:lnTo>
                    <a:lnTo>
                      <a:pt x="267" y="258"/>
                    </a:lnTo>
                    <a:lnTo>
                      <a:pt x="269" y="259"/>
                    </a:lnTo>
                    <a:lnTo>
                      <a:pt x="270" y="259"/>
                    </a:lnTo>
                    <a:lnTo>
                      <a:pt x="270" y="260"/>
                    </a:lnTo>
                    <a:lnTo>
                      <a:pt x="271" y="260"/>
                    </a:lnTo>
                    <a:lnTo>
                      <a:pt x="271" y="261"/>
                    </a:lnTo>
                    <a:lnTo>
                      <a:pt x="271" y="262"/>
                    </a:lnTo>
                    <a:lnTo>
                      <a:pt x="272" y="264"/>
                    </a:lnTo>
                    <a:lnTo>
                      <a:pt x="272" y="265"/>
                    </a:lnTo>
                    <a:lnTo>
                      <a:pt x="272" y="269"/>
                    </a:lnTo>
                    <a:lnTo>
                      <a:pt x="272" y="270"/>
                    </a:lnTo>
                    <a:lnTo>
                      <a:pt x="272" y="276"/>
                    </a:lnTo>
                    <a:lnTo>
                      <a:pt x="272" y="278"/>
                    </a:lnTo>
                    <a:lnTo>
                      <a:pt x="270" y="278"/>
                    </a:lnTo>
                    <a:lnTo>
                      <a:pt x="261" y="276"/>
                    </a:lnTo>
                    <a:lnTo>
                      <a:pt x="259" y="276"/>
                    </a:lnTo>
                    <a:lnTo>
                      <a:pt x="257" y="275"/>
                    </a:lnTo>
                    <a:lnTo>
                      <a:pt x="253" y="274"/>
                    </a:lnTo>
                    <a:lnTo>
                      <a:pt x="252" y="272"/>
                    </a:lnTo>
                    <a:lnTo>
                      <a:pt x="251" y="271"/>
                    </a:lnTo>
                    <a:lnTo>
                      <a:pt x="250" y="267"/>
                    </a:lnTo>
                    <a:lnTo>
                      <a:pt x="249" y="262"/>
                    </a:lnTo>
                    <a:lnTo>
                      <a:pt x="249" y="261"/>
                    </a:lnTo>
                    <a:lnTo>
                      <a:pt x="248" y="258"/>
                    </a:lnTo>
                    <a:lnTo>
                      <a:pt x="248" y="255"/>
                    </a:lnTo>
                    <a:lnTo>
                      <a:pt x="247" y="250"/>
                    </a:lnTo>
                    <a:lnTo>
                      <a:pt x="246" y="249"/>
                    </a:lnTo>
                    <a:lnTo>
                      <a:pt x="246" y="247"/>
                    </a:lnTo>
                    <a:lnTo>
                      <a:pt x="246" y="243"/>
                    </a:lnTo>
                    <a:lnTo>
                      <a:pt x="245" y="239"/>
                    </a:lnTo>
                    <a:lnTo>
                      <a:pt x="244" y="236"/>
                    </a:lnTo>
                    <a:lnTo>
                      <a:pt x="244" y="234"/>
                    </a:lnTo>
                    <a:lnTo>
                      <a:pt x="243" y="231"/>
                    </a:lnTo>
                    <a:lnTo>
                      <a:pt x="243" y="230"/>
                    </a:lnTo>
                    <a:lnTo>
                      <a:pt x="239" y="223"/>
                    </a:lnTo>
                    <a:lnTo>
                      <a:pt x="237" y="218"/>
                    </a:lnTo>
                    <a:lnTo>
                      <a:pt x="233" y="211"/>
                    </a:lnTo>
                    <a:lnTo>
                      <a:pt x="232" y="210"/>
                    </a:lnTo>
                    <a:lnTo>
                      <a:pt x="230" y="206"/>
                    </a:lnTo>
                    <a:lnTo>
                      <a:pt x="230" y="205"/>
                    </a:lnTo>
                    <a:lnTo>
                      <a:pt x="225" y="204"/>
                    </a:lnTo>
                    <a:lnTo>
                      <a:pt x="223" y="204"/>
                    </a:lnTo>
                    <a:lnTo>
                      <a:pt x="220" y="204"/>
                    </a:lnTo>
                    <a:lnTo>
                      <a:pt x="215" y="205"/>
                    </a:lnTo>
                    <a:lnTo>
                      <a:pt x="209" y="208"/>
                    </a:lnTo>
                    <a:lnTo>
                      <a:pt x="206" y="210"/>
                    </a:lnTo>
                    <a:lnTo>
                      <a:pt x="204" y="211"/>
                    </a:lnTo>
                    <a:lnTo>
                      <a:pt x="199" y="213"/>
                    </a:lnTo>
                    <a:lnTo>
                      <a:pt x="196" y="215"/>
                    </a:lnTo>
                    <a:lnTo>
                      <a:pt x="189" y="218"/>
                    </a:lnTo>
                    <a:lnTo>
                      <a:pt x="183" y="220"/>
                    </a:lnTo>
                    <a:lnTo>
                      <a:pt x="179" y="220"/>
                    </a:lnTo>
                    <a:lnTo>
                      <a:pt x="177" y="220"/>
                    </a:lnTo>
                    <a:lnTo>
                      <a:pt x="175" y="220"/>
                    </a:lnTo>
                    <a:lnTo>
                      <a:pt x="173" y="219"/>
                    </a:lnTo>
                    <a:lnTo>
                      <a:pt x="171" y="219"/>
                    </a:lnTo>
                    <a:lnTo>
                      <a:pt x="169" y="218"/>
                    </a:lnTo>
                    <a:lnTo>
                      <a:pt x="167" y="218"/>
                    </a:lnTo>
                    <a:lnTo>
                      <a:pt x="164" y="217"/>
                    </a:lnTo>
                    <a:lnTo>
                      <a:pt x="163" y="217"/>
                    </a:lnTo>
                    <a:lnTo>
                      <a:pt x="162" y="217"/>
                    </a:lnTo>
                    <a:lnTo>
                      <a:pt x="161" y="216"/>
                    </a:lnTo>
                    <a:lnTo>
                      <a:pt x="160" y="216"/>
                    </a:lnTo>
                    <a:lnTo>
                      <a:pt x="156" y="216"/>
                    </a:lnTo>
                    <a:lnTo>
                      <a:pt x="153" y="217"/>
                    </a:lnTo>
                    <a:lnTo>
                      <a:pt x="151" y="217"/>
                    </a:lnTo>
                    <a:lnTo>
                      <a:pt x="150" y="217"/>
                    </a:lnTo>
                    <a:lnTo>
                      <a:pt x="146" y="217"/>
                    </a:lnTo>
                    <a:lnTo>
                      <a:pt x="145" y="217"/>
                    </a:lnTo>
                    <a:lnTo>
                      <a:pt x="140" y="219"/>
                    </a:lnTo>
                    <a:lnTo>
                      <a:pt x="132" y="221"/>
                    </a:lnTo>
                    <a:lnTo>
                      <a:pt x="129" y="222"/>
                    </a:lnTo>
                    <a:lnTo>
                      <a:pt x="124" y="223"/>
                    </a:lnTo>
                    <a:lnTo>
                      <a:pt x="120" y="223"/>
                    </a:lnTo>
                    <a:lnTo>
                      <a:pt x="119" y="223"/>
                    </a:lnTo>
                    <a:lnTo>
                      <a:pt x="116" y="223"/>
                    </a:lnTo>
                    <a:lnTo>
                      <a:pt x="112" y="222"/>
                    </a:lnTo>
                    <a:lnTo>
                      <a:pt x="109" y="220"/>
                    </a:lnTo>
                    <a:lnTo>
                      <a:pt x="105" y="218"/>
                    </a:lnTo>
                    <a:lnTo>
                      <a:pt x="99" y="213"/>
                    </a:lnTo>
                    <a:lnTo>
                      <a:pt x="98" y="212"/>
                    </a:lnTo>
                    <a:lnTo>
                      <a:pt x="97" y="211"/>
                    </a:lnTo>
                    <a:lnTo>
                      <a:pt x="96" y="211"/>
                    </a:lnTo>
                    <a:lnTo>
                      <a:pt x="95" y="210"/>
                    </a:lnTo>
                    <a:lnTo>
                      <a:pt x="95" y="209"/>
                    </a:lnTo>
                    <a:lnTo>
                      <a:pt x="94" y="207"/>
                    </a:lnTo>
                    <a:lnTo>
                      <a:pt x="94" y="205"/>
                    </a:lnTo>
                    <a:lnTo>
                      <a:pt x="94" y="203"/>
                    </a:lnTo>
                    <a:lnTo>
                      <a:pt x="95" y="200"/>
                    </a:lnTo>
                    <a:lnTo>
                      <a:pt x="96" y="198"/>
                    </a:lnTo>
                    <a:lnTo>
                      <a:pt x="97" y="196"/>
                    </a:lnTo>
                    <a:lnTo>
                      <a:pt x="99" y="195"/>
                    </a:lnTo>
                    <a:lnTo>
                      <a:pt x="101" y="194"/>
                    </a:lnTo>
                    <a:lnTo>
                      <a:pt x="104" y="193"/>
                    </a:lnTo>
                    <a:lnTo>
                      <a:pt x="106" y="192"/>
                    </a:lnTo>
                    <a:lnTo>
                      <a:pt x="108" y="192"/>
                    </a:lnTo>
                    <a:lnTo>
                      <a:pt x="111" y="191"/>
                    </a:lnTo>
                    <a:lnTo>
                      <a:pt x="114" y="191"/>
                    </a:lnTo>
                    <a:lnTo>
                      <a:pt x="116" y="191"/>
                    </a:lnTo>
                    <a:lnTo>
                      <a:pt x="118" y="190"/>
                    </a:lnTo>
                    <a:lnTo>
                      <a:pt x="120" y="188"/>
                    </a:lnTo>
                    <a:lnTo>
                      <a:pt x="121" y="188"/>
                    </a:lnTo>
                    <a:lnTo>
                      <a:pt x="122" y="186"/>
                    </a:lnTo>
                    <a:lnTo>
                      <a:pt x="123" y="186"/>
                    </a:lnTo>
                    <a:lnTo>
                      <a:pt x="124" y="186"/>
                    </a:lnTo>
                    <a:lnTo>
                      <a:pt x="129" y="181"/>
                    </a:lnTo>
                    <a:lnTo>
                      <a:pt x="130" y="174"/>
                    </a:lnTo>
                    <a:lnTo>
                      <a:pt x="131" y="172"/>
                    </a:lnTo>
                    <a:lnTo>
                      <a:pt x="132" y="170"/>
                    </a:lnTo>
                    <a:lnTo>
                      <a:pt x="134" y="160"/>
                    </a:lnTo>
                    <a:lnTo>
                      <a:pt x="136" y="154"/>
                    </a:lnTo>
                    <a:lnTo>
                      <a:pt x="138" y="151"/>
                    </a:lnTo>
                    <a:lnTo>
                      <a:pt x="138" y="146"/>
                    </a:lnTo>
                    <a:lnTo>
                      <a:pt x="142" y="138"/>
                    </a:lnTo>
                    <a:lnTo>
                      <a:pt x="143" y="130"/>
                    </a:lnTo>
                    <a:lnTo>
                      <a:pt x="144" y="125"/>
                    </a:lnTo>
                    <a:lnTo>
                      <a:pt x="143" y="122"/>
                    </a:lnTo>
                    <a:lnTo>
                      <a:pt x="143" y="120"/>
                    </a:lnTo>
                    <a:lnTo>
                      <a:pt x="143" y="119"/>
                    </a:lnTo>
                    <a:lnTo>
                      <a:pt x="141" y="114"/>
                    </a:lnTo>
                    <a:lnTo>
                      <a:pt x="140" y="110"/>
                    </a:lnTo>
                    <a:lnTo>
                      <a:pt x="136" y="106"/>
                    </a:lnTo>
                    <a:lnTo>
                      <a:pt x="134" y="102"/>
                    </a:lnTo>
                    <a:lnTo>
                      <a:pt x="133" y="101"/>
                    </a:lnTo>
                    <a:lnTo>
                      <a:pt x="132" y="98"/>
                    </a:lnTo>
                    <a:lnTo>
                      <a:pt x="129" y="96"/>
                    </a:lnTo>
                    <a:lnTo>
                      <a:pt x="125" y="93"/>
                    </a:lnTo>
                    <a:lnTo>
                      <a:pt x="122" y="91"/>
                    </a:lnTo>
                    <a:lnTo>
                      <a:pt x="119" y="90"/>
                    </a:lnTo>
                    <a:lnTo>
                      <a:pt x="116" y="90"/>
                    </a:lnTo>
                    <a:lnTo>
                      <a:pt x="110" y="90"/>
                    </a:lnTo>
                    <a:lnTo>
                      <a:pt x="106" y="90"/>
                    </a:lnTo>
                    <a:lnTo>
                      <a:pt x="97" y="90"/>
                    </a:lnTo>
                    <a:lnTo>
                      <a:pt x="94" y="91"/>
                    </a:lnTo>
                    <a:lnTo>
                      <a:pt x="89" y="91"/>
                    </a:lnTo>
                    <a:lnTo>
                      <a:pt x="83" y="90"/>
                    </a:lnTo>
                    <a:lnTo>
                      <a:pt x="82" y="90"/>
                    </a:lnTo>
                    <a:lnTo>
                      <a:pt x="82" y="93"/>
                    </a:lnTo>
                    <a:lnTo>
                      <a:pt x="82" y="98"/>
                    </a:lnTo>
                    <a:lnTo>
                      <a:pt x="82" y="101"/>
                    </a:lnTo>
                    <a:lnTo>
                      <a:pt x="83" y="102"/>
                    </a:lnTo>
                    <a:lnTo>
                      <a:pt x="83" y="103"/>
                    </a:lnTo>
                    <a:lnTo>
                      <a:pt x="85" y="104"/>
                    </a:lnTo>
                    <a:lnTo>
                      <a:pt x="86" y="104"/>
                    </a:lnTo>
                    <a:lnTo>
                      <a:pt x="88" y="105"/>
                    </a:lnTo>
                    <a:lnTo>
                      <a:pt x="89" y="105"/>
                    </a:lnTo>
                    <a:lnTo>
                      <a:pt x="91" y="105"/>
                    </a:lnTo>
                    <a:lnTo>
                      <a:pt x="94" y="105"/>
                    </a:lnTo>
                    <a:lnTo>
                      <a:pt x="101" y="106"/>
                    </a:lnTo>
                    <a:lnTo>
                      <a:pt x="102" y="106"/>
                    </a:lnTo>
                    <a:lnTo>
                      <a:pt x="104" y="107"/>
                    </a:lnTo>
                    <a:lnTo>
                      <a:pt x="106" y="107"/>
                    </a:lnTo>
                    <a:lnTo>
                      <a:pt x="107" y="108"/>
                    </a:lnTo>
                    <a:lnTo>
                      <a:pt x="108" y="108"/>
                    </a:lnTo>
                    <a:lnTo>
                      <a:pt x="109" y="109"/>
                    </a:lnTo>
                    <a:lnTo>
                      <a:pt x="110" y="110"/>
                    </a:lnTo>
                    <a:lnTo>
                      <a:pt x="111" y="113"/>
                    </a:lnTo>
                    <a:lnTo>
                      <a:pt x="112" y="114"/>
                    </a:lnTo>
                    <a:lnTo>
                      <a:pt x="114" y="115"/>
                    </a:lnTo>
                    <a:lnTo>
                      <a:pt x="115" y="118"/>
                    </a:lnTo>
                    <a:lnTo>
                      <a:pt x="116" y="120"/>
                    </a:lnTo>
                    <a:lnTo>
                      <a:pt x="117" y="122"/>
                    </a:lnTo>
                    <a:lnTo>
                      <a:pt x="118" y="140"/>
                    </a:lnTo>
                    <a:lnTo>
                      <a:pt x="118" y="142"/>
                    </a:lnTo>
                    <a:lnTo>
                      <a:pt x="117" y="144"/>
                    </a:lnTo>
                    <a:lnTo>
                      <a:pt x="117" y="146"/>
                    </a:lnTo>
                    <a:lnTo>
                      <a:pt x="116" y="147"/>
                    </a:lnTo>
                    <a:lnTo>
                      <a:pt x="115" y="147"/>
                    </a:lnTo>
                    <a:lnTo>
                      <a:pt x="114" y="148"/>
                    </a:lnTo>
                    <a:lnTo>
                      <a:pt x="112" y="148"/>
                    </a:lnTo>
                    <a:lnTo>
                      <a:pt x="111" y="148"/>
                    </a:lnTo>
                    <a:lnTo>
                      <a:pt x="111" y="147"/>
                    </a:lnTo>
                    <a:lnTo>
                      <a:pt x="110" y="146"/>
                    </a:lnTo>
                    <a:lnTo>
                      <a:pt x="110" y="145"/>
                    </a:lnTo>
                    <a:lnTo>
                      <a:pt x="109" y="144"/>
                    </a:lnTo>
                    <a:lnTo>
                      <a:pt x="108" y="143"/>
                    </a:lnTo>
                    <a:lnTo>
                      <a:pt x="107" y="143"/>
                    </a:lnTo>
                    <a:lnTo>
                      <a:pt x="106" y="142"/>
                    </a:lnTo>
                    <a:lnTo>
                      <a:pt x="105" y="141"/>
                    </a:lnTo>
                    <a:lnTo>
                      <a:pt x="103" y="141"/>
                    </a:lnTo>
                    <a:lnTo>
                      <a:pt x="98" y="141"/>
                    </a:lnTo>
                    <a:lnTo>
                      <a:pt x="96" y="141"/>
                    </a:lnTo>
                    <a:lnTo>
                      <a:pt x="94" y="141"/>
                    </a:lnTo>
                    <a:lnTo>
                      <a:pt x="92" y="141"/>
                    </a:lnTo>
                    <a:lnTo>
                      <a:pt x="90" y="142"/>
                    </a:lnTo>
                    <a:lnTo>
                      <a:pt x="85" y="143"/>
                    </a:lnTo>
                    <a:lnTo>
                      <a:pt x="82" y="144"/>
                    </a:lnTo>
                    <a:lnTo>
                      <a:pt x="77" y="145"/>
                    </a:lnTo>
                    <a:lnTo>
                      <a:pt x="76" y="145"/>
                    </a:lnTo>
                    <a:lnTo>
                      <a:pt x="73" y="145"/>
                    </a:lnTo>
                    <a:lnTo>
                      <a:pt x="69" y="144"/>
                    </a:lnTo>
                    <a:lnTo>
                      <a:pt x="66" y="143"/>
                    </a:lnTo>
                    <a:lnTo>
                      <a:pt x="63" y="142"/>
                    </a:lnTo>
                    <a:lnTo>
                      <a:pt x="59" y="140"/>
                    </a:lnTo>
                    <a:lnTo>
                      <a:pt x="57" y="138"/>
                    </a:lnTo>
                    <a:lnTo>
                      <a:pt x="55" y="135"/>
                    </a:lnTo>
                    <a:lnTo>
                      <a:pt x="54" y="133"/>
                    </a:lnTo>
                    <a:lnTo>
                      <a:pt x="54" y="131"/>
                    </a:lnTo>
                    <a:lnTo>
                      <a:pt x="54" y="130"/>
                    </a:lnTo>
                    <a:lnTo>
                      <a:pt x="54" y="129"/>
                    </a:lnTo>
                    <a:lnTo>
                      <a:pt x="54" y="127"/>
                    </a:lnTo>
                    <a:lnTo>
                      <a:pt x="54" y="121"/>
                    </a:lnTo>
                    <a:lnTo>
                      <a:pt x="54" y="120"/>
                    </a:lnTo>
                    <a:lnTo>
                      <a:pt x="54" y="119"/>
                    </a:lnTo>
                    <a:lnTo>
                      <a:pt x="54" y="118"/>
                    </a:lnTo>
                    <a:lnTo>
                      <a:pt x="54" y="114"/>
                    </a:lnTo>
                    <a:lnTo>
                      <a:pt x="54" y="106"/>
                    </a:lnTo>
                    <a:lnTo>
                      <a:pt x="56" y="101"/>
                    </a:lnTo>
                    <a:lnTo>
                      <a:pt x="56" y="98"/>
                    </a:lnTo>
                    <a:lnTo>
                      <a:pt x="56" y="97"/>
                    </a:lnTo>
                    <a:lnTo>
                      <a:pt x="58" y="94"/>
                    </a:lnTo>
                    <a:lnTo>
                      <a:pt x="58" y="92"/>
                    </a:lnTo>
                    <a:lnTo>
                      <a:pt x="59" y="90"/>
                    </a:lnTo>
                    <a:lnTo>
                      <a:pt x="60" y="89"/>
                    </a:lnTo>
                    <a:lnTo>
                      <a:pt x="62" y="85"/>
                    </a:lnTo>
                    <a:lnTo>
                      <a:pt x="63" y="84"/>
                    </a:lnTo>
                    <a:lnTo>
                      <a:pt x="64" y="82"/>
                    </a:lnTo>
                    <a:lnTo>
                      <a:pt x="63" y="80"/>
                    </a:lnTo>
                    <a:lnTo>
                      <a:pt x="62" y="78"/>
                    </a:lnTo>
                    <a:lnTo>
                      <a:pt x="62" y="77"/>
                    </a:lnTo>
                    <a:lnTo>
                      <a:pt x="59" y="74"/>
                    </a:lnTo>
                    <a:lnTo>
                      <a:pt x="58" y="71"/>
                    </a:lnTo>
                    <a:lnTo>
                      <a:pt x="58" y="70"/>
                    </a:lnTo>
                    <a:lnTo>
                      <a:pt x="56" y="66"/>
                    </a:lnTo>
                    <a:lnTo>
                      <a:pt x="55" y="61"/>
                    </a:lnTo>
                    <a:lnTo>
                      <a:pt x="54" y="57"/>
                    </a:lnTo>
                    <a:lnTo>
                      <a:pt x="53" y="53"/>
                    </a:lnTo>
                    <a:lnTo>
                      <a:pt x="54" y="52"/>
                    </a:lnTo>
                    <a:lnTo>
                      <a:pt x="55" y="52"/>
                    </a:lnTo>
                    <a:lnTo>
                      <a:pt x="56" y="50"/>
                    </a:lnTo>
                    <a:lnTo>
                      <a:pt x="56" y="49"/>
                    </a:lnTo>
                    <a:lnTo>
                      <a:pt x="57" y="48"/>
                    </a:lnTo>
                    <a:lnTo>
                      <a:pt x="58" y="46"/>
                    </a:lnTo>
                    <a:lnTo>
                      <a:pt x="60" y="44"/>
                    </a:lnTo>
                    <a:lnTo>
                      <a:pt x="62" y="43"/>
                    </a:lnTo>
                    <a:lnTo>
                      <a:pt x="63" y="42"/>
                    </a:lnTo>
                    <a:lnTo>
                      <a:pt x="63" y="41"/>
                    </a:lnTo>
                    <a:lnTo>
                      <a:pt x="65" y="38"/>
                    </a:lnTo>
                    <a:lnTo>
                      <a:pt x="66" y="37"/>
                    </a:lnTo>
                    <a:lnTo>
                      <a:pt x="66" y="36"/>
                    </a:lnTo>
                    <a:lnTo>
                      <a:pt x="67" y="35"/>
                    </a:lnTo>
                    <a:lnTo>
                      <a:pt x="67" y="33"/>
                    </a:lnTo>
                    <a:lnTo>
                      <a:pt x="69" y="31"/>
                    </a:lnTo>
                    <a:lnTo>
                      <a:pt x="75" y="32"/>
                    </a:lnTo>
                    <a:lnTo>
                      <a:pt x="86" y="32"/>
                    </a:lnTo>
                    <a:lnTo>
                      <a:pt x="102" y="32"/>
                    </a:lnTo>
                    <a:lnTo>
                      <a:pt x="116" y="32"/>
                    </a:lnTo>
                    <a:lnTo>
                      <a:pt x="122" y="32"/>
                    </a:lnTo>
                    <a:lnTo>
                      <a:pt x="129" y="32"/>
                    </a:lnTo>
                    <a:lnTo>
                      <a:pt x="137" y="32"/>
                    </a:lnTo>
                    <a:lnTo>
                      <a:pt x="153" y="32"/>
                    </a:lnTo>
                    <a:lnTo>
                      <a:pt x="154" y="32"/>
                    </a:lnTo>
                    <a:lnTo>
                      <a:pt x="169" y="32"/>
                    </a:lnTo>
                    <a:lnTo>
                      <a:pt x="179" y="32"/>
                    </a:lnTo>
                    <a:lnTo>
                      <a:pt x="195" y="32"/>
                    </a:lnTo>
                    <a:lnTo>
                      <a:pt x="199" y="32"/>
                    </a:lnTo>
                    <a:lnTo>
                      <a:pt x="213" y="32"/>
                    </a:lnTo>
                    <a:lnTo>
                      <a:pt x="230" y="32"/>
                    </a:lnTo>
                    <a:lnTo>
                      <a:pt x="244" y="32"/>
                    </a:lnTo>
                    <a:lnTo>
                      <a:pt x="246" y="32"/>
                    </a:lnTo>
                    <a:lnTo>
                      <a:pt x="253" y="32"/>
                    </a:lnTo>
                    <a:lnTo>
                      <a:pt x="266" y="32"/>
                    </a:lnTo>
                    <a:lnTo>
                      <a:pt x="279" y="32"/>
                    </a:lnTo>
                    <a:lnTo>
                      <a:pt x="300" y="32"/>
                    </a:lnTo>
                    <a:lnTo>
                      <a:pt x="305" y="32"/>
                    </a:lnTo>
                    <a:lnTo>
                      <a:pt x="308" y="31"/>
                    </a:lnTo>
                    <a:lnTo>
                      <a:pt x="321" y="32"/>
                    </a:lnTo>
                    <a:lnTo>
                      <a:pt x="330" y="32"/>
                    </a:lnTo>
                    <a:lnTo>
                      <a:pt x="351" y="32"/>
                    </a:lnTo>
                    <a:close/>
                    <a:moveTo>
                      <a:pt x="56" y="36"/>
                    </a:moveTo>
                    <a:lnTo>
                      <a:pt x="54" y="33"/>
                    </a:lnTo>
                    <a:lnTo>
                      <a:pt x="54" y="32"/>
                    </a:lnTo>
                    <a:lnTo>
                      <a:pt x="53" y="32"/>
                    </a:lnTo>
                    <a:lnTo>
                      <a:pt x="53" y="30"/>
                    </a:lnTo>
                    <a:lnTo>
                      <a:pt x="52" y="29"/>
                    </a:lnTo>
                    <a:lnTo>
                      <a:pt x="52" y="28"/>
                    </a:lnTo>
                    <a:lnTo>
                      <a:pt x="51" y="27"/>
                    </a:lnTo>
                    <a:lnTo>
                      <a:pt x="47" y="24"/>
                    </a:lnTo>
                    <a:lnTo>
                      <a:pt x="45" y="23"/>
                    </a:lnTo>
                    <a:lnTo>
                      <a:pt x="44" y="21"/>
                    </a:lnTo>
                    <a:lnTo>
                      <a:pt x="42" y="20"/>
                    </a:lnTo>
                    <a:lnTo>
                      <a:pt x="40" y="19"/>
                    </a:lnTo>
                    <a:lnTo>
                      <a:pt x="38" y="18"/>
                    </a:lnTo>
                    <a:lnTo>
                      <a:pt x="35" y="17"/>
                    </a:lnTo>
                    <a:lnTo>
                      <a:pt x="34" y="17"/>
                    </a:lnTo>
                    <a:lnTo>
                      <a:pt x="32" y="17"/>
                    </a:lnTo>
                    <a:lnTo>
                      <a:pt x="31" y="17"/>
                    </a:lnTo>
                    <a:lnTo>
                      <a:pt x="28" y="18"/>
                    </a:lnTo>
                    <a:lnTo>
                      <a:pt x="27" y="19"/>
                    </a:lnTo>
                    <a:lnTo>
                      <a:pt x="26" y="21"/>
                    </a:lnTo>
                    <a:lnTo>
                      <a:pt x="25" y="24"/>
                    </a:lnTo>
                    <a:lnTo>
                      <a:pt x="25" y="25"/>
                    </a:lnTo>
                    <a:lnTo>
                      <a:pt x="24" y="26"/>
                    </a:lnTo>
                    <a:lnTo>
                      <a:pt x="21" y="27"/>
                    </a:lnTo>
                    <a:lnTo>
                      <a:pt x="19" y="27"/>
                    </a:lnTo>
                    <a:lnTo>
                      <a:pt x="18" y="27"/>
                    </a:lnTo>
                    <a:lnTo>
                      <a:pt x="17" y="26"/>
                    </a:lnTo>
                    <a:lnTo>
                      <a:pt x="15" y="26"/>
                    </a:lnTo>
                    <a:lnTo>
                      <a:pt x="15" y="25"/>
                    </a:lnTo>
                    <a:lnTo>
                      <a:pt x="13" y="23"/>
                    </a:lnTo>
                    <a:lnTo>
                      <a:pt x="9" y="21"/>
                    </a:lnTo>
                    <a:lnTo>
                      <a:pt x="8" y="20"/>
                    </a:lnTo>
                    <a:lnTo>
                      <a:pt x="6" y="19"/>
                    </a:lnTo>
                    <a:lnTo>
                      <a:pt x="2" y="18"/>
                    </a:lnTo>
                    <a:lnTo>
                      <a:pt x="1" y="17"/>
                    </a:lnTo>
                    <a:lnTo>
                      <a:pt x="0" y="18"/>
                    </a:lnTo>
                    <a:lnTo>
                      <a:pt x="1" y="16"/>
                    </a:lnTo>
                    <a:lnTo>
                      <a:pt x="1" y="15"/>
                    </a:lnTo>
                    <a:lnTo>
                      <a:pt x="2" y="13"/>
                    </a:lnTo>
                    <a:lnTo>
                      <a:pt x="4" y="12"/>
                    </a:lnTo>
                    <a:lnTo>
                      <a:pt x="5" y="11"/>
                    </a:lnTo>
                    <a:lnTo>
                      <a:pt x="9" y="7"/>
                    </a:lnTo>
                    <a:lnTo>
                      <a:pt x="14" y="3"/>
                    </a:lnTo>
                    <a:lnTo>
                      <a:pt x="15" y="1"/>
                    </a:lnTo>
                    <a:lnTo>
                      <a:pt x="16" y="0"/>
                    </a:lnTo>
                    <a:lnTo>
                      <a:pt x="16" y="1"/>
                    </a:lnTo>
                    <a:lnTo>
                      <a:pt x="17" y="1"/>
                    </a:lnTo>
                    <a:lnTo>
                      <a:pt x="17" y="2"/>
                    </a:lnTo>
                    <a:lnTo>
                      <a:pt x="18" y="2"/>
                    </a:lnTo>
                    <a:lnTo>
                      <a:pt x="19" y="2"/>
                    </a:lnTo>
                    <a:lnTo>
                      <a:pt x="21" y="2"/>
                    </a:lnTo>
                    <a:lnTo>
                      <a:pt x="22" y="2"/>
                    </a:lnTo>
                    <a:lnTo>
                      <a:pt x="25" y="2"/>
                    </a:lnTo>
                    <a:lnTo>
                      <a:pt x="26" y="2"/>
                    </a:lnTo>
                    <a:lnTo>
                      <a:pt x="27" y="3"/>
                    </a:lnTo>
                    <a:lnTo>
                      <a:pt x="29" y="3"/>
                    </a:lnTo>
                    <a:lnTo>
                      <a:pt x="30" y="3"/>
                    </a:lnTo>
                    <a:lnTo>
                      <a:pt x="31" y="3"/>
                    </a:lnTo>
                    <a:lnTo>
                      <a:pt x="32" y="3"/>
                    </a:lnTo>
                    <a:lnTo>
                      <a:pt x="33" y="3"/>
                    </a:lnTo>
                    <a:lnTo>
                      <a:pt x="34" y="3"/>
                    </a:lnTo>
                    <a:lnTo>
                      <a:pt x="34" y="2"/>
                    </a:lnTo>
                    <a:lnTo>
                      <a:pt x="37" y="2"/>
                    </a:lnTo>
                    <a:lnTo>
                      <a:pt x="39" y="1"/>
                    </a:lnTo>
                    <a:lnTo>
                      <a:pt x="40" y="0"/>
                    </a:lnTo>
                    <a:lnTo>
                      <a:pt x="41" y="0"/>
                    </a:lnTo>
                    <a:lnTo>
                      <a:pt x="43" y="0"/>
                    </a:lnTo>
                    <a:lnTo>
                      <a:pt x="45" y="0"/>
                    </a:lnTo>
                    <a:lnTo>
                      <a:pt x="47" y="0"/>
                    </a:lnTo>
                    <a:lnTo>
                      <a:pt x="50" y="0"/>
                    </a:lnTo>
                    <a:lnTo>
                      <a:pt x="52" y="0"/>
                    </a:lnTo>
                    <a:lnTo>
                      <a:pt x="53" y="0"/>
                    </a:lnTo>
                    <a:lnTo>
                      <a:pt x="54" y="0"/>
                    </a:lnTo>
                    <a:lnTo>
                      <a:pt x="55" y="0"/>
                    </a:lnTo>
                    <a:lnTo>
                      <a:pt x="57" y="1"/>
                    </a:lnTo>
                    <a:lnTo>
                      <a:pt x="58" y="2"/>
                    </a:lnTo>
                    <a:lnTo>
                      <a:pt x="59" y="3"/>
                    </a:lnTo>
                    <a:lnTo>
                      <a:pt x="60" y="4"/>
                    </a:lnTo>
                    <a:lnTo>
                      <a:pt x="62" y="5"/>
                    </a:lnTo>
                    <a:lnTo>
                      <a:pt x="62" y="6"/>
                    </a:lnTo>
                    <a:lnTo>
                      <a:pt x="63" y="7"/>
                    </a:lnTo>
                    <a:lnTo>
                      <a:pt x="64" y="11"/>
                    </a:lnTo>
                    <a:lnTo>
                      <a:pt x="64" y="12"/>
                    </a:lnTo>
                    <a:lnTo>
                      <a:pt x="65" y="14"/>
                    </a:lnTo>
                    <a:lnTo>
                      <a:pt x="65" y="15"/>
                    </a:lnTo>
                    <a:lnTo>
                      <a:pt x="64" y="16"/>
                    </a:lnTo>
                    <a:lnTo>
                      <a:pt x="63" y="18"/>
                    </a:lnTo>
                    <a:lnTo>
                      <a:pt x="60" y="21"/>
                    </a:lnTo>
                    <a:lnTo>
                      <a:pt x="59" y="23"/>
                    </a:lnTo>
                    <a:lnTo>
                      <a:pt x="58" y="26"/>
                    </a:lnTo>
                    <a:lnTo>
                      <a:pt x="57" y="28"/>
                    </a:lnTo>
                    <a:lnTo>
                      <a:pt x="56" y="30"/>
                    </a:lnTo>
                    <a:lnTo>
                      <a:pt x="56" y="31"/>
                    </a:lnTo>
                    <a:lnTo>
                      <a:pt x="56" y="33"/>
                    </a:lnTo>
                    <a:lnTo>
                      <a:pt x="56" y="36"/>
                    </a:lnTo>
                    <a:close/>
                  </a:path>
                </a:pathLst>
              </a:custGeom>
              <a:solidFill>
                <a:srgbClr val="CBE3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8" name="Freeform 28">
                <a:extLst>
                  <a:ext uri="{FF2B5EF4-FFF2-40B4-BE49-F238E27FC236}">
                    <a16:creationId xmlns:a16="http://schemas.microsoft.com/office/drawing/2014/main" id="{AF924423-F001-8882-DB03-3504F211D758}"/>
                  </a:ext>
                </a:extLst>
              </p:cNvPr>
              <p:cNvSpPr>
                <a:spLocks/>
              </p:cNvSpPr>
              <p:nvPr/>
            </p:nvSpPr>
            <p:spPr bwMode="auto">
              <a:xfrm>
                <a:off x="3303588" y="3421063"/>
                <a:ext cx="500063" cy="608013"/>
              </a:xfrm>
              <a:custGeom>
                <a:avLst/>
                <a:gdLst>
                  <a:gd name="T0" fmla="*/ 98 w 315"/>
                  <a:gd name="T1" fmla="*/ 35 h 383"/>
                  <a:gd name="T2" fmla="*/ 107 w 315"/>
                  <a:gd name="T3" fmla="*/ 61 h 383"/>
                  <a:gd name="T4" fmla="*/ 101 w 315"/>
                  <a:gd name="T5" fmla="*/ 80 h 383"/>
                  <a:gd name="T6" fmla="*/ 99 w 315"/>
                  <a:gd name="T7" fmla="*/ 110 h 383"/>
                  <a:gd name="T8" fmla="*/ 111 w 315"/>
                  <a:gd name="T9" fmla="*/ 126 h 383"/>
                  <a:gd name="T10" fmla="*/ 139 w 315"/>
                  <a:gd name="T11" fmla="*/ 124 h 383"/>
                  <a:gd name="T12" fmla="*/ 155 w 315"/>
                  <a:gd name="T13" fmla="*/ 128 h 383"/>
                  <a:gd name="T14" fmla="*/ 162 w 315"/>
                  <a:gd name="T15" fmla="*/ 127 h 383"/>
                  <a:gd name="T16" fmla="*/ 155 w 315"/>
                  <a:gd name="T17" fmla="*/ 93 h 383"/>
                  <a:gd name="T18" fmla="*/ 136 w 315"/>
                  <a:gd name="T19" fmla="*/ 88 h 383"/>
                  <a:gd name="T20" fmla="*/ 127 w 315"/>
                  <a:gd name="T21" fmla="*/ 76 h 383"/>
                  <a:gd name="T22" fmla="*/ 164 w 315"/>
                  <a:gd name="T23" fmla="*/ 73 h 383"/>
                  <a:gd name="T24" fmla="*/ 186 w 315"/>
                  <a:gd name="T25" fmla="*/ 97 h 383"/>
                  <a:gd name="T26" fmla="*/ 181 w 315"/>
                  <a:gd name="T27" fmla="*/ 137 h 383"/>
                  <a:gd name="T28" fmla="*/ 166 w 315"/>
                  <a:gd name="T29" fmla="*/ 171 h 383"/>
                  <a:gd name="T30" fmla="*/ 146 w 315"/>
                  <a:gd name="T31" fmla="*/ 177 h 383"/>
                  <a:gd name="T32" fmla="*/ 140 w 315"/>
                  <a:gd name="T33" fmla="*/ 193 h 383"/>
                  <a:gd name="T34" fmla="*/ 164 w 315"/>
                  <a:gd name="T35" fmla="*/ 206 h 383"/>
                  <a:gd name="T36" fmla="*/ 196 w 315"/>
                  <a:gd name="T37" fmla="*/ 200 h 383"/>
                  <a:gd name="T38" fmla="*/ 214 w 315"/>
                  <a:gd name="T39" fmla="*/ 201 h 383"/>
                  <a:gd name="T40" fmla="*/ 244 w 315"/>
                  <a:gd name="T41" fmla="*/ 196 h 383"/>
                  <a:gd name="T42" fmla="*/ 275 w 315"/>
                  <a:gd name="T43" fmla="*/ 189 h 383"/>
                  <a:gd name="T44" fmla="*/ 290 w 315"/>
                  <a:gd name="T45" fmla="*/ 222 h 383"/>
                  <a:gd name="T46" fmla="*/ 295 w 315"/>
                  <a:gd name="T47" fmla="*/ 250 h 383"/>
                  <a:gd name="T48" fmla="*/ 315 w 315"/>
                  <a:gd name="T49" fmla="*/ 264 h 383"/>
                  <a:gd name="T50" fmla="*/ 286 w 315"/>
                  <a:gd name="T51" fmla="*/ 301 h 383"/>
                  <a:gd name="T52" fmla="*/ 259 w 315"/>
                  <a:gd name="T53" fmla="*/ 322 h 383"/>
                  <a:gd name="T54" fmla="*/ 256 w 315"/>
                  <a:gd name="T55" fmla="*/ 331 h 383"/>
                  <a:gd name="T56" fmla="*/ 254 w 315"/>
                  <a:gd name="T57" fmla="*/ 341 h 383"/>
                  <a:gd name="T58" fmla="*/ 250 w 315"/>
                  <a:gd name="T59" fmla="*/ 362 h 383"/>
                  <a:gd name="T60" fmla="*/ 208 w 315"/>
                  <a:gd name="T61" fmla="*/ 367 h 383"/>
                  <a:gd name="T62" fmla="*/ 187 w 315"/>
                  <a:gd name="T63" fmla="*/ 373 h 383"/>
                  <a:gd name="T64" fmla="*/ 75 w 315"/>
                  <a:gd name="T65" fmla="*/ 372 h 383"/>
                  <a:gd name="T66" fmla="*/ 45 w 315"/>
                  <a:gd name="T67" fmla="*/ 365 h 383"/>
                  <a:gd name="T68" fmla="*/ 56 w 315"/>
                  <a:gd name="T69" fmla="*/ 356 h 383"/>
                  <a:gd name="T70" fmla="*/ 45 w 315"/>
                  <a:gd name="T71" fmla="*/ 338 h 383"/>
                  <a:gd name="T72" fmla="*/ 41 w 315"/>
                  <a:gd name="T73" fmla="*/ 320 h 383"/>
                  <a:gd name="T74" fmla="*/ 44 w 315"/>
                  <a:gd name="T75" fmla="*/ 298 h 383"/>
                  <a:gd name="T76" fmla="*/ 44 w 315"/>
                  <a:gd name="T77" fmla="*/ 285 h 383"/>
                  <a:gd name="T78" fmla="*/ 47 w 315"/>
                  <a:gd name="T79" fmla="*/ 263 h 383"/>
                  <a:gd name="T80" fmla="*/ 53 w 315"/>
                  <a:gd name="T81" fmla="*/ 244 h 383"/>
                  <a:gd name="T82" fmla="*/ 53 w 315"/>
                  <a:gd name="T83" fmla="*/ 221 h 383"/>
                  <a:gd name="T84" fmla="*/ 44 w 315"/>
                  <a:gd name="T85" fmla="*/ 204 h 383"/>
                  <a:gd name="T86" fmla="*/ 41 w 315"/>
                  <a:gd name="T87" fmla="*/ 188 h 383"/>
                  <a:gd name="T88" fmla="*/ 34 w 315"/>
                  <a:gd name="T89" fmla="*/ 168 h 383"/>
                  <a:gd name="T90" fmla="*/ 20 w 315"/>
                  <a:gd name="T91" fmla="*/ 157 h 383"/>
                  <a:gd name="T92" fmla="*/ 9 w 315"/>
                  <a:gd name="T93" fmla="*/ 147 h 383"/>
                  <a:gd name="T94" fmla="*/ 14 w 315"/>
                  <a:gd name="T95" fmla="*/ 137 h 383"/>
                  <a:gd name="T96" fmla="*/ 0 w 315"/>
                  <a:gd name="T97" fmla="*/ 117 h 383"/>
                  <a:gd name="T98" fmla="*/ 12 w 315"/>
                  <a:gd name="T99" fmla="*/ 111 h 383"/>
                  <a:gd name="T100" fmla="*/ 13 w 315"/>
                  <a:gd name="T101" fmla="*/ 88 h 383"/>
                  <a:gd name="T102" fmla="*/ 12 w 315"/>
                  <a:gd name="T103" fmla="*/ 61 h 383"/>
                  <a:gd name="T104" fmla="*/ 11 w 315"/>
                  <a:gd name="T105" fmla="*/ 38 h 383"/>
                  <a:gd name="T106" fmla="*/ 15 w 315"/>
                  <a:gd name="T107" fmla="*/ 27 h 383"/>
                  <a:gd name="T108" fmla="*/ 28 w 315"/>
                  <a:gd name="T109" fmla="*/ 19 h 383"/>
                  <a:gd name="T110" fmla="*/ 41 w 315"/>
                  <a:gd name="T111" fmla="*/ 3 h 383"/>
                  <a:gd name="T112" fmla="*/ 60 w 315"/>
                  <a:gd name="T113" fmla="*/ 9 h 383"/>
                  <a:gd name="T114" fmla="*/ 72 w 315"/>
                  <a:gd name="T115" fmla="*/ 2 h 383"/>
                  <a:gd name="T116" fmla="*/ 89 w 315"/>
                  <a:gd name="T117" fmla="*/ 4 h 383"/>
                  <a:gd name="T118" fmla="*/ 99 w 315"/>
                  <a:gd name="T119" fmla="*/ 16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5" h="383">
                    <a:moveTo>
                      <a:pt x="101" y="19"/>
                    </a:moveTo>
                    <a:lnTo>
                      <a:pt x="101" y="20"/>
                    </a:lnTo>
                    <a:lnTo>
                      <a:pt x="99" y="22"/>
                    </a:lnTo>
                    <a:lnTo>
                      <a:pt x="98" y="24"/>
                    </a:lnTo>
                    <a:lnTo>
                      <a:pt x="98" y="25"/>
                    </a:lnTo>
                    <a:lnTo>
                      <a:pt x="98" y="29"/>
                    </a:lnTo>
                    <a:lnTo>
                      <a:pt x="98" y="31"/>
                    </a:lnTo>
                    <a:lnTo>
                      <a:pt x="98" y="33"/>
                    </a:lnTo>
                    <a:lnTo>
                      <a:pt x="98" y="35"/>
                    </a:lnTo>
                    <a:lnTo>
                      <a:pt x="98" y="36"/>
                    </a:lnTo>
                    <a:lnTo>
                      <a:pt x="99" y="40"/>
                    </a:lnTo>
                    <a:lnTo>
                      <a:pt x="100" y="44"/>
                    </a:lnTo>
                    <a:lnTo>
                      <a:pt x="101" y="49"/>
                    </a:lnTo>
                    <a:lnTo>
                      <a:pt x="103" y="53"/>
                    </a:lnTo>
                    <a:lnTo>
                      <a:pt x="103" y="54"/>
                    </a:lnTo>
                    <a:lnTo>
                      <a:pt x="104" y="57"/>
                    </a:lnTo>
                    <a:lnTo>
                      <a:pt x="107" y="60"/>
                    </a:lnTo>
                    <a:lnTo>
                      <a:pt x="107" y="61"/>
                    </a:lnTo>
                    <a:lnTo>
                      <a:pt x="108" y="63"/>
                    </a:lnTo>
                    <a:lnTo>
                      <a:pt x="109" y="65"/>
                    </a:lnTo>
                    <a:lnTo>
                      <a:pt x="108" y="67"/>
                    </a:lnTo>
                    <a:lnTo>
                      <a:pt x="107" y="68"/>
                    </a:lnTo>
                    <a:lnTo>
                      <a:pt x="105" y="72"/>
                    </a:lnTo>
                    <a:lnTo>
                      <a:pt x="104" y="73"/>
                    </a:lnTo>
                    <a:lnTo>
                      <a:pt x="103" y="75"/>
                    </a:lnTo>
                    <a:lnTo>
                      <a:pt x="103" y="77"/>
                    </a:lnTo>
                    <a:lnTo>
                      <a:pt x="101" y="80"/>
                    </a:lnTo>
                    <a:lnTo>
                      <a:pt x="101" y="81"/>
                    </a:lnTo>
                    <a:lnTo>
                      <a:pt x="101" y="84"/>
                    </a:lnTo>
                    <a:lnTo>
                      <a:pt x="99" y="89"/>
                    </a:lnTo>
                    <a:lnTo>
                      <a:pt x="99" y="97"/>
                    </a:lnTo>
                    <a:lnTo>
                      <a:pt x="99" y="101"/>
                    </a:lnTo>
                    <a:lnTo>
                      <a:pt x="99" y="102"/>
                    </a:lnTo>
                    <a:lnTo>
                      <a:pt x="99" y="103"/>
                    </a:lnTo>
                    <a:lnTo>
                      <a:pt x="99" y="104"/>
                    </a:lnTo>
                    <a:lnTo>
                      <a:pt x="99" y="110"/>
                    </a:lnTo>
                    <a:lnTo>
                      <a:pt x="99" y="112"/>
                    </a:lnTo>
                    <a:lnTo>
                      <a:pt x="99" y="113"/>
                    </a:lnTo>
                    <a:lnTo>
                      <a:pt x="99" y="114"/>
                    </a:lnTo>
                    <a:lnTo>
                      <a:pt x="99" y="116"/>
                    </a:lnTo>
                    <a:lnTo>
                      <a:pt x="100" y="118"/>
                    </a:lnTo>
                    <a:lnTo>
                      <a:pt x="102" y="121"/>
                    </a:lnTo>
                    <a:lnTo>
                      <a:pt x="104" y="123"/>
                    </a:lnTo>
                    <a:lnTo>
                      <a:pt x="108" y="125"/>
                    </a:lnTo>
                    <a:lnTo>
                      <a:pt x="111" y="126"/>
                    </a:lnTo>
                    <a:lnTo>
                      <a:pt x="114" y="127"/>
                    </a:lnTo>
                    <a:lnTo>
                      <a:pt x="118" y="128"/>
                    </a:lnTo>
                    <a:lnTo>
                      <a:pt x="121" y="128"/>
                    </a:lnTo>
                    <a:lnTo>
                      <a:pt x="122" y="128"/>
                    </a:lnTo>
                    <a:lnTo>
                      <a:pt x="127" y="127"/>
                    </a:lnTo>
                    <a:lnTo>
                      <a:pt x="130" y="126"/>
                    </a:lnTo>
                    <a:lnTo>
                      <a:pt x="135" y="125"/>
                    </a:lnTo>
                    <a:lnTo>
                      <a:pt x="137" y="124"/>
                    </a:lnTo>
                    <a:lnTo>
                      <a:pt x="139" y="124"/>
                    </a:lnTo>
                    <a:lnTo>
                      <a:pt x="141" y="124"/>
                    </a:lnTo>
                    <a:lnTo>
                      <a:pt x="143" y="124"/>
                    </a:lnTo>
                    <a:lnTo>
                      <a:pt x="148" y="124"/>
                    </a:lnTo>
                    <a:lnTo>
                      <a:pt x="150" y="124"/>
                    </a:lnTo>
                    <a:lnTo>
                      <a:pt x="151" y="125"/>
                    </a:lnTo>
                    <a:lnTo>
                      <a:pt x="152" y="126"/>
                    </a:lnTo>
                    <a:lnTo>
                      <a:pt x="153" y="126"/>
                    </a:lnTo>
                    <a:lnTo>
                      <a:pt x="154" y="127"/>
                    </a:lnTo>
                    <a:lnTo>
                      <a:pt x="155" y="128"/>
                    </a:lnTo>
                    <a:lnTo>
                      <a:pt x="155" y="129"/>
                    </a:lnTo>
                    <a:lnTo>
                      <a:pt x="156" y="130"/>
                    </a:lnTo>
                    <a:lnTo>
                      <a:pt x="156" y="131"/>
                    </a:lnTo>
                    <a:lnTo>
                      <a:pt x="157" y="131"/>
                    </a:lnTo>
                    <a:lnTo>
                      <a:pt x="159" y="131"/>
                    </a:lnTo>
                    <a:lnTo>
                      <a:pt x="160" y="130"/>
                    </a:lnTo>
                    <a:lnTo>
                      <a:pt x="161" y="130"/>
                    </a:lnTo>
                    <a:lnTo>
                      <a:pt x="162" y="129"/>
                    </a:lnTo>
                    <a:lnTo>
                      <a:pt x="162" y="127"/>
                    </a:lnTo>
                    <a:lnTo>
                      <a:pt x="163" y="125"/>
                    </a:lnTo>
                    <a:lnTo>
                      <a:pt x="163" y="123"/>
                    </a:lnTo>
                    <a:lnTo>
                      <a:pt x="162" y="105"/>
                    </a:lnTo>
                    <a:lnTo>
                      <a:pt x="161" y="103"/>
                    </a:lnTo>
                    <a:lnTo>
                      <a:pt x="160" y="101"/>
                    </a:lnTo>
                    <a:lnTo>
                      <a:pt x="159" y="98"/>
                    </a:lnTo>
                    <a:lnTo>
                      <a:pt x="157" y="97"/>
                    </a:lnTo>
                    <a:lnTo>
                      <a:pt x="156" y="96"/>
                    </a:lnTo>
                    <a:lnTo>
                      <a:pt x="155" y="93"/>
                    </a:lnTo>
                    <a:lnTo>
                      <a:pt x="154" y="92"/>
                    </a:lnTo>
                    <a:lnTo>
                      <a:pt x="153" y="91"/>
                    </a:lnTo>
                    <a:lnTo>
                      <a:pt x="152" y="91"/>
                    </a:lnTo>
                    <a:lnTo>
                      <a:pt x="151" y="90"/>
                    </a:lnTo>
                    <a:lnTo>
                      <a:pt x="149" y="90"/>
                    </a:lnTo>
                    <a:lnTo>
                      <a:pt x="147" y="89"/>
                    </a:lnTo>
                    <a:lnTo>
                      <a:pt x="146" y="89"/>
                    </a:lnTo>
                    <a:lnTo>
                      <a:pt x="139" y="88"/>
                    </a:lnTo>
                    <a:lnTo>
                      <a:pt x="136" y="88"/>
                    </a:lnTo>
                    <a:lnTo>
                      <a:pt x="134" y="88"/>
                    </a:lnTo>
                    <a:lnTo>
                      <a:pt x="133" y="88"/>
                    </a:lnTo>
                    <a:lnTo>
                      <a:pt x="131" y="87"/>
                    </a:lnTo>
                    <a:lnTo>
                      <a:pt x="130" y="87"/>
                    </a:lnTo>
                    <a:lnTo>
                      <a:pt x="128" y="86"/>
                    </a:lnTo>
                    <a:lnTo>
                      <a:pt x="128" y="85"/>
                    </a:lnTo>
                    <a:lnTo>
                      <a:pt x="127" y="84"/>
                    </a:lnTo>
                    <a:lnTo>
                      <a:pt x="127" y="81"/>
                    </a:lnTo>
                    <a:lnTo>
                      <a:pt x="127" y="76"/>
                    </a:lnTo>
                    <a:lnTo>
                      <a:pt x="127" y="73"/>
                    </a:lnTo>
                    <a:lnTo>
                      <a:pt x="128" y="73"/>
                    </a:lnTo>
                    <a:lnTo>
                      <a:pt x="134" y="74"/>
                    </a:lnTo>
                    <a:lnTo>
                      <a:pt x="139" y="74"/>
                    </a:lnTo>
                    <a:lnTo>
                      <a:pt x="142" y="73"/>
                    </a:lnTo>
                    <a:lnTo>
                      <a:pt x="151" y="73"/>
                    </a:lnTo>
                    <a:lnTo>
                      <a:pt x="155" y="73"/>
                    </a:lnTo>
                    <a:lnTo>
                      <a:pt x="161" y="73"/>
                    </a:lnTo>
                    <a:lnTo>
                      <a:pt x="164" y="73"/>
                    </a:lnTo>
                    <a:lnTo>
                      <a:pt x="167" y="74"/>
                    </a:lnTo>
                    <a:lnTo>
                      <a:pt x="170" y="76"/>
                    </a:lnTo>
                    <a:lnTo>
                      <a:pt x="174" y="79"/>
                    </a:lnTo>
                    <a:lnTo>
                      <a:pt x="177" y="81"/>
                    </a:lnTo>
                    <a:lnTo>
                      <a:pt x="178" y="84"/>
                    </a:lnTo>
                    <a:lnTo>
                      <a:pt x="179" y="85"/>
                    </a:lnTo>
                    <a:lnTo>
                      <a:pt x="181" y="89"/>
                    </a:lnTo>
                    <a:lnTo>
                      <a:pt x="185" y="93"/>
                    </a:lnTo>
                    <a:lnTo>
                      <a:pt x="186" y="97"/>
                    </a:lnTo>
                    <a:lnTo>
                      <a:pt x="188" y="102"/>
                    </a:lnTo>
                    <a:lnTo>
                      <a:pt x="188" y="103"/>
                    </a:lnTo>
                    <a:lnTo>
                      <a:pt x="188" y="105"/>
                    </a:lnTo>
                    <a:lnTo>
                      <a:pt x="189" y="108"/>
                    </a:lnTo>
                    <a:lnTo>
                      <a:pt x="188" y="113"/>
                    </a:lnTo>
                    <a:lnTo>
                      <a:pt x="187" y="121"/>
                    </a:lnTo>
                    <a:lnTo>
                      <a:pt x="183" y="129"/>
                    </a:lnTo>
                    <a:lnTo>
                      <a:pt x="183" y="134"/>
                    </a:lnTo>
                    <a:lnTo>
                      <a:pt x="181" y="137"/>
                    </a:lnTo>
                    <a:lnTo>
                      <a:pt x="179" y="143"/>
                    </a:lnTo>
                    <a:lnTo>
                      <a:pt x="177" y="153"/>
                    </a:lnTo>
                    <a:lnTo>
                      <a:pt x="176" y="155"/>
                    </a:lnTo>
                    <a:lnTo>
                      <a:pt x="175" y="157"/>
                    </a:lnTo>
                    <a:lnTo>
                      <a:pt x="174" y="164"/>
                    </a:lnTo>
                    <a:lnTo>
                      <a:pt x="169" y="169"/>
                    </a:lnTo>
                    <a:lnTo>
                      <a:pt x="168" y="169"/>
                    </a:lnTo>
                    <a:lnTo>
                      <a:pt x="167" y="169"/>
                    </a:lnTo>
                    <a:lnTo>
                      <a:pt x="166" y="171"/>
                    </a:lnTo>
                    <a:lnTo>
                      <a:pt x="165" y="171"/>
                    </a:lnTo>
                    <a:lnTo>
                      <a:pt x="163" y="173"/>
                    </a:lnTo>
                    <a:lnTo>
                      <a:pt x="161" y="174"/>
                    </a:lnTo>
                    <a:lnTo>
                      <a:pt x="159" y="174"/>
                    </a:lnTo>
                    <a:lnTo>
                      <a:pt x="156" y="174"/>
                    </a:lnTo>
                    <a:lnTo>
                      <a:pt x="153" y="175"/>
                    </a:lnTo>
                    <a:lnTo>
                      <a:pt x="151" y="175"/>
                    </a:lnTo>
                    <a:lnTo>
                      <a:pt x="149" y="176"/>
                    </a:lnTo>
                    <a:lnTo>
                      <a:pt x="146" y="177"/>
                    </a:lnTo>
                    <a:lnTo>
                      <a:pt x="144" y="178"/>
                    </a:lnTo>
                    <a:lnTo>
                      <a:pt x="142" y="179"/>
                    </a:lnTo>
                    <a:lnTo>
                      <a:pt x="141" y="181"/>
                    </a:lnTo>
                    <a:lnTo>
                      <a:pt x="140" y="183"/>
                    </a:lnTo>
                    <a:lnTo>
                      <a:pt x="139" y="186"/>
                    </a:lnTo>
                    <a:lnTo>
                      <a:pt x="139" y="188"/>
                    </a:lnTo>
                    <a:lnTo>
                      <a:pt x="139" y="190"/>
                    </a:lnTo>
                    <a:lnTo>
                      <a:pt x="140" y="192"/>
                    </a:lnTo>
                    <a:lnTo>
                      <a:pt x="140" y="193"/>
                    </a:lnTo>
                    <a:lnTo>
                      <a:pt x="141" y="194"/>
                    </a:lnTo>
                    <a:lnTo>
                      <a:pt x="142" y="194"/>
                    </a:lnTo>
                    <a:lnTo>
                      <a:pt x="143" y="195"/>
                    </a:lnTo>
                    <a:lnTo>
                      <a:pt x="144" y="196"/>
                    </a:lnTo>
                    <a:lnTo>
                      <a:pt x="150" y="201"/>
                    </a:lnTo>
                    <a:lnTo>
                      <a:pt x="154" y="203"/>
                    </a:lnTo>
                    <a:lnTo>
                      <a:pt x="157" y="205"/>
                    </a:lnTo>
                    <a:lnTo>
                      <a:pt x="161" y="206"/>
                    </a:lnTo>
                    <a:lnTo>
                      <a:pt x="164" y="206"/>
                    </a:lnTo>
                    <a:lnTo>
                      <a:pt x="165" y="206"/>
                    </a:lnTo>
                    <a:lnTo>
                      <a:pt x="169" y="206"/>
                    </a:lnTo>
                    <a:lnTo>
                      <a:pt x="174" y="205"/>
                    </a:lnTo>
                    <a:lnTo>
                      <a:pt x="177" y="204"/>
                    </a:lnTo>
                    <a:lnTo>
                      <a:pt x="185" y="202"/>
                    </a:lnTo>
                    <a:lnTo>
                      <a:pt x="190" y="200"/>
                    </a:lnTo>
                    <a:lnTo>
                      <a:pt x="191" y="200"/>
                    </a:lnTo>
                    <a:lnTo>
                      <a:pt x="195" y="200"/>
                    </a:lnTo>
                    <a:lnTo>
                      <a:pt x="196" y="200"/>
                    </a:lnTo>
                    <a:lnTo>
                      <a:pt x="198" y="200"/>
                    </a:lnTo>
                    <a:lnTo>
                      <a:pt x="201" y="199"/>
                    </a:lnTo>
                    <a:lnTo>
                      <a:pt x="205" y="199"/>
                    </a:lnTo>
                    <a:lnTo>
                      <a:pt x="206" y="199"/>
                    </a:lnTo>
                    <a:lnTo>
                      <a:pt x="207" y="200"/>
                    </a:lnTo>
                    <a:lnTo>
                      <a:pt x="208" y="200"/>
                    </a:lnTo>
                    <a:lnTo>
                      <a:pt x="209" y="200"/>
                    </a:lnTo>
                    <a:lnTo>
                      <a:pt x="212" y="201"/>
                    </a:lnTo>
                    <a:lnTo>
                      <a:pt x="214" y="201"/>
                    </a:lnTo>
                    <a:lnTo>
                      <a:pt x="216" y="202"/>
                    </a:lnTo>
                    <a:lnTo>
                      <a:pt x="218" y="202"/>
                    </a:lnTo>
                    <a:lnTo>
                      <a:pt x="220" y="203"/>
                    </a:lnTo>
                    <a:lnTo>
                      <a:pt x="222" y="203"/>
                    </a:lnTo>
                    <a:lnTo>
                      <a:pt x="224" y="203"/>
                    </a:lnTo>
                    <a:lnTo>
                      <a:pt x="228" y="203"/>
                    </a:lnTo>
                    <a:lnTo>
                      <a:pt x="234" y="201"/>
                    </a:lnTo>
                    <a:lnTo>
                      <a:pt x="241" y="198"/>
                    </a:lnTo>
                    <a:lnTo>
                      <a:pt x="244" y="196"/>
                    </a:lnTo>
                    <a:lnTo>
                      <a:pt x="249" y="194"/>
                    </a:lnTo>
                    <a:lnTo>
                      <a:pt x="251" y="193"/>
                    </a:lnTo>
                    <a:lnTo>
                      <a:pt x="254" y="191"/>
                    </a:lnTo>
                    <a:lnTo>
                      <a:pt x="260" y="188"/>
                    </a:lnTo>
                    <a:lnTo>
                      <a:pt x="265" y="187"/>
                    </a:lnTo>
                    <a:lnTo>
                      <a:pt x="268" y="187"/>
                    </a:lnTo>
                    <a:lnTo>
                      <a:pt x="270" y="187"/>
                    </a:lnTo>
                    <a:lnTo>
                      <a:pt x="275" y="188"/>
                    </a:lnTo>
                    <a:lnTo>
                      <a:pt x="275" y="189"/>
                    </a:lnTo>
                    <a:lnTo>
                      <a:pt x="277" y="193"/>
                    </a:lnTo>
                    <a:lnTo>
                      <a:pt x="278" y="194"/>
                    </a:lnTo>
                    <a:lnTo>
                      <a:pt x="282" y="201"/>
                    </a:lnTo>
                    <a:lnTo>
                      <a:pt x="284" y="206"/>
                    </a:lnTo>
                    <a:lnTo>
                      <a:pt x="288" y="213"/>
                    </a:lnTo>
                    <a:lnTo>
                      <a:pt x="288" y="214"/>
                    </a:lnTo>
                    <a:lnTo>
                      <a:pt x="289" y="217"/>
                    </a:lnTo>
                    <a:lnTo>
                      <a:pt x="289" y="219"/>
                    </a:lnTo>
                    <a:lnTo>
                      <a:pt x="290" y="222"/>
                    </a:lnTo>
                    <a:lnTo>
                      <a:pt x="291" y="226"/>
                    </a:lnTo>
                    <a:lnTo>
                      <a:pt x="291" y="230"/>
                    </a:lnTo>
                    <a:lnTo>
                      <a:pt x="291" y="232"/>
                    </a:lnTo>
                    <a:lnTo>
                      <a:pt x="292" y="233"/>
                    </a:lnTo>
                    <a:lnTo>
                      <a:pt x="293" y="238"/>
                    </a:lnTo>
                    <a:lnTo>
                      <a:pt x="293" y="241"/>
                    </a:lnTo>
                    <a:lnTo>
                      <a:pt x="294" y="244"/>
                    </a:lnTo>
                    <a:lnTo>
                      <a:pt x="294" y="245"/>
                    </a:lnTo>
                    <a:lnTo>
                      <a:pt x="295" y="250"/>
                    </a:lnTo>
                    <a:lnTo>
                      <a:pt x="296" y="254"/>
                    </a:lnTo>
                    <a:lnTo>
                      <a:pt x="297" y="255"/>
                    </a:lnTo>
                    <a:lnTo>
                      <a:pt x="298" y="257"/>
                    </a:lnTo>
                    <a:lnTo>
                      <a:pt x="302" y="258"/>
                    </a:lnTo>
                    <a:lnTo>
                      <a:pt x="299" y="260"/>
                    </a:lnTo>
                    <a:lnTo>
                      <a:pt x="299" y="261"/>
                    </a:lnTo>
                    <a:lnTo>
                      <a:pt x="302" y="261"/>
                    </a:lnTo>
                    <a:lnTo>
                      <a:pt x="303" y="261"/>
                    </a:lnTo>
                    <a:lnTo>
                      <a:pt x="315" y="264"/>
                    </a:lnTo>
                    <a:lnTo>
                      <a:pt x="314" y="266"/>
                    </a:lnTo>
                    <a:lnTo>
                      <a:pt x="309" y="273"/>
                    </a:lnTo>
                    <a:lnTo>
                      <a:pt x="308" y="276"/>
                    </a:lnTo>
                    <a:lnTo>
                      <a:pt x="308" y="277"/>
                    </a:lnTo>
                    <a:lnTo>
                      <a:pt x="298" y="289"/>
                    </a:lnTo>
                    <a:lnTo>
                      <a:pt x="296" y="291"/>
                    </a:lnTo>
                    <a:lnTo>
                      <a:pt x="294" y="293"/>
                    </a:lnTo>
                    <a:lnTo>
                      <a:pt x="290" y="297"/>
                    </a:lnTo>
                    <a:lnTo>
                      <a:pt x="286" y="301"/>
                    </a:lnTo>
                    <a:lnTo>
                      <a:pt x="284" y="304"/>
                    </a:lnTo>
                    <a:lnTo>
                      <a:pt x="280" y="308"/>
                    </a:lnTo>
                    <a:lnTo>
                      <a:pt x="280" y="310"/>
                    </a:lnTo>
                    <a:lnTo>
                      <a:pt x="280" y="321"/>
                    </a:lnTo>
                    <a:lnTo>
                      <a:pt x="267" y="322"/>
                    </a:lnTo>
                    <a:lnTo>
                      <a:pt x="266" y="321"/>
                    </a:lnTo>
                    <a:lnTo>
                      <a:pt x="260" y="322"/>
                    </a:lnTo>
                    <a:lnTo>
                      <a:pt x="260" y="321"/>
                    </a:lnTo>
                    <a:lnTo>
                      <a:pt x="259" y="322"/>
                    </a:lnTo>
                    <a:lnTo>
                      <a:pt x="259" y="323"/>
                    </a:lnTo>
                    <a:lnTo>
                      <a:pt x="258" y="323"/>
                    </a:lnTo>
                    <a:lnTo>
                      <a:pt x="258" y="325"/>
                    </a:lnTo>
                    <a:lnTo>
                      <a:pt x="258" y="327"/>
                    </a:lnTo>
                    <a:lnTo>
                      <a:pt x="257" y="328"/>
                    </a:lnTo>
                    <a:lnTo>
                      <a:pt x="257" y="329"/>
                    </a:lnTo>
                    <a:lnTo>
                      <a:pt x="257" y="330"/>
                    </a:lnTo>
                    <a:lnTo>
                      <a:pt x="256" y="330"/>
                    </a:lnTo>
                    <a:lnTo>
                      <a:pt x="256" y="331"/>
                    </a:lnTo>
                    <a:lnTo>
                      <a:pt x="255" y="332"/>
                    </a:lnTo>
                    <a:lnTo>
                      <a:pt x="255" y="333"/>
                    </a:lnTo>
                    <a:lnTo>
                      <a:pt x="255" y="334"/>
                    </a:lnTo>
                    <a:lnTo>
                      <a:pt x="255" y="335"/>
                    </a:lnTo>
                    <a:lnTo>
                      <a:pt x="255" y="336"/>
                    </a:lnTo>
                    <a:lnTo>
                      <a:pt x="254" y="337"/>
                    </a:lnTo>
                    <a:lnTo>
                      <a:pt x="254" y="338"/>
                    </a:lnTo>
                    <a:lnTo>
                      <a:pt x="254" y="340"/>
                    </a:lnTo>
                    <a:lnTo>
                      <a:pt x="254" y="341"/>
                    </a:lnTo>
                    <a:lnTo>
                      <a:pt x="254" y="342"/>
                    </a:lnTo>
                    <a:lnTo>
                      <a:pt x="250" y="342"/>
                    </a:lnTo>
                    <a:lnTo>
                      <a:pt x="250" y="345"/>
                    </a:lnTo>
                    <a:lnTo>
                      <a:pt x="250" y="346"/>
                    </a:lnTo>
                    <a:lnTo>
                      <a:pt x="250" y="349"/>
                    </a:lnTo>
                    <a:lnTo>
                      <a:pt x="250" y="353"/>
                    </a:lnTo>
                    <a:lnTo>
                      <a:pt x="250" y="358"/>
                    </a:lnTo>
                    <a:lnTo>
                      <a:pt x="250" y="360"/>
                    </a:lnTo>
                    <a:lnTo>
                      <a:pt x="250" y="362"/>
                    </a:lnTo>
                    <a:lnTo>
                      <a:pt x="233" y="362"/>
                    </a:lnTo>
                    <a:lnTo>
                      <a:pt x="231" y="362"/>
                    </a:lnTo>
                    <a:lnTo>
                      <a:pt x="222" y="362"/>
                    </a:lnTo>
                    <a:lnTo>
                      <a:pt x="218" y="363"/>
                    </a:lnTo>
                    <a:lnTo>
                      <a:pt x="215" y="363"/>
                    </a:lnTo>
                    <a:lnTo>
                      <a:pt x="212" y="363"/>
                    </a:lnTo>
                    <a:lnTo>
                      <a:pt x="208" y="363"/>
                    </a:lnTo>
                    <a:lnTo>
                      <a:pt x="208" y="365"/>
                    </a:lnTo>
                    <a:lnTo>
                      <a:pt x="208" y="367"/>
                    </a:lnTo>
                    <a:lnTo>
                      <a:pt x="208" y="371"/>
                    </a:lnTo>
                    <a:lnTo>
                      <a:pt x="208" y="373"/>
                    </a:lnTo>
                    <a:lnTo>
                      <a:pt x="206" y="373"/>
                    </a:lnTo>
                    <a:lnTo>
                      <a:pt x="198" y="373"/>
                    </a:lnTo>
                    <a:lnTo>
                      <a:pt x="198" y="372"/>
                    </a:lnTo>
                    <a:lnTo>
                      <a:pt x="198" y="373"/>
                    </a:lnTo>
                    <a:lnTo>
                      <a:pt x="194" y="373"/>
                    </a:lnTo>
                    <a:lnTo>
                      <a:pt x="188" y="373"/>
                    </a:lnTo>
                    <a:lnTo>
                      <a:pt x="187" y="373"/>
                    </a:lnTo>
                    <a:lnTo>
                      <a:pt x="181" y="373"/>
                    </a:lnTo>
                    <a:lnTo>
                      <a:pt x="178" y="374"/>
                    </a:lnTo>
                    <a:lnTo>
                      <a:pt x="162" y="379"/>
                    </a:lnTo>
                    <a:lnTo>
                      <a:pt x="163" y="383"/>
                    </a:lnTo>
                    <a:lnTo>
                      <a:pt x="154" y="383"/>
                    </a:lnTo>
                    <a:lnTo>
                      <a:pt x="147" y="383"/>
                    </a:lnTo>
                    <a:lnTo>
                      <a:pt x="147" y="373"/>
                    </a:lnTo>
                    <a:lnTo>
                      <a:pt x="121" y="373"/>
                    </a:lnTo>
                    <a:lnTo>
                      <a:pt x="75" y="372"/>
                    </a:lnTo>
                    <a:lnTo>
                      <a:pt x="43" y="372"/>
                    </a:lnTo>
                    <a:lnTo>
                      <a:pt x="40" y="372"/>
                    </a:lnTo>
                    <a:lnTo>
                      <a:pt x="40" y="371"/>
                    </a:lnTo>
                    <a:lnTo>
                      <a:pt x="41" y="370"/>
                    </a:lnTo>
                    <a:lnTo>
                      <a:pt x="41" y="368"/>
                    </a:lnTo>
                    <a:lnTo>
                      <a:pt x="43" y="367"/>
                    </a:lnTo>
                    <a:lnTo>
                      <a:pt x="44" y="366"/>
                    </a:lnTo>
                    <a:lnTo>
                      <a:pt x="44" y="365"/>
                    </a:lnTo>
                    <a:lnTo>
                      <a:pt x="45" y="365"/>
                    </a:lnTo>
                    <a:lnTo>
                      <a:pt x="46" y="365"/>
                    </a:lnTo>
                    <a:lnTo>
                      <a:pt x="49" y="365"/>
                    </a:lnTo>
                    <a:lnTo>
                      <a:pt x="53" y="365"/>
                    </a:lnTo>
                    <a:lnTo>
                      <a:pt x="54" y="365"/>
                    </a:lnTo>
                    <a:lnTo>
                      <a:pt x="56" y="363"/>
                    </a:lnTo>
                    <a:lnTo>
                      <a:pt x="56" y="362"/>
                    </a:lnTo>
                    <a:lnTo>
                      <a:pt x="56" y="360"/>
                    </a:lnTo>
                    <a:lnTo>
                      <a:pt x="56" y="358"/>
                    </a:lnTo>
                    <a:lnTo>
                      <a:pt x="56" y="356"/>
                    </a:lnTo>
                    <a:lnTo>
                      <a:pt x="54" y="355"/>
                    </a:lnTo>
                    <a:lnTo>
                      <a:pt x="52" y="353"/>
                    </a:lnTo>
                    <a:lnTo>
                      <a:pt x="51" y="351"/>
                    </a:lnTo>
                    <a:lnTo>
                      <a:pt x="51" y="350"/>
                    </a:lnTo>
                    <a:lnTo>
                      <a:pt x="50" y="349"/>
                    </a:lnTo>
                    <a:lnTo>
                      <a:pt x="49" y="348"/>
                    </a:lnTo>
                    <a:lnTo>
                      <a:pt x="48" y="345"/>
                    </a:lnTo>
                    <a:lnTo>
                      <a:pt x="47" y="343"/>
                    </a:lnTo>
                    <a:lnTo>
                      <a:pt x="45" y="338"/>
                    </a:lnTo>
                    <a:lnTo>
                      <a:pt x="45" y="337"/>
                    </a:lnTo>
                    <a:lnTo>
                      <a:pt x="44" y="334"/>
                    </a:lnTo>
                    <a:lnTo>
                      <a:pt x="43" y="332"/>
                    </a:lnTo>
                    <a:lnTo>
                      <a:pt x="41" y="329"/>
                    </a:lnTo>
                    <a:lnTo>
                      <a:pt x="40" y="327"/>
                    </a:lnTo>
                    <a:lnTo>
                      <a:pt x="40" y="325"/>
                    </a:lnTo>
                    <a:lnTo>
                      <a:pt x="40" y="323"/>
                    </a:lnTo>
                    <a:lnTo>
                      <a:pt x="40" y="322"/>
                    </a:lnTo>
                    <a:lnTo>
                      <a:pt x="41" y="320"/>
                    </a:lnTo>
                    <a:lnTo>
                      <a:pt x="41" y="318"/>
                    </a:lnTo>
                    <a:lnTo>
                      <a:pt x="41" y="314"/>
                    </a:lnTo>
                    <a:lnTo>
                      <a:pt x="41" y="311"/>
                    </a:lnTo>
                    <a:lnTo>
                      <a:pt x="41" y="309"/>
                    </a:lnTo>
                    <a:lnTo>
                      <a:pt x="43" y="308"/>
                    </a:lnTo>
                    <a:lnTo>
                      <a:pt x="43" y="305"/>
                    </a:lnTo>
                    <a:lnTo>
                      <a:pt x="44" y="302"/>
                    </a:lnTo>
                    <a:lnTo>
                      <a:pt x="44" y="301"/>
                    </a:lnTo>
                    <a:lnTo>
                      <a:pt x="44" y="298"/>
                    </a:lnTo>
                    <a:lnTo>
                      <a:pt x="44" y="297"/>
                    </a:lnTo>
                    <a:lnTo>
                      <a:pt x="43" y="295"/>
                    </a:lnTo>
                    <a:lnTo>
                      <a:pt x="43" y="294"/>
                    </a:lnTo>
                    <a:lnTo>
                      <a:pt x="41" y="292"/>
                    </a:lnTo>
                    <a:lnTo>
                      <a:pt x="41" y="291"/>
                    </a:lnTo>
                    <a:lnTo>
                      <a:pt x="41" y="290"/>
                    </a:lnTo>
                    <a:lnTo>
                      <a:pt x="43" y="288"/>
                    </a:lnTo>
                    <a:lnTo>
                      <a:pt x="43" y="285"/>
                    </a:lnTo>
                    <a:lnTo>
                      <a:pt x="44" y="285"/>
                    </a:lnTo>
                    <a:lnTo>
                      <a:pt x="45" y="283"/>
                    </a:lnTo>
                    <a:lnTo>
                      <a:pt x="46" y="282"/>
                    </a:lnTo>
                    <a:lnTo>
                      <a:pt x="47" y="282"/>
                    </a:lnTo>
                    <a:lnTo>
                      <a:pt x="48" y="282"/>
                    </a:lnTo>
                    <a:lnTo>
                      <a:pt x="49" y="280"/>
                    </a:lnTo>
                    <a:lnTo>
                      <a:pt x="50" y="278"/>
                    </a:lnTo>
                    <a:lnTo>
                      <a:pt x="50" y="277"/>
                    </a:lnTo>
                    <a:lnTo>
                      <a:pt x="48" y="271"/>
                    </a:lnTo>
                    <a:lnTo>
                      <a:pt x="47" y="263"/>
                    </a:lnTo>
                    <a:lnTo>
                      <a:pt x="47" y="258"/>
                    </a:lnTo>
                    <a:lnTo>
                      <a:pt x="47" y="256"/>
                    </a:lnTo>
                    <a:lnTo>
                      <a:pt x="48" y="255"/>
                    </a:lnTo>
                    <a:lnTo>
                      <a:pt x="49" y="254"/>
                    </a:lnTo>
                    <a:lnTo>
                      <a:pt x="51" y="254"/>
                    </a:lnTo>
                    <a:lnTo>
                      <a:pt x="56" y="252"/>
                    </a:lnTo>
                    <a:lnTo>
                      <a:pt x="56" y="250"/>
                    </a:lnTo>
                    <a:lnTo>
                      <a:pt x="56" y="248"/>
                    </a:lnTo>
                    <a:lnTo>
                      <a:pt x="53" y="244"/>
                    </a:lnTo>
                    <a:lnTo>
                      <a:pt x="53" y="243"/>
                    </a:lnTo>
                    <a:lnTo>
                      <a:pt x="53" y="240"/>
                    </a:lnTo>
                    <a:lnTo>
                      <a:pt x="53" y="237"/>
                    </a:lnTo>
                    <a:lnTo>
                      <a:pt x="54" y="234"/>
                    </a:lnTo>
                    <a:lnTo>
                      <a:pt x="54" y="231"/>
                    </a:lnTo>
                    <a:lnTo>
                      <a:pt x="54" y="227"/>
                    </a:lnTo>
                    <a:lnTo>
                      <a:pt x="54" y="226"/>
                    </a:lnTo>
                    <a:lnTo>
                      <a:pt x="53" y="224"/>
                    </a:lnTo>
                    <a:lnTo>
                      <a:pt x="53" y="221"/>
                    </a:lnTo>
                    <a:lnTo>
                      <a:pt x="52" y="220"/>
                    </a:lnTo>
                    <a:lnTo>
                      <a:pt x="51" y="219"/>
                    </a:lnTo>
                    <a:lnTo>
                      <a:pt x="51" y="218"/>
                    </a:lnTo>
                    <a:lnTo>
                      <a:pt x="49" y="215"/>
                    </a:lnTo>
                    <a:lnTo>
                      <a:pt x="47" y="212"/>
                    </a:lnTo>
                    <a:lnTo>
                      <a:pt x="46" y="211"/>
                    </a:lnTo>
                    <a:lnTo>
                      <a:pt x="46" y="208"/>
                    </a:lnTo>
                    <a:lnTo>
                      <a:pt x="46" y="207"/>
                    </a:lnTo>
                    <a:lnTo>
                      <a:pt x="44" y="204"/>
                    </a:lnTo>
                    <a:lnTo>
                      <a:pt x="44" y="203"/>
                    </a:lnTo>
                    <a:lnTo>
                      <a:pt x="41" y="202"/>
                    </a:lnTo>
                    <a:lnTo>
                      <a:pt x="40" y="200"/>
                    </a:lnTo>
                    <a:lnTo>
                      <a:pt x="39" y="200"/>
                    </a:lnTo>
                    <a:lnTo>
                      <a:pt x="39" y="199"/>
                    </a:lnTo>
                    <a:lnTo>
                      <a:pt x="39" y="196"/>
                    </a:lnTo>
                    <a:lnTo>
                      <a:pt x="40" y="193"/>
                    </a:lnTo>
                    <a:lnTo>
                      <a:pt x="41" y="190"/>
                    </a:lnTo>
                    <a:lnTo>
                      <a:pt x="41" y="188"/>
                    </a:lnTo>
                    <a:lnTo>
                      <a:pt x="40" y="186"/>
                    </a:lnTo>
                    <a:lnTo>
                      <a:pt x="39" y="183"/>
                    </a:lnTo>
                    <a:lnTo>
                      <a:pt x="38" y="181"/>
                    </a:lnTo>
                    <a:lnTo>
                      <a:pt x="38" y="180"/>
                    </a:lnTo>
                    <a:lnTo>
                      <a:pt x="36" y="177"/>
                    </a:lnTo>
                    <a:lnTo>
                      <a:pt x="35" y="174"/>
                    </a:lnTo>
                    <a:lnTo>
                      <a:pt x="35" y="171"/>
                    </a:lnTo>
                    <a:lnTo>
                      <a:pt x="34" y="170"/>
                    </a:lnTo>
                    <a:lnTo>
                      <a:pt x="34" y="168"/>
                    </a:lnTo>
                    <a:lnTo>
                      <a:pt x="33" y="167"/>
                    </a:lnTo>
                    <a:lnTo>
                      <a:pt x="32" y="166"/>
                    </a:lnTo>
                    <a:lnTo>
                      <a:pt x="30" y="164"/>
                    </a:lnTo>
                    <a:lnTo>
                      <a:pt x="27" y="162"/>
                    </a:lnTo>
                    <a:lnTo>
                      <a:pt x="26" y="161"/>
                    </a:lnTo>
                    <a:lnTo>
                      <a:pt x="25" y="160"/>
                    </a:lnTo>
                    <a:lnTo>
                      <a:pt x="22" y="158"/>
                    </a:lnTo>
                    <a:lnTo>
                      <a:pt x="21" y="158"/>
                    </a:lnTo>
                    <a:lnTo>
                      <a:pt x="20" y="157"/>
                    </a:lnTo>
                    <a:lnTo>
                      <a:pt x="19" y="156"/>
                    </a:lnTo>
                    <a:lnTo>
                      <a:pt x="18" y="155"/>
                    </a:lnTo>
                    <a:lnTo>
                      <a:pt x="14" y="153"/>
                    </a:lnTo>
                    <a:lnTo>
                      <a:pt x="13" y="152"/>
                    </a:lnTo>
                    <a:lnTo>
                      <a:pt x="12" y="152"/>
                    </a:lnTo>
                    <a:lnTo>
                      <a:pt x="11" y="151"/>
                    </a:lnTo>
                    <a:lnTo>
                      <a:pt x="10" y="150"/>
                    </a:lnTo>
                    <a:lnTo>
                      <a:pt x="9" y="149"/>
                    </a:lnTo>
                    <a:lnTo>
                      <a:pt x="9" y="147"/>
                    </a:lnTo>
                    <a:lnTo>
                      <a:pt x="9" y="145"/>
                    </a:lnTo>
                    <a:lnTo>
                      <a:pt x="9" y="144"/>
                    </a:lnTo>
                    <a:lnTo>
                      <a:pt x="9" y="143"/>
                    </a:lnTo>
                    <a:lnTo>
                      <a:pt x="9" y="142"/>
                    </a:lnTo>
                    <a:lnTo>
                      <a:pt x="10" y="141"/>
                    </a:lnTo>
                    <a:lnTo>
                      <a:pt x="11" y="141"/>
                    </a:lnTo>
                    <a:lnTo>
                      <a:pt x="11" y="140"/>
                    </a:lnTo>
                    <a:lnTo>
                      <a:pt x="13" y="140"/>
                    </a:lnTo>
                    <a:lnTo>
                      <a:pt x="14" y="137"/>
                    </a:lnTo>
                    <a:lnTo>
                      <a:pt x="14" y="132"/>
                    </a:lnTo>
                    <a:lnTo>
                      <a:pt x="13" y="130"/>
                    </a:lnTo>
                    <a:lnTo>
                      <a:pt x="11" y="128"/>
                    </a:lnTo>
                    <a:lnTo>
                      <a:pt x="8" y="126"/>
                    </a:lnTo>
                    <a:lnTo>
                      <a:pt x="6" y="124"/>
                    </a:lnTo>
                    <a:lnTo>
                      <a:pt x="5" y="123"/>
                    </a:lnTo>
                    <a:lnTo>
                      <a:pt x="4" y="122"/>
                    </a:lnTo>
                    <a:lnTo>
                      <a:pt x="0" y="118"/>
                    </a:lnTo>
                    <a:lnTo>
                      <a:pt x="0" y="117"/>
                    </a:lnTo>
                    <a:lnTo>
                      <a:pt x="0" y="116"/>
                    </a:lnTo>
                    <a:lnTo>
                      <a:pt x="0" y="115"/>
                    </a:lnTo>
                    <a:lnTo>
                      <a:pt x="0" y="114"/>
                    </a:lnTo>
                    <a:lnTo>
                      <a:pt x="1" y="113"/>
                    </a:lnTo>
                    <a:lnTo>
                      <a:pt x="4" y="113"/>
                    </a:lnTo>
                    <a:lnTo>
                      <a:pt x="8" y="113"/>
                    </a:lnTo>
                    <a:lnTo>
                      <a:pt x="10" y="113"/>
                    </a:lnTo>
                    <a:lnTo>
                      <a:pt x="11" y="112"/>
                    </a:lnTo>
                    <a:lnTo>
                      <a:pt x="12" y="111"/>
                    </a:lnTo>
                    <a:lnTo>
                      <a:pt x="12" y="109"/>
                    </a:lnTo>
                    <a:lnTo>
                      <a:pt x="12" y="108"/>
                    </a:lnTo>
                    <a:lnTo>
                      <a:pt x="12" y="105"/>
                    </a:lnTo>
                    <a:lnTo>
                      <a:pt x="12" y="104"/>
                    </a:lnTo>
                    <a:lnTo>
                      <a:pt x="13" y="103"/>
                    </a:lnTo>
                    <a:lnTo>
                      <a:pt x="12" y="100"/>
                    </a:lnTo>
                    <a:lnTo>
                      <a:pt x="12" y="98"/>
                    </a:lnTo>
                    <a:lnTo>
                      <a:pt x="13" y="91"/>
                    </a:lnTo>
                    <a:lnTo>
                      <a:pt x="13" y="88"/>
                    </a:lnTo>
                    <a:lnTo>
                      <a:pt x="13" y="87"/>
                    </a:lnTo>
                    <a:lnTo>
                      <a:pt x="13" y="85"/>
                    </a:lnTo>
                    <a:lnTo>
                      <a:pt x="13" y="76"/>
                    </a:lnTo>
                    <a:lnTo>
                      <a:pt x="13" y="75"/>
                    </a:lnTo>
                    <a:lnTo>
                      <a:pt x="13" y="74"/>
                    </a:lnTo>
                    <a:lnTo>
                      <a:pt x="13" y="68"/>
                    </a:lnTo>
                    <a:lnTo>
                      <a:pt x="13" y="67"/>
                    </a:lnTo>
                    <a:lnTo>
                      <a:pt x="13" y="66"/>
                    </a:lnTo>
                    <a:lnTo>
                      <a:pt x="12" y="61"/>
                    </a:lnTo>
                    <a:lnTo>
                      <a:pt x="12" y="60"/>
                    </a:lnTo>
                    <a:lnTo>
                      <a:pt x="12" y="58"/>
                    </a:lnTo>
                    <a:lnTo>
                      <a:pt x="12" y="57"/>
                    </a:lnTo>
                    <a:lnTo>
                      <a:pt x="12" y="54"/>
                    </a:lnTo>
                    <a:lnTo>
                      <a:pt x="12" y="50"/>
                    </a:lnTo>
                    <a:lnTo>
                      <a:pt x="12" y="45"/>
                    </a:lnTo>
                    <a:lnTo>
                      <a:pt x="12" y="44"/>
                    </a:lnTo>
                    <a:lnTo>
                      <a:pt x="11" y="41"/>
                    </a:lnTo>
                    <a:lnTo>
                      <a:pt x="11" y="38"/>
                    </a:lnTo>
                    <a:lnTo>
                      <a:pt x="10" y="37"/>
                    </a:lnTo>
                    <a:lnTo>
                      <a:pt x="10" y="36"/>
                    </a:lnTo>
                    <a:lnTo>
                      <a:pt x="10" y="34"/>
                    </a:lnTo>
                    <a:lnTo>
                      <a:pt x="10" y="33"/>
                    </a:lnTo>
                    <a:lnTo>
                      <a:pt x="11" y="32"/>
                    </a:lnTo>
                    <a:lnTo>
                      <a:pt x="11" y="31"/>
                    </a:lnTo>
                    <a:lnTo>
                      <a:pt x="13" y="29"/>
                    </a:lnTo>
                    <a:lnTo>
                      <a:pt x="14" y="28"/>
                    </a:lnTo>
                    <a:lnTo>
                      <a:pt x="15" y="27"/>
                    </a:lnTo>
                    <a:lnTo>
                      <a:pt x="17" y="26"/>
                    </a:lnTo>
                    <a:lnTo>
                      <a:pt x="18" y="26"/>
                    </a:lnTo>
                    <a:lnTo>
                      <a:pt x="21" y="25"/>
                    </a:lnTo>
                    <a:lnTo>
                      <a:pt x="24" y="25"/>
                    </a:lnTo>
                    <a:lnTo>
                      <a:pt x="25" y="24"/>
                    </a:lnTo>
                    <a:lnTo>
                      <a:pt x="26" y="24"/>
                    </a:lnTo>
                    <a:lnTo>
                      <a:pt x="27" y="23"/>
                    </a:lnTo>
                    <a:lnTo>
                      <a:pt x="28" y="21"/>
                    </a:lnTo>
                    <a:lnTo>
                      <a:pt x="28" y="19"/>
                    </a:lnTo>
                    <a:lnTo>
                      <a:pt x="28" y="18"/>
                    </a:lnTo>
                    <a:lnTo>
                      <a:pt x="30" y="12"/>
                    </a:lnTo>
                    <a:lnTo>
                      <a:pt x="31" y="11"/>
                    </a:lnTo>
                    <a:lnTo>
                      <a:pt x="32" y="9"/>
                    </a:lnTo>
                    <a:lnTo>
                      <a:pt x="34" y="8"/>
                    </a:lnTo>
                    <a:lnTo>
                      <a:pt x="36" y="7"/>
                    </a:lnTo>
                    <a:lnTo>
                      <a:pt x="38" y="6"/>
                    </a:lnTo>
                    <a:lnTo>
                      <a:pt x="41" y="4"/>
                    </a:lnTo>
                    <a:lnTo>
                      <a:pt x="41" y="3"/>
                    </a:lnTo>
                    <a:lnTo>
                      <a:pt x="45" y="1"/>
                    </a:lnTo>
                    <a:lnTo>
                      <a:pt x="46" y="0"/>
                    </a:lnTo>
                    <a:lnTo>
                      <a:pt x="47" y="1"/>
                    </a:lnTo>
                    <a:lnTo>
                      <a:pt x="51" y="2"/>
                    </a:lnTo>
                    <a:lnTo>
                      <a:pt x="53" y="3"/>
                    </a:lnTo>
                    <a:lnTo>
                      <a:pt x="54" y="4"/>
                    </a:lnTo>
                    <a:lnTo>
                      <a:pt x="58" y="6"/>
                    </a:lnTo>
                    <a:lnTo>
                      <a:pt x="60" y="8"/>
                    </a:lnTo>
                    <a:lnTo>
                      <a:pt x="60" y="9"/>
                    </a:lnTo>
                    <a:lnTo>
                      <a:pt x="62" y="9"/>
                    </a:lnTo>
                    <a:lnTo>
                      <a:pt x="63" y="10"/>
                    </a:lnTo>
                    <a:lnTo>
                      <a:pt x="64" y="10"/>
                    </a:lnTo>
                    <a:lnTo>
                      <a:pt x="66" y="10"/>
                    </a:lnTo>
                    <a:lnTo>
                      <a:pt x="69" y="9"/>
                    </a:lnTo>
                    <a:lnTo>
                      <a:pt x="70" y="8"/>
                    </a:lnTo>
                    <a:lnTo>
                      <a:pt x="70" y="7"/>
                    </a:lnTo>
                    <a:lnTo>
                      <a:pt x="71" y="4"/>
                    </a:lnTo>
                    <a:lnTo>
                      <a:pt x="72" y="2"/>
                    </a:lnTo>
                    <a:lnTo>
                      <a:pt x="73" y="1"/>
                    </a:lnTo>
                    <a:lnTo>
                      <a:pt x="76" y="0"/>
                    </a:lnTo>
                    <a:lnTo>
                      <a:pt x="77" y="0"/>
                    </a:lnTo>
                    <a:lnTo>
                      <a:pt x="79" y="0"/>
                    </a:lnTo>
                    <a:lnTo>
                      <a:pt x="80" y="0"/>
                    </a:lnTo>
                    <a:lnTo>
                      <a:pt x="83" y="1"/>
                    </a:lnTo>
                    <a:lnTo>
                      <a:pt x="85" y="2"/>
                    </a:lnTo>
                    <a:lnTo>
                      <a:pt x="87" y="3"/>
                    </a:lnTo>
                    <a:lnTo>
                      <a:pt x="89" y="4"/>
                    </a:lnTo>
                    <a:lnTo>
                      <a:pt x="90" y="6"/>
                    </a:lnTo>
                    <a:lnTo>
                      <a:pt x="92" y="7"/>
                    </a:lnTo>
                    <a:lnTo>
                      <a:pt x="96" y="10"/>
                    </a:lnTo>
                    <a:lnTo>
                      <a:pt x="97" y="11"/>
                    </a:lnTo>
                    <a:lnTo>
                      <a:pt x="97" y="12"/>
                    </a:lnTo>
                    <a:lnTo>
                      <a:pt x="98" y="13"/>
                    </a:lnTo>
                    <a:lnTo>
                      <a:pt x="98" y="15"/>
                    </a:lnTo>
                    <a:lnTo>
                      <a:pt x="99" y="15"/>
                    </a:lnTo>
                    <a:lnTo>
                      <a:pt x="99" y="16"/>
                    </a:lnTo>
                    <a:lnTo>
                      <a:pt x="101" y="19"/>
                    </a:lnTo>
                    <a:close/>
                  </a:path>
                </a:pathLst>
              </a:custGeom>
              <a:solidFill>
                <a:srgbClr val="72B3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9" name="Freeform 29">
                <a:extLst>
                  <a:ext uri="{FF2B5EF4-FFF2-40B4-BE49-F238E27FC236}">
                    <a16:creationId xmlns:a16="http://schemas.microsoft.com/office/drawing/2014/main" id="{863339CE-2C4B-CA6B-53A2-71F20CBAA17D}"/>
                  </a:ext>
                </a:extLst>
              </p:cNvPr>
              <p:cNvSpPr>
                <a:spLocks/>
              </p:cNvSpPr>
              <p:nvPr/>
            </p:nvSpPr>
            <p:spPr bwMode="auto">
              <a:xfrm>
                <a:off x="2651126" y="3614738"/>
                <a:ext cx="792163" cy="620713"/>
              </a:xfrm>
              <a:custGeom>
                <a:avLst/>
                <a:gdLst>
                  <a:gd name="T0" fmla="*/ 421 w 499"/>
                  <a:gd name="T1" fmla="*/ 19 h 391"/>
                  <a:gd name="T2" fmla="*/ 425 w 499"/>
                  <a:gd name="T3" fmla="*/ 31 h 391"/>
                  <a:gd name="T4" fmla="*/ 444 w 499"/>
                  <a:gd name="T5" fmla="*/ 45 h 391"/>
                  <a:gd name="T6" fmla="*/ 452 w 499"/>
                  <a:gd name="T7" fmla="*/ 68 h 391"/>
                  <a:gd name="T8" fmla="*/ 457 w 499"/>
                  <a:gd name="T9" fmla="*/ 89 h 391"/>
                  <a:gd name="T10" fmla="*/ 465 w 499"/>
                  <a:gd name="T11" fmla="*/ 112 h 391"/>
                  <a:gd name="T12" fmla="*/ 458 w 499"/>
                  <a:gd name="T13" fmla="*/ 134 h 391"/>
                  <a:gd name="T14" fmla="*/ 455 w 499"/>
                  <a:gd name="T15" fmla="*/ 163 h 391"/>
                  <a:gd name="T16" fmla="*/ 455 w 499"/>
                  <a:gd name="T17" fmla="*/ 180 h 391"/>
                  <a:gd name="T18" fmla="*/ 451 w 499"/>
                  <a:gd name="T19" fmla="*/ 205 h 391"/>
                  <a:gd name="T20" fmla="*/ 462 w 499"/>
                  <a:gd name="T21" fmla="*/ 229 h 391"/>
                  <a:gd name="T22" fmla="*/ 457 w 499"/>
                  <a:gd name="T23" fmla="*/ 243 h 391"/>
                  <a:gd name="T24" fmla="*/ 454 w 499"/>
                  <a:gd name="T25" fmla="*/ 262 h 391"/>
                  <a:gd name="T26" fmla="*/ 474 w 499"/>
                  <a:gd name="T27" fmla="*/ 285 h 391"/>
                  <a:gd name="T28" fmla="*/ 499 w 499"/>
                  <a:gd name="T29" fmla="*/ 323 h 391"/>
                  <a:gd name="T30" fmla="*/ 415 w 499"/>
                  <a:gd name="T31" fmla="*/ 321 h 391"/>
                  <a:gd name="T32" fmla="*/ 404 w 499"/>
                  <a:gd name="T33" fmla="*/ 316 h 391"/>
                  <a:gd name="T34" fmla="*/ 394 w 499"/>
                  <a:gd name="T35" fmla="*/ 313 h 391"/>
                  <a:gd name="T36" fmla="*/ 385 w 499"/>
                  <a:gd name="T37" fmla="*/ 311 h 391"/>
                  <a:gd name="T38" fmla="*/ 344 w 499"/>
                  <a:gd name="T39" fmla="*/ 322 h 391"/>
                  <a:gd name="T40" fmla="*/ 336 w 499"/>
                  <a:gd name="T41" fmla="*/ 321 h 391"/>
                  <a:gd name="T42" fmla="*/ 327 w 499"/>
                  <a:gd name="T43" fmla="*/ 316 h 391"/>
                  <a:gd name="T44" fmla="*/ 320 w 499"/>
                  <a:gd name="T45" fmla="*/ 313 h 391"/>
                  <a:gd name="T46" fmla="*/ 314 w 499"/>
                  <a:gd name="T47" fmla="*/ 322 h 391"/>
                  <a:gd name="T48" fmla="*/ 314 w 499"/>
                  <a:gd name="T49" fmla="*/ 331 h 391"/>
                  <a:gd name="T50" fmla="*/ 308 w 499"/>
                  <a:gd name="T51" fmla="*/ 341 h 391"/>
                  <a:gd name="T52" fmla="*/ 299 w 499"/>
                  <a:gd name="T53" fmla="*/ 343 h 391"/>
                  <a:gd name="T54" fmla="*/ 292 w 499"/>
                  <a:gd name="T55" fmla="*/ 342 h 391"/>
                  <a:gd name="T56" fmla="*/ 286 w 499"/>
                  <a:gd name="T57" fmla="*/ 348 h 391"/>
                  <a:gd name="T58" fmla="*/ 277 w 499"/>
                  <a:gd name="T59" fmla="*/ 342 h 391"/>
                  <a:gd name="T60" fmla="*/ 274 w 499"/>
                  <a:gd name="T61" fmla="*/ 335 h 391"/>
                  <a:gd name="T62" fmla="*/ 267 w 499"/>
                  <a:gd name="T63" fmla="*/ 337 h 391"/>
                  <a:gd name="T64" fmla="*/ 262 w 499"/>
                  <a:gd name="T65" fmla="*/ 343 h 391"/>
                  <a:gd name="T66" fmla="*/ 254 w 499"/>
                  <a:gd name="T67" fmla="*/ 347 h 391"/>
                  <a:gd name="T68" fmla="*/ 250 w 499"/>
                  <a:gd name="T69" fmla="*/ 356 h 391"/>
                  <a:gd name="T70" fmla="*/ 249 w 499"/>
                  <a:gd name="T71" fmla="*/ 365 h 391"/>
                  <a:gd name="T72" fmla="*/ 228 w 499"/>
                  <a:gd name="T73" fmla="*/ 381 h 391"/>
                  <a:gd name="T74" fmla="*/ 194 w 499"/>
                  <a:gd name="T75" fmla="*/ 314 h 391"/>
                  <a:gd name="T76" fmla="*/ 147 w 499"/>
                  <a:gd name="T77" fmla="*/ 263 h 391"/>
                  <a:gd name="T78" fmla="*/ 58 w 499"/>
                  <a:gd name="T79" fmla="*/ 263 h 391"/>
                  <a:gd name="T80" fmla="*/ 5 w 499"/>
                  <a:gd name="T81" fmla="*/ 263 h 391"/>
                  <a:gd name="T82" fmla="*/ 5 w 499"/>
                  <a:gd name="T83" fmla="*/ 257 h 391"/>
                  <a:gd name="T84" fmla="*/ 9 w 499"/>
                  <a:gd name="T85" fmla="*/ 252 h 391"/>
                  <a:gd name="T86" fmla="*/ 18 w 499"/>
                  <a:gd name="T87" fmla="*/ 250 h 391"/>
                  <a:gd name="T88" fmla="*/ 18 w 499"/>
                  <a:gd name="T89" fmla="*/ 243 h 391"/>
                  <a:gd name="T90" fmla="*/ 20 w 499"/>
                  <a:gd name="T91" fmla="*/ 235 h 391"/>
                  <a:gd name="T92" fmla="*/ 22 w 499"/>
                  <a:gd name="T93" fmla="*/ 229 h 391"/>
                  <a:gd name="T94" fmla="*/ 26 w 499"/>
                  <a:gd name="T95" fmla="*/ 225 h 391"/>
                  <a:gd name="T96" fmla="*/ 34 w 499"/>
                  <a:gd name="T97" fmla="*/ 224 h 391"/>
                  <a:gd name="T98" fmla="*/ 41 w 499"/>
                  <a:gd name="T99" fmla="*/ 223 h 391"/>
                  <a:gd name="T100" fmla="*/ 48 w 499"/>
                  <a:gd name="T101" fmla="*/ 222 h 391"/>
                  <a:gd name="T102" fmla="*/ 141 w 499"/>
                  <a:gd name="T103" fmla="*/ 221 h 391"/>
                  <a:gd name="T104" fmla="*/ 173 w 499"/>
                  <a:gd name="T105" fmla="*/ 167 h 391"/>
                  <a:gd name="T106" fmla="*/ 177 w 499"/>
                  <a:gd name="T107" fmla="*/ 158 h 391"/>
                  <a:gd name="T108" fmla="*/ 178 w 499"/>
                  <a:gd name="T109" fmla="*/ 146 h 391"/>
                  <a:gd name="T110" fmla="*/ 185 w 499"/>
                  <a:gd name="T111" fmla="*/ 135 h 391"/>
                  <a:gd name="T112" fmla="*/ 194 w 499"/>
                  <a:gd name="T113" fmla="*/ 126 h 391"/>
                  <a:gd name="T114" fmla="*/ 197 w 499"/>
                  <a:gd name="T115" fmla="*/ 79 h 391"/>
                  <a:gd name="T116" fmla="*/ 192 w 499"/>
                  <a:gd name="T117" fmla="*/ 57 h 391"/>
                  <a:gd name="T118" fmla="*/ 185 w 499"/>
                  <a:gd name="T119" fmla="*/ 51 h 391"/>
                  <a:gd name="T120" fmla="*/ 174 w 499"/>
                  <a:gd name="T121" fmla="*/ 42 h 391"/>
                  <a:gd name="T122" fmla="*/ 240 w 499"/>
                  <a:gd name="T123" fmla="*/ 0 h 391"/>
                  <a:gd name="T124" fmla="*/ 402 w 499"/>
                  <a:gd name="T125" fmla="*/ 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9" h="391">
                    <a:moveTo>
                      <a:pt x="416" y="1"/>
                    </a:moveTo>
                    <a:lnTo>
                      <a:pt x="417" y="2"/>
                    </a:lnTo>
                    <a:lnTo>
                      <a:pt x="419" y="4"/>
                    </a:lnTo>
                    <a:lnTo>
                      <a:pt x="422" y="6"/>
                    </a:lnTo>
                    <a:lnTo>
                      <a:pt x="424" y="8"/>
                    </a:lnTo>
                    <a:lnTo>
                      <a:pt x="425" y="10"/>
                    </a:lnTo>
                    <a:lnTo>
                      <a:pt x="425" y="15"/>
                    </a:lnTo>
                    <a:lnTo>
                      <a:pt x="424" y="18"/>
                    </a:lnTo>
                    <a:lnTo>
                      <a:pt x="422" y="18"/>
                    </a:lnTo>
                    <a:lnTo>
                      <a:pt x="422" y="19"/>
                    </a:lnTo>
                    <a:lnTo>
                      <a:pt x="421" y="19"/>
                    </a:lnTo>
                    <a:lnTo>
                      <a:pt x="420" y="20"/>
                    </a:lnTo>
                    <a:lnTo>
                      <a:pt x="420" y="21"/>
                    </a:lnTo>
                    <a:lnTo>
                      <a:pt x="420" y="22"/>
                    </a:lnTo>
                    <a:lnTo>
                      <a:pt x="420" y="23"/>
                    </a:lnTo>
                    <a:lnTo>
                      <a:pt x="420" y="25"/>
                    </a:lnTo>
                    <a:lnTo>
                      <a:pt x="420" y="27"/>
                    </a:lnTo>
                    <a:lnTo>
                      <a:pt x="421" y="28"/>
                    </a:lnTo>
                    <a:lnTo>
                      <a:pt x="422" y="29"/>
                    </a:lnTo>
                    <a:lnTo>
                      <a:pt x="423" y="30"/>
                    </a:lnTo>
                    <a:lnTo>
                      <a:pt x="424" y="30"/>
                    </a:lnTo>
                    <a:lnTo>
                      <a:pt x="425" y="31"/>
                    </a:lnTo>
                    <a:lnTo>
                      <a:pt x="429" y="33"/>
                    </a:lnTo>
                    <a:lnTo>
                      <a:pt x="430" y="34"/>
                    </a:lnTo>
                    <a:lnTo>
                      <a:pt x="431" y="35"/>
                    </a:lnTo>
                    <a:lnTo>
                      <a:pt x="432" y="36"/>
                    </a:lnTo>
                    <a:lnTo>
                      <a:pt x="433" y="36"/>
                    </a:lnTo>
                    <a:lnTo>
                      <a:pt x="436" y="38"/>
                    </a:lnTo>
                    <a:lnTo>
                      <a:pt x="437" y="39"/>
                    </a:lnTo>
                    <a:lnTo>
                      <a:pt x="438" y="40"/>
                    </a:lnTo>
                    <a:lnTo>
                      <a:pt x="441" y="42"/>
                    </a:lnTo>
                    <a:lnTo>
                      <a:pt x="443" y="44"/>
                    </a:lnTo>
                    <a:lnTo>
                      <a:pt x="444" y="45"/>
                    </a:lnTo>
                    <a:lnTo>
                      <a:pt x="445" y="46"/>
                    </a:lnTo>
                    <a:lnTo>
                      <a:pt x="445" y="48"/>
                    </a:lnTo>
                    <a:lnTo>
                      <a:pt x="446" y="49"/>
                    </a:lnTo>
                    <a:lnTo>
                      <a:pt x="446" y="52"/>
                    </a:lnTo>
                    <a:lnTo>
                      <a:pt x="447" y="55"/>
                    </a:lnTo>
                    <a:lnTo>
                      <a:pt x="449" y="58"/>
                    </a:lnTo>
                    <a:lnTo>
                      <a:pt x="449" y="59"/>
                    </a:lnTo>
                    <a:lnTo>
                      <a:pt x="450" y="61"/>
                    </a:lnTo>
                    <a:lnTo>
                      <a:pt x="451" y="64"/>
                    </a:lnTo>
                    <a:lnTo>
                      <a:pt x="452" y="66"/>
                    </a:lnTo>
                    <a:lnTo>
                      <a:pt x="452" y="68"/>
                    </a:lnTo>
                    <a:lnTo>
                      <a:pt x="451" y="71"/>
                    </a:lnTo>
                    <a:lnTo>
                      <a:pt x="450" y="74"/>
                    </a:lnTo>
                    <a:lnTo>
                      <a:pt x="450" y="77"/>
                    </a:lnTo>
                    <a:lnTo>
                      <a:pt x="450" y="78"/>
                    </a:lnTo>
                    <a:lnTo>
                      <a:pt x="451" y="78"/>
                    </a:lnTo>
                    <a:lnTo>
                      <a:pt x="452" y="80"/>
                    </a:lnTo>
                    <a:lnTo>
                      <a:pt x="455" y="81"/>
                    </a:lnTo>
                    <a:lnTo>
                      <a:pt x="455" y="82"/>
                    </a:lnTo>
                    <a:lnTo>
                      <a:pt x="457" y="85"/>
                    </a:lnTo>
                    <a:lnTo>
                      <a:pt x="457" y="86"/>
                    </a:lnTo>
                    <a:lnTo>
                      <a:pt x="457" y="89"/>
                    </a:lnTo>
                    <a:lnTo>
                      <a:pt x="458" y="90"/>
                    </a:lnTo>
                    <a:lnTo>
                      <a:pt x="460" y="93"/>
                    </a:lnTo>
                    <a:lnTo>
                      <a:pt x="462" y="96"/>
                    </a:lnTo>
                    <a:lnTo>
                      <a:pt x="462" y="97"/>
                    </a:lnTo>
                    <a:lnTo>
                      <a:pt x="463" y="98"/>
                    </a:lnTo>
                    <a:lnTo>
                      <a:pt x="464" y="99"/>
                    </a:lnTo>
                    <a:lnTo>
                      <a:pt x="464" y="102"/>
                    </a:lnTo>
                    <a:lnTo>
                      <a:pt x="465" y="104"/>
                    </a:lnTo>
                    <a:lnTo>
                      <a:pt x="465" y="105"/>
                    </a:lnTo>
                    <a:lnTo>
                      <a:pt x="465" y="109"/>
                    </a:lnTo>
                    <a:lnTo>
                      <a:pt x="465" y="112"/>
                    </a:lnTo>
                    <a:lnTo>
                      <a:pt x="464" y="115"/>
                    </a:lnTo>
                    <a:lnTo>
                      <a:pt x="464" y="118"/>
                    </a:lnTo>
                    <a:lnTo>
                      <a:pt x="464" y="121"/>
                    </a:lnTo>
                    <a:lnTo>
                      <a:pt x="464" y="122"/>
                    </a:lnTo>
                    <a:lnTo>
                      <a:pt x="467" y="126"/>
                    </a:lnTo>
                    <a:lnTo>
                      <a:pt x="467" y="128"/>
                    </a:lnTo>
                    <a:lnTo>
                      <a:pt x="467" y="130"/>
                    </a:lnTo>
                    <a:lnTo>
                      <a:pt x="462" y="132"/>
                    </a:lnTo>
                    <a:lnTo>
                      <a:pt x="460" y="132"/>
                    </a:lnTo>
                    <a:lnTo>
                      <a:pt x="459" y="133"/>
                    </a:lnTo>
                    <a:lnTo>
                      <a:pt x="458" y="134"/>
                    </a:lnTo>
                    <a:lnTo>
                      <a:pt x="458" y="136"/>
                    </a:lnTo>
                    <a:lnTo>
                      <a:pt x="458" y="141"/>
                    </a:lnTo>
                    <a:lnTo>
                      <a:pt x="459" y="149"/>
                    </a:lnTo>
                    <a:lnTo>
                      <a:pt x="461" y="155"/>
                    </a:lnTo>
                    <a:lnTo>
                      <a:pt x="461" y="156"/>
                    </a:lnTo>
                    <a:lnTo>
                      <a:pt x="460" y="158"/>
                    </a:lnTo>
                    <a:lnTo>
                      <a:pt x="459" y="160"/>
                    </a:lnTo>
                    <a:lnTo>
                      <a:pt x="458" y="160"/>
                    </a:lnTo>
                    <a:lnTo>
                      <a:pt x="457" y="160"/>
                    </a:lnTo>
                    <a:lnTo>
                      <a:pt x="456" y="161"/>
                    </a:lnTo>
                    <a:lnTo>
                      <a:pt x="455" y="163"/>
                    </a:lnTo>
                    <a:lnTo>
                      <a:pt x="454" y="163"/>
                    </a:lnTo>
                    <a:lnTo>
                      <a:pt x="454" y="166"/>
                    </a:lnTo>
                    <a:lnTo>
                      <a:pt x="452" y="168"/>
                    </a:lnTo>
                    <a:lnTo>
                      <a:pt x="452" y="169"/>
                    </a:lnTo>
                    <a:lnTo>
                      <a:pt x="452" y="170"/>
                    </a:lnTo>
                    <a:lnTo>
                      <a:pt x="454" y="172"/>
                    </a:lnTo>
                    <a:lnTo>
                      <a:pt x="454" y="173"/>
                    </a:lnTo>
                    <a:lnTo>
                      <a:pt x="455" y="175"/>
                    </a:lnTo>
                    <a:lnTo>
                      <a:pt x="455" y="176"/>
                    </a:lnTo>
                    <a:lnTo>
                      <a:pt x="455" y="179"/>
                    </a:lnTo>
                    <a:lnTo>
                      <a:pt x="455" y="180"/>
                    </a:lnTo>
                    <a:lnTo>
                      <a:pt x="454" y="183"/>
                    </a:lnTo>
                    <a:lnTo>
                      <a:pt x="454" y="186"/>
                    </a:lnTo>
                    <a:lnTo>
                      <a:pt x="452" y="187"/>
                    </a:lnTo>
                    <a:lnTo>
                      <a:pt x="452" y="189"/>
                    </a:lnTo>
                    <a:lnTo>
                      <a:pt x="452" y="192"/>
                    </a:lnTo>
                    <a:lnTo>
                      <a:pt x="452" y="196"/>
                    </a:lnTo>
                    <a:lnTo>
                      <a:pt x="452" y="198"/>
                    </a:lnTo>
                    <a:lnTo>
                      <a:pt x="451" y="200"/>
                    </a:lnTo>
                    <a:lnTo>
                      <a:pt x="451" y="201"/>
                    </a:lnTo>
                    <a:lnTo>
                      <a:pt x="451" y="203"/>
                    </a:lnTo>
                    <a:lnTo>
                      <a:pt x="451" y="205"/>
                    </a:lnTo>
                    <a:lnTo>
                      <a:pt x="452" y="207"/>
                    </a:lnTo>
                    <a:lnTo>
                      <a:pt x="454" y="210"/>
                    </a:lnTo>
                    <a:lnTo>
                      <a:pt x="455" y="212"/>
                    </a:lnTo>
                    <a:lnTo>
                      <a:pt x="456" y="215"/>
                    </a:lnTo>
                    <a:lnTo>
                      <a:pt x="456" y="216"/>
                    </a:lnTo>
                    <a:lnTo>
                      <a:pt x="458" y="221"/>
                    </a:lnTo>
                    <a:lnTo>
                      <a:pt x="459" y="223"/>
                    </a:lnTo>
                    <a:lnTo>
                      <a:pt x="460" y="226"/>
                    </a:lnTo>
                    <a:lnTo>
                      <a:pt x="461" y="227"/>
                    </a:lnTo>
                    <a:lnTo>
                      <a:pt x="462" y="228"/>
                    </a:lnTo>
                    <a:lnTo>
                      <a:pt x="462" y="229"/>
                    </a:lnTo>
                    <a:lnTo>
                      <a:pt x="463" y="231"/>
                    </a:lnTo>
                    <a:lnTo>
                      <a:pt x="465" y="233"/>
                    </a:lnTo>
                    <a:lnTo>
                      <a:pt x="467" y="234"/>
                    </a:lnTo>
                    <a:lnTo>
                      <a:pt x="467" y="236"/>
                    </a:lnTo>
                    <a:lnTo>
                      <a:pt x="467" y="238"/>
                    </a:lnTo>
                    <a:lnTo>
                      <a:pt x="467" y="240"/>
                    </a:lnTo>
                    <a:lnTo>
                      <a:pt x="467" y="241"/>
                    </a:lnTo>
                    <a:lnTo>
                      <a:pt x="465" y="243"/>
                    </a:lnTo>
                    <a:lnTo>
                      <a:pt x="464" y="243"/>
                    </a:lnTo>
                    <a:lnTo>
                      <a:pt x="460" y="243"/>
                    </a:lnTo>
                    <a:lnTo>
                      <a:pt x="457" y="243"/>
                    </a:lnTo>
                    <a:lnTo>
                      <a:pt x="456" y="243"/>
                    </a:lnTo>
                    <a:lnTo>
                      <a:pt x="455" y="243"/>
                    </a:lnTo>
                    <a:lnTo>
                      <a:pt x="455" y="244"/>
                    </a:lnTo>
                    <a:lnTo>
                      <a:pt x="454" y="245"/>
                    </a:lnTo>
                    <a:lnTo>
                      <a:pt x="452" y="246"/>
                    </a:lnTo>
                    <a:lnTo>
                      <a:pt x="452" y="248"/>
                    </a:lnTo>
                    <a:lnTo>
                      <a:pt x="451" y="249"/>
                    </a:lnTo>
                    <a:lnTo>
                      <a:pt x="451" y="250"/>
                    </a:lnTo>
                    <a:lnTo>
                      <a:pt x="452" y="253"/>
                    </a:lnTo>
                    <a:lnTo>
                      <a:pt x="452" y="259"/>
                    </a:lnTo>
                    <a:lnTo>
                      <a:pt x="454" y="262"/>
                    </a:lnTo>
                    <a:lnTo>
                      <a:pt x="455" y="264"/>
                    </a:lnTo>
                    <a:lnTo>
                      <a:pt x="456" y="264"/>
                    </a:lnTo>
                    <a:lnTo>
                      <a:pt x="457" y="264"/>
                    </a:lnTo>
                    <a:lnTo>
                      <a:pt x="459" y="270"/>
                    </a:lnTo>
                    <a:lnTo>
                      <a:pt x="460" y="273"/>
                    </a:lnTo>
                    <a:lnTo>
                      <a:pt x="460" y="279"/>
                    </a:lnTo>
                    <a:lnTo>
                      <a:pt x="462" y="282"/>
                    </a:lnTo>
                    <a:lnTo>
                      <a:pt x="463" y="284"/>
                    </a:lnTo>
                    <a:lnTo>
                      <a:pt x="468" y="283"/>
                    </a:lnTo>
                    <a:lnTo>
                      <a:pt x="472" y="283"/>
                    </a:lnTo>
                    <a:lnTo>
                      <a:pt x="474" y="285"/>
                    </a:lnTo>
                    <a:lnTo>
                      <a:pt x="476" y="289"/>
                    </a:lnTo>
                    <a:lnTo>
                      <a:pt x="476" y="293"/>
                    </a:lnTo>
                    <a:lnTo>
                      <a:pt x="478" y="297"/>
                    </a:lnTo>
                    <a:lnTo>
                      <a:pt x="484" y="304"/>
                    </a:lnTo>
                    <a:lnTo>
                      <a:pt x="487" y="310"/>
                    </a:lnTo>
                    <a:lnTo>
                      <a:pt x="489" y="317"/>
                    </a:lnTo>
                    <a:lnTo>
                      <a:pt x="489" y="318"/>
                    </a:lnTo>
                    <a:lnTo>
                      <a:pt x="493" y="319"/>
                    </a:lnTo>
                    <a:lnTo>
                      <a:pt x="496" y="321"/>
                    </a:lnTo>
                    <a:lnTo>
                      <a:pt x="498" y="322"/>
                    </a:lnTo>
                    <a:lnTo>
                      <a:pt x="499" y="323"/>
                    </a:lnTo>
                    <a:lnTo>
                      <a:pt x="499" y="324"/>
                    </a:lnTo>
                    <a:lnTo>
                      <a:pt x="498" y="324"/>
                    </a:lnTo>
                    <a:lnTo>
                      <a:pt x="471" y="324"/>
                    </a:lnTo>
                    <a:lnTo>
                      <a:pt x="457" y="324"/>
                    </a:lnTo>
                    <a:lnTo>
                      <a:pt x="454" y="324"/>
                    </a:lnTo>
                    <a:lnTo>
                      <a:pt x="446" y="324"/>
                    </a:lnTo>
                    <a:lnTo>
                      <a:pt x="417" y="324"/>
                    </a:lnTo>
                    <a:lnTo>
                      <a:pt x="416" y="323"/>
                    </a:lnTo>
                    <a:lnTo>
                      <a:pt x="416" y="322"/>
                    </a:lnTo>
                    <a:lnTo>
                      <a:pt x="415" y="322"/>
                    </a:lnTo>
                    <a:lnTo>
                      <a:pt x="415" y="321"/>
                    </a:lnTo>
                    <a:lnTo>
                      <a:pt x="413" y="321"/>
                    </a:lnTo>
                    <a:lnTo>
                      <a:pt x="412" y="319"/>
                    </a:lnTo>
                    <a:lnTo>
                      <a:pt x="411" y="319"/>
                    </a:lnTo>
                    <a:lnTo>
                      <a:pt x="410" y="319"/>
                    </a:lnTo>
                    <a:lnTo>
                      <a:pt x="409" y="318"/>
                    </a:lnTo>
                    <a:lnTo>
                      <a:pt x="408" y="318"/>
                    </a:lnTo>
                    <a:lnTo>
                      <a:pt x="407" y="318"/>
                    </a:lnTo>
                    <a:lnTo>
                      <a:pt x="406" y="317"/>
                    </a:lnTo>
                    <a:lnTo>
                      <a:pt x="405" y="317"/>
                    </a:lnTo>
                    <a:lnTo>
                      <a:pt x="405" y="316"/>
                    </a:lnTo>
                    <a:lnTo>
                      <a:pt x="404" y="316"/>
                    </a:lnTo>
                    <a:lnTo>
                      <a:pt x="404" y="315"/>
                    </a:lnTo>
                    <a:lnTo>
                      <a:pt x="403" y="315"/>
                    </a:lnTo>
                    <a:lnTo>
                      <a:pt x="402" y="315"/>
                    </a:lnTo>
                    <a:lnTo>
                      <a:pt x="400" y="315"/>
                    </a:lnTo>
                    <a:lnTo>
                      <a:pt x="399" y="315"/>
                    </a:lnTo>
                    <a:lnTo>
                      <a:pt x="398" y="315"/>
                    </a:lnTo>
                    <a:lnTo>
                      <a:pt x="397" y="315"/>
                    </a:lnTo>
                    <a:lnTo>
                      <a:pt x="396" y="315"/>
                    </a:lnTo>
                    <a:lnTo>
                      <a:pt x="395" y="315"/>
                    </a:lnTo>
                    <a:lnTo>
                      <a:pt x="394" y="314"/>
                    </a:lnTo>
                    <a:lnTo>
                      <a:pt x="394" y="313"/>
                    </a:lnTo>
                    <a:lnTo>
                      <a:pt x="393" y="313"/>
                    </a:lnTo>
                    <a:lnTo>
                      <a:pt x="393" y="312"/>
                    </a:lnTo>
                    <a:lnTo>
                      <a:pt x="393" y="311"/>
                    </a:lnTo>
                    <a:lnTo>
                      <a:pt x="392" y="311"/>
                    </a:lnTo>
                    <a:lnTo>
                      <a:pt x="391" y="311"/>
                    </a:lnTo>
                    <a:lnTo>
                      <a:pt x="390" y="311"/>
                    </a:lnTo>
                    <a:lnTo>
                      <a:pt x="389" y="311"/>
                    </a:lnTo>
                    <a:lnTo>
                      <a:pt x="387" y="311"/>
                    </a:lnTo>
                    <a:lnTo>
                      <a:pt x="386" y="310"/>
                    </a:lnTo>
                    <a:lnTo>
                      <a:pt x="386" y="311"/>
                    </a:lnTo>
                    <a:lnTo>
                      <a:pt x="385" y="311"/>
                    </a:lnTo>
                    <a:lnTo>
                      <a:pt x="385" y="310"/>
                    </a:lnTo>
                    <a:lnTo>
                      <a:pt x="384" y="310"/>
                    </a:lnTo>
                    <a:lnTo>
                      <a:pt x="382" y="308"/>
                    </a:lnTo>
                    <a:lnTo>
                      <a:pt x="380" y="309"/>
                    </a:lnTo>
                    <a:lnTo>
                      <a:pt x="348" y="321"/>
                    </a:lnTo>
                    <a:lnTo>
                      <a:pt x="347" y="321"/>
                    </a:lnTo>
                    <a:lnTo>
                      <a:pt x="346" y="322"/>
                    </a:lnTo>
                    <a:lnTo>
                      <a:pt x="345" y="322"/>
                    </a:lnTo>
                    <a:lnTo>
                      <a:pt x="345" y="323"/>
                    </a:lnTo>
                    <a:lnTo>
                      <a:pt x="345" y="322"/>
                    </a:lnTo>
                    <a:lnTo>
                      <a:pt x="344" y="322"/>
                    </a:lnTo>
                    <a:lnTo>
                      <a:pt x="343" y="323"/>
                    </a:lnTo>
                    <a:lnTo>
                      <a:pt x="342" y="323"/>
                    </a:lnTo>
                    <a:lnTo>
                      <a:pt x="342" y="324"/>
                    </a:lnTo>
                    <a:lnTo>
                      <a:pt x="341" y="324"/>
                    </a:lnTo>
                    <a:lnTo>
                      <a:pt x="341" y="323"/>
                    </a:lnTo>
                    <a:lnTo>
                      <a:pt x="340" y="323"/>
                    </a:lnTo>
                    <a:lnTo>
                      <a:pt x="339" y="323"/>
                    </a:lnTo>
                    <a:lnTo>
                      <a:pt x="338" y="323"/>
                    </a:lnTo>
                    <a:lnTo>
                      <a:pt x="338" y="322"/>
                    </a:lnTo>
                    <a:lnTo>
                      <a:pt x="336" y="322"/>
                    </a:lnTo>
                    <a:lnTo>
                      <a:pt x="336" y="321"/>
                    </a:lnTo>
                    <a:lnTo>
                      <a:pt x="335" y="321"/>
                    </a:lnTo>
                    <a:lnTo>
                      <a:pt x="334" y="319"/>
                    </a:lnTo>
                    <a:lnTo>
                      <a:pt x="333" y="319"/>
                    </a:lnTo>
                    <a:lnTo>
                      <a:pt x="332" y="319"/>
                    </a:lnTo>
                    <a:lnTo>
                      <a:pt x="331" y="318"/>
                    </a:lnTo>
                    <a:lnTo>
                      <a:pt x="330" y="318"/>
                    </a:lnTo>
                    <a:lnTo>
                      <a:pt x="330" y="317"/>
                    </a:lnTo>
                    <a:lnTo>
                      <a:pt x="329" y="317"/>
                    </a:lnTo>
                    <a:lnTo>
                      <a:pt x="329" y="316"/>
                    </a:lnTo>
                    <a:lnTo>
                      <a:pt x="328" y="316"/>
                    </a:lnTo>
                    <a:lnTo>
                      <a:pt x="327" y="316"/>
                    </a:lnTo>
                    <a:lnTo>
                      <a:pt x="327" y="315"/>
                    </a:lnTo>
                    <a:lnTo>
                      <a:pt x="326" y="315"/>
                    </a:lnTo>
                    <a:lnTo>
                      <a:pt x="326" y="314"/>
                    </a:lnTo>
                    <a:lnTo>
                      <a:pt x="325" y="314"/>
                    </a:lnTo>
                    <a:lnTo>
                      <a:pt x="325" y="313"/>
                    </a:lnTo>
                    <a:lnTo>
                      <a:pt x="323" y="313"/>
                    </a:lnTo>
                    <a:lnTo>
                      <a:pt x="323" y="312"/>
                    </a:lnTo>
                    <a:lnTo>
                      <a:pt x="323" y="313"/>
                    </a:lnTo>
                    <a:lnTo>
                      <a:pt x="322" y="313"/>
                    </a:lnTo>
                    <a:lnTo>
                      <a:pt x="321" y="313"/>
                    </a:lnTo>
                    <a:lnTo>
                      <a:pt x="320" y="313"/>
                    </a:lnTo>
                    <a:lnTo>
                      <a:pt x="318" y="313"/>
                    </a:lnTo>
                    <a:lnTo>
                      <a:pt x="317" y="314"/>
                    </a:lnTo>
                    <a:lnTo>
                      <a:pt x="316" y="314"/>
                    </a:lnTo>
                    <a:lnTo>
                      <a:pt x="316" y="315"/>
                    </a:lnTo>
                    <a:lnTo>
                      <a:pt x="316" y="316"/>
                    </a:lnTo>
                    <a:lnTo>
                      <a:pt x="315" y="316"/>
                    </a:lnTo>
                    <a:lnTo>
                      <a:pt x="315" y="317"/>
                    </a:lnTo>
                    <a:lnTo>
                      <a:pt x="315" y="318"/>
                    </a:lnTo>
                    <a:lnTo>
                      <a:pt x="315" y="319"/>
                    </a:lnTo>
                    <a:lnTo>
                      <a:pt x="314" y="321"/>
                    </a:lnTo>
                    <a:lnTo>
                      <a:pt x="314" y="322"/>
                    </a:lnTo>
                    <a:lnTo>
                      <a:pt x="314" y="323"/>
                    </a:lnTo>
                    <a:lnTo>
                      <a:pt x="314" y="324"/>
                    </a:lnTo>
                    <a:lnTo>
                      <a:pt x="313" y="325"/>
                    </a:lnTo>
                    <a:lnTo>
                      <a:pt x="313" y="326"/>
                    </a:lnTo>
                    <a:lnTo>
                      <a:pt x="314" y="326"/>
                    </a:lnTo>
                    <a:lnTo>
                      <a:pt x="314" y="327"/>
                    </a:lnTo>
                    <a:lnTo>
                      <a:pt x="313" y="327"/>
                    </a:lnTo>
                    <a:lnTo>
                      <a:pt x="313" y="328"/>
                    </a:lnTo>
                    <a:lnTo>
                      <a:pt x="313" y="329"/>
                    </a:lnTo>
                    <a:lnTo>
                      <a:pt x="314" y="330"/>
                    </a:lnTo>
                    <a:lnTo>
                      <a:pt x="314" y="331"/>
                    </a:lnTo>
                    <a:lnTo>
                      <a:pt x="314" y="333"/>
                    </a:lnTo>
                    <a:lnTo>
                      <a:pt x="313" y="334"/>
                    </a:lnTo>
                    <a:lnTo>
                      <a:pt x="313" y="335"/>
                    </a:lnTo>
                    <a:lnTo>
                      <a:pt x="312" y="337"/>
                    </a:lnTo>
                    <a:lnTo>
                      <a:pt x="312" y="338"/>
                    </a:lnTo>
                    <a:lnTo>
                      <a:pt x="310" y="339"/>
                    </a:lnTo>
                    <a:lnTo>
                      <a:pt x="310" y="340"/>
                    </a:lnTo>
                    <a:lnTo>
                      <a:pt x="309" y="340"/>
                    </a:lnTo>
                    <a:lnTo>
                      <a:pt x="309" y="341"/>
                    </a:lnTo>
                    <a:lnTo>
                      <a:pt x="309" y="342"/>
                    </a:lnTo>
                    <a:lnTo>
                      <a:pt x="308" y="341"/>
                    </a:lnTo>
                    <a:lnTo>
                      <a:pt x="307" y="341"/>
                    </a:lnTo>
                    <a:lnTo>
                      <a:pt x="306" y="341"/>
                    </a:lnTo>
                    <a:lnTo>
                      <a:pt x="305" y="341"/>
                    </a:lnTo>
                    <a:lnTo>
                      <a:pt x="304" y="341"/>
                    </a:lnTo>
                    <a:lnTo>
                      <a:pt x="303" y="342"/>
                    </a:lnTo>
                    <a:lnTo>
                      <a:pt x="302" y="343"/>
                    </a:lnTo>
                    <a:lnTo>
                      <a:pt x="302" y="344"/>
                    </a:lnTo>
                    <a:lnTo>
                      <a:pt x="301" y="344"/>
                    </a:lnTo>
                    <a:lnTo>
                      <a:pt x="300" y="344"/>
                    </a:lnTo>
                    <a:lnTo>
                      <a:pt x="300" y="343"/>
                    </a:lnTo>
                    <a:lnTo>
                      <a:pt x="299" y="343"/>
                    </a:lnTo>
                    <a:lnTo>
                      <a:pt x="299" y="342"/>
                    </a:lnTo>
                    <a:lnTo>
                      <a:pt x="297" y="342"/>
                    </a:lnTo>
                    <a:lnTo>
                      <a:pt x="297" y="343"/>
                    </a:lnTo>
                    <a:lnTo>
                      <a:pt x="296" y="343"/>
                    </a:lnTo>
                    <a:lnTo>
                      <a:pt x="296" y="342"/>
                    </a:lnTo>
                    <a:lnTo>
                      <a:pt x="296" y="341"/>
                    </a:lnTo>
                    <a:lnTo>
                      <a:pt x="295" y="341"/>
                    </a:lnTo>
                    <a:lnTo>
                      <a:pt x="295" y="340"/>
                    </a:lnTo>
                    <a:lnTo>
                      <a:pt x="293" y="340"/>
                    </a:lnTo>
                    <a:lnTo>
                      <a:pt x="292" y="341"/>
                    </a:lnTo>
                    <a:lnTo>
                      <a:pt x="292" y="342"/>
                    </a:lnTo>
                    <a:lnTo>
                      <a:pt x="291" y="342"/>
                    </a:lnTo>
                    <a:lnTo>
                      <a:pt x="291" y="343"/>
                    </a:lnTo>
                    <a:lnTo>
                      <a:pt x="290" y="343"/>
                    </a:lnTo>
                    <a:lnTo>
                      <a:pt x="289" y="343"/>
                    </a:lnTo>
                    <a:lnTo>
                      <a:pt x="288" y="343"/>
                    </a:lnTo>
                    <a:lnTo>
                      <a:pt x="288" y="344"/>
                    </a:lnTo>
                    <a:lnTo>
                      <a:pt x="288" y="346"/>
                    </a:lnTo>
                    <a:lnTo>
                      <a:pt x="288" y="347"/>
                    </a:lnTo>
                    <a:lnTo>
                      <a:pt x="287" y="348"/>
                    </a:lnTo>
                    <a:lnTo>
                      <a:pt x="286" y="349"/>
                    </a:lnTo>
                    <a:lnTo>
                      <a:pt x="286" y="348"/>
                    </a:lnTo>
                    <a:lnTo>
                      <a:pt x="284" y="348"/>
                    </a:lnTo>
                    <a:lnTo>
                      <a:pt x="283" y="348"/>
                    </a:lnTo>
                    <a:lnTo>
                      <a:pt x="282" y="347"/>
                    </a:lnTo>
                    <a:lnTo>
                      <a:pt x="281" y="347"/>
                    </a:lnTo>
                    <a:lnTo>
                      <a:pt x="281" y="346"/>
                    </a:lnTo>
                    <a:lnTo>
                      <a:pt x="280" y="344"/>
                    </a:lnTo>
                    <a:lnTo>
                      <a:pt x="279" y="344"/>
                    </a:lnTo>
                    <a:lnTo>
                      <a:pt x="279" y="343"/>
                    </a:lnTo>
                    <a:lnTo>
                      <a:pt x="279" y="342"/>
                    </a:lnTo>
                    <a:lnTo>
                      <a:pt x="278" y="342"/>
                    </a:lnTo>
                    <a:lnTo>
                      <a:pt x="277" y="342"/>
                    </a:lnTo>
                    <a:lnTo>
                      <a:pt x="277" y="341"/>
                    </a:lnTo>
                    <a:lnTo>
                      <a:pt x="277" y="340"/>
                    </a:lnTo>
                    <a:lnTo>
                      <a:pt x="278" y="339"/>
                    </a:lnTo>
                    <a:lnTo>
                      <a:pt x="278" y="338"/>
                    </a:lnTo>
                    <a:lnTo>
                      <a:pt x="277" y="338"/>
                    </a:lnTo>
                    <a:lnTo>
                      <a:pt x="277" y="337"/>
                    </a:lnTo>
                    <a:lnTo>
                      <a:pt x="276" y="337"/>
                    </a:lnTo>
                    <a:lnTo>
                      <a:pt x="276" y="336"/>
                    </a:lnTo>
                    <a:lnTo>
                      <a:pt x="275" y="336"/>
                    </a:lnTo>
                    <a:lnTo>
                      <a:pt x="274" y="336"/>
                    </a:lnTo>
                    <a:lnTo>
                      <a:pt x="274" y="335"/>
                    </a:lnTo>
                    <a:lnTo>
                      <a:pt x="273" y="335"/>
                    </a:lnTo>
                    <a:lnTo>
                      <a:pt x="273" y="334"/>
                    </a:lnTo>
                    <a:lnTo>
                      <a:pt x="273" y="333"/>
                    </a:lnTo>
                    <a:lnTo>
                      <a:pt x="271" y="334"/>
                    </a:lnTo>
                    <a:lnTo>
                      <a:pt x="271" y="335"/>
                    </a:lnTo>
                    <a:lnTo>
                      <a:pt x="270" y="335"/>
                    </a:lnTo>
                    <a:lnTo>
                      <a:pt x="269" y="335"/>
                    </a:lnTo>
                    <a:lnTo>
                      <a:pt x="268" y="335"/>
                    </a:lnTo>
                    <a:lnTo>
                      <a:pt x="268" y="336"/>
                    </a:lnTo>
                    <a:lnTo>
                      <a:pt x="267" y="336"/>
                    </a:lnTo>
                    <a:lnTo>
                      <a:pt x="267" y="337"/>
                    </a:lnTo>
                    <a:lnTo>
                      <a:pt x="266" y="337"/>
                    </a:lnTo>
                    <a:lnTo>
                      <a:pt x="266" y="338"/>
                    </a:lnTo>
                    <a:lnTo>
                      <a:pt x="265" y="338"/>
                    </a:lnTo>
                    <a:lnTo>
                      <a:pt x="265" y="339"/>
                    </a:lnTo>
                    <a:lnTo>
                      <a:pt x="265" y="340"/>
                    </a:lnTo>
                    <a:lnTo>
                      <a:pt x="264" y="340"/>
                    </a:lnTo>
                    <a:lnTo>
                      <a:pt x="264" y="341"/>
                    </a:lnTo>
                    <a:lnTo>
                      <a:pt x="263" y="341"/>
                    </a:lnTo>
                    <a:lnTo>
                      <a:pt x="263" y="342"/>
                    </a:lnTo>
                    <a:lnTo>
                      <a:pt x="262" y="342"/>
                    </a:lnTo>
                    <a:lnTo>
                      <a:pt x="262" y="343"/>
                    </a:lnTo>
                    <a:lnTo>
                      <a:pt x="261" y="343"/>
                    </a:lnTo>
                    <a:lnTo>
                      <a:pt x="260" y="343"/>
                    </a:lnTo>
                    <a:lnTo>
                      <a:pt x="260" y="344"/>
                    </a:lnTo>
                    <a:lnTo>
                      <a:pt x="258" y="344"/>
                    </a:lnTo>
                    <a:lnTo>
                      <a:pt x="257" y="344"/>
                    </a:lnTo>
                    <a:lnTo>
                      <a:pt x="256" y="344"/>
                    </a:lnTo>
                    <a:lnTo>
                      <a:pt x="256" y="343"/>
                    </a:lnTo>
                    <a:lnTo>
                      <a:pt x="256" y="344"/>
                    </a:lnTo>
                    <a:lnTo>
                      <a:pt x="255" y="344"/>
                    </a:lnTo>
                    <a:lnTo>
                      <a:pt x="255" y="346"/>
                    </a:lnTo>
                    <a:lnTo>
                      <a:pt x="254" y="347"/>
                    </a:lnTo>
                    <a:lnTo>
                      <a:pt x="252" y="348"/>
                    </a:lnTo>
                    <a:lnTo>
                      <a:pt x="251" y="348"/>
                    </a:lnTo>
                    <a:lnTo>
                      <a:pt x="251" y="349"/>
                    </a:lnTo>
                    <a:lnTo>
                      <a:pt x="251" y="350"/>
                    </a:lnTo>
                    <a:lnTo>
                      <a:pt x="251" y="351"/>
                    </a:lnTo>
                    <a:lnTo>
                      <a:pt x="251" y="352"/>
                    </a:lnTo>
                    <a:lnTo>
                      <a:pt x="251" y="353"/>
                    </a:lnTo>
                    <a:lnTo>
                      <a:pt x="251" y="354"/>
                    </a:lnTo>
                    <a:lnTo>
                      <a:pt x="250" y="354"/>
                    </a:lnTo>
                    <a:lnTo>
                      <a:pt x="250" y="355"/>
                    </a:lnTo>
                    <a:lnTo>
                      <a:pt x="250" y="356"/>
                    </a:lnTo>
                    <a:lnTo>
                      <a:pt x="251" y="356"/>
                    </a:lnTo>
                    <a:lnTo>
                      <a:pt x="251" y="357"/>
                    </a:lnTo>
                    <a:lnTo>
                      <a:pt x="251" y="359"/>
                    </a:lnTo>
                    <a:lnTo>
                      <a:pt x="250" y="360"/>
                    </a:lnTo>
                    <a:lnTo>
                      <a:pt x="249" y="360"/>
                    </a:lnTo>
                    <a:lnTo>
                      <a:pt x="249" y="361"/>
                    </a:lnTo>
                    <a:lnTo>
                      <a:pt x="250" y="361"/>
                    </a:lnTo>
                    <a:lnTo>
                      <a:pt x="250" y="362"/>
                    </a:lnTo>
                    <a:lnTo>
                      <a:pt x="250" y="363"/>
                    </a:lnTo>
                    <a:lnTo>
                      <a:pt x="250" y="364"/>
                    </a:lnTo>
                    <a:lnTo>
                      <a:pt x="249" y="365"/>
                    </a:lnTo>
                    <a:lnTo>
                      <a:pt x="248" y="366"/>
                    </a:lnTo>
                    <a:lnTo>
                      <a:pt x="248" y="367"/>
                    </a:lnTo>
                    <a:lnTo>
                      <a:pt x="248" y="368"/>
                    </a:lnTo>
                    <a:lnTo>
                      <a:pt x="248" y="369"/>
                    </a:lnTo>
                    <a:lnTo>
                      <a:pt x="247" y="369"/>
                    </a:lnTo>
                    <a:lnTo>
                      <a:pt x="244" y="369"/>
                    </a:lnTo>
                    <a:lnTo>
                      <a:pt x="243" y="369"/>
                    </a:lnTo>
                    <a:lnTo>
                      <a:pt x="243" y="370"/>
                    </a:lnTo>
                    <a:lnTo>
                      <a:pt x="242" y="372"/>
                    </a:lnTo>
                    <a:lnTo>
                      <a:pt x="238" y="375"/>
                    </a:lnTo>
                    <a:lnTo>
                      <a:pt x="228" y="381"/>
                    </a:lnTo>
                    <a:lnTo>
                      <a:pt x="215" y="391"/>
                    </a:lnTo>
                    <a:lnTo>
                      <a:pt x="216" y="380"/>
                    </a:lnTo>
                    <a:lnTo>
                      <a:pt x="216" y="376"/>
                    </a:lnTo>
                    <a:lnTo>
                      <a:pt x="205" y="376"/>
                    </a:lnTo>
                    <a:lnTo>
                      <a:pt x="205" y="355"/>
                    </a:lnTo>
                    <a:lnTo>
                      <a:pt x="194" y="355"/>
                    </a:lnTo>
                    <a:lnTo>
                      <a:pt x="194" y="340"/>
                    </a:lnTo>
                    <a:lnTo>
                      <a:pt x="194" y="335"/>
                    </a:lnTo>
                    <a:lnTo>
                      <a:pt x="194" y="329"/>
                    </a:lnTo>
                    <a:lnTo>
                      <a:pt x="194" y="324"/>
                    </a:lnTo>
                    <a:lnTo>
                      <a:pt x="194" y="314"/>
                    </a:lnTo>
                    <a:lnTo>
                      <a:pt x="194" y="304"/>
                    </a:lnTo>
                    <a:lnTo>
                      <a:pt x="194" y="293"/>
                    </a:lnTo>
                    <a:lnTo>
                      <a:pt x="192" y="293"/>
                    </a:lnTo>
                    <a:lnTo>
                      <a:pt x="191" y="293"/>
                    </a:lnTo>
                    <a:lnTo>
                      <a:pt x="176" y="293"/>
                    </a:lnTo>
                    <a:lnTo>
                      <a:pt x="170" y="293"/>
                    </a:lnTo>
                    <a:lnTo>
                      <a:pt x="168" y="293"/>
                    </a:lnTo>
                    <a:lnTo>
                      <a:pt x="153" y="293"/>
                    </a:lnTo>
                    <a:lnTo>
                      <a:pt x="152" y="272"/>
                    </a:lnTo>
                    <a:lnTo>
                      <a:pt x="152" y="263"/>
                    </a:lnTo>
                    <a:lnTo>
                      <a:pt x="147" y="263"/>
                    </a:lnTo>
                    <a:lnTo>
                      <a:pt x="139" y="263"/>
                    </a:lnTo>
                    <a:lnTo>
                      <a:pt x="132" y="263"/>
                    </a:lnTo>
                    <a:lnTo>
                      <a:pt x="123" y="263"/>
                    </a:lnTo>
                    <a:lnTo>
                      <a:pt x="112" y="263"/>
                    </a:lnTo>
                    <a:lnTo>
                      <a:pt x="98" y="263"/>
                    </a:lnTo>
                    <a:lnTo>
                      <a:pt x="83" y="263"/>
                    </a:lnTo>
                    <a:lnTo>
                      <a:pt x="73" y="263"/>
                    </a:lnTo>
                    <a:lnTo>
                      <a:pt x="69" y="263"/>
                    </a:lnTo>
                    <a:lnTo>
                      <a:pt x="64" y="263"/>
                    </a:lnTo>
                    <a:lnTo>
                      <a:pt x="60" y="263"/>
                    </a:lnTo>
                    <a:lnTo>
                      <a:pt x="58" y="263"/>
                    </a:lnTo>
                    <a:lnTo>
                      <a:pt x="49" y="263"/>
                    </a:lnTo>
                    <a:lnTo>
                      <a:pt x="48" y="263"/>
                    </a:lnTo>
                    <a:lnTo>
                      <a:pt x="41" y="263"/>
                    </a:lnTo>
                    <a:lnTo>
                      <a:pt x="38" y="263"/>
                    </a:lnTo>
                    <a:lnTo>
                      <a:pt x="35" y="263"/>
                    </a:lnTo>
                    <a:lnTo>
                      <a:pt x="24" y="263"/>
                    </a:lnTo>
                    <a:lnTo>
                      <a:pt x="22" y="262"/>
                    </a:lnTo>
                    <a:lnTo>
                      <a:pt x="21" y="263"/>
                    </a:lnTo>
                    <a:lnTo>
                      <a:pt x="19" y="263"/>
                    </a:lnTo>
                    <a:lnTo>
                      <a:pt x="13" y="263"/>
                    </a:lnTo>
                    <a:lnTo>
                      <a:pt x="5" y="263"/>
                    </a:lnTo>
                    <a:lnTo>
                      <a:pt x="5" y="262"/>
                    </a:lnTo>
                    <a:lnTo>
                      <a:pt x="0" y="263"/>
                    </a:lnTo>
                    <a:lnTo>
                      <a:pt x="0" y="262"/>
                    </a:lnTo>
                    <a:lnTo>
                      <a:pt x="2" y="261"/>
                    </a:lnTo>
                    <a:lnTo>
                      <a:pt x="2" y="260"/>
                    </a:lnTo>
                    <a:lnTo>
                      <a:pt x="3" y="260"/>
                    </a:lnTo>
                    <a:lnTo>
                      <a:pt x="3" y="259"/>
                    </a:lnTo>
                    <a:lnTo>
                      <a:pt x="4" y="259"/>
                    </a:lnTo>
                    <a:lnTo>
                      <a:pt x="4" y="258"/>
                    </a:lnTo>
                    <a:lnTo>
                      <a:pt x="5" y="258"/>
                    </a:lnTo>
                    <a:lnTo>
                      <a:pt x="5" y="257"/>
                    </a:lnTo>
                    <a:lnTo>
                      <a:pt x="6" y="257"/>
                    </a:lnTo>
                    <a:lnTo>
                      <a:pt x="6" y="256"/>
                    </a:lnTo>
                    <a:lnTo>
                      <a:pt x="6" y="254"/>
                    </a:lnTo>
                    <a:lnTo>
                      <a:pt x="7" y="256"/>
                    </a:lnTo>
                    <a:lnTo>
                      <a:pt x="7" y="254"/>
                    </a:lnTo>
                    <a:lnTo>
                      <a:pt x="8" y="254"/>
                    </a:lnTo>
                    <a:lnTo>
                      <a:pt x="9" y="254"/>
                    </a:lnTo>
                    <a:lnTo>
                      <a:pt x="9" y="253"/>
                    </a:lnTo>
                    <a:lnTo>
                      <a:pt x="10" y="253"/>
                    </a:lnTo>
                    <a:lnTo>
                      <a:pt x="9" y="253"/>
                    </a:lnTo>
                    <a:lnTo>
                      <a:pt x="9" y="252"/>
                    </a:lnTo>
                    <a:lnTo>
                      <a:pt x="10" y="252"/>
                    </a:lnTo>
                    <a:lnTo>
                      <a:pt x="11" y="252"/>
                    </a:lnTo>
                    <a:lnTo>
                      <a:pt x="12" y="252"/>
                    </a:lnTo>
                    <a:lnTo>
                      <a:pt x="13" y="252"/>
                    </a:lnTo>
                    <a:lnTo>
                      <a:pt x="13" y="253"/>
                    </a:lnTo>
                    <a:lnTo>
                      <a:pt x="15" y="253"/>
                    </a:lnTo>
                    <a:lnTo>
                      <a:pt x="16" y="252"/>
                    </a:lnTo>
                    <a:lnTo>
                      <a:pt x="17" y="252"/>
                    </a:lnTo>
                    <a:lnTo>
                      <a:pt x="18" y="252"/>
                    </a:lnTo>
                    <a:lnTo>
                      <a:pt x="18" y="251"/>
                    </a:lnTo>
                    <a:lnTo>
                      <a:pt x="18" y="250"/>
                    </a:lnTo>
                    <a:lnTo>
                      <a:pt x="18" y="249"/>
                    </a:lnTo>
                    <a:lnTo>
                      <a:pt x="19" y="249"/>
                    </a:lnTo>
                    <a:lnTo>
                      <a:pt x="19" y="248"/>
                    </a:lnTo>
                    <a:lnTo>
                      <a:pt x="19" y="247"/>
                    </a:lnTo>
                    <a:lnTo>
                      <a:pt x="18" y="247"/>
                    </a:lnTo>
                    <a:lnTo>
                      <a:pt x="18" y="246"/>
                    </a:lnTo>
                    <a:lnTo>
                      <a:pt x="19" y="246"/>
                    </a:lnTo>
                    <a:lnTo>
                      <a:pt x="18" y="245"/>
                    </a:lnTo>
                    <a:lnTo>
                      <a:pt x="19" y="245"/>
                    </a:lnTo>
                    <a:lnTo>
                      <a:pt x="18" y="244"/>
                    </a:lnTo>
                    <a:lnTo>
                      <a:pt x="18" y="243"/>
                    </a:lnTo>
                    <a:lnTo>
                      <a:pt x="19" y="243"/>
                    </a:lnTo>
                    <a:lnTo>
                      <a:pt x="19" y="241"/>
                    </a:lnTo>
                    <a:lnTo>
                      <a:pt x="19" y="240"/>
                    </a:lnTo>
                    <a:lnTo>
                      <a:pt x="18" y="239"/>
                    </a:lnTo>
                    <a:lnTo>
                      <a:pt x="19" y="238"/>
                    </a:lnTo>
                    <a:lnTo>
                      <a:pt x="20" y="238"/>
                    </a:lnTo>
                    <a:lnTo>
                      <a:pt x="20" y="237"/>
                    </a:lnTo>
                    <a:lnTo>
                      <a:pt x="20" y="236"/>
                    </a:lnTo>
                    <a:lnTo>
                      <a:pt x="21" y="236"/>
                    </a:lnTo>
                    <a:lnTo>
                      <a:pt x="21" y="235"/>
                    </a:lnTo>
                    <a:lnTo>
                      <a:pt x="20" y="235"/>
                    </a:lnTo>
                    <a:lnTo>
                      <a:pt x="21" y="235"/>
                    </a:lnTo>
                    <a:lnTo>
                      <a:pt x="21" y="234"/>
                    </a:lnTo>
                    <a:lnTo>
                      <a:pt x="21" y="233"/>
                    </a:lnTo>
                    <a:lnTo>
                      <a:pt x="20" y="232"/>
                    </a:lnTo>
                    <a:lnTo>
                      <a:pt x="21" y="232"/>
                    </a:lnTo>
                    <a:lnTo>
                      <a:pt x="22" y="231"/>
                    </a:lnTo>
                    <a:lnTo>
                      <a:pt x="22" y="229"/>
                    </a:lnTo>
                    <a:lnTo>
                      <a:pt x="21" y="229"/>
                    </a:lnTo>
                    <a:lnTo>
                      <a:pt x="21" y="228"/>
                    </a:lnTo>
                    <a:lnTo>
                      <a:pt x="22" y="228"/>
                    </a:lnTo>
                    <a:lnTo>
                      <a:pt x="22" y="229"/>
                    </a:lnTo>
                    <a:lnTo>
                      <a:pt x="23" y="229"/>
                    </a:lnTo>
                    <a:lnTo>
                      <a:pt x="24" y="229"/>
                    </a:lnTo>
                    <a:lnTo>
                      <a:pt x="24" y="228"/>
                    </a:lnTo>
                    <a:lnTo>
                      <a:pt x="24" y="229"/>
                    </a:lnTo>
                    <a:lnTo>
                      <a:pt x="25" y="229"/>
                    </a:lnTo>
                    <a:lnTo>
                      <a:pt x="25" y="228"/>
                    </a:lnTo>
                    <a:lnTo>
                      <a:pt x="25" y="227"/>
                    </a:lnTo>
                    <a:lnTo>
                      <a:pt x="26" y="226"/>
                    </a:lnTo>
                    <a:lnTo>
                      <a:pt x="26" y="227"/>
                    </a:lnTo>
                    <a:lnTo>
                      <a:pt x="26" y="226"/>
                    </a:lnTo>
                    <a:lnTo>
                      <a:pt x="26" y="225"/>
                    </a:lnTo>
                    <a:lnTo>
                      <a:pt x="28" y="225"/>
                    </a:lnTo>
                    <a:lnTo>
                      <a:pt x="28" y="224"/>
                    </a:lnTo>
                    <a:lnTo>
                      <a:pt x="29" y="224"/>
                    </a:lnTo>
                    <a:lnTo>
                      <a:pt x="29" y="225"/>
                    </a:lnTo>
                    <a:lnTo>
                      <a:pt x="30" y="224"/>
                    </a:lnTo>
                    <a:lnTo>
                      <a:pt x="31" y="225"/>
                    </a:lnTo>
                    <a:lnTo>
                      <a:pt x="31" y="224"/>
                    </a:lnTo>
                    <a:lnTo>
                      <a:pt x="32" y="224"/>
                    </a:lnTo>
                    <a:lnTo>
                      <a:pt x="32" y="225"/>
                    </a:lnTo>
                    <a:lnTo>
                      <a:pt x="33" y="224"/>
                    </a:lnTo>
                    <a:lnTo>
                      <a:pt x="34" y="224"/>
                    </a:lnTo>
                    <a:lnTo>
                      <a:pt x="34" y="223"/>
                    </a:lnTo>
                    <a:lnTo>
                      <a:pt x="35" y="223"/>
                    </a:lnTo>
                    <a:lnTo>
                      <a:pt x="36" y="223"/>
                    </a:lnTo>
                    <a:lnTo>
                      <a:pt x="37" y="223"/>
                    </a:lnTo>
                    <a:lnTo>
                      <a:pt x="38" y="224"/>
                    </a:lnTo>
                    <a:lnTo>
                      <a:pt x="38" y="225"/>
                    </a:lnTo>
                    <a:lnTo>
                      <a:pt x="39" y="224"/>
                    </a:lnTo>
                    <a:lnTo>
                      <a:pt x="41" y="224"/>
                    </a:lnTo>
                    <a:lnTo>
                      <a:pt x="41" y="223"/>
                    </a:lnTo>
                    <a:lnTo>
                      <a:pt x="42" y="223"/>
                    </a:lnTo>
                    <a:lnTo>
                      <a:pt x="41" y="223"/>
                    </a:lnTo>
                    <a:lnTo>
                      <a:pt x="42" y="222"/>
                    </a:lnTo>
                    <a:lnTo>
                      <a:pt x="42" y="221"/>
                    </a:lnTo>
                    <a:lnTo>
                      <a:pt x="42" y="222"/>
                    </a:lnTo>
                    <a:lnTo>
                      <a:pt x="43" y="223"/>
                    </a:lnTo>
                    <a:lnTo>
                      <a:pt x="43" y="222"/>
                    </a:lnTo>
                    <a:lnTo>
                      <a:pt x="44" y="222"/>
                    </a:lnTo>
                    <a:lnTo>
                      <a:pt x="45" y="222"/>
                    </a:lnTo>
                    <a:lnTo>
                      <a:pt x="45" y="221"/>
                    </a:lnTo>
                    <a:lnTo>
                      <a:pt x="46" y="221"/>
                    </a:lnTo>
                    <a:lnTo>
                      <a:pt x="47" y="222"/>
                    </a:lnTo>
                    <a:lnTo>
                      <a:pt x="48" y="222"/>
                    </a:lnTo>
                    <a:lnTo>
                      <a:pt x="48" y="221"/>
                    </a:lnTo>
                    <a:lnTo>
                      <a:pt x="54" y="221"/>
                    </a:lnTo>
                    <a:lnTo>
                      <a:pt x="73" y="221"/>
                    </a:lnTo>
                    <a:lnTo>
                      <a:pt x="75" y="221"/>
                    </a:lnTo>
                    <a:lnTo>
                      <a:pt x="80" y="221"/>
                    </a:lnTo>
                    <a:lnTo>
                      <a:pt x="82" y="221"/>
                    </a:lnTo>
                    <a:lnTo>
                      <a:pt x="105" y="221"/>
                    </a:lnTo>
                    <a:lnTo>
                      <a:pt x="111" y="221"/>
                    </a:lnTo>
                    <a:lnTo>
                      <a:pt x="123" y="221"/>
                    </a:lnTo>
                    <a:lnTo>
                      <a:pt x="132" y="221"/>
                    </a:lnTo>
                    <a:lnTo>
                      <a:pt x="141" y="221"/>
                    </a:lnTo>
                    <a:lnTo>
                      <a:pt x="141" y="218"/>
                    </a:lnTo>
                    <a:lnTo>
                      <a:pt x="141" y="207"/>
                    </a:lnTo>
                    <a:lnTo>
                      <a:pt x="141" y="200"/>
                    </a:lnTo>
                    <a:lnTo>
                      <a:pt x="150" y="200"/>
                    </a:lnTo>
                    <a:lnTo>
                      <a:pt x="157" y="200"/>
                    </a:lnTo>
                    <a:lnTo>
                      <a:pt x="168" y="200"/>
                    </a:lnTo>
                    <a:lnTo>
                      <a:pt x="172" y="200"/>
                    </a:lnTo>
                    <a:lnTo>
                      <a:pt x="173" y="200"/>
                    </a:lnTo>
                    <a:lnTo>
                      <a:pt x="173" y="195"/>
                    </a:lnTo>
                    <a:lnTo>
                      <a:pt x="173" y="168"/>
                    </a:lnTo>
                    <a:lnTo>
                      <a:pt x="173" y="167"/>
                    </a:lnTo>
                    <a:lnTo>
                      <a:pt x="173" y="166"/>
                    </a:lnTo>
                    <a:lnTo>
                      <a:pt x="173" y="164"/>
                    </a:lnTo>
                    <a:lnTo>
                      <a:pt x="174" y="164"/>
                    </a:lnTo>
                    <a:lnTo>
                      <a:pt x="174" y="163"/>
                    </a:lnTo>
                    <a:lnTo>
                      <a:pt x="175" y="163"/>
                    </a:lnTo>
                    <a:lnTo>
                      <a:pt x="176" y="162"/>
                    </a:lnTo>
                    <a:lnTo>
                      <a:pt x="176" y="161"/>
                    </a:lnTo>
                    <a:lnTo>
                      <a:pt x="177" y="161"/>
                    </a:lnTo>
                    <a:lnTo>
                      <a:pt x="177" y="160"/>
                    </a:lnTo>
                    <a:lnTo>
                      <a:pt x="177" y="159"/>
                    </a:lnTo>
                    <a:lnTo>
                      <a:pt x="177" y="158"/>
                    </a:lnTo>
                    <a:lnTo>
                      <a:pt x="177" y="157"/>
                    </a:lnTo>
                    <a:lnTo>
                      <a:pt x="177" y="156"/>
                    </a:lnTo>
                    <a:lnTo>
                      <a:pt x="177" y="154"/>
                    </a:lnTo>
                    <a:lnTo>
                      <a:pt x="177" y="153"/>
                    </a:lnTo>
                    <a:lnTo>
                      <a:pt x="178" y="151"/>
                    </a:lnTo>
                    <a:lnTo>
                      <a:pt x="178" y="150"/>
                    </a:lnTo>
                    <a:lnTo>
                      <a:pt x="177" y="149"/>
                    </a:lnTo>
                    <a:lnTo>
                      <a:pt x="177" y="148"/>
                    </a:lnTo>
                    <a:lnTo>
                      <a:pt x="178" y="148"/>
                    </a:lnTo>
                    <a:lnTo>
                      <a:pt x="178" y="147"/>
                    </a:lnTo>
                    <a:lnTo>
                      <a:pt x="178" y="146"/>
                    </a:lnTo>
                    <a:lnTo>
                      <a:pt x="179" y="145"/>
                    </a:lnTo>
                    <a:lnTo>
                      <a:pt x="179" y="144"/>
                    </a:lnTo>
                    <a:lnTo>
                      <a:pt x="179" y="142"/>
                    </a:lnTo>
                    <a:lnTo>
                      <a:pt x="179" y="139"/>
                    </a:lnTo>
                    <a:lnTo>
                      <a:pt x="179" y="138"/>
                    </a:lnTo>
                    <a:lnTo>
                      <a:pt x="179" y="137"/>
                    </a:lnTo>
                    <a:lnTo>
                      <a:pt x="180" y="137"/>
                    </a:lnTo>
                    <a:lnTo>
                      <a:pt x="181" y="137"/>
                    </a:lnTo>
                    <a:lnTo>
                      <a:pt x="183" y="136"/>
                    </a:lnTo>
                    <a:lnTo>
                      <a:pt x="184" y="135"/>
                    </a:lnTo>
                    <a:lnTo>
                      <a:pt x="185" y="135"/>
                    </a:lnTo>
                    <a:lnTo>
                      <a:pt x="185" y="133"/>
                    </a:lnTo>
                    <a:lnTo>
                      <a:pt x="186" y="133"/>
                    </a:lnTo>
                    <a:lnTo>
                      <a:pt x="186" y="132"/>
                    </a:lnTo>
                    <a:lnTo>
                      <a:pt x="187" y="132"/>
                    </a:lnTo>
                    <a:lnTo>
                      <a:pt x="188" y="131"/>
                    </a:lnTo>
                    <a:lnTo>
                      <a:pt x="189" y="130"/>
                    </a:lnTo>
                    <a:lnTo>
                      <a:pt x="190" y="131"/>
                    </a:lnTo>
                    <a:lnTo>
                      <a:pt x="192" y="131"/>
                    </a:lnTo>
                    <a:lnTo>
                      <a:pt x="193" y="130"/>
                    </a:lnTo>
                    <a:lnTo>
                      <a:pt x="193" y="128"/>
                    </a:lnTo>
                    <a:lnTo>
                      <a:pt x="194" y="126"/>
                    </a:lnTo>
                    <a:lnTo>
                      <a:pt x="194" y="125"/>
                    </a:lnTo>
                    <a:lnTo>
                      <a:pt x="194" y="124"/>
                    </a:lnTo>
                    <a:lnTo>
                      <a:pt x="196" y="124"/>
                    </a:lnTo>
                    <a:lnTo>
                      <a:pt x="196" y="123"/>
                    </a:lnTo>
                    <a:lnTo>
                      <a:pt x="197" y="124"/>
                    </a:lnTo>
                    <a:lnTo>
                      <a:pt x="197" y="125"/>
                    </a:lnTo>
                    <a:lnTo>
                      <a:pt x="197" y="121"/>
                    </a:lnTo>
                    <a:lnTo>
                      <a:pt x="197" y="119"/>
                    </a:lnTo>
                    <a:lnTo>
                      <a:pt x="197" y="118"/>
                    </a:lnTo>
                    <a:lnTo>
                      <a:pt x="197" y="106"/>
                    </a:lnTo>
                    <a:lnTo>
                      <a:pt x="197" y="79"/>
                    </a:lnTo>
                    <a:lnTo>
                      <a:pt x="197" y="78"/>
                    </a:lnTo>
                    <a:lnTo>
                      <a:pt x="197" y="77"/>
                    </a:lnTo>
                    <a:lnTo>
                      <a:pt x="197" y="62"/>
                    </a:lnTo>
                    <a:lnTo>
                      <a:pt x="197" y="61"/>
                    </a:lnTo>
                    <a:lnTo>
                      <a:pt x="197" y="60"/>
                    </a:lnTo>
                    <a:lnTo>
                      <a:pt x="197" y="58"/>
                    </a:lnTo>
                    <a:lnTo>
                      <a:pt x="196" y="58"/>
                    </a:lnTo>
                    <a:lnTo>
                      <a:pt x="194" y="58"/>
                    </a:lnTo>
                    <a:lnTo>
                      <a:pt x="193" y="58"/>
                    </a:lnTo>
                    <a:lnTo>
                      <a:pt x="193" y="57"/>
                    </a:lnTo>
                    <a:lnTo>
                      <a:pt x="192" y="57"/>
                    </a:lnTo>
                    <a:lnTo>
                      <a:pt x="191" y="57"/>
                    </a:lnTo>
                    <a:lnTo>
                      <a:pt x="191" y="56"/>
                    </a:lnTo>
                    <a:lnTo>
                      <a:pt x="190" y="56"/>
                    </a:lnTo>
                    <a:lnTo>
                      <a:pt x="190" y="55"/>
                    </a:lnTo>
                    <a:lnTo>
                      <a:pt x="189" y="55"/>
                    </a:lnTo>
                    <a:lnTo>
                      <a:pt x="189" y="54"/>
                    </a:lnTo>
                    <a:lnTo>
                      <a:pt x="189" y="53"/>
                    </a:lnTo>
                    <a:lnTo>
                      <a:pt x="188" y="53"/>
                    </a:lnTo>
                    <a:lnTo>
                      <a:pt x="187" y="52"/>
                    </a:lnTo>
                    <a:lnTo>
                      <a:pt x="186" y="51"/>
                    </a:lnTo>
                    <a:lnTo>
                      <a:pt x="185" y="51"/>
                    </a:lnTo>
                    <a:lnTo>
                      <a:pt x="183" y="49"/>
                    </a:lnTo>
                    <a:lnTo>
                      <a:pt x="181" y="49"/>
                    </a:lnTo>
                    <a:lnTo>
                      <a:pt x="180" y="48"/>
                    </a:lnTo>
                    <a:lnTo>
                      <a:pt x="179" y="48"/>
                    </a:lnTo>
                    <a:lnTo>
                      <a:pt x="178" y="47"/>
                    </a:lnTo>
                    <a:lnTo>
                      <a:pt x="177" y="47"/>
                    </a:lnTo>
                    <a:lnTo>
                      <a:pt x="176" y="46"/>
                    </a:lnTo>
                    <a:lnTo>
                      <a:pt x="175" y="45"/>
                    </a:lnTo>
                    <a:lnTo>
                      <a:pt x="175" y="44"/>
                    </a:lnTo>
                    <a:lnTo>
                      <a:pt x="175" y="43"/>
                    </a:lnTo>
                    <a:lnTo>
                      <a:pt x="174" y="42"/>
                    </a:lnTo>
                    <a:lnTo>
                      <a:pt x="174" y="41"/>
                    </a:lnTo>
                    <a:lnTo>
                      <a:pt x="173" y="40"/>
                    </a:lnTo>
                    <a:lnTo>
                      <a:pt x="173" y="36"/>
                    </a:lnTo>
                    <a:lnTo>
                      <a:pt x="173" y="35"/>
                    </a:lnTo>
                    <a:lnTo>
                      <a:pt x="173" y="33"/>
                    </a:lnTo>
                    <a:lnTo>
                      <a:pt x="173" y="13"/>
                    </a:lnTo>
                    <a:lnTo>
                      <a:pt x="172" y="2"/>
                    </a:lnTo>
                    <a:lnTo>
                      <a:pt x="172" y="1"/>
                    </a:lnTo>
                    <a:lnTo>
                      <a:pt x="226" y="0"/>
                    </a:lnTo>
                    <a:lnTo>
                      <a:pt x="236" y="0"/>
                    </a:lnTo>
                    <a:lnTo>
                      <a:pt x="240" y="0"/>
                    </a:lnTo>
                    <a:lnTo>
                      <a:pt x="241" y="0"/>
                    </a:lnTo>
                    <a:lnTo>
                      <a:pt x="268" y="0"/>
                    </a:lnTo>
                    <a:lnTo>
                      <a:pt x="284" y="0"/>
                    </a:lnTo>
                    <a:lnTo>
                      <a:pt x="303" y="0"/>
                    </a:lnTo>
                    <a:lnTo>
                      <a:pt x="308" y="0"/>
                    </a:lnTo>
                    <a:lnTo>
                      <a:pt x="334" y="1"/>
                    </a:lnTo>
                    <a:lnTo>
                      <a:pt x="379" y="1"/>
                    </a:lnTo>
                    <a:lnTo>
                      <a:pt x="385" y="1"/>
                    </a:lnTo>
                    <a:lnTo>
                      <a:pt x="391" y="1"/>
                    </a:lnTo>
                    <a:lnTo>
                      <a:pt x="395" y="1"/>
                    </a:lnTo>
                    <a:lnTo>
                      <a:pt x="402" y="1"/>
                    </a:lnTo>
                    <a:lnTo>
                      <a:pt x="413" y="1"/>
                    </a:lnTo>
                    <a:lnTo>
                      <a:pt x="416" y="1"/>
                    </a:lnTo>
                    <a:close/>
                  </a:path>
                </a:pathLst>
              </a:custGeom>
              <a:solidFill>
                <a:srgbClr val="12529D"/>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0" name="Freeform 30">
                <a:extLst>
                  <a:ext uri="{FF2B5EF4-FFF2-40B4-BE49-F238E27FC236}">
                    <a16:creationId xmlns:a16="http://schemas.microsoft.com/office/drawing/2014/main" id="{715E0068-DD9E-B185-EF42-151C746C657F}"/>
                  </a:ext>
                </a:extLst>
              </p:cNvPr>
              <p:cNvSpPr>
                <a:spLocks/>
              </p:cNvSpPr>
              <p:nvPr/>
            </p:nvSpPr>
            <p:spPr bwMode="auto">
              <a:xfrm>
                <a:off x="2516188" y="4030663"/>
                <a:ext cx="477838" cy="487363"/>
              </a:xfrm>
              <a:custGeom>
                <a:avLst/>
                <a:gdLst>
                  <a:gd name="T0" fmla="*/ 154 w 301"/>
                  <a:gd name="T1" fmla="*/ 1 h 307"/>
                  <a:gd name="T2" fmla="*/ 279 w 301"/>
                  <a:gd name="T3" fmla="*/ 31 h 307"/>
                  <a:gd name="T4" fmla="*/ 290 w 301"/>
                  <a:gd name="T5" fmla="*/ 140 h 307"/>
                  <a:gd name="T6" fmla="*/ 258 w 301"/>
                  <a:gd name="T7" fmla="*/ 182 h 307"/>
                  <a:gd name="T8" fmla="*/ 245 w 301"/>
                  <a:gd name="T9" fmla="*/ 185 h 307"/>
                  <a:gd name="T10" fmla="*/ 236 w 301"/>
                  <a:gd name="T11" fmla="*/ 198 h 307"/>
                  <a:gd name="T12" fmla="*/ 235 w 301"/>
                  <a:gd name="T13" fmla="*/ 216 h 307"/>
                  <a:gd name="T14" fmla="*/ 225 w 301"/>
                  <a:gd name="T15" fmla="*/ 228 h 307"/>
                  <a:gd name="T16" fmla="*/ 219 w 301"/>
                  <a:gd name="T17" fmla="*/ 236 h 307"/>
                  <a:gd name="T18" fmla="*/ 210 w 301"/>
                  <a:gd name="T19" fmla="*/ 235 h 307"/>
                  <a:gd name="T20" fmla="*/ 207 w 301"/>
                  <a:gd name="T21" fmla="*/ 245 h 307"/>
                  <a:gd name="T22" fmla="*/ 198 w 301"/>
                  <a:gd name="T23" fmla="*/ 252 h 307"/>
                  <a:gd name="T24" fmla="*/ 190 w 301"/>
                  <a:gd name="T25" fmla="*/ 255 h 307"/>
                  <a:gd name="T26" fmla="*/ 184 w 301"/>
                  <a:gd name="T27" fmla="*/ 265 h 307"/>
                  <a:gd name="T28" fmla="*/ 175 w 301"/>
                  <a:gd name="T29" fmla="*/ 277 h 307"/>
                  <a:gd name="T30" fmla="*/ 165 w 301"/>
                  <a:gd name="T31" fmla="*/ 287 h 307"/>
                  <a:gd name="T32" fmla="*/ 144 w 301"/>
                  <a:gd name="T33" fmla="*/ 298 h 307"/>
                  <a:gd name="T34" fmla="*/ 127 w 301"/>
                  <a:gd name="T35" fmla="*/ 307 h 307"/>
                  <a:gd name="T36" fmla="*/ 110 w 301"/>
                  <a:gd name="T37" fmla="*/ 300 h 307"/>
                  <a:gd name="T38" fmla="*/ 94 w 301"/>
                  <a:gd name="T39" fmla="*/ 294 h 307"/>
                  <a:gd name="T40" fmla="*/ 84 w 301"/>
                  <a:gd name="T41" fmla="*/ 288 h 307"/>
                  <a:gd name="T42" fmla="*/ 74 w 301"/>
                  <a:gd name="T43" fmla="*/ 282 h 307"/>
                  <a:gd name="T44" fmla="*/ 69 w 301"/>
                  <a:gd name="T45" fmla="*/ 279 h 307"/>
                  <a:gd name="T46" fmla="*/ 63 w 301"/>
                  <a:gd name="T47" fmla="*/ 271 h 307"/>
                  <a:gd name="T48" fmla="*/ 61 w 301"/>
                  <a:gd name="T49" fmla="*/ 267 h 307"/>
                  <a:gd name="T50" fmla="*/ 54 w 301"/>
                  <a:gd name="T51" fmla="*/ 264 h 307"/>
                  <a:gd name="T52" fmla="*/ 43 w 301"/>
                  <a:gd name="T53" fmla="*/ 262 h 307"/>
                  <a:gd name="T54" fmla="*/ 36 w 301"/>
                  <a:gd name="T55" fmla="*/ 270 h 307"/>
                  <a:gd name="T56" fmla="*/ 24 w 301"/>
                  <a:gd name="T57" fmla="*/ 272 h 307"/>
                  <a:gd name="T58" fmla="*/ 17 w 301"/>
                  <a:gd name="T59" fmla="*/ 273 h 307"/>
                  <a:gd name="T60" fmla="*/ 6 w 301"/>
                  <a:gd name="T61" fmla="*/ 278 h 307"/>
                  <a:gd name="T62" fmla="*/ 7 w 301"/>
                  <a:gd name="T63" fmla="*/ 264 h 307"/>
                  <a:gd name="T64" fmla="*/ 5 w 301"/>
                  <a:gd name="T65" fmla="*/ 252 h 307"/>
                  <a:gd name="T66" fmla="*/ 7 w 301"/>
                  <a:gd name="T67" fmla="*/ 236 h 307"/>
                  <a:gd name="T68" fmla="*/ 14 w 301"/>
                  <a:gd name="T69" fmla="*/ 226 h 307"/>
                  <a:gd name="T70" fmla="*/ 12 w 301"/>
                  <a:gd name="T71" fmla="*/ 218 h 307"/>
                  <a:gd name="T72" fmla="*/ 26 w 301"/>
                  <a:gd name="T73" fmla="*/ 211 h 307"/>
                  <a:gd name="T74" fmla="*/ 28 w 301"/>
                  <a:gd name="T75" fmla="*/ 198 h 307"/>
                  <a:gd name="T76" fmla="*/ 20 w 301"/>
                  <a:gd name="T77" fmla="*/ 195 h 307"/>
                  <a:gd name="T78" fmla="*/ 12 w 301"/>
                  <a:gd name="T79" fmla="*/ 187 h 307"/>
                  <a:gd name="T80" fmla="*/ 4 w 301"/>
                  <a:gd name="T81" fmla="*/ 177 h 307"/>
                  <a:gd name="T82" fmla="*/ 4 w 301"/>
                  <a:gd name="T83" fmla="*/ 167 h 307"/>
                  <a:gd name="T84" fmla="*/ 5 w 301"/>
                  <a:gd name="T85" fmla="*/ 158 h 307"/>
                  <a:gd name="T86" fmla="*/ 5 w 301"/>
                  <a:gd name="T87" fmla="*/ 148 h 307"/>
                  <a:gd name="T88" fmla="*/ 3 w 301"/>
                  <a:gd name="T89" fmla="*/ 139 h 307"/>
                  <a:gd name="T90" fmla="*/ 3 w 301"/>
                  <a:gd name="T91" fmla="*/ 130 h 307"/>
                  <a:gd name="T92" fmla="*/ 6 w 301"/>
                  <a:gd name="T93" fmla="*/ 123 h 307"/>
                  <a:gd name="T94" fmla="*/ 6 w 301"/>
                  <a:gd name="T95" fmla="*/ 114 h 307"/>
                  <a:gd name="T96" fmla="*/ 8 w 301"/>
                  <a:gd name="T97" fmla="*/ 105 h 307"/>
                  <a:gd name="T98" fmla="*/ 4 w 301"/>
                  <a:gd name="T99" fmla="*/ 97 h 307"/>
                  <a:gd name="T100" fmla="*/ 3 w 301"/>
                  <a:gd name="T101" fmla="*/ 88 h 307"/>
                  <a:gd name="T102" fmla="*/ 3 w 301"/>
                  <a:gd name="T103" fmla="*/ 80 h 307"/>
                  <a:gd name="T104" fmla="*/ 6 w 301"/>
                  <a:gd name="T105" fmla="*/ 71 h 307"/>
                  <a:gd name="T106" fmla="*/ 14 w 301"/>
                  <a:gd name="T107" fmla="*/ 67 h 307"/>
                  <a:gd name="T108" fmla="*/ 17 w 301"/>
                  <a:gd name="T109" fmla="*/ 59 h 307"/>
                  <a:gd name="T110" fmla="*/ 17 w 301"/>
                  <a:gd name="T111" fmla="*/ 51 h 307"/>
                  <a:gd name="T112" fmla="*/ 24 w 301"/>
                  <a:gd name="T113" fmla="*/ 43 h 307"/>
                  <a:gd name="T114" fmla="*/ 18 w 301"/>
                  <a:gd name="T115" fmla="*/ 33 h 307"/>
                  <a:gd name="T116" fmla="*/ 13 w 301"/>
                  <a:gd name="T117" fmla="*/ 23 h 307"/>
                  <a:gd name="T118" fmla="*/ 6 w 301"/>
                  <a:gd name="T119" fmla="*/ 16 h 307"/>
                  <a:gd name="T120" fmla="*/ 3 w 301"/>
                  <a:gd name="T121" fmla="*/ 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 h="307">
                    <a:moveTo>
                      <a:pt x="85" y="1"/>
                    </a:moveTo>
                    <a:lnTo>
                      <a:pt x="90" y="0"/>
                    </a:lnTo>
                    <a:lnTo>
                      <a:pt x="90" y="1"/>
                    </a:lnTo>
                    <a:lnTo>
                      <a:pt x="98" y="1"/>
                    </a:lnTo>
                    <a:lnTo>
                      <a:pt x="104" y="1"/>
                    </a:lnTo>
                    <a:lnTo>
                      <a:pt x="106" y="1"/>
                    </a:lnTo>
                    <a:lnTo>
                      <a:pt x="107" y="0"/>
                    </a:lnTo>
                    <a:lnTo>
                      <a:pt x="109" y="1"/>
                    </a:lnTo>
                    <a:lnTo>
                      <a:pt x="120" y="1"/>
                    </a:lnTo>
                    <a:lnTo>
                      <a:pt x="123" y="1"/>
                    </a:lnTo>
                    <a:lnTo>
                      <a:pt x="126" y="1"/>
                    </a:lnTo>
                    <a:lnTo>
                      <a:pt x="133" y="1"/>
                    </a:lnTo>
                    <a:lnTo>
                      <a:pt x="134" y="1"/>
                    </a:lnTo>
                    <a:lnTo>
                      <a:pt x="143" y="1"/>
                    </a:lnTo>
                    <a:lnTo>
                      <a:pt x="145" y="1"/>
                    </a:lnTo>
                    <a:lnTo>
                      <a:pt x="149" y="1"/>
                    </a:lnTo>
                    <a:lnTo>
                      <a:pt x="154" y="1"/>
                    </a:lnTo>
                    <a:lnTo>
                      <a:pt x="158" y="1"/>
                    </a:lnTo>
                    <a:lnTo>
                      <a:pt x="168" y="1"/>
                    </a:lnTo>
                    <a:lnTo>
                      <a:pt x="183" y="1"/>
                    </a:lnTo>
                    <a:lnTo>
                      <a:pt x="197" y="1"/>
                    </a:lnTo>
                    <a:lnTo>
                      <a:pt x="208" y="1"/>
                    </a:lnTo>
                    <a:lnTo>
                      <a:pt x="217" y="1"/>
                    </a:lnTo>
                    <a:lnTo>
                      <a:pt x="224" y="1"/>
                    </a:lnTo>
                    <a:lnTo>
                      <a:pt x="232" y="1"/>
                    </a:lnTo>
                    <a:lnTo>
                      <a:pt x="237" y="1"/>
                    </a:lnTo>
                    <a:lnTo>
                      <a:pt x="237" y="10"/>
                    </a:lnTo>
                    <a:lnTo>
                      <a:pt x="238" y="31"/>
                    </a:lnTo>
                    <a:lnTo>
                      <a:pt x="253" y="31"/>
                    </a:lnTo>
                    <a:lnTo>
                      <a:pt x="255" y="31"/>
                    </a:lnTo>
                    <a:lnTo>
                      <a:pt x="261" y="31"/>
                    </a:lnTo>
                    <a:lnTo>
                      <a:pt x="276" y="31"/>
                    </a:lnTo>
                    <a:lnTo>
                      <a:pt x="277" y="31"/>
                    </a:lnTo>
                    <a:lnTo>
                      <a:pt x="279" y="31"/>
                    </a:lnTo>
                    <a:lnTo>
                      <a:pt x="279" y="42"/>
                    </a:lnTo>
                    <a:lnTo>
                      <a:pt x="279" y="52"/>
                    </a:lnTo>
                    <a:lnTo>
                      <a:pt x="279" y="62"/>
                    </a:lnTo>
                    <a:lnTo>
                      <a:pt x="279" y="67"/>
                    </a:lnTo>
                    <a:lnTo>
                      <a:pt x="279" y="73"/>
                    </a:lnTo>
                    <a:lnTo>
                      <a:pt x="279" y="78"/>
                    </a:lnTo>
                    <a:lnTo>
                      <a:pt x="279" y="93"/>
                    </a:lnTo>
                    <a:lnTo>
                      <a:pt x="290" y="93"/>
                    </a:lnTo>
                    <a:lnTo>
                      <a:pt x="290" y="114"/>
                    </a:lnTo>
                    <a:lnTo>
                      <a:pt x="301" y="114"/>
                    </a:lnTo>
                    <a:lnTo>
                      <a:pt x="301" y="118"/>
                    </a:lnTo>
                    <a:lnTo>
                      <a:pt x="300" y="129"/>
                    </a:lnTo>
                    <a:lnTo>
                      <a:pt x="300" y="134"/>
                    </a:lnTo>
                    <a:lnTo>
                      <a:pt x="300" y="140"/>
                    </a:lnTo>
                    <a:lnTo>
                      <a:pt x="298" y="140"/>
                    </a:lnTo>
                    <a:lnTo>
                      <a:pt x="297" y="140"/>
                    </a:lnTo>
                    <a:lnTo>
                      <a:pt x="290" y="140"/>
                    </a:lnTo>
                    <a:lnTo>
                      <a:pt x="290" y="146"/>
                    </a:lnTo>
                    <a:lnTo>
                      <a:pt x="290" y="150"/>
                    </a:lnTo>
                    <a:lnTo>
                      <a:pt x="279" y="150"/>
                    </a:lnTo>
                    <a:lnTo>
                      <a:pt x="279" y="161"/>
                    </a:lnTo>
                    <a:lnTo>
                      <a:pt x="279" y="166"/>
                    </a:lnTo>
                    <a:lnTo>
                      <a:pt x="279" y="170"/>
                    </a:lnTo>
                    <a:lnTo>
                      <a:pt x="278" y="170"/>
                    </a:lnTo>
                    <a:lnTo>
                      <a:pt x="277" y="170"/>
                    </a:lnTo>
                    <a:lnTo>
                      <a:pt x="274" y="170"/>
                    </a:lnTo>
                    <a:lnTo>
                      <a:pt x="272" y="170"/>
                    </a:lnTo>
                    <a:lnTo>
                      <a:pt x="270" y="170"/>
                    </a:lnTo>
                    <a:lnTo>
                      <a:pt x="269" y="170"/>
                    </a:lnTo>
                    <a:lnTo>
                      <a:pt x="266" y="170"/>
                    </a:lnTo>
                    <a:lnTo>
                      <a:pt x="259" y="170"/>
                    </a:lnTo>
                    <a:lnTo>
                      <a:pt x="259" y="175"/>
                    </a:lnTo>
                    <a:lnTo>
                      <a:pt x="259" y="181"/>
                    </a:lnTo>
                    <a:lnTo>
                      <a:pt x="258" y="182"/>
                    </a:lnTo>
                    <a:lnTo>
                      <a:pt x="257" y="182"/>
                    </a:lnTo>
                    <a:lnTo>
                      <a:pt x="257" y="183"/>
                    </a:lnTo>
                    <a:lnTo>
                      <a:pt x="256" y="183"/>
                    </a:lnTo>
                    <a:lnTo>
                      <a:pt x="256" y="184"/>
                    </a:lnTo>
                    <a:lnTo>
                      <a:pt x="255" y="184"/>
                    </a:lnTo>
                    <a:lnTo>
                      <a:pt x="253" y="185"/>
                    </a:lnTo>
                    <a:lnTo>
                      <a:pt x="252" y="185"/>
                    </a:lnTo>
                    <a:lnTo>
                      <a:pt x="252" y="184"/>
                    </a:lnTo>
                    <a:lnTo>
                      <a:pt x="251" y="184"/>
                    </a:lnTo>
                    <a:lnTo>
                      <a:pt x="250" y="184"/>
                    </a:lnTo>
                    <a:lnTo>
                      <a:pt x="249" y="184"/>
                    </a:lnTo>
                    <a:lnTo>
                      <a:pt x="248" y="185"/>
                    </a:lnTo>
                    <a:lnTo>
                      <a:pt x="247" y="185"/>
                    </a:lnTo>
                    <a:lnTo>
                      <a:pt x="246" y="185"/>
                    </a:lnTo>
                    <a:lnTo>
                      <a:pt x="245" y="185"/>
                    </a:lnTo>
                    <a:lnTo>
                      <a:pt x="245" y="187"/>
                    </a:lnTo>
                    <a:lnTo>
                      <a:pt x="245" y="185"/>
                    </a:lnTo>
                    <a:lnTo>
                      <a:pt x="244" y="185"/>
                    </a:lnTo>
                    <a:lnTo>
                      <a:pt x="243" y="187"/>
                    </a:lnTo>
                    <a:lnTo>
                      <a:pt x="242" y="187"/>
                    </a:lnTo>
                    <a:lnTo>
                      <a:pt x="240" y="189"/>
                    </a:lnTo>
                    <a:lnTo>
                      <a:pt x="239" y="190"/>
                    </a:lnTo>
                    <a:lnTo>
                      <a:pt x="238" y="190"/>
                    </a:lnTo>
                    <a:lnTo>
                      <a:pt x="237" y="191"/>
                    </a:lnTo>
                    <a:lnTo>
                      <a:pt x="236" y="191"/>
                    </a:lnTo>
                    <a:lnTo>
                      <a:pt x="236" y="192"/>
                    </a:lnTo>
                    <a:lnTo>
                      <a:pt x="236" y="193"/>
                    </a:lnTo>
                    <a:lnTo>
                      <a:pt x="236" y="194"/>
                    </a:lnTo>
                    <a:lnTo>
                      <a:pt x="236" y="195"/>
                    </a:lnTo>
                    <a:lnTo>
                      <a:pt x="235" y="196"/>
                    </a:lnTo>
                    <a:lnTo>
                      <a:pt x="234" y="196"/>
                    </a:lnTo>
                    <a:lnTo>
                      <a:pt x="234" y="197"/>
                    </a:lnTo>
                    <a:lnTo>
                      <a:pt x="235" y="198"/>
                    </a:lnTo>
                    <a:lnTo>
                      <a:pt x="236" y="198"/>
                    </a:lnTo>
                    <a:lnTo>
                      <a:pt x="236" y="200"/>
                    </a:lnTo>
                    <a:lnTo>
                      <a:pt x="235" y="200"/>
                    </a:lnTo>
                    <a:lnTo>
                      <a:pt x="235" y="201"/>
                    </a:lnTo>
                    <a:lnTo>
                      <a:pt x="235" y="202"/>
                    </a:lnTo>
                    <a:lnTo>
                      <a:pt x="236" y="203"/>
                    </a:lnTo>
                    <a:lnTo>
                      <a:pt x="236" y="204"/>
                    </a:lnTo>
                    <a:lnTo>
                      <a:pt x="236" y="205"/>
                    </a:lnTo>
                    <a:lnTo>
                      <a:pt x="235" y="206"/>
                    </a:lnTo>
                    <a:lnTo>
                      <a:pt x="235" y="207"/>
                    </a:lnTo>
                    <a:lnTo>
                      <a:pt x="236" y="208"/>
                    </a:lnTo>
                    <a:lnTo>
                      <a:pt x="236" y="209"/>
                    </a:lnTo>
                    <a:lnTo>
                      <a:pt x="236" y="210"/>
                    </a:lnTo>
                    <a:lnTo>
                      <a:pt x="236" y="211"/>
                    </a:lnTo>
                    <a:lnTo>
                      <a:pt x="236" y="213"/>
                    </a:lnTo>
                    <a:lnTo>
                      <a:pt x="235" y="214"/>
                    </a:lnTo>
                    <a:lnTo>
                      <a:pt x="235" y="215"/>
                    </a:lnTo>
                    <a:lnTo>
                      <a:pt x="235" y="216"/>
                    </a:lnTo>
                    <a:lnTo>
                      <a:pt x="234" y="216"/>
                    </a:lnTo>
                    <a:lnTo>
                      <a:pt x="233" y="217"/>
                    </a:lnTo>
                    <a:lnTo>
                      <a:pt x="233" y="218"/>
                    </a:lnTo>
                    <a:lnTo>
                      <a:pt x="233" y="219"/>
                    </a:lnTo>
                    <a:lnTo>
                      <a:pt x="234" y="219"/>
                    </a:lnTo>
                    <a:lnTo>
                      <a:pt x="234" y="220"/>
                    </a:lnTo>
                    <a:lnTo>
                      <a:pt x="233" y="221"/>
                    </a:lnTo>
                    <a:lnTo>
                      <a:pt x="232" y="221"/>
                    </a:lnTo>
                    <a:lnTo>
                      <a:pt x="232" y="222"/>
                    </a:lnTo>
                    <a:lnTo>
                      <a:pt x="231" y="222"/>
                    </a:lnTo>
                    <a:lnTo>
                      <a:pt x="230" y="223"/>
                    </a:lnTo>
                    <a:lnTo>
                      <a:pt x="229" y="223"/>
                    </a:lnTo>
                    <a:lnTo>
                      <a:pt x="227" y="224"/>
                    </a:lnTo>
                    <a:lnTo>
                      <a:pt x="227" y="226"/>
                    </a:lnTo>
                    <a:lnTo>
                      <a:pt x="226" y="227"/>
                    </a:lnTo>
                    <a:lnTo>
                      <a:pt x="226" y="228"/>
                    </a:lnTo>
                    <a:lnTo>
                      <a:pt x="225" y="228"/>
                    </a:lnTo>
                    <a:lnTo>
                      <a:pt x="225" y="229"/>
                    </a:lnTo>
                    <a:lnTo>
                      <a:pt x="224" y="229"/>
                    </a:lnTo>
                    <a:lnTo>
                      <a:pt x="224" y="230"/>
                    </a:lnTo>
                    <a:lnTo>
                      <a:pt x="224" y="231"/>
                    </a:lnTo>
                    <a:lnTo>
                      <a:pt x="223" y="231"/>
                    </a:lnTo>
                    <a:lnTo>
                      <a:pt x="223" y="232"/>
                    </a:lnTo>
                    <a:lnTo>
                      <a:pt x="222" y="232"/>
                    </a:lnTo>
                    <a:lnTo>
                      <a:pt x="222" y="231"/>
                    </a:lnTo>
                    <a:lnTo>
                      <a:pt x="222" y="232"/>
                    </a:lnTo>
                    <a:lnTo>
                      <a:pt x="221" y="232"/>
                    </a:lnTo>
                    <a:lnTo>
                      <a:pt x="221" y="233"/>
                    </a:lnTo>
                    <a:lnTo>
                      <a:pt x="220" y="233"/>
                    </a:lnTo>
                    <a:lnTo>
                      <a:pt x="221" y="234"/>
                    </a:lnTo>
                    <a:lnTo>
                      <a:pt x="220" y="234"/>
                    </a:lnTo>
                    <a:lnTo>
                      <a:pt x="219" y="235"/>
                    </a:lnTo>
                    <a:lnTo>
                      <a:pt x="218" y="235"/>
                    </a:lnTo>
                    <a:lnTo>
                      <a:pt x="219" y="236"/>
                    </a:lnTo>
                    <a:lnTo>
                      <a:pt x="220" y="238"/>
                    </a:lnTo>
                    <a:lnTo>
                      <a:pt x="219" y="238"/>
                    </a:lnTo>
                    <a:lnTo>
                      <a:pt x="218" y="238"/>
                    </a:lnTo>
                    <a:lnTo>
                      <a:pt x="217" y="238"/>
                    </a:lnTo>
                    <a:lnTo>
                      <a:pt x="217" y="239"/>
                    </a:lnTo>
                    <a:lnTo>
                      <a:pt x="216" y="239"/>
                    </a:lnTo>
                    <a:lnTo>
                      <a:pt x="216" y="238"/>
                    </a:lnTo>
                    <a:lnTo>
                      <a:pt x="216" y="236"/>
                    </a:lnTo>
                    <a:lnTo>
                      <a:pt x="214" y="236"/>
                    </a:lnTo>
                    <a:lnTo>
                      <a:pt x="213" y="236"/>
                    </a:lnTo>
                    <a:lnTo>
                      <a:pt x="212" y="238"/>
                    </a:lnTo>
                    <a:lnTo>
                      <a:pt x="212" y="239"/>
                    </a:lnTo>
                    <a:lnTo>
                      <a:pt x="211" y="239"/>
                    </a:lnTo>
                    <a:lnTo>
                      <a:pt x="211" y="238"/>
                    </a:lnTo>
                    <a:lnTo>
                      <a:pt x="211" y="236"/>
                    </a:lnTo>
                    <a:lnTo>
                      <a:pt x="211" y="235"/>
                    </a:lnTo>
                    <a:lnTo>
                      <a:pt x="210" y="235"/>
                    </a:lnTo>
                    <a:lnTo>
                      <a:pt x="210" y="236"/>
                    </a:lnTo>
                    <a:lnTo>
                      <a:pt x="210" y="238"/>
                    </a:lnTo>
                    <a:lnTo>
                      <a:pt x="210" y="239"/>
                    </a:lnTo>
                    <a:lnTo>
                      <a:pt x="209" y="239"/>
                    </a:lnTo>
                    <a:lnTo>
                      <a:pt x="209" y="238"/>
                    </a:lnTo>
                    <a:lnTo>
                      <a:pt x="208" y="238"/>
                    </a:lnTo>
                    <a:lnTo>
                      <a:pt x="208" y="239"/>
                    </a:lnTo>
                    <a:lnTo>
                      <a:pt x="209" y="239"/>
                    </a:lnTo>
                    <a:lnTo>
                      <a:pt x="209" y="240"/>
                    </a:lnTo>
                    <a:lnTo>
                      <a:pt x="208" y="241"/>
                    </a:lnTo>
                    <a:lnTo>
                      <a:pt x="207" y="241"/>
                    </a:lnTo>
                    <a:lnTo>
                      <a:pt x="208" y="241"/>
                    </a:lnTo>
                    <a:lnTo>
                      <a:pt x="208" y="242"/>
                    </a:lnTo>
                    <a:lnTo>
                      <a:pt x="207" y="242"/>
                    </a:lnTo>
                    <a:lnTo>
                      <a:pt x="207" y="243"/>
                    </a:lnTo>
                    <a:lnTo>
                      <a:pt x="207" y="244"/>
                    </a:lnTo>
                    <a:lnTo>
                      <a:pt x="207" y="245"/>
                    </a:lnTo>
                    <a:lnTo>
                      <a:pt x="206" y="245"/>
                    </a:lnTo>
                    <a:lnTo>
                      <a:pt x="206" y="244"/>
                    </a:lnTo>
                    <a:lnTo>
                      <a:pt x="205" y="244"/>
                    </a:lnTo>
                    <a:lnTo>
                      <a:pt x="205" y="245"/>
                    </a:lnTo>
                    <a:lnTo>
                      <a:pt x="205" y="246"/>
                    </a:lnTo>
                    <a:lnTo>
                      <a:pt x="206" y="246"/>
                    </a:lnTo>
                    <a:lnTo>
                      <a:pt x="206" y="247"/>
                    </a:lnTo>
                    <a:lnTo>
                      <a:pt x="205" y="247"/>
                    </a:lnTo>
                    <a:lnTo>
                      <a:pt x="204" y="247"/>
                    </a:lnTo>
                    <a:lnTo>
                      <a:pt x="204" y="248"/>
                    </a:lnTo>
                    <a:lnTo>
                      <a:pt x="203" y="249"/>
                    </a:lnTo>
                    <a:lnTo>
                      <a:pt x="201" y="249"/>
                    </a:lnTo>
                    <a:lnTo>
                      <a:pt x="200" y="251"/>
                    </a:lnTo>
                    <a:lnTo>
                      <a:pt x="199" y="249"/>
                    </a:lnTo>
                    <a:lnTo>
                      <a:pt x="199" y="251"/>
                    </a:lnTo>
                    <a:lnTo>
                      <a:pt x="198" y="251"/>
                    </a:lnTo>
                    <a:lnTo>
                      <a:pt x="198" y="252"/>
                    </a:lnTo>
                    <a:lnTo>
                      <a:pt x="197" y="252"/>
                    </a:lnTo>
                    <a:lnTo>
                      <a:pt x="196" y="252"/>
                    </a:lnTo>
                    <a:lnTo>
                      <a:pt x="196" y="253"/>
                    </a:lnTo>
                    <a:lnTo>
                      <a:pt x="196" y="254"/>
                    </a:lnTo>
                    <a:lnTo>
                      <a:pt x="195" y="254"/>
                    </a:lnTo>
                    <a:lnTo>
                      <a:pt x="195" y="253"/>
                    </a:lnTo>
                    <a:lnTo>
                      <a:pt x="194" y="253"/>
                    </a:lnTo>
                    <a:lnTo>
                      <a:pt x="193" y="253"/>
                    </a:lnTo>
                    <a:lnTo>
                      <a:pt x="193" y="254"/>
                    </a:lnTo>
                    <a:lnTo>
                      <a:pt x="193" y="255"/>
                    </a:lnTo>
                    <a:lnTo>
                      <a:pt x="192" y="255"/>
                    </a:lnTo>
                    <a:lnTo>
                      <a:pt x="192" y="254"/>
                    </a:lnTo>
                    <a:lnTo>
                      <a:pt x="192" y="253"/>
                    </a:lnTo>
                    <a:lnTo>
                      <a:pt x="191" y="253"/>
                    </a:lnTo>
                    <a:lnTo>
                      <a:pt x="191" y="254"/>
                    </a:lnTo>
                    <a:lnTo>
                      <a:pt x="190" y="254"/>
                    </a:lnTo>
                    <a:lnTo>
                      <a:pt x="190" y="255"/>
                    </a:lnTo>
                    <a:lnTo>
                      <a:pt x="190" y="256"/>
                    </a:lnTo>
                    <a:lnTo>
                      <a:pt x="188" y="256"/>
                    </a:lnTo>
                    <a:lnTo>
                      <a:pt x="188" y="257"/>
                    </a:lnTo>
                    <a:lnTo>
                      <a:pt x="190" y="257"/>
                    </a:lnTo>
                    <a:lnTo>
                      <a:pt x="190" y="258"/>
                    </a:lnTo>
                    <a:lnTo>
                      <a:pt x="188" y="258"/>
                    </a:lnTo>
                    <a:lnTo>
                      <a:pt x="188" y="259"/>
                    </a:lnTo>
                    <a:lnTo>
                      <a:pt x="190" y="259"/>
                    </a:lnTo>
                    <a:lnTo>
                      <a:pt x="190" y="260"/>
                    </a:lnTo>
                    <a:lnTo>
                      <a:pt x="188" y="260"/>
                    </a:lnTo>
                    <a:lnTo>
                      <a:pt x="187" y="260"/>
                    </a:lnTo>
                    <a:lnTo>
                      <a:pt x="187" y="261"/>
                    </a:lnTo>
                    <a:lnTo>
                      <a:pt x="186" y="262"/>
                    </a:lnTo>
                    <a:lnTo>
                      <a:pt x="186" y="264"/>
                    </a:lnTo>
                    <a:lnTo>
                      <a:pt x="185" y="264"/>
                    </a:lnTo>
                    <a:lnTo>
                      <a:pt x="185" y="265"/>
                    </a:lnTo>
                    <a:lnTo>
                      <a:pt x="184" y="265"/>
                    </a:lnTo>
                    <a:lnTo>
                      <a:pt x="184" y="266"/>
                    </a:lnTo>
                    <a:lnTo>
                      <a:pt x="185" y="266"/>
                    </a:lnTo>
                    <a:lnTo>
                      <a:pt x="185" y="267"/>
                    </a:lnTo>
                    <a:lnTo>
                      <a:pt x="184" y="268"/>
                    </a:lnTo>
                    <a:lnTo>
                      <a:pt x="184" y="269"/>
                    </a:lnTo>
                    <a:lnTo>
                      <a:pt x="183" y="270"/>
                    </a:lnTo>
                    <a:lnTo>
                      <a:pt x="182" y="269"/>
                    </a:lnTo>
                    <a:lnTo>
                      <a:pt x="182" y="270"/>
                    </a:lnTo>
                    <a:lnTo>
                      <a:pt x="181" y="270"/>
                    </a:lnTo>
                    <a:lnTo>
                      <a:pt x="180" y="271"/>
                    </a:lnTo>
                    <a:lnTo>
                      <a:pt x="180" y="272"/>
                    </a:lnTo>
                    <a:lnTo>
                      <a:pt x="179" y="272"/>
                    </a:lnTo>
                    <a:lnTo>
                      <a:pt x="179" y="273"/>
                    </a:lnTo>
                    <a:lnTo>
                      <a:pt x="178" y="273"/>
                    </a:lnTo>
                    <a:lnTo>
                      <a:pt x="177" y="273"/>
                    </a:lnTo>
                    <a:lnTo>
                      <a:pt x="175" y="275"/>
                    </a:lnTo>
                    <a:lnTo>
                      <a:pt x="175" y="277"/>
                    </a:lnTo>
                    <a:lnTo>
                      <a:pt x="175" y="278"/>
                    </a:lnTo>
                    <a:lnTo>
                      <a:pt x="175" y="279"/>
                    </a:lnTo>
                    <a:lnTo>
                      <a:pt x="175" y="280"/>
                    </a:lnTo>
                    <a:lnTo>
                      <a:pt x="175" y="281"/>
                    </a:lnTo>
                    <a:lnTo>
                      <a:pt x="174" y="281"/>
                    </a:lnTo>
                    <a:lnTo>
                      <a:pt x="173" y="281"/>
                    </a:lnTo>
                    <a:lnTo>
                      <a:pt x="172" y="281"/>
                    </a:lnTo>
                    <a:lnTo>
                      <a:pt x="171" y="282"/>
                    </a:lnTo>
                    <a:lnTo>
                      <a:pt x="170" y="283"/>
                    </a:lnTo>
                    <a:lnTo>
                      <a:pt x="170" y="284"/>
                    </a:lnTo>
                    <a:lnTo>
                      <a:pt x="169" y="284"/>
                    </a:lnTo>
                    <a:lnTo>
                      <a:pt x="168" y="284"/>
                    </a:lnTo>
                    <a:lnTo>
                      <a:pt x="167" y="284"/>
                    </a:lnTo>
                    <a:lnTo>
                      <a:pt x="167" y="285"/>
                    </a:lnTo>
                    <a:lnTo>
                      <a:pt x="166" y="285"/>
                    </a:lnTo>
                    <a:lnTo>
                      <a:pt x="166" y="286"/>
                    </a:lnTo>
                    <a:lnTo>
                      <a:pt x="165" y="287"/>
                    </a:lnTo>
                    <a:lnTo>
                      <a:pt x="163" y="287"/>
                    </a:lnTo>
                    <a:lnTo>
                      <a:pt x="163" y="288"/>
                    </a:lnTo>
                    <a:lnTo>
                      <a:pt x="163" y="290"/>
                    </a:lnTo>
                    <a:lnTo>
                      <a:pt x="162" y="291"/>
                    </a:lnTo>
                    <a:lnTo>
                      <a:pt x="160" y="292"/>
                    </a:lnTo>
                    <a:lnTo>
                      <a:pt x="159" y="292"/>
                    </a:lnTo>
                    <a:lnTo>
                      <a:pt x="159" y="293"/>
                    </a:lnTo>
                    <a:lnTo>
                      <a:pt x="158" y="294"/>
                    </a:lnTo>
                    <a:lnTo>
                      <a:pt x="157" y="294"/>
                    </a:lnTo>
                    <a:lnTo>
                      <a:pt x="156" y="294"/>
                    </a:lnTo>
                    <a:lnTo>
                      <a:pt x="154" y="295"/>
                    </a:lnTo>
                    <a:lnTo>
                      <a:pt x="153" y="296"/>
                    </a:lnTo>
                    <a:lnTo>
                      <a:pt x="150" y="298"/>
                    </a:lnTo>
                    <a:lnTo>
                      <a:pt x="148" y="298"/>
                    </a:lnTo>
                    <a:lnTo>
                      <a:pt x="146" y="298"/>
                    </a:lnTo>
                    <a:lnTo>
                      <a:pt x="145" y="299"/>
                    </a:lnTo>
                    <a:lnTo>
                      <a:pt x="144" y="298"/>
                    </a:lnTo>
                    <a:lnTo>
                      <a:pt x="143" y="298"/>
                    </a:lnTo>
                    <a:lnTo>
                      <a:pt x="143" y="299"/>
                    </a:lnTo>
                    <a:lnTo>
                      <a:pt x="142" y="299"/>
                    </a:lnTo>
                    <a:lnTo>
                      <a:pt x="141" y="301"/>
                    </a:lnTo>
                    <a:lnTo>
                      <a:pt x="140" y="303"/>
                    </a:lnTo>
                    <a:lnTo>
                      <a:pt x="139" y="303"/>
                    </a:lnTo>
                    <a:lnTo>
                      <a:pt x="137" y="304"/>
                    </a:lnTo>
                    <a:lnTo>
                      <a:pt x="136" y="304"/>
                    </a:lnTo>
                    <a:lnTo>
                      <a:pt x="135" y="304"/>
                    </a:lnTo>
                    <a:lnTo>
                      <a:pt x="134" y="304"/>
                    </a:lnTo>
                    <a:lnTo>
                      <a:pt x="133" y="304"/>
                    </a:lnTo>
                    <a:lnTo>
                      <a:pt x="132" y="304"/>
                    </a:lnTo>
                    <a:lnTo>
                      <a:pt x="131" y="305"/>
                    </a:lnTo>
                    <a:lnTo>
                      <a:pt x="130" y="305"/>
                    </a:lnTo>
                    <a:lnTo>
                      <a:pt x="129" y="306"/>
                    </a:lnTo>
                    <a:lnTo>
                      <a:pt x="128" y="307"/>
                    </a:lnTo>
                    <a:lnTo>
                      <a:pt x="127" y="307"/>
                    </a:lnTo>
                    <a:lnTo>
                      <a:pt x="127" y="306"/>
                    </a:lnTo>
                    <a:lnTo>
                      <a:pt x="124" y="305"/>
                    </a:lnTo>
                    <a:lnTo>
                      <a:pt x="122" y="304"/>
                    </a:lnTo>
                    <a:lnTo>
                      <a:pt x="120" y="304"/>
                    </a:lnTo>
                    <a:lnTo>
                      <a:pt x="119" y="304"/>
                    </a:lnTo>
                    <a:lnTo>
                      <a:pt x="119" y="305"/>
                    </a:lnTo>
                    <a:lnTo>
                      <a:pt x="118" y="305"/>
                    </a:lnTo>
                    <a:lnTo>
                      <a:pt x="118" y="303"/>
                    </a:lnTo>
                    <a:lnTo>
                      <a:pt x="117" y="303"/>
                    </a:lnTo>
                    <a:lnTo>
                      <a:pt x="116" y="303"/>
                    </a:lnTo>
                    <a:lnTo>
                      <a:pt x="115" y="303"/>
                    </a:lnTo>
                    <a:lnTo>
                      <a:pt x="115" y="301"/>
                    </a:lnTo>
                    <a:lnTo>
                      <a:pt x="114" y="301"/>
                    </a:lnTo>
                    <a:lnTo>
                      <a:pt x="113" y="301"/>
                    </a:lnTo>
                    <a:lnTo>
                      <a:pt x="111" y="301"/>
                    </a:lnTo>
                    <a:lnTo>
                      <a:pt x="110" y="301"/>
                    </a:lnTo>
                    <a:lnTo>
                      <a:pt x="110" y="300"/>
                    </a:lnTo>
                    <a:lnTo>
                      <a:pt x="109" y="299"/>
                    </a:lnTo>
                    <a:lnTo>
                      <a:pt x="108" y="299"/>
                    </a:lnTo>
                    <a:lnTo>
                      <a:pt x="107" y="299"/>
                    </a:lnTo>
                    <a:lnTo>
                      <a:pt x="106" y="298"/>
                    </a:lnTo>
                    <a:lnTo>
                      <a:pt x="105" y="298"/>
                    </a:lnTo>
                    <a:lnTo>
                      <a:pt x="104" y="298"/>
                    </a:lnTo>
                    <a:lnTo>
                      <a:pt x="103" y="298"/>
                    </a:lnTo>
                    <a:lnTo>
                      <a:pt x="102" y="298"/>
                    </a:lnTo>
                    <a:lnTo>
                      <a:pt x="101" y="297"/>
                    </a:lnTo>
                    <a:lnTo>
                      <a:pt x="100" y="297"/>
                    </a:lnTo>
                    <a:lnTo>
                      <a:pt x="98" y="296"/>
                    </a:lnTo>
                    <a:lnTo>
                      <a:pt x="98" y="295"/>
                    </a:lnTo>
                    <a:lnTo>
                      <a:pt x="97" y="295"/>
                    </a:lnTo>
                    <a:lnTo>
                      <a:pt x="96" y="295"/>
                    </a:lnTo>
                    <a:lnTo>
                      <a:pt x="95" y="295"/>
                    </a:lnTo>
                    <a:lnTo>
                      <a:pt x="95" y="294"/>
                    </a:lnTo>
                    <a:lnTo>
                      <a:pt x="94" y="294"/>
                    </a:lnTo>
                    <a:lnTo>
                      <a:pt x="94" y="295"/>
                    </a:lnTo>
                    <a:lnTo>
                      <a:pt x="93" y="296"/>
                    </a:lnTo>
                    <a:lnTo>
                      <a:pt x="92" y="296"/>
                    </a:lnTo>
                    <a:lnTo>
                      <a:pt x="91" y="295"/>
                    </a:lnTo>
                    <a:lnTo>
                      <a:pt x="91" y="294"/>
                    </a:lnTo>
                    <a:lnTo>
                      <a:pt x="91" y="293"/>
                    </a:lnTo>
                    <a:lnTo>
                      <a:pt x="90" y="292"/>
                    </a:lnTo>
                    <a:lnTo>
                      <a:pt x="89" y="291"/>
                    </a:lnTo>
                    <a:lnTo>
                      <a:pt x="88" y="290"/>
                    </a:lnTo>
                    <a:lnTo>
                      <a:pt x="87" y="290"/>
                    </a:lnTo>
                    <a:lnTo>
                      <a:pt x="87" y="288"/>
                    </a:lnTo>
                    <a:lnTo>
                      <a:pt x="87" y="287"/>
                    </a:lnTo>
                    <a:lnTo>
                      <a:pt x="85" y="287"/>
                    </a:lnTo>
                    <a:lnTo>
                      <a:pt x="85" y="288"/>
                    </a:lnTo>
                    <a:lnTo>
                      <a:pt x="85" y="287"/>
                    </a:lnTo>
                    <a:lnTo>
                      <a:pt x="84" y="287"/>
                    </a:lnTo>
                    <a:lnTo>
                      <a:pt x="84" y="288"/>
                    </a:lnTo>
                    <a:lnTo>
                      <a:pt x="83" y="288"/>
                    </a:lnTo>
                    <a:lnTo>
                      <a:pt x="82" y="287"/>
                    </a:lnTo>
                    <a:lnTo>
                      <a:pt x="81" y="287"/>
                    </a:lnTo>
                    <a:lnTo>
                      <a:pt x="81" y="286"/>
                    </a:lnTo>
                    <a:lnTo>
                      <a:pt x="82" y="286"/>
                    </a:lnTo>
                    <a:lnTo>
                      <a:pt x="81" y="286"/>
                    </a:lnTo>
                    <a:lnTo>
                      <a:pt x="80" y="285"/>
                    </a:lnTo>
                    <a:lnTo>
                      <a:pt x="79" y="285"/>
                    </a:lnTo>
                    <a:lnTo>
                      <a:pt x="78" y="285"/>
                    </a:lnTo>
                    <a:lnTo>
                      <a:pt x="77" y="285"/>
                    </a:lnTo>
                    <a:lnTo>
                      <a:pt x="77" y="286"/>
                    </a:lnTo>
                    <a:lnTo>
                      <a:pt x="77" y="285"/>
                    </a:lnTo>
                    <a:lnTo>
                      <a:pt x="78" y="284"/>
                    </a:lnTo>
                    <a:lnTo>
                      <a:pt x="77" y="283"/>
                    </a:lnTo>
                    <a:lnTo>
                      <a:pt x="76" y="283"/>
                    </a:lnTo>
                    <a:lnTo>
                      <a:pt x="75" y="283"/>
                    </a:lnTo>
                    <a:lnTo>
                      <a:pt x="74" y="282"/>
                    </a:lnTo>
                    <a:lnTo>
                      <a:pt x="75" y="282"/>
                    </a:lnTo>
                    <a:lnTo>
                      <a:pt x="75" y="281"/>
                    </a:lnTo>
                    <a:lnTo>
                      <a:pt x="74" y="281"/>
                    </a:lnTo>
                    <a:lnTo>
                      <a:pt x="72" y="281"/>
                    </a:lnTo>
                    <a:lnTo>
                      <a:pt x="71" y="281"/>
                    </a:lnTo>
                    <a:lnTo>
                      <a:pt x="71" y="280"/>
                    </a:lnTo>
                    <a:lnTo>
                      <a:pt x="72" y="280"/>
                    </a:lnTo>
                    <a:lnTo>
                      <a:pt x="72" y="279"/>
                    </a:lnTo>
                    <a:lnTo>
                      <a:pt x="71" y="279"/>
                    </a:lnTo>
                    <a:lnTo>
                      <a:pt x="71" y="280"/>
                    </a:lnTo>
                    <a:lnTo>
                      <a:pt x="70" y="279"/>
                    </a:lnTo>
                    <a:lnTo>
                      <a:pt x="70" y="280"/>
                    </a:lnTo>
                    <a:lnTo>
                      <a:pt x="69" y="280"/>
                    </a:lnTo>
                    <a:lnTo>
                      <a:pt x="69" y="279"/>
                    </a:lnTo>
                    <a:lnTo>
                      <a:pt x="68" y="280"/>
                    </a:lnTo>
                    <a:lnTo>
                      <a:pt x="68" y="279"/>
                    </a:lnTo>
                    <a:lnTo>
                      <a:pt x="69" y="279"/>
                    </a:lnTo>
                    <a:lnTo>
                      <a:pt x="69" y="278"/>
                    </a:lnTo>
                    <a:lnTo>
                      <a:pt x="68" y="278"/>
                    </a:lnTo>
                    <a:lnTo>
                      <a:pt x="68" y="277"/>
                    </a:lnTo>
                    <a:lnTo>
                      <a:pt x="69" y="277"/>
                    </a:lnTo>
                    <a:lnTo>
                      <a:pt x="69" y="275"/>
                    </a:lnTo>
                    <a:lnTo>
                      <a:pt x="68" y="275"/>
                    </a:lnTo>
                    <a:lnTo>
                      <a:pt x="68" y="274"/>
                    </a:lnTo>
                    <a:lnTo>
                      <a:pt x="69" y="273"/>
                    </a:lnTo>
                    <a:lnTo>
                      <a:pt x="68" y="273"/>
                    </a:lnTo>
                    <a:lnTo>
                      <a:pt x="67" y="273"/>
                    </a:lnTo>
                    <a:lnTo>
                      <a:pt x="66" y="273"/>
                    </a:lnTo>
                    <a:lnTo>
                      <a:pt x="66" y="274"/>
                    </a:lnTo>
                    <a:lnTo>
                      <a:pt x="65" y="274"/>
                    </a:lnTo>
                    <a:lnTo>
                      <a:pt x="65" y="273"/>
                    </a:lnTo>
                    <a:lnTo>
                      <a:pt x="65" y="272"/>
                    </a:lnTo>
                    <a:lnTo>
                      <a:pt x="64" y="272"/>
                    </a:lnTo>
                    <a:lnTo>
                      <a:pt x="63" y="271"/>
                    </a:lnTo>
                    <a:lnTo>
                      <a:pt x="63" y="270"/>
                    </a:lnTo>
                    <a:lnTo>
                      <a:pt x="62" y="270"/>
                    </a:lnTo>
                    <a:lnTo>
                      <a:pt x="62" y="269"/>
                    </a:lnTo>
                    <a:lnTo>
                      <a:pt x="64" y="269"/>
                    </a:lnTo>
                    <a:lnTo>
                      <a:pt x="64" y="268"/>
                    </a:lnTo>
                    <a:lnTo>
                      <a:pt x="64" y="269"/>
                    </a:lnTo>
                    <a:lnTo>
                      <a:pt x="65" y="268"/>
                    </a:lnTo>
                    <a:lnTo>
                      <a:pt x="65" y="267"/>
                    </a:lnTo>
                    <a:lnTo>
                      <a:pt x="64" y="267"/>
                    </a:lnTo>
                    <a:lnTo>
                      <a:pt x="63" y="267"/>
                    </a:lnTo>
                    <a:lnTo>
                      <a:pt x="64" y="266"/>
                    </a:lnTo>
                    <a:lnTo>
                      <a:pt x="63" y="266"/>
                    </a:lnTo>
                    <a:lnTo>
                      <a:pt x="63" y="267"/>
                    </a:lnTo>
                    <a:lnTo>
                      <a:pt x="63" y="268"/>
                    </a:lnTo>
                    <a:lnTo>
                      <a:pt x="62" y="268"/>
                    </a:lnTo>
                    <a:lnTo>
                      <a:pt x="62" y="267"/>
                    </a:lnTo>
                    <a:lnTo>
                      <a:pt x="61" y="267"/>
                    </a:lnTo>
                    <a:lnTo>
                      <a:pt x="61" y="268"/>
                    </a:lnTo>
                    <a:lnTo>
                      <a:pt x="59" y="268"/>
                    </a:lnTo>
                    <a:lnTo>
                      <a:pt x="59" y="267"/>
                    </a:lnTo>
                    <a:lnTo>
                      <a:pt x="61" y="267"/>
                    </a:lnTo>
                    <a:lnTo>
                      <a:pt x="61" y="266"/>
                    </a:lnTo>
                    <a:lnTo>
                      <a:pt x="61" y="265"/>
                    </a:lnTo>
                    <a:lnTo>
                      <a:pt x="59" y="265"/>
                    </a:lnTo>
                    <a:lnTo>
                      <a:pt x="58" y="265"/>
                    </a:lnTo>
                    <a:lnTo>
                      <a:pt x="58" y="266"/>
                    </a:lnTo>
                    <a:lnTo>
                      <a:pt x="57" y="266"/>
                    </a:lnTo>
                    <a:lnTo>
                      <a:pt x="58" y="267"/>
                    </a:lnTo>
                    <a:lnTo>
                      <a:pt x="57" y="267"/>
                    </a:lnTo>
                    <a:lnTo>
                      <a:pt x="56" y="266"/>
                    </a:lnTo>
                    <a:lnTo>
                      <a:pt x="55" y="266"/>
                    </a:lnTo>
                    <a:lnTo>
                      <a:pt x="55" y="265"/>
                    </a:lnTo>
                    <a:lnTo>
                      <a:pt x="54" y="265"/>
                    </a:lnTo>
                    <a:lnTo>
                      <a:pt x="54" y="264"/>
                    </a:lnTo>
                    <a:lnTo>
                      <a:pt x="53" y="264"/>
                    </a:lnTo>
                    <a:lnTo>
                      <a:pt x="52" y="265"/>
                    </a:lnTo>
                    <a:lnTo>
                      <a:pt x="51" y="264"/>
                    </a:lnTo>
                    <a:lnTo>
                      <a:pt x="49" y="262"/>
                    </a:lnTo>
                    <a:lnTo>
                      <a:pt x="49" y="261"/>
                    </a:lnTo>
                    <a:lnTo>
                      <a:pt x="49" y="260"/>
                    </a:lnTo>
                    <a:lnTo>
                      <a:pt x="49" y="259"/>
                    </a:lnTo>
                    <a:lnTo>
                      <a:pt x="48" y="260"/>
                    </a:lnTo>
                    <a:lnTo>
                      <a:pt x="46" y="259"/>
                    </a:lnTo>
                    <a:lnTo>
                      <a:pt x="45" y="259"/>
                    </a:lnTo>
                    <a:lnTo>
                      <a:pt x="45" y="260"/>
                    </a:lnTo>
                    <a:lnTo>
                      <a:pt x="45" y="261"/>
                    </a:lnTo>
                    <a:lnTo>
                      <a:pt x="44" y="261"/>
                    </a:lnTo>
                    <a:lnTo>
                      <a:pt x="45" y="261"/>
                    </a:lnTo>
                    <a:lnTo>
                      <a:pt x="45" y="262"/>
                    </a:lnTo>
                    <a:lnTo>
                      <a:pt x="44" y="262"/>
                    </a:lnTo>
                    <a:lnTo>
                      <a:pt x="43" y="262"/>
                    </a:lnTo>
                    <a:lnTo>
                      <a:pt x="42" y="261"/>
                    </a:lnTo>
                    <a:lnTo>
                      <a:pt x="41" y="262"/>
                    </a:lnTo>
                    <a:lnTo>
                      <a:pt x="41" y="264"/>
                    </a:lnTo>
                    <a:lnTo>
                      <a:pt x="40" y="264"/>
                    </a:lnTo>
                    <a:lnTo>
                      <a:pt x="40" y="262"/>
                    </a:lnTo>
                    <a:lnTo>
                      <a:pt x="40" y="264"/>
                    </a:lnTo>
                    <a:lnTo>
                      <a:pt x="39" y="265"/>
                    </a:lnTo>
                    <a:lnTo>
                      <a:pt x="39" y="266"/>
                    </a:lnTo>
                    <a:lnTo>
                      <a:pt x="39" y="267"/>
                    </a:lnTo>
                    <a:lnTo>
                      <a:pt x="40" y="267"/>
                    </a:lnTo>
                    <a:lnTo>
                      <a:pt x="40" y="268"/>
                    </a:lnTo>
                    <a:lnTo>
                      <a:pt x="39" y="268"/>
                    </a:lnTo>
                    <a:lnTo>
                      <a:pt x="38" y="269"/>
                    </a:lnTo>
                    <a:lnTo>
                      <a:pt x="37" y="269"/>
                    </a:lnTo>
                    <a:lnTo>
                      <a:pt x="37" y="268"/>
                    </a:lnTo>
                    <a:lnTo>
                      <a:pt x="36" y="269"/>
                    </a:lnTo>
                    <a:lnTo>
                      <a:pt x="36" y="270"/>
                    </a:lnTo>
                    <a:lnTo>
                      <a:pt x="35" y="270"/>
                    </a:lnTo>
                    <a:lnTo>
                      <a:pt x="35" y="269"/>
                    </a:lnTo>
                    <a:lnTo>
                      <a:pt x="33" y="269"/>
                    </a:lnTo>
                    <a:lnTo>
                      <a:pt x="33" y="271"/>
                    </a:lnTo>
                    <a:lnTo>
                      <a:pt x="32" y="271"/>
                    </a:lnTo>
                    <a:lnTo>
                      <a:pt x="31" y="272"/>
                    </a:lnTo>
                    <a:lnTo>
                      <a:pt x="30" y="272"/>
                    </a:lnTo>
                    <a:lnTo>
                      <a:pt x="29" y="272"/>
                    </a:lnTo>
                    <a:lnTo>
                      <a:pt x="28" y="272"/>
                    </a:lnTo>
                    <a:lnTo>
                      <a:pt x="28" y="273"/>
                    </a:lnTo>
                    <a:lnTo>
                      <a:pt x="27" y="273"/>
                    </a:lnTo>
                    <a:lnTo>
                      <a:pt x="27" y="272"/>
                    </a:lnTo>
                    <a:lnTo>
                      <a:pt x="27" y="271"/>
                    </a:lnTo>
                    <a:lnTo>
                      <a:pt x="26" y="271"/>
                    </a:lnTo>
                    <a:lnTo>
                      <a:pt x="25" y="271"/>
                    </a:lnTo>
                    <a:lnTo>
                      <a:pt x="25" y="272"/>
                    </a:lnTo>
                    <a:lnTo>
                      <a:pt x="24" y="272"/>
                    </a:lnTo>
                    <a:lnTo>
                      <a:pt x="24" y="271"/>
                    </a:lnTo>
                    <a:lnTo>
                      <a:pt x="25" y="271"/>
                    </a:lnTo>
                    <a:lnTo>
                      <a:pt x="24" y="270"/>
                    </a:lnTo>
                    <a:lnTo>
                      <a:pt x="24" y="271"/>
                    </a:lnTo>
                    <a:lnTo>
                      <a:pt x="24" y="272"/>
                    </a:lnTo>
                    <a:lnTo>
                      <a:pt x="23" y="272"/>
                    </a:lnTo>
                    <a:lnTo>
                      <a:pt x="23" y="271"/>
                    </a:lnTo>
                    <a:lnTo>
                      <a:pt x="21" y="272"/>
                    </a:lnTo>
                    <a:lnTo>
                      <a:pt x="20" y="272"/>
                    </a:lnTo>
                    <a:lnTo>
                      <a:pt x="20" y="271"/>
                    </a:lnTo>
                    <a:lnTo>
                      <a:pt x="19" y="271"/>
                    </a:lnTo>
                    <a:lnTo>
                      <a:pt x="19" y="272"/>
                    </a:lnTo>
                    <a:lnTo>
                      <a:pt x="18" y="272"/>
                    </a:lnTo>
                    <a:lnTo>
                      <a:pt x="17" y="272"/>
                    </a:lnTo>
                    <a:lnTo>
                      <a:pt x="17" y="271"/>
                    </a:lnTo>
                    <a:lnTo>
                      <a:pt x="17" y="272"/>
                    </a:lnTo>
                    <a:lnTo>
                      <a:pt x="17" y="273"/>
                    </a:lnTo>
                    <a:lnTo>
                      <a:pt x="16" y="274"/>
                    </a:lnTo>
                    <a:lnTo>
                      <a:pt x="15" y="274"/>
                    </a:lnTo>
                    <a:lnTo>
                      <a:pt x="15" y="275"/>
                    </a:lnTo>
                    <a:lnTo>
                      <a:pt x="14" y="274"/>
                    </a:lnTo>
                    <a:lnTo>
                      <a:pt x="14" y="275"/>
                    </a:lnTo>
                    <a:lnTo>
                      <a:pt x="14" y="277"/>
                    </a:lnTo>
                    <a:lnTo>
                      <a:pt x="13" y="277"/>
                    </a:lnTo>
                    <a:lnTo>
                      <a:pt x="12" y="275"/>
                    </a:lnTo>
                    <a:lnTo>
                      <a:pt x="12" y="277"/>
                    </a:lnTo>
                    <a:lnTo>
                      <a:pt x="11" y="278"/>
                    </a:lnTo>
                    <a:lnTo>
                      <a:pt x="11" y="279"/>
                    </a:lnTo>
                    <a:lnTo>
                      <a:pt x="10" y="279"/>
                    </a:lnTo>
                    <a:lnTo>
                      <a:pt x="8" y="279"/>
                    </a:lnTo>
                    <a:lnTo>
                      <a:pt x="8" y="278"/>
                    </a:lnTo>
                    <a:lnTo>
                      <a:pt x="8" y="277"/>
                    </a:lnTo>
                    <a:lnTo>
                      <a:pt x="8" y="275"/>
                    </a:lnTo>
                    <a:lnTo>
                      <a:pt x="6" y="278"/>
                    </a:lnTo>
                    <a:lnTo>
                      <a:pt x="5" y="278"/>
                    </a:lnTo>
                    <a:lnTo>
                      <a:pt x="5" y="277"/>
                    </a:lnTo>
                    <a:lnTo>
                      <a:pt x="4" y="277"/>
                    </a:lnTo>
                    <a:lnTo>
                      <a:pt x="4" y="275"/>
                    </a:lnTo>
                    <a:lnTo>
                      <a:pt x="5" y="275"/>
                    </a:lnTo>
                    <a:lnTo>
                      <a:pt x="6" y="275"/>
                    </a:lnTo>
                    <a:lnTo>
                      <a:pt x="7" y="274"/>
                    </a:lnTo>
                    <a:lnTo>
                      <a:pt x="8" y="274"/>
                    </a:lnTo>
                    <a:lnTo>
                      <a:pt x="8" y="272"/>
                    </a:lnTo>
                    <a:lnTo>
                      <a:pt x="7" y="271"/>
                    </a:lnTo>
                    <a:lnTo>
                      <a:pt x="7" y="270"/>
                    </a:lnTo>
                    <a:lnTo>
                      <a:pt x="8" y="269"/>
                    </a:lnTo>
                    <a:lnTo>
                      <a:pt x="8" y="268"/>
                    </a:lnTo>
                    <a:lnTo>
                      <a:pt x="8" y="267"/>
                    </a:lnTo>
                    <a:lnTo>
                      <a:pt x="7" y="266"/>
                    </a:lnTo>
                    <a:lnTo>
                      <a:pt x="7" y="265"/>
                    </a:lnTo>
                    <a:lnTo>
                      <a:pt x="7" y="264"/>
                    </a:lnTo>
                    <a:lnTo>
                      <a:pt x="6" y="264"/>
                    </a:lnTo>
                    <a:lnTo>
                      <a:pt x="5" y="264"/>
                    </a:lnTo>
                    <a:lnTo>
                      <a:pt x="5" y="262"/>
                    </a:lnTo>
                    <a:lnTo>
                      <a:pt x="5" y="260"/>
                    </a:lnTo>
                    <a:lnTo>
                      <a:pt x="5" y="259"/>
                    </a:lnTo>
                    <a:lnTo>
                      <a:pt x="5" y="258"/>
                    </a:lnTo>
                    <a:lnTo>
                      <a:pt x="4" y="258"/>
                    </a:lnTo>
                    <a:lnTo>
                      <a:pt x="4" y="257"/>
                    </a:lnTo>
                    <a:lnTo>
                      <a:pt x="5" y="257"/>
                    </a:lnTo>
                    <a:lnTo>
                      <a:pt x="6" y="256"/>
                    </a:lnTo>
                    <a:lnTo>
                      <a:pt x="6" y="255"/>
                    </a:lnTo>
                    <a:lnTo>
                      <a:pt x="5" y="255"/>
                    </a:lnTo>
                    <a:lnTo>
                      <a:pt x="4" y="254"/>
                    </a:lnTo>
                    <a:lnTo>
                      <a:pt x="3" y="254"/>
                    </a:lnTo>
                    <a:lnTo>
                      <a:pt x="3" y="253"/>
                    </a:lnTo>
                    <a:lnTo>
                      <a:pt x="3" y="252"/>
                    </a:lnTo>
                    <a:lnTo>
                      <a:pt x="5" y="252"/>
                    </a:lnTo>
                    <a:lnTo>
                      <a:pt x="6" y="251"/>
                    </a:lnTo>
                    <a:lnTo>
                      <a:pt x="6" y="249"/>
                    </a:lnTo>
                    <a:lnTo>
                      <a:pt x="6" y="248"/>
                    </a:lnTo>
                    <a:lnTo>
                      <a:pt x="6" y="247"/>
                    </a:lnTo>
                    <a:lnTo>
                      <a:pt x="5" y="247"/>
                    </a:lnTo>
                    <a:lnTo>
                      <a:pt x="4" y="247"/>
                    </a:lnTo>
                    <a:lnTo>
                      <a:pt x="3" y="247"/>
                    </a:lnTo>
                    <a:lnTo>
                      <a:pt x="3" y="246"/>
                    </a:lnTo>
                    <a:lnTo>
                      <a:pt x="3" y="245"/>
                    </a:lnTo>
                    <a:lnTo>
                      <a:pt x="3" y="243"/>
                    </a:lnTo>
                    <a:lnTo>
                      <a:pt x="4" y="241"/>
                    </a:lnTo>
                    <a:lnTo>
                      <a:pt x="5" y="240"/>
                    </a:lnTo>
                    <a:lnTo>
                      <a:pt x="6" y="240"/>
                    </a:lnTo>
                    <a:lnTo>
                      <a:pt x="6" y="239"/>
                    </a:lnTo>
                    <a:lnTo>
                      <a:pt x="6" y="238"/>
                    </a:lnTo>
                    <a:lnTo>
                      <a:pt x="6" y="236"/>
                    </a:lnTo>
                    <a:lnTo>
                      <a:pt x="7" y="236"/>
                    </a:lnTo>
                    <a:lnTo>
                      <a:pt x="8" y="236"/>
                    </a:lnTo>
                    <a:lnTo>
                      <a:pt x="10" y="236"/>
                    </a:lnTo>
                    <a:lnTo>
                      <a:pt x="11" y="235"/>
                    </a:lnTo>
                    <a:lnTo>
                      <a:pt x="12" y="235"/>
                    </a:lnTo>
                    <a:lnTo>
                      <a:pt x="12" y="234"/>
                    </a:lnTo>
                    <a:lnTo>
                      <a:pt x="12" y="233"/>
                    </a:lnTo>
                    <a:lnTo>
                      <a:pt x="12" y="232"/>
                    </a:lnTo>
                    <a:lnTo>
                      <a:pt x="12" y="231"/>
                    </a:lnTo>
                    <a:lnTo>
                      <a:pt x="13" y="231"/>
                    </a:lnTo>
                    <a:lnTo>
                      <a:pt x="13" y="230"/>
                    </a:lnTo>
                    <a:lnTo>
                      <a:pt x="14" y="230"/>
                    </a:lnTo>
                    <a:lnTo>
                      <a:pt x="15" y="230"/>
                    </a:lnTo>
                    <a:lnTo>
                      <a:pt x="15" y="229"/>
                    </a:lnTo>
                    <a:lnTo>
                      <a:pt x="15" y="228"/>
                    </a:lnTo>
                    <a:lnTo>
                      <a:pt x="15" y="227"/>
                    </a:lnTo>
                    <a:lnTo>
                      <a:pt x="15" y="226"/>
                    </a:lnTo>
                    <a:lnTo>
                      <a:pt x="14" y="226"/>
                    </a:lnTo>
                    <a:lnTo>
                      <a:pt x="13" y="224"/>
                    </a:lnTo>
                    <a:lnTo>
                      <a:pt x="12" y="224"/>
                    </a:lnTo>
                    <a:lnTo>
                      <a:pt x="11" y="224"/>
                    </a:lnTo>
                    <a:lnTo>
                      <a:pt x="11" y="223"/>
                    </a:lnTo>
                    <a:lnTo>
                      <a:pt x="11" y="222"/>
                    </a:lnTo>
                    <a:lnTo>
                      <a:pt x="12" y="222"/>
                    </a:lnTo>
                    <a:lnTo>
                      <a:pt x="13" y="222"/>
                    </a:lnTo>
                    <a:lnTo>
                      <a:pt x="13" y="221"/>
                    </a:lnTo>
                    <a:lnTo>
                      <a:pt x="13" y="220"/>
                    </a:lnTo>
                    <a:lnTo>
                      <a:pt x="11" y="219"/>
                    </a:lnTo>
                    <a:lnTo>
                      <a:pt x="10" y="219"/>
                    </a:lnTo>
                    <a:lnTo>
                      <a:pt x="8" y="218"/>
                    </a:lnTo>
                    <a:lnTo>
                      <a:pt x="8" y="217"/>
                    </a:lnTo>
                    <a:lnTo>
                      <a:pt x="10" y="217"/>
                    </a:lnTo>
                    <a:lnTo>
                      <a:pt x="11" y="217"/>
                    </a:lnTo>
                    <a:lnTo>
                      <a:pt x="11" y="218"/>
                    </a:lnTo>
                    <a:lnTo>
                      <a:pt x="12" y="218"/>
                    </a:lnTo>
                    <a:lnTo>
                      <a:pt x="13" y="217"/>
                    </a:lnTo>
                    <a:lnTo>
                      <a:pt x="14" y="217"/>
                    </a:lnTo>
                    <a:lnTo>
                      <a:pt x="15" y="217"/>
                    </a:lnTo>
                    <a:lnTo>
                      <a:pt x="16" y="217"/>
                    </a:lnTo>
                    <a:lnTo>
                      <a:pt x="17" y="217"/>
                    </a:lnTo>
                    <a:lnTo>
                      <a:pt x="17" y="216"/>
                    </a:lnTo>
                    <a:lnTo>
                      <a:pt x="18" y="216"/>
                    </a:lnTo>
                    <a:lnTo>
                      <a:pt x="18" y="215"/>
                    </a:lnTo>
                    <a:lnTo>
                      <a:pt x="18" y="214"/>
                    </a:lnTo>
                    <a:lnTo>
                      <a:pt x="19" y="214"/>
                    </a:lnTo>
                    <a:lnTo>
                      <a:pt x="20" y="214"/>
                    </a:lnTo>
                    <a:lnTo>
                      <a:pt x="21" y="215"/>
                    </a:lnTo>
                    <a:lnTo>
                      <a:pt x="23" y="215"/>
                    </a:lnTo>
                    <a:lnTo>
                      <a:pt x="24" y="215"/>
                    </a:lnTo>
                    <a:lnTo>
                      <a:pt x="25" y="214"/>
                    </a:lnTo>
                    <a:lnTo>
                      <a:pt x="26" y="213"/>
                    </a:lnTo>
                    <a:lnTo>
                      <a:pt x="26" y="211"/>
                    </a:lnTo>
                    <a:lnTo>
                      <a:pt x="25" y="210"/>
                    </a:lnTo>
                    <a:lnTo>
                      <a:pt x="25" y="209"/>
                    </a:lnTo>
                    <a:lnTo>
                      <a:pt x="25" y="208"/>
                    </a:lnTo>
                    <a:lnTo>
                      <a:pt x="26" y="207"/>
                    </a:lnTo>
                    <a:lnTo>
                      <a:pt x="26" y="206"/>
                    </a:lnTo>
                    <a:lnTo>
                      <a:pt x="26" y="205"/>
                    </a:lnTo>
                    <a:lnTo>
                      <a:pt x="25" y="205"/>
                    </a:lnTo>
                    <a:lnTo>
                      <a:pt x="24" y="205"/>
                    </a:lnTo>
                    <a:lnTo>
                      <a:pt x="24" y="204"/>
                    </a:lnTo>
                    <a:lnTo>
                      <a:pt x="23" y="203"/>
                    </a:lnTo>
                    <a:lnTo>
                      <a:pt x="24" y="202"/>
                    </a:lnTo>
                    <a:lnTo>
                      <a:pt x="25" y="201"/>
                    </a:lnTo>
                    <a:lnTo>
                      <a:pt x="26" y="201"/>
                    </a:lnTo>
                    <a:lnTo>
                      <a:pt x="26" y="200"/>
                    </a:lnTo>
                    <a:lnTo>
                      <a:pt x="26" y="198"/>
                    </a:lnTo>
                    <a:lnTo>
                      <a:pt x="27" y="197"/>
                    </a:lnTo>
                    <a:lnTo>
                      <a:pt x="28" y="198"/>
                    </a:lnTo>
                    <a:lnTo>
                      <a:pt x="29" y="200"/>
                    </a:lnTo>
                    <a:lnTo>
                      <a:pt x="30" y="200"/>
                    </a:lnTo>
                    <a:lnTo>
                      <a:pt x="30" y="198"/>
                    </a:lnTo>
                    <a:lnTo>
                      <a:pt x="29" y="197"/>
                    </a:lnTo>
                    <a:lnTo>
                      <a:pt x="28" y="197"/>
                    </a:lnTo>
                    <a:lnTo>
                      <a:pt x="28" y="196"/>
                    </a:lnTo>
                    <a:lnTo>
                      <a:pt x="27" y="196"/>
                    </a:lnTo>
                    <a:lnTo>
                      <a:pt x="26" y="195"/>
                    </a:lnTo>
                    <a:lnTo>
                      <a:pt x="26" y="196"/>
                    </a:lnTo>
                    <a:lnTo>
                      <a:pt x="25" y="196"/>
                    </a:lnTo>
                    <a:lnTo>
                      <a:pt x="25" y="195"/>
                    </a:lnTo>
                    <a:lnTo>
                      <a:pt x="25" y="194"/>
                    </a:lnTo>
                    <a:lnTo>
                      <a:pt x="24" y="194"/>
                    </a:lnTo>
                    <a:lnTo>
                      <a:pt x="23" y="194"/>
                    </a:lnTo>
                    <a:lnTo>
                      <a:pt x="23" y="195"/>
                    </a:lnTo>
                    <a:lnTo>
                      <a:pt x="21" y="195"/>
                    </a:lnTo>
                    <a:lnTo>
                      <a:pt x="20" y="195"/>
                    </a:lnTo>
                    <a:lnTo>
                      <a:pt x="19" y="195"/>
                    </a:lnTo>
                    <a:lnTo>
                      <a:pt x="18" y="195"/>
                    </a:lnTo>
                    <a:lnTo>
                      <a:pt x="18" y="194"/>
                    </a:lnTo>
                    <a:lnTo>
                      <a:pt x="17" y="194"/>
                    </a:lnTo>
                    <a:lnTo>
                      <a:pt x="16" y="194"/>
                    </a:lnTo>
                    <a:lnTo>
                      <a:pt x="16" y="193"/>
                    </a:lnTo>
                    <a:lnTo>
                      <a:pt x="16" y="192"/>
                    </a:lnTo>
                    <a:lnTo>
                      <a:pt x="15" y="192"/>
                    </a:lnTo>
                    <a:lnTo>
                      <a:pt x="14" y="191"/>
                    </a:lnTo>
                    <a:lnTo>
                      <a:pt x="13" y="191"/>
                    </a:lnTo>
                    <a:lnTo>
                      <a:pt x="13" y="190"/>
                    </a:lnTo>
                    <a:lnTo>
                      <a:pt x="13" y="189"/>
                    </a:lnTo>
                    <a:lnTo>
                      <a:pt x="12" y="189"/>
                    </a:lnTo>
                    <a:lnTo>
                      <a:pt x="11" y="189"/>
                    </a:lnTo>
                    <a:lnTo>
                      <a:pt x="11" y="188"/>
                    </a:lnTo>
                    <a:lnTo>
                      <a:pt x="12" y="188"/>
                    </a:lnTo>
                    <a:lnTo>
                      <a:pt x="12" y="187"/>
                    </a:lnTo>
                    <a:lnTo>
                      <a:pt x="12" y="184"/>
                    </a:lnTo>
                    <a:lnTo>
                      <a:pt x="11" y="183"/>
                    </a:lnTo>
                    <a:lnTo>
                      <a:pt x="11" y="182"/>
                    </a:lnTo>
                    <a:lnTo>
                      <a:pt x="10" y="182"/>
                    </a:lnTo>
                    <a:lnTo>
                      <a:pt x="10" y="181"/>
                    </a:lnTo>
                    <a:lnTo>
                      <a:pt x="8" y="181"/>
                    </a:lnTo>
                    <a:lnTo>
                      <a:pt x="7" y="180"/>
                    </a:lnTo>
                    <a:lnTo>
                      <a:pt x="6" y="180"/>
                    </a:lnTo>
                    <a:lnTo>
                      <a:pt x="6" y="179"/>
                    </a:lnTo>
                    <a:lnTo>
                      <a:pt x="7" y="179"/>
                    </a:lnTo>
                    <a:lnTo>
                      <a:pt x="7" y="178"/>
                    </a:lnTo>
                    <a:lnTo>
                      <a:pt x="7" y="177"/>
                    </a:lnTo>
                    <a:lnTo>
                      <a:pt x="6" y="177"/>
                    </a:lnTo>
                    <a:lnTo>
                      <a:pt x="6" y="178"/>
                    </a:lnTo>
                    <a:lnTo>
                      <a:pt x="5" y="179"/>
                    </a:lnTo>
                    <a:lnTo>
                      <a:pt x="4" y="178"/>
                    </a:lnTo>
                    <a:lnTo>
                      <a:pt x="4" y="177"/>
                    </a:lnTo>
                    <a:lnTo>
                      <a:pt x="5" y="177"/>
                    </a:lnTo>
                    <a:lnTo>
                      <a:pt x="5" y="178"/>
                    </a:lnTo>
                    <a:lnTo>
                      <a:pt x="6" y="177"/>
                    </a:lnTo>
                    <a:lnTo>
                      <a:pt x="5" y="176"/>
                    </a:lnTo>
                    <a:lnTo>
                      <a:pt x="5" y="177"/>
                    </a:lnTo>
                    <a:lnTo>
                      <a:pt x="4" y="176"/>
                    </a:lnTo>
                    <a:lnTo>
                      <a:pt x="5" y="175"/>
                    </a:lnTo>
                    <a:lnTo>
                      <a:pt x="5" y="174"/>
                    </a:lnTo>
                    <a:lnTo>
                      <a:pt x="5" y="171"/>
                    </a:lnTo>
                    <a:lnTo>
                      <a:pt x="4" y="171"/>
                    </a:lnTo>
                    <a:lnTo>
                      <a:pt x="5" y="171"/>
                    </a:lnTo>
                    <a:lnTo>
                      <a:pt x="6" y="171"/>
                    </a:lnTo>
                    <a:lnTo>
                      <a:pt x="6" y="170"/>
                    </a:lnTo>
                    <a:lnTo>
                      <a:pt x="5" y="169"/>
                    </a:lnTo>
                    <a:lnTo>
                      <a:pt x="5" y="168"/>
                    </a:lnTo>
                    <a:lnTo>
                      <a:pt x="4" y="168"/>
                    </a:lnTo>
                    <a:lnTo>
                      <a:pt x="4" y="167"/>
                    </a:lnTo>
                    <a:lnTo>
                      <a:pt x="4" y="166"/>
                    </a:lnTo>
                    <a:lnTo>
                      <a:pt x="5" y="166"/>
                    </a:lnTo>
                    <a:lnTo>
                      <a:pt x="6" y="166"/>
                    </a:lnTo>
                    <a:lnTo>
                      <a:pt x="6" y="165"/>
                    </a:lnTo>
                    <a:lnTo>
                      <a:pt x="5" y="165"/>
                    </a:lnTo>
                    <a:lnTo>
                      <a:pt x="5" y="164"/>
                    </a:lnTo>
                    <a:lnTo>
                      <a:pt x="6" y="164"/>
                    </a:lnTo>
                    <a:lnTo>
                      <a:pt x="6" y="163"/>
                    </a:lnTo>
                    <a:lnTo>
                      <a:pt x="6" y="162"/>
                    </a:lnTo>
                    <a:lnTo>
                      <a:pt x="5" y="162"/>
                    </a:lnTo>
                    <a:lnTo>
                      <a:pt x="4" y="162"/>
                    </a:lnTo>
                    <a:lnTo>
                      <a:pt x="4" y="161"/>
                    </a:lnTo>
                    <a:lnTo>
                      <a:pt x="4" y="159"/>
                    </a:lnTo>
                    <a:lnTo>
                      <a:pt x="3" y="159"/>
                    </a:lnTo>
                    <a:lnTo>
                      <a:pt x="3" y="158"/>
                    </a:lnTo>
                    <a:lnTo>
                      <a:pt x="4" y="158"/>
                    </a:lnTo>
                    <a:lnTo>
                      <a:pt x="5" y="158"/>
                    </a:lnTo>
                    <a:lnTo>
                      <a:pt x="5" y="157"/>
                    </a:lnTo>
                    <a:lnTo>
                      <a:pt x="5" y="156"/>
                    </a:lnTo>
                    <a:lnTo>
                      <a:pt x="5" y="155"/>
                    </a:lnTo>
                    <a:lnTo>
                      <a:pt x="4" y="155"/>
                    </a:lnTo>
                    <a:lnTo>
                      <a:pt x="3" y="154"/>
                    </a:lnTo>
                    <a:lnTo>
                      <a:pt x="3" y="153"/>
                    </a:lnTo>
                    <a:lnTo>
                      <a:pt x="4" y="153"/>
                    </a:lnTo>
                    <a:lnTo>
                      <a:pt x="5" y="153"/>
                    </a:lnTo>
                    <a:lnTo>
                      <a:pt x="5" y="152"/>
                    </a:lnTo>
                    <a:lnTo>
                      <a:pt x="5" y="151"/>
                    </a:lnTo>
                    <a:lnTo>
                      <a:pt x="5" y="150"/>
                    </a:lnTo>
                    <a:lnTo>
                      <a:pt x="4" y="150"/>
                    </a:lnTo>
                    <a:lnTo>
                      <a:pt x="4" y="149"/>
                    </a:lnTo>
                    <a:lnTo>
                      <a:pt x="4" y="148"/>
                    </a:lnTo>
                    <a:lnTo>
                      <a:pt x="4" y="146"/>
                    </a:lnTo>
                    <a:lnTo>
                      <a:pt x="5" y="146"/>
                    </a:lnTo>
                    <a:lnTo>
                      <a:pt x="5" y="148"/>
                    </a:lnTo>
                    <a:lnTo>
                      <a:pt x="6" y="146"/>
                    </a:lnTo>
                    <a:lnTo>
                      <a:pt x="6" y="145"/>
                    </a:lnTo>
                    <a:lnTo>
                      <a:pt x="5" y="145"/>
                    </a:lnTo>
                    <a:lnTo>
                      <a:pt x="5" y="144"/>
                    </a:lnTo>
                    <a:lnTo>
                      <a:pt x="6" y="144"/>
                    </a:lnTo>
                    <a:lnTo>
                      <a:pt x="6" y="143"/>
                    </a:lnTo>
                    <a:lnTo>
                      <a:pt x="5" y="143"/>
                    </a:lnTo>
                    <a:lnTo>
                      <a:pt x="5" y="144"/>
                    </a:lnTo>
                    <a:lnTo>
                      <a:pt x="4" y="144"/>
                    </a:lnTo>
                    <a:lnTo>
                      <a:pt x="4" y="143"/>
                    </a:lnTo>
                    <a:lnTo>
                      <a:pt x="5" y="143"/>
                    </a:lnTo>
                    <a:lnTo>
                      <a:pt x="5" y="142"/>
                    </a:lnTo>
                    <a:lnTo>
                      <a:pt x="4" y="141"/>
                    </a:lnTo>
                    <a:lnTo>
                      <a:pt x="5" y="140"/>
                    </a:lnTo>
                    <a:lnTo>
                      <a:pt x="4" y="140"/>
                    </a:lnTo>
                    <a:lnTo>
                      <a:pt x="3" y="140"/>
                    </a:lnTo>
                    <a:lnTo>
                      <a:pt x="3" y="139"/>
                    </a:lnTo>
                    <a:lnTo>
                      <a:pt x="2" y="139"/>
                    </a:lnTo>
                    <a:lnTo>
                      <a:pt x="3" y="138"/>
                    </a:lnTo>
                    <a:lnTo>
                      <a:pt x="3" y="139"/>
                    </a:lnTo>
                    <a:lnTo>
                      <a:pt x="4" y="139"/>
                    </a:lnTo>
                    <a:lnTo>
                      <a:pt x="5" y="138"/>
                    </a:lnTo>
                    <a:lnTo>
                      <a:pt x="4" y="136"/>
                    </a:lnTo>
                    <a:lnTo>
                      <a:pt x="3" y="136"/>
                    </a:lnTo>
                    <a:lnTo>
                      <a:pt x="5" y="136"/>
                    </a:lnTo>
                    <a:lnTo>
                      <a:pt x="5" y="134"/>
                    </a:lnTo>
                    <a:lnTo>
                      <a:pt x="5" y="133"/>
                    </a:lnTo>
                    <a:lnTo>
                      <a:pt x="5" y="134"/>
                    </a:lnTo>
                    <a:lnTo>
                      <a:pt x="4" y="134"/>
                    </a:lnTo>
                    <a:lnTo>
                      <a:pt x="4" y="133"/>
                    </a:lnTo>
                    <a:lnTo>
                      <a:pt x="4" y="132"/>
                    </a:lnTo>
                    <a:lnTo>
                      <a:pt x="4" y="131"/>
                    </a:lnTo>
                    <a:lnTo>
                      <a:pt x="3" y="131"/>
                    </a:lnTo>
                    <a:lnTo>
                      <a:pt x="3" y="130"/>
                    </a:lnTo>
                    <a:lnTo>
                      <a:pt x="4" y="130"/>
                    </a:lnTo>
                    <a:lnTo>
                      <a:pt x="3" y="129"/>
                    </a:lnTo>
                    <a:lnTo>
                      <a:pt x="3" y="128"/>
                    </a:lnTo>
                    <a:lnTo>
                      <a:pt x="4" y="128"/>
                    </a:lnTo>
                    <a:lnTo>
                      <a:pt x="5" y="128"/>
                    </a:lnTo>
                    <a:lnTo>
                      <a:pt x="4" y="127"/>
                    </a:lnTo>
                    <a:lnTo>
                      <a:pt x="5" y="126"/>
                    </a:lnTo>
                    <a:lnTo>
                      <a:pt x="5" y="125"/>
                    </a:lnTo>
                    <a:lnTo>
                      <a:pt x="6" y="125"/>
                    </a:lnTo>
                    <a:lnTo>
                      <a:pt x="6" y="124"/>
                    </a:lnTo>
                    <a:lnTo>
                      <a:pt x="5" y="124"/>
                    </a:lnTo>
                    <a:lnTo>
                      <a:pt x="4" y="124"/>
                    </a:lnTo>
                    <a:lnTo>
                      <a:pt x="4" y="123"/>
                    </a:lnTo>
                    <a:lnTo>
                      <a:pt x="5" y="123"/>
                    </a:lnTo>
                    <a:lnTo>
                      <a:pt x="6" y="124"/>
                    </a:lnTo>
                    <a:lnTo>
                      <a:pt x="7" y="123"/>
                    </a:lnTo>
                    <a:lnTo>
                      <a:pt x="6" y="123"/>
                    </a:lnTo>
                    <a:lnTo>
                      <a:pt x="5" y="121"/>
                    </a:lnTo>
                    <a:lnTo>
                      <a:pt x="4" y="121"/>
                    </a:lnTo>
                    <a:lnTo>
                      <a:pt x="4" y="120"/>
                    </a:lnTo>
                    <a:lnTo>
                      <a:pt x="4" y="119"/>
                    </a:lnTo>
                    <a:lnTo>
                      <a:pt x="3" y="119"/>
                    </a:lnTo>
                    <a:lnTo>
                      <a:pt x="3" y="118"/>
                    </a:lnTo>
                    <a:lnTo>
                      <a:pt x="3" y="117"/>
                    </a:lnTo>
                    <a:lnTo>
                      <a:pt x="1" y="118"/>
                    </a:lnTo>
                    <a:lnTo>
                      <a:pt x="1" y="117"/>
                    </a:lnTo>
                    <a:lnTo>
                      <a:pt x="0" y="117"/>
                    </a:lnTo>
                    <a:lnTo>
                      <a:pt x="1" y="116"/>
                    </a:lnTo>
                    <a:lnTo>
                      <a:pt x="2" y="116"/>
                    </a:lnTo>
                    <a:lnTo>
                      <a:pt x="3" y="115"/>
                    </a:lnTo>
                    <a:lnTo>
                      <a:pt x="3" y="114"/>
                    </a:lnTo>
                    <a:lnTo>
                      <a:pt x="4" y="115"/>
                    </a:lnTo>
                    <a:lnTo>
                      <a:pt x="5" y="115"/>
                    </a:lnTo>
                    <a:lnTo>
                      <a:pt x="6" y="114"/>
                    </a:lnTo>
                    <a:lnTo>
                      <a:pt x="6" y="113"/>
                    </a:lnTo>
                    <a:lnTo>
                      <a:pt x="6" y="112"/>
                    </a:lnTo>
                    <a:lnTo>
                      <a:pt x="5" y="112"/>
                    </a:lnTo>
                    <a:lnTo>
                      <a:pt x="5" y="113"/>
                    </a:lnTo>
                    <a:lnTo>
                      <a:pt x="3" y="113"/>
                    </a:lnTo>
                    <a:lnTo>
                      <a:pt x="4" y="113"/>
                    </a:lnTo>
                    <a:lnTo>
                      <a:pt x="4" y="112"/>
                    </a:lnTo>
                    <a:lnTo>
                      <a:pt x="4" y="111"/>
                    </a:lnTo>
                    <a:lnTo>
                      <a:pt x="4" y="110"/>
                    </a:lnTo>
                    <a:lnTo>
                      <a:pt x="5" y="108"/>
                    </a:lnTo>
                    <a:lnTo>
                      <a:pt x="6" y="108"/>
                    </a:lnTo>
                    <a:lnTo>
                      <a:pt x="6" y="107"/>
                    </a:lnTo>
                    <a:lnTo>
                      <a:pt x="7" y="108"/>
                    </a:lnTo>
                    <a:lnTo>
                      <a:pt x="7" y="107"/>
                    </a:lnTo>
                    <a:lnTo>
                      <a:pt x="8" y="107"/>
                    </a:lnTo>
                    <a:lnTo>
                      <a:pt x="8" y="106"/>
                    </a:lnTo>
                    <a:lnTo>
                      <a:pt x="8" y="105"/>
                    </a:lnTo>
                    <a:lnTo>
                      <a:pt x="7" y="105"/>
                    </a:lnTo>
                    <a:lnTo>
                      <a:pt x="7" y="104"/>
                    </a:lnTo>
                    <a:lnTo>
                      <a:pt x="8" y="104"/>
                    </a:lnTo>
                    <a:lnTo>
                      <a:pt x="8" y="103"/>
                    </a:lnTo>
                    <a:lnTo>
                      <a:pt x="7" y="103"/>
                    </a:lnTo>
                    <a:lnTo>
                      <a:pt x="7" y="102"/>
                    </a:lnTo>
                    <a:lnTo>
                      <a:pt x="7" y="101"/>
                    </a:lnTo>
                    <a:lnTo>
                      <a:pt x="8" y="101"/>
                    </a:lnTo>
                    <a:lnTo>
                      <a:pt x="8" y="100"/>
                    </a:lnTo>
                    <a:lnTo>
                      <a:pt x="7" y="100"/>
                    </a:lnTo>
                    <a:lnTo>
                      <a:pt x="6" y="100"/>
                    </a:lnTo>
                    <a:lnTo>
                      <a:pt x="6" y="99"/>
                    </a:lnTo>
                    <a:lnTo>
                      <a:pt x="4" y="98"/>
                    </a:lnTo>
                    <a:lnTo>
                      <a:pt x="5" y="98"/>
                    </a:lnTo>
                    <a:lnTo>
                      <a:pt x="4" y="97"/>
                    </a:lnTo>
                    <a:lnTo>
                      <a:pt x="3" y="97"/>
                    </a:lnTo>
                    <a:lnTo>
                      <a:pt x="4" y="97"/>
                    </a:lnTo>
                    <a:lnTo>
                      <a:pt x="4" y="95"/>
                    </a:lnTo>
                    <a:lnTo>
                      <a:pt x="3" y="95"/>
                    </a:lnTo>
                    <a:lnTo>
                      <a:pt x="3" y="94"/>
                    </a:lnTo>
                    <a:lnTo>
                      <a:pt x="4" y="94"/>
                    </a:lnTo>
                    <a:lnTo>
                      <a:pt x="4" y="93"/>
                    </a:lnTo>
                    <a:lnTo>
                      <a:pt x="3" y="93"/>
                    </a:lnTo>
                    <a:lnTo>
                      <a:pt x="3" y="92"/>
                    </a:lnTo>
                    <a:lnTo>
                      <a:pt x="4" y="92"/>
                    </a:lnTo>
                    <a:lnTo>
                      <a:pt x="4" y="91"/>
                    </a:lnTo>
                    <a:lnTo>
                      <a:pt x="3" y="90"/>
                    </a:lnTo>
                    <a:lnTo>
                      <a:pt x="4" y="90"/>
                    </a:lnTo>
                    <a:lnTo>
                      <a:pt x="4" y="91"/>
                    </a:lnTo>
                    <a:lnTo>
                      <a:pt x="5" y="90"/>
                    </a:lnTo>
                    <a:lnTo>
                      <a:pt x="5" y="89"/>
                    </a:lnTo>
                    <a:lnTo>
                      <a:pt x="4" y="89"/>
                    </a:lnTo>
                    <a:lnTo>
                      <a:pt x="3" y="89"/>
                    </a:lnTo>
                    <a:lnTo>
                      <a:pt x="3" y="88"/>
                    </a:lnTo>
                    <a:lnTo>
                      <a:pt x="4" y="87"/>
                    </a:lnTo>
                    <a:lnTo>
                      <a:pt x="4" y="86"/>
                    </a:lnTo>
                    <a:lnTo>
                      <a:pt x="3" y="86"/>
                    </a:lnTo>
                    <a:lnTo>
                      <a:pt x="3" y="87"/>
                    </a:lnTo>
                    <a:lnTo>
                      <a:pt x="3" y="86"/>
                    </a:lnTo>
                    <a:lnTo>
                      <a:pt x="2" y="85"/>
                    </a:lnTo>
                    <a:lnTo>
                      <a:pt x="3" y="85"/>
                    </a:lnTo>
                    <a:lnTo>
                      <a:pt x="3" y="84"/>
                    </a:lnTo>
                    <a:lnTo>
                      <a:pt x="4" y="84"/>
                    </a:lnTo>
                    <a:lnTo>
                      <a:pt x="4" y="82"/>
                    </a:lnTo>
                    <a:lnTo>
                      <a:pt x="4" y="81"/>
                    </a:lnTo>
                    <a:lnTo>
                      <a:pt x="4" y="82"/>
                    </a:lnTo>
                    <a:lnTo>
                      <a:pt x="4" y="81"/>
                    </a:lnTo>
                    <a:lnTo>
                      <a:pt x="5" y="81"/>
                    </a:lnTo>
                    <a:lnTo>
                      <a:pt x="5" y="80"/>
                    </a:lnTo>
                    <a:lnTo>
                      <a:pt x="4" y="80"/>
                    </a:lnTo>
                    <a:lnTo>
                      <a:pt x="3" y="80"/>
                    </a:lnTo>
                    <a:lnTo>
                      <a:pt x="3" y="79"/>
                    </a:lnTo>
                    <a:lnTo>
                      <a:pt x="2" y="79"/>
                    </a:lnTo>
                    <a:lnTo>
                      <a:pt x="2" y="78"/>
                    </a:lnTo>
                    <a:lnTo>
                      <a:pt x="2" y="77"/>
                    </a:lnTo>
                    <a:lnTo>
                      <a:pt x="1" y="76"/>
                    </a:lnTo>
                    <a:lnTo>
                      <a:pt x="2" y="76"/>
                    </a:lnTo>
                    <a:lnTo>
                      <a:pt x="2" y="75"/>
                    </a:lnTo>
                    <a:lnTo>
                      <a:pt x="3" y="75"/>
                    </a:lnTo>
                    <a:lnTo>
                      <a:pt x="3" y="74"/>
                    </a:lnTo>
                    <a:lnTo>
                      <a:pt x="2" y="74"/>
                    </a:lnTo>
                    <a:lnTo>
                      <a:pt x="2" y="73"/>
                    </a:lnTo>
                    <a:lnTo>
                      <a:pt x="3" y="73"/>
                    </a:lnTo>
                    <a:lnTo>
                      <a:pt x="3" y="72"/>
                    </a:lnTo>
                    <a:lnTo>
                      <a:pt x="4" y="72"/>
                    </a:lnTo>
                    <a:lnTo>
                      <a:pt x="4" y="71"/>
                    </a:lnTo>
                    <a:lnTo>
                      <a:pt x="5" y="71"/>
                    </a:lnTo>
                    <a:lnTo>
                      <a:pt x="6" y="71"/>
                    </a:lnTo>
                    <a:lnTo>
                      <a:pt x="7" y="71"/>
                    </a:lnTo>
                    <a:lnTo>
                      <a:pt x="7" y="69"/>
                    </a:lnTo>
                    <a:lnTo>
                      <a:pt x="6" y="68"/>
                    </a:lnTo>
                    <a:lnTo>
                      <a:pt x="7" y="68"/>
                    </a:lnTo>
                    <a:lnTo>
                      <a:pt x="7" y="67"/>
                    </a:lnTo>
                    <a:lnTo>
                      <a:pt x="8" y="67"/>
                    </a:lnTo>
                    <a:lnTo>
                      <a:pt x="8" y="68"/>
                    </a:lnTo>
                    <a:lnTo>
                      <a:pt x="8" y="67"/>
                    </a:lnTo>
                    <a:lnTo>
                      <a:pt x="10" y="67"/>
                    </a:lnTo>
                    <a:lnTo>
                      <a:pt x="10" y="68"/>
                    </a:lnTo>
                    <a:lnTo>
                      <a:pt x="11" y="68"/>
                    </a:lnTo>
                    <a:lnTo>
                      <a:pt x="11" y="67"/>
                    </a:lnTo>
                    <a:lnTo>
                      <a:pt x="11" y="66"/>
                    </a:lnTo>
                    <a:lnTo>
                      <a:pt x="12" y="66"/>
                    </a:lnTo>
                    <a:lnTo>
                      <a:pt x="13" y="66"/>
                    </a:lnTo>
                    <a:lnTo>
                      <a:pt x="13" y="67"/>
                    </a:lnTo>
                    <a:lnTo>
                      <a:pt x="14" y="67"/>
                    </a:lnTo>
                    <a:lnTo>
                      <a:pt x="14" y="68"/>
                    </a:lnTo>
                    <a:lnTo>
                      <a:pt x="15" y="67"/>
                    </a:lnTo>
                    <a:lnTo>
                      <a:pt x="16" y="67"/>
                    </a:lnTo>
                    <a:lnTo>
                      <a:pt x="16" y="66"/>
                    </a:lnTo>
                    <a:lnTo>
                      <a:pt x="16" y="65"/>
                    </a:lnTo>
                    <a:lnTo>
                      <a:pt x="17" y="65"/>
                    </a:lnTo>
                    <a:lnTo>
                      <a:pt x="17" y="64"/>
                    </a:lnTo>
                    <a:lnTo>
                      <a:pt x="18" y="63"/>
                    </a:lnTo>
                    <a:lnTo>
                      <a:pt x="18" y="62"/>
                    </a:lnTo>
                    <a:lnTo>
                      <a:pt x="17" y="62"/>
                    </a:lnTo>
                    <a:lnTo>
                      <a:pt x="16" y="62"/>
                    </a:lnTo>
                    <a:lnTo>
                      <a:pt x="17" y="62"/>
                    </a:lnTo>
                    <a:lnTo>
                      <a:pt x="17" y="61"/>
                    </a:lnTo>
                    <a:lnTo>
                      <a:pt x="16" y="61"/>
                    </a:lnTo>
                    <a:lnTo>
                      <a:pt x="17" y="59"/>
                    </a:lnTo>
                    <a:lnTo>
                      <a:pt x="17" y="60"/>
                    </a:lnTo>
                    <a:lnTo>
                      <a:pt x="17" y="59"/>
                    </a:lnTo>
                    <a:lnTo>
                      <a:pt x="18" y="59"/>
                    </a:lnTo>
                    <a:lnTo>
                      <a:pt x="19" y="59"/>
                    </a:lnTo>
                    <a:lnTo>
                      <a:pt x="18" y="59"/>
                    </a:lnTo>
                    <a:lnTo>
                      <a:pt x="17" y="57"/>
                    </a:lnTo>
                    <a:lnTo>
                      <a:pt x="18" y="57"/>
                    </a:lnTo>
                    <a:lnTo>
                      <a:pt x="18" y="56"/>
                    </a:lnTo>
                    <a:lnTo>
                      <a:pt x="17" y="56"/>
                    </a:lnTo>
                    <a:lnTo>
                      <a:pt x="17" y="55"/>
                    </a:lnTo>
                    <a:lnTo>
                      <a:pt x="17" y="54"/>
                    </a:lnTo>
                    <a:lnTo>
                      <a:pt x="17" y="53"/>
                    </a:lnTo>
                    <a:lnTo>
                      <a:pt x="18" y="53"/>
                    </a:lnTo>
                    <a:lnTo>
                      <a:pt x="19" y="53"/>
                    </a:lnTo>
                    <a:lnTo>
                      <a:pt x="18" y="52"/>
                    </a:lnTo>
                    <a:lnTo>
                      <a:pt x="17" y="53"/>
                    </a:lnTo>
                    <a:lnTo>
                      <a:pt x="16" y="52"/>
                    </a:lnTo>
                    <a:lnTo>
                      <a:pt x="17" y="52"/>
                    </a:lnTo>
                    <a:lnTo>
                      <a:pt x="17" y="51"/>
                    </a:lnTo>
                    <a:lnTo>
                      <a:pt x="17" y="50"/>
                    </a:lnTo>
                    <a:lnTo>
                      <a:pt x="17" y="49"/>
                    </a:lnTo>
                    <a:lnTo>
                      <a:pt x="18" y="50"/>
                    </a:lnTo>
                    <a:lnTo>
                      <a:pt x="18" y="49"/>
                    </a:lnTo>
                    <a:lnTo>
                      <a:pt x="19" y="48"/>
                    </a:lnTo>
                    <a:lnTo>
                      <a:pt x="19" y="47"/>
                    </a:lnTo>
                    <a:lnTo>
                      <a:pt x="18" y="47"/>
                    </a:lnTo>
                    <a:lnTo>
                      <a:pt x="19" y="47"/>
                    </a:lnTo>
                    <a:lnTo>
                      <a:pt x="20" y="47"/>
                    </a:lnTo>
                    <a:lnTo>
                      <a:pt x="20" y="46"/>
                    </a:lnTo>
                    <a:lnTo>
                      <a:pt x="19" y="46"/>
                    </a:lnTo>
                    <a:lnTo>
                      <a:pt x="19" y="44"/>
                    </a:lnTo>
                    <a:lnTo>
                      <a:pt x="21" y="43"/>
                    </a:lnTo>
                    <a:lnTo>
                      <a:pt x="23" y="43"/>
                    </a:lnTo>
                    <a:lnTo>
                      <a:pt x="23" y="44"/>
                    </a:lnTo>
                    <a:lnTo>
                      <a:pt x="24" y="44"/>
                    </a:lnTo>
                    <a:lnTo>
                      <a:pt x="24" y="43"/>
                    </a:lnTo>
                    <a:lnTo>
                      <a:pt x="23" y="42"/>
                    </a:lnTo>
                    <a:lnTo>
                      <a:pt x="21" y="42"/>
                    </a:lnTo>
                    <a:lnTo>
                      <a:pt x="21" y="41"/>
                    </a:lnTo>
                    <a:lnTo>
                      <a:pt x="21" y="40"/>
                    </a:lnTo>
                    <a:lnTo>
                      <a:pt x="21" y="39"/>
                    </a:lnTo>
                    <a:lnTo>
                      <a:pt x="21" y="38"/>
                    </a:lnTo>
                    <a:lnTo>
                      <a:pt x="21" y="37"/>
                    </a:lnTo>
                    <a:lnTo>
                      <a:pt x="20" y="37"/>
                    </a:lnTo>
                    <a:lnTo>
                      <a:pt x="20" y="38"/>
                    </a:lnTo>
                    <a:lnTo>
                      <a:pt x="20" y="37"/>
                    </a:lnTo>
                    <a:lnTo>
                      <a:pt x="20" y="36"/>
                    </a:lnTo>
                    <a:lnTo>
                      <a:pt x="19" y="36"/>
                    </a:lnTo>
                    <a:lnTo>
                      <a:pt x="19" y="35"/>
                    </a:lnTo>
                    <a:lnTo>
                      <a:pt x="20" y="35"/>
                    </a:lnTo>
                    <a:lnTo>
                      <a:pt x="19" y="34"/>
                    </a:lnTo>
                    <a:lnTo>
                      <a:pt x="18" y="34"/>
                    </a:lnTo>
                    <a:lnTo>
                      <a:pt x="18" y="33"/>
                    </a:lnTo>
                    <a:lnTo>
                      <a:pt x="18" y="31"/>
                    </a:lnTo>
                    <a:lnTo>
                      <a:pt x="19" y="31"/>
                    </a:lnTo>
                    <a:lnTo>
                      <a:pt x="19" y="30"/>
                    </a:lnTo>
                    <a:lnTo>
                      <a:pt x="18" y="30"/>
                    </a:lnTo>
                    <a:lnTo>
                      <a:pt x="18" y="29"/>
                    </a:lnTo>
                    <a:lnTo>
                      <a:pt x="17" y="29"/>
                    </a:lnTo>
                    <a:lnTo>
                      <a:pt x="16" y="29"/>
                    </a:lnTo>
                    <a:lnTo>
                      <a:pt x="15" y="29"/>
                    </a:lnTo>
                    <a:lnTo>
                      <a:pt x="15" y="28"/>
                    </a:lnTo>
                    <a:lnTo>
                      <a:pt x="15" y="27"/>
                    </a:lnTo>
                    <a:lnTo>
                      <a:pt x="15" y="26"/>
                    </a:lnTo>
                    <a:lnTo>
                      <a:pt x="14" y="26"/>
                    </a:lnTo>
                    <a:lnTo>
                      <a:pt x="14" y="25"/>
                    </a:lnTo>
                    <a:lnTo>
                      <a:pt x="14" y="24"/>
                    </a:lnTo>
                    <a:lnTo>
                      <a:pt x="14" y="25"/>
                    </a:lnTo>
                    <a:lnTo>
                      <a:pt x="13" y="24"/>
                    </a:lnTo>
                    <a:lnTo>
                      <a:pt x="13" y="23"/>
                    </a:lnTo>
                    <a:lnTo>
                      <a:pt x="13" y="22"/>
                    </a:lnTo>
                    <a:lnTo>
                      <a:pt x="12" y="22"/>
                    </a:lnTo>
                    <a:lnTo>
                      <a:pt x="11" y="23"/>
                    </a:lnTo>
                    <a:lnTo>
                      <a:pt x="11" y="22"/>
                    </a:lnTo>
                    <a:lnTo>
                      <a:pt x="11" y="21"/>
                    </a:lnTo>
                    <a:lnTo>
                      <a:pt x="10" y="21"/>
                    </a:lnTo>
                    <a:lnTo>
                      <a:pt x="8" y="21"/>
                    </a:lnTo>
                    <a:lnTo>
                      <a:pt x="8" y="20"/>
                    </a:lnTo>
                    <a:lnTo>
                      <a:pt x="7" y="20"/>
                    </a:lnTo>
                    <a:lnTo>
                      <a:pt x="8" y="20"/>
                    </a:lnTo>
                    <a:lnTo>
                      <a:pt x="8" y="18"/>
                    </a:lnTo>
                    <a:lnTo>
                      <a:pt x="7" y="18"/>
                    </a:lnTo>
                    <a:lnTo>
                      <a:pt x="7" y="17"/>
                    </a:lnTo>
                    <a:lnTo>
                      <a:pt x="6" y="17"/>
                    </a:lnTo>
                    <a:lnTo>
                      <a:pt x="6" y="16"/>
                    </a:lnTo>
                    <a:lnTo>
                      <a:pt x="7" y="16"/>
                    </a:lnTo>
                    <a:lnTo>
                      <a:pt x="6" y="16"/>
                    </a:lnTo>
                    <a:lnTo>
                      <a:pt x="6" y="15"/>
                    </a:lnTo>
                    <a:lnTo>
                      <a:pt x="5" y="15"/>
                    </a:lnTo>
                    <a:lnTo>
                      <a:pt x="5" y="14"/>
                    </a:lnTo>
                    <a:lnTo>
                      <a:pt x="5" y="13"/>
                    </a:lnTo>
                    <a:lnTo>
                      <a:pt x="6" y="14"/>
                    </a:lnTo>
                    <a:lnTo>
                      <a:pt x="7" y="12"/>
                    </a:lnTo>
                    <a:lnTo>
                      <a:pt x="6" y="12"/>
                    </a:lnTo>
                    <a:lnTo>
                      <a:pt x="5" y="11"/>
                    </a:lnTo>
                    <a:lnTo>
                      <a:pt x="4" y="11"/>
                    </a:lnTo>
                    <a:lnTo>
                      <a:pt x="4" y="10"/>
                    </a:lnTo>
                    <a:lnTo>
                      <a:pt x="4" y="9"/>
                    </a:lnTo>
                    <a:lnTo>
                      <a:pt x="4" y="8"/>
                    </a:lnTo>
                    <a:lnTo>
                      <a:pt x="3" y="8"/>
                    </a:lnTo>
                    <a:lnTo>
                      <a:pt x="3" y="7"/>
                    </a:lnTo>
                    <a:lnTo>
                      <a:pt x="4" y="7"/>
                    </a:lnTo>
                    <a:lnTo>
                      <a:pt x="4" y="5"/>
                    </a:lnTo>
                    <a:lnTo>
                      <a:pt x="3" y="5"/>
                    </a:lnTo>
                    <a:lnTo>
                      <a:pt x="3" y="4"/>
                    </a:lnTo>
                    <a:lnTo>
                      <a:pt x="1" y="4"/>
                    </a:lnTo>
                    <a:lnTo>
                      <a:pt x="2" y="3"/>
                    </a:lnTo>
                    <a:lnTo>
                      <a:pt x="1" y="2"/>
                    </a:lnTo>
                    <a:lnTo>
                      <a:pt x="1" y="1"/>
                    </a:lnTo>
                    <a:lnTo>
                      <a:pt x="1" y="0"/>
                    </a:lnTo>
                    <a:lnTo>
                      <a:pt x="2" y="0"/>
                    </a:lnTo>
                    <a:lnTo>
                      <a:pt x="3" y="0"/>
                    </a:lnTo>
                    <a:lnTo>
                      <a:pt x="7" y="0"/>
                    </a:lnTo>
                    <a:lnTo>
                      <a:pt x="8" y="0"/>
                    </a:lnTo>
                    <a:lnTo>
                      <a:pt x="28" y="0"/>
                    </a:lnTo>
                    <a:lnTo>
                      <a:pt x="31" y="0"/>
                    </a:lnTo>
                    <a:lnTo>
                      <a:pt x="65" y="1"/>
                    </a:lnTo>
                    <a:lnTo>
                      <a:pt x="80" y="1"/>
                    </a:lnTo>
                    <a:lnTo>
                      <a:pt x="81" y="0"/>
                    </a:lnTo>
                    <a:lnTo>
                      <a:pt x="85" y="1"/>
                    </a:lnTo>
                    <a:close/>
                  </a:path>
                </a:pathLst>
              </a:custGeom>
              <a:solidFill>
                <a:srgbClr val="1A62B6"/>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1" name="Freeform 31">
                <a:extLst>
                  <a:ext uri="{FF2B5EF4-FFF2-40B4-BE49-F238E27FC236}">
                    <a16:creationId xmlns:a16="http://schemas.microsoft.com/office/drawing/2014/main" id="{920BB044-041C-DBF2-2DA3-BDC0AA82F830}"/>
                  </a:ext>
                </a:extLst>
              </p:cNvPr>
              <p:cNvSpPr>
                <a:spLocks/>
              </p:cNvSpPr>
              <p:nvPr/>
            </p:nvSpPr>
            <p:spPr bwMode="auto">
              <a:xfrm>
                <a:off x="2516188" y="3441700"/>
                <a:ext cx="447675" cy="590550"/>
              </a:xfrm>
              <a:custGeom>
                <a:avLst/>
                <a:gdLst>
                  <a:gd name="T0" fmla="*/ 258 w 282"/>
                  <a:gd name="T1" fmla="*/ 142 h 372"/>
                  <a:gd name="T2" fmla="*/ 263 w 282"/>
                  <a:gd name="T3" fmla="*/ 156 h 372"/>
                  <a:gd name="T4" fmla="*/ 274 w 282"/>
                  <a:gd name="T5" fmla="*/ 164 h 372"/>
                  <a:gd name="T6" fmla="*/ 282 w 282"/>
                  <a:gd name="T7" fmla="*/ 169 h 372"/>
                  <a:gd name="T8" fmla="*/ 282 w 282"/>
                  <a:gd name="T9" fmla="*/ 233 h 372"/>
                  <a:gd name="T10" fmla="*/ 273 w 282"/>
                  <a:gd name="T11" fmla="*/ 240 h 372"/>
                  <a:gd name="T12" fmla="*/ 264 w 282"/>
                  <a:gd name="T13" fmla="*/ 247 h 372"/>
                  <a:gd name="T14" fmla="*/ 263 w 282"/>
                  <a:gd name="T15" fmla="*/ 260 h 372"/>
                  <a:gd name="T16" fmla="*/ 260 w 282"/>
                  <a:gd name="T17" fmla="*/ 272 h 372"/>
                  <a:gd name="T18" fmla="*/ 242 w 282"/>
                  <a:gd name="T19" fmla="*/ 309 h 372"/>
                  <a:gd name="T20" fmla="*/ 165 w 282"/>
                  <a:gd name="T21" fmla="*/ 330 h 372"/>
                  <a:gd name="T22" fmla="*/ 128 w 282"/>
                  <a:gd name="T23" fmla="*/ 331 h 372"/>
                  <a:gd name="T24" fmla="*/ 123 w 282"/>
                  <a:gd name="T25" fmla="*/ 333 h 372"/>
                  <a:gd name="T26" fmla="*/ 115 w 282"/>
                  <a:gd name="T27" fmla="*/ 333 h 372"/>
                  <a:gd name="T28" fmla="*/ 110 w 282"/>
                  <a:gd name="T29" fmla="*/ 338 h 372"/>
                  <a:gd name="T30" fmla="*/ 106 w 282"/>
                  <a:gd name="T31" fmla="*/ 341 h 372"/>
                  <a:gd name="T32" fmla="*/ 104 w 282"/>
                  <a:gd name="T33" fmla="*/ 347 h 372"/>
                  <a:gd name="T34" fmla="*/ 103 w 282"/>
                  <a:gd name="T35" fmla="*/ 356 h 372"/>
                  <a:gd name="T36" fmla="*/ 98 w 282"/>
                  <a:gd name="T37" fmla="*/ 362 h 372"/>
                  <a:gd name="T38" fmla="*/ 92 w 282"/>
                  <a:gd name="T39" fmla="*/ 363 h 372"/>
                  <a:gd name="T40" fmla="*/ 87 w 282"/>
                  <a:gd name="T41" fmla="*/ 369 h 372"/>
                  <a:gd name="T42" fmla="*/ 3 w 282"/>
                  <a:gd name="T43" fmla="*/ 371 h 372"/>
                  <a:gd name="T44" fmla="*/ 2 w 282"/>
                  <a:gd name="T45" fmla="*/ 367 h 372"/>
                  <a:gd name="T46" fmla="*/ 5 w 282"/>
                  <a:gd name="T47" fmla="*/ 360 h 372"/>
                  <a:gd name="T48" fmla="*/ 10 w 282"/>
                  <a:gd name="T49" fmla="*/ 354 h 372"/>
                  <a:gd name="T50" fmla="*/ 10 w 282"/>
                  <a:gd name="T51" fmla="*/ 348 h 372"/>
                  <a:gd name="T52" fmla="*/ 5 w 282"/>
                  <a:gd name="T53" fmla="*/ 344 h 372"/>
                  <a:gd name="T54" fmla="*/ 8 w 282"/>
                  <a:gd name="T55" fmla="*/ 340 h 372"/>
                  <a:gd name="T56" fmla="*/ 16 w 282"/>
                  <a:gd name="T57" fmla="*/ 336 h 372"/>
                  <a:gd name="T58" fmla="*/ 20 w 282"/>
                  <a:gd name="T59" fmla="*/ 330 h 372"/>
                  <a:gd name="T60" fmla="*/ 25 w 282"/>
                  <a:gd name="T61" fmla="*/ 325 h 372"/>
                  <a:gd name="T62" fmla="*/ 24 w 282"/>
                  <a:gd name="T63" fmla="*/ 319 h 372"/>
                  <a:gd name="T64" fmla="*/ 28 w 282"/>
                  <a:gd name="T65" fmla="*/ 314 h 372"/>
                  <a:gd name="T66" fmla="*/ 29 w 282"/>
                  <a:gd name="T67" fmla="*/ 307 h 372"/>
                  <a:gd name="T68" fmla="*/ 23 w 282"/>
                  <a:gd name="T69" fmla="*/ 299 h 372"/>
                  <a:gd name="T70" fmla="*/ 21 w 282"/>
                  <a:gd name="T71" fmla="*/ 92 h 372"/>
                  <a:gd name="T72" fmla="*/ 45 w 282"/>
                  <a:gd name="T73" fmla="*/ 73 h 372"/>
                  <a:gd name="T74" fmla="*/ 53 w 282"/>
                  <a:gd name="T75" fmla="*/ 72 h 372"/>
                  <a:gd name="T76" fmla="*/ 58 w 282"/>
                  <a:gd name="T77" fmla="*/ 74 h 372"/>
                  <a:gd name="T78" fmla="*/ 65 w 282"/>
                  <a:gd name="T79" fmla="*/ 73 h 372"/>
                  <a:gd name="T80" fmla="*/ 69 w 282"/>
                  <a:gd name="T81" fmla="*/ 78 h 372"/>
                  <a:gd name="T82" fmla="*/ 76 w 282"/>
                  <a:gd name="T83" fmla="*/ 76 h 372"/>
                  <a:gd name="T84" fmla="*/ 81 w 282"/>
                  <a:gd name="T85" fmla="*/ 73 h 372"/>
                  <a:gd name="T86" fmla="*/ 87 w 282"/>
                  <a:gd name="T87" fmla="*/ 68 h 372"/>
                  <a:gd name="T88" fmla="*/ 92 w 282"/>
                  <a:gd name="T89" fmla="*/ 62 h 372"/>
                  <a:gd name="T90" fmla="*/ 94 w 282"/>
                  <a:gd name="T91" fmla="*/ 54 h 372"/>
                  <a:gd name="T92" fmla="*/ 93 w 282"/>
                  <a:gd name="T93" fmla="*/ 44 h 372"/>
                  <a:gd name="T94" fmla="*/ 96 w 282"/>
                  <a:gd name="T95" fmla="*/ 36 h 372"/>
                  <a:gd name="T96" fmla="*/ 109 w 282"/>
                  <a:gd name="T97" fmla="*/ 29 h 372"/>
                  <a:gd name="T98" fmla="*/ 118 w 282"/>
                  <a:gd name="T99" fmla="*/ 24 h 372"/>
                  <a:gd name="T100" fmla="*/ 124 w 282"/>
                  <a:gd name="T101" fmla="*/ 21 h 372"/>
                  <a:gd name="T102" fmla="*/ 133 w 282"/>
                  <a:gd name="T103" fmla="*/ 16 h 372"/>
                  <a:gd name="T104" fmla="*/ 136 w 282"/>
                  <a:gd name="T105" fmla="*/ 8 h 372"/>
                  <a:gd name="T106" fmla="*/ 145 w 282"/>
                  <a:gd name="T107" fmla="*/ 3 h 372"/>
                  <a:gd name="T108" fmla="*/ 154 w 282"/>
                  <a:gd name="T109" fmla="*/ 0 h 372"/>
                  <a:gd name="T110" fmla="*/ 158 w 282"/>
                  <a:gd name="T111" fmla="*/ 3 h 372"/>
                  <a:gd name="T112" fmla="*/ 165 w 282"/>
                  <a:gd name="T113" fmla="*/ 8 h 372"/>
                  <a:gd name="T114" fmla="*/ 171 w 282"/>
                  <a:gd name="T115" fmla="*/ 13 h 372"/>
                  <a:gd name="T116" fmla="*/ 179 w 282"/>
                  <a:gd name="T117" fmla="*/ 18 h 372"/>
                  <a:gd name="T118" fmla="*/ 181 w 282"/>
                  <a:gd name="T119" fmla="*/ 22 h 372"/>
                  <a:gd name="T120" fmla="*/ 186 w 282"/>
                  <a:gd name="T121" fmla="*/ 2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372">
                    <a:moveTo>
                      <a:pt x="216" y="26"/>
                    </a:moveTo>
                    <a:lnTo>
                      <a:pt x="216" y="32"/>
                    </a:lnTo>
                    <a:lnTo>
                      <a:pt x="216" y="47"/>
                    </a:lnTo>
                    <a:lnTo>
                      <a:pt x="234" y="70"/>
                    </a:lnTo>
                    <a:lnTo>
                      <a:pt x="242" y="78"/>
                    </a:lnTo>
                    <a:lnTo>
                      <a:pt x="242" y="110"/>
                    </a:lnTo>
                    <a:lnTo>
                      <a:pt x="248" y="110"/>
                    </a:lnTo>
                    <a:lnTo>
                      <a:pt x="257" y="110"/>
                    </a:lnTo>
                    <a:lnTo>
                      <a:pt x="257" y="111"/>
                    </a:lnTo>
                    <a:lnTo>
                      <a:pt x="258" y="122"/>
                    </a:lnTo>
                    <a:lnTo>
                      <a:pt x="258" y="142"/>
                    </a:lnTo>
                    <a:lnTo>
                      <a:pt x="258" y="144"/>
                    </a:lnTo>
                    <a:lnTo>
                      <a:pt x="258" y="145"/>
                    </a:lnTo>
                    <a:lnTo>
                      <a:pt x="258" y="149"/>
                    </a:lnTo>
                    <a:lnTo>
                      <a:pt x="259" y="150"/>
                    </a:lnTo>
                    <a:lnTo>
                      <a:pt x="259" y="151"/>
                    </a:lnTo>
                    <a:lnTo>
                      <a:pt x="260" y="152"/>
                    </a:lnTo>
                    <a:lnTo>
                      <a:pt x="260" y="153"/>
                    </a:lnTo>
                    <a:lnTo>
                      <a:pt x="260" y="154"/>
                    </a:lnTo>
                    <a:lnTo>
                      <a:pt x="261" y="155"/>
                    </a:lnTo>
                    <a:lnTo>
                      <a:pt x="262" y="156"/>
                    </a:lnTo>
                    <a:lnTo>
                      <a:pt x="263" y="156"/>
                    </a:lnTo>
                    <a:lnTo>
                      <a:pt x="264" y="157"/>
                    </a:lnTo>
                    <a:lnTo>
                      <a:pt x="265" y="157"/>
                    </a:lnTo>
                    <a:lnTo>
                      <a:pt x="266" y="158"/>
                    </a:lnTo>
                    <a:lnTo>
                      <a:pt x="268" y="158"/>
                    </a:lnTo>
                    <a:lnTo>
                      <a:pt x="270" y="160"/>
                    </a:lnTo>
                    <a:lnTo>
                      <a:pt x="271" y="160"/>
                    </a:lnTo>
                    <a:lnTo>
                      <a:pt x="272" y="161"/>
                    </a:lnTo>
                    <a:lnTo>
                      <a:pt x="273" y="162"/>
                    </a:lnTo>
                    <a:lnTo>
                      <a:pt x="274" y="162"/>
                    </a:lnTo>
                    <a:lnTo>
                      <a:pt x="274" y="163"/>
                    </a:lnTo>
                    <a:lnTo>
                      <a:pt x="274" y="164"/>
                    </a:lnTo>
                    <a:lnTo>
                      <a:pt x="275" y="164"/>
                    </a:lnTo>
                    <a:lnTo>
                      <a:pt x="275" y="165"/>
                    </a:lnTo>
                    <a:lnTo>
                      <a:pt x="276" y="165"/>
                    </a:lnTo>
                    <a:lnTo>
                      <a:pt x="276" y="166"/>
                    </a:lnTo>
                    <a:lnTo>
                      <a:pt x="277" y="166"/>
                    </a:lnTo>
                    <a:lnTo>
                      <a:pt x="278" y="166"/>
                    </a:lnTo>
                    <a:lnTo>
                      <a:pt x="278" y="167"/>
                    </a:lnTo>
                    <a:lnTo>
                      <a:pt x="279" y="167"/>
                    </a:lnTo>
                    <a:lnTo>
                      <a:pt x="281" y="167"/>
                    </a:lnTo>
                    <a:lnTo>
                      <a:pt x="282" y="167"/>
                    </a:lnTo>
                    <a:lnTo>
                      <a:pt x="282" y="169"/>
                    </a:lnTo>
                    <a:lnTo>
                      <a:pt x="282" y="170"/>
                    </a:lnTo>
                    <a:lnTo>
                      <a:pt x="282" y="171"/>
                    </a:lnTo>
                    <a:lnTo>
                      <a:pt x="282" y="186"/>
                    </a:lnTo>
                    <a:lnTo>
                      <a:pt x="282" y="187"/>
                    </a:lnTo>
                    <a:lnTo>
                      <a:pt x="282" y="188"/>
                    </a:lnTo>
                    <a:lnTo>
                      <a:pt x="282" y="215"/>
                    </a:lnTo>
                    <a:lnTo>
                      <a:pt x="282" y="227"/>
                    </a:lnTo>
                    <a:lnTo>
                      <a:pt x="282" y="228"/>
                    </a:lnTo>
                    <a:lnTo>
                      <a:pt x="282" y="230"/>
                    </a:lnTo>
                    <a:lnTo>
                      <a:pt x="282" y="234"/>
                    </a:lnTo>
                    <a:lnTo>
                      <a:pt x="282" y="233"/>
                    </a:lnTo>
                    <a:lnTo>
                      <a:pt x="281" y="232"/>
                    </a:lnTo>
                    <a:lnTo>
                      <a:pt x="281" y="233"/>
                    </a:lnTo>
                    <a:lnTo>
                      <a:pt x="279" y="233"/>
                    </a:lnTo>
                    <a:lnTo>
                      <a:pt x="279" y="234"/>
                    </a:lnTo>
                    <a:lnTo>
                      <a:pt x="279" y="235"/>
                    </a:lnTo>
                    <a:lnTo>
                      <a:pt x="278" y="237"/>
                    </a:lnTo>
                    <a:lnTo>
                      <a:pt x="278" y="239"/>
                    </a:lnTo>
                    <a:lnTo>
                      <a:pt x="277" y="240"/>
                    </a:lnTo>
                    <a:lnTo>
                      <a:pt x="275" y="240"/>
                    </a:lnTo>
                    <a:lnTo>
                      <a:pt x="274" y="239"/>
                    </a:lnTo>
                    <a:lnTo>
                      <a:pt x="273" y="240"/>
                    </a:lnTo>
                    <a:lnTo>
                      <a:pt x="272" y="241"/>
                    </a:lnTo>
                    <a:lnTo>
                      <a:pt x="271" y="241"/>
                    </a:lnTo>
                    <a:lnTo>
                      <a:pt x="271" y="242"/>
                    </a:lnTo>
                    <a:lnTo>
                      <a:pt x="270" y="242"/>
                    </a:lnTo>
                    <a:lnTo>
                      <a:pt x="270" y="244"/>
                    </a:lnTo>
                    <a:lnTo>
                      <a:pt x="269" y="244"/>
                    </a:lnTo>
                    <a:lnTo>
                      <a:pt x="268" y="245"/>
                    </a:lnTo>
                    <a:lnTo>
                      <a:pt x="266" y="246"/>
                    </a:lnTo>
                    <a:lnTo>
                      <a:pt x="265" y="246"/>
                    </a:lnTo>
                    <a:lnTo>
                      <a:pt x="264" y="246"/>
                    </a:lnTo>
                    <a:lnTo>
                      <a:pt x="264" y="247"/>
                    </a:lnTo>
                    <a:lnTo>
                      <a:pt x="264" y="248"/>
                    </a:lnTo>
                    <a:lnTo>
                      <a:pt x="264" y="251"/>
                    </a:lnTo>
                    <a:lnTo>
                      <a:pt x="264" y="253"/>
                    </a:lnTo>
                    <a:lnTo>
                      <a:pt x="264" y="254"/>
                    </a:lnTo>
                    <a:lnTo>
                      <a:pt x="263" y="255"/>
                    </a:lnTo>
                    <a:lnTo>
                      <a:pt x="263" y="256"/>
                    </a:lnTo>
                    <a:lnTo>
                      <a:pt x="263" y="257"/>
                    </a:lnTo>
                    <a:lnTo>
                      <a:pt x="262" y="257"/>
                    </a:lnTo>
                    <a:lnTo>
                      <a:pt x="262" y="258"/>
                    </a:lnTo>
                    <a:lnTo>
                      <a:pt x="263" y="259"/>
                    </a:lnTo>
                    <a:lnTo>
                      <a:pt x="263" y="260"/>
                    </a:lnTo>
                    <a:lnTo>
                      <a:pt x="262" y="262"/>
                    </a:lnTo>
                    <a:lnTo>
                      <a:pt x="262" y="263"/>
                    </a:lnTo>
                    <a:lnTo>
                      <a:pt x="262" y="265"/>
                    </a:lnTo>
                    <a:lnTo>
                      <a:pt x="262" y="266"/>
                    </a:lnTo>
                    <a:lnTo>
                      <a:pt x="262" y="267"/>
                    </a:lnTo>
                    <a:lnTo>
                      <a:pt x="262" y="268"/>
                    </a:lnTo>
                    <a:lnTo>
                      <a:pt x="262" y="269"/>
                    </a:lnTo>
                    <a:lnTo>
                      <a:pt x="262" y="270"/>
                    </a:lnTo>
                    <a:lnTo>
                      <a:pt x="261" y="270"/>
                    </a:lnTo>
                    <a:lnTo>
                      <a:pt x="261" y="271"/>
                    </a:lnTo>
                    <a:lnTo>
                      <a:pt x="260" y="272"/>
                    </a:lnTo>
                    <a:lnTo>
                      <a:pt x="259" y="272"/>
                    </a:lnTo>
                    <a:lnTo>
                      <a:pt x="259" y="273"/>
                    </a:lnTo>
                    <a:lnTo>
                      <a:pt x="258" y="273"/>
                    </a:lnTo>
                    <a:lnTo>
                      <a:pt x="258" y="275"/>
                    </a:lnTo>
                    <a:lnTo>
                      <a:pt x="258" y="276"/>
                    </a:lnTo>
                    <a:lnTo>
                      <a:pt x="258" y="277"/>
                    </a:lnTo>
                    <a:lnTo>
                      <a:pt x="258" y="304"/>
                    </a:lnTo>
                    <a:lnTo>
                      <a:pt x="258" y="309"/>
                    </a:lnTo>
                    <a:lnTo>
                      <a:pt x="257" y="309"/>
                    </a:lnTo>
                    <a:lnTo>
                      <a:pt x="253" y="309"/>
                    </a:lnTo>
                    <a:lnTo>
                      <a:pt x="242" y="309"/>
                    </a:lnTo>
                    <a:lnTo>
                      <a:pt x="235" y="309"/>
                    </a:lnTo>
                    <a:lnTo>
                      <a:pt x="226" y="309"/>
                    </a:lnTo>
                    <a:lnTo>
                      <a:pt x="226" y="316"/>
                    </a:lnTo>
                    <a:lnTo>
                      <a:pt x="226" y="327"/>
                    </a:lnTo>
                    <a:lnTo>
                      <a:pt x="226" y="330"/>
                    </a:lnTo>
                    <a:lnTo>
                      <a:pt x="217" y="330"/>
                    </a:lnTo>
                    <a:lnTo>
                      <a:pt x="208" y="330"/>
                    </a:lnTo>
                    <a:lnTo>
                      <a:pt x="196" y="330"/>
                    </a:lnTo>
                    <a:lnTo>
                      <a:pt x="190" y="330"/>
                    </a:lnTo>
                    <a:lnTo>
                      <a:pt x="167" y="330"/>
                    </a:lnTo>
                    <a:lnTo>
                      <a:pt x="165" y="330"/>
                    </a:lnTo>
                    <a:lnTo>
                      <a:pt x="160" y="330"/>
                    </a:lnTo>
                    <a:lnTo>
                      <a:pt x="158" y="330"/>
                    </a:lnTo>
                    <a:lnTo>
                      <a:pt x="139" y="330"/>
                    </a:lnTo>
                    <a:lnTo>
                      <a:pt x="133" y="330"/>
                    </a:lnTo>
                    <a:lnTo>
                      <a:pt x="133" y="331"/>
                    </a:lnTo>
                    <a:lnTo>
                      <a:pt x="132" y="331"/>
                    </a:lnTo>
                    <a:lnTo>
                      <a:pt x="131" y="330"/>
                    </a:lnTo>
                    <a:lnTo>
                      <a:pt x="130" y="330"/>
                    </a:lnTo>
                    <a:lnTo>
                      <a:pt x="130" y="331"/>
                    </a:lnTo>
                    <a:lnTo>
                      <a:pt x="129" y="331"/>
                    </a:lnTo>
                    <a:lnTo>
                      <a:pt x="128" y="331"/>
                    </a:lnTo>
                    <a:lnTo>
                      <a:pt x="128" y="332"/>
                    </a:lnTo>
                    <a:lnTo>
                      <a:pt x="127" y="331"/>
                    </a:lnTo>
                    <a:lnTo>
                      <a:pt x="127" y="330"/>
                    </a:lnTo>
                    <a:lnTo>
                      <a:pt x="127" y="331"/>
                    </a:lnTo>
                    <a:lnTo>
                      <a:pt x="126" y="332"/>
                    </a:lnTo>
                    <a:lnTo>
                      <a:pt x="127" y="332"/>
                    </a:lnTo>
                    <a:lnTo>
                      <a:pt x="126" y="332"/>
                    </a:lnTo>
                    <a:lnTo>
                      <a:pt x="126" y="333"/>
                    </a:lnTo>
                    <a:lnTo>
                      <a:pt x="124" y="333"/>
                    </a:lnTo>
                    <a:lnTo>
                      <a:pt x="123" y="334"/>
                    </a:lnTo>
                    <a:lnTo>
                      <a:pt x="123" y="333"/>
                    </a:lnTo>
                    <a:lnTo>
                      <a:pt x="122" y="332"/>
                    </a:lnTo>
                    <a:lnTo>
                      <a:pt x="121" y="332"/>
                    </a:lnTo>
                    <a:lnTo>
                      <a:pt x="120" y="332"/>
                    </a:lnTo>
                    <a:lnTo>
                      <a:pt x="119" y="332"/>
                    </a:lnTo>
                    <a:lnTo>
                      <a:pt x="119" y="333"/>
                    </a:lnTo>
                    <a:lnTo>
                      <a:pt x="118" y="333"/>
                    </a:lnTo>
                    <a:lnTo>
                      <a:pt x="117" y="334"/>
                    </a:lnTo>
                    <a:lnTo>
                      <a:pt x="117" y="333"/>
                    </a:lnTo>
                    <a:lnTo>
                      <a:pt x="116" y="333"/>
                    </a:lnTo>
                    <a:lnTo>
                      <a:pt x="116" y="334"/>
                    </a:lnTo>
                    <a:lnTo>
                      <a:pt x="115" y="333"/>
                    </a:lnTo>
                    <a:lnTo>
                      <a:pt x="114" y="334"/>
                    </a:lnTo>
                    <a:lnTo>
                      <a:pt x="114" y="333"/>
                    </a:lnTo>
                    <a:lnTo>
                      <a:pt x="113" y="333"/>
                    </a:lnTo>
                    <a:lnTo>
                      <a:pt x="113" y="334"/>
                    </a:lnTo>
                    <a:lnTo>
                      <a:pt x="111" y="334"/>
                    </a:lnTo>
                    <a:lnTo>
                      <a:pt x="111" y="335"/>
                    </a:lnTo>
                    <a:lnTo>
                      <a:pt x="111" y="336"/>
                    </a:lnTo>
                    <a:lnTo>
                      <a:pt x="111" y="335"/>
                    </a:lnTo>
                    <a:lnTo>
                      <a:pt x="110" y="336"/>
                    </a:lnTo>
                    <a:lnTo>
                      <a:pt x="110" y="337"/>
                    </a:lnTo>
                    <a:lnTo>
                      <a:pt x="110" y="338"/>
                    </a:lnTo>
                    <a:lnTo>
                      <a:pt x="109" y="338"/>
                    </a:lnTo>
                    <a:lnTo>
                      <a:pt x="109" y="337"/>
                    </a:lnTo>
                    <a:lnTo>
                      <a:pt x="109" y="338"/>
                    </a:lnTo>
                    <a:lnTo>
                      <a:pt x="108" y="338"/>
                    </a:lnTo>
                    <a:lnTo>
                      <a:pt x="107" y="338"/>
                    </a:lnTo>
                    <a:lnTo>
                      <a:pt x="107" y="337"/>
                    </a:lnTo>
                    <a:lnTo>
                      <a:pt x="106" y="337"/>
                    </a:lnTo>
                    <a:lnTo>
                      <a:pt x="106" y="338"/>
                    </a:lnTo>
                    <a:lnTo>
                      <a:pt x="107" y="338"/>
                    </a:lnTo>
                    <a:lnTo>
                      <a:pt x="107" y="340"/>
                    </a:lnTo>
                    <a:lnTo>
                      <a:pt x="106" y="341"/>
                    </a:lnTo>
                    <a:lnTo>
                      <a:pt x="105" y="341"/>
                    </a:lnTo>
                    <a:lnTo>
                      <a:pt x="106" y="342"/>
                    </a:lnTo>
                    <a:lnTo>
                      <a:pt x="106" y="343"/>
                    </a:lnTo>
                    <a:lnTo>
                      <a:pt x="106" y="344"/>
                    </a:lnTo>
                    <a:lnTo>
                      <a:pt x="105" y="344"/>
                    </a:lnTo>
                    <a:lnTo>
                      <a:pt x="106" y="344"/>
                    </a:lnTo>
                    <a:lnTo>
                      <a:pt x="106" y="345"/>
                    </a:lnTo>
                    <a:lnTo>
                      <a:pt x="105" y="345"/>
                    </a:lnTo>
                    <a:lnTo>
                      <a:pt x="105" y="346"/>
                    </a:lnTo>
                    <a:lnTo>
                      <a:pt x="105" y="347"/>
                    </a:lnTo>
                    <a:lnTo>
                      <a:pt x="104" y="347"/>
                    </a:lnTo>
                    <a:lnTo>
                      <a:pt x="103" y="348"/>
                    </a:lnTo>
                    <a:lnTo>
                      <a:pt x="104" y="349"/>
                    </a:lnTo>
                    <a:lnTo>
                      <a:pt x="104" y="350"/>
                    </a:lnTo>
                    <a:lnTo>
                      <a:pt x="104" y="352"/>
                    </a:lnTo>
                    <a:lnTo>
                      <a:pt x="103" y="352"/>
                    </a:lnTo>
                    <a:lnTo>
                      <a:pt x="103" y="353"/>
                    </a:lnTo>
                    <a:lnTo>
                      <a:pt x="104" y="354"/>
                    </a:lnTo>
                    <a:lnTo>
                      <a:pt x="103" y="354"/>
                    </a:lnTo>
                    <a:lnTo>
                      <a:pt x="104" y="355"/>
                    </a:lnTo>
                    <a:lnTo>
                      <a:pt x="103" y="355"/>
                    </a:lnTo>
                    <a:lnTo>
                      <a:pt x="103" y="356"/>
                    </a:lnTo>
                    <a:lnTo>
                      <a:pt x="104" y="356"/>
                    </a:lnTo>
                    <a:lnTo>
                      <a:pt x="104" y="357"/>
                    </a:lnTo>
                    <a:lnTo>
                      <a:pt x="104" y="358"/>
                    </a:lnTo>
                    <a:lnTo>
                      <a:pt x="103" y="358"/>
                    </a:lnTo>
                    <a:lnTo>
                      <a:pt x="103" y="359"/>
                    </a:lnTo>
                    <a:lnTo>
                      <a:pt x="103" y="360"/>
                    </a:lnTo>
                    <a:lnTo>
                      <a:pt x="103" y="361"/>
                    </a:lnTo>
                    <a:lnTo>
                      <a:pt x="102" y="361"/>
                    </a:lnTo>
                    <a:lnTo>
                      <a:pt x="101" y="361"/>
                    </a:lnTo>
                    <a:lnTo>
                      <a:pt x="100" y="362"/>
                    </a:lnTo>
                    <a:lnTo>
                      <a:pt x="98" y="362"/>
                    </a:lnTo>
                    <a:lnTo>
                      <a:pt x="98" y="361"/>
                    </a:lnTo>
                    <a:lnTo>
                      <a:pt x="97" y="361"/>
                    </a:lnTo>
                    <a:lnTo>
                      <a:pt x="96" y="361"/>
                    </a:lnTo>
                    <a:lnTo>
                      <a:pt x="95" y="361"/>
                    </a:lnTo>
                    <a:lnTo>
                      <a:pt x="94" y="361"/>
                    </a:lnTo>
                    <a:lnTo>
                      <a:pt x="94" y="362"/>
                    </a:lnTo>
                    <a:lnTo>
                      <a:pt x="95" y="362"/>
                    </a:lnTo>
                    <a:lnTo>
                      <a:pt x="94" y="362"/>
                    </a:lnTo>
                    <a:lnTo>
                      <a:pt x="94" y="363"/>
                    </a:lnTo>
                    <a:lnTo>
                      <a:pt x="93" y="363"/>
                    </a:lnTo>
                    <a:lnTo>
                      <a:pt x="92" y="363"/>
                    </a:lnTo>
                    <a:lnTo>
                      <a:pt x="92" y="365"/>
                    </a:lnTo>
                    <a:lnTo>
                      <a:pt x="91" y="363"/>
                    </a:lnTo>
                    <a:lnTo>
                      <a:pt x="91" y="365"/>
                    </a:lnTo>
                    <a:lnTo>
                      <a:pt x="91" y="366"/>
                    </a:lnTo>
                    <a:lnTo>
                      <a:pt x="90" y="366"/>
                    </a:lnTo>
                    <a:lnTo>
                      <a:pt x="90" y="367"/>
                    </a:lnTo>
                    <a:lnTo>
                      <a:pt x="89" y="367"/>
                    </a:lnTo>
                    <a:lnTo>
                      <a:pt x="89" y="368"/>
                    </a:lnTo>
                    <a:lnTo>
                      <a:pt x="88" y="368"/>
                    </a:lnTo>
                    <a:lnTo>
                      <a:pt x="88" y="369"/>
                    </a:lnTo>
                    <a:lnTo>
                      <a:pt x="87" y="369"/>
                    </a:lnTo>
                    <a:lnTo>
                      <a:pt x="87" y="370"/>
                    </a:lnTo>
                    <a:lnTo>
                      <a:pt x="85" y="371"/>
                    </a:lnTo>
                    <a:lnTo>
                      <a:pt x="85" y="372"/>
                    </a:lnTo>
                    <a:lnTo>
                      <a:pt x="81" y="371"/>
                    </a:lnTo>
                    <a:lnTo>
                      <a:pt x="80" y="372"/>
                    </a:lnTo>
                    <a:lnTo>
                      <a:pt x="65" y="372"/>
                    </a:lnTo>
                    <a:lnTo>
                      <a:pt x="31" y="371"/>
                    </a:lnTo>
                    <a:lnTo>
                      <a:pt x="28" y="371"/>
                    </a:lnTo>
                    <a:lnTo>
                      <a:pt x="8" y="371"/>
                    </a:lnTo>
                    <a:lnTo>
                      <a:pt x="7" y="371"/>
                    </a:lnTo>
                    <a:lnTo>
                      <a:pt x="3" y="371"/>
                    </a:lnTo>
                    <a:lnTo>
                      <a:pt x="2" y="371"/>
                    </a:lnTo>
                    <a:lnTo>
                      <a:pt x="1" y="371"/>
                    </a:lnTo>
                    <a:lnTo>
                      <a:pt x="0" y="371"/>
                    </a:lnTo>
                    <a:lnTo>
                      <a:pt x="0" y="370"/>
                    </a:lnTo>
                    <a:lnTo>
                      <a:pt x="0" y="369"/>
                    </a:lnTo>
                    <a:lnTo>
                      <a:pt x="1" y="369"/>
                    </a:lnTo>
                    <a:lnTo>
                      <a:pt x="1" y="370"/>
                    </a:lnTo>
                    <a:lnTo>
                      <a:pt x="2" y="370"/>
                    </a:lnTo>
                    <a:lnTo>
                      <a:pt x="2" y="369"/>
                    </a:lnTo>
                    <a:lnTo>
                      <a:pt x="2" y="368"/>
                    </a:lnTo>
                    <a:lnTo>
                      <a:pt x="2" y="367"/>
                    </a:lnTo>
                    <a:lnTo>
                      <a:pt x="2" y="366"/>
                    </a:lnTo>
                    <a:lnTo>
                      <a:pt x="3" y="366"/>
                    </a:lnTo>
                    <a:lnTo>
                      <a:pt x="4" y="366"/>
                    </a:lnTo>
                    <a:lnTo>
                      <a:pt x="4" y="365"/>
                    </a:lnTo>
                    <a:lnTo>
                      <a:pt x="5" y="365"/>
                    </a:lnTo>
                    <a:lnTo>
                      <a:pt x="5" y="363"/>
                    </a:lnTo>
                    <a:lnTo>
                      <a:pt x="5" y="362"/>
                    </a:lnTo>
                    <a:lnTo>
                      <a:pt x="6" y="362"/>
                    </a:lnTo>
                    <a:lnTo>
                      <a:pt x="6" y="361"/>
                    </a:lnTo>
                    <a:lnTo>
                      <a:pt x="5" y="361"/>
                    </a:lnTo>
                    <a:lnTo>
                      <a:pt x="5" y="360"/>
                    </a:lnTo>
                    <a:lnTo>
                      <a:pt x="6" y="360"/>
                    </a:lnTo>
                    <a:lnTo>
                      <a:pt x="6" y="359"/>
                    </a:lnTo>
                    <a:lnTo>
                      <a:pt x="6" y="358"/>
                    </a:lnTo>
                    <a:lnTo>
                      <a:pt x="7" y="357"/>
                    </a:lnTo>
                    <a:lnTo>
                      <a:pt x="8" y="357"/>
                    </a:lnTo>
                    <a:lnTo>
                      <a:pt x="10" y="357"/>
                    </a:lnTo>
                    <a:lnTo>
                      <a:pt x="10" y="356"/>
                    </a:lnTo>
                    <a:lnTo>
                      <a:pt x="8" y="356"/>
                    </a:lnTo>
                    <a:lnTo>
                      <a:pt x="8" y="355"/>
                    </a:lnTo>
                    <a:lnTo>
                      <a:pt x="10" y="355"/>
                    </a:lnTo>
                    <a:lnTo>
                      <a:pt x="10" y="354"/>
                    </a:lnTo>
                    <a:lnTo>
                      <a:pt x="11" y="354"/>
                    </a:lnTo>
                    <a:lnTo>
                      <a:pt x="12" y="353"/>
                    </a:lnTo>
                    <a:lnTo>
                      <a:pt x="11" y="353"/>
                    </a:lnTo>
                    <a:lnTo>
                      <a:pt x="10" y="353"/>
                    </a:lnTo>
                    <a:lnTo>
                      <a:pt x="11" y="352"/>
                    </a:lnTo>
                    <a:lnTo>
                      <a:pt x="11" y="350"/>
                    </a:lnTo>
                    <a:lnTo>
                      <a:pt x="10" y="350"/>
                    </a:lnTo>
                    <a:lnTo>
                      <a:pt x="10" y="349"/>
                    </a:lnTo>
                    <a:lnTo>
                      <a:pt x="11" y="349"/>
                    </a:lnTo>
                    <a:lnTo>
                      <a:pt x="11" y="348"/>
                    </a:lnTo>
                    <a:lnTo>
                      <a:pt x="10" y="348"/>
                    </a:lnTo>
                    <a:lnTo>
                      <a:pt x="8" y="348"/>
                    </a:lnTo>
                    <a:lnTo>
                      <a:pt x="10" y="348"/>
                    </a:lnTo>
                    <a:lnTo>
                      <a:pt x="10" y="347"/>
                    </a:lnTo>
                    <a:lnTo>
                      <a:pt x="8" y="347"/>
                    </a:lnTo>
                    <a:lnTo>
                      <a:pt x="8" y="348"/>
                    </a:lnTo>
                    <a:lnTo>
                      <a:pt x="8" y="347"/>
                    </a:lnTo>
                    <a:lnTo>
                      <a:pt x="8" y="346"/>
                    </a:lnTo>
                    <a:lnTo>
                      <a:pt x="7" y="346"/>
                    </a:lnTo>
                    <a:lnTo>
                      <a:pt x="6" y="345"/>
                    </a:lnTo>
                    <a:lnTo>
                      <a:pt x="5" y="345"/>
                    </a:lnTo>
                    <a:lnTo>
                      <a:pt x="5" y="344"/>
                    </a:lnTo>
                    <a:lnTo>
                      <a:pt x="6" y="344"/>
                    </a:lnTo>
                    <a:lnTo>
                      <a:pt x="6" y="343"/>
                    </a:lnTo>
                    <a:lnTo>
                      <a:pt x="7" y="343"/>
                    </a:lnTo>
                    <a:lnTo>
                      <a:pt x="8" y="343"/>
                    </a:lnTo>
                    <a:lnTo>
                      <a:pt x="7" y="343"/>
                    </a:lnTo>
                    <a:lnTo>
                      <a:pt x="8" y="343"/>
                    </a:lnTo>
                    <a:lnTo>
                      <a:pt x="8" y="342"/>
                    </a:lnTo>
                    <a:lnTo>
                      <a:pt x="7" y="342"/>
                    </a:lnTo>
                    <a:lnTo>
                      <a:pt x="7" y="341"/>
                    </a:lnTo>
                    <a:lnTo>
                      <a:pt x="8" y="341"/>
                    </a:lnTo>
                    <a:lnTo>
                      <a:pt x="8" y="340"/>
                    </a:lnTo>
                    <a:lnTo>
                      <a:pt x="10" y="340"/>
                    </a:lnTo>
                    <a:lnTo>
                      <a:pt x="11" y="340"/>
                    </a:lnTo>
                    <a:lnTo>
                      <a:pt x="10" y="338"/>
                    </a:lnTo>
                    <a:lnTo>
                      <a:pt x="11" y="337"/>
                    </a:lnTo>
                    <a:lnTo>
                      <a:pt x="12" y="337"/>
                    </a:lnTo>
                    <a:lnTo>
                      <a:pt x="13" y="337"/>
                    </a:lnTo>
                    <a:lnTo>
                      <a:pt x="14" y="336"/>
                    </a:lnTo>
                    <a:lnTo>
                      <a:pt x="14" y="337"/>
                    </a:lnTo>
                    <a:lnTo>
                      <a:pt x="15" y="337"/>
                    </a:lnTo>
                    <a:lnTo>
                      <a:pt x="15" y="336"/>
                    </a:lnTo>
                    <a:lnTo>
                      <a:pt x="16" y="336"/>
                    </a:lnTo>
                    <a:lnTo>
                      <a:pt x="16" y="337"/>
                    </a:lnTo>
                    <a:lnTo>
                      <a:pt x="17" y="336"/>
                    </a:lnTo>
                    <a:lnTo>
                      <a:pt x="17" y="335"/>
                    </a:lnTo>
                    <a:lnTo>
                      <a:pt x="17" y="334"/>
                    </a:lnTo>
                    <a:lnTo>
                      <a:pt x="17" y="333"/>
                    </a:lnTo>
                    <a:lnTo>
                      <a:pt x="18" y="333"/>
                    </a:lnTo>
                    <a:lnTo>
                      <a:pt x="19" y="333"/>
                    </a:lnTo>
                    <a:lnTo>
                      <a:pt x="20" y="333"/>
                    </a:lnTo>
                    <a:lnTo>
                      <a:pt x="20" y="332"/>
                    </a:lnTo>
                    <a:lnTo>
                      <a:pt x="20" y="331"/>
                    </a:lnTo>
                    <a:lnTo>
                      <a:pt x="20" y="330"/>
                    </a:lnTo>
                    <a:lnTo>
                      <a:pt x="19" y="330"/>
                    </a:lnTo>
                    <a:lnTo>
                      <a:pt x="19" y="331"/>
                    </a:lnTo>
                    <a:lnTo>
                      <a:pt x="19" y="330"/>
                    </a:lnTo>
                    <a:lnTo>
                      <a:pt x="19" y="329"/>
                    </a:lnTo>
                    <a:lnTo>
                      <a:pt x="20" y="328"/>
                    </a:lnTo>
                    <a:lnTo>
                      <a:pt x="20" y="327"/>
                    </a:lnTo>
                    <a:lnTo>
                      <a:pt x="20" y="325"/>
                    </a:lnTo>
                    <a:lnTo>
                      <a:pt x="21" y="325"/>
                    </a:lnTo>
                    <a:lnTo>
                      <a:pt x="23" y="325"/>
                    </a:lnTo>
                    <a:lnTo>
                      <a:pt x="24" y="325"/>
                    </a:lnTo>
                    <a:lnTo>
                      <a:pt x="25" y="325"/>
                    </a:lnTo>
                    <a:lnTo>
                      <a:pt x="24" y="324"/>
                    </a:lnTo>
                    <a:lnTo>
                      <a:pt x="24" y="323"/>
                    </a:lnTo>
                    <a:lnTo>
                      <a:pt x="23" y="323"/>
                    </a:lnTo>
                    <a:lnTo>
                      <a:pt x="24" y="322"/>
                    </a:lnTo>
                    <a:lnTo>
                      <a:pt x="25" y="323"/>
                    </a:lnTo>
                    <a:lnTo>
                      <a:pt x="25" y="322"/>
                    </a:lnTo>
                    <a:lnTo>
                      <a:pt x="24" y="321"/>
                    </a:lnTo>
                    <a:lnTo>
                      <a:pt x="25" y="321"/>
                    </a:lnTo>
                    <a:lnTo>
                      <a:pt x="25" y="320"/>
                    </a:lnTo>
                    <a:lnTo>
                      <a:pt x="24" y="320"/>
                    </a:lnTo>
                    <a:lnTo>
                      <a:pt x="24" y="319"/>
                    </a:lnTo>
                    <a:lnTo>
                      <a:pt x="24" y="318"/>
                    </a:lnTo>
                    <a:lnTo>
                      <a:pt x="24" y="317"/>
                    </a:lnTo>
                    <a:lnTo>
                      <a:pt x="25" y="317"/>
                    </a:lnTo>
                    <a:lnTo>
                      <a:pt x="26" y="318"/>
                    </a:lnTo>
                    <a:lnTo>
                      <a:pt x="26" y="319"/>
                    </a:lnTo>
                    <a:lnTo>
                      <a:pt x="27" y="318"/>
                    </a:lnTo>
                    <a:lnTo>
                      <a:pt x="27" y="317"/>
                    </a:lnTo>
                    <a:lnTo>
                      <a:pt x="28" y="317"/>
                    </a:lnTo>
                    <a:lnTo>
                      <a:pt x="29" y="316"/>
                    </a:lnTo>
                    <a:lnTo>
                      <a:pt x="29" y="315"/>
                    </a:lnTo>
                    <a:lnTo>
                      <a:pt x="28" y="314"/>
                    </a:lnTo>
                    <a:lnTo>
                      <a:pt x="29" y="314"/>
                    </a:lnTo>
                    <a:lnTo>
                      <a:pt x="30" y="314"/>
                    </a:lnTo>
                    <a:lnTo>
                      <a:pt x="30" y="312"/>
                    </a:lnTo>
                    <a:lnTo>
                      <a:pt x="29" y="312"/>
                    </a:lnTo>
                    <a:lnTo>
                      <a:pt x="29" y="311"/>
                    </a:lnTo>
                    <a:lnTo>
                      <a:pt x="30" y="311"/>
                    </a:lnTo>
                    <a:lnTo>
                      <a:pt x="30" y="310"/>
                    </a:lnTo>
                    <a:lnTo>
                      <a:pt x="30" y="309"/>
                    </a:lnTo>
                    <a:lnTo>
                      <a:pt x="29" y="309"/>
                    </a:lnTo>
                    <a:lnTo>
                      <a:pt x="30" y="308"/>
                    </a:lnTo>
                    <a:lnTo>
                      <a:pt x="29" y="307"/>
                    </a:lnTo>
                    <a:lnTo>
                      <a:pt x="28" y="307"/>
                    </a:lnTo>
                    <a:lnTo>
                      <a:pt x="27" y="307"/>
                    </a:lnTo>
                    <a:lnTo>
                      <a:pt x="26" y="306"/>
                    </a:lnTo>
                    <a:lnTo>
                      <a:pt x="26" y="305"/>
                    </a:lnTo>
                    <a:lnTo>
                      <a:pt x="26" y="304"/>
                    </a:lnTo>
                    <a:lnTo>
                      <a:pt x="26" y="303"/>
                    </a:lnTo>
                    <a:lnTo>
                      <a:pt x="25" y="303"/>
                    </a:lnTo>
                    <a:lnTo>
                      <a:pt x="25" y="302"/>
                    </a:lnTo>
                    <a:lnTo>
                      <a:pt x="24" y="301"/>
                    </a:lnTo>
                    <a:lnTo>
                      <a:pt x="23" y="301"/>
                    </a:lnTo>
                    <a:lnTo>
                      <a:pt x="23" y="299"/>
                    </a:lnTo>
                    <a:lnTo>
                      <a:pt x="21" y="299"/>
                    </a:lnTo>
                    <a:lnTo>
                      <a:pt x="21" y="269"/>
                    </a:lnTo>
                    <a:lnTo>
                      <a:pt x="21" y="257"/>
                    </a:lnTo>
                    <a:lnTo>
                      <a:pt x="21" y="224"/>
                    </a:lnTo>
                    <a:lnTo>
                      <a:pt x="21" y="205"/>
                    </a:lnTo>
                    <a:lnTo>
                      <a:pt x="21" y="198"/>
                    </a:lnTo>
                    <a:lnTo>
                      <a:pt x="21" y="185"/>
                    </a:lnTo>
                    <a:lnTo>
                      <a:pt x="21" y="180"/>
                    </a:lnTo>
                    <a:lnTo>
                      <a:pt x="21" y="152"/>
                    </a:lnTo>
                    <a:lnTo>
                      <a:pt x="21" y="115"/>
                    </a:lnTo>
                    <a:lnTo>
                      <a:pt x="21" y="92"/>
                    </a:lnTo>
                    <a:lnTo>
                      <a:pt x="21" y="89"/>
                    </a:lnTo>
                    <a:lnTo>
                      <a:pt x="21" y="84"/>
                    </a:lnTo>
                    <a:lnTo>
                      <a:pt x="21" y="79"/>
                    </a:lnTo>
                    <a:lnTo>
                      <a:pt x="21" y="76"/>
                    </a:lnTo>
                    <a:lnTo>
                      <a:pt x="32" y="75"/>
                    </a:lnTo>
                    <a:lnTo>
                      <a:pt x="44" y="74"/>
                    </a:lnTo>
                    <a:lnTo>
                      <a:pt x="43" y="74"/>
                    </a:lnTo>
                    <a:lnTo>
                      <a:pt x="44" y="74"/>
                    </a:lnTo>
                    <a:lnTo>
                      <a:pt x="44" y="73"/>
                    </a:lnTo>
                    <a:lnTo>
                      <a:pt x="45" y="74"/>
                    </a:lnTo>
                    <a:lnTo>
                      <a:pt x="45" y="73"/>
                    </a:lnTo>
                    <a:lnTo>
                      <a:pt x="46" y="73"/>
                    </a:lnTo>
                    <a:lnTo>
                      <a:pt x="48" y="73"/>
                    </a:lnTo>
                    <a:lnTo>
                      <a:pt x="48" y="72"/>
                    </a:lnTo>
                    <a:lnTo>
                      <a:pt x="48" y="73"/>
                    </a:lnTo>
                    <a:lnTo>
                      <a:pt x="49" y="73"/>
                    </a:lnTo>
                    <a:lnTo>
                      <a:pt x="49" y="72"/>
                    </a:lnTo>
                    <a:lnTo>
                      <a:pt x="50" y="72"/>
                    </a:lnTo>
                    <a:lnTo>
                      <a:pt x="50" y="71"/>
                    </a:lnTo>
                    <a:lnTo>
                      <a:pt x="51" y="71"/>
                    </a:lnTo>
                    <a:lnTo>
                      <a:pt x="52" y="71"/>
                    </a:lnTo>
                    <a:lnTo>
                      <a:pt x="53" y="72"/>
                    </a:lnTo>
                    <a:lnTo>
                      <a:pt x="54" y="72"/>
                    </a:lnTo>
                    <a:lnTo>
                      <a:pt x="54" y="73"/>
                    </a:lnTo>
                    <a:lnTo>
                      <a:pt x="53" y="73"/>
                    </a:lnTo>
                    <a:lnTo>
                      <a:pt x="54" y="73"/>
                    </a:lnTo>
                    <a:lnTo>
                      <a:pt x="54" y="74"/>
                    </a:lnTo>
                    <a:lnTo>
                      <a:pt x="55" y="74"/>
                    </a:lnTo>
                    <a:lnTo>
                      <a:pt x="56" y="74"/>
                    </a:lnTo>
                    <a:lnTo>
                      <a:pt x="57" y="74"/>
                    </a:lnTo>
                    <a:lnTo>
                      <a:pt x="58" y="74"/>
                    </a:lnTo>
                    <a:lnTo>
                      <a:pt x="58" y="73"/>
                    </a:lnTo>
                    <a:lnTo>
                      <a:pt x="58" y="74"/>
                    </a:lnTo>
                    <a:lnTo>
                      <a:pt x="59" y="74"/>
                    </a:lnTo>
                    <a:lnTo>
                      <a:pt x="58" y="74"/>
                    </a:lnTo>
                    <a:lnTo>
                      <a:pt x="59" y="74"/>
                    </a:lnTo>
                    <a:lnTo>
                      <a:pt x="61" y="74"/>
                    </a:lnTo>
                    <a:lnTo>
                      <a:pt x="62" y="74"/>
                    </a:lnTo>
                    <a:lnTo>
                      <a:pt x="63" y="73"/>
                    </a:lnTo>
                    <a:lnTo>
                      <a:pt x="63" y="74"/>
                    </a:lnTo>
                    <a:lnTo>
                      <a:pt x="64" y="73"/>
                    </a:lnTo>
                    <a:lnTo>
                      <a:pt x="64" y="74"/>
                    </a:lnTo>
                    <a:lnTo>
                      <a:pt x="65" y="74"/>
                    </a:lnTo>
                    <a:lnTo>
                      <a:pt x="65" y="73"/>
                    </a:lnTo>
                    <a:lnTo>
                      <a:pt x="65" y="74"/>
                    </a:lnTo>
                    <a:lnTo>
                      <a:pt x="65" y="75"/>
                    </a:lnTo>
                    <a:lnTo>
                      <a:pt x="65" y="76"/>
                    </a:lnTo>
                    <a:lnTo>
                      <a:pt x="66" y="76"/>
                    </a:lnTo>
                    <a:lnTo>
                      <a:pt x="66" y="77"/>
                    </a:lnTo>
                    <a:lnTo>
                      <a:pt x="65" y="77"/>
                    </a:lnTo>
                    <a:lnTo>
                      <a:pt x="66" y="77"/>
                    </a:lnTo>
                    <a:lnTo>
                      <a:pt x="67" y="77"/>
                    </a:lnTo>
                    <a:lnTo>
                      <a:pt x="68" y="77"/>
                    </a:lnTo>
                    <a:lnTo>
                      <a:pt x="69" y="77"/>
                    </a:lnTo>
                    <a:lnTo>
                      <a:pt x="69" y="78"/>
                    </a:lnTo>
                    <a:lnTo>
                      <a:pt x="70" y="77"/>
                    </a:lnTo>
                    <a:lnTo>
                      <a:pt x="70" y="76"/>
                    </a:lnTo>
                    <a:lnTo>
                      <a:pt x="71" y="76"/>
                    </a:lnTo>
                    <a:lnTo>
                      <a:pt x="72" y="76"/>
                    </a:lnTo>
                    <a:lnTo>
                      <a:pt x="74" y="75"/>
                    </a:lnTo>
                    <a:lnTo>
                      <a:pt x="74" y="76"/>
                    </a:lnTo>
                    <a:lnTo>
                      <a:pt x="75" y="76"/>
                    </a:lnTo>
                    <a:lnTo>
                      <a:pt x="75" y="75"/>
                    </a:lnTo>
                    <a:lnTo>
                      <a:pt x="76" y="75"/>
                    </a:lnTo>
                    <a:lnTo>
                      <a:pt x="75" y="75"/>
                    </a:lnTo>
                    <a:lnTo>
                      <a:pt x="76" y="76"/>
                    </a:lnTo>
                    <a:lnTo>
                      <a:pt x="76" y="75"/>
                    </a:lnTo>
                    <a:lnTo>
                      <a:pt x="76" y="76"/>
                    </a:lnTo>
                    <a:lnTo>
                      <a:pt x="76" y="75"/>
                    </a:lnTo>
                    <a:lnTo>
                      <a:pt x="77" y="75"/>
                    </a:lnTo>
                    <a:lnTo>
                      <a:pt x="78" y="75"/>
                    </a:lnTo>
                    <a:lnTo>
                      <a:pt x="78" y="74"/>
                    </a:lnTo>
                    <a:lnTo>
                      <a:pt x="79" y="74"/>
                    </a:lnTo>
                    <a:lnTo>
                      <a:pt x="80" y="74"/>
                    </a:lnTo>
                    <a:lnTo>
                      <a:pt x="80" y="73"/>
                    </a:lnTo>
                    <a:lnTo>
                      <a:pt x="81" y="74"/>
                    </a:lnTo>
                    <a:lnTo>
                      <a:pt x="81" y="73"/>
                    </a:lnTo>
                    <a:lnTo>
                      <a:pt x="82" y="73"/>
                    </a:lnTo>
                    <a:lnTo>
                      <a:pt x="82" y="72"/>
                    </a:lnTo>
                    <a:lnTo>
                      <a:pt x="83" y="72"/>
                    </a:lnTo>
                    <a:lnTo>
                      <a:pt x="84" y="71"/>
                    </a:lnTo>
                    <a:lnTo>
                      <a:pt x="84" y="72"/>
                    </a:lnTo>
                    <a:lnTo>
                      <a:pt x="84" y="71"/>
                    </a:lnTo>
                    <a:lnTo>
                      <a:pt x="83" y="71"/>
                    </a:lnTo>
                    <a:lnTo>
                      <a:pt x="84" y="70"/>
                    </a:lnTo>
                    <a:lnTo>
                      <a:pt x="85" y="70"/>
                    </a:lnTo>
                    <a:lnTo>
                      <a:pt x="85" y="68"/>
                    </a:lnTo>
                    <a:lnTo>
                      <a:pt x="87" y="68"/>
                    </a:lnTo>
                    <a:lnTo>
                      <a:pt x="88" y="67"/>
                    </a:lnTo>
                    <a:lnTo>
                      <a:pt x="89" y="67"/>
                    </a:lnTo>
                    <a:lnTo>
                      <a:pt x="89" y="66"/>
                    </a:lnTo>
                    <a:lnTo>
                      <a:pt x="89" y="67"/>
                    </a:lnTo>
                    <a:lnTo>
                      <a:pt x="89" y="66"/>
                    </a:lnTo>
                    <a:lnTo>
                      <a:pt x="89" y="65"/>
                    </a:lnTo>
                    <a:lnTo>
                      <a:pt x="90" y="65"/>
                    </a:lnTo>
                    <a:lnTo>
                      <a:pt x="90" y="64"/>
                    </a:lnTo>
                    <a:lnTo>
                      <a:pt x="91" y="64"/>
                    </a:lnTo>
                    <a:lnTo>
                      <a:pt x="92" y="63"/>
                    </a:lnTo>
                    <a:lnTo>
                      <a:pt x="92" y="62"/>
                    </a:lnTo>
                    <a:lnTo>
                      <a:pt x="92" y="61"/>
                    </a:lnTo>
                    <a:lnTo>
                      <a:pt x="93" y="60"/>
                    </a:lnTo>
                    <a:lnTo>
                      <a:pt x="93" y="59"/>
                    </a:lnTo>
                    <a:lnTo>
                      <a:pt x="93" y="60"/>
                    </a:lnTo>
                    <a:lnTo>
                      <a:pt x="92" y="59"/>
                    </a:lnTo>
                    <a:lnTo>
                      <a:pt x="93" y="59"/>
                    </a:lnTo>
                    <a:lnTo>
                      <a:pt x="93" y="58"/>
                    </a:lnTo>
                    <a:lnTo>
                      <a:pt x="93" y="57"/>
                    </a:lnTo>
                    <a:lnTo>
                      <a:pt x="93" y="55"/>
                    </a:lnTo>
                    <a:lnTo>
                      <a:pt x="94" y="55"/>
                    </a:lnTo>
                    <a:lnTo>
                      <a:pt x="94" y="54"/>
                    </a:lnTo>
                    <a:lnTo>
                      <a:pt x="94" y="53"/>
                    </a:lnTo>
                    <a:lnTo>
                      <a:pt x="93" y="53"/>
                    </a:lnTo>
                    <a:lnTo>
                      <a:pt x="93" y="52"/>
                    </a:lnTo>
                    <a:lnTo>
                      <a:pt x="93" y="51"/>
                    </a:lnTo>
                    <a:lnTo>
                      <a:pt x="93" y="50"/>
                    </a:lnTo>
                    <a:lnTo>
                      <a:pt x="93" y="49"/>
                    </a:lnTo>
                    <a:lnTo>
                      <a:pt x="92" y="48"/>
                    </a:lnTo>
                    <a:lnTo>
                      <a:pt x="92" y="47"/>
                    </a:lnTo>
                    <a:lnTo>
                      <a:pt x="92" y="46"/>
                    </a:lnTo>
                    <a:lnTo>
                      <a:pt x="92" y="45"/>
                    </a:lnTo>
                    <a:lnTo>
                      <a:pt x="93" y="44"/>
                    </a:lnTo>
                    <a:lnTo>
                      <a:pt x="92" y="44"/>
                    </a:lnTo>
                    <a:lnTo>
                      <a:pt x="92" y="42"/>
                    </a:lnTo>
                    <a:lnTo>
                      <a:pt x="92" y="41"/>
                    </a:lnTo>
                    <a:lnTo>
                      <a:pt x="93" y="40"/>
                    </a:lnTo>
                    <a:lnTo>
                      <a:pt x="93" y="39"/>
                    </a:lnTo>
                    <a:lnTo>
                      <a:pt x="93" y="38"/>
                    </a:lnTo>
                    <a:lnTo>
                      <a:pt x="93" y="37"/>
                    </a:lnTo>
                    <a:lnTo>
                      <a:pt x="93" y="36"/>
                    </a:lnTo>
                    <a:lnTo>
                      <a:pt x="94" y="35"/>
                    </a:lnTo>
                    <a:lnTo>
                      <a:pt x="95" y="36"/>
                    </a:lnTo>
                    <a:lnTo>
                      <a:pt x="96" y="36"/>
                    </a:lnTo>
                    <a:lnTo>
                      <a:pt x="97" y="36"/>
                    </a:lnTo>
                    <a:lnTo>
                      <a:pt x="98" y="35"/>
                    </a:lnTo>
                    <a:lnTo>
                      <a:pt x="100" y="34"/>
                    </a:lnTo>
                    <a:lnTo>
                      <a:pt x="101" y="33"/>
                    </a:lnTo>
                    <a:lnTo>
                      <a:pt x="100" y="32"/>
                    </a:lnTo>
                    <a:lnTo>
                      <a:pt x="101" y="32"/>
                    </a:lnTo>
                    <a:lnTo>
                      <a:pt x="102" y="32"/>
                    </a:lnTo>
                    <a:lnTo>
                      <a:pt x="105" y="33"/>
                    </a:lnTo>
                    <a:lnTo>
                      <a:pt x="106" y="33"/>
                    </a:lnTo>
                    <a:lnTo>
                      <a:pt x="108" y="32"/>
                    </a:lnTo>
                    <a:lnTo>
                      <a:pt x="109" y="29"/>
                    </a:lnTo>
                    <a:lnTo>
                      <a:pt x="110" y="28"/>
                    </a:lnTo>
                    <a:lnTo>
                      <a:pt x="111" y="27"/>
                    </a:lnTo>
                    <a:lnTo>
                      <a:pt x="113" y="27"/>
                    </a:lnTo>
                    <a:lnTo>
                      <a:pt x="114" y="27"/>
                    </a:lnTo>
                    <a:lnTo>
                      <a:pt x="115" y="26"/>
                    </a:lnTo>
                    <a:lnTo>
                      <a:pt x="116" y="26"/>
                    </a:lnTo>
                    <a:lnTo>
                      <a:pt x="117" y="26"/>
                    </a:lnTo>
                    <a:lnTo>
                      <a:pt x="117" y="25"/>
                    </a:lnTo>
                    <a:lnTo>
                      <a:pt x="118" y="25"/>
                    </a:lnTo>
                    <a:lnTo>
                      <a:pt x="117" y="24"/>
                    </a:lnTo>
                    <a:lnTo>
                      <a:pt x="118" y="24"/>
                    </a:lnTo>
                    <a:lnTo>
                      <a:pt x="118" y="23"/>
                    </a:lnTo>
                    <a:lnTo>
                      <a:pt x="119" y="23"/>
                    </a:lnTo>
                    <a:lnTo>
                      <a:pt x="120" y="23"/>
                    </a:lnTo>
                    <a:lnTo>
                      <a:pt x="120" y="24"/>
                    </a:lnTo>
                    <a:lnTo>
                      <a:pt x="120" y="23"/>
                    </a:lnTo>
                    <a:lnTo>
                      <a:pt x="121" y="23"/>
                    </a:lnTo>
                    <a:lnTo>
                      <a:pt x="121" y="22"/>
                    </a:lnTo>
                    <a:lnTo>
                      <a:pt x="122" y="22"/>
                    </a:lnTo>
                    <a:lnTo>
                      <a:pt x="123" y="22"/>
                    </a:lnTo>
                    <a:lnTo>
                      <a:pt x="124" y="22"/>
                    </a:lnTo>
                    <a:lnTo>
                      <a:pt x="124" y="21"/>
                    </a:lnTo>
                    <a:lnTo>
                      <a:pt x="126" y="21"/>
                    </a:lnTo>
                    <a:lnTo>
                      <a:pt x="128" y="21"/>
                    </a:lnTo>
                    <a:lnTo>
                      <a:pt x="128" y="20"/>
                    </a:lnTo>
                    <a:lnTo>
                      <a:pt x="129" y="20"/>
                    </a:lnTo>
                    <a:lnTo>
                      <a:pt x="130" y="20"/>
                    </a:lnTo>
                    <a:lnTo>
                      <a:pt x="131" y="20"/>
                    </a:lnTo>
                    <a:lnTo>
                      <a:pt x="131" y="19"/>
                    </a:lnTo>
                    <a:lnTo>
                      <a:pt x="132" y="19"/>
                    </a:lnTo>
                    <a:lnTo>
                      <a:pt x="133" y="19"/>
                    </a:lnTo>
                    <a:lnTo>
                      <a:pt x="133" y="18"/>
                    </a:lnTo>
                    <a:lnTo>
                      <a:pt x="133" y="16"/>
                    </a:lnTo>
                    <a:lnTo>
                      <a:pt x="134" y="16"/>
                    </a:lnTo>
                    <a:lnTo>
                      <a:pt x="134" y="15"/>
                    </a:lnTo>
                    <a:lnTo>
                      <a:pt x="134" y="14"/>
                    </a:lnTo>
                    <a:lnTo>
                      <a:pt x="135" y="14"/>
                    </a:lnTo>
                    <a:lnTo>
                      <a:pt x="135" y="13"/>
                    </a:lnTo>
                    <a:lnTo>
                      <a:pt x="135" y="12"/>
                    </a:lnTo>
                    <a:lnTo>
                      <a:pt x="136" y="11"/>
                    </a:lnTo>
                    <a:lnTo>
                      <a:pt x="136" y="10"/>
                    </a:lnTo>
                    <a:lnTo>
                      <a:pt x="137" y="9"/>
                    </a:lnTo>
                    <a:lnTo>
                      <a:pt x="137" y="8"/>
                    </a:lnTo>
                    <a:lnTo>
                      <a:pt x="136" y="8"/>
                    </a:lnTo>
                    <a:lnTo>
                      <a:pt x="136" y="7"/>
                    </a:lnTo>
                    <a:lnTo>
                      <a:pt x="137" y="7"/>
                    </a:lnTo>
                    <a:lnTo>
                      <a:pt x="137" y="6"/>
                    </a:lnTo>
                    <a:lnTo>
                      <a:pt x="139" y="6"/>
                    </a:lnTo>
                    <a:lnTo>
                      <a:pt x="139" y="5"/>
                    </a:lnTo>
                    <a:lnTo>
                      <a:pt x="140" y="5"/>
                    </a:lnTo>
                    <a:lnTo>
                      <a:pt x="141" y="5"/>
                    </a:lnTo>
                    <a:lnTo>
                      <a:pt x="142" y="5"/>
                    </a:lnTo>
                    <a:lnTo>
                      <a:pt x="143" y="5"/>
                    </a:lnTo>
                    <a:lnTo>
                      <a:pt x="144" y="3"/>
                    </a:lnTo>
                    <a:lnTo>
                      <a:pt x="145" y="3"/>
                    </a:lnTo>
                    <a:lnTo>
                      <a:pt x="146" y="3"/>
                    </a:lnTo>
                    <a:lnTo>
                      <a:pt x="147" y="2"/>
                    </a:lnTo>
                    <a:lnTo>
                      <a:pt x="148" y="2"/>
                    </a:lnTo>
                    <a:lnTo>
                      <a:pt x="149" y="1"/>
                    </a:lnTo>
                    <a:lnTo>
                      <a:pt x="149" y="0"/>
                    </a:lnTo>
                    <a:lnTo>
                      <a:pt x="150" y="0"/>
                    </a:lnTo>
                    <a:lnTo>
                      <a:pt x="152" y="0"/>
                    </a:lnTo>
                    <a:lnTo>
                      <a:pt x="152" y="1"/>
                    </a:lnTo>
                    <a:lnTo>
                      <a:pt x="153" y="1"/>
                    </a:lnTo>
                    <a:lnTo>
                      <a:pt x="153" y="0"/>
                    </a:lnTo>
                    <a:lnTo>
                      <a:pt x="154" y="0"/>
                    </a:lnTo>
                    <a:lnTo>
                      <a:pt x="155" y="1"/>
                    </a:lnTo>
                    <a:lnTo>
                      <a:pt x="155" y="2"/>
                    </a:lnTo>
                    <a:lnTo>
                      <a:pt x="156" y="2"/>
                    </a:lnTo>
                    <a:lnTo>
                      <a:pt x="156" y="1"/>
                    </a:lnTo>
                    <a:lnTo>
                      <a:pt x="157" y="1"/>
                    </a:lnTo>
                    <a:lnTo>
                      <a:pt x="157" y="3"/>
                    </a:lnTo>
                    <a:lnTo>
                      <a:pt x="156" y="3"/>
                    </a:lnTo>
                    <a:lnTo>
                      <a:pt x="156" y="5"/>
                    </a:lnTo>
                    <a:lnTo>
                      <a:pt x="157" y="5"/>
                    </a:lnTo>
                    <a:lnTo>
                      <a:pt x="158" y="5"/>
                    </a:lnTo>
                    <a:lnTo>
                      <a:pt x="158" y="3"/>
                    </a:lnTo>
                    <a:lnTo>
                      <a:pt x="159" y="5"/>
                    </a:lnTo>
                    <a:lnTo>
                      <a:pt x="158" y="6"/>
                    </a:lnTo>
                    <a:lnTo>
                      <a:pt x="158" y="7"/>
                    </a:lnTo>
                    <a:lnTo>
                      <a:pt x="159" y="7"/>
                    </a:lnTo>
                    <a:lnTo>
                      <a:pt x="160" y="7"/>
                    </a:lnTo>
                    <a:lnTo>
                      <a:pt x="160" y="8"/>
                    </a:lnTo>
                    <a:lnTo>
                      <a:pt x="162" y="8"/>
                    </a:lnTo>
                    <a:lnTo>
                      <a:pt x="162" y="9"/>
                    </a:lnTo>
                    <a:lnTo>
                      <a:pt x="163" y="9"/>
                    </a:lnTo>
                    <a:lnTo>
                      <a:pt x="163" y="8"/>
                    </a:lnTo>
                    <a:lnTo>
                      <a:pt x="165" y="8"/>
                    </a:lnTo>
                    <a:lnTo>
                      <a:pt x="166" y="7"/>
                    </a:lnTo>
                    <a:lnTo>
                      <a:pt x="167" y="8"/>
                    </a:lnTo>
                    <a:lnTo>
                      <a:pt x="168" y="9"/>
                    </a:lnTo>
                    <a:lnTo>
                      <a:pt x="167" y="9"/>
                    </a:lnTo>
                    <a:lnTo>
                      <a:pt x="167" y="10"/>
                    </a:lnTo>
                    <a:lnTo>
                      <a:pt x="167" y="11"/>
                    </a:lnTo>
                    <a:lnTo>
                      <a:pt x="168" y="12"/>
                    </a:lnTo>
                    <a:lnTo>
                      <a:pt x="169" y="12"/>
                    </a:lnTo>
                    <a:lnTo>
                      <a:pt x="170" y="12"/>
                    </a:lnTo>
                    <a:lnTo>
                      <a:pt x="170" y="13"/>
                    </a:lnTo>
                    <a:lnTo>
                      <a:pt x="171" y="13"/>
                    </a:lnTo>
                    <a:lnTo>
                      <a:pt x="172" y="13"/>
                    </a:lnTo>
                    <a:lnTo>
                      <a:pt x="173" y="13"/>
                    </a:lnTo>
                    <a:lnTo>
                      <a:pt x="174" y="13"/>
                    </a:lnTo>
                    <a:lnTo>
                      <a:pt x="175" y="13"/>
                    </a:lnTo>
                    <a:lnTo>
                      <a:pt x="177" y="13"/>
                    </a:lnTo>
                    <a:lnTo>
                      <a:pt x="177" y="14"/>
                    </a:lnTo>
                    <a:lnTo>
                      <a:pt x="178" y="14"/>
                    </a:lnTo>
                    <a:lnTo>
                      <a:pt x="179" y="14"/>
                    </a:lnTo>
                    <a:lnTo>
                      <a:pt x="179" y="15"/>
                    </a:lnTo>
                    <a:lnTo>
                      <a:pt x="179" y="16"/>
                    </a:lnTo>
                    <a:lnTo>
                      <a:pt x="179" y="18"/>
                    </a:lnTo>
                    <a:lnTo>
                      <a:pt x="179" y="19"/>
                    </a:lnTo>
                    <a:lnTo>
                      <a:pt x="178" y="19"/>
                    </a:lnTo>
                    <a:lnTo>
                      <a:pt x="178" y="20"/>
                    </a:lnTo>
                    <a:lnTo>
                      <a:pt x="177" y="20"/>
                    </a:lnTo>
                    <a:lnTo>
                      <a:pt x="177" y="21"/>
                    </a:lnTo>
                    <a:lnTo>
                      <a:pt x="177" y="22"/>
                    </a:lnTo>
                    <a:lnTo>
                      <a:pt x="177" y="23"/>
                    </a:lnTo>
                    <a:lnTo>
                      <a:pt x="178" y="23"/>
                    </a:lnTo>
                    <a:lnTo>
                      <a:pt x="179" y="23"/>
                    </a:lnTo>
                    <a:lnTo>
                      <a:pt x="180" y="22"/>
                    </a:lnTo>
                    <a:lnTo>
                      <a:pt x="181" y="22"/>
                    </a:lnTo>
                    <a:lnTo>
                      <a:pt x="182" y="21"/>
                    </a:lnTo>
                    <a:lnTo>
                      <a:pt x="184" y="21"/>
                    </a:lnTo>
                    <a:lnTo>
                      <a:pt x="185" y="21"/>
                    </a:lnTo>
                    <a:lnTo>
                      <a:pt x="186" y="21"/>
                    </a:lnTo>
                    <a:lnTo>
                      <a:pt x="186" y="22"/>
                    </a:lnTo>
                    <a:lnTo>
                      <a:pt x="187" y="22"/>
                    </a:lnTo>
                    <a:lnTo>
                      <a:pt x="188" y="22"/>
                    </a:lnTo>
                    <a:lnTo>
                      <a:pt x="188" y="23"/>
                    </a:lnTo>
                    <a:lnTo>
                      <a:pt x="188" y="24"/>
                    </a:lnTo>
                    <a:lnTo>
                      <a:pt x="186" y="25"/>
                    </a:lnTo>
                    <a:lnTo>
                      <a:pt x="186" y="27"/>
                    </a:lnTo>
                    <a:lnTo>
                      <a:pt x="185" y="27"/>
                    </a:lnTo>
                    <a:lnTo>
                      <a:pt x="194" y="27"/>
                    </a:lnTo>
                    <a:lnTo>
                      <a:pt x="195" y="26"/>
                    </a:lnTo>
                    <a:lnTo>
                      <a:pt x="212" y="26"/>
                    </a:lnTo>
                    <a:lnTo>
                      <a:pt x="216" y="26"/>
                    </a:lnTo>
                    <a:close/>
                  </a:path>
                </a:pathLst>
              </a:custGeom>
              <a:solidFill>
                <a:srgbClr val="2D88F2"/>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2" name="Freeform 32">
                <a:extLst>
                  <a:ext uri="{FF2B5EF4-FFF2-40B4-BE49-F238E27FC236}">
                    <a16:creationId xmlns:a16="http://schemas.microsoft.com/office/drawing/2014/main" id="{DDC9F0C1-532E-4534-A682-77B83526AD76}"/>
                  </a:ext>
                </a:extLst>
              </p:cNvPr>
              <p:cNvSpPr>
                <a:spLocks/>
              </p:cNvSpPr>
              <p:nvPr/>
            </p:nvSpPr>
            <p:spPr bwMode="auto">
              <a:xfrm>
                <a:off x="2032001" y="3557588"/>
                <a:ext cx="531813" cy="538163"/>
              </a:xfrm>
              <a:custGeom>
                <a:avLst/>
                <a:gdLst>
                  <a:gd name="T0" fmla="*/ 326 w 335"/>
                  <a:gd name="T1" fmla="*/ 19 h 339"/>
                  <a:gd name="T2" fmla="*/ 326 w 335"/>
                  <a:gd name="T3" fmla="*/ 125 h 339"/>
                  <a:gd name="T4" fmla="*/ 326 w 335"/>
                  <a:gd name="T5" fmla="*/ 226 h 339"/>
                  <a:gd name="T6" fmla="*/ 330 w 335"/>
                  <a:gd name="T7" fmla="*/ 230 h 339"/>
                  <a:gd name="T8" fmla="*/ 332 w 335"/>
                  <a:gd name="T9" fmla="*/ 234 h 339"/>
                  <a:gd name="T10" fmla="*/ 335 w 335"/>
                  <a:gd name="T11" fmla="*/ 236 h 339"/>
                  <a:gd name="T12" fmla="*/ 335 w 335"/>
                  <a:gd name="T13" fmla="*/ 239 h 339"/>
                  <a:gd name="T14" fmla="*/ 334 w 335"/>
                  <a:gd name="T15" fmla="*/ 243 h 339"/>
                  <a:gd name="T16" fmla="*/ 331 w 335"/>
                  <a:gd name="T17" fmla="*/ 245 h 339"/>
                  <a:gd name="T18" fmla="*/ 329 w 335"/>
                  <a:gd name="T19" fmla="*/ 247 h 339"/>
                  <a:gd name="T20" fmla="*/ 330 w 335"/>
                  <a:gd name="T21" fmla="*/ 250 h 339"/>
                  <a:gd name="T22" fmla="*/ 330 w 335"/>
                  <a:gd name="T23" fmla="*/ 252 h 339"/>
                  <a:gd name="T24" fmla="*/ 325 w 335"/>
                  <a:gd name="T25" fmla="*/ 254 h 339"/>
                  <a:gd name="T26" fmla="*/ 324 w 335"/>
                  <a:gd name="T27" fmla="*/ 257 h 339"/>
                  <a:gd name="T28" fmla="*/ 324 w 335"/>
                  <a:gd name="T29" fmla="*/ 260 h 339"/>
                  <a:gd name="T30" fmla="*/ 322 w 335"/>
                  <a:gd name="T31" fmla="*/ 263 h 339"/>
                  <a:gd name="T32" fmla="*/ 319 w 335"/>
                  <a:gd name="T33" fmla="*/ 264 h 339"/>
                  <a:gd name="T34" fmla="*/ 315 w 335"/>
                  <a:gd name="T35" fmla="*/ 265 h 339"/>
                  <a:gd name="T36" fmla="*/ 312 w 335"/>
                  <a:gd name="T37" fmla="*/ 268 h 339"/>
                  <a:gd name="T38" fmla="*/ 313 w 335"/>
                  <a:gd name="T39" fmla="*/ 270 h 339"/>
                  <a:gd name="T40" fmla="*/ 310 w 335"/>
                  <a:gd name="T41" fmla="*/ 272 h 339"/>
                  <a:gd name="T42" fmla="*/ 313 w 335"/>
                  <a:gd name="T43" fmla="*/ 275 h 339"/>
                  <a:gd name="T44" fmla="*/ 315 w 335"/>
                  <a:gd name="T45" fmla="*/ 275 h 339"/>
                  <a:gd name="T46" fmla="*/ 316 w 335"/>
                  <a:gd name="T47" fmla="*/ 277 h 339"/>
                  <a:gd name="T48" fmla="*/ 316 w 335"/>
                  <a:gd name="T49" fmla="*/ 281 h 339"/>
                  <a:gd name="T50" fmla="*/ 315 w 335"/>
                  <a:gd name="T51" fmla="*/ 283 h 339"/>
                  <a:gd name="T52" fmla="*/ 311 w 335"/>
                  <a:gd name="T53" fmla="*/ 286 h 339"/>
                  <a:gd name="T54" fmla="*/ 311 w 335"/>
                  <a:gd name="T55" fmla="*/ 289 h 339"/>
                  <a:gd name="T56" fmla="*/ 309 w 335"/>
                  <a:gd name="T57" fmla="*/ 293 h 339"/>
                  <a:gd name="T58" fmla="*/ 281 w 335"/>
                  <a:gd name="T59" fmla="*/ 293 h 339"/>
                  <a:gd name="T60" fmla="*/ 233 w 335"/>
                  <a:gd name="T61" fmla="*/ 293 h 339"/>
                  <a:gd name="T62" fmla="*/ 218 w 335"/>
                  <a:gd name="T63" fmla="*/ 311 h 339"/>
                  <a:gd name="T64" fmla="*/ 207 w 335"/>
                  <a:gd name="T65" fmla="*/ 329 h 339"/>
                  <a:gd name="T66" fmla="*/ 166 w 335"/>
                  <a:gd name="T67" fmla="*/ 328 h 339"/>
                  <a:gd name="T68" fmla="*/ 135 w 335"/>
                  <a:gd name="T69" fmla="*/ 328 h 339"/>
                  <a:gd name="T70" fmla="*/ 102 w 335"/>
                  <a:gd name="T71" fmla="*/ 328 h 339"/>
                  <a:gd name="T72" fmla="*/ 72 w 335"/>
                  <a:gd name="T73" fmla="*/ 328 h 339"/>
                  <a:gd name="T74" fmla="*/ 40 w 335"/>
                  <a:gd name="T75" fmla="*/ 328 h 339"/>
                  <a:gd name="T76" fmla="*/ 12 w 335"/>
                  <a:gd name="T77" fmla="*/ 339 h 339"/>
                  <a:gd name="T78" fmla="*/ 0 w 335"/>
                  <a:gd name="T79" fmla="*/ 318 h 339"/>
                  <a:gd name="T80" fmla="*/ 0 w 335"/>
                  <a:gd name="T81" fmla="*/ 225 h 339"/>
                  <a:gd name="T82" fmla="*/ 6 w 335"/>
                  <a:gd name="T83" fmla="*/ 216 h 339"/>
                  <a:gd name="T84" fmla="*/ 51 w 335"/>
                  <a:gd name="T85" fmla="*/ 215 h 339"/>
                  <a:gd name="T86" fmla="*/ 62 w 335"/>
                  <a:gd name="T87" fmla="*/ 215 h 339"/>
                  <a:gd name="T88" fmla="*/ 93 w 335"/>
                  <a:gd name="T89" fmla="*/ 194 h 339"/>
                  <a:gd name="T90" fmla="*/ 95 w 335"/>
                  <a:gd name="T91" fmla="*/ 131 h 339"/>
                  <a:gd name="T92" fmla="*/ 95 w 335"/>
                  <a:gd name="T93" fmla="*/ 106 h 339"/>
                  <a:gd name="T94" fmla="*/ 95 w 335"/>
                  <a:gd name="T95" fmla="*/ 52 h 339"/>
                  <a:gd name="T96" fmla="*/ 93 w 335"/>
                  <a:gd name="T97" fmla="*/ 17 h 339"/>
                  <a:gd name="T98" fmla="*/ 153 w 335"/>
                  <a:gd name="T99" fmla="*/ 16 h 339"/>
                  <a:gd name="T100" fmla="*/ 188 w 335"/>
                  <a:gd name="T101" fmla="*/ 17 h 339"/>
                  <a:gd name="T102" fmla="*/ 188 w 335"/>
                  <a:gd name="T103" fmla="*/ 12 h 339"/>
                  <a:gd name="T104" fmla="*/ 209 w 335"/>
                  <a:gd name="T105" fmla="*/ 7 h 339"/>
                  <a:gd name="T106" fmla="*/ 251 w 335"/>
                  <a:gd name="T107" fmla="*/ 3 h 339"/>
                  <a:gd name="T108" fmla="*/ 272 w 335"/>
                  <a:gd name="T109" fmla="*/ 0 h 339"/>
                  <a:gd name="T110" fmla="*/ 326 w 335"/>
                  <a:gd name="T11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5" h="339">
                    <a:moveTo>
                      <a:pt x="326" y="3"/>
                    </a:moveTo>
                    <a:lnTo>
                      <a:pt x="326" y="6"/>
                    </a:lnTo>
                    <a:lnTo>
                      <a:pt x="326" y="11"/>
                    </a:lnTo>
                    <a:lnTo>
                      <a:pt x="326" y="16"/>
                    </a:lnTo>
                    <a:lnTo>
                      <a:pt x="326" y="19"/>
                    </a:lnTo>
                    <a:lnTo>
                      <a:pt x="326" y="42"/>
                    </a:lnTo>
                    <a:lnTo>
                      <a:pt x="326" y="79"/>
                    </a:lnTo>
                    <a:lnTo>
                      <a:pt x="326" y="107"/>
                    </a:lnTo>
                    <a:lnTo>
                      <a:pt x="326" y="112"/>
                    </a:lnTo>
                    <a:lnTo>
                      <a:pt x="326" y="125"/>
                    </a:lnTo>
                    <a:lnTo>
                      <a:pt x="326" y="132"/>
                    </a:lnTo>
                    <a:lnTo>
                      <a:pt x="326" y="151"/>
                    </a:lnTo>
                    <a:lnTo>
                      <a:pt x="326" y="184"/>
                    </a:lnTo>
                    <a:lnTo>
                      <a:pt x="326" y="196"/>
                    </a:lnTo>
                    <a:lnTo>
                      <a:pt x="326" y="226"/>
                    </a:lnTo>
                    <a:lnTo>
                      <a:pt x="328" y="226"/>
                    </a:lnTo>
                    <a:lnTo>
                      <a:pt x="328" y="228"/>
                    </a:lnTo>
                    <a:lnTo>
                      <a:pt x="329" y="228"/>
                    </a:lnTo>
                    <a:lnTo>
                      <a:pt x="330" y="229"/>
                    </a:lnTo>
                    <a:lnTo>
                      <a:pt x="330" y="230"/>
                    </a:lnTo>
                    <a:lnTo>
                      <a:pt x="331" y="230"/>
                    </a:lnTo>
                    <a:lnTo>
                      <a:pt x="331" y="231"/>
                    </a:lnTo>
                    <a:lnTo>
                      <a:pt x="331" y="232"/>
                    </a:lnTo>
                    <a:lnTo>
                      <a:pt x="331" y="233"/>
                    </a:lnTo>
                    <a:lnTo>
                      <a:pt x="332" y="234"/>
                    </a:lnTo>
                    <a:lnTo>
                      <a:pt x="333" y="234"/>
                    </a:lnTo>
                    <a:lnTo>
                      <a:pt x="334" y="234"/>
                    </a:lnTo>
                    <a:lnTo>
                      <a:pt x="335" y="235"/>
                    </a:lnTo>
                    <a:lnTo>
                      <a:pt x="334" y="236"/>
                    </a:lnTo>
                    <a:lnTo>
                      <a:pt x="335" y="236"/>
                    </a:lnTo>
                    <a:lnTo>
                      <a:pt x="335" y="237"/>
                    </a:lnTo>
                    <a:lnTo>
                      <a:pt x="335" y="238"/>
                    </a:lnTo>
                    <a:lnTo>
                      <a:pt x="334" y="238"/>
                    </a:lnTo>
                    <a:lnTo>
                      <a:pt x="334" y="239"/>
                    </a:lnTo>
                    <a:lnTo>
                      <a:pt x="335" y="239"/>
                    </a:lnTo>
                    <a:lnTo>
                      <a:pt x="335" y="241"/>
                    </a:lnTo>
                    <a:lnTo>
                      <a:pt x="334" y="241"/>
                    </a:lnTo>
                    <a:lnTo>
                      <a:pt x="333" y="241"/>
                    </a:lnTo>
                    <a:lnTo>
                      <a:pt x="334" y="242"/>
                    </a:lnTo>
                    <a:lnTo>
                      <a:pt x="334" y="243"/>
                    </a:lnTo>
                    <a:lnTo>
                      <a:pt x="333" y="244"/>
                    </a:lnTo>
                    <a:lnTo>
                      <a:pt x="332" y="244"/>
                    </a:lnTo>
                    <a:lnTo>
                      <a:pt x="332" y="245"/>
                    </a:lnTo>
                    <a:lnTo>
                      <a:pt x="331" y="246"/>
                    </a:lnTo>
                    <a:lnTo>
                      <a:pt x="331" y="245"/>
                    </a:lnTo>
                    <a:lnTo>
                      <a:pt x="330" y="244"/>
                    </a:lnTo>
                    <a:lnTo>
                      <a:pt x="329" y="244"/>
                    </a:lnTo>
                    <a:lnTo>
                      <a:pt x="329" y="245"/>
                    </a:lnTo>
                    <a:lnTo>
                      <a:pt x="329" y="246"/>
                    </a:lnTo>
                    <a:lnTo>
                      <a:pt x="329" y="247"/>
                    </a:lnTo>
                    <a:lnTo>
                      <a:pt x="330" y="247"/>
                    </a:lnTo>
                    <a:lnTo>
                      <a:pt x="330" y="248"/>
                    </a:lnTo>
                    <a:lnTo>
                      <a:pt x="329" y="248"/>
                    </a:lnTo>
                    <a:lnTo>
                      <a:pt x="330" y="249"/>
                    </a:lnTo>
                    <a:lnTo>
                      <a:pt x="330" y="250"/>
                    </a:lnTo>
                    <a:lnTo>
                      <a:pt x="329" y="249"/>
                    </a:lnTo>
                    <a:lnTo>
                      <a:pt x="328" y="250"/>
                    </a:lnTo>
                    <a:lnTo>
                      <a:pt x="329" y="250"/>
                    </a:lnTo>
                    <a:lnTo>
                      <a:pt x="329" y="251"/>
                    </a:lnTo>
                    <a:lnTo>
                      <a:pt x="330" y="252"/>
                    </a:lnTo>
                    <a:lnTo>
                      <a:pt x="329" y="252"/>
                    </a:lnTo>
                    <a:lnTo>
                      <a:pt x="328" y="252"/>
                    </a:lnTo>
                    <a:lnTo>
                      <a:pt x="326" y="252"/>
                    </a:lnTo>
                    <a:lnTo>
                      <a:pt x="325" y="252"/>
                    </a:lnTo>
                    <a:lnTo>
                      <a:pt x="325" y="254"/>
                    </a:lnTo>
                    <a:lnTo>
                      <a:pt x="325" y="255"/>
                    </a:lnTo>
                    <a:lnTo>
                      <a:pt x="324" y="256"/>
                    </a:lnTo>
                    <a:lnTo>
                      <a:pt x="324" y="257"/>
                    </a:lnTo>
                    <a:lnTo>
                      <a:pt x="324" y="258"/>
                    </a:lnTo>
                    <a:lnTo>
                      <a:pt x="324" y="257"/>
                    </a:lnTo>
                    <a:lnTo>
                      <a:pt x="325" y="257"/>
                    </a:lnTo>
                    <a:lnTo>
                      <a:pt x="325" y="258"/>
                    </a:lnTo>
                    <a:lnTo>
                      <a:pt x="325" y="259"/>
                    </a:lnTo>
                    <a:lnTo>
                      <a:pt x="325" y="260"/>
                    </a:lnTo>
                    <a:lnTo>
                      <a:pt x="324" y="260"/>
                    </a:lnTo>
                    <a:lnTo>
                      <a:pt x="323" y="260"/>
                    </a:lnTo>
                    <a:lnTo>
                      <a:pt x="322" y="260"/>
                    </a:lnTo>
                    <a:lnTo>
                      <a:pt x="322" y="261"/>
                    </a:lnTo>
                    <a:lnTo>
                      <a:pt x="322" y="262"/>
                    </a:lnTo>
                    <a:lnTo>
                      <a:pt x="322" y="263"/>
                    </a:lnTo>
                    <a:lnTo>
                      <a:pt x="321" y="264"/>
                    </a:lnTo>
                    <a:lnTo>
                      <a:pt x="321" y="263"/>
                    </a:lnTo>
                    <a:lnTo>
                      <a:pt x="320" y="263"/>
                    </a:lnTo>
                    <a:lnTo>
                      <a:pt x="320" y="264"/>
                    </a:lnTo>
                    <a:lnTo>
                      <a:pt x="319" y="264"/>
                    </a:lnTo>
                    <a:lnTo>
                      <a:pt x="319" y="263"/>
                    </a:lnTo>
                    <a:lnTo>
                      <a:pt x="318" y="264"/>
                    </a:lnTo>
                    <a:lnTo>
                      <a:pt x="317" y="264"/>
                    </a:lnTo>
                    <a:lnTo>
                      <a:pt x="316" y="264"/>
                    </a:lnTo>
                    <a:lnTo>
                      <a:pt x="315" y="265"/>
                    </a:lnTo>
                    <a:lnTo>
                      <a:pt x="316" y="267"/>
                    </a:lnTo>
                    <a:lnTo>
                      <a:pt x="315" y="267"/>
                    </a:lnTo>
                    <a:lnTo>
                      <a:pt x="313" y="267"/>
                    </a:lnTo>
                    <a:lnTo>
                      <a:pt x="313" y="268"/>
                    </a:lnTo>
                    <a:lnTo>
                      <a:pt x="312" y="268"/>
                    </a:lnTo>
                    <a:lnTo>
                      <a:pt x="312" y="269"/>
                    </a:lnTo>
                    <a:lnTo>
                      <a:pt x="313" y="269"/>
                    </a:lnTo>
                    <a:lnTo>
                      <a:pt x="313" y="270"/>
                    </a:lnTo>
                    <a:lnTo>
                      <a:pt x="312" y="270"/>
                    </a:lnTo>
                    <a:lnTo>
                      <a:pt x="313" y="270"/>
                    </a:lnTo>
                    <a:lnTo>
                      <a:pt x="312" y="270"/>
                    </a:lnTo>
                    <a:lnTo>
                      <a:pt x="311" y="270"/>
                    </a:lnTo>
                    <a:lnTo>
                      <a:pt x="311" y="271"/>
                    </a:lnTo>
                    <a:lnTo>
                      <a:pt x="310" y="271"/>
                    </a:lnTo>
                    <a:lnTo>
                      <a:pt x="310" y="272"/>
                    </a:lnTo>
                    <a:lnTo>
                      <a:pt x="311" y="272"/>
                    </a:lnTo>
                    <a:lnTo>
                      <a:pt x="312" y="273"/>
                    </a:lnTo>
                    <a:lnTo>
                      <a:pt x="313" y="273"/>
                    </a:lnTo>
                    <a:lnTo>
                      <a:pt x="313" y="274"/>
                    </a:lnTo>
                    <a:lnTo>
                      <a:pt x="313" y="275"/>
                    </a:lnTo>
                    <a:lnTo>
                      <a:pt x="313" y="274"/>
                    </a:lnTo>
                    <a:lnTo>
                      <a:pt x="315" y="274"/>
                    </a:lnTo>
                    <a:lnTo>
                      <a:pt x="315" y="275"/>
                    </a:lnTo>
                    <a:lnTo>
                      <a:pt x="313" y="275"/>
                    </a:lnTo>
                    <a:lnTo>
                      <a:pt x="315" y="275"/>
                    </a:lnTo>
                    <a:lnTo>
                      <a:pt x="316" y="275"/>
                    </a:lnTo>
                    <a:lnTo>
                      <a:pt x="316" y="276"/>
                    </a:lnTo>
                    <a:lnTo>
                      <a:pt x="315" y="276"/>
                    </a:lnTo>
                    <a:lnTo>
                      <a:pt x="315" y="277"/>
                    </a:lnTo>
                    <a:lnTo>
                      <a:pt x="316" y="277"/>
                    </a:lnTo>
                    <a:lnTo>
                      <a:pt x="316" y="279"/>
                    </a:lnTo>
                    <a:lnTo>
                      <a:pt x="315" y="280"/>
                    </a:lnTo>
                    <a:lnTo>
                      <a:pt x="316" y="280"/>
                    </a:lnTo>
                    <a:lnTo>
                      <a:pt x="317" y="280"/>
                    </a:lnTo>
                    <a:lnTo>
                      <a:pt x="316" y="281"/>
                    </a:lnTo>
                    <a:lnTo>
                      <a:pt x="315" y="281"/>
                    </a:lnTo>
                    <a:lnTo>
                      <a:pt x="315" y="282"/>
                    </a:lnTo>
                    <a:lnTo>
                      <a:pt x="313" y="282"/>
                    </a:lnTo>
                    <a:lnTo>
                      <a:pt x="313" y="283"/>
                    </a:lnTo>
                    <a:lnTo>
                      <a:pt x="315" y="283"/>
                    </a:lnTo>
                    <a:lnTo>
                      <a:pt x="315" y="284"/>
                    </a:lnTo>
                    <a:lnTo>
                      <a:pt x="313" y="284"/>
                    </a:lnTo>
                    <a:lnTo>
                      <a:pt x="312" y="284"/>
                    </a:lnTo>
                    <a:lnTo>
                      <a:pt x="311" y="285"/>
                    </a:lnTo>
                    <a:lnTo>
                      <a:pt x="311" y="286"/>
                    </a:lnTo>
                    <a:lnTo>
                      <a:pt x="311" y="287"/>
                    </a:lnTo>
                    <a:lnTo>
                      <a:pt x="310" y="287"/>
                    </a:lnTo>
                    <a:lnTo>
                      <a:pt x="310" y="288"/>
                    </a:lnTo>
                    <a:lnTo>
                      <a:pt x="311" y="288"/>
                    </a:lnTo>
                    <a:lnTo>
                      <a:pt x="311" y="289"/>
                    </a:lnTo>
                    <a:lnTo>
                      <a:pt x="310" y="289"/>
                    </a:lnTo>
                    <a:lnTo>
                      <a:pt x="310" y="290"/>
                    </a:lnTo>
                    <a:lnTo>
                      <a:pt x="310" y="292"/>
                    </a:lnTo>
                    <a:lnTo>
                      <a:pt x="309" y="292"/>
                    </a:lnTo>
                    <a:lnTo>
                      <a:pt x="309" y="293"/>
                    </a:lnTo>
                    <a:lnTo>
                      <a:pt x="308" y="293"/>
                    </a:lnTo>
                    <a:lnTo>
                      <a:pt x="307" y="293"/>
                    </a:lnTo>
                    <a:lnTo>
                      <a:pt x="307" y="294"/>
                    </a:lnTo>
                    <a:lnTo>
                      <a:pt x="290" y="293"/>
                    </a:lnTo>
                    <a:lnTo>
                      <a:pt x="281" y="293"/>
                    </a:lnTo>
                    <a:lnTo>
                      <a:pt x="260" y="293"/>
                    </a:lnTo>
                    <a:lnTo>
                      <a:pt x="259" y="294"/>
                    </a:lnTo>
                    <a:lnTo>
                      <a:pt x="258" y="294"/>
                    </a:lnTo>
                    <a:lnTo>
                      <a:pt x="255" y="293"/>
                    </a:lnTo>
                    <a:lnTo>
                      <a:pt x="233" y="293"/>
                    </a:lnTo>
                    <a:lnTo>
                      <a:pt x="229" y="293"/>
                    </a:lnTo>
                    <a:lnTo>
                      <a:pt x="224" y="293"/>
                    </a:lnTo>
                    <a:lnTo>
                      <a:pt x="218" y="293"/>
                    </a:lnTo>
                    <a:lnTo>
                      <a:pt x="218" y="298"/>
                    </a:lnTo>
                    <a:lnTo>
                      <a:pt x="218" y="311"/>
                    </a:lnTo>
                    <a:lnTo>
                      <a:pt x="218" y="312"/>
                    </a:lnTo>
                    <a:lnTo>
                      <a:pt x="218" y="321"/>
                    </a:lnTo>
                    <a:lnTo>
                      <a:pt x="218" y="329"/>
                    </a:lnTo>
                    <a:lnTo>
                      <a:pt x="209" y="329"/>
                    </a:lnTo>
                    <a:lnTo>
                      <a:pt x="207" y="329"/>
                    </a:lnTo>
                    <a:lnTo>
                      <a:pt x="204" y="329"/>
                    </a:lnTo>
                    <a:lnTo>
                      <a:pt x="194" y="329"/>
                    </a:lnTo>
                    <a:lnTo>
                      <a:pt x="187" y="328"/>
                    </a:lnTo>
                    <a:lnTo>
                      <a:pt x="176" y="328"/>
                    </a:lnTo>
                    <a:lnTo>
                      <a:pt x="166" y="328"/>
                    </a:lnTo>
                    <a:lnTo>
                      <a:pt x="155" y="328"/>
                    </a:lnTo>
                    <a:lnTo>
                      <a:pt x="151" y="329"/>
                    </a:lnTo>
                    <a:lnTo>
                      <a:pt x="147" y="328"/>
                    </a:lnTo>
                    <a:lnTo>
                      <a:pt x="141" y="328"/>
                    </a:lnTo>
                    <a:lnTo>
                      <a:pt x="135" y="328"/>
                    </a:lnTo>
                    <a:lnTo>
                      <a:pt x="123" y="328"/>
                    </a:lnTo>
                    <a:lnTo>
                      <a:pt x="121" y="328"/>
                    </a:lnTo>
                    <a:lnTo>
                      <a:pt x="118" y="328"/>
                    </a:lnTo>
                    <a:lnTo>
                      <a:pt x="104" y="328"/>
                    </a:lnTo>
                    <a:lnTo>
                      <a:pt x="102" y="328"/>
                    </a:lnTo>
                    <a:lnTo>
                      <a:pt x="97" y="329"/>
                    </a:lnTo>
                    <a:lnTo>
                      <a:pt x="92" y="329"/>
                    </a:lnTo>
                    <a:lnTo>
                      <a:pt x="92" y="328"/>
                    </a:lnTo>
                    <a:lnTo>
                      <a:pt x="80" y="328"/>
                    </a:lnTo>
                    <a:lnTo>
                      <a:pt x="72" y="328"/>
                    </a:lnTo>
                    <a:lnTo>
                      <a:pt x="61" y="328"/>
                    </a:lnTo>
                    <a:lnTo>
                      <a:pt x="50" y="328"/>
                    </a:lnTo>
                    <a:lnTo>
                      <a:pt x="49" y="328"/>
                    </a:lnTo>
                    <a:lnTo>
                      <a:pt x="45" y="328"/>
                    </a:lnTo>
                    <a:lnTo>
                      <a:pt x="40" y="328"/>
                    </a:lnTo>
                    <a:lnTo>
                      <a:pt x="40" y="331"/>
                    </a:lnTo>
                    <a:lnTo>
                      <a:pt x="40" y="338"/>
                    </a:lnTo>
                    <a:lnTo>
                      <a:pt x="37" y="338"/>
                    </a:lnTo>
                    <a:lnTo>
                      <a:pt x="23" y="338"/>
                    </a:lnTo>
                    <a:lnTo>
                      <a:pt x="12" y="339"/>
                    </a:lnTo>
                    <a:lnTo>
                      <a:pt x="9" y="339"/>
                    </a:lnTo>
                    <a:lnTo>
                      <a:pt x="3" y="339"/>
                    </a:lnTo>
                    <a:lnTo>
                      <a:pt x="0" y="339"/>
                    </a:lnTo>
                    <a:lnTo>
                      <a:pt x="0" y="319"/>
                    </a:lnTo>
                    <a:lnTo>
                      <a:pt x="0" y="318"/>
                    </a:lnTo>
                    <a:lnTo>
                      <a:pt x="0" y="295"/>
                    </a:lnTo>
                    <a:lnTo>
                      <a:pt x="0" y="285"/>
                    </a:lnTo>
                    <a:lnTo>
                      <a:pt x="0" y="272"/>
                    </a:lnTo>
                    <a:lnTo>
                      <a:pt x="0" y="236"/>
                    </a:lnTo>
                    <a:lnTo>
                      <a:pt x="0" y="225"/>
                    </a:lnTo>
                    <a:lnTo>
                      <a:pt x="0" y="220"/>
                    </a:lnTo>
                    <a:lnTo>
                      <a:pt x="0" y="218"/>
                    </a:lnTo>
                    <a:lnTo>
                      <a:pt x="0" y="216"/>
                    </a:lnTo>
                    <a:lnTo>
                      <a:pt x="3" y="216"/>
                    </a:lnTo>
                    <a:lnTo>
                      <a:pt x="6" y="216"/>
                    </a:lnTo>
                    <a:lnTo>
                      <a:pt x="16" y="216"/>
                    </a:lnTo>
                    <a:lnTo>
                      <a:pt x="23" y="216"/>
                    </a:lnTo>
                    <a:lnTo>
                      <a:pt x="23" y="215"/>
                    </a:lnTo>
                    <a:lnTo>
                      <a:pt x="50" y="215"/>
                    </a:lnTo>
                    <a:lnTo>
                      <a:pt x="51" y="215"/>
                    </a:lnTo>
                    <a:lnTo>
                      <a:pt x="54" y="215"/>
                    </a:lnTo>
                    <a:lnTo>
                      <a:pt x="55" y="215"/>
                    </a:lnTo>
                    <a:lnTo>
                      <a:pt x="57" y="215"/>
                    </a:lnTo>
                    <a:lnTo>
                      <a:pt x="62" y="216"/>
                    </a:lnTo>
                    <a:lnTo>
                      <a:pt x="62" y="215"/>
                    </a:lnTo>
                    <a:lnTo>
                      <a:pt x="73" y="215"/>
                    </a:lnTo>
                    <a:lnTo>
                      <a:pt x="80" y="215"/>
                    </a:lnTo>
                    <a:lnTo>
                      <a:pt x="86" y="215"/>
                    </a:lnTo>
                    <a:lnTo>
                      <a:pt x="93" y="215"/>
                    </a:lnTo>
                    <a:lnTo>
                      <a:pt x="93" y="194"/>
                    </a:lnTo>
                    <a:lnTo>
                      <a:pt x="93" y="184"/>
                    </a:lnTo>
                    <a:lnTo>
                      <a:pt x="93" y="173"/>
                    </a:lnTo>
                    <a:lnTo>
                      <a:pt x="93" y="160"/>
                    </a:lnTo>
                    <a:lnTo>
                      <a:pt x="93" y="149"/>
                    </a:lnTo>
                    <a:lnTo>
                      <a:pt x="95" y="131"/>
                    </a:lnTo>
                    <a:lnTo>
                      <a:pt x="95" y="130"/>
                    </a:lnTo>
                    <a:lnTo>
                      <a:pt x="95" y="121"/>
                    </a:lnTo>
                    <a:lnTo>
                      <a:pt x="95" y="119"/>
                    </a:lnTo>
                    <a:lnTo>
                      <a:pt x="95" y="113"/>
                    </a:lnTo>
                    <a:lnTo>
                      <a:pt x="95" y="106"/>
                    </a:lnTo>
                    <a:lnTo>
                      <a:pt x="95" y="90"/>
                    </a:lnTo>
                    <a:lnTo>
                      <a:pt x="95" y="89"/>
                    </a:lnTo>
                    <a:lnTo>
                      <a:pt x="95" y="71"/>
                    </a:lnTo>
                    <a:lnTo>
                      <a:pt x="95" y="61"/>
                    </a:lnTo>
                    <a:lnTo>
                      <a:pt x="95" y="52"/>
                    </a:lnTo>
                    <a:lnTo>
                      <a:pt x="95" y="48"/>
                    </a:lnTo>
                    <a:lnTo>
                      <a:pt x="93" y="48"/>
                    </a:lnTo>
                    <a:lnTo>
                      <a:pt x="93" y="40"/>
                    </a:lnTo>
                    <a:lnTo>
                      <a:pt x="93" y="36"/>
                    </a:lnTo>
                    <a:lnTo>
                      <a:pt x="93" y="17"/>
                    </a:lnTo>
                    <a:lnTo>
                      <a:pt x="93" y="15"/>
                    </a:lnTo>
                    <a:lnTo>
                      <a:pt x="122" y="16"/>
                    </a:lnTo>
                    <a:lnTo>
                      <a:pt x="126" y="16"/>
                    </a:lnTo>
                    <a:lnTo>
                      <a:pt x="139" y="16"/>
                    </a:lnTo>
                    <a:lnTo>
                      <a:pt x="153" y="16"/>
                    </a:lnTo>
                    <a:lnTo>
                      <a:pt x="156" y="16"/>
                    </a:lnTo>
                    <a:lnTo>
                      <a:pt x="156" y="17"/>
                    </a:lnTo>
                    <a:lnTo>
                      <a:pt x="164" y="17"/>
                    </a:lnTo>
                    <a:lnTo>
                      <a:pt x="179" y="17"/>
                    </a:lnTo>
                    <a:lnTo>
                      <a:pt x="188" y="17"/>
                    </a:lnTo>
                    <a:lnTo>
                      <a:pt x="187" y="16"/>
                    </a:lnTo>
                    <a:lnTo>
                      <a:pt x="188" y="15"/>
                    </a:lnTo>
                    <a:lnTo>
                      <a:pt x="188" y="14"/>
                    </a:lnTo>
                    <a:lnTo>
                      <a:pt x="188" y="13"/>
                    </a:lnTo>
                    <a:lnTo>
                      <a:pt x="188" y="12"/>
                    </a:lnTo>
                    <a:lnTo>
                      <a:pt x="188" y="11"/>
                    </a:lnTo>
                    <a:lnTo>
                      <a:pt x="188" y="10"/>
                    </a:lnTo>
                    <a:lnTo>
                      <a:pt x="188" y="7"/>
                    </a:lnTo>
                    <a:lnTo>
                      <a:pt x="199" y="7"/>
                    </a:lnTo>
                    <a:lnTo>
                      <a:pt x="209" y="7"/>
                    </a:lnTo>
                    <a:lnTo>
                      <a:pt x="216" y="7"/>
                    </a:lnTo>
                    <a:lnTo>
                      <a:pt x="233" y="5"/>
                    </a:lnTo>
                    <a:lnTo>
                      <a:pt x="251" y="5"/>
                    </a:lnTo>
                    <a:lnTo>
                      <a:pt x="251" y="4"/>
                    </a:lnTo>
                    <a:lnTo>
                      <a:pt x="251" y="3"/>
                    </a:lnTo>
                    <a:lnTo>
                      <a:pt x="252" y="2"/>
                    </a:lnTo>
                    <a:lnTo>
                      <a:pt x="252" y="1"/>
                    </a:lnTo>
                    <a:lnTo>
                      <a:pt x="260" y="1"/>
                    </a:lnTo>
                    <a:lnTo>
                      <a:pt x="271" y="0"/>
                    </a:lnTo>
                    <a:lnTo>
                      <a:pt x="272" y="0"/>
                    </a:lnTo>
                    <a:lnTo>
                      <a:pt x="274" y="0"/>
                    </a:lnTo>
                    <a:lnTo>
                      <a:pt x="287" y="1"/>
                    </a:lnTo>
                    <a:lnTo>
                      <a:pt x="294" y="1"/>
                    </a:lnTo>
                    <a:lnTo>
                      <a:pt x="311" y="1"/>
                    </a:lnTo>
                    <a:lnTo>
                      <a:pt x="326" y="1"/>
                    </a:lnTo>
                    <a:lnTo>
                      <a:pt x="326" y="3"/>
                    </a:lnTo>
                    <a:close/>
                  </a:path>
                </a:pathLst>
              </a:custGeom>
              <a:solidFill>
                <a:srgbClr val="68AD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3" name="Freeform 33">
                <a:extLst>
                  <a:ext uri="{FF2B5EF4-FFF2-40B4-BE49-F238E27FC236}">
                    <a16:creationId xmlns:a16="http://schemas.microsoft.com/office/drawing/2014/main" id="{D7BD182F-21F3-D3AA-E375-33B7CEBF13DE}"/>
                  </a:ext>
                </a:extLst>
              </p:cNvPr>
              <p:cNvSpPr>
                <a:spLocks/>
              </p:cNvSpPr>
              <p:nvPr/>
            </p:nvSpPr>
            <p:spPr bwMode="auto">
              <a:xfrm>
                <a:off x="1438276" y="3575050"/>
                <a:ext cx="744538" cy="544513"/>
              </a:xfrm>
              <a:custGeom>
                <a:avLst/>
                <a:gdLst>
                  <a:gd name="T0" fmla="*/ 469 w 469"/>
                  <a:gd name="T1" fmla="*/ 95 h 343"/>
                  <a:gd name="T2" fmla="*/ 460 w 469"/>
                  <a:gd name="T3" fmla="*/ 204 h 343"/>
                  <a:gd name="T4" fmla="*/ 390 w 469"/>
                  <a:gd name="T5" fmla="*/ 205 h 343"/>
                  <a:gd name="T6" fmla="*/ 374 w 469"/>
                  <a:gd name="T7" fmla="*/ 308 h 343"/>
                  <a:gd name="T8" fmla="*/ 225 w 469"/>
                  <a:gd name="T9" fmla="*/ 343 h 343"/>
                  <a:gd name="T10" fmla="*/ 219 w 469"/>
                  <a:gd name="T11" fmla="*/ 281 h 343"/>
                  <a:gd name="T12" fmla="*/ 138 w 469"/>
                  <a:gd name="T13" fmla="*/ 343 h 343"/>
                  <a:gd name="T14" fmla="*/ 47 w 469"/>
                  <a:gd name="T15" fmla="*/ 343 h 343"/>
                  <a:gd name="T16" fmla="*/ 3 w 469"/>
                  <a:gd name="T17" fmla="*/ 340 h 343"/>
                  <a:gd name="T18" fmla="*/ 8 w 469"/>
                  <a:gd name="T19" fmla="*/ 335 h 343"/>
                  <a:gd name="T20" fmla="*/ 9 w 469"/>
                  <a:gd name="T21" fmla="*/ 327 h 343"/>
                  <a:gd name="T22" fmla="*/ 13 w 469"/>
                  <a:gd name="T23" fmla="*/ 328 h 343"/>
                  <a:gd name="T24" fmla="*/ 20 w 469"/>
                  <a:gd name="T25" fmla="*/ 323 h 343"/>
                  <a:gd name="T26" fmla="*/ 26 w 469"/>
                  <a:gd name="T27" fmla="*/ 316 h 343"/>
                  <a:gd name="T28" fmla="*/ 22 w 469"/>
                  <a:gd name="T29" fmla="*/ 311 h 343"/>
                  <a:gd name="T30" fmla="*/ 26 w 469"/>
                  <a:gd name="T31" fmla="*/ 302 h 343"/>
                  <a:gd name="T32" fmla="*/ 20 w 469"/>
                  <a:gd name="T33" fmla="*/ 292 h 343"/>
                  <a:gd name="T34" fmla="*/ 20 w 469"/>
                  <a:gd name="T35" fmla="*/ 285 h 343"/>
                  <a:gd name="T36" fmla="*/ 20 w 469"/>
                  <a:gd name="T37" fmla="*/ 275 h 343"/>
                  <a:gd name="T38" fmla="*/ 22 w 469"/>
                  <a:gd name="T39" fmla="*/ 269 h 343"/>
                  <a:gd name="T40" fmla="*/ 19 w 469"/>
                  <a:gd name="T41" fmla="*/ 261 h 343"/>
                  <a:gd name="T42" fmla="*/ 13 w 469"/>
                  <a:gd name="T43" fmla="*/ 257 h 343"/>
                  <a:gd name="T44" fmla="*/ 1 w 469"/>
                  <a:gd name="T45" fmla="*/ 245 h 343"/>
                  <a:gd name="T46" fmla="*/ 11 w 469"/>
                  <a:gd name="T47" fmla="*/ 230 h 343"/>
                  <a:gd name="T48" fmla="*/ 15 w 469"/>
                  <a:gd name="T49" fmla="*/ 219 h 343"/>
                  <a:gd name="T50" fmla="*/ 27 w 469"/>
                  <a:gd name="T51" fmla="*/ 208 h 343"/>
                  <a:gd name="T52" fmla="*/ 35 w 469"/>
                  <a:gd name="T53" fmla="*/ 209 h 343"/>
                  <a:gd name="T54" fmla="*/ 33 w 469"/>
                  <a:gd name="T55" fmla="*/ 195 h 343"/>
                  <a:gd name="T56" fmla="*/ 36 w 469"/>
                  <a:gd name="T57" fmla="*/ 182 h 343"/>
                  <a:gd name="T58" fmla="*/ 39 w 469"/>
                  <a:gd name="T59" fmla="*/ 171 h 343"/>
                  <a:gd name="T60" fmla="*/ 51 w 469"/>
                  <a:gd name="T61" fmla="*/ 157 h 343"/>
                  <a:gd name="T62" fmla="*/ 66 w 469"/>
                  <a:gd name="T63" fmla="*/ 147 h 343"/>
                  <a:gd name="T64" fmla="*/ 74 w 469"/>
                  <a:gd name="T65" fmla="*/ 134 h 343"/>
                  <a:gd name="T66" fmla="*/ 77 w 469"/>
                  <a:gd name="T67" fmla="*/ 120 h 343"/>
                  <a:gd name="T68" fmla="*/ 83 w 469"/>
                  <a:gd name="T69" fmla="*/ 118 h 343"/>
                  <a:gd name="T70" fmla="*/ 80 w 469"/>
                  <a:gd name="T71" fmla="*/ 112 h 343"/>
                  <a:gd name="T72" fmla="*/ 82 w 469"/>
                  <a:gd name="T73" fmla="*/ 110 h 343"/>
                  <a:gd name="T74" fmla="*/ 78 w 469"/>
                  <a:gd name="T75" fmla="*/ 99 h 343"/>
                  <a:gd name="T76" fmla="*/ 78 w 469"/>
                  <a:gd name="T77" fmla="*/ 90 h 343"/>
                  <a:gd name="T78" fmla="*/ 84 w 469"/>
                  <a:gd name="T79" fmla="*/ 85 h 343"/>
                  <a:gd name="T80" fmla="*/ 91 w 469"/>
                  <a:gd name="T81" fmla="*/ 82 h 343"/>
                  <a:gd name="T82" fmla="*/ 93 w 469"/>
                  <a:gd name="T83" fmla="*/ 69 h 343"/>
                  <a:gd name="T84" fmla="*/ 99 w 469"/>
                  <a:gd name="T85" fmla="*/ 58 h 343"/>
                  <a:gd name="T86" fmla="*/ 109 w 469"/>
                  <a:gd name="T87" fmla="*/ 48 h 343"/>
                  <a:gd name="T88" fmla="*/ 115 w 469"/>
                  <a:gd name="T89" fmla="*/ 37 h 343"/>
                  <a:gd name="T90" fmla="*/ 113 w 469"/>
                  <a:gd name="T91" fmla="*/ 22 h 343"/>
                  <a:gd name="T92" fmla="*/ 114 w 469"/>
                  <a:gd name="T93" fmla="*/ 6 h 343"/>
                  <a:gd name="T94" fmla="*/ 119 w 469"/>
                  <a:gd name="T95" fmla="*/ 5 h 343"/>
                  <a:gd name="T96" fmla="*/ 125 w 469"/>
                  <a:gd name="T97" fmla="*/ 2 h 343"/>
                  <a:gd name="T98" fmla="*/ 134 w 469"/>
                  <a:gd name="T99" fmla="*/ 5 h 343"/>
                  <a:gd name="T100" fmla="*/ 138 w 469"/>
                  <a:gd name="T101" fmla="*/ 8 h 343"/>
                  <a:gd name="T102" fmla="*/ 145 w 469"/>
                  <a:gd name="T103" fmla="*/ 11 h 343"/>
                  <a:gd name="T104" fmla="*/ 154 w 469"/>
                  <a:gd name="T105" fmla="*/ 13 h 343"/>
                  <a:gd name="T106" fmla="*/ 162 w 469"/>
                  <a:gd name="T107" fmla="*/ 18 h 343"/>
                  <a:gd name="T108" fmla="*/ 169 w 469"/>
                  <a:gd name="T109" fmla="*/ 13 h 343"/>
                  <a:gd name="T110" fmla="*/ 178 w 469"/>
                  <a:gd name="T111" fmla="*/ 9 h 343"/>
                  <a:gd name="T112" fmla="*/ 182 w 469"/>
                  <a:gd name="T113" fmla="*/ 7 h 343"/>
                  <a:gd name="T114" fmla="*/ 191 w 469"/>
                  <a:gd name="T115" fmla="*/ 3 h 343"/>
                  <a:gd name="T116" fmla="*/ 228 w 469"/>
                  <a:gd name="T117" fmla="*/ 1 h 343"/>
                  <a:gd name="T118" fmla="*/ 303 w 469"/>
                  <a:gd name="T119" fmla="*/ 1 h 343"/>
                  <a:gd name="T120" fmla="*/ 467 w 469"/>
                  <a:gd name="T121" fmla="*/ 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9" h="343">
                    <a:moveTo>
                      <a:pt x="467" y="4"/>
                    </a:moveTo>
                    <a:lnTo>
                      <a:pt x="467" y="6"/>
                    </a:lnTo>
                    <a:lnTo>
                      <a:pt x="467" y="25"/>
                    </a:lnTo>
                    <a:lnTo>
                      <a:pt x="467" y="29"/>
                    </a:lnTo>
                    <a:lnTo>
                      <a:pt x="467" y="37"/>
                    </a:lnTo>
                    <a:lnTo>
                      <a:pt x="469" y="37"/>
                    </a:lnTo>
                    <a:lnTo>
                      <a:pt x="469" y="41"/>
                    </a:lnTo>
                    <a:lnTo>
                      <a:pt x="469" y="50"/>
                    </a:lnTo>
                    <a:lnTo>
                      <a:pt x="469" y="60"/>
                    </a:lnTo>
                    <a:lnTo>
                      <a:pt x="469" y="78"/>
                    </a:lnTo>
                    <a:lnTo>
                      <a:pt x="469" y="79"/>
                    </a:lnTo>
                    <a:lnTo>
                      <a:pt x="469" y="95"/>
                    </a:lnTo>
                    <a:lnTo>
                      <a:pt x="469" y="102"/>
                    </a:lnTo>
                    <a:lnTo>
                      <a:pt x="469" y="108"/>
                    </a:lnTo>
                    <a:lnTo>
                      <a:pt x="469" y="110"/>
                    </a:lnTo>
                    <a:lnTo>
                      <a:pt x="469" y="119"/>
                    </a:lnTo>
                    <a:lnTo>
                      <a:pt x="469" y="120"/>
                    </a:lnTo>
                    <a:lnTo>
                      <a:pt x="467" y="138"/>
                    </a:lnTo>
                    <a:lnTo>
                      <a:pt x="467" y="149"/>
                    </a:lnTo>
                    <a:lnTo>
                      <a:pt x="467" y="162"/>
                    </a:lnTo>
                    <a:lnTo>
                      <a:pt x="467" y="173"/>
                    </a:lnTo>
                    <a:lnTo>
                      <a:pt x="467" y="183"/>
                    </a:lnTo>
                    <a:lnTo>
                      <a:pt x="467" y="204"/>
                    </a:lnTo>
                    <a:lnTo>
                      <a:pt x="460" y="204"/>
                    </a:lnTo>
                    <a:lnTo>
                      <a:pt x="454" y="204"/>
                    </a:lnTo>
                    <a:lnTo>
                      <a:pt x="447" y="204"/>
                    </a:lnTo>
                    <a:lnTo>
                      <a:pt x="436" y="204"/>
                    </a:lnTo>
                    <a:lnTo>
                      <a:pt x="436" y="205"/>
                    </a:lnTo>
                    <a:lnTo>
                      <a:pt x="431" y="204"/>
                    </a:lnTo>
                    <a:lnTo>
                      <a:pt x="429" y="204"/>
                    </a:lnTo>
                    <a:lnTo>
                      <a:pt x="428" y="204"/>
                    </a:lnTo>
                    <a:lnTo>
                      <a:pt x="425" y="204"/>
                    </a:lnTo>
                    <a:lnTo>
                      <a:pt x="424" y="204"/>
                    </a:lnTo>
                    <a:lnTo>
                      <a:pt x="397" y="204"/>
                    </a:lnTo>
                    <a:lnTo>
                      <a:pt x="397" y="205"/>
                    </a:lnTo>
                    <a:lnTo>
                      <a:pt x="390" y="205"/>
                    </a:lnTo>
                    <a:lnTo>
                      <a:pt x="380" y="205"/>
                    </a:lnTo>
                    <a:lnTo>
                      <a:pt x="377" y="205"/>
                    </a:lnTo>
                    <a:lnTo>
                      <a:pt x="374" y="205"/>
                    </a:lnTo>
                    <a:lnTo>
                      <a:pt x="374" y="207"/>
                    </a:lnTo>
                    <a:lnTo>
                      <a:pt x="374" y="209"/>
                    </a:lnTo>
                    <a:lnTo>
                      <a:pt x="374" y="214"/>
                    </a:lnTo>
                    <a:lnTo>
                      <a:pt x="374" y="225"/>
                    </a:lnTo>
                    <a:lnTo>
                      <a:pt x="374" y="261"/>
                    </a:lnTo>
                    <a:lnTo>
                      <a:pt x="374" y="274"/>
                    </a:lnTo>
                    <a:lnTo>
                      <a:pt x="374" y="284"/>
                    </a:lnTo>
                    <a:lnTo>
                      <a:pt x="374" y="307"/>
                    </a:lnTo>
                    <a:lnTo>
                      <a:pt x="374" y="308"/>
                    </a:lnTo>
                    <a:lnTo>
                      <a:pt x="374" y="328"/>
                    </a:lnTo>
                    <a:lnTo>
                      <a:pt x="374" y="342"/>
                    </a:lnTo>
                    <a:lnTo>
                      <a:pt x="369" y="342"/>
                    </a:lnTo>
                    <a:lnTo>
                      <a:pt x="361" y="342"/>
                    </a:lnTo>
                    <a:lnTo>
                      <a:pt x="311" y="342"/>
                    </a:lnTo>
                    <a:lnTo>
                      <a:pt x="304" y="342"/>
                    </a:lnTo>
                    <a:lnTo>
                      <a:pt x="301" y="342"/>
                    </a:lnTo>
                    <a:lnTo>
                      <a:pt x="291" y="342"/>
                    </a:lnTo>
                    <a:lnTo>
                      <a:pt x="285" y="342"/>
                    </a:lnTo>
                    <a:lnTo>
                      <a:pt x="261" y="342"/>
                    </a:lnTo>
                    <a:lnTo>
                      <a:pt x="250" y="342"/>
                    </a:lnTo>
                    <a:lnTo>
                      <a:pt x="225" y="343"/>
                    </a:lnTo>
                    <a:lnTo>
                      <a:pt x="218" y="343"/>
                    </a:lnTo>
                    <a:lnTo>
                      <a:pt x="218" y="340"/>
                    </a:lnTo>
                    <a:lnTo>
                      <a:pt x="218" y="334"/>
                    </a:lnTo>
                    <a:lnTo>
                      <a:pt x="218" y="322"/>
                    </a:lnTo>
                    <a:lnTo>
                      <a:pt x="218" y="318"/>
                    </a:lnTo>
                    <a:lnTo>
                      <a:pt x="218" y="312"/>
                    </a:lnTo>
                    <a:lnTo>
                      <a:pt x="218" y="311"/>
                    </a:lnTo>
                    <a:lnTo>
                      <a:pt x="219" y="309"/>
                    </a:lnTo>
                    <a:lnTo>
                      <a:pt x="219" y="302"/>
                    </a:lnTo>
                    <a:lnTo>
                      <a:pt x="219" y="301"/>
                    </a:lnTo>
                    <a:lnTo>
                      <a:pt x="219" y="291"/>
                    </a:lnTo>
                    <a:lnTo>
                      <a:pt x="219" y="281"/>
                    </a:lnTo>
                    <a:lnTo>
                      <a:pt x="209" y="281"/>
                    </a:lnTo>
                    <a:lnTo>
                      <a:pt x="198" y="281"/>
                    </a:lnTo>
                    <a:lnTo>
                      <a:pt x="187" y="281"/>
                    </a:lnTo>
                    <a:lnTo>
                      <a:pt x="156" y="281"/>
                    </a:lnTo>
                    <a:lnTo>
                      <a:pt x="156" y="291"/>
                    </a:lnTo>
                    <a:lnTo>
                      <a:pt x="156" y="305"/>
                    </a:lnTo>
                    <a:lnTo>
                      <a:pt x="156" y="311"/>
                    </a:lnTo>
                    <a:lnTo>
                      <a:pt x="156" y="329"/>
                    </a:lnTo>
                    <a:lnTo>
                      <a:pt x="156" y="343"/>
                    </a:lnTo>
                    <a:lnTo>
                      <a:pt x="148" y="343"/>
                    </a:lnTo>
                    <a:lnTo>
                      <a:pt x="139" y="343"/>
                    </a:lnTo>
                    <a:lnTo>
                      <a:pt x="138" y="343"/>
                    </a:lnTo>
                    <a:lnTo>
                      <a:pt x="136" y="343"/>
                    </a:lnTo>
                    <a:lnTo>
                      <a:pt x="135" y="343"/>
                    </a:lnTo>
                    <a:lnTo>
                      <a:pt x="132" y="343"/>
                    </a:lnTo>
                    <a:lnTo>
                      <a:pt x="119" y="343"/>
                    </a:lnTo>
                    <a:lnTo>
                      <a:pt x="113" y="342"/>
                    </a:lnTo>
                    <a:lnTo>
                      <a:pt x="97" y="342"/>
                    </a:lnTo>
                    <a:lnTo>
                      <a:pt x="91" y="342"/>
                    </a:lnTo>
                    <a:lnTo>
                      <a:pt x="82" y="342"/>
                    </a:lnTo>
                    <a:lnTo>
                      <a:pt x="73" y="343"/>
                    </a:lnTo>
                    <a:lnTo>
                      <a:pt x="60" y="343"/>
                    </a:lnTo>
                    <a:lnTo>
                      <a:pt x="52" y="343"/>
                    </a:lnTo>
                    <a:lnTo>
                      <a:pt x="47" y="343"/>
                    </a:lnTo>
                    <a:lnTo>
                      <a:pt x="44" y="342"/>
                    </a:lnTo>
                    <a:lnTo>
                      <a:pt x="43" y="343"/>
                    </a:lnTo>
                    <a:lnTo>
                      <a:pt x="40" y="342"/>
                    </a:lnTo>
                    <a:lnTo>
                      <a:pt x="34" y="343"/>
                    </a:lnTo>
                    <a:lnTo>
                      <a:pt x="30" y="343"/>
                    </a:lnTo>
                    <a:lnTo>
                      <a:pt x="23" y="343"/>
                    </a:lnTo>
                    <a:lnTo>
                      <a:pt x="0" y="343"/>
                    </a:lnTo>
                    <a:lnTo>
                      <a:pt x="0" y="342"/>
                    </a:lnTo>
                    <a:lnTo>
                      <a:pt x="1" y="342"/>
                    </a:lnTo>
                    <a:lnTo>
                      <a:pt x="2" y="342"/>
                    </a:lnTo>
                    <a:lnTo>
                      <a:pt x="2" y="341"/>
                    </a:lnTo>
                    <a:lnTo>
                      <a:pt x="3" y="340"/>
                    </a:lnTo>
                    <a:lnTo>
                      <a:pt x="3" y="339"/>
                    </a:lnTo>
                    <a:lnTo>
                      <a:pt x="5" y="339"/>
                    </a:lnTo>
                    <a:lnTo>
                      <a:pt x="5" y="338"/>
                    </a:lnTo>
                    <a:lnTo>
                      <a:pt x="5" y="337"/>
                    </a:lnTo>
                    <a:lnTo>
                      <a:pt x="5" y="336"/>
                    </a:lnTo>
                    <a:lnTo>
                      <a:pt x="5" y="335"/>
                    </a:lnTo>
                    <a:lnTo>
                      <a:pt x="6" y="334"/>
                    </a:lnTo>
                    <a:lnTo>
                      <a:pt x="6" y="335"/>
                    </a:lnTo>
                    <a:lnTo>
                      <a:pt x="7" y="335"/>
                    </a:lnTo>
                    <a:lnTo>
                      <a:pt x="7" y="336"/>
                    </a:lnTo>
                    <a:lnTo>
                      <a:pt x="8" y="336"/>
                    </a:lnTo>
                    <a:lnTo>
                      <a:pt x="8" y="335"/>
                    </a:lnTo>
                    <a:lnTo>
                      <a:pt x="9" y="335"/>
                    </a:lnTo>
                    <a:lnTo>
                      <a:pt x="9" y="333"/>
                    </a:lnTo>
                    <a:lnTo>
                      <a:pt x="9" y="331"/>
                    </a:lnTo>
                    <a:lnTo>
                      <a:pt x="9" y="330"/>
                    </a:lnTo>
                    <a:lnTo>
                      <a:pt x="10" y="330"/>
                    </a:lnTo>
                    <a:lnTo>
                      <a:pt x="11" y="330"/>
                    </a:lnTo>
                    <a:lnTo>
                      <a:pt x="12" y="330"/>
                    </a:lnTo>
                    <a:lnTo>
                      <a:pt x="12" y="329"/>
                    </a:lnTo>
                    <a:lnTo>
                      <a:pt x="11" y="329"/>
                    </a:lnTo>
                    <a:lnTo>
                      <a:pt x="10" y="328"/>
                    </a:lnTo>
                    <a:lnTo>
                      <a:pt x="9" y="328"/>
                    </a:lnTo>
                    <a:lnTo>
                      <a:pt x="9" y="327"/>
                    </a:lnTo>
                    <a:lnTo>
                      <a:pt x="9" y="326"/>
                    </a:lnTo>
                    <a:lnTo>
                      <a:pt x="9" y="325"/>
                    </a:lnTo>
                    <a:lnTo>
                      <a:pt x="9" y="324"/>
                    </a:lnTo>
                    <a:lnTo>
                      <a:pt x="10" y="323"/>
                    </a:lnTo>
                    <a:lnTo>
                      <a:pt x="10" y="322"/>
                    </a:lnTo>
                    <a:lnTo>
                      <a:pt x="11" y="322"/>
                    </a:lnTo>
                    <a:lnTo>
                      <a:pt x="12" y="322"/>
                    </a:lnTo>
                    <a:lnTo>
                      <a:pt x="12" y="323"/>
                    </a:lnTo>
                    <a:lnTo>
                      <a:pt x="12" y="324"/>
                    </a:lnTo>
                    <a:lnTo>
                      <a:pt x="12" y="325"/>
                    </a:lnTo>
                    <a:lnTo>
                      <a:pt x="13" y="326"/>
                    </a:lnTo>
                    <a:lnTo>
                      <a:pt x="13" y="328"/>
                    </a:lnTo>
                    <a:lnTo>
                      <a:pt x="14" y="328"/>
                    </a:lnTo>
                    <a:lnTo>
                      <a:pt x="15" y="328"/>
                    </a:lnTo>
                    <a:lnTo>
                      <a:pt x="15" y="326"/>
                    </a:lnTo>
                    <a:lnTo>
                      <a:pt x="15" y="325"/>
                    </a:lnTo>
                    <a:lnTo>
                      <a:pt x="15" y="324"/>
                    </a:lnTo>
                    <a:lnTo>
                      <a:pt x="17" y="324"/>
                    </a:lnTo>
                    <a:lnTo>
                      <a:pt x="18" y="323"/>
                    </a:lnTo>
                    <a:lnTo>
                      <a:pt x="18" y="322"/>
                    </a:lnTo>
                    <a:lnTo>
                      <a:pt x="18" y="321"/>
                    </a:lnTo>
                    <a:lnTo>
                      <a:pt x="19" y="321"/>
                    </a:lnTo>
                    <a:lnTo>
                      <a:pt x="19" y="322"/>
                    </a:lnTo>
                    <a:lnTo>
                      <a:pt x="20" y="323"/>
                    </a:lnTo>
                    <a:lnTo>
                      <a:pt x="21" y="323"/>
                    </a:lnTo>
                    <a:lnTo>
                      <a:pt x="22" y="324"/>
                    </a:lnTo>
                    <a:lnTo>
                      <a:pt x="23" y="324"/>
                    </a:lnTo>
                    <a:lnTo>
                      <a:pt x="24" y="324"/>
                    </a:lnTo>
                    <a:lnTo>
                      <a:pt x="24" y="323"/>
                    </a:lnTo>
                    <a:lnTo>
                      <a:pt x="23" y="322"/>
                    </a:lnTo>
                    <a:lnTo>
                      <a:pt x="23" y="321"/>
                    </a:lnTo>
                    <a:lnTo>
                      <a:pt x="23" y="320"/>
                    </a:lnTo>
                    <a:lnTo>
                      <a:pt x="24" y="320"/>
                    </a:lnTo>
                    <a:lnTo>
                      <a:pt x="26" y="318"/>
                    </a:lnTo>
                    <a:lnTo>
                      <a:pt x="26" y="317"/>
                    </a:lnTo>
                    <a:lnTo>
                      <a:pt x="26" y="316"/>
                    </a:lnTo>
                    <a:lnTo>
                      <a:pt x="27" y="316"/>
                    </a:lnTo>
                    <a:lnTo>
                      <a:pt x="27" y="314"/>
                    </a:lnTo>
                    <a:lnTo>
                      <a:pt x="26" y="313"/>
                    </a:lnTo>
                    <a:lnTo>
                      <a:pt x="26" y="312"/>
                    </a:lnTo>
                    <a:lnTo>
                      <a:pt x="25" y="313"/>
                    </a:lnTo>
                    <a:lnTo>
                      <a:pt x="23" y="313"/>
                    </a:lnTo>
                    <a:lnTo>
                      <a:pt x="23" y="314"/>
                    </a:lnTo>
                    <a:lnTo>
                      <a:pt x="22" y="314"/>
                    </a:lnTo>
                    <a:lnTo>
                      <a:pt x="22" y="313"/>
                    </a:lnTo>
                    <a:lnTo>
                      <a:pt x="21" y="313"/>
                    </a:lnTo>
                    <a:lnTo>
                      <a:pt x="21" y="312"/>
                    </a:lnTo>
                    <a:lnTo>
                      <a:pt x="22" y="311"/>
                    </a:lnTo>
                    <a:lnTo>
                      <a:pt x="23" y="311"/>
                    </a:lnTo>
                    <a:lnTo>
                      <a:pt x="24" y="310"/>
                    </a:lnTo>
                    <a:lnTo>
                      <a:pt x="24" y="309"/>
                    </a:lnTo>
                    <a:lnTo>
                      <a:pt x="22" y="307"/>
                    </a:lnTo>
                    <a:lnTo>
                      <a:pt x="22" y="305"/>
                    </a:lnTo>
                    <a:lnTo>
                      <a:pt x="21" y="305"/>
                    </a:lnTo>
                    <a:lnTo>
                      <a:pt x="22" y="304"/>
                    </a:lnTo>
                    <a:lnTo>
                      <a:pt x="22" y="303"/>
                    </a:lnTo>
                    <a:lnTo>
                      <a:pt x="23" y="303"/>
                    </a:lnTo>
                    <a:lnTo>
                      <a:pt x="25" y="303"/>
                    </a:lnTo>
                    <a:lnTo>
                      <a:pt x="26" y="303"/>
                    </a:lnTo>
                    <a:lnTo>
                      <a:pt x="26" y="302"/>
                    </a:lnTo>
                    <a:lnTo>
                      <a:pt x="25" y="302"/>
                    </a:lnTo>
                    <a:lnTo>
                      <a:pt x="24" y="301"/>
                    </a:lnTo>
                    <a:lnTo>
                      <a:pt x="24" y="300"/>
                    </a:lnTo>
                    <a:lnTo>
                      <a:pt x="23" y="299"/>
                    </a:lnTo>
                    <a:lnTo>
                      <a:pt x="22" y="298"/>
                    </a:lnTo>
                    <a:lnTo>
                      <a:pt x="21" y="298"/>
                    </a:lnTo>
                    <a:lnTo>
                      <a:pt x="21" y="297"/>
                    </a:lnTo>
                    <a:lnTo>
                      <a:pt x="19" y="296"/>
                    </a:lnTo>
                    <a:lnTo>
                      <a:pt x="19" y="295"/>
                    </a:lnTo>
                    <a:lnTo>
                      <a:pt x="18" y="295"/>
                    </a:lnTo>
                    <a:lnTo>
                      <a:pt x="19" y="292"/>
                    </a:lnTo>
                    <a:lnTo>
                      <a:pt x="20" y="292"/>
                    </a:lnTo>
                    <a:lnTo>
                      <a:pt x="20" y="291"/>
                    </a:lnTo>
                    <a:lnTo>
                      <a:pt x="19" y="290"/>
                    </a:lnTo>
                    <a:lnTo>
                      <a:pt x="18" y="289"/>
                    </a:lnTo>
                    <a:lnTo>
                      <a:pt x="17" y="288"/>
                    </a:lnTo>
                    <a:lnTo>
                      <a:pt x="15" y="287"/>
                    </a:lnTo>
                    <a:lnTo>
                      <a:pt x="15" y="286"/>
                    </a:lnTo>
                    <a:lnTo>
                      <a:pt x="15" y="285"/>
                    </a:lnTo>
                    <a:lnTo>
                      <a:pt x="17" y="285"/>
                    </a:lnTo>
                    <a:lnTo>
                      <a:pt x="18" y="285"/>
                    </a:lnTo>
                    <a:lnTo>
                      <a:pt x="19" y="286"/>
                    </a:lnTo>
                    <a:lnTo>
                      <a:pt x="20" y="286"/>
                    </a:lnTo>
                    <a:lnTo>
                      <a:pt x="20" y="285"/>
                    </a:lnTo>
                    <a:lnTo>
                      <a:pt x="20" y="284"/>
                    </a:lnTo>
                    <a:lnTo>
                      <a:pt x="19" y="284"/>
                    </a:lnTo>
                    <a:lnTo>
                      <a:pt x="18" y="282"/>
                    </a:lnTo>
                    <a:lnTo>
                      <a:pt x="17" y="281"/>
                    </a:lnTo>
                    <a:lnTo>
                      <a:pt x="17" y="279"/>
                    </a:lnTo>
                    <a:lnTo>
                      <a:pt x="15" y="278"/>
                    </a:lnTo>
                    <a:lnTo>
                      <a:pt x="15" y="277"/>
                    </a:lnTo>
                    <a:lnTo>
                      <a:pt x="17" y="276"/>
                    </a:lnTo>
                    <a:lnTo>
                      <a:pt x="17" y="275"/>
                    </a:lnTo>
                    <a:lnTo>
                      <a:pt x="18" y="275"/>
                    </a:lnTo>
                    <a:lnTo>
                      <a:pt x="19" y="275"/>
                    </a:lnTo>
                    <a:lnTo>
                      <a:pt x="20" y="275"/>
                    </a:lnTo>
                    <a:lnTo>
                      <a:pt x="20" y="274"/>
                    </a:lnTo>
                    <a:lnTo>
                      <a:pt x="20" y="273"/>
                    </a:lnTo>
                    <a:lnTo>
                      <a:pt x="19" y="273"/>
                    </a:lnTo>
                    <a:lnTo>
                      <a:pt x="18" y="273"/>
                    </a:lnTo>
                    <a:lnTo>
                      <a:pt x="17" y="273"/>
                    </a:lnTo>
                    <a:lnTo>
                      <a:pt x="17" y="272"/>
                    </a:lnTo>
                    <a:lnTo>
                      <a:pt x="18" y="272"/>
                    </a:lnTo>
                    <a:lnTo>
                      <a:pt x="19" y="271"/>
                    </a:lnTo>
                    <a:lnTo>
                      <a:pt x="20" y="270"/>
                    </a:lnTo>
                    <a:lnTo>
                      <a:pt x="20" y="269"/>
                    </a:lnTo>
                    <a:lnTo>
                      <a:pt x="21" y="269"/>
                    </a:lnTo>
                    <a:lnTo>
                      <a:pt x="22" y="269"/>
                    </a:lnTo>
                    <a:lnTo>
                      <a:pt x="22" y="268"/>
                    </a:lnTo>
                    <a:lnTo>
                      <a:pt x="22" y="266"/>
                    </a:lnTo>
                    <a:lnTo>
                      <a:pt x="21" y="266"/>
                    </a:lnTo>
                    <a:lnTo>
                      <a:pt x="21" y="265"/>
                    </a:lnTo>
                    <a:lnTo>
                      <a:pt x="21" y="266"/>
                    </a:lnTo>
                    <a:lnTo>
                      <a:pt x="20" y="266"/>
                    </a:lnTo>
                    <a:lnTo>
                      <a:pt x="19" y="266"/>
                    </a:lnTo>
                    <a:lnTo>
                      <a:pt x="19" y="265"/>
                    </a:lnTo>
                    <a:lnTo>
                      <a:pt x="19" y="264"/>
                    </a:lnTo>
                    <a:lnTo>
                      <a:pt x="20" y="264"/>
                    </a:lnTo>
                    <a:lnTo>
                      <a:pt x="19" y="262"/>
                    </a:lnTo>
                    <a:lnTo>
                      <a:pt x="19" y="261"/>
                    </a:lnTo>
                    <a:lnTo>
                      <a:pt x="20" y="260"/>
                    </a:lnTo>
                    <a:lnTo>
                      <a:pt x="21" y="259"/>
                    </a:lnTo>
                    <a:lnTo>
                      <a:pt x="20" y="259"/>
                    </a:lnTo>
                    <a:lnTo>
                      <a:pt x="19" y="259"/>
                    </a:lnTo>
                    <a:lnTo>
                      <a:pt x="19" y="260"/>
                    </a:lnTo>
                    <a:lnTo>
                      <a:pt x="18" y="261"/>
                    </a:lnTo>
                    <a:lnTo>
                      <a:pt x="17" y="261"/>
                    </a:lnTo>
                    <a:lnTo>
                      <a:pt x="15" y="260"/>
                    </a:lnTo>
                    <a:lnTo>
                      <a:pt x="14" y="260"/>
                    </a:lnTo>
                    <a:lnTo>
                      <a:pt x="14" y="259"/>
                    </a:lnTo>
                    <a:lnTo>
                      <a:pt x="14" y="258"/>
                    </a:lnTo>
                    <a:lnTo>
                      <a:pt x="13" y="257"/>
                    </a:lnTo>
                    <a:lnTo>
                      <a:pt x="12" y="257"/>
                    </a:lnTo>
                    <a:lnTo>
                      <a:pt x="11" y="256"/>
                    </a:lnTo>
                    <a:lnTo>
                      <a:pt x="10" y="256"/>
                    </a:lnTo>
                    <a:lnTo>
                      <a:pt x="9" y="256"/>
                    </a:lnTo>
                    <a:lnTo>
                      <a:pt x="8" y="254"/>
                    </a:lnTo>
                    <a:lnTo>
                      <a:pt x="6" y="252"/>
                    </a:lnTo>
                    <a:lnTo>
                      <a:pt x="5" y="251"/>
                    </a:lnTo>
                    <a:lnTo>
                      <a:pt x="6" y="248"/>
                    </a:lnTo>
                    <a:lnTo>
                      <a:pt x="2" y="247"/>
                    </a:lnTo>
                    <a:lnTo>
                      <a:pt x="1" y="247"/>
                    </a:lnTo>
                    <a:lnTo>
                      <a:pt x="1" y="246"/>
                    </a:lnTo>
                    <a:lnTo>
                      <a:pt x="1" y="245"/>
                    </a:lnTo>
                    <a:lnTo>
                      <a:pt x="5" y="244"/>
                    </a:lnTo>
                    <a:lnTo>
                      <a:pt x="8" y="241"/>
                    </a:lnTo>
                    <a:lnTo>
                      <a:pt x="8" y="240"/>
                    </a:lnTo>
                    <a:lnTo>
                      <a:pt x="7" y="238"/>
                    </a:lnTo>
                    <a:lnTo>
                      <a:pt x="7" y="237"/>
                    </a:lnTo>
                    <a:lnTo>
                      <a:pt x="7" y="236"/>
                    </a:lnTo>
                    <a:lnTo>
                      <a:pt x="7" y="235"/>
                    </a:lnTo>
                    <a:lnTo>
                      <a:pt x="8" y="234"/>
                    </a:lnTo>
                    <a:lnTo>
                      <a:pt x="10" y="233"/>
                    </a:lnTo>
                    <a:lnTo>
                      <a:pt x="11" y="232"/>
                    </a:lnTo>
                    <a:lnTo>
                      <a:pt x="11" y="231"/>
                    </a:lnTo>
                    <a:lnTo>
                      <a:pt x="11" y="230"/>
                    </a:lnTo>
                    <a:lnTo>
                      <a:pt x="10" y="228"/>
                    </a:lnTo>
                    <a:lnTo>
                      <a:pt x="9" y="227"/>
                    </a:lnTo>
                    <a:lnTo>
                      <a:pt x="9" y="226"/>
                    </a:lnTo>
                    <a:lnTo>
                      <a:pt x="9" y="225"/>
                    </a:lnTo>
                    <a:lnTo>
                      <a:pt x="10" y="224"/>
                    </a:lnTo>
                    <a:lnTo>
                      <a:pt x="9" y="222"/>
                    </a:lnTo>
                    <a:lnTo>
                      <a:pt x="8" y="222"/>
                    </a:lnTo>
                    <a:lnTo>
                      <a:pt x="9" y="221"/>
                    </a:lnTo>
                    <a:lnTo>
                      <a:pt x="12" y="217"/>
                    </a:lnTo>
                    <a:lnTo>
                      <a:pt x="13" y="217"/>
                    </a:lnTo>
                    <a:lnTo>
                      <a:pt x="14" y="218"/>
                    </a:lnTo>
                    <a:lnTo>
                      <a:pt x="15" y="219"/>
                    </a:lnTo>
                    <a:lnTo>
                      <a:pt x="15" y="218"/>
                    </a:lnTo>
                    <a:lnTo>
                      <a:pt x="17" y="218"/>
                    </a:lnTo>
                    <a:lnTo>
                      <a:pt x="17" y="217"/>
                    </a:lnTo>
                    <a:lnTo>
                      <a:pt x="18" y="212"/>
                    </a:lnTo>
                    <a:lnTo>
                      <a:pt x="18" y="211"/>
                    </a:lnTo>
                    <a:lnTo>
                      <a:pt x="19" y="210"/>
                    </a:lnTo>
                    <a:lnTo>
                      <a:pt x="22" y="211"/>
                    </a:lnTo>
                    <a:lnTo>
                      <a:pt x="23" y="211"/>
                    </a:lnTo>
                    <a:lnTo>
                      <a:pt x="24" y="211"/>
                    </a:lnTo>
                    <a:lnTo>
                      <a:pt x="25" y="209"/>
                    </a:lnTo>
                    <a:lnTo>
                      <a:pt x="25" y="208"/>
                    </a:lnTo>
                    <a:lnTo>
                      <a:pt x="27" y="208"/>
                    </a:lnTo>
                    <a:lnTo>
                      <a:pt x="28" y="207"/>
                    </a:lnTo>
                    <a:lnTo>
                      <a:pt x="30" y="207"/>
                    </a:lnTo>
                    <a:lnTo>
                      <a:pt x="31" y="207"/>
                    </a:lnTo>
                    <a:lnTo>
                      <a:pt x="32" y="208"/>
                    </a:lnTo>
                    <a:lnTo>
                      <a:pt x="33" y="208"/>
                    </a:lnTo>
                    <a:lnTo>
                      <a:pt x="33" y="209"/>
                    </a:lnTo>
                    <a:lnTo>
                      <a:pt x="33" y="210"/>
                    </a:lnTo>
                    <a:lnTo>
                      <a:pt x="31" y="212"/>
                    </a:lnTo>
                    <a:lnTo>
                      <a:pt x="31" y="213"/>
                    </a:lnTo>
                    <a:lnTo>
                      <a:pt x="34" y="212"/>
                    </a:lnTo>
                    <a:lnTo>
                      <a:pt x="35" y="212"/>
                    </a:lnTo>
                    <a:lnTo>
                      <a:pt x="35" y="209"/>
                    </a:lnTo>
                    <a:lnTo>
                      <a:pt x="35" y="208"/>
                    </a:lnTo>
                    <a:lnTo>
                      <a:pt x="36" y="207"/>
                    </a:lnTo>
                    <a:lnTo>
                      <a:pt x="38" y="207"/>
                    </a:lnTo>
                    <a:lnTo>
                      <a:pt x="38" y="204"/>
                    </a:lnTo>
                    <a:lnTo>
                      <a:pt x="38" y="202"/>
                    </a:lnTo>
                    <a:lnTo>
                      <a:pt x="37" y="200"/>
                    </a:lnTo>
                    <a:lnTo>
                      <a:pt x="36" y="199"/>
                    </a:lnTo>
                    <a:lnTo>
                      <a:pt x="36" y="198"/>
                    </a:lnTo>
                    <a:lnTo>
                      <a:pt x="36" y="197"/>
                    </a:lnTo>
                    <a:lnTo>
                      <a:pt x="35" y="196"/>
                    </a:lnTo>
                    <a:lnTo>
                      <a:pt x="34" y="196"/>
                    </a:lnTo>
                    <a:lnTo>
                      <a:pt x="33" y="195"/>
                    </a:lnTo>
                    <a:lnTo>
                      <a:pt x="32" y="195"/>
                    </a:lnTo>
                    <a:lnTo>
                      <a:pt x="32" y="194"/>
                    </a:lnTo>
                    <a:lnTo>
                      <a:pt x="33" y="194"/>
                    </a:lnTo>
                    <a:lnTo>
                      <a:pt x="34" y="193"/>
                    </a:lnTo>
                    <a:lnTo>
                      <a:pt x="34" y="192"/>
                    </a:lnTo>
                    <a:lnTo>
                      <a:pt x="34" y="191"/>
                    </a:lnTo>
                    <a:lnTo>
                      <a:pt x="36" y="189"/>
                    </a:lnTo>
                    <a:lnTo>
                      <a:pt x="37" y="188"/>
                    </a:lnTo>
                    <a:lnTo>
                      <a:pt x="37" y="187"/>
                    </a:lnTo>
                    <a:lnTo>
                      <a:pt x="35" y="185"/>
                    </a:lnTo>
                    <a:lnTo>
                      <a:pt x="35" y="184"/>
                    </a:lnTo>
                    <a:lnTo>
                      <a:pt x="36" y="182"/>
                    </a:lnTo>
                    <a:lnTo>
                      <a:pt x="36" y="181"/>
                    </a:lnTo>
                    <a:lnTo>
                      <a:pt x="35" y="181"/>
                    </a:lnTo>
                    <a:lnTo>
                      <a:pt x="35" y="180"/>
                    </a:lnTo>
                    <a:lnTo>
                      <a:pt x="36" y="180"/>
                    </a:lnTo>
                    <a:lnTo>
                      <a:pt x="37" y="179"/>
                    </a:lnTo>
                    <a:lnTo>
                      <a:pt x="37" y="178"/>
                    </a:lnTo>
                    <a:lnTo>
                      <a:pt x="37" y="176"/>
                    </a:lnTo>
                    <a:lnTo>
                      <a:pt x="36" y="174"/>
                    </a:lnTo>
                    <a:lnTo>
                      <a:pt x="36" y="173"/>
                    </a:lnTo>
                    <a:lnTo>
                      <a:pt x="37" y="172"/>
                    </a:lnTo>
                    <a:lnTo>
                      <a:pt x="38" y="171"/>
                    </a:lnTo>
                    <a:lnTo>
                      <a:pt x="39" y="171"/>
                    </a:lnTo>
                    <a:lnTo>
                      <a:pt x="41" y="168"/>
                    </a:lnTo>
                    <a:lnTo>
                      <a:pt x="41" y="166"/>
                    </a:lnTo>
                    <a:lnTo>
                      <a:pt x="43" y="166"/>
                    </a:lnTo>
                    <a:lnTo>
                      <a:pt x="44" y="164"/>
                    </a:lnTo>
                    <a:lnTo>
                      <a:pt x="44" y="162"/>
                    </a:lnTo>
                    <a:lnTo>
                      <a:pt x="44" y="161"/>
                    </a:lnTo>
                    <a:lnTo>
                      <a:pt x="45" y="160"/>
                    </a:lnTo>
                    <a:lnTo>
                      <a:pt x="47" y="159"/>
                    </a:lnTo>
                    <a:lnTo>
                      <a:pt x="48" y="159"/>
                    </a:lnTo>
                    <a:lnTo>
                      <a:pt x="49" y="159"/>
                    </a:lnTo>
                    <a:lnTo>
                      <a:pt x="50" y="158"/>
                    </a:lnTo>
                    <a:lnTo>
                      <a:pt x="51" y="157"/>
                    </a:lnTo>
                    <a:lnTo>
                      <a:pt x="52" y="154"/>
                    </a:lnTo>
                    <a:lnTo>
                      <a:pt x="53" y="153"/>
                    </a:lnTo>
                    <a:lnTo>
                      <a:pt x="54" y="153"/>
                    </a:lnTo>
                    <a:lnTo>
                      <a:pt x="56" y="153"/>
                    </a:lnTo>
                    <a:lnTo>
                      <a:pt x="58" y="154"/>
                    </a:lnTo>
                    <a:lnTo>
                      <a:pt x="59" y="151"/>
                    </a:lnTo>
                    <a:lnTo>
                      <a:pt x="59" y="150"/>
                    </a:lnTo>
                    <a:lnTo>
                      <a:pt x="60" y="150"/>
                    </a:lnTo>
                    <a:lnTo>
                      <a:pt x="63" y="150"/>
                    </a:lnTo>
                    <a:lnTo>
                      <a:pt x="64" y="149"/>
                    </a:lnTo>
                    <a:lnTo>
                      <a:pt x="65" y="148"/>
                    </a:lnTo>
                    <a:lnTo>
                      <a:pt x="66" y="147"/>
                    </a:lnTo>
                    <a:lnTo>
                      <a:pt x="67" y="147"/>
                    </a:lnTo>
                    <a:lnTo>
                      <a:pt x="69" y="146"/>
                    </a:lnTo>
                    <a:lnTo>
                      <a:pt x="70" y="143"/>
                    </a:lnTo>
                    <a:lnTo>
                      <a:pt x="70" y="142"/>
                    </a:lnTo>
                    <a:lnTo>
                      <a:pt x="70" y="141"/>
                    </a:lnTo>
                    <a:lnTo>
                      <a:pt x="71" y="141"/>
                    </a:lnTo>
                    <a:lnTo>
                      <a:pt x="71" y="140"/>
                    </a:lnTo>
                    <a:lnTo>
                      <a:pt x="72" y="138"/>
                    </a:lnTo>
                    <a:lnTo>
                      <a:pt x="73" y="137"/>
                    </a:lnTo>
                    <a:lnTo>
                      <a:pt x="74" y="136"/>
                    </a:lnTo>
                    <a:lnTo>
                      <a:pt x="74" y="135"/>
                    </a:lnTo>
                    <a:lnTo>
                      <a:pt x="74" y="134"/>
                    </a:lnTo>
                    <a:lnTo>
                      <a:pt x="73" y="133"/>
                    </a:lnTo>
                    <a:lnTo>
                      <a:pt x="72" y="132"/>
                    </a:lnTo>
                    <a:lnTo>
                      <a:pt x="72" y="131"/>
                    </a:lnTo>
                    <a:lnTo>
                      <a:pt x="73" y="130"/>
                    </a:lnTo>
                    <a:lnTo>
                      <a:pt x="74" y="129"/>
                    </a:lnTo>
                    <a:lnTo>
                      <a:pt x="74" y="128"/>
                    </a:lnTo>
                    <a:lnTo>
                      <a:pt x="75" y="128"/>
                    </a:lnTo>
                    <a:lnTo>
                      <a:pt x="74" y="127"/>
                    </a:lnTo>
                    <a:lnTo>
                      <a:pt x="75" y="125"/>
                    </a:lnTo>
                    <a:lnTo>
                      <a:pt x="76" y="122"/>
                    </a:lnTo>
                    <a:lnTo>
                      <a:pt x="77" y="121"/>
                    </a:lnTo>
                    <a:lnTo>
                      <a:pt x="77" y="120"/>
                    </a:lnTo>
                    <a:lnTo>
                      <a:pt x="76" y="119"/>
                    </a:lnTo>
                    <a:lnTo>
                      <a:pt x="76" y="118"/>
                    </a:lnTo>
                    <a:lnTo>
                      <a:pt x="77" y="118"/>
                    </a:lnTo>
                    <a:lnTo>
                      <a:pt x="78" y="118"/>
                    </a:lnTo>
                    <a:lnTo>
                      <a:pt x="78" y="119"/>
                    </a:lnTo>
                    <a:lnTo>
                      <a:pt x="79" y="119"/>
                    </a:lnTo>
                    <a:lnTo>
                      <a:pt x="80" y="119"/>
                    </a:lnTo>
                    <a:lnTo>
                      <a:pt x="82" y="119"/>
                    </a:lnTo>
                    <a:lnTo>
                      <a:pt x="82" y="120"/>
                    </a:lnTo>
                    <a:lnTo>
                      <a:pt x="83" y="120"/>
                    </a:lnTo>
                    <a:lnTo>
                      <a:pt x="84" y="119"/>
                    </a:lnTo>
                    <a:lnTo>
                      <a:pt x="83" y="118"/>
                    </a:lnTo>
                    <a:lnTo>
                      <a:pt x="82" y="118"/>
                    </a:lnTo>
                    <a:lnTo>
                      <a:pt x="82" y="117"/>
                    </a:lnTo>
                    <a:lnTo>
                      <a:pt x="80" y="117"/>
                    </a:lnTo>
                    <a:lnTo>
                      <a:pt x="79" y="117"/>
                    </a:lnTo>
                    <a:lnTo>
                      <a:pt x="78" y="116"/>
                    </a:lnTo>
                    <a:lnTo>
                      <a:pt x="78" y="115"/>
                    </a:lnTo>
                    <a:lnTo>
                      <a:pt x="79" y="116"/>
                    </a:lnTo>
                    <a:lnTo>
                      <a:pt x="80" y="116"/>
                    </a:lnTo>
                    <a:lnTo>
                      <a:pt x="80" y="115"/>
                    </a:lnTo>
                    <a:lnTo>
                      <a:pt x="82" y="115"/>
                    </a:lnTo>
                    <a:lnTo>
                      <a:pt x="82" y="114"/>
                    </a:lnTo>
                    <a:lnTo>
                      <a:pt x="80" y="112"/>
                    </a:lnTo>
                    <a:lnTo>
                      <a:pt x="80" y="111"/>
                    </a:lnTo>
                    <a:lnTo>
                      <a:pt x="80" y="112"/>
                    </a:lnTo>
                    <a:lnTo>
                      <a:pt x="79" y="112"/>
                    </a:lnTo>
                    <a:lnTo>
                      <a:pt x="77" y="112"/>
                    </a:lnTo>
                    <a:lnTo>
                      <a:pt x="76" y="111"/>
                    </a:lnTo>
                    <a:lnTo>
                      <a:pt x="76" y="110"/>
                    </a:lnTo>
                    <a:lnTo>
                      <a:pt x="77" y="110"/>
                    </a:lnTo>
                    <a:lnTo>
                      <a:pt x="78" y="110"/>
                    </a:lnTo>
                    <a:lnTo>
                      <a:pt x="79" y="111"/>
                    </a:lnTo>
                    <a:lnTo>
                      <a:pt x="80" y="111"/>
                    </a:lnTo>
                    <a:lnTo>
                      <a:pt x="80" y="110"/>
                    </a:lnTo>
                    <a:lnTo>
                      <a:pt x="82" y="110"/>
                    </a:lnTo>
                    <a:lnTo>
                      <a:pt x="82" y="109"/>
                    </a:lnTo>
                    <a:lnTo>
                      <a:pt x="80" y="108"/>
                    </a:lnTo>
                    <a:lnTo>
                      <a:pt x="80" y="107"/>
                    </a:lnTo>
                    <a:lnTo>
                      <a:pt x="79" y="106"/>
                    </a:lnTo>
                    <a:lnTo>
                      <a:pt x="79" y="105"/>
                    </a:lnTo>
                    <a:lnTo>
                      <a:pt x="77" y="105"/>
                    </a:lnTo>
                    <a:lnTo>
                      <a:pt x="76" y="104"/>
                    </a:lnTo>
                    <a:lnTo>
                      <a:pt x="75" y="103"/>
                    </a:lnTo>
                    <a:lnTo>
                      <a:pt x="75" y="102"/>
                    </a:lnTo>
                    <a:lnTo>
                      <a:pt x="76" y="101"/>
                    </a:lnTo>
                    <a:lnTo>
                      <a:pt x="77" y="99"/>
                    </a:lnTo>
                    <a:lnTo>
                      <a:pt x="78" y="99"/>
                    </a:lnTo>
                    <a:lnTo>
                      <a:pt x="80" y="99"/>
                    </a:lnTo>
                    <a:lnTo>
                      <a:pt x="82" y="98"/>
                    </a:lnTo>
                    <a:lnTo>
                      <a:pt x="82" y="97"/>
                    </a:lnTo>
                    <a:lnTo>
                      <a:pt x="82" y="96"/>
                    </a:lnTo>
                    <a:lnTo>
                      <a:pt x="80" y="95"/>
                    </a:lnTo>
                    <a:lnTo>
                      <a:pt x="79" y="94"/>
                    </a:lnTo>
                    <a:lnTo>
                      <a:pt x="79" y="93"/>
                    </a:lnTo>
                    <a:lnTo>
                      <a:pt x="78" y="93"/>
                    </a:lnTo>
                    <a:lnTo>
                      <a:pt x="78" y="92"/>
                    </a:lnTo>
                    <a:lnTo>
                      <a:pt x="77" y="92"/>
                    </a:lnTo>
                    <a:lnTo>
                      <a:pt x="77" y="91"/>
                    </a:lnTo>
                    <a:lnTo>
                      <a:pt x="78" y="90"/>
                    </a:lnTo>
                    <a:lnTo>
                      <a:pt x="78" y="89"/>
                    </a:lnTo>
                    <a:lnTo>
                      <a:pt x="79" y="87"/>
                    </a:lnTo>
                    <a:lnTo>
                      <a:pt x="79" y="89"/>
                    </a:lnTo>
                    <a:lnTo>
                      <a:pt x="80" y="91"/>
                    </a:lnTo>
                    <a:lnTo>
                      <a:pt x="82" y="91"/>
                    </a:lnTo>
                    <a:lnTo>
                      <a:pt x="83" y="91"/>
                    </a:lnTo>
                    <a:lnTo>
                      <a:pt x="83" y="90"/>
                    </a:lnTo>
                    <a:lnTo>
                      <a:pt x="83" y="89"/>
                    </a:lnTo>
                    <a:lnTo>
                      <a:pt x="83" y="87"/>
                    </a:lnTo>
                    <a:lnTo>
                      <a:pt x="83" y="86"/>
                    </a:lnTo>
                    <a:lnTo>
                      <a:pt x="83" y="85"/>
                    </a:lnTo>
                    <a:lnTo>
                      <a:pt x="84" y="85"/>
                    </a:lnTo>
                    <a:lnTo>
                      <a:pt x="84" y="86"/>
                    </a:lnTo>
                    <a:lnTo>
                      <a:pt x="84" y="87"/>
                    </a:lnTo>
                    <a:lnTo>
                      <a:pt x="84" y="89"/>
                    </a:lnTo>
                    <a:lnTo>
                      <a:pt x="85" y="89"/>
                    </a:lnTo>
                    <a:lnTo>
                      <a:pt x="86" y="89"/>
                    </a:lnTo>
                    <a:lnTo>
                      <a:pt x="87" y="87"/>
                    </a:lnTo>
                    <a:lnTo>
                      <a:pt x="88" y="86"/>
                    </a:lnTo>
                    <a:lnTo>
                      <a:pt x="90" y="86"/>
                    </a:lnTo>
                    <a:lnTo>
                      <a:pt x="91" y="85"/>
                    </a:lnTo>
                    <a:lnTo>
                      <a:pt x="92" y="84"/>
                    </a:lnTo>
                    <a:lnTo>
                      <a:pt x="92" y="83"/>
                    </a:lnTo>
                    <a:lnTo>
                      <a:pt x="91" y="82"/>
                    </a:lnTo>
                    <a:lnTo>
                      <a:pt x="91" y="80"/>
                    </a:lnTo>
                    <a:lnTo>
                      <a:pt x="91" y="78"/>
                    </a:lnTo>
                    <a:lnTo>
                      <a:pt x="91" y="77"/>
                    </a:lnTo>
                    <a:lnTo>
                      <a:pt x="93" y="76"/>
                    </a:lnTo>
                    <a:lnTo>
                      <a:pt x="95" y="76"/>
                    </a:lnTo>
                    <a:lnTo>
                      <a:pt x="97" y="76"/>
                    </a:lnTo>
                    <a:lnTo>
                      <a:pt x="97" y="74"/>
                    </a:lnTo>
                    <a:lnTo>
                      <a:pt x="97" y="73"/>
                    </a:lnTo>
                    <a:lnTo>
                      <a:pt x="95" y="72"/>
                    </a:lnTo>
                    <a:lnTo>
                      <a:pt x="93" y="71"/>
                    </a:lnTo>
                    <a:lnTo>
                      <a:pt x="93" y="70"/>
                    </a:lnTo>
                    <a:lnTo>
                      <a:pt x="93" y="69"/>
                    </a:lnTo>
                    <a:lnTo>
                      <a:pt x="95" y="69"/>
                    </a:lnTo>
                    <a:lnTo>
                      <a:pt x="97" y="69"/>
                    </a:lnTo>
                    <a:lnTo>
                      <a:pt x="98" y="68"/>
                    </a:lnTo>
                    <a:lnTo>
                      <a:pt x="98" y="67"/>
                    </a:lnTo>
                    <a:lnTo>
                      <a:pt x="98" y="66"/>
                    </a:lnTo>
                    <a:lnTo>
                      <a:pt x="97" y="65"/>
                    </a:lnTo>
                    <a:lnTo>
                      <a:pt x="97" y="63"/>
                    </a:lnTo>
                    <a:lnTo>
                      <a:pt x="97" y="60"/>
                    </a:lnTo>
                    <a:lnTo>
                      <a:pt x="97" y="59"/>
                    </a:lnTo>
                    <a:lnTo>
                      <a:pt x="97" y="58"/>
                    </a:lnTo>
                    <a:lnTo>
                      <a:pt x="98" y="58"/>
                    </a:lnTo>
                    <a:lnTo>
                      <a:pt x="99" y="58"/>
                    </a:lnTo>
                    <a:lnTo>
                      <a:pt x="100" y="58"/>
                    </a:lnTo>
                    <a:lnTo>
                      <a:pt x="102" y="59"/>
                    </a:lnTo>
                    <a:lnTo>
                      <a:pt x="103" y="58"/>
                    </a:lnTo>
                    <a:lnTo>
                      <a:pt x="105" y="58"/>
                    </a:lnTo>
                    <a:lnTo>
                      <a:pt x="108" y="57"/>
                    </a:lnTo>
                    <a:lnTo>
                      <a:pt x="110" y="56"/>
                    </a:lnTo>
                    <a:lnTo>
                      <a:pt x="111" y="55"/>
                    </a:lnTo>
                    <a:lnTo>
                      <a:pt x="111" y="54"/>
                    </a:lnTo>
                    <a:lnTo>
                      <a:pt x="111" y="53"/>
                    </a:lnTo>
                    <a:lnTo>
                      <a:pt x="110" y="52"/>
                    </a:lnTo>
                    <a:lnTo>
                      <a:pt x="109" y="51"/>
                    </a:lnTo>
                    <a:lnTo>
                      <a:pt x="109" y="48"/>
                    </a:lnTo>
                    <a:lnTo>
                      <a:pt x="109" y="47"/>
                    </a:lnTo>
                    <a:lnTo>
                      <a:pt x="110" y="47"/>
                    </a:lnTo>
                    <a:lnTo>
                      <a:pt x="110" y="46"/>
                    </a:lnTo>
                    <a:lnTo>
                      <a:pt x="111" y="46"/>
                    </a:lnTo>
                    <a:lnTo>
                      <a:pt x="113" y="45"/>
                    </a:lnTo>
                    <a:lnTo>
                      <a:pt x="114" y="43"/>
                    </a:lnTo>
                    <a:lnTo>
                      <a:pt x="115" y="42"/>
                    </a:lnTo>
                    <a:lnTo>
                      <a:pt x="113" y="41"/>
                    </a:lnTo>
                    <a:lnTo>
                      <a:pt x="113" y="40"/>
                    </a:lnTo>
                    <a:lnTo>
                      <a:pt x="114" y="39"/>
                    </a:lnTo>
                    <a:lnTo>
                      <a:pt x="115" y="38"/>
                    </a:lnTo>
                    <a:lnTo>
                      <a:pt x="115" y="37"/>
                    </a:lnTo>
                    <a:lnTo>
                      <a:pt x="115" y="35"/>
                    </a:lnTo>
                    <a:lnTo>
                      <a:pt x="115" y="34"/>
                    </a:lnTo>
                    <a:lnTo>
                      <a:pt x="114" y="33"/>
                    </a:lnTo>
                    <a:lnTo>
                      <a:pt x="113" y="31"/>
                    </a:lnTo>
                    <a:lnTo>
                      <a:pt x="112" y="31"/>
                    </a:lnTo>
                    <a:lnTo>
                      <a:pt x="109" y="30"/>
                    </a:lnTo>
                    <a:lnTo>
                      <a:pt x="108" y="30"/>
                    </a:lnTo>
                    <a:lnTo>
                      <a:pt x="106" y="29"/>
                    </a:lnTo>
                    <a:lnTo>
                      <a:pt x="106" y="28"/>
                    </a:lnTo>
                    <a:lnTo>
                      <a:pt x="109" y="27"/>
                    </a:lnTo>
                    <a:lnTo>
                      <a:pt x="110" y="26"/>
                    </a:lnTo>
                    <a:lnTo>
                      <a:pt x="113" y="22"/>
                    </a:lnTo>
                    <a:lnTo>
                      <a:pt x="113" y="21"/>
                    </a:lnTo>
                    <a:lnTo>
                      <a:pt x="112" y="20"/>
                    </a:lnTo>
                    <a:lnTo>
                      <a:pt x="110" y="18"/>
                    </a:lnTo>
                    <a:lnTo>
                      <a:pt x="111" y="16"/>
                    </a:lnTo>
                    <a:lnTo>
                      <a:pt x="112" y="14"/>
                    </a:lnTo>
                    <a:lnTo>
                      <a:pt x="112" y="12"/>
                    </a:lnTo>
                    <a:lnTo>
                      <a:pt x="112" y="11"/>
                    </a:lnTo>
                    <a:lnTo>
                      <a:pt x="113" y="11"/>
                    </a:lnTo>
                    <a:lnTo>
                      <a:pt x="114" y="9"/>
                    </a:lnTo>
                    <a:lnTo>
                      <a:pt x="114" y="8"/>
                    </a:lnTo>
                    <a:lnTo>
                      <a:pt x="114" y="7"/>
                    </a:lnTo>
                    <a:lnTo>
                      <a:pt x="114" y="6"/>
                    </a:lnTo>
                    <a:lnTo>
                      <a:pt x="115" y="6"/>
                    </a:lnTo>
                    <a:lnTo>
                      <a:pt x="115" y="5"/>
                    </a:lnTo>
                    <a:lnTo>
                      <a:pt x="114" y="5"/>
                    </a:lnTo>
                    <a:lnTo>
                      <a:pt x="115" y="5"/>
                    </a:lnTo>
                    <a:lnTo>
                      <a:pt x="116" y="5"/>
                    </a:lnTo>
                    <a:lnTo>
                      <a:pt x="116" y="6"/>
                    </a:lnTo>
                    <a:lnTo>
                      <a:pt x="117" y="5"/>
                    </a:lnTo>
                    <a:lnTo>
                      <a:pt x="116" y="5"/>
                    </a:lnTo>
                    <a:lnTo>
                      <a:pt x="116" y="4"/>
                    </a:lnTo>
                    <a:lnTo>
                      <a:pt x="117" y="4"/>
                    </a:lnTo>
                    <a:lnTo>
                      <a:pt x="118" y="5"/>
                    </a:lnTo>
                    <a:lnTo>
                      <a:pt x="119" y="5"/>
                    </a:lnTo>
                    <a:lnTo>
                      <a:pt x="121" y="5"/>
                    </a:lnTo>
                    <a:lnTo>
                      <a:pt x="121" y="4"/>
                    </a:lnTo>
                    <a:lnTo>
                      <a:pt x="121" y="3"/>
                    </a:lnTo>
                    <a:lnTo>
                      <a:pt x="122" y="3"/>
                    </a:lnTo>
                    <a:lnTo>
                      <a:pt x="122" y="4"/>
                    </a:lnTo>
                    <a:lnTo>
                      <a:pt x="123" y="4"/>
                    </a:lnTo>
                    <a:lnTo>
                      <a:pt x="123" y="3"/>
                    </a:lnTo>
                    <a:lnTo>
                      <a:pt x="124" y="3"/>
                    </a:lnTo>
                    <a:lnTo>
                      <a:pt x="124" y="2"/>
                    </a:lnTo>
                    <a:lnTo>
                      <a:pt x="124" y="3"/>
                    </a:lnTo>
                    <a:lnTo>
                      <a:pt x="125" y="3"/>
                    </a:lnTo>
                    <a:lnTo>
                      <a:pt x="125" y="2"/>
                    </a:lnTo>
                    <a:lnTo>
                      <a:pt x="126" y="3"/>
                    </a:lnTo>
                    <a:lnTo>
                      <a:pt x="127" y="3"/>
                    </a:lnTo>
                    <a:lnTo>
                      <a:pt x="128" y="3"/>
                    </a:lnTo>
                    <a:lnTo>
                      <a:pt x="129" y="4"/>
                    </a:lnTo>
                    <a:lnTo>
                      <a:pt x="129" y="3"/>
                    </a:lnTo>
                    <a:lnTo>
                      <a:pt x="130" y="3"/>
                    </a:lnTo>
                    <a:lnTo>
                      <a:pt x="130" y="4"/>
                    </a:lnTo>
                    <a:lnTo>
                      <a:pt x="131" y="4"/>
                    </a:lnTo>
                    <a:lnTo>
                      <a:pt x="132" y="4"/>
                    </a:lnTo>
                    <a:lnTo>
                      <a:pt x="134" y="3"/>
                    </a:lnTo>
                    <a:lnTo>
                      <a:pt x="134" y="4"/>
                    </a:lnTo>
                    <a:lnTo>
                      <a:pt x="134" y="5"/>
                    </a:lnTo>
                    <a:lnTo>
                      <a:pt x="134" y="6"/>
                    </a:lnTo>
                    <a:lnTo>
                      <a:pt x="135" y="5"/>
                    </a:lnTo>
                    <a:lnTo>
                      <a:pt x="136" y="5"/>
                    </a:lnTo>
                    <a:lnTo>
                      <a:pt x="136" y="6"/>
                    </a:lnTo>
                    <a:lnTo>
                      <a:pt x="135" y="6"/>
                    </a:lnTo>
                    <a:lnTo>
                      <a:pt x="135" y="7"/>
                    </a:lnTo>
                    <a:lnTo>
                      <a:pt x="136" y="7"/>
                    </a:lnTo>
                    <a:lnTo>
                      <a:pt x="136" y="6"/>
                    </a:lnTo>
                    <a:lnTo>
                      <a:pt x="137" y="6"/>
                    </a:lnTo>
                    <a:lnTo>
                      <a:pt x="138" y="6"/>
                    </a:lnTo>
                    <a:lnTo>
                      <a:pt x="138" y="7"/>
                    </a:lnTo>
                    <a:lnTo>
                      <a:pt x="138" y="8"/>
                    </a:lnTo>
                    <a:lnTo>
                      <a:pt x="139" y="8"/>
                    </a:lnTo>
                    <a:lnTo>
                      <a:pt x="140" y="8"/>
                    </a:lnTo>
                    <a:lnTo>
                      <a:pt x="140" y="9"/>
                    </a:lnTo>
                    <a:lnTo>
                      <a:pt x="140" y="11"/>
                    </a:lnTo>
                    <a:lnTo>
                      <a:pt x="141" y="11"/>
                    </a:lnTo>
                    <a:lnTo>
                      <a:pt x="142" y="11"/>
                    </a:lnTo>
                    <a:lnTo>
                      <a:pt x="142" y="12"/>
                    </a:lnTo>
                    <a:lnTo>
                      <a:pt x="143" y="12"/>
                    </a:lnTo>
                    <a:lnTo>
                      <a:pt x="144" y="12"/>
                    </a:lnTo>
                    <a:lnTo>
                      <a:pt x="144" y="13"/>
                    </a:lnTo>
                    <a:lnTo>
                      <a:pt x="144" y="12"/>
                    </a:lnTo>
                    <a:lnTo>
                      <a:pt x="145" y="11"/>
                    </a:lnTo>
                    <a:lnTo>
                      <a:pt x="147" y="11"/>
                    </a:lnTo>
                    <a:lnTo>
                      <a:pt x="147" y="12"/>
                    </a:lnTo>
                    <a:lnTo>
                      <a:pt x="148" y="12"/>
                    </a:lnTo>
                    <a:lnTo>
                      <a:pt x="148" y="13"/>
                    </a:lnTo>
                    <a:lnTo>
                      <a:pt x="148" y="14"/>
                    </a:lnTo>
                    <a:lnTo>
                      <a:pt x="149" y="13"/>
                    </a:lnTo>
                    <a:lnTo>
                      <a:pt x="150" y="14"/>
                    </a:lnTo>
                    <a:lnTo>
                      <a:pt x="151" y="14"/>
                    </a:lnTo>
                    <a:lnTo>
                      <a:pt x="152" y="14"/>
                    </a:lnTo>
                    <a:lnTo>
                      <a:pt x="152" y="13"/>
                    </a:lnTo>
                    <a:lnTo>
                      <a:pt x="153" y="13"/>
                    </a:lnTo>
                    <a:lnTo>
                      <a:pt x="154" y="13"/>
                    </a:lnTo>
                    <a:lnTo>
                      <a:pt x="154" y="14"/>
                    </a:lnTo>
                    <a:lnTo>
                      <a:pt x="155" y="14"/>
                    </a:lnTo>
                    <a:lnTo>
                      <a:pt x="155" y="15"/>
                    </a:lnTo>
                    <a:lnTo>
                      <a:pt x="156" y="15"/>
                    </a:lnTo>
                    <a:lnTo>
                      <a:pt x="157" y="15"/>
                    </a:lnTo>
                    <a:lnTo>
                      <a:pt x="159" y="15"/>
                    </a:lnTo>
                    <a:lnTo>
                      <a:pt x="159" y="16"/>
                    </a:lnTo>
                    <a:lnTo>
                      <a:pt x="159" y="17"/>
                    </a:lnTo>
                    <a:lnTo>
                      <a:pt x="160" y="17"/>
                    </a:lnTo>
                    <a:lnTo>
                      <a:pt x="161" y="17"/>
                    </a:lnTo>
                    <a:lnTo>
                      <a:pt x="161" y="18"/>
                    </a:lnTo>
                    <a:lnTo>
                      <a:pt x="162" y="18"/>
                    </a:lnTo>
                    <a:lnTo>
                      <a:pt x="162" y="17"/>
                    </a:lnTo>
                    <a:lnTo>
                      <a:pt x="163" y="16"/>
                    </a:lnTo>
                    <a:lnTo>
                      <a:pt x="164" y="16"/>
                    </a:lnTo>
                    <a:lnTo>
                      <a:pt x="164" y="15"/>
                    </a:lnTo>
                    <a:lnTo>
                      <a:pt x="165" y="15"/>
                    </a:lnTo>
                    <a:lnTo>
                      <a:pt x="166" y="15"/>
                    </a:lnTo>
                    <a:lnTo>
                      <a:pt x="166" y="16"/>
                    </a:lnTo>
                    <a:lnTo>
                      <a:pt x="167" y="15"/>
                    </a:lnTo>
                    <a:lnTo>
                      <a:pt x="168" y="15"/>
                    </a:lnTo>
                    <a:lnTo>
                      <a:pt x="168" y="14"/>
                    </a:lnTo>
                    <a:lnTo>
                      <a:pt x="168" y="13"/>
                    </a:lnTo>
                    <a:lnTo>
                      <a:pt x="169" y="13"/>
                    </a:lnTo>
                    <a:lnTo>
                      <a:pt x="170" y="13"/>
                    </a:lnTo>
                    <a:lnTo>
                      <a:pt x="170" y="12"/>
                    </a:lnTo>
                    <a:lnTo>
                      <a:pt x="172" y="12"/>
                    </a:lnTo>
                    <a:lnTo>
                      <a:pt x="172" y="13"/>
                    </a:lnTo>
                    <a:lnTo>
                      <a:pt x="173" y="13"/>
                    </a:lnTo>
                    <a:lnTo>
                      <a:pt x="174" y="13"/>
                    </a:lnTo>
                    <a:lnTo>
                      <a:pt x="174" y="12"/>
                    </a:lnTo>
                    <a:lnTo>
                      <a:pt x="174" y="11"/>
                    </a:lnTo>
                    <a:lnTo>
                      <a:pt x="175" y="11"/>
                    </a:lnTo>
                    <a:lnTo>
                      <a:pt x="176" y="11"/>
                    </a:lnTo>
                    <a:lnTo>
                      <a:pt x="177" y="9"/>
                    </a:lnTo>
                    <a:lnTo>
                      <a:pt x="178" y="9"/>
                    </a:lnTo>
                    <a:lnTo>
                      <a:pt x="178" y="8"/>
                    </a:lnTo>
                    <a:lnTo>
                      <a:pt x="179" y="8"/>
                    </a:lnTo>
                    <a:lnTo>
                      <a:pt x="180" y="8"/>
                    </a:lnTo>
                    <a:lnTo>
                      <a:pt x="181" y="8"/>
                    </a:lnTo>
                    <a:lnTo>
                      <a:pt x="181" y="9"/>
                    </a:lnTo>
                    <a:lnTo>
                      <a:pt x="181" y="8"/>
                    </a:lnTo>
                    <a:lnTo>
                      <a:pt x="181" y="7"/>
                    </a:lnTo>
                    <a:lnTo>
                      <a:pt x="182" y="7"/>
                    </a:lnTo>
                    <a:lnTo>
                      <a:pt x="182" y="8"/>
                    </a:lnTo>
                    <a:lnTo>
                      <a:pt x="183" y="8"/>
                    </a:lnTo>
                    <a:lnTo>
                      <a:pt x="183" y="7"/>
                    </a:lnTo>
                    <a:lnTo>
                      <a:pt x="182" y="7"/>
                    </a:lnTo>
                    <a:lnTo>
                      <a:pt x="182" y="6"/>
                    </a:lnTo>
                    <a:lnTo>
                      <a:pt x="183" y="6"/>
                    </a:lnTo>
                    <a:lnTo>
                      <a:pt x="183" y="5"/>
                    </a:lnTo>
                    <a:lnTo>
                      <a:pt x="185" y="5"/>
                    </a:lnTo>
                    <a:lnTo>
                      <a:pt x="185" y="4"/>
                    </a:lnTo>
                    <a:lnTo>
                      <a:pt x="186" y="3"/>
                    </a:lnTo>
                    <a:lnTo>
                      <a:pt x="187" y="3"/>
                    </a:lnTo>
                    <a:lnTo>
                      <a:pt x="187" y="2"/>
                    </a:lnTo>
                    <a:lnTo>
                      <a:pt x="188" y="2"/>
                    </a:lnTo>
                    <a:lnTo>
                      <a:pt x="189" y="3"/>
                    </a:lnTo>
                    <a:lnTo>
                      <a:pt x="190" y="3"/>
                    </a:lnTo>
                    <a:lnTo>
                      <a:pt x="191" y="3"/>
                    </a:lnTo>
                    <a:lnTo>
                      <a:pt x="192" y="2"/>
                    </a:lnTo>
                    <a:lnTo>
                      <a:pt x="193" y="2"/>
                    </a:lnTo>
                    <a:lnTo>
                      <a:pt x="193" y="1"/>
                    </a:lnTo>
                    <a:lnTo>
                      <a:pt x="194" y="2"/>
                    </a:lnTo>
                    <a:lnTo>
                      <a:pt x="195" y="2"/>
                    </a:lnTo>
                    <a:lnTo>
                      <a:pt x="195" y="1"/>
                    </a:lnTo>
                    <a:lnTo>
                      <a:pt x="194" y="1"/>
                    </a:lnTo>
                    <a:lnTo>
                      <a:pt x="194" y="0"/>
                    </a:lnTo>
                    <a:lnTo>
                      <a:pt x="195" y="0"/>
                    </a:lnTo>
                    <a:lnTo>
                      <a:pt x="195" y="1"/>
                    </a:lnTo>
                    <a:lnTo>
                      <a:pt x="196" y="1"/>
                    </a:lnTo>
                    <a:lnTo>
                      <a:pt x="228" y="1"/>
                    </a:lnTo>
                    <a:lnTo>
                      <a:pt x="238" y="1"/>
                    </a:lnTo>
                    <a:lnTo>
                      <a:pt x="261" y="1"/>
                    </a:lnTo>
                    <a:lnTo>
                      <a:pt x="269" y="1"/>
                    </a:lnTo>
                    <a:lnTo>
                      <a:pt x="270" y="1"/>
                    </a:lnTo>
                    <a:lnTo>
                      <a:pt x="273" y="1"/>
                    </a:lnTo>
                    <a:lnTo>
                      <a:pt x="276" y="1"/>
                    </a:lnTo>
                    <a:lnTo>
                      <a:pt x="278" y="1"/>
                    </a:lnTo>
                    <a:lnTo>
                      <a:pt x="280" y="1"/>
                    </a:lnTo>
                    <a:lnTo>
                      <a:pt x="283" y="1"/>
                    </a:lnTo>
                    <a:lnTo>
                      <a:pt x="290" y="1"/>
                    </a:lnTo>
                    <a:lnTo>
                      <a:pt x="301" y="1"/>
                    </a:lnTo>
                    <a:lnTo>
                      <a:pt x="303" y="1"/>
                    </a:lnTo>
                    <a:lnTo>
                      <a:pt x="304" y="1"/>
                    </a:lnTo>
                    <a:lnTo>
                      <a:pt x="321" y="1"/>
                    </a:lnTo>
                    <a:lnTo>
                      <a:pt x="324" y="1"/>
                    </a:lnTo>
                    <a:lnTo>
                      <a:pt x="351" y="1"/>
                    </a:lnTo>
                    <a:lnTo>
                      <a:pt x="372" y="1"/>
                    </a:lnTo>
                    <a:lnTo>
                      <a:pt x="372" y="4"/>
                    </a:lnTo>
                    <a:lnTo>
                      <a:pt x="382" y="4"/>
                    </a:lnTo>
                    <a:lnTo>
                      <a:pt x="397" y="4"/>
                    </a:lnTo>
                    <a:lnTo>
                      <a:pt x="423" y="4"/>
                    </a:lnTo>
                    <a:lnTo>
                      <a:pt x="454" y="4"/>
                    </a:lnTo>
                    <a:lnTo>
                      <a:pt x="464" y="4"/>
                    </a:lnTo>
                    <a:lnTo>
                      <a:pt x="467" y="4"/>
                    </a:lnTo>
                    <a:close/>
                  </a:path>
                </a:pathLst>
              </a:custGeom>
              <a:solidFill>
                <a:srgbClr val="308EFC"/>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4" name="Freeform 34">
                <a:extLst>
                  <a:ext uri="{FF2B5EF4-FFF2-40B4-BE49-F238E27FC236}">
                    <a16:creationId xmlns:a16="http://schemas.microsoft.com/office/drawing/2014/main" id="{9A166C09-75FF-D725-9813-39E5923446C7}"/>
                  </a:ext>
                </a:extLst>
              </p:cNvPr>
              <p:cNvSpPr>
                <a:spLocks/>
              </p:cNvSpPr>
              <p:nvPr/>
            </p:nvSpPr>
            <p:spPr bwMode="auto">
              <a:xfrm>
                <a:off x="1414463" y="4021138"/>
                <a:ext cx="854075" cy="509588"/>
              </a:xfrm>
              <a:custGeom>
                <a:avLst/>
                <a:gdLst>
                  <a:gd name="T0" fmla="*/ 450 w 538"/>
                  <a:gd name="T1" fmla="*/ 97 h 321"/>
                  <a:gd name="T2" fmla="*/ 472 w 538"/>
                  <a:gd name="T3" fmla="*/ 162 h 321"/>
                  <a:gd name="T4" fmla="*/ 502 w 538"/>
                  <a:gd name="T5" fmla="*/ 237 h 321"/>
                  <a:gd name="T6" fmla="*/ 537 w 538"/>
                  <a:gd name="T7" fmla="*/ 247 h 321"/>
                  <a:gd name="T8" fmla="*/ 528 w 538"/>
                  <a:gd name="T9" fmla="*/ 255 h 321"/>
                  <a:gd name="T10" fmla="*/ 526 w 538"/>
                  <a:gd name="T11" fmla="*/ 263 h 321"/>
                  <a:gd name="T12" fmla="*/ 530 w 538"/>
                  <a:gd name="T13" fmla="*/ 272 h 321"/>
                  <a:gd name="T14" fmla="*/ 536 w 538"/>
                  <a:gd name="T15" fmla="*/ 279 h 321"/>
                  <a:gd name="T16" fmla="*/ 472 w 538"/>
                  <a:gd name="T17" fmla="*/ 289 h 321"/>
                  <a:gd name="T18" fmla="*/ 424 w 538"/>
                  <a:gd name="T19" fmla="*/ 321 h 321"/>
                  <a:gd name="T20" fmla="*/ 366 w 538"/>
                  <a:gd name="T21" fmla="*/ 311 h 321"/>
                  <a:gd name="T22" fmla="*/ 240 w 538"/>
                  <a:gd name="T23" fmla="*/ 311 h 321"/>
                  <a:gd name="T24" fmla="*/ 28 w 538"/>
                  <a:gd name="T25" fmla="*/ 309 h 321"/>
                  <a:gd name="T26" fmla="*/ 34 w 538"/>
                  <a:gd name="T27" fmla="*/ 307 h 321"/>
                  <a:gd name="T28" fmla="*/ 40 w 538"/>
                  <a:gd name="T29" fmla="*/ 302 h 321"/>
                  <a:gd name="T30" fmla="*/ 24 w 538"/>
                  <a:gd name="T31" fmla="*/ 291 h 321"/>
                  <a:gd name="T32" fmla="*/ 24 w 538"/>
                  <a:gd name="T33" fmla="*/ 288 h 321"/>
                  <a:gd name="T34" fmla="*/ 27 w 538"/>
                  <a:gd name="T35" fmla="*/ 279 h 321"/>
                  <a:gd name="T36" fmla="*/ 38 w 538"/>
                  <a:gd name="T37" fmla="*/ 268 h 321"/>
                  <a:gd name="T38" fmla="*/ 40 w 538"/>
                  <a:gd name="T39" fmla="*/ 261 h 321"/>
                  <a:gd name="T40" fmla="*/ 42 w 538"/>
                  <a:gd name="T41" fmla="*/ 250 h 321"/>
                  <a:gd name="T42" fmla="*/ 45 w 538"/>
                  <a:gd name="T43" fmla="*/ 246 h 321"/>
                  <a:gd name="T44" fmla="*/ 37 w 538"/>
                  <a:gd name="T45" fmla="*/ 242 h 321"/>
                  <a:gd name="T46" fmla="*/ 38 w 538"/>
                  <a:gd name="T47" fmla="*/ 234 h 321"/>
                  <a:gd name="T48" fmla="*/ 39 w 538"/>
                  <a:gd name="T49" fmla="*/ 224 h 321"/>
                  <a:gd name="T50" fmla="*/ 35 w 538"/>
                  <a:gd name="T51" fmla="*/ 219 h 321"/>
                  <a:gd name="T52" fmla="*/ 36 w 538"/>
                  <a:gd name="T53" fmla="*/ 212 h 321"/>
                  <a:gd name="T54" fmla="*/ 32 w 538"/>
                  <a:gd name="T55" fmla="*/ 211 h 321"/>
                  <a:gd name="T56" fmla="*/ 30 w 538"/>
                  <a:gd name="T57" fmla="*/ 203 h 321"/>
                  <a:gd name="T58" fmla="*/ 30 w 538"/>
                  <a:gd name="T59" fmla="*/ 198 h 321"/>
                  <a:gd name="T60" fmla="*/ 29 w 538"/>
                  <a:gd name="T61" fmla="*/ 191 h 321"/>
                  <a:gd name="T62" fmla="*/ 35 w 538"/>
                  <a:gd name="T63" fmla="*/ 186 h 321"/>
                  <a:gd name="T64" fmla="*/ 38 w 538"/>
                  <a:gd name="T65" fmla="*/ 182 h 321"/>
                  <a:gd name="T66" fmla="*/ 39 w 538"/>
                  <a:gd name="T67" fmla="*/ 177 h 321"/>
                  <a:gd name="T68" fmla="*/ 35 w 538"/>
                  <a:gd name="T69" fmla="*/ 172 h 321"/>
                  <a:gd name="T70" fmla="*/ 38 w 538"/>
                  <a:gd name="T71" fmla="*/ 163 h 321"/>
                  <a:gd name="T72" fmla="*/ 35 w 538"/>
                  <a:gd name="T73" fmla="*/ 159 h 321"/>
                  <a:gd name="T74" fmla="*/ 34 w 538"/>
                  <a:gd name="T75" fmla="*/ 154 h 321"/>
                  <a:gd name="T76" fmla="*/ 35 w 538"/>
                  <a:gd name="T77" fmla="*/ 147 h 321"/>
                  <a:gd name="T78" fmla="*/ 35 w 538"/>
                  <a:gd name="T79" fmla="*/ 140 h 321"/>
                  <a:gd name="T80" fmla="*/ 30 w 538"/>
                  <a:gd name="T81" fmla="*/ 139 h 321"/>
                  <a:gd name="T82" fmla="*/ 22 w 538"/>
                  <a:gd name="T83" fmla="*/ 136 h 321"/>
                  <a:gd name="T84" fmla="*/ 16 w 538"/>
                  <a:gd name="T85" fmla="*/ 132 h 321"/>
                  <a:gd name="T86" fmla="*/ 13 w 538"/>
                  <a:gd name="T87" fmla="*/ 127 h 321"/>
                  <a:gd name="T88" fmla="*/ 9 w 538"/>
                  <a:gd name="T89" fmla="*/ 120 h 321"/>
                  <a:gd name="T90" fmla="*/ 8 w 538"/>
                  <a:gd name="T91" fmla="*/ 114 h 321"/>
                  <a:gd name="T92" fmla="*/ 1 w 538"/>
                  <a:gd name="T93" fmla="*/ 111 h 321"/>
                  <a:gd name="T94" fmla="*/ 1 w 538"/>
                  <a:gd name="T95" fmla="*/ 104 h 321"/>
                  <a:gd name="T96" fmla="*/ 4 w 538"/>
                  <a:gd name="T97" fmla="*/ 100 h 321"/>
                  <a:gd name="T98" fmla="*/ 3 w 538"/>
                  <a:gd name="T99" fmla="*/ 92 h 321"/>
                  <a:gd name="T100" fmla="*/ 9 w 538"/>
                  <a:gd name="T101" fmla="*/ 92 h 321"/>
                  <a:gd name="T102" fmla="*/ 7 w 538"/>
                  <a:gd name="T103" fmla="*/ 88 h 321"/>
                  <a:gd name="T104" fmla="*/ 4 w 538"/>
                  <a:gd name="T105" fmla="*/ 75 h 321"/>
                  <a:gd name="T106" fmla="*/ 5 w 538"/>
                  <a:gd name="T107" fmla="*/ 71 h 321"/>
                  <a:gd name="T108" fmla="*/ 14 w 538"/>
                  <a:gd name="T109" fmla="*/ 65 h 321"/>
                  <a:gd name="T110" fmla="*/ 75 w 538"/>
                  <a:gd name="T111" fmla="*/ 62 h 321"/>
                  <a:gd name="T112" fmla="*/ 163 w 538"/>
                  <a:gd name="T113" fmla="*/ 62 h 321"/>
                  <a:gd name="T114" fmla="*/ 234 w 538"/>
                  <a:gd name="T115" fmla="*/ 20 h 321"/>
                  <a:gd name="T116" fmla="*/ 276 w 538"/>
                  <a:gd name="T117" fmla="*/ 6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321">
                    <a:moveTo>
                      <a:pt x="389" y="61"/>
                    </a:moveTo>
                    <a:lnTo>
                      <a:pt x="389" y="66"/>
                    </a:lnTo>
                    <a:lnTo>
                      <a:pt x="389" y="78"/>
                    </a:lnTo>
                    <a:lnTo>
                      <a:pt x="396" y="78"/>
                    </a:lnTo>
                    <a:lnTo>
                      <a:pt x="413" y="79"/>
                    </a:lnTo>
                    <a:lnTo>
                      <a:pt x="415" y="79"/>
                    </a:lnTo>
                    <a:lnTo>
                      <a:pt x="416" y="79"/>
                    </a:lnTo>
                    <a:lnTo>
                      <a:pt x="429" y="79"/>
                    </a:lnTo>
                    <a:lnTo>
                      <a:pt x="450" y="79"/>
                    </a:lnTo>
                    <a:lnTo>
                      <a:pt x="450" y="81"/>
                    </a:lnTo>
                    <a:lnTo>
                      <a:pt x="450" y="92"/>
                    </a:lnTo>
                    <a:lnTo>
                      <a:pt x="450" y="97"/>
                    </a:lnTo>
                    <a:lnTo>
                      <a:pt x="450" y="109"/>
                    </a:lnTo>
                    <a:lnTo>
                      <a:pt x="450" y="114"/>
                    </a:lnTo>
                    <a:lnTo>
                      <a:pt x="450" y="118"/>
                    </a:lnTo>
                    <a:lnTo>
                      <a:pt x="450" y="125"/>
                    </a:lnTo>
                    <a:lnTo>
                      <a:pt x="450" y="131"/>
                    </a:lnTo>
                    <a:lnTo>
                      <a:pt x="450" y="134"/>
                    </a:lnTo>
                    <a:lnTo>
                      <a:pt x="450" y="150"/>
                    </a:lnTo>
                    <a:lnTo>
                      <a:pt x="450" y="151"/>
                    </a:lnTo>
                    <a:lnTo>
                      <a:pt x="450" y="152"/>
                    </a:lnTo>
                    <a:lnTo>
                      <a:pt x="450" y="162"/>
                    </a:lnTo>
                    <a:lnTo>
                      <a:pt x="465" y="162"/>
                    </a:lnTo>
                    <a:lnTo>
                      <a:pt x="472" y="162"/>
                    </a:lnTo>
                    <a:lnTo>
                      <a:pt x="472" y="163"/>
                    </a:lnTo>
                    <a:lnTo>
                      <a:pt x="472" y="170"/>
                    </a:lnTo>
                    <a:lnTo>
                      <a:pt x="472" y="173"/>
                    </a:lnTo>
                    <a:lnTo>
                      <a:pt x="472" y="178"/>
                    </a:lnTo>
                    <a:lnTo>
                      <a:pt x="472" y="182"/>
                    </a:lnTo>
                    <a:lnTo>
                      <a:pt x="472" y="183"/>
                    </a:lnTo>
                    <a:lnTo>
                      <a:pt x="472" y="184"/>
                    </a:lnTo>
                    <a:lnTo>
                      <a:pt x="472" y="185"/>
                    </a:lnTo>
                    <a:lnTo>
                      <a:pt x="472" y="194"/>
                    </a:lnTo>
                    <a:lnTo>
                      <a:pt x="472" y="204"/>
                    </a:lnTo>
                    <a:lnTo>
                      <a:pt x="472" y="236"/>
                    </a:lnTo>
                    <a:lnTo>
                      <a:pt x="502" y="237"/>
                    </a:lnTo>
                    <a:lnTo>
                      <a:pt x="513" y="237"/>
                    </a:lnTo>
                    <a:lnTo>
                      <a:pt x="534" y="237"/>
                    </a:lnTo>
                    <a:lnTo>
                      <a:pt x="534" y="238"/>
                    </a:lnTo>
                    <a:lnTo>
                      <a:pt x="534" y="239"/>
                    </a:lnTo>
                    <a:lnTo>
                      <a:pt x="534" y="240"/>
                    </a:lnTo>
                    <a:lnTo>
                      <a:pt x="533" y="241"/>
                    </a:lnTo>
                    <a:lnTo>
                      <a:pt x="533" y="242"/>
                    </a:lnTo>
                    <a:lnTo>
                      <a:pt x="533" y="244"/>
                    </a:lnTo>
                    <a:lnTo>
                      <a:pt x="536" y="244"/>
                    </a:lnTo>
                    <a:lnTo>
                      <a:pt x="537" y="245"/>
                    </a:lnTo>
                    <a:lnTo>
                      <a:pt x="537" y="246"/>
                    </a:lnTo>
                    <a:lnTo>
                      <a:pt x="537" y="247"/>
                    </a:lnTo>
                    <a:lnTo>
                      <a:pt x="537" y="248"/>
                    </a:lnTo>
                    <a:lnTo>
                      <a:pt x="536" y="248"/>
                    </a:lnTo>
                    <a:lnTo>
                      <a:pt x="536" y="249"/>
                    </a:lnTo>
                    <a:lnTo>
                      <a:pt x="534" y="249"/>
                    </a:lnTo>
                    <a:lnTo>
                      <a:pt x="533" y="250"/>
                    </a:lnTo>
                    <a:lnTo>
                      <a:pt x="533" y="251"/>
                    </a:lnTo>
                    <a:lnTo>
                      <a:pt x="532" y="251"/>
                    </a:lnTo>
                    <a:lnTo>
                      <a:pt x="531" y="251"/>
                    </a:lnTo>
                    <a:lnTo>
                      <a:pt x="531" y="252"/>
                    </a:lnTo>
                    <a:lnTo>
                      <a:pt x="530" y="253"/>
                    </a:lnTo>
                    <a:lnTo>
                      <a:pt x="530" y="254"/>
                    </a:lnTo>
                    <a:lnTo>
                      <a:pt x="528" y="255"/>
                    </a:lnTo>
                    <a:lnTo>
                      <a:pt x="527" y="255"/>
                    </a:lnTo>
                    <a:lnTo>
                      <a:pt x="527" y="254"/>
                    </a:lnTo>
                    <a:lnTo>
                      <a:pt x="526" y="254"/>
                    </a:lnTo>
                    <a:lnTo>
                      <a:pt x="526" y="255"/>
                    </a:lnTo>
                    <a:lnTo>
                      <a:pt x="527" y="257"/>
                    </a:lnTo>
                    <a:lnTo>
                      <a:pt x="527" y="258"/>
                    </a:lnTo>
                    <a:lnTo>
                      <a:pt x="526" y="258"/>
                    </a:lnTo>
                    <a:lnTo>
                      <a:pt x="526" y="259"/>
                    </a:lnTo>
                    <a:lnTo>
                      <a:pt x="526" y="260"/>
                    </a:lnTo>
                    <a:lnTo>
                      <a:pt x="526" y="261"/>
                    </a:lnTo>
                    <a:lnTo>
                      <a:pt x="525" y="262"/>
                    </a:lnTo>
                    <a:lnTo>
                      <a:pt x="526" y="263"/>
                    </a:lnTo>
                    <a:lnTo>
                      <a:pt x="526" y="264"/>
                    </a:lnTo>
                    <a:lnTo>
                      <a:pt x="526" y="265"/>
                    </a:lnTo>
                    <a:lnTo>
                      <a:pt x="525" y="265"/>
                    </a:lnTo>
                    <a:lnTo>
                      <a:pt x="525" y="266"/>
                    </a:lnTo>
                    <a:lnTo>
                      <a:pt x="526" y="267"/>
                    </a:lnTo>
                    <a:lnTo>
                      <a:pt x="527" y="268"/>
                    </a:lnTo>
                    <a:lnTo>
                      <a:pt x="528" y="268"/>
                    </a:lnTo>
                    <a:lnTo>
                      <a:pt x="530" y="268"/>
                    </a:lnTo>
                    <a:lnTo>
                      <a:pt x="530" y="270"/>
                    </a:lnTo>
                    <a:lnTo>
                      <a:pt x="529" y="270"/>
                    </a:lnTo>
                    <a:lnTo>
                      <a:pt x="530" y="271"/>
                    </a:lnTo>
                    <a:lnTo>
                      <a:pt x="530" y="272"/>
                    </a:lnTo>
                    <a:lnTo>
                      <a:pt x="531" y="273"/>
                    </a:lnTo>
                    <a:lnTo>
                      <a:pt x="531" y="274"/>
                    </a:lnTo>
                    <a:lnTo>
                      <a:pt x="530" y="275"/>
                    </a:lnTo>
                    <a:lnTo>
                      <a:pt x="530" y="276"/>
                    </a:lnTo>
                    <a:lnTo>
                      <a:pt x="531" y="276"/>
                    </a:lnTo>
                    <a:lnTo>
                      <a:pt x="532" y="276"/>
                    </a:lnTo>
                    <a:lnTo>
                      <a:pt x="533" y="277"/>
                    </a:lnTo>
                    <a:lnTo>
                      <a:pt x="532" y="278"/>
                    </a:lnTo>
                    <a:lnTo>
                      <a:pt x="533" y="279"/>
                    </a:lnTo>
                    <a:lnTo>
                      <a:pt x="534" y="279"/>
                    </a:lnTo>
                    <a:lnTo>
                      <a:pt x="536" y="278"/>
                    </a:lnTo>
                    <a:lnTo>
                      <a:pt x="536" y="279"/>
                    </a:lnTo>
                    <a:lnTo>
                      <a:pt x="534" y="281"/>
                    </a:lnTo>
                    <a:lnTo>
                      <a:pt x="536" y="283"/>
                    </a:lnTo>
                    <a:lnTo>
                      <a:pt x="534" y="284"/>
                    </a:lnTo>
                    <a:lnTo>
                      <a:pt x="536" y="285"/>
                    </a:lnTo>
                    <a:lnTo>
                      <a:pt x="537" y="287"/>
                    </a:lnTo>
                    <a:lnTo>
                      <a:pt x="538" y="288"/>
                    </a:lnTo>
                    <a:lnTo>
                      <a:pt x="538" y="289"/>
                    </a:lnTo>
                    <a:lnTo>
                      <a:pt x="524" y="289"/>
                    </a:lnTo>
                    <a:lnTo>
                      <a:pt x="508" y="289"/>
                    </a:lnTo>
                    <a:lnTo>
                      <a:pt x="505" y="289"/>
                    </a:lnTo>
                    <a:lnTo>
                      <a:pt x="500" y="289"/>
                    </a:lnTo>
                    <a:lnTo>
                      <a:pt x="472" y="289"/>
                    </a:lnTo>
                    <a:lnTo>
                      <a:pt x="472" y="310"/>
                    </a:lnTo>
                    <a:lnTo>
                      <a:pt x="472" y="312"/>
                    </a:lnTo>
                    <a:lnTo>
                      <a:pt x="472" y="321"/>
                    </a:lnTo>
                    <a:lnTo>
                      <a:pt x="462" y="321"/>
                    </a:lnTo>
                    <a:lnTo>
                      <a:pt x="461" y="319"/>
                    </a:lnTo>
                    <a:lnTo>
                      <a:pt x="459" y="319"/>
                    </a:lnTo>
                    <a:lnTo>
                      <a:pt x="458" y="319"/>
                    </a:lnTo>
                    <a:lnTo>
                      <a:pt x="456" y="319"/>
                    </a:lnTo>
                    <a:lnTo>
                      <a:pt x="455" y="319"/>
                    </a:lnTo>
                    <a:lnTo>
                      <a:pt x="451" y="319"/>
                    </a:lnTo>
                    <a:lnTo>
                      <a:pt x="440" y="319"/>
                    </a:lnTo>
                    <a:lnTo>
                      <a:pt x="424" y="321"/>
                    </a:lnTo>
                    <a:lnTo>
                      <a:pt x="421" y="321"/>
                    </a:lnTo>
                    <a:lnTo>
                      <a:pt x="418" y="321"/>
                    </a:lnTo>
                    <a:lnTo>
                      <a:pt x="417" y="321"/>
                    </a:lnTo>
                    <a:lnTo>
                      <a:pt x="416" y="321"/>
                    </a:lnTo>
                    <a:lnTo>
                      <a:pt x="415" y="321"/>
                    </a:lnTo>
                    <a:lnTo>
                      <a:pt x="410" y="321"/>
                    </a:lnTo>
                    <a:lnTo>
                      <a:pt x="390" y="321"/>
                    </a:lnTo>
                    <a:lnTo>
                      <a:pt x="390" y="310"/>
                    </a:lnTo>
                    <a:lnTo>
                      <a:pt x="385" y="310"/>
                    </a:lnTo>
                    <a:lnTo>
                      <a:pt x="381" y="310"/>
                    </a:lnTo>
                    <a:lnTo>
                      <a:pt x="370" y="311"/>
                    </a:lnTo>
                    <a:lnTo>
                      <a:pt x="366" y="311"/>
                    </a:lnTo>
                    <a:lnTo>
                      <a:pt x="360" y="311"/>
                    </a:lnTo>
                    <a:lnTo>
                      <a:pt x="338" y="311"/>
                    </a:lnTo>
                    <a:lnTo>
                      <a:pt x="309" y="311"/>
                    </a:lnTo>
                    <a:lnTo>
                      <a:pt x="308" y="311"/>
                    </a:lnTo>
                    <a:lnTo>
                      <a:pt x="298" y="311"/>
                    </a:lnTo>
                    <a:lnTo>
                      <a:pt x="294" y="311"/>
                    </a:lnTo>
                    <a:lnTo>
                      <a:pt x="278" y="311"/>
                    </a:lnTo>
                    <a:lnTo>
                      <a:pt x="273" y="311"/>
                    </a:lnTo>
                    <a:lnTo>
                      <a:pt x="269" y="311"/>
                    </a:lnTo>
                    <a:lnTo>
                      <a:pt x="267" y="311"/>
                    </a:lnTo>
                    <a:lnTo>
                      <a:pt x="260" y="311"/>
                    </a:lnTo>
                    <a:lnTo>
                      <a:pt x="240" y="311"/>
                    </a:lnTo>
                    <a:lnTo>
                      <a:pt x="222" y="311"/>
                    </a:lnTo>
                    <a:lnTo>
                      <a:pt x="167" y="311"/>
                    </a:lnTo>
                    <a:lnTo>
                      <a:pt x="163" y="311"/>
                    </a:lnTo>
                    <a:lnTo>
                      <a:pt x="133" y="311"/>
                    </a:lnTo>
                    <a:lnTo>
                      <a:pt x="131" y="311"/>
                    </a:lnTo>
                    <a:lnTo>
                      <a:pt x="101" y="311"/>
                    </a:lnTo>
                    <a:lnTo>
                      <a:pt x="100" y="311"/>
                    </a:lnTo>
                    <a:lnTo>
                      <a:pt x="91" y="311"/>
                    </a:lnTo>
                    <a:lnTo>
                      <a:pt x="28" y="311"/>
                    </a:lnTo>
                    <a:lnTo>
                      <a:pt x="27" y="311"/>
                    </a:lnTo>
                    <a:lnTo>
                      <a:pt x="28" y="310"/>
                    </a:lnTo>
                    <a:lnTo>
                      <a:pt x="28" y="309"/>
                    </a:lnTo>
                    <a:lnTo>
                      <a:pt x="28" y="307"/>
                    </a:lnTo>
                    <a:lnTo>
                      <a:pt x="28" y="305"/>
                    </a:lnTo>
                    <a:lnTo>
                      <a:pt x="28" y="303"/>
                    </a:lnTo>
                    <a:lnTo>
                      <a:pt x="28" y="302"/>
                    </a:lnTo>
                    <a:lnTo>
                      <a:pt x="29" y="301"/>
                    </a:lnTo>
                    <a:lnTo>
                      <a:pt x="30" y="301"/>
                    </a:lnTo>
                    <a:lnTo>
                      <a:pt x="32" y="300"/>
                    </a:lnTo>
                    <a:lnTo>
                      <a:pt x="33" y="301"/>
                    </a:lnTo>
                    <a:lnTo>
                      <a:pt x="33" y="303"/>
                    </a:lnTo>
                    <a:lnTo>
                      <a:pt x="33" y="304"/>
                    </a:lnTo>
                    <a:lnTo>
                      <a:pt x="34" y="305"/>
                    </a:lnTo>
                    <a:lnTo>
                      <a:pt x="34" y="307"/>
                    </a:lnTo>
                    <a:lnTo>
                      <a:pt x="34" y="309"/>
                    </a:lnTo>
                    <a:lnTo>
                      <a:pt x="35" y="309"/>
                    </a:lnTo>
                    <a:lnTo>
                      <a:pt x="36" y="310"/>
                    </a:lnTo>
                    <a:lnTo>
                      <a:pt x="37" y="310"/>
                    </a:lnTo>
                    <a:lnTo>
                      <a:pt x="38" y="309"/>
                    </a:lnTo>
                    <a:lnTo>
                      <a:pt x="39" y="307"/>
                    </a:lnTo>
                    <a:lnTo>
                      <a:pt x="40" y="307"/>
                    </a:lnTo>
                    <a:lnTo>
                      <a:pt x="40" y="306"/>
                    </a:lnTo>
                    <a:lnTo>
                      <a:pt x="41" y="306"/>
                    </a:lnTo>
                    <a:lnTo>
                      <a:pt x="41" y="305"/>
                    </a:lnTo>
                    <a:lnTo>
                      <a:pt x="41" y="304"/>
                    </a:lnTo>
                    <a:lnTo>
                      <a:pt x="40" y="302"/>
                    </a:lnTo>
                    <a:lnTo>
                      <a:pt x="40" y="301"/>
                    </a:lnTo>
                    <a:lnTo>
                      <a:pt x="39" y="300"/>
                    </a:lnTo>
                    <a:lnTo>
                      <a:pt x="38" y="300"/>
                    </a:lnTo>
                    <a:lnTo>
                      <a:pt x="37" y="300"/>
                    </a:lnTo>
                    <a:lnTo>
                      <a:pt x="36" y="300"/>
                    </a:lnTo>
                    <a:lnTo>
                      <a:pt x="32" y="299"/>
                    </a:lnTo>
                    <a:lnTo>
                      <a:pt x="30" y="299"/>
                    </a:lnTo>
                    <a:lnTo>
                      <a:pt x="30" y="298"/>
                    </a:lnTo>
                    <a:lnTo>
                      <a:pt x="29" y="297"/>
                    </a:lnTo>
                    <a:lnTo>
                      <a:pt x="28" y="296"/>
                    </a:lnTo>
                    <a:lnTo>
                      <a:pt x="25" y="291"/>
                    </a:lnTo>
                    <a:lnTo>
                      <a:pt x="24" y="291"/>
                    </a:lnTo>
                    <a:lnTo>
                      <a:pt x="22" y="290"/>
                    </a:lnTo>
                    <a:lnTo>
                      <a:pt x="21" y="289"/>
                    </a:lnTo>
                    <a:lnTo>
                      <a:pt x="21" y="288"/>
                    </a:lnTo>
                    <a:lnTo>
                      <a:pt x="20" y="287"/>
                    </a:lnTo>
                    <a:lnTo>
                      <a:pt x="20" y="286"/>
                    </a:lnTo>
                    <a:lnTo>
                      <a:pt x="21" y="285"/>
                    </a:lnTo>
                    <a:lnTo>
                      <a:pt x="22" y="285"/>
                    </a:lnTo>
                    <a:lnTo>
                      <a:pt x="22" y="284"/>
                    </a:lnTo>
                    <a:lnTo>
                      <a:pt x="22" y="285"/>
                    </a:lnTo>
                    <a:lnTo>
                      <a:pt x="23" y="285"/>
                    </a:lnTo>
                    <a:lnTo>
                      <a:pt x="23" y="287"/>
                    </a:lnTo>
                    <a:lnTo>
                      <a:pt x="24" y="288"/>
                    </a:lnTo>
                    <a:lnTo>
                      <a:pt x="24" y="289"/>
                    </a:lnTo>
                    <a:lnTo>
                      <a:pt x="25" y="289"/>
                    </a:lnTo>
                    <a:lnTo>
                      <a:pt x="26" y="289"/>
                    </a:lnTo>
                    <a:lnTo>
                      <a:pt x="26" y="288"/>
                    </a:lnTo>
                    <a:lnTo>
                      <a:pt x="26" y="287"/>
                    </a:lnTo>
                    <a:lnTo>
                      <a:pt x="26" y="286"/>
                    </a:lnTo>
                    <a:lnTo>
                      <a:pt x="26" y="285"/>
                    </a:lnTo>
                    <a:lnTo>
                      <a:pt x="26" y="284"/>
                    </a:lnTo>
                    <a:lnTo>
                      <a:pt x="26" y="283"/>
                    </a:lnTo>
                    <a:lnTo>
                      <a:pt x="26" y="281"/>
                    </a:lnTo>
                    <a:lnTo>
                      <a:pt x="26" y="280"/>
                    </a:lnTo>
                    <a:lnTo>
                      <a:pt x="27" y="279"/>
                    </a:lnTo>
                    <a:lnTo>
                      <a:pt x="29" y="278"/>
                    </a:lnTo>
                    <a:lnTo>
                      <a:pt x="29" y="277"/>
                    </a:lnTo>
                    <a:lnTo>
                      <a:pt x="32" y="276"/>
                    </a:lnTo>
                    <a:lnTo>
                      <a:pt x="32" y="275"/>
                    </a:lnTo>
                    <a:lnTo>
                      <a:pt x="33" y="274"/>
                    </a:lnTo>
                    <a:lnTo>
                      <a:pt x="33" y="272"/>
                    </a:lnTo>
                    <a:lnTo>
                      <a:pt x="33" y="271"/>
                    </a:lnTo>
                    <a:lnTo>
                      <a:pt x="33" y="270"/>
                    </a:lnTo>
                    <a:lnTo>
                      <a:pt x="34" y="270"/>
                    </a:lnTo>
                    <a:lnTo>
                      <a:pt x="35" y="270"/>
                    </a:lnTo>
                    <a:lnTo>
                      <a:pt x="37" y="270"/>
                    </a:lnTo>
                    <a:lnTo>
                      <a:pt x="38" y="268"/>
                    </a:lnTo>
                    <a:lnTo>
                      <a:pt x="39" y="268"/>
                    </a:lnTo>
                    <a:lnTo>
                      <a:pt x="39" y="267"/>
                    </a:lnTo>
                    <a:lnTo>
                      <a:pt x="39" y="266"/>
                    </a:lnTo>
                    <a:lnTo>
                      <a:pt x="39" y="265"/>
                    </a:lnTo>
                    <a:lnTo>
                      <a:pt x="38" y="264"/>
                    </a:lnTo>
                    <a:lnTo>
                      <a:pt x="37" y="263"/>
                    </a:lnTo>
                    <a:lnTo>
                      <a:pt x="36" y="263"/>
                    </a:lnTo>
                    <a:lnTo>
                      <a:pt x="36" y="262"/>
                    </a:lnTo>
                    <a:lnTo>
                      <a:pt x="37" y="261"/>
                    </a:lnTo>
                    <a:lnTo>
                      <a:pt x="38" y="261"/>
                    </a:lnTo>
                    <a:lnTo>
                      <a:pt x="39" y="261"/>
                    </a:lnTo>
                    <a:lnTo>
                      <a:pt x="40" y="261"/>
                    </a:lnTo>
                    <a:lnTo>
                      <a:pt x="40" y="260"/>
                    </a:lnTo>
                    <a:lnTo>
                      <a:pt x="40" y="259"/>
                    </a:lnTo>
                    <a:lnTo>
                      <a:pt x="40" y="258"/>
                    </a:lnTo>
                    <a:lnTo>
                      <a:pt x="39" y="257"/>
                    </a:lnTo>
                    <a:lnTo>
                      <a:pt x="39" y="255"/>
                    </a:lnTo>
                    <a:lnTo>
                      <a:pt x="39" y="253"/>
                    </a:lnTo>
                    <a:lnTo>
                      <a:pt x="40" y="252"/>
                    </a:lnTo>
                    <a:lnTo>
                      <a:pt x="40" y="251"/>
                    </a:lnTo>
                    <a:lnTo>
                      <a:pt x="40" y="250"/>
                    </a:lnTo>
                    <a:lnTo>
                      <a:pt x="40" y="249"/>
                    </a:lnTo>
                    <a:lnTo>
                      <a:pt x="41" y="249"/>
                    </a:lnTo>
                    <a:lnTo>
                      <a:pt x="42" y="250"/>
                    </a:lnTo>
                    <a:lnTo>
                      <a:pt x="43" y="251"/>
                    </a:lnTo>
                    <a:lnTo>
                      <a:pt x="45" y="252"/>
                    </a:lnTo>
                    <a:lnTo>
                      <a:pt x="45" y="251"/>
                    </a:lnTo>
                    <a:lnTo>
                      <a:pt x="46" y="251"/>
                    </a:lnTo>
                    <a:lnTo>
                      <a:pt x="47" y="249"/>
                    </a:lnTo>
                    <a:lnTo>
                      <a:pt x="48" y="248"/>
                    </a:lnTo>
                    <a:lnTo>
                      <a:pt x="48" y="247"/>
                    </a:lnTo>
                    <a:lnTo>
                      <a:pt x="47" y="247"/>
                    </a:lnTo>
                    <a:lnTo>
                      <a:pt x="46" y="248"/>
                    </a:lnTo>
                    <a:lnTo>
                      <a:pt x="46" y="247"/>
                    </a:lnTo>
                    <a:lnTo>
                      <a:pt x="45" y="247"/>
                    </a:lnTo>
                    <a:lnTo>
                      <a:pt x="45" y="246"/>
                    </a:lnTo>
                    <a:lnTo>
                      <a:pt x="45" y="245"/>
                    </a:lnTo>
                    <a:lnTo>
                      <a:pt x="43" y="245"/>
                    </a:lnTo>
                    <a:lnTo>
                      <a:pt x="43" y="244"/>
                    </a:lnTo>
                    <a:lnTo>
                      <a:pt x="43" y="241"/>
                    </a:lnTo>
                    <a:lnTo>
                      <a:pt x="42" y="240"/>
                    </a:lnTo>
                    <a:lnTo>
                      <a:pt x="42" y="239"/>
                    </a:lnTo>
                    <a:lnTo>
                      <a:pt x="41" y="239"/>
                    </a:lnTo>
                    <a:lnTo>
                      <a:pt x="40" y="239"/>
                    </a:lnTo>
                    <a:lnTo>
                      <a:pt x="39" y="240"/>
                    </a:lnTo>
                    <a:lnTo>
                      <a:pt x="39" y="241"/>
                    </a:lnTo>
                    <a:lnTo>
                      <a:pt x="38" y="241"/>
                    </a:lnTo>
                    <a:lnTo>
                      <a:pt x="37" y="242"/>
                    </a:lnTo>
                    <a:lnTo>
                      <a:pt x="36" y="244"/>
                    </a:lnTo>
                    <a:lnTo>
                      <a:pt x="35" y="244"/>
                    </a:lnTo>
                    <a:lnTo>
                      <a:pt x="35" y="242"/>
                    </a:lnTo>
                    <a:lnTo>
                      <a:pt x="36" y="241"/>
                    </a:lnTo>
                    <a:lnTo>
                      <a:pt x="37" y="241"/>
                    </a:lnTo>
                    <a:lnTo>
                      <a:pt x="37" y="240"/>
                    </a:lnTo>
                    <a:lnTo>
                      <a:pt x="37" y="239"/>
                    </a:lnTo>
                    <a:lnTo>
                      <a:pt x="36" y="238"/>
                    </a:lnTo>
                    <a:lnTo>
                      <a:pt x="36" y="237"/>
                    </a:lnTo>
                    <a:lnTo>
                      <a:pt x="36" y="236"/>
                    </a:lnTo>
                    <a:lnTo>
                      <a:pt x="37" y="235"/>
                    </a:lnTo>
                    <a:lnTo>
                      <a:pt x="38" y="234"/>
                    </a:lnTo>
                    <a:lnTo>
                      <a:pt x="39" y="233"/>
                    </a:lnTo>
                    <a:lnTo>
                      <a:pt x="39" y="230"/>
                    </a:lnTo>
                    <a:lnTo>
                      <a:pt x="40" y="229"/>
                    </a:lnTo>
                    <a:lnTo>
                      <a:pt x="39" y="229"/>
                    </a:lnTo>
                    <a:lnTo>
                      <a:pt x="39" y="228"/>
                    </a:lnTo>
                    <a:lnTo>
                      <a:pt x="39" y="227"/>
                    </a:lnTo>
                    <a:lnTo>
                      <a:pt x="39" y="226"/>
                    </a:lnTo>
                    <a:lnTo>
                      <a:pt x="39" y="225"/>
                    </a:lnTo>
                    <a:lnTo>
                      <a:pt x="40" y="224"/>
                    </a:lnTo>
                    <a:lnTo>
                      <a:pt x="40" y="223"/>
                    </a:lnTo>
                    <a:lnTo>
                      <a:pt x="39" y="223"/>
                    </a:lnTo>
                    <a:lnTo>
                      <a:pt x="39" y="224"/>
                    </a:lnTo>
                    <a:lnTo>
                      <a:pt x="38" y="224"/>
                    </a:lnTo>
                    <a:lnTo>
                      <a:pt x="37" y="224"/>
                    </a:lnTo>
                    <a:lnTo>
                      <a:pt x="37" y="223"/>
                    </a:lnTo>
                    <a:lnTo>
                      <a:pt x="37" y="222"/>
                    </a:lnTo>
                    <a:lnTo>
                      <a:pt x="37" y="221"/>
                    </a:lnTo>
                    <a:lnTo>
                      <a:pt x="37" y="220"/>
                    </a:lnTo>
                    <a:lnTo>
                      <a:pt x="36" y="220"/>
                    </a:lnTo>
                    <a:lnTo>
                      <a:pt x="36" y="221"/>
                    </a:lnTo>
                    <a:lnTo>
                      <a:pt x="35" y="221"/>
                    </a:lnTo>
                    <a:lnTo>
                      <a:pt x="35" y="220"/>
                    </a:lnTo>
                    <a:lnTo>
                      <a:pt x="34" y="220"/>
                    </a:lnTo>
                    <a:lnTo>
                      <a:pt x="35" y="219"/>
                    </a:lnTo>
                    <a:lnTo>
                      <a:pt x="35" y="217"/>
                    </a:lnTo>
                    <a:lnTo>
                      <a:pt x="35" y="216"/>
                    </a:lnTo>
                    <a:lnTo>
                      <a:pt x="35" y="215"/>
                    </a:lnTo>
                    <a:lnTo>
                      <a:pt x="34" y="215"/>
                    </a:lnTo>
                    <a:lnTo>
                      <a:pt x="33" y="214"/>
                    </a:lnTo>
                    <a:lnTo>
                      <a:pt x="33" y="213"/>
                    </a:lnTo>
                    <a:lnTo>
                      <a:pt x="33" y="212"/>
                    </a:lnTo>
                    <a:lnTo>
                      <a:pt x="33" y="211"/>
                    </a:lnTo>
                    <a:lnTo>
                      <a:pt x="34" y="211"/>
                    </a:lnTo>
                    <a:lnTo>
                      <a:pt x="34" y="212"/>
                    </a:lnTo>
                    <a:lnTo>
                      <a:pt x="35" y="212"/>
                    </a:lnTo>
                    <a:lnTo>
                      <a:pt x="36" y="212"/>
                    </a:lnTo>
                    <a:lnTo>
                      <a:pt x="37" y="212"/>
                    </a:lnTo>
                    <a:lnTo>
                      <a:pt x="37" y="211"/>
                    </a:lnTo>
                    <a:lnTo>
                      <a:pt x="37" y="210"/>
                    </a:lnTo>
                    <a:lnTo>
                      <a:pt x="36" y="210"/>
                    </a:lnTo>
                    <a:lnTo>
                      <a:pt x="36" y="209"/>
                    </a:lnTo>
                    <a:lnTo>
                      <a:pt x="36" y="208"/>
                    </a:lnTo>
                    <a:lnTo>
                      <a:pt x="35" y="208"/>
                    </a:lnTo>
                    <a:lnTo>
                      <a:pt x="34" y="208"/>
                    </a:lnTo>
                    <a:lnTo>
                      <a:pt x="34" y="209"/>
                    </a:lnTo>
                    <a:lnTo>
                      <a:pt x="33" y="210"/>
                    </a:lnTo>
                    <a:lnTo>
                      <a:pt x="32" y="210"/>
                    </a:lnTo>
                    <a:lnTo>
                      <a:pt x="32" y="211"/>
                    </a:lnTo>
                    <a:lnTo>
                      <a:pt x="30" y="211"/>
                    </a:lnTo>
                    <a:lnTo>
                      <a:pt x="29" y="210"/>
                    </a:lnTo>
                    <a:lnTo>
                      <a:pt x="29" y="209"/>
                    </a:lnTo>
                    <a:lnTo>
                      <a:pt x="30" y="209"/>
                    </a:lnTo>
                    <a:lnTo>
                      <a:pt x="30" y="208"/>
                    </a:lnTo>
                    <a:lnTo>
                      <a:pt x="32" y="208"/>
                    </a:lnTo>
                    <a:lnTo>
                      <a:pt x="32" y="207"/>
                    </a:lnTo>
                    <a:lnTo>
                      <a:pt x="30" y="207"/>
                    </a:lnTo>
                    <a:lnTo>
                      <a:pt x="30" y="206"/>
                    </a:lnTo>
                    <a:lnTo>
                      <a:pt x="29" y="206"/>
                    </a:lnTo>
                    <a:lnTo>
                      <a:pt x="29" y="204"/>
                    </a:lnTo>
                    <a:lnTo>
                      <a:pt x="30" y="203"/>
                    </a:lnTo>
                    <a:lnTo>
                      <a:pt x="32" y="204"/>
                    </a:lnTo>
                    <a:lnTo>
                      <a:pt x="32" y="203"/>
                    </a:lnTo>
                    <a:lnTo>
                      <a:pt x="32" y="202"/>
                    </a:lnTo>
                    <a:lnTo>
                      <a:pt x="32" y="200"/>
                    </a:lnTo>
                    <a:lnTo>
                      <a:pt x="32" y="199"/>
                    </a:lnTo>
                    <a:lnTo>
                      <a:pt x="30" y="201"/>
                    </a:lnTo>
                    <a:lnTo>
                      <a:pt x="29" y="201"/>
                    </a:lnTo>
                    <a:lnTo>
                      <a:pt x="28" y="200"/>
                    </a:lnTo>
                    <a:lnTo>
                      <a:pt x="27" y="199"/>
                    </a:lnTo>
                    <a:lnTo>
                      <a:pt x="28" y="198"/>
                    </a:lnTo>
                    <a:lnTo>
                      <a:pt x="29" y="198"/>
                    </a:lnTo>
                    <a:lnTo>
                      <a:pt x="30" y="198"/>
                    </a:lnTo>
                    <a:lnTo>
                      <a:pt x="30" y="197"/>
                    </a:lnTo>
                    <a:lnTo>
                      <a:pt x="30" y="196"/>
                    </a:lnTo>
                    <a:lnTo>
                      <a:pt x="29" y="196"/>
                    </a:lnTo>
                    <a:lnTo>
                      <a:pt x="28" y="196"/>
                    </a:lnTo>
                    <a:lnTo>
                      <a:pt x="28" y="195"/>
                    </a:lnTo>
                    <a:lnTo>
                      <a:pt x="29" y="195"/>
                    </a:lnTo>
                    <a:lnTo>
                      <a:pt x="30" y="195"/>
                    </a:lnTo>
                    <a:lnTo>
                      <a:pt x="29" y="195"/>
                    </a:lnTo>
                    <a:lnTo>
                      <a:pt x="28" y="195"/>
                    </a:lnTo>
                    <a:lnTo>
                      <a:pt x="28" y="194"/>
                    </a:lnTo>
                    <a:lnTo>
                      <a:pt x="28" y="193"/>
                    </a:lnTo>
                    <a:lnTo>
                      <a:pt x="29" y="191"/>
                    </a:lnTo>
                    <a:lnTo>
                      <a:pt x="30" y="191"/>
                    </a:lnTo>
                    <a:lnTo>
                      <a:pt x="30" y="190"/>
                    </a:lnTo>
                    <a:lnTo>
                      <a:pt x="32" y="190"/>
                    </a:lnTo>
                    <a:lnTo>
                      <a:pt x="32" y="191"/>
                    </a:lnTo>
                    <a:lnTo>
                      <a:pt x="33" y="193"/>
                    </a:lnTo>
                    <a:lnTo>
                      <a:pt x="34" y="191"/>
                    </a:lnTo>
                    <a:lnTo>
                      <a:pt x="34" y="190"/>
                    </a:lnTo>
                    <a:lnTo>
                      <a:pt x="34" y="189"/>
                    </a:lnTo>
                    <a:lnTo>
                      <a:pt x="33" y="188"/>
                    </a:lnTo>
                    <a:lnTo>
                      <a:pt x="33" y="187"/>
                    </a:lnTo>
                    <a:lnTo>
                      <a:pt x="34" y="186"/>
                    </a:lnTo>
                    <a:lnTo>
                      <a:pt x="35" y="186"/>
                    </a:lnTo>
                    <a:lnTo>
                      <a:pt x="34" y="185"/>
                    </a:lnTo>
                    <a:lnTo>
                      <a:pt x="33" y="185"/>
                    </a:lnTo>
                    <a:lnTo>
                      <a:pt x="33" y="184"/>
                    </a:lnTo>
                    <a:lnTo>
                      <a:pt x="34" y="184"/>
                    </a:lnTo>
                    <a:lnTo>
                      <a:pt x="34" y="183"/>
                    </a:lnTo>
                    <a:lnTo>
                      <a:pt x="34" y="182"/>
                    </a:lnTo>
                    <a:lnTo>
                      <a:pt x="34" y="181"/>
                    </a:lnTo>
                    <a:lnTo>
                      <a:pt x="35" y="181"/>
                    </a:lnTo>
                    <a:lnTo>
                      <a:pt x="35" y="182"/>
                    </a:lnTo>
                    <a:lnTo>
                      <a:pt x="36" y="182"/>
                    </a:lnTo>
                    <a:lnTo>
                      <a:pt x="37" y="182"/>
                    </a:lnTo>
                    <a:lnTo>
                      <a:pt x="38" y="182"/>
                    </a:lnTo>
                    <a:lnTo>
                      <a:pt x="38" y="181"/>
                    </a:lnTo>
                    <a:lnTo>
                      <a:pt x="37" y="181"/>
                    </a:lnTo>
                    <a:lnTo>
                      <a:pt x="37" y="180"/>
                    </a:lnTo>
                    <a:lnTo>
                      <a:pt x="37" y="181"/>
                    </a:lnTo>
                    <a:lnTo>
                      <a:pt x="36" y="181"/>
                    </a:lnTo>
                    <a:lnTo>
                      <a:pt x="35" y="180"/>
                    </a:lnTo>
                    <a:lnTo>
                      <a:pt x="35" y="178"/>
                    </a:lnTo>
                    <a:lnTo>
                      <a:pt x="36" y="177"/>
                    </a:lnTo>
                    <a:lnTo>
                      <a:pt x="37" y="177"/>
                    </a:lnTo>
                    <a:lnTo>
                      <a:pt x="38" y="178"/>
                    </a:lnTo>
                    <a:lnTo>
                      <a:pt x="39" y="178"/>
                    </a:lnTo>
                    <a:lnTo>
                      <a:pt x="39" y="177"/>
                    </a:lnTo>
                    <a:lnTo>
                      <a:pt x="38" y="177"/>
                    </a:lnTo>
                    <a:lnTo>
                      <a:pt x="38" y="176"/>
                    </a:lnTo>
                    <a:lnTo>
                      <a:pt x="38" y="175"/>
                    </a:lnTo>
                    <a:lnTo>
                      <a:pt x="37" y="174"/>
                    </a:lnTo>
                    <a:lnTo>
                      <a:pt x="36" y="174"/>
                    </a:lnTo>
                    <a:lnTo>
                      <a:pt x="35" y="174"/>
                    </a:lnTo>
                    <a:lnTo>
                      <a:pt x="35" y="173"/>
                    </a:lnTo>
                    <a:lnTo>
                      <a:pt x="36" y="173"/>
                    </a:lnTo>
                    <a:lnTo>
                      <a:pt x="37" y="173"/>
                    </a:lnTo>
                    <a:lnTo>
                      <a:pt x="37" y="172"/>
                    </a:lnTo>
                    <a:lnTo>
                      <a:pt x="36" y="172"/>
                    </a:lnTo>
                    <a:lnTo>
                      <a:pt x="35" y="172"/>
                    </a:lnTo>
                    <a:lnTo>
                      <a:pt x="35" y="171"/>
                    </a:lnTo>
                    <a:lnTo>
                      <a:pt x="36" y="171"/>
                    </a:lnTo>
                    <a:lnTo>
                      <a:pt x="36" y="170"/>
                    </a:lnTo>
                    <a:lnTo>
                      <a:pt x="35" y="170"/>
                    </a:lnTo>
                    <a:lnTo>
                      <a:pt x="35" y="169"/>
                    </a:lnTo>
                    <a:lnTo>
                      <a:pt x="36" y="169"/>
                    </a:lnTo>
                    <a:lnTo>
                      <a:pt x="37" y="169"/>
                    </a:lnTo>
                    <a:lnTo>
                      <a:pt x="37" y="168"/>
                    </a:lnTo>
                    <a:lnTo>
                      <a:pt x="37" y="167"/>
                    </a:lnTo>
                    <a:lnTo>
                      <a:pt x="37" y="165"/>
                    </a:lnTo>
                    <a:lnTo>
                      <a:pt x="38" y="164"/>
                    </a:lnTo>
                    <a:lnTo>
                      <a:pt x="38" y="163"/>
                    </a:lnTo>
                    <a:lnTo>
                      <a:pt x="39" y="163"/>
                    </a:lnTo>
                    <a:lnTo>
                      <a:pt x="39" y="162"/>
                    </a:lnTo>
                    <a:lnTo>
                      <a:pt x="38" y="162"/>
                    </a:lnTo>
                    <a:lnTo>
                      <a:pt x="37" y="162"/>
                    </a:lnTo>
                    <a:lnTo>
                      <a:pt x="36" y="162"/>
                    </a:lnTo>
                    <a:lnTo>
                      <a:pt x="36" y="161"/>
                    </a:lnTo>
                    <a:lnTo>
                      <a:pt x="36" y="160"/>
                    </a:lnTo>
                    <a:lnTo>
                      <a:pt x="37" y="160"/>
                    </a:lnTo>
                    <a:lnTo>
                      <a:pt x="37" y="159"/>
                    </a:lnTo>
                    <a:lnTo>
                      <a:pt x="36" y="159"/>
                    </a:lnTo>
                    <a:lnTo>
                      <a:pt x="36" y="160"/>
                    </a:lnTo>
                    <a:lnTo>
                      <a:pt x="35" y="159"/>
                    </a:lnTo>
                    <a:lnTo>
                      <a:pt x="35" y="158"/>
                    </a:lnTo>
                    <a:lnTo>
                      <a:pt x="36" y="158"/>
                    </a:lnTo>
                    <a:lnTo>
                      <a:pt x="37" y="158"/>
                    </a:lnTo>
                    <a:lnTo>
                      <a:pt x="37" y="157"/>
                    </a:lnTo>
                    <a:lnTo>
                      <a:pt x="36" y="158"/>
                    </a:lnTo>
                    <a:lnTo>
                      <a:pt x="35" y="158"/>
                    </a:lnTo>
                    <a:lnTo>
                      <a:pt x="35" y="157"/>
                    </a:lnTo>
                    <a:lnTo>
                      <a:pt x="36" y="156"/>
                    </a:lnTo>
                    <a:lnTo>
                      <a:pt x="36" y="155"/>
                    </a:lnTo>
                    <a:lnTo>
                      <a:pt x="35" y="155"/>
                    </a:lnTo>
                    <a:lnTo>
                      <a:pt x="34" y="155"/>
                    </a:lnTo>
                    <a:lnTo>
                      <a:pt x="34" y="154"/>
                    </a:lnTo>
                    <a:lnTo>
                      <a:pt x="35" y="154"/>
                    </a:lnTo>
                    <a:lnTo>
                      <a:pt x="36" y="154"/>
                    </a:lnTo>
                    <a:lnTo>
                      <a:pt x="37" y="154"/>
                    </a:lnTo>
                    <a:lnTo>
                      <a:pt x="37" y="152"/>
                    </a:lnTo>
                    <a:lnTo>
                      <a:pt x="37" y="151"/>
                    </a:lnTo>
                    <a:lnTo>
                      <a:pt x="37" y="150"/>
                    </a:lnTo>
                    <a:lnTo>
                      <a:pt x="38" y="149"/>
                    </a:lnTo>
                    <a:lnTo>
                      <a:pt x="38" y="148"/>
                    </a:lnTo>
                    <a:lnTo>
                      <a:pt x="37" y="148"/>
                    </a:lnTo>
                    <a:lnTo>
                      <a:pt x="36" y="148"/>
                    </a:lnTo>
                    <a:lnTo>
                      <a:pt x="35" y="148"/>
                    </a:lnTo>
                    <a:lnTo>
                      <a:pt x="35" y="147"/>
                    </a:lnTo>
                    <a:lnTo>
                      <a:pt x="35" y="146"/>
                    </a:lnTo>
                    <a:lnTo>
                      <a:pt x="36" y="146"/>
                    </a:lnTo>
                    <a:lnTo>
                      <a:pt x="37" y="146"/>
                    </a:lnTo>
                    <a:lnTo>
                      <a:pt x="37" y="145"/>
                    </a:lnTo>
                    <a:lnTo>
                      <a:pt x="38" y="144"/>
                    </a:lnTo>
                    <a:lnTo>
                      <a:pt x="38" y="143"/>
                    </a:lnTo>
                    <a:lnTo>
                      <a:pt x="38" y="142"/>
                    </a:lnTo>
                    <a:lnTo>
                      <a:pt x="37" y="142"/>
                    </a:lnTo>
                    <a:lnTo>
                      <a:pt x="37" y="140"/>
                    </a:lnTo>
                    <a:lnTo>
                      <a:pt x="36" y="140"/>
                    </a:lnTo>
                    <a:lnTo>
                      <a:pt x="36" y="139"/>
                    </a:lnTo>
                    <a:lnTo>
                      <a:pt x="35" y="140"/>
                    </a:lnTo>
                    <a:lnTo>
                      <a:pt x="35" y="143"/>
                    </a:lnTo>
                    <a:lnTo>
                      <a:pt x="34" y="144"/>
                    </a:lnTo>
                    <a:lnTo>
                      <a:pt x="33" y="144"/>
                    </a:lnTo>
                    <a:lnTo>
                      <a:pt x="33" y="143"/>
                    </a:lnTo>
                    <a:lnTo>
                      <a:pt x="33" y="142"/>
                    </a:lnTo>
                    <a:lnTo>
                      <a:pt x="34" y="140"/>
                    </a:lnTo>
                    <a:lnTo>
                      <a:pt x="33" y="140"/>
                    </a:lnTo>
                    <a:lnTo>
                      <a:pt x="32" y="138"/>
                    </a:lnTo>
                    <a:lnTo>
                      <a:pt x="30" y="138"/>
                    </a:lnTo>
                    <a:lnTo>
                      <a:pt x="32" y="138"/>
                    </a:lnTo>
                    <a:lnTo>
                      <a:pt x="32" y="139"/>
                    </a:lnTo>
                    <a:lnTo>
                      <a:pt x="30" y="139"/>
                    </a:lnTo>
                    <a:lnTo>
                      <a:pt x="29" y="138"/>
                    </a:lnTo>
                    <a:lnTo>
                      <a:pt x="29" y="137"/>
                    </a:lnTo>
                    <a:lnTo>
                      <a:pt x="28" y="137"/>
                    </a:lnTo>
                    <a:lnTo>
                      <a:pt x="27" y="138"/>
                    </a:lnTo>
                    <a:lnTo>
                      <a:pt x="26" y="138"/>
                    </a:lnTo>
                    <a:lnTo>
                      <a:pt x="25" y="138"/>
                    </a:lnTo>
                    <a:lnTo>
                      <a:pt x="25" y="136"/>
                    </a:lnTo>
                    <a:lnTo>
                      <a:pt x="24" y="136"/>
                    </a:lnTo>
                    <a:lnTo>
                      <a:pt x="24" y="137"/>
                    </a:lnTo>
                    <a:lnTo>
                      <a:pt x="23" y="137"/>
                    </a:lnTo>
                    <a:lnTo>
                      <a:pt x="23" y="136"/>
                    </a:lnTo>
                    <a:lnTo>
                      <a:pt x="22" y="136"/>
                    </a:lnTo>
                    <a:lnTo>
                      <a:pt x="21" y="136"/>
                    </a:lnTo>
                    <a:lnTo>
                      <a:pt x="21" y="135"/>
                    </a:lnTo>
                    <a:lnTo>
                      <a:pt x="20" y="135"/>
                    </a:lnTo>
                    <a:lnTo>
                      <a:pt x="18" y="135"/>
                    </a:lnTo>
                    <a:lnTo>
                      <a:pt x="17" y="135"/>
                    </a:lnTo>
                    <a:lnTo>
                      <a:pt x="18" y="134"/>
                    </a:lnTo>
                    <a:lnTo>
                      <a:pt x="20" y="134"/>
                    </a:lnTo>
                    <a:lnTo>
                      <a:pt x="20" y="133"/>
                    </a:lnTo>
                    <a:lnTo>
                      <a:pt x="18" y="133"/>
                    </a:lnTo>
                    <a:lnTo>
                      <a:pt x="17" y="133"/>
                    </a:lnTo>
                    <a:lnTo>
                      <a:pt x="17" y="132"/>
                    </a:lnTo>
                    <a:lnTo>
                      <a:pt x="16" y="132"/>
                    </a:lnTo>
                    <a:lnTo>
                      <a:pt x="15" y="134"/>
                    </a:lnTo>
                    <a:lnTo>
                      <a:pt x="14" y="134"/>
                    </a:lnTo>
                    <a:lnTo>
                      <a:pt x="14" y="133"/>
                    </a:lnTo>
                    <a:lnTo>
                      <a:pt x="14" y="132"/>
                    </a:lnTo>
                    <a:lnTo>
                      <a:pt x="13" y="132"/>
                    </a:lnTo>
                    <a:lnTo>
                      <a:pt x="13" y="131"/>
                    </a:lnTo>
                    <a:lnTo>
                      <a:pt x="14" y="131"/>
                    </a:lnTo>
                    <a:lnTo>
                      <a:pt x="15" y="131"/>
                    </a:lnTo>
                    <a:lnTo>
                      <a:pt x="15" y="130"/>
                    </a:lnTo>
                    <a:lnTo>
                      <a:pt x="15" y="129"/>
                    </a:lnTo>
                    <a:lnTo>
                      <a:pt x="14" y="129"/>
                    </a:lnTo>
                    <a:lnTo>
                      <a:pt x="13" y="127"/>
                    </a:lnTo>
                    <a:lnTo>
                      <a:pt x="13" y="126"/>
                    </a:lnTo>
                    <a:lnTo>
                      <a:pt x="12" y="126"/>
                    </a:lnTo>
                    <a:lnTo>
                      <a:pt x="11" y="126"/>
                    </a:lnTo>
                    <a:lnTo>
                      <a:pt x="12" y="124"/>
                    </a:lnTo>
                    <a:lnTo>
                      <a:pt x="12" y="123"/>
                    </a:lnTo>
                    <a:lnTo>
                      <a:pt x="11" y="123"/>
                    </a:lnTo>
                    <a:lnTo>
                      <a:pt x="10" y="123"/>
                    </a:lnTo>
                    <a:lnTo>
                      <a:pt x="10" y="122"/>
                    </a:lnTo>
                    <a:lnTo>
                      <a:pt x="11" y="122"/>
                    </a:lnTo>
                    <a:lnTo>
                      <a:pt x="11" y="121"/>
                    </a:lnTo>
                    <a:lnTo>
                      <a:pt x="10" y="121"/>
                    </a:lnTo>
                    <a:lnTo>
                      <a:pt x="9" y="120"/>
                    </a:lnTo>
                    <a:lnTo>
                      <a:pt x="10" y="120"/>
                    </a:lnTo>
                    <a:lnTo>
                      <a:pt x="10" y="119"/>
                    </a:lnTo>
                    <a:lnTo>
                      <a:pt x="9" y="119"/>
                    </a:lnTo>
                    <a:lnTo>
                      <a:pt x="8" y="119"/>
                    </a:lnTo>
                    <a:lnTo>
                      <a:pt x="8" y="118"/>
                    </a:lnTo>
                    <a:lnTo>
                      <a:pt x="7" y="117"/>
                    </a:lnTo>
                    <a:lnTo>
                      <a:pt x="7" y="116"/>
                    </a:lnTo>
                    <a:lnTo>
                      <a:pt x="8" y="116"/>
                    </a:lnTo>
                    <a:lnTo>
                      <a:pt x="9" y="116"/>
                    </a:lnTo>
                    <a:lnTo>
                      <a:pt x="9" y="114"/>
                    </a:lnTo>
                    <a:lnTo>
                      <a:pt x="9" y="113"/>
                    </a:lnTo>
                    <a:lnTo>
                      <a:pt x="8" y="114"/>
                    </a:lnTo>
                    <a:lnTo>
                      <a:pt x="7" y="114"/>
                    </a:lnTo>
                    <a:lnTo>
                      <a:pt x="7" y="113"/>
                    </a:lnTo>
                    <a:lnTo>
                      <a:pt x="7" y="112"/>
                    </a:lnTo>
                    <a:lnTo>
                      <a:pt x="5" y="112"/>
                    </a:lnTo>
                    <a:lnTo>
                      <a:pt x="4" y="112"/>
                    </a:lnTo>
                    <a:lnTo>
                      <a:pt x="4" y="113"/>
                    </a:lnTo>
                    <a:lnTo>
                      <a:pt x="3" y="113"/>
                    </a:lnTo>
                    <a:lnTo>
                      <a:pt x="2" y="113"/>
                    </a:lnTo>
                    <a:lnTo>
                      <a:pt x="1" y="113"/>
                    </a:lnTo>
                    <a:lnTo>
                      <a:pt x="1" y="112"/>
                    </a:lnTo>
                    <a:lnTo>
                      <a:pt x="0" y="111"/>
                    </a:lnTo>
                    <a:lnTo>
                      <a:pt x="1" y="111"/>
                    </a:lnTo>
                    <a:lnTo>
                      <a:pt x="1" y="110"/>
                    </a:lnTo>
                    <a:lnTo>
                      <a:pt x="2" y="110"/>
                    </a:lnTo>
                    <a:lnTo>
                      <a:pt x="2" y="109"/>
                    </a:lnTo>
                    <a:lnTo>
                      <a:pt x="3" y="109"/>
                    </a:lnTo>
                    <a:lnTo>
                      <a:pt x="3" y="108"/>
                    </a:lnTo>
                    <a:lnTo>
                      <a:pt x="4" y="107"/>
                    </a:lnTo>
                    <a:lnTo>
                      <a:pt x="3" y="107"/>
                    </a:lnTo>
                    <a:lnTo>
                      <a:pt x="2" y="107"/>
                    </a:lnTo>
                    <a:lnTo>
                      <a:pt x="1" y="106"/>
                    </a:lnTo>
                    <a:lnTo>
                      <a:pt x="0" y="105"/>
                    </a:lnTo>
                    <a:lnTo>
                      <a:pt x="0" y="104"/>
                    </a:lnTo>
                    <a:lnTo>
                      <a:pt x="1" y="104"/>
                    </a:lnTo>
                    <a:lnTo>
                      <a:pt x="2" y="104"/>
                    </a:lnTo>
                    <a:lnTo>
                      <a:pt x="3" y="105"/>
                    </a:lnTo>
                    <a:lnTo>
                      <a:pt x="4" y="105"/>
                    </a:lnTo>
                    <a:lnTo>
                      <a:pt x="4" y="104"/>
                    </a:lnTo>
                    <a:lnTo>
                      <a:pt x="3" y="104"/>
                    </a:lnTo>
                    <a:lnTo>
                      <a:pt x="3" y="103"/>
                    </a:lnTo>
                    <a:lnTo>
                      <a:pt x="2" y="103"/>
                    </a:lnTo>
                    <a:lnTo>
                      <a:pt x="1" y="103"/>
                    </a:lnTo>
                    <a:lnTo>
                      <a:pt x="1" y="101"/>
                    </a:lnTo>
                    <a:lnTo>
                      <a:pt x="2" y="101"/>
                    </a:lnTo>
                    <a:lnTo>
                      <a:pt x="3" y="100"/>
                    </a:lnTo>
                    <a:lnTo>
                      <a:pt x="4" y="100"/>
                    </a:lnTo>
                    <a:lnTo>
                      <a:pt x="4" y="99"/>
                    </a:lnTo>
                    <a:lnTo>
                      <a:pt x="5" y="99"/>
                    </a:lnTo>
                    <a:lnTo>
                      <a:pt x="4" y="98"/>
                    </a:lnTo>
                    <a:lnTo>
                      <a:pt x="3" y="98"/>
                    </a:lnTo>
                    <a:lnTo>
                      <a:pt x="2" y="97"/>
                    </a:lnTo>
                    <a:lnTo>
                      <a:pt x="3" y="96"/>
                    </a:lnTo>
                    <a:lnTo>
                      <a:pt x="4" y="96"/>
                    </a:lnTo>
                    <a:lnTo>
                      <a:pt x="4" y="95"/>
                    </a:lnTo>
                    <a:lnTo>
                      <a:pt x="3" y="95"/>
                    </a:lnTo>
                    <a:lnTo>
                      <a:pt x="3" y="94"/>
                    </a:lnTo>
                    <a:lnTo>
                      <a:pt x="3" y="93"/>
                    </a:lnTo>
                    <a:lnTo>
                      <a:pt x="3" y="92"/>
                    </a:lnTo>
                    <a:lnTo>
                      <a:pt x="4" y="92"/>
                    </a:lnTo>
                    <a:lnTo>
                      <a:pt x="4" y="93"/>
                    </a:lnTo>
                    <a:lnTo>
                      <a:pt x="4" y="94"/>
                    </a:lnTo>
                    <a:lnTo>
                      <a:pt x="5" y="95"/>
                    </a:lnTo>
                    <a:lnTo>
                      <a:pt x="7" y="95"/>
                    </a:lnTo>
                    <a:lnTo>
                      <a:pt x="7" y="94"/>
                    </a:lnTo>
                    <a:lnTo>
                      <a:pt x="7" y="93"/>
                    </a:lnTo>
                    <a:lnTo>
                      <a:pt x="8" y="93"/>
                    </a:lnTo>
                    <a:lnTo>
                      <a:pt x="9" y="93"/>
                    </a:lnTo>
                    <a:lnTo>
                      <a:pt x="10" y="93"/>
                    </a:lnTo>
                    <a:lnTo>
                      <a:pt x="10" y="92"/>
                    </a:lnTo>
                    <a:lnTo>
                      <a:pt x="9" y="92"/>
                    </a:lnTo>
                    <a:lnTo>
                      <a:pt x="9" y="91"/>
                    </a:lnTo>
                    <a:lnTo>
                      <a:pt x="7" y="90"/>
                    </a:lnTo>
                    <a:lnTo>
                      <a:pt x="5" y="90"/>
                    </a:lnTo>
                    <a:lnTo>
                      <a:pt x="5" y="88"/>
                    </a:lnTo>
                    <a:lnTo>
                      <a:pt x="4" y="88"/>
                    </a:lnTo>
                    <a:lnTo>
                      <a:pt x="4" y="87"/>
                    </a:lnTo>
                    <a:lnTo>
                      <a:pt x="4" y="86"/>
                    </a:lnTo>
                    <a:lnTo>
                      <a:pt x="4" y="85"/>
                    </a:lnTo>
                    <a:lnTo>
                      <a:pt x="5" y="85"/>
                    </a:lnTo>
                    <a:lnTo>
                      <a:pt x="5" y="86"/>
                    </a:lnTo>
                    <a:lnTo>
                      <a:pt x="5" y="87"/>
                    </a:lnTo>
                    <a:lnTo>
                      <a:pt x="7" y="88"/>
                    </a:lnTo>
                    <a:lnTo>
                      <a:pt x="7" y="87"/>
                    </a:lnTo>
                    <a:lnTo>
                      <a:pt x="8" y="87"/>
                    </a:lnTo>
                    <a:lnTo>
                      <a:pt x="7" y="86"/>
                    </a:lnTo>
                    <a:lnTo>
                      <a:pt x="7" y="85"/>
                    </a:lnTo>
                    <a:lnTo>
                      <a:pt x="7" y="84"/>
                    </a:lnTo>
                    <a:lnTo>
                      <a:pt x="7" y="83"/>
                    </a:lnTo>
                    <a:lnTo>
                      <a:pt x="7" y="81"/>
                    </a:lnTo>
                    <a:lnTo>
                      <a:pt x="7" y="79"/>
                    </a:lnTo>
                    <a:lnTo>
                      <a:pt x="7" y="78"/>
                    </a:lnTo>
                    <a:lnTo>
                      <a:pt x="7" y="77"/>
                    </a:lnTo>
                    <a:lnTo>
                      <a:pt x="5" y="77"/>
                    </a:lnTo>
                    <a:lnTo>
                      <a:pt x="4" y="75"/>
                    </a:lnTo>
                    <a:lnTo>
                      <a:pt x="4" y="74"/>
                    </a:lnTo>
                    <a:lnTo>
                      <a:pt x="5" y="74"/>
                    </a:lnTo>
                    <a:lnTo>
                      <a:pt x="5" y="75"/>
                    </a:lnTo>
                    <a:lnTo>
                      <a:pt x="7" y="75"/>
                    </a:lnTo>
                    <a:lnTo>
                      <a:pt x="7" y="74"/>
                    </a:lnTo>
                    <a:lnTo>
                      <a:pt x="8" y="74"/>
                    </a:lnTo>
                    <a:lnTo>
                      <a:pt x="8" y="73"/>
                    </a:lnTo>
                    <a:lnTo>
                      <a:pt x="7" y="73"/>
                    </a:lnTo>
                    <a:lnTo>
                      <a:pt x="5" y="73"/>
                    </a:lnTo>
                    <a:lnTo>
                      <a:pt x="4" y="73"/>
                    </a:lnTo>
                    <a:lnTo>
                      <a:pt x="4" y="72"/>
                    </a:lnTo>
                    <a:lnTo>
                      <a:pt x="5" y="71"/>
                    </a:lnTo>
                    <a:lnTo>
                      <a:pt x="5" y="70"/>
                    </a:lnTo>
                    <a:lnTo>
                      <a:pt x="7" y="70"/>
                    </a:lnTo>
                    <a:lnTo>
                      <a:pt x="8" y="69"/>
                    </a:lnTo>
                    <a:lnTo>
                      <a:pt x="9" y="69"/>
                    </a:lnTo>
                    <a:lnTo>
                      <a:pt x="9" y="67"/>
                    </a:lnTo>
                    <a:lnTo>
                      <a:pt x="10" y="67"/>
                    </a:lnTo>
                    <a:lnTo>
                      <a:pt x="11" y="66"/>
                    </a:lnTo>
                    <a:lnTo>
                      <a:pt x="12" y="66"/>
                    </a:lnTo>
                    <a:lnTo>
                      <a:pt x="12" y="67"/>
                    </a:lnTo>
                    <a:lnTo>
                      <a:pt x="13" y="66"/>
                    </a:lnTo>
                    <a:lnTo>
                      <a:pt x="13" y="65"/>
                    </a:lnTo>
                    <a:lnTo>
                      <a:pt x="14" y="65"/>
                    </a:lnTo>
                    <a:lnTo>
                      <a:pt x="14" y="63"/>
                    </a:lnTo>
                    <a:lnTo>
                      <a:pt x="15" y="63"/>
                    </a:lnTo>
                    <a:lnTo>
                      <a:pt x="15" y="62"/>
                    </a:lnTo>
                    <a:lnTo>
                      <a:pt x="38" y="62"/>
                    </a:lnTo>
                    <a:lnTo>
                      <a:pt x="45" y="62"/>
                    </a:lnTo>
                    <a:lnTo>
                      <a:pt x="49" y="62"/>
                    </a:lnTo>
                    <a:lnTo>
                      <a:pt x="55" y="61"/>
                    </a:lnTo>
                    <a:lnTo>
                      <a:pt x="58" y="62"/>
                    </a:lnTo>
                    <a:lnTo>
                      <a:pt x="59" y="61"/>
                    </a:lnTo>
                    <a:lnTo>
                      <a:pt x="62" y="62"/>
                    </a:lnTo>
                    <a:lnTo>
                      <a:pt x="67" y="62"/>
                    </a:lnTo>
                    <a:lnTo>
                      <a:pt x="75" y="62"/>
                    </a:lnTo>
                    <a:lnTo>
                      <a:pt x="88" y="62"/>
                    </a:lnTo>
                    <a:lnTo>
                      <a:pt x="97" y="61"/>
                    </a:lnTo>
                    <a:lnTo>
                      <a:pt x="106" y="61"/>
                    </a:lnTo>
                    <a:lnTo>
                      <a:pt x="112" y="61"/>
                    </a:lnTo>
                    <a:lnTo>
                      <a:pt x="128" y="61"/>
                    </a:lnTo>
                    <a:lnTo>
                      <a:pt x="134" y="62"/>
                    </a:lnTo>
                    <a:lnTo>
                      <a:pt x="147" y="62"/>
                    </a:lnTo>
                    <a:lnTo>
                      <a:pt x="150" y="62"/>
                    </a:lnTo>
                    <a:lnTo>
                      <a:pt x="151" y="62"/>
                    </a:lnTo>
                    <a:lnTo>
                      <a:pt x="153" y="62"/>
                    </a:lnTo>
                    <a:lnTo>
                      <a:pt x="154" y="62"/>
                    </a:lnTo>
                    <a:lnTo>
                      <a:pt x="163" y="62"/>
                    </a:lnTo>
                    <a:lnTo>
                      <a:pt x="171" y="62"/>
                    </a:lnTo>
                    <a:lnTo>
                      <a:pt x="171" y="48"/>
                    </a:lnTo>
                    <a:lnTo>
                      <a:pt x="171" y="30"/>
                    </a:lnTo>
                    <a:lnTo>
                      <a:pt x="171" y="24"/>
                    </a:lnTo>
                    <a:lnTo>
                      <a:pt x="171" y="10"/>
                    </a:lnTo>
                    <a:lnTo>
                      <a:pt x="171" y="0"/>
                    </a:lnTo>
                    <a:lnTo>
                      <a:pt x="202" y="0"/>
                    </a:lnTo>
                    <a:lnTo>
                      <a:pt x="213" y="0"/>
                    </a:lnTo>
                    <a:lnTo>
                      <a:pt x="224" y="0"/>
                    </a:lnTo>
                    <a:lnTo>
                      <a:pt x="234" y="0"/>
                    </a:lnTo>
                    <a:lnTo>
                      <a:pt x="234" y="10"/>
                    </a:lnTo>
                    <a:lnTo>
                      <a:pt x="234" y="20"/>
                    </a:lnTo>
                    <a:lnTo>
                      <a:pt x="234" y="21"/>
                    </a:lnTo>
                    <a:lnTo>
                      <a:pt x="234" y="28"/>
                    </a:lnTo>
                    <a:lnTo>
                      <a:pt x="233" y="30"/>
                    </a:lnTo>
                    <a:lnTo>
                      <a:pt x="233" y="31"/>
                    </a:lnTo>
                    <a:lnTo>
                      <a:pt x="233" y="37"/>
                    </a:lnTo>
                    <a:lnTo>
                      <a:pt x="233" y="41"/>
                    </a:lnTo>
                    <a:lnTo>
                      <a:pt x="233" y="53"/>
                    </a:lnTo>
                    <a:lnTo>
                      <a:pt x="233" y="59"/>
                    </a:lnTo>
                    <a:lnTo>
                      <a:pt x="233" y="62"/>
                    </a:lnTo>
                    <a:lnTo>
                      <a:pt x="240" y="62"/>
                    </a:lnTo>
                    <a:lnTo>
                      <a:pt x="265" y="61"/>
                    </a:lnTo>
                    <a:lnTo>
                      <a:pt x="276" y="61"/>
                    </a:lnTo>
                    <a:lnTo>
                      <a:pt x="300" y="61"/>
                    </a:lnTo>
                    <a:lnTo>
                      <a:pt x="306" y="61"/>
                    </a:lnTo>
                    <a:lnTo>
                      <a:pt x="316" y="61"/>
                    </a:lnTo>
                    <a:lnTo>
                      <a:pt x="319" y="61"/>
                    </a:lnTo>
                    <a:lnTo>
                      <a:pt x="326" y="61"/>
                    </a:lnTo>
                    <a:lnTo>
                      <a:pt x="376" y="61"/>
                    </a:lnTo>
                    <a:lnTo>
                      <a:pt x="384" y="61"/>
                    </a:lnTo>
                    <a:lnTo>
                      <a:pt x="389" y="61"/>
                    </a:lnTo>
                    <a:close/>
                  </a:path>
                </a:pathLst>
              </a:custGeom>
              <a:solidFill>
                <a:srgbClr val="073C7A"/>
              </a:solidFill>
              <a:ln w="6350">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5" name="Freeform 35">
                <a:extLst>
                  <a:ext uri="{FF2B5EF4-FFF2-40B4-BE49-F238E27FC236}">
                    <a16:creationId xmlns:a16="http://schemas.microsoft.com/office/drawing/2014/main" id="{EE4764BA-4E36-C809-5010-D67F120F0F58}"/>
                  </a:ext>
                </a:extLst>
              </p:cNvPr>
              <p:cNvSpPr>
                <a:spLocks/>
              </p:cNvSpPr>
              <p:nvPr/>
            </p:nvSpPr>
            <p:spPr bwMode="auto">
              <a:xfrm>
                <a:off x="2032001" y="4022725"/>
                <a:ext cx="531813" cy="508000"/>
              </a:xfrm>
              <a:custGeom>
                <a:avLst/>
                <a:gdLst>
                  <a:gd name="T0" fmla="*/ 307 w 335"/>
                  <a:gd name="T1" fmla="*/ 8 h 320"/>
                  <a:gd name="T2" fmla="*/ 311 w 335"/>
                  <a:gd name="T3" fmla="*/ 17 h 320"/>
                  <a:gd name="T4" fmla="*/ 313 w 335"/>
                  <a:gd name="T5" fmla="*/ 23 h 320"/>
                  <a:gd name="T6" fmla="*/ 319 w 335"/>
                  <a:gd name="T7" fmla="*/ 30 h 320"/>
                  <a:gd name="T8" fmla="*/ 324 w 335"/>
                  <a:gd name="T9" fmla="*/ 36 h 320"/>
                  <a:gd name="T10" fmla="*/ 326 w 335"/>
                  <a:gd name="T11" fmla="*/ 43 h 320"/>
                  <a:gd name="T12" fmla="*/ 325 w 335"/>
                  <a:gd name="T13" fmla="*/ 51 h 320"/>
                  <a:gd name="T14" fmla="*/ 322 w 335"/>
                  <a:gd name="T15" fmla="*/ 58 h 320"/>
                  <a:gd name="T16" fmla="*/ 323 w 335"/>
                  <a:gd name="T17" fmla="*/ 64 h 320"/>
                  <a:gd name="T18" fmla="*/ 321 w 335"/>
                  <a:gd name="T19" fmla="*/ 70 h 320"/>
                  <a:gd name="T20" fmla="*/ 315 w 335"/>
                  <a:gd name="T21" fmla="*/ 72 h 320"/>
                  <a:gd name="T22" fmla="*/ 308 w 335"/>
                  <a:gd name="T23" fmla="*/ 77 h 320"/>
                  <a:gd name="T24" fmla="*/ 308 w 335"/>
                  <a:gd name="T25" fmla="*/ 85 h 320"/>
                  <a:gd name="T26" fmla="*/ 308 w 335"/>
                  <a:gd name="T27" fmla="*/ 92 h 320"/>
                  <a:gd name="T28" fmla="*/ 309 w 335"/>
                  <a:gd name="T29" fmla="*/ 97 h 320"/>
                  <a:gd name="T30" fmla="*/ 311 w 335"/>
                  <a:gd name="T31" fmla="*/ 104 h 320"/>
                  <a:gd name="T32" fmla="*/ 313 w 335"/>
                  <a:gd name="T33" fmla="*/ 111 h 320"/>
                  <a:gd name="T34" fmla="*/ 310 w 335"/>
                  <a:gd name="T35" fmla="*/ 117 h 320"/>
                  <a:gd name="T36" fmla="*/ 308 w 335"/>
                  <a:gd name="T37" fmla="*/ 122 h 320"/>
                  <a:gd name="T38" fmla="*/ 310 w 335"/>
                  <a:gd name="T39" fmla="*/ 129 h 320"/>
                  <a:gd name="T40" fmla="*/ 309 w 335"/>
                  <a:gd name="T41" fmla="*/ 136 h 320"/>
                  <a:gd name="T42" fmla="*/ 308 w 335"/>
                  <a:gd name="T43" fmla="*/ 143 h 320"/>
                  <a:gd name="T44" fmla="*/ 311 w 335"/>
                  <a:gd name="T45" fmla="*/ 148 h 320"/>
                  <a:gd name="T46" fmla="*/ 310 w 335"/>
                  <a:gd name="T47" fmla="*/ 156 h 320"/>
                  <a:gd name="T48" fmla="*/ 308 w 335"/>
                  <a:gd name="T49" fmla="*/ 164 h 320"/>
                  <a:gd name="T50" fmla="*/ 309 w 335"/>
                  <a:gd name="T51" fmla="*/ 171 h 320"/>
                  <a:gd name="T52" fmla="*/ 310 w 335"/>
                  <a:gd name="T53" fmla="*/ 182 h 320"/>
                  <a:gd name="T54" fmla="*/ 311 w 335"/>
                  <a:gd name="T55" fmla="*/ 184 h 320"/>
                  <a:gd name="T56" fmla="*/ 317 w 335"/>
                  <a:gd name="T57" fmla="*/ 194 h 320"/>
                  <a:gd name="T58" fmla="*/ 325 w 335"/>
                  <a:gd name="T59" fmla="*/ 200 h 320"/>
                  <a:gd name="T60" fmla="*/ 334 w 335"/>
                  <a:gd name="T61" fmla="*/ 202 h 320"/>
                  <a:gd name="T62" fmla="*/ 329 w 335"/>
                  <a:gd name="T63" fmla="*/ 210 h 320"/>
                  <a:gd name="T64" fmla="*/ 326 w 335"/>
                  <a:gd name="T65" fmla="*/ 220 h 320"/>
                  <a:gd name="T66" fmla="*/ 316 w 335"/>
                  <a:gd name="T67" fmla="*/ 223 h 320"/>
                  <a:gd name="T68" fmla="*/ 316 w 335"/>
                  <a:gd name="T69" fmla="*/ 229 h 320"/>
                  <a:gd name="T70" fmla="*/ 317 w 335"/>
                  <a:gd name="T71" fmla="*/ 237 h 320"/>
                  <a:gd name="T72" fmla="*/ 309 w 335"/>
                  <a:gd name="T73" fmla="*/ 246 h 320"/>
                  <a:gd name="T74" fmla="*/ 308 w 335"/>
                  <a:gd name="T75" fmla="*/ 258 h 320"/>
                  <a:gd name="T76" fmla="*/ 310 w 335"/>
                  <a:gd name="T77" fmla="*/ 269 h 320"/>
                  <a:gd name="T78" fmla="*/ 311 w 335"/>
                  <a:gd name="T79" fmla="*/ 280 h 320"/>
                  <a:gd name="T80" fmla="*/ 306 w 335"/>
                  <a:gd name="T81" fmla="*/ 286 h 320"/>
                  <a:gd name="T82" fmla="*/ 302 w 335"/>
                  <a:gd name="T83" fmla="*/ 296 h 320"/>
                  <a:gd name="T84" fmla="*/ 292 w 335"/>
                  <a:gd name="T85" fmla="*/ 290 h 320"/>
                  <a:gd name="T86" fmla="*/ 273 w 335"/>
                  <a:gd name="T87" fmla="*/ 303 h 320"/>
                  <a:gd name="T88" fmla="*/ 265 w 335"/>
                  <a:gd name="T89" fmla="*/ 309 h 320"/>
                  <a:gd name="T90" fmla="*/ 248 w 335"/>
                  <a:gd name="T91" fmla="*/ 312 h 320"/>
                  <a:gd name="T92" fmla="*/ 229 w 335"/>
                  <a:gd name="T93" fmla="*/ 318 h 320"/>
                  <a:gd name="T94" fmla="*/ 111 w 335"/>
                  <a:gd name="T95" fmla="*/ 288 h 320"/>
                  <a:gd name="T96" fmla="*/ 145 w 335"/>
                  <a:gd name="T97" fmla="*/ 278 h 320"/>
                  <a:gd name="T98" fmla="*/ 141 w 335"/>
                  <a:gd name="T99" fmla="*/ 269 h 320"/>
                  <a:gd name="T100" fmla="*/ 137 w 335"/>
                  <a:gd name="T101" fmla="*/ 258 h 320"/>
                  <a:gd name="T102" fmla="*/ 143 w 335"/>
                  <a:gd name="T103" fmla="*/ 250 h 320"/>
                  <a:gd name="T104" fmla="*/ 144 w 335"/>
                  <a:gd name="T105" fmla="*/ 240 h 320"/>
                  <a:gd name="T106" fmla="*/ 83 w 335"/>
                  <a:gd name="T107" fmla="*/ 181 h 320"/>
                  <a:gd name="T108" fmla="*/ 61 w 335"/>
                  <a:gd name="T109" fmla="*/ 124 h 320"/>
                  <a:gd name="T110" fmla="*/ 0 w 335"/>
                  <a:gd name="T111" fmla="*/ 77 h 320"/>
                  <a:gd name="T112" fmla="*/ 49 w 335"/>
                  <a:gd name="T113" fmla="*/ 35 h 320"/>
                  <a:gd name="T114" fmla="*/ 135 w 335"/>
                  <a:gd name="T115" fmla="*/ 35 h 320"/>
                  <a:gd name="T116" fmla="*/ 218 w 335"/>
                  <a:gd name="T117" fmla="*/ 28 h 320"/>
                  <a:gd name="T118" fmla="*/ 290 w 335"/>
                  <a:gd name="T1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 h="320">
                    <a:moveTo>
                      <a:pt x="307" y="1"/>
                    </a:moveTo>
                    <a:lnTo>
                      <a:pt x="307" y="2"/>
                    </a:lnTo>
                    <a:lnTo>
                      <a:pt x="307" y="3"/>
                    </a:lnTo>
                    <a:lnTo>
                      <a:pt x="307" y="4"/>
                    </a:lnTo>
                    <a:lnTo>
                      <a:pt x="306" y="4"/>
                    </a:lnTo>
                    <a:lnTo>
                      <a:pt x="306" y="3"/>
                    </a:lnTo>
                    <a:lnTo>
                      <a:pt x="305" y="3"/>
                    </a:lnTo>
                    <a:lnTo>
                      <a:pt x="305" y="4"/>
                    </a:lnTo>
                    <a:lnTo>
                      <a:pt x="305" y="5"/>
                    </a:lnTo>
                    <a:lnTo>
                      <a:pt x="306" y="5"/>
                    </a:lnTo>
                    <a:lnTo>
                      <a:pt x="306" y="6"/>
                    </a:lnTo>
                    <a:lnTo>
                      <a:pt x="306" y="7"/>
                    </a:lnTo>
                    <a:lnTo>
                      <a:pt x="307" y="8"/>
                    </a:lnTo>
                    <a:lnTo>
                      <a:pt x="306" y="9"/>
                    </a:lnTo>
                    <a:lnTo>
                      <a:pt x="308" y="9"/>
                    </a:lnTo>
                    <a:lnTo>
                      <a:pt x="308" y="10"/>
                    </a:lnTo>
                    <a:lnTo>
                      <a:pt x="309" y="10"/>
                    </a:lnTo>
                    <a:lnTo>
                      <a:pt x="309" y="12"/>
                    </a:lnTo>
                    <a:lnTo>
                      <a:pt x="308" y="12"/>
                    </a:lnTo>
                    <a:lnTo>
                      <a:pt x="308" y="13"/>
                    </a:lnTo>
                    <a:lnTo>
                      <a:pt x="309" y="13"/>
                    </a:lnTo>
                    <a:lnTo>
                      <a:pt x="309" y="14"/>
                    </a:lnTo>
                    <a:lnTo>
                      <a:pt x="309" y="15"/>
                    </a:lnTo>
                    <a:lnTo>
                      <a:pt x="309" y="16"/>
                    </a:lnTo>
                    <a:lnTo>
                      <a:pt x="310" y="16"/>
                    </a:lnTo>
                    <a:lnTo>
                      <a:pt x="311" y="17"/>
                    </a:lnTo>
                    <a:lnTo>
                      <a:pt x="312" y="17"/>
                    </a:lnTo>
                    <a:lnTo>
                      <a:pt x="311" y="19"/>
                    </a:lnTo>
                    <a:lnTo>
                      <a:pt x="310" y="18"/>
                    </a:lnTo>
                    <a:lnTo>
                      <a:pt x="310" y="19"/>
                    </a:lnTo>
                    <a:lnTo>
                      <a:pt x="310" y="20"/>
                    </a:lnTo>
                    <a:lnTo>
                      <a:pt x="311" y="20"/>
                    </a:lnTo>
                    <a:lnTo>
                      <a:pt x="311" y="21"/>
                    </a:lnTo>
                    <a:lnTo>
                      <a:pt x="312" y="21"/>
                    </a:lnTo>
                    <a:lnTo>
                      <a:pt x="311" y="21"/>
                    </a:lnTo>
                    <a:lnTo>
                      <a:pt x="311" y="22"/>
                    </a:lnTo>
                    <a:lnTo>
                      <a:pt x="312" y="22"/>
                    </a:lnTo>
                    <a:lnTo>
                      <a:pt x="312" y="23"/>
                    </a:lnTo>
                    <a:lnTo>
                      <a:pt x="313" y="23"/>
                    </a:lnTo>
                    <a:lnTo>
                      <a:pt x="313" y="25"/>
                    </a:lnTo>
                    <a:lnTo>
                      <a:pt x="312" y="25"/>
                    </a:lnTo>
                    <a:lnTo>
                      <a:pt x="313" y="25"/>
                    </a:lnTo>
                    <a:lnTo>
                      <a:pt x="313" y="26"/>
                    </a:lnTo>
                    <a:lnTo>
                      <a:pt x="315" y="26"/>
                    </a:lnTo>
                    <a:lnTo>
                      <a:pt x="316" y="26"/>
                    </a:lnTo>
                    <a:lnTo>
                      <a:pt x="316" y="27"/>
                    </a:lnTo>
                    <a:lnTo>
                      <a:pt x="316" y="28"/>
                    </a:lnTo>
                    <a:lnTo>
                      <a:pt x="317" y="27"/>
                    </a:lnTo>
                    <a:lnTo>
                      <a:pt x="318" y="27"/>
                    </a:lnTo>
                    <a:lnTo>
                      <a:pt x="318" y="28"/>
                    </a:lnTo>
                    <a:lnTo>
                      <a:pt x="318" y="29"/>
                    </a:lnTo>
                    <a:lnTo>
                      <a:pt x="319" y="30"/>
                    </a:lnTo>
                    <a:lnTo>
                      <a:pt x="319" y="29"/>
                    </a:lnTo>
                    <a:lnTo>
                      <a:pt x="319" y="30"/>
                    </a:lnTo>
                    <a:lnTo>
                      <a:pt x="319" y="31"/>
                    </a:lnTo>
                    <a:lnTo>
                      <a:pt x="320" y="31"/>
                    </a:lnTo>
                    <a:lnTo>
                      <a:pt x="320" y="32"/>
                    </a:lnTo>
                    <a:lnTo>
                      <a:pt x="320" y="33"/>
                    </a:lnTo>
                    <a:lnTo>
                      <a:pt x="320" y="34"/>
                    </a:lnTo>
                    <a:lnTo>
                      <a:pt x="321" y="34"/>
                    </a:lnTo>
                    <a:lnTo>
                      <a:pt x="322" y="34"/>
                    </a:lnTo>
                    <a:lnTo>
                      <a:pt x="323" y="34"/>
                    </a:lnTo>
                    <a:lnTo>
                      <a:pt x="323" y="35"/>
                    </a:lnTo>
                    <a:lnTo>
                      <a:pt x="324" y="35"/>
                    </a:lnTo>
                    <a:lnTo>
                      <a:pt x="324" y="36"/>
                    </a:lnTo>
                    <a:lnTo>
                      <a:pt x="323" y="36"/>
                    </a:lnTo>
                    <a:lnTo>
                      <a:pt x="323" y="38"/>
                    </a:lnTo>
                    <a:lnTo>
                      <a:pt x="323" y="39"/>
                    </a:lnTo>
                    <a:lnTo>
                      <a:pt x="324" y="39"/>
                    </a:lnTo>
                    <a:lnTo>
                      <a:pt x="325" y="40"/>
                    </a:lnTo>
                    <a:lnTo>
                      <a:pt x="324" y="40"/>
                    </a:lnTo>
                    <a:lnTo>
                      <a:pt x="324" y="41"/>
                    </a:lnTo>
                    <a:lnTo>
                      <a:pt x="325" y="41"/>
                    </a:lnTo>
                    <a:lnTo>
                      <a:pt x="325" y="42"/>
                    </a:lnTo>
                    <a:lnTo>
                      <a:pt x="325" y="43"/>
                    </a:lnTo>
                    <a:lnTo>
                      <a:pt x="325" y="42"/>
                    </a:lnTo>
                    <a:lnTo>
                      <a:pt x="326" y="42"/>
                    </a:lnTo>
                    <a:lnTo>
                      <a:pt x="326" y="43"/>
                    </a:lnTo>
                    <a:lnTo>
                      <a:pt x="326" y="44"/>
                    </a:lnTo>
                    <a:lnTo>
                      <a:pt x="326" y="45"/>
                    </a:lnTo>
                    <a:lnTo>
                      <a:pt x="326" y="46"/>
                    </a:lnTo>
                    <a:lnTo>
                      <a:pt x="326" y="47"/>
                    </a:lnTo>
                    <a:lnTo>
                      <a:pt x="328" y="47"/>
                    </a:lnTo>
                    <a:lnTo>
                      <a:pt x="329" y="48"/>
                    </a:lnTo>
                    <a:lnTo>
                      <a:pt x="329" y="49"/>
                    </a:lnTo>
                    <a:lnTo>
                      <a:pt x="328" y="49"/>
                    </a:lnTo>
                    <a:lnTo>
                      <a:pt x="328" y="48"/>
                    </a:lnTo>
                    <a:lnTo>
                      <a:pt x="326" y="48"/>
                    </a:lnTo>
                    <a:lnTo>
                      <a:pt x="324" y="49"/>
                    </a:lnTo>
                    <a:lnTo>
                      <a:pt x="324" y="51"/>
                    </a:lnTo>
                    <a:lnTo>
                      <a:pt x="325" y="51"/>
                    </a:lnTo>
                    <a:lnTo>
                      <a:pt x="325" y="52"/>
                    </a:lnTo>
                    <a:lnTo>
                      <a:pt x="324" y="52"/>
                    </a:lnTo>
                    <a:lnTo>
                      <a:pt x="323" y="52"/>
                    </a:lnTo>
                    <a:lnTo>
                      <a:pt x="324" y="52"/>
                    </a:lnTo>
                    <a:lnTo>
                      <a:pt x="324" y="53"/>
                    </a:lnTo>
                    <a:lnTo>
                      <a:pt x="323" y="54"/>
                    </a:lnTo>
                    <a:lnTo>
                      <a:pt x="323" y="55"/>
                    </a:lnTo>
                    <a:lnTo>
                      <a:pt x="322" y="54"/>
                    </a:lnTo>
                    <a:lnTo>
                      <a:pt x="322" y="55"/>
                    </a:lnTo>
                    <a:lnTo>
                      <a:pt x="322" y="56"/>
                    </a:lnTo>
                    <a:lnTo>
                      <a:pt x="322" y="57"/>
                    </a:lnTo>
                    <a:lnTo>
                      <a:pt x="321" y="57"/>
                    </a:lnTo>
                    <a:lnTo>
                      <a:pt x="322" y="58"/>
                    </a:lnTo>
                    <a:lnTo>
                      <a:pt x="323" y="57"/>
                    </a:lnTo>
                    <a:lnTo>
                      <a:pt x="324" y="58"/>
                    </a:lnTo>
                    <a:lnTo>
                      <a:pt x="323" y="58"/>
                    </a:lnTo>
                    <a:lnTo>
                      <a:pt x="322" y="58"/>
                    </a:lnTo>
                    <a:lnTo>
                      <a:pt x="322" y="59"/>
                    </a:lnTo>
                    <a:lnTo>
                      <a:pt x="322" y="60"/>
                    </a:lnTo>
                    <a:lnTo>
                      <a:pt x="322" y="61"/>
                    </a:lnTo>
                    <a:lnTo>
                      <a:pt x="323" y="61"/>
                    </a:lnTo>
                    <a:lnTo>
                      <a:pt x="323" y="62"/>
                    </a:lnTo>
                    <a:lnTo>
                      <a:pt x="322" y="62"/>
                    </a:lnTo>
                    <a:lnTo>
                      <a:pt x="323" y="64"/>
                    </a:lnTo>
                    <a:lnTo>
                      <a:pt x="324" y="64"/>
                    </a:lnTo>
                    <a:lnTo>
                      <a:pt x="323" y="64"/>
                    </a:lnTo>
                    <a:lnTo>
                      <a:pt x="322" y="64"/>
                    </a:lnTo>
                    <a:lnTo>
                      <a:pt x="322" y="65"/>
                    </a:lnTo>
                    <a:lnTo>
                      <a:pt x="322" y="64"/>
                    </a:lnTo>
                    <a:lnTo>
                      <a:pt x="321" y="66"/>
                    </a:lnTo>
                    <a:lnTo>
                      <a:pt x="322" y="66"/>
                    </a:lnTo>
                    <a:lnTo>
                      <a:pt x="322" y="67"/>
                    </a:lnTo>
                    <a:lnTo>
                      <a:pt x="321" y="67"/>
                    </a:lnTo>
                    <a:lnTo>
                      <a:pt x="322" y="67"/>
                    </a:lnTo>
                    <a:lnTo>
                      <a:pt x="323" y="67"/>
                    </a:lnTo>
                    <a:lnTo>
                      <a:pt x="323" y="68"/>
                    </a:lnTo>
                    <a:lnTo>
                      <a:pt x="322" y="69"/>
                    </a:lnTo>
                    <a:lnTo>
                      <a:pt x="322" y="70"/>
                    </a:lnTo>
                    <a:lnTo>
                      <a:pt x="321" y="70"/>
                    </a:lnTo>
                    <a:lnTo>
                      <a:pt x="321" y="71"/>
                    </a:lnTo>
                    <a:lnTo>
                      <a:pt x="321" y="72"/>
                    </a:lnTo>
                    <a:lnTo>
                      <a:pt x="320" y="72"/>
                    </a:lnTo>
                    <a:lnTo>
                      <a:pt x="319" y="73"/>
                    </a:lnTo>
                    <a:lnTo>
                      <a:pt x="319" y="72"/>
                    </a:lnTo>
                    <a:lnTo>
                      <a:pt x="318" y="72"/>
                    </a:lnTo>
                    <a:lnTo>
                      <a:pt x="318" y="71"/>
                    </a:lnTo>
                    <a:lnTo>
                      <a:pt x="317" y="71"/>
                    </a:lnTo>
                    <a:lnTo>
                      <a:pt x="316" y="71"/>
                    </a:lnTo>
                    <a:lnTo>
                      <a:pt x="316" y="72"/>
                    </a:lnTo>
                    <a:lnTo>
                      <a:pt x="316" y="73"/>
                    </a:lnTo>
                    <a:lnTo>
                      <a:pt x="315" y="73"/>
                    </a:lnTo>
                    <a:lnTo>
                      <a:pt x="315" y="72"/>
                    </a:lnTo>
                    <a:lnTo>
                      <a:pt x="313" y="72"/>
                    </a:lnTo>
                    <a:lnTo>
                      <a:pt x="313" y="73"/>
                    </a:lnTo>
                    <a:lnTo>
                      <a:pt x="313" y="72"/>
                    </a:lnTo>
                    <a:lnTo>
                      <a:pt x="312" y="72"/>
                    </a:lnTo>
                    <a:lnTo>
                      <a:pt x="312" y="73"/>
                    </a:lnTo>
                    <a:lnTo>
                      <a:pt x="311" y="73"/>
                    </a:lnTo>
                    <a:lnTo>
                      <a:pt x="312" y="74"/>
                    </a:lnTo>
                    <a:lnTo>
                      <a:pt x="312" y="76"/>
                    </a:lnTo>
                    <a:lnTo>
                      <a:pt x="311" y="76"/>
                    </a:lnTo>
                    <a:lnTo>
                      <a:pt x="310" y="76"/>
                    </a:lnTo>
                    <a:lnTo>
                      <a:pt x="309" y="76"/>
                    </a:lnTo>
                    <a:lnTo>
                      <a:pt x="309" y="77"/>
                    </a:lnTo>
                    <a:lnTo>
                      <a:pt x="308" y="77"/>
                    </a:lnTo>
                    <a:lnTo>
                      <a:pt x="308" y="78"/>
                    </a:lnTo>
                    <a:lnTo>
                      <a:pt x="307" y="78"/>
                    </a:lnTo>
                    <a:lnTo>
                      <a:pt x="307" y="79"/>
                    </a:lnTo>
                    <a:lnTo>
                      <a:pt x="308" y="79"/>
                    </a:lnTo>
                    <a:lnTo>
                      <a:pt x="308" y="80"/>
                    </a:lnTo>
                    <a:lnTo>
                      <a:pt x="307" y="80"/>
                    </a:lnTo>
                    <a:lnTo>
                      <a:pt x="307" y="81"/>
                    </a:lnTo>
                    <a:lnTo>
                      <a:pt x="306" y="81"/>
                    </a:lnTo>
                    <a:lnTo>
                      <a:pt x="307" y="82"/>
                    </a:lnTo>
                    <a:lnTo>
                      <a:pt x="307" y="83"/>
                    </a:lnTo>
                    <a:lnTo>
                      <a:pt x="307" y="84"/>
                    </a:lnTo>
                    <a:lnTo>
                      <a:pt x="308" y="84"/>
                    </a:lnTo>
                    <a:lnTo>
                      <a:pt x="308" y="85"/>
                    </a:lnTo>
                    <a:lnTo>
                      <a:pt x="309" y="85"/>
                    </a:lnTo>
                    <a:lnTo>
                      <a:pt x="310" y="85"/>
                    </a:lnTo>
                    <a:lnTo>
                      <a:pt x="310" y="86"/>
                    </a:lnTo>
                    <a:lnTo>
                      <a:pt x="309" y="86"/>
                    </a:lnTo>
                    <a:lnTo>
                      <a:pt x="309" y="87"/>
                    </a:lnTo>
                    <a:lnTo>
                      <a:pt x="309" y="86"/>
                    </a:lnTo>
                    <a:lnTo>
                      <a:pt x="309" y="87"/>
                    </a:lnTo>
                    <a:lnTo>
                      <a:pt x="309" y="89"/>
                    </a:lnTo>
                    <a:lnTo>
                      <a:pt x="308" y="89"/>
                    </a:lnTo>
                    <a:lnTo>
                      <a:pt x="308" y="90"/>
                    </a:lnTo>
                    <a:lnTo>
                      <a:pt x="307" y="90"/>
                    </a:lnTo>
                    <a:lnTo>
                      <a:pt x="308" y="91"/>
                    </a:lnTo>
                    <a:lnTo>
                      <a:pt x="308" y="92"/>
                    </a:lnTo>
                    <a:lnTo>
                      <a:pt x="308" y="91"/>
                    </a:lnTo>
                    <a:lnTo>
                      <a:pt x="309" y="91"/>
                    </a:lnTo>
                    <a:lnTo>
                      <a:pt x="309" y="92"/>
                    </a:lnTo>
                    <a:lnTo>
                      <a:pt x="308" y="93"/>
                    </a:lnTo>
                    <a:lnTo>
                      <a:pt x="308" y="94"/>
                    </a:lnTo>
                    <a:lnTo>
                      <a:pt x="309" y="94"/>
                    </a:lnTo>
                    <a:lnTo>
                      <a:pt x="310" y="94"/>
                    </a:lnTo>
                    <a:lnTo>
                      <a:pt x="310" y="95"/>
                    </a:lnTo>
                    <a:lnTo>
                      <a:pt x="309" y="96"/>
                    </a:lnTo>
                    <a:lnTo>
                      <a:pt x="309" y="95"/>
                    </a:lnTo>
                    <a:lnTo>
                      <a:pt x="308" y="95"/>
                    </a:lnTo>
                    <a:lnTo>
                      <a:pt x="309" y="96"/>
                    </a:lnTo>
                    <a:lnTo>
                      <a:pt x="309" y="97"/>
                    </a:lnTo>
                    <a:lnTo>
                      <a:pt x="308" y="97"/>
                    </a:lnTo>
                    <a:lnTo>
                      <a:pt x="308" y="98"/>
                    </a:lnTo>
                    <a:lnTo>
                      <a:pt x="309" y="98"/>
                    </a:lnTo>
                    <a:lnTo>
                      <a:pt x="309" y="99"/>
                    </a:lnTo>
                    <a:lnTo>
                      <a:pt x="308" y="99"/>
                    </a:lnTo>
                    <a:lnTo>
                      <a:pt x="308" y="100"/>
                    </a:lnTo>
                    <a:lnTo>
                      <a:pt x="309" y="100"/>
                    </a:lnTo>
                    <a:lnTo>
                      <a:pt x="309" y="102"/>
                    </a:lnTo>
                    <a:lnTo>
                      <a:pt x="308" y="102"/>
                    </a:lnTo>
                    <a:lnTo>
                      <a:pt x="309" y="102"/>
                    </a:lnTo>
                    <a:lnTo>
                      <a:pt x="310" y="103"/>
                    </a:lnTo>
                    <a:lnTo>
                      <a:pt x="309" y="103"/>
                    </a:lnTo>
                    <a:lnTo>
                      <a:pt x="311" y="104"/>
                    </a:lnTo>
                    <a:lnTo>
                      <a:pt x="311" y="105"/>
                    </a:lnTo>
                    <a:lnTo>
                      <a:pt x="312" y="105"/>
                    </a:lnTo>
                    <a:lnTo>
                      <a:pt x="313" y="105"/>
                    </a:lnTo>
                    <a:lnTo>
                      <a:pt x="313" y="106"/>
                    </a:lnTo>
                    <a:lnTo>
                      <a:pt x="312" y="106"/>
                    </a:lnTo>
                    <a:lnTo>
                      <a:pt x="312" y="107"/>
                    </a:lnTo>
                    <a:lnTo>
                      <a:pt x="312" y="108"/>
                    </a:lnTo>
                    <a:lnTo>
                      <a:pt x="313" y="108"/>
                    </a:lnTo>
                    <a:lnTo>
                      <a:pt x="313" y="109"/>
                    </a:lnTo>
                    <a:lnTo>
                      <a:pt x="312" y="109"/>
                    </a:lnTo>
                    <a:lnTo>
                      <a:pt x="312" y="110"/>
                    </a:lnTo>
                    <a:lnTo>
                      <a:pt x="313" y="110"/>
                    </a:lnTo>
                    <a:lnTo>
                      <a:pt x="313" y="111"/>
                    </a:lnTo>
                    <a:lnTo>
                      <a:pt x="313" y="112"/>
                    </a:lnTo>
                    <a:lnTo>
                      <a:pt x="312" y="112"/>
                    </a:lnTo>
                    <a:lnTo>
                      <a:pt x="312" y="113"/>
                    </a:lnTo>
                    <a:lnTo>
                      <a:pt x="311" y="112"/>
                    </a:lnTo>
                    <a:lnTo>
                      <a:pt x="311" y="113"/>
                    </a:lnTo>
                    <a:lnTo>
                      <a:pt x="310" y="113"/>
                    </a:lnTo>
                    <a:lnTo>
                      <a:pt x="309" y="115"/>
                    </a:lnTo>
                    <a:lnTo>
                      <a:pt x="309" y="116"/>
                    </a:lnTo>
                    <a:lnTo>
                      <a:pt x="309" y="117"/>
                    </a:lnTo>
                    <a:lnTo>
                      <a:pt x="309" y="118"/>
                    </a:lnTo>
                    <a:lnTo>
                      <a:pt x="308" y="118"/>
                    </a:lnTo>
                    <a:lnTo>
                      <a:pt x="310" y="118"/>
                    </a:lnTo>
                    <a:lnTo>
                      <a:pt x="310" y="117"/>
                    </a:lnTo>
                    <a:lnTo>
                      <a:pt x="311" y="117"/>
                    </a:lnTo>
                    <a:lnTo>
                      <a:pt x="311" y="118"/>
                    </a:lnTo>
                    <a:lnTo>
                      <a:pt x="311" y="119"/>
                    </a:lnTo>
                    <a:lnTo>
                      <a:pt x="310" y="120"/>
                    </a:lnTo>
                    <a:lnTo>
                      <a:pt x="309" y="120"/>
                    </a:lnTo>
                    <a:lnTo>
                      <a:pt x="308" y="119"/>
                    </a:lnTo>
                    <a:lnTo>
                      <a:pt x="308" y="120"/>
                    </a:lnTo>
                    <a:lnTo>
                      <a:pt x="307" y="121"/>
                    </a:lnTo>
                    <a:lnTo>
                      <a:pt x="306" y="121"/>
                    </a:lnTo>
                    <a:lnTo>
                      <a:pt x="305" y="122"/>
                    </a:lnTo>
                    <a:lnTo>
                      <a:pt x="306" y="122"/>
                    </a:lnTo>
                    <a:lnTo>
                      <a:pt x="306" y="123"/>
                    </a:lnTo>
                    <a:lnTo>
                      <a:pt x="308" y="122"/>
                    </a:lnTo>
                    <a:lnTo>
                      <a:pt x="308" y="123"/>
                    </a:lnTo>
                    <a:lnTo>
                      <a:pt x="308" y="124"/>
                    </a:lnTo>
                    <a:lnTo>
                      <a:pt x="309" y="124"/>
                    </a:lnTo>
                    <a:lnTo>
                      <a:pt x="309" y="125"/>
                    </a:lnTo>
                    <a:lnTo>
                      <a:pt x="309" y="126"/>
                    </a:lnTo>
                    <a:lnTo>
                      <a:pt x="310" y="126"/>
                    </a:lnTo>
                    <a:lnTo>
                      <a:pt x="311" y="128"/>
                    </a:lnTo>
                    <a:lnTo>
                      <a:pt x="312" y="128"/>
                    </a:lnTo>
                    <a:lnTo>
                      <a:pt x="311" y="129"/>
                    </a:lnTo>
                    <a:lnTo>
                      <a:pt x="310" y="128"/>
                    </a:lnTo>
                    <a:lnTo>
                      <a:pt x="309" y="128"/>
                    </a:lnTo>
                    <a:lnTo>
                      <a:pt x="309" y="129"/>
                    </a:lnTo>
                    <a:lnTo>
                      <a:pt x="310" y="129"/>
                    </a:lnTo>
                    <a:lnTo>
                      <a:pt x="311" y="129"/>
                    </a:lnTo>
                    <a:lnTo>
                      <a:pt x="311" y="130"/>
                    </a:lnTo>
                    <a:lnTo>
                      <a:pt x="310" y="130"/>
                    </a:lnTo>
                    <a:lnTo>
                      <a:pt x="310" y="131"/>
                    </a:lnTo>
                    <a:lnTo>
                      <a:pt x="309" y="132"/>
                    </a:lnTo>
                    <a:lnTo>
                      <a:pt x="310" y="133"/>
                    </a:lnTo>
                    <a:lnTo>
                      <a:pt x="309" y="133"/>
                    </a:lnTo>
                    <a:lnTo>
                      <a:pt x="308" y="133"/>
                    </a:lnTo>
                    <a:lnTo>
                      <a:pt x="308" y="134"/>
                    </a:lnTo>
                    <a:lnTo>
                      <a:pt x="309" y="135"/>
                    </a:lnTo>
                    <a:lnTo>
                      <a:pt x="308" y="135"/>
                    </a:lnTo>
                    <a:lnTo>
                      <a:pt x="308" y="136"/>
                    </a:lnTo>
                    <a:lnTo>
                      <a:pt x="309" y="136"/>
                    </a:lnTo>
                    <a:lnTo>
                      <a:pt x="309" y="137"/>
                    </a:lnTo>
                    <a:lnTo>
                      <a:pt x="309" y="138"/>
                    </a:lnTo>
                    <a:lnTo>
                      <a:pt x="309" y="139"/>
                    </a:lnTo>
                    <a:lnTo>
                      <a:pt x="310" y="139"/>
                    </a:lnTo>
                    <a:lnTo>
                      <a:pt x="310" y="138"/>
                    </a:lnTo>
                    <a:lnTo>
                      <a:pt x="310" y="139"/>
                    </a:lnTo>
                    <a:lnTo>
                      <a:pt x="310" y="141"/>
                    </a:lnTo>
                    <a:lnTo>
                      <a:pt x="308" y="141"/>
                    </a:lnTo>
                    <a:lnTo>
                      <a:pt x="309" y="141"/>
                    </a:lnTo>
                    <a:lnTo>
                      <a:pt x="310" y="143"/>
                    </a:lnTo>
                    <a:lnTo>
                      <a:pt x="309" y="144"/>
                    </a:lnTo>
                    <a:lnTo>
                      <a:pt x="308" y="144"/>
                    </a:lnTo>
                    <a:lnTo>
                      <a:pt x="308" y="143"/>
                    </a:lnTo>
                    <a:lnTo>
                      <a:pt x="307" y="144"/>
                    </a:lnTo>
                    <a:lnTo>
                      <a:pt x="308" y="144"/>
                    </a:lnTo>
                    <a:lnTo>
                      <a:pt x="308" y="145"/>
                    </a:lnTo>
                    <a:lnTo>
                      <a:pt x="309" y="145"/>
                    </a:lnTo>
                    <a:lnTo>
                      <a:pt x="310" y="145"/>
                    </a:lnTo>
                    <a:lnTo>
                      <a:pt x="309" y="146"/>
                    </a:lnTo>
                    <a:lnTo>
                      <a:pt x="310" y="147"/>
                    </a:lnTo>
                    <a:lnTo>
                      <a:pt x="310" y="148"/>
                    </a:lnTo>
                    <a:lnTo>
                      <a:pt x="309" y="148"/>
                    </a:lnTo>
                    <a:lnTo>
                      <a:pt x="309" y="149"/>
                    </a:lnTo>
                    <a:lnTo>
                      <a:pt x="310" y="149"/>
                    </a:lnTo>
                    <a:lnTo>
                      <a:pt x="310" y="148"/>
                    </a:lnTo>
                    <a:lnTo>
                      <a:pt x="311" y="148"/>
                    </a:lnTo>
                    <a:lnTo>
                      <a:pt x="311" y="149"/>
                    </a:lnTo>
                    <a:lnTo>
                      <a:pt x="310" y="149"/>
                    </a:lnTo>
                    <a:lnTo>
                      <a:pt x="310" y="150"/>
                    </a:lnTo>
                    <a:lnTo>
                      <a:pt x="311" y="150"/>
                    </a:lnTo>
                    <a:lnTo>
                      <a:pt x="311" y="151"/>
                    </a:lnTo>
                    <a:lnTo>
                      <a:pt x="310" y="153"/>
                    </a:lnTo>
                    <a:lnTo>
                      <a:pt x="310" y="151"/>
                    </a:lnTo>
                    <a:lnTo>
                      <a:pt x="309" y="151"/>
                    </a:lnTo>
                    <a:lnTo>
                      <a:pt x="309" y="153"/>
                    </a:lnTo>
                    <a:lnTo>
                      <a:pt x="309" y="154"/>
                    </a:lnTo>
                    <a:lnTo>
                      <a:pt x="309" y="155"/>
                    </a:lnTo>
                    <a:lnTo>
                      <a:pt x="310" y="155"/>
                    </a:lnTo>
                    <a:lnTo>
                      <a:pt x="310" y="156"/>
                    </a:lnTo>
                    <a:lnTo>
                      <a:pt x="310" y="157"/>
                    </a:lnTo>
                    <a:lnTo>
                      <a:pt x="310" y="158"/>
                    </a:lnTo>
                    <a:lnTo>
                      <a:pt x="309" y="158"/>
                    </a:lnTo>
                    <a:lnTo>
                      <a:pt x="308" y="158"/>
                    </a:lnTo>
                    <a:lnTo>
                      <a:pt x="308" y="159"/>
                    </a:lnTo>
                    <a:lnTo>
                      <a:pt x="309" y="160"/>
                    </a:lnTo>
                    <a:lnTo>
                      <a:pt x="310" y="160"/>
                    </a:lnTo>
                    <a:lnTo>
                      <a:pt x="310" y="161"/>
                    </a:lnTo>
                    <a:lnTo>
                      <a:pt x="310" y="162"/>
                    </a:lnTo>
                    <a:lnTo>
                      <a:pt x="310" y="163"/>
                    </a:lnTo>
                    <a:lnTo>
                      <a:pt x="309" y="163"/>
                    </a:lnTo>
                    <a:lnTo>
                      <a:pt x="308" y="163"/>
                    </a:lnTo>
                    <a:lnTo>
                      <a:pt x="308" y="164"/>
                    </a:lnTo>
                    <a:lnTo>
                      <a:pt x="309" y="164"/>
                    </a:lnTo>
                    <a:lnTo>
                      <a:pt x="309" y="166"/>
                    </a:lnTo>
                    <a:lnTo>
                      <a:pt x="309" y="167"/>
                    </a:lnTo>
                    <a:lnTo>
                      <a:pt x="310" y="167"/>
                    </a:lnTo>
                    <a:lnTo>
                      <a:pt x="311" y="167"/>
                    </a:lnTo>
                    <a:lnTo>
                      <a:pt x="311" y="168"/>
                    </a:lnTo>
                    <a:lnTo>
                      <a:pt x="311" y="169"/>
                    </a:lnTo>
                    <a:lnTo>
                      <a:pt x="310" y="169"/>
                    </a:lnTo>
                    <a:lnTo>
                      <a:pt x="310" y="170"/>
                    </a:lnTo>
                    <a:lnTo>
                      <a:pt x="311" y="170"/>
                    </a:lnTo>
                    <a:lnTo>
                      <a:pt x="311" y="171"/>
                    </a:lnTo>
                    <a:lnTo>
                      <a:pt x="310" y="171"/>
                    </a:lnTo>
                    <a:lnTo>
                      <a:pt x="309" y="171"/>
                    </a:lnTo>
                    <a:lnTo>
                      <a:pt x="309" y="172"/>
                    </a:lnTo>
                    <a:lnTo>
                      <a:pt x="309" y="173"/>
                    </a:lnTo>
                    <a:lnTo>
                      <a:pt x="310" y="173"/>
                    </a:lnTo>
                    <a:lnTo>
                      <a:pt x="310" y="174"/>
                    </a:lnTo>
                    <a:lnTo>
                      <a:pt x="311" y="175"/>
                    </a:lnTo>
                    <a:lnTo>
                      <a:pt x="311" y="176"/>
                    </a:lnTo>
                    <a:lnTo>
                      <a:pt x="310" y="176"/>
                    </a:lnTo>
                    <a:lnTo>
                      <a:pt x="309" y="176"/>
                    </a:lnTo>
                    <a:lnTo>
                      <a:pt x="310" y="176"/>
                    </a:lnTo>
                    <a:lnTo>
                      <a:pt x="310" y="179"/>
                    </a:lnTo>
                    <a:lnTo>
                      <a:pt x="310" y="180"/>
                    </a:lnTo>
                    <a:lnTo>
                      <a:pt x="309" y="181"/>
                    </a:lnTo>
                    <a:lnTo>
                      <a:pt x="310" y="182"/>
                    </a:lnTo>
                    <a:lnTo>
                      <a:pt x="310" y="181"/>
                    </a:lnTo>
                    <a:lnTo>
                      <a:pt x="311" y="182"/>
                    </a:lnTo>
                    <a:lnTo>
                      <a:pt x="310" y="183"/>
                    </a:lnTo>
                    <a:lnTo>
                      <a:pt x="310" y="182"/>
                    </a:lnTo>
                    <a:lnTo>
                      <a:pt x="309" y="182"/>
                    </a:lnTo>
                    <a:lnTo>
                      <a:pt x="309" y="183"/>
                    </a:lnTo>
                    <a:lnTo>
                      <a:pt x="310" y="184"/>
                    </a:lnTo>
                    <a:lnTo>
                      <a:pt x="311" y="183"/>
                    </a:lnTo>
                    <a:lnTo>
                      <a:pt x="311" y="182"/>
                    </a:lnTo>
                    <a:lnTo>
                      <a:pt x="312" y="182"/>
                    </a:lnTo>
                    <a:lnTo>
                      <a:pt x="312" y="183"/>
                    </a:lnTo>
                    <a:lnTo>
                      <a:pt x="312" y="184"/>
                    </a:lnTo>
                    <a:lnTo>
                      <a:pt x="311" y="184"/>
                    </a:lnTo>
                    <a:lnTo>
                      <a:pt x="311" y="185"/>
                    </a:lnTo>
                    <a:lnTo>
                      <a:pt x="312" y="185"/>
                    </a:lnTo>
                    <a:lnTo>
                      <a:pt x="313" y="186"/>
                    </a:lnTo>
                    <a:lnTo>
                      <a:pt x="315" y="186"/>
                    </a:lnTo>
                    <a:lnTo>
                      <a:pt x="315" y="187"/>
                    </a:lnTo>
                    <a:lnTo>
                      <a:pt x="316" y="187"/>
                    </a:lnTo>
                    <a:lnTo>
                      <a:pt x="316" y="188"/>
                    </a:lnTo>
                    <a:lnTo>
                      <a:pt x="317" y="189"/>
                    </a:lnTo>
                    <a:lnTo>
                      <a:pt x="317" y="192"/>
                    </a:lnTo>
                    <a:lnTo>
                      <a:pt x="317" y="193"/>
                    </a:lnTo>
                    <a:lnTo>
                      <a:pt x="316" y="193"/>
                    </a:lnTo>
                    <a:lnTo>
                      <a:pt x="316" y="194"/>
                    </a:lnTo>
                    <a:lnTo>
                      <a:pt x="317" y="194"/>
                    </a:lnTo>
                    <a:lnTo>
                      <a:pt x="318" y="194"/>
                    </a:lnTo>
                    <a:lnTo>
                      <a:pt x="318" y="195"/>
                    </a:lnTo>
                    <a:lnTo>
                      <a:pt x="318" y="196"/>
                    </a:lnTo>
                    <a:lnTo>
                      <a:pt x="319" y="196"/>
                    </a:lnTo>
                    <a:lnTo>
                      <a:pt x="320" y="197"/>
                    </a:lnTo>
                    <a:lnTo>
                      <a:pt x="321" y="197"/>
                    </a:lnTo>
                    <a:lnTo>
                      <a:pt x="321" y="198"/>
                    </a:lnTo>
                    <a:lnTo>
                      <a:pt x="321" y="199"/>
                    </a:lnTo>
                    <a:lnTo>
                      <a:pt x="322" y="199"/>
                    </a:lnTo>
                    <a:lnTo>
                      <a:pt x="323" y="199"/>
                    </a:lnTo>
                    <a:lnTo>
                      <a:pt x="323" y="200"/>
                    </a:lnTo>
                    <a:lnTo>
                      <a:pt x="324" y="200"/>
                    </a:lnTo>
                    <a:lnTo>
                      <a:pt x="325" y="200"/>
                    </a:lnTo>
                    <a:lnTo>
                      <a:pt x="326" y="200"/>
                    </a:lnTo>
                    <a:lnTo>
                      <a:pt x="328" y="200"/>
                    </a:lnTo>
                    <a:lnTo>
                      <a:pt x="328" y="199"/>
                    </a:lnTo>
                    <a:lnTo>
                      <a:pt x="329" y="199"/>
                    </a:lnTo>
                    <a:lnTo>
                      <a:pt x="330" y="199"/>
                    </a:lnTo>
                    <a:lnTo>
                      <a:pt x="330" y="200"/>
                    </a:lnTo>
                    <a:lnTo>
                      <a:pt x="330" y="201"/>
                    </a:lnTo>
                    <a:lnTo>
                      <a:pt x="331" y="201"/>
                    </a:lnTo>
                    <a:lnTo>
                      <a:pt x="331" y="200"/>
                    </a:lnTo>
                    <a:lnTo>
                      <a:pt x="332" y="201"/>
                    </a:lnTo>
                    <a:lnTo>
                      <a:pt x="333" y="201"/>
                    </a:lnTo>
                    <a:lnTo>
                      <a:pt x="333" y="202"/>
                    </a:lnTo>
                    <a:lnTo>
                      <a:pt x="334" y="202"/>
                    </a:lnTo>
                    <a:lnTo>
                      <a:pt x="335" y="203"/>
                    </a:lnTo>
                    <a:lnTo>
                      <a:pt x="335" y="205"/>
                    </a:lnTo>
                    <a:lnTo>
                      <a:pt x="334" y="205"/>
                    </a:lnTo>
                    <a:lnTo>
                      <a:pt x="333" y="203"/>
                    </a:lnTo>
                    <a:lnTo>
                      <a:pt x="332" y="202"/>
                    </a:lnTo>
                    <a:lnTo>
                      <a:pt x="331" y="203"/>
                    </a:lnTo>
                    <a:lnTo>
                      <a:pt x="331" y="205"/>
                    </a:lnTo>
                    <a:lnTo>
                      <a:pt x="331" y="206"/>
                    </a:lnTo>
                    <a:lnTo>
                      <a:pt x="330" y="206"/>
                    </a:lnTo>
                    <a:lnTo>
                      <a:pt x="329" y="207"/>
                    </a:lnTo>
                    <a:lnTo>
                      <a:pt x="328" y="208"/>
                    </a:lnTo>
                    <a:lnTo>
                      <a:pt x="329" y="209"/>
                    </a:lnTo>
                    <a:lnTo>
                      <a:pt x="329" y="210"/>
                    </a:lnTo>
                    <a:lnTo>
                      <a:pt x="330" y="210"/>
                    </a:lnTo>
                    <a:lnTo>
                      <a:pt x="331" y="210"/>
                    </a:lnTo>
                    <a:lnTo>
                      <a:pt x="331" y="211"/>
                    </a:lnTo>
                    <a:lnTo>
                      <a:pt x="331" y="212"/>
                    </a:lnTo>
                    <a:lnTo>
                      <a:pt x="330" y="213"/>
                    </a:lnTo>
                    <a:lnTo>
                      <a:pt x="330" y="214"/>
                    </a:lnTo>
                    <a:lnTo>
                      <a:pt x="330" y="215"/>
                    </a:lnTo>
                    <a:lnTo>
                      <a:pt x="331" y="216"/>
                    </a:lnTo>
                    <a:lnTo>
                      <a:pt x="331" y="218"/>
                    </a:lnTo>
                    <a:lnTo>
                      <a:pt x="330" y="219"/>
                    </a:lnTo>
                    <a:lnTo>
                      <a:pt x="329" y="220"/>
                    </a:lnTo>
                    <a:lnTo>
                      <a:pt x="328" y="220"/>
                    </a:lnTo>
                    <a:lnTo>
                      <a:pt x="326" y="220"/>
                    </a:lnTo>
                    <a:lnTo>
                      <a:pt x="325" y="219"/>
                    </a:lnTo>
                    <a:lnTo>
                      <a:pt x="324" y="219"/>
                    </a:lnTo>
                    <a:lnTo>
                      <a:pt x="323" y="219"/>
                    </a:lnTo>
                    <a:lnTo>
                      <a:pt x="323" y="220"/>
                    </a:lnTo>
                    <a:lnTo>
                      <a:pt x="323" y="221"/>
                    </a:lnTo>
                    <a:lnTo>
                      <a:pt x="322" y="221"/>
                    </a:lnTo>
                    <a:lnTo>
                      <a:pt x="322" y="222"/>
                    </a:lnTo>
                    <a:lnTo>
                      <a:pt x="321" y="222"/>
                    </a:lnTo>
                    <a:lnTo>
                      <a:pt x="320" y="222"/>
                    </a:lnTo>
                    <a:lnTo>
                      <a:pt x="319" y="222"/>
                    </a:lnTo>
                    <a:lnTo>
                      <a:pt x="318" y="222"/>
                    </a:lnTo>
                    <a:lnTo>
                      <a:pt x="317" y="223"/>
                    </a:lnTo>
                    <a:lnTo>
                      <a:pt x="316" y="223"/>
                    </a:lnTo>
                    <a:lnTo>
                      <a:pt x="316" y="222"/>
                    </a:lnTo>
                    <a:lnTo>
                      <a:pt x="315" y="222"/>
                    </a:lnTo>
                    <a:lnTo>
                      <a:pt x="313" y="222"/>
                    </a:lnTo>
                    <a:lnTo>
                      <a:pt x="313" y="223"/>
                    </a:lnTo>
                    <a:lnTo>
                      <a:pt x="315" y="224"/>
                    </a:lnTo>
                    <a:lnTo>
                      <a:pt x="316" y="224"/>
                    </a:lnTo>
                    <a:lnTo>
                      <a:pt x="318" y="225"/>
                    </a:lnTo>
                    <a:lnTo>
                      <a:pt x="318" y="226"/>
                    </a:lnTo>
                    <a:lnTo>
                      <a:pt x="318" y="227"/>
                    </a:lnTo>
                    <a:lnTo>
                      <a:pt x="317" y="227"/>
                    </a:lnTo>
                    <a:lnTo>
                      <a:pt x="316" y="227"/>
                    </a:lnTo>
                    <a:lnTo>
                      <a:pt x="316" y="228"/>
                    </a:lnTo>
                    <a:lnTo>
                      <a:pt x="316" y="229"/>
                    </a:lnTo>
                    <a:lnTo>
                      <a:pt x="317" y="229"/>
                    </a:lnTo>
                    <a:lnTo>
                      <a:pt x="318" y="229"/>
                    </a:lnTo>
                    <a:lnTo>
                      <a:pt x="319" y="231"/>
                    </a:lnTo>
                    <a:lnTo>
                      <a:pt x="320" y="231"/>
                    </a:lnTo>
                    <a:lnTo>
                      <a:pt x="320" y="232"/>
                    </a:lnTo>
                    <a:lnTo>
                      <a:pt x="320" y="233"/>
                    </a:lnTo>
                    <a:lnTo>
                      <a:pt x="320" y="234"/>
                    </a:lnTo>
                    <a:lnTo>
                      <a:pt x="320" y="235"/>
                    </a:lnTo>
                    <a:lnTo>
                      <a:pt x="319" y="235"/>
                    </a:lnTo>
                    <a:lnTo>
                      <a:pt x="318" y="235"/>
                    </a:lnTo>
                    <a:lnTo>
                      <a:pt x="318" y="236"/>
                    </a:lnTo>
                    <a:lnTo>
                      <a:pt x="317" y="236"/>
                    </a:lnTo>
                    <a:lnTo>
                      <a:pt x="317" y="237"/>
                    </a:lnTo>
                    <a:lnTo>
                      <a:pt x="317" y="238"/>
                    </a:lnTo>
                    <a:lnTo>
                      <a:pt x="317" y="239"/>
                    </a:lnTo>
                    <a:lnTo>
                      <a:pt x="317" y="240"/>
                    </a:lnTo>
                    <a:lnTo>
                      <a:pt x="316" y="240"/>
                    </a:lnTo>
                    <a:lnTo>
                      <a:pt x="315" y="241"/>
                    </a:lnTo>
                    <a:lnTo>
                      <a:pt x="313" y="241"/>
                    </a:lnTo>
                    <a:lnTo>
                      <a:pt x="312" y="241"/>
                    </a:lnTo>
                    <a:lnTo>
                      <a:pt x="311" y="241"/>
                    </a:lnTo>
                    <a:lnTo>
                      <a:pt x="311" y="243"/>
                    </a:lnTo>
                    <a:lnTo>
                      <a:pt x="311" y="244"/>
                    </a:lnTo>
                    <a:lnTo>
                      <a:pt x="311" y="245"/>
                    </a:lnTo>
                    <a:lnTo>
                      <a:pt x="310" y="245"/>
                    </a:lnTo>
                    <a:lnTo>
                      <a:pt x="309" y="246"/>
                    </a:lnTo>
                    <a:lnTo>
                      <a:pt x="308" y="248"/>
                    </a:lnTo>
                    <a:lnTo>
                      <a:pt x="308" y="250"/>
                    </a:lnTo>
                    <a:lnTo>
                      <a:pt x="308" y="251"/>
                    </a:lnTo>
                    <a:lnTo>
                      <a:pt x="308" y="252"/>
                    </a:lnTo>
                    <a:lnTo>
                      <a:pt x="309" y="252"/>
                    </a:lnTo>
                    <a:lnTo>
                      <a:pt x="310" y="252"/>
                    </a:lnTo>
                    <a:lnTo>
                      <a:pt x="311" y="252"/>
                    </a:lnTo>
                    <a:lnTo>
                      <a:pt x="311" y="253"/>
                    </a:lnTo>
                    <a:lnTo>
                      <a:pt x="311" y="254"/>
                    </a:lnTo>
                    <a:lnTo>
                      <a:pt x="311" y="256"/>
                    </a:lnTo>
                    <a:lnTo>
                      <a:pt x="310" y="257"/>
                    </a:lnTo>
                    <a:lnTo>
                      <a:pt x="308" y="257"/>
                    </a:lnTo>
                    <a:lnTo>
                      <a:pt x="308" y="258"/>
                    </a:lnTo>
                    <a:lnTo>
                      <a:pt x="308" y="259"/>
                    </a:lnTo>
                    <a:lnTo>
                      <a:pt x="309" y="259"/>
                    </a:lnTo>
                    <a:lnTo>
                      <a:pt x="310" y="260"/>
                    </a:lnTo>
                    <a:lnTo>
                      <a:pt x="311" y="260"/>
                    </a:lnTo>
                    <a:lnTo>
                      <a:pt x="311" y="261"/>
                    </a:lnTo>
                    <a:lnTo>
                      <a:pt x="310" y="262"/>
                    </a:lnTo>
                    <a:lnTo>
                      <a:pt x="309" y="262"/>
                    </a:lnTo>
                    <a:lnTo>
                      <a:pt x="309" y="263"/>
                    </a:lnTo>
                    <a:lnTo>
                      <a:pt x="310" y="263"/>
                    </a:lnTo>
                    <a:lnTo>
                      <a:pt x="310" y="264"/>
                    </a:lnTo>
                    <a:lnTo>
                      <a:pt x="310" y="265"/>
                    </a:lnTo>
                    <a:lnTo>
                      <a:pt x="310" y="267"/>
                    </a:lnTo>
                    <a:lnTo>
                      <a:pt x="310" y="269"/>
                    </a:lnTo>
                    <a:lnTo>
                      <a:pt x="311" y="269"/>
                    </a:lnTo>
                    <a:lnTo>
                      <a:pt x="312" y="269"/>
                    </a:lnTo>
                    <a:lnTo>
                      <a:pt x="312" y="270"/>
                    </a:lnTo>
                    <a:lnTo>
                      <a:pt x="312" y="271"/>
                    </a:lnTo>
                    <a:lnTo>
                      <a:pt x="313" y="272"/>
                    </a:lnTo>
                    <a:lnTo>
                      <a:pt x="313" y="273"/>
                    </a:lnTo>
                    <a:lnTo>
                      <a:pt x="313" y="274"/>
                    </a:lnTo>
                    <a:lnTo>
                      <a:pt x="312" y="275"/>
                    </a:lnTo>
                    <a:lnTo>
                      <a:pt x="312" y="276"/>
                    </a:lnTo>
                    <a:lnTo>
                      <a:pt x="313" y="277"/>
                    </a:lnTo>
                    <a:lnTo>
                      <a:pt x="313" y="279"/>
                    </a:lnTo>
                    <a:lnTo>
                      <a:pt x="312" y="279"/>
                    </a:lnTo>
                    <a:lnTo>
                      <a:pt x="311" y="280"/>
                    </a:lnTo>
                    <a:lnTo>
                      <a:pt x="310" y="280"/>
                    </a:lnTo>
                    <a:lnTo>
                      <a:pt x="309" y="280"/>
                    </a:lnTo>
                    <a:lnTo>
                      <a:pt x="308" y="280"/>
                    </a:lnTo>
                    <a:lnTo>
                      <a:pt x="308" y="282"/>
                    </a:lnTo>
                    <a:lnTo>
                      <a:pt x="307" y="282"/>
                    </a:lnTo>
                    <a:lnTo>
                      <a:pt x="307" y="283"/>
                    </a:lnTo>
                    <a:lnTo>
                      <a:pt x="307" y="284"/>
                    </a:lnTo>
                    <a:lnTo>
                      <a:pt x="307" y="285"/>
                    </a:lnTo>
                    <a:lnTo>
                      <a:pt x="308" y="285"/>
                    </a:lnTo>
                    <a:lnTo>
                      <a:pt x="309" y="286"/>
                    </a:lnTo>
                    <a:lnTo>
                      <a:pt x="308" y="287"/>
                    </a:lnTo>
                    <a:lnTo>
                      <a:pt x="307" y="286"/>
                    </a:lnTo>
                    <a:lnTo>
                      <a:pt x="306" y="286"/>
                    </a:lnTo>
                    <a:lnTo>
                      <a:pt x="305" y="286"/>
                    </a:lnTo>
                    <a:lnTo>
                      <a:pt x="305" y="287"/>
                    </a:lnTo>
                    <a:lnTo>
                      <a:pt x="305" y="288"/>
                    </a:lnTo>
                    <a:lnTo>
                      <a:pt x="306" y="288"/>
                    </a:lnTo>
                    <a:lnTo>
                      <a:pt x="306" y="289"/>
                    </a:lnTo>
                    <a:lnTo>
                      <a:pt x="307" y="289"/>
                    </a:lnTo>
                    <a:lnTo>
                      <a:pt x="306" y="290"/>
                    </a:lnTo>
                    <a:lnTo>
                      <a:pt x="306" y="291"/>
                    </a:lnTo>
                    <a:lnTo>
                      <a:pt x="305" y="291"/>
                    </a:lnTo>
                    <a:lnTo>
                      <a:pt x="304" y="292"/>
                    </a:lnTo>
                    <a:lnTo>
                      <a:pt x="303" y="293"/>
                    </a:lnTo>
                    <a:lnTo>
                      <a:pt x="303" y="295"/>
                    </a:lnTo>
                    <a:lnTo>
                      <a:pt x="302" y="296"/>
                    </a:lnTo>
                    <a:lnTo>
                      <a:pt x="300" y="296"/>
                    </a:lnTo>
                    <a:lnTo>
                      <a:pt x="300" y="295"/>
                    </a:lnTo>
                    <a:lnTo>
                      <a:pt x="299" y="295"/>
                    </a:lnTo>
                    <a:lnTo>
                      <a:pt x="299" y="293"/>
                    </a:lnTo>
                    <a:lnTo>
                      <a:pt x="298" y="293"/>
                    </a:lnTo>
                    <a:lnTo>
                      <a:pt x="297" y="293"/>
                    </a:lnTo>
                    <a:lnTo>
                      <a:pt x="296" y="295"/>
                    </a:lnTo>
                    <a:lnTo>
                      <a:pt x="295" y="295"/>
                    </a:lnTo>
                    <a:lnTo>
                      <a:pt x="294" y="295"/>
                    </a:lnTo>
                    <a:lnTo>
                      <a:pt x="294" y="293"/>
                    </a:lnTo>
                    <a:lnTo>
                      <a:pt x="293" y="292"/>
                    </a:lnTo>
                    <a:lnTo>
                      <a:pt x="293" y="290"/>
                    </a:lnTo>
                    <a:lnTo>
                      <a:pt x="292" y="290"/>
                    </a:lnTo>
                    <a:lnTo>
                      <a:pt x="291" y="292"/>
                    </a:lnTo>
                    <a:lnTo>
                      <a:pt x="289" y="297"/>
                    </a:lnTo>
                    <a:lnTo>
                      <a:pt x="287" y="298"/>
                    </a:lnTo>
                    <a:lnTo>
                      <a:pt x="285" y="298"/>
                    </a:lnTo>
                    <a:lnTo>
                      <a:pt x="283" y="297"/>
                    </a:lnTo>
                    <a:lnTo>
                      <a:pt x="282" y="296"/>
                    </a:lnTo>
                    <a:lnTo>
                      <a:pt x="281" y="296"/>
                    </a:lnTo>
                    <a:lnTo>
                      <a:pt x="280" y="297"/>
                    </a:lnTo>
                    <a:lnTo>
                      <a:pt x="279" y="297"/>
                    </a:lnTo>
                    <a:lnTo>
                      <a:pt x="277" y="300"/>
                    </a:lnTo>
                    <a:lnTo>
                      <a:pt x="276" y="301"/>
                    </a:lnTo>
                    <a:lnTo>
                      <a:pt x="274" y="302"/>
                    </a:lnTo>
                    <a:lnTo>
                      <a:pt x="273" y="303"/>
                    </a:lnTo>
                    <a:lnTo>
                      <a:pt x="273" y="304"/>
                    </a:lnTo>
                    <a:lnTo>
                      <a:pt x="272" y="304"/>
                    </a:lnTo>
                    <a:lnTo>
                      <a:pt x="271" y="304"/>
                    </a:lnTo>
                    <a:lnTo>
                      <a:pt x="270" y="304"/>
                    </a:lnTo>
                    <a:lnTo>
                      <a:pt x="269" y="304"/>
                    </a:lnTo>
                    <a:lnTo>
                      <a:pt x="268" y="303"/>
                    </a:lnTo>
                    <a:lnTo>
                      <a:pt x="267" y="302"/>
                    </a:lnTo>
                    <a:lnTo>
                      <a:pt x="267" y="303"/>
                    </a:lnTo>
                    <a:lnTo>
                      <a:pt x="266" y="303"/>
                    </a:lnTo>
                    <a:lnTo>
                      <a:pt x="266" y="304"/>
                    </a:lnTo>
                    <a:lnTo>
                      <a:pt x="266" y="305"/>
                    </a:lnTo>
                    <a:lnTo>
                      <a:pt x="266" y="308"/>
                    </a:lnTo>
                    <a:lnTo>
                      <a:pt x="265" y="309"/>
                    </a:lnTo>
                    <a:lnTo>
                      <a:pt x="264" y="309"/>
                    </a:lnTo>
                    <a:lnTo>
                      <a:pt x="263" y="309"/>
                    </a:lnTo>
                    <a:lnTo>
                      <a:pt x="261" y="309"/>
                    </a:lnTo>
                    <a:lnTo>
                      <a:pt x="260" y="309"/>
                    </a:lnTo>
                    <a:lnTo>
                      <a:pt x="259" y="309"/>
                    </a:lnTo>
                    <a:lnTo>
                      <a:pt x="257" y="311"/>
                    </a:lnTo>
                    <a:lnTo>
                      <a:pt x="256" y="312"/>
                    </a:lnTo>
                    <a:lnTo>
                      <a:pt x="255" y="312"/>
                    </a:lnTo>
                    <a:lnTo>
                      <a:pt x="254" y="312"/>
                    </a:lnTo>
                    <a:lnTo>
                      <a:pt x="253" y="312"/>
                    </a:lnTo>
                    <a:lnTo>
                      <a:pt x="251" y="312"/>
                    </a:lnTo>
                    <a:lnTo>
                      <a:pt x="250" y="312"/>
                    </a:lnTo>
                    <a:lnTo>
                      <a:pt x="248" y="312"/>
                    </a:lnTo>
                    <a:lnTo>
                      <a:pt x="247" y="313"/>
                    </a:lnTo>
                    <a:lnTo>
                      <a:pt x="245" y="316"/>
                    </a:lnTo>
                    <a:lnTo>
                      <a:pt x="244" y="317"/>
                    </a:lnTo>
                    <a:lnTo>
                      <a:pt x="243" y="318"/>
                    </a:lnTo>
                    <a:lnTo>
                      <a:pt x="243" y="320"/>
                    </a:lnTo>
                    <a:lnTo>
                      <a:pt x="242" y="320"/>
                    </a:lnTo>
                    <a:lnTo>
                      <a:pt x="241" y="320"/>
                    </a:lnTo>
                    <a:lnTo>
                      <a:pt x="240" y="320"/>
                    </a:lnTo>
                    <a:lnTo>
                      <a:pt x="238" y="320"/>
                    </a:lnTo>
                    <a:lnTo>
                      <a:pt x="235" y="320"/>
                    </a:lnTo>
                    <a:lnTo>
                      <a:pt x="233" y="318"/>
                    </a:lnTo>
                    <a:lnTo>
                      <a:pt x="231" y="318"/>
                    </a:lnTo>
                    <a:lnTo>
                      <a:pt x="229" y="318"/>
                    </a:lnTo>
                    <a:lnTo>
                      <a:pt x="162" y="318"/>
                    </a:lnTo>
                    <a:lnTo>
                      <a:pt x="161" y="318"/>
                    </a:lnTo>
                    <a:lnTo>
                      <a:pt x="156" y="320"/>
                    </a:lnTo>
                    <a:lnTo>
                      <a:pt x="154" y="320"/>
                    </a:lnTo>
                    <a:lnTo>
                      <a:pt x="135" y="318"/>
                    </a:lnTo>
                    <a:lnTo>
                      <a:pt x="115" y="320"/>
                    </a:lnTo>
                    <a:lnTo>
                      <a:pt x="114" y="320"/>
                    </a:lnTo>
                    <a:lnTo>
                      <a:pt x="109" y="320"/>
                    </a:lnTo>
                    <a:lnTo>
                      <a:pt x="83" y="320"/>
                    </a:lnTo>
                    <a:lnTo>
                      <a:pt x="83" y="311"/>
                    </a:lnTo>
                    <a:lnTo>
                      <a:pt x="83" y="309"/>
                    </a:lnTo>
                    <a:lnTo>
                      <a:pt x="83" y="288"/>
                    </a:lnTo>
                    <a:lnTo>
                      <a:pt x="111" y="288"/>
                    </a:lnTo>
                    <a:lnTo>
                      <a:pt x="116" y="288"/>
                    </a:lnTo>
                    <a:lnTo>
                      <a:pt x="119" y="288"/>
                    </a:lnTo>
                    <a:lnTo>
                      <a:pt x="135" y="288"/>
                    </a:lnTo>
                    <a:lnTo>
                      <a:pt x="149" y="288"/>
                    </a:lnTo>
                    <a:lnTo>
                      <a:pt x="149" y="287"/>
                    </a:lnTo>
                    <a:lnTo>
                      <a:pt x="148" y="286"/>
                    </a:lnTo>
                    <a:lnTo>
                      <a:pt x="147" y="284"/>
                    </a:lnTo>
                    <a:lnTo>
                      <a:pt x="145" y="283"/>
                    </a:lnTo>
                    <a:lnTo>
                      <a:pt x="147" y="282"/>
                    </a:lnTo>
                    <a:lnTo>
                      <a:pt x="145" y="280"/>
                    </a:lnTo>
                    <a:lnTo>
                      <a:pt x="147" y="278"/>
                    </a:lnTo>
                    <a:lnTo>
                      <a:pt x="147" y="277"/>
                    </a:lnTo>
                    <a:lnTo>
                      <a:pt x="145" y="278"/>
                    </a:lnTo>
                    <a:lnTo>
                      <a:pt x="144" y="278"/>
                    </a:lnTo>
                    <a:lnTo>
                      <a:pt x="143" y="277"/>
                    </a:lnTo>
                    <a:lnTo>
                      <a:pt x="144" y="276"/>
                    </a:lnTo>
                    <a:lnTo>
                      <a:pt x="143" y="275"/>
                    </a:lnTo>
                    <a:lnTo>
                      <a:pt x="142" y="275"/>
                    </a:lnTo>
                    <a:lnTo>
                      <a:pt x="141" y="275"/>
                    </a:lnTo>
                    <a:lnTo>
                      <a:pt x="141" y="274"/>
                    </a:lnTo>
                    <a:lnTo>
                      <a:pt x="142" y="273"/>
                    </a:lnTo>
                    <a:lnTo>
                      <a:pt x="142" y="272"/>
                    </a:lnTo>
                    <a:lnTo>
                      <a:pt x="141" y="271"/>
                    </a:lnTo>
                    <a:lnTo>
                      <a:pt x="141" y="270"/>
                    </a:lnTo>
                    <a:lnTo>
                      <a:pt x="140" y="269"/>
                    </a:lnTo>
                    <a:lnTo>
                      <a:pt x="141" y="269"/>
                    </a:lnTo>
                    <a:lnTo>
                      <a:pt x="141" y="267"/>
                    </a:lnTo>
                    <a:lnTo>
                      <a:pt x="139" y="267"/>
                    </a:lnTo>
                    <a:lnTo>
                      <a:pt x="138" y="267"/>
                    </a:lnTo>
                    <a:lnTo>
                      <a:pt x="137" y="266"/>
                    </a:lnTo>
                    <a:lnTo>
                      <a:pt x="136" y="265"/>
                    </a:lnTo>
                    <a:lnTo>
                      <a:pt x="136" y="264"/>
                    </a:lnTo>
                    <a:lnTo>
                      <a:pt x="137" y="264"/>
                    </a:lnTo>
                    <a:lnTo>
                      <a:pt x="137" y="263"/>
                    </a:lnTo>
                    <a:lnTo>
                      <a:pt x="137" y="262"/>
                    </a:lnTo>
                    <a:lnTo>
                      <a:pt x="136" y="261"/>
                    </a:lnTo>
                    <a:lnTo>
                      <a:pt x="137" y="260"/>
                    </a:lnTo>
                    <a:lnTo>
                      <a:pt x="137" y="259"/>
                    </a:lnTo>
                    <a:lnTo>
                      <a:pt x="137" y="258"/>
                    </a:lnTo>
                    <a:lnTo>
                      <a:pt x="137" y="257"/>
                    </a:lnTo>
                    <a:lnTo>
                      <a:pt x="138" y="257"/>
                    </a:lnTo>
                    <a:lnTo>
                      <a:pt x="138" y="256"/>
                    </a:lnTo>
                    <a:lnTo>
                      <a:pt x="137" y="254"/>
                    </a:lnTo>
                    <a:lnTo>
                      <a:pt x="137" y="253"/>
                    </a:lnTo>
                    <a:lnTo>
                      <a:pt x="138" y="253"/>
                    </a:lnTo>
                    <a:lnTo>
                      <a:pt x="138" y="254"/>
                    </a:lnTo>
                    <a:lnTo>
                      <a:pt x="139" y="254"/>
                    </a:lnTo>
                    <a:lnTo>
                      <a:pt x="141" y="253"/>
                    </a:lnTo>
                    <a:lnTo>
                      <a:pt x="141" y="252"/>
                    </a:lnTo>
                    <a:lnTo>
                      <a:pt x="142" y="251"/>
                    </a:lnTo>
                    <a:lnTo>
                      <a:pt x="142" y="250"/>
                    </a:lnTo>
                    <a:lnTo>
                      <a:pt x="143" y="250"/>
                    </a:lnTo>
                    <a:lnTo>
                      <a:pt x="144" y="250"/>
                    </a:lnTo>
                    <a:lnTo>
                      <a:pt x="144" y="249"/>
                    </a:lnTo>
                    <a:lnTo>
                      <a:pt x="145" y="248"/>
                    </a:lnTo>
                    <a:lnTo>
                      <a:pt x="147" y="248"/>
                    </a:lnTo>
                    <a:lnTo>
                      <a:pt x="147" y="247"/>
                    </a:lnTo>
                    <a:lnTo>
                      <a:pt x="148" y="247"/>
                    </a:lnTo>
                    <a:lnTo>
                      <a:pt x="148" y="246"/>
                    </a:lnTo>
                    <a:lnTo>
                      <a:pt x="148" y="245"/>
                    </a:lnTo>
                    <a:lnTo>
                      <a:pt x="148" y="244"/>
                    </a:lnTo>
                    <a:lnTo>
                      <a:pt x="147" y="243"/>
                    </a:lnTo>
                    <a:lnTo>
                      <a:pt x="144" y="243"/>
                    </a:lnTo>
                    <a:lnTo>
                      <a:pt x="144" y="241"/>
                    </a:lnTo>
                    <a:lnTo>
                      <a:pt x="144" y="240"/>
                    </a:lnTo>
                    <a:lnTo>
                      <a:pt x="145" y="239"/>
                    </a:lnTo>
                    <a:lnTo>
                      <a:pt x="145" y="238"/>
                    </a:lnTo>
                    <a:lnTo>
                      <a:pt x="145" y="237"/>
                    </a:lnTo>
                    <a:lnTo>
                      <a:pt x="145" y="236"/>
                    </a:lnTo>
                    <a:lnTo>
                      <a:pt x="124" y="236"/>
                    </a:lnTo>
                    <a:lnTo>
                      <a:pt x="113" y="236"/>
                    </a:lnTo>
                    <a:lnTo>
                      <a:pt x="83" y="235"/>
                    </a:lnTo>
                    <a:lnTo>
                      <a:pt x="83" y="203"/>
                    </a:lnTo>
                    <a:lnTo>
                      <a:pt x="83" y="193"/>
                    </a:lnTo>
                    <a:lnTo>
                      <a:pt x="83" y="184"/>
                    </a:lnTo>
                    <a:lnTo>
                      <a:pt x="83" y="183"/>
                    </a:lnTo>
                    <a:lnTo>
                      <a:pt x="83" y="182"/>
                    </a:lnTo>
                    <a:lnTo>
                      <a:pt x="83" y="181"/>
                    </a:lnTo>
                    <a:lnTo>
                      <a:pt x="83" y="177"/>
                    </a:lnTo>
                    <a:lnTo>
                      <a:pt x="83" y="172"/>
                    </a:lnTo>
                    <a:lnTo>
                      <a:pt x="83" y="169"/>
                    </a:lnTo>
                    <a:lnTo>
                      <a:pt x="83" y="162"/>
                    </a:lnTo>
                    <a:lnTo>
                      <a:pt x="83" y="161"/>
                    </a:lnTo>
                    <a:lnTo>
                      <a:pt x="76" y="161"/>
                    </a:lnTo>
                    <a:lnTo>
                      <a:pt x="61" y="161"/>
                    </a:lnTo>
                    <a:lnTo>
                      <a:pt x="61" y="151"/>
                    </a:lnTo>
                    <a:lnTo>
                      <a:pt x="61" y="150"/>
                    </a:lnTo>
                    <a:lnTo>
                      <a:pt x="61" y="149"/>
                    </a:lnTo>
                    <a:lnTo>
                      <a:pt x="61" y="133"/>
                    </a:lnTo>
                    <a:lnTo>
                      <a:pt x="61" y="130"/>
                    </a:lnTo>
                    <a:lnTo>
                      <a:pt x="61" y="124"/>
                    </a:lnTo>
                    <a:lnTo>
                      <a:pt x="61" y="117"/>
                    </a:lnTo>
                    <a:lnTo>
                      <a:pt x="61" y="113"/>
                    </a:lnTo>
                    <a:lnTo>
                      <a:pt x="61" y="108"/>
                    </a:lnTo>
                    <a:lnTo>
                      <a:pt x="61" y="96"/>
                    </a:lnTo>
                    <a:lnTo>
                      <a:pt x="61" y="91"/>
                    </a:lnTo>
                    <a:lnTo>
                      <a:pt x="61" y="80"/>
                    </a:lnTo>
                    <a:lnTo>
                      <a:pt x="61" y="78"/>
                    </a:lnTo>
                    <a:lnTo>
                      <a:pt x="40" y="78"/>
                    </a:lnTo>
                    <a:lnTo>
                      <a:pt x="27" y="78"/>
                    </a:lnTo>
                    <a:lnTo>
                      <a:pt x="26" y="78"/>
                    </a:lnTo>
                    <a:lnTo>
                      <a:pt x="24" y="78"/>
                    </a:lnTo>
                    <a:lnTo>
                      <a:pt x="7" y="77"/>
                    </a:lnTo>
                    <a:lnTo>
                      <a:pt x="0" y="77"/>
                    </a:lnTo>
                    <a:lnTo>
                      <a:pt x="0" y="65"/>
                    </a:lnTo>
                    <a:lnTo>
                      <a:pt x="0" y="60"/>
                    </a:lnTo>
                    <a:lnTo>
                      <a:pt x="0" y="46"/>
                    </a:lnTo>
                    <a:lnTo>
                      <a:pt x="3" y="46"/>
                    </a:lnTo>
                    <a:lnTo>
                      <a:pt x="9" y="46"/>
                    </a:lnTo>
                    <a:lnTo>
                      <a:pt x="12" y="46"/>
                    </a:lnTo>
                    <a:lnTo>
                      <a:pt x="23" y="45"/>
                    </a:lnTo>
                    <a:lnTo>
                      <a:pt x="37" y="45"/>
                    </a:lnTo>
                    <a:lnTo>
                      <a:pt x="40" y="45"/>
                    </a:lnTo>
                    <a:lnTo>
                      <a:pt x="40" y="38"/>
                    </a:lnTo>
                    <a:lnTo>
                      <a:pt x="40" y="35"/>
                    </a:lnTo>
                    <a:lnTo>
                      <a:pt x="45" y="35"/>
                    </a:lnTo>
                    <a:lnTo>
                      <a:pt x="49" y="35"/>
                    </a:lnTo>
                    <a:lnTo>
                      <a:pt x="50" y="35"/>
                    </a:lnTo>
                    <a:lnTo>
                      <a:pt x="61" y="35"/>
                    </a:lnTo>
                    <a:lnTo>
                      <a:pt x="72" y="35"/>
                    </a:lnTo>
                    <a:lnTo>
                      <a:pt x="80" y="35"/>
                    </a:lnTo>
                    <a:lnTo>
                      <a:pt x="92" y="35"/>
                    </a:lnTo>
                    <a:lnTo>
                      <a:pt x="92" y="36"/>
                    </a:lnTo>
                    <a:lnTo>
                      <a:pt x="97" y="36"/>
                    </a:lnTo>
                    <a:lnTo>
                      <a:pt x="102" y="35"/>
                    </a:lnTo>
                    <a:lnTo>
                      <a:pt x="104" y="35"/>
                    </a:lnTo>
                    <a:lnTo>
                      <a:pt x="118" y="35"/>
                    </a:lnTo>
                    <a:lnTo>
                      <a:pt x="121" y="35"/>
                    </a:lnTo>
                    <a:lnTo>
                      <a:pt x="123" y="35"/>
                    </a:lnTo>
                    <a:lnTo>
                      <a:pt x="135" y="35"/>
                    </a:lnTo>
                    <a:lnTo>
                      <a:pt x="141" y="35"/>
                    </a:lnTo>
                    <a:lnTo>
                      <a:pt x="147" y="35"/>
                    </a:lnTo>
                    <a:lnTo>
                      <a:pt x="151" y="36"/>
                    </a:lnTo>
                    <a:lnTo>
                      <a:pt x="155" y="35"/>
                    </a:lnTo>
                    <a:lnTo>
                      <a:pt x="166" y="35"/>
                    </a:lnTo>
                    <a:lnTo>
                      <a:pt x="176" y="35"/>
                    </a:lnTo>
                    <a:lnTo>
                      <a:pt x="187" y="35"/>
                    </a:lnTo>
                    <a:lnTo>
                      <a:pt x="194" y="36"/>
                    </a:lnTo>
                    <a:lnTo>
                      <a:pt x="204" y="36"/>
                    </a:lnTo>
                    <a:lnTo>
                      <a:pt x="207" y="36"/>
                    </a:lnTo>
                    <a:lnTo>
                      <a:pt x="209" y="36"/>
                    </a:lnTo>
                    <a:lnTo>
                      <a:pt x="218" y="36"/>
                    </a:lnTo>
                    <a:lnTo>
                      <a:pt x="218" y="28"/>
                    </a:lnTo>
                    <a:lnTo>
                      <a:pt x="218" y="19"/>
                    </a:lnTo>
                    <a:lnTo>
                      <a:pt x="218" y="18"/>
                    </a:lnTo>
                    <a:lnTo>
                      <a:pt x="218" y="5"/>
                    </a:lnTo>
                    <a:lnTo>
                      <a:pt x="218" y="0"/>
                    </a:lnTo>
                    <a:lnTo>
                      <a:pt x="224" y="0"/>
                    </a:lnTo>
                    <a:lnTo>
                      <a:pt x="229" y="0"/>
                    </a:lnTo>
                    <a:lnTo>
                      <a:pt x="233" y="0"/>
                    </a:lnTo>
                    <a:lnTo>
                      <a:pt x="255" y="0"/>
                    </a:lnTo>
                    <a:lnTo>
                      <a:pt x="258" y="1"/>
                    </a:lnTo>
                    <a:lnTo>
                      <a:pt x="259" y="1"/>
                    </a:lnTo>
                    <a:lnTo>
                      <a:pt x="260" y="0"/>
                    </a:lnTo>
                    <a:lnTo>
                      <a:pt x="281" y="0"/>
                    </a:lnTo>
                    <a:lnTo>
                      <a:pt x="290" y="0"/>
                    </a:lnTo>
                    <a:lnTo>
                      <a:pt x="307" y="1"/>
                    </a:lnTo>
                    <a:close/>
                  </a:path>
                </a:pathLst>
              </a:custGeom>
              <a:solidFill>
                <a:srgbClr val="3E97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6" name="Freeform 36">
                <a:extLst>
                  <a:ext uri="{FF2B5EF4-FFF2-40B4-BE49-F238E27FC236}">
                    <a16:creationId xmlns:a16="http://schemas.microsoft.com/office/drawing/2014/main" id="{6660D592-6B18-AC40-C52E-211B984F0346}"/>
                  </a:ext>
                </a:extLst>
              </p:cNvPr>
              <p:cNvSpPr>
                <a:spLocks noEditPoints="1"/>
              </p:cNvSpPr>
              <p:nvPr/>
            </p:nvSpPr>
            <p:spPr bwMode="auto">
              <a:xfrm>
                <a:off x="1281113" y="4513263"/>
                <a:ext cx="1254125" cy="523875"/>
              </a:xfrm>
              <a:custGeom>
                <a:avLst/>
                <a:gdLst>
                  <a:gd name="T0" fmla="*/ 704 w 790"/>
                  <a:gd name="T1" fmla="*/ 9 h 330"/>
                  <a:gd name="T2" fmla="*/ 769 w 790"/>
                  <a:gd name="T3" fmla="*/ 11 h 330"/>
                  <a:gd name="T4" fmla="*/ 789 w 790"/>
                  <a:gd name="T5" fmla="*/ 61 h 330"/>
                  <a:gd name="T6" fmla="*/ 790 w 790"/>
                  <a:gd name="T7" fmla="*/ 167 h 330"/>
                  <a:gd name="T8" fmla="*/ 789 w 790"/>
                  <a:gd name="T9" fmla="*/ 231 h 330"/>
                  <a:gd name="T10" fmla="*/ 784 w 790"/>
                  <a:gd name="T11" fmla="*/ 329 h 330"/>
                  <a:gd name="T12" fmla="*/ 775 w 790"/>
                  <a:gd name="T13" fmla="*/ 322 h 330"/>
                  <a:gd name="T14" fmla="*/ 757 w 790"/>
                  <a:gd name="T15" fmla="*/ 322 h 330"/>
                  <a:gd name="T16" fmla="*/ 733 w 790"/>
                  <a:gd name="T17" fmla="*/ 312 h 330"/>
                  <a:gd name="T18" fmla="*/ 700 w 790"/>
                  <a:gd name="T19" fmla="*/ 297 h 330"/>
                  <a:gd name="T20" fmla="*/ 692 w 790"/>
                  <a:gd name="T21" fmla="*/ 296 h 330"/>
                  <a:gd name="T22" fmla="*/ 674 w 790"/>
                  <a:gd name="T23" fmla="*/ 286 h 330"/>
                  <a:gd name="T24" fmla="*/ 656 w 790"/>
                  <a:gd name="T25" fmla="*/ 277 h 330"/>
                  <a:gd name="T26" fmla="*/ 629 w 790"/>
                  <a:gd name="T27" fmla="*/ 265 h 330"/>
                  <a:gd name="T28" fmla="*/ 569 w 790"/>
                  <a:gd name="T29" fmla="*/ 236 h 330"/>
                  <a:gd name="T30" fmla="*/ 522 w 790"/>
                  <a:gd name="T31" fmla="*/ 220 h 330"/>
                  <a:gd name="T32" fmla="*/ 459 w 790"/>
                  <a:gd name="T33" fmla="*/ 204 h 330"/>
                  <a:gd name="T34" fmla="*/ 434 w 790"/>
                  <a:gd name="T35" fmla="*/ 197 h 330"/>
                  <a:gd name="T36" fmla="*/ 411 w 790"/>
                  <a:gd name="T37" fmla="*/ 194 h 330"/>
                  <a:gd name="T38" fmla="*/ 396 w 790"/>
                  <a:gd name="T39" fmla="*/ 194 h 330"/>
                  <a:gd name="T40" fmla="*/ 376 w 790"/>
                  <a:gd name="T41" fmla="*/ 196 h 330"/>
                  <a:gd name="T42" fmla="*/ 362 w 790"/>
                  <a:gd name="T43" fmla="*/ 199 h 330"/>
                  <a:gd name="T44" fmla="*/ 345 w 790"/>
                  <a:gd name="T45" fmla="*/ 204 h 330"/>
                  <a:gd name="T46" fmla="*/ 333 w 790"/>
                  <a:gd name="T47" fmla="*/ 205 h 330"/>
                  <a:gd name="T48" fmla="*/ 272 w 790"/>
                  <a:gd name="T49" fmla="*/ 200 h 330"/>
                  <a:gd name="T50" fmla="*/ 247 w 790"/>
                  <a:gd name="T51" fmla="*/ 201 h 330"/>
                  <a:gd name="T52" fmla="*/ 213 w 790"/>
                  <a:gd name="T53" fmla="*/ 206 h 330"/>
                  <a:gd name="T54" fmla="*/ 139 w 790"/>
                  <a:gd name="T55" fmla="*/ 215 h 330"/>
                  <a:gd name="T56" fmla="*/ 67 w 790"/>
                  <a:gd name="T57" fmla="*/ 237 h 330"/>
                  <a:gd name="T58" fmla="*/ 43 w 790"/>
                  <a:gd name="T59" fmla="*/ 252 h 330"/>
                  <a:gd name="T60" fmla="*/ 41 w 790"/>
                  <a:gd name="T61" fmla="*/ 249 h 330"/>
                  <a:gd name="T62" fmla="*/ 34 w 790"/>
                  <a:gd name="T63" fmla="*/ 241 h 330"/>
                  <a:gd name="T64" fmla="*/ 31 w 790"/>
                  <a:gd name="T65" fmla="*/ 234 h 330"/>
                  <a:gd name="T66" fmla="*/ 28 w 790"/>
                  <a:gd name="T67" fmla="*/ 231 h 330"/>
                  <a:gd name="T68" fmla="*/ 23 w 790"/>
                  <a:gd name="T69" fmla="*/ 224 h 330"/>
                  <a:gd name="T70" fmla="*/ 16 w 790"/>
                  <a:gd name="T71" fmla="*/ 218 h 330"/>
                  <a:gd name="T72" fmla="*/ 14 w 790"/>
                  <a:gd name="T73" fmla="*/ 213 h 330"/>
                  <a:gd name="T74" fmla="*/ 13 w 790"/>
                  <a:gd name="T75" fmla="*/ 206 h 330"/>
                  <a:gd name="T76" fmla="*/ 11 w 790"/>
                  <a:gd name="T77" fmla="*/ 200 h 330"/>
                  <a:gd name="T78" fmla="*/ 7 w 790"/>
                  <a:gd name="T79" fmla="*/ 196 h 330"/>
                  <a:gd name="T80" fmla="*/ 4 w 790"/>
                  <a:gd name="T81" fmla="*/ 180 h 330"/>
                  <a:gd name="T82" fmla="*/ 15 w 790"/>
                  <a:gd name="T83" fmla="*/ 172 h 330"/>
                  <a:gd name="T84" fmla="*/ 23 w 790"/>
                  <a:gd name="T85" fmla="*/ 175 h 330"/>
                  <a:gd name="T86" fmla="*/ 31 w 790"/>
                  <a:gd name="T87" fmla="*/ 168 h 330"/>
                  <a:gd name="T88" fmla="*/ 39 w 790"/>
                  <a:gd name="T89" fmla="*/ 162 h 330"/>
                  <a:gd name="T90" fmla="*/ 50 w 790"/>
                  <a:gd name="T91" fmla="*/ 160 h 330"/>
                  <a:gd name="T92" fmla="*/ 55 w 790"/>
                  <a:gd name="T93" fmla="*/ 162 h 330"/>
                  <a:gd name="T94" fmla="*/ 61 w 790"/>
                  <a:gd name="T95" fmla="*/ 157 h 330"/>
                  <a:gd name="T96" fmla="*/ 71 w 790"/>
                  <a:gd name="T97" fmla="*/ 145 h 330"/>
                  <a:gd name="T98" fmla="*/ 76 w 790"/>
                  <a:gd name="T99" fmla="*/ 131 h 330"/>
                  <a:gd name="T100" fmla="*/ 83 w 790"/>
                  <a:gd name="T101" fmla="*/ 106 h 330"/>
                  <a:gd name="T102" fmla="*/ 86 w 790"/>
                  <a:gd name="T103" fmla="*/ 82 h 330"/>
                  <a:gd name="T104" fmla="*/ 89 w 790"/>
                  <a:gd name="T105" fmla="*/ 58 h 330"/>
                  <a:gd name="T106" fmla="*/ 74 w 790"/>
                  <a:gd name="T107" fmla="*/ 48 h 330"/>
                  <a:gd name="T108" fmla="*/ 79 w 790"/>
                  <a:gd name="T109" fmla="*/ 41 h 330"/>
                  <a:gd name="T110" fmla="*/ 91 w 790"/>
                  <a:gd name="T111" fmla="*/ 27 h 330"/>
                  <a:gd name="T112" fmla="*/ 100 w 790"/>
                  <a:gd name="T113" fmla="*/ 14 h 330"/>
                  <a:gd name="T114" fmla="*/ 110 w 790"/>
                  <a:gd name="T115" fmla="*/ 2 h 330"/>
                  <a:gd name="T116" fmla="*/ 306 w 790"/>
                  <a:gd name="T117" fmla="*/ 1 h 330"/>
                  <a:gd name="T118" fmla="*/ 422 w 790"/>
                  <a:gd name="T119" fmla="*/ 1 h 330"/>
                  <a:gd name="T120" fmla="*/ 501 w 790"/>
                  <a:gd name="T121" fmla="*/ 11 h 330"/>
                  <a:gd name="T122" fmla="*/ 546 w 790"/>
                  <a:gd name="T123" fmla="*/ 11 h 330"/>
                  <a:gd name="T124" fmla="*/ 9 w 790"/>
                  <a:gd name="T125" fmla="*/ 21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0" h="330">
                    <a:moveTo>
                      <a:pt x="556" y="11"/>
                    </a:moveTo>
                    <a:lnTo>
                      <a:pt x="582" y="11"/>
                    </a:lnTo>
                    <a:lnTo>
                      <a:pt x="587" y="11"/>
                    </a:lnTo>
                    <a:lnTo>
                      <a:pt x="588" y="11"/>
                    </a:lnTo>
                    <a:lnTo>
                      <a:pt x="608" y="9"/>
                    </a:lnTo>
                    <a:lnTo>
                      <a:pt x="627" y="11"/>
                    </a:lnTo>
                    <a:lnTo>
                      <a:pt x="629" y="11"/>
                    </a:lnTo>
                    <a:lnTo>
                      <a:pt x="634" y="9"/>
                    </a:lnTo>
                    <a:lnTo>
                      <a:pt x="635" y="9"/>
                    </a:lnTo>
                    <a:lnTo>
                      <a:pt x="702" y="9"/>
                    </a:lnTo>
                    <a:lnTo>
                      <a:pt x="704" y="9"/>
                    </a:lnTo>
                    <a:lnTo>
                      <a:pt x="706" y="9"/>
                    </a:lnTo>
                    <a:lnTo>
                      <a:pt x="708" y="11"/>
                    </a:lnTo>
                    <a:lnTo>
                      <a:pt x="711" y="11"/>
                    </a:lnTo>
                    <a:lnTo>
                      <a:pt x="713" y="11"/>
                    </a:lnTo>
                    <a:lnTo>
                      <a:pt x="714" y="11"/>
                    </a:lnTo>
                    <a:lnTo>
                      <a:pt x="716" y="11"/>
                    </a:lnTo>
                    <a:lnTo>
                      <a:pt x="723" y="11"/>
                    </a:lnTo>
                    <a:lnTo>
                      <a:pt x="751" y="11"/>
                    </a:lnTo>
                    <a:lnTo>
                      <a:pt x="754" y="11"/>
                    </a:lnTo>
                    <a:lnTo>
                      <a:pt x="763" y="11"/>
                    </a:lnTo>
                    <a:lnTo>
                      <a:pt x="769" y="11"/>
                    </a:lnTo>
                    <a:lnTo>
                      <a:pt x="789" y="11"/>
                    </a:lnTo>
                    <a:lnTo>
                      <a:pt x="789" y="20"/>
                    </a:lnTo>
                    <a:lnTo>
                      <a:pt x="789" y="22"/>
                    </a:lnTo>
                    <a:lnTo>
                      <a:pt x="789" y="25"/>
                    </a:lnTo>
                    <a:lnTo>
                      <a:pt x="789" y="35"/>
                    </a:lnTo>
                    <a:lnTo>
                      <a:pt x="789" y="38"/>
                    </a:lnTo>
                    <a:lnTo>
                      <a:pt x="789" y="40"/>
                    </a:lnTo>
                    <a:lnTo>
                      <a:pt x="789" y="41"/>
                    </a:lnTo>
                    <a:lnTo>
                      <a:pt x="789" y="45"/>
                    </a:lnTo>
                    <a:lnTo>
                      <a:pt x="789" y="48"/>
                    </a:lnTo>
                    <a:lnTo>
                      <a:pt x="789" y="61"/>
                    </a:lnTo>
                    <a:lnTo>
                      <a:pt x="789" y="64"/>
                    </a:lnTo>
                    <a:lnTo>
                      <a:pt x="789" y="68"/>
                    </a:lnTo>
                    <a:lnTo>
                      <a:pt x="789" y="74"/>
                    </a:lnTo>
                    <a:lnTo>
                      <a:pt x="789" y="84"/>
                    </a:lnTo>
                    <a:lnTo>
                      <a:pt x="789" y="86"/>
                    </a:lnTo>
                    <a:lnTo>
                      <a:pt x="789" y="94"/>
                    </a:lnTo>
                    <a:lnTo>
                      <a:pt x="789" y="95"/>
                    </a:lnTo>
                    <a:lnTo>
                      <a:pt x="790" y="125"/>
                    </a:lnTo>
                    <a:lnTo>
                      <a:pt x="790" y="128"/>
                    </a:lnTo>
                    <a:lnTo>
                      <a:pt x="790" y="148"/>
                    </a:lnTo>
                    <a:lnTo>
                      <a:pt x="790" y="167"/>
                    </a:lnTo>
                    <a:lnTo>
                      <a:pt x="790" y="172"/>
                    </a:lnTo>
                    <a:lnTo>
                      <a:pt x="790" y="177"/>
                    </a:lnTo>
                    <a:lnTo>
                      <a:pt x="790" y="197"/>
                    </a:lnTo>
                    <a:lnTo>
                      <a:pt x="790" y="201"/>
                    </a:lnTo>
                    <a:lnTo>
                      <a:pt x="790" y="213"/>
                    </a:lnTo>
                    <a:lnTo>
                      <a:pt x="789" y="214"/>
                    </a:lnTo>
                    <a:lnTo>
                      <a:pt x="789" y="221"/>
                    </a:lnTo>
                    <a:lnTo>
                      <a:pt x="789" y="225"/>
                    </a:lnTo>
                    <a:lnTo>
                      <a:pt x="789" y="227"/>
                    </a:lnTo>
                    <a:lnTo>
                      <a:pt x="789" y="230"/>
                    </a:lnTo>
                    <a:lnTo>
                      <a:pt x="789" y="231"/>
                    </a:lnTo>
                    <a:lnTo>
                      <a:pt x="789" y="236"/>
                    </a:lnTo>
                    <a:lnTo>
                      <a:pt x="789" y="238"/>
                    </a:lnTo>
                    <a:lnTo>
                      <a:pt x="789" y="257"/>
                    </a:lnTo>
                    <a:lnTo>
                      <a:pt x="789" y="263"/>
                    </a:lnTo>
                    <a:lnTo>
                      <a:pt x="789" y="271"/>
                    </a:lnTo>
                    <a:lnTo>
                      <a:pt x="789" y="284"/>
                    </a:lnTo>
                    <a:lnTo>
                      <a:pt x="789" y="302"/>
                    </a:lnTo>
                    <a:lnTo>
                      <a:pt x="788" y="314"/>
                    </a:lnTo>
                    <a:lnTo>
                      <a:pt x="788" y="318"/>
                    </a:lnTo>
                    <a:lnTo>
                      <a:pt x="788" y="330"/>
                    </a:lnTo>
                    <a:lnTo>
                      <a:pt x="784" y="329"/>
                    </a:lnTo>
                    <a:lnTo>
                      <a:pt x="783" y="329"/>
                    </a:lnTo>
                    <a:lnTo>
                      <a:pt x="782" y="328"/>
                    </a:lnTo>
                    <a:lnTo>
                      <a:pt x="782" y="327"/>
                    </a:lnTo>
                    <a:lnTo>
                      <a:pt x="782" y="326"/>
                    </a:lnTo>
                    <a:lnTo>
                      <a:pt x="782" y="325"/>
                    </a:lnTo>
                    <a:lnTo>
                      <a:pt x="781" y="324"/>
                    </a:lnTo>
                    <a:lnTo>
                      <a:pt x="780" y="324"/>
                    </a:lnTo>
                    <a:lnTo>
                      <a:pt x="778" y="323"/>
                    </a:lnTo>
                    <a:lnTo>
                      <a:pt x="777" y="323"/>
                    </a:lnTo>
                    <a:lnTo>
                      <a:pt x="776" y="322"/>
                    </a:lnTo>
                    <a:lnTo>
                      <a:pt x="775" y="322"/>
                    </a:lnTo>
                    <a:lnTo>
                      <a:pt x="773" y="323"/>
                    </a:lnTo>
                    <a:lnTo>
                      <a:pt x="772" y="324"/>
                    </a:lnTo>
                    <a:lnTo>
                      <a:pt x="772" y="325"/>
                    </a:lnTo>
                    <a:lnTo>
                      <a:pt x="772" y="326"/>
                    </a:lnTo>
                    <a:lnTo>
                      <a:pt x="770" y="325"/>
                    </a:lnTo>
                    <a:lnTo>
                      <a:pt x="767" y="325"/>
                    </a:lnTo>
                    <a:lnTo>
                      <a:pt x="766" y="324"/>
                    </a:lnTo>
                    <a:lnTo>
                      <a:pt x="764" y="323"/>
                    </a:lnTo>
                    <a:lnTo>
                      <a:pt x="760" y="323"/>
                    </a:lnTo>
                    <a:lnTo>
                      <a:pt x="759" y="322"/>
                    </a:lnTo>
                    <a:lnTo>
                      <a:pt x="757" y="322"/>
                    </a:lnTo>
                    <a:lnTo>
                      <a:pt x="756" y="321"/>
                    </a:lnTo>
                    <a:lnTo>
                      <a:pt x="755" y="321"/>
                    </a:lnTo>
                    <a:lnTo>
                      <a:pt x="754" y="321"/>
                    </a:lnTo>
                    <a:lnTo>
                      <a:pt x="752" y="320"/>
                    </a:lnTo>
                    <a:lnTo>
                      <a:pt x="749" y="317"/>
                    </a:lnTo>
                    <a:lnTo>
                      <a:pt x="744" y="316"/>
                    </a:lnTo>
                    <a:lnTo>
                      <a:pt x="742" y="315"/>
                    </a:lnTo>
                    <a:lnTo>
                      <a:pt x="740" y="314"/>
                    </a:lnTo>
                    <a:lnTo>
                      <a:pt x="739" y="314"/>
                    </a:lnTo>
                    <a:lnTo>
                      <a:pt x="736" y="313"/>
                    </a:lnTo>
                    <a:lnTo>
                      <a:pt x="733" y="312"/>
                    </a:lnTo>
                    <a:lnTo>
                      <a:pt x="731" y="312"/>
                    </a:lnTo>
                    <a:lnTo>
                      <a:pt x="728" y="311"/>
                    </a:lnTo>
                    <a:lnTo>
                      <a:pt x="726" y="310"/>
                    </a:lnTo>
                    <a:lnTo>
                      <a:pt x="721" y="309"/>
                    </a:lnTo>
                    <a:lnTo>
                      <a:pt x="718" y="307"/>
                    </a:lnTo>
                    <a:lnTo>
                      <a:pt x="715" y="307"/>
                    </a:lnTo>
                    <a:lnTo>
                      <a:pt x="710" y="303"/>
                    </a:lnTo>
                    <a:lnTo>
                      <a:pt x="705" y="301"/>
                    </a:lnTo>
                    <a:lnTo>
                      <a:pt x="702" y="299"/>
                    </a:lnTo>
                    <a:lnTo>
                      <a:pt x="701" y="298"/>
                    </a:lnTo>
                    <a:lnTo>
                      <a:pt x="700" y="297"/>
                    </a:lnTo>
                    <a:lnTo>
                      <a:pt x="699" y="296"/>
                    </a:lnTo>
                    <a:lnTo>
                      <a:pt x="698" y="295"/>
                    </a:lnTo>
                    <a:lnTo>
                      <a:pt x="697" y="295"/>
                    </a:lnTo>
                    <a:lnTo>
                      <a:pt x="697" y="296"/>
                    </a:lnTo>
                    <a:lnTo>
                      <a:pt x="698" y="297"/>
                    </a:lnTo>
                    <a:lnTo>
                      <a:pt x="697" y="297"/>
                    </a:lnTo>
                    <a:lnTo>
                      <a:pt x="697" y="296"/>
                    </a:lnTo>
                    <a:lnTo>
                      <a:pt x="695" y="297"/>
                    </a:lnTo>
                    <a:lnTo>
                      <a:pt x="694" y="296"/>
                    </a:lnTo>
                    <a:lnTo>
                      <a:pt x="693" y="296"/>
                    </a:lnTo>
                    <a:lnTo>
                      <a:pt x="692" y="296"/>
                    </a:lnTo>
                    <a:lnTo>
                      <a:pt x="690" y="295"/>
                    </a:lnTo>
                    <a:lnTo>
                      <a:pt x="689" y="294"/>
                    </a:lnTo>
                    <a:lnTo>
                      <a:pt x="688" y="292"/>
                    </a:lnTo>
                    <a:lnTo>
                      <a:pt x="686" y="292"/>
                    </a:lnTo>
                    <a:lnTo>
                      <a:pt x="685" y="291"/>
                    </a:lnTo>
                    <a:lnTo>
                      <a:pt x="682" y="290"/>
                    </a:lnTo>
                    <a:lnTo>
                      <a:pt x="681" y="289"/>
                    </a:lnTo>
                    <a:lnTo>
                      <a:pt x="680" y="289"/>
                    </a:lnTo>
                    <a:lnTo>
                      <a:pt x="676" y="287"/>
                    </a:lnTo>
                    <a:lnTo>
                      <a:pt x="675" y="287"/>
                    </a:lnTo>
                    <a:lnTo>
                      <a:pt x="674" y="286"/>
                    </a:lnTo>
                    <a:lnTo>
                      <a:pt x="673" y="286"/>
                    </a:lnTo>
                    <a:lnTo>
                      <a:pt x="671" y="285"/>
                    </a:lnTo>
                    <a:lnTo>
                      <a:pt x="668" y="284"/>
                    </a:lnTo>
                    <a:lnTo>
                      <a:pt x="666" y="283"/>
                    </a:lnTo>
                    <a:lnTo>
                      <a:pt x="665" y="282"/>
                    </a:lnTo>
                    <a:lnTo>
                      <a:pt x="663" y="282"/>
                    </a:lnTo>
                    <a:lnTo>
                      <a:pt x="663" y="281"/>
                    </a:lnTo>
                    <a:lnTo>
                      <a:pt x="662" y="279"/>
                    </a:lnTo>
                    <a:lnTo>
                      <a:pt x="661" y="279"/>
                    </a:lnTo>
                    <a:lnTo>
                      <a:pt x="660" y="279"/>
                    </a:lnTo>
                    <a:lnTo>
                      <a:pt x="656" y="277"/>
                    </a:lnTo>
                    <a:lnTo>
                      <a:pt x="655" y="276"/>
                    </a:lnTo>
                    <a:lnTo>
                      <a:pt x="654" y="276"/>
                    </a:lnTo>
                    <a:lnTo>
                      <a:pt x="652" y="275"/>
                    </a:lnTo>
                    <a:lnTo>
                      <a:pt x="650" y="274"/>
                    </a:lnTo>
                    <a:lnTo>
                      <a:pt x="648" y="273"/>
                    </a:lnTo>
                    <a:lnTo>
                      <a:pt x="647" y="273"/>
                    </a:lnTo>
                    <a:lnTo>
                      <a:pt x="646" y="273"/>
                    </a:lnTo>
                    <a:lnTo>
                      <a:pt x="644" y="272"/>
                    </a:lnTo>
                    <a:lnTo>
                      <a:pt x="643" y="272"/>
                    </a:lnTo>
                    <a:lnTo>
                      <a:pt x="635" y="268"/>
                    </a:lnTo>
                    <a:lnTo>
                      <a:pt x="629" y="265"/>
                    </a:lnTo>
                    <a:lnTo>
                      <a:pt x="623" y="261"/>
                    </a:lnTo>
                    <a:lnTo>
                      <a:pt x="620" y="260"/>
                    </a:lnTo>
                    <a:lnTo>
                      <a:pt x="609" y="256"/>
                    </a:lnTo>
                    <a:lnTo>
                      <a:pt x="609" y="254"/>
                    </a:lnTo>
                    <a:lnTo>
                      <a:pt x="608" y="254"/>
                    </a:lnTo>
                    <a:lnTo>
                      <a:pt x="607" y="253"/>
                    </a:lnTo>
                    <a:lnTo>
                      <a:pt x="596" y="248"/>
                    </a:lnTo>
                    <a:lnTo>
                      <a:pt x="588" y="245"/>
                    </a:lnTo>
                    <a:lnTo>
                      <a:pt x="579" y="240"/>
                    </a:lnTo>
                    <a:lnTo>
                      <a:pt x="574" y="238"/>
                    </a:lnTo>
                    <a:lnTo>
                      <a:pt x="569" y="236"/>
                    </a:lnTo>
                    <a:lnTo>
                      <a:pt x="562" y="234"/>
                    </a:lnTo>
                    <a:lnTo>
                      <a:pt x="557" y="233"/>
                    </a:lnTo>
                    <a:lnTo>
                      <a:pt x="551" y="233"/>
                    </a:lnTo>
                    <a:lnTo>
                      <a:pt x="548" y="232"/>
                    </a:lnTo>
                    <a:lnTo>
                      <a:pt x="548" y="231"/>
                    </a:lnTo>
                    <a:lnTo>
                      <a:pt x="548" y="230"/>
                    </a:lnTo>
                    <a:lnTo>
                      <a:pt x="547" y="228"/>
                    </a:lnTo>
                    <a:lnTo>
                      <a:pt x="546" y="228"/>
                    </a:lnTo>
                    <a:lnTo>
                      <a:pt x="539" y="225"/>
                    </a:lnTo>
                    <a:lnTo>
                      <a:pt x="531" y="222"/>
                    </a:lnTo>
                    <a:lnTo>
                      <a:pt x="522" y="220"/>
                    </a:lnTo>
                    <a:lnTo>
                      <a:pt x="520" y="219"/>
                    </a:lnTo>
                    <a:lnTo>
                      <a:pt x="513" y="218"/>
                    </a:lnTo>
                    <a:lnTo>
                      <a:pt x="508" y="217"/>
                    </a:lnTo>
                    <a:lnTo>
                      <a:pt x="502" y="215"/>
                    </a:lnTo>
                    <a:lnTo>
                      <a:pt x="496" y="213"/>
                    </a:lnTo>
                    <a:lnTo>
                      <a:pt x="492" y="212"/>
                    </a:lnTo>
                    <a:lnTo>
                      <a:pt x="476" y="208"/>
                    </a:lnTo>
                    <a:lnTo>
                      <a:pt x="475" y="208"/>
                    </a:lnTo>
                    <a:lnTo>
                      <a:pt x="470" y="206"/>
                    </a:lnTo>
                    <a:lnTo>
                      <a:pt x="461" y="204"/>
                    </a:lnTo>
                    <a:lnTo>
                      <a:pt x="459" y="204"/>
                    </a:lnTo>
                    <a:lnTo>
                      <a:pt x="456" y="202"/>
                    </a:lnTo>
                    <a:lnTo>
                      <a:pt x="454" y="201"/>
                    </a:lnTo>
                    <a:lnTo>
                      <a:pt x="453" y="201"/>
                    </a:lnTo>
                    <a:lnTo>
                      <a:pt x="450" y="201"/>
                    </a:lnTo>
                    <a:lnTo>
                      <a:pt x="448" y="200"/>
                    </a:lnTo>
                    <a:lnTo>
                      <a:pt x="447" y="200"/>
                    </a:lnTo>
                    <a:lnTo>
                      <a:pt x="445" y="199"/>
                    </a:lnTo>
                    <a:lnTo>
                      <a:pt x="440" y="198"/>
                    </a:lnTo>
                    <a:lnTo>
                      <a:pt x="436" y="197"/>
                    </a:lnTo>
                    <a:lnTo>
                      <a:pt x="435" y="197"/>
                    </a:lnTo>
                    <a:lnTo>
                      <a:pt x="434" y="197"/>
                    </a:lnTo>
                    <a:lnTo>
                      <a:pt x="430" y="197"/>
                    </a:lnTo>
                    <a:lnTo>
                      <a:pt x="430" y="196"/>
                    </a:lnTo>
                    <a:lnTo>
                      <a:pt x="428" y="196"/>
                    </a:lnTo>
                    <a:lnTo>
                      <a:pt x="427" y="196"/>
                    </a:lnTo>
                    <a:lnTo>
                      <a:pt x="423" y="196"/>
                    </a:lnTo>
                    <a:lnTo>
                      <a:pt x="422" y="196"/>
                    </a:lnTo>
                    <a:lnTo>
                      <a:pt x="421" y="195"/>
                    </a:lnTo>
                    <a:lnTo>
                      <a:pt x="417" y="195"/>
                    </a:lnTo>
                    <a:lnTo>
                      <a:pt x="415" y="195"/>
                    </a:lnTo>
                    <a:lnTo>
                      <a:pt x="413" y="194"/>
                    </a:lnTo>
                    <a:lnTo>
                      <a:pt x="411" y="194"/>
                    </a:lnTo>
                    <a:lnTo>
                      <a:pt x="410" y="194"/>
                    </a:lnTo>
                    <a:lnTo>
                      <a:pt x="409" y="194"/>
                    </a:lnTo>
                    <a:lnTo>
                      <a:pt x="407" y="194"/>
                    </a:lnTo>
                    <a:lnTo>
                      <a:pt x="405" y="194"/>
                    </a:lnTo>
                    <a:lnTo>
                      <a:pt x="404" y="194"/>
                    </a:lnTo>
                    <a:lnTo>
                      <a:pt x="403" y="194"/>
                    </a:lnTo>
                    <a:lnTo>
                      <a:pt x="402" y="194"/>
                    </a:lnTo>
                    <a:lnTo>
                      <a:pt x="400" y="194"/>
                    </a:lnTo>
                    <a:lnTo>
                      <a:pt x="398" y="194"/>
                    </a:lnTo>
                    <a:lnTo>
                      <a:pt x="397" y="194"/>
                    </a:lnTo>
                    <a:lnTo>
                      <a:pt x="396" y="194"/>
                    </a:lnTo>
                    <a:lnTo>
                      <a:pt x="395" y="194"/>
                    </a:lnTo>
                    <a:lnTo>
                      <a:pt x="394" y="194"/>
                    </a:lnTo>
                    <a:lnTo>
                      <a:pt x="393" y="194"/>
                    </a:lnTo>
                    <a:lnTo>
                      <a:pt x="390" y="194"/>
                    </a:lnTo>
                    <a:lnTo>
                      <a:pt x="388" y="194"/>
                    </a:lnTo>
                    <a:lnTo>
                      <a:pt x="385" y="195"/>
                    </a:lnTo>
                    <a:lnTo>
                      <a:pt x="383" y="195"/>
                    </a:lnTo>
                    <a:lnTo>
                      <a:pt x="381" y="195"/>
                    </a:lnTo>
                    <a:lnTo>
                      <a:pt x="378" y="196"/>
                    </a:lnTo>
                    <a:lnTo>
                      <a:pt x="377" y="196"/>
                    </a:lnTo>
                    <a:lnTo>
                      <a:pt x="376" y="196"/>
                    </a:lnTo>
                    <a:lnTo>
                      <a:pt x="375" y="196"/>
                    </a:lnTo>
                    <a:lnTo>
                      <a:pt x="373" y="196"/>
                    </a:lnTo>
                    <a:lnTo>
                      <a:pt x="372" y="196"/>
                    </a:lnTo>
                    <a:lnTo>
                      <a:pt x="371" y="196"/>
                    </a:lnTo>
                    <a:lnTo>
                      <a:pt x="370" y="197"/>
                    </a:lnTo>
                    <a:lnTo>
                      <a:pt x="367" y="197"/>
                    </a:lnTo>
                    <a:lnTo>
                      <a:pt x="366" y="198"/>
                    </a:lnTo>
                    <a:lnTo>
                      <a:pt x="365" y="198"/>
                    </a:lnTo>
                    <a:lnTo>
                      <a:pt x="364" y="198"/>
                    </a:lnTo>
                    <a:lnTo>
                      <a:pt x="363" y="198"/>
                    </a:lnTo>
                    <a:lnTo>
                      <a:pt x="362" y="199"/>
                    </a:lnTo>
                    <a:lnTo>
                      <a:pt x="360" y="199"/>
                    </a:lnTo>
                    <a:lnTo>
                      <a:pt x="359" y="199"/>
                    </a:lnTo>
                    <a:lnTo>
                      <a:pt x="359" y="200"/>
                    </a:lnTo>
                    <a:lnTo>
                      <a:pt x="358" y="200"/>
                    </a:lnTo>
                    <a:lnTo>
                      <a:pt x="356" y="200"/>
                    </a:lnTo>
                    <a:lnTo>
                      <a:pt x="354" y="201"/>
                    </a:lnTo>
                    <a:lnTo>
                      <a:pt x="351" y="202"/>
                    </a:lnTo>
                    <a:lnTo>
                      <a:pt x="350" y="202"/>
                    </a:lnTo>
                    <a:lnTo>
                      <a:pt x="349" y="202"/>
                    </a:lnTo>
                    <a:lnTo>
                      <a:pt x="346" y="204"/>
                    </a:lnTo>
                    <a:lnTo>
                      <a:pt x="345" y="204"/>
                    </a:lnTo>
                    <a:lnTo>
                      <a:pt x="344" y="205"/>
                    </a:lnTo>
                    <a:lnTo>
                      <a:pt x="342" y="206"/>
                    </a:lnTo>
                    <a:lnTo>
                      <a:pt x="342" y="202"/>
                    </a:lnTo>
                    <a:lnTo>
                      <a:pt x="342" y="204"/>
                    </a:lnTo>
                    <a:lnTo>
                      <a:pt x="341" y="204"/>
                    </a:lnTo>
                    <a:lnTo>
                      <a:pt x="341" y="205"/>
                    </a:lnTo>
                    <a:lnTo>
                      <a:pt x="341" y="206"/>
                    </a:lnTo>
                    <a:lnTo>
                      <a:pt x="340" y="206"/>
                    </a:lnTo>
                    <a:lnTo>
                      <a:pt x="338" y="205"/>
                    </a:lnTo>
                    <a:lnTo>
                      <a:pt x="336" y="205"/>
                    </a:lnTo>
                    <a:lnTo>
                      <a:pt x="333" y="205"/>
                    </a:lnTo>
                    <a:lnTo>
                      <a:pt x="330" y="205"/>
                    </a:lnTo>
                    <a:lnTo>
                      <a:pt x="323" y="204"/>
                    </a:lnTo>
                    <a:lnTo>
                      <a:pt x="313" y="202"/>
                    </a:lnTo>
                    <a:lnTo>
                      <a:pt x="306" y="201"/>
                    </a:lnTo>
                    <a:lnTo>
                      <a:pt x="299" y="201"/>
                    </a:lnTo>
                    <a:lnTo>
                      <a:pt x="286" y="200"/>
                    </a:lnTo>
                    <a:lnTo>
                      <a:pt x="285" y="200"/>
                    </a:lnTo>
                    <a:lnTo>
                      <a:pt x="280" y="200"/>
                    </a:lnTo>
                    <a:lnTo>
                      <a:pt x="279" y="200"/>
                    </a:lnTo>
                    <a:lnTo>
                      <a:pt x="275" y="200"/>
                    </a:lnTo>
                    <a:lnTo>
                      <a:pt x="272" y="200"/>
                    </a:lnTo>
                    <a:lnTo>
                      <a:pt x="271" y="200"/>
                    </a:lnTo>
                    <a:lnTo>
                      <a:pt x="269" y="200"/>
                    </a:lnTo>
                    <a:lnTo>
                      <a:pt x="268" y="200"/>
                    </a:lnTo>
                    <a:lnTo>
                      <a:pt x="267" y="199"/>
                    </a:lnTo>
                    <a:lnTo>
                      <a:pt x="265" y="200"/>
                    </a:lnTo>
                    <a:lnTo>
                      <a:pt x="262" y="200"/>
                    </a:lnTo>
                    <a:lnTo>
                      <a:pt x="259" y="200"/>
                    </a:lnTo>
                    <a:lnTo>
                      <a:pt x="256" y="200"/>
                    </a:lnTo>
                    <a:lnTo>
                      <a:pt x="250" y="200"/>
                    </a:lnTo>
                    <a:lnTo>
                      <a:pt x="248" y="201"/>
                    </a:lnTo>
                    <a:lnTo>
                      <a:pt x="247" y="201"/>
                    </a:lnTo>
                    <a:lnTo>
                      <a:pt x="246" y="201"/>
                    </a:lnTo>
                    <a:lnTo>
                      <a:pt x="244" y="201"/>
                    </a:lnTo>
                    <a:lnTo>
                      <a:pt x="241" y="201"/>
                    </a:lnTo>
                    <a:lnTo>
                      <a:pt x="239" y="202"/>
                    </a:lnTo>
                    <a:lnTo>
                      <a:pt x="235" y="202"/>
                    </a:lnTo>
                    <a:lnTo>
                      <a:pt x="228" y="204"/>
                    </a:lnTo>
                    <a:lnTo>
                      <a:pt x="226" y="204"/>
                    </a:lnTo>
                    <a:lnTo>
                      <a:pt x="224" y="204"/>
                    </a:lnTo>
                    <a:lnTo>
                      <a:pt x="220" y="205"/>
                    </a:lnTo>
                    <a:lnTo>
                      <a:pt x="216" y="205"/>
                    </a:lnTo>
                    <a:lnTo>
                      <a:pt x="213" y="206"/>
                    </a:lnTo>
                    <a:lnTo>
                      <a:pt x="210" y="206"/>
                    </a:lnTo>
                    <a:lnTo>
                      <a:pt x="207" y="207"/>
                    </a:lnTo>
                    <a:lnTo>
                      <a:pt x="199" y="208"/>
                    </a:lnTo>
                    <a:lnTo>
                      <a:pt x="191" y="209"/>
                    </a:lnTo>
                    <a:lnTo>
                      <a:pt x="187" y="209"/>
                    </a:lnTo>
                    <a:lnTo>
                      <a:pt x="186" y="210"/>
                    </a:lnTo>
                    <a:lnTo>
                      <a:pt x="184" y="210"/>
                    </a:lnTo>
                    <a:lnTo>
                      <a:pt x="176" y="210"/>
                    </a:lnTo>
                    <a:lnTo>
                      <a:pt x="169" y="211"/>
                    </a:lnTo>
                    <a:lnTo>
                      <a:pt x="166" y="211"/>
                    </a:lnTo>
                    <a:lnTo>
                      <a:pt x="139" y="215"/>
                    </a:lnTo>
                    <a:lnTo>
                      <a:pt x="118" y="220"/>
                    </a:lnTo>
                    <a:lnTo>
                      <a:pt x="104" y="223"/>
                    </a:lnTo>
                    <a:lnTo>
                      <a:pt x="93" y="226"/>
                    </a:lnTo>
                    <a:lnTo>
                      <a:pt x="80" y="231"/>
                    </a:lnTo>
                    <a:lnTo>
                      <a:pt x="74" y="234"/>
                    </a:lnTo>
                    <a:lnTo>
                      <a:pt x="73" y="234"/>
                    </a:lnTo>
                    <a:lnTo>
                      <a:pt x="71" y="235"/>
                    </a:lnTo>
                    <a:lnTo>
                      <a:pt x="69" y="235"/>
                    </a:lnTo>
                    <a:lnTo>
                      <a:pt x="69" y="236"/>
                    </a:lnTo>
                    <a:lnTo>
                      <a:pt x="68" y="237"/>
                    </a:lnTo>
                    <a:lnTo>
                      <a:pt x="67" y="237"/>
                    </a:lnTo>
                    <a:lnTo>
                      <a:pt x="66" y="237"/>
                    </a:lnTo>
                    <a:lnTo>
                      <a:pt x="66" y="238"/>
                    </a:lnTo>
                    <a:lnTo>
                      <a:pt x="63" y="238"/>
                    </a:lnTo>
                    <a:lnTo>
                      <a:pt x="62" y="239"/>
                    </a:lnTo>
                    <a:lnTo>
                      <a:pt x="58" y="243"/>
                    </a:lnTo>
                    <a:lnTo>
                      <a:pt x="57" y="243"/>
                    </a:lnTo>
                    <a:lnTo>
                      <a:pt x="57" y="241"/>
                    </a:lnTo>
                    <a:lnTo>
                      <a:pt x="54" y="244"/>
                    </a:lnTo>
                    <a:lnTo>
                      <a:pt x="46" y="249"/>
                    </a:lnTo>
                    <a:lnTo>
                      <a:pt x="44" y="251"/>
                    </a:lnTo>
                    <a:lnTo>
                      <a:pt x="43" y="252"/>
                    </a:lnTo>
                    <a:lnTo>
                      <a:pt x="43" y="253"/>
                    </a:lnTo>
                    <a:lnTo>
                      <a:pt x="42" y="253"/>
                    </a:lnTo>
                    <a:lnTo>
                      <a:pt x="42" y="254"/>
                    </a:lnTo>
                    <a:lnTo>
                      <a:pt x="42" y="253"/>
                    </a:lnTo>
                    <a:lnTo>
                      <a:pt x="41" y="251"/>
                    </a:lnTo>
                    <a:lnTo>
                      <a:pt x="40" y="250"/>
                    </a:lnTo>
                    <a:lnTo>
                      <a:pt x="40" y="249"/>
                    </a:lnTo>
                    <a:lnTo>
                      <a:pt x="39" y="248"/>
                    </a:lnTo>
                    <a:lnTo>
                      <a:pt x="40" y="248"/>
                    </a:lnTo>
                    <a:lnTo>
                      <a:pt x="40" y="249"/>
                    </a:lnTo>
                    <a:lnTo>
                      <a:pt x="41" y="249"/>
                    </a:lnTo>
                    <a:lnTo>
                      <a:pt x="41" y="248"/>
                    </a:lnTo>
                    <a:lnTo>
                      <a:pt x="40" y="248"/>
                    </a:lnTo>
                    <a:lnTo>
                      <a:pt x="39" y="247"/>
                    </a:lnTo>
                    <a:lnTo>
                      <a:pt x="39" y="246"/>
                    </a:lnTo>
                    <a:lnTo>
                      <a:pt x="37" y="246"/>
                    </a:lnTo>
                    <a:lnTo>
                      <a:pt x="37" y="245"/>
                    </a:lnTo>
                    <a:lnTo>
                      <a:pt x="36" y="245"/>
                    </a:lnTo>
                    <a:lnTo>
                      <a:pt x="35" y="244"/>
                    </a:lnTo>
                    <a:lnTo>
                      <a:pt x="35" y="243"/>
                    </a:lnTo>
                    <a:lnTo>
                      <a:pt x="34" y="243"/>
                    </a:lnTo>
                    <a:lnTo>
                      <a:pt x="34" y="241"/>
                    </a:lnTo>
                    <a:lnTo>
                      <a:pt x="34" y="240"/>
                    </a:lnTo>
                    <a:lnTo>
                      <a:pt x="33" y="240"/>
                    </a:lnTo>
                    <a:lnTo>
                      <a:pt x="33" y="239"/>
                    </a:lnTo>
                    <a:lnTo>
                      <a:pt x="32" y="239"/>
                    </a:lnTo>
                    <a:lnTo>
                      <a:pt x="32" y="238"/>
                    </a:lnTo>
                    <a:lnTo>
                      <a:pt x="31" y="238"/>
                    </a:lnTo>
                    <a:lnTo>
                      <a:pt x="31" y="237"/>
                    </a:lnTo>
                    <a:lnTo>
                      <a:pt x="30" y="237"/>
                    </a:lnTo>
                    <a:lnTo>
                      <a:pt x="30" y="236"/>
                    </a:lnTo>
                    <a:lnTo>
                      <a:pt x="31" y="235"/>
                    </a:lnTo>
                    <a:lnTo>
                      <a:pt x="31" y="234"/>
                    </a:lnTo>
                    <a:lnTo>
                      <a:pt x="32" y="234"/>
                    </a:lnTo>
                    <a:lnTo>
                      <a:pt x="32" y="233"/>
                    </a:lnTo>
                    <a:lnTo>
                      <a:pt x="33" y="233"/>
                    </a:lnTo>
                    <a:lnTo>
                      <a:pt x="32" y="232"/>
                    </a:lnTo>
                    <a:lnTo>
                      <a:pt x="32" y="231"/>
                    </a:lnTo>
                    <a:lnTo>
                      <a:pt x="32" y="230"/>
                    </a:lnTo>
                    <a:lnTo>
                      <a:pt x="31" y="228"/>
                    </a:lnTo>
                    <a:lnTo>
                      <a:pt x="30" y="228"/>
                    </a:lnTo>
                    <a:lnTo>
                      <a:pt x="29" y="228"/>
                    </a:lnTo>
                    <a:lnTo>
                      <a:pt x="28" y="230"/>
                    </a:lnTo>
                    <a:lnTo>
                      <a:pt x="28" y="231"/>
                    </a:lnTo>
                    <a:lnTo>
                      <a:pt x="28" y="230"/>
                    </a:lnTo>
                    <a:lnTo>
                      <a:pt x="27" y="230"/>
                    </a:lnTo>
                    <a:lnTo>
                      <a:pt x="27" y="231"/>
                    </a:lnTo>
                    <a:lnTo>
                      <a:pt x="26" y="231"/>
                    </a:lnTo>
                    <a:lnTo>
                      <a:pt x="26" y="230"/>
                    </a:lnTo>
                    <a:lnTo>
                      <a:pt x="26" y="228"/>
                    </a:lnTo>
                    <a:lnTo>
                      <a:pt x="26" y="227"/>
                    </a:lnTo>
                    <a:lnTo>
                      <a:pt x="26" y="226"/>
                    </a:lnTo>
                    <a:lnTo>
                      <a:pt x="24" y="226"/>
                    </a:lnTo>
                    <a:lnTo>
                      <a:pt x="24" y="225"/>
                    </a:lnTo>
                    <a:lnTo>
                      <a:pt x="23" y="224"/>
                    </a:lnTo>
                    <a:lnTo>
                      <a:pt x="22" y="223"/>
                    </a:lnTo>
                    <a:lnTo>
                      <a:pt x="22" y="222"/>
                    </a:lnTo>
                    <a:lnTo>
                      <a:pt x="21" y="222"/>
                    </a:lnTo>
                    <a:lnTo>
                      <a:pt x="21" y="221"/>
                    </a:lnTo>
                    <a:lnTo>
                      <a:pt x="20" y="221"/>
                    </a:lnTo>
                    <a:lnTo>
                      <a:pt x="20" y="220"/>
                    </a:lnTo>
                    <a:lnTo>
                      <a:pt x="19" y="220"/>
                    </a:lnTo>
                    <a:lnTo>
                      <a:pt x="19" y="219"/>
                    </a:lnTo>
                    <a:lnTo>
                      <a:pt x="18" y="219"/>
                    </a:lnTo>
                    <a:lnTo>
                      <a:pt x="17" y="219"/>
                    </a:lnTo>
                    <a:lnTo>
                      <a:pt x="16" y="218"/>
                    </a:lnTo>
                    <a:lnTo>
                      <a:pt x="15" y="218"/>
                    </a:lnTo>
                    <a:lnTo>
                      <a:pt x="15" y="217"/>
                    </a:lnTo>
                    <a:lnTo>
                      <a:pt x="15" y="215"/>
                    </a:lnTo>
                    <a:lnTo>
                      <a:pt x="16" y="214"/>
                    </a:lnTo>
                    <a:lnTo>
                      <a:pt x="17" y="214"/>
                    </a:lnTo>
                    <a:lnTo>
                      <a:pt x="16" y="214"/>
                    </a:lnTo>
                    <a:lnTo>
                      <a:pt x="15" y="214"/>
                    </a:lnTo>
                    <a:lnTo>
                      <a:pt x="14" y="214"/>
                    </a:lnTo>
                    <a:lnTo>
                      <a:pt x="15" y="214"/>
                    </a:lnTo>
                    <a:lnTo>
                      <a:pt x="15" y="213"/>
                    </a:lnTo>
                    <a:lnTo>
                      <a:pt x="14" y="213"/>
                    </a:lnTo>
                    <a:lnTo>
                      <a:pt x="14" y="212"/>
                    </a:lnTo>
                    <a:lnTo>
                      <a:pt x="13" y="212"/>
                    </a:lnTo>
                    <a:lnTo>
                      <a:pt x="11" y="211"/>
                    </a:lnTo>
                    <a:lnTo>
                      <a:pt x="11" y="210"/>
                    </a:lnTo>
                    <a:lnTo>
                      <a:pt x="11" y="209"/>
                    </a:lnTo>
                    <a:lnTo>
                      <a:pt x="10" y="209"/>
                    </a:lnTo>
                    <a:lnTo>
                      <a:pt x="11" y="209"/>
                    </a:lnTo>
                    <a:lnTo>
                      <a:pt x="11" y="208"/>
                    </a:lnTo>
                    <a:lnTo>
                      <a:pt x="11" y="207"/>
                    </a:lnTo>
                    <a:lnTo>
                      <a:pt x="11" y="206"/>
                    </a:lnTo>
                    <a:lnTo>
                      <a:pt x="13" y="206"/>
                    </a:lnTo>
                    <a:lnTo>
                      <a:pt x="13" y="205"/>
                    </a:lnTo>
                    <a:lnTo>
                      <a:pt x="11" y="205"/>
                    </a:lnTo>
                    <a:lnTo>
                      <a:pt x="11" y="204"/>
                    </a:lnTo>
                    <a:lnTo>
                      <a:pt x="13" y="204"/>
                    </a:lnTo>
                    <a:lnTo>
                      <a:pt x="13" y="202"/>
                    </a:lnTo>
                    <a:lnTo>
                      <a:pt x="14" y="202"/>
                    </a:lnTo>
                    <a:lnTo>
                      <a:pt x="13" y="201"/>
                    </a:lnTo>
                    <a:lnTo>
                      <a:pt x="13" y="202"/>
                    </a:lnTo>
                    <a:lnTo>
                      <a:pt x="13" y="201"/>
                    </a:lnTo>
                    <a:lnTo>
                      <a:pt x="13" y="200"/>
                    </a:lnTo>
                    <a:lnTo>
                      <a:pt x="11" y="200"/>
                    </a:lnTo>
                    <a:lnTo>
                      <a:pt x="11" y="201"/>
                    </a:lnTo>
                    <a:lnTo>
                      <a:pt x="10" y="201"/>
                    </a:lnTo>
                    <a:lnTo>
                      <a:pt x="9" y="201"/>
                    </a:lnTo>
                    <a:lnTo>
                      <a:pt x="8" y="201"/>
                    </a:lnTo>
                    <a:lnTo>
                      <a:pt x="7" y="201"/>
                    </a:lnTo>
                    <a:lnTo>
                      <a:pt x="7" y="200"/>
                    </a:lnTo>
                    <a:lnTo>
                      <a:pt x="8" y="200"/>
                    </a:lnTo>
                    <a:lnTo>
                      <a:pt x="8" y="199"/>
                    </a:lnTo>
                    <a:lnTo>
                      <a:pt x="8" y="198"/>
                    </a:lnTo>
                    <a:lnTo>
                      <a:pt x="7" y="197"/>
                    </a:lnTo>
                    <a:lnTo>
                      <a:pt x="7" y="196"/>
                    </a:lnTo>
                    <a:lnTo>
                      <a:pt x="6" y="194"/>
                    </a:lnTo>
                    <a:lnTo>
                      <a:pt x="5" y="194"/>
                    </a:lnTo>
                    <a:lnTo>
                      <a:pt x="4" y="192"/>
                    </a:lnTo>
                    <a:lnTo>
                      <a:pt x="3" y="188"/>
                    </a:lnTo>
                    <a:lnTo>
                      <a:pt x="2" y="185"/>
                    </a:lnTo>
                    <a:lnTo>
                      <a:pt x="1" y="184"/>
                    </a:lnTo>
                    <a:lnTo>
                      <a:pt x="0" y="183"/>
                    </a:lnTo>
                    <a:lnTo>
                      <a:pt x="0" y="182"/>
                    </a:lnTo>
                    <a:lnTo>
                      <a:pt x="1" y="182"/>
                    </a:lnTo>
                    <a:lnTo>
                      <a:pt x="2" y="181"/>
                    </a:lnTo>
                    <a:lnTo>
                      <a:pt x="4" y="180"/>
                    </a:lnTo>
                    <a:lnTo>
                      <a:pt x="5" y="180"/>
                    </a:lnTo>
                    <a:lnTo>
                      <a:pt x="6" y="179"/>
                    </a:lnTo>
                    <a:lnTo>
                      <a:pt x="7" y="179"/>
                    </a:lnTo>
                    <a:lnTo>
                      <a:pt x="8" y="177"/>
                    </a:lnTo>
                    <a:lnTo>
                      <a:pt x="9" y="177"/>
                    </a:lnTo>
                    <a:lnTo>
                      <a:pt x="10" y="176"/>
                    </a:lnTo>
                    <a:lnTo>
                      <a:pt x="11" y="176"/>
                    </a:lnTo>
                    <a:lnTo>
                      <a:pt x="11" y="175"/>
                    </a:lnTo>
                    <a:lnTo>
                      <a:pt x="13" y="174"/>
                    </a:lnTo>
                    <a:lnTo>
                      <a:pt x="14" y="173"/>
                    </a:lnTo>
                    <a:lnTo>
                      <a:pt x="15" y="172"/>
                    </a:lnTo>
                    <a:lnTo>
                      <a:pt x="16" y="172"/>
                    </a:lnTo>
                    <a:lnTo>
                      <a:pt x="17" y="172"/>
                    </a:lnTo>
                    <a:lnTo>
                      <a:pt x="19" y="172"/>
                    </a:lnTo>
                    <a:lnTo>
                      <a:pt x="20" y="173"/>
                    </a:lnTo>
                    <a:lnTo>
                      <a:pt x="21" y="171"/>
                    </a:lnTo>
                    <a:lnTo>
                      <a:pt x="23" y="171"/>
                    </a:lnTo>
                    <a:lnTo>
                      <a:pt x="23" y="172"/>
                    </a:lnTo>
                    <a:lnTo>
                      <a:pt x="22" y="173"/>
                    </a:lnTo>
                    <a:lnTo>
                      <a:pt x="23" y="173"/>
                    </a:lnTo>
                    <a:lnTo>
                      <a:pt x="23" y="174"/>
                    </a:lnTo>
                    <a:lnTo>
                      <a:pt x="23" y="175"/>
                    </a:lnTo>
                    <a:lnTo>
                      <a:pt x="24" y="175"/>
                    </a:lnTo>
                    <a:lnTo>
                      <a:pt x="24" y="174"/>
                    </a:lnTo>
                    <a:lnTo>
                      <a:pt x="24" y="173"/>
                    </a:lnTo>
                    <a:lnTo>
                      <a:pt x="24" y="172"/>
                    </a:lnTo>
                    <a:lnTo>
                      <a:pt x="24" y="171"/>
                    </a:lnTo>
                    <a:lnTo>
                      <a:pt x="26" y="171"/>
                    </a:lnTo>
                    <a:lnTo>
                      <a:pt x="26" y="170"/>
                    </a:lnTo>
                    <a:lnTo>
                      <a:pt x="27" y="169"/>
                    </a:lnTo>
                    <a:lnTo>
                      <a:pt x="28" y="169"/>
                    </a:lnTo>
                    <a:lnTo>
                      <a:pt x="30" y="169"/>
                    </a:lnTo>
                    <a:lnTo>
                      <a:pt x="31" y="168"/>
                    </a:lnTo>
                    <a:lnTo>
                      <a:pt x="32" y="168"/>
                    </a:lnTo>
                    <a:lnTo>
                      <a:pt x="33" y="168"/>
                    </a:lnTo>
                    <a:lnTo>
                      <a:pt x="33" y="167"/>
                    </a:lnTo>
                    <a:lnTo>
                      <a:pt x="34" y="167"/>
                    </a:lnTo>
                    <a:lnTo>
                      <a:pt x="35" y="167"/>
                    </a:lnTo>
                    <a:lnTo>
                      <a:pt x="35" y="166"/>
                    </a:lnTo>
                    <a:lnTo>
                      <a:pt x="35" y="164"/>
                    </a:lnTo>
                    <a:lnTo>
                      <a:pt x="36" y="164"/>
                    </a:lnTo>
                    <a:lnTo>
                      <a:pt x="36" y="163"/>
                    </a:lnTo>
                    <a:lnTo>
                      <a:pt x="37" y="163"/>
                    </a:lnTo>
                    <a:lnTo>
                      <a:pt x="39" y="162"/>
                    </a:lnTo>
                    <a:lnTo>
                      <a:pt x="40" y="162"/>
                    </a:lnTo>
                    <a:lnTo>
                      <a:pt x="41" y="162"/>
                    </a:lnTo>
                    <a:lnTo>
                      <a:pt x="42" y="161"/>
                    </a:lnTo>
                    <a:lnTo>
                      <a:pt x="42" y="162"/>
                    </a:lnTo>
                    <a:lnTo>
                      <a:pt x="43" y="162"/>
                    </a:lnTo>
                    <a:lnTo>
                      <a:pt x="44" y="162"/>
                    </a:lnTo>
                    <a:lnTo>
                      <a:pt x="45" y="161"/>
                    </a:lnTo>
                    <a:lnTo>
                      <a:pt x="46" y="161"/>
                    </a:lnTo>
                    <a:lnTo>
                      <a:pt x="47" y="161"/>
                    </a:lnTo>
                    <a:lnTo>
                      <a:pt x="49" y="160"/>
                    </a:lnTo>
                    <a:lnTo>
                      <a:pt x="50" y="160"/>
                    </a:lnTo>
                    <a:lnTo>
                      <a:pt x="52" y="159"/>
                    </a:lnTo>
                    <a:lnTo>
                      <a:pt x="53" y="159"/>
                    </a:lnTo>
                    <a:lnTo>
                      <a:pt x="54" y="159"/>
                    </a:lnTo>
                    <a:lnTo>
                      <a:pt x="54" y="160"/>
                    </a:lnTo>
                    <a:lnTo>
                      <a:pt x="54" y="161"/>
                    </a:lnTo>
                    <a:lnTo>
                      <a:pt x="54" y="162"/>
                    </a:lnTo>
                    <a:lnTo>
                      <a:pt x="54" y="163"/>
                    </a:lnTo>
                    <a:lnTo>
                      <a:pt x="55" y="164"/>
                    </a:lnTo>
                    <a:lnTo>
                      <a:pt x="56" y="164"/>
                    </a:lnTo>
                    <a:lnTo>
                      <a:pt x="56" y="163"/>
                    </a:lnTo>
                    <a:lnTo>
                      <a:pt x="55" y="162"/>
                    </a:lnTo>
                    <a:lnTo>
                      <a:pt x="55" y="161"/>
                    </a:lnTo>
                    <a:lnTo>
                      <a:pt x="55" y="160"/>
                    </a:lnTo>
                    <a:lnTo>
                      <a:pt x="55" y="159"/>
                    </a:lnTo>
                    <a:lnTo>
                      <a:pt x="56" y="159"/>
                    </a:lnTo>
                    <a:lnTo>
                      <a:pt x="57" y="159"/>
                    </a:lnTo>
                    <a:lnTo>
                      <a:pt x="58" y="159"/>
                    </a:lnTo>
                    <a:lnTo>
                      <a:pt x="59" y="159"/>
                    </a:lnTo>
                    <a:lnTo>
                      <a:pt x="59" y="158"/>
                    </a:lnTo>
                    <a:lnTo>
                      <a:pt x="60" y="158"/>
                    </a:lnTo>
                    <a:lnTo>
                      <a:pt x="61" y="158"/>
                    </a:lnTo>
                    <a:lnTo>
                      <a:pt x="61" y="157"/>
                    </a:lnTo>
                    <a:lnTo>
                      <a:pt x="62" y="156"/>
                    </a:lnTo>
                    <a:lnTo>
                      <a:pt x="62" y="155"/>
                    </a:lnTo>
                    <a:lnTo>
                      <a:pt x="63" y="155"/>
                    </a:lnTo>
                    <a:lnTo>
                      <a:pt x="63" y="154"/>
                    </a:lnTo>
                    <a:lnTo>
                      <a:pt x="65" y="154"/>
                    </a:lnTo>
                    <a:lnTo>
                      <a:pt x="65" y="153"/>
                    </a:lnTo>
                    <a:lnTo>
                      <a:pt x="66" y="149"/>
                    </a:lnTo>
                    <a:lnTo>
                      <a:pt x="67" y="147"/>
                    </a:lnTo>
                    <a:lnTo>
                      <a:pt x="69" y="146"/>
                    </a:lnTo>
                    <a:lnTo>
                      <a:pt x="70" y="147"/>
                    </a:lnTo>
                    <a:lnTo>
                      <a:pt x="71" y="145"/>
                    </a:lnTo>
                    <a:lnTo>
                      <a:pt x="72" y="144"/>
                    </a:lnTo>
                    <a:lnTo>
                      <a:pt x="72" y="143"/>
                    </a:lnTo>
                    <a:lnTo>
                      <a:pt x="72" y="141"/>
                    </a:lnTo>
                    <a:lnTo>
                      <a:pt x="72" y="138"/>
                    </a:lnTo>
                    <a:lnTo>
                      <a:pt x="73" y="138"/>
                    </a:lnTo>
                    <a:lnTo>
                      <a:pt x="74" y="137"/>
                    </a:lnTo>
                    <a:lnTo>
                      <a:pt x="75" y="136"/>
                    </a:lnTo>
                    <a:lnTo>
                      <a:pt x="76" y="134"/>
                    </a:lnTo>
                    <a:lnTo>
                      <a:pt x="75" y="134"/>
                    </a:lnTo>
                    <a:lnTo>
                      <a:pt x="75" y="131"/>
                    </a:lnTo>
                    <a:lnTo>
                      <a:pt x="76" y="131"/>
                    </a:lnTo>
                    <a:lnTo>
                      <a:pt x="78" y="127"/>
                    </a:lnTo>
                    <a:lnTo>
                      <a:pt x="78" y="123"/>
                    </a:lnTo>
                    <a:lnTo>
                      <a:pt x="79" y="121"/>
                    </a:lnTo>
                    <a:lnTo>
                      <a:pt x="80" y="121"/>
                    </a:lnTo>
                    <a:lnTo>
                      <a:pt x="82" y="120"/>
                    </a:lnTo>
                    <a:lnTo>
                      <a:pt x="83" y="117"/>
                    </a:lnTo>
                    <a:lnTo>
                      <a:pt x="83" y="115"/>
                    </a:lnTo>
                    <a:lnTo>
                      <a:pt x="82" y="111"/>
                    </a:lnTo>
                    <a:lnTo>
                      <a:pt x="82" y="109"/>
                    </a:lnTo>
                    <a:lnTo>
                      <a:pt x="82" y="107"/>
                    </a:lnTo>
                    <a:lnTo>
                      <a:pt x="83" y="106"/>
                    </a:lnTo>
                    <a:lnTo>
                      <a:pt x="83" y="105"/>
                    </a:lnTo>
                    <a:lnTo>
                      <a:pt x="86" y="98"/>
                    </a:lnTo>
                    <a:lnTo>
                      <a:pt x="85" y="96"/>
                    </a:lnTo>
                    <a:lnTo>
                      <a:pt x="86" y="95"/>
                    </a:lnTo>
                    <a:lnTo>
                      <a:pt x="86" y="94"/>
                    </a:lnTo>
                    <a:lnTo>
                      <a:pt x="86" y="91"/>
                    </a:lnTo>
                    <a:lnTo>
                      <a:pt x="86" y="86"/>
                    </a:lnTo>
                    <a:lnTo>
                      <a:pt x="85" y="84"/>
                    </a:lnTo>
                    <a:lnTo>
                      <a:pt x="86" y="84"/>
                    </a:lnTo>
                    <a:lnTo>
                      <a:pt x="86" y="83"/>
                    </a:lnTo>
                    <a:lnTo>
                      <a:pt x="86" y="82"/>
                    </a:lnTo>
                    <a:lnTo>
                      <a:pt x="87" y="80"/>
                    </a:lnTo>
                    <a:lnTo>
                      <a:pt x="87" y="78"/>
                    </a:lnTo>
                    <a:lnTo>
                      <a:pt x="87" y="77"/>
                    </a:lnTo>
                    <a:lnTo>
                      <a:pt x="89" y="76"/>
                    </a:lnTo>
                    <a:lnTo>
                      <a:pt x="89" y="74"/>
                    </a:lnTo>
                    <a:lnTo>
                      <a:pt x="89" y="73"/>
                    </a:lnTo>
                    <a:lnTo>
                      <a:pt x="91" y="71"/>
                    </a:lnTo>
                    <a:lnTo>
                      <a:pt x="91" y="70"/>
                    </a:lnTo>
                    <a:lnTo>
                      <a:pt x="91" y="65"/>
                    </a:lnTo>
                    <a:lnTo>
                      <a:pt x="91" y="60"/>
                    </a:lnTo>
                    <a:lnTo>
                      <a:pt x="89" y="58"/>
                    </a:lnTo>
                    <a:lnTo>
                      <a:pt x="86" y="56"/>
                    </a:lnTo>
                    <a:lnTo>
                      <a:pt x="84" y="54"/>
                    </a:lnTo>
                    <a:lnTo>
                      <a:pt x="81" y="53"/>
                    </a:lnTo>
                    <a:lnTo>
                      <a:pt x="79" y="53"/>
                    </a:lnTo>
                    <a:lnTo>
                      <a:pt x="76" y="53"/>
                    </a:lnTo>
                    <a:lnTo>
                      <a:pt x="74" y="53"/>
                    </a:lnTo>
                    <a:lnTo>
                      <a:pt x="73" y="53"/>
                    </a:lnTo>
                    <a:lnTo>
                      <a:pt x="73" y="52"/>
                    </a:lnTo>
                    <a:lnTo>
                      <a:pt x="74" y="51"/>
                    </a:lnTo>
                    <a:lnTo>
                      <a:pt x="74" y="50"/>
                    </a:lnTo>
                    <a:lnTo>
                      <a:pt x="74" y="48"/>
                    </a:lnTo>
                    <a:lnTo>
                      <a:pt x="72" y="48"/>
                    </a:lnTo>
                    <a:lnTo>
                      <a:pt x="72" y="47"/>
                    </a:lnTo>
                    <a:lnTo>
                      <a:pt x="71" y="47"/>
                    </a:lnTo>
                    <a:lnTo>
                      <a:pt x="70" y="45"/>
                    </a:lnTo>
                    <a:lnTo>
                      <a:pt x="71" y="44"/>
                    </a:lnTo>
                    <a:lnTo>
                      <a:pt x="72" y="43"/>
                    </a:lnTo>
                    <a:lnTo>
                      <a:pt x="73" y="42"/>
                    </a:lnTo>
                    <a:lnTo>
                      <a:pt x="75" y="41"/>
                    </a:lnTo>
                    <a:lnTo>
                      <a:pt x="76" y="41"/>
                    </a:lnTo>
                    <a:lnTo>
                      <a:pt x="78" y="41"/>
                    </a:lnTo>
                    <a:lnTo>
                      <a:pt x="79" y="41"/>
                    </a:lnTo>
                    <a:lnTo>
                      <a:pt x="80" y="41"/>
                    </a:lnTo>
                    <a:lnTo>
                      <a:pt x="81" y="40"/>
                    </a:lnTo>
                    <a:lnTo>
                      <a:pt x="82" y="40"/>
                    </a:lnTo>
                    <a:lnTo>
                      <a:pt x="82" y="39"/>
                    </a:lnTo>
                    <a:lnTo>
                      <a:pt x="83" y="38"/>
                    </a:lnTo>
                    <a:lnTo>
                      <a:pt x="83" y="37"/>
                    </a:lnTo>
                    <a:lnTo>
                      <a:pt x="83" y="34"/>
                    </a:lnTo>
                    <a:lnTo>
                      <a:pt x="85" y="33"/>
                    </a:lnTo>
                    <a:lnTo>
                      <a:pt x="88" y="29"/>
                    </a:lnTo>
                    <a:lnTo>
                      <a:pt x="89" y="27"/>
                    </a:lnTo>
                    <a:lnTo>
                      <a:pt x="91" y="27"/>
                    </a:lnTo>
                    <a:lnTo>
                      <a:pt x="92" y="26"/>
                    </a:lnTo>
                    <a:lnTo>
                      <a:pt x="95" y="25"/>
                    </a:lnTo>
                    <a:lnTo>
                      <a:pt x="96" y="25"/>
                    </a:lnTo>
                    <a:lnTo>
                      <a:pt x="97" y="24"/>
                    </a:lnTo>
                    <a:lnTo>
                      <a:pt x="98" y="24"/>
                    </a:lnTo>
                    <a:lnTo>
                      <a:pt x="99" y="22"/>
                    </a:lnTo>
                    <a:lnTo>
                      <a:pt x="100" y="21"/>
                    </a:lnTo>
                    <a:lnTo>
                      <a:pt x="100" y="20"/>
                    </a:lnTo>
                    <a:lnTo>
                      <a:pt x="100" y="16"/>
                    </a:lnTo>
                    <a:lnTo>
                      <a:pt x="100" y="15"/>
                    </a:lnTo>
                    <a:lnTo>
                      <a:pt x="100" y="14"/>
                    </a:lnTo>
                    <a:lnTo>
                      <a:pt x="101" y="13"/>
                    </a:lnTo>
                    <a:lnTo>
                      <a:pt x="101" y="12"/>
                    </a:lnTo>
                    <a:lnTo>
                      <a:pt x="101" y="11"/>
                    </a:lnTo>
                    <a:lnTo>
                      <a:pt x="102" y="11"/>
                    </a:lnTo>
                    <a:lnTo>
                      <a:pt x="104" y="8"/>
                    </a:lnTo>
                    <a:lnTo>
                      <a:pt x="105" y="7"/>
                    </a:lnTo>
                    <a:lnTo>
                      <a:pt x="107" y="5"/>
                    </a:lnTo>
                    <a:lnTo>
                      <a:pt x="108" y="5"/>
                    </a:lnTo>
                    <a:lnTo>
                      <a:pt x="108" y="4"/>
                    </a:lnTo>
                    <a:lnTo>
                      <a:pt x="110" y="3"/>
                    </a:lnTo>
                    <a:lnTo>
                      <a:pt x="110" y="2"/>
                    </a:lnTo>
                    <a:lnTo>
                      <a:pt x="111" y="2"/>
                    </a:lnTo>
                    <a:lnTo>
                      <a:pt x="111" y="1"/>
                    </a:lnTo>
                    <a:lnTo>
                      <a:pt x="112" y="1"/>
                    </a:lnTo>
                    <a:lnTo>
                      <a:pt x="175" y="1"/>
                    </a:lnTo>
                    <a:lnTo>
                      <a:pt x="184" y="1"/>
                    </a:lnTo>
                    <a:lnTo>
                      <a:pt x="185" y="1"/>
                    </a:lnTo>
                    <a:lnTo>
                      <a:pt x="215" y="1"/>
                    </a:lnTo>
                    <a:lnTo>
                      <a:pt x="217" y="1"/>
                    </a:lnTo>
                    <a:lnTo>
                      <a:pt x="247" y="1"/>
                    </a:lnTo>
                    <a:lnTo>
                      <a:pt x="251" y="1"/>
                    </a:lnTo>
                    <a:lnTo>
                      <a:pt x="306" y="1"/>
                    </a:lnTo>
                    <a:lnTo>
                      <a:pt x="324" y="1"/>
                    </a:lnTo>
                    <a:lnTo>
                      <a:pt x="344" y="1"/>
                    </a:lnTo>
                    <a:lnTo>
                      <a:pt x="351" y="1"/>
                    </a:lnTo>
                    <a:lnTo>
                      <a:pt x="353" y="1"/>
                    </a:lnTo>
                    <a:lnTo>
                      <a:pt x="357" y="1"/>
                    </a:lnTo>
                    <a:lnTo>
                      <a:pt x="362" y="1"/>
                    </a:lnTo>
                    <a:lnTo>
                      <a:pt x="378" y="1"/>
                    </a:lnTo>
                    <a:lnTo>
                      <a:pt x="382" y="1"/>
                    </a:lnTo>
                    <a:lnTo>
                      <a:pt x="392" y="1"/>
                    </a:lnTo>
                    <a:lnTo>
                      <a:pt x="393" y="1"/>
                    </a:lnTo>
                    <a:lnTo>
                      <a:pt x="422" y="1"/>
                    </a:lnTo>
                    <a:lnTo>
                      <a:pt x="444" y="1"/>
                    </a:lnTo>
                    <a:lnTo>
                      <a:pt x="450" y="1"/>
                    </a:lnTo>
                    <a:lnTo>
                      <a:pt x="454" y="1"/>
                    </a:lnTo>
                    <a:lnTo>
                      <a:pt x="465" y="0"/>
                    </a:lnTo>
                    <a:lnTo>
                      <a:pt x="469" y="0"/>
                    </a:lnTo>
                    <a:lnTo>
                      <a:pt x="474" y="0"/>
                    </a:lnTo>
                    <a:lnTo>
                      <a:pt x="474" y="11"/>
                    </a:lnTo>
                    <a:lnTo>
                      <a:pt x="494" y="11"/>
                    </a:lnTo>
                    <a:lnTo>
                      <a:pt x="499" y="11"/>
                    </a:lnTo>
                    <a:lnTo>
                      <a:pt x="500" y="11"/>
                    </a:lnTo>
                    <a:lnTo>
                      <a:pt x="501" y="11"/>
                    </a:lnTo>
                    <a:lnTo>
                      <a:pt x="502" y="11"/>
                    </a:lnTo>
                    <a:lnTo>
                      <a:pt x="505" y="11"/>
                    </a:lnTo>
                    <a:lnTo>
                      <a:pt x="508" y="11"/>
                    </a:lnTo>
                    <a:lnTo>
                      <a:pt x="524" y="9"/>
                    </a:lnTo>
                    <a:lnTo>
                      <a:pt x="535" y="9"/>
                    </a:lnTo>
                    <a:lnTo>
                      <a:pt x="539" y="9"/>
                    </a:lnTo>
                    <a:lnTo>
                      <a:pt x="540" y="9"/>
                    </a:lnTo>
                    <a:lnTo>
                      <a:pt x="542" y="9"/>
                    </a:lnTo>
                    <a:lnTo>
                      <a:pt x="543" y="9"/>
                    </a:lnTo>
                    <a:lnTo>
                      <a:pt x="545" y="9"/>
                    </a:lnTo>
                    <a:lnTo>
                      <a:pt x="546" y="11"/>
                    </a:lnTo>
                    <a:lnTo>
                      <a:pt x="556" y="11"/>
                    </a:lnTo>
                    <a:close/>
                    <a:moveTo>
                      <a:pt x="14" y="218"/>
                    </a:moveTo>
                    <a:lnTo>
                      <a:pt x="14" y="219"/>
                    </a:lnTo>
                    <a:lnTo>
                      <a:pt x="13" y="219"/>
                    </a:lnTo>
                    <a:lnTo>
                      <a:pt x="13" y="218"/>
                    </a:lnTo>
                    <a:lnTo>
                      <a:pt x="11" y="219"/>
                    </a:lnTo>
                    <a:lnTo>
                      <a:pt x="11" y="218"/>
                    </a:lnTo>
                    <a:lnTo>
                      <a:pt x="10" y="218"/>
                    </a:lnTo>
                    <a:lnTo>
                      <a:pt x="10" y="217"/>
                    </a:lnTo>
                    <a:lnTo>
                      <a:pt x="9" y="217"/>
                    </a:lnTo>
                    <a:lnTo>
                      <a:pt x="9" y="215"/>
                    </a:lnTo>
                    <a:lnTo>
                      <a:pt x="9" y="214"/>
                    </a:lnTo>
                    <a:lnTo>
                      <a:pt x="8" y="213"/>
                    </a:lnTo>
                    <a:lnTo>
                      <a:pt x="9" y="213"/>
                    </a:lnTo>
                    <a:lnTo>
                      <a:pt x="9" y="214"/>
                    </a:lnTo>
                    <a:lnTo>
                      <a:pt x="10" y="214"/>
                    </a:lnTo>
                    <a:lnTo>
                      <a:pt x="11" y="215"/>
                    </a:lnTo>
                    <a:lnTo>
                      <a:pt x="13" y="215"/>
                    </a:lnTo>
                    <a:lnTo>
                      <a:pt x="13" y="217"/>
                    </a:lnTo>
                    <a:lnTo>
                      <a:pt x="14" y="218"/>
                    </a:lnTo>
                    <a:close/>
                  </a:path>
                </a:pathLst>
              </a:custGeom>
              <a:solidFill>
                <a:srgbClr val="D6E9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7" name="Freeform 37">
                <a:extLst>
                  <a:ext uri="{FF2B5EF4-FFF2-40B4-BE49-F238E27FC236}">
                    <a16:creationId xmlns:a16="http://schemas.microsoft.com/office/drawing/2014/main" id="{CF4F9BDB-3B99-8A72-FCD1-5EAEC0256A5A}"/>
                  </a:ext>
                </a:extLst>
              </p:cNvPr>
              <p:cNvSpPr>
                <a:spLocks/>
              </p:cNvSpPr>
              <p:nvPr/>
            </p:nvSpPr>
            <p:spPr bwMode="auto">
              <a:xfrm>
                <a:off x="1146176" y="1906588"/>
                <a:ext cx="671513" cy="574675"/>
              </a:xfrm>
              <a:custGeom>
                <a:avLst/>
                <a:gdLst>
                  <a:gd name="T0" fmla="*/ 272 w 423"/>
                  <a:gd name="T1" fmla="*/ 91 h 362"/>
                  <a:gd name="T2" fmla="*/ 283 w 423"/>
                  <a:gd name="T3" fmla="*/ 104 h 362"/>
                  <a:gd name="T4" fmla="*/ 302 w 423"/>
                  <a:gd name="T5" fmla="*/ 109 h 362"/>
                  <a:gd name="T6" fmla="*/ 316 w 423"/>
                  <a:gd name="T7" fmla="*/ 119 h 362"/>
                  <a:gd name="T8" fmla="*/ 319 w 423"/>
                  <a:gd name="T9" fmla="*/ 135 h 362"/>
                  <a:gd name="T10" fmla="*/ 326 w 423"/>
                  <a:gd name="T11" fmla="*/ 155 h 362"/>
                  <a:gd name="T12" fmla="*/ 312 w 423"/>
                  <a:gd name="T13" fmla="*/ 166 h 362"/>
                  <a:gd name="T14" fmla="*/ 312 w 423"/>
                  <a:gd name="T15" fmla="*/ 179 h 362"/>
                  <a:gd name="T16" fmla="*/ 323 w 423"/>
                  <a:gd name="T17" fmla="*/ 191 h 362"/>
                  <a:gd name="T18" fmla="*/ 329 w 423"/>
                  <a:gd name="T19" fmla="*/ 204 h 362"/>
                  <a:gd name="T20" fmla="*/ 345 w 423"/>
                  <a:gd name="T21" fmla="*/ 219 h 362"/>
                  <a:gd name="T22" fmla="*/ 351 w 423"/>
                  <a:gd name="T23" fmla="*/ 231 h 362"/>
                  <a:gd name="T24" fmla="*/ 358 w 423"/>
                  <a:gd name="T25" fmla="*/ 245 h 362"/>
                  <a:gd name="T26" fmla="*/ 369 w 423"/>
                  <a:gd name="T27" fmla="*/ 258 h 362"/>
                  <a:gd name="T28" fmla="*/ 382 w 423"/>
                  <a:gd name="T29" fmla="*/ 261 h 362"/>
                  <a:gd name="T30" fmla="*/ 392 w 423"/>
                  <a:gd name="T31" fmla="*/ 264 h 362"/>
                  <a:gd name="T32" fmla="*/ 406 w 423"/>
                  <a:gd name="T33" fmla="*/ 274 h 362"/>
                  <a:gd name="T34" fmla="*/ 412 w 423"/>
                  <a:gd name="T35" fmla="*/ 287 h 362"/>
                  <a:gd name="T36" fmla="*/ 423 w 423"/>
                  <a:gd name="T37" fmla="*/ 297 h 362"/>
                  <a:gd name="T38" fmla="*/ 404 w 423"/>
                  <a:gd name="T39" fmla="*/ 305 h 362"/>
                  <a:gd name="T40" fmla="*/ 388 w 423"/>
                  <a:gd name="T41" fmla="*/ 308 h 362"/>
                  <a:gd name="T42" fmla="*/ 378 w 423"/>
                  <a:gd name="T43" fmla="*/ 299 h 362"/>
                  <a:gd name="T44" fmla="*/ 371 w 423"/>
                  <a:gd name="T45" fmla="*/ 310 h 362"/>
                  <a:gd name="T46" fmla="*/ 369 w 423"/>
                  <a:gd name="T47" fmla="*/ 322 h 362"/>
                  <a:gd name="T48" fmla="*/ 285 w 423"/>
                  <a:gd name="T49" fmla="*/ 361 h 362"/>
                  <a:gd name="T50" fmla="*/ 147 w 423"/>
                  <a:gd name="T51" fmla="*/ 362 h 362"/>
                  <a:gd name="T52" fmla="*/ 94 w 423"/>
                  <a:gd name="T53" fmla="*/ 354 h 362"/>
                  <a:gd name="T54" fmla="*/ 93 w 423"/>
                  <a:gd name="T55" fmla="*/ 344 h 362"/>
                  <a:gd name="T56" fmla="*/ 87 w 423"/>
                  <a:gd name="T57" fmla="*/ 338 h 362"/>
                  <a:gd name="T58" fmla="*/ 85 w 423"/>
                  <a:gd name="T59" fmla="*/ 325 h 362"/>
                  <a:gd name="T60" fmla="*/ 79 w 423"/>
                  <a:gd name="T61" fmla="*/ 330 h 362"/>
                  <a:gd name="T62" fmla="*/ 74 w 423"/>
                  <a:gd name="T63" fmla="*/ 333 h 362"/>
                  <a:gd name="T64" fmla="*/ 69 w 423"/>
                  <a:gd name="T65" fmla="*/ 325 h 362"/>
                  <a:gd name="T66" fmla="*/ 65 w 423"/>
                  <a:gd name="T67" fmla="*/ 315 h 362"/>
                  <a:gd name="T68" fmla="*/ 53 w 423"/>
                  <a:gd name="T69" fmla="*/ 310 h 362"/>
                  <a:gd name="T70" fmla="*/ 42 w 423"/>
                  <a:gd name="T71" fmla="*/ 307 h 362"/>
                  <a:gd name="T72" fmla="*/ 32 w 423"/>
                  <a:gd name="T73" fmla="*/ 287 h 362"/>
                  <a:gd name="T74" fmla="*/ 19 w 423"/>
                  <a:gd name="T75" fmla="*/ 267 h 362"/>
                  <a:gd name="T76" fmla="*/ 10 w 423"/>
                  <a:gd name="T77" fmla="*/ 255 h 362"/>
                  <a:gd name="T78" fmla="*/ 0 w 423"/>
                  <a:gd name="T79" fmla="*/ 250 h 362"/>
                  <a:gd name="T80" fmla="*/ 0 w 423"/>
                  <a:gd name="T81" fmla="*/ 151 h 362"/>
                  <a:gd name="T82" fmla="*/ 74 w 423"/>
                  <a:gd name="T83" fmla="*/ 95 h 362"/>
                  <a:gd name="T84" fmla="*/ 87 w 423"/>
                  <a:gd name="T85" fmla="*/ 86 h 362"/>
                  <a:gd name="T86" fmla="*/ 98 w 423"/>
                  <a:gd name="T87" fmla="*/ 78 h 362"/>
                  <a:gd name="T88" fmla="*/ 108 w 423"/>
                  <a:gd name="T89" fmla="*/ 69 h 362"/>
                  <a:gd name="T90" fmla="*/ 113 w 423"/>
                  <a:gd name="T91" fmla="*/ 56 h 362"/>
                  <a:gd name="T92" fmla="*/ 116 w 423"/>
                  <a:gd name="T93" fmla="*/ 43 h 362"/>
                  <a:gd name="T94" fmla="*/ 122 w 423"/>
                  <a:gd name="T95" fmla="*/ 39 h 362"/>
                  <a:gd name="T96" fmla="*/ 132 w 423"/>
                  <a:gd name="T97" fmla="*/ 31 h 362"/>
                  <a:gd name="T98" fmla="*/ 141 w 423"/>
                  <a:gd name="T99" fmla="*/ 26 h 362"/>
                  <a:gd name="T100" fmla="*/ 144 w 423"/>
                  <a:gd name="T101" fmla="*/ 15 h 362"/>
                  <a:gd name="T102" fmla="*/ 153 w 423"/>
                  <a:gd name="T103" fmla="*/ 5 h 362"/>
                  <a:gd name="T104" fmla="*/ 164 w 423"/>
                  <a:gd name="T105" fmla="*/ 3 h 362"/>
                  <a:gd name="T106" fmla="*/ 173 w 423"/>
                  <a:gd name="T107" fmla="*/ 1 h 362"/>
                  <a:gd name="T108" fmla="*/ 183 w 423"/>
                  <a:gd name="T109" fmla="*/ 9 h 362"/>
                  <a:gd name="T110" fmla="*/ 193 w 423"/>
                  <a:gd name="T111" fmla="*/ 12 h 362"/>
                  <a:gd name="T112" fmla="*/ 208 w 423"/>
                  <a:gd name="T113" fmla="*/ 19 h 362"/>
                  <a:gd name="T114" fmla="*/ 220 w 423"/>
                  <a:gd name="T115" fmla="*/ 20 h 362"/>
                  <a:gd name="T116" fmla="*/ 234 w 423"/>
                  <a:gd name="T117" fmla="*/ 24 h 362"/>
                  <a:gd name="T118" fmla="*/ 245 w 423"/>
                  <a:gd name="T119" fmla="*/ 34 h 362"/>
                  <a:gd name="T120" fmla="*/ 254 w 423"/>
                  <a:gd name="T121" fmla="*/ 43 h 362"/>
                  <a:gd name="T122" fmla="*/ 261 w 423"/>
                  <a:gd name="T123" fmla="*/ 53 h 362"/>
                  <a:gd name="T124" fmla="*/ 260 w 423"/>
                  <a:gd name="T125" fmla="*/ 6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3" h="362">
                    <a:moveTo>
                      <a:pt x="262" y="78"/>
                    </a:moveTo>
                    <a:lnTo>
                      <a:pt x="262" y="79"/>
                    </a:lnTo>
                    <a:lnTo>
                      <a:pt x="262" y="80"/>
                    </a:lnTo>
                    <a:lnTo>
                      <a:pt x="264" y="80"/>
                    </a:lnTo>
                    <a:lnTo>
                      <a:pt x="266" y="81"/>
                    </a:lnTo>
                    <a:lnTo>
                      <a:pt x="267" y="82"/>
                    </a:lnTo>
                    <a:lnTo>
                      <a:pt x="268" y="83"/>
                    </a:lnTo>
                    <a:lnTo>
                      <a:pt x="268" y="84"/>
                    </a:lnTo>
                    <a:lnTo>
                      <a:pt x="268" y="86"/>
                    </a:lnTo>
                    <a:lnTo>
                      <a:pt x="268" y="87"/>
                    </a:lnTo>
                    <a:lnTo>
                      <a:pt x="269" y="87"/>
                    </a:lnTo>
                    <a:lnTo>
                      <a:pt x="269" y="88"/>
                    </a:lnTo>
                    <a:lnTo>
                      <a:pt x="271" y="89"/>
                    </a:lnTo>
                    <a:lnTo>
                      <a:pt x="272" y="90"/>
                    </a:lnTo>
                    <a:lnTo>
                      <a:pt x="272" y="91"/>
                    </a:lnTo>
                    <a:lnTo>
                      <a:pt x="272" y="92"/>
                    </a:lnTo>
                    <a:lnTo>
                      <a:pt x="272" y="94"/>
                    </a:lnTo>
                    <a:lnTo>
                      <a:pt x="273" y="94"/>
                    </a:lnTo>
                    <a:lnTo>
                      <a:pt x="272" y="96"/>
                    </a:lnTo>
                    <a:lnTo>
                      <a:pt x="272" y="97"/>
                    </a:lnTo>
                    <a:lnTo>
                      <a:pt x="273" y="99"/>
                    </a:lnTo>
                    <a:lnTo>
                      <a:pt x="274" y="100"/>
                    </a:lnTo>
                    <a:lnTo>
                      <a:pt x="274" y="101"/>
                    </a:lnTo>
                    <a:lnTo>
                      <a:pt x="275" y="101"/>
                    </a:lnTo>
                    <a:lnTo>
                      <a:pt x="275" y="102"/>
                    </a:lnTo>
                    <a:lnTo>
                      <a:pt x="276" y="102"/>
                    </a:lnTo>
                    <a:lnTo>
                      <a:pt x="277" y="102"/>
                    </a:lnTo>
                    <a:lnTo>
                      <a:pt x="279" y="103"/>
                    </a:lnTo>
                    <a:lnTo>
                      <a:pt x="282" y="104"/>
                    </a:lnTo>
                    <a:lnTo>
                      <a:pt x="283" y="104"/>
                    </a:lnTo>
                    <a:lnTo>
                      <a:pt x="284" y="105"/>
                    </a:lnTo>
                    <a:lnTo>
                      <a:pt x="285" y="106"/>
                    </a:lnTo>
                    <a:lnTo>
                      <a:pt x="286" y="106"/>
                    </a:lnTo>
                    <a:lnTo>
                      <a:pt x="287" y="106"/>
                    </a:lnTo>
                    <a:lnTo>
                      <a:pt x="289" y="107"/>
                    </a:lnTo>
                    <a:lnTo>
                      <a:pt x="290" y="108"/>
                    </a:lnTo>
                    <a:lnTo>
                      <a:pt x="292" y="109"/>
                    </a:lnTo>
                    <a:lnTo>
                      <a:pt x="293" y="109"/>
                    </a:lnTo>
                    <a:lnTo>
                      <a:pt x="296" y="110"/>
                    </a:lnTo>
                    <a:lnTo>
                      <a:pt x="297" y="110"/>
                    </a:lnTo>
                    <a:lnTo>
                      <a:pt x="298" y="112"/>
                    </a:lnTo>
                    <a:lnTo>
                      <a:pt x="298" y="110"/>
                    </a:lnTo>
                    <a:lnTo>
                      <a:pt x="299" y="110"/>
                    </a:lnTo>
                    <a:lnTo>
                      <a:pt x="300" y="110"/>
                    </a:lnTo>
                    <a:lnTo>
                      <a:pt x="302" y="109"/>
                    </a:lnTo>
                    <a:lnTo>
                      <a:pt x="305" y="110"/>
                    </a:lnTo>
                    <a:lnTo>
                      <a:pt x="306" y="110"/>
                    </a:lnTo>
                    <a:lnTo>
                      <a:pt x="307" y="110"/>
                    </a:lnTo>
                    <a:lnTo>
                      <a:pt x="308" y="110"/>
                    </a:lnTo>
                    <a:lnTo>
                      <a:pt x="309" y="110"/>
                    </a:lnTo>
                    <a:lnTo>
                      <a:pt x="310" y="110"/>
                    </a:lnTo>
                    <a:lnTo>
                      <a:pt x="311" y="110"/>
                    </a:lnTo>
                    <a:lnTo>
                      <a:pt x="311" y="112"/>
                    </a:lnTo>
                    <a:lnTo>
                      <a:pt x="311" y="113"/>
                    </a:lnTo>
                    <a:lnTo>
                      <a:pt x="311" y="114"/>
                    </a:lnTo>
                    <a:lnTo>
                      <a:pt x="312" y="115"/>
                    </a:lnTo>
                    <a:lnTo>
                      <a:pt x="314" y="116"/>
                    </a:lnTo>
                    <a:lnTo>
                      <a:pt x="314" y="117"/>
                    </a:lnTo>
                    <a:lnTo>
                      <a:pt x="315" y="118"/>
                    </a:lnTo>
                    <a:lnTo>
                      <a:pt x="316" y="119"/>
                    </a:lnTo>
                    <a:lnTo>
                      <a:pt x="316" y="120"/>
                    </a:lnTo>
                    <a:lnTo>
                      <a:pt x="316" y="121"/>
                    </a:lnTo>
                    <a:lnTo>
                      <a:pt x="318" y="121"/>
                    </a:lnTo>
                    <a:lnTo>
                      <a:pt x="318" y="122"/>
                    </a:lnTo>
                    <a:lnTo>
                      <a:pt x="318" y="125"/>
                    </a:lnTo>
                    <a:lnTo>
                      <a:pt x="318" y="126"/>
                    </a:lnTo>
                    <a:lnTo>
                      <a:pt x="318" y="127"/>
                    </a:lnTo>
                    <a:lnTo>
                      <a:pt x="318" y="128"/>
                    </a:lnTo>
                    <a:lnTo>
                      <a:pt x="319" y="129"/>
                    </a:lnTo>
                    <a:lnTo>
                      <a:pt x="319" y="130"/>
                    </a:lnTo>
                    <a:lnTo>
                      <a:pt x="319" y="131"/>
                    </a:lnTo>
                    <a:lnTo>
                      <a:pt x="319" y="132"/>
                    </a:lnTo>
                    <a:lnTo>
                      <a:pt x="319" y="133"/>
                    </a:lnTo>
                    <a:lnTo>
                      <a:pt x="319" y="134"/>
                    </a:lnTo>
                    <a:lnTo>
                      <a:pt x="319" y="135"/>
                    </a:lnTo>
                    <a:lnTo>
                      <a:pt x="319" y="137"/>
                    </a:lnTo>
                    <a:lnTo>
                      <a:pt x="319" y="139"/>
                    </a:lnTo>
                    <a:lnTo>
                      <a:pt x="319" y="140"/>
                    </a:lnTo>
                    <a:lnTo>
                      <a:pt x="319" y="141"/>
                    </a:lnTo>
                    <a:lnTo>
                      <a:pt x="319" y="144"/>
                    </a:lnTo>
                    <a:lnTo>
                      <a:pt x="320" y="145"/>
                    </a:lnTo>
                    <a:lnTo>
                      <a:pt x="320" y="146"/>
                    </a:lnTo>
                    <a:lnTo>
                      <a:pt x="321" y="147"/>
                    </a:lnTo>
                    <a:lnTo>
                      <a:pt x="322" y="148"/>
                    </a:lnTo>
                    <a:lnTo>
                      <a:pt x="322" y="150"/>
                    </a:lnTo>
                    <a:lnTo>
                      <a:pt x="323" y="150"/>
                    </a:lnTo>
                    <a:lnTo>
                      <a:pt x="324" y="152"/>
                    </a:lnTo>
                    <a:lnTo>
                      <a:pt x="325" y="153"/>
                    </a:lnTo>
                    <a:lnTo>
                      <a:pt x="326" y="154"/>
                    </a:lnTo>
                    <a:lnTo>
                      <a:pt x="326" y="155"/>
                    </a:lnTo>
                    <a:lnTo>
                      <a:pt x="326" y="156"/>
                    </a:lnTo>
                    <a:lnTo>
                      <a:pt x="325" y="158"/>
                    </a:lnTo>
                    <a:lnTo>
                      <a:pt x="324" y="159"/>
                    </a:lnTo>
                    <a:lnTo>
                      <a:pt x="323" y="159"/>
                    </a:lnTo>
                    <a:lnTo>
                      <a:pt x="322" y="159"/>
                    </a:lnTo>
                    <a:lnTo>
                      <a:pt x="321" y="159"/>
                    </a:lnTo>
                    <a:lnTo>
                      <a:pt x="319" y="159"/>
                    </a:lnTo>
                    <a:lnTo>
                      <a:pt x="318" y="159"/>
                    </a:lnTo>
                    <a:lnTo>
                      <a:pt x="316" y="160"/>
                    </a:lnTo>
                    <a:lnTo>
                      <a:pt x="316" y="161"/>
                    </a:lnTo>
                    <a:lnTo>
                      <a:pt x="315" y="164"/>
                    </a:lnTo>
                    <a:lnTo>
                      <a:pt x="314" y="165"/>
                    </a:lnTo>
                    <a:lnTo>
                      <a:pt x="314" y="166"/>
                    </a:lnTo>
                    <a:lnTo>
                      <a:pt x="313" y="166"/>
                    </a:lnTo>
                    <a:lnTo>
                      <a:pt x="312" y="166"/>
                    </a:lnTo>
                    <a:lnTo>
                      <a:pt x="312" y="167"/>
                    </a:lnTo>
                    <a:lnTo>
                      <a:pt x="311" y="167"/>
                    </a:lnTo>
                    <a:lnTo>
                      <a:pt x="310" y="168"/>
                    </a:lnTo>
                    <a:lnTo>
                      <a:pt x="309" y="169"/>
                    </a:lnTo>
                    <a:lnTo>
                      <a:pt x="309" y="170"/>
                    </a:lnTo>
                    <a:lnTo>
                      <a:pt x="309" y="171"/>
                    </a:lnTo>
                    <a:lnTo>
                      <a:pt x="307" y="173"/>
                    </a:lnTo>
                    <a:lnTo>
                      <a:pt x="307" y="174"/>
                    </a:lnTo>
                    <a:lnTo>
                      <a:pt x="308" y="176"/>
                    </a:lnTo>
                    <a:lnTo>
                      <a:pt x="308" y="177"/>
                    </a:lnTo>
                    <a:lnTo>
                      <a:pt x="309" y="177"/>
                    </a:lnTo>
                    <a:lnTo>
                      <a:pt x="310" y="177"/>
                    </a:lnTo>
                    <a:lnTo>
                      <a:pt x="310" y="178"/>
                    </a:lnTo>
                    <a:lnTo>
                      <a:pt x="311" y="178"/>
                    </a:lnTo>
                    <a:lnTo>
                      <a:pt x="312" y="179"/>
                    </a:lnTo>
                    <a:lnTo>
                      <a:pt x="313" y="179"/>
                    </a:lnTo>
                    <a:lnTo>
                      <a:pt x="313" y="180"/>
                    </a:lnTo>
                    <a:lnTo>
                      <a:pt x="314" y="181"/>
                    </a:lnTo>
                    <a:lnTo>
                      <a:pt x="314" y="182"/>
                    </a:lnTo>
                    <a:lnTo>
                      <a:pt x="315" y="182"/>
                    </a:lnTo>
                    <a:lnTo>
                      <a:pt x="316" y="183"/>
                    </a:lnTo>
                    <a:lnTo>
                      <a:pt x="316" y="184"/>
                    </a:lnTo>
                    <a:lnTo>
                      <a:pt x="318" y="184"/>
                    </a:lnTo>
                    <a:lnTo>
                      <a:pt x="319" y="185"/>
                    </a:lnTo>
                    <a:lnTo>
                      <a:pt x="320" y="186"/>
                    </a:lnTo>
                    <a:lnTo>
                      <a:pt x="322" y="187"/>
                    </a:lnTo>
                    <a:lnTo>
                      <a:pt x="323" y="187"/>
                    </a:lnTo>
                    <a:lnTo>
                      <a:pt x="324" y="189"/>
                    </a:lnTo>
                    <a:lnTo>
                      <a:pt x="323" y="190"/>
                    </a:lnTo>
                    <a:lnTo>
                      <a:pt x="323" y="191"/>
                    </a:lnTo>
                    <a:lnTo>
                      <a:pt x="323" y="192"/>
                    </a:lnTo>
                    <a:lnTo>
                      <a:pt x="324" y="192"/>
                    </a:lnTo>
                    <a:lnTo>
                      <a:pt x="324" y="193"/>
                    </a:lnTo>
                    <a:lnTo>
                      <a:pt x="325" y="193"/>
                    </a:lnTo>
                    <a:lnTo>
                      <a:pt x="326" y="194"/>
                    </a:lnTo>
                    <a:lnTo>
                      <a:pt x="327" y="195"/>
                    </a:lnTo>
                    <a:lnTo>
                      <a:pt x="328" y="196"/>
                    </a:lnTo>
                    <a:lnTo>
                      <a:pt x="328" y="197"/>
                    </a:lnTo>
                    <a:lnTo>
                      <a:pt x="328" y="198"/>
                    </a:lnTo>
                    <a:lnTo>
                      <a:pt x="328" y="199"/>
                    </a:lnTo>
                    <a:lnTo>
                      <a:pt x="327" y="199"/>
                    </a:lnTo>
                    <a:lnTo>
                      <a:pt x="327" y="200"/>
                    </a:lnTo>
                    <a:lnTo>
                      <a:pt x="327" y="202"/>
                    </a:lnTo>
                    <a:lnTo>
                      <a:pt x="328" y="203"/>
                    </a:lnTo>
                    <a:lnTo>
                      <a:pt x="329" y="204"/>
                    </a:lnTo>
                    <a:lnTo>
                      <a:pt x="331" y="205"/>
                    </a:lnTo>
                    <a:lnTo>
                      <a:pt x="332" y="205"/>
                    </a:lnTo>
                    <a:lnTo>
                      <a:pt x="336" y="206"/>
                    </a:lnTo>
                    <a:lnTo>
                      <a:pt x="337" y="206"/>
                    </a:lnTo>
                    <a:lnTo>
                      <a:pt x="338" y="206"/>
                    </a:lnTo>
                    <a:lnTo>
                      <a:pt x="338" y="207"/>
                    </a:lnTo>
                    <a:lnTo>
                      <a:pt x="340" y="207"/>
                    </a:lnTo>
                    <a:lnTo>
                      <a:pt x="341" y="207"/>
                    </a:lnTo>
                    <a:lnTo>
                      <a:pt x="343" y="207"/>
                    </a:lnTo>
                    <a:lnTo>
                      <a:pt x="344" y="208"/>
                    </a:lnTo>
                    <a:lnTo>
                      <a:pt x="345" y="209"/>
                    </a:lnTo>
                    <a:lnTo>
                      <a:pt x="345" y="211"/>
                    </a:lnTo>
                    <a:lnTo>
                      <a:pt x="345" y="216"/>
                    </a:lnTo>
                    <a:lnTo>
                      <a:pt x="345" y="218"/>
                    </a:lnTo>
                    <a:lnTo>
                      <a:pt x="345" y="219"/>
                    </a:lnTo>
                    <a:lnTo>
                      <a:pt x="344" y="220"/>
                    </a:lnTo>
                    <a:lnTo>
                      <a:pt x="344" y="221"/>
                    </a:lnTo>
                    <a:lnTo>
                      <a:pt x="344" y="223"/>
                    </a:lnTo>
                    <a:lnTo>
                      <a:pt x="344" y="225"/>
                    </a:lnTo>
                    <a:lnTo>
                      <a:pt x="344" y="227"/>
                    </a:lnTo>
                    <a:lnTo>
                      <a:pt x="344" y="228"/>
                    </a:lnTo>
                    <a:lnTo>
                      <a:pt x="344" y="229"/>
                    </a:lnTo>
                    <a:lnTo>
                      <a:pt x="345" y="229"/>
                    </a:lnTo>
                    <a:lnTo>
                      <a:pt x="346" y="230"/>
                    </a:lnTo>
                    <a:lnTo>
                      <a:pt x="347" y="231"/>
                    </a:lnTo>
                    <a:lnTo>
                      <a:pt x="348" y="231"/>
                    </a:lnTo>
                    <a:lnTo>
                      <a:pt x="349" y="231"/>
                    </a:lnTo>
                    <a:lnTo>
                      <a:pt x="350" y="231"/>
                    </a:lnTo>
                    <a:lnTo>
                      <a:pt x="351" y="232"/>
                    </a:lnTo>
                    <a:lnTo>
                      <a:pt x="351" y="231"/>
                    </a:lnTo>
                    <a:lnTo>
                      <a:pt x="352" y="231"/>
                    </a:lnTo>
                    <a:lnTo>
                      <a:pt x="353" y="232"/>
                    </a:lnTo>
                    <a:lnTo>
                      <a:pt x="353" y="233"/>
                    </a:lnTo>
                    <a:lnTo>
                      <a:pt x="354" y="234"/>
                    </a:lnTo>
                    <a:lnTo>
                      <a:pt x="356" y="234"/>
                    </a:lnTo>
                    <a:lnTo>
                      <a:pt x="357" y="235"/>
                    </a:lnTo>
                    <a:lnTo>
                      <a:pt x="356" y="236"/>
                    </a:lnTo>
                    <a:lnTo>
                      <a:pt x="356" y="237"/>
                    </a:lnTo>
                    <a:lnTo>
                      <a:pt x="356" y="238"/>
                    </a:lnTo>
                    <a:lnTo>
                      <a:pt x="357" y="240"/>
                    </a:lnTo>
                    <a:lnTo>
                      <a:pt x="358" y="241"/>
                    </a:lnTo>
                    <a:lnTo>
                      <a:pt x="358" y="242"/>
                    </a:lnTo>
                    <a:lnTo>
                      <a:pt x="358" y="243"/>
                    </a:lnTo>
                    <a:lnTo>
                      <a:pt x="358" y="244"/>
                    </a:lnTo>
                    <a:lnTo>
                      <a:pt x="358" y="245"/>
                    </a:lnTo>
                    <a:lnTo>
                      <a:pt x="359" y="245"/>
                    </a:lnTo>
                    <a:lnTo>
                      <a:pt x="359" y="246"/>
                    </a:lnTo>
                    <a:lnTo>
                      <a:pt x="360" y="247"/>
                    </a:lnTo>
                    <a:lnTo>
                      <a:pt x="360" y="248"/>
                    </a:lnTo>
                    <a:lnTo>
                      <a:pt x="361" y="249"/>
                    </a:lnTo>
                    <a:lnTo>
                      <a:pt x="362" y="250"/>
                    </a:lnTo>
                    <a:lnTo>
                      <a:pt x="364" y="250"/>
                    </a:lnTo>
                    <a:lnTo>
                      <a:pt x="364" y="251"/>
                    </a:lnTo>
                    <a:lnTo>
                      <a:pt x="365" y="253"/>
                    </a:lnTo>
                    <a:lnTo>
                      <a:pt x="366" y="255"/>
                    </a:lnTo>
                    <a:lnTo>
                      <a:pt x="366" y="256"/>
                    </a:lnTo>
                    <a:lnTo>
                      <a:pt x="366" y="257"/>
                    </a:lnTo>
                    <a:lnTo>
                      <a:pt x="367" y="257"/>
                    </a:lnTo>
                    <a:lnTo>
                      <a:pt x="367" y="258"/>
                    </a:lnTo>
                    <a:lnTo>
                      <a:pt x="369" y="258"/>
                    </a:lnTo>
                    <a:lnTo>
                      <a:pt x="370" y="258"/>
                    </a:lnTo>
                    <a:lnTo>
                      <a:pt x="371" y="258"/>
                    </a:lnTo>
                    <a:lnTo>
                      <a:pt x="372" y="258"/>
                    </a:lnTo>
                    <a:lnTo>
                      <a:pt x="373" y="258"/>
                    </a:lnTo>
                    <a:lnTo>
                      <a:pt x="374" y="258"/>
                    </a:lnTo>
                    <a:lnTo>
                      <a:pt x="375" y="258"/>
                    </a:lnTo>
                    <a:lnTo>
                      <a:pt x="377" y="257"/>
                    </a:lnTo>
                    <a:lnTo>
                      <a:pt x="378" y="257"/>
                    </a:lnTo>
                    <a:lnTo>
                      <a:pt x="379" y="257"/>
                    </a:lnTo>
                    <a:lnTo>
                      <a:pt x="379" y="258"/>
                    </a:lnTo>
                    <a:lnTo>
                      <a:pt x="379" y="259"/>
                    </a:lnTo>
                    <a:lnTo>
                      <a:pt x="378" y="260"/>
                    </a:lnTo>
                    <a:lnTo>
                      <a:pt x="378" y="261"/>
                    </a:lnTo>
                    <a:lnTo>
                      <a:pt x="379" y="261"/>
                    </a:lnTo>
                    <a:lnTo>
                      <a:pt x="382" y="261"/>
                    </a:lnTo>
                    <a:lnTo>
                      <a:pt x="383" y="260"/>
                    </a:lnTo>
                    <a:lnTo>
                      <a:pt x="384" y="259"/>
                    </a:lnTo>
                    <a:lnTo>
                      <a:pt x="384" y="258"/>
                    </a:lnTo>
                    <a:lnTo>
                      <a:pt x="385" y="258"/>
                    </a:lnTo>
                    <a:lnTo>
                      <a:pt x="387" y="258"/>
                    </a:lnTo>
                    <a:lnTo>
                      <a:pt x="387" y="259"/>
                    </a:lnTo>
                    <a:lnTo>
                      <a:pt x="388" y="258"/>
                    </a:lnTo>
                    <a:lnTo>
                      <a:pt x="389" y="258"/>
                    </a:lnTo>
                    <a:lnTo>
                      <a:pt x="389" y="259"/>
                    </a:lnTo>
                    <a:lnTo>
                      <a:pt x="390" y="260"/>
                    </a:lnTo>
                    <a:lnTo>
                      <a:pt x="390" y="261"/>
                    </a:lnTo>
                    <a:lnTo>
                      <a:pt x="390" y="262"/>
                    </a:lnTo>
                    <a:lnTo>
                      <a:pt x="390" y="263"/>
                    </a:lnTo>
                    <a:lnTo>
                      <a:pt x="391" y="263"/>
                    </a:lnTo>
                    <a:lnTo>
                      <a:pt x="392" y="264"/>
                    </a:lnTo>
                    <a:lnTo>
                      <a:pt x="393" y="266"/>
                    </a:lnTo>
                    <a:lnTo>
                      <a:pt x="395" y="267"/>
                    </a:lnTo>
                    <a:lnTo>
                      <a:pt x="396" y="267"/>
                    </a:lnTo>
                    <a:lnTo>
                      <a:pt x="397" y="268"/>
                    </a:lnTo>
                    <a:lnTo>
                      <a:pt x="398" y="269"/>
                    </a:lnTo>
                    <a:lnTo>
                      <a:pt x="399" y="269"/>
                    </a:lnTo>
                    <a:lnTo>
                      <a:pt x="399" y="270"/>
                    </a:lnTo>
                    <a:lnTo>
                      <a:pt x="400" y="270"/>
                    </a:lnTo>
                    <a:lnTo>
                      <a:pt x="401" y="271"/>
                    </a:lnTo>
                    <a:lnTo>
                      <a:pt x="403" y="273"/>
                    </a:lnTo>
                    <a:lnTo>
                      <a:pt x="404" y="274"/>
                    </a:lnTo>
                    <a:lnTo>
                      <a:pt x="404" y="275"/>
                    </a:lnTo>
                    <a:lnTo>
                      <a:pt x="405" y="275"/>
                    </a:lnTo>
                    <a:lnTo>
                      <a:pt x="406" y="275"/>
                    </a:lnTo>
                    <a:lnTo>
                      <a:pt x="406" y="274"/>
                    </a:lnTo>
                    <a:lnTo>
                      <a:pt x="408" y="274"/>
                    </a:lnTo>
                    <a:lnTo>
                      <a:pt x="409" y="275"/>
                    </a:lnTo>
                    <a:lnTo>
                      <a:pt x="409" y="276"/>
                    </a:lnTo>
                    <a:lnTo>
                      <a:pt x="410" y="276"/>
                    </a:lnTo>
                    <a:lnTo>
                      <a:pt x="410" y="277"/>
                    </a:lnTo>
                    <a:lnTo>
                      <a:pt x="410" y="279"/>
                    </a:lnTo>
                    <a:lnTo>
                      <a:pt x="410" y="280"/>
                    </a:lnTo>
                    <a:lnTo>
                      <a:pt x="409" y="280"/>
                    </a:lnTo>
                    <a:lnTo>
                      <a:pt x="409" y="281"/>
                    </a:lnTo>
                    <a:lnTo>
                      <a:pt x="409" y="282"/>
                    </a:lnTo>
                    <a:lnTo>
                      <a:pt x="410" y="283"/>
                    </a:lnTo>
                    <a:lnTo>
                      <a:pt x="411" y="284"/>
                    </a:lnTo>
                    <a:lnTo>
                      <a:pt x="412" y="285"/>
                    </a:lnTo>
                    <a:lnTo>
                      <a:pt x="412" y="286"/>
                    </a:lnTo>
                    <a:lnTo>
                      <a:pt x="412" y="287"/>
                    </a:lnTo>
                    <a:lnTo>
                      <a:pt x="412" y="289"/>
                    </a:lnTo>
                    <a:lnTo>
                      <a:pt x="412" y="291"/>
                    </a:lnTo>
                    <a:lnTo>
                      <a:pt x="413" y="292"/>
                    </a:lnTo>
                    <a:lnTo>
                      <a:pt x="413" y="293"/>
                    </a:lnTo>
                    <a:lnTo>
                      <a:pt x="413" y="294"/>
                    </a:lnTo>
                    <a:lnTo>
                      <a:pt x="413" y="295"/>
                    </a:lnTo>
                    <a:lnTo>
                      <a:pt x="414" y="296"/>
                    </a:lnTo>
                    <a:lnTo>
                      <a:pt x="415" y="296"/>
                    </a:lnTo>
                    <a:lnTo>
                      <a:pt x="417" y="296"/>
                    </a:lnTo>
                    <a:lnTo>
                      <a:pt x="418" y="296"/>
                    </a:lnTo>
                    <a:lnTo>
                      <a:pt x="419" y="296"/>
                    </a:lnTo>
                    <a:lnTo>
                      <a:pt x="421" y="296"/>
                    </a:lnTo>
                    <a:lnTo>
                      <a:pt x="422" y="296"/>
                    </a:lnTo>
                    <a:lnTo>
                      <a:pt x="422" y="297"/>
                    </a:lnTo>
                    <a:lnTo>
                      <a:pt x="423" y="297"/>
                    </a:lnTo>
                    <a:lnTo>
                      <a:pt x="423" y="298"/>
                    </a:lnTo>
                    <a:lnTo>
                      <a:pt x="422" y="298"/>
                    </a:lnTo>
                    <a:lnTo>
                      <a:pt x="421" y="299"/>
                    </a:lnTo>
                    <a:lnTo>
                      <a:pt x="411" y="299"/>
                    </a:lnTo>
                    <a:lnTo>
                      <a:pt x="411" y="298"/>
                    </a:lnTo>
                    <a:lnTo>
                      <a:pt x="410" y="298"/>
                    </a:lnTo>
                    <a:lnTo>
                      <a:pt x="409" y="298"/>
                    </a:lnTo>
                    <a:lnTo>
                      <a:pt x="406" y="298"/>
                    </a:lnTo>
                    <a:lnTo>
                      <a:pt x="408" y="301"/>
                    </a:lnTo>
                    <a:lnTo>
                      <a:pt x="408" y="304"/>
                    </a:lnTo>
                    <a:lnTo>
                      <a:pt x="408" y="305"/>
                    </a:lnTo>
                    <a:lnTo>
                      <a:pt x="406" y="306"/>
                    </a:lnTo>
                    <a:lnTo>
                      <a:pt x="405" y="306"/>
                    </a:lnTo>
                    <a:lnTo>
                      <a:pt x="404" y="306"/>
                    </a:lnTo>
                    <a:lnTo>
                      <a:pt x="404" y="305"/>
                    </a:lnTo>
                    <a:lnTo>
                      <a:pt x="404" y="304"/>
                    </a:lnTo>
                    <a:lnTo>
                      <a:pt x="403" y="304"/>
                    </a:lnTo>
                    <a:lnTo>
                      <a:pt x="402" y="304"/>
                    </a:lnTo>
                    <a:lnTo>
                      <a:pt x="401" y="304"/>
                    </a:lnTo>
                    <a:lnTo>
                      <a:pt x="401" y="305"/>
                    </a:lnTo>
                    <a:lnTo>
                      <a:pt x="399" y="306"/>
                    </a:lnTo>
                    <a:lnTo>
                      <a:pt x="399" y="307"/>
                    </a:lnTo>
                    <a:lnTo>
                      <a:pt x="397" y="308"/>
                    </a:lnTo>
                    <a:lnTo>
                      <a:pt x="397" y="309"/>
                    </a:lnTo>
                    <a:lnTo>
                      <a:pt x="396" y="309"/>
                    </a:lnTo>
                    <a:lnTo>
                      <a:pt x="395" y="309"/>
                    </a:lnTo>
                    <a:lnTo>
                      <a:pt x="393" y="309"/>
                    </a:lnTo>
                    <a:lnTo>
                      <a:pt x="392" y="309"/>
                    </a:lnTo>
                    <a:lnTo>
                      <a:pt x="391" y="309"/>
                    </a:lnTo>
                    <a:lnTo>
                      <a:pt x="388" y="308"/>
                    </a:lnTo>
                    <a:lnTo>
                      <a:pt x="387" y="307"/>
                    </a:lnTo>
                    <a:lnTo>
                      <a:pt x="386" y="306"/>
                    </a:lnTo>
                    <a:lnTo>
                      <a:pt x="385" y="305"/>
                    </a:lnTo>
                    <a:lnTo>
                      <a:pt x="384" y="304"/>
                    </a:lnTo>
                    <a:lnTo>
                      <a:pt x="384" y="302"/>
                    </a:lnTo>
                    <a:lnTo>
                      <a:pt x="384" y="301"/>
                    </a:lnTo>
                    <a:lnTo>
                      <a:pt x="384" y="300"/>
                    </a:lnTo>
                    <a:lnTo>
                      <a:pt x="385" y="298"/>
                    </a:lnTo>
                    <a:lnTo>
                      <a:pt x="384" y="298"/>
                    </a:lnTo>
                    <a:lnTo>
                      <a:pt x="384" y="297"/>
                    </a:lnTo>
                    <a:lnTo>
                      <a:pt x="383" y="297"/>
                    </a:lnTo>
                    <a:lnTo>
                      <a:pt x="382" y="298"/>
                    </a:lnTo>
                    <a:lnTo>
                      <a:pt x="380" y="299"/>
                    </a:lnTo>
                    <a:lnTo>
                      <a:pt x="379" y="299"/>
                    </a:lnTo>
                    <a:lnTo>
                      <a:pt x="378" y="299"/>
                    </a:lnTo>
                    <a:lnTo>
                      <a:pt x="378" y="300"/>
                    </a:lnTo>
                    <a:lnTo>
                      <a:pt x="378" y="301"/>
                    </a:lnTo>
                    <a:lnTo>
                      <a:pt x="377" y="304"/>
                    </a:lnTo>
                    <a:lnTo>
                      <a:pt x="377" y="305"/>
                    </a:lnTo>
                    <a:lnTo>
                      <a:pt x="376" y="305"/>
                    </a:lnTo>
                    <a:lnTo>
                      <a:pt x="375" y="305"/>
                    </a:lnTo>
                    <a:lnTo>
                      <a:pt x="374" y="305"/>
                    </a:lnTo>
                    <a:lnTo>
                      <a:pt x="374" y="306"/>
                    </a:lnTo>
                    <a:lnTo>
                      <a:pt x="374" y="307"/>
                    </a:lnTo>
                    <a:lnTo>
                      <a:pt x="373" y="307"/>
                    </a:lnTo>
                    <a:lnTo>
                      <a:pt x="373" y="308"/>
                    </a:lnTo>
                    <a:lnTo>
                      <a:pt x="372" y="309"/>
                    </a:lnTo>
                    <a:lnTo>
                      <a:pt x="372" y="310"/>
                    </a:lnTo>
                    <a:lnTo>
                      <a:pt x="371" y="309"/>
                    </a:lnTo>
                    <a:lnTo>
                      <a:pt x="371" y="310"/>
                    </a:lnTo>
                    <a:lnTo>
                      <a:pt x="371" y="311"/>
                    </a:lnTo>
                    <a:lnTo>
                      <a:pt x="370" y="311"/>
                    </a:lnTo>
                    <a:lnTo>
                      <a:pt x="369" y="312"/>
                    </a:lnTo>
                    <a:lnTo>
                      <a:pt x="369" y="313"/>
                    </a:lnTo>
                    <a:lnTo>
                      <a:pt x="369" y="314"/>
                    </a:lnTo>
                    <a:lnTo>
                      <a:pt x="369" y="315"/>
                    </a:lnTo>
                    <a:lnTo>
                      <a:pt x="370" y="314"/>
                    </a:lnTo>
                    <a:lnTo>
                      <a:pt x="370" y="315"/>
                    </a:lnTo>
                    <a:lnTo>
                      <a:pt x="370" y="317"/>
                    </a:lnTo>
                    <a:lnTo>
                      <a:pt x="371" y="317"/>
                    </a:lnTo>
                    <a:lnTo>
                      <a:pt x="371" y="318"/>
                    </a:lnTo>
                    <a:lnTo>
                      <a:pt x="371" y="319"/>
                    </a:lnTo>
                    <a:lnTo>
                      <a:pt x="370" y="320"/>
                    </a:lnTo>
                    <a:lnTo>
                      <a:pt x="370" y="321"/>
                    </a:lnTo>
                    <a:lnTo>
                      <a:pt x="369" y="322"/>
                    </a:lnTo>
                    <a:lnTo>
                      <a:pt x="369" y="323"/>
                    </a:lnTo>
                    <a:lnTo>
                      <a:pt x="369" y="324"/>
                    </a:lnTo>
                    <a:lnTo>
                      <a:pt x="370" y="324"/>
                    </a:lnTo>
                    <a:lnTo>
                      <a:pt x="369" y="325"/>
                    </a:lnTo>
                    <a:lnTo>
                      <a:pt x="369" y="326"/>
                    </a:lnTo>
                    <a:lnTo>
                      <a:pt x="367" y="340"/>
                    </a:lnTo>
                    <a:lnTo>
                      <a:pt x="369" y="351"/>
                    </a:lnTo>
                    <a:lnTo>
                      <a:pt x="369" y="358"/>
                    </a:lnTo>
                    <a:lnTo>
                      <a:pt x="369" y="362"/>
                    </a:lnTo>
                    <a:lnTo>
                      <a:pt x="333" y="362"/>
                    </a:lnTo>
                    <a:lnTo>
                      <a:pt x="332" y="362"/>
                    </a:lnTo>
                    <a:lnTo>
                      <a:pt x="325" y="361"/>
                    </a:lnTo>
                    <a:lnTo>
                      <a:pt x="306" y="361"/>
                    </a:lnTo>
                    <a:lnTo>
                      <a:pt x="289" y="361"/>
                    </a:lnTo>
                    <a:lnTo>
                      <a:pt x="285" y="361"/>
                    </a:lnTo>
                    <a:lnTo>
                      <a:pt x="280" y="361"/>
                    </a:lnTo>
                    <a:lnTo>
                      <a:pt x="271" y="361"/>
                    </a:lnTo>
                    <a:lnTo>
                      <a:pt x="269" y="361"/>
                    </a:lnTo>
                    <a:lnTo>
                      <a:pt x="264" y="361"/>
                    </a:lnTo>
                    <a:lnTo>
                      <a:pt x="256" y="361"/>
                    </a:lnTo>
                    <a:lnTo>
                      <a:pt x="253" y="361"/>
                    </a:lnTo>
                    <a:lnTo>
                      <a:pt x="241" y="361"/>
                    </a:lnTo>
                    <a:lnTo>
                      <a:pt x="218" y="361"/>
                    </a:lnTo>
                    <a:lnTo>
                      <a:pt x="181" y="362"/>
                    </a:lnTo>
                    <a:lnTo>
                      <a:pt x="179" y="362"/>
                    </a:lnTo>
                    <a:lnTo>
                      <a:pt x="177" y="362"/>
                    </a:lnTo>
                    <a:lnTo>
                      <a:pt x="173" y="362"/>
                    </a:lnTo>
                    <a:lnTo>
                      <a:pt x="168" y="362"/>
                    </a:lnTo>
                    <a:lnTo>
                      <a:pt x="150" y="362"/>
                    </a:lnTo>
                    <a:lnTo>
                      <a:pt x="147" y="362"/>
                    </a:lnTo>
                    <a:lnTo>
                      <a:pt x="146" y="362"/>
                    </a:lnTo>
                    <a:lnTo>
                      <a:pt x="145" y="362"/>
                    </a:lnTo>
                    <a:lnTo>
                      <a:pt x="118" y="362"/>
                    </a:lnTo>
                    <a:lnTo>
                      <a:pt x="102" y="362"/>
                    </a:lnTo>
                    <a:lnTo>
                      <a:pt x="100" y="362"/>
                    </a:lnTo>
                    <a:lnTo>
                      <a:pt x="99" y="361"/>
                    </a:lnTo>
                    <a:lnTo>
                      <a:pt x="98" y="360"/>
                    </a:lnTo>
                    <a:lnTo>
                      <a:pt x="96" y="360"/>
                    </a:lnTo>
                    <a:lnTo>
                      <a:pt x="96" y="359"/>
                    </a:lnTo>
                    <a:lnTo>
                      <a:pt x="96" y="358"/>
                    </a:lnTo>
                    <a:lnTo>
                      <a:pt x="98" y="357"/>
                    </a:lnTo>
                    <a:lnTo>
                      <a:pt x="99" y="357"/>
                    </a:lnTo>
                    <a:lnTo>
                      <a:pt x="98" y="356"/>
                    </a:lnTo>
                    <a:lnTo>
                      <a:pt x="98" y="354"/>
                    </a:lnTo>
                    <a:lnTo>
                      <a:pt x="94" y="354"/>
                    </a:lnTo>
                    <a:lnTo>
                      <a:pt x="93" y="354"/>
                    </a:lnTo>
                    <a:lnTo>
                      <a:pt x="94" y="353"/>
                    </a:lnTo>
                    <a:lnTo>
                      <a:pt x="99" y="348"/>
                    </a:lnTo>
                    <a:lnTo>
                      <a:pt x="99" y="347"/>
                    </a:lnTo>
                    <a:lnTo>
                      <a:pt x="99" y="346"/>
                    </a:lnTo>
                    <a:lnTo>
                      <a:pt x="99" y="345"/>
                    </a:lnTo>
                    <a:lnTo>
                      <a:pt x="98" y="345"/>
                    </a:lnTo>
                    <a:lnTo>
                      <a:pt x="96" y="344"/>
                    </a:lnTo>
                    <a:lnTo>
                      <a:pt x="96" y="345"/>
                    </a:lnTo>
                    <a:lnTo>
                      <a:pt x="96" y="346"/>
                    </a:lnTo>
                    <a:lnTo>
                      <a:pt x="96" y="347"/>
                    </a:lnTo>
                    <a:lnTo>
                      <a:pt x="95" y="347"/>
                    </a:lnTo>
                    <a:lnTo>
                      <a:pt x="94" y="345"/>
                    </a:lnTo>
                    <a:lnTo>
                      <a:pt x="94" y="344"/>
                    </a:lnTo>
                    <a:lnTo>
                      <a:pt x="93" y="344"/>
                    </a:lnTo>
                    <a:lnTo>
                      <a:pt x="91" y="343"/>
                    </a:lnTo>
                    <a:lnTo>
                      <a:pt x="91" y="341"/>
                    </a:lnTo>
                    <a:lnTo>
                      <a:pt x="92" y="341"/>
                    </a:lnTo>
                    <a:lnTo>
                      <a:pt x="92" y="340"/>
                    </a:lnTo>
                    <a:lnTo>
                      <a:pt x="92" y="339"/>
                    </a:lnTo>
                    <a:lnTo>
                      <a:pt x="90" y="339"/>
                    </a:lnTo>
                    <a:lnTo>
                      <a:pt x="89" y="339"/>
                    </a:lnTo>
                    <a:lnTo>
                      <a:pt x="88" y="340"/>
                    </a:lnTo>
                    <a:lnTo>
                      <a:pt x="88" y="341"/>
                    </a:lnTo>
                    <a:lnTo>
                      <a:pt x="87" y="341"/>
                    </a:lnTo>
                    <a:lnTo>
                      <a:pt x="87" y="340"/>
                    </a:lnTo>
                    <a:lnTo>
                      <a:pt x="86" y="340"/>
                    </a:lnTo>
                    <a:lnTo>
                      <a:pt x="86" y="339"/>
                    </a:lnTo>
                    <a:lnTo>
                      <a:pt x="87" y="339"/>
                    </a:lnTo>
                    <a:lnTo>
                      <a:pt x="87" y="338"/>
                    </a:lnTo>
                    <a:lnTo>
                      <a:pt x="86" y="337"/>
                    </a:lnTo>
                    <a:lnTo>
                      <a:pt x="86" y="336"/>
                    </a:lnTo>
                    <a:lnTo>
                      <a:pt x="87" y="336"/>
                    </a:lnTo>
                    <a:lnTo>
                      <a:pt x="88" y="335"/>
                    </a:lnTo>
                    <a:lnTo>
                      <a:pt x="88" y="334"/>
                    </a:lnTo>
                    <a:lnTo>
                      <a:pt x="89" y="333"/>
                    </a:lnTo>
                    <a:lnTo>
                      <a:pt x="89" y="332"/>
                    </a:lnTo>
                    <a:lnTo>
                      <a:pt x="89" y="331"/>
                    </a:lnTo>
                    <a:lnTo>
                      <a:pt x="89" y="330"/>
                    </a:lnTo>
                    <a:lnTo>
                      <a:pt x="89" y="328"/>
                    </a:lnTo>
                    <a:lnTo>
                      <a:pt x="88" y="326"/>
                    </a:lnTo>
                    <a:lnTo>
                      <a:pt x="87" y="325"/>
                    </a:lnTo>
                    <a:lnTo>
                      <a:pt x="87" y="324"/>
                    </a:lnTo>
                    <a:lnTo>
                      <a:pt x="86" y="324"/>
                    </a:lnTo>
                    <a:lnTo>
                      <a:pt x="85" y="325"/>
                    </a:lnTo>
                    <a:lnTo>
                      <a:pt x="86" y="326"/>
                    </a:lnTo>
                    <a:lnTo>
                      <a:pt x="86" y="327"/>
                    </a:lnTo>
                    <a:lnTo>
                      <a:pt x="85" y="327"/>
                    </a:lnTo>
                    <a:lnTo>
                      <a:pt x="85" y="328"/>
                    </a:lnTo>
                    <a:lnTo>
                      <a:pt x="83" y="330"/>
                    </a:lnTo>
                    <a:lnTo>
                      <a:pt x="82" y="330"/>
                    </a:lnTo>
                    <a:lnTo>
                      <a:pt x="82" y="328"/>
                    </a:lnTo>
                    <a:lnTo>
                      <a:pt x="83" y="328"/>
                    </a:lnTo>
                    <a:lnTo>
                      <a:pt x="83" y="327"/>
                    </a:lnTo>
                    <a:lnTo>
                      <a:pt x="82" y="327"/>
                    </a:lnTo>
                    <a:lnTo>
                      <a:pt x="81" y="327"/>
                    </a:lnTo>
                    <a:lnTo>
                      <a:pt x="81" y="328"/>
                    </a:lnTo>
                    <a:lnTo>
                      <a:pt x="80" y="328"/>
                    </a:lnTo>
                    <a:lnTo>
                      <a:pt x="80" y="330"/>
                    </a:lnTo>
                    <a:lnTo>
                      <a:pt x="79" y="330"/>
                    </a:lnTo>
                    <a:lnTo>
                      <a:pt x="79" y="328"/>
                    </a:lnTo>
                    <a:lnTo>
                      <a:pt x="80" y="328"/>
                    </a:lnTo>
                    <a:lnTo>
                      <a:pt x="79" y="327"/>
                    </a:lnTo>
                    <a:lnTo>
                      <a:pt x="78" y="327"/>
                    </a:lnTo>
                    <a:lnTo>
                      <a:pt x="77" y="327"/>
                    </a:lnTo>
                    <a:lnTo>
                      <a:pt x="77" y="328"/>
                    </a:lnTo>
                    <a:lnTo>
                      <a:pt x="77" y="330"/>
                    </a:lnTo>
                    <a:lnTo>
                      <a:pt x="76" y="330"/>
                    </a:lnTo>
                    <a:lnTo>
                      <a:pt x="76" y="328"/>
                    </a:lnTo>
                    <a:lnTo>
                      <a:pt x="75" y="328"/>
                    </a:lnTo>
                    <a:lnTo>
                      <a:pt x="75" y="330"/>
                    </a:lnTo>
                    <a:lnTo>
                      <a:pt x="75" y="331"/>
                    </a:lnTo>
                    <a:lnTo>
                      <a:pt x="75" y="332"/>
                    </a:lnTo>
                    <a:lnTo>
                      <a:pt x="75" y="333"/>
                    </a:lnTo>
                    <a:lnTo>
                      <a:pt x="74" y="333"/>
                    </a:lnTo>
                    <a:lnTo>
                      <a:pt x="73" y="332"/>
                    </a:lnTo>
                    <a:lnTo>
                      <a:pt x="72" y="331"/>
                    </a:lnTo>
                    <a:lnTo>
                      <a:pt x="70" y="330"/>
                    </a:lnTo>
                    <a:lnTo>
                      <a:pt x="70" y="328"/>
                    </a:lnTo>
                    <a:lnTo>
                      <a:pt x="72" y="327"/>
                    </a:lnTo>
                    <a:lnTo>
                      <a:pt x="73" y="327"/>
                    </a:lnTo>
                    <a:lnTo>
                      <a:pt x="72" y="326"/>
                    </a:lnTo>
                    <a:lnTo>
                      <a:pt x="70" y="326"/>
                    </a:lnTo>
                    <a:lnTo>
                      <a:pt x="70" y="327"/>
                    </a:lnTo>
                    <a:lnTo>
                      <a:pt x="69" y="327"/>
                    </a:lnTo>
                    <a:lnTo>
                      <a:pt x="68" y="328"/>
                    </a:lnTo>
                    <a:lnTo>
                      <a:pt x="67" y="327"/>
                    </a:lnTo>
                    <a:lnTo>
                      <a:pt x="67" y="326"/>
                    </a:lnTo>
                    <a:lnTo>
                      <a:pt x="68" y="326"/>
                    </a:lnTo>
                    <a:lnTo>
                      <a:pt x="69" y="325"/>
                    </a:lnTo>
                    <a:lnTo>
                      <a:pt x="70" y="323"/>
                    </a:lnTo>
                    <a:lnTo>
                      <a:pt x="72" y="321"/>
                    </a:lnTo>
                    <a:lnTo>
                      <a:pt x="73" y="320"/>
                    </a:lnTo>
                    <a:lnTo>
                      <a:pt x="74" y="320"/>
                    </a:lnTo>
                    <a:lnTo>
                      <a:pt x="74" y="319"/>
                    </a:lnTo>
                    <a:lnTo>
                      <a:pt x="73" y="318"/>
                    </a:lnTo>
                    <a:lnTo>
                      <a:pt x="73" y="317"/>
                    </a:lnTo>
                    <a:lnTo>
                      <a:pt x="72" y="315"/>
                    </a:lnTo>
                    <a:lnTo>
                      <a:pt x="70" y="314"/>
                    </a:lnTo>
                    <a:lnTo>
                      <a:pt x="69" y="313"/>
                    </a:lnTo>
                    <a:lnTo>
                      <a:pt x="68" y="313"/>
                    </a:lnTo>
                    <a:lnTo>
                      <a:pt x="68" y="314"/>
                    </a:lnTo>
                    <a:lnTo>
                      <a:pt x="67" y="314"/>
                    </a:lnTo>
                    <a:lnTo>
                      <a:pt x="66" y="314"/>
                    </a:lnTo>
                    <a:lnTo>
                      <a:pt x="65" y="315"/>
                    </a:lnTo>
                    <a:lnTo>
                      <a:pt x="64" y="315"/>
                    </a:lnTo>
                    <a:lnTo>
                      <a:pt x="63" y="315"/>
                    </a:lnTo>
                    <a:lnTo>
                      <a:pt x="62" y="315"/>
                    </a:lnTo>
                    <a:lnTo>
                      <a:pt x="62" y="314"/>
                    </a:lnTo>
                    <a:lnTo>
                      <a:pt x="61" y="314"/>
                    </a:lnTo>
                    <a:lnTo>
                      <a:pt x="60" y="314"/>
                    </a:lnTo>
                    <a:lnTo>
                      <a:pt x="58" y="314"/>
                    </a:lnTo>
                    <a:lnTo>
                      <a:pt x="56" y="314"/>
                    </a:lnTo>
                    <a:lnTo>
                      <a:pt x="55" y="314"/>
                    </a:lnTo>
                    <a:lnTo>
                      <a:pt x="54" y="314"/>
                    </a:lnTo>
                    <a:lnTo>
                      <a:pt x="53" y="314"/>
                    </a:lnTo>
                    <a:lnTo>
                      <a:pt x="53" y="313"/>
                    </a:lnTo>
                    <a:lnTo>
                      <a:pt x="53" y="312"/>
                    </a:lnTo>
                    <a:lnTo>
                      <a:pt x="53" y="311"/>
                    </a:lnTo>
                    <a:lnTo>
                      <a:pt x="53" y="310"/>
                    </a:lnTo>
                    <a:lnTo>
                      <a:pt x="53" y="309"/>
                    </a:lnTo>
                    <a:lnTo>
                      <a:pt x="52" y="309"/>
                    </a:lnTo>
                    <a:lnTo>
                      <a:pt x="52" y="308"/>
                    </a:lnTo>
                    <a:lnTo>
                      <a:pt x="51" y="306"/>
                    </a:lnTo>
                    <a:lnTo>
                      <a:pt x="50" y="306"/>
                    </a:lnTo>
                    <a:lnTo>
                      <a:pt x="50" y="305"/>
                    </a:lnTo>
                    <a:lnTo>
                      <a:pt x="49" y="305"/>
                    </a:lnTo>
                    <a:lnTo>
                      <a:pt x="48" y="305"/>
                    </a:lnTo>
                    <a:lnTo>
                      <a:pt x="48" y="306"/>
                    </a:lnTo>
                    <a:lnTo>
                      <a:pt x="47" y="306"/>
                    </a:lnTo>
                    <a:lnTo>
                      <a:pt x="45" y="307"/>
                    </a:lnTo>
                    <a:lnTo>
                      <a:pt x="45" y="308"/>
                    </a:lnTo>
                    <a:lnTo>
                      <a:pt x="44" y="308"/>
                    </a:lnTo>
                    <a:lnTo>
                      <a:pt x="43" y="308"/>
                    </a:lnTo>
                    <a:lnTo>
                      <a:pt x="42" y="307"/>
                    </a:lnTo>
                    <a:lnTo>
                      <a:pt x="41" y="305"/>
                    </a:lnTo>
                    <a:lnTo>
                      <a:pt x="40" y="305"/>
                    </a:lnTo>
                    <a:lnTo>
                      <a:pt x="40" y="304"/>
                    </a:lnTo>
                    <a:lnTo>
                      <a:pt x="39" y="302"/>
                    </a:lnTo>
                    <a:lnTo>
                      <a:pt x="39" y="299"/>
                    </a:lnTo>
                    <a:lnTo>
                      <a:pt x="38" y="298"/>
                    </a:lnTo>
                    <a:lnTo>
                      <a:pt x="38" y="297"/>
                    </a:lnTo>
                    <a:lnTo>
                      <a:pt x="38" y="296"/>
                    </a:lnTo>
                    <a:lnTo>
                      <a:pt x="37" y="294"/>
                    </a:lnTo>
                    <a:lnTo>
                      <a:pt x="37" y="293"/>
                    </a:lnTo>
                    <a:lnTo>
                      <a:pt x="36" y="293"/>
                    </a:lnTo>
                    <a:lnTo>
                      <a:pt x="35" y="292"/>
                    </a:lnTo>
                    <a:lnTo>
                      <a:pt x="34" y="291"/>
                    </a:lnTo>
                    <a:lnTo>
                      <a:pt x="32" y="288"/>
                    </a:lnTo>
                    <a:lnTo>
                      <a:pt x="32" y="287"/>
                    </a:lnTo>
                    <a:lnTo>
                      <a:pt x="31" y="286"/>
                    </a:lnTo>
                    <a:lnTo>
                      <a:pt x="29" y="284"/>
                    </a:lnTo>
                    <a:lnTo>
                      <a:pt x="28" y="283"/>
                    </a:lnTo>
                    <a:lnTo>
                      <a:pt x="28" y="282"/>
                    </a:lnTo>
                    <a:lnTo>
                      <a:pt x="27" y="280"/>
                    </a:lnTo>
                    <a:lnTo>
                      <a:pt x="26" y="279"/>
                    </a:lnTo>
                    <a:lnTo>
                      <a:pt x="25" y="277"/>
                    </a:lnTo>
                    <a:lnTo>
                      <a:pt x="25" y="276"/>
                    </a:lnTo>
                    <a:lnTo>
                      <a:pt x="24" y="274"/>
                    </a:lnTo>
                    <a:lnTo>
                      <a:pt x="24" y="273"/>
                    </a:lnTo>
                    <a:lnTo>
                      <a:pt x="23" y="272"/>
                    </a:lnTo>
                    <a:lnTo>
                      <a:pt x="22" y="270"/>
                    </a:lnTo>
                    <a:lnTo>
                      <a:pt x="22" y="269"/>
                    </a:lnTo>
                    <a:lnTo>
                      <a:pt x="21" y="268"/>
                    </a:lnTo>
                    <a:lnTo>
                      <a:pt x="19" y="267"/>
                    </a:lnTo>
                    <a:lnTo>
                      <a:pt x="18" y="266"/>
                    </a:lnTo>
                    <a:lnTo>
                      <a:pt x="17" y="266"/>
                    </a:lnTo>
                    <a:lnTo>
                      <a:pt x="16" y="264"/>
                    </a:lnTo>
                    <a:lnTo>
                      <a:pt x="16" y="263"/>
                    </a:lnTo>
                    <a:lnTo>
                      <a:pt x="16" y="261"/>
                    </a:lnTo>
                    <a:lnTo>
                      <a:pt x="15" y="260"/>
                    </a:lnTo>
                    <a:lnTo>
                      <a:pt x="15" y="259"/>
                    </a:lnTo>
                    <a:lnTo>
                      <a:pt x="14" y="258"/>
                    </a:lnTo>
                    <a:lnTo>
                      <a:pt x="14" y="257"/>
                    </a:lnTo>
                    <a:lnTo>
                      <a:pt x="15" y="256"/>
                    </a:lnTo>
                    <a:lnTo>
                      <a:pt x="14" y="256"/>
                    </a:lnTo>
                    <a:lnTo>
                      <a:pt x="13" y="257"/>
                    </a:lnTo>
                    <a:lnTo>
                      <a:pt x="12" y="257"/>
                    </a:lnTo>
                    <a:lnTo>
                      <a:pt x="11" y="257"/>
                    </a:lnTo>
                    <a:lnTo>
                      <a:pt x="10" y="255"/>
                    </a:lnTo>
                    <a:lnTo>
                      <a:pt x="10" y="254"/>
                    </a:lnTo>
                    <a:lnTo>
                      <a:pt x="9" y="254"/>
                    </a:lnTo>
                    <a:lnTo>
                      <a:pt x="8" y="253"/>
                    </a:lnTo>
                    <a:lnTo>
                      <a:pt x="8" y="254"/>
                    </a:lnTo>
                    <a:lnTo>
                      <a:pt x="3" y="255"/>
                    </a:lnTo>
                    <a:lnTo>
                      <a:pt x="2" y="256"/>
                    </a:lnTo>
                    <a:lnTo>
                      <a:pt x="1" y="256"/>
                    </a:lnTo>
                    <a:lnTo>
                      <a:pt x="0" y="256"/>
                    </a:lnTo>
                    <a:lnTo>
                      <a:pt x="0" y="255"/>
                    </a:lnTo>
                    <a:lnTo>
                      <a:pt x="0" y="254"/>
                    </a:lnTo>
                    <a:lnTo>
                      <a:pt x="0" y="253"/>
                    </a:lnTo>
                    <a:lnTo>
                      <a:pt x="1" y="253"/>
                    </a:lnTo>
                    <a:lnTo>
                      <a:pt x="0" y="253"/>
                    </a:lnTo>
                    <a:lnTo>
                      <a:pt x="0" y="251"/>
                    </a:lnTo>
                    <a:lnTo>
                      <a:pt x="0" y="250"/>
                    </a:lnTo>
                    <a:lnTo>
                      <a:pt x="0" y="247"/>
                    </a:lnTo>
                    <a:lnTo>
                      <a:pt x="0" y="246"/>
                    </a:lnTo>
                    <a:lnTo>
                      <a:pt x="0" y="245"/>
                    </a:lnTo>
                    <a:lnTo>
                      <a:pt x="0" y="232"/>
                    </a:lnTo>
                    <a:lnTo>
                      <a:pt x="0" y="219"/>
                    </a:lnTo>
                    <a:lnTo>
                      <a:pt x="0" y="209"/>
                    </a:lnTo>
                    <a:lnTo>
                      <a:pt x="0" y="199"/>
                    </a:lnTo>
                    <a:lnTo>
                      <a:pt x="0" y="187"/>
                    </a:lnTo>
                    <a:lnTo>
                      <a:pt x="0" y="185"/>
                    </a:lnTo>
                    <a:lnTo>
                      <a:pt x="0" y="182"/>
                    </a:lnTo>
                    <a:lnTo>
                      <a:pt x="0" y="181"/>
                    </a:lnTo>
                    <a:lnTo>
                      <a:pt x="0" y="171"/>
                    </a:lnTo>
                    <a:lnTo>
                      <a:pt x="0" y="164"/>
                    </a:lnTo>
                    <a:lnTo>
                      <a:pt x="0" y="159"/>
                    </a:lnTo>
                    <a:lnTo>
                      <a:pt x="0" y="151"/>
                    </a:lnTo>
                    <a:lnTo>
                      <a:pt x="0" y="129"/>
                    </a:lnTo>
                    <a:lnTo>
                      <a:pt x="0" y="116"/>
                    </a:lnTo>
                    <a:lnTo>
                      <a:pt x="0" y="108"/>
                    </a:lnTo>
                    <a:lnTo>
                      <a:pt x="26" y="108"/>
                    </a:lnTo>
                    <a:lnTo>
                      <a:pt x="32" y="108"/>
                    </a:lnTo>
                    <a:lnTo>
                      <a:pt x="45" y="108"/>
                    </a:lnTo>
                    <a:lnTo>
                      <a:pt x="51" y="108"/>
                    </a:lnTo>
                    <a:lnTo>
                      <a:pt x="56" y="108"/>
                    </a:lnTo>
                    <a:lnTo>
                      <a:pt x="64" y="102"/>
                    </a:lnTo>
                    <a:lnTo>
                      <a:pt x="70" y="97"/>
                    </a:lnTo>
                    <a:lnTo>
                      <a:pt x="72" y="97"/>
                    </a:lnTo>
                    <a:lnTo>
                      <a:pt x="72" y="96"/>
                    </a:lnTo>
                    <a:lnTo>
                      <a:pt x="73" y="96"/>
                    </a:lnTo>
                    <a:lnTo>
                      <a:pt x="74" y="96"/>
                    </a:lnTo>
                    <a:lnTo>
                      <a:pt x="74" y="95"/>
                    </a:lnTo>
                    <a:lnTo>
                      <a:pt x="75" y="94"/>
                    </a:lnTo>
                    <a:lnTo>
                      <a:pt x="76" y="94"/>
                    </a:lnTo>
                    <a:lnTo>
                      <a:pt x="77" y="93"/>
                    </a:lnTo>
                    <a:lnTo>
                      <a:pt x="78" y="92"/>
                    </a:lnTo>
                    <a:lnTo>
                      <a:pt x="79" y="92"/>
                    </a:lnTo>
                    <a:lnTo>
                      <a:pt x="79" y="91"/>
                    </a:lnTo>
                    <a:lnTo>
                      <a:pt x="80" y="91"/>
                    </a:lnTo>
                    <a:lnTo>
                      <a:pt x="81" y="91"/>
                    </a:lnTo>
                    <a:lnTo>
                      <a:pt x="82" y="90"/>
                    </a:lnTo>
                    <a:lnTo>
                      <a:pt x="83" y="90"/>
                    </a:lnTo>
                    <a:lnTo>
                      <a:pt x="85" y="90"/>
                    </a:lnTo>
                    <a:lnTo>
                      <a:pt x="85" y="88"/>
                    </a:lnTo>
                    <a:lnTo>
                      <a:pt x="86" y="87"/>
                    </a:lnTo>
                    <a:lnTo>
                      <a:pt x="87" y="87"/>
                    </a:lnTo>
                    <a:lnTo>
                      <a:pt x="87" y="86"/>
                    </a:lnTo>
                    <a:lnTo>
                      <a:pt x="88" y="86"/>
                    </a:lnTo>
                    <a:lnTo>
                      <a:pt x="89" y="86"/>
                    </a:lnTo>
                    <a:lnTo>
                      <a:pt x="90" y="86"/>
                    </a:lnTo>
                    <a:lnTo>
                      <a:pt x="90" y="84"/>
                    </a:lnTo>
                    <a:lnTo>
                      <a:pt x="91" y="84"/>
                    </a:lnTo>
                    <a:lnTo>
                      <a:pt x="91" y="83"/>
                    </a:lnTo>
                    <a:lnTo>
                      <a:pt x="92" y="83"/>
                    </a:lnTo>
                    <a:lnTo>
                      <a:pt x="93" y="82"/>
                    </a:lnTo>
                    <a:lnTo>
                      <a:pt x="94" y="82"/>
                    </a:lnTo>
                    <a:lnTo>
                      <a:pt x="94" y="81"/>
                    </a:lnTo>
                    <a:lnTo>
                      <a:pt x="95" y="81"/>
                    </a:lnTo>
                    <a:lnTo>
                      <a:pt x="95" y="80"/>
                    </a:lnTo>
                    <a:lnTo>
                      <a:pt x="96" y="79"/>
                    </a:lnTo>
                    <a:lnTo>
                      <a:pt x="98" y="79"/>
                    </a:lnTo>
                    <a:lnTo>
                      <a:pt x="98" y="78"/>
                    </a:lnTo>
                    <a:lnTo>
                      <a:pt x="99" y="78"/>
                    </a:lnTo>
                    <a:lnTo>
                      <a:pt x="100" y="78"/>
                    </a:lnTo>
                    <a:lnTo>
                      <a:pt x="100" y="77"/>
                    </a:lnTo>
                    <a:lnTo>
                      <a:pt x="101" y="76"/>
                    </a:lnTo>
                    <a:lnTo>
                      <a:pt x="102" y="76"/>
                    </a:lnTo>
                    <a:lnTo>
                      <a:pt x="103" y="75"/>
                    </a:lnTo>
                    <a:lnTo>
                      <a:pt x="103" y="74"/>
                    </a:lnTo>
                    <a:lnTo>
                      <a:pt x="102" y="73"/>
                    </a:lnTo>
                    <a:lnTo>
                      <a:pt x="103" y="73"/>
                    </a:lnTo>
                    <a:lnTo>
                      <a:pt x="104" y="71"/>
                    </a:lnTo>
                    <a:lnTo>
                      <a:pt x="105" y="70"/>
                    </a:lnTo>
                    <a:lnTo>
                      <a:pt x="106" y="70"/>
                    </a:lnTo>
                    <a:lnTo>
                      <a:pt x="107" y="70"/>
                    </a:lnTo>
                    <a:lnTo>
                      <a:pt x="107" y="69"/>
                    </a:lnTo>
                    <a:lnTo>
                      <a:pt x="108" y="69"/>
                    </a:lnTo>
                    <a:lnTo>
                      <a:pt x="109" y="68"/>
                    </a:lnTo>
                    <a:lnTo>
                      <a:pt x="111" y="68"/>
                    </a:lnTo>
                    <a:lnTo>
                      <a:pt x="111" y="67"/>
                    </a:lnTo>
                    <a:lnTo>
                      <a:pt x="112" y="67"/>
                    </a:lnTo>
                    <a:lnTo>
                      <a:pt x="112" y="66"/>
                    </a:lnTo>
                    <a:lnTo>
                      <a:pt x="112" y="65"/>
                    </a:lnTo>
                    <a:lnTo>
                      <a:pt x="112" y="64"/>
                    </a:lnTo>
                    <a:lnTo>
                      <a:pt x="113" y="64"/>
                    </a:lnTo>
                    <a:lnTo>
                      <a:pt x="113" y="63"/>
                    </a:lnTo>
                    <a:lnTo>
                      <a:pt x="113" y="62"/>
                    </a:lnTo>
                    <a:lnTo>
                      <a:pt x="113" y="61"/>
                    </a:lnTo>
                    <a:lnTo>
                      <a:pt x="114" y="61"/>
                    </a:lnTo>
                    <a:lnTo>
                      <a:pt x="113" y="58"/>
                    </a:lnTo>
                    <a:lnTo>
                      <a:pt x="113" y="57"/>
                    </a:lnTo>
                    <a:lnTo>
                      <a:pt x="113" y="56"/>
                    </a:lnTo>
                    <a:lnTo>
                      <a:pt x="113" y="55"/>
                    </a:lnTo>
                    <a:lnTo>
                      <a:pt x="113" y="54"/>
                    </a:lnTo>
                    <a:lnTo>
                      <a:pt x="114" y="53"/>
                    </a:lnTo>
                    <a:lnTo>
                      <a:pt x="114" y="52"/>
                    </a:lnTo>
                    <a:lnTo>
                      <a:pt x="114" y="51"/>
                    </a:lnTo>
                    <a:lnTo>
                      <a:pt x="114" y="50"/>
                    </a:lnTo>
                    <a:lnTo>
                      <a:pt x="115" y="50"/>
                    </a:lnTo>
                    <a:lnTo>
                      <a:pt x="115" y="49"/>
                    </a:lnTo>
                    <a:lnTo>
                      <a:pt x="114" y="49"/>
                    </a:lnTo>
                    <a:lnTo>
                      <a:pt x="114" y="48"/>
                    </a:lnTo>
                    <a:lnTo>
                      <a:pt x="114" y="47"/>
                    </a:lnTo>
                    <a:lnTo>
                      <a:pt x="115" y="45"/>
                    </a:lnTo>
                    <a:lnTo>
                      <a:pt x="115" y="44"/>
                    </a:lnTo>
                    <a:lnTo>
                      <a:pt x="116" y="44"/>
                    </a:lnTo>
                    <a:lnTo>
                      <a:pt x="116" y="43"/>
                    </a:lnTo>
                    <a:lnTo>
                      <a:pt x="116" y="44"/>
                    </a:lnTo>
                    <a:lnTo>
                      <a:pt x="116" y="43"/>
                    </a:lnTo>
                    <a:lnTo>
                      <a:pt x="117" y="43"/>
                    </a:lnTo>
                    <a:lnTo>
                      <a:pt x="117" y="42"/>
                    </a:lnTo>
                    <a:lnTo>
                      <a:pt x="117" y="41"/>
                    </a:lnTo>
                    <a:lnTo>
                      <a:pt x="116" y="41"/>
                    </a:lnTo>
                    <a:lnTo>
                      <a:pt x="117" y="40"/>
                    </a:lnTo>
                    <a:lnTo>
                      <a:pt x="117" y="41"/>
                    </a:lnTo>
                    <a:lnTo>
                      <a:pt x="118" y="40"/>
                    </a:lnTo>
                    <a:lnTo>
                      <a:pt x="118" y="39"/>
                    </a:lnTo>
                    <a:lnTo>
                      <a:pt x="119" y="40"/>
                    </a:lnTo>
                    <a:lnTo>
                      <a:pt x="119" y="39"/>
                    </a:lnTo>
                    <a:lnTo>
                      <a:pt x="120" y="39"/>
                    </a:lnTo>
                    <a:lnTo>
                      <a:pt x="121" y="39"/>
                    </a:lnTo>
                    <a:lnTo>
                      <a:pt x="122" y="39"/>
                    </a:lnTo>
                    <a:lnTo>
                      <a:pt x="122" y="38"/>
                    </a:lnTo>
                    <a:lnTo>
                      <a:pt x="124" y="37"/>
                    </a:lnTo>
                    <a:lnTo>
                      <a:pt x="124" y="36"/>
                    </a:lnTo>
                    <a:lnTo>
                      <a:pt x="125" y="37"/>
                    </a:lnTo>
                    <a:lnTo>
                      <a:pt x="125" y="36"/>
                    </a:lnTo>
                    <a:lnTo>
                      <a:pt x="126" y="36"/>
                    </a:lnTo>
                    <a:lnTo>
                      <a:pt x="126" y="35"/>
                    </a:lnTo>
                    <a:lnTo>
                      <a:pt x="127" y="35"/>
                    </a:lnTo>
                    <a:lnTo>
                      <a:pt x="127" y="34"/>
                    </a:lnTo>
                    <a:lnTo>
                      <a:pt x="128" y="34"/>
                    </a:lnTo>
                    <a:lnTo>
                      <a:pt x="129" y="34"/>
                    </a:lnTo>
                    <a:lnTo>
                      <a:pt x="129" y="32"/>
                    </a:lnTo>
                    <a:lnTo>
                      <a:pt x="130" y="31"/>
                    </a:lnTo>
                    <a:lnTo>
                      <a:pt x="131" y="31"/>
                    </a:lnTo>
                    <a:lnTo>
                      <a:pt x="132" y="31"/>
                    </a:lnTo>
                    <a:lnTo>
                      <a:pt x="133" y="31"/>
                    </a:lnTo>
                    <a:lnTo>
                      <a:pt x="134" y="31"/>
                    </a:lnTo>
                    <a:lnTo>
                      <a:pt x="134" y="30"/>
                    </a:lnTo>
                    <a:lnTo>
                      <a:pt x="135" y="29"/>
                    </a:lnTo>
                    <a:lnTo>
                      <a:pt x="134" y="29"/>
                    </a:lnTo>
                    <a:lnTo>
                      <a:pt x="135" y="28"/>
                    </a:lnTo>
                    <a:lnTo>
                      <a:pt x="135" y="29"/>
                    </a:lnTo>
                    <a:lnTo>
                      <a:pt x="135" y="28"/>
                    </a:lnTo>
                    <a:lnTo>
                      <a:pt x="137" y="28"/>
                    </a:lnTo>
                    <a:lnTo>
                      <a:pt x="137" y="27"/>
                    </a:lnTo>
                    <a:lnTo>
                      <a:pt x="138" y="27"/>
                    </a:lnTo>
                    <a:lnTo>
                      <a:pt x="139" y="27"/>
                    </a:lnTo>
                    <a:lnTo>
                      <a:pt x="140" y="27"/>
                    </a:lnTo>
                    <a:lnTo>
                      <a:pt x="141" y="27"/>
                    </a:lnTo>
                    <a:lnTo>
                      <a:pt x="141" y="26"/>
                    </a:lnTo>
                    <a:lnTo>
                      <a:pt x="142" y="26"/>
                    </a:lnTo>
                    <a:lnTo>
                      <a:pt x="142" y="25"/>
                    </a:lnTo>
                    <a:lnTo>
                      <a:pt x="143" y="25"/>
                    </a:lnTo>
                    <a:lnTo>
                      <a:pt x="144" y="24"/>
                    </a:lnTo>
                    <a:lnTo>
                      <a:pt x="144" y="23"/>
                    </a:lnTo>
                    <a:lnTo>
                      <a:pt x="144" y="22"/>
                    </a:lnTo>
                    <a:lnTo>
                      <a:pt x="143" y="20"/>
                    </a:lnTo>
                    <a:lnTo>
                      <a:pt x="144" y="20"/>
                    </a:lnTo>
                    <a:lnTo>
                      <a:pt x="143" y="19"/>
                    </a:lnTo>
                    <a:lnTo>
                      <a:pt x="144" y="19"/>
                    </a:lnTo>
                    <a:lnTo>
                      <a:pt x="144" y="18"/>
                    </a:lnTo>
                    <a:lnTo>
                      <a:pt x="144" y="17"/>
                    </a:lnTo>
                    <a:lnTo>
                      <a:pt x="143" y="17"/>
                    </a:lnTo>
                    <a:lnTo>
                      <a:pt x="143" y="16"/>
                    </a:lnTo>
                    <a:lnTo>
                      <a:pt x="144" y="15"/>
                    </a:lnTo>
                    <a:lnTo>
                      <a:pt x="144" y="14"/>
                    </a:lnTo>
                    <a:lnTo>
                      <a:pt x="144" y="13"/>
                    </a:lnTo>
                    <a:lnTo>
                      <a:pt x="145" y="12"/>
                    </a:lnTo>
                    <a:lnTo>
                      <a:pt x="145" y="11"/>
                    </a:lnTo>
                    <a:lnTo>
                      <a:pt x="146" y="10"/>
                    </a:lnTo>
                    <a:lnTo>
                      <a:pt x="147" y="10"/>
                    </a:lnTo>
                    <a:lnTo>
                      <a:pt x="147" y="9"/>
                    </a:lnTo>
                    <a:lnTo>
                      <a:pt x="148" y="9"/>
                    </a:lnTo>
                    <a:lnTo>
                      <a:pt x="150" y="9"/>
                    </a:lnTo>
                    <a:lnTo>
                      <a:pt x="148" y="9"/>
                    </a:lnTo>
                    <a:lnTo>
                      <a:pt x="150" y="7"/>
                    </a:lnTo>
                    <a:lnTo>
                      <a:pt x="150" y="6"/>
                    </a:lnTo>
                    <a:lnTo>
                      <a:pt x="151" y="6"/>
                    </a:lnTo>
                    <a:lnTo>
                      <a:pt x="152" y="6"/>
                    </a:lnTo>
                    <a:lnTo>
                      <a:pt x="153" y="5"/>
                    </a:lnTo>
                    <a:lnTo>
                      <a:pt x="154" y="5"/>
                    </a:lnTo>
                    <a:lnTo>
                      <a:pt x="155" y="5"/>
                    </a:lnTo>
                    <a:lnTo>
                      <a:pt x="154" y="4"/>
                    </a:lnTo>
                    <a:lnTo>
                      <a:pt x="155" y="4"/>
                    </a:lnTo>
                    <a:lnTo>
                      <a:pt x="156" y="3"/>
                    </a:lnTo>
                    <a:lnTo>
                      <a:pt x="157" y="3"/>
                    </a:lnTo>
                    <a:lnTo>
                      <a:pt x="158" y="2"/>
                    </a:lnTo>
                    <a:lnTo>
                      <a:pt x="159" y="2"/>
                    </a:lnTo>
                    <a:lnTo>
                      <a:pt x="160" y="2"/>
                    </a:lnTo>
                    <a:lnTo>
                      <a:pt x="161" y="2"/>
                    </a:lnTo>
                    <a:lnTo>
                      <a:pt x="161" y="3"/>
                    </a:lnTo>
                    <a:lnTo>
                      <a:pt x="163" y="3"/>
                    </a:lnTo>
                    <a:lnTo>
                      <a:pt x="163" y="4"/>
                    </a:lnTo>
                    <a:lnTo>
                      <a:pt x="164" y="4"/>
                    </a:lnTo>
                    <a:lnTo>
                      <a:pt x="164" y="3"/>
                    </a:lnTo>
                    <a:lnTo>
                      <a:pt x="165" y="3"/>
                    </a:lnTo>
                    <a:lnTo>
                      <a:pt x="166" y="3"/>
                    </a:lnTo>
                    <a:lnTo>
                      <a:pt x="166" y="2"/>
                    </a:lnTo>
                    <a:lnTo>
                      <a:pt x="165" y="2"/>
                    </a:lnTo>
                    <a:lnTo>
                      <a:pt x="167" y="1"/>
                    </a:lnTo>
                    <a:lnTo>
                      <a:pt x="168" y="1"/>
                    </a:lnTo>
                    <a:lnTo>
                      <a:pt x="169" y="1"/>
                    </a:lnTo>
                    <a:lnTo>
                      <a:pt x="170" y="0"/>
                    </a:lnTo>
                    <a:lnTo>
                      <a:pt x="170" y="1"/>
                    </a:lnTo>
                    <a:lnTo>
                      <a:pt x="171" y="1"/>
                    </a:lnTo>
                    <a:lnTo>
                      <a:pt x="170" y="1"/>
                    </a:lnTo>
                    <a:lnTo>
                      <a:pt x="171" y="2"/>
                    </a:lnTo>
                    <a:lnTo>
                      <a:pt x="171" y="1"/>
                    </a:lnTo>
                    <a:lnTo>
                      <a:pt x="172" y="1"/>
                    </a:lnTo>
                    <a:lnTo>
                      <a:pt x="173" y="1"/>
                    </a:lnTo>
                    <a:lnTo>
                      <a:pt x="174" y="1"/>
                    </a:lnTo>
                    <a:lnTo>
                      <a:pt x="176" y="1"/>
                    </a:lnTo>
                    <a:lnTo>
                      <a:pt x="177" y="2"/>
                    </a:lnTo>
                    <a:lnTo>
                      <a:pt x="178" y="2"/>
                    </a:lnTo>
                    <a:lnTo>
                      <a:pt x="178" y="3"/>
                    </a:lnTo>
                    <a:lnTo>
                      <a:pt x="177" y="4"/>
                    </a:lnTo>
                    <a:lnTo>
                      <a:pt x="178" y="4"/>
                    </a:lnTo>
                    <a:lnTo>
                      <a:pt x="179" y="4"/>
                    </a:lnTo>
                    <a:lnTo>
                      <a:pt x="180" y="3"/>
                    </a:lnTo>
                    <a:lnTo>
                      <a:pt x="182" y="4"/>
                    </a:lnTo>
                    <a:lnTo>
                      <a:pt x="182" y="5"/>
                    </a:lnTo>
                    <a:lnTo>
                      <a:pt x="183" y="5"/>
                    </a:lnTo>
                    <a:lnTo>
                      <a:pt x="182" y="6"/>
                    </a:lnTo>
                    <a:lnTo>
                      <a:pt x="182" y="7"/>
                    </a:lnTo>
                    <a:lnTo>
                      <a:pt x="183" y="9"/>
                    </a:lnTo>
                    <a:lnTo>
                      <a:pt x="183" y="10"/>
                    </a:lnTo>
                    <a:lnTo>
                      <a:pt x="184" y="9"/>
                    </a:lnTo>
                    <a:lnTo>
                      <a:pt x="184" y="10"/>
                    </a:lnTo>
                    <a:lnTo>
                      <a:pt x="184" y="11"/>
                    </a:lnTo>
                    <a:lnTo>
                      <a:pt x="185" y="12"/>
                    </a:lnTo>
                    <a:lnTo>
                      <a:pt x="185" y="13"/>
                    </a:lnTo>
                    <a:lnTo>
                      <a:pt x="186" y="13"/>
                    </a:lnTo>
                    <a:lnTo>
                      <a:pt x="186" y="14"/>
                    </a:lnTo>
                    <a:lnTo>
                      <a:pt x="187" y="14"/>
                    </a:lnTo>
                    <a:lnTo>
                      <a:pt x="189" y="14"/>
                    </a:lnTo>
                    <a:lnTo>
                      <a:pt x="190" y="14"/>
                    </a:lnTo>
                    <a:lnTo>
                      <a:pt x="191" y="14"/>
                    </a:lnTo>
                    <a:lnTo>
                      <a:pt x="192" y="14"/>
                    </a:lnTo>
                    <a:lnTo>
                      <a:pt x="192" y="13"/>
                    </a:lnTo>
                    <a:lnTo>
                      <a:pt x="193" y="12"/>
                    </a:lnTo>
                    <a:lnTo>
                      <a:pt x="194" y="12"/>
                    </a:lnTo>
                    <a:lnTo>
                      <a:pt x="195" y="14"/>
                    </a:lnTo>
                    <a:lnTo>
                      <a:pt x="195" y="15"/>
                    </a:lnTo>
                    <a:lnTo>
                      <a:pt x="196" y="15"/>
                    </a:lnTo>
                    <a:lnTo>
                      <a:pt x="197" y="16"/>
                    </a:lnTo>
                    <a:lnTo>
                      <a:pt x="198" y="17"/>
                    </a:lnTo>
                    <a:lnTo>
                      <a:pt x="198" y="18"/>
                    </a:lnTo>
                    <a:lnTo>
                      <a:pt x="198" y="19"/>
                    </a:lnTo>
                    <a:lnTo>
                      <a:pt x="199" y="20"/>
                    </a:lnTo>
                    <a:lnTo>
                      <a:pt x="201" y="22"/>
                    </a:lnTo>
                    <a:lnTo>
                      <a:pt x="204" y="22"/>
                    </a:lnTo>
                    <a:lnTo>
                      <a:pt x="205" y="20"/>
                    </a:lnTo>
                    <a:lnTo>
                      <a:pt x="206" y="19"/>
                    </a:lnTo>
                    <a:lnTo>
                      <a:pt x="207" y="19"/>
                    </a:lnTo>
                    <a:lnTo>
                      <a:pt x="208" y="19"/>
                    </a:lnTo>
                    <a:lnTo>
                      <a:pt x="209" y="19"/>
                    </a:lnTo>
                    <a:lnTo>
                      <a:pt x="210" y="18"/>
                    </a:lnTo>
                    <a:lnTo>
                      <a:pt x="209" y="17"/>
                    </a:lnTo>
                    <a:lnTo>
                      <a:pt x="209" y="16"/>
                    </a:lnTo>
                    <a:lnTo>
                      <a:pt x="210" y="15"/>
                    </a:lnTo>
                    <a:lnTo>
                      <a:pt x="211" y="15"/>
                    </a:lnTo>
                    <a:lnTo>
                      <a:pt x="212" y="15"/>
                    </a:lnTo>
                    <a:lnTo>
                      <a:pt x="212" y="16"/>
                    </a:lnTo>
                    <a:lnTo>
                      <a:pt x="214" y="17"/>
                    </a:lnTo>
                    <a:lnTo>
                      <a:pt x="215" y="18"/>
                    </a:lnTo>
                    <a:lnTo>
                      <a:pt x="216" y="19"/>
                    </a:lnTo>
                    <a:lnTo>
                      <a:pt x="217" y="20"/>
                    </a:lnTo>
                    <a:lnTo>
                      <a:pt x="218" y="20"/>
                    </a:lnTo>
                    <a:lnTo>
                      <a:pt x="219" y="20"/>
                    </a:lnTo>
                    <a:lnTo>
                      <a:pt x="220" y="20"/>
                    </a:lnTo>
                    <a:lnTo>
                      <a:pt x="221" y="20"/>
                    </a:lnTo>
                    <a:lnTo>
                      <a:pt x="222" y="19"/>
                    </a:lnTo>
                    <a:lnTo>
                      <a:pt x="223" y="19"/>
                    </a:lnTo>
                    <a:lnTo>
                      <a:pt x="224" y="19"/>
                    </a:lnTo>
                    <a:lnTo>
                      <a:pt x="225" y="20"/>
                    </a:lnTo>
                    <a:lnTo>
                      <a:pt x="227" y="20"/>
                    </a:lnTo>
                    <a:lnTo>
                      <a:pt x="228" y="20"/>
                    </a:lnTo>
                    <a:lnTo>
                      <a:pt x="230" y="20"/>
                    </a:lnTo>
                    <a:lnTo>
                      <a:pt x="231" y="20"/>
                    </a:lnTo>
                    <a:lnTo>
                      <a:pt x="231" y="22"/>
                    </a:lnTo>
                    <a:lnTo>
                      <a:pt x="232" y="22"/>
                    </a:lnTo>
                    <a:lnTo>
                      <a:pt x="233" y="22"/>
                    </a:lnTo>
                    <a:lnTo>
                      <a:pt x="233" y="23"/>
                    </a:lnTo>
                    <a:lnTo>
                      <a:pt x="234" y="23"/>
                    </a:lnTo>
                    <a:lnTo>
                      <a:pt x="234" y="24"/>
                    </a:lnTo>
                    <a:lnTo>
                      <a:pt x="234" y="25"/>
                    </a:lnTo>
                    <a:lnTo>
                      <a:pt x="235" y="25"/>
                    </a:lnTo>
                    <a:lnTo>
                      <a:pt x="236" y="26"/>
                    </a:lnTo>
                    <a:lnTo>
                      <a:pt x="237" y="26"/>
                    </a:lnTo>
                    <a:lnTo>
                      <a:pt x="237" y="27"/>
                    </a:lnTo>
                    <a:lnTo>
                      <a:pt x="238" y="27"/>
                    </a:lnTo>
                    <a:lnTo>
                      <a:pt x="240" y="28"/>
                    </a:lnTo>
                    <a:lnTo>
                      <a:pt x="241" y="28"/>
                    </a:lnTo>
                    <a:lnTo>
                      <a:pt x="241" y="29"/>
                    </a:lnTo>
                    <a:lnTo>
                      <a:pt x="242" y="29"/>
                    </a:lnTo>
                    <a:lnTo>
                      <a:pt x="243" y="30"/>
                    </a:lnTo>
                    <a:lnTo>
                      <a:pt x="243" y="31"/>
                    </a:lnTo>
                    <a:lnTo>
                      <a:pt x="243" y="32"/>
                    </a:lnTo>
                    <a:lnTo>
                      <a:pt x="244" y="34"/>
                    </a:lnTo>
                    <a:lnTo>
                      <a:pt x="245" y="34"/>
                    </a:lnTo>
                    <a:lnTo>
                      <a:pt x="245" y="35"/>
                    </a:lnTo>
                    <a:lnTo>
                      <a:pt x="246" y="35"/>
                    </a:lnTo>
                    <a:lnTo>
                      <a:pt x="246" y="36"/>
                    </a:lnTo>
                    <a:lnTo>
                      <a:pt x="247" y="37"/>
                    </a:lnTo>
                    <a:lnTo>
                      <a:pt x="247" y="38"/>
                    </a:lnTo>
                    <a:lnTo>
                      <a:pt x="247" y="40"/>
                    </a:lnTo>
                    <a:lnTo>
                      <a:pt x="248" y="40"/>
                    </a:lnTo>
                    <a:lnTo>
                      <a:pt x="249" y="40"/>
                    </a:lnTo>
                    <a:lnTo>
                      <a:pt x="249" y="41"/>
                    </a:lnTo>
                    <a:lnTo>
                      <a:pt x="250" y="41"/>
                    </a:lnTo>
                    <a:lnTo>
                      <a:pt x="250" y="42"/>
                    </a:lnTo>
                    <a:lnTo>
                      <a:pt x="251" y="42"/>
                    </a:lnTo>
                    <a:lnTo>
                      <a:pt x="251" y="43"/>
                    </a:lnTo>
                    <a:lnTo>
                      <a:pt x="253" y="43"/>
                    </a:lnTo>
                    <a:lnTo>
                      <a:pt x="254" y="43"/>
                    </a:lnTo>
                    <a:lnTo>
                      <a:pt x="255" y="44"/>
                    </a:lnTo>
                    <a:lnTo>
                      <a:pt x="256" y="44"/>
                    </a:lnTo>
                    <a:lnTo>
                      <a:pt x="257" y="45"/>
                    </a:lnTo>
                    <a:lnTo>
                      <a:pt x="257" y="47"/>
                    </a:lnTo>
                    <a:lnTo>
                      <a:pt x="257" y="48"/>
                    </a:lnTo>
                    <a:lnTo>
                      <a:pt x="258" y="48"/>
                    </a:lnTo>
                    <a:lnTo>
                      <a:pt x="258" y="49"/>
                    </a:lnTo>
                    <a:lnTo>
                      <a:pt x="258" y="50"/>
                    </a:lnTo>
                    <a:lnTo>
                      <a:pt x="259" y="50"/>
                    </a:lnTo>
                    <a:lnTo>
                      <a:pt x="259" y="51"/>
                    </a:lnTo>
                    <a:lnTo>
                      <a:pt x="260" y="51"/>
                    </a:lnTo>
                    <a:lnTo>
                      <a:pt x="259" y="52"/>
                    </a:lnTo>
                    <a:lnTo>
                      <a:pt x="260" y="52"/>
                    </a:lnTo>
                    <a:lnTo>
                      <a:pt x="261" y="52"/>
                    </a:lnTo>
                    <a:lnTo>
                      <a:pt x="261" y="53"/>
                    </a:lnTo>
                    <a:lnTo>
                      <a:pt x="261" y="54"/>
                    </a:lnTo>
                    <a:lnTo>
                      <a:pt x="262" y="54"/>
                    </a:lnTo>
                    <a:lnTo>
                      <a:pt x="262" y="55"/>
                    </a:lnTo>
                    <a:lnTo>
                      <a:pt x="261" y="56"/>
                    </a:lnTo>
                    <a:lnTo>
                      <a:pt x="262" y="56"/>
                    </a:lnTo>
                    <a:lnTo>
                      <a:pt x="262" y="57"/>
                    </a:lnTo>
                    <a:lnTo>
                      <a:pt x="262" y="58"/>
                    </a:lnTo>
                    <a:lnTo>
                      <a:pt x="261" y="60"/>
                    </a:lnTo>
                    <a:lnTo>
                      <a:pt x="261" y="61"/>
                    </a:lnTo>
                    <a:lnTo>
                      <a:pt x="260" y="62"/>
                    </a:lnTo>
                    <a:lnTo>
                      <a:pt x="260" y="65"/>
                    </a:lnTo>
                    <a:lnTo>
                      <a:pt x="260" y="66"/>
                    </a:lnTo>
                    <a:lnTo>
                      <a:pt x="259" y="66"/>
                    </a:lnTo>
                    <a:lnTo>
                      <a:pt x="260" y="67"/>
                    </a:lnTo>
                    <a:lnTo>
                      <a:pt x="260" y="68"/>
                    </a:lnTo>
                    <a:lnTo>
                      <a:pt x="260" y="69"/>
                    </a:lnTo>
                    <a:lnTo>
                      <a:pt x="261" y="70"/>
                    </a:lnTo>
                    <a:lnTo>
                      <a:pt x="261" y="71"/>
                    </a:lnTo>
                    <a:lnTo>
                      <a:pt x="261" y="73"/>
                    </a:lnTo>
                    <a:lnTo>
                      <a:pt x="261" y="74"/>
                    </a:lnTo>
                    <a:lnTo>
                      <a:pt x="261" y="75"/>
                    </a:lnTo>
                    <a:lnTo>
                      <a:pt x="261" y="76"/>
                    </a:lnTo>
                    <a:lnTo>
                      <a:pt x="262" y="78"/>
                    </a:lnTo>
                    <a:close/>
                  </a:path>
                </a:pathLst>
              </a:custGeom>
              <a:solidFill>
                <a:srgbClr val="4399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8" name="Freeform 38">
                <a:extLst>
                  <a:ext uri="{FF2B5EF4-FFF2-40B4-BE49-F238E27FC236}">
                    <a16:creationId xmlns:a16="http://schemas.microsoft.com/office/drawing/2014/main" id="{8B594EB5-292F-85DE-74E2-EE742353150C}"/>
                  </a:ext>
                </a:extLst>
              </p:cNvPr>
              <p:cNvSpPr>
                <a:spLocks/>
              </p:cNvSpPr>
              <p:nvPr/>
            </p:nvSpPr>
            <p:spPr bwMode="auto">
              <a:xfrm>
                <a:off x="1562101" y="2030413"/>
                <a:ext cx="479425" cy="403225"/>
              </a:xfrm>
              <a:custGeom>
                <a:avLst/>
                <a:gdLst>
                  <a:gd name="T0" fmla="*/ 147 w 302"/>
                  <a:gd name="T1" fmla="*/ 1 h 254"/>
                  <a:gd name="T2" fmla="*/ 246 w 302"/>
                  <a:gd name="T3" fmla="*/ 2 h 254"/>
                  <a:gd name="T4" fmla="*/ 246 w 302"/>
                  <a:gd name="T5" fmla="*/ 14 h 254"/>
                  <a:gd name="T6" fmla="*/ 244 w 302"/>
                  <a:gd name="T7" fmla="*/ 23 h 254"/>
                  <a:gd name="T8" fmla="*/ 247 w 302"/>
                  <a:gd name="T9" fmla="*/ 31 h 254"/>
                  <a:gd name="T10" fmla="*/ 250 w 302"/>
                  <a:gd name="T11" fmla="*/ 35 h 254"/>
                  <a:gd name="T12" fmla="*/ 256 w 302"/>
                  <a:gd name="T13" fmla="*/ 39 h 254"/>
                  <a:gd name="T14" fmla="*/ 259 w 302"/>
                  <a:gd name="T15" fmla="*/ 49 h 254"/>
                  <a:gd name="T16" fmla="*/ 260 w 302"/>
                  <a:gd name="T17" fmla="*/ 57 h 254"/>
                  <a:gd name="T18" fmla="*/ 263 w 302"/>
                  <a:gd name="T19" fmla="*/ 68 h 254"/>
                  <a:gd name="T20" fmla="*/ 268 w 302"/>
                  <a:gd name="T21" fmla="*/ 75 h 254"/>
                  <a:gd name="T22" fmla="*/ 273 w 302"/>
                  <a:gd name="T23" fmla="*/ 79 h 254"/>
                  <a:gd name="T24" fmla="*/ 278 w 302"/>
                  <a:gd name="T25" fmla="*/ 89 h 254"/>
                  <a:gd name="T26" fmla="*/ 281 w 302"/>
                  <a:gd name="T27" fmla="*/ 99 h 254"/>
                  <a:gd name="T28" fmla="*/ 277 w 302"/>
                  <a:gd name="T29" fmla="*/ 107 h 254"/>
                  <a:gd name="T30" fmla="*/ 281 w 302"/>
                  <a:gd name="T31" fmla="*/ 114 h 254"/>
                  <a:gd name="T32" fmla="*/ 288 w 302"/>
                  <a:gd name="T33" fmla="*/ 119 h 254"/>
                  <a:gd name="T34" fmla="*/ 292 w 302"/>
                  <a:gd name="T35" fmla="*/ 131 h 254"/>
                  <a:gd name="T36" fmla="*/ 292 w 302"/>
                  <a:gd name="T37" fmla="*/ 138 h 254"/>
                  <a:gd name="T38" fmla="*/ 288 w 302"/>
                  <a:gd name="T39" fmla="*/ 144 h 254"/>
                  <a:gd name="T40" fmla="*/ 279 w 302"/>
                  <a:gd name="T41" fmla="*/ 152 h 254"/>
                  <a:gd name="T42" fmla="*/ 280 w 302"/>
                  <a:gd name="T43" fmla="*/ 158 h 254"/>
                  <a:gd name="T44" fmla="*/ 280 w 302"/>
                  <a:gd name="T45" fmla="*/ 163 h 254"/>
                  <a:gd name="T46" fmla="*/ 278 w 302"/>
                  <a:gd name="T47" fmla="*/ 163 h 254"/>
                  <a:gd name="T48" fmla="*/ 282 w 302"/>
                  <a:gd name="T49" fmla="*/ 170 h 254"/>
                  <a:gd name="T50" fmla="*/ 290 w 302"/>
                  <a:gd name="T51" fmla="*/ 178 h 254"/>
                  <a:gd name="T52" fmla="*/ 295 w 302"/>
                  <a:gd name="T53" fmla="*/ 185 h 254"/>
                  <a:gd name="T54" fmla="*/ 284 w 302"/>
                  <a:gd name="T55" fmla="*/ 192 h 254"/>
                  <a:gd name="T56" fmla="*/ 228 w 302"/>
                  <a:gd name="T57" fmla="*/ 239 h 254"/>
                  <a:gd name="T58" fmla="*/ 216 w 302"/>
                  <a:gd name="T59" fmla="*/ 240 h 254"/>
                  <a:gd name="T60" fmla="*/ 205 w 302"/>
                  <a:gd name="T61" fmla="*/ 252 h 254"/>
                  <a:gd name="T62" fmla="*/ 192 w 302"/>
                  <a:gd name="T63" fmla="*/ 247 h 254"/>
                  <a:gd name="T64" fmla="*/ 181 w 302"/>
                  <a:gd name="T65" fmla="*/ 253 h 254"/>
                  <a:gd name="T66" fmla="*/ 166 w 302"/>
                  <a:gd name="T67" fmla="*/ 247 h 254"/>
                  <a:gd name="T68" fmla="*/ 161 w 302"/>
                  <a:gd name="T69" fmla="*/ 236 h 254"/>
                  <a:gd name="T70" fmla="*/ 155 w 302"/>
                  <a:gd name="T71" fmla="*/ 227 h 254"/>
                  <a:gd name="T72" fmla="*/ 160 w 302"/>
                  <a:gd name="T73" fmla="*/ 218 h 254"/>
                  <a:gd name="T74" fmla="*/ 150 w 302"/>
                  <a:gd name="T75" fmla="*/ 209 h 254"/>
                  <a:gd name="T76" fmla="*/ 147 w 302"/>
                  <a:gd name="T77" fmla="*/ 197 h 254"/>
                  <a:gd name="T78" fmla="*/ 135 w 302"/>
                  <a:gd name="T79" fmla="*/ 190 h 254"/>
                  <a:gd name="T80" fmla="*/ 125 w 302"/>
                  <a:gd name="T81" fmla="*/ 181 h 254"/>
                  <a:gd name="T82" fmla="*/ 116 w 302"/>
                  <a:gd name="T83" fmla="*/ 179 h 254"/>
                  <a:gd name="T84" fmla="*/ 104 w 302"/>
                  <a:gd name="T85" fmla="*/ 177 h 254"/>
                  <a:gd name="T86" fmla="*/ 96 w 302"/>
                  <a:gd name="T87" fmla="*/ 164 h 254"/>
                  <a:gd name="T88" fmla="*/ 89 w 302"/>
                  <a:gd name="T89" fmla="*/ 154 h 254"/>
                  <a:gd name="T90" fmla="*/ 82 w 302"/>
                  <a:gd name="T91" fmla="*/ 142 h 254"/>
                  <a:gd name="T92" fmla="*/ 74 w 302"/>
                  <a:gd name="T93" fmla="*/ 128 h 254"/>
                  <a:gd name="T94" fmla="*/ 64 w 302"/>
                  <a:gd name="T95" fmla="*/ 116 h 254"/>
                  <a:gd name="T96" fmla="*/ 54 w 302"/>
                  <a:gd name="T97" fmla="*/ 106 h 254"/>
                  <a:gd name="T98" fmla="*/ 46 w 302"/>
                  <a:gd name="T99" fmla="*/ 98 h 254"/>
                  <a:gd name="T100" fmla="*/ 53 w 302"/>
                  <a:gd name="T101" fmla="*/ 86 h 254"/>
                  <a:gd name="T102" fmla="*/ 63 w 302"/>
                  <a:gd name="T103" fmla="*/ 75 h 254"/>
                  <a:gd name="T104" fmla="*/ 57 w 302"/>
                  <a:gd name="T105" fmla="*/ 57 h 254"/>
                  <a:gd name="T106" fmla="*/ 54 w 302"/>
                  <a:gd name="T107" fmla="*/ 43 h 254"/>
                  <a:gd name="T108" fmla="*/ 46 w 302"/>
                  <a:gd name="T109" fmla="*/ 32 h 254"/>
                  <a:gd name="T110" fmla="*/ 28 w 302"/>
                  <a:gd name="T111" fmla="*/ 30 h 254"/>
                  <a:gd name="T112" fmla="*/ 12 w 302"/>
                  <a:gd name="T113" fmla="*/ 23 h 254"/>
                  <a:gd name="T114" fmla="*/ 6 w 302"/>
                  <a:gd name="T115" fmla="*/ 9 h 254"/>
                  <a:gd name="T116" fmla="*/ 73 w 302"/>
                  <a:gd name="T11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2" h="254">
                    <a:moveTo>
                      <a:pt x="88" y="0"/>
                    </a:moveTo>
                    <a:lnTo>
                      <a:pt x="92" y="0"/>
                    </a:lnTo>
                    <a:lnTo>
                      <a:pt x="94" y="1"/>
                    </a:lnTo>
                    <a:lnTo>
                      <a:pt x="96" y="1"/>
                    </a:lnTo>
                    <a:lnTo>
                      <a:pt x="97" y="1"/>
                    </a:lnTo>
                    <a:lnTo>
                      <a:pt x="110" y="1"/>
                    </a:lnTo>
                    <a:lnTo>
                      <a:pt x="111" y="1"/>
                    </a:lnTo>
                    <a:lnTo>
                      <a:pt x="114" y="1"/>
                    </a:lnTo>
                    <a:lnTo>
                      <a:pt x="116" y="1"/>
                    </a:lnTo>
                    <a:lnTo>
                      <a:pt x="117" y="1"/>
                    </a:lnTo>
                    <a:lnTo>
                      <a:pt x="131" y="1"/>
                    </a:lnTo>
                    <a:lnTo>
                      <a:pt x="134" y="1"/>
                    </a:lnTo>
                    <a:lnTo>
                      <a:pt x="147" y="1"/>
                    </a:lnTo>
                    <a:lnTo>
                      <a:pt x="159" y="1"/>
                    </a:lnTo>
                    <a:lnTo>
                      <a:pt x="161" y="1"/>
                    </a:lnTo>
                    <a:lnTo>
                      <a:pt x="167" y="1"/>
                    </a:lnTo>
                    <a:lnTo>
                      <a:pt x="179" y="1"/>
                    </a:lnTo>
                    <a:lnTo>
                      <a:pt x="185" y="1"/>
                    </a:lnTo>
                    <a:lnTo>
                      <a:pt x="205" y="1"/>
                    </a:lnTo>
                    <a:lnTo>
                      <a:pt x="217" y="1"/>
                    </a:lnTo>
                    <a:lnTo>
                      <a:pt x="223" y="1"/>
                    </a:lnTo>
                    <a:lnTo>
                      <a:pt x="224" y="1"/>
                    </a:lnTo>
                    <a:lnTo>
                      <a:pt x="228" y="1"/>
                    </a:lnTo>
                    <a:lnTo>
                      <a:pt x="245" y="1"/>
                    </a:lnTo>
                    <a:lnTo>
                      <a:pt x="245" y="2"/>
                    </a:lnTo>
                    <a:lnTo>
                      <a:pt x="246" y="2"/>
                    </a:lnTo>
                    <a:lnTo>
                      <a:pt x="246" y="3"/>
                    </a:lnTo>
                    <a:lnTo>
                      <a:pt x="246" y="4"/>
                    </a:lnTo>
                    <a:lnTo>
                      <a:pt x="247" y="4"/>
                    </a:lnTo>
                    <a:lnTo>
                      <a:pt x="247" y="5"/>
                    </a:lnTo>
                    <a:lnTo>
                      <a:pt x="246" y="5"/>
                    </a:lnTo>
                    <a:lnTo>
                      <a:pt x="246" y="6"/>
                    </a:lnTo>
                    <a:lnTo>
                      <a:pt x="246" y="8"/>
                    </a:lnTo>
                    <a:lnTo>
                      <a:pt x="246" y="9"/>
                    </a:lnTo>
                    <a:lnTo>
                      <a:pt x="247" y="9"/>
                    </a:lnTo>
                    <a:lnTo>
                      <a:pt x="247" y="10"/>
                    </a:lnTo>
                    <a:lnTo>
                      <a:pt x="247" y="11"/>
                    </a:lnTo>
                    <a:lnTo>
                      <a:pt x="247" y="13"/>
                    </a:lnTo>
                    <a:lnTo>
                      <a:pt x="246" y="14"/>
                    </a:lnTo>
                    <a:lnTo>
                      <a:pt x="246" y="15"/>
                    </a:lnTo>
                    <a:lnTo>
                      <a:pt x="246" y="16"/>
                    </a:lnTo>
                    <a:lnTo>
                      <a:pt x="246" y="17"/>
                    </a:lnTo>
                    <a:lnTo>
                      <a:pt x="246" y="18"/>
                    </a:lnTo>
                    <a:lnTo>
                      <a:pt x="245" y="18"/>
                    </a:lnTo>
                    <a:lnTo>
                      <a:pt x="246" y="19"/>
                    </a:lnTo>
                    <a:lnTo>
                      <a:pt x="245" y="19"/>
                    </a:lnTo>
                    <a:lnTo>
                      <a:pt x="245" y="21"/>
                    </a:lnTo>
                    <a:lnTo>
                      <a:pt x="245" y="22"/>
                    </a:lnTo>
                    <a:lnTo>
                      <a:pt x="245" y="23"/>
                    </a:lnTo>
                    <a:lnTo>
                      <a:pt x="244" y="23"/>
                    </a:lnTo>
                    <a:lnTo>
                      <a:pt x="244" y="22"/>
                    </a:lnTo>
                    <a:lnTo>
                      <a:pt x="244" y="23"/>
                    </a:lnTo>
                    <a:lnTo>
                      <a:pt x="245" y="23"/>
                    </a:lnTo>
                    <a:lnTo>
                      <a:pt x="245" y="24"/>
                    </a:lnTo>
                    <a:lnTo>
                      <a:pt x="245" y="25"/>
                    </a:lnTo>
                    <a:lnTo>
                      <a:pt x="245" y="26"/>
                    </a:lnTo>
                    <a:lnTo>
                      <a:pt x="245" y="27"/>
                    </a:lnTo>
                    <a:lnTo>
                      <a:pt x="246" y="27"/>
                    </a:lnTo>
                    <a:lnTo>
                      <a:pt x="246" y="28"/>
                    </a:lnTo>
                    <a:lnTo>
                      <a:pt x="245" y="28"/>
                    </a:lnTo>
                    <a:lnTo>
                      <a:pt x="246" y="28"/>
                    </a:lnTo>
                    <a:lnTo>
                      <a:pt x="246" y="29"/>
                    </a:lnTo>
                    <a:lnTo>
                      <a:pt x="245" y="29"/>
                    </a:lnTo>
                    <a:lnTo>
                      <a:pt x="246" y="30"/>
                    </a:lnTo>
                    <a:lnTo>
                      <a:pt x="247" y="31"/>
                    </a:lnTo>
                    <a:lnTo>
                      <a:pt x="246" y="31"/>
                    </a:lnTo>
                    <a:lnTo>
                      <a:pt x="247" y="31"/>
                    </a:lnTo>
                    <a:lnTo>
                      <a:pt x="247" y="32"/>
                    </a:lnTo>
                    <a:lnTo>
                      <a:pt x="246" y="32"/>
                    </a:lnTo>
                    <a:lnTo>
                      <a:pt x="247" y="32"/>
                    </a:lnTo>
                    <a:lnTo>
                      <a:pt x="246" y="32"/>
                    </a:lnTo>
                    <a:lnTo>
                      <a:pt x="247" y="32"/>
                    </a:lnTo>
                    <a:lnTo>
                      <a:pt x="247" y="34"/>
                    </a:lnTo>
                    <a:lnTo>
                      <a:pt x="247" y="32"/>
                    </a:lnTo>
                    <a:lnTo>
                      <a:pt x="247" y="34"/>
                    </a:lnTo>
                    <a:lnTo>
                      <a:pt x="249" y="34"/>
                    </a:lnTo>
                    <a:lnTo>
                      <a:pt x="250" y="34"/>
                    </a:lnTo>
                    <a:lnTo>
                      <a:pt x="250" y="35"/>
                    </a:lnTo>
                    <a:lnTo>
                      <a:pt x="249" y="35"/>
                    </a:lnTo>
                    <a:lnTo>
                      <a:pt x="250" y="35"/>
                    </a:lnTo>
                    <a:lnTo>
                      <a:pt x="250" y="36"/>
                    </a:lnTo>
                    <a:lnTo>
                      <a:pt x="251" y="37"/>
                    </a:lnTo>
                    <a:lnTo>
                      <a:pt x="251" y="36"/>
                    </a:lnTo>
                    <a:lnTo>
                      <a:pt x="251" y="37"/>
                    </a:lnTo>
                    <a:lnTo>
                      <a:pt x="252" y="37"/>
                    </a:lnTo>
                    <a:lnTo>
                      <a:pt x="253" y="37"/>
                    </a:lnTo>
                    <a:lnTo>
                      <a:pt x="253" y="38"/>
                    </a:lnTo>
                    <a:lnTo>
                      <a:pt x="254" y="38"/>
                    </a:lnTo>
                    <a:lnTo>
                      <a:pt x="255" y="38"/>
                    </a:lnTo>
                    <a:lnTo>
                      <a:pt x="255" y="39"/>
                    </a:lnTo>
                    <a:lnTo>
                      <a:pt x="256" y="39"/>
                    </a:lnTo>
                    <a:lnTo>
                      <a:pt x="256" y="40"/>
                    </a:lnTo>
                    <a:lnTo>
                      <a:pt x="256" y="41"/>
                    </a:lnTo>
                    <a:lnTo>
                      <a:pt x="257" y="41"/>
                    </a:lnTo>
                    <a:lnTo>
                      <a:pt x="257" y="42"/>
                    </a:lnTo>
                    <a:lnTo>
                      <a:pt x="258" y="43"/>
                    </a:lnTo>
                    <a:lnTo>
                      <a:pt x="258" y="42"/>
                    </a:lnTo>
                    <a:lnTo>
                      <a:pt x="258" y="43"/>
                    </a:lnTo>
                    <a:lnTo>
                      <a:pt x="258" y="44"/>
                    </a:lnTo>
                    <a:lnTo>
                      <a:pt x="258" y="46"/>
                    </a:lnTo>
                    <a:lnTo>
                      <a:pt x="258" y="47"/>
                    </a:lnTo>
                    <a:lnTo>
                      <a:pt x="258" y="48"/>
                    </a:lnTo>
                    <a:lnTo>
                      <a:pt x="258" y="49"/>
                    </a:lnTo>
                    <a:lnTo>
                      <a:pt x="259" y="49"/>
                    </a:lnTo>
                    <a:lnTo>
                      <a:pt x="259" y="50"/>
                    </a:lnTo>
                    <a:lnTo>
                      <a:pt x="259" y="51"/>
                    </a:lnTo>
                    <a:lnTo>
                      <a:pt x="258" y="51"/>
                    </a:lnTo>
                    <a:lnTo>
                      <a:pt x="258" y="52"/>
                    </a:lnTo>
                    <a:lnTo>
                      <a:pt x="257" y="52"/>
                    </a:lnTo>
                    <a:lnTo>
                      <a:pt x="257" y="53"/>
                    </a:lnTo>
                    <a:lnTo>
                      <a:pt x="258" y="53"/>
                    </a:lnTo>
                    <a:lnTo>
                      <a:pt x="258" y="54"/>
                    </a:lnTo>
                    <a:lnTo>
                      <a:pt x="258" y="55"/>
                    </a:lnTo>
                    <a:lnTo>
                      <a:pt x="259" y="55"/>
                    </a:lnTo>
                    <a:lnTo>
                      <a:pt x="259" y="56"/>
                    </a:lnTo>
                    <a:lnTo>
                      <a:pt x="259" y="57"/>
                    </a:lnTo>
                    <a:lnTo>
                      <a:pt x="260" y="57"/>
                    </a:lnTo>
                    <a:lnTo>
                      <a:pt x="260" y="59"/>
                    </a:lnTo>
                    <a:lnTo>
                      <a:pt x="260" y="60"/>
                    </a:lnTo>
                    <a:lnTo>
                      <a:pt x="260" y="61"/>
                    </a:lnTo>
                    <a:lnTo>
                      <a:pt x="260" y="62"/>
                    </a:lnTo>
                    <a:lnTo>
                      <a:pt x="260" y="63"/>
                    </a:lnTo>
                    <a:lnTo>
                      <a:pt x="262" y="63"/>
                    </a:lnTo>
                    <a:lnTo>
                      <a:pt x="262" y="64"/>
                    </a:lnTo>
                    <a:lnTo>
                      <a:pt x="262" y="65"/>
                    </a:lnTo>
                    <a:lnTo>
                      <a:pt x="263" y="66"/>
                    </a:lnTo>
                    <a:lnTo>
                      <a:pt x="262" y="66"/>
                    </a:lnTo>
                    <a:lnTo>
                      <a:pt x="262" y="67"/>
                    </a:lnTo>
                    <a:lnTo>
                      <a:pt x="263" y="67"/>
                    </a:lnTo>
                    <a:lnTo>
                      <a:pt x="263" y="68"/>
                    </a:lnTo>
                    <a:lnTo>
                      <a:pt x="264" y="69"/>
                    </a:lnTo>
                    <a:lnTo>
                      <a:pt x="265" y="69"/>
                    </a:lnTo>
                    <a:lnTo>
                      <a:pt x="265" y="70"/>
                    </a:lnTo>
                    <a:lnTo>
                      <a:pt x="266" y="70"/>
                    </a:lnTo>
                    <a:lnTo>
                      <a:pt x="266" y="72"/>
                    </a:lnTo>
                    <a:lnTo>
                      <a:pt x="267" y="72"/>
                    </a:lnTo>
                    <a:lnTo>
                      <a:pt x="267" y="70"/>
                    </a:lnTo>
                    <a:lnTo>
                      <a:pt x="267" y="72"/>
                    </a:lnTo>
                    <a:lnTo>
                      <a:pt x="268" y="73"/>
                    </a:lnTo>
                    <a:lnTo>
                      <a:pt x="268" y="74"/>
                    </a:lnTo>
                    <a:lnTo>
                      <a:pt x="267" y="74"/>
                    </a:lnTo>
                    <a:lnTo>
                      <a:pt x="268" y="74"/>
                    </a:lnTo>
                    <a:lnTo>
                      <a:pt x="268" y="75"/>
                    </a:lnTo>
                    <a:lnTo>
                      <a:pt x="269" y="75"/>
                    </a:lnTo>
                    <a:lnTo>
                      <a:pt x="270" y="75"/>
                    </a:lnTo>
                    <a:lnTo>
                      <a:pt x="270" y="76"/>
                    </a:lnTo>
                    <a:lnTo>
                      <a:pt x="269" y="76"/>
                    </a:lnTo>
                    <a:lnTo>
                      <a:pt x="269" y="77"/>
                    </a:lnTo>
                    <a:lnTo>
                      <a:pt x="270" y="77"/>
                    </a:lnTo>
                    <a:lnTo>
                      <a:pt x="270" y="78"/>
                    </a:lnTo>
                    <a:lnTo>
                      <a:pt x="271" y="78"/>
                    </a:lnTo>
                    <a:lnTo>
                      <a:pt x="271" y="79"/>
                    </a:lnTo>
                    <a:lnTo>
                      <a:pt x="272" y="79"/>
                    </a:lnTo>
                    <a:lnTo>
                      <a:pt x="272" y="80"/>
                    </a:lnTo>
                    <a:lnTo>
                      <a:pt x="272" y="79"/>
                    </a:lnTo>
                    <a:lnTo>
                      <a:pt x="273" y="79"/>
                    </a:lnTo>
                    <a:lnTo>
                      <a:pt x="273" y="80"/>
                    </a:lnTo>
                    <a:lnTo>
                      <a:pt x="273" y="81"/>
                    </a:lnTo>
                    <a:lnTo>
                      <a:pt x="273" y="82"/>
                    </a:lnTo>
                    <a:lnTo>
                      <a:pt x="273" y="83"/>
                    </a:lnTo>
                    <a:lnTo>
                      <a:pt x="275" y="83"/>
                    </a:lnTo>
                    <a:lnTo>
                      <a:pt x="273" y="83"/>
                    </a:lnTo>
                    <a:lnTo>
                      <a:pt x="275" y="83"/>
                    </a:lnTo>
                    <a:lnTo>
                      <a:pt x="275" y="85"/>
                    </a:lnTo>
                    <a:lnTo>
                      <a:pt x="276" y="85"/>
                    </a:lnTo>
                    <a:lnTo>
                      <a:pt x="276" y="86"/>
                    </a:lnTo>
                    <a:lnTo>
                      <a:pt x="276" y="87"/>
                    </a:lnTo>
                    <a:lnTo>
                      <a:pt x="277" y="89"/>
                    </a:lnTo>
                    <a:lnTo>
                      <a:pt x="278" y="89"/>
                    </a:lnTo>
                    <a:lnTo>
                      <a:pt x="278" y="90"/>
                    </a:lnTo>
                    <a:lnTo>
                      <a:pt x="279" y="90"/>
                    </a:lnTo>
                    <a:lnTo>
                      <a:pt x="280" y="90"/>
                    </a:lnTo>
                    <a:lnTo>
                      <a:pt x="280" y="91"/>
                    </a:lnTo>
                    <a:lnTo>
                      <a:pt x="280" y="92"/>
                    </a:lnTo>
                    <a:lnTo>
                      <a:pt x="281" y="93"/>
                    </a:lnTo>
                    <a:lnTo>
                      <a:pt x="281" y="94"/>
                    </a:lnTo>
                    <a:lnTo>
                      <a:pt x="282" y="95"/>
                    </a:lnTo>
                    <a:lnTo>
                      <a:pt x="283" y="96"/>
                    </a:lnTo>
                    <a:lnTo>
                      <a:pt x="283" y="98"/>
                    </a:lnTo>
                    <a:lnTo>
                      <a:pt x="282" y="98"/>
                    </a:lnTo>
                    <a:lnTo>
                      <a:pt x="282" y="99"/>
                    </a:lnTo>
                    <a:lnTo>
                      <a:pt x="281" y="99"/>
                    </a:lnTo>
                    <a:lnTo>
                      <a:pt x="281" y="100"/>
                    </a:lnTo>
                    <a:lnTo>
                      <a:pt x="280" y="101"/>
                    </a:lnTo>
                    <a:lnTo>
                      <a:pt x="279" y="101"/>
                    </a:lnTo>
                    <a:lnTo>
                      <a:pt x="279" y="102"/>
                    </a:lnTo>
                    <a:lnTo>
                      <a:pt x="278" y="102"/>
                    </a:lnTo>
                    <a:lnTo>
                      <a:pt x="278" y="103"/>
                    </a:lnTo>
                    <a:lnTo>
                      <a:pt x="277" y="103"/>
                    </a:lnTo>
                    <a:lnTo>
                      <a:pt x="277" y="104"/>
                    </a:lnTo>
                    <a:lnTo>
                      <a:pt x="276" y="104"/>
                    </a:lnTo>
                    <a:lnTo>
                      <a:pt x="276" y="105"/>
                    </a:lnTo>
                    <a:lnTo>
                      <a:pt x="276" y="106"/>
                    </a:lnTo>
                    <a:lnTo>
                      <a:pt x="276" y="107"/>
                    </a:lnTo>
                    <a:lnTo>
                      <a:pt x="277" y="107"/>
                    </a:lnTo>
                    <a:lnTo>
                      <a:pt x="277" y="108"/>
                    </a:lnTo>
                    <a:lnTo>
                      <a:pt x="277" y="109"/>
                    </a:lnTo>
                    <a:lnTo>
                      <a:pt x="278" y="111"/>
                    </a:lnTo>
                    <a:lnTo>
                      <a:pt x="278" y="112"/>
                    </a:lnTo>
                    <a:lnTo>
                      <a:pt x="277" y="112"/>
                    </a:lnTo>
                    <a:lnTo>
                      <a:pt x="278" y="112"/>
                    </a:lnTo>
                    <a:lnTo>
                      <a:pt x="278" y="113"/>
                    </a:lnTo>
                    <a:lnTo>
                      <a:pt x="278" y="114"/>
                    </a:lnTo>
                    <a:lnTo>
                      <a:pt x="278" y="113"/>
                    </a:lnTo>
                    <a:lnTo>
                      <a:pt x="279" y="113"/>
                    </a:lnTo>
                    <a:lnTo>
                      <a:pt x="280" y="113"/>
                    </a:lnTo>
                    <a:lnTo>
                      <a:pt x="280" y="114"/>
                    </a:lnTo>
                    <a:lnTo>
                      <a:pt x="281" y="114"/>
                    </a:lnTo>
                    <a:lnTo>
                      <a:pt x="280" y="114"/>
                    </a:lnTo>
                    <a:lnTo>
                      <a:pt x="280" y="115"/>
                    </a:lnTo>
                    <a:lnTo>
                      <a:pt x="281" y="115"/>
                    </a:lnTo>
                    <a:lnTo>
                      <a:pt x="281" y="116"/>
                    </a:lnTo>
                    <a:lnTo>
                      <a:pt x="282" y="116"/>
                    </a:lnTo>
                    <a:lnTo>
                      <a:pt x="283" y="116"/>
                    </a:lnTo>
                    <a:lnTo>
                      <a:pt x="283" y="117"/>
                    </a:lnTo>
                    <a:lnTo>
                      <a:pt x="284" y="117"/>
                    </a:lnTo>
                    <a:lnTo>
                      <a:pt x="285" y="117"/>
                    </a:lnTo>
                    <a:lnTo>
                      <a:pt x="285" y="118"/>
                    </a:lnTo>
                    <a:lnTo>
                      <a:pt x="285" y="119"/>
                    </a:lnTo>
                    <a:lnTo>
                      <a:pt x="286" y="119"/>
                    </a:lnTo>
                    <a:lnTo>
                      <a:pt x="288" y="119"/>
                    </a:lnTo>
                    <a:lnTo>
                      <a:pt x="288" y="120"/>
                    </a:lnTo>
                    <a:lnTo>
                      <a:pt x="288" y="121"/>
                    </a:lnTo>
                    <a:lnTo>
                      <a:pt x="289" y="121"/>
                    </a:lnTo>
                    <a:lnTo>
                      <a:pt x="289" y="122"/>
                    </a:lnTo>
                    <a:lnTo>
                      <a:pt x="289" y="124"/>
                    </a:lnTo>
                    <a:lnTo>
                      <a:pt x="288" y="124"/>
                    </a:lnTo>
                    <a:lnTo>
                      <a:pt x="289" y="125"/>
                    </a:lnTo>
                    <a:lnTo>
                      <a:pt x="289" y="126"/>
                    </a:lnTo>
                    <a:lnTo>
                      <a:pt x="290" y="127"/>
                    </a:lnTo>
                    <a:lnTo>
                      <a:pt x="291" y="128"/>
                    </a:lnTo>
                    <a:lnTo>
                      <a:pt x="291" y="129"/>
                    </a:lnTo>
                    <a:lnTo>
                      <a:pt x="292" y="130"/>
                    </a:lnTo>
                    <a:lnTo>
                      <a:pt x="292" y="131"/>
                    </a:lnTo>
                    <a:lnTo>
                      <a:pt x="293" y="131"/>
                    </a:lnTo>
                    <a:lnTo>
                      <a:pt x="293" y="132"/>
                    </a:lnTo>
                    <a:lnTo>
                      <a:pt x="293" y="133"/>
                    </a:lnTo>
                    <a:lnTo>
                      <a:pt x="292" y="133"/>
                    </a:lnTo>
                    <a:lnTo>
                      <a:pt x="292" y="134"/>
                    </a:lnTo>
                    <a:lnTo>
                      <a:pt x="293" y="134"/>
                    </a:lnTo>
                    <a:lnTo>
                      <a:pt x="293" y="136"/>
                    </a:lnTo>
                    <a:lnTo>
                      <a:pt x="292" y="134"/>
                    </a:lnTo>
                    <a:lnTo>
                      <a:pt x="291" y="136"/>
                    </a:lnTo>
                    <a:lnTo>
                      <a:pt x="292" y="136"/>
                    </a:lnTo>
                    <a:lnTo>
                      <a:pt x="292" y="137"/>
                    </a:lnTo>
                    <a:lnTo>
                      <a:pt x="291" y="137"/>
                    </a:lnTo>
                    <a:lnTo>
                      <a:pt x="292" y="138"/>
                    </a:lnTo>
                    <a:lnTo>
                      <a:pt x="291" y="138"/>
                    </a:lnTo>
                    <a:lnTo>
                      <a:pt x="290" y="138"/>
                    </a:lnTo>
                    <a:lnTo>
                      <a:pt x="290" y="139"/>
                    </a:lnTo>
                    <a:lnTo>
                      <a:pt x="289" y="140"/>
                    </a:lnTo>
                    <a:lnTo>
                      <a:pt x="290" y="140"/>
                    </a:lnTo>
                    <a:lnTo>
                      <a:pt x="290" y="141"/>
                    </a:lnTo>
                    <a:lnTo>
                      <a:pt x="290" y="142"/>
                    </a:lnTo>
                    <a:lnTo>
                      <a:pt x="290" y="143"/>
                    </a:lnTo>
                    <a:lnTo>
                      <a:pt x="289" y="142"/>
                    </a:lnTo>
                    <a:lnTo>
                      <a:pt x="288" y="142"/>
                    </a:lnTo>
                    <a:lnTo>
                      <a:pt x="289" y="142"/>
                    </a:lnTo>
                    <a:lnTo>
                      <a:pt x="288" y="143"/>
                    </a:lnTo>
                    <a:lnTo>
                      <a:pt x="288" y="144"/>
                    </a:lnTo>
                    <a:lnTo>
                      <a:pt x="286" y="144"/>
                    </a:lnTo>
                    <a:lnTo>
                      <a:pt x="285" y="145"/>
                    </a:lnTo>
                    <a:lnTo>
                      <a:pt x="285" y="146"/>
                    </a:lnTo>
                    <a:lnTo>
                      <a:pt x="284" y="147"/>
                    </a:lnTo>
                    <a:lnTo>
                      <a:pt x="283" y="147"/>
                    </a:lnTo>
                    <a:lnTo>
                      <a:pt x="283" y="149"/>
                    </a:lnTo>
                    <a:lnTo>
                      <a:pt x="282" y="150"/>
                    </a:lnTo>
                    <a:lnTo>
                      <a:pt x="282" y="151"/>
                    </a:lnTo>
                    <a:lnTo>
                      <a:pt x="281" y="151"/>
                    </a:lnTo>
                    <a:lnTo>
                      <a:pt x="280" y="151"/>
                    </a:lnTo>
                    <a:lnTo>
                      <a:pt x="281" y="152"/>
                    </a:lnTo>
                    <a:lnTo>
                      <a:pt x="280" y="152"/>
                    </a:lnTo>
                    <a:lnTo>
                      <a:pt x="279" y="152"/>
                    </a:lnTo>
                    <a:lnTo>
                      <a:pt x="279" y="153"/>
                    </a:lnTo>
                    <a:lnTo>
                      <a:pt x="280" y="153"/>
                    </a:lnTo>
                    <a:lnTo>
                      <a:pt x="280" y="154"/>
                    </a:lnTo>
                    <a:lnTo>
                      <a:pt x="280" y="155"/>
                    </a:lnTo>
                    <a:lnTo>
                      <a:pt x="280" y="156"/>
                    </a:lnTo>
                    <a:lnTo>
                      <a:pt x="280" y="157"/>
                    </a:lnTo>
                    <a:lnTo>
                      <a:pt x="280" y="158"/>
                    </a:lnTo>
                    <a:lnTo>
                      <a:pt x="281" y="158"/>
                    </a:lnTo>
                    <a:lnTo>
                      <a:pt x="281" y="159"/>
                    </a:lnTo>
                    <a:lnTo>
                      <a:pt x="281" y="160"/>
                    </a:lnTo>
                    <a:lnTo>
                      <a:pt x="280" y="160"/>
                    </a:lnTo>
                    <a:lnTo>
                      <a:pt x="280" y="159"/>
                    </a:lnTo>
                    <a:lnTo>
                      <a:pt x="280" y="158"/>
                    </a:lnTo>
                    <a:lnTo>
                      <a:pt x="279" y="158"/>
                    </a:lnTo>
                    <a:lnTo>
                      <a:pt x="279" y="157"/>
                    </a:lnTo>
                    <a:lnTo>
                      <a:pt x="278" y="157"/>
                    </a:lnTo>
                    <a:lnTo>
                      <a:pt x="278" y="158"/>
                    </a:lnTo>
                    <a:lnTo>
                      <a:pt x="279" y="158"/>
                    </a:lnTo>
                    <a:lnTo>
                      <a:pt x="280" y="159"/>
                    </a:lnTo>
                    <a:lnTo>
                      <a:pt x="280" y="160"/>
                    </a:lnTo>
                    <a:lnTo>
                      <a:pt x="281" y="160"/>
                    </a:lnTo>
                    <a:lnTo>
                      <a:pt x="281" y="159"/>
                    </a:lnTo>
                    <a:lnTo>
                      <a:pt x="281" y="160"/>
                    </a:lnTo>
                    <a:lnTo>
                      <a:pt x="280" y="160"/>
                    </a:lnTo>
                    <a:lnTo>
                      <a:pt x="280" y="162"/>
                    </a:lnTo>
                    <a:lnTo>
                      <a:pt x="280" y="163"/>
                    </a:lnTo>
                    <a:lnTo>
                      <a:pt x="279" y="163"/>
                    </a:lnTo>
                    <a:lnTo>
                      <a:pt x="280" y="163"/>
                    </a:lnTo>
                    <a:lnTo>
                      <a:pt x="279" y="163"/>
                    </a:lnTo>
                    <a:lnTo>
                      <a:pt x="280" y="164"/>
                    </a:lnTo>
                    <a:lnTo>
                      <a:pt x="280" y="165"/>
                    </a:lnTo>
                    <a:lnTo>
                      <a:pt x="279" y="165"/>
                    </a:lnTo>
                    <a:lnTo>
                      <a:pt x="279" y="164"/>
                    </a:lnTo>
                    <a:lnTo>
                      <a:pt x="278" y="163"/>
                    </a:lnTo>
                    <a:lnTo>
                      <a:pt x="278" y="162"/>
                    </a:lnTo>
                    <a:lnTo>
                      <a:pt x="277" y="162"/>
                    </a:lnTo>
                    <a:lnTo>
                      <a:pt x="277" y="163"/>
                    </a:lnTo>
                    <a:lnTo>
                      <a:pt x="277" y="162"/>
                    </a:lnTo>
                    <a:lnTo>
                      <a:pt x="278" y="163"/>
                    </a:lnTo>
                    <a:lnTo>
                      <a:pt x="278" y="164"/>
                    </a:lnTo>
                    <a:lnTo>
                      <a:pt x="279" y="164"/>
                    </a:lnTo>
                    <a:lnTo>
                      <a:pt x="279" y="165"/>
                    </a:lnTo>
                    <a:lnTo>
                      <a:pt x="280" y="166"/>
                    </a:lnTo>
                    <a:lnTo>
                      <a:pt x="281" y="166"/>
                    </a:lnTo>
                    <a:lnTo>
                      <a:pt x="281" y="167"/>
                    </a:lnTo>
                    <a:lnTo>
                      <a:pt x="282" y="168"/>
                    </a:lnTo>
                    <a:lnTo>
                      <a:pt x="283" y="168"/>
                    </a:lnTo>
                    <a:lnTo>
                      <a:pt x="283" y="169"/>
                    </a:lnTo>
                    <a:lnTo>
                      <a:pt x="282" y="168"/>
                    </a:lnTo>
                    <a:lnTo>
                      <a:pt x="281" y="169"/>
                    </a:lnTo>
                    <a:lnTo>
                      <a:pt x="282" y="169"/>
                    </a:lnTo>
                    <a:lnTo>
                      <a:pt x="282" y="170"/>
                    </a:lnTo>
                    <a:lnTo>
                      <a:pt x="283" y="170"/>
                    </a:lnTo>
                    <a:lnTo>
                      <a:pt x="284" y="170"/>
                    </a:lnTo>
                    <a:lnTo>
                      <a:pt x="285" y="170"/>
                    </a:lnTo>
                    <a:lnTo>
                      <a:pt x="285" y="171"/>
                    </a:lnTo>
                    <a:lnTo>
                      <a:pt x="286" y="171"/>
                    </a:lnTo>
                    <a:lnTo>
                      <a:pt x="286" y="172"/>
                    </a:lnTo>
                    <a:lnTo>
                      <a:pt x="286" y="173"/>
                    </a:lnTo>
                    <a:lnTo>
                      <a:pt x="286" y="175"/>
                    </a:lnTo>
                    <a:lnTo>
                      <a:pt x="288" y="175"/>
                    </a:lnTo>
                    <a:lnTo>
                      <a:pt x="289" y="176"/>
                    </a:lnTo>
                    <a:lnTo>
                      <a:pt x="289" y="177"/>
                    </a:lnTo>
                    <a:lnTo>
                      <a:pt x="290" y="177"/>
                    </a:lnTo>
                    <a:lnTo>
                      <a:pt x="290" y="178"/>
                    </a:lnTo>
                    <a:lnTo>
                      <a:pt x="290" y="179"/>
                    </a:lnTo>
                    <a:lnTo>
                      <a:pt x="291" y="179"/>
                    </a:lnTo>
                    <a:lnTo>
                      <a:pt x="291" y="180"/>
                    </a:lnTo>
                    <a:lnTo>
                      <a:pt x="292" y="180"/>
                    </a:lnTo>
                    <a:lnTo>
                      <a:pt x="293" y="180"/>
                    </a:lnTo>
                    <a:lnTo>
                      <a:pt x="294" y="180"/>
                    </a:lnTo>
                    <a:lnTo>
                      <a:pt x="294" y="181"/>
                    </a:lnTo>
                    <a:lnTo>
                      <a:pt x="293" y="181"/>
                    </a:lnTo>
                    <a:lnTo>
                      <a:pt x="293" y="182"/>
                    </a:lnTo>
                    <a:lnTo>
                      <a:pt x="293" y="183"/>
                    </a:lnTo>
                    <a:lnTo>
                      <a:pt x="293" y="184"/>
                    </a:lnTo>
                    <a:lnTo>
                      <a:pt x="294" y="185"/>
                    </a:lnTo>
                    <a:lnTo>
                      <a:pt x="295" y="185"/>
                    </a:lnTo>
                    <a:lnTo>
                      <a:pt x="296" y="186"/>
                    </a:lnTo>
                    <a:lnTo>
                      <a:pt x="297" y="186"/>
                    </a:lnTo>
                    <a:lnTo>
                      <a:pt x="297" y="188"/>
                    </a:lnTo>
                    <a:lnTo>
                      <a:pt x="297" y="189"/>
                    </a:lnTo>
                    <a:lnTo>
                      <a:pt x="298" y="189"/>
                    </a:lnTo>
                    <a:lnTo>
                      <a:pt x="298" y="190"/>
                    </a:lnTo>
                    <a:lnTo>
                      <a:pt x="299" y="190"/>
                    </a:lnTo>
                    <a:lnTo>
                      <a:pt x="301" y="191"/>
                    </a:lnTo>
                    <a:lnTo>
                      <a:pt x="301" y="192"/>
                    </a:lnTo>
                    <a:lnTo>
                      <a:pt x="302" y="192"/>
                    </a:lnTo>
                    <a:lnTo>
                      <a:pt x="299" y="192"/>
                    </a:lnTo>
                    <a:lnTo>
                      <a:pt x="285" y="192"/>
                    </a:lnTo>
                    <a:lnTo>
                      <a:pt x="284" y="192"/>
                    </a:lnTo>
                    <a:lnTo>
                      <a:pt x="283" y="192"/>
                    </a:lnTo>
                    <a:lnTo>
                      <a:pt x="279" y="192"/>
                    </a:lnTo>
                    <a:lnTo>
                      <a:pt x="270" y="192"/>
                    </a:lnTo>
                    <a:lnTo>
                      <a:pt x="267" y="192"/>
                    </a:lnTo>
                    <a:lnTo>
                      <a:pt x="265" y="192"/>
                    </a:lnTo>
                    <a:lnTo>
                      <a:pt x="260" y="192"/>
                    </a:lnTo>
                    <a:lnTo>
                      <a:pt x="241" y="192"/>
                    </a:lnTo>
                    <a:lnTo>
                      <a:pt x="234" y="192"/>
                    </a:lnTo>
                    <a:lnTo>
                      <a:pt x="230" y="192"/>
                    </a:lnTo>
                    <a:lnTo>
                      <a:pt x="230" y="241"/>
                    </a:lnTo>
                    <a:lnTo>
                      <a:pt x="230" y="242"/>
                    </a:lnTo>
                    <a:lnTo>
                      <a:pt x="229" y="241"/>
                    </a:lnTo>
                    <a:lnTo>
                      <a:pt x="228" y="239"/>
                    </a:lnTo>
                    <a:lnTo>
                      <a:pt x="227" y="237"/>
                    </a:lnTo>
                    <a:lnTo>
                      <a:pt x="226" y="236"/>
                    </a:lnTo>
                    <a:lnTo>
                      <a:pt x="225" y="236"/>
                    </a:lnTo>
                    <a:lnTo>
                      <a:pt x="225" y="237"/>
                    </a:lnTo>
                    <a:lnTo>
                      <a:pt x="223" y="236"/>
                    </a:lnTo>
                    <a:lnTo>
                      <a:pt x="221" y="236"/>
                    </a:lnTo>
                    <a:lnTo>
                      <a:pt x="221" y="235"/>
                    </a:lnTo>
                    <a:lnTo>
                      <a:pt x="220" y="234"/>
                    </a:lnTo>
                    <a:lnTo>
                      <a:pt x="220" y="235"/>
                    </a:lnTo>
                    <a:lnTo>
                      <a:pt x="219" y="236"/>
                    </a:lnTo>
                    <a:lnTo>
                      <a:pt x="218" y="237"/>
                    </a:lnTo>
                    <a:lnTo>
                      <a:pt x="217" y="239"/>
                    </a:lnTo>
                    <a:lnTo>
                      <a:pt x="216" y="240"/>
                    </a:lnTo>
                    <a:lnTo>
                      <a:pt x="216" y="241"/>
                    </a:lnTo>
                    <a:lnTo>
                      <a:pt x="215" y="242"/>
                    </a:lnTo>
                    <a:lnTo>
                      <a:pt x="215" y="243"/>
                    </a:lnTo>
                    <a:lnTo>
                      <a:pt x="214" y="244"/>
                    </a:lnTo>
                    <a:lnTo>
                      <a:pt x="214" y="245"/>
                    </a:lnTo>
                    <a:lnTo>
                      <a:pt x="213" y="247"/>
                    </a:lnTo>
                    <a:lnTo>
                      <a:pt x="211" y="248"/>
                    </a:lnTo>
                    <a:lnTo>
                      <a:pt x="209" y="248"/>
                    </a:lnTo>
                    <a:lnTo>
                      <a:pt x="208" y="248"/>
                    </a:lnTo>
                    <a:lnTo>
                      <a:pt x="207" y="248"/>
                    </a:lnTo>
                    <a:lnTo>
                      <a:pt x="207" y="249"/>
                    </a:lnTo>
                    <a:lnTo>
                      <a:pt x="206" y="250"/>
                    </a:lnTo>
                    <a:lnTo>
                      <a:pt x="205" y="252"/>
                    </a:lnTo>
                    <a:lnTo>
                      <a:pt x="204" y="253"/>
                    </a:lnTo>
                    <a:lnTo>
                      <a:pt x="205" y="254"/>
                    </a:lnTo>
                    <a:lnTo>
                      <a:pt x="204" y="254"/>
                    </a:lnTo>
                    <a:lnTo>
                      <a:pt x="203" y="254"/>
                    </a:lnTo>
                    <a:lnTo>
                      <a:pt x="202" y="252"/>
                    </a:lnTo>
                    <a:lnTo>
                      <a:pt x="201" y="252"/>
                    </a:lnTo>
                    <a:lnTo>
                      <a:pt x="200" y="252"/>
                    </a:lnTo>
                    <a:lnTo>
                      <a:pt x="198" y="252"/>
                    </a:lnTo>
                    <a:lnTo>
                      <a:pt x="196" y="252"/>
                    </a:lnTo>
                    <a:lnTo>
                      <a:pt x="194" y="249"/>
                    </a:lnTo>
                    <a:lnTo>
                      <a:pt x="193" y="249"/>
                    </a:lnTo>
                    <a:lnTo>
                      <a:pt x="192" y="249"/>
                    </a:lnTo>
                    <a:lnTo>
                      <a:pt x="192" y="247"/>
                    </a:lnTo>
                    <a:lnTo>
                      <a:pt x="192" y="246"/>
                    </a:lnTo>
                    <a:lnTo>
                      <a:pt x="191" y="246"/>
                    </a:lnTo>
                    <a:lnTo>
                      <a:pt x="190" y="246"/>
                    </a:lnTo>
                    <a:lnTo>
                      <a:pt x="189" y="246"/>
                    </a:lnTo>
                    <a:lnTo>
                      <a:pt x="189" y="247"/>
                    </a:lnTo>
                    <a:lnTo>
                      <a:pt x="187" y="248"/>
                    </a:lnTo>
                    <a:lnTo>
                      <a:pt x="186" y="248"/>
                    </a:lnTo>
                    <a:lnTo>
                      <a:pt x="186" y="249"/>
                    </a:lnTo>
                    <a:lnTo>
                      <a:pt x="185" y="249"/>
                    </a:lnTo>
                    <a:lnTo>
                      <a:pt x="185" y="250"/>
                    </a:lnTo>
                    <a:lnTo>
                      <a:pt x="183" y="252"/>
                    </a:lnTo>
                    <a:lnTo>
                      <a:pt x="182" y="252"/>
                    </a:lnTo>
                    <a:lnTo>
                      <a:pt x="181" y="253"/>
                    </a:lnTo>
                    <a:lnTo>
                      <a:pt x="180" y="253"/>
                    </a:lnTo>
                    <a:lnTo>
                      <a:pt x="179" y="253"/>
                    </a:lnTo>
                    <a:lnTo>
                      <a:pt x="179" y="252"/>
                    </a:lnTo>
                    <a:lnTo>
                      <a:pt x="179" y="250"/>
                    </a:lnTo>
                    <a:lnTo>
                      <a:pt x="178" y="249"/>
                    </a:lnTo>
                    <a:lnTo>
                      <a:pt x="177" y="249"/>
                    </a:lnTo>
                    <a:lnTo>
                      <a:pt x="176" y="249"/>
                    </a:lnTo>
                    <a:lnTo>
                      <a:pt x="175" y="248"/>
                    </a:lnTo>
                    <a:lnTo>
                      <a:pt x="174" y="248"/>
                    </a:lnTo>
                    <a:lnTo>
                      <a:pt x="173" y="248"/>
                    </a:lnTo>
                    <a:lnTo>
                      <a:pt x="172" y="248"/>
                    </a:lnTo>
                    <a:lnTo>
                      <a:pt x="167" y="247"/>
                    </a:lnTo>
                    <a:lnTo>
                      <a:pt x="166" y="247"/>
                    </a:lnTo>
                    <a:lnTo>
                      <a:pt x="165" y="246"/>
                    </a:lnTo>
                    <a:lnTo>
                      <a:pt x="164" y="246"/>
                    </a:lnTo>
                    <a:lnTo>
                      <a:pt x="163" y="245"/>
                    </a:lnTo>
                    <a:lnTo>
                      <a:pt x="162" y="245"/>
                    </a:lnTo>
                    <a:lnTo>
                      <a:pt x="162" y="244"/>
                    </a:lnTo>
                    <a:lnTo>
                      <a:pt x="162" y="243"/>
                    </a:lnTo>
                    <a:lnTo>
                      <a:pt x="163" y="242"/>
                    </a:lnTo>
                    <a:lnTo>
                      <a:pt x="164" y="241"/>
                    </a:lnTo>
                    <a:lnTo>
                      <a:pt x="164" y="240"/>
                    </a:lnTo>
                    <a:lnTo>
                      <a:pt x="163" y="239"/>
                    </a:lnTo>
                    <a:lnTo>
                      <a:pt x="162" y="237"/>
                    </a:lnTo>
                    <a:lnTo>
                      <a:pt x="161" y="237"/>
                    </a:lnTo>
                    <a:lnTo>
                      <a:pt x="161" y="236"/>
                    </a:lnTo>
                    <a:lnTo>
                      <a:pt x="162" y="235"/>
                    </a:lnTo>
                    <a:lnTo>
                      <a:pt x="162" y="234"/>
                    </a:lnTo>
                    <a:lnTo>
                      <a:pt x="161" y="234"/>
                    </a:lnTo>
                    <a:lnTo>
                      <a:pt x="160" y="233"/>
                    </a:lnTo>
                    <a:lnTo>
                      <a:pt x="161" y="232"/>
                    </a:lnTo>
                    <a:lnTo>
                      <a:pt x="161" y="231"/>
                    </a:lnTo>
                    <a:lnTo>
                      <a:pt x="160" y="231"/>
                    </a:lnTo>
                    <a:lnTo>
                      <a:pt x="160" y="230"/>
                    </a:lnTo>
                    <a:lnTo>
                      <a:pt x="159" y="230"/>
                    </a:lnTo>
                    <a:lnTo>
                      <a:pt x="157" y="230"/>
                    </a:lnTo>
                    <a:lnTo>
                      <a:pt x="156" y="229"/>
                    </a:lnTo>
                    <a:lnTo>
                      <a:pt x="155" y="228"/>
                    </a:lnTo>
                    <a:lnTo>
                      <a:pt x="155" y="227"/>
                    </a:lnTo>
                    <a:lnTo>
                      <a:pt x="156" y="227"/>
                    </a:lnTo>
                    <a:lnTo>
                      <a:pt x="156" y="226"/>
                    </a:lnTo>
                    <a:lnTo>
                      <a:pt x="157" y="226"/>
                    </a:lnTo>
                    <a:lnTo>
                      <a:pt x="159" y="224"/>
                    </a:lnTo>
                    <a:lnTo>
                      <a:pt x="160" y="224"/>
                    </a:lnTo>
                    <a:lnTo>
                      <a:pt x="160" y="223"/>
                    </a:lnTo>
                    <a:lnTo>
                      <a:pt x="159" y="222"/>
                    </a:lnTo>
                    <a:lnTo>
                      <a:pt x="159" y="221"/>
                    </a:lnTo>
                    <a:lnTo>
                      <a:pt x="160" y="220"/>
                    </a:lnTo>
                    <a:lnTo>
                      <a:pt x="161" y="220"/>
                    </a:lnTo>
                    <a:lnTo>
                      <a:pt x="161" y="219"/>
                    </a:lnTo>
                    <a:lnTo>
                      <a:pt x="160" y="219"/>
                    </a:lnTo>
                    <a:lnTo>
                      <a:pt x="160" y="218"/>
                    </a:lnTo>
                    <a:lnTo>
                      <a:pt x="159" y="218"/>
                    </a:lnTo>
                    <a:lnTo>
                      <a:pt x="157" y="218"/>
                    </a:lnTo>
                    <a:lnTo>
                      <a:pt x="156" y="218"/>
                    </a:lnTo>
                    <a:lnTo>
                      <a:pt x="155" y="218"/>
                    </a:lnTo>
                    <a:lnTo>
                      <a:pt x="153" y="218"/>
                    </a:lnTo>
                    <a:lnTo>
                      <a:pt x="152" y="218"/>
                    </a:lnTo>
                    <a:lnTo>
                      <a:pt x="151" y="217"/>
                    </a:lnTo>
                    <a:lnTo>
                      <a:pt x="151" y="216"/>
                    </a:lnTo>
                    <a:lnTo>
                      <a:pt x="151" y="215"/>
                    </a:lnTo>
                    <a:lnTo>
                      <a:pt x="151" y="214"/>
                    </a:lnTo>
                    <a:lnTo>
                      <a:pt x="150" y="213"/>
                    </a:lnTo>
                    <a:lnTo>
                      <a:pt x="150" y="211"/>
                    </a:lnTo>
                    <a:lnTo>
                      <a:pt x="150" y="209"/>
                    </a:lnTo>
                    <a:lnTo>
                      <a:pt x="150" y="208"/>
                    </a:lnTo>
                    <a:lnTo>
                      <a:pt x="150" y="207"/>
                    </a:lnTo>
                    <a:lnTo>
                      <a:pt x="149" y="206"/>
                    </a:lnTo>
                    <a:lnTo>
                      <a:pt x="148" y="205"/>
                    </a:lnTo>
                    <a:lnTo>
                      <a:pt x="147" y="204"/>
                    </a:lnTo>
                    <a:lnTo>
                      <a:pt x="147" y="203"/>
                    </a:lnTo>
                    <a:lnTo>
                      <a:pt x="147" y="202"/>
                    </a:lnTo>
                    <a:lnTo>
                      <a:pt x="148" y="202"/>
                    </a:lnTo>
                    <a:lnTo>
                      <a:pt x="148" y="201"/>
                    </a:lnTo>
                    <a:lnTo>
                      <a:pt x="148" y="199"/>
                    </a:lnTo>
                    <a:lnTo>
                      <a:pt x="148" y="198"/>
                    </a:lnTo>
                    <a:lnTo>
                      <a:pt x="147" y="198"/>
                    </a:lnTo>
                    <a:lnTo>
                      <a:pt x="147" y="197"/>
                    </a:lnTo>
                    <a:lnTo>
                      <a:pt x="146" y="196"/>
                    </a:lnTo>
                    <a:lnTo>
                      <a:pt x="144" y="196"/>
                    </a:lnTo>
                    <a:lnTo>
                      <a:pt x="144" y="197"/>
                    </a:lnTo>
                    <a:lnTo>
                      <a:pt x="143" y="197"/>
                    </a:lnTo>
                    <a:lnTo>
                      <a:pt x="142" y="197"/>
                    </a:lnTo>
                    <a:lnTo>
                      <a:pt x="142" y="196"/>
                    </a:lnTo>
                    <a:lnTo>
                      <a:pt x="141" y="195"/>
                    </a:lnTo>
                    <a:lnTo>
                      <a:pt x="139" y="193"/>
                    </a:lnTo>
                    <a:lnTo>
                      <a:pt x="138" y="192"/>
                    </a:lnTo>
                    <a:lnTo>
                      <a:pt x="137" y="192"/>
                    </a:lnTo>
                    <a:lnTo>
                      <a:pt x="137" y="191"/>
                    </a:lnTo>
                    <a:lnTo>
                      <a:pt x="136" y="191"/>
                    </a:lnTo>
                    <a:lnTo>
                      <a:pt x="135" y="190"/>
                    </a:lnTo>
                    <a:lnTo>
                      <a:pt x="134" y="189"/>
                    </a:lnTo>
                    <a:lnTo>
                      <a:pt x="133" y="189"/>
                    </a:lnTo>
                    <a:lnTo>
                      <a:pt x="131" y="188"/>
                    </a:lnTo>
                    <a:lnTo>
                      <a:pt x="130" y="186"/>
                    </a:lnTo>
                    <a:lnTo>
                      <a:pt x="129" y="185"/>
                    </a:lnTo>
                    <a:lnTo>
                      <a:pt x="128" y="185"/>
                    </a:lnTo>
                    <a:lnTo>
                      <a:pt x="128" y="184"/>
                    </a:lnTo>
                    <a:lnTo>
                      <a:pt x="128" y="183"/>
                    </a:lnTo>
                    <a:lnTo>
                      <a:pt x="128" y="182"/>
                    </a:lnTo>
                    <a:lnTo>
                      <a:pt x="127" y="181"/>
                    </a:lnTo>
                    <a:lnTo>
                      <a:pt x="127" y="180"/>
                    </a:lnTo>
                    <a:lnTo>
                      <a:pt x="126" y="180"/>
                    </a:lnTo>
                    <a:lnTo>
                      <a:pt x="125" y="181"/>
                    </a:lnTo>
                    <a:lnTo>
                      <a:pt x="125" y="180"/>
                    </a:lnTo>
                    <a:lnTo>
                      <a:pt x="123" y="180"/>
                    </a:lnTo>
                    <a:lnTo>
                      <a:pt x="122" y="180"/>
                    </a:lnTo>
                    <a:lnTo>
                      <a:pt x="122" y="181"/>
                    </a:lnTo>
                    <a:lnTo>
                      <a:pt x="121" y="182"/>
                    </a:lnTo>
                    <a:lnTo>
                      <a:pt x="120" y="183"/>
                    </a:lnTo>
                    <a:lnTo>
                      <a:pt x="117" y="183"/>
                    </a:lnTo>
                    <a:lnTo>
                      <a:pt x="116" y="183"/>
                    </a:lnTo>
                    <a:lnTo>
                      <a:pt x="116" y="182"/>
                    </a:lnTo>
                    <a:lnTo>
                      <a:pt x="117" y="181"/>
                    </a:lnTo>
                    <a:lnTo>
                      <a:pt x="117" y="180"/>
                    </a:lnTo>
                    <a:lnTo>
                      <a:pt x="117" y="179"/>
                    </a:lnTo>
                    <a:lnTo>
                      <a:pt x="116" y="179"/>
                    </a:lnTo>
                    <a:lnTo>
                      <a:pt x="115" y="179"/>
                    </a:lnTo>
                    <a:lnTo>
                      <a:pt x="113" y="180"/>
                    </a:lnTo>
                    <a:lnTo>
                      <a:pt x="112" y="180"/>
                    </a:lnTo>
                    <a:lnTo>
                      <a:pt x="111" y="180"/>
                    </a:lnTo>
                    <a:lnTo>
                      <a:pt x="110" y="180"/>
                    </a:lnTo>
                    <a:lnTo>
                      <a:pt x="109" y="180"/>
                    </a:lnTo>
                    <a:lnTo>
                      <a:pt x="108" y="180"/>
                    </a:lnTo>
                    <a:lnTo>
                      <a:pt x="107" y="180"/>
                    </a:lnTo>
                    <a:lnTo>
                      <a:pt x="105" y="180"/>
                    </a:lnTo>
                    <a:lnTo>
                      <a:pt x="105" y="179"/>
                    </a:lnTo>
                    <a:lnTo>
                      <a:pt x="104" y="179"/>
                    </a:lnTo>
                    <a:lnTo>
                      <a:pt x="104" y="178"/>
                    </a:lnTo>
                    <a:lnTo>
                      <a:pt x="104" y="177"/>
                    </a:lnTo>
                    <a:lnTo>
                      <a:pt x="103" y="175"/>
                    </a:lnTo>
                    <a:lnTo>
                      <a:pt x="102" y="173"/>
                    </a:lnTo>
                    <a:lnTo>
                      <a:pt x="102" y="172"/>
                    </a:lnTo>
                    <a:lnTo>
                      <a:pt x="100" y="172"/>
                    </a:lnTo>
                    <a:lnTo>
                      <a:pt x="99" y="171"/>
                    </a:lnTo>
                    <a:lnTo>
                      <a:pt x="98" y="170"/>
                    </a:lnTo>
                    <a:lnTo>
                      <a:pt x="98" y="169"/>
                    </a:lnTo>
                    <a:lnTo>
                      <a:pt x="97" y="168"/>
                    </a:lnTo>
                    <a:lnTo>
                      <a:pt x="97" y="167"/>
                    </a:lnTo>
                    <a:lnTo>
                      <a:pt x="96" y="167"/>
                    </a:lnTo>
                    <a:lnTo>
                      <a:pt x="96" y="166"/>
                    </a:lnTo>
                    <a:lnTo>
                      <a:pt x="96" y="165"/>
                    </a:lnTo>
                    <a:lnTo>
                      <a:pt x="96" y="164"/>
                    </a:lnTo>
                    <a:lnTo>
                      <a:pt x="96" y="163"/>
                    </a:lnTo>
                    <a:lnTo>
                      <a:pt x="95" y="162"/>
                    </a:lnTo>
                    <a:lnTo>
                      <a:pt x="94" y="160"/>
                    </a:lnTo>
                    <a:lnTo>
                      <a:pt x="94" y="159"/>
                    </a:lnTo>
                    <a:lnTo>
                      <a:pt x="94" y="158"/>
                    </a:lnTo>
                    <a:lnTo>
                      <a:pt x="95" y="157"/>
                    </a:lnTo>
                    <a:lnTo>
                      <a:pt x="94" y="156"/>
                    </a:lnTo>
                    <a:lnTo>
                      <a:pt x="92" y="156"/>
                    </a:lnTo>
                    <a:lnTo>
                      <a:pt x="91" y="155"/>
                    </a:lnTo>
                    <a:lnTo>
                      <a:pt x="91" y="154"/>
                    </a:lnTo>
                    <a:lnTo>
                      <a:pt x="90" y="153"/>
                    </a:lnTo>
                    <a:lnTo>
                      <a:pt x="89" y="153"/>
                    </a:lnTo>
                    <a:lnTo>
                      <a:pt x="89" y="154"/>
                    </a:lnTo>
                    <a:lnTo>
                      <a:pt x="88" y="153"/>
                    </a:lnTo>
                    <a:lnTo>
                      <a:pt x="87" y="153"/>
                    </a:lnTo>
                    <a:lnTo>
                      <a:pt x="86" y="153"/>
                    </a:lnTo>
                    <a:lnTo>
                      <a:pt x="85" y="153"/>
                    </a:lnTo>
                    <a:lnTo>
                      <a:pt x="84" y="152"/>
                    </a:lnTo>
                    <a:lnTo>
                      <a:pt x="83" y="151"/>
                    </a:lnTo>
                    <a:lnTo>
                      <a:pt x="82" y="151"/>
                    </a:lnTo>
                    <a:lnTo>
                      <a:pt x="82" y="150"/>
                    </a:lnTo>
                    <a:lnTo>
                      <a:pt x="82" y="149"/>
                    </a:lnTo>
                    <a:lnTo>
                      <a:pt x="82" y="147"/>
                    </a:lnTo>
                    <a:lnTo>
                      <a:pt x="82" y="145"/>
                    </a:lnTo>
                    <a:lnTo>
                      <a:pt x="82" y="143"/>
                    </a:lnTo>
                    <a:lnTo>
                      <a:pt x="82" y="142"/>
                    </a:lnTo>
                    <a:lnTo>
                      <a:pt x="83" y="141"/>
                    </a:lnTo>
                    <a:lnTo>
                      <a:pt x="83" y="140"/>
                    </a:lnTo>
                    <a:lnTo>
                      <a:pt x="83" y="138"/>
                    </a:lnTo>
                    <a:lnTo>
                      <a:pt x="83" y="133"/>
                    </a:lnTo>
                    <a:lnTo>
                      <a:pt x="83" y="131"/>
                    </a:lnTo>
                    <a:lnTo>
                      <a:pt x="82" y="130"/>
                    </a:lnTo>
                    <a:lnTo>
                      <a:pt x="81" y="129"/>
                    </a:lnTo>
                    <a:lnTo>
                      <a:pt x="79" y="129"/>
                    </a:lnTo>
                    <a:lnTo>
                      <a:pt x="78" y="129"/>
                    </a:lnTo>
                    <a:lnTo>
                      <a:pt x="76" y="129"/>
                    </a:lnTo>
                    <a:lnTo>
                      <a:pt x="76" y="128"/>
                    </a:lnTo>
                    <a:lnTo>
                      <a:pt x="75" y="128"/>
                    </a:lnTo>
                    <a:lnTo>
                      <a:pt x="74" y="128"/>
                    </a:lnTo>
                    <a:lnTo>
                      <a:pt x="70" y="127"/>
                    </a:lnTo>
                    <a:lnTo>
                      <a:pt x="69" y="127"/>
                    </a:lnTo>
                    <a:lnTo>
                      <a:pt x="67" y="126"/>
                    </a:lnTo>
                    <a:lnTo>
                      <a:pt x="66" y="125"/>
                    </a:lnTo>
                    <a:lnTo>
                      <a:pt x="65" y="124"/>
                    </a:lnTo>
                    <a:lnTo>
                      <a:pt x="65" y="122"/>
                    </a:lnTo>
                    <a:lnTo>
                      <a:pt x="65" y="121"/>
                    </a:lnTo>
                    <a:lnTo>
                      <a:pt x="66" y="121"/>
                    </a:lnTo>
                    <a:lnTo>
                      <a:pt x="66" y="120"/>
                    </a:lnTo>
                    <a:lnTo>
                      <a:pt x="66" y="119"/>
                    </a:lnTo>
                    <a:lnTo>
                      <a:pt x="66" y="118"/>
                    </a:lnTo>
                    <a:lnTo>
                      <a:pt x="65" y="117"/>
                    </a:lnTo>
                    <a:lnTo>
                      <a:pt x="64" y="116"/>
                    </a:lnTo>
                    <a:lnTo>
                      <a:pt x="63" y="115"/>
                    </a:lnTo>
                    <a:lnTo>
                      <a:pt x="62" y="115"/>
                    </a:lnTo>
                    <a:lnTo>
                      <a:pt x="62" y="114"/>
                    </a:lnTo>
                    <a:lnTo>
                      <a:pt x="61" y="114"/>
                    </a:lnTo>
                    <a:lnTo>
                      <a:pt x="61" y="113"/>
                    </a:lnTo>
                    <a:lnTo>
                      <a:pt x="61" y="112"/>
                    </a:lnTo>
                    <a:lnTo>
                      <a:pt x="62" y="111"/>
                    </a:lnTo>
                    <a:lnTo>
                      <a:pt x="61" y="109"/>
                    </a:lnTo>
                    <a:lnTo>
                      <a:pt x="60" y="109"/>
                    </a:lnTo>
                    <a:lnTo>
                      <a:pt x="58" y="108"/>
                    </a:lnTo>
                    <a:lnTo>
                      <a:pt x="57" y="107"/>
                    </a:lnTo>
                    <a:lnTo>
                      <a:pt x="56" y="106"/>
                    </a:lnTo>
                    <a:lnTo>
                      <a:pt x="54" y="106"/>
                    </a:lnTo>
                    <a:lnTo>
                      <a:pt x="54" y="105"/>
                    </a:lnTo>
                    <a:lnTo>
                      <a:pt x="53" y="104"/>
                    </a:lnTo>
                    <a:lnTo>
                      <a:pt x="52" y="104"/>
                    </a:lnTo>
                    <a:lnTo>
                      <a:pt x="52" y="103"/>
                    </a:lnTo>
                    <a:lnTo>
                      <a:pt x="51" y="102"/>
                    </a:lnTo>
                    <a:lnTo>
                      <a:pt x="51" y="101"/>
                    </a:lnTo>
                    <a:lnTo>
                      <a:pt x="50" y="101"/>
                    </a:lnTo>
                    <a:lnTo>
                      <a:pt x="49" y="100"/>
                    </a:lnTo>
                    <a:lnTo>
                      <a:pt x="48" y="100"/>
                    </a:lnTo>
                    <a:lnTo>
                      <a:pt x="48" y="99"/>
                    </a:lnTo>
                    <a:lnTo>
                      <a:pt x="47" y="99"/>
                    </a:lnTo>
                    <a:lnTo>
                      <a:pt x="46" y="99"/>
                    </a:lnTo>
                    <a:lnTo>
                      <a:pt x="46" y="98"/>
                    </a:lnTo>
                    <a:lnTo>
                      <a:pt x="45" y="96"/>
                    </a:lnTo>
                    <a:lnTo>
                      <a:pt x="45" y="95"/>
                    </a:lnTo>
                    <a:lnTo>
                      <a:pt x="47" y="93"/>
                    </a:lnTo>
                    <a:lnTo>
                      <a:pt x="47" y="92"/>
                    </a:lnTo>
                    <a:lnTo>
                      <a:pt x="47" y="91"/>
                    </a:lnTo>
                    <a:lnTo>
                      <a:pt x="48" y="90"/>
                    </a:lnTo>
                    <a:lnTo>
                      <a:pt x="49" y="89"/>
                    </a:lnTo>
                    <a:lnTo>
                      <a:pt x="50" y="89"/>
                    </a:lnTo>
                    <a:lnTo>
                      <a:pt x="50" y="88"/>
                    </a:lnTo>
                    <a:lnTo>
                      <a:pt x="51" y="88"/>
                    </a:lnTo>
                    <a:lnTo>
                      <a:pt x="52" y="88"/>
                    </a:lnTo>
                    <a:lnTo>
                      <a:pt x="52" y="87"/>
                    </a:lnTo>
                    <a:lnTo>
                      <a:pt x="53" y="86"/>
                    </a:lnTo>
                    <a:lnTo>
                      <a:pt x="54" y="83"/>
                    </a:lnTo>
                    <a:lnTo>
                      <a:pt x="54" y="82"/>
                    </a:lnTo>
                    <a:lnTo>
                      <a:pt x="56" y="81"/>
                    </a:lnTo>
                    <a:lnTo>
                      <a:pt x="57" y="81"/>
                    </a:lnTo>
                    <a:lnTo>
                      <a:pt x="59" y="81"/>
                    </a:lnTo>
                    <a:lnTo>
                      <a:pt x="60" y="81"/>
                    </a:lnTo>
                    <a:lnTo>
                      <a:pt x="61" y="81"/>
                    </a:lnTo>
                    <a:lnTo>
                      <a:pt x="62" y="81"/>
                    </a:lnTo>
                    <a:lnTo>
                      <a:pt x="63" y="80"/>
                    </a:lnTo>
                    <a:lnTo>
                      <a:pt x="64" y="78"/>
                    </a:lnTo>
                    <a:lnTo>
                      <a:pt x="64" y="77"/>
                    </a:lnTo>
                    <a:lnTo>
                      <a:pt x="64" y="76"/>
                    </a:lnTo>
                    <a:lnTo>
                      <a:pt x="63" y="75"/>
                    </a:lnTo>
                    <a:lnTo>
                      <a:pt x="62" y="74"/>
                    </a:lnTo>
                    <a:lnTo>
                      <a:pt x="61" y="72"/>
                    </a:lnTo>
                    <a:lnTo>
                      <a:pt x="60" y="72"/>
                    </a:lnTo>
                    <a:lnTo>
                      <a:pt x="60" y="70"/>
                    </a:lnTo>
                    <a:lnTo>
                      <a:pt x="59" y="69"/>
                    </a:lnTo>
                    <a:lnTo>
                      <a:pt x="58" y="68"/>
                    </a:lnTo>
                    <a:lnTo>
                      <a:pt x="58" y="67"/>
                    </a:lnTo>
                    <a:lnTo>
                      <a:pt x="57" y="66"/>
                    </a:lnTo>
                    <a:lnTo>
                      <a:pt x="57" y="63"/>
                    </a:lnTo>
                    <a:lnTo>
                      <a:pt x="57" y="62"/>
                    </a:lnTo>
                    <a:lnTo>
                      <a:pt x="57" y="61"/>
                    </a:lnTo>
                    <a:lnTo>
                      <a:pt x="57" y="59"/>
                    </a:lnTo>
                    <a:lnTo>
                      <a:pt x="57" y="57"/>
                    </a:lnTo>
                    <a:lnTo>
                      <a:pt x="57" y="56"/>
                    </a:lnTo>
                    <a:lnTo>
                      <a:pt x="57" y="55"/>
                    </a:lnTo>
                    <a:lnTo>
                      <a:pt x="57" y="54"/>
                    </a:lnTo>
                    <a:lnTo>
                      <a:pt x="57" y="53"/>
                    </a:lnTo>
                    <a:lnTo>
                      <a:pt x="57" y="52"/>
                    </a:lnTo>
                    <a:lnTo>
                      <a:pt x="57" y="51"/>
                    </a:lnTo>
                    <a:lnTo>
                      <a:pt x="56" y="50"/>
                    </a:lnTo>
                    <a:lnTo>
                      <a:pt x="56" y="49"/>
                    </a:lnTo>
                    <a:lnTo>
                      <a:pt x="56" y="48"/>
                    </a:lnTo>
                    <a:lnTo>
                      <a:pt x="56" y="47"/>
                    </a:lnTo>
                    <a:lnTo>
                      <a:pt x="56" y="44"/>
                    </a:lnTo>
                    <a:lnTo>
                      <a:pt x="56" y="43"/>
                    </a:lnTo>
                    <a:lnTo>
                      <a:pt x="54" y="43"/>
                    </a:lnTo>
                    <a:lnTo>
                      <a:pt x="54" y="42"/>
                    </a:lnTo>
                    <a:lnTo>
                      <a:pt x="54" y="41"/>
                    </a:lnTo>
                    <a:lnTo>
                      <a:pt x="53" y="40"/>
                    </a:lnTo>
                    <a:lnTo>
                      <a:pt x="52" y="39"/>
                    </a:lnTo>
                    <a:lnTo>
                      <a:pt x="52" y="38"/>
                    </a:lnTo>
                    <a:lnTo>
                      <a:pt x="50" y="37"/>
                    </a:lnTo>
                    <a:lnTo>
                      <a:pt x="49" y="36"/>
                    </a:lnTo>
                    <a:lnTo>
                      <a:pt x="49" y="35"/>
                    </a:lnTo>
                    <a:lnTo>
                      <a:pt x="49" y="34"/>
                    </a:lnTo>
                    <a:lnTo>
                      <a:pt x="49" y="32"/>
                    </a:lnTo>
                    <a:lnTo>
                      <a:pt x="48" y="32"/>
                    </a:lnTo>
                    <a:lnTo>
                      <a:pt x="47" y="32"/>
                    </a:lnTo>
                    <a:lnTo>
                      <a:pt x="46" y="32"/>
                    </a:lnTo>
                    <a:lnTo>
                      <a:pt x="45" y="32"/>
                    </a:lnTo>
                    <a:lnTo>
                      <a:pt x="44" y="32"/>
                    </a:lnTo>
                    <a:lnTo>
                      <a:pt x="43" y="32"/>
                    </a:lnTo>
                    <a:lnTo>
                      <a:pt x="40" y="31"/>
                    </a:lnTo>
                    <a:lnTo>
                      <a:pt x="38" y="32"/>
                    </a:lnTo>
                    <a:lnTo>
                      <a:pt x="37" y="32"/>
                    </a:lnTo>
                    <a:lnTo>
                      <a:pt x="36" y="32"/>
                    </a:lnTo>
                    <a:lnTo>
                      <a:pt x="36" y="34"/>
                    </a:lnTo>
                    <a:lnTo>
                      <a:pt x="35" y="32"/>
                    </a:lnTo>
                    <a:lnTo>
                      <a:pt x="34" y="32"/>
                    </a:lnTo>
                    <a:lnTo>
                      <a:pt x="31" y="31"/>
                    </a:lnTo>
                    <a:lnTo>
                      <a:pt x="30" y="31"/>
                    </a:lnTo>
                    <a:lnTo>
                      <a:pt x="28" y="30"/>
                    </a:lnTo>
                    <a:lnTo>
                      <a:pt x="27" y="29"/>
                    </a:lnTo>
                    <a:lnTo>
                      <a:pt x="25" y="28"/>
                    </a:lnTo>
                    <a:lnTo>
                      <a:pt x="24" y="28"/>
                    </a:lnTo>
                    <a:lnTo>
                      <a:pt x="23" y="28"/>
                    </a:lnTo>
                    <a:lnTo>
                      <a:pt x="22" y="27"/>
                    </a:lnTo>
                    <a:lnTo>
                      <a:pt x="21" y="26"/>
                    </a:lnTo>
                    <a:lnTo>
                      <a:pt x="20" y="26"/>
                    </a:lnTo>
                    <a:lnTo>
                      <a:pt x="17" y="25"/>
                    </a:lnTo>
                    <a:lnTo>
                      <a:pt x="15" y="24"/>
                    </a:lnTo>
                    <a:lnTo>
                      <a:pt x="14" y="24"/>
                    </a:lnTo>
                    <a:lnTo>
                      <a:pt x="13" y="24"/>
                    </a:lnTo>
                    <a:lnTo>
                      <a:pt x="13" y="23"/>
                    </a:lnTo>
                    <a:lnTo>
                      <a:pt x="12" y="23"/>
                    </a:lnTo>
                    <a:lnTo>
                      <a:pt x="12" y="22"/>
                    </a:lnTo>
                    <a:lnTo>
                      <a:pt x="11" y="21"/>
                    </a:lnTo>
                    <a:lnTo>
                      <a:pt x="10" y="19"/>
                    </a:lnTo>
                    <a:lnTo>
                      <a:pt x="10" y="18"/>
                    </a:lnTo>
                    <a:lnTo>
                      <a:pt x="11" y="16"/>
                    </a:lnTo>
                    <a:lnTo>
                      <a:pt x="10" y="16"/>
                    </a:lnTo>
                    <a:lnTo>
                      <a:pt x="10" y="14"/>
                    </a:lnTo>
                    <a:lnTo>
                      <a:pt x="10" y="13"/>
                    </a:lnTo>
                    <a:lnTo>
                      <a:pt x="10" y="12"/>
                    </a:lnTo>
                    <a:lnTo>
                      <a:pt x="9" y="11"/>
                    </a:lnTo>
                    <a:lnTo>
                      <a:pt x="7" y="10"/>
                    </a:lnTo>
                    <a:lnTo>
                      <a:pt x="7" y="9"/>
                    </a:lnTo>
                    <a:lnTo>
                      <a:pt x="6" y="9"/>
                    </a:lnTo>
                    <a:lnTo>
                      <a:pt x="6" y="8"/>
                    </a:lnTo>
                    <a:lnTo>
                      <a:pt x="6" y="6"/>
                    </a:lnTo>
                    <a:lnTo>
                      <a:pt x="6" y="5"/>
                    </a:lnTo>
                    <a:lnTo>
                      <a:pt x="5" y="4"/>
                    </a:lnTo>
                    <a:lnTo>
                      <a:pt x="4" y="3"/>
                    </a:lnTo>
                    <a:lnTo>
                      <a:pt x="2" y="2"/>
                    </a:lnTo>
                    <a:lnTo>
                      <a:pt x="0" y="2"/>
                    </a:lnTo>
                    <a:lnTo>
                      <a:pt x="0" y="1"/>
                    </a:lnTo>
                    <a:lnTo>
                      <a:pt x="0" y="0"/>
                    </a:lnTo>
                    <a:lnTo>
                      <a:pt x="23" y="0"/>
                    </a:lnTo>
                    <a:lnTo>
                      <a:pt x="24" y="0"/>
                    </a:lnTo>
                    <a:lnTo>
                      <a:pt x="70" y="0"/>
                    </a:lnTo>
                    <a:lnTo>
                      <a:pt x="73" y="0"/>
                    </a:lnTo>
                    <a:lnTo>
                      <a:pt x="77" y="0"/>
                    </a:lnTo>
                    <a:lnTo>
                      <a:pt x="78" y="0"/>
                    </a:lnTo>
                    <a:lnTo>
                      <a:pt x="88" y="0"/>
                    </a:lnTo>
                    <a:close/>
                  </a:path>
                </a:pathLst>
              </a:custGeom>
              <a:solidFill>
                <a:srgbClr val="BBDA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9" name="Freeform 39">
                <a:extLst>
                  <a:ext uri="{FF2B5EF4-FFF2-40B4-BE49-F238E27FC236}">
                    <a16:creationId xmlns:a16="http://schemas.microsoft.com/office/drawing/2014/main" id="{25A3985E-DE18-E28E-88E0-88A656C66729}"/>
                  </a:ext>
                </a:extLst>
              </p:cNvPr>
              <p:cNvSpPr>
                <a:spLocks/>
              </p:cNvSpPr>
              <p:nvPr/>
            </p:nvSpPr>
            <p:spPr bwMode="auto">
              <a:xfrm>
                <a:off x="1728788" y="2133600"/>
                <a:ext cx="706438" cy="915988"/>
              </a:xfrm>
              <a:custGeom>
                <a:avLst/>
                <a:gdLst>
                  <a:gd name="T0" fmla="*/ 314 w 445"/>
                  <a:gd name="T1" fmla="*/ 13 h 577"/>
                  <a:gd name="T2" fmla="*/ 316 w 445"/>
                  <a:gd name="T3" fmla="*/ 21 h 577"/>
                  <a:gd name="T4" fmla="*/ 323 w 445"/>
                  <a:gd name="T5" fmla="*/ 31 h 577"/>
                  <a:gd name="T6" fmla="*/ 327 w 445"/>
                  <a:gd name="T7" fmla="*/ 40 h 577"/>
                  <a:gd name="T8" fmla="*/ 329 w 445"/>
                  <a:gd name="T9" fmla="*/ 48 h 577"/>
                  <a:gd name="T10" fmla="*/ 329 w 445"/>
                  <a:gd name="T11" fmla="*/ 56 h 577"/>
                  <a:gd name="T12" fmla="*/ 331 w 445"/>
                  <a:gd name="T13" fmla="*/ 65 h 577"/>
                  <a:gd name="T14" fmla="*/ 335 w 445"/>
                  <a:gd name="T15" fmla="*/ 73 h 577"/>
                  <a:gd name="T16" fmla="*/ 339 w 445"/>
                  <a:gd name="T17" fmla="*/ 84 h 577"/>
                  <a:gd name="T18" fmla="*/ 341 w 445"/>
                  <a:gd name="T19" fmla="*/ 90 h 577"/>
                  <a:gd name="T20" fmla="*/ 340 w 445"/>
                  <a:gd name="T21" fmla="*/ 100 h 577"/>
                  <a:gd name="T22" fmla="*/ 332 w 445"/>
                  <a:gd name="T23" fmla="*/ 114 h 577"/>
                  <a:gd name="T24" fmla="*/ 341 w 445"/>
                  <a:gd name="T25" fmla="*/ 119 h 577"/>
                  <a:gd name="T26" fmla="*/ 342 w 445"/>
                  <a:gd name="T27" fmla="*/ 137 h 577"/>
                  <a:gd name="T28" fmla="*/ 346 w 445"/>
                  <a:gd name="T29" fmla="*/ 150 h 577"/>
                  <a:gd name="T30" fmla="*/ 336 w 445"/>
                  <a:gd name="T31" fmla="*/ 163 h 577"/>
                  <a:gd name="T32" fmla="*/ 331 w 445"/>
                  <a:gd name="T33" fmla="*/ 185 h 577"/>
                  <a:gd name="T34" fmla="*/ 333 w 445"/>
                  <a:gd name="T35" fmla="*/ 210 h 577"/>
                  <a:gd name="T36" fmla="*/ 316 w 445"/>
                  <a:gd name="T37" fmla="*/ 211 h 577"/>
                  <a:gd name="T38" fmla="*/ 304 w 445"/>
                  <a:gd name="T39" fmla="*/ 216 h 577"/>
                  <a:gd name="T40" fmla="*/ 307 w 445"/>
                  <a:gd name="T41" fmla="*/ 227 h 577"/>
                  <a:gd name="T42" fmla="*/ 302 w 445"/>
                  <a:gd name="T43" fmla="*/ 236 h 577"/>
                  <a:gd name="T44" fmla="*/ 302 w 445"/>
                  <a:gd name="T45" fmla="*/ 255 h 577"/>
                  <a:gd name="T46" fmla="*/ 292 w 445"/>
                  <a:gd name="T47" fmla="*/ 265 h 577"/>
                  <a:gd name="T48" fmla="*/ 289 w 445"/>
                  <a:gd name="T49" fmla="*/ 284 h 577"/>
                  <a:gd name="T50" fmla="*/ 287 w 445"/>
                  <a:gd name="T51" fmla="*/ 312 h 577"/>
                  <a:gd name="T52" fmla="*/ 293 w 445"/>
                  <a:gd name="T53" fmla="*/ 331 h 577"/>
                  <a:gd name="T54" fmla="*/ 316 w 445"/>
                  <a:gd name="T55" fmla="*/ 342 h 577"/>
                  <a:gd name="T56" fmla="*/ 328 w 445"/>
                  <a:gd name="T57" fmla="*/ 365 h 577"/>
                  <a:gd name="T58" fmla="*/ 347 w 445"/>
                  <a:gd name="T59" fmla="*/ 383 h 577"/>
                  <a:gd name="T60" fmla="*/ 392 w 445"/>
                  <a:gd name="T61" fmla="*/ 397 h 577"/>
                  <a:gd name="T62" fmla="*/ 419 w 445"/>
                  <a:gd name="T63" fmla="*/ 424 h 577"/>
                  <a:gd name="T64" fmla="*/ 428 w 445"/>
                  <a:gd name="T65" fmla="*/ 440 h 577"/>
                  <a:gd name="T66" fmla="*/ 443 w 445"/>
                  <a:gd name="T67" fmla="*/ 455 h 577"/>
                  <a:gd name="T68" fmla="*/ 365 w 445"/>
                  <a:gd name="T69" fmla="*/ 519 h 577"/>
                  <a:gd name="T70" fmla="*/ 280 w 445"/>
                  <a:gd name="T71" fmla="*/ 575 h 577"/>
                  <a:gd name="T72" fmla="*/ 252 w 445"/>
                  <a:gd name="T73" fmla="*/ 567 h 577"/>
                  <a:gd name="T74" fmla="*/ 126 w 445"/>
                  <a:gd name="T75" fmla="*/ 467 h 577"/>
                  <a:gd name="T76" fmla="*/ 64 w 445"/>
                  <a:gd name="T77" fmla="*/ 364 h 577"/>
                  <a:gd name="T78" fmla="*/ 2 w 445"/>
                  <a:gd name="T79" fmla="*/ 288 h 577"/>
                  <a:gd name="T80" fmla="*/ 3 w 445"/>
                  <a:gd name="T81" fmla="*/ 177 h 577"/>
                  <a:gd name="T82" fmla="*/ 7 w 445"/>
                  <a:gd name="T83" fmla="*/ 163 h 577"/>
                  <a:gd name="T84" fmla="*/ 18 w 445"/>
                  <a:gd name="T85" fmla="*/ 162 h 577"/>
                  <a:gd name="T86" fmla="*/ 38 w 445"/>
                  <a:gd name="T87" fmla="*/ 163 h 577"/>
                  <a:gd name="T88" fmla="*/ 51 w 445"/>
                  <a:gd name="T89" fmla="*/ 164 h 577"/>
                  <a:gd name="T90" fmla="*/ 57 w 445"/>
                  <a:gd name="T91" fmla="*/ 180 h 577"/>
                  <a:gd name="T92" fmla="*/ 80 w 445"/>
                  <a:gd name="T93" fmla="*/ 185 h 577"/>
                  <a:gd name="T94" fmla="*/ 99 w 445"/>
                  <a:gd name="T95" fmla="*/ 189 h 577"/>
                  <a:gd name="T96" fmla="*/ 115 w 445"/>
                  <a:gd name="T97" fmla="*/ 170 h 577"/>
                  <a:gd name="T98" fmla="*/ 174 w 445"/>
                  <a:gd name="T99" fmla="*/ 127 h 577"/>
                  <a:gd name="T100" fmla="*/ 188 w 445"/>
                  <a:gd name="T101" fmla="*/ 116 h 577"/>
                  <a:gd name="T102" fmla="*/ 178 w 445"/>
                  <a:gd name="T103" fmla="*/ 105 h 577"/>
                  <a:gd name="T104" fmla="*/ 174 w 445"/>
                  <a:gd name="T105" fmla="*/ 99 h 577"/>
                  <a:gd name="T106" fmla="*/ 175 w 445"/>
                  <a:gd name="T107" fmla="*/ 93 h 577"/>
                  <a:gd name="T108" fmla="*/ 178 w 445"/>
                  <a:gd name="T109" fmla="*/ 84 h 577"/>
                  <a:gd name="T110" fmla="*/ 186 w 445"/>
                  <a:gd name="T111" fmla="*/ 72 h 577"/>
                  <a:gd name="T112" fmla="*/ 184 w 445"/>
                  <a:gd name="T113" fmla="*/ 59 h 577"/>
                  <a:gd name="T114" fmla="*/ 175 w 445"/>
                  <a:gd name="T115" fmla="*/ 48 h 577"/>
                  <a:gd name="T116" fmla="*/ 174 w 445"/>
                  <a:gd name="T117" fmla="*/ 37 h 577"/>
                  <a:gd name="T118" fmla="*/ 171 w 445"/>
                  <a:gd name="T119" fmla="*/ 21 h 577"/>
                  <a:gd name="T120" fmla="*/ 165 w 445"/>
                  <a:gd name="T121" fmla="*/ 11 h 577"/>
                  <a:gd name="T122" fmla="*/ 158 w 445"/>
                  <a:gd name="T123" fmla="*/ 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5" h="577">
                    <a:moveTo>
                      <a:pt x="308" y="0"/>
                    </a:moveTo>
                    <a:lnTo>
                      <a:pt x="308" y="1"/>
                    </a:lnTo>
                    <a:lnTo>
                      <a:pt x="309" y="1"/>
                    </a:lnTo>
                    <a:lnTo>
                      <a:pt x="309" y="2"/>
                    </a:lnTo>
                    <a:lnTo>
                      <a:pt x="309" y="3"/>
                    </a:lnTo>
                    <a:lnTo>
                      <a:pt x="310" y="4"/>
                    </a:lnTo>
                    <a:lnTo>
                      <a:pt x="309" y="4"/>
                    </a:lnTo>
                    <a:lnTo>
                      <a:pt x="310" y="5"/>
                    </a:lnTo>
                    <a:lnTo>
                      <a:pt x="310" y="7"/>
                    </a:lnTo>
                    <a:lnTo>
                      <a:pt x="312" y="7"/>
                    </a:lnTo>
                    <a:lnTo>
                      <a:pt x="312" y="8"/>
                    </a:lnTo>
                    <a:lnTo>
                      <a:pt x="313" y="8"/>
                    </a:lnTo>
                    <a:lnTo>
                      <a:pt x="313" y="9"/>
                    </a:lnTo>
                    <a:lnTo>
                      <a:pt x="312" y="9"/>
                    </a:lnTo>
                    <a:lnTo>
                      <a:pt x="313" y="9"/>
                    </a:lnTo>
                    <a:lnTo>
                      <a:pt x="313" y="10"/>
                    </a:lnTo>
                    <a:lnTo>
                      <a:pt x="313" y="11"/>
                    </a:lnTo>
                    <a:lnTo>
                      <a:pt x="313" y="12"/>
                    </a:lnTo>
                    <a:lnTo>
                      <a:pt x="313" y="13"/>
                    </a:lnTo>
                    <a:lnTo>
                      <a:pt x="314" y="13"/>
                    </a:lnTo>
                    <a:lnTo>
                      <a:pt x="313" y="13"/>
                    </a:lnTo>
                    <a:lnTo>
                      <a:pt x="314" y="14"/>
                    </a:lnTo>
                    <a:lnTo>
                      <a:pt x="313" y="14"/>
                    </a:lnTo>
                    <a:lnTo>
                      <a:pt x="313" y="13"/>
                    </a:lnTo>
                    <a:lnTo>
                      <a:pt x="313" y="14"/>
                    </a:lnTo>
                    <a:lnTo>
                      <a:pt x="314" y="14"/>
                    </a:lnTo>
                    <a:lnTo>
                      <a:pt x="314" y="15"/>
                    </a:lnTo>
                    <a:lnTo>
                      <a:pt x="313" y="15"/>
                    </a:lnTo>
                    <a:lnTo>
                      <a:pt x="313" y="16"/>
                    </a:lnTo>
                    <a:lnTo>
                      <a:pt x="314" y="16"/>
                    </a:lnTo>
                    <a:lnTo>
                      <a:pt x="313" y="16"/>
                    </a:lnTo>
                    <a:lnTo>
                      <a:pt x="314" y="16"/>
                    </a:lnTo>
                    <a:lnTo>
                      <a:pt x="313" y="17"/>
                    </a:lnTo>
                    <a:lnTo>
                      <a:pt x="314" y="17"/>
                    </a:lnTo>
                    <a:lnTo>
                      <a:pt x="313" y="17"/>
                    </a:lnTo>
                    <a:lnTo>
                      <a:pt x="313" y="18"/>
                    </a:lnTo>
                    <a:lnTo>
                      <a:pt x="314" y="18"/>
                    </a:lnTo>
                    <a:lnTo>
                      <a:pt x="315" y="18"/>
                    </a:lnTo>
                    <a:lnTo>
                      <a:pt x="315" y="20"/>
                    </a:lnTo>
                    <a:lnTo>
                      <a:pt x="316" y="21"/>
                    </a:lnTo>
                    <a:lnTo>
                      <a:pt x="316" y="22"/>
                    </a:lnTo>
                    <a:lnTo>
                      <a:pt x="317" y="22"/>
                    </a:lnTo>
                    <a:lnTo>
                      <a:pt x="317" y="23"/>
                    </a:lnTo>
                    <a:lnTo>
                      <a:pt x="316" y="23"/>
                    </a:lnTo>
                    <a:lnTo>
                      <a:pt x="317" y="24"/>
                    </a:lnTo>
                    <a:lnTo>
                      <a:pt x="317" y="25"/>
                    </a:lnTo>
                    <a:lnTo>
                      <a:pt x="318" y="25"/>
                    </a:lnTo>
                    <a:lnTo>
                      <a:pt x="317" y="26"/>
                    </a:lnTo>
                    <a:lnTo>
                      <a:pt x="318" y="26"/>
                    </a:lnTo>
                    <a:lnTo>
                      <a:pt x="318" y="27"/>
                    </a:lnTo>
                    <a:lnTo>
                      <a:pt x="319" y="27"/>
                    </a:lnTo>
                    <a:lnTo>
                      <a:pt x="319" y="28"/>
                    </a:lnTo>
                    <a:lnTo>
                      <a:pt x="320" y="28"/>
                    </a:lnTo>
                    <a:lnTo>
                      <a:pt x="320" y="27"/>
                    </a:lnTo>
                    <a:lnTo>
                      <a:pt x="321" y="28"/>
                    </a:lnTo>
                    <a:lnTo>
                      <a:pt x="321" y="29"/>
                    </a:lnTo>
                    <a:lnTo>
                      <a:pt x="322" y="29"/>
                    </a:lnTo>
                    <a:lnTo>
                      <a:pt x="322" y="30"/>
                    </a:lnTo>
                    <a:lnTo>
                      <a:pt x="323" y="30"/>
                    </a:lnTo>
                    <a:lnTo>
                      <a:pt x="323" y="31"/>
                    </a:lnTo>
                    <a:lnTo>
                      <a:pt x="323" y="33"/>
                    </a:lnTo>
                    <a:lnTo>
                      <a:pt x="325" y="33"/>
                    </a:lnTo>
                    <a:lnTo>
                      <a:pt x="326" y="33"/>
                    </a:lnTo>
                    <a:lnTo>
                      <a:pt x="325" y="33"/>
                    </a:lnTo>
                    <a:lnTo>
                      <a:pt x="325" y="34"/>
                    </a:lnTo>
                    <a:lnTo>
                      <a:pt x="326" y="34"/>
                    </a:lnTo>
                    <a:lnTo>
                      <a:pt x="326" y="35"/>
                    </a:lnTo>
                    <a:lnTo>
                      <a:pt x="326" y="36"/>
                    </a:lnTo>
                    <a:lnTo>
                      <a:pt x="325" y="36"/>
                    </a:lnTo>
                    <a:lnTo>
                      <a:pt x="326" y="36"/>
                    </a:lnTo>
                    <a:lnTo>
                      <a:pt x="326" y="37"/>
                    </a:lnTo>
                    <a:lnTo>
                      <a:pt x="326" y="38"/>
                    </a:lnTo>
                    <a:lnTo>
                      <a:pt x="327" y="38"/>
                    </a:lnTo>
                    <a:lnTo>
                      <a:pt x="326" y="39"/>
                    </a:lnTo>
                    <a:lnTo>
                      <a:pt x="327" y="39"/>
                    </a:lnTo>
                    <a:lnTo>
                      <a:pt x="327" y="40"/>
                    </a:lnTo>
                    <a:lnTo>
                      <a:pt x="327" y="39"/>
                    </a:lnTo>
                    <a:lnTo>
                      <a:pt x="328" y="39"/>
                    </a:lnTo>
                    <a:lnTo>
                      <a:pt x="328" y="40"/>
                    </a:lnTo>
                    <a:lnTo>
                      <a:pt x="327" y="40"/>
                    </a:lnTo>
                    <a:lnTo>
                      <a:pt x="328" y="40"/>
                    </a:lnTo>
                    <a:lnTo>
                      <a:pt x="328" y="41"/>
                    </a:lnTo>
                    <a:lnTo>
                      <a:pt x="329" y="41"/>
                    </a:lnTo>
                    <a:lnTo>
                      <a:pt x="330" y="41"/>
                    </a:lnTo>
                    <a:lnTo>
                      <a:pt x="330" y="42"/>
                    </a:lnTo>
                    <a:lnTo>
                      <a:pt x="329" y="42"/>
                    </a:lnTo>
                    <a:lnTo>
                      <a:pt x="329" y="41"/>
                    </a:lnTo>
                    <a:lnTo>
                      <a:pt x="329" y="42"/>
                    </a:lnTo>
                    <a:lnTo>
                      <a:pt x="329" y="43"/>
                    </a:lnTo>
                    <a:lnTo>
                      <a:pt x="330" y="43"/>
                    </a:lnTo>
                    <a:lnTo>
                      <a:pt x="329" y="43"/>
                    </a:lnTo>
                    <a:lnTo>
                      <a:pt x="330" y="43"/>
                    </a:lnTo>
                    <a:lnTo>
                      <a:pt x="329" y="44"/>
                    </a:lnTo>
                    <a:lnTo>
                      <a:pt x="329" y="46"/>
                    </a:lnTo>
                    <a:lnTo>
                      <a:pt x="329" y="47"/>
                    </a:lnTo>
                    <a:lnTo>
                      <a:pt x="329" y="48"/>
                    </a:lnTo>
                    <a:lnTo>
                      <a:pt x="330" y="48"/>
                    </a:lnTo>
                    <a:lnTo>
                      <a:pt x="329" y="48"/>
                    </a:lnTo>
                    <a:lnTo>
                      <a:pt x="329" y="49"/>
                    </a:lnTo>
                    <a:lnTo>
                      <a:pt x="329" y="48"/>
                    </a:lnTo>
                    <a:lnTo>
                      <a:pt x="328" y="48"/>
                    </a:lnTo>
                    <a:lnTo>
                      <a:pt x="327" y="48"/>
                    </a:lnTo>
                    <a:lnTo>
                      <a:pt x="327" y="49"/>
                    </a:lnTo>
                    <a:lnTo>
                      <a:pt x="328" y="49"/>
                    </a:lnTo>
                    <a:lnTo>
                      <a:pt x="327" y="49"/>
                    </a:lnTo>
                    <a:lnTo>
                      <a:pt x="326" y="49"/>
                    </a:lnTo>
                    <a:lnTo>
                      <a:pt x="326" y="50"/>
                    </a:lnTo>
                    <a:lnTo>
                      <a:pt x="326" y="51"/>
                    </a:lnTo>
                    <a:lnTo>
                      <a:pt x="326" y="52"/>
                    </a:lnTo>
                    <a:lnTo>
                      <a:pt x="326" y="53"/>
                    </a:lnTo>
                    <a:lnTo>
                      <a:pt x="327" y="53"/>
                    </a:lnTo>
                    <a:lnTo>
                      <a:pt x="327" y="54"/>
                    </a:lnTo>
                    <a:lnTo>
                      <a:pt x="328" y="54"/>
                    </a:lnTo>
                    <a:lnTo>
                      <a:pt x="327" y="54"/>
                    </a:lnTo>
                    <a:lnTo>
                      <a:pt x="328" y="54"/>
                    </a:lnTo>
                    <a:lnTo>
                      <a:pt x="327" y="54"/>
                    </a:lnTo>
                    <a:lnTo>
                      <a:pt x="327" y="55"/>
                    </a:lnTo>
                    <a:lnTo>
                      <a:pt x="328" y="55"/>
                    </a:lnTo>
                    <a:lnTo>
                      <a:pt x="328" y="56"/>
                    </a:lnTo>
                    <a:lnTo>
                      <a:pt x="329" y="56"/>
                    </a:lnTo>
                    <a:lnTo>
                      <a:pt x="329" y="57"/>
                    </a:lnTo>
                    <a:lnTo>
                      <a:pt x="330" y="57"/>
                    </a:lnTo>
                    <a:lnTo>
                      <a:pt x="331" y="57"/>
                    </a:lnTo>
                    <a:lnTo>
                      <a:pt x="331" y="59"/>
                    </a:lnTo>
                    <a:lnTo>
                      <a:pt x="331" y="60"/>
                    </a:lnTo>
                    <a:lnTo>
                      <a:pt x="331" y="61"/>
                    </a:lnTo>
                    <a:lnTo>
                      <a:pt x="331" y="62"/>
                    </a:lnTo>
                    <a:lnTo>
                      <a:pt x="330" y="62"/>
                    </a:lnTo>
                    <a:lnTo>
                      <a:pt x="331" y="62"/>
                    </a:lnTo>
                    <a:lnTo>
                      <a:pt x="330" y="62"/>
                    </a:lnTo>
                    <a:lnTo>
                      <a:pt x="331" y="62"/>
                    </a:lnTo>
                    <a:lnTo>
                      <a:pt x="331" y="63"/>
                    </a:lnTo>
                    <a:lnTo>
                      <a:pt x="331" y="62"/>
                    </a:lnTo>
                    <a:lnTo>
                      <a:pt x="331" y="63"/>
                    </a:lnTo>
                    <a:lnTo>
                      <a:pt x="332" y="63"/>
                    </a:lnTo>
                    <a:lnTo>
                      <a:pt x="331" y="63"/>
                    </a:lnTo>
                    <a:lnTo>
                      <a:pt x="332" y="63"/>
                    </a:lnTo>
                    <a:lnTo>
                      <a:pt x="332" y="64"/>
                    </a:lnTo>
                    <a:lnTo>
                      <a:pt x="331" y="64"/>
                    </a:lnTo>
                    <a:lnTo>
                      <a:pt x="331" y="65"/>
                    </a:lnTo>
                    <a:lnTo>
                      <a:pt x="332" y="65"/>
                    </a:lnTo>
                    <a:lnTo>
                      <a:pt x="333" y="65"/>
                    </a:lnTo>
                    <a:lnTo>
                      <a:pt x="333" y="66"/>
                    </a:lnTo>
                    <a:lnTo>
                      <a:pt x="334" y="66"/>
                    </a:lnTo>
                    <a:lnTo>
                      <a:pt x="334" y="67"/>
                    </a:lnTo>
                    <a:lnTo>
                      <a:pt x="335" y="67"/>
                    </a:lnTo>
                    <a:lnTo>
                      <a:pt x="334" y="68"/>
                    </a:lnTo>
                    <a:lnTo>
                      <a:pt x="334" y="69"/>
                    </a:lnTo>
                    <a:lnTo>
                      <a:pt x="335" y="69"/>
                    </a:lnTo>
                    <a:lnTo>
                      <a:pt x="334" y="71"/>
                    </a:lnTo>
                    <a:lnTo>
                      <a:pt x="335" y="71"/>
                    </a:lnTo>
                    <a:lnTo>
                      <a:pt x="334" y="71"/>
                    </a:lnTo>
                    <a:lnTo>
                      <a:pt x="335" y="71"/>
                    </a:lnTo>
                    <a:lnTo>
                      <a:pt x="335" y="72"/>
                    </a:lnTo>
                    <a:lnTo>
                      <a:pt x="334" y="72"/>
                    </a:lnTo>
                    <a:lnTo>
                      <a:pt x="334" y="73"/>
                    </a:lnTo>
                    <a:lnTo>
                      <a:pt x="334" y="74"/>
                    </a:lnTo>
                    <a:lnTo>
                      <a:pt x="334" y="73"/>
                    </a:lnTo>
                    <a:lnTo>
                      <a:pt x="334" y="74"/>
                    </a:lnTo>
                    <a:lnTo>
                      <a:pt x="335" y="73"/>
                    </a:lnTo>
                    <a:lnTo>
                      <a:pt x="335" y="74"/>
                    </a:lnTo>
                    <a:lnTo>
                      <a:pt x="334" y="74"/>
                    </a:lnTo>
                    <a:lnTo>
                      <a:pt x="333" y="74"/>
                    </a:lnTo>
                    <a:lnTo>
                      <a:pt x="333" y="75"/>
                    </a:lnTo>
                    <a:lnTo>
                      <a:pt x="334" y="75"/>
                    </a:lnTo>
                    <a:lnTo>
                      <a:pt x="335" y="76"/>
                    </a:lnTo>
                    <a:lnTo>
                      <a:pt x="334" y="76"/>
                    </a:lnTo>
                    <a:lnTo>
                      <a:pt x="335" y="76"/>
                    </a:lnTo>
                    <a:lnTo>
                      <a:pt x="335" y="77"/>
                    </a:lnTo>
                    <a:lnTo>
                      <a:pt x="334" y="77"/>
                    </a:lnTo>
                    <a:lnTo>
                      <a:pt x="335" y="77"/>
                    </a:lnTo>
                    <a:lnTo>
                      <a:pt x="335" y="78"/>
                    </a:lnTo>
                    <a:lnTo>
                      <a:pt x="335" y="79"/>
                    </a:lnTo>
                    <a:lnTo>
                      <a:pt x="335" y="80"/>
                    </a:lnTo>
                    <a:lnTo>
                      <a:pt x="336" y="80"/>
                    </a:lnTo>
                    <a:lnTo>
                      <a:pt x="336" y="81"/>
                    </a:lnTo>
                    <a:lnTo>
                      <a:pt x="338" y="81"/>
                    </a:lnTo>
                    <a:lnTo>
                      <a:pt x="338" y="82"/>
                    </a:lnTo>
                    <a:lnTo>
                      <a:pt x="339" y="82"/>
                    </a:lnTo>
                    <a:lnTo>
                      <a:pt x="339" y="84"/>
                    </a:lnTo>
                    <a:lnTo>
                      <a:pt x="339" y="85"/>
                    </a:lnTo>
                    <a:lnTo>
                      <a:pt x="340" y="86"/>
                    </a:lnTo>
                    <a:lnTo>
                      <a:pt x="340" y="85"/>
                    </a:lnTo>
                    <a:lnTo>
                      <a:pt x="341" y="86"/>
                    </a:lnTo>
                    <a:lnTo>
                      <a:pt x="341" y="87"/>
                    </a:lnTo>
                    <a:lnTo>
                      <a:pt x="340" y="86"/>
                    </a:lnTo>
                    <a:lnTo>
                      <a:pt x="340" y="87"/>
                    </a:lnTo>
                    <a:lnTo>
                      <a:pt x="341" y="87"/>
                    </a:lnTo>
                    <a:lnTo>
                      <a:pt x="340" y="88"/>
                    </a:lnTo>
                    <a:lnTo>
                      <a:pt x="341" y="88"/>
                    </a:lnTo>
                    <a:lnTo>
                      <a:pt x="340" y="88"/>
                    </a:lnTo>
                    <a:lnTo>
                      <a:pt x="340" y="89"/>
                    </a:lnTo>
                    <a:lnTo>
                      <a:pt x="341" y="88"/>
                    </a:lnTo>
                    <a:lnTo>
                      <a:pt x="340" y="89"/>
                    </a:lnTo>
                    <a:lnTo>
                      <a:pt x="341" y="89"/>
                    </a:lnTo>
                    <a:lnTo>
                      <a:pt x="340" y="89"/>
                    </a:lnTo>
                    <a:lnTo>
                      <a:pt x="340" y="90"/>
                    </a:lnTo>
                    <a:lnTo>
                      <a:pt x="340" y="91"/>
                    </a:lnTo>
                    <a:lnTo>
                      <a:pt x="340" y="90"/>
                    </a:lnTo>
                    <a:lnTo>
                      <a:pt x="341" y="90"/>
                    </a:lnTo>
                    <a:lnTo>
                      <a:pt x="341" y="91"/>
                    </a:lnTo>
                    <a:lnTo>
                      <a:pt x="340" y="91"/>
                    </a:lnTo>
                    <a:lnTo>
                      <a:pt x="341" y="91"/>
                    </a:lnTo>
                    <a:lnTo>
                      <a:pt x="341" y="92"/>
                    </a:lnTo>
                    <a:lnTo>
                      <a:pt x="341" y="93"/>
                    </a:lnTo>
                    <a:lnTo>
                      <a:pt x="341" y="92"/>
                    </a:lnTo>
                    <a:lnTo>
                      <a:pt x="341" y="93"/>
                    </a:lnTo>
                    <a:lnTo>
                      <a:pt x="341" y="94"/>
                    </a:lnTo>
                    <a:lnTo>
                      <a:pt x="341" y="95"/>
                    </a:lnTo>
                    <a:lnTo>
                      <a:pt x="340" y="95"/>
                    </a:lnTo>
                    <a:lnTo>
                      <a:pt x="341" y="95"/>
                    </a:lnTo>
                    <a:lnTo>
                      <a:pt x="340" y="95"/>
                    </a:lnTo>
                    <a:lnTo>
                      <a:pt x="340" y="97"/>
                    </a:lnTo>
                    <a:lnTo>
                      <a:pt x="340" y="98"/>
                    </a:lnTo>
                    <a:lnTo>
                      <a:pt x="341" y="98"/>
                    </a:lnTo>
                    <a:lnTo>
                      <a:pt x="342" y="98"/>
                    </a:lnTo>
                    <a:lnTo>
                      <a:pt x="342" y="99"/>
                    </a:lnTo>
                    <a:lnTo>
                      <a:pt x="341" y="99"/>
                    </a:lnTo>
                    <a:lnTo>
                      <a:pt x="340" y="99"/>
                    </a:lnTo>
                    <a:lnTo>
                      <a:pt x="340" y="100"/>
                    </a:lnTo>
                    <a:lnTo>
                      <a:pt x="340" y="101"/>
                    </a:lnTo>
                    <a:lnTo>
                      <a:pt x="340" y="102"/>
                    </a:lnTo>
                    <a:lnTo>
                      <a:pt x="339" y="103"/>
                    </a:lnTo>
                    <a:lnTo>
                      <a:pt x="338" y="104"/>
                    </a:lnTo>
                    <a:lnTo>
                      <a:pt x="338" y="105"/>
                    </a:lnTo>
                    <a:lnTo>
                      <a:pt x="336" y="106"/>
                    </a:lnTo>
                    <a:lnTo>
                      <a:pt x="336" y="107"/>
                    </a:lnTo>
                    <a:lnTo>
                      <a:pt x="335" y="107"/>
                    </a:lnTo>
                    <a:lnTo>
                      <a:pt x="334" y="107"/>
                    </a:lnTo>
                    <a:lnTo>
                      <a:pt x="334" y="108"/>
                    </a:lnTo>
                    <a:lnTo>
                      <a:pt x="334" y="110"/>
                    </a:lnTo>
                    <a:lnTo>
                      <a:pt x="333" y="110"/>
                    </a:lnTo>
                    <a:lnTo>
                      <a:pt x="332" y="110"/>
                    </a:lnTo>
                    <a:lnTo>
                      <a:pt x="332" y="111"/>
                    </a:lnTo>
                    <a:lnTo>
                      <a:pt x="331" y="111"/>
                    </a:lnTo>
                    <a:lnTo>
                      <a:pt x="332" y="112"/>
                    </a:lnTo>
                    <a:lnTo>
                      <a:pt x="331" y="112"/>
                    </a:lnTo>
                    <a:lnTo>
                      <a:pt x="331" y="113"/>
                    </a:lnTo>
                    <a:lnTo>
                      <a:pt x="332" y="113"/>
                    </a:lnTo>
                    <a:lnTo>
                      <a:pt x="332" y="114"/>
                    </a:lnTo>
                    <a:lnTo>
                      <a:pt x="332" y="115"/>
                    </a:lnTo>
                    <a:lnTo>
                      <a:pt x="331" y="115"/>
                    </a:lnTo>
                    <a:lnTo>
                      <a:pt x="332" y="116"/>
                    </a:lnTo>
                    <a:lnTo>
                      <a:pt x="333" y="115"/>
                    </a:lnTo>
                    <a:lnTo>
                      <a:pt x="333" y="116"/>
                    </a:lnTo>
                    <a:lnTo>
                      <a:pt x="333" y="115"/>
                    </a:lnTo>
                    <a:lnTo>
                      <a:pt x="334" y="115"/>
                    </a:lnTo>
                    <a:lnTo>
                      <a:pt x="334" y="116"/>
                    </a:lnTo>
                    <a:lnTo>
                      <a:pt x="334" y="115"/>
                    </a:lnTo>
                    <a:lnTo>
                      <a:pt x="335" y="115"/>
                    </a:lnTo>
                    <a:lnTo>
                      <a:pt x="335" y="116"/>
                    </a:lnTo>
                    <a:lnTo>
                      <a:pt x="336" y="116"/>
                    </a:lnTo>
                    <a:lnTo>
                      <a:pt x="336" y="115"/>
                    </a:lnTo>
                    <a:lnTo>
                      <a:pt x="336" y="116"/>
                    </a:lnTo>
                    <a:lnTo>
                      <a:pt x="338" y="116"/>
                    </a:lnTo>
                    <a:lnTo>
                      <a:pt x="339" y="116"/>
                    </a:lnTo>
                    <a:lnTo>
                      <a:pt x="340" y="116"/>
                    </a:lnTo>
                    <a:lnTo>
                      <a:pt x="341" y="117"/>
                    </a:lnTo>
                    <a:lnTo>
                      <a:pt x="341" y="118"/>
                    </a:lnTo>
                    <a:lnTo>
                      <a:pt x="341" y="119"/>
                    </a:lnTo>
                    <a:lnTo>
                      <a:pt x="342" y="120"/>
                    </a:lnTo>
                    <a:lnTo>
                      <a:pt x="342" y="119"/>
                    </a:lnTo>
                    <a:lnTo>
                      <a:pt x="343" y="120"/>
                    </a:lnTo>
                    <a:lnTo>
                      <a:pt x="343" y="121"/>
                    </a:lnTo>
                    <a:lnTo>
                      <a:pt x="342" y="121"/>
                    </a:lnTo>
                    <a:lnTo>
                      <a:pt x="342" y="123"/>
                    </a:lnTo>
                    <a:lnTo>
                      <a:pt x="342" y="124"/>
                    </a:lnTo>
                    <a:lnTo>
                      <a:pt x="342" y="125"/>
                    </a:lnTo>
                    <a:lnTo>
                      <a:pt x="342" y="126"/>
                    </a:lnTo>
                    <a:lnTo>
                      <a:pt x="342" y="127"/>
                    </a:lnTo>
                    <a:lnTo>
                      <a:pt x="342" y="128"/>
                    </a:lnTo>
                    <a:lnTo>
                      <a:pt x="343" y="128"/>
                    </a:lnTo>
                    <a:lnTo>
                      <a:pt x="343" y="129"/>
                    </a:lnTo>
                    <a:lnTo>
                      <a:pt x="342" y="130"/>
                    </a:lnTo>
                    <a:lnTo>
                      <a:pt x="342" y="131"/>
                    </a:lnTo>
                    <a:lnTo>
                      <a:pt x="342" y="132"/>
                    </a:lnTo>
                    <a:lnTo>
                      <a:pt x="343" y="133"/>
                    </a:lnTo>
                    <a:lnTo>
                      <a:pt x="342" y="134"/>
                    </a:lnTo>
                    <a:lnTo>
                      <a:pt x="342" y="136"/>
                    </a:lnTo>
                    <a:lnTo>
                      <a:pt x="342" y="137"/>
                    </a:lnTo>
                    <a:lnTo>
                      <a:pt x="342" y="139"/>
                    </a:lnTo>
                    <a:lnTo>
                      <a:pt x="342" y="140"/>
                    </a:lnTo>
                    <a:lnTo>
                      <a:pt x="343" y="140"/>
                    </a:lnTo>
                    <a:lnTo>
                      <a:pt x="343" y="141"/>
                    </a:lnTo>
                    <a:lnTo>
                      <a:pt x="343" y="142"/>
                    </a:lnTo>
                    <a:lnTo>
                      <a:pt x="344" y="142"/>
                    </a:lnTo>
                    <a:lnTo>
                      <a:pt x="345" y="142"/>
                    </a:lnTo>
                    <a:lnTo>
                      <a:pt x="346" y="143"/>
                    </a:lnTo>
                    <a:lnTo>
                      <a:pt x="346" y="144"/>
                    </a:lnTo>
                    <a:lnTo>
                      <a:pt x="347" y="144"/>
                    </a:lnTo>
                    <a:lnTo>
                      <a:pt x="348" y="144"/>
                    </a:lnTo>
                    <a:lnTo>
                      <a:pt x="349" y="144"/>
                    </a:lnTo>
                    <a:lnTo>
                      <a:pt x="349" y="145"/>
                    </a:lnTo>
                    <a:lnTo>
                      <a:pt x="349" y="146"/>
                    </a:lnTo>
                    <a:lnTo>
                      <a:pt x="348" y="146"/>
                    </a:lnTo>
                    <a:lnTo>
                      <a:pt x="348" y="148"/>
                    </a:lnTo>
                    <a:lnTo>
                      <a:pt x="348" y="149"/>
                    </a:lnTo>
                    <a:lnTo>
                      <a:pt x="347" y="149"/>
                    </a:lnTo>
                    <a:lnTo>
                      <a:pt x="346" y="149"/>
                    </a:lnTo>
                    <a:lnTo>
                      <a:pt x="346" y="150"/>
                    </a:lnTo>
                    <a:lnTo>
                      <a:pt x="346" y="149"/>
                    </a:lnTo>
                    <a:lnTo>
                      <a:pt x="345" y="149"/>
                    </a:lnTo>
                    <a:lnTo>
                      <a:pt x="345" y="150"/>
                    </a:lnTo>
                    <a:lnTo>
                      <a:pt x="344" y="150"/>
                    </a:lnTo>
                    <a:lnTo>
                      <a:pt x="343" y="151"/>
                    </a:lnTo>
                    <a:lnTo>
                      <a:pt x="342" y="151"/>
                    </a:lnTo>
                    <a:lnTo>
                      <a:pt x="342" y="152"/>
                    </a:lnTo>
                    <a:lnTo>
                      <a:pt x="342" y="153"/>
                    </a:lnTo>
                    <a:lnTo>
                      <a:pt x="341" y="154"/>
                    </a:lnTo>
                    <a:lnTo>
                      <a:pt x="340" y="155"/>
                    </a:lnTo>
                    <a:lnTo>
                      <a:pt x="340" y="156"/>
                    </a:lnTo>
                    <a:lnTo>
                      <a:pt x="341" y="157"/>
                    </a:lnTo>
                    <a:lnTo>
                      <a:pt x="340" y="158"/>
                    </a:lnTo>
                    <a:lnTo>
                      <a:pt x="340" y="159"/>
                    </a:lnTo>
                    <a:lnTo>
                      <a:pt x="339" y="159"/>
                    </a:lnTo>
                    <a:lnTo>
                      <a:pt x="338" y="159"/>
                    </a:lnTo>
                    <a:lnTo>
                      <a:pt x="338" y="161"/>
                    </a:lnTo>
                    <a:lnTo>
                      <a:pt x="338" y="162"/>
                    </a:lnTo>
                    <a:lnTo>
                      <a:pt x="338" y="163"/>
                    </a:lnTo>
                    <a:lnTo>
                      <a:pt x="336" y="163"/>
                    </a:lnTo>
                    <a:lnTo>
                      <a:pt x="336" y="164"/>
                    </a:lnTo>
                    <a:lnTo>
                      <a:pt x="336" y="165"/>
                    </a:lnTo>
                    <a:lnTo>
                      <a:pt x="336" y="166"/>
                    </a:lnTo>
                    <a:lnTo>
                      <a:pt x="335" y="167"/>
                    </a:lnTo>
                    <a:lnTo>
                      <a:pt x="336" y="167"/>
                    </a:lnTo>
                    <a:lnTo>
                      <a:pt x="336" y="168"/>
                    </a:lnTo>
                    <a:lnTo>
                      <a:pt x="335" y="169"/>
                    </a:lnTo>
                    <a:lnTo>
                      <a:pt x="336" y="170"/>
                    </a:lnTo>
                    <a:lnTo>
                      <a:pt x="336" y="171"/>
                    </a:lnTo>
                    <a:lnTo>
                      <a:pt x="336" y="174"/>
                    </a:lnTo>
                    <a:lnTo>
                      <a:pt x="336" y="175"/>
                    </a:lnTo>
                    <a:lnTo>
                      <a:pt x="338" y="176"/>
                    </a:lnTo>
                    <a:lnTo>
                      <a:pt x="338" y="177"/>
                    </a:lnTo>
                    <a:lnTo>
                      <a:pt x="336" y="178"/>
                    </a:lnTo>
                    <a:lnTo>
                      <a:pt x="336" y="180"/>
                    </a:lnTo>
                    <a:lnTo>
                      <a:pt x="335" y="181"/>
                    </a:lnTo>
                    <a:lnTo>
                      <a:pt x="333" y="182"/>
                    </a:lnTo>
                    <a:lnTo>
                      <a:pt x="332" y="183"/>
                    </a:lnTo>
                    <a:lnTo>
                      <a:pt x="332" y="185"/>
                    </a:lnTo>
                    <a:lnTo>
                      <a:pt x="331" y="185"/>
                    </a:lnTo>
                    <a:lnTo>
                      <a:pt x="331" y="188"/>
                    </a:lnTo>
                    <a:lnTo>
                      <a:pt x="331" y="190"/>
                    </a:lnTo>
                    <a:lnTo>
                      <a:pt x="331" y="191"/>
                    </a:lnTo>
                    <a:lnTo>
                      <a:pt x="331" y="193"/>
                    </a:lnTo>
                    <a:lnTo>
                      <a:pt x="331" y="194"/>
                    </a:lnTo>
                    <a:lnTo>
                      <a:pt x="331" y="196"/>
                    </a:lnTo>
                    <a:lnTo>
                      <a:pt x="331" y="197"/>
                    </a:lnTo>
                    <a:lnTo>
                      <a:pt x="330" y="198"/>
                    </a:lnTo>
                    <a:lnTo>
                      <a:pt x="330" y="200"/>
                    </a:lnTo>
                    <a:lnTo>
                      <a:pt x="329" y="201"/>
                    </a:lnTo>
                    <a:lnTo>
                      <a:pt x="329" y="202"/>
                    </a:lnTo>
                    <a:lnTo>
                      <a:pt x="329" y="203"/>
                    </a:lnTo>
                    <a:lnTo>
                      <a:pt x="329" y="204"/>
                    </a:lnTo>
                    <a:lnTo>
                      <a:pt x="330" y="204"/>
                    </a:lnTo>
                    <a:lnTo>
                      <a:pt x="331" y="205"/>
                    </a:lnTo>
                    <a:lnTo>
                      <a:pt x="332" y="206"/>
                    </a:lnTo>
                    <a:lnTo>
                      <a:pt x="332" y="207"/>
                    </a:lnTo>
                    <a:lnTo>
                      <a:pt x="333" y="208"/>
                    </a:lnTo>
                    <a:lnTo>
                      <a:pt x="333" y="209"/>
                    </a:lnTo>
                    <a:lnTo>
                      <a:pt x="333" y="210"/>
                    </a:lnTo>
                    <a:lnTo>
                      <a:pt x="332" y="210"/>
                    </a:lnTo>
                    <a:lnTo>
                      <a:pt x="331" y="210"/>
                    </a:lnTo>
                    <a:lnTo>
                      <a:pt x="331" y="211"/>
                    </a:lnTo>
                    <a:lnTo>
                      <a:pt x="329" y="214"/>
                    </a:lnTo>
                    <a:lnTo>
                      <a:pt x="328" y="215"/>
                    </a:lnTo>
                    <a:lnTo>
                      <a:pt x="327" y="215"/>
                    </a:lnTo>
                    <a:lnTo>
                      <a:pt x="326" y="214"/>
                    </a:lnTo>
                    <a:lnTo>
                      <a:pt x="326" y="215"/>
                    </a:lnTo>
                    <a:lnTo>
                      <a:pt x="325" y="215"/>
                    </a:lnTo>
                    <a:lnTo>
                      <a:pt x="325" y="214"/>
                    </a:lnTo>
                    <a:lnTo>
                      <a:pt x="323" y="214"/>
                    </a:lnTo>
                    <a:lnTo>
                      <a:pt x="322" y="215"/>
                    </a:lnTo>
                    <a:lnTo>
                      <a:pt x="322" y="214"/>
                    </a:lnTo>
                    <a:lnTo>
                      <a:pt x="321" y="213"/>
                    </a:lnTo>
                    <a:lnTo>
                      <a:pt x="320" y="213"/>
                    </a:lnTo>
                    <a:lnTo>
                      <a:pt x="319" y="213"/>
                    </a:lnTo>
                    <a:lnTo>
                      <a:pt x="318" y="213"/>
                    </a:lnTo>
                    <a:lnTo>
                      <a:pt x="317" y="213"/>
                    </a:lnTo>
                    <a:lnTo>
                      <a:pt x="317" y="211"/>
                    </a:lnTo>
                    <a:lnTo>
                      <a:pt x="316" y="211"/>
                    </a:lnTo>
                    <a:lnTo>
                      <a:pt x="315" y="213"/>
                    </a:lnTo>
                    <a:lnTo>
                      <a:pt x="314" y="213"/>
                    </a:lnTo>
                    <a:lnTo>
                      <a:pt x="313" y="213"/>
                    </a:lnTo>
                    <a:lnTo>
                      <a:pt x="312" y="213"/>
                    </a:lnTo>
                    <a:lnTo>
                      <a:pt x="310" y="213"/>
                    </a:lnTo>
                    <a:lnTo>
                      <a:pt x="309" y="213"/>
                    </a:lnTo>
                    <a:lnTo>
                      <a:pt x="308" y="213"/>
                    </a:lnTo>
                    <a:lnTo>
                      <a:pt x="307" y="213"/>
                    </a:lnTo>
                    <a:lnTo>
                      <a:pt x="306" y="213"/>
                    </a:lnTo>
                    <a:lnTo>
                      <a:pt x="306" y="211"/>
                    </a:lnTo>
                    <a:lnTo>
                      <a:pt x="305" y="211"/>
                    </a:lnTo>
                    <a:lnTo>
                      <a:pt x="305" y="210"/>
                    </a:lnTo>
                    <a:lnTo>
                      <a:pt x="304" y="210"/>
                    </a:lnTo>
                    <a:lnTo>
                      <a:pt x="303" y="210"/>
                    </a:lnTo>
                    <a:lnTo>
                      <a:pt x="302" y="210"/>
                    </a:lnTo>
                    <a:lnTo>
                      <a:pt x="302" y="211"/>
                    </a:lnTo>
                    <a:lnTo>
                      <a:pt x="303" y="213"/>
                    </a:lnTo>
                    <a:lnTo>
                      <a:pt x="304" y="214"/>
                    </a:lnTo>
                    <a:lnTo>
                      <a:pt x="304" y="215"/>
                    </a:lnTo>
                    <a:lnTo>
                      <a:pt x="304" y="216"/>
                    </a:lnTo>
                    <a:lnTo>
                      <a:pt x="303" y="216"/>
                    </a:lnTo>
                    <a:lnTo>
                      <a:pt x="302" y="216"/>
                    </a:lnTo>
                    <a:lnTo>
                      <a:pt x="301" y="216"/>
                    </a:lnTo>
                    <a:lnTo>
                      <a:pt x="302" y="218"/>
                    </a:lnTo>
                    <a:lnTo>
                      <a:pt x="303" y="218"/>
                    </a:lnTo>
                    <a:lnTo>
                      <a:pt x="303" y="219"/>
                    </a:lnTo>
                    <a:lnTo>
                      <a:pt x="304" y="220"/>
                    </a:lnTo>
                    <a:lnTo>
                      <a:pt x="304" y="221"/>
                    </a:lnTo>
                    <a:lnTo>
                      <a:pt x="303" y="221"/>
                    </a:lnTo>
                    <a:lnTo>
                      <a:pt x="303" y="222"/>
                    </a:lnTo>
                    <a:lnTo>
                      <a:pt x="302" y="223"/>
                    </a:lnTo>
                    <a:lnTo>
                      <a:pt x="303" y="223"/>
                    </a:lnTo>
                    <a:lnTo>
                      <a:pt x="303" y="224"/>
                    </a:lnTo>
                    <a:lnTo>
                      <a:pt x="304" y="224"/>
                    </a:lnTo>
                    <a:lnTo>
                      <a:pt x="305" y="224"/>
                    </a:lnTo>
                    <a:lnTo>
                      <a:pt x="305" y="226"/>
                    </a:lnTo>
                    <a:lnTo>
                      <a:pt x="306" y="224"/>
                    </a:lnTo>
                    <a:lnTo>
                      <a:pt x="307" y="224"/>
                    </a:lnTo>
                    <a:lnTo>
                      <a:pt x="307" y="226"/>
                    </a:lnTo>
                    <a:lnTo>
                      <a:pt x="307" y="227"/>
                    </a:lnTo>
                    <a:lnTo>
                      <a:pt x="307" y="228"/>
                    </a:lnTo>
                    <a:lnTo>
                      <a:pt x="308" y="229"/>
                    </a:lnTo>
                    <a:lnTo>
                      <a:pt x="309" y="230"/>
                    </a:lnTo>
                    <a:lnTo>
                      <a:pt x="308" y="231"/>
                    </a:lnTo>
                    <a:lnTo>
                      <a:pt x="308" y="232"/>
                    </a:lnTo>
                    <a:lnTo>
                      <a:pt x="308" y="233"/>
                    </a:lnTo>
                    <a:lnTo>
                      <a:pt x="309" y="234"/>
                    </a:lnTo>
                    <a:lnTo>
                      <a:pt x="309" y="235"/>
                    </a:lnTo>
                    <a:lnTo>
                      <a:pt x="308" y="235"/>
                    </a:lnTo>
                    <a:lnTo>
                      <a:pt x="307" y="235"/>
                    </a:lnTo>
                    <a:lnTo>
                      <a:pt x="306" y="234"/>
                    </a:lnTo>
                    <a:lnTo>
                      <a:pt x="304" y="233"/>
                    </a:lnTo>
                    <a:lnTo>
                      <a:pt x="304" y="232"/>
                    </a:lnTo>
                    <a:lnTo>
                      <a:pt x="303" y="232"/>
                    </a:lnTo>
                    <a:lnTo>
                      <a:pt x="302" y="232"/>
                    </a:lnTo>
                    <a:lnTo>
                      <a:pt x="302" y="233"/>
                    </a:lnTo>
                    <a:lnTo>
                      <a:pt x="301" y="233"/>
                    </a:lnTo>
                    <a:lnTo>
                      <a:pt x="301" y="234"/>
                    </a:lnTo>
                    <a:lnTo>
                      <a:pt x="301" y="235"/>
                    </a:lnTo>
                    <a:lnTo>
                      <a:pt x="302" y="236"/>
                    </a:lnTo>
                    <a:lnTo>
                      <a:pt x="303" y="238"/>
                    </a:lnTo>
                    <a:lnTo>
                      <a:pt x="303" y="239"/>
                    </a:lnTo>
                    <a:lnTo>
                      <a:pt x="305" y="240"/>
                    </a:lnTo>
                    <a:lnTo>
                      <a:pt x="306" y="240"/>
                    </a:lnTo>
                    <a:lnTo>
                      <a:pt x="306" y="241"/>
                    </a:lnTo>
                    <a:lnTo>
                      <a:pt x="307" y="241"/>
                    </a:lnTo>
                    <a:lnTo>
                      <a:pt x="306" y="241"/>
                    </a:lnTo>
                    <a:lnTo>
                      <a:pt x="305" y="243"/>
                    </a:lnTo>
                    <a:lnTo>
                      <a:pt x="304" y="244"/>
                    </a:lnTo>
                    <a:lnTo>
                      <a:pt x="303" y="244"/>
                    </a:lnTo>
                    <a:lnTo>
                      <a:pt x="303" y="245"/>
                    </a:lnTo>
                    <a:lnTo>
                      <a:pt x="304" y="246"/>
                    </a:lnTo>
                    <a:lnTo>
                      <a:pt x="304" y="249"/>
                    </a:lnTo>
                    <a:lnTo>
                      <a:pt x="304" y="251"/>
                    </a:lnTo>
                    <a:lnTo>
                      <a:pt x="304" y="252"/>
                    </a:lnTo>
                    <a:lnTo>
                      <a:pt x="303" y="253"/>
                    </a:lnTo>
                    <a:lnTo>
                      <a:pt x="302" y="254"/>
                    </a:lnTo>
                    <a:lnTo>
                      <a:pt x="301" y="254"/>
                    </a:lnTo>
                    <a:lnTo>
                      <a:pt x="301" y="255"/>
                    </a:lnTo>
                    <a:lnTo>
                      <a:pt x="302" y="255"/>
                    </a:lnTo>
                    <a:lnTo>
                      <a:pt x="301" y="255"/>
                    </a:lnTo>
                    <a:lnTo>
                      <a:pt x="301" y="256"/>
                    </a:lnTo>
                    <a:lnTo>
                      <a:pt x="301" y="257"/>
                    </a:lnTo>
                    <a:lnTo>
                      <a:pt x="301" y="258"/>
                    </a:lnTo>
                    <a:lnTo>
                      <a:pt x="301" y="259"/>
                    </a:lnTo>
                    <a:lnTo>
                      <a:pt x="300" y="259"/>
                    </a:lnTo>
                    <a:lnTo>
                      <a:pt x="301" y="259"/>
                    </a:lnTo>
                    <a:lnTo>
                      <a:pt x="301" y="260"/>
                    </a:lnTo>
                    <a:lnTo>
                      <a:pt x="301" y="261"/>
                    </a:lnTo>
                    <a:lnTo>
                      <a:pt x="301" y="262"/>
                    </a:lnTo>
                    <a:lnTo>
                      <a:pt x="301" y="264"/>
                    </a:lnTo>
                    <a:lnTo>
                      <a:pt x="300" y="265"/>
                    </a:lnTo>
                    <a:lnTo>
                      <a:pt x="299" y="265"/>
                    </a:lnTo>
                    <a:lnTo>
                      <a:pt x="297" y="266"/>
                    </a:lnTo>
                    <a:lnTo>
                      <a:pt x="297" y="267"/>
                    </a:lnTo>
                    <a:lnTo>
                      <a:pt x="296" y="267"/>
                    </a:lnTo>
                    <a:lnTo>
                      <a:pt x="295" y="267"/>
                    </a:lnTo>
                    <a:lnTo>
                      <a:pt x="294" y="267"/>
                    </a:lnTo>
                    <a:lnTo>
                      <a:pt x="292" y="266"/>
                    </a:lnTo>
                    <a:lnTo>
                      <a:pt x="292" y="265"/>
                    </a:lnTo>
                    <a:lnTo>
                      <a:pt x="291" y="265"/>
                    </a:lnTo>
                    <a:lnTo>
                      <a:pt x="291" y="266"/>
                    </a:lnTo>
                    <a:lnTo>
                      <a:pt x="291" y="268"/>
                    </a:lnTo>
                    <a:lnTo>
                      <a:pt x="291" y="269"/>
                    </a:lnTo>
                    <a:lnTo>
                      <a:pt x="291" y="270"/>
                    </a:lnTo>
                    <a:lnTo>
                      <a:pt x="291" y="271"/>
                    </a:lnTo>
                    <a:lnTo>
                      <a:pt x="291" y="272"/>
                    </a:lnTo>
                    <a:lnTo>
                      <a:pt x="290" y="273"/>
                    </a:lnTo>
                    <a:lnTo>
                      <a:pt x="290" y="274"/>
                    </a:lnTo>
                    <a:lnTo>
                      <a:pt x="290" y="275"/>
                    </a:lnTo>
                    <a:lnTo>
                      <a:pt x="289" y="277"/>
                    </a:lnTo>
                    <a:lnTo>
                      <a:pt x="289" y="278"/>
                    </a:lnTo>
                    <a:lnTo>
                      <a:pt x="289" y="280"/>
                    </a:lnTo>
                    <a:lnTo>
                      <a:pt x="290" y="281"/>
                    </a:lnTo>
                    <a:lnTo>
                      <a:pt x="290" y="282"/>
                    </a:lnTo>
                    <a:lnTo>
                      <a:pt x="289" y="282"/>
                    </a:lnTo>
                    <a:lnTo>
                      <a:pt x="289" y="283"/>
                    </a:lnTo>
                    <a:lnTo>
                      <a:pt x="288" y="283"/>
                    </a:lnTo>
                    <a:lnTo>
                      <a:pt x="288" y="284"/>
                    </a:lnTo>
                    <a:lnTo>
                      <a:pt x="289" y="284"/>
                    </a:lnTo>
                    <a:lnTo>
                      <a:pt x="289" y="285"/>
                    </a:lnTo>
                    <a:lnTo>
                      <a:pt x="290" y="285"/>
                    </a:lnTo>
                    <a:lnTo>
                      <a:pt x="290" y="286"/>
                    </a:lnTo>
                    <a:lnTo>
                      <a:pt x="290" y="287"/>
                    </a:lnTo>
                    <a:lnTo>
                      <a:pt x="290" y="290"/>
                    </a:lnTo>
                    <a:lnTo>
                      <a:pt x="290" y="292"/>
                    </a:lnTo>
                    <a:lnTo>
                      <a:pt x="291" y="293"/>
                    </a:lnTo>
                    <a:lnTo>
                      <a:pt x="291" y="295"/>
                    </a:lnTo>
                    <a:lnTo>
                      <a:pt x="290" y="296"/>
                    </a:lnTo>
                    <a:lnTo>
                      <a:pt x="290" y="297"/>
                    </a:lnTo>
                    <a:lnTo>
                      <a:pt x="291" y="298"/>
                    </a:lnTo>
                    <a:lnTo>
                      <a:pt x="291" y="300"/>
                    </a:lnTo>
                    <a:lnTo>
                      <a:pt x="290" y="301"/>
                    </a:lnTo>
                    <a:lnTo>
                      <a:pt x="290" y="304"/>
                    </a:lnTo>
                    <a:lnTo>
                      <a:pt x="289" y="306"/>
                    </a:lnTo>
                    <a:lnTo>
                      <a:pt x="289" y="308"/>
                    </a:lnTo>
                    <a:lnTo>
                      <a:pt x="288" y="308"/>
                    </a:lnTo>
                    <a:lnTo>
                      <a:pt x="288" y="309"/>
                    </a:lnTo>
                    <a:lnTo>
                      <a:pt x="287" y="310"/>
                    </a:lnTo>
                    <a:lnTo>
                      <a:pt x="287" y="312"/>
                    </a:lnTo>
                    <a:lnTo>
                      <a:pt x="287" y="313"/>
                    </a:lnTo>
                    <a:lnTo>
                      <a:pt x="286" y="314"/>
                    </a:lnTo>
                    <a:lnTo>
                      <a:pt x="287" y="316"/>
                    </a:lnTo>
                    <a:lnTo>
                      <a:pt x="287" y="317"/>
                    </a:lnTo>
                    <a:lnTo>
                      <a:pt x="288" y="317"/>
                    </a:lnTo>
                    <a:lnTo>
                      <a:pt x="288" y="318"/>
                    </a:lnTo>
                    <a:lnTo>
                      <a:pt x="289" y="318"/>
                    </a:lnTo>
                    <a:lnTo>
                      <a:pt x="290" y="318"/>
                    </a:lnTo>
                    <a:lnTo>
                      <a:pt x="291" y="318"/>
                    </a:lnTo>
                    <a:lnTo>
                      <a:pt x="292" y="319"/>
                    </a:lnTo>
                    <a:lnTo>
                      <a:pt x="293" y="319"/>
                    </a:lnTo>
                    <a:lnTo>
                      <a:pt x="294" y="319"/>
                    </a:lnTo>
                    <a:lnTo>
                      <a:pt x="294" y="320"/>
                    </a:lnTo>
                    <a:lnTo>
                      <a:pt x="295" y="321"/>
                    </a:lnTo>
                    <a:lnTo>
                      <a:pt x="295" y="322"/>
                    </a:lnTo>
                    <a:lnTo>
                      <a:pt x="295" y="323"/>
                    </a:lnTo>
                    <a:lnTo>
                      <a:pt x="295" y="324"/>
                    </a:lnTo>
                    <a:lnTo>
                      <a:pt x="294" y="328"/>
                    </a:lnTo>
                    <a:lnTo>
                      <a:pt x="294" y="329"/>
                    </a:lnTo>
                    <a:lnTo>
                      <a:pt x="293" y="331"/>
                    </a:lnTo>
                    <a:lnTo>
                      <a:pt x="293" y="333"/>
                    </a:lnTo>
                    <a:lnTo>
                      <a:pt x="292" y="335"/>
                    </a:lnTo>
                    <a:lnTo>
                      <a:pt x="292" y="336"/>
                    </a:lnTo>
                    <a:lnTo>
                      <a:pt x="293" y="337"/>
                    </a:lnTo>
                    <a:lnTo>
                      <a:pt x="295" y="338"/>
                    </a:lnTo>
                    <a:lnTo>
                      <a:pt x="297" y="339"/>
                    </a:lnTo>
                    <a:lnTo>
                      <a:pt x="299" y="339"/>
                    </a:lnTo>
                    <a:lnTo>
                      <a:pt x="300" y="339"/>
                    </a:lnTo>
                    <a:lnTo>
                      <a:pt x="301" y="341"/>
                    </a:lnTo>
                    <a:lnTo>
                      <a:pt x="304" y="341"/>
                    </a:lnTo>
                    <a:lnTo>
                      <a:pt x="305" y="342"/>
                    </a:lnTo>
                    <a:lnTo>
                      <a:pt x="306" y="341"/>
                    </a:lnTo>
                    <a:lnTo>
                      <a:pt x="307" y="341"/>
                    </a:lnTo>
                    <a:lnTo>
                      <a:pt x="312" y="339"/>
                    </a:lnTo>
                    <a:lnTo>
                      <a:pt x="314" y="339"/>
                    </a:lnTo>
                    <a:lnTo>
                      <a:pt x="315" y="339"/>
                    </a:lnTo>
                    <a:lnTo>
                      <a:pt x="316" y="339"/>
                    </a:lnTo>
                    <a:lnTo>
                      <a:pt x="316" y="341"/>
                    </a:lnTo>
                    <a:lnTo>
                      <a:pt x="317" y="342"/>
                    </a:lnTo>
                    <a:lnTo>
                      <a:pt x="316" y="342"/>
                    </a:lnTo>
                    <a:lnTo>
                      <a:pt x="316" y="344"/>
                    </a:lnTo>
                    <a:lnTo>
                      <a:pt x="316" y="345"/>
                    </a:lnTo>
                    <a:lnTo>
                      <a:pt x="316" y="346"/>
                    </a:lnTo>
                    <a:lnTo>
                      <a:pt x="317" y="347"/>
                    </a:lnTo>
                    <a:lnTo>
                      <a:pt x="317" y="348"/>
                    </a:lnTo>
                    <a:lnTo>
                      <a:pt x="318" y="349"/>
                    </a:lnTo>
                    <a:lnTo>
                      <a:pt x="319" y="349"/>
                    </a:lnTo>
                    <a:lnTo>
                      <a:pt x="320" y="350"/>
                    </a:lnTo>
                    <a:lnTo>
                      <a:pt x="322" y="351"/>
                    </a:lnTo>
                    <a:lnTo>
                      <a:pt x="325" y="351"/>
                    </a:lnTo>
                    <a:lnTo>
                      <a:pt x="327" y="351"/>
                    </a:lnTo>
                    <a:lnTo>
                      <a:pt x="330" y="351"/>
                    </a:lnTo>
                    <a:lnTo>
                      <a:pt x="331" y="352"/>
                    </a:lnTo>
                    <a:lnTo>
                      <a:pt x="331" y="354"/>
                    </a:lnTo>
                    <a:lnTo>
                      <a:pt x="331" y="355"/>
                    </a:lnTo>
                    <a:lnTo>
                      <a:pt x="331" y="357"/>
                    </a:lnTo>
                    <a:lnTo>
                      <a:pt x="330" y="359"/>
                    </a:lnTo>
                    <a:lnTo>
                      <a:pt x="329" y="361"/>
                    </a:lnTo>
                    <a:lnTo>
                      <a:pt x="329" y="363"/>
                    </a:lnTo>
                    <a:lnTo>
                      <a:pt x="328" y="365"/>
                    </a:lnTo>
                    <a:lnTo>
                      <a:pt x="327" y="368"/>
                    </a:lnTo>
                    <a:lnTo>
                      <a:pt x="327" y="370"/>
                    </a:lnTo>
                    <a:lnTo>
                      <a:pt x="327" y="372"/>
                    </a:lnTo>
                    <a:lnTo>
                      <a:pt x="327" y="373"/>
                    </a:lnTo>
                    <a:lnTo>
                      <a:pt x="327" y="375"/>
                    </a:lnTo>
                    <a:lnTo>
                      <a:pt x="327" y="376"/>
                    </a:lnTo>
                    <a:lnTo>
                      <a:pt x="328" y="377"/>
                    </a:lnTo>
                    <a:lnTo>
                      <a:pt x="329" y="378"/>
                    </a:lnTo>
                    <a:lnTo>
                      <a:pt x="330" y="380"/>
                    </a:lnTo>
                    <a:lnTo>
                      <a:pt x="331" y="380"/>
                    </a:lnTo>
                    <a:lnTo>
                      <a:pt x="332" y="381"/>
                    </a:lnTo>
                    <a:lnTo>
                      <a:pt x="333" y="381"/>
                    </a:lnTo>
                    <a:lnTo>
                      <a:pt x="334" y="381"/>
                    </a:lnTo>
                    <a:lnTo>
                      <a:pt x="338" y="382"/>
                    </a:lnTo>
                    <a:lnTo>
                      <a:pt x="339" y="382"/>
                    </a:lnTo>
                    <a:lnTo>
                      <a:pt x="341" y="383"/>
                    </a:lnTo>
                    <a:lnTo>
                      <a:pt x="342" y="383"/>
                    </a:lnTo>
                    <a:lnTo>
                      <a:pt x="343" y="383"/>
                    </a:lnTo>
                    <a:lnTo>
                      <a:pt x="346" y="384"/>
                    </a:lnTo>
                    <a:lnTo>
                      <a:pt x="347" y="383"/>
                    </a:lnTo>
                    <a:lnTo>
                      <a:pt x="349" y="383"/>
                    </a:lnTo>
                    <a:lnTo>
                      <a:pt x="351" y="383"/>
                    </a:lnTo>
                    <a:lnTo>
                      <a:pt x="352" y="383"/>
                    </a:lnTo>
                    <a:lnTo>
                      <a:pt x="354" y="384"/>
                    </a:lnTo>
                    <a:lnTo>
                      <a:pt x="356" y="386"/>
                    </a:lnTo>
                    <a:lnTo>
                      <a:pt x="359" y="389"/>
                    </a:lnTo>
                    <a:lnTo>
                      <a:pt x="361" y="390"/>
                    </a:lnTo>
                    <a:lnTo>
                      <a:pt x="365" y="393"/>
                    </a:lnTo>
                    <a:lnTo>
                      <a:pt x="369" y="395"/>
                    </a:lnTo>
                    <a:lnTo>
                      <a:pt x="370" y="395"/>
                    </a:lnTo>
                    <a:lnTo>
                      <a:pt x="371" y="395"/>
                    </a:lnTo>
                    <a:lnTo>
                      <a:pt x="374" y="395"/>
                    </a:lnTo>
                    <a:lnTo>
                      <a:pt x="375" y="395"/>
                    </a:lnTo>
                    <a:lnTo>
                      <a:pt x="377" y="395"/>
                    </a:lnTo>
                    <a:lnTo>
                      <a:pt x="379" y="396"/>
                    </a:lnTo>
                    <a:lnTo>
                      <a:pt x="381" y="396"/>
                    </a:lnTo>
                    <a:lnTo>
                      <a:pt x="384" y="396"/>
                    </a:lnTo>
                    <a:lnTo>
                      <a:pt x="389" y="396"/>
                    </a:lnTo>
                    <a:lnTo>
                      <a:pt x="390" y="396"/>
                    </a:lnTo>
                    <a:lnTo>
                      <a:pt x="392" y="397"/>
                    </a:lnTo>
                    <a:lnTo>
                      <a:pt x="393" y="397"/>
                    </a:lnTo>
                    <a:lnTo>
                      <a:pt x="394" y="398"/>
                    </a:lnTo>
                    <a:lnTo>
                      <a:pt x="395" y="399"/>
                    </a:lnTo>
                    <a:lnTo>
                      <a:pt x="396" y="400"/>
                    </a:lnTo>
                    <a:lnTo>
                      <a:pt x="397" y="401"/>
                    </a:lnTo>
                    <a:lnTo>
                      <a:pt x="397" y="402"/>
                    </a:lnTo>
                    <a:lnTo>
                      <a:pt x="400" y="409"/>
                    </a:lnTo>
                    <a:lnTo>
                      <a:pt x="400" y="410"/>
                    </a:lnTo>
                    <a:lnTo>
                      <a:pt x="402" y="411"/>
                    </a:lnTo>
                    <a:lnTo>
                      <a:pt x="403" y="411"/>
                    </a:lnTo>
                    <a:lnTo>
                      <a:pt x="403" y="412"/>
                    </a:lnTo>
                    <a:lnTo>
                      <a:pt x="404" y="412"/>
                    </a:lnTo>
                    <a:lnTo>
                      <a:pt x="406" y="414"/>
                    </a:lnTo>
                    <a:lnTo>
                      <a:pt x="409" y="418"/>
                    </a:lnTo>
                    <a:lnTo>
                      <a:pt x="410" y="419"/>
                    </a:lnTo>
                    <a:lnTo>
                      <a:pt x="411" y="420"/>
                    </a:lnTo>
                    <a:lnTo>
                      <a:pt x="413" y="421"/>
                    </a:lnTo>
                    <a:lnTo>
                      <a:pt x="416" y="423"/>
                    </a:lnTo>
                    <a:lnTo>
                      <a:pt x="417" y="423"/>
                    </a:lnTo>
                    <a:lnTo>
                      <a:pt x="419" y="424"/>
                    </a:lnTo>
                    <a:lnTo>
                      <a:pt x="420" y="425"/>
                    </a:lnTo>
                    <a:lnTo>
                      <a:pt x="421" y="426"/>
                    </a:lnTo>
                    <a:lnTo>
                      <a:pt x="421" y="427"/>
                    </a:lnTo>
                    <a:lnTo>
                      <a:pt x="420" y="427"/>
                    </a:lnTo>
                    <a:lnTo>
                      <a:pt x="420" y="428"/>
                    </a:lnTo>
                    <a:lnTo>
                      <a:pt x="419" y="429"/>
                    </a:lnTo>
                    <a:lnTo>
                      <a:pt x="418" y="429"/>
                    </a:lnTo>
                    <a:lnTo>
                      <a:pt x="418" y="432"/>
                    </a:lnTo>
                    <a:lnTo>
                      <a:pt x="417" y="432"/>
                    </a:lnTo>
                    <a:lnTo>
                      <a:pt x="417" y="433"/>
                    </a:lnTo>
                    <a:lnTo>
                      <a:pt x="418" y="433"/>
                    </a:lnTo>
                    <a:lnTo>
                      <a:pt x="418" y="434"/>
                    </a:lnTo>
                    <a:lnTo>
                      <a:pt x="420" y="435"/>
                    </a:lnTo>
                    <a:lnTo>
                      <a:pt x="421" y="435"/>
                    </a:lnTo>
                    <a:lnTo>
                      <a:pt x="422" y="436"/>
                    </a:lnTo>
                    <a:lnTo>
                      <a:pt x="424" y="437"/>
                    </a:lnTo>
                    <a:lnTo>
                      <a:pt x="425" y="438"/>
                    </a:lnTo>
                    <a:lnTo>
                      <a:pt x="425" y="439"/>
                    </a:lnTo>
                    <a:lnTo>
                      <a:pt x="426" y="440"/>
                    </a:lnTo>
                    <a:lnTo>
                      <a:pt x="428" y="440"/>
                    </a:lnTo>
                    <a:lnTo>
                      <a:pt x="428" y="441"/>
                    </a:lnTo>
                    <a:lnTo>
                      <a:pt x="431" y="444"/>
                    </a:lnTo>
                    <a:lnTo>
                      <a:pt x="432" y="444"/>
                    </a:lnTo>
                    <a:lnTo>
                      <a:pt x="433" y="445"/>
                    </a:lnTo>
                    <a:lnTo>
                      <a:pt x="435" y="446"/>
                    </a:lnTo>
                    <a:lnTo>
                      <a:pt x="436" y="447"/>
                    </a:lnTo>
                    <a:lnTo>
                      <a:pt x="437" y="448"/>
                    </a:lnTo>
                    <a:lnTo>
                      <a:pt x="438" y="449"/>
                    </a:lnTo>
                    <a:lnTo>
                      <a:pt x="439" y="449"/>
                    </a:lnTo>
                    <a:lnTo>
                      <a:pt x="443" y="449"/>
                    </a:lnTo>
                    <a:lnTo>
                      <a:pt x="444" y="449"/>
                    </a:lnTo>
                    <a:lnTo>
                      <a:pt x="445" y="449"/>
                    </a:lnTo>
                    <a:lnTo>
                      <a:pt x="445" y="450"/>
                    </a:lnTo>
                    <a:lnTo>
                      <a:pt x="445" y="451"/>
                    </a:lnTo>
                    <a:lnTo>
                      <a:pt x="445" y="452"/>
                    </a:lnTo>
                    <a:lnTo>
                      <a:pt x="444" y="452"/>
                    </a:lnTo>
                    <a:lnTo>
                      <a:pt x="444" y="453"/>
                    </a:lnTo>
                    <a:lnTo>
                      <a:pt x="444" y="454"/>
                    </a:lnTo>
                    <a:lnTo>
                      <a:pt x="443" y="454"/>
                    </a:lnTo>
                    <a:lnTo>
                      <a:pt x="443" y="455"/>
                    </a:lnTo>
                    <a:lnTo>
                      <a:pt x="429" y="467"/>
                    </a:lnTo>
                    <a:lnTo>
                      <a:pt x="424" y="471"/>
                    </a:lnTo>
                    <a:lnTo>
                      <a:pt x="417" y="477"/>
                    </a:lnTo>
                    <a:lnTo>
                      <a:pt x="417" y="484"/>
                    </a:lnTo>
                    <a:lnTo>
                      <a:pt x="411" y="484"/>
                    </a:lnTo>
                    <a:lnTo>
                      <a:pt x="410" y="484"/>
                    </a:lnTo>
                    <a:lnTo>
                      <a:pt x="407" y="484"/>
                    </a:lnTo>
                    <a:lnTo>
                      <a:pt x="407" y="489"/>
                    </a:lnTo>
                    <a:lnTo>
                      <a:pt x="403" y="489"/>
                    </a:lnTo>
                    <a:lnTo>
                      <a:pt x="402" y="489"/>
                    </a:lnTo>
                    <a:lnTo>
                      <a:pt x="402" y="495"/>
                    </a:lnTo>
                    <a:lnTo>
                      <a:pt x="396" y="495"/>
                    </a:lnTo>
                    <a:lnTo>
                      <a:pt x="396" y="499"/>
                    </a:lnTo>
                    <a:lnTo>
                      <a:pt x="385" y="499"/>
                    </a:lnTo>
                    <a:lnTo>
                      <a:pt x="385" y="505"/>
                    </a:lnTo>
                    <a:lnTo>
                      <a:pt x="385" y="510"/>
                    </a:lnTo>
                    <a:lnTo>
                      <a:pt x="375" y="510"/>
                    </a:lnTo>
                    <a:lnTo>
                      <a:pt x="375" y="515"/>
                    </a:lnTo>
                    <a:lnTo>
                      <a:pt x="365" y="515"/>
                    </a:lnTo>
                    <a:lnTo>
                      <a:pt x="365" y="519"/>
                    </a:lnTo>
                    <a:lnTo>
                      <a:pt x="365" y="525"/>
                    </a:lnTo>
                    <a:lnTo>
                      <a:pt x="349" y="525"/>
                    </a:lnTo>
                    <a:lnTo>
                      <a:pt x="349" y="526"/>
                    </a:lnTo>
                    <a:lnTo>
                      <a:pt x="349" y="536"/>
                    </a:lnTo>
                    <a:lnTo>
                      <a:pt x="340" y="536"/>
                    </a:lnTo>
                    <a:lnTo>
                      <a:pt x="340" y="547"/>
                    </a:lnTo>
                    <a:lnTo>
                      <a:pt x="325" y="547"/>
                    </a:lnTo>
                    <a:lnTo>
                      <a:pt x="325" y="556"/>
                    </a:lnTo>
                    <a:lnTo>
                      <a:pt x="325" y="558"/>
                    </a:lnTo>
                    <a:lnTo>
                      <a:pt x="325" y="562"/>
                    </a:lnTo>
                    <a:lnTo>
                      <a:pt x="319" y="562"/>
                    </a:lnTo>
                    <a:lnTo>
                      <a:pt x="314" y="562"/>
                    </a:lnTo>
                    <a:lnTo>
                      <a:pt x="304" y="562"/>
                    </a:lnTo>
                    <a:lnTo>
                      <a:pt x="304" y="577"/>
                    </a:lnTo>
                    <a:lnTo>
                      <a:pt x="293" y="577"/>
                    </a:lnTo>
                    <a:lnTo>
                      <a:pt x="282" y="577"/>
                    </a:lnTo>
                    <a:lnTo>
                      <a:pt x="282" y="576"/>
                    </a:lnTo>
                    <a:lnTo>
                      <a:pt x="281" y="576"/>
                    </a:lnTo>
                    <a:lnTo>
                      <a:pt x="281" y="575"/>
                    </a:lnTo>
                    <a:lnTo>
                      <a:pt x="280" y="575"/>
                    </a:lnTo>
                    <a:lnTo>
                      <a:pt x="281" y="574"/>
                    </a:lnTo>
                    <a:lnTo>
                      <a:pt x="280" y="574"/>
                    </a:lnTo>
                    <a:lnTo>
                      <a:pt x="280" y="573"/>
                    </a:lnTo>
                    <a:lnTo>
                      <a:pt x="279" y="573"/>
                    </a:lnTo>
                    <a:lnTo>
                      <a:pt x="279" y="572"/>
                    </a:lnTo>
                    <a:lnTo>
                      <a:pt x="278" y="572"/>
                    </a:lnTo>
                    <a:lnTo>
                      <a:pt x="278" y="570"/>
                    </a:lnTo>
                    <a:lnTo>
                      <a:pt x="277" y="570"/>
                    </a:lnTo>
                    <a:lnTo>
                      <a:pt x="277" y="569"/>
                    </a:lnTo>
                    <a:lnTo>
                      <a:pt x="278" y="569"/>
                    </a:lnTo>
                    <a:lnTo>
                      <a:pt x="277" y="569"/>
                    </a:lnTo>
                    <a:lnTo>
                      <a:pt x="277" y="568"/>
                    </a:lnTo>
                    <a:lnTo>
                      <a:pt x="277" y="567"/>
                    </a:lnTo>
                    <a:lnTo>
                      <a:pt x="276" y="567"/>
                    </a:lnTo>
                    <a:lnTo>
                      <a:pt x="271" y="567"/>
                    </a:lnTo>
                    <a:lnTo>
                      <a:pt x="267" y="567"/>
                    </a:lnTo>
                    <a:lnTo>
                      <a:pt x="266" y="567"/>
                    </a:lnTo>
                    <a:lnTo>
                      <a:pt x="265" y="567"/>
                    </a:lnTo>
                    <a:lnTo>
                      <a:pt x="264" y="567"/>
                    </a:lnTo>
                    <a:lnTo>
                      <a:pt x="252" y="567"/>
                    </a:lnTo>
                    <a:lnTo>
                      <a:pt x="252" y="565"/>
                    </a:lnTo>
                    <a:lnTo>
                      <a:pt x="249" y="565"/>
                    </a:lnTo>
                    <a:lnTo>
                      <a:pt x="248" y="565"/>
                    </a:lnTo>
                    <a:lnTo>
                      <a:pt x="235" y="564"/>
                    </a:lnTo>
                    <a:lnTo>
                      <a:pt x="222" y="564"/>
                    </a:lnTo>
                    <a:lnTo>
                      <a:pt x="210" y="564"/>
                    </a:lnTo>
                    <a:lnTo>
                      <a:pt x="189" y="564"/>
                    </a:lnTo>
                    <a:lnTo>
                      <a:pt x="180" y="564"/>
                    </a:lnTo>
                    <a:lnTo>
                      <a:pt x="177" y="564"/>
                    </a:lnTo>
                    <a:lnTo>
                      <a:pt x="174" y="564"/>
                    </a:lnTo>
                    <a:lnTo>
                      <a:pt x="166" y="564"/>
                    </a:lnTo>
                    <a:lnTo>
                      <a:pt x="153" y="564"/>
                    </a:lnTo>
                    <a:lnTo>
                      <a:pt x="126" y="564"/>
                    </a:lnTo>
                    <a:lnTo>
                      <a:pt x="126" y="556"/>
                    </a:lnTo>
                    <a:lnTo>
                      <a:pt x="126" y="542"/>
                    </a:lnTo>
                    <a:lnTo>
                      <a:pt x="126" y="523"/>
                    </a:lnTo>
                    <a:lnTo>
                      <a:pt x="126" y="510"/>
                    </a:lnTo>
                    <a:lnTo>
                      <a:pt x="126" y="486"/>
                    </a:lnTo>
                    <a:lnTo>
                      <a:pt x="126" y="468"/>
                    </a:lnTo>
                    <a:lnTo>
                      <a:pt x="126" y="467"/>
                    </a:lnTo>
                    <a:lnTo>
                      <a:pt x="126" y="439"/>
                    </a:lnTo>
                    <a:lnTo>
                      <a:pt x="118" y="440"/>
                    </a:lnTo>
                    <a:lnTo>
                      <a:pt x="116" y="440"/>
                    </a:lnTo>
                    <a:lnTo>
                      <a:pt x="112" y="439"/>
                    </a:lnTo>
                    <a:lnTo>
                      <a:pt x="111" y="439"/>
                    </a:lnTo>
                    <a:lnTo>
                      <a:pt x="110" y="440"/>
                    </a:lnTo>
                    <a:lnTo>
                      <a:pt x="93" y="440"/>
                    </a:lnTo>
                    <a:lnTo>
                      <a:pt x="81" y="440"/>
                    </a:lnTo>
                    <a:lnTo>
                      <a:pt x="77" y="440"/>
                    </a:lnTo>
                    <a:lnTo>
                      <a:pt x="64" y="440"/>
                    </a:lnTo>
                    <a:lnTo>
                      <a:pt x="64" y="429"/>
                    </a:lnTo>
                    <a:lnTo>
                      <a:pt x="64" y="426"/>
                    </a:lnTo>
                    <a:lnTo>
                      <a:pt x="64" y="413"/>
                    </a:lnTo>
                    <a:lnTo>
                      <a:pt x="64" y="411"/>
                    </a:lnTo>
                    <a:lnTo>
                      <a:pt x="64" y="409"/>
                    </a:lnTo>
                    <a:lnTo>
                      <a:pt x="64" y="397"/>
                    </a:lnTo>
                    <a:lnTo>
                      <a:pt x="64" y="380"/>
                    </a:lnTo>
                    <a:lnTo>
                      <a:pt x="64" y="368"/>
                    </a:lnTo>
                    <a:lnTo>
                      <a:pt x="64" y="367"/>
                    </a:lnTo>
                    <a:lnTo>
                      <a:pt x="64" y="364"/>
                    </a:lnTo>
                    <a:lnTo>
                      <a:pt x="63" y="360"/>
                    </a:lnTo>
                    <a:lnTo>
                      <a:pt x="63" y="350"/>
                    </a:lnTo>
                    <a:lnTo>
                      <a:pt x="63" y="349"/>
                    </a:lnTo>
                    <a:lnTo>
                      <a:pt x="64" y="339"/>
                    </a:lnTo>
                    <a:lnTo>
                      <a:pt x="64" y="336"/>
                    </a:lnTo>
                    <a:lnTo>
                      <a:pt x="64" y="329"/>
                    </a:lnTo>
                    <a:lnTo>
                      <a:pt x="64" y="324"/>
                    </a:lnTo>
                    <a:lnTo>
                      <a:pt x="64" y="323"/>
                    </a:lnTo>
                    <a:lnTo>
                      <a:pt x="64" y="319"/>
                    </a:lnTo>
                    <a:lnTo>
                      <a:pt x="63" y="313"/>
                    </a:lnTo>
                    <a:lnTo>
                      <a:pt x="54" y="313"/>
                    </a:lnTo>
                    <a:lnTo>
                      <a:pt x="42" y="313"/>
                    </a:lnTo>
                    <a:lnTo>
                      <a:pt x="38" y="313"/>
                    </a:lnTo>
                    <a:lnTo>
                      <a:pt x="26" y="313"/>
                    </a:lnTo>
                    <a:lnTo>
                      <a:pt x="17" y="313"/>
                    </a:lnTo>
                    <a:lnTo>
                      <a:pt x="13" y="312"/>
                    </a:lnTo>
                    <a:lnTo>
                      <a:pt x="0" y="313"/>
                    </a:lnTo>
                    <a:lnTo>
                      <a:pt x="0" y="306"/>
                    </a:lnTo>
                    <a:lnTo>
                      <a:pt x="2" y="292"/>
                    </a:lnTo>
                    <a:lnTo>
                      <a:pt x="2" y="288"/>
                    </a:lnTo>
                    <a:lnTo>
                      <a:pt x="0" y="287"/>
                    </a:lnTo>
                    <a:lnTo>
                      <a:pt x="2" y="271"/>
                    </a:lnTo>
                    <a:lnTo>
                      <a:pt x="2" y="260"/>
                    </a:lnTo>
                    <a:lnTo>
                      <a:pt x="2" y="259"/>
                    </a:lnTo>
                    <a:lnTo>
                      <a:pt x="2" y="246"/>
                    </a:lnTo>
                    <a:lnTo>
                      <a:pt x="2" y="242"/>
                    </a:lnTo>
                    <a:lnTo>
                      <a:pt x="2" y="233"/>
                    </a:lnTo>
                    <a:lnTo>
                      <a:pt x="2" y="224"/>
                    </a:lnTo>
                    <a:lnTo>
                      <a:pt x="2" y="219"/>
                    </a:lnTo>
                    <a:lnTo>
                      <a:pt x="2" y="215"/>
                    </a:lnTo>
                    <a:lnTo>
                      <a:pt x="2" y="208"/>
                    </a:lnTo>
                    <a:lnTo>
                      <a:pt x="0" y="197"/>
                    </a:lnTo>
                    <a:lnTo>
                      <a:pt x="2" y="183"/>
                    </a:lnTo>
                    <a:lnTo>
                      <a:pt x="2" y="182"/>
                    </a:lnTo>
                    <a:lnTo>
                      <a:pt x="3" y="181"/>
                    </a:lnTo>
                    <a:lnTo>
                      <a:pt x="2" y="181"/>
                    </a:lnTo>
                    <a:lnTo>
                      <a:pt x="2" y="180"/>
                    </a:lnTo>
                    <a:lnTo>
                      <a:pt x="2" y="179"/>
                    </a:lnTo>
                    <a:lnTo>
                      <a:pt x="3" y="178"/>
                    </a:lnTo>
                    <a:lnTo>
                      <a:pt x="3" y="177"/>
                    </a:lnTo>
                    <a:lnTo>
                      <a:pt x="4" y="176"/>
                    </a:lnTo>
                    <a:lnTo>
                      <a:pt x="4" y="175"/>
                    </a:lnTo>
                    <a:lnTo>
                      <a:pt x="4" y="174"/>
                    </a:lnTo>
                    <a:lnTo>
                      <a:pt x="3" y="174"/>
                    </a:lnTo>
                    <a:lnTo>
                      <a:pt x="3" y="172"/>
                    </a:lnTo>
                    <a:lnTo>
                      <a:pt x="3" y="171"/>
                    </a:lnTo>
                    <a:lnTo>
                      <a:pt x="2" y="172"/>
                    </a:lnTo>
                    <a:lnTo>
                      <a:pt x="2" y="171"/>
                    </a:lnTo>
                    <a:lnTo>
                      <a:pt x="2" y="170"/>
                    </a:lnTo>
                    <a:lnTo>
                      <a:pt x="2" y="169"/>
                    </a:lnTo>
                    <a:lnTo>
                      <a:pt x="3" y="168"/>
                    </a:lnTo>
                    <a:lnTo>
                      <a:pt x="4" y="168"/>
                    </a:lnTo>
                    <a:lnTo>
                      <a:pt x="4" y="167"/>
                    </a:lnTo>
                    <a:lnTo>
                      <a:pt x="4" y="166"/>
                    </a:lnTo>
                    <a:lnTo>
                      <a:pt x="5" y="167"/>
                    </a:lnTo>
                    <a:lnTo>
                      <a:pt x="5" y="166"/>
                    </a:lnTo>
                    <a:lnTo>
                      <a:pt x="6" y="165"/>
                    </a:lnTo>
                    <a:lnTo>
                      <a:pt x="6" y="164"/>
                    </a:lnTo>
                    <a:lnTo>
                      <a:pt x="7" y="164"/>
                    </a:lnTo>
                    <a:lnTo>
                      <a:pt x="7" y="163"/>
                    </a:lnTo>
                    <a:lnTo>
                      <a:pt x="7" y="162"/>
                    </a:lnTo>
                    <a:lnTo>
                      <a:pt x="8" y="162"/>
                    </a:lnTo>
                    <a:lnTo>
                      <a:pt x="9" y="162"/>
                    </a:lnTo>
                    <a:lnTo>
                      <a:pt x="10" y="162"/>
                    </a:lnTo>
                    <a:lnTo>
                      <a:pt x="10" y="161"/>
                    </a:lnTo>
                    <a:lnTo>
                      <a:pt x="11" y="158"/>
                    </a:lnTo>
                    <a:lnTo>
                      <a:pt x="11" y="157"/>
                    </a:lnTo>
                    <a:lnTo>
                      <a:pt x="11" y="156"/>
                    </a:lnTo>
                    <a:lnTo>
                      <a:pt x="12" y="156"/>
                    </a:lnTo>
                    <a:lnTo>
                      <a:pt x="13" y="156"/>
                    </a:lnTo>
                    <a:lnTo>
                      <a:pt x="15" y="155"/>
                    </a:lnTo>
                    <a:lnTo>
                      <a:pt x="16" y="154"/>
                    </a:lnTo>
                    <a:lnTo>
                      <a:pt x="17" y="154"/>
                    </a:lnTo>
                    <a:lnTo>
                      <a:pt x="17" y="155"/>
                    </a:lnTo>
                    <a:lnTo>
                      <a:pt x="18" y="155"/>
                    </a:lnTo>
                    <a:lnTo>
                      <a:pt x="17" y="157"/>
                    </a:lnTo>
                    <a:lnTo>
                      <a:pt x="17" y="158"/>
                    </a:lnTo>
                    <a:lnTo>
                      <a:pt x="17" y="159"/>
                    </a:lnTo>
                    <a:lnTo>
                      <a:pt x="17" y="161"/>
                    </a:lnTo>
                    <a:lnTo>
                      <a:pt x="18" y="162"/>
                    </a:lnTo>
                    <a:lnTo>
                      <a:pt x="19" y="163"/>
                    </a:lnTo>
                    <a:lnTo>
                      <a:pt x="20" y="164"/>
                    </a:lnTo>
                    <a:lnTo>
                      <a:pt x="21" y="165"/>
                    </a:lnTo>
                    <a:lnTo>
                      <a:pt x="24" y="166"/>
                    </a:lnTo>
                    <a:lnTo>
                      <a:pt x="25" y="166"/>
                    </a:lnTo>
                    <a:lnTo>
                      <a:pt x="26" y="166"/>
                    </a:lnTo>
                    <a:lnTo>
                      <a:pt x="28" y="166"/>
                    </a:lnTo>
                    <a:lnTo>
                      <a:pt x="29" y="166"/>
                    </a:lnTo>
                    <a:lnTo>
                      <a:pt x="30" y="166"/>
                    </a:lnTo>
                    <a:lnTo>
                      <a:pt x="30" y="165"/>
                    </a:lnTo>
                    <a:lnTo>
                      <a:pt x="32" y="164"/>
                    </a:lnTo>
                    <a:lnTo>
                      <a:pt x="32" y="163"/>
                    </a:lnTo>
                    <a:lnTo>
                      <a:pt x="34" y="162"/>
                    </a:lnTo>
                    <a:lnTo>
                      <a:pt x="34" y="161"/>
                    </a:lnTo>
                    <a:lnTo>
                      <a:pt x="35" y="161"/>
                    </a:lnTo>
                    <a:lnTo>
                      <a:pt x="36" y="161"/>
                    </a:lnTo>
                    <a:lnTo>
                      <a:pt x="37" y="161"/>
                    </a:lnTo>
                    <a:lnTo>
                      <a:pt x="37" y="162"/>
                    </a:lnTo>
                    <a:lnTo>
                      <a:pt x="37" y="163"/>
                    </a:lnTo>
                    <a:lnTo>
                      <a:pt x="38" y="163"/>
                    </a:lnTo>
                    <a:lnTo>
                      <a:pt x="39" y="163"/>
                    </a:lnTo>
                    <a:lnTo>
                      <a:pt x="41" y="162"/>
                    </a:lnTo>
                    <a:lnTo>
                      <a:pt x="41" y="161"/>
                    </a:lnTo>
                    <a:lnTo>
                      <a:pt x="41" y="158"/>
                    </a:lnTo>
                    <a:lnTo>
                      <a:pt x="39" y="155"/>
                    </a:lnTo>
                    <a:lnTo>
                      <a:pt x="42" y="155"/>
                    </a:lnTo>
                    <a:lnTo>
                      <a:pt x="43" y="155"/>
                    </a:lnTo>
                    <a:lnTo>
                      <a:pt x="44" y="155"/>
                    </a:lnTo>
                    <a:lnTo>
                      <a:pt x="44" y="156"/>
                    </a:lnTo>
                    <a:lnTo>
                      <a:pt x="54" y="156"/>
                    </a:lnTo>
                    <a:lnTo>
                      <a:pt x="54" y="157"/>
                    </a:lnTo>
                    <a:lnTo>
                      <a:pt x="55" y="158"/>
                    </a:lnTo>
                    <a:lnTo>
                      <a:pt x="55" y="159"/>
                    </a:lnTo>
                    <a:lnTo>
                      <a:pt x="54" y="159"/>
                    </a:lnTo>
                    <a:lnTo>
                      <a:pt x="52" y="161"/>
                    </a:lnTo>
                    <a:lnTo>
                      <a:pt x="51" y="161"/>
                    </a:lnTo>
                    <a:lnTo>
                      <a:pt x="51" y="162"/>
                    </a:lnTo>
                    <a:lnTo>
                      <a:pt x="50" y="162"/>
                    </a:lnTo>
                    <a:lnTo>
                      <a:pt x="50" y="163"/>
                    </a:lnTo>
                    <a:lnTo>
                      <a:pt x="51" y="164"/>
                    </a:lnTo>
                    <a:lnTo>
                      <a:pt x="52" y="165"/>
                    </a:lnTo>
                    <a:lnTo>
                      <a:pt x="54" y="165"/>
                    </a:lnTo>
                    <a:lnTo>
                      <a:pt x="55" y="165"/>
                    </a:lnTo>
                    <a:lnTo>
                      <a:pt x="55" y="166"/>
                    </a:lnTo>
                    <a:lnTo>
                      <a:pt x="56" y="166"/>
                    </a:lnTo>
                    <a:lnTo>
                      <a:pt x="56" y="167"/>
                    </a:lnTo>
                    <a:lnTo>
                      <a:pt x="55" y="168"/>
                    </a:lnTo>
                    <a:lnTo>
                      <a:pt x="56" y="169"/>
                    </a:lnTo>
                    <a:lnTo>
                      <a:pt x="57" y="169"/>
                    </a:lnTo>
                    <a:lnTo>
                      <a:pt x="57" y="170"/>
                    </a:lnTo>
                    <a:lnTo>
                      <a:pt x="56" y="171"/>
                    </a:lnTo>
                    <a:lnTo>
                      <a:pt x="56" y="172"/>
                    </a:lnTo>
                    <a:lnTo>
                      <a:pt x="57" y="172"/>
                    </a:lnTo>
                    <a:lnTo>
                      <a:pt x="58" y="174"/>
                    </a:lnTo>
                    <a:lnTo>
                      <a:pt x="59" y="175"/>
                    </a:lnTo>
                    <a:lnTo>
                      <a:pt x="59" y="176"/>
                    </a:lnTo>
                    <a:lnTo>
                      <a:pt x="58" y="177"/>
                    </a:lnTo>
                    <a:lnTo>
                      <a:pt x="57" y="178"/>
                    </a:lnTo>
                    <a:lnTo>
                      <a:pt x="57" y="179"/>
                    </a:lnTo>
                    <a:lnTo>
                      <a:pt x="57" y="180"/>
                    </a:lnTo>
                    <a:lnTo>
                      <a:pt x="58" y="180"/>
                    </a:lnTo>
                    <a:lnTo>
                      <a:pt x="59" y="181"/>
                    </a:lnTo>
                    <a:lnTo>
                      <a:pt x="60" y="181"/>
                    </a:lnTo>
                    <a:lnTo>
                      <a:pt x="61" y="182"/>
                    </a:lnTo>
                    <a:lnTo>
                      <a:pt x="62" y="182"/>
                    </a:lnTo>
                    <a:lnTo>
                      <a:pt x="67" y="183"/>
                    </a:lnTo>
                    <a:lnTo>
                      <a:pt x="68" y="183"/>
                    </a:lnTo>
                    <a:lnTo>
                      <a:pt x="69" y="183"/>
                    </a:lnTo>
                    <a:lnTo>
                      <a:pt x="70" y="183"/>
                    </a:lnTo>
                    <a:lnTo>
                      <a:pt x="71" y="184"/>
                    </a:lnTo>
                    <a:lnTo>
                      <a:pt x="72" y="184"/>
                    </a:lnTo>
                    <a:lnTo>
                      <a:pt x="73" y="184"/>
                    </a:lnTo>
                    <a:lnTo>
                      <a:pt x="74" y="185"/>
                    </a:lnTo>
                    <a:lnTo>
                      <a:pt x="74" y="187"/>
                    </a:lnTo>
                    <a:lnTo>
                      <a:pt x="74" y="188"/>
                    </a:lnTo>
                    <a:lnTo>
                      <a:pt x="75" y="188"/>
                    </a:lnTo>
                    <a:lnTo>
                      <a:pt x="76" y="188"/>
                    </a:lnTo>
                    <a:lnTo>
                      <a:pt x="77" y="187"/>
                    </a:lnTo>
                    <a:lnTo>
                      <a:pt x="78" y="187"/>
                    </a:lnTo>
                    <a:lnTo>
                      <a:pt x="80" y="185"/>
                    </a:lnTo>
                    <a:lnTo>
                      <a:pt x="80" y="184"/>
                    </a:lnTo>
                    <a:lnTo>
                      <a:pt x="81" y="184"/>
                    </a:lnTo>
                    <a:lnTo>
                      <a:pt x="81" y="183"/>
                    </a:lnTo>
                    <a:lnTo>
                      <a:pt x="82" y="183"/>
                    </a:lnTo>
                    <a:lnTo>
                      <a:pt x="84" y="182"/>
                    </a:lnTo>
                    <a:lnTo>
                      <a:pt x="84" y="181"/>
                    </a:lnTo>
                    <a:lnTo>
                      <a:pt x="85" y="181"/>
                    </a:lnTo>
                    <a:lnTo>
                      <a:pt x="86" y="181"/>
                    </a:lnTo>
                    <a:lnTo>
                      <a:pt x="87" y="181"/>
                    </a:lnTo>
                    <a:lnTo>
                      <a:pt x="87" y="182"/>
                    </a:lnTo>
                    <a:lnTo>
                      <a:pt x="87" y="184"/>
                    </a:lnTo>
                    <a:lnTo>
                      <a:pt x="88" y="184"/>
                    </a:lnTo>
                    <a:lnTo>
                      <a:pt x="89" y="184"/>
                    </a:lnTo>
                    <a:lnTo>
                      <a:pt x="91" y="187"/>
                    </a:lnTo>
                    <a:lnTo>
                      <a:pt x="93" y="187"/>
                    </a:lnTo>
                    <a:lnTo>
                      <a:pt x="95" y="187"/>
                    </a:lnTo>
                    <a:lnTo>
                      <a:pt x="96" y="187"/>
                    </a:lnTo>
                    <a:lnTo>
                      <a:pt x="97" y="187"/>
                    </a:lnTo>
                    <a:lnTo>
                      <a:pt x="98" y="189"/>
                    </a:lnTo>
                    <a:lnTo>
                      <a:pt x="99" y="189"/>
                    </a:lnTo>
                    <a:lnTo>
                      <a:pt x="100" y="189"/>
                    </a:lnTo>
                    <a:lnTo>
                      <a:pt x="99" y="188"/>
                    </a:lnTo>
                    <a:lnTo>
                      <a:pt x="100" y="187"/>
                    </a:lnTo>
                    <a:lnTo>
                      <a:pt x="101" y="185"/>
                    </a:lnTo>
                    <a:lnTo>
                      <a:pt x="102" y="184"/>
                    </a:lnTo>
                    <a:lnTo>
                      <a:pt x="102" y="183"/>
                    </a:lnTo>
                    <a:lnTo>
                      <a:pt x="103" y="183"/>
                    </a:lnTo>
                    <a:lnTo>
                      <a:pt x="104" y="183"/>
                    </a:lnTo>
                    <a:lnTo>
                      <a:pt x="106" y="183"/>
                    </a:lnTo>
                    <a:lnTo>
                      <a:pt x="108" y="182"/>
                    </a:lnTo>
                    <a:lnTo>
                      <a:pt x="109" y="180"/>
                    </a:lnTo>
                    <a:lnTo>
                      <a:pt x="109" y="179"/>
                    </a:lnTo>
                    <a:lnTo>
                      <a:pt x="110" y="178"/>
                    </a:lnTo>
                    <a:lnTo>
                      <a:pt x="110" y="177"/>
                    </a:lnTo>
                    <a:lnTo>
                      <a:pt x="111" y="176"/>
                    </a:lnTo>
                    <a:lnTo>
                      <a:pt x="111" y="175"/>
                    </a:lnTo>
                    <a:lnTo>
                      <a:pt x="112" y="174"/>
                    </a:lnTo>
                    <a:lnTo>
                      <a:pt x="113" y="172"/>
                    </a:lnTo>
                    <a:lnTo>
                      <a:pt x="114" y="171"/>
                    </a:lnTo>
                    <a:lnTo>
                      <a:pt x="115" y="170"/>
                    </a:lnTo>
                    <a:lnTo>
                      <a:pt x="115" y="169"/>
                    </a:lnTo>
                    <a:lnTo>
                      <a:pt x="116" y="170"/>
                    </a:lnTo>
                    <a:lnTo>
                      <a:pt x="116" y="171"/>
                    </a:lnTo>
                    <a:lnTo>
                      <a:pt x="118" y="171"/>
                    </a:lnTo>
                    <a:lnTo>
                      <a:pt x="120" y="172"/>
                    </a:lnTo>
                    <a:lnTo>
                      <a:pt x="120" y="171"/>
                    </a:lnTo>
                    <a:lnTo>
                      <a:pt x="121" y="171"/>
                    </a:lnTo>
                    <a:lnTo>
                      <a:pt x="122" y="172"/>
                    </a:lnTo>
                    <a:lnTo>
                      <a:pt x="123" y="174"/>
                    </a:lnTo>
                    <a:lnTo>
                      <a:pt x="124" y="176"/>
                    </a:lnTo>
                    <a:lnTo>
                      <a:pt x="125" y="177"/>
                    </a:lnTo>
                    <a:lnTo>
                      <a:pt x="125" y="176"/>
                    </a:lnTo>
                    <a:lnTo>
                      <a:pt x="125" y="127"/>
                    </a:lnTo>
                    <a:lnTo>
                      <a:pt x="129" y="127"/>
                    </a:lnTo>
                    <a:lnTo>
                      <a:pt x="136" y="127"/>
                    </a:lnTo>
                    <a:lnTo>
                      <a:pt x="155" y="127"/>
                    </a:lnTo>
                    <a:lnTo>
                      <a:pt x="160" y="127"/>
                    </a:lnTo>
                    <a:lnTo>
                      <a:pt x="162" y="127"/>
                    </a:lnTo>
                    <a:lnTo>
                      <a:pt x="165" y="127"/>
                    </a:lnTo>
                    <a:lnTo>
                      <a:pt x="174" y="127"/>
                    </a:lnTo>
                    <a:lnTo>
                      <a:pt x="178" y="127"/>
                    </a:lnTo>
                    <a:lnTo>
                      <a:pt x="179" y="127"/>
                    </a:lnTo>
                    <a:lnTo>
                      <a:pt x="180" y="127"/>
                    </a:lnTo>
                    <a:lnTo>
                      <a:pt x="194" y="127"/>
                    </a:lnTo>
                    <a:lnTo>
                      <a:pt x="197" y="127"/>
                    </a:lnTo>
                    <a:lnTo>
                      <a:pt x="196" y="127"/>
                    </a:lnTo>
                    <a:lnTo>
                      <a:pt x="196" y="126"/>
                    </a:lnTo>
                    <a:lnTo>
                      <a:pt x="194" y="125"/>
                    </a:lnTo>
                    <a:lnTo>
                      <a:pt x="193" y="125"/>
                    </a:lnTo>
                    <a:lnTo>
                      <a:pt x="193" y="124"/>
                    </a:lnTo>
                    <a:lnTo>
                      <a:pt x="192" y="124"/>
                    </a:lnTo>
                    <a:lnTo>
                      <a:pt x="192" y="123"/>
                    </a:lnTo>
                    <a:lnTo>
                      <a:pt x="192" y="121"/>
                    </a:lnTo>
                    <a:lnTo>
                      <a:pt x="191" y="121"/>
                    </a:lnTo>
                    <a:lnTo>
                      <a:pt x="190" y="120"/>
                    </a:lnTo>
                    <a:lnTo>
                      <a:pt x="189" y="120"/>
                    </a:lnTo>
                    <a:lnTo>
                      <a:pt x="188" y="119"/>
                    </a:lnTo>
                    <a:lnTo>
                      <a:pt x="188" y="118"/>
                    </a:lnTo>
                    <a:lnTo>
                      <a:pt x="188" y="117"/>
                    </a:lnTo>
                    <a:lnTo>
                      <a:pt x="188" y="116"/>
                    </a:lnTo>
                    <a:lnTo>
                      <a:pt x="189" y="116"/>
                    </a:lnTo>
                    <a:lnTo>
                      <a:pt x="189" y="115"/>
                    </a:lnTo>
                    <a:lnTo>
                      <a:pt x="188" y="115"/>
                    </a:lnTo>
                    <a:lnTo>
                      <a:pt x="187" y="115"/>
                    </a:lnTo>
                    <a:lnTo>
                      <a:pt x="186" y="115"/>
                    </a:lnTo>
                    <a:lnTo>
                      <a:pt x="186" y="114"/>
                    </a:lnTo>
                    <a:lnTo>
                      <a:pt x="185" y="114"/>
                    </a:lnTo>
                    <a:lnTo>
                      <a:pt x="185" y="113"/>
                    </a:lnTo>
                    <a:lnTo>
                      <a:pt x="185" y="112"/>
                    </a:lnTo>
                    <a:lnTo>
                      <a:pt x="184" y="112"/>
                    </a:lnTo>
                    <a:lnTo>
                      <a:pt x="184" y="111"/>
                    </a:lnTo>
                    <a:lnTo>
                      <a:pt x="183" y="110"/>
                    </a:lnTo>
                    <a:lnTo>
                      <a:pt x="181" y="110"/>
                    </a:lnTo>
                    <a:lnTo>
                      <a:pt x="181" y="108"/>
                    </a:lnTo>
                    <a:lnTo>
                      <a:pt x="181" y="107"/>
                    </a:lnTo>
                    <a:lnTo>
                      <a:pt x="181" y="106"/>
                    </a:lnTo>
                    <a:lnTo>
                      <a:pt x="180" y="106"/>
                    </a:lnTo>
                    <a:lnTo>
                      <a:pt x="180" y="105"/>
                    </a:lnTo>
                    <a:lnTo>
                      <a:pt x="179" y="105"/>
                    </a:lnTo>
                    <a:lnTo>
                      <a:pt x="178" y="105"/>
                    </a:lnTo>
                    <a:lnTo>
                      <a:pt x="177" y="105"/>
                    </a:lnTo>
                    <a:lnTo>
                      <a:pt x="177" y="104"/>
                    </a:lnTo>
                    <a:lnTo>
                      <a:pt x="176" y="104"/>
                    </a:lnTo>
                    <a:lnTo>
                      <a:pt x="177" y="103"/>
                    </a:lnTo>
                    <a:lnTo>
                      <a:pt x="178" y="104"/>
                    </a:lnTo>
                    <a:lnTo>
                      <a:pt x="178" y="103"/>
                    </a:lnTo>
                    <a:lnTo>
                      <a:pt x="177" y="103"/>
                    </a:lnTo>
                    <a:lnTo>
                      <a:pt x="176" y="102"/>
                    </a:lnTo>
                    <a:lnTo>
                      <a:pt x="176" y="101"/>
                    </a:lnTo>
                    <a:lnTo>
                      <a:pt x="175" y="101"/>
                    </a:lnTo>
                    <a:lnTo>
                      <a:pt x="174" y="100"/>
                    </a:lnTo>
                    <a:lnTo>
                      <a:pt x="174" y="99"/>
                    </a:lnTo>
                    <a:lnTo>
                      <a:pt x="173" y="99"/>
                    </a:lnTo>
                    <a:lnTo>
                      <a:pt x="173" y="98"/>
                    </a:lnTo>
                    <a:lnTo>
                      <a:pt x="172" y="97"/>
                    </a:lnTo>
                    <a:lnTo>
                      <a:pt x="172" y="98"/>
                    </a:lnTo>
                    <a:lnTo>
                      <a:pt x="172" y="97"/>
                    </a:lnTo>
                    <a:lnTo>
                      <a:pt x="173" y="97"/>
                    </a:lnTo>
                    <a:lnTo>
                      <a:pt x="173" y="98"/>
                    </a:lnTo>
                    <a:lnTo>
                      <a:pt x="174" y="99"/>
                    </a:lnTo>
                    <a:lnTo>
                      <a:pt x="174" y="100"/>
                    </a:lnTo>
                    <a:lnTo>
                      <a:pt x="175" y="100"/>
                    </a:lnTo>
                    <a:lnTo>
                      <a:pt x="175" y="99"/>
                    </a:lnTo>
                    <a:lnTo>
                      <a:pt x="174" y="98"/>
                    </a:lnTo>
                    <a:lnTo>
                      <a:pt x="175" y="98"/>
                    </a:lnTo>
                    <a:lnTo>
                      <a:pt x="174" y="98"/>
                    </a:lnTo>
                    <a:lnTo>
                      <a:pt x="175" y="98"/>
                    </a:lnTo>
                    <a:lnTo>
                      <a:pt x="175" y="97"/>
                    </a:lnTo>
                    <a:lnTo>
                      <a:pt x="175" y="95"/>
                    </a:lnTo>
                    <a:lnTo>
                      <a:pt x="176" y="95"/>
                    </a:lnTo>
                    <a:lnTo>
                      <a:pt x="176" y="94"/>
                    </a:lnTo>
                    <a:lnTo>
                      <a:pt x="176" y="95"/>
                    </a:lnTo>
                    <a:lnTo>
                      <a:pt x="175" y="95"/>
                    </a:lnTo>
                    <a:lnTo>
                      <a:pt x="175" y="94"/>
                    </a:lnTo>
                    <a:lnTo>
                      <a:pt x="174" y="93"/>
                    </a:lnTo>
                    <a:lnTo>
                      <a:pt x="173" y="93"/>
                    </a:lnTo>
                    <a:lnTo>
                      <a:pt x="173" y="92"/>
                    </a:lnTo>
                    <a:lnTo>
                      <a:pt x="174" y="92"/>
                    </a:lnTo>
                    <a:lnTo>
                      <a:pt x="174" y="93"/>
                    </a:lnTo>
                    <a:lnTo>
                      <a:pt x="175" y="93"/>
                    </a:lnTo>
                    <a:lnTo>
                      <a:pt x="175" y="94"/>
                    </a:lnTo>
                    <a:lnTo>
                      <a:pt x="175" y="95"/>
                    </a:lnTo>
                    <a:lnTo>
                      <a:pt x="176" y="95"/>
                    </a:lnTo>
                    <a:lnTo>
                      <a:pt x="176" y="94"/>
                    </a:lnTo>
                    <a:lnTo>
                      <a:pt x="176" y="93"/>
                    </a:lnTo>
                    <a:lnTo>
                      <a:pt x="175" y="93"/>
                    </a:lnTo>
                    <a:lnTo>
                      <a:pt x="175" y="92"/>
                    </a:lnTo>
                    <a:lnTo>
                      <a:pt x="175" y="91"/>
                    </a:lnTo>
                    <a:lnTo>
                      <a:pt x="175" y="90"/>
                    </a:lnTo>
                    <a:lnTo>
                      <a:pt x="175" y="89"/>
                    </a:lnTo>
                    <a:lnTo>
                      <a:pt x="175" y="88"/>
                    </a:lnTo>
                    <a:lnTo>
                      <a:pt x="174" y="88"/>
                    </a:lnTo>
                    <a:lnTo>
                      <a:pt x="174" y="87"/>
                    </a:lnTo>
                    <a:lnTo>
                      <a:pt x="175" y="87"/>
                    </a:lnTo>
                    <a:lnTo>
                      <a:pt x="176" y="87"/>
                    </a:lnTo>
                    <a:lnTo>
                      <a:pt x="175" y="86"/>
                    </a:lnTo>
                    <a:lnTo>
                      <a:pt x="176" y="86"/>
                    </a:lnTo>
                    <a:lnTo>
                      <a:pt x="177" y="86"/>
                    </a:lnTo>
                    <a:lnTo>
                      <a:pt x="177" y="85"/>
                    </a:lnTo>
                    <a:lnTo>
                      <a:pt x="178" y="84"/>
                    </a:lnTo>
                    <a:lnTo>
                      <a:pt x="178" y="82"/>
                    </a:lnTo>
                    <a:lnTo>
                      <a:pt x="179" y="82"/>
                    </a:lnTo>
                    <a:lnTo>
                      <a:pt x="180" y="81"/>
                    </a:lnTo>
                    <a:lnTo>
                      <a:pt x="180" y="80"/>
                    </a:lnTo>
                    <a:lnTo>
                      <a:pt x="181" y="79"/>
                    </a:lnTo>
                    <a:lnTo>
                      <a:pt x="183" y="79"/>
                    </a:lnTo>
                    <a:lnTo>
                      <a:pt x="183" y="78"/>
                    </a:lnTo>
                    <a:lnTo>
                      <a:pt x="184" y="77"/>
                    </a:lnTo>
                    <a:lnTo>
                      <a:pt x="183" y="77"/>
                    </a:lnTo>
                    <a:lnTo>
                      <a:pt x="184" y="77"/>
                    </a:lnTo>
                    <a:lnTo>
                      <a:pt x="185" y="78"/>
                    </a:lnTo>
                    <a:lnTo>
                      <a:pt x="185" y="77"/>
                    </a:lnTo>
                    <a:lnTo>
                      <a:pt x="185" y="76"/>
                    </a:lnTo>
                    <a:lnTo>
                      <a:pt x="185" y="75"/>
                    </a:lnTo>
                    <a:lnTo>
                      <a:pt x="184" y="75"/>
                    </a:lnTo>
                    <a:lnTo>
                      <a:pt x="185" y="74"/>
                    </a:lnTo>
                    <a:lnTo>
                      <a:pt x="185" y="73"/>
                    </a:lnTo>
                    <a:lnTo>
                      <a:pt x="186" y="73"/>
                    </a:lnTo>
                    <a:lnTo>
                      <a:pt x="187" y="73"/>
                    </a:lnTo>
                    <a:lnTo>
                      <a:pt x="186" y="72"/>
                    </a:lnTo>
                    <a:lnTo>
                      <a:pt x="187" y="72"/>
                    </a:lnTo>
                    <a:lnTo>
                      <a:pt x="187" y="71"/>
                    </a:lnTo>
                    <a:lnTo>
                      <a:pt x="186" y="71"/>
                    </a:lnTo>
                    <a:lnTo>
                      <a:pt x="187" y="69"/>
                    </a:lnTo>
                    <a:lnTo>
                      <a:pt x="188" y="71"/>
                    </a:lnTo>
                    <a:lnTo>
                      <a:pt x="188" y="69"/>
                    </a:lnTo>
                    <a:lnTo>
                      <a:pt x="187" y="69"/>
                    </a:lnTo>
                    <a:lnTo>
                      <a:pt x="187" y="68"/>
                    </a:lnTo>
                    <a:lnTo>
                      <a:pt x="188" y="68"/>
                    </a:lnTo>
                    <a:lnTo>
                      <a:pt x="188" y="67"/>
                    </a:lnTo>
                    <a:lnTo>
                      <a:pt x="188" y="66"/>
                    </a:lnTo>
                    <a:lnTo>
                      <a:pt x="187" y="66"/>
                    </a:lnTo>
                    <a:lnTo>
                      <a:pt x="187" y="65"/>
                    </a:lnTo>
                    <a:lnTo>
                      <a:pt x="186" y="64"/>
                    </a:lnTo>
                    <a:lnTo>
                      <a:pt x="186" y="63"/>
                    </a:lnTo>
                    <a:lnTo>
                      <a:pt x="185" y="62"/>
                    </a:lnTo>
                    <a:lnTo>
                      <a:pt x="184" y="61"/>
                    </a:lnTo>
                    <a:lnTo>
                      <a:pt x="184" y="60"/>
                    </a:lnTo>
                    <a:lnTo>
                      <a:pt x="183" y="59"/>
                    </a:lnTo>
                    <a:lnTo>
                      <a:pt x="184" y="59"/>
                    </a:lnTo>
                    <a:lnTo>
                      <a:pt x="184" y="57"/>
                    </a:lnTo>
                    <a:lnTo>
                      <a:pt x="184" y="56"/>
                    </a:lnTo>
                    <a:lnTo>
                      <a:pt x="183" y="56"/>
                    </a:lnTo>
                    <a:lnTo>
                      <a:pt x="183" y="55"/>
                    </a:lnTo>
                    <a:lnTo>
                      <a:pt x="183" y="54"/>
                    </a:lnTo>
                    <a:lnTo>
                      <a:pt x="181" y="54"/>
                    </a:lnTo>
                    <a:lnTo>
                      <a:pt x="180" y="54"/>
                    </a:lnTo>
                    <a:lnTo>
                      <a:pt x="180" y="53"/>
                    </a:lnTo>
                    <a:lnTo>
                      <a:pt x="180" y="52"/>
                    </a:lnTo>
                    <a:lnTo>
                      <a:pt x="179" y="52"/>
                    </a:lnTo>
                    <a:lnTo>
                      <a:pt x="178" y="52"/>
                    </a:lnTo>
                    <a:lnTo>
                      <a:pt x="178" y="51"/>
                    </a:lnTo>
                    <a:lnTo>
                      <a:pt x="177" y="51"/>
                    </a:lnTo>
                    <a:lnTo>
                      <a:pt x="176" y="51"/>
                    </a:lnTo>
                    <a:lnTo>
                      <a:pt x="176" y="50"/>
                    </a:lnTo>
                    <a:lnTo>
                      <a:pt x="175" y="50"/>
                    </a:lnTo>
                    <a:lnTo>
                      <a:pt x="175" y="49"/>
                    </a:lnTo>
                    <a:lnTo>
                      <a:pt x="176" y="49"/>
                    </a:lnTo>
                    <a:lnTo>
                      <a:pt x="175" y="49"/>
                    </a:lnTo>
                    <a:lnTo>
                      <a:pt x="175" y="48"/>
                    </a:lnTo>
                    <a:lnTo>
                      <a:pt x="174" y="48"/>
                    </a:lnTo>
                    <a:lnTo>
                      <a:pt x="173" y="48"/>
                    </a:lnTo>
                    <a:lnTo>
                      <a:pt x="173" y="49"/>
                    </a:lnTo>
                    <a:lnTo>
                      <a:pt x="173" y="48"/>
                    </a:lnTo>
                    <a:lnTo>
                      <a:pt x="173" y="47"/>
                    </a:lnTo>
                    <a:lnTo>
                      <a:pt x="172" y="47"/>
                    </a:lnTo>
                    <a:lnTo>
                      <a:pt x="173" y="47"/>
                    </a:lnTo>
                    <a:lnTo>
                      <a:pt x="173" y="46"/>
                    </a:lnTo>
                    <a:lnTo>
                      <a:pt x="172" y="44"/>
                    </a:lnTo>
                    <a:lnTo>
                      <a:pt x="172" y="43"/>
                    </a:lnTo>
                    <a:lnTo>
                      <a:pt x="172" y="42"/>
                    </a:lnTo>
                    <a:lnTo>
                      <a:pt x="171" y="42"/>
                    </a:lnTo>
                    <a:lnTo>
                      <a:pt x="171" y="41"/>
                    </a:lnTo>
                    <a:lnTo>
                      <a:pt x="171" y="40"/>
                    </a:lnTo>
                    <a:lnTo>
                      <a:pt x="171" y="39"/>
                    </a:lnTo>
                    <a:lnTo>
                      <a:pt x="172" y="39"/>
                    </a:lnTo>
                    <a:lnTo>
                      <a:pt x="172" y="38"/>
                    </a:lnTo>
                    <a:lnTo>
                      <a:pt x="173" y="38"/>
                    </a:lnTo>
                    <a:lnTo>
                      <a:pt x="173" y="37"/>
                    </a:lnTo>
                    <a:lnTo>
                      <a:pt x="174" y="37"/>
                    </a:lnTo>
                    <a:lnTo>
                      <a:pt x="174" y="36"/>
                    </a:lnTo>
                    <a:lnTo>
                      <a:pt x="175" y="36"/>
                    </a:lnTo>
                    <a:lnTo>
                      <a:pt x="176" y="35"/>
                    </a:lnTo>
                    <a:lnTo>
                      <a:pt x="176" y="34"/>
                    </a:lnTo>
                    <a:lnTo>
                      <a:pt x="177" y="34"/>
                    </a:lnTo>
                    <a:lnTo>
                      <a:pt x="177" y="33"/>
                    </a:lnTo>
                    <a:lnTo>
                      <a:pt x="178" y="33"/>
                    </a:lnTo>
                    <a:lnTo>
                      <a:pt x="178" y="31"/>
                    </a:lnTo>
                    <a:lnTo>
                      <a:pt x="177" y="30"/>
                    </a:lnTo>
                    <a:lnTo>
                      <a:pt x="176" y="29"/>
                    </a:lnTo>
                    <a:lnTo>
                      <a:pt x="176" y="28"/>
                    </a:lnTo>
                    <a:lnTo>
                      <a:pt x="175" y="27"/>
                    </a:lnTo>
                    <a:lnTo>
                      <a:pt x="175" y="26"/>
                    </a:lnTo>
                    <a:lnTo>
                      <a:pt x="175" y="25"/>
                    </a:lnTo>
                    <a:lnTo>
                      <a:pt x="174" y="25"/>
                    </a:lnTo>
                    <a:lnTo>
                      <a:pt x="173" y="25"/>
                    </a:lnTo>
                    <a:lnTo>
                      <a:pt x="173" y="24"/>
                    </a:lnTo>
                    <a:lnTo>
                      <a:pt x="172" y="24"/>
                    </a:lnTo>
                    <a:lnTo>
                      <a:pt x="171" y="22"/>
                    </a:lnTo>
                    <a:lnTo>
                      <a:pt x="171" y="21"/>
                    </a:lnTo>
                    <a:lnTo>
                      <a:pt x="171" y="20"/>
                    </a:lnTo>
                    <a:lnTo>
                      <a:pt x="170" y="20"/>
                    </a:lnTo>
                    <a:lnTo>
                      <a:pt x="170" y="18"/>
                    </a:lnTo>
                    <a:lnTo>
                      <a:pt x="168" y="18"/>
                    </a:lnTo>
                    <a:lnTo>
                      <a:pt x="170" y="18"/>
                    </a:lnTo>
                    <a:lnTo>
                      <a:pt x="168" y="18"/>
                    </a:lnTo>
                    <a:lnTo>
                      <a:pt x="168" y="17"/>
                    </a:lnTo>
                    <a:lnTo>
                      <a:pt x="168" y="16"/>
                    </a:lnTo>
                    <a:lnTo>
                      <a:pt x="168" y="15"/>
                    </a:lnTo>
                    <a:lnTo>
                      <a:pt x="168" y="14"/>
                    </a:lnTo>
                    <a:lnTo>
                      <a:pt x="167" y="14"/>
                    </a:lnTo>
                    <a:lnTo>
                      <a:pt x="167" y="15"/>
                    </a:lnTo>
                    <a:lnTo>
                      <a:pt x="167" y="14"/>
                    </a:lnTo>
                    <a:lnTo>
                      <a:pt x="166" y="14"/>
                    </a:lnTo>
                    <a:lnTo>
                      <a:pt x="166" y="13"/>
                    </a:lnTo>
                    <a:lnTo>
                      <a:pt x="165" y="13"/>
                    </a:lnTo>
                    <a:lnTo>
                      <a:pt x="165" y="12"/>
                    </a:lnTo>
                    <a:lnTo>
                      <a:pt x="164" y="12"/>
                    </a:lnTo>
                    <a:lnTo>
                      <a:pt x="164" y="11"/>
                    </a:lnTo>
                    <a:lnTo>
                      <a:pt x="165" y="11"/>
                    </a:lnTo>
                    <a:lnTo>
                      <a:pt x="165" y="10"/>
                    </a:lnTo>
                    <a:lnTo>
                      <a:pt x="164" y="10"/>
                    </a:lnTo>
                    <a:lnTo>
                      <a:pt x="163" y="10"/>
                    </a:lnTo>
                    <a:lnTo>
                      <a:pt x="163" y="9"/>
                    </a:lnTo>
                    <a:lnTo>
                      <a:pt x="162" y="9"/>
                    </a:lnTo>
                    <a:lnTo>
                      <a:pt x="163" y="9"/>
                    </a:lnTo>
                    <a:lnTo>
                      <a:pt x="163" y="8"/>
                    </a:lnTo>
                    <a:lnTo>
                      <a:pt x="162" y="7"/>
                    </a:lnTo>
                    <a:lnTo>
                      <a:pt x="162" y="5"/>
                    </a:lnTo>
                    <a:lnTo>
                      <a:pt x="162" y="7"/>
                    </a:lnTo>
                    <a:lnTo>
                      <a:pt x="161" y="7"/>
                    </a:lnTo>
                    <a:lnTo>
                      <a:pt x="161" y="5"/>
                    </a:lnTo>
                    <a:lnTo>
                      <a:pt x="160" y="5"/>
                    </a:lnTo>
                    <a:lnTo>
                      <a:pt x="160" y="4"/>
                    </a:lnTo>
                    <a:lnTo>
                      <a:pt x="159" y="4"/>
                    </a:lnTo>
                    <a:lnTo>
                      <a:pt x="158" y="3"/>
                    </a:lnTo>
                    <a:lnTo>
                      <a:pt x="158" y="2"/>
                    </a:lnTo>
                    <a:lnTo>
                      <a:pt x="157" y="2"/>
                    </a:lnTo>
                    <a:lnTo>
                      <a:pt x="157" y="1"/>
                    </a:lnTo>
                    <a:lnTo>
                      <a:pt x="158" y="1"/>
                    </a:lnTo>
                    <a:lnTo>
                      <a:pt x="157" y="0"/>
                    </a:lnTo>
                    <a:lnTo>
                      <a:pt x="168" y="0"/>
                    </a:lnTo>
                    <a:lnTo>
                      <a:pt x="171" y="0"/>
                    </a:lnTo>
                    <a:lnTo>
                      <a:pt x="189" y="0"/>
                    </a:lnTo>
                    <a:lnTo>
                      <a:pt x="194" y="0"/>
                    </a:lnTo>
                    <a:lnTo>
                      <a:pt x="200" y="0"/>
                    </a:lnTo>
                    <a:lnTo>
                      <a:pt x="202" y="0"/>
                    </a:lnTo>
                    <a:lnTo>
                      <a:pt x="204" y="0"/>
                    </a:lnTo>
                    <a:lnTo>
                      <a:pt x="210" y="0"/>
                    </a:lnTo>
                    <a:lnTo>
                      <a:pt x="241" y="0"/>
                    </a:lnTo>
                    <a:lnTo>
                      <a:pt x="255" y="0"/>
                    </a:lnTo>
                    <a:lnTo>
                      <a:pt x="269" y="0"/>
                    </a:lnTo>
                    <a:lnTo>
                      <a:pt x="271" y="0"/>
                    </a:lnTo>
                    <a:lnTo>
                      <a:pt x="288" y="0"/>
                    </a:lnTo>
                    <a:lnTo>
                      <a:pt x="308" y="0"/>
                    </a:lnTo>
                    <a:close/>
                  </a:path>
                </a:pathLst>
              </a:custGeom>
              <a:solidFill>
                <a:srgbClr val="2A81E8"/>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0" name="Freeform 40">
                <a:extLst>
                  <a:ext uri="{FF2B5EF4-FFF2-40B4-BE49-F238E27FC236}">
                    <a16:creationId xmlns:a16="http://schemas.microsoft.com/office/drawing/2014/main" id="{1D4E4FB3-2EC0-295D-6C7F-577D85F5D998}"/>
                  </a:ext>
                </a:extLst>
              </p:cNvPr>
              <p:cNvSpPr>
                <a:spLocks/>
              </p:cNvSpPr>
              <p:nvPr/>
            </p:nvSpPr>
            <p:spPr bwMode="auto">
              <a:xfrm>
                <a:off x="1301751" y="2479675"/>
                <a:ext cx="627063" cy="776288"/>
              </a:xfrm>
              <a:custGeom>
                <a:avLst/>
                <a:gdLst>
                  <a:gd name="T0" fmla="*/ 269 w 395"/>
                  <a:gd name="T1" fmla="*/ 95 h 489"/>
                  <a:gd name="T2" fmla="*/ 333 w 395"/>
                  <a:gd name="T3" fmla="*/ 121 h 489"/>
                  <a:gd name="T4" fmla="*/ 333 w 395"/>
                  <a:gd name="T5" fmla="*/ 211 h 489"/>
                  <a:gd name="T6" fmla="*/ 395 w 395"/>
                  <a:gd name="T7" fmla="*/ 268 h 489"/>
                  <a:gd name="T8" fmla="*/ 333 w 395"/>
                  <a:gd name="T9" fmla="*/ 347 h 489"/>
                  <a:gd name="T10" fmla="*/ 220 w 395"/>
                  <a:gd name="T11" fmla="*/ 409 h 489"/>
                  <a:gd name="T12" fmla="*/ 212 w 395"/>
                  <a:gd name="T13" fmla="*/ 417 h 489"/>
                  <a:gd name="T14" fmla="*/ 211 w 395"/>
                  <a:gd name="T15" fmla="*/ 427 h 489"/>
                  <a:gd name="T16" fmla="*/ 200 w 395"/>
                  <a:gd name="T17" fmla="*/ 435 h 489"/>
                  <a:gd name="T18" fmla="*/ 203 w 395"/>
                  <a:gd name="T19" fmla="*/ 445 h 489"/>
                  <a:gd name="T20" fmla="*/ 202 w 395"/>
                  <a:gd name="T21" fmla="*/ 453 h 489"/>
                  <a:gd name="T22" fmla="*/ 205 w 395"/>
                  <a:gd name="T23" fmla="*/ 466 h 489"/>
                  <a:gd name="T24" fmla="*/ 198 w 395"/>
                  <a:gd name="T25" fmla="*/ 476 h 489"/>
                  <a:gd name="T26" fmla="*/ 186 w 395"/>
                  <a:gd name="T27" fmla="*/ 487 h 489"/>
                  <a:gd name="T28" fmla="*/ 172 w 395"/>
                  <a:gd name="T29" fmla="*/ 475 h 489"/>
                  <a:gd name="T30" fmla="*/ 171 w 395"/>
                  <a:gd name="T31" fmla="*/ 454 h 489"/>
                  <a:gd name="T32" fmla="*/ 175 w 395"/>
                  <a:gd name="T33" fmla="*/ 445 h 489"/>
                  <a:gd name="T34" fmla="*/ 162 w 395"/>
                  <a:gd name="T35" fmla="*/ 441 h 489"/>
                  <a:gd name="T36" fmla="*/ 164 w 395"/>
                  <a:gd name="T37" fmla="*/ 427 h 489"/>
                  <a:gd name="T38" fmla="*/ 159 w 395"/>
                  <a:gd name="T39" fmla="*/ 413 h 489"/>
                  <a:gd name="T40" fmla="*/ 146 w 395"/>
                  <a:gd name="T41" fmla="*/ 410 h 489"/>
                  <a:gd name="T42" fmla="*/ 136 w 395"/>
                  <a:gd name="T43" fmla="*/ 406 h 489"/>
                  <a:gd name="T44" fmla="*/ 124 w 395"/>
                  <a:gd name="T45" fmla="*/ 391 h 489"/>
                  <a:gd name="T46" fmla="*/ 122 w 395"/>
                  <a:gd name="T47" fmla="*/ 381 h 489"/>
                  <a:gd name="T48" fmla="*/ 129 w 395"/>
                  <a:gd name="T49" fmla="*/ 368 h 489"/>
                  <a:gd name="T50" fmla="*/ 142 w 395"/>
                  <a:gd name="T51" fmla="*/ 351 h 489"/>
                  <a:gd name="T52" fmla="*/ 148 w 395"/>
                  <a:gd name="T53" fmla="*/ 340 h 489"/>
                  <a:gd name="T54" fmla="*/ 130 w 395"/>
                  <a:gd name="T55" fmla="*/ 346 h 489"/>
                  <a:gd name="T56" fmla="*/ 130 w 395"/>
                  <a:gd name="T57" fmla="*/ 327 h 489"/>
                  <a:gd name="T58" fmla="*/ 113 w 395"/>
                  <a:gd name="T59" fmla="*/ 314 h 489"/>
                  <a:gd name="T60" fmla="*/ 117 w 395"/>
                  <a:gd name="T61" fmla="*/ 293 h 489"/>
                  <a:gd name="T62" fmla="*/ 104 w 395"/>
                  <a:gd name="T63" fmla="*/ 282 h 489"/>
                  <a:gd name="T64" fmla="*/ 81 w 395"/>
                  <a:gd name="T65" fmla="*/ 270 h 489"/>
                  <a:gd name="T66" fmla="*/ 81 w 395"/>
                  <a:gd name="T67" fmla="*/ 260 h 489"/>
                  <a:gd name="T68" fmla="*/ 93 w 395"/>
                  <a:gd name="T69" fmla="*/ 258 h 489"/>
                  <a:gd name="T70" fmla="*/ 100 w 395"/>
                  <a:gd name="T71" fmla="*/ 248 h 489"/>
                  <a:gd name="T72" fmla="*/ 105 w 395"/>
                  <a:gd name="T73" fmla="*/ 240 h 489"/>
                  <a:gd name="T74" fmla="*/ 84 w 395"/>
                  <a:gd name="T75" fmla="*/ 237 h 489"/>
                  <a:gd name="T76" fmla="*/ 83 w 395"/>
                  <a:gd name="T77" fmla="*/ 228 h 489"/>
                  <a:gd name="T78" fmla="*/ 79 w 395"/>
                  <a:gd name="T79" fmla="*/ 231 h 489"/>
                  <a:gd name="T80" fmla="*/ 50 w 395"/>
                  <a:gd name="T81" fmla="*/ 222 h 489"/>
                  <a:gd name="T82" fmla="*/ 39 w 395"/>
                  <a:gd name="T83" fmla="*/ 209 h 489"/>
                  <a:gd name="T84" fmla="*/ 37 w 395"/>
                  <a:gd name="T85" fmla="*/ 200 h 489"/>
                  <a:gd name="T86" fmla="*/ 27 w 395"/>
                  <a:gd name="T87" fmla="*/ 178 h 489"/>
                  <a:gd name="T88" fmla="*/ 35 w 395"/>
                  <a:gd name="T89" fmla="*/ 167 h 489"/>
                  <a:gd name="T90" fmla="*/ 40 w 395"/>
                  <a:gd name="T91" fmla="*/ 159 h 489"/>
                  <a:gd name="T92" fmla="*/ 41 w 395"/>
                  <a:gd name="T93" fmla="*/ 149 h 489"/>
                  <a:gd name="T94" fmla="*/ 41 w 395"/>
                  <a:gd name="T95" fmla="*/ 141 h 489"/>
                  <a:gd name="T96" fmla="*/ 37 w 395"/>
                  <a:gd name="T97" fmla="*/ 124 h 489"/>
                  <a:gd name="T98" fmla="*/ 43 w 395"/>
                  <a:gd name="T99" fmla="*/ 121 h 489"/>
                  <a:gd name="T100" fmla="*/ 54 w 395"/>
                  <a:gd name="T101" fmla="*/ 102 h 489"/>
                  <a:gd name="T102" fmla="*/ 43 w 395"/>
                  <a:gd name="T103" fmla="*/ 95 h 489"/>
                  <a:gd name="T104" fmla="*/ 30 w 395"/>
                  <a:gd name="T105" fmla="*/ 72 h 489"/>
                  <a:gd name="T106" fmla="*/ 33 w 395"/>
                  <a:gd name="T107" fmla="*/ 63 h 489"/>
                  <a:gd name="T108" fmla="*/ 35 w 395"/>
                  <a:gd name="T109" fmla="*/ 55 h 489"/>
                  <a:gd name="T110" fmla="*/ 30 w 395"/>
                  <a:gd name="T111" fmla="*/ 47 h 489"/>
                  <a:gd name="T112" fmla="*/ 29 w 395"/>
                  <a:gd name="T113" fmla="*/ 38 h 489"/>
                  <a:gd name="T114" fmla="*/ 18 w 395"/>
                  <a:gd name="T115" fmla="*/ 33 h 489"/>
                  <a:gd name="T116" fmla="*/ 7 w 395"/>
                  <a:gd name="T117" fmla="*/ 24 h 489"/>
                  <a:gd name="T118" fmla="*/ 5 w 395"/>
                  <a:gd name="T119" fmla="*/ 12 h 489"/>
                  <a:gd name="T120" fmla="*/ 4 w 395"/>
                  <a:gd name="T121" fmla="*/ 3 h 489"/>
                  <a:gd name="T122" fmla="*/ 52 w 395"/>
                  <a:gd name="T123" fmla="*/ 1 h 489"/>
                  <a:gd name="T124" fmla="*/ 182 w 395"/>
                  <a:gd name="T125"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89">
                    <a:moveTo>
                      <a:pt x="271" y="1"/>
                    </a:moveTo>
                    <a:lnTo>
                      <a:pt x="271" y="6"/>
                    </a:lnTo>
                    <a:lnTo>
                      <a:pt x="271" y="15"/>
                    </a:lnTo>
                    <a:lnTo>
                      <a:pt x="271" y="24"/>
                    </a:lnTo>
                    <a:lnTo>
                      <a:pt x="271" y="28"/>
                    </a:lnTo>
                    <a:lnTo>
                      <a:pt x="271" y="41"/>
                    </a:lnTo>
                    <a:lnTo>
                      <a:pt x="271" y="42"/>
                    </a:lnTo>
                    <a:lnTo>
                      <a:pt x="271" y="53"/>
                    </a:lnTo>
                    <a:lnTo>
                      <a:pt x="269" y="69"/>
                    </a:lnTo>
                    <a:lnTo>
                      <a:pt x="271" y="70"/>
                    </a:lnTo>
                    <a:lnTo>
                      <a:pt x="271" y="74"/>
                    </a:lnTo>
                    <a:lnTo>
                      <a:pt x="269" y="88"/>
                    </a:lnTo>
                    <a:lnTo>
                      <a:pt x="269" y="95"/>
                    </a:lnTo>
                    <a:lnTo>
                      <a:pt x="282" y="94"/>
                    </a:lnTo>
                    <a:lnTo>
                      <a:pt x="286" y="95"/>
                    </a:lnTo>
                    <a:lnTo>
                      <a:pt x="295" y="95"/>
                    </a:lnTo>
                    <a:lnTo>
                      <a:pt x="307" y="95"/>
                    </a:lnTo>
                    <a:lnTo>
                      <a:pt x="311" y="95"/>
                    </a:lnTo>
                    <a:lnTo>
                      <a:pt x="323" y="95"/>
                    </a:lnTo>
                    <a:lnTo>
                      <a:pt x="332" y="95"/>
                    </a:lnTo>
                    <a:lnTo>
                      <a:pt x="333" y="101"/>
                    </a:lnTo>
                    <a:lnTo>
                      <a:pt x="333" y="105"/>
                    </a:lnTo>
                    <a:lnTo>
                      <a:pt x="333" y="106"/>
                    </a:lnTo>
                    <a:lnTo>
                      <a:pt x="333" y="111"/>
                    </a:lnTo>
                    <a:lnTo>
                      <a:pt x="333" y="118"/>
                    </a:lnTo>
                    <a:lnTo>
                      <a:pt x="333" y="121"/>
                    </a:lnTo>
                    <a:lnTo>
                      <a:pt x="332" y="131"/>
                    </a:lnTo>
                    <a:lnTo>
                      <a:pt x="332" y="132"/>
                    </a:lnTo>
                    <a:lnTo>
                      <a:pt x="332" y="142"/>
                    </a:lnTo>
                    <a:lnTo>
                      <a:pt x="333" y="146"/>
                    </a:lnTo>
                    <a:lnTo>
                      <a:pt x="333" y="149"/>
                    </a:lnTo>
                    <a:lnTo>
                      <a:pt x="333" y="150"/>
                    </a:lnTo>
                    <a:lnTo>
                      <a:pt x="333" y="162"/>
                    </a:lnTo>
                    <a:lnTo>
                      <a:pt x="333" y="179"/>
                    </a:lnTo>
                    <a:lnTo>
                      <a:pt x="333" y="191"/>
                    </a:lnTo>
                    <a:lnTo>
                      <a:pt x="333" y="193"/>
                    </a:lnTo>
                    <a:lnTo>
                      <a:pt x="333" y="195"/>
                    </a:lnTo>
                    <a:lnTo>
                      <a:pt x="333" y="208"/>
                    </a:lnTo>
                    <a:lnTo>
                      <a:pt x="333" y="211"/>
                    </a:lnTo>
                    <a:lnTo>
                      <a:pt x="333" y="222"/>
                    </a:lnTo>
                    <a:lnTo>
                      <a:pt x="346" y="222"/>
                    </a:lnTo>
                    <a:lnTo>
                      <a:pt x="350" y="222"/>
                    </a:lnTo>
                    <a:lnTo>
                      <a:pt x="362" y="222"/>
                    </a:lnTo>
                    <a:lnTo>
                      <a:pt x="379" y="222"/>
                    </a:lnTo>
                    <a:lnTo>
                      <a:pt x="380" y="221"/>
                    </a:lnTo>
                    <a:lnTo>
                      <a:pt x="381" y="221"/>
                    </a:lnTo>
                    <a:lnTo>
                      <a:pt x="385" y="222"/>
                    </a:lnTo>
                    <a:lnTo>
                      <a:pt x="387" y="222"/>
                    </a:lnTo>
                    <a:lnTo>
                      <a:pt x="395" y="221"/>
                    </a:lnTo>
                    <a:lnTo>
                      <a:pt x="395" y="249"/>
                    </a:lnTo>
                    <a:lnTo>
                      <a:pt x="395" y="250"/>
                    </a:lnTo>
                    <a:lnTo>
                      <a:pt x="395" y="268"/>
                    </a:lnTo>
                    <a:lnTo>
                      <a:pt x="395" y="292"/>
                    </a:lnTo>
                    <a:lnTo>
                      <a:pt x="395" y="305"/>
                    </a:lnTo>
                    <a:lnTo>
                      <a:pt x="395" y="324"/>
                    </a:lnTo>
                    <a:lnTo>
                      <a:pt x="395" y="338"/>
                    </a:lnTo>
                    <a:lnTo>
                      <a:pt x="395" y="346"/>
                    </a:lnTo>
                    <a:lnTo>
                      <a:pt x="387" y="347"/>
                    </a:lnTo>
                    <a:lnTo>
                      <a:pt x="365" y="347"/>
                    </a:lnTo>
                    <a:lnTo>
                      <a:pt x="364" y="347"/>
                    </a:lnTo>
                    <a:lnTo>
                      <a:pt x="363" y="347"/>
                    </a:lnTo>
                    <a:lnTo>
                      <a:pt x="362" y="347"/>
                    </a:lnTo>
                    <a:lnTo>
                      <a:pt x="345" y="347"/>
                    </a:lnTo>
                    <a:lnTo>
                      <a:pt x="341" y="347"/>
                    </a:lnTo>
                    <a:lnTo>
                      <a:pt x="333" y="347"/>
                    </a:lnTo>
                    <a:lnTo>
                      <a:pt x="320" y="347"/>
                    </a:lnTo>
                    <a:lnTo>
                      <a:pt x="314" y="347"/>
                    </a:lnTo>
                    <a:lnTo>
                      <a:pt x="311" y="347"/>
                    </a:lnTo>
                    <a:lnTo>
                      <a:pt x="308" y="347"/>
                    </a:lnTo>
                    <a:lnTo>
                      <a:pt x="302" y="347"/>
                    </a:lnTo>
                    <a:lnTo>
                      <a:pt x="301" y="347"/>
                    </a:lnTo>
                    <a:lnTo>
                      <a:pt x="293" y="363"/>
                    </a:lnTo>
                    <a:lnTo>
                      <a:pt x="291" y="368"/>
                    </a:lnTo>
                    <a:lnTo>
                      <a:pt x="279" y="389"/>
                    </a:lnTo>
                    <a:lnTo>
                      <a:pt x="274" y="399"/>
                    </a:lnTo>
                    <a:lnTo>
                      <a:pt x="269" y="410"/>
                    </a:lnTo>
                    <a:lnTo>
                      <a:pt x="241" y="409"/>
                    </a:lnTo>
                    <a:lnTo>
                      <a:pt x="220" y="409"/>
                    </a:lnTo>
                    <a:lnTo>
                      <a:pt x="214" y="409"/>
                    </a:lnTo>
                    <a:lnTo>
                      <a:pt x="213" y="410"/>
                    </a:lnTo>
                    <a:lnTo>
                      <a:pt x="212" y="410"/>
                    </a:lnTo>
                    <a:lnTo>
                      <a:pt x="213" y="411"/>
                    </a:lnTo>
                    <a:lnTo>
                      <a:pt x="212" y="411"/>
                    </a:lnTo>
                    <a:lnTo>
                      <a:pt x="212" y="412"/>
                    </a:lnTo>
                    <a:lnTo>
                      <a:pt x="213" y="413"/>
                    </a:lnTo>
                    <a:lnTo>
                      <a:pt x="213" y="414"/>
                    </a:lnTo>
                    <a:lnTo>
                      <a:pt x="212" y="414"/>
                    </a:lnTo>
                    <a:lnTo>
                      <a:pt x="211" y="415"/>
                    </a:lnTo>
                    <a:lnTo>
                      <a:pt x="212" y="415"/>
                    </a:lnTo>
                    <a:lnTo>
                      <a:pt x="212" y="416"/>
                    </a:lnTo>
                    <a:lnTo>
                      <a:pt x="212" y="417"/>
                    </a:lnTo>
                    <a:lnTo>
                      <a:pt x="212" y="419"/>
                    </a:lnTo>
                    <a:lnTo>
                      <a:pt x="212" y="420"/>
                    </a:lnTo>
                    <a:lnTo>
                      <a:pt x="213" y="421"/>
                    </a:lnTo>
                    <a:lnTo>
                      <a:pt x="212" y="421"/>
                    </a:lnTo>
                    <a:lnTo>
                      <a:pt x="212" y="422"/>
                    </a:lnTo>
                    <a:lnTo>
                      <a:pt x="211" y="422"/>
                    </a:lnTo>
                    <a:lnTo>
                      <a:pt x="210" y="423"/>
                    </a:lnTo>
                    <a:lnTo>
                      <a:pt x="210" y="424"/>
                    </a:lnTo>
                    <a:lnTo>
                      <a:pt x="211" y="424"/>
                    </a:lnTo>
                    <a:lnTo>
                      <a:pt x="211" y="425"/>
                    </a:lnTo>
                    <a:lnTo>
                      <a:pt x="212" y="426"/>
                    </a:lnTo>
                    <a:lnTo>
                      <a:pt x="212" y="427"/>
                    </a:lnTo>
                    <a:lnTo>
                      <a:pt x="211" y="427"/>
                    </a:lnTo>
                    <a:lnTo>
                      <a:pt x="209" y="428"/>
                    </a:lnTo>
                    <a:lnTo>
                      <a:pt x="209" y="429"/>
                    </a:lnTo>
                    <a:lnTo>
                      <a:pt x="209" y="430"/>
                    </a:lnTo>
                    <a:lnTo>
                      <a:pt x="208" y="430"/>
                    </a:lnTo>
                    <a:lnTo>
                      <a:pt x="207" y="430"/>
                    </a:lnTo>
                    <a:lnTo>
                      <a:pt x="208" y="432"/>
                    </a:lnTo>
                    <a:lnTo>
                      <a:pt x="207" y="433"/>
                    </a:lnTo>
                    <a:lnTo>
                      <a:pt x="207" y="434"/>
                    </a:lnTo>
                    <a:lnTo>
                      <a:pt x="205" y="434"/>
                    </a:lnTo>
                    <a:lnTo>
                      <a:pt x="204" y="435"/>
                    </a:lnTo>
                    <a:lnTo>
                      <a:pt x="202" y="435"/>
                    </a:lnTo>
                    <a:lnTo>
                      <a:pt x="201" y="435"/>
                    </a:lnTo>
                    <a:lnTo>
                      <a:pt x="200" y="435"/>
                    </a:lnTo>
                    <a:lnTo>
                      <a:pt x="200" y="436"/>
                    </a:lnTo>
                    <a:lnTo>
                      <a:pt x="201" y="436"/>
                    </a:lnTo>
                    <a:lnTo>
                      <a:pt x="201" y="437"/>
                    </a:lnTo>
                    <a:lnTo>
                      <a:pt x="200" y="437"/>
                    </a:lnTo>
                    <a:lnTo>
                      <a:pt x="201" y="437"/>
                    </a:lnTo>
                    <a:lnTo>
                      <a:pt x="202" y="437"/>
                    </a:lnTo>
                    <a:lnTo>
                      <a:pt x="202" y="438"/>
                    </a:lnTo>
                    <a:lnTo>
                      <a:pt x="202" y="439"/>
                    </a:lnTo>
                    <a:lnTo>
                      <a:pt x="201" y="440"/>
                    </a:lnTo>
                    <a:lnTo>
                      <a:pt x="202" y="440"/>
                    </a:lnTo>
                    <a:lnTo>
                      <a:pt x="203" y="442"/>
                    </a:lnTo>
                    <a:lnTo>
                      <a:pt x="203" y="444"/>
                    </a:lnTo>
                    <a:lnTo>
                      <a:pt x="203" y="445"/>
                    </a:lnTo>
                    <a:lnTo>
                      <a:pt x="205" y="444"/>
                    </a:lnTo>
                    <a:lnTo>
                      <a:pt x="207" y="442"/>
                    </a:lnTo>
                    <a:lnTo>
                      <a:pt x="209" y="445"/>
                    </a:lnTo>
                    <a:lnTo>
                      <a:pt x="209" y="446"/>
                    </a:lnTo>
                    <a:lnTo>
                      <a:pt x="207" y="446"/>
                    </a:lnTo>
                    <a:lnTo>
                      <a:pt x="207" y="447"/>
                    </a:lnTo>
                    <a:lnTo>
                      <a:pt x="207" y="448"/>
                    </a:lnTo>
                    <a:lnTo>
                      <a:pt x="205" y="449"/>
                    </a:lnTo>
                    <a:lnTo>
                      <a:pt x="204" y="449"/>
                    </a:lnTo>
                    <a:lnTo>
                      <a:pt x="203" y="450"/>
                    </a:lnTo>
                    <a:lnTo>
                      <a:pt x="204" y="452"/>
                    </a:lnTo>
                    <a:lnTo>
                      <a:pt x="203" y="453"/>
                    </a:lnTo>
                    <a:lnTo>
                      <a:pt x="202" y="453"/>
                    </a:lnTo>
                    <a:lnTo>
                      <a:pt x="202" y="454"/>
                    </a:lnTo>
                    <a:lnTo>
                      <a:pt x="204" y="455"/>
                    </a:lnTo>
                    <a:lnTo>
                      <a:pt x="204" y="457"/>
                    </a:lnTo>
                    <a:lnTo>
                      <a:pt x="203" y="457"/>
                    </a:lnTo>
                    <a:lnTo>
                      <a:pt x="204" y="458"/>
                    </a:lnTo>
                    <a:lnTo>
                      <a:pt x="205" y="459"/>
                    </a:lnTo>
                    <a:lnTo>
                      <a:pt x="207" y="461"/>
                    </a:lnTo>
                    <a:lnTo>
                      <a:pt x="207" y="462"/>
                    </a:lnTo>
                    <a:lnTo>
                      <a:pt x="207" y="463"/>
                    </a:lnTo>
                    <a:lnTo>
                      <a:pt x="205" y="463"/>
                    </a:lnTo>
                    <a:lnTo>
                      <a:pt x="205" y="464"/>
                    </a:lnTo>
                    <a:lnTo>
                      <a:pt x="205" y="465"/>
                    </a:lnTo>
                    <a:lnTo>
                      <a:pt x="205" y="466"/>
                    </a:lnTo>
                    <a:lnTo>
                      <a:pt x="204" y="466"/>
                    </a:lnTo>
                    <a:lnTo>
                      <a:pt x="203" y="466"/>
                    </a:lnTo>
                    <a:lnTo>
                      <a:pt x="203" y="467"/>
                    </a:lnTo>
                    <a:lnTo>
                      <a:pt x="203" y="468"/>
                    </a:lnTo>
                    <a:lnTo>
                      <a:pt x="203" y="470"/>
                    </a:lnTo>
                    <a:lnTo>
                      <a:pt x="202" y="470"/>
                    </a:lnTo>
                    <a:lnTo>
                      <a:pt x="202" y="471"/>
                    </a:lnTo>
                    <a:lnTo>
                      <a:pt x="202" y="472"/>
                    </a:lnTo>
                    <a:lnTo>
                      <a:pt x="201" y="473"/>
                    </a:lnTo>
                    <a:lnTo>
                      <a:pt x="200" y="473"/>
                    </a:lnTo>
                    <a:lnTo>
                      <a:pt x="201" y="474"/>
                    </a:lnTo>
                    <a:lnTo>
                      <a:pt x="202" y="475"/>
                    </a:lnTo>
                    <a:lnTo>
                      <a:pt x="198" y="476"/>
                    </a:lnTo>
                    <a:lnTo>
                      <a:pt x="197" y="477"/>
                    </a:lnTo>
                    <a:lnTo>
                      <a:pt x="196" y="477"/>
                    </a:lnTo>
                    <a:lnTo>
                      <a:pt x="196" y="478"/>
                    </a:lnTo>
                    <a:lnTo>
                      <a:pt x="195" y="478"/>
                    </a:lnTo>
                    <a:lnTo>
                      <a:pt x="192" y="479"/>
                    </a:lnTo>
                    <a:lnTo>
                      <a:pt x="191" y="480"/>
                    </a:lnTo>
                    <a:lnTo>
                      <a:pt x="190" y="481"/>
                    </a:lnTo>
                    <a:lnTo>
                      <a:pt x="189" y="483"/>
                    </a:lnTo>
                    <a:lnTo>
                      <a:pt x="188" y="485"/>
                    </a:lnTo>
                    <a:lnTo>
                      <a:pt x="188" y="486"/>
                    </a:lnTo>
                    <a:lnTo>
                      <a:pt x="187" y="486"/>
                    </a:lnTo>
                    <a:lnTo>
                      <a:pt x="187" y="487"/>
                    </a:lnTo>
                    <a:lnTo>
                      <a:pt x="186" y="487"/>
                    </a:lnTo>
                    <a:lnTo>
                      <a:pt x="186" y="488"/>
                    </a:lnTo>
                    <a:lnTo>
                      <a:pt x="185" y="488"/>
                    </a:lnTo>
                    <a:lnTo>
                      <a:pt x="183" y="488"/>
                    </a:lnTo>
                    <a:lnTo>
                      <a:pt x="182" y="488"/>
                    </a:lnTo>
                    <a:lnTo>
                      <a:pt x="181" y="489"/>
                    </a:lnTo>
                    <a:lnTo>
                      <a:pt x="179" y="489"/>
                    </a:lnTo>
                    <a:lnTo>
                      <a:pt x="174" y="483"/>
                    </a:lnTo>
                    <a:lnTo>
                      <a:pt x="173" y="481"/>
                    </a:lnTo>
                    <a:lnTo>
                      <a:pt x="173" y="480"/>
                    </a:lnTo>
                    <a:lnTo>
                      <a:pt x="172" y="478"/>
                    </a:lnTo>
                    <a:lnTo>
                      <a:pt x="172" y="477"/>
                    </a:lnTo>
                    <a:lnTo>
                      <a:pt x="172" y="476"/>
                    </a:lnTo>
                    <a:lnTo>
                      <a:pt x="172" y="475"/>
                    </a:lnTo>
                    <a:lnTo>
                      <a:pt x="172" y="473"/>
                    </a:lnTo>
                    <a:lnTo>
                      <a:pt x="172" y="470"/>
                    </a:lnTo>
                    <a:lnTo>
                      <a:pt x="172" y="467"/>
                    </a:lnTo>
                    <a:lnTo>
                      <a:pt x="172" y="465"/>
                    </a:lnTo>
                    <a:lnTo>
                      <a:pt x="172" y="464"/>
                    </a:lnTo>
                    <a:lnTo>
                      <a:pt x="171" y="463"/>
                    </a:lnTo>
                    <a:lnTo>
                      <a:pt x="169" y="462"/>
                    </a:lnTo>
                    <a:lnTo>
                      <a:pt x="169" y="461"/>
                    </a:lnTo>
                    <a:lnTo>
                      <a:pt x="169" y="460"/>
                    </a:lnTo>
                    <a:lnTo>
                      <a:pt x="170" y="459"/>
                    </a:lnTo>
                    <a:lnTo>
                      <a:pt x="171" y="458"/>
                    </a:lnTo>
                    <a:lnTo>
                      <a:pt x="171" y="457"/>
                    </a:lnTo>
                    <a:lnTo>
                      <a:pt x="171" y="454"/>
                    </a:lnTo>
                    <a:lnTo>
                      <a:pt x="171" y="453"/>
                    </a:lnTo>
                    <a:lnTo>
                      <a:pt x="171" y="452"/>
                    </a:lnTo>
                    <a:lnTo>
                      <a:pt x="175" y="450"/>
                    </a:lnTo>
                    <a:lnTo>
                      <a:pt x="176" y="450"/>
                    </a:lnTo>
                    <a:lnTo>
                      <a:pt x="176" y="449"/>
                    </a:lnTo>
                    <a:lnTo>
                      <a:pt x="175" y="449"/>
                    </a:lnTo>
                    <a:lnTo>
                      <a:pt x="175" y="448"/>
                    </a:lnTo>
                    <a:lnTo>
                      <a:pt x="174" y="448"/>
                    </a:lnTo>
                    <a:lnTo>
                      <a:pt x="174" y="447"/>
                    </a:lnTo>
                    <a:lnTo>
                      <a:pt x="173" y="447"/>
                    </a:lnTo>
                    <a:lnTo>
                      <a:pt x="173" y="446"/>
                    </a:lnTo>
                    <a:lnTo>
                      <a:pt x="174" y="446"/>
                    </a:lnTo>
                    <a:lnTo>
                      <a:pt x="175" y="445"/>
                    </a:lnTo>
                    <a:lnTo>
                      <a:pt x="175" y="444"/>
                    </a:lnTo>
                    <a:lnTo>
                      <a:pt x="175" y="442"/>
                    </a:lnTo>
                    <a:lnTo>
                      <a:pt x="174" y="442"/>
                    </a:lnTo>
                    <a:lnTo>
                      <a:pt x="172" y="444"/>
                    </a:lnTo>
                    <a:lnTo>
                      <a:pt x="169" y="445"/>
                    </a:lnTo>
                    <a:lnTo>
                      <a:pt x="168" y="445"/>
                    </a:lnTo>
                    <a:lnTo>
                      <a:pt x="168" y="444"/>
                    </a:lnTo>
                    <a:lnTo>
                      <a:pt x="166" y="444"/>
                    </a:lnTo>
                    <a:lnTo>
                      <a:pt x="166" y="441"/>
                    </a:lnTo>
                    <a:lnTo>
                      <a:pt x="165" y="441"/>
                    </a:lnTo>
                    <a:lnTo>
                      <a:pt x="164" y="441"/>
                    </a:lnTo>
                    <a:lnTo>
                      <a:pt x="163" y="441"/>
                    </a:lnTo>
                    <a:lnTo>
                      <a:pt x="162" y="441"/>
                    </a:lnTo>
                    <a:lnTo>
                      <a:pt x="162" y="440"/>
                    </a:lnTo>
                    <a:lnTo>
                      <a:pt x="163" y="438"/>
                    </a:lnTo>
                    <a:lnTo>
                      <a:pt x="163" y="437"/>
                    </a:lnTo>
                    <a:lnTo>
                      <a:pt x="162" y="436"/>
                    </a:lnTo>
                    <a:lnTo>
                      <a:pt x="162" y="435"/>
                    </a:lnTo>
                    <a:lnTo>
                      <a:pt x="163" y="433"/>
                    </a:lnTo>
                    <a:lnTo>
                      <a:pt x="162" y="432"/>
                    </a:lnTo>
                    <a:lnTo>
                      <a:pt x="161" y="430"/>
                    </a:lnTo>
                    <a:lnTo>
                      <a:pt x="160" y="429"/>
                    </a:lnTo>
                    <a:lnTo>
                      <a:pt x="160" y="428"/>
                    </a:lnTo>
                    <a:lnTo>
                      <a:pt x="161" y="428"/>
                    </a:lnTo>
                    <a:lnTo>
                      <a:pt x="163" y="427"/>
                    </a:lnTo>
                    <a:lnTo>
                      <a:pt x="164" y="427"/>
                    </a:lnTo>
                    <a:lnTo>
                      <a:pt x="164" y="426"/>
                    </a:lnTo>
                    <a:lnTo>
                      <a:pt x="163" y="425"/>
                    </a:lnTo>
                    <a:lnTo>
                      <a:pt x="163" y="424"/>
                    </a:lnTo>
                    <a:lnTo>
                      <a:pt x="164" y="422"/>
                    </a:lnTo>
                    <a:lnTo>
                      <a:pt x="164" y="421"/>
                    </a:lnTo>
                    <a:lnTo>
                      <a:pt x="163" y="420"/>
                    </a:lnTo>
                    <a:lnTo>
                      <a:pt x="162" y="419"/>
                    </a:lnTo>
                    <a:lnTo>
                      <a:pt x="161" y="419"/>
                    </a:lnTo>
                    <a:lnTo>
                      <a:pt x="161" y="417"/>
                    </a:lnTo>
                    <a:lnTo>
                      <a:pt x="160" y="416"/>
                    </a:lnTo>
                    <a:lnTo>
                      <a:pt x="161" y="414"/>
                    </a:lnTo>
                    <a:lnTo>
                      <a:pt x="160" y="413"/>
                    </a:lnTo>
                    <a:lnTo>
                      <a:pt x="159" y="413"/>
                    </a:lnTo>
                    <a:lnTo>
                      <a:pt x="158" y="413"/>
                    </a:lnTo>
                    <a:lnTo>
                      <a:pt x="157" y="413"/>
                    </a:lnTo>
                    <a:lnTo>
                      <a:pt x="156" y="414"/>
                    </a:lnTo>
                    <a:lnTo>
                      <a:pt x="152" y="414"/>
                    </a:lnTo>
                    <a:lnTo>
                      <a:pt x="151" y="414"/>
                    </a:lnTo>
                    <a:lnTo>
                      <a:pt x="149" y="414"/>
                    </a:lnTo>
                    <a:lnTo>
                      <a:pt x="148" y="414"/>
                    </a:lnTo>
                    <a:lnTo>
                      <a:pt x="147" y="414"/>
                    </a:lnTo>
                    <a:lnTo>
                      <a:pt x="146" y="414"/>
                    </a:lnTo>
                    <a:lnTo>
                      <a:pt x="146" y="413"/>
                    </a:lnTo>
                    <a:lnTo>
                      <a:pt x="146" y="412"/>
                    </a:lnTo>
                    <a:lnTo>
                      <a:pt x="146" y="411"/>
                    </a:lnTo>
                    <a:lnTo>
                      <a:pt x="146" y="410"/>
                    </a:lnTo>
                    <a:lnTo>
                      <a:pt x="146" y="409"/>
                    </a:lnTo>
                    <a:lnTo>
                      <a:pt x="145" y="408"/>
                    </a:lnTo>
                    <a:lnTo>
                      <a:pt x="144" y="407"/>
                    </a:lnTo>
                    <a:lnTo>
                      <a:pt x="144" y="404"/>
                    </a:lnTo>
                    <a:lnTo>
                      <a:pt x="143" y="404"/>
                    </a:lnTo>
                    <a:lnTo>
                      <a:pt x="143" y="403"/>
                    </a:lnTo>
                    <a:lnTo>
                      <a:pt x="142" y="403"/>
                    </a:lnTo>
                    <a:lnTo>
                      <a:pt x="140" y="404"/>
                    </a:lnTo>
                    <a:lnTo>
                      <a:pt x="139" y="404"/>
                    </a:lnTo>
                    <a:lnTo>
                      <a:pt x="139" y="406"/>
                    </a:lnTo>
                    <a:lnTo>
                      <a:pt x="138" y="406"/>
                    </a:lnTo>
                    <a:lnTo>
                      <a:pt x="137" y="406"/>
                    </a:lnTo>
                    <a:lnTo>
                      <a:pt x="136" y="406"/>
                    </a:lnTo>
                    <a:lnTo>
                      <a:pt x="135" y="402"/>
                    </a:lnTo>
                    <a:lnTo>
                      <a:pt x="134" y="400"/>
                    </a:lnTo>
                    <a:lnTo>
                      <a:pt x="133" y="398"/>
                    </a:lnTo>
                    <a:lnTo>
                      <a:pt x="132" y="397"/>
                    </a:lnTo>
                    <a:lnTo>
                      <a:pt x="132" y="396"/>
                    </a:lnTo>
                    <a:lnTo>
                      <a:pt x="131" y="396"/>
                    </a:lnTo>
                    <a:lnTo>
                      <a:pt x="131" y="394"/>
                    </a:lnTo>
                    <a:lnTo>
                      <a:pt x="130" y="394"/>
                    </a:lnTo>
                    <a:lnTo>
                      <a:pt x="129" y="393"/>
                    </a:lnTo>
                    <a:lnTo>
                      <a:pt x="127" y="393"/>
                    </a:lnTo>
                    <a:lnTo>
                      <a:pt x="126" y="391"/>
                    </a:lnTo>
                    <a:lnTo>
                      <a:pt x="125" y="391"/>
                    </a:lnTo>
                    <a:lnTo>
                      <a:pt x="124" y="391"/>
                    </a:lnTo>
                    <a:lnTo>
                      <a:pt x="123" y="391"/>
                    </a:lnTo>
                    <a:lnTo>
                      <a:pt x="122" y="391"/>
                    </a:lnTo>
                    <a:lnTo>
                      <a:pt x="121" y="391"/>
                    </a:lnTo>
                    <a:lnTo>
                      <a:pt x="120" y="389"/>
                    </a:lnTo>
                    <a:lnTo>
                      <a:pt x="120" y="388"/>
                    </a:lnTo>
                    <a:lnTo>
                      <a:pt x="119" y="387"/>
                    </a:lnTo>
                    <a:lnTo>
                      <a:pt x="119" y="386"/>
                    </a:lnTo>
                    <a:lnTo>
                      <a:pt x="119" y="385"/>
                    </a:lnTo>
                    <a:lnTo>
                      <a:pt x="120" y="385"/>
                    </a:lnTo>
                    <a:lnTo>
                      <a:pt x="120" y="384"/>
                    </a:lnTo>
                    <a:lnTo>
                      <a:pt x="121" y="382"/>
                    </a:lnTo>
                    <a:lnTo>
                      <a:pt x="122" y="382"/>
                    </a:lnTo>
                    <a:lnTo>
                      <a:pt x="122" y="381"/>
                    </a:lnTo>
                    <a:lnTo>
                      <a:pt x="122" y="380"/>
                    </a:lnTo>
                    <a:lnTo>
                      <a:pt x="122" y="378"/>
                    </a:lnTo>
                    <a:lnTo>
                      <a:pt x="123" y="378"/>
                    </a:lnTo>
                    <a:lnTo>
                      <a:pt x="125" y="377"/>
                    </a:lnTo>
                    <a:lnTo>
                      <a:pt x="126" y="377"/>
                    </a:lnTo>
                    <a:lnTo>
                      <a:pt x="127" y="375"/>
                    </a:lnTo>
                    <a:lnTo>
                      <a:pt x="127" y="374"/>
                    </a:lnTo>
                    <a:lnTo>
                      <a:pt x="127" y="373"/>
                    </a:lnTo>
                    <a:lnTo>
                      <a:pt x="125" y="372"/>
                    </a:lnTo>
                    <a:lnTo>
                      <a:pt x="125" y="371"/>
                    </a:lnTo>
                    <a:lnTo>
                      <a:pt x="126" y="370"/>
                    </a:lnTo>
                    <a:lnTo>
                      <a:pt x="127" y="370"/>
                    </a:lnTo>
                    <a:lnTo>
                      <a:pt x="129" y="368"/>
                    </a:lnTo>
                    <a:lnTo>
                      <a:pt x="131" y="365"/>
                    </a:lnTo>
                    <a:lnTo>
                      <a:pt x="131" y="364"/>
                    </a:lnTo>
                    <a:lnTo>
                      <a:pt x="131" y="361"/>
                    </a:lnTo>
                    <a:lnTo>
                      <a:pt x="131" y="359"/>
                    </a:lnTo>
                    <a:lnTo>
                      <a:pt x="131" y="357"/>
                    </a:lnTo>
                    <a:lnTo>
                      <a:pt x="131" y="356"/>
                    </a:lnTo>
                    <a:lnTo>
                      <a:pt x="131" y="355"/>
                    </a:lnTo>
                    <a:lnTo>
                      <a:pt x="132" y="355"/>
                    </a:lnTo>
                    <a:lnTo>
                      <a:pt x="133" y="354"/>
                    </a:lnTo>
                    <a:lnTo>
                      <a:pt x="134" y="354"/>
                    </a:lnTo>
                    <a:lnTo>
                      <a:pt x="137" y="352"/>
                    </a:lnTo>
                    <a:lnTo>
                      <a:pt x="140" y="351"/>
                    </a:lnTo>
                    <a:lnTo>
                      <a:pt x="142" y="351"/>
                    </a:lnTo>
                    <a:lnTo>
                      <a:pt x="144" y="351"/>
                    </a:lnTo>
                    <a:lnTo>
                      <a:pt x="145" y="350"/>
                    </a:lnTo>
                    <a:lnTo>
                      <a:pt x="146" y="349"/>
                    </a:lnTo>
                    <a:lnTo>
                      <a:pt x="145" y="347"/>
                    </a:lnTo>
                    <a:lnTo>
                      <a:pt x="146" y="347"/>
                    </a:lnTo>
                    <a:lnTo>
                      <a:pt x="146" y="346"/>
                    </a:lnTo>
                    <a:lnTo>
                      <a:pt x="146" y="345"/>
                    </a:lnTo>
                    <a:lnTo>
                      <a:pt x="147" y="345"/>
                    </a:lnTo>
                    <a:lnTo>
                      <a:pt x="148" y="344"/>
                    </a:lnTo>
                    <a:lnTo>
                      <a:pt x="148" y="343"/>
                    </a:lnTo>
                    <a:lnTo>
                      <a:pt x="149" y="342"/>
                    </a:lnTo>
                    <a:lnTo>
                      <a:pt x="149" y="340"/>
                    </a:lnTo>
                    <a:lnTo>
                      <a:pt x="148" y="340"/>
                    </a:lnTo>
                    <a:lnTo>
                      <a:pt x="146" y="342"/>
                    </a:lnTo>
                    <a:lnTo>
                      <a:pt x="144" y="342"/>
                    </a:lnTo>
                    <a:lnTo>
                      <a:pt x="143" y="343"/>
                    </a:lnTo>
                    <a:lnTo>
                      <a:pt x="140" y="343"/>
                    </a:lnTo>
                    <a:lnTo>
                      <a:pt x="139" y="344"/>
                    </a:lnTo>
                    <a:lnTo>
                      <a:pt x="138" y="345"/>
                    </a:lnTo>
                    <a:lnTo>
                      <a:pt x="137" y="345"/>
                    </a:lnTo>
                    <a:lnTo>
                      <a:pt x="135" y="345"/>
                    </a:lnTo>
                    <a:lnTo>
                      <a:pt x="134" y="345"/>
                    </a:lnTo>
                    <a:lnTo>
                      <a:pt x="133" y="346"/>
                    </a:lnTo>
                    <a:lnTo>
                      <a:pt x="132" y="346"/>
                    </a:lnTo>
                    <a:lnTo>
                      <a:pt x="131" y="346"/>
                    </a:lnTo>
                    <a:lnTo>
                      <a:pt x="130" y="346"/>
                    </a:lnTo>
                    <a:lnTo>
                      <a:pt x="130" y="345"/>
                    </a:lnTo>
                    <a:lnTo>
                      <a:pt x="127" y="344"/>
                    </a:lnTo>
                    <a:lnTo>
                      <a:pt x="127" y="343"/>
                    </a:lnTo>
                    <a:lnTo>
                      <a:pt x="127" y="342"/>
                    </a:lnTo>
                    <a:lnTo>
                      <a:pt x="129" y="342"/>
                    </a:lnTo>
                    <a:lnTo>
                      <a:pt x="130" y="342"/>
                    </a:lnTo>
                    <a:lnTo>
                      <a:pt x="130" y="343"/>
                    </a:lnTo>
                    <a:lnTo>
                      <a:pt x="131" y="342"/>
                    </a:lnTo>
                    <a:lnTo>
                      <a:pt x="131" y="340"/>
                    </a:lnTo>
                    <a:lnTo>
                      <a:pt x="131" y="338"/>
                    </a:lnTo>
                    <a:lnTo>
                      <a:pt x="131" y="337"/>
                    </a:lnTo>
                    <a:lnTo>
                      <a:pt x="130" y="330"/>
                    </a:lnTo>
                    <a:lnTo>
                      <a:pt x="130" y="327"/>
                    </a:lnTo>
                    <a:lnTo>
                      <a:pt x="129" y="325"/>
                    </a:lnTo>
                    <a:lnTo>
                      <a:pt x="127" y="323"/>
                    </a:lnTo>
                    <a:lnTo>
                      <a:pt x="127" y="322"/>
                    </a:lnTo>
                    <a:lnTo>
                      <a:pt x="126" y="322"/>
                    </a:lnTo>
                    <a:lnTo>
                      <a:pt x="124" y="322"/>
                    </a:lnTo>
                    <a:lnTo>
                      <a:pt x="123" y="322"/>
                    </a:lnTo>
                    <a:lnTo>
                      <a:pt x="122" y="322"/>
                    </a:lnTo>
                    <a:lnTo>
                      <a:pt x="121" y="320"/>
                    </a:lnTo>
                    <a:lnTo>
                      <a:pt x="119" y="318"/>
                    </a:lnTo>
                    <a:lnTo>
                      <a:pt x="118" y="317"/>
                    </a:lnTo>
                    <a:lnTo>
                      <a:pt x="116" y="316"/>
                    </a:lnTo>
                    <a:lnTo>
                      <a:pt x="114" y="314"/>
                    </a:lnTo>
                    <a:lnTo>
                      <a:pt x="113" y="314"/>
                    </a:lnTo>
                    <a:lnTo>
                      <a:pt x="111" y="314"/>
                    </a:lnTo>
                    <a:lnTo>
                      <a:pt x="110" y="314"/>
                    </a:lnTo>
                    <a:lnTo>
                      <a:pt x="110" y="313"/>
                    </a:lnTo>
                    <a:lnTo>
                      <a:pt x="109" y="313"/>
                    </a:lnTo>
                    <a:lnTo>
                      <a:pt x="109" y="312"/>
                    </a:lnTo>
                    <a:lnTo>
                      <a:pt x="109" y="311"/>
                    </a:lnTo>
                    <a:lnTo>
                      <a:pt x="109" y="310"/>
                    </a:lnTo>
                    <a:lnTo>
                      <a:pt x="109" y="309"/>
                    </a:lnTo>
                    <a:lnTo>
                      <a:pt x="109" y="307"/>
                    </a:lnTo>
                    <a:lnTo>
                      <a:pt x="110" y="306"/>
                    </a:lnTo>
                    <a:lnTo>
                      <a:pt x="111" y="304"/>
                    </a:lnTo>
                    <a:lnTo>
                      <a:pt x="117" y="294"/>
                    </a:lnTo>
                    <a:lnTo>
                      <a:pt x="117" y="293"/>
                    </a:lnTo>
                    <a:lnTo>
                      <a:pt x="116" y="292"/>
                    </a:lnTo>
                    <a:lnTo>
                      <a:pt x="107" y="291"/>
                    </a:lnTo>
                    <a:lnTo>
                      <a:pt x="106" y="291"/>
                    </a:lnTo>
                    <a:lnTo>
                      <a:pt x="109" y="282"/>
                    </a:lnTo>
                    <a:lnTo>
                      <a:pt x="109" y="281"/>
                    </a:lnTo>
                    <a:lnTo>
                      <a:pt x="108" y="280"/>
                    </a:lnTo>
                    <a:lnTo>
                      <a:pt x="107" y="280"/>
                    </a:lnTo>
                    <a:lnTo>
                      <a:pt x="106" y="280"/>
                    </a:lnTo>
                    <a:lnTo>
                      <a:pt x="106" y="281"/>
                    </a:lnTo>
                    <a:lnTo>
                      <a:pt x="106" y="282"/>
                    </a:lnTo>
                    <a:lnTo>
                      <a:pt x="106" y="283"/>
                    </a:lnTo>
                    <a:lnTo>
                      <a:pt x="105" y="283"/>
                    </a:lnTo>
                    <a:lnTo>
                      <a:pt x="104" y="282"/>
                    </a:lnTo>
                    <a:lnTo>
                      <a:pt x="103" y="280"/>
                    </a:lnTo>
                    <a:lnTo>
                      <a:pt x="101" y="280"/>
                    </a:lnTo>
                    <a:lnTo>
                      <a:pt x="100" y="280"/>
                    </a:lnTo>
                    <a:lnTo>
                      <a:pt x="99" y="282"/>
                    </a:lnTo>
                    <a:lnTo>
                      <a:pt x="98" y="283"/>
                    </a:lnTo>
                    <a:lnTo>
                      <a:pt x="95" y="282"/>
                    </a:lnTo>
                    <a:lnTo>
                      <a:pt x="93" y="280"/>
                    </a:lnTo>
                    <a:lnTo>
                      <a:pt x="88" y="275"/>
                    </a:lnTo>
                    <a:lnTo>
                      <a:pt x="86" y="273"/>
                    </a:lnTo>
                    <a:lnTo>
                      <a:pt x="84" y="273"/>
                    </a:lnTo>
                    <a:lnTo>
                      <a:pt x="81" y="272"/>
                    </a:lnTo>
                    <a:lnTo>
                      <a:pt x="81" y="271"/>
                    </a:lnTo>
                    <a:lnTo>
                      <a:pt x="81" y="270"/>
                    </a:lnTo>
                    <a:lnTo>
                      <a:pt x="82" y="267"/>
                    </a:lnTo>
                    <a:lnTo>
                      <a:pt x="83" y="266"/>
                    </a:lnTo>
                    <a:lnTo>
                      <a:pt x="84" y="265"/>
                    </a:lnTo>
                    <a:lnTo>
                      <a:pt x="84" y="263"/>
                    </a:lnTo>
                    <a:lnTo>
                      <a:pt x="83" y="262"/>
                    </a:lnTo>
                    <a:lnTo>
                      <a:pt x="82" y="262"/>
                    </a:lnTo>
                    <a:lnTo>
                      <a:pt x="81" y="263"/>
                    </a:lnTo>
                    <a:lnTo>
                      <a:pt x="81" y="265"/>
                    </a:lnTo>
                    <a:lnTo>
                      <a:pt x="80" y="265"/>
                    </a:lnTo>
                    <a:lnTo>
                      <a:pt x="80" y="263"/>
                    </a:lnTo>
                    <a:lnTo>
                      <a:pt x="79" y="262"/>
                    </a:lnTo>
                    <a:lnTo>
                      <a:pt x="80" y="261"/>
                    </a:lnTo>
                    <a:lnTo>
                      <a:pt x="81" y="260"/>
                    </a:lnTo>
                    <a:lnTo>
                      <a:pt x="82" y="260"/>
                    </a:lnTo>
                    <a:lnTo>
                      <a:pt x="83" y="260"/>
                    </a:lnTo>
                    <a:lnTo>
                      <a:pt x="84" y="259"/>
                    </a:lnTo>
                    <a:lnTo>
                      <a:pt x="84" y="260"/>
                    </a:lnTo>
                    <a:lnTo>
                      <a:pt x="85" y="261"/>
                    </a:lnTo>
                    <a:lnTo>
                      <a:pt x="86" y="261"/>
                    </a:lnTo>
                    <a:lnTo>
                      <a:pt x="88" y="260"/>
                    </a:lnTo>
                    <a:lnTo>
                      <a:pt x="89" y="260"/>
                    </a:lnTo>
                    <a:lnTo>
                      <a:pt x="89" y="259"/>
                    </a:lnTo>
                    <a:lnTo>
                      <a:pt x="89" y="257"/>
                    </a:lnTo>
                    <a:lnTo>
                      <a:pt x="91" y="257"/>
                    </a:lnTo>
                    <a:lnTo>
                      <a:pt x="92" y="258"/>
                    </a:lnTo>
                    <a:lnTo>
                      <a:pt x="93" y="258"/>
                    </a:lnTo>
                    <a:lnTo>
                      <a:pt x="94" y="258"/>
                    </a:lnTo>
                    <a:lnTo>
                      <a:pt x="95" y="257"/>
                    </a:lnTo>
                    <a:lnTo>
                      <a:pt x="96" y="255"/>
                    </a:lnTo>
                    <a:lnTo>
                      <a:pt x="98" y="255"/>
                    </a:lnTo>
                    <a:lnTo>
                      <a:pt x="98" y="254"/>
                    </a:lnTo>
                    <a:lnTo>
                      <a:pt x="98" y="253"/>
                    </a:lnTo>
                    <a:lnTo>
                      <a:pt x="97" y="252"/>
                    </a:lnTo>
                    <a:lnTo>
                      <a:pt x="97" y="249"/>
                    </a:lnTo>
                    <a:lnTo>
                      <a:pt x="97" y="248"/>
                    </a:lnTo>
                    <a:lnTo>
                      <a:pt x="98" y="248"/>
                    </a:lnTo>
                    <a:lnTo>
                      <a:pt x="98" y="247"/>
                    </a:lnTo>
                    <a:lnTo>
                      <a:pt x="99" y="248"/>
                    </a:lnTo>
                    <a:lnTo>
                      <a:pt x="100" y="248"/>
                    </a:lnTo>
                    <a:lnTo>
                      <a:pt x="101" y="248"/>
                    </a:lnTo>
                    <a:lnTo>
                      <a:pt x="101" y="247"/>
                    </a:lnTo>
                    <a:lnTo>
                      <a:pt x="100" y="246"/>
                    </a:lnTo>
                    <a:lnTo>
                      <a:pt x="100" y="245"/>
                    </a:lnTo>
                    <a:lnTo>
                      <a:pt x="99" y="245"/>
                    </a:lnTo>
                    <a:lnTo>
                      <a:pt x="99" y="244"/>
                    </a:lnTo>
                    <a:lnTo>
                      <a:pt x="100" y="244"/>
                    </a:lnTo>
                    <a:lnTo>
                      <a:pt x="101" y="243"/>
                    </a:lnTo>
                    <a:lnTo>
                      <a:pt x="103" y="243"/>
                    </a:lnTo>
                    <a:lnTo>
                      <a:pt x="104" y="243"/>
                    </a:lnTo>
                    <a:lnTo>
                      <a:pt x="105" y="242"/>
                    </a:lnTo>
                    <a:lnTo>
                      <a:pt x="105" y="241"/>
                    </a:lnTo>
                    <a:lnTo>
                      <a:pt x="105" y="240"/>
                    </a:lnTo>
                    <a:lnTo>
                      <a:pt x="104" y="240"/>
                    </a:lnTo>
                    <a:lnTo>
                      <a:pt x="103" y="239"/>
                    </a:lnTo>
                    <a:lnTo>
                      <a:pt x="101" y="239"/>
                    </a:lnTo>
                    <a:lnTo>
                      <a:pt x="98" y="240"/>
                    </a:lnTo>
                    <a:lnTo>
                      <a:pt x="95" y="239"/>
                    </a:lnTo>
                    <a:lnTo>
                      <a:pt x="93" y="240"/>
                    </a:lnTo>
                    <a:lnTo>
                      <a:pt x="92" y="240"/>
                    </a:lnTo>
                    <a:lnTo>
                      <a:pt x="89" y="240"/>
                    </a:lnTo>
                    <a:lnTo>
                      <a:pt x="88" y="240"/>
                    </a:lnTo>
                    <a:lnTo>
                      <a:pt x="87" y="239"/>
                    </a:lnTo>
                    <a:lnTo>
                      <a:pt x="86" y="239"/>
                    </a:lnTo>
                    <a:lnTo>
                      <a:pt x="85" y="237"/>
                    </a:lnTo>
                    <a:lnTo>
                      <a:pt x="84" y="237"/>
                    </a:lnTo>
                    <a:lnTo>
                      <a:pt x="84" y="236"/>
                    </a:lnTo>
                    <a:lnTo>
                      <a:pt x="85" y="236"/>
                    </a:lnTo>
                    <a:lnTo>
                      <a:pt x="86" y="236"/>
                    </a:lnTo>
                    <a:lnTo>
                      <a:pt x="87" y="236"/>
                    </a:lnTo>
                    <a:lnTo>
                      <a:pt x="86" y="235"/>
                    </a:lnTo>
                    <a:lnTo>
                      <a:pt x="86" y="233"/>
                    </a:lnTo>
                    <a:lnTo>
                      <a:pt x="85" y="232"/>
                    </a:lnTo>
                    <a:lnTo>
                      <a:pt x="85" y="231"/>
                    </a:lnTo>
                    <a:lnTo>
                      <a:pt x="85" y="230"/>
                    </a:lnTo>
                    <a:lnTo>
                      <a:pt x="84" y="230"/>
                    </a:lnTo>
                    <a:lnTo>
                      <a:pt x="83" y="230"/>
                    </a:lnTo>
                    <a:lnTo>
                      <a:pt x="83" y="229"/>
                    </a:lnTo>
                    <a:lnTo>
                      <a:pt x="83" y="228"/>
                    </a:lnTo>
                    <a:lnTo>
                      <a:pt x="83" y="227"/>
                    </a:lnTo>
                    <a:lnTo>
                      <a:pt x="82" y="227"/>
                    </a:lnTo>
                    <a:lnTo>
                      <a:pt x="82" y="228"/>
                    </a:lnTo>
                    <a:lnTo>
                      <a:pt x="81" y="228"/>
                    </a:lnTo>
                    <a:lnTo>
                      <a:pt x="80" y="229"/>
                    </a:lnTo>
                    <a:lnTo>
                      <a:pt x="80" y="230"/>
                    </a:lnTo>
                    <a:lnTo>
                      <a:pt x="79" y="229"/>
                    </a:lnTo>
                    <a:lnTo>
                      <a:pt x="79" y="228"/>
                    </a:lnTo>
                    <a:lnTo>
                      <a:pt x="76" y="228"/>
                    </a:lnTo>
                    <a:lnTo>
                      <a:pt x="76" y="229"/>
                    </a:lnTo>
                    <a:lnTo>
                      <a:pt x="76" y="230"/>
                    </a:lnTo>
                    <a:lnTo>
                      <a:pt x="79" y="230"/>
                    </a:lnTo>
                    <a:lnTo>
                      <a:pt x="79" y="231"/>
                    </a:lnTo>
                    <a:lnTo>
                      <a:pt x="78" y="231"/>
                    </a:lnTo>
                    <a:lnTo>
                      <a:pt x="74" y="232"/>
                    </a:lnTo>
                    <a:lnTo>
                      <a:pt x="70" y="232"/>
                    </a:lnTo>
                    <a:lnTo>
                      <a:pt x="67" y="231"/>
                    </a:lnTo>
                    <a:lnTo>
                      <a:pt x="65" y="231"/>
                    </a:lnTo>
                    <a:lnTo>
                      <a:pt x="62" y="231"/>
                    </a:lnTo>
                    <a:lnTo>
                      <a:pt x="59" y="231"/>
                    </a:lnTo>
                    <a:lnTo>
                      <a:pt x="58" y="230"/>
                    </a:lnTo>
                    <a:lnTo>
                      <a:pt x="56" y="227"/>
                    </a:lnTo>
                    <a:lnTo>
                      <a:pt x="54" y="226"/>
                    </a:lnTo>
                    <a:lnTo>
                      <a:pt x="52" y="224"/>
                    </a:lnTo>
                    <a:lnTo>
                      <a:pt x="52" y="223"/>
                    </a:lnTo>
                    <a:lnTo>
                      <a:pt x="50" y="222"/>
                    </a:lnTo>
                    <a:lnTo>
                      <a:pt x="48" y="221"/>
                    </a:lnTo>
                    <a:lnTo>
                      <a:pt x="48" y="220"/>
                    </a:lnTo>
                    <a:lnTo>
                      <a:pt x="49" y="220"/>
                    </a:lnTo>
                    <a:lnTo>
                      <a:pt x="50" y="219"/>
                    </a:lnTo>
                    <a:lnTo>
                      <a:pt x="50" y="218"/>
                    </a:lnTo>
                    <a:lnTo>
                      <a:pt x="48" y="218"/>
                    </a:lnTo>
                    <a:lnTo>
                      <a:pt x="47" y="217"/>
                    </a:lnTo>
                    <a:lnTo>
                      <a:pt x="45" y="216"/>
                    </a:lnTo>
                    <a:lnTo>
                      <a:pt x="45" y="215"/>
                    </a:lnTo>
                    <a:lnTo>
                      <a:pt x="44" y="214"/>
                    </a:lnTo>
                    <a:lnTo>
                      <a:pt x="42" y="213"/>
                    </a:lnTo>
                    <a:lnTo>
                      <a:pt x="41" y="211"/>
                    </a:lnTo>
                    <a:lnTo>
                      <a:pt x="39" y="209"/>
                    </a:lnTo>
                    <a:lnTo>
                      <a:pt x="37" y="207"/>
                    </a:lnTo>
                    <a:lnTo>
                      <a:pt x="37" y="206"/>
                    </a:lnTo>
                    <a:lnTo>
                      <a:pt x="40" y="206"/>
                    </a:lnTo>
                    <a:lnTo>
                      <a:pt x="40" y="205"/>
                    </a:lnTo>
                    <a:lnTo>
                      <a:pt x="40" y="204"/>
                    </a:lnTo>
                    <a:lnTo>
                      <a:pt x="40" y="203"/>
                    </a:lnTo>
                    <a:lnTo>
                      <a:pt x="39" y="203"/>
                    </a:lnTo>
                    <a:lnTo>
                      <a:pt x="37" y="204"/>
                    </a:lnTo>
                    <a:lnTo>
                      <a:pt x="36" y="203"/>
                    </a:lnTo>
                    <a:lnTo>
                      <a:pt x="36" y="202"/>
                    </a:lnTo>
                    <a:lnTo>
                      <a:pt x="36" y="201"/>
                    </a:lnTo>
                    <a:lnTo>
                      <a:pt x="36" y="200"/>
                    </a:lnTo>
                    <a:lnTo>
                      <a:pt x="37" y="200"/>
                    </a:lnTo>
                    <a:lnTo>
                      <a:pt x="39" y="200"/>
                    </a:lnTo>
                    <a:lnTo>
                      <a:pt x="40" y="200"/>
                    </a:lnTo>
                    <a:lnTo>
                      <a:pt x="40" y="198"/>
                    </a:lnTo>
                    <a:lnTo>
                      <a:pt x="37" y="196"/>
                    </a:lnTo>
                    <a:lnTo>
                      <a:pt x="36" y="195"/>
                    </a:lnTo>
                    <a:lnTo>
                      <a:pt x="35" y="194"/>
                    </a:lnTo>
                    <a:lnTo>
                      <a:pt x="34" y="193"/>
                    </a:lnTo>
                    <a:lnTo>
                      <a:pt x="32" y="192"/>
                    </a:lnTo>
                    <a:lnTo>
                      <a:pt x="29" y="188"/>
                    </a:lnTo>
                    <a:lnTo>
                      <a:pt x="29" y="185"/>
                    </a:lnTo>
                    <a:lnTo>
                      <a:pt x="29" y="183"/>
                    </a:lnTo>
                    <a:lnTo>
                      <a:pt x="27" y="181"/>
                    </a:lnTo>
                    <a:lnTo>
                      <a:pt x="27" y="178"/>
                    </a:lnTo>
                    <a:lnTo>
                      <a:pt x="27" y="177"/>
                    </a:lnTo>
                    <a:lnTo>
                      <a:pt x="28" y="176"/>
                    </a:lnTo>
                    <a:lnTo>
                      <a:pt x="27" y="175"/>
                    </a:lnTo>
                    <a:lnTo>
                      <a:pt x="27" y="172"/>
                    </a:lnTo>
                    <a:lnTo>
                      <a:pt x="28" y="171"/>
                    </a:lnTo>
                    <a:lnTo>
                      <a:pt x="30" y="170"/>
                    </a:lnTo>
                    <a:lnTo>
                      <a:pt x="30" y="169"/>
                    </a:lnTo>
                    <a:lnTo>
                      <a:pt x="33" y="166"/>
                    </a:lnTo>
                    <a:lnTo>
                      <a:pt x="34" y="166"/>
                    </a:lnTo>
                    <a:lnTo>
                      <a:pt x="34" y="167"/>
                    </a:lnTo>
                    <a:lnTo>
                      <a:pt x="33" y="168"/>
                    </a:lnTo>
                    <a:lnTo>
                      <a:pt x="34" y="168"/>
                    </a:lnTo>
                    <a:lnTo>
                      <a:pt x="35" y="167"/>
                    </a:lnTo>
                    <a:lnTo>
                      <a:pt x="36" y="167"/>
                    </a:lnTo>
                    <a:lnTo>
                      <a:pt x="39" y="167"/>
                    </a:lnTo>
                    <a:lnTo>
                      <a:pt x="39" y="165"/>
                    </a:lnTo>
                    <a:lnTo>
                      <a:pt x="36" y="164"/>
                    </a:lnTo>
                    <a:lnTo>
                      <a:pt x="34" y="164"/>
                    </a:lnTo>
                    <a:lnTo>
                      <a:pt x="34" y="163"/>
                    </a:lnTo>
                    <a:lnTo>
                      <a:pt x="34" y="162"/>
                    </a:lnTo>
                    <a:lnTo>
                      <a:pt x="35" y="163"/>
                    </a:lnTo>
                    <a:lnTo>
                      <a:pt x="36" y="163"/>
                    </a:lnTo>
                    <a:lnTo>
                      <a:pt x="37" y="162"/>
                    </a:lnTo>
                    <a:lnTo>
                      <a:pt x="40" y="162"/>
                    </a:lnTo>
                    <a:lnTo>
                      <a:pt x="40" y="160"/>
                    </a:lnTo>
                    <a:lnTo>
                      <a:pt x="40" y="159"/>
                    </a:lnTo>
                    <a:lnTo>
                      <a:pt x="40" y="158"/>
                    </a:lnTo>
                    <a:lnTo>
                      <a:pt x="39" y="158"/>
                    </a:lnTo>
                    <a:lnTo>
                      <a:pt x="37" y="158"/>
                    </a:lnTo>
                    <a:lnTo>
                      <a:pt x="37" y="157"/>
                    </a:lnTo>
                    <a:lnTo>
                      <a:pt x="37" y="156"/>
                    </a:lnTo>
                    <a:lnTo>
                      <a:pt x="39" y="155"/>
                    </a:lnTo>
                    <a:lnTo>
                      <a:pt x="40" y="155"/>
                    </a:lnTo>
                    <a:lnTo>
                      <a:pt x="41" y="154"/>
                    </a:lnTo>
                    <a:lnTo>
                      <a:pt x="41" y="153"/>
                    </a:lnTo>
                    <a:lnTo>
                      <a:pt x="40" y="152"/>
                    </a:lnTo>
                    <a:lnTo>
                      <a:pt x="40" y="151"/>
                    </a:lnTo>
                    <a:lnTo>
                      <a:pt x="41" y="150"/>
                    </a:lnTo>
                    <a:lnTo>
                      <a:pt x="41" y="149"/>
                    </a:lnTo>
                    <a:lnTo>
                      <a:pt x="40" y="147"/>
                    </a:lnTo>
                    <a:lnTo>
                      <a:pt x="40" y="146"/>
                    </a:lnTo>
                    <a:lnTo>
                      <a:pt x="40" y="144"/>
                    </a:lnTo>
                    <a:lnTo>
                      <a:pt x="40" y="143"/>
                    </a:lnTo>
                    <a:lnTo>
                      <a:pt x="40" y="142"/>
                    </a:lnTo>
                    <a:lnTo>
                      <a:pt x="41" y="142"/>
                    </a:lnTo>
                    <a:lnTo>
                      <a:pt x="42" y="143"/>
                    </a:lnTo>
                    <a:lnTo>
                      <a:pt x="42" y="144"/>
                    </a:lnTo>
                    <a:lnTo>
                      <a:pt x="43" y="143"/>
                    </a:lnTo>
                    <a:lnTo>
                      <a:pt x="43" y="142"/>
                    </a:lnTo>
                    <a:lnTo>
                      <a:pt x="43" y="141"/>
                    </a:lnTo>
                    <a:lnTo>
                      <a:pt x="42" y="141"/>
                    </a:lnTo>
                    <a:lnTo>
                      <a:pt x="41" y="141"/>
                    </a:lnTo>
                    <a:lnTo>
                      <a:pt x="40" y="141"/>
                    </a:lnTo>
                    <a:lnTo>
                      <a:pt x="40" y="140"/>
                    </a:lnTo>
                    <a:lnTo>
                      <a:pt x="39" y="140"/>
                    </a:lnTo>
                    <a:lnTo>
                      <a:pt x="37" y="139"/>
                    </a:lnTo>
                    <a:lnTo>
                      <a:pt x="37" y="137"/>
                    </a:lnTo>
                    <a:lnTo>
                      <a:pt x="36" y="136"/>
                    </a:lnTo>
                    <a:lnTo>
                      <a:pt x="34" y="133"/>
                    </a:lnTo>
                    <a:lnTo>
                      <a:pt x="34" y="132"/>
                    </a:lnTo>
                    <a:lnTo>
                      <a:pt x="34" y="130"/>
                    </a:lnTo>
                    <a:lnTo>
                      <a:pt x="34" y="129"/>
                    </a:lnTo>
                    <a:lnTo>
                      <a:pt x="36" y="125"/>
                    </a:lnTo>
                    <a:lnTo>
                      <a:pt x="36" y="124"/>
                    </a:lnTo>
                    <a:lnTo>
                      <a:pt x="37" y="124"/>
                    </a:lnTo>
                    <a:lnTo>
                      <a:pt x="37" y="125"/>
                    </a:lnTo>
                    <a:lnTo>
                      <a:pt x="39" y="125"/>
                    </a:lnTo>
                    <a:lnTo>
                      <a:pt x="40" y="125"/>
                    </a:lnTo>
                    <a:lnTo>
                      <a:pt x="40" y="126"/>
                    </a:lnTo>
                    <a:lnTo>
                      <a:pt x="40" y="128"/>
                    </a:lnTo>
                    <a:lnTo>
                      <a:pt x="41" y="128"/>
                    </a:lnTo>
                    <a:lnTo>
                      <a:pt x="43" y="127"/>
                    </a:lnTo>
                    <a:lnTo>
                      <a:pt x="43" y="126"/>
                    </a:lnTo>
                    <a:lnTo>
                      <a:pt x="41" y="125"/>
                    </a:lnTo>
                    <a:lnTo>
                      <a:pt x="41" y="124"/>
                    </a:lnTo>
                    <a:lnTo>
                      <a:pt x="41" y="123"/>
                    </a:lnTo>
                    <a:lnTo>
                      <a:pt x="42" y="123"/>
                    </a:lnTo>
                    <a:lnTo>
                      <a:pt x="43" y="121"/>
                    </a:lnTo>
                    <a:lnTo>
                      <a:pt x="44" y="120"/>
                    </a:lnTo>
                    <a:lnTo>
                      <a:pt x="44" y="119"/>
                    </a:lnTo>
                    <a:lnTo>
                      <a:pt x="46" y="119"/>
                    </a:lnTo>
                    <a:lnTo>
                      <a:pt x="46" y="118"/>
                    </a:lnTo>
                    <a:lnTo>
                      <a:pt x="46" y="117"/>
                    </a:lnTo>
                    <a:lnTo>
                      <a:pt x="47" y="117"/>
                    </a:lnTo>
                    <a:lnTo>
                      <a:pt x="48" y="116"/>
                    </a:lnTo>
                    <a:lnTo>
                      <a:pt x="47" y="116"/>
                    </a:lnTo>
                    <a:lnTo>
                      <a:pt x="47" y="115"/>
                    </a:lnTo>
                    <a:lnTo>
                      <a:pt x="48" y="114"/>
                    </a:lnTo>
                    <a:lnTo>
                      <a:pt x="54" y="104"/>
                    </a:lnTo>
                    <a:lnTo>
                      <a:pt x="54" y="103"/>
                    </a:lnTo>
                    <a:lnTo>
                      <a:pt x="54" y="102"/>
                    </a:lnTo>
                    <a:lnTo>
                      <a:pt x="53" y="102"/>
                    </a:lnTo>
                    <a:lnTo>
                      <a:pt x="52" y="101"/>
                    </a:lnTo>
                    <a:lnTo>
                      <a:pt x="46" y="103"/>
                    </a:lnTo>
                    <a:lnTo>
                      <a:pt x="45" y="103"/>
                    </a:lnTo>
                    <a:lnTo>
                      <a:pt x="44" y="103"/>
                    </a:lnTo>
                    <a:lnTo>
                      <a:pt x="44" y="102"/>
                    </a:lnTo>
                    <a:lnTo>
                      <a:pt x="44" y="101"/>
                    </a:lnTo>
                    <a:lnTo>
                      <a:pt x="43" y="100"/>
                    </a:lnTo>
                    <a:lnTo>
                      <a:pt x="41" y="100"/>
                    </a:lnTo>
                    <a:lnTo>
                      <a:pt x="40" y="100"/>
                    </a:lnTo>
                    <a:lnTo>
                      <a:pt x="40" y="99"/>
                    </a:lnTo>
                    <a:lnTo>
                      <a:pt x="42" y="96"/>
                    </a:lnTo>
                    <a:lnTo>
                      <a:pt x="43" y="95"/>
                    </a:lnTo>
                    <a:lnTo>
                      <a:pt x="43" y="94"/>
                    </a:lnTo>
                    <a:lnTo>
                      <a:pt x="42" y="90"/>
                    </a:lnTo>
                    <a:lnTo>
                      <a:pt x="42" y="86"/>
                    </a:lnTo>
                    <a:lnTo>
                      <a:pt x="41" y="85"/>
                    </a:lnTo>
                    <a:lnTo>
                      <a:pt x="41" y="83"/>
                    </a:lnTo>
                    <a:lnTo>
                      <a:pt x="40" y="83"/>
                    </a:lnTo>
                    <a:lnTo>
                      <a:pt x="36" y="81"/>
                    </a:lnTo>
                    <a:lnTo>
                      <a:pt x="35" y="80"/>
                    </a:lnTo>
                    <a:lnTo>
                      <a:pt x="34" y="78"/>
                    </a:lnTo>
                    <a:lnTo>
                      <a:pt x="32" y="76"/>
                    </a:lnTo>
                    <a:lnTo>
                      <a:pt x="32" y="74"/>
                    </a:lnTo>
                    <a:lnTo>
                      <a:pt x="31" y="73"/>
                    </a:lnTo>
                    <a:lnTo>
                      <a:pt x="30" y="72"/>
                    </a:lnTo>
                    <a:lnTo>
                      <a:pt x="29" y="72"/>
                    </a:lnTo>
                    <a:lnTo>
                      <a:pt x="29" y="70"/>
                    </a:lnTo>
                    <a:lnTo>
                      <a:pt x="28" y="69"/>
                    </a:lnTo>
                    <a:lnTo>
                      <a:pt x="28" y="68"/>
                    </a:lnTo>
                    <a:lnTo>
                      <a:pt x="29" y="67"/>
                    </a:lnTo>
                    <a:lnTo>
                      <a:pt x="30" y="67"/>
                    </a:lnTo>
                    <a:lnTo>
                      <a:pt x="31" y="66"/>
                    </a:lnTo>
                    <a:lnTo>
                      <a:pt x="31" y="65"/>
                    </a:lnTo>
                    <a:lnTo>
                      <a:pt x="32" y="64"/>
                    </a:lnTo>
                    <a:lnTo>
                      <a:pt x="32" y="63"/>
                    </a:lnTo>
                    <a:lnTo>
                      <a:pt x="32" y="62"/>
                    </a:lnTo>
                    <a:lnTo>
                      <a:pt x="33" y="62"/>
                    </a:lnTo>
                    <a:lnTo>
                      <a:pt x="33" y="63"/>
                    </a:lnTo>
                    <a:lnTo>
                      <a:pt x="34" y="63"/>
                    </a:lnTo>
                    <a:lnTo>
                      <a:pt x="34" y="62"/>
                    </a:lnTo>
                    <a:lnTo>
                      <a:pt x="34" y="61"/>
                    </a:lnTo>
                    <a:lnTo>
                      <a:pt x="34" y="60"/>
                    </a:lnTo>
                    <a:lnTo>
                      <a:pt x="33" y="60"/>
                    </a:lnTo>
                    <a:lnTo>
                      <a:pt x="32" y="60"/>
                    </a:lnTo>
                    <a:lnTo>
                      <a:pt x="32" y="59"/>
                    </a:lnTo>
                    <a:lnTo>
                      <a:pt x="33" y="59"/>
                    </a:lnTo>
                    <a:lnTo>
                      <a:pt x="33" y="57"/>
                    </a:lnTo>
                    <a:lnTo>
                      <a:pt x="34" y="57"/>
                    </a:lnTo>
                    <a:lnTo>
                      <a:pt x="35" y="57"/>
                    </a:lnTo>
                    <a:lnTo>
                      <a:pt x="35" y="56"/>
                    </a:lnTo>
                    <a:lnTo>
                      <a:pt x="35" y="55"/>
                    </a:lnTo>
                    <a:lnTo>
                      <a:pt x="35" y="54"/>
                    </a:lnTo>
                    <a:lnTo>
                      <a:pt x="36" y="53"/>
                    </a:lnTo>
                    <a:lnTo>
                      <a:pt x="36" y="52"/>
                    </a:lnTo>
                    <a:lnTo>
                      <a:pt x="36" y="51"/>
                    </a:lnTo>
                    <a:lnTo>
                      <a:pt x="34" y="50"/>
                    </a:lnTo>
                    <a:lnTo>
                      <a:pt x="33" y="50"/>
                    </a:lnTo>
                    <a:lnTo>
                      <a:pt x="31" y="50"/>
                    </a:lnTo>
                    <a:lnTo>
                      <a:pt x="30" y="50"/>
                    </a:lnTo>
                    <a:lnTo>
                      <a:pt x="30" y="49"/>
                    </a:lnTo>
                    <a:lnTo>
                      <a:pt x="31" y="49"/>
                    </a:lnTo>
                    <a:lnTo>
                      <a:pt x="31" y="48"/>
                    </a:lnTo>
                    <a:lnTo>
                      <a:pt x="31" y="47"/>
                    </a:lnTo>
                    <a:lnTo>
                      <a:pt x="30" y="47"/>
                    </a:lnTo>
                    <a:lnTo>
                      <a:pt x="29" y="47"/>
                    </a:lnTo>
                    <a:lnTo>
                      <a:pt x="28" y="48"/>
                    </a:lnTo>
                    <a:lnTo>
                      <a:pt x="28" y="47"/>
                    </a:lnTo>
                    <a:lnTo>
                      <a:pt x="27" y="47"/>
                    </a:lnTo>
                    <a:lnTo>
                      <a:pt x="28" y="46"/>
                    </a:lnTo>
                    <a:lnTo>
                      <a:pt x="28" y="44"/>
                    </a:lnTo>
                    <a:lnTo>
                      <a:pt x="29" y="44"/>
                    </a:lnTo>
                    <a:lnTo>
                      <a:pt x="29" y="43"/>
                    </a:lnTo>
                    <a:lnTo>
                      <a:pt x="28" y="43"/>
                    </a:lnTo>
                    <a:lnTo>
                      <a:pt x="28" y="42"/>
                    </a:lnTo>
                    <a:lnTo>
                      <a:pt x="28" y="40"/>
                    </a:lnTo>
                    <a:lnTo>
                      <a:pt x="28" y="39"/>
                    </a:lnTo>
                    <a:lnTo>
                      <a:pt x="29" y="38"/>
                    </a:lnTo>
                    <a:lnTo>
                      <a:pt x="29" y="37"/>
                    </a:lnTo>
                    <a:lnTo>
                      <a:pt x="28" y="36"/>
                    </a:lnTo>
                    <a:lnTo>
                      <a:pt x="27" y="35"/>
                    </a:lnTo>
                    <a:lnTo>
                      <a:pt x="27" y="34"/>
                    </a:lnTo>
                    <a:lnTo>
                      <a:pt x="27" y="33"/>
                    </a:lnTo>
                    <a:lnTo>
                      <a:pt x="26" y="33"/>
                    </a:lnTo>
                    <a:lnTo>
                      <a:pt x="24" y="33"/>
                    </a:lnTo>
                    <a:lnTo>
                      <a:pt x="23" y="33"/>
                    </a:lnTo>
                    <a:lnTo>
                      <a:pt x="22" y="31"/>
                    </a:lnTo>
                    <a:lnTo>
                      <a:pt x="21" y="34"/>
                    </a:lnTo>
                    <a:lnTo>
                      <a:pt x="20" y="34"/>
                    </a:lnTo>
                    <a:lnTo>
                      <a:pt x="19" y="34"/>
                    </a:lnTo>
                    <a:lnTo>
                      <a:pt x="18" y="33"/>
                    </a:lnTo>
                    <a:lnTo>
                      <a:pt x="18" y="31"/>
                    </a:lnTo>
                    <a:lnTo>
                      <a:pt x="18" y="30"/>
                    </a:lnTo>
                    <a:lnTo>
                      <a:pt x="18" y="29"/>
                    </a:lnTo>
                    <a:lnTo>
                      <a:pt x="17" y="28"/>
                    </a:lnTo>
                    <a:lnTo>
                      <a:pt x="16" y="27"/>
                    </a:lnTo>
                    <a:lnTo>
                      <a:pt x="15" y="27"/>
                    </a:lnTo>
                    <a:lnTo>
                      <a:pt x="14" y="27"/>
                    </a:lnTo>
                    <a:lnTo>
                      <a:pt x="14" y="26"/>
                    </a:lnTo>
                    <a:lnTo>
                      <a:pt x="14" y="25"/>
                    </a:lnTo>
                    <a:lnTo>
                      <a:pt x="13" y="25"/>
                    </a:lnTo>
                    <a:lnTo>
                      <a:pt x="9" y="23"/>
                    </a:lnTo>
                    <a:lnTo>
                      <a:pt x="8" y="23"/>
                    </a:lnTo>
                    <a:lnTo>
                      <a:pt x="7" y="24"/>
                    </a:lnTo>
                    <a:lnTo>
                      <a:pt x="6" y="23"/>
                    </a:lnTo>
                    <a:lnTo>
                      <a:pt x="5" y="22"/>
                    </a:lnTo>
                    <a:lnTo>
                      <a:pt x="6" y="22"/>
                    </a:lnTo>
                    <a:lnTo>
                      <a:pt x="7" y="22"/>
                    </a:lnTo>
                    <a:lnTo>
                      <a:pt x="7" y="21"/>
                    </a:lnTo>
                    <a:lnTo>
                      <a:pt x="7" y="20"/>
                    </a:lnTo>
                    <a:lnTo>
                      <a:pt x="7" y="18"/>
                    </a:lnTo>
                    <a:lnTo>
                      <a:pt x="6" y="18"/>
                    </a:lnTo>
                    <a:lnTo>
                      <a:pt x="5" y="18"/>
                    </a:lnTo>
                    <a:lnTo>
                      <a:pt x="5" y="17"/>
                    </a:lnTo>
                    <a:lnTo>
                      <a:pt x="5" y="15"/>
                    </a:lnTo>
                    <a:lnTo>
                      <a:pt x="5" y="13"/>
                    </a:lnTo>
                    <a:lnTo>
                      <a:pt x="5" y="12"/>
                    </a:lnTo>
                    <a:lnTo>
                      <a:pt x="4" y="11"/>
                    </a:lnTo>
                    <a:lnTo>
                      <a:pt x="3" y="11"/>
                    </a:lnTo>
                    <a:lnTo>
                      <a:pt x="3" y="10"/>
                    </a:lnTo>
                    <a:lnTo>
                      <a:pt x="4" y="9"/>
                    </a:lnTo>
                    <a:lnTo>
                      <a:pt x="4" y="8"/>
                    </a:lnTo>
                    <a:lnTo>
                      <a:pt x="5" y="8"/>
                    </a:lnTo>
                    <a:lnTo>
                      <a:pt x="6" y="8"/>
                    </a:lnTo>
                    <a:lnTo>
                      <a:pt x="6" y="6"/>
                    </a:lnTo>
                    <a:lnTo>
                      <a:pt x="5" y="6"/>
                    </a:lnTo>
                    <a:lnTo>
                      <a:pt x="5" y="5"/>
                    </a:lnTo>
                    <a:lnTo>
                      <a:pt x="5" y="4"/>
                    </a:lnTo>
                    <a:lnTo>
                      <a:pt x="4" y="4"/>
                    </a:lnTo>
                    <a:lnTo>
                      <a:pt x="4" y="3"/>
                    </a:lnTo>
                    <a:lnTo>
                      <a:pt x="3" y="3"/>
                    </a:lnTo>
                    <a:lnTo>
                      <a:pt x="2" y="3"/>
                    </a:lnTo>
                    <a:lnTo>
                      <a:pt x="1" y="3"/>
                    </a:lnTo>
                    <a:lnTo>
                      <a:pt x="0" y="2"/>
                    </a:lnTo>
                    <a:lnTo>
                      <a:pt x="1" y="1"/>
                    </a:lnTo>
                    <a:lnTo>
                      <a:pt x="2" y="2"/>
                    </a:lnTo>
                    <a:lnTo>
                      <a:pt x="2" y="1"/>
                    </a:lnTo>
                    <a:lnTo>
                      <a:pt x="4" y="1"/>
                    </a:lnTo>
                    <a:lnTo>
                      <a:pt x="20" y="1"/>
                    </a:lnTo>
                    <a:lnTo>
                      <a:pt x="47" y="1"/>
                    </a:lnTo>
                    <a:lnTo>
                      <a:pt x="48" y="1"/>
                    </a:lnTo>
                    <a:lnTo>
                      <a:pt x="49" y="1"/>
                    </a:lnTo>
                    <a:lnTo>
                      <a:pt x="52" y="1"/>
                    </a:lnTo>
                    <a:lnTo>
                      <a:pt x="70" y="1"/>
                    </a:lnTo>
                    <a:lnTo>
                      <a:pt x="75" y="1"/>
                    </a:lnTo>
                    <a:lnTo>
                      <a:pt x="79" y="1"/>
                    </a:lnTo>
                    <a:lnTo>
                      <a:pt x="81" y="1"/>
                    </a:lnTo>
                    <a:lnTo>
                      <a:pt x="83" y="1"/>
                    </a:lnTo>
                    <a:lnTo>
                      <a:pt x="120" y="0"/>
                    </a:lnTo>
                    <a:lnTo>
                      <a:pt x="143" y="0"/>
                    </a:lnTo>
                    <a:lnTo>
                      <a:pt x="155" y="0"/>
                    </a:lnTo>
                    <a:lnTo>
                      <a:pt x="158" y="0"/>
                    </a:lnTo>
                    <a:lnTo>
                      <a:pt x="166" y="0"/>
                    </a:lnTo>
                    <a:lnTo>
                      <a:pt x="171" y="0"/>
                    </a:lnTo>
                    <a:lnTo>
                      <a:pt x="173" y="0"/>
                    </a:lnTo>
                    <a:lnTo>
                      <a:pt x="182" y="0"/>
                    </a:lnTo>
                    <a:lnTo>
                      <a:pt x="187" y="0"/>
                    </a:lnTo>
                    <a:lnTo>
                      <a:pt x="191" y="0"/>
                    </a:lnTo>
                    <a:lnTo>
                      <a:pt x="208" y="0"/>
                    </a:lnTo>
                    <a:lnTo>
                      <a:pt x="227" y="0"/>
                    </a:lnTo>
                    <a:lnTo>
                      <a:pt x="234" y="1"/>
                    </a:lnTo>
                    <a:lnTo>
                      <a:pt x="235" y="1"/>
                    </a:lnTo>
                    <a:lnTo>
                      <a:pt x="271" y="1"/>
                    </a:lnTo>
                    <a:close/>
                  </a:path>
                </a:pathLst>
              </a:custGeom>
              <a:solidFill>
                <a:srgbClr val="62AA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1" name="Freeform 41">
                <a:extLst>
                  <a:ext uri="{FF2B5EF4-FFF2-40B4-BE49-F238E27FC236}">
                    <a16:creationId xmlns:a16="http://schemas.microsoft.com/office/drawing/2014/main" id="{6AC8E915-637C-A5EF-5142-F70A0271DA52}"/>
                  </a:ext>
                </a:extLst>
              </p:cNvPr>
              <p:cNvSpPr>
                <a:spLocks/>
              </p:cNvSpPr>
              <p:nvPr/>
            </p:nvSpPr>
            <p:spPr bwMode="auto">
              <a:xfrm>
                <a:off x="1597026" y="3028950"/>
                <a:ext cx="733425" cy="574675"/>
              </a:xfrm>
              <a:custGeom>
                <a:avLst/>
                <a:gdLst>
                  <a:gd name="T0" fmla="*/ 397 w 462"/>
                  <a:gd name="T1" fmla="*/ 27 h 362"/>
                  <a:gd name="T2" fmla="*/ 417 w 462"/>
                  <a:gd name="T3" fmla="*/ 35 h 362"/>
                  <a:gd name="T4" fmla="*/ 436 w 462"/>
                  <a:gd name="T5" fmla="*/ 55 h 362"/>
                  <a:gd name="T6" fmla="*/ 458 w 462"/>
                  <a:gd name="T7" fmla="*/ 82 h 362"/>
                  <a:gd name="T8" fmla="*/ 460 w 462"/>
                  <a:gd name="T9" fmla="*/ 184 h 362"/>
                  <a:gd name="T10" fmla="*/ 462 w 462"/>
                  <a:gd name="T11" fmla="*/ 292 h 362"/>
                  <a:gd name="T12" fmla="*/ 462 w 462"/>
                  <a:gd name="T13" fmla="*/ 348 h 362"/>
                  <a:gd name="T14" fmla="*/ 367 w 462"/>
                  <a:gd name="T15" fmla="*/ 348 h 362"/>
                  <a:gd name="T16" fmla="*/ 204 w 462"/>
                  <a:gd name="T17" fmla="*/ 345 h 362"/>
                  <a:gd name="T18" fmla="*/ 161 w 462"/>
                  <a:gd name="T19" fmla="*/ 345 h 362"/>
                  <a:gd name="T20" fmla="*/ 93 w 462"/>
                  <a:gd name="T21" fmla="*/ 345 h 362"/>
                  <a:gd name="T22" fmla="*/ 85 w 462"/>
                  <a:gd name="T23" fmla="*/ 349 h 362"/>
                  <a:gd name="T24" fmla="*/ 81 w 462"/>
                  <a:gd name="T25" fmla="*/ 353 h 362"/>
                  <a:gd name="T26" fmla="*/ 74 w 462"/>
                  <a:gd name="T27" fmla="*/ 357 h 362"/>
                  <a:gd name="T28" fmla="*/ 66 w 462"/>
                  <a:gd name="T29" fmla="*/ 360 h 362"/>
                  <a:gd name="T30" fmla="*/ 59 w 462"/>
                  <a:gd name="T31" fmla="*/ 361 h 362"/>
                  <a:gd name="T32" fmla="*/ 52 w 462"/>
                  <a:gd name="T33" fmla="*/ 358 h 362"/>
                  <a:gd name="T34" fmla="*/ 44 w 462"/>
                  <a:gd name="T35" fmla="*/ 357 h 362"/>
                  <a:gd name="T36" fmla="*/ 38 w 462"/>
                  <a:gd name="T37" fmla="*/ 351 h 362"/>
                  <a:gd name="T38" fmla="*/ 34 w 462"/>
                  <a:gd name="T39" fmla="*/ 349 h 362"/>
                  <a:gd name="T40" fmla="*/ 26 w 462"/>
                  <a:gd name="T41" fmla="*/ 347 h 362"/>
                  <a:gd name="T42" fmla="*/ 21 w 462"/>
                  <a:gd name="T43" fmla="*/ 348 h 362"/>
                  <a:gd name="T44" fmla="*/ 14 w 462"/>
                  <a:gd name="T45" fmla="*/ 349 h 362"/>
                  <a:gd name="T46" fmla="*/ 10 w 462"/>
                  <a:gd name="T47" fmla="*/ 356 h 362"/>
                  <a:gd name="T48" fmla="*/ 4 w 462"/>
                  <a:gd name="T49" fmla="*/ 350 h 362"/>
                  <a:gd name="T50" fmla="*/ 8 w 462"/>
                  <a:gd name="T51" fmla="*/ 336 h 362"/>
                  <a:gd name="T52" fmla="*/ 15 w 462"/>
                  <a:gd name="T53" fmla="*/ 331 h 362"/>
                  <a:gd name="T54" fmla="*/ 16 w 462"/>
                  <a:gd name="T55" fmla="*/ 320 h 362"/>
                  <a:gd name="T56" fmla="*/ 24 w 462"/>
                  <a:gd name="T57" fmla="*/ 318 h 362"/>
                  <a:gd name="T58" fmla="*/ 31 w 462"/>
                  <a:gd name="T59" fmla="*/ 308 h 362"/>
                  <a:gd name="T60" fmla="*/ 29 w 462"/>
                  <a:gd name="T61" fmla="*/ 294 h 362"/>
                  <a:gd name="T62" fmla="*/ 19 w 462"/>
                  <a:gd name="T63" fmla="*/ 289 h 362"/>
                  <a:gd name="T64" fmla="*/ 8 w 462"/>
                  <a:gd name="T65" fmla="*/ 284 h 362"/>
                  <a:gd name="T66" fmla="*/ 8 w 462"/>
                  <a:gd name="T67" fmla="*/ 275 h 362"/>
                  <a:gd name="T68" fmla="*/ 2 w 462"/>
                  <a:gd name="T69" fmla="*/ 267 h 362"/>
                  <a:gd name="T70" fmla="*/ 3 w 462"/>
                  <a:gd name="T71" fmla="*/ 256 h 362"/>
                  <a:gd name="T72" fmla="*/ 15 w 462"/>
                  <a:gd name="T73" fmla="*/ 258 h 362"/>
                  <a:gd name="T74" fmla="*/ 28 w 462"/>
                  <a:gd name="T75" fmla="*/ 247 h 362"/>
                  <a:gd name="T76" fmla="*/ 36 w 462"/>
                  <a:gd name="T77" fmla="*/ 235 h 362"/>
                  <a:gd name="T78" fmla="*/ 29 w 462"/>
                  <a:gd name="T79" fmla="*/ 224 h 362"/>
                  <a:gd name="T80" fmla="*/ 36 w 462"/>
                  <a:gd name="T81" fmla="*/ 216 h 362"/>
                  <a:gd name="T82" fmla="*/ 27 w 462"/>
                  <a:gd name="T83" fmla="*/ 208 h 362"/>
                  <a:gd name="T84" fmla="*/ 18 w 462"/>
                  <a:gd name="T85" fmla="*/ 196 h 362"/>
                  <a:gd name="T86" fmla="*/ 9 w 462"/>
                  <a:gd name="T87" fmla="*/ 194 h 362"/>
                  <a:gd name="T88" fmla="*/ 13 w 462"/>
                  <a:gd name="T89" fmla="*/ 192 h 362"/>
                  <a:gd name="T90" fmla="*/ 18 w 462"/>
                  <a:gd name="T91" fmla="*/ 185 h 362"/>
                  <a:gd name="T92" fmla="*/ 19 w 462"/>
                  <a:gd name="T93" fmla="*/ 157 h 362"/>
                  <a:gd name="T94" fmla="*/ 22 w 462"/>
                  <a:gd name="T95" fmla="*/ 139 h 362"/>
                  <a:gd name="T96" fmla="*/ 26 w 462"/>
                  <a:gd name="T97" fmla="*/ 129 h 362"/>
                  <a:gd name="T98" fmla="*/ 16 w 462"/>
                  <a:gd name="T99" fmla="*/ 125 h 362"/>
                  <a:gd name="T100" fmla="*/ 21 w 462"/>
                  <a:gd name="T101" fmla="*/ 117 h 362"/>
                  <a:gd name="T102" fmla="*/ 18 w 462"/>
                  <a:gd name="T103" fmla="*/ 106 h 362"/>
                  <a:gd name="T104" fmla="*/ 17 w 462"/>
                  <a:gd name="T105" fmla="*/ 99 h 362"/>
                  <a:gd name="T106" fmla="*/ 15 w 462"/>
                  <a:gd name="T107" fmla="*/ 90 h 362"/>
                  <a:gd name="T108" fmla="*/ 22 w 462"/>
                  <a:gd name="T109" fmla="*/ 84 h 362"/>
                  <a:gd name="T110" fmla="*/ 25 w 462"/>
                  <a:gd name="T111" fmla="*/ 76 h 362"/>
                  <a:gd name="T112" fmla="*/ 27 w 462"/>
                  <a:gd name="T113" fmla="*/ 68 h 362"/>
                  <a:gd name="T114" fmla="*/ 88 w 462"/>
                  <a:gd name="T115" fmla="*/ 53 h 362"/>
                  <a:gd name="T116" fmla="*/ 155 w 462"/>
                  <a:gd name="T117" fmla="*/ 1 h 362"/>
                  <a:gd name="T118" fmla="*/ 260 w 462"/>
                  <a:gd name="T119" fmla="*/ 0 h 362"/>
                  <a:gd name="T120" fmla="*/ 348 w 462"/>
                  <a:gd name="T121" fmla="*/ 3 h 362"/>
                  <a:gd name="T122" fmla="*/ 361 w 462"/>
                  <a:gd name="T123" fmla="*/ 6 h 362"/>
                  <a:gd name="T124" fmla="*/ 365 w 462"/>
                  <a:gd name="T125" fmla="*/ 1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2" h="362">
                    <a:moveTo>
                      <a:pt x="365" y="13"/>
                    </a:moveTo>
                    <a:lnTo>
                      <a:pt x="365" y="16"/>
                    </a:lnTo>
                    <a:lnTo>
                      <a:pt x="365" y="18"/>
                    </a:lnTo>
                    <a:lnTo>
                      <a:pt x="370" y="18"/>
                    </a:lnTo>
                    <a:lnTo>
                      <a:pt x="376" y="18"/>
                    </a:lnTo>
                    <a:lnTo>
                      <a:pt x="376" y="22"/>
                    </a:lnTo>
                    <a:lnTo>
                      <a:pt x="376" y="24"/>
                    </a:lnTo>
                    <a:lnTo>
                      <a:pt x="392" y="24"/>
                    </a:lnTo>
                    <a:lnTo>
                      <a:pt x="393" y="24"/>
                    </a:lnTo>
                    <a:lnTo>
                      <a:pt x="397" y="24"/>
                    </a:lnTo>
                    <a:lnTo>
                      <a:pt x="397" y="27"/>
                    </a:lnTo>
                    <a:lnTo>
                      <a:pt x="397" y="29"/>
                    </a:lnTo>
                    <a:lnTo>
                      <a:pt x="401" y="29"/>
                    </a:lnTo>
                    <a:lnTo>
                      <a:pt x="402" y="29"/>
                    </a:lnTo>
                    <a:lnTo>
                      <a:pt x="403" y="29"/>
                    </a:lnTo>
                    <a:lnTo>
                      <a:pt x="406" y="29"/>
                    </a:lnTo>
                    <a:lnTo>
                      <a:pt x="409" y="29"/>
                    </a:lnTo>
                    <a:lnTo>
                      <a:pt x="411" y="29"/>
                    </a:lnTo>
                    <a:lnTo>
                      <a:pt x="412" y="29"/>
                    </a:lnTo>
                    <a:lnTo>
                      <a:pt x="417" y="29"/>
                    </a:lnTo>
                    <a:lnTo>
                      <a:pt x="417" y="30"/>
                    </a:lnTo>
                    <a:lnTo>
                      <a:pt x="417" y="35"/>
                    </a:lnTo>
                    <a:lnTo>
                      <a:pt x="427" y="35"/>
                    </a:lnTo>
                    <a:lnTo>
                      <a:pt x="428" y="35"/>
                    </a:lnTo>
                    <a:lnTo>
                      <a:pt x="428" y="37"/>
                    </a:lnTo>
                    <a:lnTo>
                      <a:pt x="428" y="38"/>
                    </a:lnTo>
                    <a:lnTo>
                      <a:pt x="428" y="39"/>
                    </a:lnTo>
                    <a:lnTo>
                      <a:pt x="428" y="41"/>
                    </a:lnTo>
                    <a:lnTo>
                      <a:pt x="428" y="42"/>
                    </a:lnTo>
                    <a:lnTo>
                      <a:pt x="428" y="43"/>
                    </a:lnTo>
                    <a:lnTo>
                      <a:pt x="428" y="55"/>
                    </a:lnTo>
                    <a:lnTo>
                      <a:pt x="430" y="55"/>
                    </a:lnTo>
                    <a:lnTo>
                      <a:pt x="436" y="55"/>
                    </a:lnTo>
                    <a:lnTo>
                      <a:pt x="438" y="55"/>
                    </a:lnTo>
                    <a:lnTo>
                      <a:pt x="438" y="61"/>
                    </a:lnTo>
                    <a:lnTo>
                      <a:pt x="438" y="63"/>
                    </a:lnTo>
                    <a:lnTo>
                      <a:pt x="438" y="65"/>
                    </a:lnTo>
                    <a:lnTo>
                      <a:pt x="449" y="65"/>
                    </a:lnTo>
                    <a:lnTo>
                      <a:pt x="449" y="76"/>
                    </a:lnTo>
                    <a:lnTo>
                      <a:pt x="449" y="80"/>
                    </a:lnTo>
                    <a:lnTo>
                      <a:pt x="452" y="80"/>
                    </a:lnTo>
                    <a:lnTo>
                      <a:pt x="456" y="80"/>
                    </a:lnTo>
                    <a:lnTo>
                      <a:pt x="458" y="81"/>
                    </a:lnTo>
                    <a:lnTo>
                      <a:pt x="458" y="82"/>
                    </a:lnTo>
                    <a:lnTo>
                      <a:pt x="458" y="83"/>
                    </a:lnTo>
                    <a:lnTo>
                      <a:pt x="458" y="87"/>
                    </a:lnTo>
                    <a:lnTo>
                      <a:pt x="458" y="89"/>
                    </a:lnTo>
                    <a:lnTo>
                      <a:pt x="458" y="95"/>
                    </a:lnTo>
                    <a:lnTo>
                      <a:pt x="458" y="96"/>
                    </a:lnTo>
                    <a:lnTo>
                      <a:pt x="458" y="98"/>
                    </a:lnTo>
                    <a:lnTo>
                      <a:pt x="458" y="109"/>
                    </a:lnTo>
                    <a:lnTo>
                      <a:pt x="458" y="122"/>
                    </a:lnTo>
                    <a:lnTo>
                      <a:pt x="458" y="143"/>
                    </a:lnTo>
                    <a:lnTo>
                      <a:pt x="458" y="170"/>
                    </a:lnTo>
                    <a:lnTo>
                      <a:pt x="460" y="184"/>
                    </a:lnTo>
                    <a:lnTo>
                      <a:pt x="460" y="188"/>
                    </a:lnTo>
                    <a:lnTo>
                      <a:pt x="460" y="191"/>
                    </a:lnTo>
                    <a:lnTo>
                      <a:pt x="460" y="194"/>
                    </a:lnTo>
                    <a:lnTo>
                      <a:pt x="460" y="217"/>
                    </a:lnTo>
                    <a:lnTo>
                      <a:pt x="460" y="231"/>
                    </a:lnTo>
                    <a:lnTo>
                      <a:pt x="460" y="254"/>
                    </a:lnTo>
                    <a:lnTo>
                      <a:pt x="462" y="254"/>
                    </a:lnTo>
                    <a:lnTo>
                      <a:pt x="462" y="262"/>
                    </a:lnTo>
                    <a:lnTo>
                      <a:pt x="462" y="280"/>
                    </a:lnTo>
                    <a:lnTo>
                      <a:pt x="462" y="282"/>
                    </a:lnTo>
                    <a:lnTo>
                      <a:pt x="462" y="292"/>
                    </a:lnTo>
                    <a:lnTo>
                      <a:pt x="462" y="296"/>
                    </a:lnTo>
                    <a:lnTo>
                      <a:pt x="462" y="307"/>
                    </a:lnTo>
                    <a:lnTo>
                      <a:pt x="462" y="325"/>
                    </a:lnTo>
                    <a:lnTo>
                      <a:pt x="462" y="333"/>
                    </a:lnTo>
                    <a:lnTo>
                      <a:pt x="462" y="340"/>
                    </a:lnTo>
                    <a:lnTo>
                      <a:pt x="462" y="343"/>
                    </a:lnTo>
                    <a:lnTo>
                      <a:pt x="462" y="344"/>
                    </a:lnTo>
                    <a:lnTo>
                      <a:pt x="462" y="345"/>
                    </a:lnTo>
                    <a:lnTo>
                      <a:pt x="462" y="346"/>
                    </a:lnTo>
                    <a:lnTo>
                      <a:pt x="462" y="347"/>
                    </a:lnTo>
                    <a:lnTo>
                      <a:pt x="462" y="348"/>
                    </a:lnTo>
                    <a:lnTo>
                      <a:pt x="461" y="349"/>
                    </a:lnTo>
                    <a:lnTo>
                      <a:pt x="462" y="350"/>
                    </a:lnTo>
                    <a:lnTo>
                      <a:pt x="453" y="350"/>
                    </a:lnTo>
                    <a:lnTo>
                      <a:pt x="438" y="350"/>
                    </a:lnTo>
                    <a:lnTo>
                      <a:pt x="430" y="350"/>
                    </a:lnTo>
                    <a:lnTo>
                      <a:pt x="430" y="349"/>
                    </a:lnTo>
                    <a:lnTo>
                      <a:pt x="427" y="349"/>
                    </a:lnTo>
                    <a:lnTo>
                      <a:pt x="413" y="349"/>
                    </a:lnTo>
                    <a:lnTo>
                      <a:pt x="400" y="349"/>
                    </a:lnTo>
                    <a:lnTo>
                      <a:pt x="396" y="349"/>
                    </a:lnTo>
                    <a:lnTo>
                      <a:pt x="367" y="348"/>
                    </a:lnTo>
                    <a:lnTo>
                      <a:pt x="364" y="348"/>
                    </a:lnTo>
                    <a:lnTo>
                      <a:pt x="354" y="348"/>
                    </a:lnTo>
                    <a:lnTo>
                      <a:pt x="323" y="348"/>
                    </a:lnTo>
                    <a:lnTo>
                      <a:pt x="297" y="348"/>
                    </a:lnTo>
                    <a:lnTo>
                      <a:pt x="282" y="348"/>
                    </a:lnTo>
                    <a:lnTo>
                      <a:pt x="272" y="348"/>
                    </a:lnTo>
                    <a:lnTo>
                      <a:pt x="272" y="345"/>
                    </a:lnTo>
                    <a:lnTo>
                      <a:pt x="251" y="345"/>
                    </a:lnTo>
                    <a:lnTo>
                      <a:pt x="224" y="345"/>
                    </a:lnTo>
                    <a:lnTo>
                      <a:pt x="221" y="345"/>
                    </a:lnTo>
                    <a:lnTo>
                      <a:pt x="204" y="345"/>
                    </a:lnTo>
                    <a:lnTo>
                      <a:pt x="203" y="345"/>
                    </a:lnTo>
                    <a:lnTo>
                      <a:pt x="201" y="345"/>
                    </a:lnTo>
                    <a:lnTo>
                      <a:pt x="190" y="345"/>
                    </a:lnTo>
                    <a:lnTo>
                      <a:pt x="183" y="345"/>
                    </a:lnTo>
                    <a:lnTo>
                      <a:pt x="180" y="345"/>
                    </a:lnTo>
                    <a:lnTo>
                      <a:pt x="178" y="345"/>
                    </a:lnTo>
                    <a:lnTo>
                      <a:pt x="176" y="345"/>
                    </a:lnTo>
                    <a:lnTo>
                      <a:pt x="173" y="345"/>
                    </a:lnTo>
                    <a:lnTo>
                      <a:pt x="170" y="345"/>
                    </a:lnTo>
                    <a:lnTo>
                      <a:pt x="169" y="345"/>
                    </a:lnTo>
                    <a:lnTo>
                      <a:pt x="161" y="345"/>
                    </a:lnTo>
                    <a:lnTo>
                      <a:pt x="138" y="345"/>
                    </a:lnTo>
                    <a:lnTo>
                      <a:pt x="128" y="345"/>
                    </a:lnTo>
                    <a:lnTo>
                      <a:pt x="96" y="345"/>
                    </a:lnTo>
                    <a:lnTo>
                      <a:pt x="95" y="345"/>
                    </a:lnTo>
                    <a:lnTo>
                      <a:pt x="95" y="344"/>
                    </a:lnTo>
                    <a:lnTo>
                      <a:pt x="94" y="344"/>
                    </a:lnTo>
                    <a:lnTo>
                      <a:pt x="94" y="345"/>
                    </a:lnTo>
                    <a:lnTo>
                      <a:pt x="95" y="345"/>
                    </a:lnTo>
                    <a:lnTo>
                      <a:pt x="95" y="346"/>
                    </a:lnTo>
                    <a:lnTo>
                      <a:pt x="94" y="346"/>
                    </a:lnTo>
                    <a:lnTo>
                      <a:pt x="93" y="345"/>
                    </a:lnTo>
                    <a:lnTo>
                      <a:pt x="93" y="346"/>
                    </a:lnTo>
                    <a:lnTo>
                      <a:pt x="92" y="346"/>
                    </a:lnTo>
                    <a:lnTo>
                      <a:pt x="91" y="347"/>
                    </a:lnTo>
                    <a:lnTo>
                      <a:pt x="90" y="347"/>
                    </a:lnTo>
                    <a:lnTo>
                      <a:pt x="89" y="347"/>
                    </a:lnTo>
                    <a:lnTo>
                      <a:pt x="88" y="346"/>
                    </a:lnTo>
                    <a:lnTo>
                      <a:pt x="87" y="346"/>
                    </a:lnTo>
                    <a:lnTo>
                      <a:pt x="87" y="347"/>
                    </a:lnTo>
                    <a:lnTo>
                      <a:pt x="86" y="347"/>
                    </a:lnTo>
                    <a:lnTo>
                      <a:pt x="85" y="348"/>
                    </a:lnTo>
                    <a:lnTo>
                      <a:pt x="85" y="349"/>
                    </a:lnTo>
                    <a:lnTo>
                      <a:pt x="83" y="349"/>
                    </a:lnTo>
                    <a:lnTo>
                      <a:pt x="83" y="350"/>
                    </a:lnTo>
                    <a:lnTo>
                      <a:pt x="82" y="350"/>
                    </a:lnTo>
                    <a:lnTo>
                      <a:pt x="82" y="351"/>
                    </a:lnTo>
                    <a:lnTo>
                      <a:pt x="83" y="351"/>
                    </a:lnTo>
                    <a:lnTo>
                      <a:pt x="83" y="352"/>
                    </a:lnTo>
                    <a:lnTo>
                      <a:pt x="82" y="352"/>
                    </a:lnTo>
                    <a:lnTo>
                      <a:pt x="82" y="351"/>
                    </a:lnTo>
                    <a:lnTo>
                      <a:pt x="81" y="351"/>
                    </a:lnTo>
                    <a:lnTo>
                      <a:pt x="81" y="352"/>
                    </a:lnTo>
                    <a:lnTo>
                      <a:pt x="81" y="353"/>
                    </a:lnTo>
                    <a:lnTo>
                      <a:pt x="81" y="352"/>
                    </a:lnTo>
                    <a:lnTo>
                      <a:pt x="80" y="352"/>
                    </a:lnTo>
                    <a:lnTo>
                      <a:pt x="79" y="352"/>
                    </a:lnTo>
                    <a:lnTo>
                      <a:pt x="78" y="352"/>
                    </a:lnTo>
                    <a:lnTo>
                      <a:pt x="78" y="353"/>
                    </a:lnTo>
                    <a:lnTo>
                      <a:pt x="77" y="353"/>
                    </a:lnTo>
                    <a:lnTo>
                      <a:pt x="76" y="355"/>
                    </a:lnTo>
                    <a:lnTo>
                      <a:pt x="75" y="355"/>
                    </a:lnTo>
                    <a:lnTo>
                      <a:pt x="74" y="355"/>
                    </a:lnTo>
                    <a:lnTo>
                      <a:pt x="74" y="356"/>
                    </a:lnTo>
                    <a:lnTo>
                      <a:pt x="74" y="357"/>
                    </a:lnTo>
                    <a:lnTo>
                      <a:pt x="73" y="357"/>
                    </a:lnTo>
                    <a:lnTo>
                      <a:pt x="72" y="357"/>
                    </a:lnTo>
                    <a:lnTo>
                      <a:pt x="72" y="356"/>
                    </a:lnTo>
                    <a:lnTo>
                      <a:pt x="70" y="356"/>
                    </a:lnTo>
                    <a:lnTo>
                      <a:pt x="70" y="357"/>
                    </a:lnTo>
                    <a:lnTo>
                      <a:pt x="69" y="357"/>
                    </a:lnTo>
                    <a:lnTo>
                      <a:pt x="68" y="357"/>
                    </a:lnTo>
                    <a:lnTo>
                      <a:pt x="68" y="358"/>
                    </a:lnTo>
                    <a:lnTo>
                      <a:pt x="68" y="359"/>
                    </a:lnTo>
                    <a:lnTo>
                      <a:pt x="67" y="359"/>
                    </a:lnTo>
                    <a:lnTo>
                      <a:pt x="66" y="360"/>
                    </a:lnTo>
                    <a:lnTo>
                      <a:pt x="66" y="359"/>
                    </a:lnTo>
                    <a:lnTo>
                      <a:pt x="65" y="359"/>
                    </a:lnTo>
                    <a:lnTo>
                      <a:pt x="64" y="359"/>
                    </a:lnTo>
                    <a:lnTo>
                      <a:pt x="64" y="360"/>
                    </a:lnTo>
                    <a:lnTo>
                      <a:pt x="63" y="360"/>
                    </a:lnTo>
                    <a:lnTo>
                      <a:pt x="62" y="361"/>
                    </a:lnTo>
                    <a:lnTo>
                      <a:pt x="62" y="362"/>
                    </a:lnTo>
                    <a:lnTo>
                      <a:pt x="61" y="362"/>
                    </a:lnTo>
                    <a:lnTo>
                      <a:pt x="61" y="361"/>
                    </a:lnTo>
                    <a:lnTo>
                      <a:pt x="60" y="361"/>
                    </a:lnTo>
                    <a:lnTo>
                      <a:pt x="59" y="361"/>
                    </a:lnTo>
                    <a:lnTo>
                      <a:pt x="59" y="360"/>
                    </a:lnTo>
                    <a:lnTo>
                      <a:pt x="59" y="359"/>
                    </a:lnTo>
                    <a:lnTo>
                      <a:pt x="57" y="359"/>
                    </a:lnTo>
                    <a:lnTo>
                      <a:pt x="56" y="359"/>
                    </a:lnTo>
                    <a:lnTo>
                      <a:pt x="55" y="359"/>
                    </a:lnTo>
                    <a:lnTo>
                      <a:pt x="55" y="358"/>
                    </a:lnTo>
                    <a:lnTo>
                      <a:pt x="54" y="358"/>
                    </a:lnTo>
                    <a:lnTo>
                      <a:pt x="54" y="357"/>
                    </a:lnTo>
                    <a:lnTo>
                      <a:pt x="53" y="357"/>
                    </a:lnTo>
                    <a:lnTo>
                      <a:pt x="52" y="357"/>
                    </a:lnTo>
                    <a:lnTo>
                      <a:pt x="52" y="358"/>
                    </a:lnTo>
                    <a:lnTo>
                      <a:pt x="51" y="358"/>
                    </a:lnTo>
                    <a:lnTo>
                      <a:pt x="50" y="358"/>
                    </a:lnTo>
                    <a:lnTo>
                      <a:pt x="49" y="357"/>
                    </a:lnTo>
                    <a:lnTo>
                      <a:pt x="48" y="358"/>
                    </a:lnTo>
                    <a:lnTo>
                      <a:pt x="48" y="357"/>
                    </a:lnTo>
                    <a:lnTo>
                      <a:pt x="48" y="356"/>
                    </a:lnTo>
                    <a:lnTo>
                      <a:pt x="47" y="356"/>
                    </a:lnTo>
                    <a:lnTo>
                      <a:pt x="47" y="355"/>
                    </a:lnTo>
                    <a:lnTo>
                      <a:pt x="45" y="355"/>
                    </a:lnTo>
                    <a:lnTo>
                      <a:pt x="44" y="356"/>
                    </a:lnTo>
                    <a:lnTo>
                      <a:pt x="44" y="357"/>
                    </a:lnTo>
                    <a:lnTo>
                      <a:pt x="44" y="356"/>
                    </a:lnTo>
                    <a:lnTo>
                      <a:pt x="43" y="356"/>
                    </a:lnTo>
                    <a:lnTo>
                      <a:pt x="42" y="356"/>
                    </a:lnTo>
                    <a:lnTo>
                      <a:pt x="42" y="355"/>
                    </a:lnTo>
                    <a:lnTo>
                      <a:pt x="41" y="355"/>
                    </a:lnTo>
                    <a:lnTo>
                      <a:pt x="40" y="355"/>
                    </a:lnTo>
                    <a:lnTo>
                      <a:pt x="40" y="353"/>
                    </a:lnTo>
                    <a:lnTo>
                      <a:pt x="40" y="352"/>
                    </a:lnTo>
                    <a:lnTo>
                      <a:pt x="39" y="352"/>
                    </a:lnTo>
                    <a:lnTo>
                      <a:pt x="38" y="352"/>
                    </a:lnTo>
                    <a:lnTo>
                      <a:pt x="38" y="351"/>
                    </a:lnTo>
                    <a:lnTo>
                      <a:pt x="38" y="350"/>
                    </a:lnTo>
                    <a:lnTo>
                      <a:pt x="37" y="350"/>
                    </a:lnTo>
                    <a:lnTo>
                      <a:pt x="36" y="350"/>
                    </a:lnTo>
                    <a:lnTo>
                      <a:pt x="36" y="351"/>
                    </a:lnTo>
                    <a:lnTo>
                      <a:pt x="35" y="351"/>
                    </a:lnTo>
                    <a:lnTo>
                      <a:pt x="35" y="350"/>
                    </a:lnTo>
                    <a:lnTo>
                      <a:pt x="36" y="350"/>
                    </a:lnTo>
                    <a:lnTo>
                      <a:pt x="36" y="349"/>
                    </a:lnTo>
                    <a:lnTo>
                      <a:pt x="35" y="349"/>
                    </a:lnTo>
                    <a:lnTo>
                      <a:pt x="34" y="350"/>
                    </a:lnTo>
                    <a:lnTo>
                      <a:pt x="34" y="349"/>
                    </a:lnTo>
                    <a:lnTo>
                      <a:pt x="34" y="348"/>
                    </a:lnTo>
                    <a:lnTo>
                      <a:pt x="34" y="347"/>
                    </a:lnTo>
                    <a:lnTo>
                      <a:pt x="32" y="348"/>
                    </a:lnTo>
                    <a:lnTo>
                      <a:pt x="31" y="348"/>
                    </a:lnTo>
                    <a:lnTo>
                      <a:pt x="30" y="348"/>
                    </a:lnTo>
                    <a:lnTo>
                      <a:pt x="30" y="347"/>
                    </a:lnTo>
                    <a:lnTo>
                      <a:pt x="29" y="347"/>
                    </a:lnTo>
                    <a:lnTo>
                      <a:pt x="29" y="348"/>
                    </a:lnTo>
                    <a:lnTo>
                      <a:pt x="28" y="347"/>
                    </a:lnTo>
                    <a:lnTo>
                      <a:pt x="27" y="347"/>
                    </a:lnTo>
                    <a:lnTo>
                      <a:pt x="26" y="347"/>
                    </a:lnTo>
                    <a:lnTo>
                      <a:pt x="25" y="346"/>
                    </a:lnTo>
                    <a:lnTo>
                      <a:pt x="25" y="347"/>
                    </a:lnTo>
                    <a:lnTo>
                      <a:pt x="24" y="347"/>
                    </a:lnTo>
                    <a:lnTo>
                      <a:pt x="24" y="346"/>
                    </a:lnTo>
                    <a:lnTo>
                      <a:pt x="24" y="347"/>
                    </a:lnTo>
                    <a:lnTo>
                      <a:pt x="23" y="347"/>
                    </a:lnTo>
                    <a:lnTo>
                      <a:pt x="23" y="348"/>
                    </a:lnTo>
                    <a:lnTo>
                      <a:pt x="22" y="348"/>
                    </a:lnTo>
                    <a:lnTo>
                      <a:pt x="22" y="347"/>
                    </a:lnTo>
                    <a:lnTo>
                      <a:pt x="21" y="347"/>
                    </a:lnTo>
                    <a:lnTo>
                      <a:pt x="21" y="348"/>
                    </a:lnTo>
                    <a:lnTo>
                      <a:pt x="21" y="349"/>
                    </a:lnTo>
                    <a:lnTo>
                      <a:pt x="19" y="349"/>
                    </a:lnTo>
                    <a:lnTo>
                      <a:pt x="18" y="349"/>
                    </a:lnTo>
                    <a:lnTo>
                      <a:pt x="17" y="348"/>
                    </a:lnTo>
                    <a:lnTo>
                      <a:pt x="16" y="348"/>
                    </a:lnTo>
                    <a:lnTo>
                      <a:pt x="16" y="349"/>
                    </a:lnTo>
                    <a:lnTo>
                      <a:pt x="17" y="349"/>
                    </a:lnTo>
                    <a:lnTo>
                      <a:pt x="16" y="350"/>
                    </a:lnTo>
                    <a:lnTo>
                      <a:pt x="16" y="349"/>
                    </a:lnTo>
                    <a:lnTo>
                      <a:pt x="15" y="349"/>
                    </a:lnTo>
                    <a:lnTo>
                      <a:pt x="14" y="349"/>
                    </a:lnTo>
                    <a:lnTo>
                      <a:pt x="15" y="349"/>
                    </a:lnTo>
                    <a:lnTo>
                      <a:pt x="15" y="350"/>
                    </a:lnTo>
                    <a:lnTo>
                      <a:pt x="14" y="350"/>
                    </a:lnTo>
                    <a:lnTo>
                      <a:pt x="14" y="351"/>
                    </a:lnTo>
                    <a:lnTo>
                      <a:pt x="14" y="352"/>
                    </a:lnTo>
                    <a:lnTo>
                      <a:pt x="14" y="353"/>
                    </a:lnTo>
                    <a:lnTo>
                      <a:pt x="13" y="355"/>
                    </a:lnTo>
                    <a:lnTo>
                      <a:pt x="12" y="355"/>
                    </a:lnTo>
                    <a:lnTo>
                      <a:pt x="11" y="355"/>
                    </a:lnTo>
                    <a:lnTo>
                      <a:pt x="10" y="355"/>
                    </a:lnTo>
                    <a:lnTo>
                      <a:pt x="10" y="356"/>
                    </a:lnTo>
                    <a:lnTo>
                      <a:pt x="9" y="356"/>
                    </a:lnTo>
                    <a:lnTo>
                      <a:pt x="9" y="355"/>
                    </a:lnTo>
                    <a:lnTo>
                      <a:pt x="9" y="353"/>
                    </a:lnTo>
                    <a:lnTo>
                      <a:pt x="9" y="352"/>
                    </a:lnTo>
                    <a:lnTo>
                      <a:pt x="9" y="351"/>
                    </a:lnTo>
                    <a:lnTo>
                      <a:pt x="9" y="350"/>
                    </a:lnTo>
                    <a:lnTo>
                      <a:pt x="8" y="350"/>
                    </a:lnTo>
                    <a:lnTo>
                      <a:pt x="6" y="351"/>
                    </a:lnTo>
                    <a:lnTo>
                      <a:pt x="5" y="351"/>
                    </a:lnTo>
                    <a:lnTo>
                      <a:pt x="5" y="350"/>
                    </a:lnTo>
                    <a:lnTo>
                      <a:pt x="4" y="350"/>
                    </a:lnTo>
                    <a:lnTo>
                      <a:pt x="4" y="349"/>
                    </a:lnTo>
                    <a:lnTo>
                      <a:pt x="4" y="348"/>
                    </a:lnTo>
                    <a:lnTo>
                      <a:pt x="3" y="344"/>
                    </a:lnTo>
                    <a:lnTo>
                      <a:pt x="3" y="343"/>
                    </a:lnTo>
                    <a:lnTo>
                      <a:pt x="3" y="341"/>
                    </a:lnTo>
                    <a:lnTo>
                      <a:pt x="4" y="340"/>
                    </a:lnTo>
                    <a:lnTo>
                      <a:pt x="5" y="339"/>
                    </a:lnTo>
                    <a:lnTo>
                      <a:pt x="6" y="338"/>
                    </a:lnTo>
                    <a:lnTo>
                      <a:pt x="6" y="337"/>
                    </a:lnTo>
                    <a:lnTo>
                      <a:pt x="8" y="337"/>
                    </a:lnTo>
                    <a:lnTo>
                      <a:pt x="8" y="336"/>
                    </a:lnTo>
                    <a:lnTo>
                      <a:pt x="10" y="336"/>
                    </a:lnTo>
                    <a:lnTo>
                      <a:pt x="11" y="336"/>
                    </a:lnTo>
                    <a:lnTo>
                      <a:pt x="12" y="335"/>
                    </a:lnTo>
                    <a:lnTo>
                      <a:pt x="13" y="335"/>
                    </a:lnTo>
                    <a:lnTo>
                      <a:pt x="14" y="335"/>
                    </a:lnTo>
                    <a:lnTo>
                      <a:pt x="16" y="335"/>
                    </a:lnTo>
                    <a:lnTo>
                      <a:pt x="17" y="334"/>
                    </a:lnTo>
                    <a:lnTo>
                      <a:pt x="18" y="333"/>
                    </a:lnTo>
                    <a:lnTo>
                      <a:pt x="18" y="332"/>
                    </a:lnTo>
                    <a:lnTo>
                      <a:pt x="15" y="332"/>
                    </a:lnTo>
                    <a:lnTo>
                      <a:pt x="15" y="331"/>
                    </a:lnTo>
                    <a:lnTo>
                      <a:pt x="15" y="330"/>
                    </a:lnTo>
                    <a:lnTo>
                      <a:pt x="15" y="328"/>
                    </a:lnTo>
                    <a:lnTo>
                      <a:pt x="15" y="327"/>
                    </a:lnTo>
                    <a:lnTo>
                      <a:pt x="15" y="326"/>
                    </a:lnTo>
                    <a:lnTo>
                      <a:pt x="14" y="325"/>
                    </a:lnTo>
                    <a:lnTo>
                      <a:pt x="13" y="325"/>
                    </a:lnTo>
                    <a:lnTo>
                      <a:pt x="12" y="324"/>
                    </a:lnTo>
                    <a:lnTo>
                      <a:pt x="12" y="323"/>
                    </a:lnTo>
                    <a:lnTo>
                      <a:pt x="13" y="322"/>
                    </a:lnTo>
                    <a:lnTo>
                      <a:pt x="14" y="321"/>
                    </a:lnTo>
                    <a:lnTo>
                      <a:pt x="16" y="320"/>
                    </a:lnTo>
                    <a:lnTo>
                      <a:pt x="16" y="319"/>
                    </a:lnTo>
                    <a:lnTo>
                      <a:pt x="17" y="318"/>
                    </a:lnTo>
                    <a:lnTo>
                      <a:pt x="18" y="315"/>
                    </a:lnTo>
                    <a:lnTo>
                      <a:pt x="19" y="313"/>
                    </a:lnTo>
                    <a:lnTo>
                      <a:pt x="21" y="313"/>
                    </a:lnTo>
                    <a:lnTo>
                      <a:pt x="22" y="314"/>
                    </a:lnTo>
                    <a:lnTo>
                      <a:pt x="22" y="315"/>
                    </a:lnTo>
                    <a:lnTo>
                      <a:pt x="22" y="318"/>
                    </a:lnTo>
                    <a:lnTo>
                      <a:pt x="22" y="319"/>
                    </a:lnTo>
                    <a:lnTo>
                      <a:pt x="23" y="319"/>
                    </a:lnTo>
                    <a:lnTo>
                      <a:pt x="24" y="318"/>
                    </a:lnTo>
                    <a:lnTo>
                      <a:pt x="25" y="317"/>
                    </a:lnTo>
                    <a:lnTo>
                      <a:pt x="26" y="315"/>
                    </a:lnTo>
                    <a:lnTo>
                      <a:pt x="27" y="315"/>
                    </a:lnTo>
                    <a:lnTo>
                      <a:pt x="28" y="315"/>
                    </a:lnTo>
                    <a:lnTo>
                      <a:pt x="29" y="315"/>
                    </a:lnTo>
                    <a:lnTo>
                      <a:pt x="30" y="313"/>
                    </a:lnTo>
                    <a:lnTo>
                      <a:pt x="31" y="311"/>
                    </a:lnTo>
                    <a:lnTo>
                      <a:pt x="32" y="311"/>
                    </a:lnTo>
                    <a:lnTo>
                      <a:pt x="31" y="310"/>
                    </a:lnTo>
                    <a:lnTo>
                      <a:pt x="31" y="309"/>
                    </a:lnTo>
                    <a:lnTo>
                      <a:pt x="31" y="308"/>
                    </a:lnTo>
                    <a:lnTo>
                      <a:pt x="32" y="306"/>
                    </a:lnTo>
                    <a:lnTo>
                      <a:pt x="31" y="305"/>
                    </a:lnTo>
                    <a:lnTo>
                      <a:pt x="31" y="304"/>
                    </a:lnTo>
                    <a:lnTo>
                      <a:pt x="30" y="304"/>
                    </a:lnTo>
                    <a:lnTo>
                      <a:pt x="30" y="302"/>
                    </a:lnTo>
                    <a:lnTo>
                      <a:pt x="29" y="301"/>
                    </a:lnTo>
                    <a:lnTo>
                      <a:pt x="28" y="298"/>
                    </a:lnTo>
                    <a:lnTo>
                      <a:pt x="28" y="297"/>
                    </a:lnTo>
                    <a:lnTo>
                      <a:pt x="28" y="296"/>
                    </a:lnTo>
                    <a:lnTo>
                      <a:pt x="28" y="295"/>
                    </a:lnTo>
                    <a:lnTo>
                      <a:pt x="29" y="294"/>
                    </a:lnTo>
                    <a:lnTo>
                      <a:pt x="29" y="293"/>
                    </a:lnTo>
                    <a:lnTo>
                      <a:pt x="29" y="292"/>
                    </a:lnTo>
                    <a:lnTo>
                      <a:pt x="28" y="292"/>
                    </a:lnTo>
                    <a:lnTo>
                      <a:pt x="27" y="292"/>
                    </a:lnTo>
                    <a:lnTo>
                      <a:pt x="26" y="292"/>
                    </a:lnTo>
                    <a:lnTo>
                      <a:pt x="24" y="293"/>
                    </a:lnTo>
                    <a:lnTo>
                      <a:pt x="23" y="293"/>
                    </a:lnTo>
                    <a:lnTo>
                      <a:pt x="22" y="293"/>
                    </a:lnTo>
                    <a:lnTo>
                      <a:pt x="19" y="292"/>
                    </a:lnTo>
                    <a:lnTo>
                      <a:pt x="19" y="291"/>
                    </a:lnTo>
                    <a:lnTo>
                      <a:pt x="19" y="289"/>
                    </a:lnTo>
                    <a:lnTo>
                      <a:pt x="19" y="288"/>
                    </a:lnTo>
                    <a:lnTo>
                      <a:pt x="18" y="286"/>
                    </a:lnTo>
                    <a:lnTo>
                      <a:pt x="18" y="285"/>
                    </a:lnTo>
                    <a:lnTo>
                      <a:pt x="17" y="285"/>
                    </a:lnTo>
                    <a:lnTo>
                      <a:pt x="15" y="284"/>
                    </a:lnTo>
                    <a:lnTo>
                      <a:pt x="14" y="284"/>
                    </a:lnTo>
                    <a:lnTo>
                      <a:pt x="12" y="282"/>
                    </a:lnTo>
                    <a:lnTo>
                      <a:pt x="11" y="282"/>
                    </a:lnTo>
                    <a:lnTo>
                      <a:pt x="10" y="282"/>
                    </a:lnTo>
                    <a:lnTo>
                      <a:pt x="9" y="283"/>
                    </a:lnTo>
                    <a:lnTo>
                      <a:pt x="8" y="284"/>
                    </a:lnTo>
                    <a:lnTo>
                      <a:pt x="6" y="284"/>
                    </a:lnTo>
                    <a:lnTo>
                      <a:pt x="6" y="283"/>
                    </a:lnTo>
                    <a:lnTo>
                      <a:pt x="4" y="282"/>
                    </a:lnTo>
                    <a:lnTo>
                      <a:pt x="3" y="281"/>
                    </a:lnTo>
                    <a:lnTo>
                      <a:pt x="2" y="281"/>
                    </a:lnTo>
                    <a:lnTo>
                      <a:pt x="2" y="280"/>
                    </a:lnTo>
                    <a:lnTo>
                      <a:pt x="3" y="280"/>
                    </a:lnTo>
                    <a:lnTo>
                      <a:pt x="5" y="279"/>
                    </a:lnTo>
                    <a:lnTo>
                      <a:pt x="6" y="278"/>
                    </a:lnTo>
                    <a:lnTo>
                      <a:pt x="6" y="276"/>
                    </a:lnTo>
                    <a:lnTo>
                      <a:pt x="8" y="275"/>
                    </a:lnTo>
                    <a:lnTo>
                      <a:pt x="8" y="274"/>
                    </a:lnTo>
                    <a:lnTo>
                      <a:pt x="8" y="272"/>
                    </a:lnTo>
                    <a:lnTo>
                      <a:pt x="8" y="271"/>
                    </a:lnTo>
                    <a:lnTo>
                      <a:pt x="9" y="270"/>
                    </a:lnTo>
                    <a:lnTo>
                      <a:pt x="9" y="269"/>
                    </a:lnTo>
                    <a:lnTo>
                      <a:pt x="9" y="268"/>
                    </a:lnTo>
                    <a:lnTo>
                      <a:pt x="8" y="268"/>
                    </a:lnTo>
                    <a:lnTo>
                      <a:pt x="5" y="268"/>
                    </a:lnTo>
                    <a:lnTo>
                      <a:pt x="4" y="268"/>
                    </a:lnTo>
                    <a:lnTo>
                      <a:pt x="3" y="267"/>
                    </a:lnTo>
                    <a:lnTo>
                      <a:pt x="2" y="267"/>
                    </a:lnTo>
                    <a:lnTo>
                      <a:pt x="2" y="266"/>
                    </a:lnTo>
                    <a:lnTo>
                      <a:pt x="2" y="265"/>
                    </a:lnTo>
                    <a:lnTo>
                      <a:pt x="1" y="263"/>
                    </a:lnTo>
                    <a:lnTo>
                      <a:pt x="1" y="262"/>
                    </a:lnTo>
                    <a:lnTo>
                      <a:pt x="0" y="261"/>
                    </a:lnTo>
                    <a:lnTo>
                      <a:pt x="0" y="260"/>
                    </a:lnTo>
                    <a:lnTo>
                      <a:pt x="1" y="260"/>
                    </a:lnTo>
                    <a:lnTo>
                      <a:pt x="2" y="259"/>
                    </a:lnTo>
                    <a:lnTo>
                      <a:pt x="3" y="259"/>
                    </a:lnTo>
                    <a:lnTo>
                      <a:pt x="3" y="258"/>
                    </a:lnTo>
                    <a:lnTo>
                      <a:pt x="3" y="256"/>
                    </a:lnTo>
                    <a:lnTo>
                      <a:pt x="4" y="255"/>
                    </a:lnTo>
                    <a:lnTo>
                      <a:pt x="6" y="253"/>
                    </a:lnTo>
                    <a:lnTo>
                      <a:pt x="8" y="253"/>
                    </a:lnTo>
                    <a:lnTo>
                      <a:pt x="9" y="253"/>
                    </a:lnTo>
                    <a:lnTo>
                      <a:pt x="9" y="254"/>
                    </a:lnTo>
                    <a:lnTo>
                      <a:pt x="10" y="254"/>
                    </a:lnTo>
                    <a:lnTo>
                      <a:pt x="10" y="255"/>
                    </a:lnTo>
                    <a:lnTo>
                      <a:pt x="14" y="258"/>
                    </a:lnTo>
                    <a:lnTo>
                      <a:pt x="14" y="259"/>
                    </a:lnTo>
                    <a:lnTo>
                      <a:pt x="14" y="258"/>
                    </a:lnTo>
                    <a:lnTo>
                      <a:pt x="15" y="258"/>
                    </a:lnTo>
                    <a:lnTo>
                      <a:pt x="16" y="255"/>
                    </a:lnTo>
                    <a:lnTo>
                      <a:pt x="17" y="255"/>
                    </a:lnTo>
                    <a:lnTo>
                      <a:pt x="18" y="255"/>
                    </a:lnTo>
                    <a:lnTo>
                      <a:pt x="18" y="254"/>
                    </a:lnTo>
                    <a:lnTo>
                      <a:pt x="21" y="254"/>
                    </a:lnTo>
                    <a:lnTo>
                      <a:pt x="22" y="255"/>
                    </a:lnTo>
                    <a:lnTo>
                      <a:pt x="24" y="256"/>
                    </a:lnTo>
                    <a:lnTo>
                      <a:pt x="25" y="255"/>
                    </a:lnTo>
                    <a:lnTo>
                      <a:pt x="25" y="254"/>
                    </a:lnTo>
                    <a:lnTo>
                      <a:pt x="27" y="248"/>
                    </a:lnTo>
                    <a:lnTo>
                      <a:pt x="28" y="247"/>
                    </a:lnTo>
                    <a:lnTo>
                      <a:pt x="29" y="247"/>
                    </a:lnTo>
                    <a:lnTo>
                      <a:pt x="30" y="247"/>
                    </a:lnTo>
                    <a:lnTo>
                      <a:pt x="34" y="247"/>
                    </a:lnTo>
                    <a:lnTo>
                      <a:pt x="35" y="247"/>
                    </a:lnTo>
                    <a:lnTo>
                      <a:pt x="38" y="243"/>
                    </a:lnTo>
                    <a:lnTo>
                      <a:pt x="42" y="241"/>
                    </a:lnTo>
                    <a:lnTo>
                      <a:pt x="43" y="240"/>
                    </a:lnTo>
                    <a:lnTo>
                      <a:pt x="43" y="238"/>
                    </a:lnTo>
                    <a:lnTo>
                      <a:pt x="42" y="238"/>
                    </a:lnTo>
                    <a:lnTo>
                      <a:pt x="42" y="237"/>
                    </a:lnTo>
                    <a:lnTo>
                      <a:pt x="36" y="235"/>
                    </a:lnTo>
                    <a:lnTo>
                      <a:pt x="35" y="235"/>
                    </a:lnTo>
                    <a:lnTo>
                      <a:pt x="34" y="234"/>
                    </a:lnTo>
                    <a:lnTo>
                      <a:pt x="34" y="233"/>
                    </a:lnTo>
                    <a:lnTo>
                      <a:pt x="34" y="232"/>
                    </a:lnTo>
                    <a:lnTo>
                      <a:pt x="35" y="231"/>
                    </a:lnTo>
                    <a:lnTo>
                      <a:pt x="36" y="231"/>
                    </a:lnTo>
                    <a:lnTo>
                      <a:pt x="36" y="230"/>
                    </a:lnTo>
                    <a:lnTo>
                      <a:pt x="36" y="229"/>
                    </a:lnTo>
                    <a:lnTo>
                      <a:pt x="32" y="228"/>
                    </a:lnTo>
                    <a:lnTo>
                      <a:pt x="31" y="227"/>
                    </a:lnTo>
                    <a:lnTo>
                      <a:pt x="29" y="224"/>
                    </a:lnTo>
                    <a:lnTo>
                      <a:pt x="28" y="223"/>
                    </a:lnTo>
                    <a:lnTo>
                      <a:pt x="28" y="222"/>
                    </a:lnTo>
                    <a:lnTo>
                      <a:pt x="28" y="221"/>
                    </a:lnTo>
                    <a:lnTo>
                      <a:pt x="29" y="221"/>
                    </a:lnTo>
                    <a:lnTo>
                      <a:pt x="30" y="220"/>
                    </a:lnTo>
                    <a:lnTo>
                      <a:pt x="34" y="221"/>
                    </a:lnTo>
                    <a:lnTo>
                      <a:pt x="35" y="221"/>
                    </a:lnTo>
                    <a:lnTo>
                      <a:pt x="35" y="220"/>
                    </a:lnTo>
                    <a:lnTo>
                      <a:pt x="36" y="219"/>
                    </a:lnTo>
                    <a:lnTo>
                      <a:pt x="36" y="217"/>
                    </a:lnTo>
                    <a:lnTo>
                      <a:pt x="36" y="216"/>
                    </a:lnTo>
                    <a:lnTo>
                      <a:pt x="36" y="215"/>
                    </a:lnTo>
                    <a:lnTo>
                      <a:pt x="35" y="214"/>
                    </a:lnTo>
                    <a:lnTo>
                      <a:pt x="34" y="214"/>
                    </a:lnTo>
                    <a:lnTo>
                      <a:pt x="31" y="212"/>
                    </a:lnTo>
                    <a:lnTo>
                      <a:pt x="30" y="211"/>
                    </a:lnTo>
                    <a:lnTo>
                      <a:pt x="31" y="210"/>
                    </a:lnTo>
                    <a:lnTo>
                      <a:pt x="31" y="209"/>
                    </a:lnTo>
                    <a:lnTo>
                      <a:pt x="31" y="208"/>
                    </a:lnTo>
                    <a:lnTo>
                      <a:pt x="30" y="208"/>
                    </a:lnTo>
                    <a:lnTo>
                      <a:pt x="28" y="208"/>
                    </a:lnTo>
                    <a:lnTo>
                      <a:pt x="27" y="208"/>
                    </a:lnTo>
                    <a:lnTo>
                      <a:pt x="25" y="206"/>
                    </a:lnTo>
                    <a:lnTo>
                      <a:pt x="24" y="206"/>
                    </a:lnTo>
                    <a:lnTo>
                      <a:pt x="22" y="205"/>
                    </a:lnTo>
                    <a:lnTo>
                      <a:pt x="19" y="205"/>
                    </a:lnTo>
                    <a:lnTo>
                      <a:pt x="16" y="205"/>
                    </a:lnTo>
                    <a:lnTo>
                      <a:pt x="16" y="204"/>
                    </a:lnTo>
                    <a:lnTo>
                      <a:pt x="16" y="203"/>
                    </a:lnTo>
                    <a:lnTo>
                      <a:pt x="16" y="201"/>
                    </a:lnTo>
                    <a:lnTo>
                      <a:pt x="18" y="198"/>
                    </a:lnTo>
                    <a:lnTo>
                      <a:pt x="18" y="197"/>
                    </a:lnTo>
                    <a:lnTo>
                      <a:pt x="18" y="196"/>
                    </a:lnTo>
                    <a:lnTo>
                      <a:pt x="17" y="196"/>
                    </a:lnTo>
                    <a:lnTo>
                      <a:pt x="16" y="197"/>
                    </a:lnTo>
                    <a:lnTo>
                      <a:pt x="16" y="198"/>
                    </a:lnTo>
                    <a:lnTo>
                      <a:pt x="15" y="199"/>
                    </a:lnTo>
                    <a:lnTo>
                      <a:pt x="14" y="199"/>
                    </a:lnTo>
                    <a:lnTo>
                      <a:pt x="13" y="198"/>
                    </a:lnTo>
                    <a:lnTo>
                      <a:pt x="13" y="196"/>
                    </a:lnTo>
                    <a:lnTo>
                      <a:pt x="12" y="196"/>
                    </a:lnTo>
                    <a:lnTo>
                      <a:pt x="11" y="195"/>
                    </a:lnTo>
                    <a:lnTo>
                      <a:pt x="10" y="195"/>
                    </a:lnTo>
                    <a:lnTo>
                      <a:pt x="9" y="194"/>
                    </a:lnTo>
                    <a:lnTo>
                      <a:pt x="9" y="193"/>
                    </a:lnTo>
                    <a:lnTo>
                      <a:pt x="10" y="192"/>
                    </a:lnTo>
                    <a:lnTo>
                      <a:pt x="11" y="192"/>
                    </a:lnTo>
                    <a:lnTo>
                      <a:pt x="12" y="192"/>
                    </a:lnTo>
                    <a:lnTo>
                      <a:pt x="13" y="193"/>
                    </a:lnTo>
                    <a:lnTo>
                      <a:pt x="13" y="194"/>
                    </a:lnTo>
                    <a:lnTo>
                      <a:pt x="14" y="194"/>
                    </a:lnTo>
                    <a:lnTo>
                      <a:pt x="14" y="195"/>
                    </a:lnTo>
                    <a:lnTo>
                      <a:pt x="15" y="195"/>
                    </a:lnTo>
                    <a:lnTo>
                      <a:pt x="15" y="194"/>
                    </a:lnTo>
                    <a:lnTo>
                      <a:pt x="13" y="192"/>
                    </a:lnTo>
                    <a:lnTo>
                      <a:pt x="13" y="191"/>
                    </a:lnTo>
                    <a:lnTo>
                      <a:pt x="13" y="190"/>
                    </a:lnTo>
                    <a:lnTo>
                      <a:pt x="14" y="190"/>
                    </a:lnTo>
                    <a:lnTo>
                      <a:pt x="15" y="190"/>
                    </a:lnTo>
                    <a:lnTo>
                      <a:pt x="16" y="191"/>
                    </a:lnTo>
                    <a:lnTo>
                      <a:pt x="17" y="190"/>
                    </a:lnTo>
                    <a:lnTo>
                      <a:pt x="18" y="190"/>
                    </a:lnTo>
                    <a:lnTo>
                      <a:pt x="18" y="189"/>
                    </a:lnTo>
                    <a:lnTo>
                      <a:pt x="18" y="188"/>
                    </a:lnTo>
                    <a:lnTo>
                      <a:pt x="18" y="186"/>
                    </a:lnTo>
                    <a:lnTo>
                      <a:pt x="18" y="185"/>
                    </a:lnTo>
                    <a:lnTo>
                      <a:pt x="21" y="181"/>
                    </a:lnTo>
                    <a:lnTo>
                      <a:pt x="22" y="181"/>
                    </a:lnTo>
                    <a:lnTo>
                      <a:pt x="23" y="180"/>
                    </a:lnTo>
                    <a:lnTo>
                      <a:pt x="24" y="180"/>
                    </a:lnTo>
                    <a:lnTo>
                      <a:pt x="24" y="179"/>
                    </a:lnTo>
                    <a:lnTo>
                      <a:pt x="25" y="173"/>
                    </a:lnTo>
                    <a:lnTo>
                      <a:pt x="25" y="172"/>
                    </a:lnTo>
                    <a:lnTo>
                      <a:pt x="25" y="171"/>
                    </a:lnTo>
                    <a:lnTo>
                      <a:pt x="21" y="165"/>
                    </a:lnTo>
                    <a:lnTo>
                      <a:pt x="19" y="159"/>
                    </a:lnTo>
                    <a:lnTo>
                      <a:pt x="19" y="157"/>
                    </a:lnTo>
                    <a:lnTo>
                      <a:pt x="18" y="155"/>
                    </a:lnTo>
                    <a:lnTo>
                      <a:pt x="18" y="150"/>
                    </a:lnTo>
                    <a:lnTo>
                      <a:pt x="19" y="150"/>
                    </a:lnTo>
                    <a:lnTo>
                      <a:pt x="22" y="150"/>
                    </a:lnTo>
                    <a:lnTo>
                      <a:pt x="24" y="150"/>
                    </a:lnTo>
                    <a:lnTo>
                      <a:pt x="25" y="148"/>
                    </a:lnTo>
                    <a:lnTo>
                      <a:pt x="26" y="148"/>
                    </a:lnTo>
                    <a:lnTo>
                      <a:pt x="26" y="147"/>
                    </a:lnTo>
                    <a:lnTo>
                      <a:pt x="26" y="146"/>
                    </a:lnTo>
                    <a:lnTo>
                      <a:pt x="22" y="140"/>
                    </a:lnTo>
                    <a:lnTo>
                      <a:pt x="22" y="139"/>
                    </a:lnTo>
                    <a:lnTo>
                      <a:pt x="26" y="138"/>
                    </a:lnTo>
                    <a:lnTo>
                      <a:pt x="27" y="138"/>
                    </a:lnTo>
                    <a:lnTo>
                      <a:pt x="28" y="137"/>
                    </a:lnTo>
                    <a:lnTo>
                      <a:pt x="28" y="135"/>
                    </a:lnTo>
                    <a:lnTo>
                      <a:pt x="28" y="134"/>
                    </a:lnTo>
                    <a:lnTo>
                      <a:pt x="28" y="132"/>
                    </a:lnTo>
                    <a:lnTo>
                      <a:pt x="28" y="131"/>
                    </a:lnTo>
                    <a:lnTo>
                      <a:pt x="28" y="130"/>
                    </a:lnTo>
                    <a:lnTo>
                      <a:pt x="28" y="129"/>
                    </a:lnTo>
                    <a:lnTo>
                      <a:pt x="27" y="129"/>
                    </a:lnTo>
                    <a:lnTo>
                      <a:pt x="26" y="129"/>
                    </a:lnTo>
                    <a:lnTo>
                      <a:pt x="25" y="130"/>
                    </a:lnTo>
                    <a:lnTo>
                      <a:pt x="23" y="130"/>
                    </a:lnTo>
                    <a:lnTo>
                      <a:pt x="22" y="130"/>
                    </a:lnTo>
                    <a:lnTo>
                      <a:pt x="18" y="128"/>
                    </a:lnTo>
                    <a:lnTo>
                      <a:pt x="17" y="128"/>
                    </a:lnTo>
                    <a:lnTo>
                      <a:pt x="16" y="129"/>
                    </a:lnTo>
                    <a:lnTo>
                      <a:pt x="15" y="128"/>
                    </a:lnTo>
                    <a:lnTo>
                      <a:pt x="14" y="127"/>
                    </a:lnTo>
                    <a:lnTo>
                      <a:pt x="15" y="127"/>
                    </a:lnTo>
                    <a:lnTo>
                      <a:pt x="16" y="126"/>
                    </a:lnTo>
                    <a:lnTo>
                      <a:pt x="16" y="125"/>
                    </a:lnTo>
                    <a:lnTo>
                      <a:pt x="16" y="124"/>
                    </a:lnTo>
                    <a:lnTo>
                      <a:pt x="17" y="124"/>
                    </a:lnTo>
                    <a:lnTo>
                      <a:pt x="17" y="122"/>
                    </a:lnTo>
                    <a:lnTo>
                      <a:pt x="17" y="121"/>
                    </a:lnTo>
                    <a:lnTo>
                      <a:pt x="17" y="120"/>
                    </a:lnTo>
                    <a:lnTo>
                      <a:pt x="18" y="120"/>
                    </a:lnTo>
                    <a:lnTo>
                      <a:pt x="19" y="120"/>
                    </a:lnTo>
                    <a:lnTo>
                      <a:pt x="19" y="119"/>
                    </a:lnTo>
                    <a:lnTo>
                      <a:pt x="19" y="118"/>
                    </a:lnTo>
                    <a:lnTo>
                      <a:pt x="19" y="117"/>
                    </a:lnTo>
                    <a:lnTo>
                      <a:pt x="21" y="117"/>
                    </a:lnTo>
                    <a:lnTo>
                      <a:pt x="21" y="116"/>
                    </a:lnTo>
                    <a:lnTo>
                      <a:pt x="21" y="115"/>
                    </a:lnTo>
                    <a:lnTo>
                      <a:pt x="19" y="113"/>
                    </a:lnTo>
                    <a:lnTo>
                      <a:pt x="18" y="112"/>
                    </a:lnTo>
                    <a:lnTo>
                      <a:pt x="17" y="111"/>
                    </a:lnTo>
                    <a:lnTo>
                      <a:pt x="18" y="111"/>
                    </a:lnTo>
                    <a:lnTo>
                      <a:pt x="18" y="109"/>
                    </a:lnTo>
                    <a:lnTo>
                      <a:pt x="16" y="108"/>
                    </a:lnTo>
                    <a:lnTo>
                      <a:pt x="16" y="107"/>
                    </a:lnTo>
                    <a:lnTo>
                      <a:pt x="17" y="107"/>
                    </a:lnTo>
                    <a:lnTo>
                      <a:pt x="18" y="106"/>
                    </a:lnTo>
                    <a:lnTo>
                      <a:pt x="17" y="104"/>
                    </a:lnTo>
                    <a:lnTo>
                      <a:pt x="18" y="103"/>
                    </a:lnTo>
                    <a:lnTo>
                      <a:pt x="19" y="103"/>
                    </a:lnTo>
                    <a:lnTo>
                      <a:pt x="21" y="102"/>
                    </a:lnTo>
                    <a:lnTo>
                      <a:pt x="21" y="101"/>
                    </a:lnTo>
                    <a:lnTo>
                      <a:pt x="21" y="100"/>
                    </a:lnTo>
                    <a:lnTo>
                      <a:pt x="23" y="100"/>
                    </a:lnTo>
                    <a:lnTo>
                      <a:pt x="23" y="99"/>
                    </a:lnTo>
                    <a:lnTo>
                      <a:pt x="21" y="96"/>
                    </a:lnTo>
                    <a:lnTo>
                      <a:pt x="19" y="98"/>
                    </a:lnTo>
                    <a:lnTo>
                      <a:pt x="17" y="99"/>
                    </a:lnTo>
                    <a:lnTo>
                      <a:pt x="17" y="98"/>
                    </a:lnTo>
                    <a:lnTo>
                      <a:pt x="17" y="96"/>
                    </a:lnTo>
                    <a:lnTo>
                      <a:pt x="16" y="94"/>
                    </a:lnTo>
                    <a:lnTo>
                      <a:pt x="15" y="94"/>
                    </a:lnTo>
                    <a:lnTo>
                      <a:pt x="16" y="93"/>
                    </a:lnTo>
                    <a:lnTo>
                      <a:pt x="16" y="92"/>
                    </a:lnTo>
                    <a:lnTo>
                      <a:pt x="16" y="91"/>
                    </a:lnTo>
                    <a:lnTo>
                      <a:pt x="15" y="91"/>
                    </a:lnTo>
                    <a:lnTo>
                      <a:pt x="14" y="91"/>
                    </a:lnTo>
                    <a:lnTo>
                      <a:pt x="15" y="91"/>
                    </a:lnTo>
                    <a:lnTo>
                      <a:pt x="15" y="90"/>
                    </a:lnTo>
                    <a:lnTo>
                      <a:pt x="14" y="90"/>
                    </a:lnTo>
                    <a:lnTo>
                      <a:pt x="14" y="89"/>
                    </a:lnTo>
                    <a:lnTo>
                      <a:pt x="15" y="89"/>
                    </a:lnTo>
                    <a:lnTo>
                      <a:pt x="16" y="89"/>
                    </a:lnTo>
                    <a:lnTo>
                      <a:pt x="18" y="89"/>
                    </a:lnTo>
                    <a:lnTo>
                      <a:pt x="19" y="88"/>
                    </a:lnTo>
                    <a:lnTo>
                      <a:pt x="21" y="88"/>
                    </a:lnTo>
                    <a:lnTo>
                      <a:pt x="21" y="87"/>
                    </a:lnTo>
                    <a:lnTo>
                      <a:pt x="22" y="86"/>
                    </a:lnTo>
                    <a:lnTo>
                      <a:pt x="21" y="84"/>
                    </a:lnTo>
                    <a:lnTo>
                      <a:pt x="22" y="84"/>
                    </a:lnTo>
                    <a:lnTo>
                      <a:pt x="23" y="84"/>
                    </a:lnTo>
                    <a:lnTo>
                      <a:pt x="23" y="83"/>
                    </a:lnTo>
                    <a:lnTo>
                      <a:pt x="23" y="82"/>
                    </a:lnTo>
                    <a:lnTo>
                      <a:pt x="25" y="81"/>
                    </a:lnTo>
                    <a:lnTo>
                      <a:pt x="26" y="81"/>
                    </a:lnTo>
                    <a:lnTo>
                      <a:pt x="26" y="80"/>
                    </a:lnTo>
                    <a:lnTo>
                      <a:pt x="25" y="79"/>
                    </a:lnTo>
                    <a:lnTo>
                      <a:pt x="25" y="78"/>
                    </a:lnTo>
                    <a:lnTo>
                      <a:pt x="24" y="78"/>
                    </a:lnTo>
                    <a:lnTo>
                      <a:pt x="24" y="77"/>
                    </a:lnTo>
                    <a:lnTo>
                      <a:pt x="25" y="76"/>
                    </a:lnTo>
                    <a:lnTo>
                      <a:pt x="26" y="76"/>
                    </a:lnTo>
                    <a:lnTo>
                      <a:pt x="26" y="75"/>
                    </a:lnTo>
                    <a:lnTo>
                      <a:pt x="27" y="75"/>
                    </a:lnTo>
                    <a:lnTo>
                      <a:pt x="26" y="74"/>
                    </a:lnTo>
                    <a:lnTo>
                      <a:pt x="26" y="73"/>
                    </a:lnTo>
                    <a:lnTo>
                      <a:pt x="26" y="71"/>
                    </a:lnTo>
                    <a:lnTo>
                      <a:pt x="26" y="70"/>
                    </a:lnTo>
                    <a:lnTo>
                      <a:pt x="26" y="69"/>
                    </a:lnTo>
                    <a:lnTo>
                      <a:pt x="25" y="69"/>
                    </a:lnTo>
                    <a:lnTo>
                      <a:pt x="26" y="68"/>
                    </a:lnTo>
                    <a:lnTo>
                      <a:pt x="27" y="68"/>
                    </a:lnTo>
                    <a:lnTo>
                      <a:pt x="27" y="67"/>
                    </a:lnTo>
                    <a:lnTo>
                      <a:pt x="26" y="66"/>
                    </a:lnTo>
                    <a:lnTo>
                      <a:pt x="26" y="65"/>
                    </a:lnTo>
                    <a:lnTo>
                      <a:pt x="27" y="65"/>
                    </a:lnTo>
                    <a:lnTo>
                      <a:pt x="26" y="64"/>
                    </a:lnTo>
                    <a:lnTo>
                      <a:pt x="27" y="64"/>
                    </a:lnTo>
                    <a:lnTo>
                      <a:pt x="28" y="63"/>
                    </a:lnTo>
                    <a:lnTo>
                      <a:pt x="34" y="63"/>
                    </a:lnTo>
                    <a:lnTo>
                      <a:pt x="55" y="63"/>
                    </a:lnTo>
                    <a:lnTo>
                      <a:pt x="83" y="64"/>
                    </a:lnTo>
                    <a:lnTo>
                      <a:pt x="88" y="53"/>
                    </a:lnTo>
                    <a:lnTo>
                      <a:pt x="93" y="43"/>
                    </a:lnTo>
                    <a:lnTo>
                      <a:pt x="105" y="22"/>
                    </a:lnTo>
                    <a:lnTo>
                      <a:pt x="107" y="17"/>
                    </a:lnTo>
                    <a:lnTo>
                      <a:pt x="115" y="1"/>
                    </a:lnTo>
                    <a:lnTo>
                      <a:pt x="116" y="1"/>
                    </a:lnTo>
                    <a:lnTo>
                      <a:pt x="122" y="1"/>
                    </a:lnTo>
                    <a:lnTo>
                      <a:pt x="125" y="1"/>
                    </a:lnTo>
                    <a:lnTo>
                      <a:pt x="128" y="1"/>
                    </a:lnTo>
                    <a:lnTo>
                      <a:pt x="134" y="1"/>
                    </a:lnTo>
                    <a:lnTo>
                      <a:pt x="147" y="1"/>
                    </a:lnTo>
                    <a:lnTo>
                      <a:pt x="155" y="1"/>
                    </a:lnTo>
                    <a:lnTo>
                      <a:pt x="159" y="1"/>
                    </a:lnTo>
                    <a:lnTo>
                      <a:pt x="176" y="1"/>
                    </a:lnTo>
                    <a:lnTo>
                      <a:pt x="177" y="1"/>
                    </a:lnTo>
                    <a:lnTo>
                      <a:pt x="178" y="1"/>
                    </a:lnTo>
                    <a:lnTo>
                      <a:pt x="179" y="1"/>
                    </a:lnTo>
                    <a:lnTo>
                      <a:pt x="201" y="1"/>
                    </a:lnTo>
                    <a:lnTo>
                      <a:pt x="209" y="0"/>
                    </a:lnTo>
                    <a:lnTo>
                      <a:pt x="236" y="0"/>
                    </a:lnTo>
                    <a:lnTo>
                      <a:pt x="249" y="0"/>
                    </a:lnTo>
                    <a:lnTo>
                      <a:pt x="257" y="0"/>
                    </a:lnTo>
                    <a:lnTo>
                      <a:pt x="260" y="0"/>
                    </a:lnTo>
                    <a:lnTo>
                      <a:pt x="263" y="0"/>
                    </a:lnTo>
                    <a:lnTo>
                      <a:pt x="272" y="0"/>
                    </a:lnTo>
                    <a:lnTo>
                      <a:pt x="293" y="0"/>
                    </a:lnTo>
                    <a:lnTo>
                      <a:pt x="305" y="0"/>
                    </a:lnTo>
                    <a:lnTo>
                      <a:pt x="318" y="0"/>
                    </a:lnTo>
                    <a:lnTo>
                      <a:pt x="331" y="1"/>
                    </a:lnTo>
                    <a:lnTo>
                      <a:pt x="332" y="1"/>
                    </a:lnTo>
                    <a:lnTo>
                      <a:pt x="335" y="1"/>
                    </a:lnTo>
                    <a:lnTo>
                      <a:pt x="335" y="3"/>
                    </a:lnTo>
                    <a:lnTo>
                      <a:pt x="347" y="3"/>
                    </a:lnTo>
                    <a:lnTo>
                      <a:pt x="348" y="3"/>
                    </a:lnTo>
                    <a:lnTo>
                      <a:pt x="349" y="3"/>
                    </a:lnTo>
                    <a:lnTo>
                      <a:pt x="350" y="3"/>
                    </a:lnTo>
                    <a:lnTo>
                      <a:pt x="354" y="3"/>
                    </a:lnTo>
                    <a:lnTo>
                      <a:pt x="359" y="3"/>
                    </a:lnTo>
                    <a:lnTo>
                      <a:pt x="360" y="3"/>
                    </a:lnTo>
                    <a:lnTo>
                      <a:pt x="360" y="4"/>
                    </a:lnTo>
                    <a:lnTo>
                      <a:pt x="360" y="5"/>
                    </a:lnTo>
                    <a:lnTo>
                      <a:pt x="361" y="5"/>
                    </a:lnTo>
                    <a:lnTo>
                      <a:pt x="360" y="5"/>
                    </a:lnTo>
                    <a:lnTo>
                      <a:pt x="360" y="6"/>
                    </a:lnTo>
                    <a:lnTo>
                      <a:pt x="361" y="6"/>
                    </a:lnTo>
                    <a:lnTo>
                      <a:pt x="361" y="8"/>
                    </a:lnTo>
                    <a:lnTo>
                      <a:pt x="362" y="8"/>
                    </a:lnTo>
                    <a:lnTo>
                      <a:pt x="362" y="9"/>
                    </a:lnTo>
                    <a:lnTo>
                      <a:pt x="363" y="9"/>
                    </a:lnTo>
                    <a:lnTo>
                      <a:pt x="363" y="10"/>
                    </a:lnTo>
                    <a:lnTo>
                      <a:pt x="364" y="10"/>
                    </a:lnTo>
                    <a:lnTo>
                      <a:pt x="363" y="11"/>
                    </a:lnTo>
                    <a:lnTo>
                      <a:pt x="364" y="11"/>
                    </a:lnTo>
                    <a:lnTo>
                      <a:pt x="364" y="12"/>
                    </a:lnTo>
                    <a:lnTo>
                      <a:pt x="365" y="12"/>
                    </a:lnTo>
                    <a:lnTo>
                      <a:pt x="365" y="13"/>
                    </a:lnTo>
                    <a:close/>
                  </a:path>
                </a:pathLst>
              </a:custGeom>
              <a:solidFill>
                <a:srgbClr val="2B85ED"/>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2" name="Freeform 42">
                <a:extLst>
                  <a:ext uri="{FF2B5EF4-FFF2-40B4-BE49-F238E27FC236}">
                    <a16:creationId xmlns:a16="http://schemas.microsoft.com/office/drawing/2014/main" id="{A4A3431B-8755-4052-C9CD-E7B090400129}"/>
                  </a:ext>
                </a:extLst>
              </p:cNvPr>
              <p:cNvSpPr>
                <a:spLocks/>
              </p:cNvSpPr>
              <p:nvPr/>
            </p:nvSpPr>
            <p:spPr bwMode="auto">
              <a:xfrm>
                <a:off x="2176463" y="2854325"/>
                <a:ext cx="884238" cy="714375"/>
              </a:xfrm>
              <a:custGeom>
                <a:avLst/>
                <a:gdLst>
                  <a:gd name="T0" fmla="*/ 492 w 557"/>
                  <a:gd name="T1" fmla="*/ 32 h 450"/>
                  <a:gd name="T2" fmla="*/ 501 w 557"/>
                  <a:gd name="T3" fmla="*/ 39 h 450"/>
                  <a:gd name="T4" fmla="*/ 506 w 557"/>
                  <a:gd name="T5" fmla="*/ 50 h 450"/>
                  <a:gd name="T6" fmla="*/ 504 w 557"/>
                  <a:gd name="T7" fmla="*/ 65 h 450"/>
                  <a:gd name="T8" fmla="*/ 516 w 557"/>
                  <a:gd name="T9" fmla="*/ 85 h 450"/>
                  <a:gd name="T10" fmla="*/ 530 w 557"/>
                  <a:gd name="T11" fmla="*/ 95 h 450"/>
                  <a:gd name="T12" fmla="*/ 531 w 557"/>
                  <a:gd name="T13" fmla="*/ 103 h 450"/>
                  <a:gd name="T14" fmla="*/ 540 w 557"/>
                  <a:gd name="T15" fmla="*/ 102 h 450"/>
                  <a:gd name="T16" fmla="*/ 550 w 557"/>
                  <a:gd name="T17" fmla="*/ 110 h 450"/>
                  <a:gd name="T18" fmla="*/ 552 w 557"/>
                  <a:gd name="T19" fmla="*/ 121 h 450"/>
                  <a:gd name="T20" fmla="*/ 549 w 557"/>
                  <a:gd name="T21" fmla="*/ 128 h 450"/>
                  <a:gd name="T22" fmla="*/ 542 w 557"/>
                  <a:gd name="T23" fmla="*/ 137 h 450"/>
                  <a:gd name="T24" fmla="*/ 535 w 557"/>
                  <a:gd name="T25" fmla="*/ 145 h 450"/>
                  <a:gd name="T26" fmla="*/ 525 w 557"/>
                  <a:gd name="T27" fmla="*/ 151 h 450"/>
                  <a:gd name="T28" fmla="*/ 516 w 557"/>
                  <a:gd name="T29" fmla="*/ 153 h 450"/>
                  <a:gd name="T30" fmla="*/ 503 w 557"/>
                  <a:gd name="T31" fmla="*/ 158 h 450"/>
                  <a:gd name="T32" fmla="*/ 493 w 557"/>
                  <a:gd name="T33" fmla="*/ 147 h 450"/>
                  <a:gd name="T34" fmla="*/ 490 w 557"/>
                  <a:gd name="T35" fmla="*/ 136 h 450"/>
                  <a:gd name="T36" fmla="*/ 480 w 557"/>
                  <a:gd name="T37" fmla="*/ 134 h 450"/>
                  <a:gd name="T38" fmla="*/ 470 w 557"/>
                  <a:gd name="T39" fmla="*/ 135 h 450"/>
                  <a:gd name="T40" fmla="*/ 464 w 557"/>
                  <a:gd name="T41" fmla="*/ 138 h 450"/>
                  <a:gd name="T42" fmla="*/ 459 w 557"/>
                  <a:gd name="T43" fmla="*/ 238 h 450"/>
                  <a:gd name="T44" fmla="*/ 458 w 557"/>
                  <a:gd name="T45" fmla="*/ 280 h 450"/>
                  <a:gd name="T46" fmla="*/ 471 w 557"/>
                  <a:gd name="T47" fmla="*/ 379 h 450"/>
                  <a:gd name="T48" fmla="*/ 474 w 557"/>
                  <a:gd name="T49" fmla="*/ 397 h 450"/>
                  <a:gd name="T50" fmla="*/ 400 w 557"/>
                  <a:gd name="T51" fmla="*/ 397 h 450"/>
                  <a:gd name="T52" fmla="*/ 391 w 557"/>
                  <a:gd name="T53" fmla="*/ 392 h 450"/>
                  <a:gd name="T54" fmla="*/ 386 w 557"/>
                  <a:gd name="T55" fmla="*/ 383 h 450"/>
                  <a:gd name="T56" fmla="*/ 376 w 557"/>
                  <a:gd name="T57" fmla="*/ 378 h 450"/>
                  <a:gd name="T58" fmla="*/ 369 w 557"/>
                  <a:gd name="T59" fmla="*/ 372 h 450"/>
                  <a:gd name="T60" fmla="*/ 356 w 557"/>
                  <a:gd name="T61" fmla="*/ 375 h 450"/>
                  <a:gd name="T62" fmla="*/ 348 w 557"/>
                  <a:gd name="T63" fmla="*/ 384 h 450"/>
                  <a:gd name="T64" fmla="*/ 337 w 557"/>
                  <a:gd name="T65" fmla="*/ 392 h 450"/>
                  <a:gd name="T66" fmla="*/ 328 w 557"/>
                  <a:gd name="T67" fmla="*/ 397 h 450"/>
                  <a:gd name="T68" fmla="*/ 309 w 557"/>
                  <a:gd name="T69" fmla="*/ 406 h 450"/>
                  <a:gd name="T70" fmla="*/ 307 w 557"/>
                  <a:gd name="T71" fmla="*/ 420 h 450"/>
                  <a:gd name="T72" fmla="*/ 306 w 557"/>
                  <a:gd name="T73" fmla="*/ 432 h 450"/>
                  <a:gd name="T74" fmla="*/ 298 w 557"/>
                  <a:gd name="T75" fmla="*/ 441 h 450"/>
                  <a:gd name="T76" fmla="*/ 290 w 557"/>
                  <a:gd name="T77" fmla="*/ 445 h 450"/>
                  <a:gd name="T78" fmla="*/ 280 w 557"/>
                  <a:gd name="T79" fmla="*/ 447 h 450"/>
                  <a:gd name="T80" fmla="*/ 272 w 557"/>
                  <a:gd name="T81" fmla="*/ 444 h 450"/>
                  <a:gd name="T82" fmla="*/ 264 w 557"/>
                  <a:gd name="T83" fmla="*/ 441 h 450"/>
                  <a:gd name="T84" fmla="*/ 235 w 557"/>
                  <a:gd name="T85" fmla="*/ 444 h 450"/>
                  <a:gd name="T86" fmla="*/ 108 w 557"/>
                  <a:gd name="T87" fmla="*/ 450 h 450"/>
                  <a:gd name="T88" fmla="*/ 95 w 557"/>
                  <a:gd name="T89" fmla="*/ 298 h 450"/>
                  <a:gd name="T90" fmla="*/ 84 w 557"/>
                  <a:gd name="T91" fmla="*/ 190 h 450"/>
                  <a:gd name="T92" fmla="*/ 63 w 557"/>
                  <a:gd name="T93" fmla="*/ 145 h 450"/>
                  <a:gd name="T94" fmla="*/ 27 w 557"/>
                  <a:gd name="T95" fmla="*/ 134 h 450"/>
                  <a:gd name="T96" fmla="*/ 43 w 557"/>
                  <a:gd name="T97" fmla="*/ 93 h 450"/>
                  <a:gd name="T98" fmla="*/ 120 w 557"/>
                  <a:gd name="T99" fmla="*/ 41 h 450"/>
                  <a:gd name="T100" fmla="*/ 165 w 557"/>
                  <a:gd name="T101" fmla="*/ 7 h 450"/>
                  <a:gd name="T102" fmla="*/ 181 w 557"/>
                  <a:gd name="T103" fmla="*/ 12 h 450"/>
                  <a:gd name="T104" fmla="*/ 173 w 557"/>
                  <a:gd name="T105" fmla="*/ 25 h 450"/>
                  <a:gd name="T106" fmla="*/ 169 w 557"/>
                  <a:gd name="T107" fmla="*/ 48 h 450"/>
                  <a:gd name="T108" fmla="*/ 177 w 557"/>
                  <a:gd name="T109" fmla="*/ 62 h 450"/>
                  <a:gd name="T110" fmla="*/ 176 w 557"/>
                  <a:gd name="T111" fmla="*/ 80 h 450"/>
                  <a:gd name="T112" fmla="*/ 191 w 557"/>
                  <a:gd name="T113" fmla="*/ 82 h 450"/>
                  <a:gd name="T114" fmla="*/ 200 w 557"/>
                  <a:gd name="T115" fmla="*/ 94 h 450"/>
                  <a:gd name="T116" fmla="*/ 224 w 557"/>
                  <a:gd name="T117" fmla="*/ 89 h 450"/>
                  <a:gd name="T118" fmla="*/ 345 w 557"/>
                  <a:gd name="T119" fmla="*/ 6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 h="450">
                    <a:moveTo>
                      <a:pt x="482" y="29"/>
                    </a:moveTo>
                    <a:lnTo>
                      <a:pt x="482" y="30"/>
                    </a:lnTo>
                    <a:lnTo>
                      <a:pt x="483" y="32"/>
                    </a:lnTo>
                    <a:lnTo>
                      <a:pt x="484" y="35"/>
                    </a:lnTo>
                    <a:lnTo>
                      <a:pt x="485" y="36"/>
                    </a:lnTo>
                    <a:lnTo>
                      <a:pt x="486" y="36"/>
                    </a:lnTo>
                    <a:lnTo>
                      <a:pt x="487" y="36"/>
                    </a:lnTo>
                    <a:lnTo>
                      <a:pt x="488" y="35"/>
                    </a:lnTo>
                    <a:lnTo>
                      <a:pt x="489" y="35"/>
                    </a:lnTo>
                    <a:lnTo>
                      <a:pt x="489" y="34"/>
                    </a:lnTo>
                    <a:lnTo>
                      <a:pt x="489" y="33"/>
                    </a:lnTo>
                    <a:lnTo>
                      <a:pt x="489" y="32"/>
                    </a:lnTo>
                    <a:lnTo>
                      <a:pt x="489" y="31"/>
                    </a:lnTo>
                    <a:lnTo>
                      <a:pt x="490" y="31"/>
                    </a:lnTo>
                    <a:lnTo>
                      <a:pt x="491" y="31"/>
                    </a:lnTo>
                    <a:lnTo>
                      <a:pt x="492" y="32"/>
                    </a:lnTo>
                    <a:lnTo>
                      <a:pt x="492" y="33"/>
                    </a:lnTo>
                    <a:lnTo>
                      <a:pt x="493" y="34"/>
                    </a:lnTo>
                    <a:lnTo>
                      <a:pt x="495" y="35"/>
                    </a:lnTo>
                    <a:lnTo>
                      <a:pt x="496" y="35"/>
                    </a:lnTo>
                    <a:lnTo>
                      <a:pt x="497" y="35"/>
                    </a:lnTo>
                    <a:lnTo>
                      <a:pt x="498" y="35"/>
                    </a:lnTo>
                    <a:lnTo>
                      <a:pt x="499" y="34"/>
                    </a:lnTo>
                    <a:lnTo>
                      <a:pt x="500" y="33"/>
                    </a:lnTo>
                    <a:lnTo>
                      <a:pt x="501" y="33"/>
                    </a:lnTo>
                    <a:lnTo>
                      <a:pt x="501" y="34"/>
                    </a:lnTo>
                    <a:lnTo>
                      <a:pt x="501" y="35"/>
                    </a:lnTo>
                    <a:lnTo>
                      <a:pt x="502" y="36"/>
                    </a:lnTo>
                    <a:lnTo>
                      <a:pt x="503" y="36"/>
                    </a:lnTo>
                    <a:lnTo>
                      <a:pt x="503" y="37"/>
                    </a:lnTo>
                    <a:lnTo>
                      <a:pt x="502" y="38"/>
                    </a:lnTo>
                    <a:lnTo>
                      <a:pt x="501" y="39"/>
                    </a:lnTo>
                    <a:lnTo>
                      <a:pt x="500" y="41"/>
                    </a:lnTo>
                    <a:lnTo>
                      <a:pt x="499" y="42"/>
                    </a:lnTo>
                    <a:lnTo>
                      <a:pt x="498" y="43"/>
                    </a:lnTo>
                    <a:lnTo>
                      <a:pt x="498" y="44"/>
                    </a:lnTo>
                    <a:lnTo>
                      <a:pt x="498" y="45"/>
                    </a:lnTo>
                    <a:lnTo>
                      <a:pt x="499" y="45"/>
                    </a:lnTo>
                    <a:lnTo>
                      <a:pt x="500" y="46"/>
                    </a:lnTo>
                    <a:lnTo>
                      <a:pt x="501" y="46"/>
                    </a:lnTo>
                    <a:lnTo>
                      <a:pt x="502" y="46"/>
                    </a:lnTo>
                    <a:lnTo>
                      <a:pt x="503" y="47"/>
                    </a:lnTo>
                    <a:lnTo>
                      <a:pt x="504" y="47"/>
                    </a:lnTo>
                    <a:lnTo>
                      <a:pt x="505" y="47"/>
                    </a:lnTo>
                    <a:lnTo>
                      <a:pt x="505" y="48"/>
                    </a:lnTo>
                    <a:lnTo>
                      <a:pt x="506" y="48"/>
                    </a:lnTo>
                    <a:lnTo>
                      <a:pt x="506" y="49"/>
                    </a:lnTo>
                    <a:lnTo>
                      <a:pt x="506" y="50"/>
                    </a:lnTo>
                    <a:lnTo>
                      <a:pt x="506" y="51"/>
                    </a:lnTo>
                    <a:lnTo>
                      <a:pt x="506" y="52"/>
                    </a:lnTo>
                    <a:lnTo>
                      <a:pt x="505" y="54"/>
                    </a:lnTo>
                    <a:lnTo>
                      <a:pt x="504" y="54"/>
                    </a:lnTo>
                    <a:lnTo>
                      <a:pt x="504" y="55"/>
                    </a:lnTo>
                    <a:lnTo>
                      <a:pt x="504" y="56"/>
                    </a:lnTo>
                    <a:lnTo>
                      <a:pt x="503" y="56"/>
                    </a:lnTo>
                    <a:lnTo>
                      <a:pt x="503" y="57"/>
                    </a:lnTo>
                    <a:lnTo>
                      <a:pt x="502" y="58"/>
                    </a:lnTo>
                    <a:lnTo>
                      <a:pt x="502" y="59"/>
                    </a:lnTo>
                    <a:lnTo>
                      <a:pt x="502" y="60"/>
                    </a:lnTo>
                    <a:lnTo>
                      <a:pt x="502" y="61"/>
                    </a:lnTo>
                    <a:lnTo>
                      <a:pt x="503" y="61"/>
                    </a:lnTo>
                    <a:lnTo>
                      <a:pt x="503" y="62"/>
                    </a:lnTo>
                    <a:lnTo>
                      <a:pt x="504" y="64"/>
                    </a:lnTo>
                    <a:lnTo>
                      <a:pt x="504" y="65"/>
                    </a:lnTo>
                    <a:lnTo>
                      <a:pt x="504" y="67"/>
                    </a:lnTo>
                    <a:lnTo>
                      <a:pt x="504" y="68"/>
                    </a:lnTo>
                    <a:lnTo>
                      <a:pt x="504" y="69"/>
                    </a:lnTo>
                    <a:lnTo>
                      <a:pt x="508" y="70"/>
                    </a:lnTo>
                    <a:lnTo>
                      <a:pt x="509" y="72"/>
                    </a:lnTo>
                    <a:lnTo>
                      <a:pt x="509" y="73"/>
                    </a:lnTo>
                    <a:lnTo>
                      <a:pt x="510" y="74"/>
                    </a:lnTo>
                    <a:lnTo>
                      <a:pt x="510" y="75"/>
                    </a:lnTo>
                    <a:lnTo>
                      <a:pt x="509" y="77"/>
                    </a:lnTo>
                    <a:lnTo>
                      <a:pt x="510" y="78"/>
                    </a:lnTo>
                    <a:lnTo>
                      <a:pt x="510" y="80"/>
                    </a:lnTo>
                    <a:lnTo>
                      <a:pt x="510" y="81"/>
                    </a:lnTo>
                    <a:lnTo>
                      <a:pt x="511" y="82"/>
                    </a:lnTo>
                    <a:lnTo>
                      <a:pt x="513" y="83"/>
                    </a:lnTo>
                    <a:lnTo>
                      <a:pt x="514" y="84"/>
                    </a:lnTo>
                    <a:lnTo>
                      <a:pt x="516" y="85"/>
                    </a:lnTo>
                    <a:lnTo>
                      <a:pt x="517" y="86"/>
                    </a:lnTo>
                    <a:lnTo>
                      <a:pt x="519" y="87"/>
                    </a:lnTo>
                    <a:lnTo>
                      <a:pt x="519" y="88"/>
                    </a:lnTo>
                    <a:lnTo>
                      <a:pt x="521" y="88"/>
                    </a:lnTo>
                    <a:lnTo>
                      <a:pt x="521" y="89"/>
                    </a:lnTo>
                    <a:lnTo>
                      <a:pt x="521" y="90"/>
                    </a:lnTo>
                    <a:lnTo>
                      <a:pt x="522" y="90"/>
                    </a:lnTo>
                    <a:lnTo>
                      <a:pt x="523" y="91"/>
                    </a:lnTo>
                    <a:lnTo>
                      <a:pt x="523" y="93"/>
                    </a:lnTo>
                    <a:lnTo>
                      <a:pt x="524" y="94"/>
                    </a:lnTo>
                    <a:lnTo>
                      <a:pt x="525" y="94"/>
                    </a:lnTo>
                    <a:lnTo>
                      <a:pt x="527" y="94"/>
                    </a:lnTo>
                    <a:lnTo>
                      <a:pt x="528" y="94"/>
                    </a:lnTo>
                    <a:lnTo>
                      <a:pt x="529" y="94"/>
                    </a:lnTo>
                    <a:lnTo>
                      <a:pt x="529" y="95"/>
                    </a:lnTo>
                    <a:lnTo>
                      <a:pt x="530" y="95"/>
                    </a:lnTo>
                    <a:lnTo>
                      <a:pt x="531" y="95"/>
                    </a:lnTo>
                    <a:lnTo>
                      <a:pt x="531" y="96"/>
                    </a:lnTo>
                    <a:lnTo>
                      <a:pt x="530" y="96"/>
                    </a:lnTo>
                    <a:lnTo>
                      <a:pt x="530" y="97"/>
                    </a:lnTo>
                    <a:lnTo>
                      <a:pt x="529" y="97"/>
                    </a:lnTo>
                    <a:lnTo>
                      <a:pt x="529" y="98"/>
                    </a:lnTo>
                    <a:lnTo>
                      <a:pt x="528" y="98"/>
                    </a:lnTo>
                    <a:lnTo>
                      <a:pt x="528" y="99"/>
                    </a:lnTo>
                    <a:lnTo>
                      <a:pt x="527" y="99"/>
                    </a:lnTo>
                    <a:lnTo>
                      <a:pt x="528" y="100"/>
                    </a:lnTo>
                    <a:lnTo>
                      <a:pt x="529" y="100"/>
                    </a:lnTo>
                    <a:lnTo>
                      <a:pt x="529" y="101"/>
                    </a:lnTo>
                    <a:lnTo>
                      <a:pt x="530" y="101"/>
                    </a:lnTo>
                    <a:lnTo>
                      <a:pt x="530" y="102"/>
                    </a:lnTo>
                    <a:lnTo>
                      <a:pt x="531" y="102"/>
                    </a:lnTo>
                    <a:lnTo>
                      <a:pt x="531" y="103"/>
                    </a:lnTo>
                    <a:lnTo>
                      <a:pt x="533" y="103"/>
                    </a:lnTo>
                    <a:lnTo>
                      <a:pt x="533" y="102"/>
                    </a:lnTo>
                    <a:lnTo>
                      <a:pt x="533" y="103"/>
                    </a:lnTo>
                    <a:lnTo>
                      <a:pt x="534" y="103"/>
                    </a:lnTo>
                    <a:lnTo>
                      <a:pt x="534" y="104"/>
                    </a:lnTo>
                    <a:lnTo>
                      <a:pt x="534" y="103"/>
                    </a:lnTo>
                    <a:lnTo>
                      <a:pt x="535" y="104"/>
                    </a:lnTo>
                    <a:lnTo>
                      <a:pt x="536" y="103"/>
                    </a:lnTo>
                    <a:lnTo>
                      <a:pt x="536" y="102"/>
                    </a:lnTo>
                    <a:lnTo>
                      <a:pt x="537" y="102"/>
                    </a:lnTo>
                    <a:lnTo>
                      <a:pt x="537" y="101"/>
                    </a:lnTo>
                    <a:lnTo>
                      <a:pt x="538" y="102"/>
                    </a:lnTo>
                    <a:lnTo>
                      <a:pt x="538" y="101"/>
                    </a:lnTo>
                    <a:lnTo>
                      <a:pt x="539" y="101"/>
                    </a:lnTo>
                    <a:lnTo>
                      <a:pt x="539" y="102"/>
                    </a:lnTo>
                    <a:lnTo>
                      <a:pt x="540" y="102"/>
                    </a:lnTo>
                    <a:lnTo>
                      <a:pt x="541" y="103"/>
                    </a:lnTo>
                    <a:lnTo>
                      <a:pt x="542" y="103"/>
                    </a:lnTo>
                    <a:lnTo>
                      <a:pt x="542" y="104"/>
                    </a:lnTo>
                    <a:lnTo>
                      <a:pt x="543" y="104"/>
                    </a:lnTo>
                    <a:lnTo>
                      <a:pt x="543" y="106"/>
                    </a:lnTo>
                    <a:lnTo>
                      <a:pt x="543" y="107"/>
                    </a:lnTo>
                    <a:lnTo>
                      <a:pt x="544" y="107"/>
                    </a:lnTo>
                    <a:lnTo>
                      <a:pt x="544" y="108"/>
                    </a:lnTo>
                    <a:lnTo>
                      <a:pt x="544" y="109"/>
                    </a:lnTo>
                    <a:lnTo>
                      <a:pt x="546" y="110"/>
                    </a:lnTo>
                    <a:lnTo>
                      <a:pt x="546" y="109"/>
                    </a:lnTo>
                    <a:lnTo>
                      <a:pt x="547" y="109"/>
                    </a:lnTo>
                    <a:lnTo>
                      <a:pt x="547" y="110"/>
                    </a:lnTo>
                    <a:lnTo>
                      <a:pt x="548" y="110"/>
                    </a:lnTo>
                    <a:lnTo>
                      <a:pt x="549" y="109"/>
                    </a:lnTo>
                    <a:lnTo>
                      <a:pt x="550" y="110"/>
                    </a:lnTo>
                    <a:lnTo>
                      <a:pt x="551" y="110"/>
                    </a:lnTo>
                    <a:lnTo>
                      <a:pt x="551" y="112"/>
                    </a:lnTo>
                    <a:lnTo>
                      <a:pt x="551" y="113"/>
                    </a:lnTo>
                    <a:lnTo>
                      <a:pt x="551" y="114"/>
                    </a:lnTo>
                    <a:lnTo>
                      <a:pt x="551" y="115"/>
                    </a:lnTo>
                    <a:lnTo>
                      <a:pt x="552" y="116"/>
                    </a:lnTo>
                    <a:lnTo>
                      <a:pt x="553" y="116"/>
                    </a:lnTo>
                    <a:lnTo>
                      <a:pt x="554" y="116"/>
                    </a:lnTo>
                    <a:lnTo>
                      <a:pt x="554" y="118"/>
                    </a:lnTo>
                    <a:lnTo>
                      <a:pt x="555" y="118"/>
                    </a:lnTo>
                    <a:lnTo>
                      <a:pt x="555" y="119"/>
                    </a:lnTo>
                    <a:lnTo>
                      <a:pt x="555" y="120"/>
                    </a:lnTo>
                    <a:lnTo>
                      <a:pt x="554" y="120"/>
                    </a:lnTo>
                    <a:lnTo>
                      <a:pt x="553" y="120"/>
                    </a:lnTo>
                    <a:lnTo>
                      <a:pt x="552" y="120"/>
                    </a:lnTo>
                    <a:lnTo>
                      <a:pt x="552" y="121"/>
                    </a:lnTo>
                    <a:lnTo>
                      <a:pt x="553" y="122"/>
                    </a:lnTo>
                    <a:lnTo>
                      <a:pt x="553" y="123"/>
                    </a:lnTo>
                    <a:lnTo>
                      <a:pt x="554" y="123"/>
                    </a:lnTo>
                    <a:lnTo>
                      <a:pt x="555" y="122"/>
                    </a:lnTo>
                    <a:lnTo>
                      <a:pt x="556" y="124"/>
                    </a:lnTo>
                    <a:lnTo>
                      <a:pt x="557" y="125"/>
                    </a:lnTo>
                    <a:lnTo>
                      <a:pt x="557" y="126"/>
                    </a:lnTo>
                    <a:lnTo>
                      <a:pt x="556" y="126"/>
                    </a:lnTo>
                    <a:lnTo>
                      <a:pt x="555" y="127"/>
                    </a:lnTo>
                    <a:lnTo>
                      <a:pt x="554" y="127"/>
                    </a:lnTo>
                    <a:lnTo>
                      <a:pt x="553" y="127"/>
                    </a:lnTo>
                    <a:lnTo>
                      <a:pt x="553" y="128"/>
                    </a:lnTo>
                    <a:lnTo>
                      <a:pt x="552" y="128"/>
                    </a:lnTo>
                    <a:lnTo>
                      <a:pt x="551" y="128"/>
                    </a:lnTo>
                    <a:lnTo>
                      <a:pt x="550" y="128"/>
                    </a:lnTo>
                    <a:lnTo>
                      <a:pt x="549" y="128"/>
                    </a:lnTo>
                    <a:lnTo>
                      <a:pt x="548" y="128"/>
                    </a:lnTo>
                    <a:lnTo>
                      <a:pt x="548" y="129"/>
                    </a:lnTo>
                    <a:lnTo>
                      <a:pt x="548" y="131"/>
                    </a:lnTo>
                    <a:lnTo>
                      <a:pt x="549" y="132"/>
                    </a:lnTo>
                    <a:lnTo>
                      <a:pt x="548" y="132"/>
                    </a:lnTo>
                    <a:lnTo>
                      <a:pt x="547" y="132"/>
                    </a:lnTo>
                    <a:lnTo>
                      <a:pt x="547" y="131"/>
                    </a:lnTo>
                    <a:lnTo>
                      <a:pt x="546" y="131"/>
                    </a:lnTo>
                    <a:lnTo>
                      <a:pt x="546" y="132"/>
                    </a:lnTo>
                    <a:lnTo>
                      <a:pt x="544" y="132"/>
                    </a:lnTo>
                    <a:lnTo>
                      <a:pt x="544" y="133"/>
                    </a:lnTo>
                    <a:lnTo>
                      <a:pt x="543" y="133"/>
                    </a:lnTo>
                    <a:lnTo>
                      <a:pt x="544" y="134"/>
                    </a:lnTo>
                    <a:lnTo>
                      <a:pt x="544" y="135"/>
                    </a:lnTo>
                    <a:lnTo>
                      <a:pt x="543" y="136"/>
                    </a:lnTo>
                    <a:lnTo>
                      <a:pt x="542" y="137"/>
                    </a:lnTo>
                    <a:lnTo>
                      <a:pt x="542" y="138"/>
                    </a:lnTo>
                    <a:lnTo>
                      <a:pt x="542" y="139"/>
                    </a:lnTo>
                    <a:lnTo>
                      <a:pt x="542" y="140"/>
                    </a:lnTo>
                    <a:lnTo>
                      <a:pt x="541" y="140"/>
                    </a:lnTo>
                    <a:lnTo>
                      <a:pt x="541" y="141"/>
                    </a:lnTo>
                    <a:lnTo>
                      <a:pt x="540" y="141"/>
                    </a:lnTo>
                    <a:lnTo>
                      <a:pt x="539" y="140"/>
                    </a:lnTo>
                    <a:lnTo>
                      <a:pt x="538" y="140"/>
                    </a:lnTo>
                    <a:lnTo>
                      <a:pt x="537" y="141"/>
                    </a:lnTo>
                    <a:lnTo>
                      <a:pt x="536" y="141"/>
                    </a:lnTo>
                    <a:lnTo>
                      <a:pt x="536" y="142"/>
                    </a:lnTo>
                    <a:lnTo>
                      <a:pt x="535" y="142"/>
                    </a:lnTo>
                    <a:lnTo>
                      <a:pt x="534" y="142"/>
                    </a:lnTo>
                    <a:lnTo>
                      <a:pt x="534" y="144"/>
                    </a:lnTo>
                    <a:lnTo>
                      <a:pt x="535" y="144"/>
                    </a:lnTo>
                    <a:lnTo>
                      <a:pt x="535" y="145"/>
                    </a:lnTo>
                    <a:lnTo>
                      <a:pt x="533" y="145"/>
                    </a:lnTo>
                    <a:lnTo>
                      <a:pt x="531" y="146"/>
                    </a:lnTo>
                    <a:lnTo>
                      <a:pt x="531" y="148"/>
                    </a:lnTo>
                    <a:lnTo>
                      <a:pt x="529" y="149"/>
                    </a:lnTo>
                    <a:lnTo>
                      <a:pt x="529" y="148"/>
                    </a:lnTo>
                    <a:lnTo>
                      <a:pt x="528" y="148"/>
                    </a:lnTo>
                    <a:lnTo>
                      <a:pt x="528" y="147"/>
                    </a:lnTo>
                    <a:lnTo>
                      <a:pt x="528" y="146"/>
                    </a:lnTo>
                    <a:lnTo>
                      <a:pt x="527" y="147"/>
                    </a:lnTo>
                    <a:lnTo>
                      <a:pt x="527" y="148"/>
                    </a:lnTo>
                    <a:lnTo>
                      <a:pt x="526" y="149"/>
                    </a:lnTo>
                    <a:lnTo>
                      <a:pt x="526" y="148"/>
                    </a:lnTo>
                    <a:lnTo>
                      <a:pt x="526" y="149"/>
                    </a:lnTo>
                    <a:lnTo>
                      <a:pt x="525" y="149"/>
                    </a:lnTo>
                    <a:lnTo>
                      <a:pt x="526" y="150"/>
                    </a:lnTo>
                    <a:lnTo>
                      <a:pt x="525" y="151"/>
                    </a:lnTo>
                    <a:lnTo>
                      <a:pt x="525" y="152"/>
                    </a:lnTo>
                    <a:lnTo>
                      <a:pt x="524" y="152"/>
                    </a:lnTo>
                    <a:lnTo>
                      <a:pt x="523" y="152"/>
                    </a:lnTo>
                    <a:lnTo>
                      <a:pt x="522" y="152"/>
                    </a:lnTo>
                    <a:lnTo>
                      <a:pt x="522" y="153"/>
                    </a:lnTo>
                    <a:lnTo>
                      <a:pt x="522" y="152"/>
                    </a:lnTo>
                    <a:lnTo>
                      <a:pt x="521" y="152"/>
                    </a:lnTo>
                    <a:lnTo>
                      <a:pt x="521" y="151"/>
                    </a:lnTo>
                    <a:lnTo>
                      <a:pt x="521" y="150"/>
                    </a:lnTo>
                    <a:lnTo>
                      <a:pt x="521" y="151"/>
                    </a:lnTo>
                    <a:lnTo>
                      <a:pt x="519" y="151"/>
                    </a:lnTo>
                    <a:lnTo>
                      <a:pt x="518" y="151"/>
                    </a:lnTo>
                    <a:lnTo>
                      <a:pt x="517" y="151"/>
                    </a:lnTo>
                    <a:lnTo>
                      <a:pt x="516" y="151"/>
                    </a:lnTo>
                    <a:lnTo>
                      <a:pt x="516" y="152"/>
                    </a:lnTo>
                    <a:lnTo>
                      <a:pt x="516" y="153"/>
                    </a:lnTo>
                    <a:lnTo>
                      <a:pt x="515" y="153"/>
                    </a:lnTo>
                    <a:lnTo>
                      <a:pt x="514" y="153"/>
                    </a:lnTo>
                    <a:lnTo>
                      <a:pt x="514" y="154"/>
                    </a:lnTo>
                    <a:lnTo>
                      <a:pt x="513" y="154"/>
                    </a:lnTo>
                    <a:lnTo>
                      <a:pt x="512" y="155"/>
                    </a:lnTo>
                    <a:lnTo>
                      <a:pt x="511" y="154"/>
                    </a:lnTo>
                    <a:lnTo>
                      <a:pt x="510" y="154"/>
                    </a:lnTo>
                    <a:lnTo>
                      <a:pt x="509" y="154"/>
                    </a:lnTo>
                    <a:lnTo>
                      <a:pt x="508" y="153"/>
                    </a:lnTo>
                    <a:lnTo>
                      <a:pt x="508" y="154"/>
                    </a:lnTo>
                    <a:lnTo>
                      <a:pt x="506" y="155"/>
                    </a:lnTo>
                    <a:lnTo>
                      <a:pt x="505" y="155"/>
                    </a:lnTo>
                    <a:lnTo>
                      <a:pt x="504" y="155"/>
                    </a:lnTo>
                    <a:lnTo>
                      <a:pt x="503" y="155"/>
                    </a:lnTo>
                    <a:lnTo>
                      <a:pt x="503" y="157"/>
                    </a:lnTo>
                    <a:lnTo>
                      <a:pt x="503" y="158"/>
                    </a:lnTo>
                    <a:lnTo>
                      <a:pt x="502" y="158"/>
                    </a:lnTo>
                    <a:lnTo>
                      <a:pt x="502" y="157"/>
                    </a:lnTo>
                    <a:lnTo>
                      <a:pt x="502" y="155"/>
                    </a:lnTo>
                    <a:lnTo>
                      <a:pt x="501" y="154"/>
                    </a:lnTo>
                    <a:lnTo>
                      <a:pt x="501" y="153"/>
                    </a:lnTo>
                    <a:lnTo>
                      <a:pt x="500" y="153"/>
                    </a:lnTo>
                    <a:lnTo>
                      <a:pt x="500" y="152"/>
                    </a:lnTo>
                    <a:lnTo>
                      <a:pt x="499" y="152"/>
                    </a:lnTo>
                    <a:lnTo>
                      <a:pt x="498" y="152"/>
                    </a:lnTo>
                    <a:lnTo>
                      <a:pt x="497" y="151"/>
                    </a:lnTo>
                    <a:lnTo>
                      <a:pt x="496" y="150"/>
                    </a:lnTo>
                    <a:lnTo>
                      <a:pt x="495" y="150"/>
                    </a:lnTo>
                    <a:lnTo>
                      <a:pt x="495" y="149"/>
                    </a:lnTo>
                    <a:lnTo>
                      <a:pt x="493" y="149"/>
                    </a:lnTo>
                    <a:lnTo>
                      <a:pt x="493" y="148"/>
                    </a:lnTo>
                    <a:lnTo>
                      <a:pt x="493" y="147"/>
                    </a:lnTo>
                    <a:lnTo>
                      <a:pt x="495" y="147"/>
                    </a:lnTo>
                    <a:lnTo>
                      <a:pt x="495" y="146"/>
                    </a:lnTo>
                    <a:lnTo>
                      <a:pt x="493" y="146"/>
                    </a:lnTo>
                    <a:lnTo>
                      <a:pt x="492" y="146"/>
                    </a:lnTo>
                    <a:lnTo>
                      <a:pt x="492" y="145"/>
                    </a:lnTo>
                    <a:lnTo>
                      <a:pt x="492" y="144"/>
                    </a:lnTo>
                    <a:lnTo>
                      <a:pt x="492" y="142"/>
                    </a:lnTo>
                    <a:lnTo>
                      <a:pt x="492" y="141"/>
                    </a:lnTo>
                    <a:lnTo>
                      <a:pt x="492" y="140"/>
                    </a:lnTo>
                    <a:lnTo>
                      <a:pt x="492" y="139"/>
                    </a:lnTo>
                    <a:lnTo>
                      <a:pt x="491" y="139"/>
                    </a:lnTo>
                    <a:lnTo>
                      <a:pt x="490" y="138"/>
                    </a:lnTo>
                    <a:lnTo>
                      <a:pt x="491" y="138"/>
                    </a:lnTo>
                    <a:lnTo>
                      <a:pt x="491" y="137"/>
                    </a:lnTo>
                    <a:lnTo>
                      <a:pt x="491" y="136"/>
                    </a:lnTo>
                    <a:lnTo>
                      <a:pt x="490" y="136"/>
                    </a:lnTo>
                    <a:lnTo>
                      <a:pt x="489" y="137"/>
                    </a:lnTo>
                    <a:lnTo>
                      <a:pt x="488" y="137"/>
                    </a:lnTo>
                    <a:lnTo>
                      <a:pt x="487" y="137"/>
                    </a:lnTo>
                    <a:lnTo>
                      <a:pt x="486" y="137"/>
                    </a:lnTo>
                    <a:lnTo>
                      <a:pt x="486" y="136"/>
                    </a:lnTo>
                    <a:lnTo>
                      <a:pt x="486" y="135"/>
                    </a:lnTo>
                    <a:lnTo>
                      <a:pt x="486" y="134"/>
                    </a:lnTo>
                    <a:lnTo>
                      <a:pt x="485" y="134"/>
                    </a:lnTo>
                    <a:lnTo>
                      <a:pt x="485" y="133"/>
                    </a:lnTo>
                    <a:lnTo>
                      <a:pt x="484" y="133"/>
                    </a:lnTo>
                    <a:lnTo>
                      <a:pt x="484" y="134"/>
                    </a:lnTo>
                    <a:lnTo>
                      <a:pt x="484" y="133"/>
                    </a:lnTo>
                    <a:lnTo>
                      <a:pt x="483" y="133"/>
                    </a:lnTo>
                    <a:lnTo>
                      <a:pt x="482" y="133"/>
                    </a:lnTo>
                    <a:lnTo>
                      <a:pt x="482" y="134"/>
                    </a:lnTo>
                    <a:lnTo>
                      <a:pt x="480" y="134"/>
                    </a:lnTo>
                    <a:lnTo>
                      <a:pt x="482" y="134"/>
                    </a:lnTo>
                    <a:lnTo>
                      <a:pt x="482" y="135"/>
                    </a:lnTo>
                    <a:lnTo>
                      <a:pt x="480" y="135"/>
                    </a:lnTo>
                    <a:lnTo>
                      <a:pt x="479" y="135"/>
                    </a:lnTo>
                    <a:lnTo>
                      <a:pt x="478" y="135"/>
                    </a:lnTo>
                    <a:lnTo>
                      <a:pt x="477" y="135"/>
                    </a:lnTo>
                    <a:lnTo>
                      <a:pt x="477" y="136"/>
                    </a:lnTo>
                    <a:lnTo>
                      <a:pt x="476" y="135"/>
                    </a:lnTo>
                    <a:lnTo>
                      <a:pt x="475" y="136"/>
                    </a:lnTo>
                    <a:lnTo>
                      <a:pt x="475" y="137"/>
                    </a:lnTo>
                    <a:lnTo>
                      <a:pt x="474" y="137"/>
                    </a:lnTo>
                    <a:lnTo>
                      <a:pt x="473" y="137"/>
                    </a:lnTo>
                    <a:lnTo>
                      <a:pt x="472" y="137"/>
                    </a:lnTo>
                    <a:lnTo>
                      <a:pt x="472" y="136"/>
                    </a:lnTo>
                    <a:lnTo>
                      <a:pt x="471" y="135"/>
                    </a:lnTo>
                    <a:lnTo>
                      <a:pt x="470" y="135"/>
                    </a:lnTo>
                    <a:lnTo>
                      <a:pt x="469" y="135"/>
                    </a:lnTo>
                    <a:lnTo>
                      <a:pt x="469" y="134"/>
                    </a:lnTo>
                    <a:lnTo>
                      <a:pt x="467" y="134"/>
                    </a:lnTo>
                    <a:lnTo>
                      <a:pt x="466" y="134"/>
                    </a:lnTo>
                    <a:lnTo>
                      <a:pt x="467" y="134"/>
                    </a:lnTo>
                    <a:lnTo>
                      <a:pt x="467" y="135"/>
                    </a:lnTo>
                    <a:lnTo>
                      <a:pt x="467" y="136"/>
                    </a:lnTo>
                    <a:lnTo>
                      <a:pt x="466" y="136"/>
                    </a:lnTo>
                    <a:lnTo>
                      <a:pt x="466" y="135"/>
                    </a:lnTo>
                    <a:lnTo>
                      <a:pt x="466" y="134"/>
                    </a:lnTo>
                    <a:lnTo>
                      <a:pt x="465" y="134"/>
                    </a:lnTo>
                    <a:lnTo>
                      <a:pt x="465" y="135"/>
                    </a:lnTo>
                    <a:lnTo>
                      <a:pt x="464" y="135"/>
                    </a:lnTo>
                    <a:lnTo>
                      <a:pt x="464" y="136"/>
                    </a:lnTo>
                    <a:lnTo>
                      <a:pt x="464" y="137"/>
                    </a:lnTo>
                    <a:lnTo>
                      <a:pt x="464" y="138"/>
                    </a:lnTo>
                    <a:lnTo>
                      <a:pt x="463" y="137"/>
                    </a:lnTo>
                    <a:lnTo>
                      <a:pt x="463" y="138"/>
                    </a:lnTo>
                    <a:lnTo>
                      <a:pt x="462" y="138"/>
                    </a:lnTo>
                    <a:lnTo>
                      <a:pt x="462" y="139"/>
                    </a:lnTo>
                    <a:lnTo>
                      <a:pt x="461" y="139"/>
                    </a:lnTo>
                    <a:lnTo>
                      <a:pt x="461" y="140"/>
                    </a:lnTo>
                    <a:lnTo>
                      <a:pt x="460" y="140"/>
                    </a:lnTo>
                    <a:lnTo>
                      <a:pt x="459" y="140"/>
                    </a:lnTo>
                    <a:lnTo>
                      <a:pt x="459" y="144"/>
                    </a:lnTo>
                    <a:lnTo>
                      <a:pt x="459" y="175"/>
                    </a:lnTo>
                    <a:lnTo>
                      <a:pt x="459" y="188"/>
                    </a:lnTo>
                    <a:lnTo>
                      <a:pt x="459" y="192"/>
                    </a:lnTo>
                    <a:lnTo>
                      <a:pt x="459" y="193"/>
                    </a:lnTo>
                    <a:lnTo>
                      <a:pt x="459" y="221"/>
                    </a:lnTo>
                    <a:lnTo>
                      <a:pt x="459" y="232"/>
                    </a:lnTo>
                    <a:lnTo>
                      <a:pt x="459" y="238"/>
                    </a:lnTo>
                    <a:lnTo>
                      <a:pt x="459" y="263"/>
                    </a:lnTo>
                    <a:lnTo>
                      <a:pt x="459" y="264"/>
                    </a:lnTo>
                    <a:lnTo>
                      <a:pt x="460" y="264"/>
                    </a:lnTo>
                    <a:lnTo>
                      <a:pt x="462" y="266"/>
                    </a:lnTo>
                    <a:lnTo>
                      <a:pt x="464" y="268"/>
                    </a:lnTo>
                    <a:lnTo>
                      <a:pt x="464" y="269"/>
                    </a:lnTo>
                    <a:lnTo>
                      <a:pt x="464" y="270"/>
                    </a:lnTo>
                    <a:lnTo>
                      <a:pt x="463" y="270"/>
                    </a:lnTo>
                    <a:lnTo>
                      <a:pt x="462" y="273"/>
                    </a:lnTo>
                    <a:lnTo>
                      <a:pt x="461" y="273"/>
                    </a:lnTo>
                    <a:lnTo>
                      <a:pt x="461" y="274"/>
                    </a:lnTo>
                    <a:lnTo>
                      <a:pt x="460" y="274"/>
                    </a:lnTo>
                    <a:lnTo>
                      <a:pt x="459" y="276"/>
                    </a:lnTo>
                    <a:lnTo>
                      <a:pt x="458" y="277"/>
                    </a:lnTo>
                    <a:lnTo>
                      <a:pt x="458" y="279"/>
                    </a:lnTo>
                    <a:lnTo>
                      <a:pt x="458" y="280"/>
                    </a:lnTo>
                    <a:lnTo>
                      <a:pt x="459" y="282"/>
                    </a:lnTo>
                    <a:lnTo>
                      <a:pt x="459" y="283"/>
                    </a:lnTo>
                    <a:lnTo>
                      <a:pt x="459" y="286"/>
                    </a:lnTo>
                    <a:lnTo>
                      <a:pt x="459" y="287"/>
                    </a:lnTo>
                    <a:lnTo>
                      <a:pt x="459" y="288"/>
                    </a:lnTo>
                    <a:lnTo>
                      <a:pt x="460" y="289"/>
                    </a:lnTo>
                    <a:lnTo>
                      <a:pt x="460" y="291"/>
                    </a:lnTo>
                    <a:lnTo>
                      <a:pt x="460" y="292"/>
                    </a:lnTo>
                    <a:lnTo>
                      <a:pt x="462" y="311"/>
                    </a:lnTo>
                    <a:lnTo>
                      <a:pt x="462" y="312"/>
                    </a:lnTo>
                    <a:lnTo>
                      <a:pt x="462" y="318"/>
                    </a:lnTo>
                    <a:lnTo>
                      <a:pt x="469" y="371"/>
                    </a:lnTo>
                    <a:lnTo>
                      <a:pt x="469" y="378"/>
                    </a:lnTo>
                    <a:lnTo>
                      <a:pt x="470" y="378"/>
                    </a:lnTo>
                    <a:lnTo>
                      <a:pt x="470" y="379"/>
                    </a:lnTo>
                    <a:lnTo>
                      <a:pt x="471" y="379"/>
                    </a:lnTo>
                    <a:lnTo>
                      <a:pt x="471" y="380"/>
                    </a:lnTo>
                    <a:lnTo>
                      <a:pt x="472" y="380"/>
                    </a:lnTo>
                    <a:lnTo>
                      <a:pt x="472" y="381"/>
                    </a:lnTo>
                    <a:lnTo>
                      <a:pt x="472" y="383"/>
                    </a:lnTo>
                    <a:lnTo>
                      <a:pt x="472" y="385"/>
                    </a:lnTo>
                    <a:lnTo>
                      <a:pt x="472" y="386"/>
                    </a:lnTo>
                    <a:lnTo>
                      <a:pt x="472" y="388"/>
                    </a:lnTo>
                    <a:lnTo>
                      <a:pt x="472" y="389"/>
                    </a:lnTo>
                    <a:lnTo>
                      <a:pt x="472" y="390"/>
                    </a:lnTo>
                    <a:lnTo>
                      <a:pt x="473" y="390"/>
                    </a:lnTo>
                    <a:lnTo>
                      <a:pt x="475" y="390"/>
                    </a:lnTo>
                    <a:lnTo>
                      <a:pt x="476" y="390"/>
                    </a:lnTo>
                    <a:lnTo>
                      <a:pt x="476" y="391"/>
                    </a:lnTo>
                    <a:lnTo>
                      <a:pt x="474" y="394"/>
                    </a:lnTo>
                    <a:lnTo>
                      <a:pt x="474" y="396"/>
                    </a:lnTo>
                    <a:lnTo>
                      <a:pt x="474" y="397"/>
                    </a:lnTo>
                    <a:lnTo>
                      <a:pt x="474" y="398"/>
                    </a:lnTo>
                    <a:lnTo>
                      <a:pt x="473" y="398"/>
                    </a:lnTo>
                    <a:lnTo>
                      <a:pt x="472" y="398"/>
                    </a:lnTo>
                    <a:lnTo>
                      <a:pt x="472" y="397"/>
                    </a:lnTo>
                    <a:lnTo>
                      <a:pt x="471" y="397"/>
                    </a:lnTo>
                    <a:lnTo>
                      <a:pt x="471" y="396"/>
                    </a:lnTo>
                    <a:lnTo>
                      <a:pt x="470" y="396"/>
                    </a:lnTo>
                    <a:lnTo>
                      <a:pt x="469" y="396"/>
                    </a:lnTo>
                    <a:lnTo>
                      <a:pt x="460" y="396"/>
                    </a:lnTo>
                    <a:lnTo>
                      <a:pt x="448" y="396"/>
                    </a:lnTo>
                    <a:lnTo>
                      <a:pt x="430" y="396"/>
                    </a:lnTo>
                    <a:lnTo>
                      <a:pt x="426" y="396"/>
                    </a:lnTo>
                    <a:lnTo>
                      <a:pt x="409" y="396"/>
                    </a:lnTo>
                    <a:lnTo>
                      <a:pt x="408" y="397"/>
                    </a:lnTo>
                    <a:lnTo>
                      <a:pt x="399" y="397"/>
                    </a:lnTo>
                    <a:lnTo>
                      <a:pt x="400" y="397"/>
                    </a:lnTo>
                    <a:lnTo>
                      <a:pt x="400" y="395"/>
                    </a:lnTo>
                    <a:lnTo>
                      <a:pt x="402" y="394"/>
                    </a:lnTo>
                    <a:lnTo>
                      <a:pt x="402" y="393"/>
                    </a:lnTo>
                    <a:lnTo>
                      <a:pt x="402" y="392"/>
                    </a:lnTo>
                    <a:lnTo>
                      <a:pt x="401" y="392"/>
                    </a:lnTo>
                    <a:lnTo>
                      <a:pt x="400" y="392"/>
                    </a:lnTo>
                    <a:lnTo>
                      <a:pt x="400" y="391"/>
                    </a:lnTo>
                    <a:lnTo>
                      <a:pt x="399" y="391"/>
                    </a:lnTo>
                    <a:lnTo>
                      <a:pt x="398" y="391"/>
                    </a:lnTo>
                    <a:lnTo>
                      <a:pt x="396" y="391"/>
                    </a:lnTo>
                    <a:lnTo>
                      <a:pt x="395" y="392"/>
                    </a:lnTo>
                    <a:lnTo>
                      <a:pt x="394" y="392"/>
                    </a:lnTo>
                    <a:lnTo>
                      <a:pt x="393" y="393"/>
                    </a:lnTo>
                    <a:lnTo>
                      <a:pt x="392" y="393"/>
                    </a:lnTo>
                    <a:lnTo>
                      <a:pt x="391" y="393"/>
                    </a:lnTo>
                    <a:lnTo>
                      <a:pt x="391" y="392"/>
                    </a:lnTo>
                    <a:lnTo>
                      <a:pt x="391" y="391"/>
                    </a:lnTo>
                    <a:lnTo>
                      <a:pt x="391" y="390"/>
                    </a:lnTo>
                    <a:lnTo>
                      <a:pt x="392" y="390"/>
                    </a:lnTo>
                    <a:lnTo>
                      <a:pt x="392" y="389"/>
                    </a:lnTo>
                    <a:lnTo>
                      <a:pt x="393" y="389"/>
                    </a:lnTo>
                    <a:lnTo>
                      <a:pt x="393" y="388"/>
                    </a:lnTo>
                    <a:lnTo>
                      <a:pt x="393" y="386"/>
                    </a:lnTo>
                    <a:lnTo>
                      <a:pt x="393" y="385"/>
                    </a:lnTo>
                    <a:lnTo>
                      <a:pt x="393" y="384"/>
                    </a:lnTo>
                    <a:lnTo>
                      <a:pt x="392" y="384"/>
                    </a:lnTo>
                    <a:lnTo>
                      <a:pt x="391" y="384"/>
                    </a:lnTo>
                    <a:lnTo>
                      <a:pt x="391" y="383"/>
                    </a:lnTo>
                    <a:lnTo>
                      <a:pt x="389" y="383"/>
                    </a:lnTo>
                    <a:lnTo>
                      <a:pt x="388" y="383"/>
                    </a:lnTo>
                    <a:lnTo>
                      <a:pt x="387" y="383"/>
                    </a:lnTo>
                    <a:lnTo>
                      <a:pt x="386" y="383"/>
                    </a:lnTo>
                    <a:lnTo>
                      <a:pt x="385" y="383"/>
                    </a:lnTo>
                    <a:lnTo>
                      <a:pt x="384" y="383"/>
                    </a:lnTo>
                    <a:lnTo>
                      <a:pt x="384" y="382"/>
                    </a:lnTo>
                    <a:lnTo>
                      <a:pt x="383" y="382"/>
                    </a:lnTo>
                    <a:lnTo>
                      <a:pt x="382" y="382"/>
                    </a:lnTo>
                    <a:lnTo>
                      <a:pt x="381" y="381"/>
                    </a:lnTo>
                    <a:lnTo>
                      <a:pt x="381" y="380"/>
                    </a:lnTo>
                    <a:lnTo>
                      <a:pt x="381" y="379"/>
                    </a:lnTo>
                    <a:lnTo>
                      <a:pt x="382" y="379"/>
                    </a:lnTo>
                    <a:lnTo>
                      <a:pt x="381" y="378"/>
                    </a:lnTo>
                    <a:lnTo>
                      <a:pt x="380" y="377"/>
                    </a:lnTo>
                    <a:lnTo>
                      <a:pt x="379" y="378"/>
                    </a:lnTo>
                    <a:lnTo>
                      <a:pt x="377" y="378"/>
                    </a:lnTo>
                    <a:lnTo>
                      <a:pt x="377" y="379"/>
                    </a:lnTo>
                    <a:lnTo>
                      <a:pt x="376" y="379"/>
                    </a:lnTo>
                    <a:lnTo>
                      <a:pt x="376" y="378"/>
                    </a:lnTo>
                    <a:lnTo>
                      <a:pt x="374" y="378"/>
                    </a:lnTo>
                    <a:lnTo>
                      <a:pt x="374" y="377"/>
                    </a:lnTo>
                    <a:lnTo>
                      <a:pt x="373" y="377"/>
                    </a:lnTo>
                    <a:lnTo>
                      <a:pt x="372" y="377"/>
                    </a:lnTo>
                    <a:lnTo>
                      <a:pt x="372" y="376"/>
                    </a:lnTo>
                    <a:lnTo>
                      <a:pt x="373" y="375"/>
                    </a:lnTo>
                    <a:lnTo>
                      <a:pt x="372" y="373"/>
                    </a:lnTo>
                    <a:lnTo>
                      <a:pt x="372" y="375"/>
                    </a:lnTo>
                    <a:lnTo>
                      <a:pt x="371" y="375"/>
                    </a:lnTo>
                    <a:lnTo>
                      <a:pt x="370" y="375"/>
                    </a:lnTo>
                    <a:lnTo>
                      <a:pt x="370" y="373"/>
                    </a:lnTo>
                    <a:lnTo>
                      <a:pt x="371" y="373"/>
                    </a:lnTo>
                    <a:lnTo>
                      <a:pt x="371" y="371"/>
                    </a:lnTo>
                    <a:lnTo>
                      <a:pt x="370" y="371"/>
                    </a:lnTo>
                    <a:lnTo>
                      <a:pt x="370" y="372"/>
                    </a:lnTo>
                    <a:lnTo>
                      <a:pt x="369" y="372"/>
                    </a:lnTo>
                    <a:lnTo>
                      <a:pt x="369" y="371"/>
                    </a:lnTo>
                    <a:lnTo>
                      <a:pt x="368" y="370"/>
                    </a:lnTo>
                    <a:lnTo>
                      <a:pt x="367" y="370"/>
                    </a:lnTo>
                    <a:lnTo>
                      <a:pt x="367" y="371"/>
                    </a:lnTo>
                    <a:lnTo>
                      <a:pt x="366" y="371"/>
                    </a:lnTo>
                    <a:lnTo>
                      <a:pt x="366" y="370"/>
                    </a:lnTo>
                    <a:lnTo>
                      <a:pt x="364" y="370"/>
                    </a:lnTo>
                    <a:lnTo>
                      <a:pt x="363" y="370"/>
                    </a:lnTo>
                    <a:lnTo>
                      <a:pt x="363" y="371"/>
                    </a:lnTo>
                    <a:lnTo>
                      <a:pt x="362" y="372"/>
                    </a:lnTo>
                    <a:lnTo>
                      <a:pt x="361" y="372"/>
                    </a:lnTo>
                    <a:lnTo>
                      <a:pt x="360" y="373"/>
                    </a:lnTo>
                    <a:lnTo>
                      <a:pt x="359" y="373"/>
                    </a:lnTo>
                    <a:lnTo>
                      <a:pt x="358" y="373"/>
                    </a:lnTo>
                    <a:lnTo>
                      <a:pt x="357" y="375"/>
                    </a:lnTo>
                    <a:lnTo>
                      <a:pt x="356" y="375"/>
                    </a:lnTo>
                    <a:lnTo>
                      <a:pt x="355" y="375"/>
                    </a:lnTo>
                    <a:lnTo>
                      <a:pt x="354" y="375"/>
                    </a:lnTo>
                    <a:lnTo>
                      <a:pt x="353" y="375"/>
                    </a:lnTo>
                    <a:lnTo>
                      <a:pt x="353" y="376"/>
                    </a:lnTo>
                    <a:lnTo>
                      <a:pt x="351" y="376"/>
                    </a:lnTo>
                    <a:lnTo>
                      <a:pt x="351" y="377"/>
                    </a:lnTo>
                    <a:lnTo>
                      <a:pt x="350" y="377"/>
                    </a:lnTo>
                    <a:lnTo>
                      <a:pt x="350" y="378"/>
                    </a:lnTo>
                    <a:lnTo>
                      <a:pt x="351" y="378"/>
                    </a:lnTo>
                    <a:lnTo>
                      <a:pt x="351" y="379"/>
                    </a:lnTo>
                    <a:lnTo>
                      <a:pt x="350" y="380"/>
                    </a:lnTo>
                    <a:lnTo>
                      <a:pt x="350" y="381"/>
                    </a:lnTo>
                    <a:lnTo>
                      <a:pt x="349" y="382"/>
                    </a:lnTo>
                    <a:lnTo>
                      <a:pt x="349" y="383"/>
                    </a:lnTo>
                    <a:lnTo>
                      <a:pt x="349" y="384"/>
                    </a:lnTo>
                    <a:lnTo>
                      <a:pt x="348" y="384"/>
                    </a:lnTo>
                    <a:lnTo>
                      <a:pt x="348" y="385"/>
                    </a:lnTo>
                    <a:lnTo>
                      <a:pt x="348" y="386"/>
                    </a:lnTo>
                    <a:lnTo>
                      <a:pt x="347" y="386"/>
                    </a:lnTo>
                    <a:lnTo>
                      <a:pt x="347" y="388"/>
                    </a:lnTo>
                    <a:lnTo>
                      <a:pt x="347" y="389"/>
                    </a:lnTo>
                    <a:lnTo>
                      <a:pt x="346" y="389"/>
                    </a:lnTo>
                    <a:lnTo>
                      <a:pt x="345" y="389"/>
                    </a:lnTo>
                    <a:lnTo>
                      <a:pt x="345" y="390"/>
                    </a:lnTo>
                    <a:lnTo>
                      <a:pt x="344" y="390"/>
                    </a:lnTo>
                    <a:lnTo>
                      <a:pt x="343" y="390"/>
                    </a:lnTo>
                    <a:lnTo>
                      <a:pt x="342" y="390"/>
                    </a:lnTo>
                    <a:lnTo>
                      <a:pt x="342" y="391"/>
                    </a:lnTo>
                    <a:lnTo>
                      <a:pt x="340" y="391"/>
                    </a:lnTo>
                    <a:lnTo>
                      <a:pt x="338" y="391"/>
                    </a:lnTo>
                    <a:lnTo>
                      <a:pt x="338" y="392"/>
                    </a:lnTo>
                    <a:lnTo>
                      <a:pt x="337" y="392"/>
                    </a:lnTo>
                    <a:lnTo>
                      <a:pt x="336" y="392"/>
                    </a:lnTo>
                    <a:lnTo>
                      <a:pt x="335" y="392"/>
                    </a:lnTo>
                    <a:lnTo>
                      <a:pt x="335" y="393"/>
                    </a:lnTo>
                    <a:lnTo>
                      <a:pt x="334" y="393"/>
                    </a:lnTo>
                    <a:lnTo>
                      <a:pt x="334" y="394"/>
                    </a:lnTo>
                    <a:lnTo>
                      <a:pt x="334" y="393"/>
                    </a:lnTo>
                    <a:lnTo>
                      <a:pt x="333" y="393"/>
                    </a:lnTo>
                    <a:lnTo>
                      <a:pt x="332" y="393"/>
                    </a:lnTo>
                    <a:lnTo>
                      <a:pt x="332" y="394"/>
                    </a:lnTo>
                    <a:lnTo>
                      <a:pt x="331" y="394"/>
                    </a:lnTo>
                    <a:lnTo>
                      <a:pt x="332" y="395"/>
                    </a:lnTo>
                    <a:lnTo>
                      <a:pt x="331" y="395"/>
                    </a:lnTo>
                    <a:lnTo>
                      <a:pt x="331" y="396"/>
                    </a:lnTo>
                    <a:lnTo>
                      <a:pt x="330" y="396"/>
                    </a:lnTo>
                    <a:lnTo>
                      <a:pt x="329" y="396"/>
                    </a:lnTo>
                    <a:lnTo>
                      <a:pt x="328" y="397"/>
                    </a:lnTo>
                    <a:lnTo>
                      <a:pt x="327" y="397"/>
                    </a:lnTo>
                    <a:lnTo>
                      <a:pt x="325" y="397"/>
                    </a:lnTo>
                    <a:lnTo>
                      <a:pt x="324" y="398"/>
                    </a:lnTo>
                    <a:lnTo>
                      <a:pt x="323" y="399"/>
                    </a:lnTo>
                    <a:lnTo>
                      <a:pt x="322" y="402"/>
                    </a:lnTo>
                    <a:lnTo>
                      <a:pt x="320" y="403"/>
                    </a:lnTo>
                    <a:lnTo>
                      <a:pt x="319" y="403"/>
                    </a:lnTo>
                    <a:lnTo>
                      <a:pt x="316" y="402"/>
                    </a:lnTo>
                    <a:lnTo>
                      <a:pt x="315" y="402"/>
                    </a:lnTo>
                    <a:lnTo>
                      <a:pt x="314" y="402"/>
                    </a:lnTo>
                    <a:lnTo>
                      <a:pt x="315" y="403"/>
                    </a:lnTo>
                    <a:lnTo>
                      <a:pt x="314" y="404"/>
                    </a:lnTo>
                    <a:lnTo>
                      <a:pt x="312" y="405"/>
                    </a:lnTo>
                    <a:lnTo>
                      <a:pt x="311" y="406"/>
                    </a:lnTo>
                    <a:lnTo>
                      <a:pt x="310" y="406"/>
                    </a:lnTo>
                    <a:lnTo>
                      <a:pt x="309" y="406"/>
                    </a:lnTo>
                    <a:lnTo>
                      <a:pt x="308" y="405"/>
                    </a:lnTo>
                    <a:lnTo>
                      <a:pt x="307" y="406"/>
                    </a:lnTo>
                    <a:lnTo>
                      <a:pt x="307" y="407"/>
                    </a:lnTo>
                    <a:lnTo>
                      <a:pt x="307" y="408"/>
                    </a:lnTo>
                    <a:lnTo>
                      <a:pt x="307" y="409"/>
                    </a:lnTo>
                    <a:lnTo>
                      <a:pt x="307" y="410"/>
                    </a:lnTo>
                    <a:lnTo>
                      <a:pt x="306" y="411"/>
                    </a:lnTo>
                    <a:lnTo>
                      <a:pt x="306" y="412"/>
                    </a:lnTo>
                    <a:lnTo>
                      <a:pt x="306" y="414"/>
                    </a:lnTo>
                    <a:lnTo>
                      <a:pt x="307" y="414"/>
                    </a:lnTo>
                    <a:lnTo>
                      <a:pt x="306" y="415"/>
                    </a:lnTo>
                    <a:lnTo>
                      <a:pt x="306" y="416"/>
                    </a:lnTo>
                    <a:lnTo>
                      <a:pt x="306" y="417"/>
                    </a:lnTo>
                    <a:lnTo>
                      <a:pt x="306" y="418"/>
                    </a:lnTo>
                    <a:lnTo>
                      <a:pt x="307" y="419"/>
                    </a:lnTo>
                    <a:lnTo>
                      <a:pt x="307" y="420"/>
                    </a:lnTo>
                    <a:lnTo>
                      <a:pt x="307" y="421"/>
                    </a:lnTo>
                    <a:lnTo>
                      <a:pt x="307" y="422"/>
                    </a:lnTo>
                    <a:lnTo>
                      <a:pt x="307" y="423"/>
                    </a:lnTo>
                    <a:lnTo>
                      <a:pt x="308" y="423"/>
                    </a:lnTo>
                    <a:lnTo>
                      <a:pt x="308" y="424"/>
                    </a:lnTo>
                    <a:lnTo>
                      <a:pt x="308" y="425"/>
                    </a:lnTo>
                    <a:lnTo>
                      <a:pt x="307" y="425"/>
                    </a:lnTo>
                    <a:lnTo>
                      <a:pt x="307" y="427"/>
                    </a:lnTo>
                    <a:lnTo>
                      <a:pt x="307" y="428"/>
                    </a:lnTo>
                    <a:lnTo>
                      <a:pt x="307" y="429"/>
                    </a:lnTo>
                    <a:lnTo>
                      <a:pt x="306" y="429"/>
                    </a:lnTo>
                    <a:lnTo>
                      <a:pt x="307" y="430"/>
                    </a:lnTo>
                    <a:lnTo>
                      <a:pt x="307" y="429"/>
                    </a:lnTo>
                    <a:lnTo>
                      <a:pt x="307" y="430"/>
                    </a:lnTo>
                    <a:lnTo>
                      <a:pt x="306" y="431"/>
                    </a:lnTo>
                    <a:lnTo>
                      <a:pt x="306" y="432"/>
                    </a:lnTo>
                    <a:lnTo>
                      <a:pt x="306" y="433"/>
                    </a:lnTo>
                    <a:lnTo>
                      <a:pt x="305" y="434"/>
                    </a:lnTo>
                    <a:lnTo>
                      <a:pt x="304" y="434"/>
                    </a:lnTo>
                    <a:lnTo>
                      <a:pt x="304" y="435"/>
                    </a:lnTo>
                    <a:lnTo>
                      <a:pt x="303" y="435"/>
                    </a:lnTo>
                    <a:lnTo>
                      <a:pt x="303" y="436"/>
                    </a:lnTo>
                    <a:lnTo>
                      <a:pt x="303" y="437"/>
                    </a:lnTo>
                    <a:lnTo>
                      <a:pt x="303" y="436"/>
                    </a:lnTo>
                    <a:lnTo>
                      <a:pt x="303" y="437"/>
                    </a:lnTo>
                    <a:lnTo>
                      <a:pt x="302" y="437"/>
                    </a:lnTo>
                    <a:lnTo>
                      <a:pt x="301" y="438"/>
                    </a:lnTo>
                    <a:lnTo>
                      <a:pt x="299" y="438"/>
                    </a:lnTo>
                    <a:lnTo>
                      <a:pt x="299" y="440"/>
                    </a:lnTo>
                    <a:lnTo>
                      <a:pt x="298" y="440"/>
                    </a:lnTo>
                    <a:lnTo>
                      <a:pt x="297" y="441"/>
                    </a:lnTo>
                    <a:lnTo>
                      <a:pt x="298" y="441"/>
                    </a:lnTo>
                    <a:lnTo>
                      <a:pt x="298" y="442"/>
                    </a:lnTo>
                    <a:lnTo>
                      <a:pt x="298" y="441"/>
                    </a:lnTo>
                    <a:lnTo>
                      <a:pt x="297" y="442"/>
                    </a:lnTo>
                    <a:lnTo>
                      <a:pt x="296" y="442"/>
                    </a:lnTo>
                    <a:lnTo>
                      <a:pt x="296" y="443"/>
                    </a:lnTo>
                    <a:lnTo>
                      <a:pt x="295" y="443"/>
                    </a:lnTo>
                    <a:lnTo>
                      <a:pt x="295" y="444"/>
                    </a:lnTo>
                    <a:lnTo>
                      <a:pt x="294" y="443"/>
                    </a:lnTo>
                    <a:lnTo>
                      <a:pt x="294" y="444"/>
                    </a:lnTo>
                    <a:lnTo>
                      <a:pt x="293" y="444"/>
                    </a:lnTo>
                    <a:lnTo>
                      <a:pt x="292" y="444"/>
                    </a:lnTo>
                    <a:lnTo>
                      <a:pt x="292" y="445"/>
                    </a:lnTo>
                    <a:lnTo>
                      <a:pt x="291" y="445"/>
                    </a:lnTo>
                    <a:lnTo>
                      <a:pt x="290" y="445"/>
                    </a:lnTo>
                    <a:lnTo>
                      <a:pt x="290" y="446"/>
                    </a:lnTo>
                    <a:lnTo>
                      <a:pt x="290" y="445"/>
                    </a:lnTo>
                    <a:lnTo>
                      <a:pt x="290" y="446"/>
                    </a:lnTo>
                    <a:lnTo>
                      <a:pt x="289" y="445"/>
                    </a:lnTo>
                    <a:lnTo>
                      <a:pt x="290" y="445"/>
                    </a:lnTo>
                    <a:lnTo>
                      <a:pt x="289" y="445"/>
                    </a:lnTo>
                    <a:lnTo>
                      <a:pt x="289" y="446"/>
                    </a:lnTo>
                    <a:lnTo>
                      <a:pt x="288" y="446"/>
                    </a:lnTo>
                    <a:lnTo>
                      <a:pt x="288" y="445"/>
                    </a:lnTo>
                    <a:lnTo>
                      <a:pt x="286" y="446"/>
                    </a:lnTo>
                    <a:lnTo>
                      <a:pt x="285" y="446"/>
                    </a:lnTo>
                    <a:lnTo>
                      <a:pt x="284" y="446"/>
                    </a:lnTo>
                    <a:lnTo>
                      <a:pt x="284" y="447"/>
                    </a:lnTo>
                    <a:lnTo>
                      <a:pt x="283" y="448"/>
                    </a:lnTo>
                    <a:lnTo>
                      <a:pt x="283" y="447"/>
                    </a:lnTo>
                    <a:lnTo>
                      <a:pt x="282" y="447"/>
                    </a:lnTo>
                    <a:lnTo>
                      <a:pt x="281" y="447"/>
                    </a:lnTo>
                    <a:lnTo>
                      <a:pt x="280" y="447"/>
                    </a:lnTo>
                    <a:lnTo>
                      <a:pt x="279" y="447"/>
                    </a:lnTo>
                    <a:lnTo>
                      <a:pt x="280" y="447"/>
                    </a:lnTo>
                    <a:lnTo>
                      <a:pt x="280" y="446"/>
                    </a:lnTo>
                    <a:lnTo>
                      <a:pt x="279" y="446"/>
                    </a:lnTo>
                    <a:lnTo>
                      <a:pt x="279" y="445"/>
                    </a:lnTo>
                    <a:lnTo>
                      <a:pt x="279" y="444"/>
                    </a:lnTo>
                    <a:lnTo>
                      <a:pt x="279" y="443"/>
                    </a:lnTo>
                    <a:lnTo>
                      <a:pt x="279" y="444"/>
                    </a:lnTo>
                    <a:lnTo>
                      <a:pt x="278" y="444"/>
                    </a:lnTo>
                    <a:lnTo>
                      <a:pt x="278" y="443"/>
                    </a:lnTo>
                    <a:lnTo>
                      <a:pt x="277" y="444"/>
                    </a:lnTo>
                    <a:lnTo>
                      <a:pt x="277" y="443"/>
                    </a:lnTo>
                    <a:lnTo>
                      <a:pt x="276" y="444"/>
                    </a:lnTo>
                    <a:lnTo>
                      <a:pt x="275" y="444"/>
                    </a:lnTo>
                    <a:lnTo>
                      <a:pt x="273" y="444"/>
                    </a:lnTo>
                    <a:lnTo>
                      <a:pt x="272" y="444"/>
                    </a:lnTo>
                    <a:lnTo>
                      <a:pt x="273" y="444"/>
                    </a:lnTo>
                    <a:lnTo>
                      <a:pt x="272" y="444"/>
                    </a:lnTo>
                    <a:lnTo>
                      <a:pt x="272" y="443"/>
                    </a:lnTo>
                    <a:lnTo>
                      <a:pt x="272" y="444"/>
                    </a:lnTo>
                    <a:lnTo>
                      <a:pt x="271" y="444"/>
                    </a:lnTo>
                    <a:lnTo>
                      <a:pt x="270" y="444"/>
                    </a:lnTo>
                    <a:lnTo>
                      <a:pt x="269" y="444"/>
                    </a:lnTo>
                    <a:lnTo>
                      <a:pt x="268" y="444"/>
                    </a:lnTo>
                    <a:lnTo>
                      <a:pt x="268" y="443"/>
                    </a:lnTo>
                    <a:lnTo>
                      <a:pt x="267" y="443"/>
                    </a:lnTo>
                    <a:lnTo>
                      <a:pt x="268" y="443"/>
                    </a:lnTo>
                    <a:lnTo>
                      <a:pt x="268" y="442"/>
                    </a:lnTo>
                    <a:lnTo>
                      <a:pt x="267" y="442"/>
                    </a:lnTo>
                    <a:lnTo>
                      <a:pt x="266" y="441"/>
                    </a:lnTo>
                    <a:lnTo>
                      <a:pt x="265" y="441"/>
                    </a:lnTo>
                    <a:lnTo>
                      <a:pt x="264" y="441"/>
                    </a:lnTo>
                    <a:lnTo>
                      <a:pt x="264" y="442"/>
                    </a:lnTo>
                    <a:lnTo>
                      <a:pt x="263" y="442"/>
                    </a:lnTo>
                    <a:lnTo>
                      <a:pt x="263" y="443"/>
                    </a:lnTo>
                    <a:lnTo>
                      <a:pt x="262" y="443"/>
                    </a:lnTo>
                    <a:lnTo>
                      <a:pt x="262" y="442"/>
                    </a:lnTo>
                    <a:lnTo>
                      <a:pt x="262" y="443"/>
                    </a:lnTo>
                    <a:lnTo>
                      <a:pt x="260" y="443"/>
                    </a:lnTo>
                    <a:lnTo>
                      <a:pt x="259" y="443"/>
                    </a:lnTo>
                    <a:lnTo>
                      <a:pt x="259" y="444"/>
                    </a:lnTo>
                    <a:lnTo>
                      <a:pt x="258" y="443"/>
                    </a:lnTo>
                    <a:lnTo>
                      <a:pt x="258" y="444"/>
                    </a:lnTo>
                    <a:lnTo>
                      <a:pt x="257" y="444"/>
                    </a:lnTo>
                    <a:lnTo>
                      <a:pt x="258" y="444"/>
                    </a:lnTo>
                    <a:lnTo>
                      <a:pt x="246" y="445"/>
                    </a:lnTo>
                    <a:lnTo>
                      <a:pt x="235" y="446"/>
                    </a:lnTo>
                    <a:lnTo>
                      <a:pt x="235" y="444"/>
                    </a:lnTo>
                    <a:lnTo>
                      <a:pt x="220" y="444"/>
                    </a:lnTo>
                    <a:lnTo>
                      <a:pt x="203" y="444"/>
                    </a:lnTo>
                    <a:lnTo>
                      <a:pt x="196" y="444"/>
                    </a:lnTo>
                    <a:lnTo>
                      <a:pt x="183" y="443"/>
                    </a:lnTo>
                    <a:lnTo>
                      <a:pt x="181" y="443"/>
                    </a:lnTo>
                    <a:lnTo>
                      <a:pt x="180" y="443"/>
                    </a:lnTo>
                    <a:lnTo>
                      <a:pt x="169" y="444"/>
                    </a:lnTo>
                    <a:lnTo>
                      <a:pt x="161" y="444"/>
                    </a:lnTo>
                    <a:lnTo>
                      <a:pt x="161" y="445"/>
                    </a:lnTo>
                    <a:lnTo>
                      <a:pt x="160" y="446"/>
                    </a:lnTo>
                    <a:lnTo>
                      <a:pt x="160" y="447"/>
                    </a:lnTo>
                    <a:lnTo>
                      <a:pt x="160" y="448"/>
                    </a:lnTo>
                    <a:lnTo>
                      <a:pt x="142" y="448"/>
                    </a:lnTo>
                    <a:lnTo>
                      <a:pt x="125" y="450"/>
                    </a:lnTo>
                    <a:lnTo>
                      <a:pt x="118" y="450"/>
                    </a:lnTo>
                    <a:lnTo>
                      <a:pt x="108" y="450"/>
                    </a:lnTo>
                    <a:lnTo>
                      <a:pt x="97" y="450"/>
                    </a:lnTo>
                    <a:lnTo>
                      <a:pt x="97" y="443"/>
                    </a:lnTo>
                    <a:lnTo>
                      <a:pt x="97" y="435"/>
                    </a:lnTo>
                    <a:lnTo>
                      <a:pt x="97" y="417"/>
                    </a:lnTo>
                    <a:lnTo>
                      <a:pt x="97" y="406"/>
                    </a:lnTo>
                    <a:lnTo>
                      <a:pt x="97" y="402"/>
                    </a:lnTo>
                    <a:lnTo>
                      <a:pt x="97" y="392"/>
                    </a:lnTo>
                    <a:lnTo>
                      <a:pt x="97" y="390"/>
                    </a:lnTo>
                    <a:lnTo>
                      <a:pt x="97" y="372"/>
                    </a:lnTo>
                    <a:lnTo>
                      <a:pt x="97" y="364"/>
                    </a:lnTo>
                    <a:lnTo>
                      <a:pt x="95" y="364"/>
                    </a:lnTo>
                    <a:lnTo>
                      <a:pt x="95" y="341"/>
                    </a:lnTo>
                    <a:lnTo>
                      <a:pt x="95" y="327"/>
                    </a:lnTo>
                    <a:lnTo>
                      <a:pt x="95" y="304"/>
                    </a:lnTo>
                    <a:lnTo>
                      <a:pt x="95" y="301"/>
                    </a:lnTo>
                    <a:lnTo>
                      <a:pt x="95" y="298"/>
                    </a:lnTo>
                    <a:lnTo>
                      <a:pt x="95" y="294"/>
                    </a:lnTo>
                    <a:lnTo>
                      <a:pt x="93" y="280"/>
                    </a:lnTo>
                    <a:lnTo>
                      <a:pt x="93" y="253"/>
                    </a:lnTo>
                    <a:lnTo>
                      <a:pt x="93" y="232"/>
                    </a:lnTo>
                    <a:lnTo>
                      <a:pt x="93" y="219"/>
                    </a:lnTo>
                    <a:lnTo>
                      <a:pt x="93" y="208"/>
                    </a:lnTo>
                    <a:lnTo>
                      <a:pt x="93" y="206"/>
                    </a:lnTo>
                    <a:lnTo>
                      <a:pt x="93" y="205"/>
                    </a:lnTo>
                    <a:lnTo>
                      <a:pt x="93" y="199"/>
                    </a:lnTo>
                    <a:lnTo>
                      <a:pt x="93" y="197"/>
                    </a:lnTo>
                    <a:lnTo>
                      <a:pt x="93" y="193"/>
                    </a:lnTo>
                    <a:lnTo>
                      <a:pt x="93" y="192"/>
                    </a:lnTo>
                    <a:lnTo>
                      <a:pt x="93" y="191"/>
                    </a:lnTo>
                    <a:lnTo>
                      <a:pt x="91" y="190"/>
                    </a:lnTo>
                    <a:lnTo>
                      <a:pt x="87" y="190"/>
                    </a:lnTo>
                    <a:lnTo>
                      <a:pt x="84" y="190"/>
                    </a:lnTo>
                    <a:lnTo>
                      <a:pt x="84" y="186"/>
                    </a:lnTo>
                    <a:lnTo>
                      <a:pt x="84" y="175"/>
                    </a:lnTo>
                    <a:lnTo>
                      <a:pt x="73" y="175"/>
                    </a:lnTo>
                    <a:lnTo>
                      <a:pt x="73" y="173"/>
                    </a:lnTo>
                    <a:lnTo>
                      <a:pt x="73" y="171"/>
                    </a:lnTo>
                    <a:lnTo>
                      <a:pt x="73" y="165"/>
                    </a:lnTo>
                    <a:lnTo>
                      <a:pt x="71" y="165"/>
                    </a:lnTo>
                    <a:lnTo>
                      <a:pt x="65" y="165"/>
                    </a:lnTo>
                    <a:lnTo>
                      <a:pt x="63" y="165"/>
                    </a:lnTo>
                    <a:lnTo>
                      <a:pt x="63" y="153"/>
                    </a:lnTo>
                    <a:lnTo>
                      <a:pt x="63" y="152"/>
                    </a:lnTo>
                    <a:lnTo>
                      <a:pt x="63" y="151"/>
                    </a:lnTo>
                    <a:lnTo>
                      <a:pt x="63" y="149"/>
                    </a:lnTo>
                    <a:lnTo>
                      <a:pt x="63" y="148"/>
                    </a:lnTo>
                    <a:lnTo>
                      <a:pt x="63" y="147"/>
                    </a:lnTo>
                    <a:lnTo>
                      <a:pt x="63" y="145"/>
                    </a:lnTo>
                    <a:lnTo>
                      <a:pt x="62" y="145"/>
                    </a:lnTo>
                    <a:lnTo>
                      <a:pt x="52" y="145"/>
                    </a:lnTo>
                    <a:lnTo>
                      <a:pt x="52" y="140"/>
                    </a:lnTo>
                    <a:lnTo>
                      <a:pt x="52" y="139"/>
                    </a:lnTo>
                    <a:lnTo>
                      <a:pt x="47" y="139"/>
                    </a:lnTo>
                    <a:lnTo>
                      <a:pt x="46" y="139"/>
                    </a:lnTo>
                    <a:lnTo>
                      <a:pt x="44" y="139"/>
                    </a:lnTo>
                    <a:lnTo>
                      <a:pt x="41" y="139"/>
                    </a:lnTo>
                    <a:lnTo>
                      <a:pt x="38" y="139"/>
                    </a:lnTo>
                    <a:lnTo>
                      <a:pt x="37" y="139"/>
                    </a:lnTo>
                    <a:lnTo>
                      <a:pt x="36" y="139"/>
                    </a:lnTo>
                    <a:lnTo>
                      <a:pt x="32" y="139"/>
                    </a:lnTo>
                    <a:lnTo>
                      <a:pt x="32" y="137"/>
                    </a:lnTo>
                    <a:lnTo>
                      <a:pt x="32" y="134"/>
                    </a:lnTo>
                    <a:lnTo>
                      <a:pt x="28" y="134"/>
                    </a:lnTo>
                    <a:lnTo>
                      <a:pt x="27" y="134"/>
                    </a:lnTo>
                    <a:lnTo>
                      <a:pt x="11" y="134"/>
                    </a:lnTo>
                    <a:lnTo>
                      <a:pt x="11" y="132"/>
                    </a:lnTo>
                    <a:lnTo>
                      <a:pt x="11" y="128"/>
                    </a:lnTo>
                    <a:lnTo>
                      <a:pt x="5" y="128"/>
                    </a:lnTo>
                    <a:lnTo>
                      <a:pt x="0" y="128"/>
                    </a:lnTo>
                    <a:lnTo>
                      <a:pt x="0" y="126"/>
                    </a:lnTo>
                    <a:lnTo>
                      <a:pt x="0" y="123"/>
                    </a:lnTo>
                    <a:lnTo>
                      <a:pt x="11" y="123"/>
                    </a:lnTo>
                    <a:lnTo>
                      <a:pt x="22" y="123"/>
                    </a:lnTo>
                    <a:lnTo>
                      <a:pt x="22" y="108"/>
                    </a:lnTo>
                    <a:lnTo>
                      <a:pt x="32" y="108"/>
                    </a:lnTo>
                    <a:lnTo>
                      <a:pt x="37" y="108"/>
                    </a:lnTo>
                    <a:lnTo>
                      <a:pt x="43" y="108"/>
                    </a:lnTo>
                    <a:lnTo>
                      <a:pt x="43" y="104"/>
                    </a:lnTo>
                    <a:lnTo>
                      <a:pt x="43" y="102"/>
                    </a:lnTo>
                    <a:lnTo>
                      <a:pt x="43" y="93"/>
                    </a:lnTo>
                    <a:lnTo>
                      <a:pt x="58" y="93"/>
                    </a:lnTo>
                    <a:lnTo>
                      <a:pt x="58" y="82"/>
                    </a:lnTo>
                    <a:lnTo>
                      <a:pt x="67" y="82"/>
                    </a:lnTo>
                    <a:lnTo>
                      <a:pt x="67" y="72"/>
                    </a:lnTo>
                    <a:lnTo>
                      <a:pt x="67" y="71"/>
                    </a:lnTo>
                    <a:lnTo>
                      <a:pt x="83" y="71"/>
                    </a:lnTo>
                    <a:lnTo>
                      <a:pt x="83" y="65"/>
                    </a:lnTo>
                    <a:lnTo>
                      <a:pt x="83" y="61"/>
                    </a:lnTo>
                    <a:lnTo>
                      <a:pt x="93" y="61"/>
                    </a:lnTo>
                    <a:lnTo>
                      <a:pt x="93" y="56"/>
                    </a:lnTo>
                    <a:lnTo>
                      <a:pt x="103" y="56"/>
                    </a:lnTo>
                    <a:lnTo>
                      <a:pt x="103" y="51"/>
                    </a:lnTo>
                    <a:lnTo>
                      <a:pt x="103" y="45"/>
                    </a:lnTo>
                    <a:lnTo>
                      <a:pt x="114" y="45"/>
                    </a:lnTo>
                    <a:lnTo>
                      <a:pt x="114" y="41"/>
                    </a:lnTo>
                    <a:lnTo>
                      <a:pt x="120" y="41"/>
                    </a:lnTo>
                    <a:lnTo>
                      <a:pt x="120" y="35"/>
                    </a:lnTo>
                    <a:lnTo>
                      <a:pt x="121" y="35"/>
                    </a:lnTo>
                    <a:lnTo>
                      <a:pt x="125" y="35"/>
                    </a:lnTo>
                    <a:lnTo>
                      <a:pt x="125" y="30"/>
                    </a:lnTo>
                    <a:lnTo>
                      <a:pt x="128" y="30"/>
                    </a:lnTo>
                    <a:lnTo>
                      <a:pt x="129" y="30"/>
                    </a:lnTo>
                    <a:lnTo>
                      <a:pt x="135" y="30"/>
                    </a:lnTo>
                    <a:lnTo>
                      <a:pt x="135" y="23"/>
                    </a:lnTo>
                    <a:lnTo>
                      <a:pt x="142" y="17"/>
                    </a:lnTo>
                    <a:lnTo>
                      <a:pt x="147" y="13"/>
                    </a:lnTo>
                    <a:lnTo>
                      <a:pt x="161" y="1"/>
                    </a:lnTo>
                    <a:lnTo>
                      <a:pt x="161" y="0"/>
                    </a:lnTo>
                    <a:lnTo>
                      <a:pt x="162" y="1"/>
                    </a:lnTo>
                    <a:lnTo>
                      <a:pt x="164" y="5"/>
                    </a:lnTo>
                    <a:lnTo>
                      <a:pt x="164" y="6"/>
                    </a:lnTo>
                    <a:lnTo>
                      <a:pt x="165" y="7"/>
                    </a:lnTo>
                    <a:lnTo>
                      <a:pt x="165" y="9"/>
                    </a:lnTo>
                    <a:lnTo>
                      <a:pt x="166" y="10"/>
                    </a:lnTo>
                    <a:lnTo>
                      <a:pt x="167" y="12"/>
                    </a:lnTo>
                    <a:lnTo>
                      <a:pt x="168" y="13"/>
                    </a:lnTo>
                    <a:lnTo>
                      <a:pt x="169" y="14"/>
                    </a:lnTo>
                    <a:lnTo>
                      <a:pt x="172" y="17"/>
                    </a:lnTo>
                    <a:lnTo>
                      <a:pt x="173" y="18"/>
                    </a:lnTo>
                    <a:lnTo>
                      <a:pt x="174" y="18"/>
                    </a:lnTo>
                    <a:lnTo>
                      <a:pt x="175" y="18"/>
                    </a:lnTo>
                    <a:lnTo>
                      <a:pt x="176" y="17"/>
                    </a:lnTo>
                    <a:lnTo>
                      <a:pt x="177" y="17"/>
                    </a:lnTo>
                    <a:lnTo>
                      <a:pt x="177" y="16"/>
                    </a:lnTo>
                    <a:lnTo>
                      <a:pt x="178" y="14"/>
                    </a:lnTo>
                    <a:lnTo>
                      <a:pt x="179" y="13"/>
                    </a:lnTo>
                    <a:lnTo>
                      <a:pt x="180" y="12"/>
                    </a:lnTo>
                    <a:lnTo>
                      <a:pt x="181" y="12"/>
                    </a:lnTo>
                    <a:lnTo>
                      <a:pt x="181" y="13"/>
                    </a:lnTo>
                    <a:lnTo>
                      <a:pt x="183" y="13"/>
                    </a:lnTo>
                    <a:lnTo>
                      <a:pt x="183" y="14"/>
                    </a:lnTo>
                    <a:lnTo>
                      <a:pt x="183" y="16"/>
                    </a:lnTo>
                    <a:lnTo>
                      <a:pt x="183" y="17"/>
                    </a:lnTo>
                    <a:lnTo>
                      <a:pt x="183" y="18"/>
                    </a:lnTo>
                    <a:lnTo>
                      <a:pt x="182" y="19"/>
                    </a:lnTo>
                    <a:lnTo>
                      <a:pt x="181" y="19"/>
                    </a:lnTo>
                    <a:lnTo>
                      <a:pt x="179" y="19"/>
                    </a:lnTo>
                    <a:lnTo>
                      <a:pt x="178" y="18"/>
                    </a:lnTo>
                    <a:lnTo>
                      <a:pt x="177" y="18"/>
                    </a:lnTo>
                    <a:lnTo>
                      <a:pt x="174" y="19"/>
                    </a:lnTo>
                    <a:lnTo>
                      <a:pt x="174" y="20"/>
                    </a:lnTo>
                    <a:lnTo>
                      <a:pt x="174" y="22"/>
                    </a:lnTo>
                    <a:lnTo>
                      <a:pt x="174" y="24"/>
                    </a:lnTo>
                    <a:lnTo>
                      <a:pt x="173" y="25"/>
                    </a:lnTo>
                    <a:lnTo>
                      <a:pt x="174" y="27"/>
                    </a:lnTo>
                    <a:lnTo>
                      <a:pt x="175" y="29"/>
                    </a:lnTo>
                    <a:lnTo>
                      <a:pt x="178" y="30"/>
                    </a:lnTo>
                    <a:lnTo>
                      <a:pt x="179" y="32"/>
                    </a:lnTo>
                    <a:lnTo>
                      <a:pt x="179" y="33"/>
                    </a:lnTo>
                    <a:lnTo>
                      <a:pt x="177" y="34"/>
                    </a:lnTo>
                    <a:lnTo>
                      <a:pt x="174" y="34"/>
                    </a:lnTo>
                    <a:lnTo>
                      <a:pt x="173" y="34"/>
                    </a:lnTo>
                    <a:lnTo>
                      <a:pt x="169" y="34"/>
                    </a:lnTo>
                    <a:lnTo>
                      <a:pt x="168" y="34"/>
                    </a:lnTo>
                    <a:lnTo>
                      <a:pt x="168" y="35"/>
                    </a:lnTo>
                    <a:lnTo>
                      <a:pt x="168" y="37"/>
                    </a:lnTo>
                    <a:lnTo>
                      <a:pt x="168" y="39"/>
                    </a:lnTo>
                    <a:lnTo>
                      <a:pt x="168" y="41"/>
                    </a:lnTo>
                    <a:lnTo>
                      <a:pt x="168" y="46"/>
                    </a:lnTo>
                    <a:lnTo>
                      <a:pt x="169" y="48"/>
                    </a:lnTo>
                    <a:lnTo>
                      <a:pt x="169" y="49"/>
                    </a:lnTo>
                    <a:lnTo>
                      <a:pt x="170" y="50"/>
                    </a:lnTo>
                    <a:lnTo>
                      <a:pt x="172" y="51"/>
                    </a:lnTo>
                    <a:lnTo>
                      <a:pt x="173" y="52"/>
                    </a:lnTo>
                    <a:lnTo>
                      <a:pt x="175" y="54"/>
                    </a:lnTo>
                    <a:lnTo>
                      <a:pt x="177" y="52"/>
                    </a:lnTo>
                    <a:lnTo>
                      <a:pt x="179" y="52"/>
                    </a:lnTo>
                    <a:lnTo>
                      <a:pt x="181" y="51"/>
                    </a:lnTo>
                    <a:lnTo>
                      <a:pt x="182" y="50"/>
                    </a:lnTo>
                    <a:lnTo>
                      <a:pt x="185" y="51"/>
                    </a:lnTo>
                    <a:lnTo>
                      <a:pt x="185" y="54"/>
                    </a:lnTo>
                    <a:lnTo>
                      <a:pt x="183" y="56"/>
                    </a:lnTo>
                    <a:lnTo>
                      <a:pt x="182" y="57"/>
                    </a:lnTo>
                    <a:lnTo>
                      <a:pt x="181" y="59"/>
                    </a:lnTo>
                    <a:lnTo>
                      <a:pt x="178" y="61"/>
                    </a:lnTo>
                    <a:lnTo>
                      <a:pt x="177" y="62"/>
                    </a:lnTo>
                    <a:lnTo>
                      <a:pt x="176" y="64"/>
                    </a:lnTo>
                    <a:lnTo>
                      <a:pt x="177" y="67"/>
                    </a:lnTo>
                    <a:lnTo>
                      <a:pt x="177" y="68"/>
                    </a:lnTo>
                    <a:lnTo>
                      <a:pt x="178" y="69"/>
                    </a:lnTo>
                    <a:lnTo>
                      <a:pt x="180" y="70"/>
                    </a:lnTo>
                    <a:lnTo>
                      <a:pt x="182" y="71"/>
                    </a:lnTo>
                    <a:lnTo>
                      <a:pt x="183" y="71"/>
                    </a:lnTo>
                    <a:lnTo>
                      <a:pt x="186" y="72"/>
                    </a:lnTo>
                    <a:lnTo>
                      <a:pt x="187" y="73"/>
                    </a:lnTo>
                    <a:lnTo>
                      <a:pt x="187" y="74"/>
                    </a:lnTo>
                    <a:lnTo>
                      <a:pt x="186" y="75"/>
                    </a:lnTo>
                    <a:lnTo>
                      <a:pt x="183" y="75"/>
                    </a:lnTo>
                    <a:lnTo>
                      <a:pt x="181" y="77"/>
                    </a:lnTo>
                    <a:lnTo>
                      <a:pt x="179" y="78"/>
                    </a:lnTo>
                    <a:lnTo>
                      <a:pt x="177" y="78"/>
                    </a:lnTo>
                    <a:lnTo>
                      <a:pt x="176" y="80"/>
                    </a:lnTo>
                    <a:lnTo>
                      <a:pt x="175" y="82"/>
                    </a:lnTo>
                    <a:lnTo>
                      <a:pt x="175" y="83"/>
                    </a:lnTo>
                    <a:lnTo>
                      <a:pt x="176" y="83"/>
                    </a:lnTo>
                    <a:lnTo>
                      <a:pt x="176" y="84"/>
                    </a:lnTo>
                    <a:lnTo>
                      <a:pt x="177" y="85"/>
                    </a:lnTo>
                    <a:lnTo>
                      <a:pt x="178" y="86"/>
                    </a:lnTo>
                    <a:lnTo>
                      <a:pt x="180" y="86"/>
                    </a:lnTo>
                    <a:lnTo>
                      <a:pt x="182" y="87"/>
                    </a:lnTo>
                    <a:lnTo>
                      <a:pt x="183" y="88"/>
                    </a:lnTo>
                    <a:lnTo>
                      <a:pt x="185" y="88"/>
                    </a:lnTo>
                    <a:lnTo>
                      <a:pt x="186" y="88"/>
                    </a:lnTo>
                    <a:lnTo>
                      <a:pt x="188" y="87"/>
                    </a:lnTo>
                    <a:lnTo>
                      <a:pt x="189" y="85"/>
                    </a:lnTo>
                    <a:lnTo>
                      <a:pt x="190" y="83"/>
                    </a:lnTo>
                    <a:lnTo>
                      <a:pt x="190" y="82"/>
                    </a:lnTo>
                    <a:lnTo>
                      <a:pt x="191" y="82"/>
                    </a:lnTo>
                    <a:lnTo>
                      <a:pt x="192" y="81"/>
                    </a:lnTo>
                    <a:lnTo>
                      <a:pt x="192" y="82"/>
                    </a:lnTo>
                    <a:lnTo>
                      <a:pt x="192" y="83"/>
                    </a:lnTo>
                    <a:lnTo>
                      <a:pt x="193" y="84"/>
                    </a:lnTo>
                    <a:lnTo>
                      <a:pt x="193" y="85"/>
                    </a:lnTo>
                    <a:lnTo>
                      <a:pt x="193" y="87"/>
                    </a:lnTo>
                    <a:lnTo>
                      <a:pt x="193" y="88"/>
                    </a:lnTo>
                    <a:lnTo>
                      <a:pt x="193" y="89"/>
                    </a:lnTo>
                    <a:lnTo>
                      <a:pt x="194" y="90"/>
                    </a:lnTo>
                    <a:lnTo>
                      <a:pt x="194" y="91"/>
                    </a:lnTo>
                    <a:lnTo>
                      <a:pt x="195" y="91"/>
                    </a:lnTo>
                    <a:lnTo>
                      <a:pt x="195" y="93"/>
                    </a:lnTo>
                    <a:lnTo>
                      <a:pt x="196" y="93"/>
                    </a:lnTo>
                    <a:lnTo>
                      <a:pt x="198" y="94"/>
                    </a:lnTo>
                    <a:lnTo>
                      <a:pt x="199" y="94"/>
                    </a:lnTo>
                    <a:lnTo>
                      <a:pt x="200" y="94"/>
                    </a:lnTo>
                    <a:lnTo>
                      <a:pt x="201" y="94"/>
                    </a:lnTo>
                    <a:lnTo>
                      <a:pt x="202" y="94"/>
                    </a:lnTo>
                    <a:lnTo>
                      <a:pt x="203" y="94"/>
                    </a:lnTo>
                    <a:lnTo>
                      <a:pt x="204" y="93"/>
                    </a:lnTo>
                    <a:lnTo>
                      <a:pt x="205" y="93"/>
                    </a:lnTo>
                    <a:lnTo>
                      <a:pt x="207" y="91"/>
                    </a:lnTo>
                    <a:lnTo>
                      <a:pt x="208" y="90"/>
                    </a:lnTo>
                    <a:lnTo>
                      <a:pt x="209" y="90"/>
                    </a:lnTo>
                    <a:lnTo>
                      <a:pt x="211" y="90"/>
                    </a:lnTo>
                    <a:lnTo>
                      <a:pt x="212" y="89"/>
                    </a:lnTo>
                    <a:lnTo>
                      <a:pt x="213" y="90"/>
                    </a:lnTo>
                    <a:lnTo>
                      <a:pt x="214" y="90"/>
                    </a:lnTo>
                    <a:lnTo>
                      <a:pt x="214" y="91"/>
                    </a:lnTo>
                    <a:lnTo>
                      <a:pt x="215" y="91"/>
                    </a:lnTo>
                    <a:lnTo>
                      <a:pt x="219" y="90"/>
                    </a:lnTo>
                    <a:lnTo>
                      <a:pt x="224" y="89"/>
                    </a:lnTo>
                    <a:lnTo>
                      <a:pt x="225" y="89"/>
                    </a:lnTo>
                    <a:lnTo>
                      <a:pt x="237" y="86"/>
                    </a:lnTo>
                    <a:lnTo>
                      <a:pt x="246" y="84"/>
                    </a:lnTo>
                    <a:lnTo>
                      <a:pt x="255" y="82"/>
                    </a:lnTo>
                    <a:lnTo>
                      <a:pt x="259" y="81"/>
                    </a:lnTo>
                    <a:lnTo>
                      <a:pt x="270" y="78"/>
                    </a:lnTo>
                    <a:lnTo>
                      <a:pt x="276" y="76"/>
                    </a:lnTo>
                    <a:lnTo>
                      <a:pt x="280" y="75"/>
                    </a:lnTo>
                    <a:lnTo>
                      <a:pt x="285" y="74"/>
                    </a:lnTo>
                    <a:lnTo>
                      <a:pt x="289" y="73"/>
                    </a:lnTo>
                    <a:lnTo>
                      <a:pt x="308" y="69"/>
                    </a:lnTo>
                    <a:lnTo>
                      <a:pt x="316" y="67"/>
                    </a:lnTo>
                    <a:lnTo>
                      <a:pt x="324" y="64"/>
                    </a:lnTo>
                    <a:lnTo>
                      <a:pt x="325" y="64"/>
                    </a:lnTo>
                    <a:lnTo>
                      <a:pt x="328" y="64"/>
                    </a:lnTo>
                    <a:lnTo>
                      <a:pt x="345" y="60"/>
                    </a:lnTo>
                    <a:lnTo>
                      <a:pt x="350" y="59"/>
                    </a:lnTo>
                    <a:lnTo>
                      <a:pt x="368" y="55"/>
                    </a:lnTo>
                    <a:lnTo>
                      <a:pt x="372" y="54"/>
                    </a:lnTo>
                    <a:lnTo>
                      <a:pt x="377" y="51"/>
                    </a:lnTo>
                    <a:lnTo>
                      <a:pt x="396" y="48"/>
                    </a:lnTo>
                    <a:lnTo>
                      <a:pt x="397" y="47"/>
                    </a:lnTo>
                    <a:lnTo>
                      <a:pt x="415" y="43"/>
                    </a:lnTo>
                    <a:lnTo>
                      <a:pt x="427" y="42"/>
                    </a:lnTo>
                    <a:lnTo>
                      <a:pt x="431" y="41"/>
                    </a:lnTo>
                    <a:lnTo>
                      <a:pt x="434" y="39"/>
                    </a:lnTo>
                    <a:lnTo>
                      <a:pt x="467" y="32"/>
                    </a:lnTo>
                    <a:lnTo>
                      <a:pt x="473" y="31"/>
                    </a:lnTo>
                    <a:lnTo>
                      <a:pt x="482" y="29"/>
                    </a:lnTo>
                    <a:close/>
                  </a:path>
                </a:pathLst>
              </a:custGeom>
              <a:solidFill>
                <a:srgbClr val="0E498E"/>
              </a:solidFill>
              <a:ln w="6350">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3" name="Freeform 43">
                <a:extLst>
                  <a:ext uri="{FF2B5EF4-FFF2-40B4-BE49-F238E27FC236}">
                    <a16:creationId xmlns:a16="http://schemas.microsoft.com/office/drawing/2014/main" id="{62BA4FE7-53B6-AB7D-2557-B333E0A365C5}"/>
                  </a:ext>
                </a:extLst>
              </p:cNvPr>
              <p:cNvSpPr>
                <a:spLocks/>
              </p:cNvSpPr>
              <p:nvPr/>
            </p:nvSpPr>
            <p:spPr bwMode="auto">
              <a:xfrm>
                <a:off x="2185988" y="2536825"/>
                <a:ext cx="755650" cy="466725"/>
              </a:xfrm>
              <a:custGeom>
                <a:avLst/>
                <a:gdLst>
                  <a:gd name="T0" fmla="*/ 375 w 476"/>
                  <a:gd name="T1" fmla="*/ 11 h 294"/>
                  <a:gd name="T2" fmla="*/ 382 w 476"/>
                  <a:gd name="T3" fmla="*/ 19 h 294"/>
                  <a:gd name="T4" fmla="*/ 386 w 476"/>
                  <a:gd name="T5" fmla="*/ 25 h 294"/>
                  <a:gd name="T6" fmla="*/ 381 w 476"/>
                  <a:gd name="T7" fmla="*/ 32 h 294"/>
                  <a:gd name="T8" fmla="*/ 380 w 476"/>
                  <a:gd name="T9" fmla="*/ 43 h 294"/>
                  <a:gd name="T10" fmla="*/ 375 w 476"/>
                  <a:gd name="T11" fmla="*/ 54 h 294"/>
                  <a:gd name="T12" fmla="*/ 370 w 476"/>
                  <a:gd name="T13" fmla="*/ 57 h 294"/>
                  <a:gd name="T14" fmla="*/ 367 w 476"/>
                  <a:gd name="T15" fmla="*/ 67 h 294"/>
                  <a:gd name="T16" fmla="*/ 376 w 476"/>
                  <a:gd name="T17" fmla="*/ 71 h 294"/>
                  <a:gd name="T18" fmla="*/ 381 w 476"/>
                  <a:gd name="T19" fmla="*/ 79 h 294"/>
                  <a:gd name="T20" fmla="*/ 379 w 476"/>
                  <a:gd name="T21" fmla="*/ 84 h 294"/>
                  <a:gd name="T22" fmla="*/ 371 w 476"/>
                  <a:gd name="T23" fmla="*/ 89 h 294"/>
                  <a:gd name="T24" fmla="*/ 371 w 476"/>
                  <a:gd name="T25" fmla="*/ 100 h 294"/>
                  <a:gd name="T26" fmla="*/ 374 w 476"/>
                  <a:gd name="T27" fmla="*/ 111 h 294"/>
                  <a:gd name="T28" fmla="*/ 374 w 476"/>
                  <a:gd name="T29" fmla="*/ 118 h 294"/>
                  <a:gd name="T30" fmla="*/ 383 w 476"/>
                  <a:gd name="T31" fmla="*/ 120 h 294"/>
                  <a:gd name="T32" fmla="*/ 374 w 476"/>
                  <a:gd name="T33" fmla="*/ 124 h 294"/>
                  <a:gd name="T34" fmla="*/ 367 w 476"/>
                  <a:gd name="T35" fmla="*/ 129 h 294"/>
                  <a:gd name="T36" fmla="*/ 365 w 476"/>
                  <a:gd name="T37" fmla="*/ 131 h 294"/>
                  <a:gd name="T38" fmla="*/ 389 w 476"/>
                  <a:gd name="T39" fmla="*/ 145 h 294"/>
                  <a:gd name="T40" fmla="*/ 406 w 476"/>
                  <a:gd name="T41" fmla="*/ 155 h 294"/>
                  <a:gd name="T42" fmla="*/ 404 w 476"/>
                  <a:gd name="T43" fmla="*/ 160 h 294"/>
                  <a:gd name="T44" fmla="*/ 409 w 476"/>
                  <a:gd name="T45" fmla="*/ 174 h 294"/>
                  <a:gd name="T46" fmla="*/ 424 w 476"/>
                  <a:gd name="T47" fmla="*/ 184 h 294"/>
                  <a:gd name="T48" fmla="*/ 414 w 476"/>
                  <a:gd name="T49" fmla="*/ 188 h 294"/>
                  <a:gd name="T50" fmla="*/ 426 w 476"/>
                  <a:gd name="T51" fmla="*/ 187 h 294"/>
                  <a:gd name="T52" fmla="*/ 428 w 476"/>
                  <a:gd name="T53" fmla="*/ 200 h 294"/>
                  <a:gd name="T54" fmla="*/ 425 w 476"/>
                  <a:gd name="T55" fmla="*/ 210 h 294"/>
                  <a:gd name="T56" fmla="*/ 438 w 476"/>
                  <a:gd name="T57" fmla="*/ 217 h 294"/>
                  <a:gd name="T58" fmla="*/ 447 w 476"/>
                  <a:gd name="T59" fmla="*/ 217 h 294"/>
                  <a:gd name="T60" fmla="*/ 453 w 476"/>
                  <a:gd name="T61" fmla="*/ 231 h 294"/>
                  <a:gd name="T62" fmla="*/ 450 w 476"/>
                  <a:gd name="T63" fmla="*/ 220 h 294"/>
                  <a:gd name="T64" fmla="*/ 464 w 476"/>
                  <a:gd name="T65" fmla="*/ 219 h 294"/>
                  <a:gd name="T66" fmla="*/ 472 w 476"/>
                  <a:gd name="T67" fmla="*/ 227 h 294"/>
                  <a:gd name="T68" fmla="*/ 366 w 476"/>
                  <a:gd name="T69" fmla="*/ 254 h 294"/>
                  <a:gd name="T70" fmla="*/ 253 w 476"/>
                  <a:gd name="T71" fmla="*/ 281 h 294"/>
                  <a:gd name="T72" fmla="*/ 202 w 476"/>
                  <a:gd name="T73" fmla="*/ 290 h 294"/>
                  <a:gd name="T74" fmla="*/ 188 w 476"/>
                  <a:gd name="T75" fmla="*/ 290 h 294"/>
                  <a:gd name="T76" fmla="*/ 180 w 476"/>
                  <a:gd name="T77" fmla="*/ 288 h 294"/>
                  <a:gd name="T78" fmla="*/ 175 w 476"/>
                  <a:gd name="T79" fmla="*/ 277 h 294"/>
                  <a:gd name="T80" fmla="*/ 172 w 476"/>
                  <a:gd name="T81" fmla="*/ 261 h 294"/>
                  <a:gd name="T82" fmla="*/ 163 w 476"/>
                  <a:gd name="T83" fmla="*/ 249 h 294"/>
                  <a:gd name="T84" fmla="*/ 172 w 476"/>
                  <a:gd name="T85" fmla="*/ 230 h 294"/>
                  <a:gd name="T86" fmla="*/ 177 w 476"/>
                  <a:gd name="T87" fmla="*/ 217 h 294"/>
                  <a:gd name="T88" fmla="*/ 167 w 476"/>
                  <a:gd name="T89" fmla="*/ 218 h 294"/>
                  <a:gd name="T90" fmla="*/ 156 w 476"/>
                  <a:gd name="T91" fmla="*/ 198 h 294"/>
                  <a:gd name="T92" fmla="*/ 143 w 476"/>
                  <a:gd name="T93" fmla="*/ 190 h 294"/>
                  <a:gd name="T94" fmla="*/ 130 w 476"/>
                  <a:gd name="T95" fmla="*/ 178 h 294"/>
                  <a:gd name="T96" fmla="*/ 121 w 476"/>
                  <a:gd name="T97" fmla="*/ 164 h 294"/>
                  <a:gd name="T98" fmla="*/ 104 w 476"/>
                  <a:gd name="T99" fmla="*/ 143 h 294"/>
                  <a:gd name="T100" fmla="*/ 71 w 476"/>
                  <a:gd name="T101" fmla="*/ 135 h 294"/>
                  <a:gd name="T102" fmla="*/ 45 w 476"/>
                  <a:gd name="T103" fmla="*/ 127 h 294"/>
                  <a:gd name="T104" fmla="*/ 41 w 476"/>
                  <a:gd name="T105" fmla="*/ 107 h 294"/>
                  <a:gd name="T106" fmla="*/ 29 w 476"/>
                  <a:gd name="T107" fmla="*/ 93 h 294"/>
                  <a:gd name="T108" fmla="*/ 16 w 476"/>
                  <a:gd name="T109" fmla="*/ 87 h 294"/>
                  <a:gd name="T110" fmla="*/ 7 w 476"/>
                  <a:gd name="T111" fmla="*/ 69 h 294"/>
                  <a:gd name="T112" fmla="*/ 35 w 476"/>
                  <a:gd name="T113" fmla="*/ 63 h 294"/>
                  <a:gd name="T114" fmla="*/ 215 w 476"/>
                  <a:gd name="T115" fmla="*/ 51 h 294"/>
                  <a:gd name="T116" fmla="*/ 303 w 476"/>
                  <a:gd name="T11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6" h="294">
                    <a:moveTo>
                      <a:pt x="374" y="0"/>
                    </a:moveTo>
                    <a:lnTo>
                      <a:pt x="374" y="1"/>
                    </a:lnTo>
                    <a:lnTo>
                      <a:pt x="374" y="2"/>
                    </a:lnTo>
                    <a:lnTo>
                      <a:pt x="375" y="3"/>
                    </a:lnTo>
                    <a:lnTo>
                      <a:pt x="374" y="3"/>
                    </a:lnTo>
                    <a:lnTo>
                      <a:pt x="374" y="4"/>
                    </a:lnTo>
                    <a:lnTo>
                      <a:pt x="373" y="4"/>
                    </a:lnTo>
                    <a:lnTo>
                      <a:pt x="373" y="5"/>
                    </a:lnTo>
                    <a:lnTo>
                      <a:pt x="373" y="6"/>
                    </a:lnTo>
                    <a:lnTo>
                      <a:pt x="374" y="7"/>
                    </a:lnTo>
                    <a:lnTo>
                      <a:pt x="374" y="8"/>
                    </a:lnTo>
                    <a:lnTo>
                      <a:pt x="374" y="10"/>
                    </a:lnTo>
                    <a:lnTo>
                      <a:pt x="374" y="11"/>
                    </a:lnTo>
                    <a:lnTo>
                      <a:pt x="375" y="11"/>
                    </a:lnTo>
                    <a:lnTo>
                      <a:pt x="375" y="12"/>
                    </a:lnTo>
                    <a:lnTo>
                      <a:pt x="376" y="12"/>
                    </a:lnTo>
                    <a:lnTo>
                      <a:pt x="377" y="13"/>
                    </a:lnTo>
                    <a:lnTo>
                      <a:pt x="378" y="13"/>
                    </a:lnTo>
                    <a:lnTo>
                      <a:pt x="379" y="12"/>
                    </a:lnTo>
                    <a:lnTo>
                      <a:pt x="380" y="13"/>
                    </a:lnTo>
                    <a:lnTo>
                      <a:pt x="380" y="14"/>
                    </a:lnTo>
                    <a:lnTo>
                      <a:pt x="381" y="14"/>
                    </a:lnTo>
                    <a:lnTo>
                      <a:pt x="381" y="15"/>
                    </a:lnTo>
                    <a:lnTo>
                      <a:pt x="381" y="16"/>
                    </a:lnTo>
                    <a:lnTo>
                      <a:pt x="381" y="17"/>
                    </a:lnTo>
                    <a:lnTo>
                      <a:pt x="382" y="17"/>
                    </a:lnTo>
                    <a:lnTo>
                      <a:pt x="382" y="18"/>
                    </a:lnTo>
                    <a:lnTo>
                      <a:pt x="382" y="19"/>
                    </a:lnTo>
                    <a:lnTo>
                      <a:pt x="383" y="19"/>
                    </a:lnTo>
                    <a:lnTo>
                      <a:pt x="385" y="19"/>
                    </a:lnTo>
                    <a:lnTo>
                      <a:pt x="385" y="20"/>
                    </a:lnTo>
                    <a:lnTo>
                      <a:pt x="385" y="21"/>
                    </a:lnTo>
                    <a:lnTo>
                      <a:pt x="385" y="23"/>
                    </a:lnTo>
                    <a:lnTo>
                      <a:pt x="383" y="23"/>
                    </a:lnTo>
                    <a:lnTo>
                      <a:pt x="382" y="23"/>
                    </a:lnTo>
                    <a:lnTo>
                      <a:pt x="382" y="24"/>
                    </a:lnTo>
                    <a:lnTo>
                      <a:pt x="383" y="25"/>
                    </a:lnTo>
                    <a:lnTo>
                      <a:pt x="385" y="25"/>
                    </a:lnTo>
                    <a:lnTo>
                      <a:pt x="385" y="26"/>
                    </a:lnTo>
                    <a:lnTo>
                      <a:pt x="385" y="27"/>
                    </a:lnTo>
                    <a:lnTo>
                      <a:pt x="386" y="26"/>
                    </a:lnTo>
                    <a:lnTo>
                      <a:pt x="386" y="25"/>
                    </a:lnTo>
                    <a:lnTo>
                      <a:pt x="387" y="25"/>
                    </a:lnTo>
                    <a:lnTo>
                      <a:pt x="388" y="25"/>
                    </a:lnTo>
                    <a:lnTo>
                      <a:pt x="389" y="26"/>
                    </a:lnTo>
                    <a:lnTo>
                      <a:pt x="389" y="27"/>
                    </a:lnTo>
                    <a:lnTo>
                      <a:pt x="389" y="28"/>
                    </a:lnTo>
                    <a:lnTo>
                      <a:pt x="388" y="29"/>
                    </a:lnTo>
                    <a:lnTo>
                      <a:pt x="388" y="30"/>
                    </a:lnTo>
                    <a:lnTo>
                      <a:pt x="387" y="30"/>
                    </a:lnTo>
                    <a:lnTo>
                      <a:pt x="386" y="30"/>
                    </a:lnTo>
                    <a:lnTo>
                      <a:pt x="385" y="30"/>
                    </a:lnTo>
                    <a:lnTo>
                      <a:pt x="383" y="30"/>
                    </a:lnTo>
                    <a:lnTo>
                      <a:pt x="383" y="31"/>
                    </a:lnTo>
                    <a:lnTo>
                      <a:pt x="382" y="31"/>
                    </a:lnTo>
                    <a:lnTo>
                      <a:pt x="381" y="32"/>
                    </a:lnTo>
                    <a:lnTo>
                      <a:pt x="380" y="33"/>
                    </a:lnTo>
                    <a:lnTo>
                      <a:pt x="380" y="34"/>
                    </a:lnTo>
                    <a:lnTo>
                      <a:pt x="379" y="36"/>
                    </a:lnTo>
                    <a:lnTo>
                      <a:pt x="378" y="36"/>
                    </a:lnTo>
                    <a:lnTo>
                      <a:pt x="377" y="37"/>
                    </a:lnTo>
                    <a:lnTo>
                      <a:pt x="377" y="38"/>
                    </a:lnTo>
                    <a:lnTo>
                      <a:pt x="376" y="38"/>
                    </a:lnTo>
                    <a:lnTo>
                      <a:pt x="376" y="39"/>
                    </a:lnTo>
                    <a:lnTo>
                      <a:pt x="378" y="40"/>
                    </a:lnTo>
                    <a:lnTo>
                      <a:pt x="378" y="41"/>
                    </a:lnTo>
                    <a:lnTo>
                      <a:pt x="379" y="41"/>
                    </a:lnTo>
                    <a:lnTo>
                      <a:pt x="381" y="42"/>
                    </a:lnTo>
                    <a:lnTo>
                      <a:pt x="381" y="43"/>
                    </a:lnTo>
                    <a:lnTo>
                      <a:pt x="380" y="43"/>
                    </a:lnTo>
                    <a:lnTo>
                      <a:pt x="379" y="43"/>
                    </a:lnTo>
                    <a:lnTo>
                      <a:pt x="378" y="43"/>
                    </a:lnTo>
                    <a:lnTo>
                      <a:pt x="377" y="43"/>
                    </a:lnTo>
                    <a:lnTo>
                      <a:pt x="376" y="45"/>
                    </a:lnTo>
                    <a:lnTo>
                      <a:pt x="376" y="46"/>
                    </a:lnTo>
                    <a:lnTo>
                      <a:pt x="376" y="47"/>
                    </a:lnTo>
                    <a:lnTo>
                      <a:pt x="377" y="47"/>
                    </a:lnTo>
                    <a:lnTo>
                      <a:pt x="378" y="47"/>
                    </a:lnTo>
                    <a:lnTo>
                      <a:pt x="378" y="49"/>
                    </a:lnTo>
                    <a:lnTo>
                      <a:pt x="378" y="50"/>
                    </a:lnTo>
                    <a:lnTo>
                      <a:pt x="377" y="51"/>
                    </a:lnTo>
                    <a:lnTo>
                      <a:pt x="377" y="52"/>
                    </a:lnTo>
                    <a:lnTo>
                      <a:pt x="376" y="53"/>
                    </a:lnTo>
                    <a:lnTo>
                      <a:pt x="375" y="54"/>
                    </a:lnTo>
                    <a:lnTo>
                      <a:pt x="374" y="54"/>
                    </a:lnTo>
                    <a:lnTo>
                      <a:pt x="374" y="53"/>
                    </a:lnTo>
                    <a:lnTo>
                      <a:pt x="373" y="53"/>
                    </a:lnTo>
                    <a:lnTo>
                      <a:pt x="373" y="52"/>
                    </a:lnTo>
                    <a:lnTo>
                      <a:pt x="373" y="51"/>
                    </a:lnTo>
                    <a:lnTo>
                      <a:pt x="373" y="52"/>
                    </a:lnTo>
                    <a:lnTo>
                      <a:pt x="373" y="54"/>
                    </a:lnTo>
                    <a:lnTo>
                      <a:pt x="371" y="54"/>
                    </a:lnTo>
                    <a:lnTo>
                      <a:pt x="370" y="53"/>
                    </a:lnTo>
                    <a:lnTo>
                      <a:pt x="369" y="53"/>
                    </a:lnTo>
                    <a:lnTo>
                      <a:pt x="369" y="54"/>
                    </a:lnTo>
                    <a:lnTo>
                      <a:pt x="369" y="55"/>
                    </a:lnTo>
                    <a:lnTo>
                      <a:pt x="370" y="56"/>
                    </a:lnTo>
                    <a:lnTo>
                      <a:pt x="370" y="57"/>
                    </a:lnTo>
                    <a:lnTo>
                      <a:pt x="369" y="57"/>
                    </a:lnTo>
                    <a:lnTo>
                      <a:pt x="369" y="58"/>
                    </a:lnTo>
                    <a:lnTo>
                      <a:pt x="368" y="58"/>
                    </a:lnTo>
                    <a:lnTo>
                      <a:pt x="369" y="59"/>
                    </a:lnTo>
                    <a:lnTo>
                      <a:pt x="370" y="59"/>
                    </a:lnTo>
                    <a:lnTo>
                      <a:pt x="370" y="60"/>
                    </a:lnTo>
                    <a:lnTo>
                      <a:pt x="370" y="62"/>
                    </a:lnTo>
                    <a:lnTo>
                      <a:pt x="369" y="62"/>
                    </a:lnTo>
                    <a:lnTo>
                      <a:pt x="369" y="63"/>
                    </a:lnTo>
                    <a:lnTo>
                      <a:pt x="369" y="64"/>
                    </a:lnTo>
                    <a:lnTo>
                      <a:pt x="368" y="65"/>
                    </a:lnTo>
                    <a:lnTo>
                      <a:pt x="367" y="65"/>
                    </a:lnTo>
                    <a:lnTo>
                      <a:pt x="368" y="66"/>
                    </a:lnTo>
                    <a:lnTo>
                      <a:pt x="367" y="67"/>
                    </a:lnTo>
                    <a:lnTo>
                      <a:pt x="367" y="68"/>
                    </a:lnTo>
                    <a:lnTo>
                      <a:pt x="368" y="69"/>
                    </a:lnTo>
                    <a:lnTo>
                      <a:pt x="369" y="69"/>
                    </a:lnTo>
                    <a:lnTo>
                      <a:pt x="370" y="68"/>
                    </a:lnTo>
                    <a:lnTo>
                      <a:pt x="371" y="68"/>
                    </a:lnTo>
                    <a:lnTo>
                      <a:pt x="373" y="67"/>
                    </a:lnTo>
                    <a:lnTo>
                      <a:pt x="374" y="68"/>
                    </a:lnTo>
                    <a:lnTo>
                      <a:pt x="373" y="69"/>
                    </a:lnTo>
                    <a:lnTo>
                      <a:pt x="373" y="70"/>
                    </a:lnTo>
                    <a:lnTo>
                      <a:pt x="373" y="71"/>
                    </a:lnTo>
                    <a:lnTo>
                      <a:pt x="374" y="72"/>
                    </a:lnTo>
                    <a:lnTo>
                      <a:pt x="375" y="72"/>
                    </a:lnTo>
                    <a:lnTo>
                      <a:pt x="376" y="72"/>
                    </a:lnTo>
                    <a:lnTo>
                      <a:pt x="376" y="71"/>
                    </a:lnTo>
                    <a:lnTo>
                      <a:pt x="376" y="70"/>
                    </a:lnTo>
                    <a:lnTo>
                      <a:pt x="377" y="69"/>
                    </a:lnTo>
                    <a:lnTo>
                      <a:pt x="378" y="69"/>
                    </a:lnTo>
                    <a:lnTo>
                      <a:pt x="379" y="70"/>
                    </a:lnTo>
                    <a:lnTo>
                      <a:pt x="380" y="70"/>
                    </a:lnTo>
                    <a:lnTo>
                      <a:pt x="381" y="71"/>
                    </a:lnTo>
                    <a:lnTo>
                      <a:pt x="382" y="71"/>
                    </a:lnTo>
                    <a:lnTo>
                      <a:pt x="382" y="72"/>
                    </a:lnTo>
                    <a:lnTo>
                      <a:pt x="382" y="74"/>
                    </a:lnTo>
                    <a:lnTo>
                      <a:pt x="383" y="75"/>
                    </a:lnTo>
                    <a:lnTo>
                      <a:pt x="383" y="76"/>
                    </a:lnTo>
                    <a:lnTo>
                      <a:pt x="382" y="77"/>
                    </a:lnTo>
                    <a:lnTo>
                      <a:pt x="382" y="78"/>
                    </a:lnTo>
                    <a:lnTo>
                      <a:pt x="381" y="79"/>
                    </a:lnTo>
                    <a:lnTo>
                      <a:pt x="380" y="79"/>
                    </a:lnTo>
                    <a:lnTo>
                      <a:pt x="379" y="79"/>
                    </a:lnTo>
                    <a:lnTo>
                      <a:pt x="379" y="80"/>
                    </a:lnTo>
                    <a:lnTo>
                      <a:pt x="378" y="80"/>
                    </a:lnTo>
                    <a:lnTo>
                      <a:pt x="378" y="81"/>
                    </a:lnTo>
                    <a:lnTo>
                      <a:pt x="377" y="81"/>
                    </a:lnTo>
                    <a:lnTo>
                      <a:pt x="376" y="81"/>
                    </a:lnTo>
                    <a:lnTo>
                      <a:pt x="376" y="82"/>
                    </a:lnTo>
                    <a:lnTo>
                      <a:pt x="375" y="82"/>
                    </a:lnTo>
                    <a:lnTo>
                      <a:pt x="376" y="83"/>
                    </a:lnTo>
                    <a:lnTo>
                      <a:pt x="376" y="84"/>
                    </a:lnTo>
                    <a:lnTo>
                      <a:pt x="377" y="84"/>
                    </a:lnTo>
                    <a:lnTo>
                      <a:pt x="378" y="84"/>
                    </a:lnTo>
                    <a:lnTo>
                      <a:pt x="379" y="84"/>
                    </a:lnTo>
                    <a:lnTo>
                      <a:pt x="379" y="83"/>
                    </a:lnTo>
                    <a:lnTo>
                      <a:pt x="380" y="83"/>
                    </a:lnTo>
                    <a:lnTo>
                      <a:pt x="381" y="83"/>
                    </a:lnTo>
                    <a:lnTo>
                      <a:pt x="381" y="84"/>
                    </a:lnTo>
                    <a:lnTo>
                      <a:pt x="379" y="88"/>
                    </a:lnTo>
                    <a:lnTo>
                      <a:pt x="378" y="90"/>
                    </a:lnTo>
                    <a:lnTo>
                      <a:pt x="377" y="91"/>
                    </a:lnTo>
                    <a:lnTo>
                      <a:pt x="376" y="91"/>
                    </a:lnTo>
                    <a:lnTo>
                      <a:pt x="375" y="90"/>
                    </a:lnTo>
                    <a:lnTo>
                      <a:pt x="375" y="89"/>
                    </a:lnTo>
                    <a:lnTo>
                      <a:pt x="375" y="88"/>
                    </a:lnTo>
                    <a:lnTo>
                      <a:pt x="374" y="88"/>
                    </a:lnTo>
                    <a:lnTo>
                      <a:pt x="373" y="89"/>
                    </a:lnTo>
                    <a:lnTo>
                      <a:pt x="371" y="89"/>
                    </a:lnTo>
                    <a:lnTo>
                      <a:pt x="371" y="90"/>
                    </a:lnTo>
                    <a:lnTo>
                      <a:pt x="373" y="91"/>
                    </a:lnTo>
                    <a:lnTo>
                      <a:pt x="371" y="92"/>
                    </a:lnTo>
                    <a:lnTo>
                      <a:pt x="371" y="93"/>
                    </a:lnTo>
                    <a:lnTo>
                      <a:pt x="373" y="94"/>
                    </a:lnTo>
                    <a:lnTo>
                      <a:pt x="373" y="95"/>
                    </a:lnTo>
                    <a:lnTo>
                      <a:pt x="374" y="97"/>
                    </a:lnTo>
                    <a:lnTo>
                      <a:pt x="374" y="98"/>
                    </a:lnTo>
                    <a:lnTo>
                      <a:pt x="373" y="100"/>
                    </a:lnTo>
                    <a:lnTo>
                      <a:pt x="371" y="98"/>
                    </a:lnTo>
                    <a:lnTo>
                      <a:pt x="370" y="98"/>
                    </a:lnTo>
                    <a:lnTo>
                      <a:pt x="369" y="98"/>
                    </a:lnTo>
                    <a:lnTo>
                      <a:pt x="369" y="100"/>
                    </a:lnTo>
                    <a:lnTo>
                      <a:pt x="371" y="100"/>
                    </a:lnTo>
                    <a:lnTo>
                      <a:pt x="371" y="101"/>
                    </a:lnTo>
                    <a:lnTo>
                      <a:pt x="373" y="101"/>
                    </a:lnTo>
                    <a:lnTo>
                      <a:pt x="374" y="102"/>
                    </a:lnTo>
                    <a:lnTo>
                      <a:pt x="374" y="103"/>
                    </a:lnTo>
                    <a:lnTo>
                      <a:pt x="371" y="104"/>
                    </a:lnTo>
                    <a:lnTo>
                      <a:pt x="371" y="105"/>
                    </a:lnTo>
                    <a:lnTo>
                      <a:pt x="370" y="105"/>
                    </a:lnTo>
                    <a:lnTo>
                      <a:pt x="370" y="106"/>
                    </a:lnTo>
                    <a:lnTo>
                      <a:pt x="371" y="106"/>
                    </a:lnTo>
                    <a:lnTo>
                      <a:pt x="374" y="107"/>
                    </a:lnTo>
                    <a:lnTo>
                      <a:pt x="375" y="108"/>
                    </a:lnTo>
                    <a:lnTo>
                      <a:pt x="375" y="109"/>
                    </a:lnTo>
                    <a:lnTo>
                      <a:pt x="375" y="110"/>
                    </a:lnTo>
                    <a:lnTo>
                      <a:pt x="374" y="111"/>
                    </a:lnTo>
                    <a:lnTo>
                      <a:pt x="374" y="113"/>
                    </a:lnTo>
                    <a:lnTo>
                      <a:pt x="371" y="113"/>
                    </a:lnTo>
                    <a:lnTo>
                      <a:pt x="370" y="113"/>
                    </a:lnTo>
                    <a:lnTo>
                      <a:pt x="370" y="114"/>
                    </a:lnTo>
                    <a:lnTo>
                      <a:pt x="371" y="114"/>
                    </a:lnTo>
                    <a:lnTo>
                      <a:pt x="371" y="115"/>
                    </a:lnTo>
                    <a:lnTo>
                      <a:pt x="370" y="115"/>
                    </a:lnTo>
                    <a:lnTo>
                      <a:pt x="370" y="116"/>
                    </a:lnTo>
                    <a:lnTo>
                      <a:pt x="369" y="116"/>
                    </a:lnTo>
                    <a:lnTo>
                      <a:pt x="369" y="118"/>
                    </a:lnTo>
                    <a:lnTo>
                      <a:pt x="369" y="119"/>
                    </a:lnTo>
                    <a:lnTo>
                      <a:pt x="370" y="119"/>
                    </a:lnTo>
                    <a:lnTo>
                      <a:pt x="371" y="119"/>
                    </a:lnTo>
                    <a:lnTo>
                      <a:pt x="374" y="118"/>
                    </a:lnTo>
                    <a:lnTo>
                      <a:pt x="375" y="116"/>
                    </a:lnTo>
                    <a:lnTo>
                      <a:pt x="376" y="116"/>
                    </a:lnTo>
                    <a:lnTo>
                      <a:pt x="377" y="115"/>
                    </a:lnTo>
                    <a:lnTo>
                      <a:pt x="378" y="115"/>
                    </a:lnTo>
                    <a:lnTo>
                      <a:pt x="379" y="115"/>
                    </a:lnTo>
                    <a:lnTo>
                      <a:pt x="379" y="116"/>
                    </a:lnTo>
                    <a:lnTo>
                      <a:pt x="379" y="117"/>
                    </a:lnTo>
                    <a:lnTo>
                      <a:pt x="378" y="119"/>
                    </a:lnTo>
                    <a:lnTo>
                      <a:pt x="379" y="120"/>
                    </a:lnTo>
                    <a:lnTo>
                      <a:pt x="380" y="120"/>
                    </a:lnTo>
                    <a:lnTo>
                      <a:pt x="381" y="120"/>
                    </a:lnTo>
                    <a:lnTo>
                      <a:pt x="382" y="119"/>
                    </a:lnTo>
                    <a:lnTo>
                      <a:pt x="383" y="119"/>
                    </a:lnTo>
                    <a:lnTo>
                      <a:pt x="383" y="120"/>
                    </a:lnTo>
                    <a:lnTo>
                      <a:pt x="383" y="121"/>
                    </a:lnTo>
                    <a:lnTo>
                      <a:pt x="382" y="121"/>
                    </a:lnTo>
                    <a:lnTo>
                      <a:pt x="381" y="121"/>
                    </a:lnTo>
                    <a:lnTo>
                      <a:pt x="380" y="121"/>
                    </a:lnTo>
                    <a:lnTo>
                      <a:pt x="380" y="122"/>
                    </a:lnTo>
                    <a:lnTo>
                      <a:pt x="380" y="123"/>
                    </a:lnTo>
                    <a:lnTo>
                      <a:pt x="380" y="124"/>
                    </a:lnTo>
                    <a:lnTo>
                      <a:pt x="379" y="124"/>
                    </a:lnTo>
                    <a:lnTo>
                      <a:pt x="378" y="124"/>
                    </a:lnTo>
                    <a:lnTo>
                      <a:pt x="378" y="123"/>
                    </a:lnTo>
                    <a:lnTo>
                      <a:pt x="377" y="123"/>
                    </a:lnTo>
                    <a:lnTo>
                      <a:pt x="376" y="123"/>
                    </a:lnTo>
                    <a:lnTo>
                      <a:pt x="375" y="124"/>
                    </a:lnTo>
                    <a:lnTo>
                      <a:pt x="374" y="124"/>
                    </a:lnTo>
                    <a:lnTo>
                      <a:pt x="374" y="123"/>
                    </a:lnTo>
                    <a:lnTo>
                      <a:pt x="374" y="122"/>
                    </a:lnTo>
                    <a:lnTo>
                      <a:pt x="373" y="121"/>
                    </a:lnTo>
                    <a:lnTo>
                      <a:pt x="371" y="121"/>
                    </a:lnTo>
                    <a:lnTo>
                      <a:pt x="370" y="121"/>
                    </a:lnTo>
                    <a:lnTo>
                      <a:pt x="370" y="122"/>
                    </a:lnTo>
                    <a:lnTo>
                      <a:pt x="370" y="123"/>
                    </a:lnTo>
                    <a:lnTo>
                      <a:pt x="370" y="124"/>
                    </a:lnTo>
                    <a:lnTo>
                      <a:pt x="370" y="126"/>
                    </a:lnTo>
                    <a:lnTo>
                      <a:pt x="370" y="128"/>
                    </a:lnTo>
                    <a:lnTo>
                      <a:pt x="370" y="129"/>
                    </a:lnTo>
                    <a:lnTo>
                      <a:pt x="369" y="129"/>
                    </a:lnTo>
                    <a:lnTo>
                      <a:pt x="368" y="129"/>
                    </a:lnTo>
                    <a:lnTo>
                      <a:pt x="367" y="129"/>
                    </a:lnTo>
                    <a:lnTo>
                      <a:pt x="366" y="128"/>
                    </a:lnTo>
                    <a:lnTo>
                      <a:pt x="365" y="127"/>
                    </a:lnTo>
                    <a:lnTo>
                      <a:pt x="364" y="128"/>
                    </a:lnTo>
                    <a:lnTo>
                      <a:pt x="363" y="128"/>
                    </a:lnTo>
                    <a:lnTo>
                      <a:pt x="363" y="127"/>
                    </a:lnTo>
                    <a:lnTo>
                      <a:pt x="362" y="126"/>
                    </a:lnTo>
                    <a:lnTo>
                      <a:pt x="361" y="126"/>
                    </a:lnTo>
                    <a:lnTo>
                      <a:pt x="360" y="127"/>
                    </a:lnTo>
                    <a:lnTo>
                      <a:pt x="360" y="128"/>
                    </a:lnTo>
                    <a:lnTo>
                      <a:pt x="361" y="128"/>
                    </a:lnTo>
                    <a:lnTo>
                      <a:pt x="361" y="129"/>
                    </a:lnTo>
                    <a:lnTo>
                      <a:pt x="362" y="129"/>
                    </a:lnTo>
                    <a:lnTo>
                      <a:pt x="364" y="130"/>
                    </a:lnTo>
                    <a:lnTo>
                      <a:pt x="365" y="131"/>
                    </a:lnTo>
                    <a:lnTo>
                      <a:pt x="366" y="131"/>
                    </a:lnTo>
                    <a:lnTo>
                      <a:pt x="366" y="132"/>
                    </a:lnTo>
                    <a:lnTo>
                      <a:pt x="367" y="133"/>
                    </a:lnTo>
                    <a:lnTo>
                      <a:pt x="368" y="134"/>
                    </a:lnTo>
                    <a:lnTo>
                      <a:pt x="370" y="135"/>
                    </a:lnTo>
                    <a:lnTo>
                      <a:pt x="373" y="137"/>
                    </a:lnTo>
                    <a:lnTo>
                      <a:pt x="375" y="139"/>
                    </a:lnTo>
                    <a:lnTo>
                      <a:pt x="379" y="141"/>
                    </a:lnTo>
                    <a:lnTo>
                      <a:pt x="381" y="142"/>
                    </a:lnTo>
                    <a:lnTo>
                      <a:pt x="382" y="142"/>
                    </a:lnTo>
                    <a:lnTo>
                      <a:pt x="383" y="143"/>
                    </a:lnTo>
                    <a:lnTo>
                      <a:pt x="385" y="144"/>
                    </a:lnTo>
                    <a:lnTo>
                      <a:pt x="386" y="144"/>
                    </a:lnTo>
                    <a:lnTo>
                      <a:pt x="389" y="145"/>
                    </a:lnTo>
                    <a:lnTo>
                      <a:pt x="392" y="146"/>
                    </a:lnTo>
                    <a:lnTo>
                      <a:pt x="395" y="147"/>
                    </a:lnTo>
                    <a:lnTo>
                      <a:pt x="396" y="147"/>
                    </a:lnTo>
                    <a:lnTo>
                      <a:pt x="399" y="148"/>
                    </a:lnTo>
                    <a:lnTo>
                      <a:pt x="402" y="148"/>
                    </a:lnTo>
                    <a:lnTo>
                      <a:pt x="403" y="148"/>
                    </a:lnTo>
                    <a:lnTo>
                      <a:pt x="405" y="148"/>
                    </a:lnTo>
                    <a:lnTo>
                      <a:pt x="406" y="148"/>
                    </a:lnTo>
                    <a:lnTo>
                      <a:pt x="407" y="148"/>
                    </a:lnTo>
                    <a:lnTo>
                      <a:pt x="408" y="149"/>
                    </a:lnTo>
                    <a:lnTo>
                      <a:pt x="408" y="151"/>
                    </a:lnTo>
                    <a:lnTo>
                      <a:pt x="408" y="152"/>
                    </a:lnTo>
                    <a:lnTo>
                      <a:pt x="407" y="154"/>
                    </a:lnTo>
                    <a:lnTo>
                      <a:pt x="406" y="155"/>
                    </a:lnTo>
                    <a:lnTo>
                      <a:pt x="405" y="156"/>
                    </a:lnTo>
                    <a:lnTo>
                      <a:pt x="403" y="157"/>
                    </a:lnTo>
                    <a:lnTo>
                      <a:pt x="402" y="157"/>
                    </a:lnTo>
                    <a:lnTo>
                      <a:pt x="400" y="157"/>
                    </a:lnTo>
                    <a:lnTo>
                      <a:pt x="399" y="157"/>
                    </a:lnTo>
                    <a:lnTo>
                      <a:pt x="398" y="157"/>
                    </a:lnTo>
                    <a:lnTo>
                      <a:pt x="398" y="158"/>
                    </a:lnTo>
                    <a:lnTo>
                      <a:pt x="399" y="160"/>
                    </a:lnTo>
                    <a:lnTo>
                      <a:pt x="400" y="161"/>
                    </a:lnTo>
                    <a:lnTo>
                      <a:pt x="400" y="162"/>
                    </a:lnTo>
                    <a:lnTo>
                      <a:pt x="401" y="162"/>
                    </a:lnTo>
                    <a:lnTo>
                      <a:pt x="402" y="162"/>
                    </a:lnTo>
                    <a:lnTo>
                      <a:pt x="403" y="160"/>
                    </a:lnTo>
                    <a:lnTo>
                      <a:pt x="404" y="160"/>
                    </a:lnTo>
                    <a:lnTo>
                      <a:pt x="405" y="160"/>
                    </a:lnTo>
                    <a:lnTo>
                      <a:pt x="406" y="161"/>
                    </a:lnTo>
                    <a:lnTo>
                      <a:pt x="407" y="162"/>
                    </a:lnTo>
                    <a:lnTo>
                      <a:pt x="408" y="162"/>
                    </a:lnTo>
                    <a:lnTo>
                      <a:pt x="411" y="164"/>
                    </a:lnTo>
                    <a:lnTo>
                      <a:pt x="412" y="165"/>
                    </a:lnTo>
                    <a:lnTo>
                      <a:pt x="413" y="166"/>
                    </a:lnTo>
                    <a:lnTo>
                      <a:pt x="413" y="168"/>
                    </a:lnTo>
                    <a:lnTo>
                      <a:pt x="413" y="169"/>
                    </a:lnTo>
                    <a:lnTo>
                      <a:pt x="413" y="170"/>
                    </a:lnTo>
                    <a:lnTo>
                      <a:pt x="412" y="172"/>
                    </a:lnTo>
                    <a:lnTo>
                      <a:pt x="412" y="173"/>
                    </a:lnTo>
                    <a:lnTo>
                      <a:pt x="411" y="174"/>
                    </a:lnTo>
                    <a:lnTo>
                      <a:pt x="409" y="174"/>
                    </a:lnTo>
                    <a:lnTo>
                      <a:pt x="409" y="175"/>
                    </a:lnTo>
                    <a:lnTo>
                      <a:pt x="408" y="175"/>
                    </a:lnTo>
                    <a:lnTo>
                      <a:pt x="409" y="177"/>
                    </a:lnTo>
                    <a:lnTo>
                      <a:pt x="411" y="179"/>
                    </a:lnTo>
                    <a:lnTo>
                      <a:pt x="412" y="180"/>
                    </a:lnTo>
                    <a:lnTo>
                      <a:pt x="413" y="181"/>
                    </a:lnTo>
                    <a:lnTo>
                      <a:pt x="415" y="181"/>
                    </a:lnTo>
                    <a:lnTo>
                      <a:pt x="416" y="182"/>
                    </a:lnTo>
                    <a:lnTo>
                      <a:pt x="417" y="182"/>
                    </a:lnTo>
                    <a:lnTo>
                      <a:pt x="418" y="182"/>
                    </a:lnTo>
                    <a:lnTo>
                      <a:pt x="420" y="182"/>
                    </a:lnTo>
                    <a:lnTo>
                      <a:pt x="422" y="182"/>
                    </a:lnTo>
                    <a:lnTo>
                      <a:pt x="424" y="183"/>
                    </a:lnTo>
                    <a:lnTo>
                      <a:pt x="424" y="184"/>
                    </a:lnTo>
                    <a:lnTo>
                      <a:pt x="424" y="185"/>
                    </a:lnTo>
                    <a:lnTo>
                      <a:pt x="421" y="186"/>
                    </a:lnTo>
                    <a:lnTo>
                      <a:pt x="420" y="186"/>
                    </a:lnTo>
                    <a:lnTo>
                      <a:pt x="420" y="187"/>
                    </a:lnTo>
                    <a:lnTo>
                      <a:pt x="419" y="186"/>
                    </a:lnTo>
                    <a:lnTo>
                      <a:pt x="419" y="185"/>
                    </a:lnTo>
                    <a:lnTo>
                      <a:pt x="418" y="185"/>
                    </a:lnTo>
                    <a:lnTo>
                      <a:pt x="416" y="185"/>
                    </a:lnTo>
                    <a:lnTo>
                      <a:pt x="415" y="185"/>
                    </a:lnTo>
                    <a:lnTo>
                      <a:pt x="414" y="185"/>
                    </a:lnTo>
                    <a:lnTo>
                      <a:pt x="414" y="186"/>
                    </a:lnTo>
                    <a:lnTo>
                      <a:pt x="413" y="186"/>
                    </a:lnTo>
                    <a:lnTo>
                      <a:pt x="413" y="187"/>
                    </a:lnTo>
                    <a:lnTo>
                      <a:pt x="414" y="188"/>
                    </a:lnTo>
                    <a:lnTo>
                      <a:pt x="415" y="188"/>
                    </a:lnTo>
                    <a:lnTo>
                      <a:pt x="417" y="188"/>
                    </a:lnTo>
                    <a:lnTo>
                      <a:pt x="419" y="188"/>
                    </a:lnTo>
                    <a:lnTo>
                      <a:pt x="420" y="188"/>
                    </a:lnTo>
                    <a:lnTo>
                      <a:pt x="421" y="188"/>
                    </a:lnTo>
                    <a:lnTo>
                      <a:pt x="422" y="188"/>
                    </a:lnTo>
                    <a:lnTo>
                      <a:pt x="424" y="188"/>
                    </a:lnTo>
                    <a:lnTo>
                      <a:pt x="425" y="188"/>
                    </a:lnTo>
                    <a:lnTo>
                      <a:pt x="426" y="190"/>
                    </a:lnTo>
                    <a:lnTo>
                      <a:pt x="427" y="191"/>
                    </a:lnTo>
                    <a:lnTo>
                      <a:pt x="428" y="191"/>
                    </a:lnTo>
                    <a:lnTo>
                      <a:pt x="427" y="190"/>
                    </a:lnTo>
                    <a:lnTo>
                      <a:pt x="427" y="188"/>
                    </a:lnTo>
                    <a:lnTo>
                      <a:pt x="426" y="187"/>
                    </a:lnTo>
                    <a:lnTo>
                      <a:pt x="427" y="187"/>
                    </a:lnTo>
                    <a:lnTo>
                      <a:pt x="428" y="188"/>
                    </a:lnTo>
                    <a:lnTo>
                      <a:pt x="429" y="188"/>
                    </a:lnTo>
                    <a:lnTo>
                      <a:pt x="429" y="190"/>
                    </a:lnTo>
                    <a:lnTo>
                      <a:pt x="429" y="191"/>
                    </a:lnTo>
                    <a:lnTo>
                      <a:pt x="429" y="192"/>
                    </a:lnTo>
                    <a:lnTo>
                      <a:pt x="430" y="192"/>
                    </a:lnTo>
                    <a:lnTo>
                      <a:pt x="430" y="193"/>
                    </a:lnTo>
                    <a:lnTo>
                      <a:pt x="429" y="193"/>
                    </a:lnTo>
                    <a:lnTo>
                      <a:pt x="428" y="193"/>
                    </a:lnTo>
                    <a:lnTo>
                      <a:pt x="428" y="194"/>
                    </a:lnTo>
                    <a:lnTo>
                      <a:pt x="428" y="195"/>
                    </a:lnTo>
                    <a:lnTo>
                      <a:pt x="428" y="196"/>
                    </a:lnTo>
                    <a:lnTo>
                      <a:pt x="428" y="200"/>
                    </a:lnTo>
                    <a:lnTo>
                      <a:pt x="428" y="201"/>
                    </a:lnTo>
                    <a:lnTo>
                      <a:pt x="427" y="203"/>
                    </a:lnTo>
                    <a:lnTo>
                      <a:pt x="426" y="201"/>
                    </a:lnTo>
                    <a:lnTo>
                      <a:pt x="425" y="201"/>
                    </a:lnTo>
                    <a:lnTo>
                      <a:pt x="425" y="203"/>
                    </a:lnTo>
                    <a:lnTo>
                      <a:pt x="424" y="204"/>
                    </a:lnTo>
                    <a:lnTo>
                      <a:pt x="425" y="205"/>
                    </a:lnTo>
                    <a:lnTo>
                      <a:pt x="425" y="206"/>
                    </a:lnTo>
                    <a:lnTo>
                      <a:pt x="426" y="207"/>
                    </a:lnTo>
                    <a:lnTo>
                      <a:pt x="427" y="207"/>
                    </a:lnTo>
                    <a:lnTo>
                      <a:pt x="427" y="208"/>
                    </a:lnTo>
                    <a:lnTo>
                      <a:pt x="427" y="209"/>
                    </a:lnTo>
                    <a:lnTo>
                      <a:pt x="426" y="210"/>
                    </a:lnTo>
                    <a:lnTo>
                      <a:pt x="425" y="210"/>
                    </a:lnTo>
                    <a:lnTo>
                      <a:pt x="422" y="210"/>
                    </a:lnTo>
                    <a:lnTo>
                      <a:pt x="422" y="211"/>
                    </a:lnTo>
                    <a:lnTo>
                      <a:pt x="422" y="212"/>
                    </a:lnTo>
                    <a:lnTo>
                      <a:pt x="424" y="213"/>
                    </a:lnTo>
                    <a:lnTo>
                      <a:pt x="425" y="213"/>
                    </a:lnTo>
                    <a:lnTo>
                      <a:pt x="426" y="216"/>
                    </a:lnTo>
                    <a:lnTo>
                      <a:pt x="426" y="217"/>
                    </a:lnTo>
                    <a:lnTo>
                      <a:pt x="429" y="218"/>
                    </a:lnTo>
                    <a:lnTo>
                      <a:pt x="430" y="218"/>
                    </a:lnTo>
                    <a:lnTo>
                      <a:pt x="431" y="219"/>
                    </a:lnTo>
                    <a:lnTo>
                      <a:pt x="432" y="219"/>
                    </a:lnTo>
                    <a:lnTo>
                      <a:pt x="433" y="218"/>
                    </a:lnTo>
                    <a:lnTo>
                      <a:pt x="437" y="217"/>
                    </a:lnTo>
                    <a:lnTo>
                      <a:pt x="438" y="217"/>
                    </a:lnTo>
                    <a:lnTo>
                      <a:pt x="440" y="216"/>
                    </a:lnTo>
                    <a:lnTo>
                      <a:pt x="441" y="214"/>
                    </a:lnTo>
                    <a:lnTo>
                      <a:pt x="442" y="213"/>
                    </a:lnTo>
                    <a:lnTo>
                      <a:pt x="441" y="211"/>
                    </a:lnTo>
                    <a:lnTo>
                      <a:pt x="441" y="210"/>
                    </a:lnTo>
                    <a:lnTo>
                      <a:pt x="441" y="209"/>
                    </a:lnTo>
                    <a:lnTo>
                      <a:pt x="442" y="209"/>
                    </a:lnTo>
                    <a:lnTo>
                      <a:pt x="443" y="209"/>
                    </a:lnTo>
                    <a:lnTo>
                      <a:pt x="444" y="209"/>
                    </a:lnTo>
                    <a:lnTo>
                      <a:pt x="447" y="211"/>
                    </a:lnTo>
                    <a:lnTo>
                      <a:pt x="448" y="212"/>
                    </a:lnTo>
                    <a:lnTo>
                      <a:pt x="450" y="213"/>
                    </a:lnTo>
                    <a:lnTo>
                      <a:pt x="448" y="214"/>
                    </a:lnTo>
                    <a:lnTo>
                      <a:pt x="447" y="217"/>
                    </a:lnTo>
                    <a:lnTo>
                      <a:pt x="446" y="219"/>
                    </a:lnTo>
                    <a:lnTo>
                      <a:pt x="446" y="220"/>
                    </a:lnTo>
                    <a:lnTo>
                      <a:pt x="445" y="221"/>
                    </a:lnTo>
                    <a:lnTo>
                      <a:pt x="444" y="223"/>
                    </a:lnTo>
                    <a:lnTo>
                      <a:pt x="443" y="224"/>
                    </a:lnTo>
                    <a:lnTo>
                      <a:pt x="443" y="225"/>
                    </a:lnTo>
                    <a:lnTo>
                      <a:pt x="444" y="226"/>
                    </a:lnTo>
                    <a:lnTo>
                      <a:pt x="445" y="227"/>
                    </a:lnTo>
                    <a:lnTo>
                      <a:pt x="447" y="229"/>
                    </a:lnTo>
                    <a:lnTo>
                      <a:pt x="447" y="230"/>
                    </a:lnTo>
                    <a:lnTo>
                      <a:pt x="450" y="230"/>
                    </a:lnTo>
                    <a:lnTo>
                      <a:pt x="451" y="231"/>
                    </a:lnTo>
                    <a:lnTo>
                      <a:pt x="452" y="231"/>
                    </a:lnTo>
                    <a:lnTo>
                      <a:pt x="453" y="231"/>
                    </a:lnTo>
                    <a:lnTo>
                      <a:pt x="454" y="231"/>
                    </a:lnTo>
                    <a:lnTo>
                      <a:pt x="455" y="230"/>
                    </a:lnTo>
                    <a:lnTo>
                      <a:pt x="455" y="229"/>
                    </a:lnTo>
                    <a:lnTo>
                      <a:pt x="454" y="227"/>
                    </a:lnTo>
                    <a:lnTo>
                      <a:pt x="454" y="226"/>
                    </a:lnTo>
                    <a:lnTo>
                      <a:pt x="454" y="225"/>
                    </a:lnTo>
                    <a:lnTo>
                      <a:pt x="453" y="225"/>
                    </a:lnTo>
                    <a:lnTo>
                      <a:pt x="452" y="224"/>
                    </a:lnTo>
                    <a:lnTo>
                      <a:pt x="451" y="224"/>
                    </a:lnTo>
                    <a:lnTo>
                      <a:pt x="450" y="224"/>
                    </a:lnTo>
                    <a:lnTo>
                      <a:pt x="448" y="223"/>
                    </a:lnTo>
                    <a:lnTo>
                      <a:pt x="448" y="222"/>
                    </a:lnTo>
                    <a:lnTo>
                      <a:pt x="448" y="221"/>
                    </a:lnTo>
                    <a:lnTo>
                      <a:pt x="450" y="220"/>
                    </a:lnTo>
                    <a:lnTo>
                      <a:pt x="452" y="220"/>
                    </a:lnTo>
                    <a:lnTo>
                      <a:pt x="453" y="220"/>
                    </a:lnTo>
                    <a:lnTo>
                      <a:pt x="454" y="220"/>
                    </a:lnTo>
                    <a:lnTo>
                      <a:pt x="456" y="220"/>
                    </a:lnTo>
                    <a:lnTo>
                      <a:pt x="456" y="221"/>
                    </a:lnTo>
                    <a:lnTo>
                      <a:pt x="457" y="221"/>
                    </a:lnTo>
                    <a:lnTo>
                      <a:pt x="458" y="222"/>
                    </a:lnTo>
                    <a:lnTo>
                      <a:pt x="458" y="223"/>
                    </a:lnTo>
                    <a:lnTo>
                      <a:pt x="459" y="222"/>
                    </a:lnTo>
                    <a:lnTo>
                      <a:pt x="460" y="222"/>
                    </a:lnTo>
                    <a:lnTo>
                      <a:pt x="460" y="221"/>
                    </a:lnTo>
                    <a:lnTo>
                      <a:pt x="461" y="220"/>
                    </a:lnTo>
                    <a:lnTo>
                      <a:pt x="463" y="219"/>
                    </a:lnTo>
                    <a:lnTo>
                      <a:pt x="464" y="219"/>
                    </a:lnTo>
                    <a:lnTo>
                      <a:pt x="465" y="219"/>
                    </a:lnTo>
                    <a:lnTo>
                      <a:pt x="465" y="220"/>
                    </a:lnTo>
                    <a:lnTo>
                      <a:pt x="465" y="221"/>
                    </a:lnTo>
                    <a:lnTo>
                      <a:pt x="465" y="222"/>
                    </a:lnTo>
                    <a:lnTo>
                      <a:pt x="465" y="223"/>
                    </a:lnTo>
                    <a:lnTo>
                      <a:pt x="465" y="224"/>
                    </a:lnTo>
                    <a:lnTo>
                      <a:pt x="465" y="225"/>
                    </a:lnTo>
                    <a:lnTo>
                      <a:pt x="465" y="226"/>
                    </a:lnTo>
                    <a:lnTo>
                      <a:pt x="466" y="227"/>
                    </a:lnTo>
                    <a:lnTo>
                      <a:pt x="467" y="227"/>
                    </a:lnTo>
                    <a:lnTo>
                      <a:pt x="468" y="227"/>
                    </a:lnTo>
                    <a:lnTo>
                      <a:pt x="469" y="227"/>
                    </a:lnTo>
                    <a:lnTo>
                      <a:pt x="471" y="227"/>
                    </a:lnTo>
                    <a:lnTo>
                      <a:pt x="472" y="227"/>
                    </a:lnTo>
                    <a:lnTo>
                      <a:pt x="473" y="227"/>
                    </a:lnTo>
                    <a:lnTo>
                      <a:pt x="474" y="227"/>
                    </a:lnTo>
                    <a:lnTo>
                      <a:pt x="474" y="229"/>
                    </a:lnTo>
                    <a:lnTo>
                      <a:pt x="476" y="229"/>
                    </a:lnTo>
                    <a:lnTo>
                      <a:pt x="467" y="231"/>
                    </a:lnTo>
                    <a:lnTo>
                      <a:pt x="461" y="232"/>
                    </a:lnTo>
                    <a:lnTo>
                      <a:pt x="428" y="239"/>
                    </a:lnTo>
                    <a:lnTo>
                      <a:pt x="425" y="241"/>
                    </a:lnTo>
                    <a:lnTo>
                      <a:pt x="421" y="242"/>
                    </a:lnTo>
                    <a:lnTo>
                      <a:pt x="409" y="243"/>
                    </a:lnTo>
                    <a:lnTo>
                      <a:pt x="391" y="247"/>
                    </a:lnTo>
                    <a:lnTo>
                      <a:pt x="390" y="248"/>
                    </a:lnTo>
                    <a:lnTo>
                      <a:pt x="371" y="251"/>
                    </a:lnTo>
                    <a:lnTo>
                      <a:pt x="366" y="254"/>
                    </a:lnTo>
                    <a:lnTo>
                      <a:pt x="362" y="255"/>
                    </a:lnTo>
                    <a:lnTo>
                      <a:pt x="344" y="259"/>
                    </a:lnTo>
                    <a:lnTo>
                      <a:pt x="339" y="260"/>
                    </a:lnTo>
                    <a:lnTo>
                      <a:pt x="322" y="264"/>
                    </a:lnTo>
                    <a:lnTo>
                      <a:pt x="319" y="264"/>
                    </a:lnTo>
                    <a:lnTo>
                      <a:pt x="318" y="264"/>
                    </a:lnTo>
                    <a:lnTo>
                      <a:pt x="310" y="267"/>
                    </a:lnTo>
                    <a:lnTo>
                      <a:pt x="302" y="269"/>
                    </a:lnTo>
                    <a:lnTo>
                      <a:pt x="283" y="273"/>
                    </a:lnTo>
                    <a:lnTo>
                      <a:pt x="279" y="274"/>
                    </a:lnTo>
                    <a:lnTo>
                      <a:pt x="274" y="275"/>
                    </a:lnTo>
                    <a:lnTo>
                      <a:pt x="270" y="276"/>
                    </a:lnTo>
                    <a:lnTo>
                      <a:pt x="264" y="278"/>
                    </a:lnTo>
                    <a:lnTo>
                      <a:pt x="253" y="281"/>
                    </a:lnTo>
                    <a:lnTo>
                      <a:pt x="249" y="282"/>
                    </a:lnTo>
                    <a:lnTo>
                      <a:pt x="240" y="284"/>
                    </a:lnTo>
                    <a:lnTo>
                      <a:pt x="231" y="286"/>
                    </a:lnTo>
                    <a:lnTo>
                      <a:pt x="219" y="289"/>
                    </a:lnTo>
                    <a:lnTo>
                      <a:pt x="218" y="289"/>
                    </a:lnTo>
                    <a:lnTo>
                      <a:pt x="213" y="290"/>
                    </a:lnTo>
                    <a:lnTo>
                      <a:pt x="209" y="291"/>
                    </a:lnTo>
                    <a:lnTo>
                      <a:pt x="208" y="291"/>
                    </a:lnTo>
                    <a:lnTo>
                      <a:pt x="208" y="290"/>
                    </a:lnTo>
                    <a:lnTo>
                      <a:pt x="207" y="290"/>
                    </a:lnTo>
                    <a:lnTo>
                      <a:pt x="206" y="289"/>
                    </a:lnTo>
                    <a:lnTo>
                      <a:pt x="205" y="290"/>
                    </a:lnTo>
                    <a:lnTo>
                      <a:pt x="203" y="290"/>
                    </a:lnTo>
                    <a:lnTo>
                      <a:pt x="202" y="290"/>
                    </a:lnTo>
                    <a:lnTo>
                      <a:pt x="201" y="291"/>
                    </a:lnTo>
                    <a:lnTo>
                      <a:pt x="199" y="293"/>
                    </a:lnTo>
                    <a:lnTo>
                      <a:pt x="198" y="293"/>
                    </a:lnTo>
                    <a:lnTo>
                      <a:pt x="197" y="294"/>
                    </a:lnTo>
                    <a:lnTo>
                      <a:pt x="196" y="294"/>
                    </a:lnTo>
                    <a:lnTo>
                      <a:pt x="195" y="294"/>
                    </a:lnTo>
                    <a:lnTo>
                      <a:pt x="194" y="294"/>
                    </a:lnTo>
                    <a:lnTo>
                      <a:pt x="193" y="294"/>
                    </a:lnTo>
                    <a:lnTo>
                      <a:pt x="192" y="294"/>
                    </a:lnTo>
                    <a:lnTo>
                      <a:pt x="190" y="293"/>
                    </a:lnTo>
                    <a:lnTo>
                      <a:pt x="189" y="293"/>
                    </a:lnTo>
                    <a:lnTo>
                      <a:pt x="189" y="291"/>
                    </a:lnTo>
                    <a:lnTo>
                      <a:pt x="188" y="291"/>
                    </a:lnTo>
                    <a:lnTo>
                      <a:pt x="188" y="290"/>
                    </a:lnTo>
                    <a:lnTo>
                      <a:pt x="187" y="289"/>
                    </a:lnTo>
                    <a:lnTo>
                      <a:pt x="187" y="288"/>
                    </a:lnTo>
                    <a:lnTo>
                      <a:pt x="187" y="287"/>
                    </a:lnTo>
                    <a:lnTo>
                      <a:pt x="187" y="285"/>
                    </a:lnTo>
                    <a:lnTo>
                      <a:pt x="187" y="284"/>
                    </a:lnTo>
                    <a:lnTo>
                      <a:pt x="186" y="283"/>
                    </a:lnTo>
                    <a:lnTo>
                      <a:pt x="186" y="282"/>
                    </a:lnTo>
                    <a:lnTo>
                      <a:pt x="186" y="281"/>
                    </a:lnTo>
                    <a:lnTo>
                      <a:pt x="185" y="282"/>
                    </a:lnTo>
                    <a:lnTo>
                      <a:pt x="184" y="282"/>
                    </a:lnTo>
                    <a:lnTo>
                      <a:pt x="184" y="283"/>
                    </a:lnTo>
                    <a:lnTo>
                      <a:pt x="183" y="285"/>
                    </a:lnTo>
                    <a:lnTo>
                      <a:pt x="182" y="287"/>
                    </a:lnTo>
                    <a:lnTo>
                      <a:pt x="180" y="288"/>
                    </a:lnTo>
                    <a:lnTo>
                      <a:pt x="179" y="288"/>
                    </a:lnTo>
                    <a:lnTo>
                      <a:pt x="177" y="288"/>
                    </a:lnTo>
                    <a:lnTo>
                      <a:pt x="176" y="287"/>
                    </a:lnTo>
                    <a:lnTo>
                      <a:pt x="174" y="286"/>
                    </a:lnTo>
                    <a:lnTo>
                      <a:pt x="172" y="286"/>
                    </a:lnTo>
                    <a:lnTo>
                      <a:pt x="171" y="285"/>
                    </a:lnTo>
                    <a:lnTo>
                      <a:pt x="170" y="284"/>
                    </a:lnTo>
                    <a:lnTo>
                      <a:pt x="170" y="283"/>
                    </a:lnTo>
                    <a:lnTo>
                      <a:pt x="169" y="283"/>
                    </a:lnTo>
                    <a:lnTo>
                      <a:pt x="169" y="282"/>
                    </a:lnTo>
                    <a:lnTo>
                      <a:pt x="170" y="280"/>
                    </a:lnTo>
                    <a:lnTo>
                      <a:pt x="171" y="278"/>
                    </a:lnTo>
                    <a:lnTo>
                      <a:pt x="173" y="278"/>
                    </a:lnTo>
                    <a:lnTo>
                      <a:pt x="175" y="277"/>
                    </a:lnTo>
                    <a:lnTo>
                      <a:pt x="177" y="275"/>
                    </a:lnTo>
                    <a:lnTo>
                      <a:pt x="180" y="275"/>
                    </a:lnTo>
                    <a:lnTo>
                      <a:pt x="181" y="274"/>
                    </a:lnTo>
                    <a:lnTo>
                      <a:pt x="181" y="273"/>
                    </a:lnTo>
                    <a:lnTo>
                      <a:pt x="180" y="272"/>
                    </a:lnTo>
                    <a:lnTo>
                      <a:pt x="177" y="271"/>
                    </a:lnTo>
                    <a:lnTo>
                      <a:pt x="176" y="271"/>
                    </a:lnTo>
                    <a:lnTo>
                      <a:pt x="174" y="270"/>
                    </a:lnTo>
                    <a:lnTo>
                      <a:pt x="172" y="269"/>
                    </a:lnTo>
                    <a:lnTo>
                      <a:pt x="171" y="268"/>
                    </a:lnTo>
                    <a:lnTo>
                      <a:pt x="171" y="267"/>
                    </a:lnTo>
                    <a:lnTo>
                      <a:pt x="170" y="264"/>
                    </a:lnTo>
                    <a:lnTo>
                      <a:pt x="171" y="262"/>
                    </a:lnTo>
                    <a:lnTo>
                      <a:pt x="172" y="261"/>
                    </a:lnTo>
                    <a:lnTo>
                      <a:pt x="175" y="259"/>
                    </a:lnTo>
                    <a:lnTo>
                      <a:pt x="176" y="257"/>
                    </a:lnTo>
                    <a:lnTo>
                      <a:pt x="177" y="256"/>
                    </a:lnTo>
                    <a:lnTo>
                      <a:pt x="179" y="254"/>
                    </a:lnTo>
                    <a:lnTo>
                      <a:pt x="179" y="251"/>
                    </a:lnTo>
                    <a:lnTo>
                      <a:pt x="176" y="250"/>
                    </a:lnTo>
                    <a:lnTo>
                      <a:pt x="175" y="251"/>
                    </a:lnTo>
                    <a:lnTo>
                      <a:pt x="173" y="252"/>
                    </a:lnTo>
                    <a:lnTo>
                      <a:pt x="171" y="252"/>
                    </a:lnTo>
                    <a:lnTo>
                      <a:pt x="169" y="254"/>
                    </a:lnTo>
                    <a:lnTo>
                      <a:pt x="167" y="252"/>
                    </a:lnTo>
                    <a:lnTo>
                      <a:pt x="166" y="251"/>
                    </a:lnTo>
                    <a:lnTo>
                      <a:pt x="164" y="250"/>
                    </a:lnTo>
                    <a:lnTo>
                      <a:pt x="163" y="249"/>
                    </a:lnTo>
                    <a:lnTo>
                      <a:pt x="163" y="248"/>
                    </a:lnTo>
                    <a:lnTo>
                      <a:pt x="162" y="246"/>
                    </a:lnTo>
                    <a:lnTo>
                      <a:pt x="162" y="241"/>
                    </a:lnTo>
                    <a:lnTo>
                      <a:pt x="162" y="239"/>
                    </a:lnTo>
                    <a:lnTo>
                      <a:pt x="162" y="237"/>
                    </a:lnTo>
                    <a:lnTo>
                      <a:pt x="162" y="235"/>
                    </a:lnTo>
                    <a:lnTo>
                      <a:pt x="162" y="234"/>
                    </a:lnTo>
                    <a:lnTo>
                      <a:pt x="163" y="234"/>
                    </a:lnTo>
                    <a:lnTo>
                      <a:pt x="167" y="234"/>
                    </a:lnTo>
                    <a:lnTo>
                      <a:pt x="168" y="234"/>
                    </a:lnTo>
                    <a:lnTo>
                      <a:pt x="171" y="234"/>
                    </a:lnTo>
                    <a:lnTo>
                      <a:pt x="173" y="233"/>
                    </a:lnTo>
                    <a:lnTo>
                      <a:pt x="173" y="232"/>
                    </a:lnTo>
                    <a:lnTo>
                      <a:pt x="172" y="230"/>
                    </a:lnTo>
                    <a:lnTo>
                      <a:pt x="169" y="229"/>
                    </a:lnTo>
                    <a:lnTo>
                      <a:pt x="168" y="227"/>
                    </a:lnTo>
                    <a:lnTo>
                      <a:pt x="167" y="225"/>
                    </a:lnTo>
                    <a:lnTo>
                      <a:pt x="168" y="224"/>
                    </a:lnTo>
                    <a:lnTo>
                      <a:pt x="168" y="222"/>
                    </a:lnTo>
                    <a:lnTo>
                      <a:pt x="168" y="220"/>
                    </a:lnTo>
                    <a:lnTo>
                      <a:pt x="168" y="219"/>
                    </a:lnTo>
                    <a:lnTo>
                      <a:pt x="171" y="218"/>
                    </a:lnTo>
                    <a:lnTo>
                      <a:pt x="172" y="218"/>
                    </a:lnTo>
                    <a:lnTo>
                      <a:pt x="173" y="219"/>
                    </a:lnTo>
                    <a:lnTo>
                      <a:pt x="175" y="219"/>
                    </a:lnTo>
                    <a:lnTo>
                      <a:pt x="176" y="219"/>
                    </a:lnTo>
                    <a:lnTo>
                      <a:pt x="177" y="218"/>
                    </a:lnTo>
                    <a:lnTo>
                      <a:pt x="177" y="217"/>
                    </a:lnTo>
                    <a:lnTo>
                      <a:pt x="177" y="216"/>
                    </a:lnTo>
                    <a:lnTo>
                      <a:pt x="177" y="214"/>
                    </a:lnTo>
                    <a:lnTo>
                      <a:pt x="177" y="213"/>
                    </a:lnTo>
                    <a:lnTo>
                      <a:pt x="175" y="213"/>
                    </a:lnTo>
                    <a:lnTo>
                      <a:pt x="175" y="212"/>
                    </a:lnTo>
                    <a:lnTo>
                      <a:pt x="174" y="212"/>
                    </a:lnTo>
                    <a:lnTo>
                      <a:pt x="173" y="213"/>
                    </a:lnTo>
                    <a:lnTo>
                      <a:pt x="172" y="214"/>
                    </a:lnTo>
                    <a:lnTo>
                      <a:pt x="171" y="216"/>
                    </a:lnTo>
                    <a:lnTo>
                      <a:pt x="171" y="217"/>
                    </a:lnTo>
                    <a:lnTo>
                      <a:pt x="170" y="217"/>
                    </a:lnTo>
                    <a:lnTo>
                      <a:pt x="169" y="218"/>
                    </a:lnTo>
                    <a:lnTo>
                      <a:pt x="168" y="218"/>
                    </a:lnTo>
                    <a:lnTo>
                      <a:pt x="167" y="218"/>
                    </a:lnTo>
                    <a:lnTo>
                      <a:pt x="166" y="217"/>
                    </a:lnTo>
                    <a:lnTo>
                      <a:pt x="163" y="214"/>
                    </a:lnTo>
                    <a:lnTo>
                      <a:pt x="162" y="213"/>
                    </a:lnTo>
                    <a:lnTo>
                      <a:pt x="161" y="212"/>
                    </a:lnTo>
                    <a:lnTo>
                      <a:pt x="160" y="210"/>
                    </a:lnTo>
                    <a:lnTo>
                      <a:pt x="159" y="209"/>
                    </a:lnTo>
                    <a:lnTo>
                      <a:pt x="159" y="207"/>
                    </a:lnTo>
                    <a:lnTo>
                      <a:pt x="158" y="206"/>
                    </a:lnTo>
                    <a:lnTo>
                      <a:pt x="158" y="205"/>
                    </a:lnTo>
                    <a:lnTo>
                      <a:pt x="156" y="201"/>
                    </a:lnTo>
                    <a:lnTo>
                      <a:pt x="155" y="200"/>
                    </a:lnTo>
                    <a:lnTo>
                      <a:pt x="156" y="200"/>
                    </a:lnTo>
                    <a:lnTo>
                      <a:pt x="156" y="199"/>
                    </a:lnTo>
                    <a:lnTo>
                      <a:pt x="156" y="198"/>
                    </a:lnTo>
                    <a:lnTo>
                      <a:pt x="157" y="198"/>
                    </a:lnTo>
                    <a:lnTo>
                      <a:pt x="157" y="197"/>
                    </a:lnTo>
                    <a:lnTo>
                      <a:pt x="157" y="196"/>
                    </a:lnTo>
                    <a:lnTo>
                      <a:pt x="157" y="195"/>
                    </a:lnTo>
                    <a:lnTo>
                      <a:pt x="156" y="195"/>
                    </a:lnTo>
                    <a:lnTo>
                      <a:pt x="155" y="195"/>
                    </a:lnTo>
                    <a:lnTo>
                      <a:pt x="151" y="195"/>
                    </a:lnTo>
                    <a:lnTo>
                      <a:pt x="150" y="195"/>
                    </a:lnTo>
                    <a:lnTo>
                      <a:pt x="149" y="194"/>
                    </a:lnTo>
                    <a:lnTo>
                      <a:pt x="148" y="193"/>
                    </a:lnTo>
                    <a:lnTo>
                      <a:pt x="147" y="192"/>
                    </a:lnTo>
                    <a:lnTo>
                      <a:pt x="145" y="191"/>
                    </a:lnTo>
                    <a:lnTo>
                      <a:pt x="144" y="190"/>
                    </a:lnTo>
                    <a:lnTo>
                      <a:pt x="143" y="190"/>
                    </a:lnTo>
                    <a:lnTo>
                      <a:pt x="140" y="187"/>
                    </a:lnTo>
                    <a:lnTo>
                      <a:pt x="140" y="186"/>
                    </a:lnTo>
                    <a:lnTo>
                      <a:pt x="138" y="186"/>
                    </a:lnTo>
                    <a:lnTo>
                      <a:pt x="137" y="185"/>
                    </a:lnTo>
                    <a:lnTo>
                      <a:pt x="137" y="184"/>
                    </a:lnTo>
                    <a:lnTo>
                      <a:pt x="136" y="183"/>
                    </a:lnTo>
                    <a:lnTo>
                      <a:pt x="134" y="182"/>
                    </a:lnTo>
                    <a:lnTo>
                      <a:pt x="133" y="181"/>
                    </a:lnTo>
                    <a:lnTo>
                      <a:pt x="132" y="181"/>
                    </a:lnTo>
                    <a:lnTo>
                      <a:pt x="130" y="180"/>
                    </a:lnTo>
                    <a:lnTo>
                      <a:pt x="130" y="179"/>
                    </a:lnTo>
                    <a:lnTo>
                      <a:pt x="129" y="179"/>
                    </a:lnTo>
                    <a:lnTo>
                      <a:pt x="129" y="178"/>
                    </a:lnTo>
                    <a:lnTo>
                      <a:pt x="130" y="178"/>
                    </a:lnTo>
                    <a:lnTo>
                      <a:pt x="130" y="175"/>
                    </a:lnTo>
                    <a:lnTo>
                      <a:pt x="131" y="175"/>
                    </a:lnTo>
                    <a:lnTo>
                      <a:pt x="132" y="174"/>
                    </a:lnTo>
                    <a:lnTo>
                      <a:pt x="132" y="173"/>
                    </a:lnTo>
                    <a:lnTo>
                      <a:pt x="133" y="173"/>
                    </a:lnTo>
                    <a:lnTo>
                      <a:pt x="133" y="172"/>
                    </a:lnTo>
                    <a:lnTo>
                      <a:pt x="132" y="171"/>
                    </a:lnTo>
                    <a:lnTo>
                      <a:pt x="131" y="170"/>
                    </a:lnTo>
                    <a:lnTo>
                      <a:pt x="129" y="169"/>
                    </a:lnTo>
                    <a:lnTo>
                      <a:pt x="128" y="169"/>
                    </a:lnTo>
                    <a:lnTo>
                      <a:pt x="125" y="167"/>
                    </a:lnTo>
                    <a:lnTo>
                      <a:pt x="123" y="166"/>
                    </a:lnTo>
                    <a:lnTo>
                      <a:pt x="122" y="165"/>
                    </a:lnTo>
                    <a:lnTo>
                      <a:pt x="121" y="164"/>
                    </a:lnTo>
                    <a:lnTo>
                      <a:pt x="118" y="160"/>
                    </a:lnTo>
                    <a:lnTo>
                      <a:pt x="116" y="158"/>
                    </a:lnTo>
                    <a:lnTo>
                      <a:pt x="115" y="158"/>
                    </a:lnTo>
                    <a:lnTo>
                      <a:pt x="115" y="157"/>
                    </a:lnTo>
                    <a:lnTo>
                      <a:pt x="114" y="157"/>
                    </a:lnTo>
                    <a:lnTo>
                      <a:pt x="112" y="156"/>
                    </a:lnTo>
                    <a:lnTo>
                      <a:pt x="112" y="155"/>
                    </a:lnTo>
                    <a:lnTo>
                      <a:pt x="109" y="148"/>
                    </a:lnTo>
                    <a:lnTo>
                      <a:pt x="109" y="147"/>
                    </a:lnTo>
                    <a:lnTo>
                      <a:pt x="108" y="146"/>
                    </a:lnTo>
                    <a:lnTo>
                      <a:pt x="107" y="145"/>
                    </a:lnTo>
                    <a:lnTo>
                      <a:pt x="106" y="144"/>
                    </a:lnTo>
                    <a:lnTo>
                      <a:pt x="105" y="143"/>
                    </a:lnTo>
                    <a:lnTo>
                      <a:pt x="104" y="143"/>
                    </a:lnTo>
                    <a:lnTo>
                      <a:pt x="102" y="142"/>
                    </a:lnTo>
                    <a:lnTo>
                      <a:pt x="101" y="142"/>
                    </a:lnTo>
                    <a:lnTo>
                      <a:pt x="96" y="142"/>
                    </a:lnTo>
                    <a:lnTo>
                      <a:pt x="93" y="142"/>
                    </a:lnTo>
                    <a:lnTo>
                      <a:pt x="91" y="142"/>
                    </a:lnTo>
                    <a:lnTo>
                      <a:pt x="89" y="141"/>
                    </a:lnTo>
                    <a:lnTo>
                      <a:pt x="87" y="141"/>
                    </a:lnTo>
                    <a:lnTo>
                      <a:pt x="86" y="141"/>
                    </a:lnTo>
                    <a:lnTo>
                      <a:pt x="83" y="141"/>
                    </a:lnTo>
                    <a:lnTo>
                      <a:pt x="82" y="141"/>
                    </a:lnTo>
                    <a:lnTo>
                      <a:pt x="81" y="141"/>
                    </a:lnTo>
                    <a:lnTo>
                      <a:pt x="77" y="139"/>
                    </a:lnTo>
                    <a:lnTo>
                      <a:pt x="73" y="136"/>
                    </a:lnTo>
                    <a:lnTo>
                      <a:pt x="71" y="135"/>
                    </a:lnTo>
                    <a:lnTo>
                      <a:pt x="68" y="132"/>
                    </a:lnTo>
                    <a:lnTo>
                      <a:pt x="66" y="130"/>
                    </a:lnTo>
                    <a:lnTo>
                      <a:pt x="64" y="129"/>
                    </a:lnTo>
                    <a:lnTo>
                      <a:pt x="63" y="129"/>
                    </a:lnTo>
                    <a:lnTo>
                      <a:pt x="61" y="129"/>
                    </a:lnTo>
                    <a:lnTo>
                      <a:pt x="59" y="129"/>
                    </a:lnTo>
                    <a:lnTo>
                      <a:pt x="58" y="130"/>
                    </a:lnTo>
                    <a:lnTo>
                      <a:pt x="55" y="129"/>
                    </a:lnTo>
                    <a:lnTo>
                      <a:pt x="54" y="129"/>
                    </a:lnTo>
                    <a:lnTo>
                      <a:pt x="53" y="129"/>
                    </a:lnTo>
                    <a:lnTo>
                      <a:pt x="51" y="128"/>
                    </a:lnTo>
                    <a:lnTo>
                      <a:pt x="50" y="128"/>
                    </a:lnTo>
                    <a:lnTo>
                      <a:pt x="46" y="127"/>
                    </a:lnTo>
                    <a:lnTo>
                      <a:pt x="45" y="127"/>
                    </a:lnTo>
                    <a:lnTo>
                      <a:pt x="44" y="127"/>
                    </a:lnTo>
                    <a:lnTo>
                      <a:pt x="43" y="126"/>
                    </a:lnTo>
                    <a:lnTo>
                      <a:pt x="42" y="126"/>
                    </a:lnTo>
                    <a:lnTo>
                      <a:pt x="41" y="124"/>
                    </a:lnTo>
                    <a:lnTo>
                      <a:pt x="40" y="123"/>
                    </a:lnTo>
                    <a:lnTo>
                      <a:pt x="39" y="122"/>
                    </a:lnTo>
                    <a:lnTo>
                      <a:pt x="39" y="121"/>
                    </a:lnTo>
                    <a:lnTo>
                      <a:pt x="39" y="119"/>
                    </a:lnTo>
                    <a:lnTo>
                      <a:pt x="39" y="118"/>
                    </a:lnTo>
                    <a:lnTo>
                      <a:pt x="39" y="116"/>
                    </a:lnTo>
                    <a:lnTo>
                      <a:pt x="39" y="114"/>
                    </a:lnTo>
                    <a:lnTo>
                      <a:pt x="40" y="111"/>
                    </a:lnTo>
                    <a:lnTo>
                      <a:pt x="41" y="109"/>
                    </a:lnTo>
                    <a:lnTo>
                      <a:pt x="41" y="107"/>
                    </a:lnTo>
                    <a:lnTo>
                      <a:pt x="42" y="105"/>
                    </a:lnTo>
                    <a:lnTo>
                      <a:pt x="43" y="103"/>
                    </a:lnTo>
                    <a:lnTo>
                      <a:pt x="43" y="101"/>
                    </a:lnTo>
                    <a:lnTo>
                      <a:pt x="43" y="100"/>
                    </a:lnTo>
                    <a:lnTo>
                      <a:pt x="43" y="98"/>
                    </a:lnTo>
                    <a:lnTo>
                      <a:pt x="42" y="97"/>
                    </a:lnTo>
                    <a:lnTo>
                      <a:pt x="39" y="97"/>
                    </a:lnTo>
                    <a:lnTo>
                      <a:pt x="37" y="97"/>
                    </a:lnTo>
                    <a:lnTo>
                      <a:pt x="34" y="97"/>
                    </a:lnTo>
                    <a:lnTo>
                      <a:pt x="32" y="96"/>
                    </a:lnTo>
                    <a:lnTo>
                      <a:pt x="31" y="95"/>
                    </a:lnTo>
                    <a:lnTo>
                      <a:pt x="30" y="95"/>
                    </a:lnTo>
                    <a:lnTo>
                      <a:pt x="29" y="94"/>
                    </a:lnTo>
                    <a:lnTo>
                      <a:pt x="29" y="93"/>
                    </a:lnTo>
                    <a:lnTo>
                      <a:pt x="28" y="92"/>
                    </a:lnTo>
                    <a:lnTo>
                      <a:pt x="28" y="91"/>
                    </a:lnTo>
                    <a:lnTo>
                      <a:pt x="28" y="90"/>
                    </a:lnTo>
                    <a:lnTo>
                      <a:pt x="28" y="88"/>
                    </a:lnTo>
                    <a:lnTo>
                      <a:pt x="29" y="88"/>
                    </a:lnTo>
                    <a:lnTo>
                      <a:pt x="28" y="87"/>
                    </a:lnTo>
                    <a:lnTo>
                      <a:pt x="28" y="85"/>
                    </a:lnTo>
                    <a:lnTo>
                      <a:pt x="27" y="85"/>
                    </a:lnTo>
                    <a:lnTo>
                      <a:pt x="26" y="85"/>
                    </a:lnTo>
                    <a:lnTo>
                      <a:pt x="24" y="85"/>
                    </a:lnTo>
                    <a:lnTo>
                      <a:pt x="19" y="87"/>
                    </a:lnTo>
                    <a:lnTo>
                      <a:pt x="18" y="87"/>
                    </a:lnTo>
                    <a:lnTo>
                      <a:pt x="17" y="88"/>
                    </a:lnTo>
                    <a:lnTo>
                      <a:pt x="16" y="87"/>
                    </a:lnTo>
                    <a:lnTo>
                      <a:pt x="13" y="87"/>
                    </a:lnTo>
                    <a:lnTo>
                      <a:pt x="12" y="85"/>
                    </a:lnTo>
                    <a:lnTo>
                      <a:pt x="11" y="85"/>
                    </a:lnTo>
                    <a:lnTo>
                      <a:pt x="9" y="85"/>
                    </a:lnTo>
                    <a:lnTo>
                      <a:pt x="7" y="84"/>
                    </a:lnTo>
                    <a:lnTo>
                      <a:pt x="5" y="83"/>
                    </a:lnTo>
                    <a:lnTo>
                      <a:pt x="4" y="82"/>
                    </a:lnTo>
                    <a:lnTo>
                      <a:pt x="4" y="81"/>
                    </a:lnTo>
                    <a:lnTo>
                      <a:pt x="5" y="79"/>
                    </a:lnTo>
                    <a:lnTo>
                      <a:pt x="5" y="77"/>
                    </a:lnTo>
                    <a:lnTo>
                      <a:pt x="6" y="75"/>
                    </a:lnTo>
                    <a:lnTo>
                      <a:pt x="6" y="74"/>
                    </a:lnTo>
                    <a:lnTo>
                      <a:pt x="7" y="70"/>
                    </a:lnTo>
                    <a:lnTo>
                      <a:pt x="7" y="69"/>
                    </a:lnTo>
                    <a:lnTo>
                      <a:pt x="7" y="68"/>
                    </a:lnTo>
                    <a:lnTo>
                      <a:pt x="7" y="67"/>
                    </a:lnTo>
                    <a:lnTo>
                      <a:pt x="6" y="66"/>
                    </a:lnTo>
                    <a:lnTo>
                      <a:pt x="6" y="65"/>
                    </a:lnTo>
                    <a:lnTo>
                      <a:pt x="5" y="65"/>
                    </a:lnTo>
                    <a:lnTo>
                      <a:pt x="4" y="65"/>
                    </a:lnTo>
                    <a:lnTo>
                      <a:pt x="3" y="64"/>
                    </a:lnTo>
                    <a:lnTo>
                      <a:pt x="2" y="64"/>
                    </a:lnTo>
                    <a:lnTo>
                      <a:pt x="1" y="64"/>
                    </a:lnTo>
                    <a:lnTo>
                      <a:pt x="0" y="64"/>
                    </a:lnTo>
                    <a:lnTo>
                      <a:pt x="0" y="63"/>
                    </a:lnTo>
                    <a:lnTo>
                      <a:pt x="3" y="63"/>
                    </a:lnTo>
                    <a:lnTo>
                      <a:pt x="27" y="63"/>
                    </a:lnTo>
                    <a:lnTo>
                      <a:pt x="35" y="63"/>
                    </a:lnTo>
                    <a:lnTo>
                      <a:pt x="59" y="63"/>
                    </a:lnTo>
                    <a:lnTo>
                      <a:pt x="60" y="63"/>
                    </a:lnTo>
                    <a:lnTo>
                      <a:pt x="63" y="63"/>
                    </a:lnTo>
                    <a:lnTo>
                      <a:pt x="66" y="63"/>
                    </a:lnTo>
                    <a:lnTo>
                      <a:pt x="111" y="63"/>
                    </a:lnTo>
                    <a:lnTo>
                      <a:pt x="136" y="63"/>
                    </a:lnTo>
                    <a:lnTo>
                      <a:pt x="137" y="63"/>
                    </a:lnTo>
                    <a:lnTo>
                      <a:pt x="158" y="63"/>
                    </a:lnTo>
                    <a:lnTo>
                      <a:pt x="160" y="63"/>
                    </a:lnTo>
                    <a:lnTo>
                      <a:pt x="184" y="63"/>
                    </a:lnTo>
                    <a:lnTo>
                      <a:pt x="195" y="63"/>
                    </a:lnTo>
                    <a:lnTo>
                      <a:pt x="213" y="63"/>
                    </a:lnTo>
                    <a:lnTo>
                      <a:pt x="215" y="63"/>
                    </a:lnTo>
                    <a:lnTo>
                      <a:pt x="215" y="51"/>
                    </a:lnTo>
                    <a:lnTo>
                      <a:pt x="215" y="33"/>
                    </a:lnTo>
                    <a:lnTo>
                      <a:pt x="216" y="6"/>
                    </a:lnTo>
                    <a:lnTo>
                      <a:pt x="216" y="0"/>
                    </a:lnTo>
                    <a:lnTo>
                      <a:pt x="239" y="0"/>
                    </a:lnTo>
                    <a:lnTo>
                      <a:pt x="240" y="0"/>
                    </a:lnTo>
                    <a:lnTo>
                      <a:pt x="256" y="0"/>
                    </a:lnTo>
                    <a:lnTo>
                      <a:pt x="264" y="0"/>
                    </a:lnTo>
                    <a:lnTo>
                      <a:pt x="267" y="0"/>
                    </a:lnTo>
                    <a:lnTo>
                      <a:pt x="289" y="0"/>
                    </a:lnTo>
                    <a:lnTo>
                      <a:pt x="290" y="0"/>
                    </a:lnTo>
                    <a:lnTo>
                      <a:pt x="291" y="0"/>
                    </a:lnTo>
                    <a:lnTo>
                      <a:pt x="299" y="0"/>
                    </a:lnTo>
                    <a:lnTo>
                      <a:pt x="301" y="0"/>
                    </a:lnTo>
                    <a:lnTo>
                      <a:pt x="303" y="0"/>
                    </a:lnTo>
                    <a:lnTo>
                      <a:pt x="323" y="0"/>
                    </a:lnTo>
                    <a:lnTo>
                      <a:pt x="326" y="0"/>
                    </a:lnTo>
                    <a:lnTo>
                      <a:pt x="330" y="0"/>
                    </a:lnTo>
                    <a:lnTo>
                      <a:pt x="331" y="0"/>
                    </a:lnTo>
                    <a:lnTo>
                      <a:pt x="334" y="0"/>
                    </a:lnTo>
                    <a:lnTo>
                      <a:pt x="335" y="0"/>
                    </a:lnTo>
                    <a:lnTo>
                      <a:pt x="345" y="0"/>
                    </a:lnTo>
                    <a:lnTo>
                      <a:pt x="360" y="0"/>
                    </a:lnTo>
                    <a:lnTo>
                      <a:pt x="363" y="0"/>
                    </a:lnTo>
                    <a:lnTo>
                      <a:pt x="364" y="0"/>
                    </a:lnTo>
                    <a:lnTo>
                      <a:pt x="365" y="0"/>
                    </a:lnTo>
                    <a:lnTo>
                      <a:pt x="374" y="0"/>
                    </a:lnTo>
                    <a:close/>
                  </a:path>
                </a:pathLst>
              </a:custGeom>
              <a:solidFill>
                <a:srgbClr val="6DB0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4" name="Freeform 44">
                <a:extLst>
                  <a:ext uri="{FF2B5EF4-FFF2-40B4-BE49-F238E27FC236}">
                    <a16:creationId xmlns:a16="http://schemas.microsoft.com/office/drawing/2014/main" id="{C38316AC-CD47-A46E-25D3-D707E720A7F8}"/>
                  </a:ext>
                </a:extLst>
              </p:cNvPr>
              <p:cNvSpPr>
                <a:spLocks/>
              </p:cNvSpPr>
              <p:nvPr/>
            </p:nvSpPr>
            <p:spPr bwMode="auto">
              <a:xfrm>
                <a:off x="2757488" y="2386013"/>
                <a:ext cx="369888" cy="690563"/>
              </a:xfrm>
              <a:custGeom>
                <a:avLst/>
                <a:gdLst>
                  <a:gd name="T0" fmla="*/ 230 w 233"/>
                  <a:gd name="T1" fmla="*/ 171 h 435"/>
                  <a:gd name="T2" fmla="*/ 230 w 233"/>
                  <a:gd name="T3" fmla="*/ 252 h 435"/>
                  <a:gd name="T4" fmla="*/ 230 w 233"/>
                  <a:gd name="T5" fmla="*/ 291 h 435"/>
                  <a:gd name="T6" fmla="*/ 230 w 233"/>
                  <a:gd name="T7" fmla="*/ 428 h 435"/>
                  <a:gd name="T8" fmla="*/ 222 w 233"/>
                  <a:gd name="T9" fmla="*/ 422 h 435"/>
                  <a:gd name="T10" fmla="*/ 204 w 233"/>
                  <a:gd name="T11" fmla="*/ 426 h 435"/>
                  <a:gd name="T12" fmla="*/ 186 w 233"/>
                  <a:gd name="T13" fmla="*/ 434 h 435"/>
                  <a:gd name="T14" fmla="*/ 185 w 233"/>
                  <a:gd name="T15" fmla="*/ 423 h 435"/>
                  <a:gd name="T16" fmla="*/ 186 w 233"/>
                  <a:gd name="T17" fmla="*/ 415 h 435"/>
                  <a:gd name="T18" fmla="*/ 184 w 233"/>
                  <a:gd name="T19" fmla="*/ 405 h 435"/>
                  <a:gd name="T20" fmla="*/ 175 w 233"/>
                  <a:gd name="T21" fmla="*/ 398 h 435"/>
                  <a:gd name="T22" fmla="*/ 167 w 233"/>
                  <a:gd name="T23" fmla="*/ 397 h 435"/>
                  <a:gd name="T24" fmla="*/ 164 w 233"/>
                  <a:gd name="T25" fmla="*/ 391 h 435"/>
                  <a:gd name="T26" fmla="*/ 155 w 233"/>
                  <a:gd name="T27" fmla="*/ 383 h 435"/>
                  <a:gd name="T28" fmla="*/ 143 w 233"/>
                  <a:gd name="T29" fmla="*/ 367 h 435"/>
                  <a:gd name="T30" fmla="*/ 138 w 233"/>
                  <a:gd name="T31" fmla="*/ 351 h 435"/>
                  <a:gd name="T32" fmla="*/ 134 w 233"/>
                  <a:gd name="T33" fmla="*/ 341 h 435"/>
                  <a:gd name="T34" fmla="*/ 134 w 233"/>
                  <a:gd name="T35" fmla="*/ 328 h 435"/>
                  <a:gd name="T36" fmla="*/ 123 w 233"/>
                  <a:gd name="T37" fmla="*/ 330 h 435"/>
                  <a:gd name="T38" fmla="*/ 108 w 233"/>
                  <a:gd name="T39" fmla="*/ 322 h 435"/>
                  <a:gd name="T40" fmla="*/ 100 w 233"/>
                  <a:gd name="T41" fmla="*/ 317 h 435"/>
                  <a:gd name="T42" fmla="*/ 91 w 233"/>
                  <a:gd name="T43" fmla="*/ 319 h 435"/>
                  <a:gd name="T44" fmla="*/ 85 w 233"/>
                  <a:gd name="T45" fmla="*/ 322 h 435"/>
                  <a:gd name="T46" fmla="*/ 82 w 233"/>
                  <a:gd name="T47" fmla="*/ 304 h 435"/>
                  <a:gd name="T48" fmla="*/ 66 w 233"/>
                  <a:gd name="T49" fmla="*/ 311 h 435"/>
                  <a:gd name="T50" fmla="*/ 65 w 233"/>
                  <a:gd name="T51" fmla="*/ 298 h 435"/>
                  <a:gd name="T52" fmla="*/ 69 w 233"/>
                  <a:gd name="T53" fmla="*/ 285 h 435"/>
                  <a:gd name="T54" fmla="*/ 59 w 233"/>
                  <a:gd name="T55" fmla="*/ 283 h 435"/>
                  <a:gd name="T56" fmla="*/ 61 w 233"/>
                  <a:gd name="T57" fmla="*/ 281 h 435"/>
                  <a:gd name="T58" fmla="*/ 49 w 233"/>
                  <a:gd name="T59" fmla="*/ 270 h 435"/>
                  <a:gd name="T60" fmla="*/ 44 w 233"/>
                  <a:gd name="T61" fmla="*/ 255 h 435"/>
                  <a:gd name="T62" fmla="*/ 47 w 233"/>
                  <a:gd name="T63" fmla="*/ 249 h 435"/>
                  <a:gd name="T64" fmla="*/ 25 w 233"/>
                  <a:gd name="T65" fmla="*/ 239 h 435"/>
                  <a:gd name="T66" fmla="*/ 1 w 233"/>
                  <a:gd name="T67" fmla="*/ 224 h 435"/>
                  <a:gd name="T68" fmla="*/ 10 w 233"/>
                  <a:gd name="T69" fmla="*/ 223 h 435"/>
                  <a:gd name="T70" fmla="*/ 18 w 233"/>
                  <a:gd name="T71" fmla="*/ 219 h 435"/>
                  <a:gd name="T72" fmla="*/ 18 w 233"/>
                  <a:gd name="T73" fmla="*/ 214 h 435"/>
                  <a:gd name="T74" fmla="*/ 10 w 233"/>
                  <a:gd name="T75" fmla="*/ 210 h 435"/>
                  <a:gd name="T76" fmla="*/ 11 w 233"/>
                  <a:gd name="T77" fmla="*/ 200 h 435"/>
                  <a:gd name="T78" fmla="*/ 13 w 233"/>
                  <a:gd name="T79" fmla="*/ 189 h 435"/>
                  <a:gd name="T80" fmla="*/ 21 w 233"/>
                  <a:gd name="T81" fmla="*/ 179 h 435"/>
                  <a:gd name="T82" fmla="*/ 19 w 233"/>
                  <a:gd name="T83" fmla="*/ 175 h 435"/>
                  <a:gd name="T84" fmla="*/ 17 w 233"/>
                  <a:gd name="T85" fmla="*/ 164 h 435"/>
                  <a:gd name="T86" fmla="*/ 7 w 233"/>
                  <a:gd name="T87" fmla="*/ 163 h 435"/>
                  <a:gd name="T88" fmla="*/ 10 w 233"/>
                  <a:gd name="T89" fmla="*/ 152 h 435"/>
                  <a:gd name="T90" fmla="*/ 16 w 233"/>
                  <a:gd name="T91" fmla="*/ 148 h 435"/>
                  <a:gd name="T92" fmla="*/ 21 w 233"/>
                  <a:gd name="T93" fmla="*/ 137 h 435"/>
                  <a:gd name="T94" fmla="*/ 23 w 233"/>
                  <a:gd name="T95" fmla="*/ 125 h 435"/>
                  <a:gd name="T96" fmla="*/ 25 w 233"/>
                  <a:gd name="T97" fmla="*/ 120 h 435"/>
                  <a:gd name="T98" fmla="*/ 21 w 233"/>
                  <a:gd name="T99" fmla="*/ 110 h 435"/>
                  <a:gd name="T100" fmla="*/ 13 w 233"/>
                  <a:gd name="T101" fmla="*/ 100 h 435"/>
                  <a:gd name="T102" fmla="*/ 16 w 233"/>
                  <a:gd name="T103" fmla="*/ 92 h 435"/>
                  <a:gd name="T104" fmla="*/ 20 w 233"/>
                  <a:gd name="T105" fmla="*/ 86 h 435"/>
                  <a:gd name="T106" fmla="*/ 27 w 233"/>
                  <a:gd name="T107" fmla="*/ 76 h 435"/>
                  <a:gd name="T108" fmla="*/ 27 w 233"/>
                  <a:gd name="T109" fmla="*/ 71 h 435"/>
                  <a:gd name="T110" fmla="*/ 30 w 233"/>
                  <a:gd name="T111" fmla="*/ 63 h 435"/>
                  <a:gd name="T112" fmla="*/ 30 w 233"/>
                  <a:gd name="T113" fmla="*/ 51 h 435"/>
                  <a:gd name="T114" fmla="*/ 38 w 233"/>
                  <a:gd name="T115" fmla="*/ 48 h 435"/>
                  <a:gd name="T116" fmla="*/ 36 w 233"/>
                  <a:gd name="T117" fmla="*/ 42 h 435"/>
                  <a:gd name="T118" fmla="*/ 38 w 233"/>
                  <a:gd name="T119" fmla="*/ 31 h 435"/>
                  <a:gd name="T120" fmla="*/ 41 w 233"/>
                  <a:gd name="T121" fmla="*/ 26 h 435"/>
                  <a:gd name="T122" fmla="*/ 113 w 233"/>
                  <a:gd name="T123"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 h="435">
                    <a:moveTo>
                      <a:pt x="233" y="0"/>
                    </a:moveTo>
                    <a:lnTo>
                      <a:pt x="232" y="22"/>
                    </a:lnTo>
                    <a:lnTo>
                      <a:pt x="232" y="38"/>
                    </a:lnTo>
                    <a:lnTo>
                      <a:pt x="232" y="46"/>
                    </a:lnTo>
                    <a:lnTo>
                      <a:pt x="232" y="58"/>
                    </a:lnTo>
                    <a:lnTo>
                      <a:pt x="232" y="95"/>
                    </a:lnTo>
                    <a:lnTo>
                      <a:pt x="230" y="95"/>
                    </a:lnTo>
                    <a:lnTo>
                      <a:pt x="230" y="103"/>
                    </a:lnTo>
                    <a:lnTo>
                      <a:pt x="230" y="128"/>
                    </a:lnTo>
                    <a:lnTo>
                      <a:pt x="230" y="131"/>
                    </a:lnTo>
                    <a:lnTo>
                      <a:pt x="230" y="140"/>
                    </a:lnTo>
                    <a:lnTo>
                      <a:pt x="230" y="142"/>
                    </a:lnTo>
                    <a:lnTo>
                      <a:pt x="230" y="164"/>
                    </a:lnTo>
                    <a:lnTo>
                      <a:pt x="230" y="170"/>
                    </a:lnTo>
                    <a:lnTo>
                      <a:pt x="230" y="171"/>
                    </a:lnTo>
                    <a:lnTo>
                      <a:pt x="230" y="176"/>
                    </a:lnTo>
                    <a:lnTo>
                      <a:pt x="230" y="193"/>
                    </a:lnTo>
                    <a:lnTo>
                      <a:pt x="230" y="218"/>
                    </a:lnTo>
                    <a:lnTo>
                      <a:pt x="230" y="223"/>
                    </a:lnTo>
                    <a:lnTo>
                      <a:pt x="230" y="224"/>
                    </a:lnTo>
                    <a:lnTo>
                      <a:pt x="230" y="225"/>
                    </a:lnTo>
                    <a:lnTo>
                      <a:pt x="230" y="226"/>
                    </a:lnTo>
                    <a:lnTo>
                      <a:pt x="230" y="229"/>
                    </a:lnTo>
                    <a:lnTo>
                      <a:pt x="230" y="230"/>
                    </a:lnTo>
                    <a:lnTo>
                      <a:pt x="230" y="231"/>
                    </a:lnTo>
                    <a:lnTo>
                      <a:pt x="230" y="232"/>
                    </a:lnTo>
                    <a:lnTo>
                      <a:pt x="230" y="243"/>
                    </a:lnTo>
                    <a:lnTo>
                      <a:pt x="230" y="246"/>
                    </a:lnTo>
                    <a:lnTo>
                      <a:pt x="230" y="250"/>
                    </a:lnTo>
                    <a:lnTo>
                      <a:pt x="230" y="252"/>
                    </a:lnTo>
                    <a:lnTo>
                      <a:pt x="230" y="257"/>
                    </a:lnTo>
                    <a:lnTo>
                      <a:pt x="230" y="265"/>
                    </a:lnTo>
                    <a:lnTo>
                      <a:pt x="230" y="272"/>
                    </a:lnTo>
                    <a:lnTo>
                      <a:pt x="230" y="274"/>
                    </a:lnTo>
                    <a:lnTo>
                      <a:pt x="230" y="275"/>
                    </a:lnTo>
                    <a:lnTo>
                      <a:pt x="230" y="276"/>
                    </a:lnTo>
                    <a:lnTo>
                      <a:pt x="230" y="278"/>
                    </a:lnTo>
                    <a:lnTo>
                      <a:pt x="230" y="279"/>
                    </a:lnTo>
                    <a:lnTo>
                      <a:pt x="230" y="280"/>
                    </a:lnTo>
                    <a:lnTo>
                      <a:pt x="230" y="281"/>
                    </a:lnTo>
                    <a:lnTo>
                      <a:pt x="230" y="282"/>
                    </a:lnTo>
                    <a:lnTo>
                      <a:pt x="230" y="285"/>
                    </a:lnTo>
                    <a:lnTo>
                      <a:pt x="230" y="287"/>
                    </a:lnTo>
                    <a:lnTo>
                      <a:pt x="230" y="289"/>
                    </a:lnTo>
                    <a:lnTo>
                      <a:pt x="230" y="291"/>
                    </a:lnTo>
                    <a:lnTo>
                      <a:pt x="230" y="302"/>
                    </a:lnTo>
                    <a:lnTo>
                      <a:pt x="230" y="305"/>
                    </a:lnTo>
                    <a:lnTo>
                      <a:pt x="230" y="307"/>
                    </a:lnTo>
                    <a:lnTo>
                      <a:pt x="230" y="315"/>
                    </a:lnTo>
                    <a:lnTo>
                      <a:pt x="230" y="358"/>
                    </a:lnTo>
                    <a:lnTo>
                      <a:pt x="230" y="380"/>
                    </a:lnTo>
                    <a:lnTo>
                      <a:pt x="230" y="383"/>
                    </a:lnTo>
                    <a:lnTo>
                      <a:pt x="230" y="385"/>
                    </a:lnTo>
                    <a:lnTo>
                      <a:pt x="230" y="397"/>
                    </a:lnTo>
                    <a:lnTo>
                      <a:pt x="230" y="399"/>
                    </a:lnTo>
                    <a:lnTo>
                      <a:pt x="230" y="402"/>
                    </a:lnTo>
                    <a:lnTo>
                      <a:pt x="230" y="419"/>
                    </a:lnTo>
                    <a:lnTo>
                      <a:pt x="230" y="426"/>
                    </a:lnTo>
                    <a:lnTo>
                      <a:pt x="230" y="427"/>
                    </a:lnTo>
                    <a:lnTo>
                      <a:pt x="230" y="428"/>
                    </a:lnTo>
                    <a:lnTo>
                      <a:pt x="230" y="433"/>
                    </a:lnTo>
                    <a:lnTo>
                      <a:pt x="228" y="433"/>
                    </a:lnTo>
                    <a:lnTo>
                      <a:pt x="228" y="432"/>
                    </a:lnTo>
                    <a:lnTo>
                      <a:pt x="227" y="432"/>
                    </a:lnTo>
                    <a:lnTo>
                      <a:pt x="226" y="431"/>
                    </a:lnTo>
                    <a:lnTo>
                      <a:pt x="225" y="431"/>
                    </a:lnTo>
                    <a:lnTo>
                      <a:pt x="223" y="431"/>
                    </a:lnTo>
                    <a:lnTo>
                      <a:pt x="222" y="430"/>
                    </a:lnTo>
                    <a:lnTo>
                      <a:pt x="222" y="429"/>
                    </a:lnTo>
                    <a:lnTo>
                      <a:pt x="222" y="428"/>
                    </a:lnTo>
                    <a:lnTo>
                      <a:pt x="223" y="428"/>
                    </a:lnTo>
                    <a:lnTo>
                      <a:pt x="222" y="427"/>
                    </a:lnTo>
                    <a:lnTo>
                      <a:pt x="221" y="426"/>
                    </a:lnTo>
                    <a:lnTo>
                      <a:pt x="221" y="424"/>
                    </a:lnTo>
                    <a:lnTo>
                      <a:pt x="222" y="422"/>
                    </a:lnTo>
                    <a:lnTo>
                      <a:pt x="221" y="421"/>
                    </a:lnTo>
                    <a:lnTo>
                      <a:pt x="220" y="421"/>
                    </a:lnTo>
                    <a:lnTo>
                      <a:pt x="219" y="420"/>
                    </a:lnTo>
                    <a:lnTo>
                      <a:pt x="217" y="420"/>
                    </a:lnTo>
                    <a:lnTo>
                      <a:pt x="216" y="420"/>
                    </a:lnTo>
                    <a:lnTo>
                      <a:pt x="215" y="421"/>
                    </a:lnTo>
                    <a:lnTo>
                      <a:pt x="214" y="421"/>
                    </a:lnTo>
                    <a:lnTo>
                      <a:pt x="213" y="421"/>
                    </a:lnTo>
                    <a:lnTo>
                      <a:pt x="212" y="421"/>
                    </a:lnTo>
                    <a:lnTo>
                      <a:pt x="211" y="422"/>
                    </a:lnTo>
                    <a:lnTo>
                      <a:pt x="211" y="423"/>
                    </a:lnTo>
                    <a:lnTo>
                      <a:pt x="211" y="424"/>
                    </a:lnTo>
                    <a:lnTo>
                      <a:pt x="210" y="426"/>
                    </a:lnTo>
                    <a:lnTo>
                      <a:pt x="209" y="426"/>
                    </a:lnTo>
                    <a:lnTo>
                      <a:pt x="204" y="426"/>
                    </a:lnTo>
                    <a:lnTo>
                      <a:pt x="203" y="426"/>
                    </a:lnTo>
                    <a:lnTo>
                      <a:pt x="201" y="427"/>
                    </a:lnTo>
                    <a:lnTo>
                      <a:pt x="198" y="429"/>
                    </a:lnTo>
                    <a:lnTo>
                      <a:pt x="197" y="430"/>
                    </a:lnTo>
                    <a:lnTo>
                      <a:pt x="196" y="430"/>
                    </a:lnTo>
                    <a:lnTo>
                      <a:pt x="194" y="432"/>
                    </a:lnTo>
                    <a:lnTo>
                      <a:pt x="193" y="432"/>
                    </a:lnTo>
                    <a:lnTo>
                      <a:pt x="191" y="432"/>
                    </a:lnTo>
                    <a:lnTo>
                      <a:pt x="189" y="432"/>
                    </a:lnTo>
                    <a:lnTo>
                      <a:pt x="188" y="433"/>
                    </a:lnTo>
                    <a:lnTo>
                      <a:pt x="188" y="434"/>
                    </a:lnTo>
                    <a:lnTo>
                      <a:pt x="188" y="435"/>
                    </a:lnTo>
                    <a:lnTo>
                      <a:pt x="187" y="435"/>
                    </a:lnTo>
                    <a:lnTo>
                      <a:pt x="186" y="435"/>
                    </a:lnTo>
                    <a:lnTo>
                      <a:pt x="186" y="434"/>
                    </a:lnTo>
                    <a:lnTo>
                      <a:pt x="186" y="433"/>
                    </a:lnTo>
                    <a:lnTo>
                      <a:pt x="186" y="431"/>
                    </a:lnTo>
                    <a:lnTo>
                      <a:pt x="186" y="430"/>
                    </a:lnTo>
                    <a:lnTo>
                      <a:pt x="185" y="430"/>
                    </a:lnTo>
                    <a:lnTo>
                      <a:pt x="184" y="430"/>
                    </a:lnTo>
                    <a:lnTo>
                      <a:pt x="184" y="429"/>
                    </a:lnTo>
                    <a:lnTo>
                      <a:pt x="184" y="428"/>
                    </a:lnTo>
                    <a:lnTo>
                      <a:pt x="184" y="427"/>
                    </a:lnTo>
                    <a:lnTo>
                      <a:pt x="183" y="427"/>
                    </a:lnTo>
                    <a:lnTo>
                      <a:pt x="182" y="426"/>
                    </a:lnTo>
                    <a:lnTo>
                      <a:pt x="182" y="424"/>
                    </a:lnTo>
                    <a:lnTo>
                      <a:pt x="182" y="423"/>
                    </a:lnTo>
                    <a:lnTo>
                      <a:pt x="183" y="423"/>
                    </a:lnTo>
                    <a:lnTo>
                      <a:pt x="184" y="423"/>
                    </a:lnTo>
                    <a:lnTo>
                      <a:pt x="185" y="423"/>
                    </a:lnTo>
                    <a:lnTo>
                      <a:pt x="186" y="423"/>
                    </a:lnTo>
                    <a:lnTo>
                      <a:pt x="187" y="423"/>
                    </a:lnTo>
                    <a:lnTo>
                      <a:pt x="187" y="422"/>
                    </a:lnTo>
                    <a:lnTo>
                      <a:pt x="188" y="422"/>
                    </a:lnTo>
                    <a:lnTo>
                      <a:pt x="189" y="422"/>
                    </a:lnTo>
                    <a:lnTo>
                      <a:pt x="190" y="421"/>
                    </a:lnTo>
                    <a:lnTo>
                      <a:pt x="191" y="421"/>
                    </a:lnTo>
                    <a:lnTo>
                      <a:pt x="191" y="420"/>
                    </a:lnTo>
                    <a:lnTo>
                      <a:pt x="190" y="419"/>
                    </a:lnTo>
                    <a:lnTo>
                      <a:pt x="189" y="417"/>
                    </a:lnTo>
                    <a:lnTo>
                      <a:pt x="188" y="418"/>
                    </a:lnTo>
                    <a:lnTo>
                      <a:pt x="187" y="418"/>
                    </a:lnTo>
                    <a:lnTo>
                      <a:pt x="187" y="417"/>
                    </a:lnTo>
                    <a:lnTo>
                      <a:pt x="186" y="416"/>
                    </a:lnTo>
                    <a:lnTo>
                      <a:pt x="186" y="415"/>
                    </a:lnTo>
                    <a:lnTo>
                      <a:pt x="187" y="415"/>
                    </a:lnTo>
                    <a:lnTo>
                      <a:pt x="188" y="415"/>
                    </a:lnTo>
                    <a:lnTo>
                      <a:pt x="189" y="415"/>
                    </a:lnTo>
                    <a:lnTo>
                      <a:pt x="189" y="414"/>
                    </a:lnTo>
                    <a:lnTo>
                      <a:pt x="189" y="413"/>
                    </a:lnTo>
                    <a:lnTo>
                      <a:pt x="188" y="413"/>
                    </a:lnTo>
                    <a:lnTo>
                      <a:pt x="188" y="411"/>
                    </a:lnTo>
                    <a:lnTo>
                      <a:pt x="187" y="411"/>
                    </a:lnTo>
                    <a:lnTo>
                      <a:pt x="186" y="411"/>
                    </a:lnTo>
                    <a:lnTo>
                      <a:pt x="185" y="410"/>
                    </a:lnTo>
                    <a:lnTo>
                      <a:pt x="185" y="409"/>
                    </a:lnTo>
                    <a:lnTo>
                      <a:pt x="185" y="408"/>
                    </a:lnTo>
                    <a:lnTo>
                      <a:pt x="185" y="407"/>
                    </a:lnTo>
                    <a:lnTo>
                      <a:pt x="185" y="405"/>
                    </a:lnTo>
                    <a:lnTo>
                      <a:pt x="184" y="405"/>
                    </a:lnTo>
                    <a:lnTo>
                      <a:pt x="183" y="404"/>
                    </a:lnTo>
                    <a:lnTo>
                      <a:pt x="182" y="405"/>
                    </a:lnTo>
                    <a:lnTo>
                      <a:pt x="181" y="405"/>
                    </a:lnTo>
                    <a:lnTo>
                      <a:pt x="181" y="404"/>
                    </a:lnTo>
                    <a:lnTo>
                      <a:pt x="180" y="404"/>
                    </a:lnTo>
                    <a:lnTo>
                      <a:pt x="180" y="405"/>
                    </a:lnTo>
                    <a:lnTo>
                      <a:pt x="178" y="404"/>
                    </a:lnTo>
                    <a:lnTo>
                      <a:pt x="178" y="403"/>
                    </a:lnTo>
                    <a:lnTo>
                      <a:pt x="178" y="402"/>
                    </a:lnTo>
                    <a:lnTo>
                      <a:pt x="177" y="402"/>
                    </a:lnTo>
                    <a:lnTo>
                      <a:pt x="177" y="401"/>
                    </a:lnTo>
                    <a:lnTo>
                      <a:pt x="177" y="399"/>
                    </a:lnTo>
                    <a:lnTo>
                      <a:pt x="176" y="399"/>
                    </a:lnTo>
                    <a:lnTo>
                      <a:pt x="176" y="398"/>
                    </a:lnTo>
                    <a:lnTo>
                      <a:pt x="175" y="398"/>
                    </a:lnTo>
                    <a:lnTo>
                      <a:pt x="174" y="397"/>
                    </a:lnTo>
                    <a:lnTo>
                      <a:pt x="173" y="397"/>
                    </a:lnTo>
                    <a:lnTo>
                      <a:pt x="173" y="396"/>
                    </a:lnTo>
                    <a:lnTo>
                      <a:pt x="172" y="396"/>
                    </a:lnTo>
                    <a:lnTo>
                      <a:pt x="172" y="397"/>
                    </a:lnTo>
                    <a:lnTo>
                      <a:pt x="171" y="396"/>
                    </a:lnTo>
                    <a:lnTo>
                      <a:pt x="171" y="397"/>
                    </a:lnTo>
                    <a:lnTo>
                      <a:pt x="170" y="397"/>
                    </a:lnTo>
                    <a:lnTo>
                      <a:pt x="170" y="398"/>
                    </a:lnTo>
                    <a:lnTo>
                      <a:pt x="169" y="399"/>
                    </a:lnTo>
                    <a:lnTo>
                      <a:pt x="168" y="398"/>
                    </a:lnTo>
                    <a:lnTo>
                      <a:pt x="168" y="399"/>
                    </a:lnTo>
                    <a:lnTo>
                      <a:pt x="168" y="398"/>
                    </a:lnTo>
                    <a:lnTo>
                      <a:pt x="167" y="398"/>
                    </a:lnTo>
                    <a:lnTo>
                      <a:pt x="167" y="397"/>
                    </a:lnTo>
                    <a:lnTo>
                      <a:pt x="167" y="398"/>
                    </a:lnTo>
                    <a:lnTo>
                      <a:pt x="165" y="398"/>
                    </a:lnTo>
                    <a:lnTo>
                      <a:pt x="165" y="397"/>
                    </a:lnTo>
                    <a:lnTo>
                      <a:pt x="164" y="397"/>
                    </a:lnTo>
                    <a:lnTo>
                      <a:pt x="164" y="396"/>
                    </a:lnTo>
                    <a:lnTo>
                      <a:pt x="163" y="396"/>
                    </a:lnTo>
                    <a:lnTo>
                      <a:pt x="163" y="395"/>
                    </a:lnTo>
                    <a:lnTo>
                      <a:pt x="162" y="395"/>
                    </a:lnTo>
                    <a:lnTo>
                      <a:pt x="161" y="394"/>
                    </a:lnTo>
                    <a:lnTo>
                      <a:pt x="162" y="394"/>
                    </a:lnTo>
                    <a:lnTo>
                      <a:pt x="162" y="393"/>
                    </a:lnTo>
                    <a:lnTo>
                      <a:pt x="163" y="393"/>
                    </a:lnTo>
                    <a:lnTo>
                      <a:pt x="163" y="392"/>
                    </a:lnTo>
                    <a:lnTo>
                      <a:pt x="164" y="392"/>
                    </a:lnTo>
                    <a:lnTo>
                      <a:pt x="164" y="391"/>
                    </a:lnTo>
                    <a:lnTo>
                      <a:pt x="165" y="391"/>
                    </a:lnTo>
                    <a:lnTo>
                      <a:pt x="165" y="390"/>
                    </a:lnTo>
                    <a:lnTo>
                      <a:pt x="164" y="390"/>
                    </a:lnTo>
                    <a:lnTo>
                      <a:pt x="163" y="390"/>
                    </a:lnTo>
                    <a:lnTo>
                      <a:pt x="163" y="389"/>
                    </a:lnTo>
                    <a:lnTo>
                      <a:pt x="162" y="389"/>
                    </a:lnTo>
                    <a:lnTo>
                      <a:pt x="161" y="389"/>
                    </a:lnTo>
                    <a:lnTo>
                      <a:pt x="159" y="389"/>
                    </a:lnTo>
                    <a:lnTo>
                      <a:pt x="158" y="389"/>
                    </a:lnTo>
                    <a:lnTo>
                      <a:pt x="157" y="388"/>
                    </a:lnTo>
                    <a:lnTo>
                      <a:pt x="157" y="386"/>
                    </a:lnTo>
                    <a:lnTo>
                      <a:pt x="156" y="385"/>
                    </a:lnTo>
                    <a:lnTo>
                      <a:pt x="155" y="385"/>
                    </a:lnTo>
                    <a:lnTo>
                      <a:pt x="155" y="384"/>
                    </a:lnTo>
                    <a:lnTo>
                      <a:pt x="155" y="383"/>
                    </a:lnTo>
                    <a:lnTo>
                      <a:pt x="153" y="383"/>
                    </a:lnTo>
                    <a:lnTo>
                      <a:pt x="153" y="382"/>
                    </a:lnTo>
                    <a:lnTo>
                      <a:pt x="151" y="381"/>
                    </a:lnTo>
                    <a:lnTo>
                      <a:pt x="150" y="380"/>
                    </a:lnTo>
                    <a:lnTo>
                      <a:pt x="148" y="379"/>
                    </a:lnTo>
                    <a:lnTo>
                      <a:pt x="147" y="378"/>
                    </a:lnTo>
                    <a:lnTo>
                      <a:pt x="145" y="377"/>
                    </a:lnTo>
                    <a:lnTo>
                      <a:pt x="144" y="376"/>
                    </a:lnTo>
                    <a:lnTo>
                      <a:pt x="144" y="375"/>
                    </a:lnTo>
                    <a:lnTo>
                      <a:pt x="144" y="373"/>
                    </a:lnTo>
                    <a:lnTo>
                      <a:pt x="143" y="372"/>
                    </a:lnTo>
                    <a:lnTo>
                      <a:pt x="144" y="370"/>
                    </a:lnTo>
                    <a:lnTo>
                      <a:pt x="144" y="369"/>
                    </a:lnTo>
                    <a:lnTo>
                      <a:pt x="143" y="368"/>
                    </a:lnTo>
                    <a:lnTo>
                      <a:pt x="143" y="367"/>
                    </a:lnTo>
                    <a:lnTo>
                      <a:pt x="142" y="365"/>
                    </a:lnTo>
                    <a:lnTo>
                      <a:pt x="138" y="364"/>
                    </a:lnTo>
                    <a:lnTo>
                      <a:pt x="138" y="363"/>
                    </a:lnTo>
                    <a:lnTo>
                      <a:pt x="138" y="362"/>
                    </a:lnTo>
                    <a:lnTo>
                      <a:pt x="138" y="360"/>
                    </a:lnTo>
                    <a:lnTo>
                      <a:pt x="138" y="359"/>
                    </a:lnTo>
                    <a:lnTo>
                      <a:pt x="137" y="357"/>
                    </a:lnTo>
                    <a:lnTo>
                      <a:pt x="137" y="356"/>
                    </a:lnTo>
                    <a:lnTo>
                      <a:pt x="136" y="356"/>
                    </a:lnTo>
                    <a:lnTo>
                      <a:pt x="136" y="355"/>
                    </a:lnTo>
                    <a:lnTo>
                      <a:pt x="136" y="354"/>
                    </a:lnTo>
                    <a:lnTo>
                      <a:pt x="136" y="353"/>
                    </a:lnTo>
                    <a:lnTo>
                      <a:pt x="137" y="352"/>
                    </a:lnTo>
                    <a:lnTo>
                      <a:pt x="137" y="351"/>
                    </a:lnTo>
                    <a:lnTo>
                      <a:pt x="138" y="351"/>
                    </a:lnTo>
                    <a:lnTo>
                      <a:pt x="138" y="350"/>
                    </a:lnTo>
                    <a:lnTo>
                      <a:pt x="138" y="349"/>
                    </a:lnTo>
                    <a:lnTo>
                      <a:pt x="139" y="349"/>
                    </a:lnTo>
                    <a:lnTo>
                      <a:pt x="140" y="347"/>
                    </a:lnTo>
                    <a:lnTo>
                      <a:pt x="140" y="346"/>
                    </a:lnTo>
                    <a:lnTo>
                      <a:pt x="140" y="345"/>
                    </a:lnTo>
                    <a:lnTo>
                      <a:pt x="140" y="344"/>
                    </a:lnTo>
                    <a:lnTo>
                      <a:pt x="140" y="343"/>
                    </a:lnTo>
                    <a:lnTo>
                      <a:pt x="139" y="343"/>
                    </a:lnTo>
                    <a:lnTo>
                      <a:pt x="139" y="342"/>
                    </a:lnTo>
                    <a:lnTo>
                      <a:pt x="138" y="342"/>
                    </a:lnTo>
                    <a:lnTo>
                      <a:pt x="137" y="342"/>
                    </a:lnTo>
                    <a:lnTo>
                      <a:pt x="136" y="341"/>
                    </a:lnTo>
                    <a:lnTo>
                      <a:pt x="135" y="341"/>
                    </a:lnTo>
                    <a:lnTo>
                      <a:pt x="134" y="341"/>
                    </a:lnTo>
                    <a:lnTo>
                      <a:pt x="133" y="340"/>
                    </a:lnTo>
                    <a:lnTo>
                      <a:pt x="132" y="340"/>
                    </a:lnTo>
                    <a:lnTo>
                      <a:pt x="132" y="339"/>
                    </a:lnTo>
                    <a:lnTo>
                      <a:pt x="132" y="338"/>
                    </a:lnTo>
                    <a:lnTo>
                      <a:pt x="133" y="337"/>
                    </a:lnTo>
                    <a:lnTo>
                      <a:pt x="134" y="336"/>
                    </a:lnTo>
                    <a:lnTo>
                      <a:pt x="135" y="334"/>
                    </a:lnTo>
                    <a:lnTo>
                      <a:pt x="136" y="333"/>
                    </a:lnTo>
                    <a:lnTo>
                      <a:pt x="137" y="332"/>
                    </a:lnTo>
                    <a:lnTo>
                      <a:pt x="137" y="331"/>
                    </a:lnTo>
                    <a:lnTo>
                      <a:pt x="136" y="331"/>
                    </a:lnTo>
                    <a:lnTo>
                      <a:pt x="135" y="330"/>
                    </a:lnTo>
                    <a:lnTo>
                      <a:pt x="135" y="329"/>
                    </a:lnTo>
                    <a:lnTo>
                      <a:pt x="135" y="328"/>
                    </a:lnTo>
                    <a:lnTo>
                      <a:pt x="134" y="328"/>
                    </a:lnTo>
                    <a:lnTo>
                      <a:pt x="133" y="329"/>
                    </a:lnTo>
                    <a:lnTo>
                      <a:pt x="132" y="330"/>
                    </a:lnTo>
                    <a:lnTo>
                      <a:pt x="131" y="330"/>
                    </a:lnTo>
                    <a:lnTo>
                      <a:pt x="130" y="330"/>
                    </a:lnTo>
                    <a:lnTo>
                      <a:pt x="129" y="330"/>
                    </a:lnTo>
                    <a:lnTo>
                      <a:pt x="127" y="329"/>
                    </a:lnTo>
                    <a:lnTo>
                      <a:pt x="126" y="328"/>
                    </a:lnTo>
                    <a:lnTo>
                      <a:pt x="126" y="327"/>
                    </a:lnTo>
                    <a:lnTo>
                      <a:pt x="125" y="326"/>
                    </a:lnTo>
                    <a:lnTo>
                      <a:pt x="124" y="326"/>
                    </a:lnTo>
                    <a:lnTo>
                      <a:pt x="123" y="326"/>
                    </a:lnTo>
                    <a:lnTo>
                      <a:pt x="123" y="327"/>
                    </a:lnTo>
                    <a:lnTo>
                      <a:pt x="123" y="328"/>
                    </a:lnTo>
                    <a:lnTo>
                      <a:pt x="123" y="329"/>
                    </a:lnTo>
                    <a:lnTo>
                      <a:pt x="123" y="330"/>
                    </a:lnTo>
                    <a:lnTo>
                      <a:pt x="122" y="330"/>
                    </a:lnTo>
                    <a:lnTo>
                      <a:pt x="121" y="331"/>
                    </a:lnTo>
                    <a:lnTo>
                      <a:pt x="120" y="331"/>
                    </a:lnTo>
                    <a:lnTo>
                      <a:pt x="119" y="331"/>
                    </a:lnTo>
                    <a:lnTo>
                      <a:pt x="118" y="330"/>
                    </a:lnTo>
                    <a:lnTo>
                      <a:pt x="117" y="327"/>
                    </a:lnTo>
                    <a:lnTo>
                      <a:pt x="116" y="325"/>
                    </a:lnTo>
                    <a:lnTo>
                      <a:pt x="116" y="324"/>
                    </a:lnTo>
                    <a:lnTo>
                      <a:pt x="114" y="324"/>
                    </a:lnTo>
                    <a:lnTo>
                      <a:pt x="114" y="322"/>
                    </a:lnTo>
                    <a:lnTo>
                      <a:pt x="113" y="322"/>
                    </a:lnTo>
                    <a:lnTo>
                      <a:pt x="112" y="322"/>
                    </a:lnTo>
                    <a:lnTo>
                      <a:pt x="111" y="322"/>
                    </a:lnTo>
                    <a:lnTo>
                      <a:pt x="109" y="322"/>
                    </a:lnTo>
                    <a:lnTo>
                      <a:pt x="108" y="322"/>
                    </a:lnTo>
                    <a:lnTo>
                      <a:pt x="107" y="322"/>
                    </a:lnTo>
                    <a:lnTo>
                      <a:pt x="106" y="322"/>
                    </a:lnTo>
                    <a:lnTo>
                      <a:pt x="105" y="321"/>
                    </a:lnTo>
                    <a:lnTo>
                      <a:pt x="105" y="320"/>
                    </a:lnTo>
                    <a:lnTo>
                      <a:pt x="105" y="319"/>
                    </a:lnTo>
                    <a:lnTo>
                      <a:pt x="105" y="318"/>
                    </a:lnTo>
                    <a:lnTo>
                      <a:pt x="105" y="317"/>
                    </a:lnTo>
                    <a:lnTo>
                      <a:pt x="105" y="316"/>
                    </a:lnTo>
                    <a:lnTo>
                      <a:pt x="105" y="315"/>
                    </a:lnTo>
                    <a:lnTo>
                      <a:pt x="105" y="314"/>
                    </a:lnTo>
                    <a:lnTo>
                      <a:pt x="104" y="314"/>
                    </a:lnTo>
                    <a:lnTo>
                      <a:pt x="103" y="314"/>
                    </a:lnTo>
                    <a:lnTo>
                      <a:pt x="101" y="315"/>
                    </a:lnTo>
                    <a:lnTo>
                      <a:pt x="100" y="316"/>
                    </a:lnTo>
                    <a:lnTo>
                      <a:pt x="100" y="317"/>
                    </a:lnTo>
                    <a:lnTo>
                      <a:pt x="99" y="317"/>
                    </a:lnTo>
                    <a:lnTo>
                      <a:pt x="98" y="318"/>
                    </a:lnTo>
                    <a:lnTo>
                      <a:pt x="98" y="317"/>
                    </a:lnTo>
                    <a:lnTo>
                      <a:pt x="97" y="316"/>
                    </a:lnTo>
                    <a:lnTo>
                      <a:pt x="96" y="316"/>
                    </a:lnTo>
                    <a:lnTo>
                      <a:pt x="96" y="315"/>
                    </a:lnTo>
                    <a:lnTo>
                      <a:pt x="94" y="315"/>
                    </a:lnTo>
                    <a:lnTo>
                      <a:pt x="93" y="315"/>
                    </a:lnTo>
                    <a:lnTo>
                      <a:pt x="92" y="315"/>
                    </a:lnTo>
                    <a:lnTo>
                      <a:pt x="90" y="315"/>
                    </a:lnTo>
                    <a:lnTo>
                      <a:pt x="88" y="316"/>
                    </a:lnTo>
                    <a:lnTo>
                      <a:pt x="88" y="317"/>
                    </a:lnTo>
                    <a:lnTo>
                      <a:pt x="88" y="318"/>
                    </a:lnTo>
                    <a:lnTo>
                      <a:pt x="90" y="319"/>
                    </a:lnTo>
                    <a:lnTo>
                      <a:pt x="91" y="319"/>
                    </a:lnTo>
                    <a:lnTo>
                      <a:pt x="92" y="319"/>
                    </a:lnTo>
                    <a:lnTo>
                      <a:pt x="93" y="320"/>
                    </a:lnTo>
                    <a:lnTo>
                      <a:pt x="94" y="320"/>
                    </a:lnTo>
                    <a:lnTo>
                      <a:pt x="94" y="321"/>
                    </a:lnTo>
                    <a:lnTo>
                      <a:pt x="94" y="322"/>
                    </a:lnTo>
                    <a:lnTo>
                      <a:pt x="95" y="324"/>
                    </a:lnTo>
                    <a:lnTo>
                      <a:pt x="95" y="325"/>
                    </a:lnTo>
                    <a:lnTo>
                      <a:pt x="94" y="326"/>
                    </a:lnTo>
                    <a:lnTo>
                      <a:pt x="93" y="326"/>
                    </a:lnTo>
                    <a:lnTo>
                      <a:pt x="92" y="326"/>
                    </a:lnTo>
                    <a:lnTo>
                      <a:pt x="91" y="326"/>
                    </a:lnTo>
                    <a:lnTo>
                      <a:pt x="90" y="325"/>
                    </a:lnTo>
                    <a:lnTo>
                      <a:pt x="87" y="325"/>
                    </a:lnTo>
                    <a:lnTo>
                      <a:pt x="87" y="324"/>
                    </a:lnTo>
                    <a:lnTo>
                      <a:pt x="85" y="322"/>
                    </a:lnTo>
                    <a:lnTo>
                      <a:pt x="84" y="321"/>
                    </a:lnTo>
                    <a:lnTo>
                      <a:pt x="83" y="320"/>
                    </a:lnTo>
                    <a:lnTo>
                      <a:pt x="83" y="319"/>
                    </a:lnTo>
                    <a:lnTo>
                      <a:pt x="84" y="318"/>
                    </a:lnTo>
                    <a:lnTo>
                      <a:pt x="85" y="316"/>
                    </a:lnTo>
                    <a:lnTo>
                      <a:pt x="86" y="315"/>
                    </a:lnTo>
                    <a:lnTo>
                      <a:pt x="86" y="314"/>
                    </a:lnTo>
                    <a:lnTo>
                      <a:pt x="87" y="312"/>
                    </a:lnTo>
                    <a:lnTo>
                      <a:pt x="88" y="309"/>
                    </a:lnTo>
                    <a:lnTo>
                      <a:pt x="90" y="308"/>
                    </a:lnTo>
                    <a:lnTo>
                      <a:pt x="88" y="307"/>
                    </a:lnTo>
                    <a:lnTo>
                      <a:pt x="87" y="306"/>
                    </a:lnTo>
                    <a:lnTo>
                      <a:pt x="84" y="304"/>
                    </a:lnTo>
                    <a:lnTo>
                      <a:pt x="83" y="304"/>
                    </a:lnTo>
                    <a:lnTo>
                      <a:pt x="82" y="304"/>
                    </a:lnTo>
                    <a:lnTo>
                      <a:pt x="81" y="304"/>
                    </a:lnTo>
                    <a:lnTo>
                      <a:pt x="81" y="305"/>
                    </a:lnTo>
                    <a:lnTo>
                      <a:pt x="81" y="306"/>
                    </a:lnTo>
                    <a:lnTo>
                      <a:pt x="82" y="308"/>
                    </a:lnTo>
                    <a:lnTo>
                      <a:pt x="81" y="309"/>
                    </a:lnTo>
                    <a:lnTo>
                      <a:pt x="80" y="311"/>
                    </a:lnTo>
                    <a:lnTo>
                      <a:pt x="78" y="312"/>
                    </a:lnTo>
                    <a:lnTo>
                      <a:pt x="77" y="312"/>
                    </a:lnTo>
                    <a:lnTo>
                      <a:pt x="73" y="313"/>
                    </a:lnTo>
                    <a:lnTo>
                      <a:pt x="72" y="314"/>
                    </a:lnTo>
                    <a:lnTo>
                      <a:pt x="71" y="314"/>
                    </a:lnTo>
                    <a:lnTo>
                      <a:pt x="70" y="313"/>
                    </a:lnTo>
                    <a:lnTo>
                      <a:pt x="69" y="313"/>
                    </a:lnTo>
                    <a:lnTo>
                      <a:pt x="66" y="312"/>
                    </a:lnTo>
                    <a:lnTo>
                      <a:pt x="66" y="311"/>
                    </a:lnTo>
                    <a:lnTo>
                      <a:pt x="65" y="308"/>
                    </a:lnTo>
                    <a:lnTo>
                      <a:pt x="64" y="308"/>
                    </a:lnTo>
                    <a:lnTo>
                      <a:pt x="62" y="307"/>
                    </a:lnTo>
                    <a:lnTo>
                      <a:pt x="62" y="306"/>
                    </a:lnTo>
                    <a:lnTo>
                      <a:pt x="62" y="305"/>
                    </a:lnTo>
                    <a:lnTo>
                      <a:pt x="65" y="305"/>
                    </a:lnTo>
                    <a:lnTo>
                      <a:pt x="66" y="305"/>
                    </a:lnTo>
                    <a:lnTo>
                      <a:pt x="67" y="304"/>
                    </a:lnTo>
                    <a:lnTo>
                      <a:pt x="67" y="303"/>
                    </a:lnTo>
                    <a:lnTo>
                      <a:pt x="67" y="302"/>
                    </a:lnTo>
                    <a:lnTo>
                      <a:pt x="66" y="302"/>
                    </a:lnTo>
                    <a:lnTo>
                      <a:pt x="65" y="301"/>
                    </a:lnTo>
                    <a:lnTo>
                      <a:pt x="65" y="300"/>
                    </a:lnTo>
                    <a:lnTo>
                      <a:pt x="64" y="299"/>
                    </a:lnTo>
                    <a:lnTo>
                      <a:pt x="65" y="298"/>
                    </a:lnTo>
                    <a:lnTo>
                      <a:pt x="65" y="296"/>
                    </a:lnTo>
                    <a:lnTo>
                      <a:pt x="66" y="296"/>
                    </a:lnTo>
                    <a:lnTo>
                      <a:pt x="67" y="298"/>
                    </a:lnTo>
                    <a:lnTo>
                      <a:pt x="68" y="296"/>
                    </a:lnTo>
                    <a:lnTo>
                      <a:pt x="68" y="295"/>
                    </a:lnTo>
                    <a:lnTo>
                      <a:pt x="68" y="291"/>
                    </a:lnTo>
                    <a:lnTo>
                      <a:pt x="68" y="290"/>
                    </a:lnTo>
                    <a:lnTo>
                      <a:pt x="68" y="289"/>
                    </a:lnTo>
                    <a:lnTo>
                      <a:pt x="68" y="288"/>
                    </a:lnTo>
                    <a:lnTo>
                      <a:pt x="69" y="288"/>
                    </a:lnTo>
                    <a:lnTo>
                      <a:pt x="70" y="288"/>
                    </a:lnTo>
                    <a:lnTo>
                      <a:pt x="70" y="287"/>
                    </a:lnTo>
                    <a:lnTo>
                      <a:pt x="69" y="287"/>
                    </a:lnTo>
                    <a:lnTo>
                      <a:pt x="69" y="286"/>
                    </a:lnTo>
                    <a:lnTo>
                      <a:pt x="69" y="285"/>
                    </a:lnTo>
                    <a:lnTo>
                      <a:pt x="69" y="283"/>
                    </a:lnTo>
                    <a:lnTo>
                      <a:pt x="68" y="283"/>
                    </a:lnTo>
                    <a:lnTo>
                      <a:pt x="67" y="282"/>
                    </a:lnTo>
                    <a:lnTo>
                      <a:pt x="66" y="282"/>
                    </a:lnTo>
                    <a:lnTo>
                      <a:pt x="67" y="283"/>
                    </a:lnTo>
                    <a:lnTo>
                      <a:pt x="67" y="285"/>
                    </a:lnTo>
                    <a:lnTo>
                      <a:pt x="68" y="286"/>
                    </a:lnTo>
                    <a:lnTo>
                      <a:pt x="67" y="286"/>
                    </a:lnTo>
                    <a:lnTo>
                      <a:pt x="66" y="285"/>
                    </a:lnTo>
                    <a:lnTo>
                      <a:pt x="65" y="283"/>
                    </a:lnTo>
                    <a:lnTo>
                      <a:pt x="64" y="283"/>
                    </a:lnTo>
                    <a:lnTo>
                      <a:pt x="62" y="283"/>
                    </a:lnTo>
                    <a:lnTo>
                      <a:pt x="61" y="283"/>
                    </a:lnTo>
                    <a:lnTo>
                      <a:pt x="60" y="283"/>
                    </a:lnTo>
                    <a:lnTo>
                      <a:pt x="59" y="283"/>
                    </a:lnTo>
                    <a:lnTo>
                      <a:pt x="57" y="283"/>
                    </a:lnTo>
                    <a:lnTo>
                      <a:pt x="55" y="283"/>
                    </a:lnTo>
                    <a:lnTo>
                      <a:pt x="54" y="283"/>
                    </a:lnTo>
                    <a:lnTo>
                      <a:pt x="53" y="282"/>
                    </a:lnTo>
                    <a:lnTo>
                      <a:pt x="53" y="281"/>
                    </a:lnTo>
                    <a:lnTo>
                      <a:pt x="54" y="281"/>
                    </a:lnTo>
                    <a:lnTo>
                      <a:pt x="54" y="280"/>
                    </a:lnTo>
                    <a:lnTo>
                      <a:pt x="55" y="280"/>
                    </a:lnTo>
                    <a:lnTo>
                      <a:pt x="56" y="280"/>
                    </a:lnTo>
                    <a:lnTo>
                      <a:pt x="58" y="280"/>
                    </a:lnTo>
                    <a:lnTo>
                      <a:pt x="59" y="280"/>
                    </a:lnTo>
                    <a:lnTo>
                      <a:pt x="59" y="281"/>
                    </a:lnTo>
                    <a:lnTo>
                      <a:pt x="60" y="282"/>
                    </a:lnTo>
                    <a:lnTo>
                      <a:pt x="60" y="281"/>
                    </a:lnTo>
                    <a:lnTo>
                      <a:pt x="61" y="281"/>
                    </a:lnTo>
                    <a:lnTo>
                      <a:pt x="64" y="280"/>
                    </a:lnTo>
                    <a:lnTo>
                      <a:pt x="64" y="279"/>
                    </a:lnTo>
                    <a:lnTo>
                      <a:pt x="64" y="278"/>
                    </a:lnTo>
                    <a:lnTo>
                      <a:pt x="62" y="277"/>
                    </a:lnTo>
                    <a:lnTo>
                      <a:pt x="60" y="277"/>
                    </a:lnTo>
                    <a:lnTo>
                      <a:pt x="58" y="277"/>
                    </a:lnTo>
                    <a:lnTo>
                      <a:pt x="57" y="277"/>
                    </a:lnTo>
                    <a:lnTo>
                      <a:pt x="56" y="277"/>
                    </a:lnTo>
                    <a:lnTo>
                      <a:pt x="55" y="276"/>
                    </a:lnTo>
                    <a:lnTo>
                      <a:pt x="53" y="276"/>
                    </a:lnTo>
                    <a:lnTo>
                      <a:pt x="52" y="275"/>
                    </a:lnTo>
                    <a:lnTo>
                      <a:pt x="51" y="274"/>
                    </a:lnTo>
                    <a:lnTo>
                      <a:pt x="49" y="272"/>
                    </a:lnTo>
                    <a:lnTo>
                      <a:pt x="48" y="270"/>
                    </a:lnTo>
                    <a:lnTo>
                      <a:pt x="49" y="270"/>
                    </a:lnTo>
                    <a:lnTo>
                      <a:pt x="49" y="269"/>
                    </a:lnTo>
                    <a:lnTo>
                      <a:pt x="51" y="269"/>
                    </a:lnTo>
                    <a:lnTo>
                      <a:pt x="52" y="268"/>
                    </a:lnTo>
                    <a:lnTo>
                      <a:pt x="52" y="267"/>
                    </a:lnTo>
                    <a:lnTo>
                      <a:pt x="53" y="265"/>
                    </a:lnTo>
                    <a:lnTo>
                      <a:pt x="53" y="264"/>
                    </a:lnTo>
                    <a:lnTo>
                      <a:pt x="53" y="263"/>
                    </a:lnTo>
                    <a:lnTo>
                      <a:pt x="53" y="261"/>
                    </a:lnTo>
                    <a:lnTo>
                      <a:pt x="52" y="260"/>
                    </a:lnTo>
                    <a:lnTo>
                      <a:pt x="51" y="259"/>
                    </a:lnTo>
                    <a:lnTo>
                      <a:pt x="48" y="257"/>
                    </a:lnTo>
                    <a:lnTo>
                      <a:pt x="47" y="257"/>
                    </a:lnTo>
                    <a:lnTo>
                      <a:pt x="46" y="256"/>
                    </a:lnTo>
                    <a:lnTo>
                      <a:pt x="45" y="255"/>
                    </a:lnTo>
                    <a:lnTo>
                      <a:pt x="44" y="255"/>
                    </a:lnTo>
                    <a:lnTo>
                      <a:pt x="43" y="255"/>
                    </a:lnTo>
                    <a:lnTo>
                      <a:pt x="42" y="257"/>
                    </a:lnTo>
                    <a:lnTo>
                      <a:pt x="41" y="257"/>
                    </a:lnTo>
                    <a:lnTo>
                      <a:pt x="40" y="257"/>
                    </a:lnTo>
                    <a:lnTo>
                      <a:pt x="40" y="256"/>
                    </a:lnTo>
                    <a:lnTo>
                      <a:pt x="39" y="255"/>
                    </a:lnTo>
                    <a:lnTo>
                      <a:pt x="38" y="253"/>
                    </a:lnTo>
                    <a:lnTo>
                      <a:pt x="38" y="252"/>
                    </a:lnTo>
                    <a:lnTo>
                      <a:pt x="39" y="252"/>
                    </a:lnTo>
                    <a:lnTo>
                      <a:pt x="40" y="252"/>
                    </a:lnTo>
                    <a:lnTo>
                      <a:pt x="42" y="252"/>
                    </a:lnTo>
                    <a:lnTo>
                      <a:pt x="43" y="252"/>
                    </a:lnTo>
                    <a:lnTo>
                      <a:pt x="45" y="251"/>
                    </a:lnTo>
                    <a:lnTo>
                      <a:pt x="46" y="250"/>
                    </a:lnTo>
                    <a:lnTo>
                      <a:pt x="47" y="249"/>
                    </a:lnTo>
                    <a:lnTo>
                      <a:pt x="48" y="247"/>
                    </a:lnTo>
                    <a:lnTo>
                      <a:pt x="48" y="246"/>
                    </a:lnTo>
                    <a:lnTo>
                      <a:pt x="48" y="244"/>
                    </a:lnTo>
                    <a:lnTo>
                      <a:pt x="47" y="243"/>
                    </a:lnTo>
                    <a:lnTo>
                      <a:pt x="46" y="243"/>
                    </a:lnTo>
                    <a:lnTo>
                      <a:pt x="45" y="243"/>
                    </a:lnTo>
                    <a:lnTo>
                      <a:pt x="43" y="243"/>
                    </a:lnTo>
                    <a:lnTo>
                      <a:pt x="42" y="243"/>
                    </a:lnTo>
                    <a:lnTo>
                      <a:pt x="39" y="243"/>
                    </a:lnTo>
                    <a:lnTo>
                      <a:pt x="36" y="242"/>
                    </a:lnTo>
                    <a:lnTo>
                      <a:pt x="35" y="242"/>
                    </a:lnTo>
                    <a:lnTo>
                      <a:pt x="32" y="241"/>
                    </a:lnTo>
                    <a:lnTo>
                      <a:pt x="29" y="240"/>
                    </a:lnTo>
                    <a:lnTo>
                      <a:pt x="26" y="239"/>
                    </a:lnTo>
                    <a:lnTo>
                      <a:pt x="25" y="239"/>
                    </a:lnTo>
                    <a:lnTo>
                      <a:pt x="23" y="238"/>
                    </a:lnTo>
                    <a:lnTo>
                      <a:pt x="22" y="237"/>
                    </a:lnTo>
                    <a:lnTo>
                      <a:pt x="21" y="237"/>
                    </a:lnTo>
                    <a:lnTo>
                      <a:pt x="19" y="236"/>
                    </a:lnTo>
                    <a:lnTo>
                      <a:pt x="15" y="234"/>
                    </a:lnTo>
                    <a:lnTo>
                      <a:pt x="13" y="232"/>
                    </a:lnTo>
                    <a:lnTo>
                      <a:pt x="10" y="230"/>
                    </a:lnTo>
                    <a:lnTo>
                      <a:pt x="8" y="229"/>
                    </a:lnTo>
                    <a:lnTo>
                      <a:pt x="7" y="228"/>
                    </a:lnTo>
                    <a:lnTo>
                      <a:pt x="6" y="227"/>
                    </a:lnTo>
                    <a:lnTo>
                      <a:pt x="6" y="226"/>
                    </a:lnTo>
                    <a:lnTo>
                      <a:pt x="5" y="226"/>
                    </a:lnTo>
                    <a:lnTo>
                      <a:pt x="4" y="225"/>
                    </a:lnTo>
                    <a:lnTo>
                      <a:pt x="2" y="224"/>
                    </a:lnTo>
                    <a:lnTo>
                      <a:pt x="1" y="224"/>
                    </a:lnTo>
                    <a:lnTo>
                      <a:pt x="1" y="223"/>
                    </a:lnTo>
                    <a:lnTo>
                      <a:pt x="0" y="223"/>
                    </a:lnTo>
                    <a:lnTo>
                      <a:pt x="0" y="222"/>
                    </a:lnTo>
                    <a:lnTo>
                      <a:pt x="1" y="221"/>
                    </a:lnTo>
                    <a:lnTo>
                      <a:pt x="2" y="221"/>
                    </a:lnTo>
                    <a:lnTo>
                      <a:pt x="3" y="222"/>
                    </a:lnTo>
                    <a:lnTo>
                      <a:pt x="3" y="223"/>
                    </a:lnTo>
                    <a:lnTo>
                      <a:pt x="4" y="223"/>
                    </a:lnTo>
                    <a:lnTo>
                      <a:pt x="5" y="222"/>
                    </a:lnTo>
                    <a:lnTo>
                      <a:pt x="6" y="223"/>
                    </a:lnTo>
                    <a:lnTo>
                      <a:pt x="7" y="224"/>
                    </a:lnTo>
                    <a:lnTo>
                      <a:pt x="8" y="224"/>
                    </a:lnTo>
                    <a:lnTo>
                      <a:pt x="9" y="224"/>
                    </a:lnTo>
                    <a:lnTo>
                      <a:pt x="10" y="224"/>
                    </a:lnTo>
                    <a:lnTo>
                      <a:pt x="10" y="223"/>
                    </a:lnTo>
                    <a:lnTo>
                      <a:pt x="10" y="221"/>
                    </a:lnTo>
                    <a:lnTo>
                      <a:pt x="10" y="219"/>
                    </a:lnTo>
                    <a:lnTo>
                      <a:pt x="10" y="218"/>
                    </a:lnTo>
                    <a:lnTo>
                      <a:pt x="10" y="217"/>
                    </a:lnTo>
                    <a:lnTo>
                      <a:pt x="10" y="216"/>
                    </a:lnTo>
                    <a:lnTo>
                      <a:pt x="11" y="216"/>
                    </a:lnTo>
                    <a:lnTo>
                      <a:pt x="13" y="216"/>
                    </a:lnTo>
                    <a:lnTo>
                      <a:pt x="14" y="217"/>
                    </a:lnTo>
                    <a:lnTo>
                      <a:pt x="14" y="218"/>
                    </a:lnTo>
                    <a:lnTo>
                      <a:pt x="14" y="219"/>
                    </a:lnTo>
                    <a:lnTo>
                      <a:pt x="15" y="219"/>
                    </a:lnTo>
                    <a:lnTo>
                      <a:pt x="16" y="218"/>
                    </a:lnTo>
                    <a:lnTo>
                      <a:pt x="17" y="218"/>
                    </a:lnTo>
                    <a:lnTo>
                      <a:pt x="18" y="218"/>
                    </a:lnTo>
                    <a:lnTo>
                      <a:pt x="18" y="219"/>
                    </a:lnTo>
                    <a:lnTo>
                      <a:pt x="19" y="219"/>
                    </a:lnTo>
                    <a:lnTo>
                      <a:pt x="20" y="219"/>
                    </a:lnTo>
                    <a:lnTo>
                      <a:pt x="20" y="218"/>
                    </a:lnTo>
                    <a:lnTo>
                      <a:pt x="20" y="217"/>
                    </a:lnTo>
                    <a:lnTo>
                      <a:pt x="20" y="216"/>
                    </a:lnTo>
                    <a:lnTo>
                      <a:pt x="21" y="216"/>
                    </a:lnTo>
                    <a:lnTo>
                      <a:pt x="22" y="216"/>
                    </a:lnTo>
                    <a:lnTo>
                      <a:pt x="23" y="216"/>
                    </a:lnTo>
                    <a:lnTo>
                      <a:pt x="23" y="215"/>
                    </a:lnTo>
                    <a:lnTo>
                      <a:pt x="23" y="214"/>
                    </a:lnTo>
                    <a:lnTo>
                      <a:pt x="22" y="214"/>
                    </a:lnTo>
                    <a:lnTo>
                      <a:pt x="21" y="215"/>
                    </a:lnTo>
                    <a:lnTo>
                      <a:pt x="20" y="215"/>
                    </a:lnTo>
                    <a:lnTo>
                      <a:pt x="19" y="215"/>
                    </a:lnTo>
                    <a:lnTo>
                      <a:pt x="18" y="214"/>
                    </a:lnTo>
                    <a:lnTo>
                      <a:pt x="19" y="212"/>
                    </a:lnTo>
                    <a:lnTo>
                      <a:pt x="19" y="211"/>
                    </a:lnTo>
                    <a:lnTo>
                      <a:pt x="19" y="210"/>
                    </a:lnTo>
                    <a:lnTo>
                      <a:pt x="18" y="210"/>
                    </a:lnTo>
                    <a:lnTo>
                      <a:pt x="17" y="210"/>
                    </a:lnTo>
                    <a:lnTo>
                      <a:pt x="16" y="211"/>
                    </a:lnTo>
                    <a:lnTo>
                      <a:pt x="15" y="211"/>
                    </a:lnTo>
                    <a:lnTo>
                      <a:pt x="14" y="213"/>
                    </a:lnTo>
                    <a:lnTo>
                      <a:pt x="11" y="214"/>
                    </a:lnTo>
                    <a:lnTo>
                      <a:pt x="10" y="214"/>
                    </a:lnTo>
                    <a:lnTo>
                      <a:pt x="9" y="214"/>
                    </a:lnTo>
                    <a:lnTo>
                      <a:pt x="9" y="213"/>
                    </a:lnTo>
                    <a:lnTo>
                      <a:pt x="9" y="211"/>
                    </a:lnTo>
                    <a:lnTo>
                      <a:pt x="10" y="211"/>
                    </a:lnTo>
                    <a:lnTo>
                      <a:pt x="10" y="210"/>
                    </a:lnTo>
                    <a:lnTo>
                      <a:pt x="11" y="210"/>
                    </a:lnTo>
                    <a:lnTo>
                      <a:pt x="11" y="209"/>
                    </a:lnTo>
                    <a:lnTo>
                      <a:pt x="10" y="209"/>
                    </a:lnTo>
                    <a:lnTo>
                      <a:pt x="10" y="208"/>
                    </a:lnTo>
                    <a:lnTo>
                      <a:pt x="11" y="208"/>
                    </a:lnTo>
                    <a:lnTo>
                      <a:pt x="14" y="208"/>
                    </a:lnTo>
                    <a:lnTo>
                      <a:pt x="14" y="206"/>
                    </a:lnTo>
                    <a:lnTo>
                      <a:pt x="15" y="205"/>
                    </a:lnTo>
                    <a:lnTo>
                      <a:pt x="15" y="204"/>
                    </a:lnTo>
                    <a:lnTo>
                      <a:pt x="15" y="203"/>
                    </a:lnTo>
                    <a:lnTo>
                      <a:pt x="14" y="202"/>
                    </a:lnTo>
                    <a:lnTo>
                      <a:pt x="11" y="201"/>
                    </a:lnTo>
                    <a:lnTo>
                      <a:pt x="10" y="201"/>
                    </a:lnTo>
                    <a:lnTo>
                      <a:pt x="10" y="200"/>
                    </a:lnTo>
                    <a:lnTo>
                      <a:pt x="11" y="200"/>
                    </a:lnTo>
                    <a:lnTo>
                      <a:pt x="11" y="199"/>
                    </a:lnTo>
                    <a:lnTo>
                      <a:pt x="14" y="198"/>
                    </a:lnTo>
                    <a:lnTo>
                      <a:pt x="14" y="197"/>
                    </a:lnTo>
                    <a:lnTo>
                      <a:pt x="13" y="196"/>
                    </a:lnTo>
                    <a:lnTo>
                      <a:pt x="11" y="196"/>
                    </a:lnTo>
                    <a:lnTo>
                      <a:pt x="11" y="195"/>
                    </a:lnTo>
                    <a:lnTo>
                      <a:pt x="9" y="195"/>
                    </a:lnTo>
                    <a:lnTo>
                      <a:pt x="9" y="193"/>
                    </a:lnTo>
                    <a:lnTo>
                      <a:pt x="10" y="193"/>
                    </a:lnTo>
                    <a:lnTo>
                      <a:pt x="11" y="193"/>
                    </a:lnTo>
                    <a:lnTo>
                      <a:pt x="13" y="195"/>
                    </a:lnTo>
                    <a:lnTo>
                      <a:pt x="14" y="193"/>
                    </a:lnTo>
                    <a:lnTo>
                      <a:pt x="14" y="192"/>
                    </a:lnTo>
                    <a:lnTo>
                      <a:pt x="13" y="190"/>
                    </a:lnTo>
                    <a:lnTo>
                      <a:pt x="13" y="189"/>
                    </a:lnTo>
                    <a:lnTo>
                      <a:pt x="11" y="188"/>
                    </a:lnTo>
                    <a:lnTo>
                      <a:pt x="11" y="187"/>
                    </a:lnTo>
                    <a:lnTo>
                      <a:pt x="13" y="186"/>
                    </a:lnTo>
                    <a:lnTo>
                      <a:pt x="11" y="185"/>
                    </a:lnTo>
                    <a:lnTo>
                      <a:pt x="11" y="184"/>
                    </a:lnTo>
                    <a:lnTo>
                      <a:pt x="13" y="184"/>
                    </a:lnTo>
                    <a:lnTo>
                      <a:pt x="14" y="183"/>
                    </a:lnTo>
                    <a:lnTo>
                      <a:pt x="15" y="183"/>
                    </a:lnTo>
                    <a:lnTo>
                      <a:pt x="15" y="184"/>
                    </a:lnTo>
                    <a:lnTo>
                      <a:pt x="15" y="185"/>
                    </a:lnTo>
                    <a:lnTo>
                      <a:pt x="16" y="186"/>
                    </a:lnTo>
                    <a:lnTo>
                      <a:pt x="17" y="186"/>
                    </a:lnTo>
                    <a:lnTo>
                      <a:pt x="18" y="185"/>
                    </a:lnTo>
                    <a:lnTo>
                      <a:pt x="19" y="183"/>
                    </a:lnTo>
                    <a:lnTo>
                      <a:pt x="21" y="179"/>
                    </a:lnTo>
                    <a:lnTo>
                      <a:pt x="21" y="178"/>
                    </a:lnTo>
                    <a:lnTo>
                      <a:pt x="20" y="178"/>
                    </a:lnTo>
                    <a:lnTo>
                      <a:pt x="19" y="178"/>
                    </a:lnTo>
                    <a:lnTo>
                      <a:pt x="19" y="179"/>
                    </a:lnTo>
                    <a:lnTo>
                      <a:pt x="18" y="179"/>
                    </a:lnTo>
                    <a:lnTo>
                      <a:pt x="17" y="179"/>
                    </a:lnTo>
                    <a:lnTo>
                      <a:pt x="16" y="179"/>
                    </a:lnTo>
                    <a:lnTo>
                      <a:pt x="16" y="178"/>
                    </a:lnTo>
                    <a:lnTo>
                      <a:pt x="15" y="177"/>
                    </a:lnTo>
                    <a:lnTo>
                      <a:pt x="16" y="177"/>
                    </a:lnTo>
                    <a:lnTo>
                      <a:pt x="16" y="176"/>
                    </a:lnTo>
                    <a:lnTo>
                      <a:pt x="17" y="176"/>
                    </a:lnTo>
                    <a:lnTo>
                      <a:pt x="18" y="176"/>
                    </a:lnTo>
                    <a:lnTo>
                      <a:pt x="18" y="175"/>
                    </a:lnTo>
                    <a:lnTo>
                      <a:pt x="19" y="175"/>
                    </a:lnTo>
                    <a:lnTo>
                      <a:pt x="19" y="174"/>
                    </a:lnTo>
                    <a:lnTo>
                      <a:pt x="20" y="174"/>
                    </a:lnTo>
                    <a:lnTo>
                      <a:pt x="21" y="174"/>
                    </a:lnTo>
                    <a:lnTo>
                      <a:pt x="22" y="173"/>
                    </a:lnTo>
                    <a:lnTo>
                      <a:pt x="22" y="172"/>
                    </a:lnTo>
                    <a:lnTo>
                      <a:pt x="23" y="171"/>
                    </a:lnTo>
                    <a:lnTo>
                      <a:pt x="23" y="170"/>
                    </a:lnTo>
                    <a:lnTo>
                      <a:pt x="22" y="169"/>
                    </a:lnTo>
                    <a:lnTo>
                      <a:pt x="22" y="167"/>
                    </a:lnTo>
                    <a:lnTo>
                      <a:pt x="22" y="166"/>
                    </a:lnTo>
                    <a:lnTo>
                      <a:pt x="21" y="166"/>
                    </a:lnTo>
                    <a:lnTo>
                      <a:pt x="20" y="165"/>
                    </a:lnTo>
                    <a:lnTo>
                      <a:pt x="19" y="165"/>
                    </a:lnTo>
                    <a:lnTo>
                      <a:pt x="18" y="164"/>
                    </a:lnTo>
                    <a:lnTo>
                      <a:pt x="17" y="164"/>
                    </a:lnTo>
                    <a:lnTo>
                      <a:pt x="16" y="165"/>
                    </a:lnTo>
                    <a:lnTo>
                      <a:pt x="16" y="166"/>
                    </a:lnTo>
                    <a:lnTo>
                      <a:pt x="16" y="167"/>
                    </a:lnTo>
                    <a:lnTo>
                      <a:pt x="15" y="167"/>
                    </a:lnTo>
                    <a:lnTo>
                      <a:pt x="14" y="167"/>
                    </a:lnTo>
                    <a:lnTo>
                      <a:pt x="13" y="166"/>
                    </a:lnTo>
                    <a:lnTo>
                      <a:pt x="13" y="165"/>
                    </a:lnTo>
                    <a:lnTo>
                      <a:pt x="13" y="164"/>
                    </a:lnTo>
                    <a:lnTo>
                      <a:pt x="14" y="163"/>
                    </a:lnTo>
                    <a:lnTo>
                      <a:pt x="13" y="162"/>
                    </a:lnTo>
                    <a:lnTo>
                      <a:pt x="11" y="163"/>
                    </a:lnTo>
                    <a:lnTo>
                      <a:pt x="10" y="163"/>
                    </a:lnTo>
                    <a:lnTo>
                      <a:pt x="9" y="164"/>
                    </a:lnTo>
                    <a:lnTo>
                      <a:pt x="8" y="164"/>
                    </a:lnTo>
                    <a:lnTo>
                      <a:pt x="7" y="163"/>
                    </a:lnTo>
                    <a:lnTo>
                      <a:pt x="7" y="162"/>
                    </a:lnTo>
                    <a:lnTo>
                      <a:pt x="8" y="161"/>
                    </a:lnTo>
                    <a:lnTo>
                      <a:pt x="7" y="160"/>
                    </a:lnTo>
                    <a:lnTo>
                      <a:pt x="8" y="160"/>
                    </a:lnTo>
                    <a:lnTo>
                      <a:pt x="9" y="159"/>
                    </a:lnTo>
                    <a:lnTo>
                      <a:pt x="9" y="158"/>
                    </a:lnTo>
                    <a:lnTo>
                      <a:pt x="9" y="157"/>
                    </a:lnTo>
                    <a:lnTo>
                      <a:pt x="10" y="157"/>
                    </a:lnTo>
                    <a:lnTo>
                      <a:pt x="10" y="155"/>
                    </a:lnTo>
                    <a:lnTo>
                      <a:pt x="10" y="154"/>
                    </a:lnTo>
                    <a:lnTo>
                      <a:pt x="9" y="154"/>
                    </a:lnTo>
                    <a:lnTo>
                      <a:pt x="8" y="153"/>
                    </a:lnTo>
                    <a:lnTo>
                      <a:pt x="9" y="153"/>
                    </a:lnTo>
                    <a:lnTo>
                      <a:pt x="9" y="152"/>
                    </a:lnTo>
                    <a:lnTo>
                      <a:pt x="10" y="152"/>
                    </a:lnTo>
                    <a:lnTo>
                      <a:pt x="10" y="151"/>
                    </a:lnTo>
                    <a:lnTo>
                      <a:pt x="9" y="150"/>
                    </a:lnTo>
                    <a:lnTo>
                      <a:pt x="9" y="149"/>
                    </a:lnTo>
                    <a:lnTo>
                      <a:pt x="9" y="148"/>
                    </a:lnTo>
                    <a:lnTo>
                      <a:pt x="10" y="148"/>
                    </a:lnTo>
                    <a:lnTo>
                      <a:pt x="11" y="149"/>
                    </a:lnTo>
                    <a:lnTo>
                      <a:pt x="13" y="149"/>
                    </a:lnTo>
                    <a:lnTo>
                      <a:pt x="13" y="147"/>
                    </a:lnTo>
                    <a:lnTo>
                      <a:pt x="13" y="146"/>
                    </a:lnTo>
                    <a:lnTo>
                      <a:pt x="13" y="147"/>
                    </a:lnTo>
                    <a:lnTo>
                      <a:pt x="13" y="148"/>
                    </a:lnTo>
                    <a:lnTo>
                      <a:pt x="14" y="148"/>
                    </a:lnTo>
                    <a:lnTo>
                      <a:pt x="14" y="149"/>
                    </a:lnTo>
                    <a:lnTo>
                      <a:pt x="15" y="149"/>
                    </a:lnTo>
                    <a:lnTo>
                      <a:pt x="16" y="148"/>
                    </a:lnTo>
                    <a:lnTo>
                      <a:pt x="17" y="147"/>
                    </a:lnTo>
                    <a:lnTo>
                      <a:pt x="17" y="146"/>
                    </a:lnTo>
                    <a:lnTo>
                      <a:pt x="18" y="145"/>
                    </a:lnTo>
                    <a:lnTo>
                      <a:pt x="18" y="144"/>
                    </a:lnTo>
                    <a:lnTo>
                      <a:pt x="18" y="142"/>
                    </a:lnTo>
                    <a:lnTo>
                      <a:pt x="17" y="142"/>
                    </a:lnTo>
                    <a:lnTo>
                      <a:pt x="16" y="142"/>
                    </a:lnTo>
                    <a:lnTo>
                      <a:pt x="16" y="141"/>
                    </a:lnTo>
                    <a:lnTo>
                      <a:pt x="16" y="140"/>
                    </a:lnTo>
                    <a:lnTo>
                      <a:pt x="17" y="138"/>
                    </a:lnTo>
                    <a:lnTo>
                      <a:pt x="18" y="138"/>
                    </a:lnTo>
                    <a:lnTo>
                      <a:pt x="19" y="138"/>
                    </a:lnTo>
                    <a:lnTo>
                      <a:pt x="20" y="138"/>
                    </a:lnTo>
                    <a:lnTo>
                      <a:pt x="21" y="138"/>
                    </a:lnTo>
                    <a:lnTo>
                      <a:pt x="21" y="137"/>
                    </a:lnTo>
                    <a:lnTo>
                      <a:pt x="19" y="136"/>
                    </a:lnTo>
                    <a:lnTo>
                      <a:pt x="18" y="136"/>
                    </a:lnTo>
                    <a:lnTo>
                      <a:pt x="18" y="135"/>
                    </a:lnTo>
                    <a:lnTo>
                      <a:pt x="16" y="134"/>
                    </a:lnTo>
                    <a:lnTo>
                      <a:pt x="16" y="133"/>
                    </a:lnTo>
                    <a:lnTo>
                      <a:pt x="17" y="133"/>
                    </a:lnTo>
                    <a:lnTo>
                      <a:pt x="17" y="132"/>
                    </a:lnTo>
                    <a:lnTo>
                      <a:pt x="18" y="131"/>
                    </a:lnTo>
                    <a:lnTo>
                      <a:pt x="19" y="131"/>
                    </a:lnTo>
                    <a:lnTo>
                      <a:pt x="20" y="129"/>
                    </a:lnTo>
                    <a:lnTo>
                      <a:pt x="20" y="128"/>
                    </a:lnTo>
                    <a:lnTo>
                      <a:pt x="21" y="127"/>
                    </a:lnTo>
                    <a:lnTo>
                      <a:pt x="22" y="126"/>
                    </a:lnTo>
                    <a:lnTo>
                      <a:pt x="23" y="126"/>
                    </a:lnTo>
                    <a:lnTo>
                      <a:pt x="23" y="125"/>
                    </a:lnTo>
                    <a:lnTo>
                      <a:pt x="25" y="125"/>
                    </a:lnTo>
                    <a:lnTo>
                      <a:pt x="26" y="125"/>
                    </a:lnTo>
                    <a:lnTo>
                      <a:pt x="27" y="125"/>
                    </a:lnTo>
                    <a:lnTo>
                      <a:pt x="28" y="125"/>
                    </a:lnTo>
                    <a:lnTo>
                      <a:pt x="28" y="124"/>
                    </a:lnTo>
                    <a:lnTo>
                      <a:pt x="29" y="123"/>
                    </a:lnTo>
                    <a:lnTo>
                      <a:pt x="29" y="122"/>
                    </a:lnTo>
                    <a:lnTo>
                      <a:pt x="29" y="121"/>
                    </a:lnTo>
                    <a:lnTo>
                      <a:pt x="28" y="120"/>
                    </a:lnTo>
                    <a:lnTo>
                      <a:pt x="27" y="120"/>
                    </a:lnTo>
                    <a:lnTo>
                      <a:pt x="26" y="120"/>
                    </a:lnTo>
                    <a:lnTo>
                      <a:pt x="26" y="121"/>
                    </a:lnTo>
                    <a:lnTo>
                      <a:pt x="25" y="122"/>
                    </a:lnTo>
                    <a:lnTo>
                      <a:pt x="25" y="121"/>
                    </a:lnTo>
                    <a:lnTo>
                      <a:pt x="25" y="120"/>
                    </a:lnTo>
                    <a:lnTo>
                      <a:pt x="23" y="120"/>
                    </a:lnTo>
                    <a:lnTo>
                      <a:pt x="22" y="119"/>
                    </a:lnTo>
                    <a:lnTo>
                      <a:pt x="22" y="118"/>
                    </a:lnTo>
                    <a:lnTo>
                      <a:pt x="23" y="118"/>
                    </a:lnTo>
                    <a:lnTo>
                      <a:pt x="25" y="118"/>
                    </a:lnTo>
                    <a:lnTo>
                      <a:pt x="25" y="116"/>
                    </a:lnTo>
                    <a:lnTo>
                      <a:pt x="25" y="115"/>
                    </a:lnTo>
                    <a:lnTo>
                      <a:pt x="25" y="114"/>
                    </a:lnTo>
                    <a:lnTo>
                      <a:pt x="23" y="114"/>
                    </a:lnTo>
                    <a:lnTo>
                      <a:pt x="22" y="114"/>
                    </a:lnTo>
                    <a:lnTo>
                      <a:pt x="22" y="113"/>
                    </a:lnTo>
                    <a:lnTo>
                      <a:pt x="22" y="112"/>
                    </a:lnTo>
                    <a:lnTo>
                      <a:pt x="21" y="112"/>
                    </a:lnTo>
                    <a:lnTo>
                      <a:pt x="21" y="111"/>
                    </a:lnTo>
                    <a:lnTo>
                      <a:pt x="21" y="110"/>
                    </a:lnTo>
                    <a:lnTo>
                      <a:pt x="21" y="109"/>
                    </a:lnTo>
                    <a:lnTo>
                      <a:pt x="20" y="109"/>
                    </a:lnTo>
                    <a:lnTo>
                      <a:pt x="20" y="108"/>
                    </a:lnTo>
                    <a:lnTo>
                      <a:pt x="19" y="107"/>
                    </a:lnTo>
                    <a:lnTo>
                      <a:pt x="18" y="108"/>
                    </a:lnTo>
                    <a:lnTo>
                      <a:pt x="17" y="108"/>
                    </a:lnTo>
                    <a:lnTo>
                      <a:pt x="16" y="107"/>
                    </a:lnTo>
                    <a:lnTo>
                      <a:pt x="15" y="107"/>
                    </a:lnTo>
                    <a:lnTo>
                      <a:pt x="15" y="106"/>
                    </a:lnTo>
                    <a:lnTo>
                      <a:pt x="14" y="106"/>
                    </a:lnTo>
                    <a:lnTo>
                      <a:pt x="14" y="105"/>
                    </a:lnTo>
                    <a:lnTo>
                      <a:pt x="14" y="103"/>
                    </a:lnTo>
                    <a:lnTo>
                      <a:pt x="14" y="102"/>
                    </a:lnTo>
                    <a:lnTo>
                      <a:pt x="13" y="101"/>
                    </a:lnTo>
                    <a:lnTo>
                      <a:pt x="13" y="100"/>
                    </a:lnTo>
                    <a:lnTo>
                      <a:pt x="13" y="99"/>
                    </a:lnTo>
                    <a:lnTo>
                      <a:pt x="14" y="99"/>
                    </a:lnTo>
                    <a:lnTo>
                      <a:pt x="14" y="98"/>
                    </a:lnTo>
                    <a:lnTo>
                      <a:pt x="15" y="98"/>
                    </a:lnTo>
                    <a:lnTo>
                      <a:pt x="14" y="97"/>
                    </a:lnTo>
                    <a:lnTo>
                      <a:pt x="14" y="96"/>
                    </a:lnTo>
                    <a:lnTo>
                      <a:pt x="14" y="95"/>
                    </a:lnTo>
                    <a:lnTo>
                      <a:pt x="14" y="94"/>
                    </a:lnTo>
                    <a:lnTo>
                      <a:pt x="15" y="94"/>
                    </a:lnTo>
                    <a:lnTo>
                      <a:pt x="16" y="94"/>
                    </a:lnTo>
                    <a:lnTo>
                      <a:pt x="16" y="93"/>
                    </a:lnTo>
                    <a:lnTo>
                      <a:pt x="14" y="93"/>
                    </a:lnTo>
                    <a:lnTo>
                      <a:pt x="14" y="92"/>
                    </a:lnTo>
                    <a:lnTo>
                      <a:pt x="15" y="92"/>
                    </a:lnTo>
                    <a:lnTo>
                      <a:pt x="16" y="92"/>
                    </a:lnTo>
                    <a:lnTo>
                      <a:pt x="16" y="90"/>
                    </a:lnTo>
                    <a:lnTo>
                      <a:pt x="17" y="90"/>
                    </a:lnTo>
                    <a:lnTo>
                      <a:pt x="17" y="89"/>
                    </a:lnTo>
                    <a:lnTo>
                      <a:pt x="17" y="88"/>
                    </a:lnTo>
                    <a:lnTo>
                      <a:pt x="16" y="88"/>
                    </a:lnTo>
                    <a:lnTo>
                      <a:pt x="15" y="88"/>
                    </a:lnTo>
                    <a:lnTo>
                      <a:pt x="14" y="88"/>
                    </a:lnTo>
                    <a:lnTo>
                      <a:pt x="14" y="87"/>
                    </a:lnTo>
                    <a:lnTo>
                      <a:pt x="14" y="86"/>
                    </a:lnTo>
                    <a:lnTo>
                      <a:pt x="15" y="86"/>
                    </a:lnTo>
                    <a:lnTo>
                      <a:pt x="17" y="86"/>
                    </a:lnTo>
                    <a:lnTo>
                      <a:pt x="17" y="85"/>
                    </a:lnTo>
                    <a:lnTo>
                      <a:pt x="18" y="86"/>
                    </a:lnTo>
                    <a:lnTo>
                      <a:pt x="19" y="86"/>
                    </a:lnTo>
                    <a:lnTo>
                      <a:pt x="20" y="86"/>
                    </a:lnTo>
                    <a:lnTo>
                      <a:pt x="22" y="85"/>
                    </a:lnTo>
                    <a:lnTo>
                      <a:pt x="22" y="84"/>
                    </a:lnTo>
                    <a:lnTo>
                      <a:pt x="22" y="83"/>
                    </a:lnTo>
                    <a:lnTo>
                      <a:pt x="23" y="82"/>
                    </a:lnTo>
                    <a:lnTo>
                      <a:pt x="26" y="81"/>
                    </a:lnTo>
                    <a:lnTo>
                      <a:pt x="27" y="82"/>
                    </a:lnTo>
                    <a:lnTo>
                      <a:pt x="27" y="83"/>
                    </a:lnTo>
                    <a:lnTo>
                      <a:pt x="27" y="82"/>
                    </a:lnTo>
                    <a:lnTo>
                      <a:pt x="27" y="81"/>
                    </a:lnTo>
                    <a:lnTo>
                      <a:pt x="28" y="80"/>
                    </a:lnTo>
                    <a:lnTo>
                      <a:pt x="28" y="79"/>
                    </a:lnTo>
                    <a:lnTo>
                      <a:pt x="27" y="80"/>
                    </a:lnTo>
                    <a:lnTo>
                      <a:pt x="26" y="79"/>
                    </a:lnTo>
                    <a:lnTo>
                      <a:pt x="27" y="77"/>
                    </a:lnTo>
                    <a:lnTo>
                      <a:pt x="27" y="76"/>
                    </a:lnTo>
                    <a:lnTo>
                      <a:pt x="26" y="76"/>
                    </a:lnTo>
                    <a:lnTo>
                      <a:pt x="26" y="75"/>
                    </a:lnTo>
                    <a:lnTo>
                      <a:pt x="27" y="74"/>
                    </a:lnTo>
                    <a:lnTo>
                      <a:pt x="28" y="74"/>
                    </a:lnTo>
                    <a:lnTo>
                      <a:pt x="28" y="75"/>
                    </a:lnTo>
                    <a:lnTo>
                      <a:pt x="28" y="76"/>
                    </a:lnTo>
                    <a:lnTo>
                      <a:pt x="29" y="76"/>
                    </a:lnTo>
                    <a:lnTo>
                      <a:pt x="30" y="76"/>
                    </a:lnTo>
                    <a:lnTo>
                      <a:pt x="30" y="75"/>
                    </a:lnTo>
                    <a:lnTo>
                      <a:pt x="29" y="75"/>
                    </a:lnTo>
                    <a:lnTo>
                      <a:pt x="29" y="74"/>
                    </a:lnTo>
                    <a:lnTo>
                      <a:pt x="28" y="73"/>
                    </a:lnTo>
                    <a:lnTo>
                      <a:pt x="27" y="73"/>
                    </a:lnTo>
                    <a:lnTo>
                      <a:pt x="27" y="72"/>
                    </a:lnTo>
                    <a:lnTo>
                      <a:pt x="27" y="71"/>
                    </a:lnTo>
                    <a:lnTo>
                      <a:pt x="27" y="70"/>
                    </a:lnTo>
                    <a:lnTo>
                      <a:pt x="27" y="69"/>
                    </a:lnTo>
                    <a:lnTo>
                      <a:pt x="28" y="69"/>
                    </a:lnTo>
                    <a:lnTo>
                      <a:pt x="29" y="69"/>
                    </a:lnTo>
                    <a:lnTo>
                      <a:pt x="29" y="68"/>
                    </a:lnTo>
                    <a:lnTo>
                      <a:pt x="28" y="68"/>
                    </a:lnTo>
                    <a:lnTo>
                      <a:pt x="28" y="67"/>
                    </a:lnTo>
                    <a:lnTo>
                      <a:pt x="29" y="67"/>
                    </a:lnTo>
                    <a:lnTo>
                      <a:pt x="30" y="65"/>
                    </a:lnTo>
                    <a:lnTo>
                      <a:pt x="31" y="65"/>
                    </a:lnTo>
                    <a:lnTo>
                      <a:pt x="31" y="64"/>
                    </a:lnTo>
                    <a:lnTo>
                      <a:pt x="31" y="63"/>
                    </a:lnTo>
                    <a:lnTo>
                      <a:pt x="31" y="64"/>
                    </a:lnTo>
                    <a:lnTo>
                      <a:pt x="30" y="64"/>
                    </a:lnTo>
                    <a:lnTo>
                      <a:pt x="30" y="63"/>
                    </a:lnTo>
                    <a:lnTo>
                      <a:pt x="30" y="62"/>
                    </a:lnTo>
                    <a:lnTo>
                      <a:pt x="31" y="61"/>
                    </a:lnTo>
                    <a:lnTo>
                      <a:pt x="31" y="60"/>
                    </a:lnTo>
                    <a:lnTo>
                      <a:pt x="32" y="59"/>
                    </a:lnTo>
                    <a:lnTo>
                      <a:pt x="32" y="58"/>
                    </a:lnTo>
                    <a:lnTo>
                      <a:pt x="34" y="58"/>
                    </a:lnTo>
                    <a:lnTo>
                      <a:pt x="34" y="57"/>
                    </a:lnTo>
                    <a:lnTo>
                      <a:pt x="33" y="57"/>
                    </a:lnTo>
                    <a:lnTo>
                      <a:pt x="32" y="57"/>
                    </a:lnTo>
                    <a:lnTo>
                      <a:pt x="30" y="56"/>
                    </a:lnTo>
                    <a:lnTo>
                      <a:pt x="29" y="55"/>
                    </a:lnTo>
                    <a:lnTo>
                      <a:pt x="29" y="54"/>
                    </a:lnTo>
                    <a:lnTo>
                      <a:pt x="29" y="52"/>
                    </a:lnTo>
                    <a:lnTo>
                      <a:pt x="30" y="52"/>
                    </a:lnTo>
                    <a:lnTo>
                      <a:pt x="30" y="51"/>
                    </a:lnTo>
                    <a:lnTo>
                      <a:pt x="31" y="51"/>
                    </a:lnTo>
                    <a:lnTo>
                      <a:pt x="31" y="50"/>
                    </a:lnTo>
                    <a:lnTo>
                      <a:pt x="32" y="49"/>
                    </a:lnTo>
                    <a:lnTo>
                      <a:pt x="32" y="50"/>
                    </a:lnTo>
                    <a:lnTo>
                      <a:pt x="33" y="50"/>
                    </a:lnTo>
                    <a:lnTo>
                      <a:pt x="34" y="51"/>
                    </a:lnTo>
                    <a:lnTo>
                      <a:pt x="35" y="51"/>
                    </a:lnTo>
                    <a:lnTo>
                      <a:pt x="36" y="51"/>
                    </a:lnTo>
                    <a:lnTo>
                      <a:pt x="35" y="50"/>
                    </a:lnTo>
                    <a:lnTo>
                      <a:pt x="35" y="49"/>
                    </a:lnTo>
                    <a:lnTo>
                      <a:pt x="36" y="49"/>
                    </a:lnTo>
                    <a:lnTo>
                      <a:pt x="36" y="48"/>
                    </a:lnTo>
                    <a:lnTo>
                      <a:pt x="35" y="48"/>
                    </a:lnTo>
                    <a:lnTo>
                      <a:pt x="36" y="48"/>
                    </a:lnTo>
                    <a:lnTo>
                      <a:pt x="38" y="48"/>
                    </a:lnTo>
                    <a:lnTo>
                      <a:pt x="39" y="48"/>
                    </a:lnTo>
                    <a:lnTo>
                      <a:pt x="39" y="47"/>
                    </a:lnTo>
                    <a:lnTo>
                      <a:pt x="38" y="47"/>
                    </a:lnTo>
                    <a:lnTo>
                      <a:pt x="36" y="46"/>
                    </a:lnTo>
                    <a:lnTo>
                      <a:pt x="38" y="46"/>
                    </a:lnTo>
                    <a:lnTo>
                      <a:pt x="39" y="46"/>
                    </a:lnTo>
                    <a:lnTo>
                      <a:pt x="39" y="45"/>
                    </a:lnTo>
                    <a:lnTo>
                      <a:pt x="38" y="45"/>
                    </a:lnTo>
                    <a:lnTo>
                      <a:pt x="39" y="44"/>
                    </a:lnTo>
                    <a:lnTo>
                      <a:pt x="38" y="44"/>
                    </a:lnTo>
                    <a:lnTo>
                      <a:pt x="36" y="44"/>
                    </a:lnTo>
                    <a:lnTo>
                      <a:pt x="36" y="43"/>
                    </a:lnTo>
                    <a:lnTo>
                      <a:pt x="38" y="43"/>
                    </a:lnTo>
                    <a:lnTo>
                      <a:pt x="38" y="42"/>
                    </a:lnTo>
                    <a:lnTo>
                      <a:pt x="36" y="42"/>
                    </a:lnTo>
                    <a:lnTo>
                      <a:pt x="36" y="41"/>
                    </a:lnTo>
                    <a:lnTo>
                      <a:pt x="38" y="41"/>
                    </a:lnTo>
                    <a:lnTo>
                      <a:pt x="38" y="39"/>
                    </a:lnTo>
                    <a:lnTo>
                      <a:pt x="36" y="39"/>
                    </a:lnTo>
                    <a:lnTo>
                      <a:pt x="38" y="39"/>
                    </a:lnTo>
                    <a:lnTo>
                      <a:pt x="39" y="38"/>
                    </a:lnTo>
                    <a:lnTo>
                      <a:pt x="39" y="37"/>
                    </a:lnTo>
                    <a:lnTo>
                      <a:pt x="39" y="36"/>
                    </a:lnTo>
                    <a:lnTo>
                      <a:pt x="39" y="35"/>
                    </a:lnTo>
                    <a:lnTo>
                      <a:pt x="39" y="34"/>
                    </a:lnTo>
                    <a:lnTo>
                      <a:pt x="40" y="33"/>
                    </a:lnTo>
                    <a:lnTo>
                      <a:pt x="40" y="32"/>
                    </a:lnTo>
                    <a:lnTo>
                      <a:pt x="39" y="32"/>
                    </a:lnTo>
                    <a:lnTo>
                      <a:pt x="39" y="31"/>
                    </a:lnTo>
                    <a:lnTo>
                      <a:pt x="38" y="31"/>
                    </a:lnTo>
                    <a:lnTo>
                      <a:pt x="36" y="30"/>
                    </a:lnTo>
                    <a:lnTo>
                      <a:pt x="38" y="30"/>
                    </a:lnTo>
                    <a:lnTo>
                      <a:pt x="39" y="30"/>
                    </a:lnTo>
                    <a:lnTo>
                      <a:pt x="39" y="29"/>
                    </a:lnTo>
                    <a:lnTo>
                      <a:pt x="38" y="30"/>
                    </a:lnTo>
                    <a:lnTo>
                      <a:pt x="38" y="29"/>
                    </a:lnTo>
                    <a:lnTo>
                      <a:pt x="38" y="28"/>
                    </a:lnTo>
                    <a:lnTo>
                      <a:pt x="39" y="28"/>
                    </a:lnTo>
                    <a:lnTo>
                      <a:pt x="39" y="26"/>
                    </a:lnTo>
                    <a:lnTo>
                      <a:pt x="40" y="26"/>
                    </a:lnTo>
                    <a:lnTo>
                      <a:pt x="39" y="25"/>
                    </a:lnTo>
                    <a:lnTo>
                      <a:pt x="40" y="25"/>
                    </a:lnTo>
                    <a:lnTo>
                      <a:pt x="40" y="26"/>
                    </a:lnTo>
                    <a:lnTo>
                      <a:pt x="41" y="25"/>
                    </a:lnTo>
                    <a:lnTo>
                      <a:pt x="41" y="26"/>
                    </a:lnTo>
                    <a:lnTo>
                      <a:pt x="42" y="26"/>
                    </a:lnTo>
                    <a:lnTo>
                      <a:pt x="43" y="26"/>
                    </a:lnTo>
                    <a:lnTo>
                      <a:pt x="43" y="25"/>
                    </a:lnTo>
                    <a:lnTo>
                      <a:pt x="43" y="24"/>
                    </a:lnTo>
                    <a:lnTo>
                      <a:pt x="43" y="23"/>
                    </a:lnTo>
                    <a:lnTo>
                      <a:pt x="44" y="23"/>
                    </a:lnTo>
                    <a:lnTo>
                      <a:pt x="44" y="0"/>
                    </a:lnTo>
                    <a:lnTo>
                      <a:pt x="51" y="0"/>
                    </a:lnTo>
                    <a:lnTo>
                      <a:pt x="62" y="0"/>
                    </a:lnTo>
                    <a:lnTo>
                      <a:pt x="64" y="0"/>
                    </a:lnTo>
                    <a:lnTo>
                      <a:pt x="82" y="0"/>
                    </a:lnTo>
                    <a:lnTo>
                      <a:pt x="84" y="0"/>
                    </a:lnTo>
                    <a:lnTo>
                      <a:pt x="106" y="0"/>
                    </a:lnTo>
                    <a:lnTo>
                      <a:pt x="112" y="0"/>
                    </a:lnTo>
                    <a:lnTo>
                      <a:pt x="113" y="0"/>
                    </a:lnTo>
                    <a:lnTo>
                      <a:pt x="114" y="0"/>
                    </a:lnTo>
                    <a:lnTo>
                      <a:pt x="119" y="0"/>
                    </a:lnTo>
                    <a:lnTo>
                      <a:pt x="120" y="0"/>
                    </a:lnTo>
                    <a:lnTo>
                      <a:pt x="123" y="0"/>
                    </a:lnTo>
                    <a:lnTo>
                      <a:pt x="143" y="0"/>
                    </a:lnTo>
                    <a:lnTo>
                      <a:pt x="149" y="0"/>
                    </a:lnTo>
                    <a:lnTo>
                      <a:pt x="150" y="0"/>
                    </a:lnTo>
                    <a:lnTo>
                      <a:pt x="159" y="0"/>
                    </a:lnTo>
                    <a:lnTo>
                      <a:pt x="188" y="0"/>
                    </a:lnTo>
                    <a:lnTo>
                      <a:pt x="214" y="0"/>
                    </a:lnTo>
                    <a:lnTo>
                      <a:pt x="222" y="0"/>
                    </a:lnTo>
                    <a:lnTo>
                      <a:pt x="233" y="0"/>
                    </a:lnTo>
                    <a:close/>
                  </a:path>
                </a:pathLst>
              </a:custGeom>
              <a:solidFill>
                <a:srgbClr val="97C7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5" name="Freeform 45">
                <a:extLst>
                  <a:ext uri="{FF2B5EF4-FFF2-40B4-BE49-F238E27FC236}">
                    <a16:creationId xmlns:a16="http://schemas.microsoft.com/office/drawing/2014/main" id="{A8B3C033-B1C8-DE54-7715-6867E0092F8F}"/>
                  </a:ext>
                </a:extLst>
              </p:cNvPr>
              <p:cNvSpPr>
                <a:spLocks/>
              </p:cNvSpPr>
              <p:nvPr/>
            </p:nvSpPr>
            <p:spPr bwMode="auto">
              <a:xfrm>
                <a:off x="3108326" y="2336800"/>
                <a:ext cx="474663" cy="855663"/>
              </a:xfrm>
              <a:custGeom>
                <a:avLst/>
                <a:gdLst>
                  <a:gd name="T0" fmla="*/ 98 w 299"/>
                  <a:gd name="T1" fmla="*/ 3 h 539"/>
                  <a:gd name="T2" fmla="*/ 107 w 299"/>
                  <a:gd name="T3" fmla="*/ 13 h 539"/>
                  <a:gd name="T4" fmla="*/ 107 w 299"/>
                  <a:gd name="T5" fmla="*/ 18 h 539"/>
                  <a:gd name="T6" fmla="*/ 120 w 299"/>
                  <a:gd name="T7" fmla="*/ 26 h 539"/>
                  <a:gd name="T8" fmla="*/ 125 w 299"/>
                  <a:gd name="T9" fmla="*/ 38 h 539"/>
                  <a:gd name="T10" fmla="*/ 135 w 299"/>
                  <a:gd name="T11" fmla="*/ 41 h 539"/>
                  <a:gd name="T12" fmla="*/ 135 w 299"/>
                  <a:gd name="T13" fmla="*/ 53 h 539"/>
                  <a:gd name="T14" fmla="*/ 145 w 299"/>
                  <a:gd name="T15" fmla="*/ 61 h 539"/>
                  <a:gd name="T16" fmla="*/ 150 w 299"/>
                  <a:gd name="T17" fmla="*/ 70 h 539"/>
                  <a:gd name="T18" fmla="*/ 164 w 299"/>
                  <a:gd name="T19" fmla="*/ 62 h 539"/>
                  <a:gd name="T20" fmla="*/ 177 w 299"/>
                  <a:gd name="T21" fmla="*/ 65 h 539"/>
                  <a:gd name="T22" fmla="*/ 187 w 299"/>
                  <a:gd name="T23" fmla="*/ 54 h 539"/>
                  <a:gd name="T24" fmla="*/ 201 w 299"/>
                  <a:gd name="T25" fmla="*/ 46 h 539"/>
                  <a:gd name="T26" fmla="*/ 210 w 299"/>
                  <a:gd name="T27" fmla="*/ 34 h 539"/>
                  <a:gd name="T28" fmla="*/ 221 w 299"/>
                  <a:gd name="T29" fmla="*/ 24 h 539"/>
                  <a:gd name="T30" fmla="*/ 231 w 299"/>
                  <a:gd name="T31" fmla="*/ 8 h 539"/>
                  <a:gd name="T32" fmla="*/ 274 w 299"/>
                  <a:gd name="T33" fmla="*/ 64 h 539"/>
                  <a:gd name="T34" fmla="*/ 277 w 299"/>
                  <a:gd name="T35" fmla="*/ 78 h 539"/>
                  <a:gd name="T36" fmla="*/ 276 w 299"/>
                  <a:gd name="T37" fmla="*/ 134 h 539"/>
                  <a:gd name="T38" fmla="*/ 299 w 299"/>
                  <a:gd name="T39" fmla="*/ 168 h 539"/>
                  <a:gd name="T40" fmla="*/ 276 w 299"/>
                  <a:gd name="T41" fmla="*/ 169 h 539"/>
                  <a:gd name="T42" fmla="*/ 254 w 299"/>
                  <a:gd name="T43" fmla="*/ 154 h 539"/>
                  <a:gd name="T44" fmla="*/ 224 w 299"/>
                  <a:gd name="T45" fmla="*/ 176 h 539"/>
                  <a:gd name="T46" fmla="*/ 200 w 299"/>
                  <a:gd name="T47" fmla="*/ 172 h 539"/>
                  <a:gd name="T48" fmla="*/ 189 w 299"/>
                  <a:gd name="T49" fmla="*/ 215 h 539"/>
                  <a:gd name="T50" fmla="*/ 185 w 299"/>
                  <a:gd name="T51" fmla="*/ 248 h 539"/>
                  <a:gd name="T52" fmla="*/ 160 w 299"/>
                  <a:gd name="T53" fmla="*/ 239 h 539"/>
                  <a:gd name="T54" fmla="*/ 135 w 299"/>
                  <a:gd name="T55" fmla="*/ 244 h 539"/>
                  <a:gd name="T56" fmla="*/ 122 w 299"/>
                  <a:gd name="T57" fmla="*/ 266 h 539"/>
                  <a:gd name="T58" fmla="*/ 122 w 299"/>
                  <a:gd name="T59" fmla="*/ 291 h 539"/>
                  <a:gd name="T60" fmla="*/ 141 w 299"/>
                  <a:gd name="T61" fmla="*/ 308 h 539"/>
                  <a:gd name="T62" fmla="*/ 149 w 299"/>
                  <a:gd name="T63" fmla="*/ 333 h 539"/>
                  <a:gd name="T64" fmla="*/ 134 w 299"/>
                  <a:gd name="T65" fmla="*/ 353 h 539"/>
                  <a:gd name="T66" fmla="*/ 184 w 299"/>
                  <a:gd name="T67" fmla="*/ 371 h 539"/>
                  <a:gd name="T68" fmla="*/ 157 w 299"/>
                  <a:gd name="T69" fmla="*/ 387 h 539"/>
                  <a:gd name="T70" fmla="*/ 130 w 299"/>
                  <a:gd name="T71" fmla="*/ 370 h 539"/>
                  <a:gd name="T72" fmla="*/ 108 w 299"/>
                  <a:gd name="T73" fmla="*/ 337 h 539"/>
                  <a:gd name="T74" fmla="*/ 99 w 299"/>
                  <a:gd name="T75" fmla="*/ 357 h 539"/>
                  <a:gd name="T76" fmla="*/ 116 w 299"/>
                  <a:gd name="T77" fmla="*/ 410 h 539"/>
                  <a:gd name="T78" fmla="*/ 149 w 299"/>
                  <a:gd name="T79" fmla="*/ 424 h 539"/>
                  <a:gd name="T80" fmla="*/ 128 w 299"/>
                  <a:gd name="T81" fmla="*/ 430 h 539"/>
                  <a:gd name="T82" fmla="*/ 98 w 299"/>
                  <a:gd name="T83" fmla="*/ 441 h 539"/>
                  <a:gd name="T84" fmla="*/ 110 w 299"/>
                  <a:gd name="T85" fmla="*/ 488 h 539"/>
                  <a:gd name="T86" fmla="*/ 116 w 299"/>
                  <a:gd name="T87" fmla="*/ 506 h 539"/>
                  <a:gd name="T88" fmla="*/ 84 w 299"/>
                  <a:gd name="T89" fmla="*/ 490 h 539"/>
                  <a:gd name="T90" fmla="*/ 47 w 299"/>
                  <a:gd name="T91" fmla="*/ 505 h 539"/>
                  <a:gd name="T92" fmla="*/ 60 w 299"/>
                  <a:gd name="T93" fmla="*/ 527 h 539"/>
                  <a:gd name="T94" fmla="*/ 47 w 299"/>
                  <a:gd name="T95" fmla="*/ 537 h 539"/>
                  <a:gd name="T96" fmla="*/ 37 w 299"/>
                  <a:gd name="T97" fmla="*/ 529 h 539"/>
                  <a:gd name="T98" fmla="*/ 19 w 299"/>
                  <a:gd name="T99" fmla="*/ 527 h 539"/>
                  <a:gd name="T100" fmla="*/ 21 w 299"/>
                  <a:gd name="T101" fmla="*/ 519 h 539"/>
                  <a:gd name="T102" fmla="*/ 12 w 299"/>
                  <a:gd name="T103" fmla="*/ 507 h 539"/>
                  <a:gd name="T104" fmla="*/ 13 w 299"/>
                  <a:gd name="T105" fmla="*/ 504 h 539"/>
                  <a:gd name="T106" fmla="*/ 2 w 299"/>
                  <a:gd name="T107" fmla="*/ 497 h 539"/>
                  <a:gd name="T108" fmla="*/ 3 w 299"/>
                  <a:gd name="T109" fmla="*/ 483 h 539"/>
                  <a:gd name="T110" fmla="*/ 12 w 299"/>
                  <a:gd name="T111" fmla="*/ 485 h 539"/>
                  <a:gd name="T112" fmla="*/ 9 w 299"/>
                  <a:gd name="T113" fmla="*/ 475 h 539"/>
                  <a:gd name="T114" fmla="*/ 9 w 299"/>
                  <a:gd name="T115" fmla="*/ 428 h 539"/>
                  <a:gd name="T116" fmla="*/ 9 w 299"/>
                  <a:gd name="T117" fmla="*/ 309 h 539"/>
                  <a:gd name="T118" fmla="*/ 9 w 299"/>
                  <a:gd name="T119" fmla="*/ 255 h 539"/>
                  <a:gd name="T120" fmla="*/ 11 w 299"/>
                  <a:gd name="T121" fmla="*/ 6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9" h="539">
                    <a:moveTo>
                      <a:pt x="82" y="0"/>
                    </a:moveTo>
                    <a:lnTo>
                      <a:pt x="83" y="0"/>
                    </a:lnTo>
                    <a:lnTo>
                      <a:pt x="84" y="0"/>
                    </a:lnTo>
                    <a:lnTo>
                      <a:pt x="85" y="0"/>
                    </a:lnTo>
                    <a:lnTo>
                      <a:pt x="88" y="1"/>
                    </a:lnTo>
                    <a:lnTo>
                      <a:pt x="89" y="2"/>
                    </a:lnTo>
                    <a:lnTo>
                      <a:pt x="91" y="3"/>
                    </a:lnTo>
                    <a:lnTo>
                      <a:pt x="92" y="4"/>
                    </a:lnTo>
                    <a:lnTo>
                      <a:pt x="94" y="5"/>
                    </a:lnTo>
                    <a:lnTo>
                      <a:pt x="95" y="6"/>
                    </a:lnTo>
                    <a:lnTo>
                      <a:pt x="96" y="8"/>
                    </a:lnTo>
                    <a:lnTo>
                      <a:pt x="97" y="9"/>
                    </a:lnTo>
                    <a:lnTo>
                      <a:pt x="98" y="9"/>
                    </a:lnTo>
                    <a:lnTo>
                      <a:pt x="98" y="8"/>
                    </a:lnTo>
                    <a:lnTo>
                      <a:pt x="97" y="4"/>
                    </a:lnTo>
                    <a:lnTo>
                      <a:pt x="98" y="4"/>
                    </a:lnTo>
                    <a:lnTo>
                      <a:pt x="98" y="3"/>
                    </a:lnTo>
                    <a:lnTo>
                      <a:pt x="99" y="3"/>
                    </a:lnTo>
                    <a:lnTo>
                      <a:pt x="101" y="4"/>
                    </a:lnTo>
                    <a:lnTo>
                      <a:pt x="101" y="5"/>
                    </a:lnTo>
                    <a:lnTo>
                      <a:pt x="99" y="8"/>
                    </a:lnTo>
                    <a:lnTo>
                      <a:pt x="99" y="9"/>
                    </a:lnTo>
                    <a:lnTo>
                      <a:pt x="99" y="10"/>
                    </a:lnTo>
                    <a:lnTo>
                      <a:pt x="101" y="10"/>
                    </a:lnTo>
                    <a:lnTo>
                      <a:pt x="101" y="11"/>
                    </a:lnTo>
                    <a:lnTo>
                      <a:pt x="102" y="10"/>
                    </a:lnTo>
                    <a:lnTo>
                      <a:pt x="104" y="9"/>
                    </a:lnTo>
                    <a:lnTo>
                      <a:pt x="105" y="9"/>
                    </a:lnTo>
                    <a:lnTo>
                      <a:pt x="105" y="10"/>
                    </a:lnTo>
                    <a:lnTo>
                      <a:pt x="105" y="11"/>
                    </a:lnTo>
                    <a:lnTo>
                      <a:pt x="105" y="12"/>
                    </a:lnTo>
                    <a:lnTo>
                      <a:pt x="105" y="13"/>
                    </a:lnTo>
                    <a:lnTo>
                      <a:pt x="106" y="13"/>
                    </a:lnTo>
                    <a:lnTo>
                      <a:pt x="107" y="13"/>
                    </a:lnTo>
                    <a:lnTo>
                      <a:pt x="108" y="12"/>
                    </a:lnTo>
                    <a:lnTo>
                      <a:pt x="109" y="11"/>
                    </a:lnTo>
                    <a:lnTo>
                      <a:pt x="109" y="9"/>
                    </a:lnTo>
                    <a:lnTo>
                      <a:pt x="110" y="9"/>
                    </a:lnTo>
                    <a:lnTo>
                      <a:pt x="110" y="10"/>
                    </a:lnTo>
                    <a:lnTo>
                      <a:pt x="110" y="11"/>
                    </a:lnTo>
                    <a:lnTo>
                      <a:pt x="110" y="12"/>
                    </a:lnTo>
                    <a:lnTo>
                      <a:pt x="109" y="13"/>
                    </a:lnTo>
                    <a:lnTo>
                      <a:pt x="108" y="14"/>
                    </a:lnTo>
                    <a:lnTo>
                      <a:pt x="107" y="15"/>
                    </a:lnTo>
                    <a:lnTo>
                      <a:pt x="107" y="16"/>
                    </a:lnTo>
                    <a:lnTo>
                      <a:pt x="108" y="16"/>
                    </a:lnTo>
                    <a:lnTo>
                      <a:pt x="109" y="17"/>
                    </a:lnTo>
                    <a:lnTo>
                      <a:pt x="109" y="18"/>
                    </a:lnTo>
                    <a:lnTo>
                      <a:pt x="108" y="18"/>
                    </a:lnTo>
                    <a:lnTo>
                      <a:pt x="107" y="17"/>
                    </a:lnTo>
                    <a:lnTo>
                      <a:pt x="107" y="18"/>
                    </a:lnTo>
                    <a:lnTo>
                      <a:pt x="106" y="18"/>
                    </a:lnTo>
                    <a:lnTo>
                      <a:pt x="107" y="20"/>
                    </a:lnTo>
                    <a:lnTo>
                      <a:pt x="107" y="21"/>
                    </a:lnTo>
                    <a:lnTo>
                      <a:pt x="109" y="21"/>
                    </a:lnTo>
                    <a:lnTo>
                      <a:pt x="111" y="23"/>
                    </a:lnTo>
                    <a:lnTo>
                      <a:pt x="111" y="24"/>
                    </a:lnTo>
                    <a:lnTo>
                      <a:pt x="110" y="25"/>
                    </a:lnTo>
                    <a:lnTo>
                      <a:pt x="111" y="25"/>
                    </a:lnTo>
                    <a:lnTo>
                      <a:pt x="111" y="26"/>
                    </a:lnTo>
                    <a:lnTo>
                      <a:pt x="112" y="26"/>
                    </a:lnTo>
                    <a:lnTo>
                      <a:pt x="115" y="26"/>
                    </a:lnTo>
                    <a:lnTo>
                      <a:pt x="116" y="26"/>
                    </a:lnTo>
                    <a:lnTo>
                      <a:pt x="117" y="26"/>
                    </a:lnTo>
                    <a:lnTo>
                      <a:pt x="118" y="26"/>
                    </a:lnTo>
                    <a:lnTo>
                      <a:pt x="118" y="25"/>
                    </a:lnTo>
                    <a:lnTo>
                      <a:pt x="119" y="25"/>
                    </a:lnTo>
                    <a:lnTo>
                      <a:pt x="120" y="26"/>
                    </a:lnTo>
                    <a:lnTo>
                      <a:pt x="119" y="27"/>
                    </a:lnTo>
                    <a:lnTo>
                      <a:pt x="119" y="28"/>
                    </a:lnTo>
                    <a:lnTo>
                      <a:pt x="118" y="28"/>
                    </a:lnTo>
                    <a:lnTo>
                      <a:pt x="117" y="29"/>
                    </a:lnTo>
                    <a:lnTo>
                      <a:pt x="116" y="29"/>
                    </a:lnTo>
                    <a:lnTo>
                      <a:pt x="116" y="30"/>
                    </a:lnTo>
                    <a:lnTo>
                      <a:pt x="117" y="31"/>
                    </a:lnTo>
                    <a:lnTo>
                      <a:pt x="117" y="33"/>
                    </a:lnTo>
                    <a:lnTo>
                      <a:pt x="118" y="33"/>
                    </a:lnTo>
                    <a:lnTo>
                      <a:pt x="121" y="34"/>
                    </a:lnTo>
                    <a:lnTo>
                      <a:pt x="121" y="35"/>
                    </a:lnTo>
                    <a:lnTo>
                      <a:pt x="122" y="36"/>
                    </a:lnTo>
                    <a:lnTo>
                      <a:pt x="122" y="37"/>
                    </a:lnTo>
                    <a:lnTo>
                      <a:pt x="122" y="38"/>
                    </a:lnTo>
                    <a:lnTo>
                      <a:pt x="123" y="39"/>
                    </a:lnTo>
                    <a:lnTo>
                      <a:pt x="124" y="39"/>
                    </a:lnTo>
                    <a:lnTo>
                      <a:pt x="125" y="38"/>
                    </a:lnTo>
                    <a:lnTo>
                      <a:pt x="127" y="37"/>
                    </a:lnTo>
                    <a:lnTo>
                      <a:pt x="127" y="36"/>
                    </a:lnTo>
                    <a:lnTo>
                      <a:pt x="128" y="36"/>
                    </a:lnTo>
                    <a:lnTo>
                      <a:pt x="128" y="35"/>
                    </a:lnTo>
                    <a:lnTo>
                      <a:pt x="129" y="35"/>
                    </a:lnTo>
                    <a:lnTo>
                      <a:pt x="129" y="36"/>
                    </a:lnTo>
                    <a:lnTo>
                      <a:pt x="130" y="36"/>
                    </a:lnTo>
                    <a:lnTo>
                      <a:pt x="130" y="38"/>
                    </a:lnTo>
                    <a:lnTo>
                      <a:pt x="131" y="39"/>
                    </a:lnTo>
                    <a:lnTo>
                      <a:pt x="132" y="40"/>
                    </a:lnTo>
                    <a:lnTo>
                      <a:pt x="133" y="40"/>
                    </a:lnTo>
                    <a:lnTo>
                      <a:pt x="133" y="39"/>
                    </a:lnTo>
                    <a:lnTo>
                      <a:pt x="133" y="38"/>
                    </a:lnTo>
                    <a:lnTo>
                      <a:pt x="134" y="38"/>
                    </a:lnTo>
                    <a:lnTo>
                      <a:pt x="135" y="38"/>
                    </a:lnTo>
                    <a:lnTo>
                      <a:pt x="136" y="39"/>
                    </a:lnTo>
                    <a:lnTo>
                      <a:pt x="135" y="41"/>
                    </a:lnTo>
                    <a:lnTo>
                      <a:pt x="136" y="42"/>
                    </a:lnTo>
                    <a:lnTo>
                      <a:pt x="137" y="43"/>
                    </a:lnTo>
                    <a:lnTo>
                      <a:pt x="137" y="44"/>
                    </a:lnTo>
                    <a:lnTo>
                      <a:pt x="136" y="44"/>
                    </a:lnTo>
                    <a:lnTo>
                      <a:pt x="136" y="46"/>
                    </a:lnTo>
                    <a:lnTo>
                      <a:pt x="136" y="47"/>
                    </a:lnTo>
                    <a:lnTo>
                      <a:pt x="136" y="48"/>
                    </a:lnTo>
                    <a:lnTo>
                      <a:pt x="137" y="48"/>
                    </a:lnTo>
                    <a:lnTo>
                      <a:pt x="140" y="48"/>
                    </a:lnTo>
                    <a:lnTo>
                      <a:pt x="141" y="49"/>
                    </a:lnTo>
                    <a:lnTo>
                      <a:pt x="140" y="49"/>
                    </a:lnTo>
                    <a:lnTo>
                      <a:pt x="140" y="50"/>
                    </a:lnTo>
                    <a:lnTo>
                      <a:pt x="138" y="50"/>
                    </a:lnTo>
                    <a:lnTo>
                      <a:pt x="136" y="51"/>
                    </a:lnTo>
                    <a:lnTo>
                      <a:pt x="135" y="51"/>
                    </a:lnTo>
                    <a:lnTo>
                      <a:pt x="135" y="52"/>
                    </a:lnTo>
                    <a:lnTo>
                      <a:pt x="135" y="53"/>
                    </a:lnTo>
                    <a:lnTo>
                      <a:pt x="135" y="54"/>
                    </a:lnTo>
                    <a:lnTo>
                      <a:pt x="134" y="55"/>
                    </a:lnTo>
                    <a:lnTo>
                      <a:pt x="134" y="56"/>
                    </a:lnTo>
                    <a:lnTo>
                      <a:pt x="136" y="56"/>
                    </a:lnTo>
                    <a:lnTo>
                      <a:pt x="137" y="57"/>
                    </a:lnTo>
                    <a:lnTo>
                      <a:pt x="138" y="57"/>
                    </a:lnTo>
                    <a:lnTo>
                      <a:pt x="140" y="59"/>
                    </a:lnTo>
                    <a:lnTo>
                      <a:pt x="141" y="60"/>
                    </a:lnTo>
                    <a:lnTo>
                      <a:pt x="142" y="60"/>
                    </a:lnTo>
                    <a:lnTo>
                      <a:pt x="142" y="59"/>
                    </a:lnTo>
                    <a:lnTo>
                      <a:pt x="142" y="57"/>
                    </a:lnTo>
                    <a:lnTo>
                      <a:pt x="142" y="56"/>
                    </a:lnTo>
                    <a:lnTo>
                      <a:pt x="143" y="56"/>
                    </a:lnTo>
                    <a:lnTo>
                      <a:pt x="144" y="56"/>
                    </a:lnTo>
                    <a:lnTo>
                      <a:pt x="144" y="60"/>
                    </a:lnTo>
                    <a:lnTo>
                      <a:pt x="144" y="61"/>
                    </a:lnTo>
                    <a:lnTo>
                      <a:pt x="145" y="61"/>
                    </a:lnTo>
                    <a:lnTo>
                      <a:pt x="146" y="60"/>
                    </a:lnTo>
                    <a:lnTo>
                      <a:pt x="148" y="60"/>
                    </a:lnTo>
                    <a:lnTo>
                      <a:pt x="149" y="60"/>
                    </a:lnTo>
                    <a:lnTo>
                      <a:pt x="150" y="60"/>
                    </a:lnTo>
                    <a:lnTo>
                      <a:pt x="149" y="62"/>
                    </a:lnTo>
                    <a:lnTo>
                      <a:pt x="149" y="65"/>
                    </a:lnTo>
                    <a:lnTo>
                      <a:pt x="148" y="66"/>
                    </a:lnTo>
                    <a:lnTo>
                      <a:pt x="146" y="66"/>
                    </a:lnTo>
                    <a:lnTo>
                      <a:pt x="146" y="67"/>
                    </a:lnTo>
                    <a:lnTo>
                      <a:pt x="146" y="68"/>
                    </a:lnTo>
                    <a:lnTo>
                      <a:pt x="147" y="69"/>
                    </a:lnTo>
                    <a:lnTo>
                      <a:pt x="148" y="69"/>
                    </a:lnTo>
                    <a:lnTo>
                      <a:pt x="148" y="70"/>
                    </a:lnTo>
                    <a:lnTo>
                      <a:pt x="148" y="72"/>
                    </a:lnTo>
                    <a:lnTo>
                      <a:pt x="149" y="72"/>
                    </a:lnTo>
                    <a:lnTo>
                      <a:pt x="150" y="72"/>
                    </a:lnTo>
                    <a:lnTo>
                      <a:pt x="150" y="70"/>
                    </a:lnTo>
                    <a:lnTo>
                      <a:pt x="151" y="70"/>
                    </a:lnTo>
                    <a:lnTo>
                      <a:pt x="151" y="69"/>
                    </a:lnTo>
                    <a:lnTo>
                      <a:pt x="153" y="69"/>
                    </a:lnTo>
                    <a:lnTo>
                      <a:pt x="154" y="69"/>
                    </a:lnTo>
                    <a:lnTo>
                      <a:pt x="154" y="68"/>
                    </a:lnTo>
                    <a:lnTo>
                      <a:pt x="155" y="67"/>
                    </a:lnTo>
                    <a:lnTo>
                      <a:pt x="156" y="67"/>
                    </a:lnTo>
                    <a:lnTo>
                      <a:pt x="157" y="67"/>
                    </a:lnTo>
                    <a:lnTo>
                      <a:pt x="157" y="66"/>
                    </a:lnTo>
                    <a:lnTo>
                      <a:pt x="158" y="66"/>
                    </a:lnTo>
                    <a:lnTo>
                      <a:pt x="158" y="65"/>
                    </a:lnTo>
                    <a:lnTo>
                      <a:pt x="160" y="65"/>
                    </a:lnTo>
                    <a:lnTo>
                      <a:pt x="160" y="64"/>
                    </a:lnTo>
                    <a:lnTo>
                      <a:pt x="161" y="63"/>
                    </a:lnTo>
                    <a:lnTo>
                      <a:pt x="162" y="63"/>
                    </a:lnTo>
                    <a:lnTo>
                      <a:pt x="163" y="62"/>
                    </a:lnTo>
                    <a:lnTo>
                      <a:pt x="164" y="62"/>
                    </a:lnTo>
                    <a:lnTo>
                      <a:pt x="164" y="63"/>
                    </a:lnTo>
                    <a:lnTo>
                      <a:pt x="166" y="62"/>
                    </a:lnTo>
                    <a:lnTo>
                      <a:pt x="167" y="62"/>
                    </a:lnTo>
                    <a:lnTo>
                      <a:pt x="167" y="63"/>
                    </a:lnTo>
                    <a:lnTo>
                      <a:pt x="167" y="64"/>
                    </a:lnTo>
                    <a:lnTo>
                      <a:pt x="168" y="64"/>
                    </a:lnTo>
                    <a:lnTo>
                      <a:pt x="168" y="63"/>
                    </a:lnTo>
                    <a:lnTo>
                      <a:pt x="169" y="63"/>
                    </a:lnTo>
                    <a:lnTo>
                      <a:pt x="169" y="64"/>
                    </a:lnTo>
                    <a:lnTo>
                      <a:pt x="169" y="65"/>
                    </a:lnTo>
                    <a:lnTo>
                      <a:pt x="170" y="65"/>
                    </a:lnTo>
                    <a:lnTo>
                      <a:pt x="172" y="65"/>
                    </a:lnTo>
                    <a:lnTo>
                      <a:pt x="174" y="64"/>
                    </a:lnTo>
                    <a:lnTo>
                      <a:pt x="175" y="64"/>
                    </a:lnTo>
                    <a:lnTo>
                      <a:pt x="176" y="64"/>
                    </a:lnTo>
                    <a:lnTo>
                      <a:pt x="177" y="64"/>
                    </a:lnTo>
                    <a:lnTo>
                      <a:pt x="177" y="65"/>
                    </a:lnTo>
                    <a:lnTo>
                      <a:pt x="179" y="64"/>
                    </a:lnTo>
                    <a:lnTo>
                      <a:pt x="180" y="64"/>
                    </a:lnTo>
                    <a:lnTo>
                      <a:pt x="181" y="64"/>
                    </a:lnTo>
                    <a:lnTo>
                      <a:pt x="181" y="63"/>
                    </a:lnTo>
                    <a:lnTo>
                      <a:pt x="182" y="63"/>
                    </a:lnTo>
                    <a:lnTo>
                      <a:pt x="182" y="62"/>
                    </a:lnTo>
                    <a:lnTo>
                      <a:pt x="183" y="62"/>
                    </a:lnTo>
                    <a:lnTo>
                      <a:pt x="184" y="61"/>
                    </a:lnTo>
                    <a:lnTo>
                      <a:pt x="184" y="60"/>
                    </a:lnTo>
                    <a:lnTo>
                      <a:pt x="185" y="60"/>
                    </a:lnTo>
                    <a:lnTo>
                      <a:pt x="184" y="59"/>
                    </a:lnTo>
                    <a:lnTo>
                      <a:pt x="184" y="57"/>
                    </a:lnTo>
                    <a:lnTo>
                      <a:pt x="184" y="56"/>
                    </a:lnTo>
                    <a:lnTo>
                      <a:pt x="185" y="55"/>
                    </a:lnTo>
                    <a:lnTo>
                      <a:pt x="186" y="55"/>
                    </a:lnTo>
                    <a:lnTo>
                      <a:pt x="187" y="55"/>
                    </a:lnTo>
                    <a:lnTo>
                      <a:pt x="187" y="54"/>
                    </a:lnTo>
                    <a:lnTo>
                      <a:pt x="188" y="54"/>
                    </a:lnTo>
                    <a:lnTo>
                      <a:pt x="189" y="54"/>
                    </a:lnTo>
                    <a:lnTo>
                      <a:pt x="190" y="54"/>
                    </a:lnTo>
                    <a:lnTo>
                      <a:pt x="192" y="55"/>
                    </a:lnTo>
                    <a:lnTo>
                      <a:pt x="193" y="55"/>
                    </a:lnTo>
                    <a:lnTo>
                      <a:pt x="194" y="54"/>
                    </a:lnTo>
                    <a:lnTo>
                      <a:pt x="195" y="54"/>
                    </a:lnTo>
                    <a:lnTo>
                      <a:pt x="195" y="53"/>
                    </a:lnTo>
                    <a:lnTo>
                      <a:pt x="196" y="53"/>
                    </a:lnTo>
                    <a:lnTo>
                      <a:pt x="196" y="52"/>
                    </a:lnTo>
                    <a:lnTo>
                      <a:pt x="196" y="51"/>
                    </a:lnTo>
                    <a:lnTo>
                      <a:pt x="197" y="50"/>
                    </a:lnTo>
                    <a:lnTo>
                      <a:pt x="198" y="50"/>
                    </a:lnTo>
                    <a:lnTo>
                      <a:pt x="199" y="49"/>
                    </a:lnTo>
                    <a:lnTo>
                      <a:pt x="200" y="49"/>
                    </a:lnTo>
                    <a:lnTo>
                      <a:pt x="201" y="47"/>
                    </a:lnTo>
                    <a:lnTo>
                      <a:pt x="201" y="46"/>
                    </a:lnTo>
                    <a:lnTo>
                      <a:pt x="201" y="44"/>
                    </a:lnTo>
                    <a:lnTo>
                      <a:pt x="201" y="43"/>
                    </a:lnTo>
                    <a:lnTo>
                      <a:pt x="201" y="42"/>
                    </a:lnTo>
                    <a:lnTo>
                      <a:pt x="201" y="41"/>
                    </a:lnTo>
                    <a:lnTo>
                      <a:pt x="202" y="41"/>
                    </a:lnTo>
                    <a:lnTo>
                      <a:pt x="203" y="40"/>
                    </a:lnTo>
                    <a:lnTo>
                      <a:pt x="205" y="40"/>
                    </a:lnTo>
                    <a:lnTo>
                      <a:pt x="205" y="39"/>
                    </a:lnTo>
                    <a:lnTo>
                      <a:pt x="205" y="38"/>
                    </a:lnTo>
                    <a:lnTo>
                      <a:pt x="206" y="38"/>
                    </a:lnTo>
                    <a:lnTo>
                      <a:pt x="206" y="37"/>
                    </a:lnTo>
                    <a:lnTo>
                      <a:pt x="207" y="37"/>
                    </a:lnTo>
                    <a:lnTo>
                      <a:pt x="208" y="36"/>
                    </a:lnTo>
                    <a:lnTo>
                      <a:pt x="208" y="35"/>
                    </a:lnTo>
                    <a:lnTo>
                      <a:pt x="209" y="35"/>
                    </a:lnTo>
                    <a:lnTo>
                      <a:pt x="209" y="34"/>
                    </a:lnTo>
                    <a:lnTo>
                      <a:pt x="210" y="34"/>
                    </a:lnTo>
                    <a:lnTo>
                      <a:pt x="211" y="34"/>
                    </a:lnTo>
                    <a:lnTo>
                      <a:pt x="212" y="33"/>
                    </a:lnTo>
                    <a:lnTo>
                      <a:pt x="213" y="33"/>
                    </a:lnTo>
                    <a:lnTo>
                      <a:pt x="215" y="33"/>
                    </a:lnTo>
                    <a:lnTo>
                      <a:pt x="217" y="33"/>
                    </a:lnTo>
                    <a:lnTo>
                      <a:pt x="218" y="33"/>
                    </a:lnTo>
                    <a:lnTo>
                      <a:pt x="218" y="31"/>
                    </a:lnTo>
                    <a:lnTo>
                      <a:pt x="219" y="31"/>
                    </a:lnTo>
                    <a:lnTo>
                      <a:pt x="218" y="31"/>
                    </a:lnTo>
                    <a:lnTo>
                      <a:pt x="218" y="30"/>
                    </a:lnTo>
                    <a:lnTo>
                      <a:pt x="218" y="29"/>
                    </a:lnTo>
                    <a:lnTo>
                      <a:pt x="218" y="28"/>
                    </a:lnTo>
                    <a:lnTo>
                      <a:pt x="219" y="27"/>
                    </a:lnTo>
                    <a:lnTo>
                      <a:pt x="220" y="27"/>
                    </a:lnTo>
                    <a:lnTo>
                      <a:pt x="220" y="26"/>
                    </a:lnTo>
                    <a:lnTo>
                      <a:pt x="221" y="25"/>
                    </a:lnTo>
                    <a:lnTo>
                      <a:pt x="221" y="24"/>
                    </a:lnTo>
                    <a:lnTo>
                      <a:pt x="222" y="24"/>
                    </a:lnTo>
                    <a:lnTo>
                      <a:pt x="222" y="23"/>
                    </a:lnTo>
                    <a:lnTo>
                      <a:pt x="222" y="22"/>
                    </a:lnTo>
                    <a:lnTo>
                      <a:pt x="223" y="21"/>
                    </a:lnTo>
                    <a:lnTo>
                      <a:pt x="224" y="20"/>
                    </a:lnTo>
                    <a:lnTo>
                      <a:pt x="224" y="17"/>
                    </a:lnTo>
                    <a:lnTo>
                      <a:pt x="224" y="16"/>
                    </a:lnTo>
                    <a:lnTo>
                      <a:pt x="225" y="16"/>
                    </a:lnTo>
                    <a:lnTo>
                      <a:pt x="225" y="15"/>
                    </a:lnTo>
                    <a:lnTo>
                      <a:pt x="226" y="15"/>
                    </a:lnTo>
                    <a:lnTo>
                      <a:pt x="228" y="13"/>
                    </a:lnTo>
                    <a:lnTo>
                      <a:pt x="230" y="13"/>
                    </a:lnTo>
                    <a:lnTo>
                      <a:pt x="230" y="12"/>
                    </a:lnTo>
                    <a:lnTo>
                      <a:pt x="230" y="11"/>
                    </a:lnTo>
                    <a:lnTo>
                      <a:pt x="230" y="10"/>
                    </a:lnTo>
                    <a:lnTo>
                      <a:pt x="230" y="9"/>
                    </a:lnTo>
                    <a:lnTo>
                      <a:pt x="231" y="8"/>
                    </a:lnTo>
                    <a:lnTo>
                      <a:pt x="232" y="8"/>
                    </a:lnTo>
                    <a:lnTo>
                      <a:pt x="232" y="6"/>
                    </a:lnTo>
                    <a:lnTo>
                      <a:pt x="231" y="6"/>
                    </a:lnTo>
                    <a:lnTo>
                      <a:pt x="231" y="5"/>
                    </a:lnTo>
                    <a:lnTo>
                      <a:pt x="231" y="4"/>
                    </a:lnTo>
                    <a:lnTo>
                      <a:pt x="231" y="3"/>
                    </a:lnTo>
                    <a:lnTo>
                      <a:pt x="231" y="1"/>
                    </a:lnTo>
                    <a:lnTo>
                      <a:pt x="231" y="0"/>
                    </a:lnTo>
                    <a:lnTo>
                      <a:pt x="232" y="0"/>
                    </a:lnTo>
                    <a:lnTo>
                      <a:pt x="233" y="0"/>
                    </a:lnTo>
                    <a:lnTo>
                      <a:pt x="244" y="0"/>
                    </a:lnTo>
                    <a:lnTo>
                      <a:pt x="257" y="1"/>
                    </a:lnTo>
                    <a:lnTo>
                      <a:pt x="261" y="1"/>
                    </a:lnTo>
                    <a:lnTo>
                      <a:pt x="261" y="63"/>
                    </a:lnTo>
                    <a:lnTo>
                      <a:pt x="261" y="64"/>
                    </a:lnTo>
                    <a:lnTo>
                      <a:pt x="273" y="64"/>
                    </a:lnTo>
                    <a:lnTo>
                      <a:pt x="274" y="64"/>
                    </a:lnTo>
                    <a:lnTo>
                      <a:pt x="274" y="65"/>
                    </a:lnTo>
                    <a:lnTo>
                      <a:pt x="274" y="66"/>
                    </a:lnTo>
                    <a:lnTo>
                      <a:pt x="274" y="67"/>
                    </a:lnTo>
                    <a:lnTo>
                      <a:pt x="274" y="68"/>
                    </a:lnTo>
                    <a:lnTo>
                      <a:pt x="274" y="69"/>
                    </a:lnTo>
                    <a:lnTo>
                      <a:pt x="273" y="70"/>
                    </a:lnTo>
                    <a:lnTo>
                      <a:pt x="272" y="72"/>
                    </a:lnTo>
                    <a:lnTo>
                      <a:pt x="272" y="73"/>
                    </a:lnTo>
                    <a:lnTo>
                      <a:pt x="272" y="74"/>
                    </a:lnTo>
                    <a:lnTo>
                      <a:pt x="272" y="75"/>
                    </a:lnTo>
                    <a:lnTo>
                      <a:pt x="272" y="76"/>
                    </a:lnTo>
                    <a:lnTo>
                      <a:pt x="273" y="77"/>
                    </a:lnTo>
                    <a:lnTo>
                      <a:pt x="273" y="78"/>
                    </a:lnTo>
                    <a:lnTo>
                      <a:pt x="274" y="77"/>
                    </a:lnTo>
                    <a:lnTo>
                      <a:pt x="275" y="77"/>
                    </a:lnTo>
                    <a:lnTo>
                      <a:pt x="276" y="77"/>
                    </a:lnTo>
                    <a:lnTo>
                      <a:pt x="277" y="78"/>
                    </a:lnTo>
                    <a:lnTo>
                      <a:pt x="277" y="79"/>
                    </a:lnTo>
                    <a:lnTo>
                      <a:pt x="277" y="83"/>
                    </a:lnTo>
                    <a:lnTo>
                      <a:pt x="277" y="85"/>
                    </a:lnTo>
                    <a:lnTo>
                      <a:pt x="277" y="89"/>
                    </a:lnTo>
                    <a:lnTo>
                      <a:pt x="278" y="93"/>
                    </a:lnTo>
                    <a:lnTo>
                      <a:pt x="278" y="101"/>
                    </a:lnTo>
                    <a:lnTo>
                      <a:pt x="278" y="104"/>
                    </a:lnTo>
                    <a:lnTo>
                      <a:pt x="278" y="105"/>
                    </a:lnTo>
                    <a:lnTo>
                      <a:pt x="277" y="108"/>
                    </a:lnTo>
                    <a:lnTo>
                      <a:pt x="276" y="112"/>
                    </a:lnTo>
                    <a:lnTo>
                      <a:pt x="274" y="116"/>
                    </a:lnTo>
                    <a:lnTo>
                      <a:pt x="274" y="117"/>
                    </a:lnTo>
                    <a:lnTo>
                      <a:pt x="273" y="120"/>
                    </a:lnTo>
                    <a:lnTo>
                      <a:pt x="273" y="121"/>
                    </a:lnTo>
                    <a:lnTo>
                      <a:pt x="273" y="125"/>
                    </a:lnTo>
                    <a:lnTo>
                      <a:pt x="273" y="126"/>
                    </a:lnTo>
                    <a:lnTo>
                      <a:pt x="276" y="134"/>
                    </a:lnTo>
                    <a:lnTo>
                      <a:pt x="278" y="138"/>
                    </a:lnTo>
                    <a:lnTo>
                      <a:pt x="280" y="140"/>
                    </a:lnTo>
                    <a:lnTo>
                      <a:pt x="282" y="142"/>
                    </a:lnTo>
                    <a:lnTo>
                      <a:pt x="283" y="144"/>
                    </a:lnTo>
                    <a:lnTo>
                      <a:pt x="284" y="145"/>
                    </a:lnTo>
                    <a:lnTo>
                      <a:pt x="285" y="147"/>
                    </a:lnTo>
                    <a:lnTo>
                      <a:pt x="286" y="150"/>
                    </a:lnTo>
                    <a:lnTo>
                      <a:pt x="288" y="152"/>
                    </a:lnTo>
                    <a:lnTo>
                      <a:pt x="289" y="154"/>
                    </a:lnTo>
                    <a:lnTo>
                      <a:pt x="292" y="157"/>
                    </a:lnTo>
                    <a:lnTo>
                      <a:pt x="295" y="159"/>
                    </a:lnTo>
                    <a:lnTo>
                      <a:pt x="296" y="160"/>
                    </a:lnTo>
                    <a:lnTo>
                      <a:pt x="297" y="162"/>
                    </a:lnTo>
                    <a:lnTo>
                      <a:pt x="298" y="163"/>
                    </a:lnTo>
                    <a:lnTo>
                      <a:pt x="299" y="165"/>
                    </a:lnTo>
                    <a:lnTo>
                      <a:pt x="299" y="167"/>
                    </a:lnTo>
                    <a:lnTo>
                      <a:pt x="299" y="168"/>
                    </a:lnTo>
                    <a:lnTo>
                      <a:pt x="299" y="170"/>
                    </a:lnTo>
                    <a:lnTo>
                      <a:pt x="298" y="172"/>
                    </a:lnTo>
                    <a:lnTo>
                      <a:pt x="297" y="173"/>
                    </a:lnTo>
                    <a:lnTo>
                      <a:pt x="296" y="176"/>
                    </a:lnTo>
                    <a:lnTo>
                      <a:pt x="295" y="177"/>
                    </a:lnTo>
                    <a:lnTo>
                      <a:pt x="293" y="178"/>
                    </a:lnTo>
                    <a:lnTo>
                      <a:pt x="292" y="178"/>
                    </a:lnTo>
                    <a:lnTo>
                      <a:pt x="291" y="179"/>
                    </a:lnTo>
                    <a:lnTo>
                      <a:pt x="289" y="179"/>
                    </a:lnTo>
                    <a:lnTo>
                      <a:pt x="287" y="178"/>
                    </a:lnTo>
                    <a:lnTo>
                      <a:pt x="286" y="178"/>
                    </a:lnTo>
                    <a:lnTo>
                      <a:pt x="285" y="177"/>
                    </a:lnTo>
                    <a:lnTo>
                      <a:pt x="283" y="175"/>
                    </a:lnTo>
                    <a:lnTo>
                      <a:pt x="282" y="173"/>
                    </a:lnTo>
                    <a:lnTo>
                      <a:pt x="280" y="172"/>
                    </a:lnTo>
                    <a:lnTo>
                      <a:pt x="277" y="170"/>
                    </a:lnTo>
                    <a:lnTo>
                      <a:pt x="276" y="169"/>
                    </a:lnTo>
                    <a:lnTo>
                      <a:pt x="275" y="168"/>
                    </a:lnTo>
                    <a:lnTo>
                      <a:pt x="274" y="166"/>
                    </a:lnTo>
                    <a:lnTo>
                      <a:pt x="272" y="163"/>
                    </a:lnTo>
                    <a:lnTo>
                      <a:pt x="271" y="158"/>
                    </a:lnTo>
                    <a:lnTo>
                      <a:pt x="270" y="155"/>
                    </a:lnTo>
                    <a:lnTo>
                      <a:pt x="269" y="154"/>
                    </a:lnTo>
                    <a:lnTo>
                      <a:pt x="266" y="153"/>
                    </a:lnTo>
                    <a:lnTo>
                      <a:pt x="265" y="152"/>
                    </a:lnTo>
                    <a:lnTo>
                      <a:pt x="264" y="151"/>
                    </a:lnTo>
                    <a:lnTo>
                      <a:pt x="262" y="151"/>
                    </a:lnTo>
                    <a:lnTo>
                      <a:pt x="261" y="151"/>
                    </a:lnTo>
                    <a:lnTo>
                      <a:pt x="260" y="151"/>
                    </a:lnTo>
                    <a:lnTo>
                      <a:pt x="259" y="151"/>
                    </a:lnTo>
                    <a:lnTo>
                      <a:pt x="258" y="151"/>
                    </a:lnTo>
                    <a:lnTo>
                      <a:pt x="257" y="152"/>
                    </a:lnTo>
                    <a:lnTo>
                      <a:pt x="256" y="153"/>
                    </a:lnTo>
                    <a:lnTo>
                      <a:pt x="254" y="154"/>
                    </a:lnTo>
                    <a:lnTo>
                      <a:pt x="253" y="156"/>
                    </a:lnTo>
                    <a:lnTo>
                      <a:pt x="252" y="158"/>
                    </a:lnTo>
                    <a:lnTo>
                      <a:pt x="251" y="162"/>
                    </a:lnTo>
                    <a:lnTo>
                      <a:pt x="251" y="163"/>
                    </a:lnTo>
                    <a:lnTo>
                      <a:pt x="250" y="164"/>
                    </a:lnTo>
                    <a:lnTo>
                      <a:pt x="249" y="165"/>
                    </a:lnTo>
                    <a:lnTo>
                      <a:pt x="248" y="166"/>
                    </a:lnTo>
                    <a:lnTo>
                      <a:pt x="245" y="169"/>
                    </a:lnTo>
                    <a:lnTo>
                      <a:pt x="244" y="170"/>
                    </a:lnTo>
                    <a:lnTo>
                      <a:pt x="243" y="171"/>
                    </a:lnTo>
                    <a:lnTo>
                      <a:pt x="239" y="173"/>
                    </a:lnTo>
                    <a:lnTo>
                      <a:pt x="237" y="175"/>
                    </a:lnTo>
                    <a:lnTo>
                      <a:pt x="235" y="175"/>
                    </a:lnTo>
                    <a:lnTo>
                      <a:pt x="232" y="176"/>
                    </a:lnTo>
                    <a:lnTo>
                      <a:pt x="228" y="176"/>
                    </a:lnTo>
                    <a:lnTo>
                      <a:pt x="226" y="176"/>
                    </a:lnTo>
                    <a:lnTo>
                      <a:pt x="224" y="176"/>
                    </a:lnTo>
                    <a:lnTo>
                      <a:pt x="223" y="175"/>
                    </a:lnTo>
                    <a:lnTo>
                      <a:pt x="221" y="175"/>
                    </a:lnTo>
                    <a:lnTo>
                      <a:pt x="220" y="173"/>
                    </a:lnTo>
                    <a:lnTo>
                      <a:pt x="219" y="171"/>
                    </a:lnTo>
                    <a:lnTo>
                      <a:pt x="217" y="170"/>
                    </a:lnTo>
                    <a:lnTo>
                      <a:pt x="214" y="167"/>
                    </a:lnTo>
                    <a:lnTo>
                      <a:pt x="213" y="166"/>
                    </a:lnTo>
                    <a:lnTo>
                      <a:pt x="211" y="165"/>
                    </a:lnTo>
                    <a:lnTo>
                      <a:pt x="210" y="164"/>
                    </a:lnTo>
                    <a:lnTo>
                      <a:pt x="209" y="164"/>
                    </a:lnTo>
                    <a:lnTo>
                      <a:pt x="208" y="164"/>
                    </a:lnTo>
                    <a:lnTo>
                      <a:pt x="207" y="165"/>
                    </a:lnTo>
                    <a:lnTo>
                      <a:pt x="206" y="166"/>
                    </a:lnTo>
                    <a:lnTo>
                      <a:pt x="205" y="167"/>
                    </a:lnTo>
                    <a:lnTo>
                      <a:pt x="202" y="168"/>
                    </a:lnTo>
                    <a:lnTo>
                      <a:pt x="201" y="170"/>
                    </a:lnTo>
                    <a:lnTo>
                      <a:pt x="200" y="172"/>
                    </a:lnTo>
                    <a:lnTo>
                      <a:pt x="199" y="175"/>
                    </a:lnTo>
                    <a:lnTo>
                      <a:pt x="199" y="176"/>
                    </a:lnTo>
                    <a:lnTo>
                      <a:pt x="198" y="179"/>
                    </a:lnTo>
                    <a:lnTo>
                      <a:pt x="198" y="180"/>
                    </a:lnTo>
                    <a:lnTo>
                      <a:pt x="198" y="185"/>
                    </a:lnTo>
                    <a:lnTo>
                      <a:pt x="197" y="188"/>
                    </a:lnTo>
                    <a:lnTo>
                      <a:pt x="197" y="192"/>
                    </a:lnTo>
                    <a:lnTo>
                      <a:pt x="197" y="193"/>
                    </a:lnTo>
                    <a:lnTo>
                      <a:pt x="196" y="196"/>
                    </a:lnTo>
                    <a:lnTo>
                      <a:pt x="195" y="198"/>
                    </a:lnTo>
                    <a:lnTo>
                      <a:pt x="194" y="201"/>
                    </a:lnTo>
                    <a:lnTo>
                      <a:pt x="194" y="203"/>
                    </a:lnTo>
                    <a:lnTo>
                      <a:pt x="192" y="206"/>
                    </a:lnTo>
                    <a:lnTo>
                      <a:pt x="190" y="209"/>
                    </a:lnTo>
                    <a:lnTo>
                      <a:pt x="189" y="211"/>
                    </a:lnTo>
                    <a:lnTo>
                      <a:pt x="189" y="213"/>
                    </a:lnTo>
                    <a:lnTo>
                      <a:pt x="189" y="215"/>
                    </a:lnTo>
                    <a:lnTo>
                      <a:pt x="189" y="217"/>
                    </a:lnTo>
                    <a:lnTo>
                      <a:pt x="190" y="219"/>
                    </a:lnTo>
                    <a:lnTo>
                      <a:pt x="190" y="220"/>
                    </a:lnTo>
                    <a:lnTo>
                      <a:pt x="193" y="226"/>
                    </a:lnTo>
                    <a:lnTo>
                      <a:pt x="194" y="229"/>
                    </a:lnTo>
                    <a:lnTo>
                      <a:pt x="194" y="230"/>
                    </a:lnTo>
                    <a:lnTo>
                      <a:pt x="195" y="231"/>
                    </a:lnTo>
                    <a:lnTo>
                      <a:pt x="195" y="232"/>
                    </a:lnTo>
                    <a:lnTo>
                      <a:pt x="195" y="234"/>
                    </a:lnTo>
                    <a:lnTo>
                      <a:pt x="195" y="236"/>
                    </a:lnTo>
                    <a:lnTo>
                      <a:pt x="194" y="239"/>
                    </a:lnTo>
                    <a:lnTo>
                      <a:pt x="193" y="241"/>
                    </a:lnTo>
                    <a:lnTo>
                      <a:pt x="192" y="242"/>
                    </a:lnTo>
                    <a:lnTo>
                      <a:pt x="190" y="243"/>
                    </a:lnTo>
                    <a:lnTo>
                      <a:pt x="188" y="246"/>
                    </a:lnTo>
                    <a:lnTo>
                      <a:pt x="187" y="247"/>
                    </a:lnTo>
                    <a:lnTo>
                      <a:pt x="185" y="248"/>
                    </a:lnTo>
                    <a:lnTo>
                      <a:pt x="184" y="249"/>
                    </a:lnTo>
                    <a:lnTo>
                      <a:pt x="182" y="250"/>
                    </a:lnTo>
                    <a:lnTo>
                      <a:pt x="181" y="252"/>
                    </a:lnTo>
                    <a:lnTo>
                      <a:pt x="177" y="256"/>
                    </a:lnTo>
                    <a:lnTo>
                      <a:pt x="176" y="256"/>
                    </a:lnTo>
                    <a:lnTo>
                      <a:pt x="175" y="257"/>
                    </a:lnTo>
                    <a:lnTo>
                      <a:pt x="173" y="257"/>
                    </a:lnTo>
                    <a:lnTo>
                      <a:pt x="172" y="257"/>
                    </a:lnTo>
                    <a:lnTo>
                      <a:pt x="170" y="257"/>
                    </a:lnTo>
                    <a:lnTo>
                      <a:pt x="168" y="255"/>
                    </a:lnTo>
                    <a:lnTo>
                      <a:pt x="167" y="255"/>
                    </a:lnTo>
                    <a:lnTo>
                      <a:pt x="166" y="253"/>
                    </a:lnTo>
                    <a:lnTo>
                      <a:pt x="163" y="250"/>
                    </a:lnTo>
                    <a:lnTo>
                      <a:pt x="163" y="249"/>
                    </a:lnTo>
                    <a:lnTo>
                      <a:pt x="162" y="248"/>
                    </a:lnTo>
                    <a:lnTo>
                      <a:pt x="161" y="244"/>
                    </a:lnTo>
                    <a:lnTo>
                      <a:pt x="160" y="239"/>
                    </a:lnTo>
                    <a:lnTo>
                      <a:pt x="159" y="237"/>
                    </a:lnTo>
                    <a:lnTo>
                      <a:pt x="159" y="235"/>
                    </a:lnTo>
                    <a:lnTo>
                      <a:pt x="158" y="234"/>
                    </a:lnTo>
                    <a:lnTo>
                      <a:pt x="157" y="233"/>
                    </a:lnTo>
                    <a:lnTo>
                      <a:pt x="156" y="233"/>
                    </a:lnTo>
                    <a:lnTo>
                      <a:pt x="154" y="232"/>
                    </a:lnTo>
                    <a:lnTo>
                      <a:pt x="153" y="232"/>
                    </a:lnTo>
                    <a:lnTo>
                      <a:pt x="151" y="232"/>
                    </a:lnTo>
                    <a:lnTo>
                      <a:pt x="150" y="233"/>
                    </a:lnTo>
                    <a:lnTo>
                      <a:pt x="150" y="234"/>
                    </a:lnTo>
                    <a:lnTo>
                      <a:pt x="149" y="234"/>
                    </a:lnTo>
                    <a:lnTo>
                      <a:pt x="148" y="235"/>
                    </a:lnTo>
                    <a:lnTo>
                      <a:pt x="147" y="235"/>
                    </a:lnTo>
                    <a:lnTo>
                      <a:pt x="144" y="237"/>
                    </a:lnTo>
                    <a:lnTo>
                      <a:pt x="142" y="240"/>
                    </a:lnTo>
                    <a:lnTo>
                      <a:pt x="136" y="243"/>
                    </a:lnTo>
                    <a:lnTo>
                      <a:pt x="135" y="244"/>
                    </a:lnTo>
                    <a:lnTo>
                      <a:pt x="134" y="244"/>
                    </a:lnTo>
                    <a:lnTo>
                      <a:pt x="133" y="245"/>
                    </a:lnTo>
                    <a:lnTo>
                      <a:pt x="133" y="246"/>
                    </a:lnTo>
                    <a:lnTo>
                      <a:pt x="132" y="247"/>
                    </a:lnTo>
                    <a:lnTo>
                      <a:pt x="132" y="248"/>
                    </a:lnTo>
                    <a:lnTo>
                      <a:pt x="131" y="249"/>
                    </a:lnTo>
                    <a:lnTo>
                      <a:pt x="130" y="250"/>
                    </a:lnTo>
                    <a:lnTo>
                      <a:pt x="129" y="252"/>
                    </a:lnTo>
                    <a:lnTo>
                      <a:pt x="128" y="253"/>
                    </a:lnTo>
                    <a:lnTo>
                      <a:pt x="128" y="254"/>
                    </a:lnTo>
                    <a:lnTo>
                      <a:pt x="127" y="255"/>
                    </a:lnTo>
                    <a:lnTo>
                      <a:pt x="127" y="256"/>
                    </a:lnTo>
                    <a:lnTo>
                      <a:pt x="127" y="257"/>
                    </a:lnTo>
                    <a:lnTo>
                      <a:pt x="125" y="258"/>
                    </a:lnTo>
                    <a:lnTo>
                      <a:pt x="124" y="260"/>
                    </a:lnTo>
                    <a:lnTo>
                      <a:pt x="124" y="262"/>
                    </a:lnTo>
                    <a:lnTo>
                      <a:pt x="122" y="266"/>
                    </a:lnTo>
                    <a:lnTo>
                      <a:pt x="122" y="268"/>
                    </a:lnTo>
                    <a:lnTo>
                      <a:pt x="121" y="270"/>
                    </a:lnTo>
                    <a:lnTo>
                      <a:pt x="121" y="271"/>
                    </a:lnTo>
                    <a:lnTo>
                      <a:pt x="121" y="272"/>
                    </a:lnTo>
                    <a:lnTo>
                      <a:pt x="120" y="273"/>
                    </a:lnTo>
                    <a:lnTo>
                      <a:pt x="120" y="274"/>
                    </a:lnTo>
                    <a:lnTo>
                      <a:pt x="120" y="275"/>
                    </a:lnTo>
                    <a:lnTo>
                      <a:pt x="120" y="277"/>
                    </a:lnTo>
                    <a:lnTo>
                      <a:pt x="120" y="279"/>
                    </a:lnTo>
                    <a:lnTo>
                      <a:pt x="120" y="281"/>
                    </a:lnTo>
                    <a:lnTo>
                      <a:pt x="120" y="282"/>
                    </a:lnTo>
                    <a:lnTo>
                      <a:pt x="120" y="283"/>
                    </a:lnTo>
                    <a:lnTo>
                      <a:pt x="120" y="284"/>
                    </a:lnTo>
                    <a:lnTo>
                      <a:pt x="121" y="287"/>
                    </a:lnTo>
                    <a:lnTo>
                      <a:pt x="121" y="288"/>
                    </a:lnTo>
                    <a:lnTo>
                      <a:pt x="121" y="290"/>
                    </a:lnTo>
                    <a:lnTo>
                      <a:pt x="122" y="291"/>
                    </a:lnTo>
                    <a:lnTo>
                      <a:pt x="123" y="294"/>
                    </a:lnTo>
                    <a:lnTo>
                      <a:pt x="124" y="295"/>
                    </a:lnTo>
                    <a:lnTo>
                      <a:pt x="124" y="296"/>
                    </a:lnTo>
                    <a:lnTo>
                      <a:pt x="125" y="296"/>
                    </a:lnTo>
                    <a:lnTo>
                      <a:pt x="127" y="297"/>
                    </a:lnTo>
                    <a:lnTo>
                      <a:pt x="128" y="298"/>
                    </a:lnTo>
                    <a:lnTo>
                      <a:pt x="129" y="299"/>
                    </a:lnTo>
                    <a:lnTo>
                      <a:pt x="130" y="300"/>
                    </a:lnTo>
                    <a:lnTo>
                      <a:pt x="131" y="300"/>
                    </a:lnTo>
                    <a:lnTo>
                      <a:pt x="131" y="301"/>
                    </a:lnTo>
                    <a:lnTo>
                      <a:pt x="132" y="301"/>
                    </a:lnTo>
                    <a:lnTo>
                      <a:pt x="133" y="303"/>
                    </a:lnTo>
                    <a:lnTo>
                      <a:pt x="134" y="304"/>
                    </a:lnTo>
                    <a:lnTo>
                      <a:pt x="135" y="304"/>
                    </a:lnTo>
                    <a:lnTo>
                      <a:pt x="138" y="306"/>
                    </a:lnTo>
                    <a:lnTo>
                      <a:pt x="141" y="307"/>
                    </a:lnTo>
                    <a:lnTo>
                      <a:pt x="141" y="308"/>
                    </a:lnTo>
                    <a:lnTo>
                      <a:pt x="143" y="309"/>
                    </a:lnTo>
                    <a:lnTo>
                      <a:pt x="144" y="310"/>
                    </a:lnTo>
                    <a:lnTo>
                      <a:pt x="145" y="312"/>
                    </a:lnTo>
                    <a:lnTo>
                      <a:pt x="147" y="314"/>
                    </a:lnTo>
                    <a:lnTo>
                      <a:pt x="149" y="317"/>
                    </a:lnTo>
                    <a:lnTo>
                      <a:pt x="150" y="319"/>
                    </a:lnTo>
                    <a:lnTo>
                      <a:pt x="150" y="320"/>
                    </a:lnTo>
                    <a:lnTo>
                      <a:pt x="151" y="321"/>
                    </a:lnTo>
                    <a:lnTo>
                      <a:pt x="151" y="322"/>
                    </a:lnTo>
                    <a:lnTo>
                      <a:pt x="151" y="324"/>
                    </a:lnTo>
                    <a:lnTo>
                      <a:pt x="151" y="326"/>
                    </a:lnTo>
                    <a:lnTo>
                      <a:pt x="151" y="327"/>
                    </a:lnTo>
                    <a:lnTo>
                      <a:pt x="151" y="329"/>
                    </a:lnTo>
                    <a:lnTo>
                      <a:pt x="150" y="329"/>
                    </a:lnTo>
                    <a:lnTo>
                      <a:pt x="150" y="330"/>
                    </a:lnTo>
                    <a:lnTo>
                      <a:pt x="149" y="332"/>
                    </a:lnTo>
                    <a:lnTo>
                      <a:pt x="149" y="333"/>
                    </a:lnTo>
                    <a:lnTo>
                      <a:pt x="148" y="334"/>
                    </a:lnTo>
                    <a:lnTo>
                      <a:pt x="148" y="335"/>
                    </a:lnTo>
                    <a:lnTo>
                      <a:pt x="148" y="336"/>
                    </a:lnTo>
                    <a:lnTo>
                      <a:pt x="147" y="336"/>
                    </a:lnTo>
                    <a:lnTo>
                      <a:pt x="147" y="337"/>
                    </a:lnTo>
                    <a:lnTo>
                      <a:pt x="145" y="339"/>
                    </a:lnTo>
                    <a:lnTo>
                      <a:pt x="144" y="339"/>
                    </a:lnTo>
                    <a:lnTo>
                      <a:pt x="143" y="342"/>
                    </a:lnTo>
                    <a:lnTo>
                      <a:pt x="141" y="343"/>
                    </a:lnTo>
                    <a:lnTo>
                      <a:pt x="137" y="345"/>
                    </a:lnTo>
                    <a:lnTo>
                      <a:pt x="135" y="346"/>
                    </a:lnTo>
                    <a:lnTo>
                      <a:pt x="134" y="347"/>
                    </a:lnTo>
                    <a:lnTo>
                      <a:pt x="134" y="348"/>
                    </a:lnTo>
                    <a:lnTo>
                      <a:pt x="134" y="349"/>
                    </a:lnTo>
                    <a:lnTo>
                      <a:pt x="134" y="350"/>
                    </a:lnTo>
                    <a:lnTo>
                      <a:pt x="134" y="351"/>
                    </a:lnTo>
                    <a:lnTo>
                      <a:pt x="134" y="353"/>
                    </a:lnTo>
                    <a:lnTo>
                      <a:pt x="135" y="356"/>
                    </a:lnTo>
                    <a:lnTo>
                      <a:pt x="137" y="358"/>
                    </a:lnTo>
                    <a:lnTo>
                      <a:pt x="141" y="359"/>
                    </a:lnTo>
                    <a:lnTo>
                      <a:pt x="144" y="361"/>
                    </a:lnTo>
                    <a:lnTo>
                      <a:pt x="149" y="362"/>
                    </a:lnTo>
                    <a:lnTo>
                      <a:pt x="154" y="362"/>
                    </a:lnTo>
                    <a:lnTo>
                      <a:pt x="156" y="362"/>
                    </a:lnTo>
                    <a:lnTo>
                      <a:pt x="158" y="362"/>
                    </a:lnTo>
                    <a:lnTo>
                      <a:pt x="161" y="363"/>
                    </a:lnTo>
                    <a:lnTo>
                      <a:pt x="168" y="363"/>
                    </a:lnTo>
                    <a:lnTo>
                      <a:pt x="174" y="362"/>
                    </a:lnTo>
                    <a:lnTo>
                      <a:pt x="175" y="362"/>
                    </a:lnTo>
                    <a:lnTo>
                      <a:pt x="176" y="363"/>
                    </a:lnTo>
                    <a:lnTo>
                      <a:pt x="179" y="363"/>
                    </a:lnTo>
                    <a:lnTo>
                      <a:pt x="181" y="365"/>
                    </a:lnTo>
                    <a:lnTo>
                      <a:pt x="183" y="368"/>
                    </a:lnTo>
                    <a:lnTo>
                      <a:pt x="184" y="371"/>
                    </a:lnTo>
                    <a:lnTo>
                      <a:pt x="185" y="373"/>
                    </a:lnTo>
                    <a:lnTo>
                      <a:pt x="185" y="375"/>
                    </a:lnTo>
                    <a:lnTo>
                      <a:pt x="185" y="378"/>
                    </a:lnTo>
                    <a:lnTo>
                      <a:pt x="185" y="381"/>
                    </a:lnTo>
                    <a:lnTo>
                      <a:pt x="183" y="383"/>
                    </a:lnTo>
                    <a:lnTo>
                      <a:pt x="182" y="385"/>
                    </a:lnTo>
                    <a:lnTo>
                      <a:pt x="180" y="386"/>
                    </a:lnTo>
                    <a:lnTo>
                      <a:pt x="179" y="387"/>
                    </a:lnTo>
                    <a:lnTo>
                      <a:pt x="176" y="388"/>
                    </a:lnTo>
                    <a:lnTo>
                      <a:pt x="174" y="388"/>
                    </a:lnTo>
                    <a:lnTo>
                      <a:pt x="173" y="388"/>
                    </a:lnTo>
                    <a:lnTo>
                      <a:pt x="170" y="388"/>
                    </a:lnTo>
                    <a:lnTo>
                      <a:pt x="168" y="389"/>
                    </a:lnTo>
                    <a:lnTo>
                      <a:pt x="164" y="389"/>
                    </a:lnTo>
                    <a:lnTo>
                      <a:pt x="162" y="388"/>
                    </a:lnTo>
                    <a:lnTo>
                      <a:pt x="159" y="388"/>
                    </a:lnTo>
                    <a:lnTo>
                      <a:pt x="157" y="387"/>
                    </a:lnTo>
                    <a:lnTo>
                      <a:pt x="156" y="385"/>
                    </a:lnTo>
                    <a:lnTo>
                      <a:pt x="154" y="384"/>
                    </a:lnTo>
                    <a:lnTo>
                      <a:pt x="151" y="382"/>
                    </a:lnTo>
                    <a:lnTo>
                      <a:pt x="149" y="382"/>
                    </a:lnTo>
                    <a:lnTo>
                      <a:pt x="146" y="382"/>
                    </a:lnTo>
                    <a:lnTo>
                      <a:pt x="144" y="382"/>
                    </a:lnTo>
                    <a:lnTo>
                      <a:pt x="143" y="382"/>
                    </a:lnTo>
                    <a:lnTo>
                      <a:pt x="138" y="383"/>
                    </a:lnTo>
                    <a:lnTo>
                      <a:pt x="137" y="384"/>
                    </a:lnTo>
                    <a:lnTo>
                      <a:pt x="134" y="384"/>
                    </a:lnTo>
                    <a:lnTo>
                      <a:pt x="133" y="383"/>
                    </a:lnTo>
                    <a:lnTo>
                      <a:pt x="131" y="382"/>
                    </a:lnTo>
                    <a:lnTo>
                      <a:pt x="131" y="381"/>
                    </a:lnTo>
                    <a:lnTo>
                      <a:pt x="131" y="380"/>
                    </a:lnTo>
                    <a:lnTo>
                      <a:pt x="131" y="375"/>
                    </a:lnTo>
                    <a:lnTo>
                      <a:pt x="131" y="372"/>
                    </a:lnTo>
                    <a:lnTo>
                      <a:pt x="130" y="370"/>
                    </a:lnTo>
                    <a:lnTo>
                      <a:pt x="129" y="367"/>
                    </a:lnTo>
                    <a:lnTo>
                      <a:pt x="128" y="362"/>
                    </a:lnTo>
                    <a:lnTo>
                      <a:pt x="127" y="359"/>
                    </a:lnTo>
                    <a:lnTo>
                      <a:pt x="125" y="353"/>
                    </a:lnTo>
                    <a:lnTo>
                      <a:pt x="122" y="347"/>
                    </a:lnTo>
                    <a:lnTo>
                      <a:pt x="122" y="346"/>
                    </a:lnTo>
                    <a:lnTo>
                      <a:pt x="120" y="343"/>
                    </a:lnTo>
                    <a:lnTo>
                      <a:pt x="119" y="342"/>
                    </a:lnTo>
                    <a:lnTo>
                      <a:pt x="118" y="340"/>
                    </a:lnTo>
                    <a:lnTo>
                      <a:pt x="118" y="339"/>
                    </a:lnTo>
                    <a:lnTo>
                      <a:pt x="117" y="339"/>
                    </a:lnTo>
                    <a:lnTo>
                      <a:pt x="116" y="338"/>
                    </a:lnTo>
                    <a:lnTo>
                      <a:pt x="115" y="338"/>
                    </a:lnTo>
                    <a:lnTo>
                      <a:pt x="114" y="337"/>
                    </a:lnTo>
                    <a:lnTo>
                      <a:pt x="111" y="337"/>
                    </a:lnTo>
                    <a:lnTo>
                      <a:pt x="110" y="337"/>
                    </a:lnTo>
                    <a:lnTo>
                      <a:pt x="108" y="337"/>
                    </a:lnTo>
                    <a:lnTo>
                      <a:pt x="107" y="338"/>
                    </a:lnTo>
                    <a:lnTo>
                      <a:pt x="106" y="339"/>
                    </a:lnTo>
                    <a:lnTo>
                      <a:pt x="105" y="340"/>
                    </a:lnTo>
                    <a:lnTo>
                      <a:pt x="104" y="342"/>
                    </a:lnTo>
                    <a:lnTo>
                      <a:pt x="103" y="342"/>
                    </a:lnTo>
                    <a:lnTo>
                      <a:pt x="102" y="343"/>
                    </a:lnTo>
                    <a:lnTo>
                      <a:pt x="102" y="344"/>
                    </a:lnTo>
                    <a:lnTo>
                      <a:pt x="102" y="345"/>
                    </a:lnTo>
                    <a:lnTo>
                      <a:pt x="102" y="346"/>
                    </a:lnTo>
                    <a:lnTo>
                      <a:pt x="103" y="347"/>
                    </a:lnTo>
                    <a:lnTo>
                      <a:pt x="104" y="348"/>
                    </a:lnTo>
                    <a:lnTo>
                      <a:pt x="104" y="350"/>
                    </a:lnTo>
                    <a:lnTo>
                      <a:pt x="104" y="351"/>
                    </a:lnTo>
                    <a:lnTo>
                      <a:pt x="103" y="353"/>
                    </a:lnTo>
                    <a:lnTo>
                      <a:pt x="102" y="355"/>
                    </a:lnTo>
                    <a:lnTo>
                      <a:pt x="101" y="356"/>
                    </a:lnTo>
                    <a:lnTo>
                      <a:pt x="99" y="357"/>
                    </a:lnTo>
                    <a:lnTo>
                      <a:pt x="98" y="359"/>
                    </a:lnTo>
                    <a:lnTo>
                      <a:pt x="98" y="362"/>
                    </a:lnTo>
                    <a:lnTo>
                      <a:pt x="97" y="363"/>
                    </a:lnTo>
                    <a:lnTo>
                      <a:pt x="97" y="365"/>
                    </a:lnTo>
                    <a:lnTo>
                      <a:pt x="98" y="367"/>
                    </a:lnTo>
                    <a:lnTo>
                      <a:pt x="101" y="374"/>
                    </a:lnTo>
                    <a:lnTo>
                      <a:pt x="102" y="383"/>
                    </a:lnTo>
                    <a:lnTo>
                      <a:pt x="102" y="387"/>
                    </a:lnTo>
                    <a:lnTo>
                      <a:pt x="103" y="391"/>
                    </a:lnTo>
                    <a:lnTo>
                      <a:pt x="103" y="394"/>
                    </a:lnTo>
                    <a:lnTo>
                      <a:pt x="104" y="397"/>
                    </a:lnTo>
                    <a:lnTo>
                      <a:pt x="105" y="399"/>
                    </a:lnTo>
                    <a:lnTo>
                      <a:pt x="107" y="401"/>
                    </a:lnTo>
                    <a:lnTo>
                      <a:pt x="109" y="404"/>
                    </a:lnTo>
                    <a:lnTo>
                      <a:pt x="111" y="407"/>
                    </a:lnTo>
                    <a:lnTo>
                      <a:pt x="114" y="409"/>
                    </a:lnTo>
                    <a:lnTo>
                      <a:pt x="116" y="410"/>
                    </a:lnTo>
                    <a:lnTo>
                      <a:pt x="119" y="411"/>
                    </a:lnTo>
                    <a:lnTo>
                      <a:pt x="121" y="412"/>
                    </a:lnTo>
                    <a:lnTo>
                      <a:pt x="124" y="413"/>
                    </a:lnTo>
                    <a:lnTo>
                      <a:pt x="127" y="414"/>
                    </a:lnTo>
                    <a:lnTo>
                      <a:pt x="132" y="415"/>
                    </a:lnTo>
                    <a:lnTo>
                      <a:pt x="135" y="415"/>
                    </a:lnTo>
                    <a:lnTo>
                      <a:pt x="138" y="414"/>
                    </a:lnTo>
                    <a:lnTo>
                      <a:pt x="142" y="414"/>
                    </a:lnTo>
                    <a:lnTo>
                      <a:pt x="144" y="414"/>
                    </a:lnTo>
                    <a:lnTo>
                      <a:pt x="146" y="414"/>
                    </a:lnTo>
                    <a:lnTo>
                      <a:pt x="147" y="415"/>
                    </a:lnTo>
                    <a:lnTo>
                      <a:pt x="149" y="416"/>
                    </a:lnTo>
                    <a:lnTo>
                      <a:pt x="150" y="417"/>
                    </a:lnTo>
                    <a:lnTo>
                      <a:pt x="150" y="420"/>
                    </a:lnTo>
                    <a:lnTo>
                      <a:pt x="151" y="422"/>
                    </a:lnTo>
                    <a:lnTo>
                      <a:pt x="150" y="423"/>
                    </a:lnTo>
                    <a:lnTo>
                      <a:pt x="149" y="424"/>
                    </a:lnTo>
                    <a:lnTo>
                      <a:pt x="149" y="425"/>
                    </a:lnTo>
                    <a:lnTo>
                      <a:pt x="147" y="426"/>
                    </a:lnTo>
                    <a:lnTo>
                      <a:pt x="146" y="426"/>
                    </a:lnTo>
                    <a:lnTo>
                      <a:pt x="144" y="429"/>
                    </a:lnTo>
                    <a:lnTo>
                      <a:pt x="143" y="429"/>
                    </a:lnTo>
                    <a:lnTo>
                      <a:pt x="141" y="430"/>
                    </a:lnTo>
                    <a:lnTo>
                      <a:pt x="138" y="429"/>
                    </a:lnTo>
                    <a:lnTo>
                      <a:pt x="137" y="429"/>
                    </a:lnTo>
                    <a:lnTo>
                      <a:pt x="136" y="430"/>
                    </a:lnTo>
                    <a:lnTo>
                      <a:pt x="135" y="430"/>
                    </a:lnTo>
                    <a:lnTo>
                      <a:pt x="133" y="432"/>
                    </a:lnTo>
                    <a:lnTo>
                      <a:pt x="132" y="432"/>
                    </a:lnTo>
                    <a:lnTo>
                      <a:pt x="131" y="432"/>
                    </a:lnTo>
                    <a:lnTo>
                      <a:pt x="130" y="432"/>
                    </a:lnTo>
                    <a:lnTo>
                      <a:pt x="129" y="432"/>
                    </a:lnTo>
                    <a:lnTo>
                      <a:pt x="129" y="430"/>
                    </a:lnTo>
                    <a:lnTo>
                      <a:pt x="128" y="430"/>
                    </a:lnTo>
                    <a:lnTo>
                      <a:pt x="127" y="429"/>
                    </a:lnTo>
                    <a:lnTo>
                      <a:pt x="125" y="428"/>
                    </a:lnTo>
                    <a:lnTo>
                      <a:pt x="124" y="428"/>
                    </a:lnTo>
                    <a:lnTo>
                      <a:pt x="123" y="427"/>
                    </a:lnTo>
                    <a:lnTo>
                      <a:pt x="122" y="427"/>
                    </a:lnTo>
                    <a:lnTo>
                      <a:pt x="120" y="426"/>
                    </a:lnTo>
                    <a:lnTo>
                      <a:pt x="119" y="426"/>
                    </a:lnTo>
                    <a:lnTo>
                      <a:pt x="118" y="426"/>
                    </a:lnTo>
                    <a:lnTo>
                      <a:pt x="116" y="426"/>
                    </a:lnTo>
                    <a:lnTo>
                      <a:pt x="114" y="426"/>
                    </a:lnTo>
                    <a:lnTo>
                      <a:pt x="111" y="427"/>
                    </a:lnTo>
                    <a:lnTo>
                      <a:pt x="109" y="428"/>
                    </a:lnTo>
                    <a:lnTo>
                      <a:pt x="105" y="432"/>
                    </a:lnTo>
                    <a:lnTo>
                      <a:pt x="102" y="435"/>
                    </a:lnTo>
                    <a:lnTo>
                      <a:pt x="101" y="437"/>
                    </a:lnTo>
                    <a:lnTo>
                      <a:pt x="99" y="439"/>
                    </a:lnTo>
                    <a:lnTo>
                      <a:pt x="98" y="441"/>
                    </a:lnTo>
                    <a:lnTo>
                      <a:pt x="98" y="444"/>
                    </a:lnTo>
                    <a:lnTo>
                      <a:pt x="97" y="450"/>
                    </a:lnTo>
                    <a:lnTo>
                      <a:pt x="97" y="453"/>
                    </a:lnTo>
                    <a:lnTo>
                      <a:pt x="96" y="457"/>
                    </a:lnTo>
                    <a:lnTo>
                      <a:pt x="96" y="461"/>
                    </a:lnTo>
                    <a:lnTo>
                      <a:pt x="96" y="463"/>
                    </a:lnTo>
                    <a:lnTo>
                      <a:pt x="96" y="467"/>
                    </a:lnTo>
                    <a:lnTo>
                      <a:pt x="95" y="471"/>
                    </a:lnTo>
                    <a:lnTo>
                      <a:pt x="96" y="472"/>
                    </a:lnTo>
                    <a:lnTo>
                      <a:pt x="96" y="474"/>
                    </a:lnTo>
                    <a:lnTo>
                      <a:pt x="96" y="477"/>
                    </a:lnTo>
                    <a:lnTo>
                      <a:pt x="97" y="478"/>
                    </a:lnTo>
                    <a:lnTo>
                      <a:pt x="98" y="481"/>
                    </a:lnTo>
                    <a:lnTo>
                      <a:pt x="102" y="484"/>
                    </a:lnTo>
                    <a:lnTo>
                      <a:pt x="104" y="486"/>
                    </a:lnTo>
                    <a:lnTo>
                      <a:pt x="108" y="487"/>
                    </a:lnTo>
                    <a:lnTo>
                      <a:pt x="110" y="488"/>
                    </a:lnTo>
                    <a:lnTo>
                      <a:pt x="111" y="488"/>
                    </a:lnTo>
                    <a:lnTo>
                      <a:pt x="114" y="488"/>
                    </a:lnTo>
                    <a:lnTo>
                      <a:pt x="117" y="487"/>
                    </a:lnTo>
                    <a:lnTo>
                      <a:pt x="119" y="486"/>
                    </a:lnTo>
                    <a:lnTo>
                      <a:pt x="120" y="486"/>
                    </a:lnTo>
                    <a:lnTo>
                      <a:pt x="120" y="487"/>
                    </a:lnTo>
                    <a:lnTo>
                      <a:pt x="121" y="487"/>
                    </a:lnTo>
                    <a:lnTo>
                      <a:pt x="122" y="488"/>
                    </a:lnTo>
                    <a:lnTo>
                      <a:pt x="123" y="489"/>
                    </a:lnTo>
                    <a:lnTo>
                      <a:pt x="123" y="491"/>
                    </a:lnTo>
                    <a:lnTo>
                      <a:pt x="123" y="493"/>
                    </a:lnTo>
                    <a:lnTo>
                      <a:pt x="123" y="498"/>
                    </a:lnTo>
                    <a:lnTo>
                      <a:pt x="122" y="499"/>
                    </a:lnTo>
                    <a:lnTo>
                      <a:pt x="121" y="501"/>
                    </a:lnTo>
                    <a:lnTo>
                      <a:pt x="120" y="502"/>
                    </a:lnTo>
                    <a:lnTo>
                      <a:pt x="117" y="506"/>
                    </a:lnTo>
                    <a:lnTo>
                      <a:pt x="116" y="506"/>
                    </a:lnTo>
                    <a:lnTo>
                      <a:pt x="115" y="505"/>
                    </a:lnTo>
                    <a:lnTo>
                      <a:pt x="114" y="505"/>
                    </a:lnTo>
                    <a:lnTo>
                      <a:pt x="111" y="506"/>
                    </a:lnTo>
                    <a:lnTo>
                      <a:pt x="111" y="507"/>
                    </a:lnTo>
                    <a:lnTo>
                      <a:pt x="109" y="509"/>
                    </a:lnTo>
                    <a:lnTo>
                      <a:pt x="108" y="510"/>
                    </a:lnTo>
                    <a:lnTo>
                      <a:pt x="107" y="510"/>
                    </a:lnTo>
                    <a:lnTo>
                      <a:pt x="106" y="510"/>
                    </a:lnTo>
                    <a:lnTo>
                      <a:pt x="105" y="510"/>
                    </a:lnTo>
                    <a:lnTo>
                      <a:pt x="104" y="509"/>
                    </a:lnTo>
                    <a:lnTo>
                      <a:pt x="102" y="506"/>
                    </a:lnTo>
                    <a:lnTo>
                      <a:pt x="101" y="504"/>
                    </a:lnTo>
                    <a:lnTo>
                      <a:pt x="97" y="501"/>
                    </a:lnTo>
                    <a:lnTo>
                      <a:pt x="96" y="499"/>
                    </a:lnTo>
                    <a:lnTo>
                      <a:pt x="94" y="497"/>
                    </a:lnTo>
                    <a:lnTo>
                      <a:pt x="91" y="494"/>
                    </a:lnTo>
                    <a:lnTo>
                      <a:pt x="84" y="490"/>
                    </a:lnTo>
                    <a:lnTo>
                      <a:pt x="82" y="489"/>
                    </a:lnTo>
                    <a:lnTo>
                      <a:pt x="79" y="488"/>
                    </a:lnTo>
                    <a:lnTo>
                      <a:pt x="73" y="486"/>
                    </a:lnTo>
                    <a:lnTo>
                      <a:pt x="70" y="485"/>
                    </a:lnTo>
                    <a:lnTo>
                      <a:pt x="65" y="486"/>
                    </a:lnTo>
                    <a:lnTo>
                      <a:pt x="61" y="486"/>
                    </a:lnTo>
                    <a:lnTo>
                      <a:pt x="59" y="487"/>
                    </a:lnTo>
                    <a:lnTo>
                      <a:pt x="57" y="488"/>
                    </a:lnTo>
                    <a:lnTo>
                      <a:pt x="55" y="490"/>
                    </a:lnTo>
                    <a:lnTo>
                      <a:pt x="52" y="493"/>
                    </a:lnTo>
                    <a:lnTo>
                      <a:pt x="51" y="496"/>
                    </a:lnTo>
                    <a:lnTo>
                      <a:pt x="50" y="499"/>
                    </a:lnTo>
                    <a:lnTo>
                      <a:pt x="48" y="500"/>
                    </a:lnTo>
                    <a:lnTo>
                      <a:pt x="48" y="501"/>
                    </a:lnTo>
                    <a:lnTo>
                      <a:pt x="47" y="503"/>
                    </a:lnTo>
                    <a:lnTo>
                      <a:pt x="47" y="504"/>
                    </a:lnTo>
                    <a:lnTo>
                      <a:pt x="47" y="505"/>
                    </a:lnTo>
                    <a:lnTo>
                      <a:pt x="47" y="507"/>
                    </a:lnTo>
                    <a:lnTo>
                      <a:pt x="50" y="511"/>
                    </a:lnTo>
                    <a:lnTo>
                      <a:pt x="51" y="514"/>
                    </a:lnTo>
                    <a:lnTo>
                      <a:pt x="52" y="517"/>
                    </a:lnTo>
                    <a:lnTo>
                      <a:pt x="53" y="518"/>
                    </a:lnTo>
                    <a:lnTo>
                      <a:pt x="53" y="519"/>
                    </a:lnTo>
                    <a:lnTo>
                      <a:pt x="53" y="520"/>
                    </a:lnTo>
                    <a:lnTo>
                      <a:pt x="53" y="522"/>
                    </a:lnTo>
                    <a:lnTo>
                      <a:pt x="53" y="523"/>
                    </a:lnTo>
                    <a:lnTo>
                      <a:pt x="53" y="524"/>
                    </a:lnTo>
                    <a:lnTo>
                      <a:pt x="53" y="526"/>
                    </a:lnTo>
                    <a:lnTo>
                      <a:pt x="54" y="527"/>
                    </a:lnTo>
                    <a:lnTo>
                      <a:pt x="55" y="528"/>
                    </a:lnTo>
                    <a:lnTo>
                      <a:pt x="57" y="528"/>
                    </a:lnTo>
                    <a:lnTo>
                      <a:pt x="58" y="528"/>
                    </a:lnTo>
                    <a:lnTo>
                      <a:pt x="59" y="528"/>
                    </a:lnTo>
                    <a:lnTo>
                      <a:pt x="60" y="527"/>
                    </a:lnTo>
                    <a:lnTo>
                      <a:pt x="61" y="527"/>
                    </a:lnTo>
                    <a:lnTo>
                      <a:pt x="63" y="528"/>
                    </a:lnTo>
                    <a:lnTo>
                      <a:pt x="64" y="529"/>
                    </a:lnTo>
                    <a:lnTo>
                      <a:pt x="64" y="530"/>
                    </a:lnTo>
                    <a:lnTo>
                      <a:pt x="63" y="532"/>
                    </a:lnTo>
                    <a:lnTo>
                      <a:pt x="61" y="532"/>
                    </a:lnTo>
                    <a:lnTo>
                      <a:pt x="58" y="532"/>
                    </a:lnTo>
                    <a:lnTo>
                      <a:pt x="57" y="532"/>
                    </a:lnTo>
                    <a:lnTo>
                      <a:pt x="56" y="534"/>
                    </a:lnTo>
                    <a:lnTo>
                      <a:pt x="54" y="535"/>
                    </a:lnTo>
                    <a:lnTo>
                      <a:pt x="53" y="537"/>
                    </a:lnTo>
                    <a:lnTo>
                      <a:pt x="52" y="538"/>
                    </a:lnTo>
                    <a:lnTo>
                      <a:pt x="51" y="539"/>
                    </a:lnTo>
                    <a:lnTo>
                      <a:pt x="50" y="539"/>
                    </a:lnTo>
                    <a:lnTo>
                      <a:pt x="48" y="539"/>
                    </a:lnTo>
                    <a:lnTo>
                      <a:pt x="47" y="538"/>
                    </a:lnTo>
                    <a:lnTo>
                      <a:pt x="47" y="537"/>
                    </a:lnTo>
                    <a:lnTo>
                      <a:pt x="47" y="536"/>
                    </a:lnTo>
                    <a:lnTo>
                      <a:pt x="47" y="534"/>
                    </a:lnTo>
                    <a:lnTo>
                      <a:pt x="47" y="529"/>
                    </a:lnTo>
                    <a:lnTo>
                      <a:pt x="47" y="526"/>
                    </a:lnTo>
                    <a:lnTo>
                      <a:pt x="46" y="525"/>
                    </a:lnTo>
                    <a:lnTo>
                      <a:pt x="46" y="524"/>
                    </a:lnTo>
                    <a:lnTo>
                      <a:pt x="45" y="524"/>
                    </a:lnTo>
                    <a:lnTo>
                      <a:pt x="44" y="523"/>
                    </a:lnTo>
                    <a:lnTo>
                      <a:pt x="43" y="522"/>
                    </a:lnTo>
                    <a:lnTo>
                      <a:pt x="42" y="522"/>
                    </a:lnTo>
                    <a:lnTo>
                      <a:pt x="41" y="522"/>
                    </a:lnTo>
                    <a:lnTo>
                      <a:pt x="40" y="522"/>
                    </a:lnTo>
                    <a:lnTo>
                      <a:pt x="39" y="523"/>
                    </a:lnTo>
                    <a:lnTo>
                      <a:pt x="38" y="523"/>
                    </a:lnTo>
                    <a:lnTo>
                      <a:pt x="38" y="524"/>
                    </a:lnTo>
                    <a:lnTo>
                      <a:pt x="37" y="528"/>
                    </a:lnTo>
                    <a:lnTo>
                      <a:pt x="37" y="529"/>
                    </a:lnTo>
                    <a:lnTo>
                      <a:pt x="35" y="531"/>
                    </a:lnTo>
                    <a:lnTo>
                      <a:pt x="34" y="532"/>
                    </a:lnTo>
                    <a:lnTo>
                      <a:pt x="32" y="535"/>
                    </a:lnTo>
                    <a:lnTo>
                      <a:pt x="30" y="536"/>
                    </a:lnTo>
                    <a:lnTo>
                      <a:pt x="29" y="537"/>
                    </a:lnTo>
                    <a:lnTo>
                      <a:pt x="27" y="538"/>
                    </a:lnTo>
                    <a:lnTo>
                      <a:pt x="25" y="538"/>
                    </a:lnTo>
                    <a:lnTo>
                      <a:pt x="22" y="537"/>
                    </a:lnTo>
                    <a:lnTo>
                      <a:pt x="20" y="537"/>
                    </a:lnTo>
                    <a:lnTo>
                      <a:pt x="19" y="536"/>
                    </a:lnTo>
                    <a:lnTo>
                      <a:pt x="18" y="534"/>
                    </a:lnTo>
                    <a:lnTo>
                      <a:pt x="18" y="532"/>
                    </a:lnTo>
                    <a:lnTo>
                      <a:pt x="19" y="530"/>
                    </a:lnTo>
                    <a:lnTo>
                      <a:pt x="20" y="529"/>
                    </a:lnTo>
                    <a:lnTo>
                      <a:pt x="20" y="528"/>
                    </a:lnTo>
                    <a:lnTo>
                      <a:pt x="20" y="527"/>
                    </a:lnTo>
                    <a:lnTo>
                      <a:pt x="19" y="527"/>
                    </a:lnTo>
                    <a:lnTo>
                      <a:pt x="19" y="526"/>
                    </a:lnTo>
                    <a:lnTo>
                      <a:pt x="18" y="526"/>
                    </a:lnTo>
                    <a:lnTo>
                      <a:pt x="17" y="526"/>
                    </a:lnTo>
                    <a:lnTo>
                      <a:pt x="15" y="526"/>
                    </a:lnTo>
                    <a:lnTo>
                      <a:pt x="14" y="525"/>
                    </a:lnTo>
                    <a:lnTo>
                      <a:pt x="13" y="525"/>
                    </a:lnTo>
                    <a:lnTo>
                      <a:pt x="12" y="524"/>
                    </a:lnTo>
                    <a:lnTo>
                      <a:pt x="12" y="523"/>
                    </a:lnTo>
                    <a:lnTo>
                      <a:pt x="13" y="523"/>
                    </a:lnTo>
                    <a:lnTo>
                      <a:pt x="14" y="522"/>
                    </a:lnTo>
                    <a:lnTo>
                      <a:pt x="15" y="522"/>
                    </a:lnTo>
                    <a:lnTo>
                      <a:pt x="16" y="522"/>
                    </a:lnTo>
                    <a:lnTo>
                      <a:pt x="17" y="522"/>
                    </a:lnTo>
                    <a:lnTo>
                      <a:pt x="18" y="522"/>
                    </a:lnTo>
                    <a:lnTo>
                      <a:pt x="19" y="520"/>
                    </a:lnTo>
                    <a:lnTo>
                      <a:pt x="20" y="519"/>
                    </a:lnTo>
                    <a:lnTo>
                      <a:pt x="21" y="519"/>
                    </a:lnTo>
                    <a:lnTo>
                      <a:pt x="22" y="518"/>
                    </a:lnTo>
                    <a:lnTo>
                      <a:pt x="22" y="517"/>
                    </a:lnTo>
                    <a:lnTo>
                      <a:pt x="21" y="517"/>
                    </a:lnTo>
                    <a:lnTo>
                      <a:pt x="20" y="517"/>
                    </a:lnTo>
                    <a:lnTo>
                      <a:pt x="19" y="516"/>
                    </a:lnTo>
                    <a:lnTo>
                      <a:pt x="18" y="516"/>
                    </a:lnTo>
                    <a:lnTo>
                      <a:pt x="17" y="516"/>
                    </a:lnTo>
                    <a:lnTo>
                      <a:pt x="16" y="516"/>
                    </a:lnTo>
                    <a:lnTo>
                      <a:pt x="15" y="514"/>
                    </a:lnTo>
                    <a:lnTo>
                      <a:pt x="14" y="513"/>
                    </a:lnTo>
                    <a:lnTo>
                      <a:pt x="13" y="513"/>
                    </a:lnTo>
                    <a:lnTo>
                      <a:pt x="13" y="512"/>
                    </a:lnTo>
                    <a:lnTo>
                      <a:pt x="13" y="511"/>
                    </a:lnTo>
                    <a:lnTo>
                      <a:pt x="12" y="511"/>
                    </a:lnTo>
                    <a:lnTo>
                      <a:pt x="12" y="510"/>
                    </a:lnTo>
                    <a:lnTo>
                      <a:pt x="12" y="509"/>
                    </a:lnTo>
                    <a:lnTo>
                      <a:pt x="12" y="507"/>
                    </a:lnTo>
                    <a:lnTo>
                      <a:pt x="12" y="506"/>
                    </a:lnTo>
                    <a:lnTo>
                      <a:pt x="13" y="506"/>
                    </a:lnTo>
                    <a:lnTo>
                      <a:pt x="14" y="506"/>
                    </a:lnTo>
                    <a:lnTo>
                      <a:pt x="15" y="506"/>
                    </a:lnTo>
                    <a:lnTo>
                      <a:pt x="16" y="507"/>
                    </a:lnTo>
                    <a:lnTo>
                      <a:pt x="17" y="506"/>
                    </a:lnTo>
                    <a:lnTo>
                      <a:pt x="18" y="505"/>
                    </a:lnTo>
                    <a:lnTo>
                      <a:pt x="18" y="504"/>
                    </a:lnTo>
                    <a:lnTo>
                      <a:pt x="19" y="503"/>
                    </a:lnTo>
                    <a:lnTo>
                      <a:pt x="19" y="502"/>
                    </a:lnTo>
                    <a:lnTo>
                      <a:pt x="19" y="501"/>
                    </a:lnTo>
                    <a:lnTo>
                      <a:pt x="18" y="501"/>
                    </a:lnTo>
                    <a:lnTo>
                      <a:pt x="17" y="502"/>
                    </a:lnTo>
                    <a:lnTo>
                      <a:pt x="16" y="503"/>
                    </a:lnTo>
                    <a:lnTo>
                      <a:pt x="15" y="504"/>
                    </a:lnTo>
                    <a:lnTo>
                      <a:pt x="14" y="504"/>
                    </a:lnTo>
                    <a:lnTo>
                      <a:pt x="13" y="504"/>
                    </a:lnTo>
                    <a:lnTo>
                      <a:pt x="13" y="503"/>
                    </a:lnTo>
                    <a:lnTo>
                      <a:pt x="13" y="502"/>
                    </a:lnTo>
                    <a:lnTo>
                      <a:pt x="12" y="502"/>
                    </a:lnTo>
                    <a:lnTo>
                      <a:pt x="13" y="501"/>
                    </a:lnTo>
                    <a:lnTo>
                      <a:pt x="11" y="500"/>
                    </a:lnTo>
                    <a:lnTo>
                      <a:pt x="9" y="500"/>
                    </a:lnTo>
                    <a:lnTo>
                      <a:pt x="8" y="500"/>
                    </a:lnTo>
                    <a:lnTo>
                      <a:pt x="7" y="500"/>
                    </a:lnTo>
                    <a:lnTo>
                      <a:pt x="7" y="499"/>
                    </a:lnTo>
                    <a:lnTo>
                      <a:pt x="7" y="498"/>
                    </a:lnTo>
                    <a:lnTo>
                      <a:pt x="8" y="496"/>
                    </a:lnTo>
                    <a:lnTo>
                      <a:pt x="8" y="494"/>
                    </a:lnTo>
                    <a:lnTo>
                      <a:pt x="7" y="494"/>
                    </a:lnTo>
                    <a:lnTo>
                      <a:pt x="6" y="496"/>
                    </a:lnTo>
                    <a:lnTo>
                      <a:pt x="4" y="497"/>
                    </a:lnTo>
                    <a:lnTo>
                      <a:pt x="3" y="497"/>
                    </a:lnTo>
                    <a:lnTo>
                      <a:pt x="2" y="497"/>
                    </a:lnTo>
                    <a:lnTo>
                      <a:pt x="1" y="496"/>
                    </a:lnTo>
                    <a:lnTo>
                      <a:pt x="1" y="494"/>
                    </a:lnTo>
                    <a:lnTo>
                      <a:pt x="0" y="494"/>
                    </a:lnTo>
                    <a:lnTo>
                      <a:pt x="0" y="493"/>
                    </a:lnTo>
                    <a:lnTo>
                      <a:pt x="1" y="492"/>
                    </a:lnTo>
                    <a:lnTo>
                      <a:pt x="2" y="492"/>
                    </a:lnTo>
                    <a:lnTo>
                      <a:pt x="2" y="491"/>
                    </a:lnTo>
                    <a:lnTo>
                      <a:pt x="3" y="491"/>
                    </a:lnTo>
                    <a:lnTo>
                      <a:pt x="5" y="490"/>
                    </a:lnTo>
                    <a:lnTo>
                      <a:pt x="5" y="489"/>
                    </a:lnTo>
                    <a:lnTo>
                      <a:pt x="4" y="488"/>
                    </a:lnTo>
                    <a:lnTo>
                      <a:pt x="3" y="487"/>
                    </a:lnTo>
                    <a:lnTo>
                      <a:pt x="3" y="486"/>
                    </a:lnTo>
                    <a:lnTo>
                      <a:pt x="2" y="486"/>
                    </a:lnTo>
                    <a:lnTo>
                      <a:pt x="2" y="485"/>
                    </a:lnTo>
                    <a:lnTo>
                      <a:pt x="2" y="484"/>
                    </a:lnTo>
                    <a:lnTo>
                      <a:pt x="3" y="483"/>
                    </a:lnTo>
                    <a:lnTo>
                      <a:pt x="4" y="481"/>
                    </a:lnTo>
                    <a:lnTo>
                      <a:pt x="4" y="480"/>
                    </a:lnTo>
                    <a:lnTo>
                      <a:pt x="5" y="480"/>
                    </a:lnTo>
                    <a:lnTo>
                      <a:pt x="6" y="480"/>
                    </a:lnTo>
                    <a:lnTo>
                      <a:pt x="7" y="480"/>
                    </a:lnTo>
                    <a:lnTo>
                      <a:pt x="7" y="481"/>
                    </a:lnTo>
                    <a:lnTo>
                      <a:pt x="8" y="483"/>
                    </a:lnTo>
                    <a:lnTo>
                      <a:pt x="7" y="485"/>
                    </a:lnTo>
                    <a:lnTo>
                      <a:pt x="7" y="486"/>
                    </a:lnTo>
                    <a:lnTo>
                      <a:pt x="7" y="487"/>
                    </a:lnTo>
                    <a:lnTo>
                      <a:pt x="7" y="488"/>
                    </a:lnTo>
                    <a:lnTo>
                      <a:pt x="8" y="488"/>
                    </a:lnTo>
                    <a:lnTo>
                      <a:pt x="9" y="488"/>
                    </a:lnTo>
                    <a:lnTo>
                      <a:pt x="9" y="487"/>
                    </a:lnTo>
                    <a:lnTo>
                      <a:pt x="11" y="486"/>
                    </a:lnTo>
                    <a:lnTo>
                      <a:pt x="11" y="485"/>
                    </a:lnTo>
                    <a:lnTo>
                      <a:pt x="12" y="485"/>
                    </a:lnTo>
                    <a:lnTo>
                      <a:pt x="13" y="485"/>
                    </a:lnTo>
                    <a:lnTo>
                      <a:pt x="14" y="485"/>
                    </a:lnTo>
                    <a:lnTo>
                      <a:pt x="15" y="485"/>
                    </a:lnTo>
                    <a:lnTo>
                      <a:pt x="16" y="485"/>
                    </a:lnTo>
                    <a:lnTo>
                      <a:pt x="17" y="485"/>
                    </a:lnTo>
                    <a:lnTo>
                      <a:pt x="17" y="484"/>
                    </a:lnTo>
                    <a:lnTo>
                      <a:pt x="17" y="483"/>
                    </a:lnTo>
                    <a:lnTo>
                      <a:pt x="15" y="481"/>
                    </a:lnTo>
                    <a:lnTo>
                      <a:pt x="14" y="481"/>
                    </a:lnTo>
                    <a:lnTo>
                      <a:pt x="14" y="480"/>
                    </a:lnTo>
                    <a:lnTo>
                      <a:pt x="13" y="480"/>
                    </a:lnTo>
                    <a:lnTo>
                      <a:pt x="12" y="479"/>
                    </a:lnTo>
                    <a:lnTo>
                      <a:pt x="11" y="479"/>
                    </a:lnTo>
                    <a:lnTo>
                      <a:pt x="11" y="478"/>
                    </a:lnTo>
                    <a:lnTo>
                      <a:pt x="9" y="477"/>
                    </a:lnTo>
                    <a:lnTo>
                      <a:pt x="9" y="476"/>
                    </a:lnTo>
                    <a:lnTo>
                      <a:pt x="9" y="475"/>
                    </a:lnTo>
                    <a:lnTo>
                      <a:pt x="11" y="474"/>
                    </a:lnTo>
                    <a:lnTo>
                      <a:pt x="12" y="472"/>
                    </a:lnTo>
                    <a:lnTo>
                      <a:pt x="13" y="472"/>
                    </a:lnTo>
                    <a:lnTo>
                      <a:pt x="13" y="471"/>
                    </a:lnTo>
                    <a:lnTo>
                      <a:pt x="14" y="470"/>
                    </a:lnTo>
                    <a:lnTo>
                      <a:pt x="13" y="466"/>
                    </a:lnTo>
                    <a:lnTo>
                      <a:pt x="13" y="465"/>
                    </a:lnTo>
                    <a:lnTo>
                      <a:pt x="12" y="464"/>
                    </a:lnTo>
                    <a:lnTo>
                      <a:pt x="11" y="464"/>
                    </a:lnTo>
                    <a:lnTo>
                      <a:pt x="9" y="464"/>
                    </a:lnTo>
                    <a:lnTo>
                      <a:pt x="9" y="459"/>
                    </a:lnTo>
                    <a:lnTo>
                      <a:pt x="9" y="458"/>
                    </a:lnTo>
                    <a:lnTo>
                      <a:pt x="9" y="457"/>
                    </a:lnTo>
                    <a:lnTo>
                      <a:pt x="9" y="450"/>
                    </a:lnTo>
                    <a:lnTo>
                      <a:pt x="9" y="433"/>
                    </a:lnTo>
                    <a:lnTo>
                      <a:pt x="9" y="430"/>
                    </a:lnTo>
                    <a:lnTo>
                      <a:pt x="9" y="428"/>
                    </a:lnTo>
                    <a:lnTo>
                      <a:pt x="9" y="416"/>
                    </a:lnTo>
                    <a:lnTo>
                      <a:pt x="9" y="414"/>
                    </a:lnTo>
                    <a:lnTo>
                      <a:pt x="9" y="411"/>
                    </a:lnTo>
                    <a:lnTo>
                      <a:pt x="9" y="389"/>
                    </a:lnTo>
                    <a:lnTo>
                      <a:pt x="9" y="346"/>
                    </a:lnTo>
                    <a:lnTo>
                      <a:pt x="9" y="338"/>
                    </a:lnTo>
                    <a:lnTo>
                      <a:pt x="9" y="336"/>
                    </a:lnTo>
                    <a:lnTo>
                      <a:pt x="9" y="333"/>
                    </a:lnTo>
                    <a:lnTo>
                      <a:pt x="9" y="322"/>
                    </a:lnTo>
                    <a:lnTo>
                      <a:pt x="9" y="320"/>
                    </a:lnTo>
                    <a:lnTo>
                      <a:pt x="9" y="318"/>
                    </a:lnTo>
                    <a:lnTo>
                      <a:pt x="9" y="316"/>
                    </a:lnTo>
                    <a:lnTo>
                      <a:pt x="9" y="313"/>
                    </a:lnTo>
                    <a:lnTo>
                      <a:pt x="9" y="312"/>
                    </a:lnTo>
                    <a:lnTo>
                      <a:pt x="9" y="311"/>
                    </a:lnTo>
                    <a:lnTo>
                      <a:pt x="9" y="310"/>
                    </a:lnTo>
                    <a:lnTo>
                      <a:pt x="9" y="309"/>
                    </a:lnTo>
                    <a:lnTo>
                      <a:pt x="9" y="307"/>
                    </a:lnTo>
                    <a:lnTo>
                      <a:pt x="9" y="306"/>
                    </a:lnTo>
                    <a:lnTo>
                      <a:pt x="9" y="305"/>
                    </a:lnTo>
                    <a:lnTo>
                      <a:pt x="9" y="303"/>
                    </a:lnTo>
                    <a:lnTo>
                      <a:pt x="9" y="296"/>
                    </a:lnTo>
                    <a:lnTo>
                      <a:pt x="9" y="288"/>
                    </a:lnTo>
                    <a:lnTo>
                      <a:pt x="9" y="283"/>
                    </a:lnTo>
                    <a:lnTo>
                      <a:pt x="9" y="281"/>
                    </a:lnTo>
                    <a:lnTo>
                      <a:pt x="9" y="277"/>
                    </a:lnTo>
                    <a:lnTo>
                      <a:pt x="9" y="274"/>
                    </a:lnTo>
                    <a:lnTo>
                      <a:pt x="9" y="263"/>
                    </a:lnTo>
                    <a:lnTo>
                      <a:pt x="9" y="262"/>
                    </a:lnTo>
                    <a:lnTo>
                      <a:pt x="9" y="261"/>
                    </a:lnTo>
                    <a:lnTo>
                      <a:pt x="9" y="260"/>
                    </a:lnTo>
                    <a:lnTo>
                      <a:pt x="9" y="257"/>
                    </a:lnTo>
                    <a:lnTo>
                      <a:pt x="9" y="256"/>
                    </a:lnTo>
                    <a:lnTo>
                      <a:pt x="9" y="255"/>
                    </a:lnTo>
                    <a:lnTo>
                      <a:pt x="9" y="254"/>
                    </a:lnTo>
                    <a:lnTo>
                      <a:pt x="9" y="249"/>
                    </a:lnTo>
                    <a:lnTo>
                      <a:pt x="9" y="224"/>
                    </a:lnTo>
                    <a:lnTo>
                      <a:pt x="9" y="207"/>
                    </a:lnTo>
                    <a:lnTo>
                      <a:pt x="9" y="202"/>
                    </a:lnTo>
                    <a:lnTo>
                      <a:pt x="9" y="201"/>
                    </a:lnTo>
                    <a:lnTo>
                      <a:pt x="9" y="195"/>
                    </a:lnTo>
                    <a:lnTo>
                      <a:pt x="9" y="173"/>
                    </a:lnTo>
                    <a:lnTo>
                      <a:pt x="9" y="171"/>
                    </a:lnTo>
                    <a:lnTo>
                      <a:pt x="9" y="162"/>
                    </a:lnTo>
                    <a:lnTo>
                      <a:pt x="9" y="159"/>
                    </a:lnTo>
                    <a:lnTo>
                      <a:pt x="9" y="134"/>
                    </a:lnTo>
                    <a:lnTo>
                      <a:pt x="9" y="126"/>
                    </a:lnTo>
                    <a:lnTo>
                      <a:pt x="11" y="126"/>
                    </a:lnTo>
                    <a:lnTo>
                      <a:pt x="11" y="89"/>
                    </a:lnTo>
                    <a:lnTo>
                      <a:pt x="11" y="77"/>
                    </a:lnTo>
                    <a:lnTo>
                      <a:pt x="11" y="69"/>
                    </a:lnTo>
                    <a:lnTo>
                      <a:pt x="11" y="53"/>
                    </a:lnTo>
                    <a:lnTo>
                      <a:pt x="12" y="31"/>
                    </a:lnTo>
                    <a:lnTo>
                      <a:pt x="13" y="31"/>
                    </a:lnTo>
                    <a:lnTo>
                      <a:pt x="15" y="31"/>
                    </a:lnTo>
                    <a:lnTo>
                      <a:pt x="45" y="31"/>
                    </a:lnTo>
                    <a:lnTo>
                      <a:pt x="50" y="31"/>
                    </a:lnTo>
                    <a:lnTo>
                      <a:pt x="52" y="31"/>
                    </a:lnTo>
                    <a:lnTo>
                      <a:pt x="53" y="31"/>
                    </a:lnTo>
                    <a:lnTo>
                      <a:pt x="73" y="31"/>
                    </a:lnTo>
                    <a:lnTo>
                      <a:pt x="72" y="0"/>
                    </a:lnTo>
                    <a:lnTo>
                      <a:pt x="82" y="0"/>
                    </a:lnTo>
                    <a:close/>
                  </a:path>
                </a:pathLst>
              </a:custGeom>
              <a:solidFill>
                <a:srgbClr val="B6D8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6" name="Freeform 46">
                <a:extLst>
                  <a:ext uri="{FF2B5EF4-FFF2-40B4-BE49-F238E27FC236}">
                    <a16:creationId xmlns:a16="http://schemas.microsoft.com/office/drawing/2014/main" id="{8ACEBBAE-B3D7-0822-42A8-F60C4FE24CF9}"/>
                  </a:ext>
                </a:extLst>
              </p:cNvPr>
              <p:cNvSpPr>
                <a:spLocks/>
              </p:cNvSpPr>
              <p:nvPr/>
            </p:nvSpPr>
            <p:spPr bwMode="auto">
              <a:xfrm>
                <a:off x="3259138" y="2576513"/>
                <a:ext cx="476250" cy="901700"/>
              </a:xfrm>
              <a:custGeom>
                <a:avLst/>
                <a:gdLst>
                  <a:gd name="T0" fmla="*/ 275 w 300"/>
                  <a:gd name="T1" fmla="*/ 6 h 568"/>
                  <a:gd name="T2" fmla="*/ 298 w 300"/>
                  <a:gd name="T3" fmla="*/ 11 h 568"/>
                  <a:gd name="T4" fmla="*/ 287 w 300"/>
                  <a:gd name="T5" fmla="*/ 41 h 568"/>
                  <a:gd name="T6" fmla="*/ 288 w 300"/>
                  <a:gd name="T7" fmla="*/ 72 h 568"/>
                  <a:gd name="T8" fmla="*/ 288 w 300"/>
                  <a:gd name="T9" fmla="*/ 93 h 568"/>
                  <a:gd name="T10" fmla="*/ 269 w 300"/>
                  <a:gd name="T11" fmla="*/ 108 h 568"/>
                  <a:gd name="T12" fmla="*/ 246 w 300"/>
                  <a:gd name="T13" fmla="*/ 101 h 568"/>
                  <a:gd name="T14" fmla="*/ 229 w 300"/>
                  <a:gd name="T15" fmla="*/ 84 h 568"/>
                  <a:gd name="T16" fmla="*/ 217 w 300"/>
                  <a:gd name="T17" fmla="*/ 109 h 568"/>
                  <a:gd name="T18" fmla="*/ 240 w 300"/>
                  <a:gd name="T19" fmla="*/ 127 h 568"/>
                  <a:gd name="T20" fmla="*/ 273 w 300"/>
                  <a:gd name="T21" fmla="*/ 118 h 568"/>
                  <a:gd name="T22" fmla="*/ 279 w 300"/>
                  <a:gd name="T23" fmla="*/ 143 h 568"/>
                  <a:gd name="T24" fmla="*/ 246 w 300"/>
                  <a:gd name="T25" fmla="*/ 163 h 568"/>
                  <a:gd name="T26" fmla="*/ 223 w 300"/>
                  <a:gd name="T27" fmla="*/ 165 h 568"/>
                  <a:gd name="T28" fmla="*/ 216 w 300"/>
                  <a:gd name="T29" fmla="*/ 181 h 568"/>
                  <a:gd name="T30" fmla="*/ 222 w 300"/>
                  <a:gd name="T31" fmla="*/ 236 h 568"/>
                  <a:gd name="T32" fmla="*/ 239 w 300"/>
                  <a:gd name="T33" fmla="*/ 285 h 568"/>
                  <a:gd name="T34" fmla="*/ 205 w 300"/>
                  <a:gd name="T35" fmla="*/ 264 h 568"/>
                  <a:gd name="T36" fmla="*/ 198 w 300"/>
                  <a:gd name="T37" fmla="*/ 236 h 568"/>
                  <a:gd name="T38" fmla="*/ 189 w 300"/>
                  <a:gd name="T39" fmla="*/ 271 h 568"/>
                  <a:gd name="T40" fmla="*/ 195 w 300"/>
                  <a:gd name="T41" fmla="*/ 289 h 568"/>
                  <a:gd name="T42" fmla="*/ 211 w 300"/>
                  <a:gd name="T43" fmla="*/ 313 h 568"/>
                  <a:gd name="T44" fmla="*/ 211 w 300"/>
                  <a:gd name="T45" fmla="*/ 351 h 568"/>
                  <a:gd name="T46" fmla="*/ 149 w 300"/>
                  <a:gd name="T47" fmla="*/ 355 h 568"/>
                  <a:gd name="T48" fmla="*/ 149 w 300"/>
                  <a:gd name="T49" fmla="*/ 385 h 568"/>
                  <a:gd name="T50" fmla="*/ 162 w 300"/>
                  <a:gd name="T51" fmla="*/ 436 h 568"/>
                  <a:gd name="T52" fmla="*/ 165 w 300"/>
                  <a:gd name="T53" fmla="*/ 478 h 568"/>
                  <a:gd name="T54" fmla="*/ 180 w 300"/>
                  <a:gd name="T55" fmla="*/ 528 h 568"/>
                  <a:gd name="T56" fmla="*/ 133 w 300"/>
                  <a:gd name="T57" fmla="*/ 559 h 568"/>
                  <a:gd name="T58" fmla="*/ 129 w 300"/>
                  <a:gd name="T59" fmla="*/ 545 h 568"/>
                  <a:gd name="T60" fmla="*/ 127 w 300"/>
                  <a:gd name="T61" fmla="*/ 515 h 568"/>
                  <a:gd name="T62" fmla="*/ 99 w 300"/>
                  <a:gd name="T63" fmla="*/ 517 h 568"/>
                  <a:gd name="T64" fmla="*/ 92 w 300"/>
                  <a:gd name="T65" fmla="*/ 488 h 568"/>
                  <a:gd name="T66" fmla="*/ 97 w 300"/>
                  <a:gd name="T67" fmla="*/ 464 h 568"/>
                  <a:gd name="T68" fmla="*/ 105 w 300"/>
                  <a:gd name="T69" fmla="*/ 429 h 568"/>
                  <a:gd name="T70" fmla="*/ 113 w 300"/>
                  <a:gd name="T71" fmla="*/ 405 h 568"/>
                  <a:gd name="T72" fmla="*/ 85 w 300"/>
                  <a:gd name="T73" fmla="*/ 402 h 568"/>
                  <a:gd name="T74" fmla="*/ 50 w 300"/>
                  <a:gd name="T75" fmla="*/ 386 h 568"/>
                  <a:gd name="T76" fmla="*/ 25 w 300"/>
                  <a:gd name="T77" fmla="*/ 362 h 568"/>
                  <a:gd name="T78" fmla="*/ 19 w 300"/>
                  <a:gd name="T79" fmla="*/ 337 h 568"/>
                  <a:gd name="T80" fmla="*/ 3 w 300"/>
                  <a:gd name="T81" fmla="*/ 290 h 568"/>
                  <a:gd name="T82" fmla="*/ 34 w 300"/>
                  <a:gd name="T83" fmla="*/ 281 h 568"/>
                  <a:gd name="T84" fmla="*/ 55 w 300"/>
                  <a:gd name="T85" fmla="*/ 266 h 568"/>
                  <a:gd name="T86" fmla="*/ 9 w 300"/>
                  <a:gd name="T87" fmla="*/ 246 h 568"/>
                  <a:gd name="T88" fmla="*/ 7 w 300"/>
                  <a:gd name="T89" fmla="*/ 195 h 568"/>
                  <a:gd name="T90" fmla="*/ 25 w 300"/>
                  <a:gd name="T91" fmla="*/ 192 h 568"/>
                  <a:gd name="T92" fmla="*/ 51 w 300"/>
                  <a:gd name="T93" fmla="*/ 231 h 568"/>
                  <a:gd name="T94" fmla="*/ 90 w 300"/>
                  <a:gd name="T95" fmla="*/ 227 h 568"/>
                  <a:gd name="T96" fmla="*/ 40 w 300"/>
                  <a:gd name="T97" fmla="*/ 205 h 568"/>
                  <a:gd name="T98" fmla="*/ 54 w 300"/>
                  <a:gd name="T99" fmla="*/ 181 h 568"/>
                  <a:gd name="T100" fmla="*/ 40 w 300"/>
                  <a:gd name="T101" fmla="*/ 153 h 568"/>
                  <a:gd name="T102" fmla="*/ 25 w 300"/>
                  <a:gd name="T103" fmla="*/ 132 h 568"/>
                  <a:gd name="T104" fmla="*/ 33 w 300"/>
                  <a:gd name="T105" fmla="*/ 103 h 568"/>
                  <a:gd name="T106" fmla="*/ 56 w 300"/>
                  <a:gd name="T107" fmla="*/ 81 h 568"/>
                  <a:gd name="T108" fmla="*/ 80 w 300"/>
                  <a:gd name="T109" fmla="*/ 106 h 568"/>
                  <a:gd name="T110" fmla="*/ 98 w 300"/>
                  <a:gd name="T111" fmla="*/ 75 h 568"/>
                  <a:gd name="T112" fmla="*/ 104 w 300"/>
                  <a:gd name="T113" fmla="*/ 25 h 568"/>
                  <a:gd name="T114" fmla="*/ 129 w 300"/>
                  <a:gd name="T115" fmla="*/ 25 h 568"/>
                  <a:gd name="T116" fmla="*/ 162 w 300"/>
                  <a:gd name="T117" fmla="*/ 1 h 568"/>
                  <a:gd name="T118" fmla="*/ 188 w 300"/>
                  <a:gd name="T119" fmla="*/ 24 h 568"/>
                  <a:gd name="T120" fmla="*/ 200 w 300"/>
                  <a:gd name="T121" fmla="*/ 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0" h="568">
                    <a:moveTo>
                      <a:pt x="197" y="6"/>
                    </a:moveTo>
                    <a:lnTo>
                      <a:pt x="198" y="6"/>
                    </a:lnTo>
                    <a:lnTo>
                      <a:pt x="217" y="7"/>
                    </a:lnTo>
                    <a:lnTo>
                      <a:pt x="226" y="7"/>
                    </a:lnTo>
                    <a:lnTo>
                      <a:pt x="232" y="7"/>
                    </a:lnTo>
                    <a:lnTo>
                      <a:pt x="234" y="7"/>
                    </a:lnTo>
                    <a:lnTo>
                      <a:pt x="246" y="7"/>
                    </a:lnTo>
                    <a:lnTo>
                      <a:pt x="253" y="7"/>
                    </a:lnTo>
                    <a:lnTo>
                      <a:pt x="256" y="7"/>
                    </a:lnTo>
                    <a:lnTo>
                      <a:pt x="264" y="7"/>
                    </a:lnTo>
                    <a:lnTo>
                      <a:pt x="267" y="7"/>
                    </a:lnTo>
                    <a:lnTo>
                      <a:pt x="268" y="7"/>
                    </a:lnTo>
                    <a:lnTo>
                      <a:pt x="269" y="6"/>
                    </a:lnTo>
                    <a:lnTo>
                      <a:pt x="270" y="5"/>
                    </a:lnTo>
                    <a:lnTo>
                      <a:pt x="271" y="5"/>
                    </a:lnTo>
                    <a:lnTo>
                      <a:pt x="272" y="5"/>
                    </a:lnTo>
                    <a:lnTo>
                      <a:pt x="273" y="5"/>
                    </a:lnTo>
                    <a:lnTo>
                      <a:pt x="274" y="5"/>
                    </a:lnTo>
                    <a:lnTo>
                      <a:pt x="275" y="6"/>
                    </a:lnTo>
                    <a:lnTo>
                      <a:pt x="277" y="5"/>
                    </a:lnTo>
                    <a:lnTo>
                      <a:pt x="278" y="5"/>
                    </a:lnTo>
                    <a:lnTo>
                      <a:pt x="279" y="5"/>
                    </a:lnTo>
                    <a:lnTo>
                      <a:pt x="280" y="5"/>
                    </a:lnTo>
                    <a:lnTo>
                      <a:pt x="280" y="6"/>
                    </a:lnTo>
                    <a:lnTo>
                      <a:pt x="283" y="6"/>
                    </a:lnTo>
                    <a:lnTo>
                      <a:pt x="284" y="6"/>
                    </a:lnTo>
                    <a:lnTo>
                      <a:pt x="285" y="6"/>
                    </a:lnTo>
                    <a:lnTo>
                      <a:pt x="286" y="5"/>
                    </a:lnTo>
                    <a:lnTo>
                      <a:pt x="287" y="6"/>
                    </a:lnTo>
                    <a:lnTo>
                      <a:pt x="288" y="6"/>
                    </a:lnTo>
                    <a:lnTo>
                      <a:pt x="287" y="7"/>
                    </a:lnTo>
                    <a:lnTo>
                      <a:pt x="287" y="8"/>
                    </a:lnTo>
                    <a:lnTo>
                      <a:pt x="288" y="9"/>
                    </a:lnTo>
                    <a:lnTo>
                      <a:pt x="290" y="11"/>
                    </a:lnTo>
                    <a:lnTo>
                      <a:pt x="291" y="11"/>
                    </a:lnTo>
                    <a:lnTo>
                      <a:pt x="296" y="11"/>
                    </a:lnTo>
                    <a:lnTo>
                      <a:pt x="297" y="11"/>
                    </a:lnTo>
                    <a:lnTo>
                      <a:pt x="298" y="11"/>
                    </a:lnTo>
                    <a:lnTo>
                      <a:pt x="300" y="11"/>
                    </a:lnTo>
                    <a:lnTo>
                      <a:pt x="299" y="19"/>
                    </a:lnTo>
                    <a:lnTo>
                      <a:pt x="299" y="20"/>
                    </a:lnTo>
                    <a:lnTo>
                      <a:pt x="298" y="21"/>
                    </a:lnTo>
                    <a:lnTo>
                      <a:pt x="297" y="24"/>
                    </a:lnTo>
                    <a:lnTo>
                      <a:pt x="297" y="25"/>
                    </a:lnTo>
                    <a:lnTo>
                      <a:pt x="296" y="25"/>
                    </a:lnTo>
                    <a:lnTo>
                      <a:pt x="296" y="26"/>
                    </a:lnTo>
                    <a:lnTo>
                      <a:pt x="295" y="28"/>
                    </a:lnTo>
                    <a:lnTo>
                      <a:pt x="294" y="29"/>
                    </a:lnTo>
                    <a:lnTo>
                      <a:pt x="293" y="30"/>
                    </a:lnTo>
                    <a:lnTo>
                      <a:pt x="292" y="31"/>
                    </a:lnTo>
                    <a:lnTo>
                      <a:pt x="291" y="32"/>
                    </a:lnTo>
                    <a:lnTo>
                      <a:pt x="291" y="33"/>
                    </a:lnTo>
                    <a:lnTo>
                      <a:pt x="290" y="35"/>
                    </a:lnTo>
                    <a:lnTo>
                      <a:pt x="288" y="37"/>
                    </a:lnTo>
                    <a:lnTo>
                      <a:pt x="288" y="38"/>
                    </a:lnTo>
                    <a:lnTo>
                      <a:pt x="288" y="40"/>
                    </a:lnTo>
                    <a:lnTo>
                      <a:pt x="287" y="41"/>
                    </a:lnTo>
                    <a:lnTo>
                      <a:pt x="287" y="45"/>
                    </a:lnTo>
                    <a:lnTo>
                      <a:pt x="286" y="46"/>
                    </a:lnTo>
                    <a:lnTo>
                      <a:pt x="286" y="47"/>
                    </a:lnTo>
                    <a:lnTo>
                      <a:pt x="286" y="49"/>
                    </a:lnTo>
                    <a:lnTo>
                      <a:pt x="286" y="50"/>
                    </a:lnTo>
                    <a:lnTo>
                      <a:pt x="286" y="51"/>
                    </a:lnTo>
                    <a:lnTo>
                      <a:pt x="286" y="54"/>
                    </a:lnTo>
                    <a:lnTo>
                      <a:pt x="287" y="55"/>
                    </a:lnTo>
                    <a:lnTo>
                      <a:pt x="287" y="56"/>
                    </a:lnTo>
                    <a:lnTo>
                      <a:pt x="287" y="59"/>
                    </a:lnTo>
                    <a:lnTo>
                      <a:pt x="287" y="60"/>
                    </a:lnTo>
                    <a:lnTo>
                      <a:pt x="287" y="62"/>
                    </a:lnTo>
                    <a:lnTo>
                      <a:pt x="287" y="64"/>
                    </a:lnTo>
                    <a:lnTo>
                      <a:pt x="287" y="66"/>
                    </a:lnTo>
                    <a:lnTo>
                      <a:pt x="287" y="67"/>
                    </a:lnTo>
                    <a:lnTo>
                      <a:pt x="287" y="68"/>
                    </a:lnTo>
                    <a:lnTo>
                      <a:pt x="287" y="69"/>
                    </a:lnTo>
                    <a:lnTo>
                      <a:pt x="288" y="71"/>
                    </a:lnTo>
                    <a:lnTo>
                      <a:pt x="288" y="72"/>
                    </a:lnTo>
                    <a:lnTo>
                      <a:pt x="288" y="73"/>
                    </a:lnTo>
                    <a:lnTo>
                      <a:pt x="288" y="75"/>
                    </a:lnTo>
                    <a:lnTo>
                      <a:pt x="288" y="76"/>
                    </a:lnTo>
                    <a:lnTo>
                      <a:pt x="288" y="77"/>
                    </a:lnTo>
                    <a:lnTo>
                      <a:pt x="288" y="78"/>
                    </a:lnTo>
                    <a:lnTo>
                      <a:pt x="288" y="79"/>
                    </a:lnTo>
                    <a:lnTo>
                      <a:pt x="288" y="81"/>
                    </a:lnTo>
                    <a:lnTo>
                      <a:pt x="290" y="82"/>
                    </a:lnTo>
                    <a:lnTo>
                      <a:pt x="290" y="83"/>
                    </a:lnTo>
                    <a:lnTo>
                      <a:pt x="290" y="84"/>
                    </a:lnTo>
                    <a:lnTo>
                      <a:pt x="290" y="85"/>
                    </a:lnTo>
                    <a:lnTo>
                      <a:pt x="290" y="86"/>
                    </a:lnTo>
                    <a:lnTo>
                      <a:pt x="290" y="88"/>
                    </a:lnTo>
                    <a:lnTo>
                      <a:pt x="290" y="89"/>
                    </a:lnTo>
                    <a:lnTo>
                      <a:pt x="288" y="89"/>
                    </a:lnTo>
                    <a:lnTo>
                      <a:pt x="288" y="90"/>
                    </a:lnTo>
                    <a:lnTo>
                      <a:pt x="288" y="91"/>
                    </a:lnTo>
                    <a:lnTo>
                      <a:pt x="288" y="92"/>
                    </a:lnTo>
                    <a:lnTo>
                      <a:pt x="288" y="93"/>
                    </a:lnTo>
                    <a:lnTo>
                      <a:pt x="288" y="95"/>
                    </a:lnTo>
                    <a:lnTo>
                      <a:pt x="287" y="96"/>
                    </a:lnTo>
                    <a:lnTo>
                      <a:pt x="287" y="97"/>
                    </a:lnTo>
                    <a:lnTo>
                      <a:pt x="287" y="98"/>
                    </a:lnTo>
                    <a:lnTo>
                      <a:pt x="286" y="102"/>
                    </a:lnTo>
                    <a:lnTo>
                      <a:pt x="285" y="102"/>
                    </a:lnTo>
                    <a:lnTo>
                      <a:pt x="284" y="103"/>
                    </a:lnTo>
                    <a:lnTo>
                      <a:pt x="283" y="103"/>
                    </a:lnTo>
                    <a:lnTo>
                      <a:pt x="282" y="104"/>
                    </a:lnTo>
                    <a:lnTo>
                      <a:pt x="281" y="104"/>
                    </a:lnTo>
                    <a:lnTo>
                      <a:pt x="281" y="105"/>
                    </a:lnTo>
                    <a:lnTo>
                      <a:pt x="278" y="106"/>
                    </a:lnTo>
                    <a:lnTo>
                      <a:pt x="277" y="107"/>
                    </a:lnTo>
                    <a:lnTo>
                      <a:pt x="275" y="107"/>
                    </a:lnTo>
                    <a:lnTo>
                      <a:pt x="274" y="108"/>
                    </a:lnTo>
                    <a:lnTo>
                      <a:pt x="273" y="108"/>
                    </a:lnTo>
                    <a:lnTo>
                      <a:pt x="272" y="108"/>
                    </a:lnTo>
                    <a:lnTo>
                      <a:pt x="270" y="108"/>
                    </a:lnTo>
                    <a:lnTo>
                      <a:pt x="269" y="108"/>
                    </a:lnTo>
                    <a:lnTo>
                      <a:pt x="268" y="108"/>
                    </a:lnTo>
                    <a:lnTo>
                      <a:pt x="266" y="107"/>
                    </a:lnTo>
                    <a:lnTo>
                      <a:pt x="265" y="107"/>
                    </a:lnTo>
                    <a:lnTo>
                      <a:pt x="264" y="107"/>
                    </a:lnTo>
                    <a:lnTo>
                      <a:pt x="262" y="107"/>
                    </a:lnTo>
                    <a:lnTo>
                      <a:pt x="262" y="106"/>
                    </a:lnTo>
                    <a:lnTo>
                      <a:pt x="261" y="106"/>
                    </a:lnTo>
                    <a:lnTo>
                      <a:pt x="260" y="106"/>
                    </a:lnTo>
                    <a:lnTo>
                      <a:pt x="259" y="105"/>
                    </a:lnTo>
                    <a:lnTo>
                      <a:pt x="257" y="105"/>
                    </a:lnTo>
                    <a:lnTo>
                      <a:pt x="256" y="105"/>
                    </a:lnTo>
                    <a:lnTo>
                      <a:pt x="256" y="104"/>
                    </a:lnTo>
                    <a:lnTo>
                      <a:pt x="255" y="104"/>
                    </a:lnTo>
                    <a:lnTo>
                      <a:pt x="254" y="104"/>
                    </a:lnTo>
                    <a:lnTo>
                      <a:pt x="253" y="103"/>
                    </a:lnTo>
                    <a:lnTo>
                      <a:pt x="252" y="103"/>
                    </a:lnTo>
                    <a:lnTo>
                      <a:pt x="248" y="102"/>
                    </a:lnTo>
                    <a:lnTo>
                      <a:pt x="247" y="102"/>
                    </a:lnTo>
                    <a:lnTo>
                      <a:pt x="246" y="101"/>
                    </a:lnTo>
                    <a:lnTo>
                      <a:pt x="245" y="101"/>
                    </a:lnTo>
                    <a:lnTo>
                      <a:pt x="244" y="99"/>
                    </a:lnTo>
                    <a:lnTo>
                      <a:pt x="243" y="98"/>
                    </a:lnTo>
                    <a:lnTo>
                      <a:pt x="242" y="98"/>
                    </a:lnTo>
                    <a:lnTo>
                      <a:pt x="241" y="97"/>
                    </a:lnTo>
                    <a:lnTo>
                      <a:pt x="240" y="96"/>
                    </a:lnTo>
                    <a:lnTo>
                      <a:pt x="239" y="96"/>
                    </a:lnTo>
                    <a:lnTo>
                      <a:pt x="237" y="95"/>
                    </a:lnTo>
                    <a:lnTo>
                      <a:pt x="236" y="94"/>
                    </a:lnTo>
                    <a:lnTo>
                      <a:pt x="235" y="93"/>
                    </a:lnTo>
                    <a:lnTo>
                      <a:pt x="235" y="92"/>
                    </a:lnTo>
                    <a:lnTo>
                      <a:pt x="234" y="92"/>
                    </a:lnTo>
                    <a:lnTo>
                      <a:pt x="234" y="91"/>
                    </a:lnTo>
                    <a:lnTo>
                      <a:pt x="233" y="90"/>
                    </a:lnTo>
                    <a:lnTo>
                      <a:pt x="233" y="89"/>
                    </a:lnTo>
                    <a:lnTo>
                      <a:pt x="232" y="86"/>
                    </a:lnTo>
                    <a:lnTo>
                      <a:pt x="231" y="85"/>
                    </a:lnTo>
                    <a:lnTo>
                      <a:pt x="230" y="84"/>
                    </a:lnTo>
                    <a:lnTo>
                      <a:pt x="229" y="84"/>
                    </a:lnTo>
                    <a:lnTo>
                      <a:pt x="228" y="83"/>
                    </a:lnTo>
                    <a:lnTo>
                      <a:pt x="227" y="83"/>
                    </a:lnTo>
                    <a:lnTo>
                      <a:pt x="226" y="84"/>
                    </a:lnTo>
                    <a:lnTo>
                      <a:pt x="224" y="85"/>
                    </a:lnTo>
                    <a:lnTo>
                      <a:pt x="223" y="86"/>
                    </a:lnTo>
                    <a:lnTo>
                      <a:pt x="221" y="89"/>
                    </a:lnTo>
                    <a:lnTo>
                      <a:pt x="219" y="90"/>
                    </a:lnTo>
                    <a:lnTo>
                      <a:pt x="218" y="91"/>
                    </a:lnTo>
                    <a:lnTo>
                      <a:pt x="217" y="93"/>
                    </a:lnTo>
                    <a:lnTo>
                      <a:pt x="216" y="94"/>
                    </a:lnTo>
                    <a:lnTo>
                      <a:pt x="216" y="95"/>
                    </a:lnTo>
                    <a:lnTo>
                      <a:pt x="216" y="96"/>
                    </a:lnTo>
                    <a:lnTo>
                      <a:pt x="215" y="98"/>
                    </a:lnTo>
                    <a:lnTo>
                      <a:pt x="215" y="99"/>
                    </a:lnTo>
                    <a:lnTo>
                      <a:pt x="215" y="102"/>
                    </a:lnTo>
                    <a:lnTo>
                      <a:pt x="215" y="103"/>
                    </a:lnTo>
                    <a:lnTo>
                      <a:pt x="215" y="107"/>
                    </a:lnTo>
                    <a:lnTo>
                      <a:pt x="216" y="108"/>
                    </a:lnTo>
                    <a:lnTo>
                      <a:pt x="217" y="109"/>
                    </a:lnTo>
                    <a:lnTo>
                      <a:pt x="218" y="111"/>
                    </a:lnTo>
                    <a:lnTo>
                      <a:pt x="219" y="112"/>
                    </a:lnTo>
                    <a:lnTo>
                      <a:pt x="220" y="115"/>
                    </a:lnTo>
                    <a:lnTo>
                      <a:pt x="222" y="117"/>
                    </a:lnTo>
                    <a:lnTo>
                      <a:pt x="223" y="119"/>
                    </a:lnTo>
                    <a:lnTo>
                      <a:pt x="224" y="120"/>
                    </a:lnTo>
                    <a:lnTo>
                      <a:pt x="226" y="120"/>
                    </a:lnTo>
                    <a:lnTo>
                      <a:pt x="226" y="121"/>
                    </a:lnTo>
                    <a:lnTo>
                      <a:pt x="227" y="121"/>
                    </a:lnTo>
                    <a:lnTo>
                      <a:pt x="228" y="122"/>
                    </a:lnTo>
                    <a:lnTo>
                      <a:pt x="229" y="123"/>
                    </a:lnTo>
                    <a:lnTo>
                      <a:pt x="231" y="124"/>
                    </a:lnTo>
                    <a:lnTo>
                      <a:pt x="232" y="126"/>
                    </a:lnTo>
                    <a:lnTo>
                      <a:pt x="234" y="126"/>
                    </a:lnTo>
                    <a:lnTo>
                      <a:pt x="234" y="127"/>
                    </a:lnTo>
                    <a:lnTo>
                      <a:pt x="235" y="127"/>
                    </a:lnTo>
                    <a:lnTo>
                      <a:pt x="237" y="127"/>
                    </a:lnTo>
                    <a:lnTo>
                      <a:pt x="239" y="127"/>
                    </a:lnTo>
                    <a:lnTo>
                      <a:pt x="240" y="127"/>
                    </a:lnTo>
                    <a:lnTo>
                      <a:pt x="243" y="127"/>
                    </a:lnTo>
                    <a:lnTo>
                      <a:pt x="244" y="127"/>
                    </a:lnTo>
                    <a:lnTo>
                      <a:pt x="245" y="127"/>
                    </a:lnTo>
                    <a:lnTo>
                      <a:pt x="246" y="127"/>
                    </a:lnTo>
                    <a:lnTo>
                      <a:pt x="248" y="126"/>
                    </a:lnTo>
                    <a:lnTo>
                      <a:pt x="250" y="126"/>
                    </a:lnTo>
                    <a:lnTo>
                      <a:pt x="252" y="126"/>
                    </a:lnTo>
                    <a:lnTo>
                      <a:pt x="253" y="124"/>
                    </a:lnTo>
                    <a:lnTo>
                      <a:pt x="255" y="123"/>
                    </a:lnTo>
                    <a:lnTo>
                      <a:pt x="258" y="122"/>
                    </a:lnTo>
                    <a:lnTo>
                      <a:pt x="259" y="122"/>
                    </a:lnTo>
                    <a:lnTo>
                      <a:pt x="260" y="121"/>
                    </a:lnTo>
                    <a:lnTo>
                      <a:pt x="262" y="121"/>
                    </a:lnTo>
                    <a:lnTo>
                      <a:pt x="265" y="120"/>
                    </a:lnTo>
                    <a:lnTo>
                      <a:pt x="267" y="119"/>
                    </a:lnTo>
                    <a:lnTo>
                      <a:pt x="268" y="119"/>
                    </a:lnTo>
                    <a:lnTo>
                      <a:pt x="270" y="118"/>
                    </a:lnTo>
                    <a:lnTo>
                      <a:pt x="271" y="118"/>
                    </a:lnTo>
                    <a:lnTo>
                      <a:pt x="273" y="118"/>
                    </a:lnTo>
                    <a:lnTo>
                      <a:pt x="275" y="119"/>
                    </a:lnTo>
                    <a:lnTo>
                      <a:pt x="277" y="119"/>
                    </a:lnTo>
                    <a:lnTo>
                      <a:pt x="279" y="120"/>
                    </a:lnTo>
                    <a:lnTo>
                      <a:pt x="280" y="120"/>
                    </a:lnTo>
                    <a:lnTo>
                      <a:pt x="282" y="121"/>
                    </a:lnTo>
                    <a:lnTo>
                      <a:pt x="283" y="122"/>
                    </a:lnTo>
                    <a:lnTo>
                      <a:pt x="284" y="123"/>
                    </a:lnTo>
                    <a:lnTo>
                      <a:pt x="284" y="124"/>
                    </a:lnTo>
                    <a:lnTo>
                      <a:pt x="284" y="127"/>
                    </a:lnTo>
                    <a:lnTo>
                      <a:pt x="284" y="129"/>
                    </a:lnTo>
                    <a:lnTo>
                      <a:pt x="284" y="131"/>
                    </a:lnTo>
                    <a:lnTo>
                      <a:pt x="283" y="133"/>
                    </a:lnTo>
                    <a:lnTo>
                      <a:pt x="283" y="135"/>
                    </a:lnTo>
                    <a:lnTo>
                      <a:pt x="283" y="136"/>
                    </a:lnTo>
                    <a:lnTo>
                      <a:pt x="282" y="137"/>
                    </a:lnTo>
                    <a:lnTo>
                      <a:pt x="282" y="139"/>
                    </a:lnTo>
                    <a:lnTo>
                      <a:pt x="281" y="140"/>
                    </a:lnTo>
                    <a:lnTo>
                      <a:pt x="280" y="141"/>
                    </a:lnTo>
                    <a:lnTo>
                      <a:pt x="279" y="143"/>
                    </a:lnTo>
                    <a:lnTo>
                      <a:pt x="278" y="144"/>
                    </a:lnTo>
                    <a:lnTo>
                      <a:pt x="275" y="145"/>
                    </a:lnTo>
                    <a:lnTo>
                      <a:pt x="274" y="146"/>
                    </a:lnTo>
                    <a:lnTo>
                      <a:pt x="271" y="149"/>
                    </a:lnTo>
                    <a:lnTo>
                      <a:pt x="270" y="149"/>
                    </a:lnTo>
                    <a:lnTo>
                      <a:pt x="268" y="152"/>
                    </a:lnTo>
                    <a:lnTo>
                      <a:pt x="267" y="153"/>
                    </a:lnTo>
                    <a:lnTo>
                      <a:pt x="265" y="154"/>
                    </a:lnTo>
                    <a:lnTo>
                      <a:pt x="264" y="155"/>
                    </a:lnTo>
                    <a:lnTo>
                      <a:pt x="262" y="156"/>
                    </a:lnTo>
                    <a:lnTo>
                      <a:pt x="260" y="158"/>
                    </a:lnTo>
                    <a:lnTo>
                      <a:pt x="258" y="159"/>
                    </a:lnTo>
                    <a:lnTo>
                      <a:pt x="256" y="159"/>
                    </a:lnTo>
                    <a:lnTo>
                      <a:pt x="255" y="160"/>
                    </a:lnTo>
                    <a:lnTo>
                      <a:pt x="253" y="160"/>
                    </a:lnTo>
                    <a:lnTo>
                      <a:pt x="253" y="161"/>
                    </a:lnTo>
                    <a:lnTo>
                      <a:pt x="250" y="161"/>
                    </a:lnTo>
                    <a:lnTo>
                      <a:pt x="248" y="162"/>
                    </a:lnTo>
                    <a:lnTo>
                      <a:pt x="246" y="163"/>
                    </a:lnTo>
                    <a:lnTo>
                      <a:pt x="245" y="163"/>
                    </a:lnTo>
                    <a:lnTo>
                      <a:pt x="244" y="165"/>
                    </a:lnTo>
                    <a:lnTo>
                      <a:pt x="241" y="166"/>
                    </a:lnTo>
                    <a:lnTo>
                      <a:pt x="239" y="167"/>
                    </a:lnTo>
                    <a:lnTo>
                      <a:pt x="237" y="167"/>
                    </a:lnTo>
                    <a:lnTo>
                      <a:pt x="237" y="166"/>
                    </a:lnTo>
                    <a:lnTo>
                      <a:pt x="236" y="166"/>
                    </a:lnTo>
                    <a:lnTo>
                      <a:pt x="235" y="165"/>
                    </a:lnTo>
                    <a:lnTo>
                      <a:pt x="234" y="165"/>
                    </a:lnTo>
                    <a:lnTo>
                      <a:pt x="233" y="165"/>
                    </a:lnTo>
                    <a:lnTo>
                      <a:pt x="233" y="163"/>
                    </a:lnTo>
                    <a:lnTo>
                      <a:pt x="232" y="163"/>
                    </a:lnTo>
                    <a:lnTo>
                      <a:pt x="230" y="163"/>
                    </a:lnTo>
                    <a:lnTo>
                      <a:pt x="229" y="165"/>
                    </a:lnTo>
                    <a:lnTo>
                      <a:pt x="228" y="165"/>
                    </a:lnTo>
                    <a:lnTo>
                      <a:pt x="227" y="165"/>
                    </a:lnTo>
                    <a:lnTo>
                      <a:pt x="226" y="165"/>
                    </a:lnTo>
                    <a:lnTo>
                      <a:pt x="224" y="165"/>
                    </a:lnTo>
                    <a:lnTo>
                      <a:pt x="223" y="165"/>
                    </a:lnTo>
                    <a:lnTo>
                      <a:pt x="222" y="165"/>
                    </a:lnTo>
                    <a:lnTo>
                      <a:pt x="220" y="165"/>
                    </a:lnTo>
                    <a:lnTo>
                      <a:pt x="219" y="165"/>
                    </a:lnTo>
                    <a:lnTo>
                      <a:pt x="217" y="166"/>
                    </a:lnTo>
                    <a:lnTo>
                      <a:pt x="216" y="166"/>
                    </a:lnTo>
                    <a:lnTo>
                      <a:pt x="216" y="167"/>
                    </a:lnTo>
                    <a:lnTo>
                      <a:pt x="215" y="168"/>
                    </a:lnTo>
                    <a:lnTo>
                      <a:pt x="214" y="169"/>
                    </a:lnTo>
                    <a:lnTo>
                      <a:pt x="213" y="170"/>
                    </a:lnTo>
                    <a:lnTo>
                      <a:pt x="213" y="171"/>
                    </a:lnTo>
                    <a:lnTo>
                      <a:pt x="211" y="172"/>
                    </a:lnTo>
                    <a:lnTo>
                      <a:pt x="211" y="174"/>
                    </a:lnTo>
                    <a:lnTo>
                      <a:pt x="211" y="175"/>
                    </a:lnTo>
                    <a:lnTo>
                      <a:pt x="213" y="176"/>
                    </a:lnTo>
                    <a:lnTo>
                      <a:pt x="213" y="179"/>
                    </a:lnTo>
                    <a:lnTo>
                      <a:pt x="214" y="179"/>
                    </a:lnTo>
                    <a:lnTo>
                      <a:pt x="214" y="180"/>
                    </a:lnTo>
                    <a:lnTo>
                      <a:pt x="216" y="180"/>
                    </a:lnTo>
                    <a:lnTo>
                      <a:pt x="216" y="181"/>
                    </a:lnTo>
                    <a:lnTo>
                      <a:pt x="217" y="181"/>
                    </a:lnTo>
                    <a:lnTo>
                      <a:pt x="217" y="182"/>
                    </a:lnTo>
                    <a:lnTo>
                      <a:pt x="216" y="183"/>
                    </a:lnTo>
                    <a:lnTo>
                      <a:pt x="216" y="186"/>
                    </a:lnTo>
                    <a:lnTo>
                      <a:pt x="217" y="187"/>
                    </a:lnTo>
                    <a:lnTo>
                      <a:pt x="216" y="187"/>
                    </a:lnTo>
                    <a:lnTo>
                      <a:pt x="216" y="188"/>
                    </a:lnTo>
                    <a:lnTo>
                      <a:pt x="215" y="189"/>
                    </a:lnTo>
                    <a:lnTo>
                      <a:pt x="215" y="192"/>
                    </a:lnTo>
                    <a:lnTo>
                      <a:pt x="215" y="196"/>
                    </a:lnTo>
                    <a:lnTo>
                      <a:pt x="215" y="200"/>
                    </a:lnTo>
                    <a:lnTo>
                      <a:pt x="215" y="205"/>
                    </a:lnTo>
                    <a:lnTo>
                      <a:pt x="215" y="211"/>
                    </a:lnTo>
                    <a:lnTo>
                      <a:pt x="215" y="217"/>
                    </a:lnTo>
                    <a:lnTo>
                      <a:pt x="216" y="220"/>
                    </a:lnTo>
                    <a:lnTo>
                      <a:pt x="216" y="224"/>
                    </a:lnTo>
                    <a:lnTo>
                      <a:pt x="217" y="229"/>
                    </a:lnTo>
                    <a:lnTo>
                      <a:pt x="219" y="232"/>
                    </a:lnTo>
                    <a:lnTo>
                      <a:pt x="222" y="236"/>
                    </a:lnTo>
                    <a:lnTo>
                      <a:pt x="224" y="239"/>
                    </a:lnTo>
                    <a:lnTo>
                      <a:pt x="228" y="243"/>
                    </a:lnTo>
                    <a:lnTo>
                      <a:pt x="232" y="246"/>
                    </a:lnTo>
                    <a:lnTo>
                      <a:pt x="235" y="250"/>
                    </a:lnTo>
                    <a:lnTo>
                      <a:pt x="237" y="252"/>
                    </a:lnTo>
                    <a:lnTo>
                      <a:pt x="240" y="256"/>
                    </a:lnTo>
                    <a:lnTo>
                      <a:pt x="241" y="258"/>
                    </a:lnTo>
                    <a:lnTo>
                      <a:pt x="243" y="261"/>
                    </a:lnTo>
                    <a:lnTo>
                      <a:pt x="244" y="261"/>
                    </a:lnTo>
                    <a:lnTo>
                      <a:pt x="244" y="263"/>
                    </a:lnTo>
                    <a:lnTo>
                      <a:pt x="246" y="266"/>
                    </a:lnTo>
                    <a:lnTo>
                      <a:pt x="247" y="270"/>
                    </a:lnTo>
                    <a:lnTo>
                      <a:pt x="247" y="272"/>
                    </a:lnTo>
                    <a:lnTo>
                      <a:pt x="247" y="274"/>
                    </a:lnTo>
                    <a:lnTo>
                      <a:pt x="246" y="276"/>
                    </a:lnTo>
                    <a:lnTo>
                      <a:pt x="245" y="277"/>
                    </a:lnTo>
                    <a:lnTo>
                      <a:pt x="243" y="279"/>
                    </a:lnTo>
                    <a:lnTo>
                      <a:pt x="241" y="283"/>
                    </a:lnTo>
                    <a:lnTo>
                      <a:pt x="239" y="285"/>
                    </a:lnTo>
                    <a:lnTo>
                      <a:pt x="235" y="285"/>
                    </a:lnTo>
                    <a:lnTo>
                      <a:pt x="228" y="285"/>
                    </a:lnTo>
                    <a:lnTo>
                      <a:pt x="226" y="285"/>
                    </a:lnTo>
                    <a:lnTo>
                      <a:pt x="224" y="285"/>
                    </a:lnTo>
                    <a:lnTo>
                      <a:pt x="223" y="285"/>
                    </a:lnTo>
                    <a:lnTo>
                      <a:pt x="222" y="285"/>
                    </a:lnTo>
                    <a:lnTo>
                      <a:pt x="220" y="284"/>
                    </a:lnTo>
                    <a:lnTo>
                      <a:pt x="219" y="283"/>
                    </a:lnTo>
                    <a:lnTo>
                      <a:pt x="216" y="282"/>
                    </a:lnTo>
                    <a:lnTo>
                      <a:pt x="215" y="281"/>
                    </a:lnTo>
                    <a:lnTo>
                      <a:pt x="214" y="279"/>
                    </a:lnTo>
                    <a:lnTo>
                      <a:pt x="213" y="277"/>
                    </a:lnTo>
                    <a:lnTo>
                      <a:pt x="211" y="277"/>
                    </a:lnTo>
                    <a:lnTo>
                      <a:pt x="210" y="275"/>
                    </a:lnTo>
                    <a:lnTo>
                      <a:pt x="209" y="274"/>
                    </a:lnTo>
                    <a:lnTo>
                      <a:pt x="208" y="271"/>
                    </a:lnTo>
                    <a:lnTo>
                      <a:pt x="207" y="270"/>
                    </a:lnTo>
                    <a:lnTo>
                      <a:pt x="206" y="266"/>
                    </a:lnTo>
                    <a:lnTo>
                      <a:pt x="205" y="264"/>
                    </a:lnTo>
                    <a:lnTo>
                      <a:pt x="205" y="263"/>
                    </a:lnTo>
                    <a:lnTo>
                      <a:pt x="204" y="260"/>
                    </a:lnTo>
                    <a:lnTo>
                      <a:pt x="204" y="258"/>
                    </a:lnTo>
                    <a:lnTo>
                      <a:pt x="203" y="256"/>
                    </a:lnTo>
                    <a:lnTo>
                      <a:pt x="203" y="255"/>
                    </a:lnTo>
                    <a:lnTo>
                      <a:pt x="202" y="252"/>
                    </a:lnTo>
                    <a:lnTo>
                      <a:pt x="202" y="250"/>
                    </a:lnTo>
                    <a:lnTo>
                      <a:pt x="202" y="248"/>
                    </a:lnTo>
                    <a:lnTo>
                      <a:pt x="202" y="247"/>
                    </a:lnTo>
                    <a:lnTo>
                      <a:pt x="202" y="246"/>
                    </a:lnTo>
                    <a:lnTo>
                      <a:pt x="203" y="245"/>
                    </a:lnTo>
                    <a:lnTo>
                      <a:pt x="203" y="244"/>
                    </a:lnTo>
                    <a:lnTo>
                      <a:pt x="203" y="243"/>
                    </a:lnTo>
                    <a:lnTo>
                      <a:pt x="202" y="242"/>
                    </a:lnTo>
                    <a:lnTo>
                      <a:pt x="201" y="239"/>
                    </a:lnTo>
                    <a:lnTo>
                      <a:pt x="201" y="238"/>
                    </a:lnTo>
                    <a:lnTo>
                      <a:pt x="201" y="237"/>
                    </a:lnTo>
                    <a:lnTo>
                      <a:pt x="200" y="236"/>
                    </a:lnTo>
                    <a:lnTo>
                      <a:pt x="198" y="236"/>
                    </a:lnTo>
                    <a:lnTo>
                      <a:pt x="196" y="236"/>
                    </a:lnTo>
                    <a:lnTo>
                      <a:pt x="193" y="238"/>
                    </a:lnTo>
                    <a:lnTo>
                      <a:pt x="192" y="239"/>
                    </a:lnTo>
                    <a:lnTo>
                      <a:pt x="190" y="240"/>
                    </a:lnTo>
                    <a:lnTo>
                      <a:pt x="185" y="243"/>
                    </a:lnTo>
                    <a:lnTo>
                      <a:pt x="182" y="246"/>
                    </a:lnTo>
                    <a:lnTo>
                      <a:pt x="181" y="249"/>
                    </a:lnTo>
                    <a:lnTo>
                      <a:pt x="179" y="252"/>
                    </a:lnTo>
                    <a:lnTo>
                      <a:pt x="178" y="257"/>
                    </a:lnTo>
                    <a:lnTo>
                      <a:pt x="178" y="261"/>
                    </a:lnTo>
                    <a:lnTo>
                      <a:pt x="179" y="263"/>
                    </a:lnTo>
                    <a:lnTo>
                      <a:pt x="180" y="266"/>
                    </a:lnTo>
                    <a:lnTo>
                      <a:pt x="182" y="271"/>
                    </a:lnTo>
                    <a:lnTo>
                      <a:pt x="183" y="276"/>
                    </a:lnTo>
                    <a:lnTo>
                      <a:pt x="184" y="275"/>
                    </a:lnTo>
                    <a:lnTo>
                      <a:pt x="185" y="274"/>
                    </a:lnTo>
                    <a:lnTo>
                      <a:pt x="187" y="273"/>
                    </a:lnTo>
                    <a:lnTo>
                      <a:pt x="188" y="272"/>
                    </a:lnTo>
                    <a:lnTo>
                      <a:pt x="189" y="271"/>
                    </a:lnTo>
                    <a:lnTo>
                      <a:pt x="191" y="270"/>
                    </a:lnTo>
                    <a:lnTo>
                      <a:pt x="192" y="270"/>
                    </a:lnTo>
                    <a:lnTo>
                      <a:pt x="193" y="270"/>
                    </a:lnTo>
                    <a:lnTo>
                      <a:pt x="195" y="272"/>
                    </a:lnTo>
                    <a:lnTo>
                      <a:pt x="197" y="272"/>
                    </a:lnTo>
                    <a:lnTo>
                      <a:pt x="197" y="273"/>
                    </a:lnTo>
                    <a:lnTo>
                      <a:pt x="196" y="275"/>
                    </a:lnTo>
                    <a:lnTo>
                      <a:pt x="195" y="276"/>
                    </a:lnTo>
                    <a:lnTo>
                      <a:pt x="195" y="277"/>
                    </a:lnTo>
                    <a:lnTo>
                      <a:pt x="195" y="279"/>
                    </a:lnTo>
                    <a:lnTo>
                      <a:pt x="195" y="282"/>
                    </a:lnTo>
                    <a:lnTo>
                      <a:pt x="195" y="283"/>
                    </a:lnTo>
                    <a:lnTo>
                      <a:pt x="195" y="284"/>
                    </a:lnTo>
                    <a:lnTo>
                      <a:pt x="195" y="285"/>
                    </a:lnTo>
                    <a:lnTo>
                      <a:pt x="194" y="285"/>
                    </a:lnTo>
                    <a:lnTo>
                      <a:pt x="194" y="286"/>
                    </a:lnTo>
                    <a:lnTo>
                      <a:pt x="194" y="287"/>
                    </a:lnTo>
                    <a:lnTo>
                      <a:pt x="194" y="288"/>
                    </a:lnTo>
                    <a:lnTo>
                      <a:pt x="195" y="289"/>
                    </a:lnTo>
                    <a:lnTo>
                      <a:pt x="195" y="290"/>
                    </a:lnTo>
                    <a:lnTo>
                      <a:pt x="195" y="293"/>
                    </a:lnTo>
                    <a:lnTo>
                      <a:pt x="196" y="294"/>
                    </a:lnTo>
                    <a:lnTo>
                      <a:pt x="196" y="295"/>
                    </a:lnTo>
                    <a:lnTo>
                      <a:pt x="196" y="296"/>
                    </a:lnTo>
                    <a:lnTo>
                      <a:pt x="195" y="297"/>
                    </a:lnTo>
                    <a:lnTo>
                      <a:pt x="195" y="298"/>
                    </a:lnTo>
                    <a:lnTo>
                      <a:pt x="196" y="299"/>
                    </a:lnTo>
                    <a:lnTo>
                      <a:pt x="197" y="300"/>
                    </a:lnTo>
                    <a:lnTo>
                      <a:pt x="200" y="302"/>
                    </a:lnTo>
                    <a:lnTo>
                      <a:pt x="202" y="303"/>
                    </a:lnTo>
                    <a:lnTo>
                      <a:pt x="204" y="304"/>
                    </a:lnTo>
                    <a:lnTo>
                      <a:pt x="205" y="304"/>
                    </a:lnTo>
                    <a:lnTo>
                      <a:pt x="205" y="307"/>
                    </a:lnTo>
                    <a:lnTo>
                      <a:pt x="205" y="308"/>
                    </a:lnTo>
                    <a:lnTo>
                      <a:pt x="206" y="309"/>
                    </a:lnTo>
                    <a:lnTo>
                      <a:pt x="208" y="310"/>
                    </a:lnTo>
                    <a:lnTo>
                      <a:pt x="209" y="311"/>
                    </a:lnTo>
                    <a:lnTo>
                      <a:pt x="211" y="313"/>
                    </a:lnTo>
                    <a:lnTo>
                      <a:pt x="213" y="314"/>
                    </a:lnTo>
                    <a:lnTo>
                      <a:pt x="214" y="314"/>
                    </a:lnTo>
                    <a:lnTo>
                      <a:pt x="215" y="315"/>
                    </a:lnTo>
                    <a:lnTo>
                      <a:pt x="216" y="316"/>
                    </a:lnTo>
                    <a:lnTo>
                      <a:pt x="217" y="317"/>
                    </a:lnTo>
                    <a:lnTo>
                      <a:pt x="218" y="319"/>
                    </a:lnTo>
                    <a:lnTo>
                      <a:pt x="219" y="320"/>
                    </a:lnTo>
                    <a:lnTo>
                      <a:pt x="220" y="321"/>
                    </a:lnTo>
                    <a:lnTo>
                      <a:pt x="221" y="323"/>
                    </a:lnTo>
                    <a:lnTo>
                      <a:pt x="221" y="325"/>
                    </a:lnTo>
                    <a:lnTo>
                      <a:pt x="220" y="329"/>
                    </a:lnTo>
                    <a:lnTo>
                      <a:pt x="220" y="332"/>
                    </a:lnTo>
                    <a:lnTo>
                      <a:pt x="220" y="335"/>
                    </a:lnTo>
                    <a:lnTo>
                      <a:pt x="220" y="338"/>
                    </a:lnTo>
                    <a:lnTo>
                      <a:pt x="219" y="340"/>
                    </a:lnTo>
                    <a:lnTo>
                      <a:pt x="218" y="343"/>
                    </a:lnTo>
                    <a:lnTo>
                      <a:pt x="216" y="348"/>
                    </a:lnTo>
                    <a:lnTo>
                      <a:pt x="215" y="349"/>
                    </a:lnTo>
                    <a:lnTo>
                      <a:pt x="211" y="351"/>
                    </a:lnTo>
                    <a:lnTo>
                      <a:pt x="210" y="351"/>
                    </a:lnTo>
                    <a:lnTo>
                      <a:pt x="207" y="353"/>
                    </a:lnTo>
                    <a:lnTo>
                      <a:pt x="205" y="354"/>
                    </a:lnTo>
                    <a:lnTo>
                      <a:pt x="203" y="355"/>
                    </a:lnTo>
                    <a:lnTo>
                      <a:pt x="196" y="358"/>
                    </a:lnTo>
                    <a:lnTo>
                      <a:pt x="193" y="359"/>
                    </a:lnTo>
                    <a:lnTo>
                      <a:pt x="190" y="359"/>
                    </a:lnTo>
                    <a:lnTo>
                      <a:pt x="187" y="359"/>
                    </a:lnTo>
                    <a:lnTo>
                      <a:pt x="183" y="360"/>
                    </a:lnTo>
                    <a:lnTo>
                      <a:pt x="180" y="360"/>
                    </a:lnTo>
                    <a:lnTo>
                      <a:pt x="171" y="359"/>
                    </a:lnTo>
                    <a:lnTo>
                      <a:pt x="169" y="358"/>
                    </a:lnTo>
                    <a:lnTo>
                      <a:pt x="167" y="358"/>
                    </a:lnTo>
                    <a:lnTo>
                      <a:pt x="164" y="356"/>
                    </a:lnTo>
                    <a:lnTo>
                      <a:pt x="161" y="356"/>
                    </a:lnTo>
                    <a:lnTo>
                      <a:pt x="156" y="355"/>
                    </a:lnTo>
                    <a:lnTo>
                      <a:pt x="154" y="355"/>
                    </a:lnTo>
                    <a:lnTo>
                      <a:pt x="151" y="354"/>
                    </a:lnTo>
                    <a:lnTo>
                      <a:pt x="149" y="355"/>
                    </a:lnTo>
                    <a:lnTo>
                      <a:pt x="144" y="354"/>
                    </a:lnTo>
                    <a:lnTo>
                      <a:pt x="141" y="354"/>
                    </a:lnTo>
                    <a:lnTo>
                      <a:pt x="139" y="355"/>
                    </a:lnTo>
                    <a:lnTo>
                      <a:pt x="138" y="356"/>
                    </a:lnTo>
                    <a:lnTo>
                      <a:pt x="137" y="358"/>
                    </a:lnTo>
                    <a:lnTo>
                      <a:pt x="135" y="359"/>
                    </a:lnTo>
                    <a:lnTo>
                      <a:pt x="133" y="360"/>
                    </a:lnTo>
                    <a:lnTo>
                      <a:pt x="133" y="361"/>
                    </a:lnTo>
                    <a:lnTo>
                      <a:pt x="132" y="362"/>
                    </a:lnTo>
                    <a:lnTo>
                      <a:pt x="131" y="363"/>
                    </a:lnTo>
                    <a:lnTo>
                      <a:pt x="131" y="365"/>
                    </a:lnTo>
                    <a:lnTo>
                      <a:pt x="130" y="366"/>
                    </a:lnTo>
                    <a:lnTo>
                      <a:pt x="131" y="367"/>
                    </a:lnTo>
                    <a:lnTo>
                      <a:pt x="132" y="373"/>
                    </a:lnTo>
                    <a:lnTo>
                      <a:pt x="135" y="375"/>
                    </a:lnTo>
                    <a:lnTo>
                      <a:pt x="137" y="378"/>
                    </a:lnTo>
                    <a:lnTo>
                      <a:pt x="140" y="380"/>
                    </a:lnTo>
                    <a:lnTo>
                      <a:pt x="144" y="381"/>
                    </a:lnTo>
                    <a:lnTo>
                      <a:pt x="149" y="385"/>
                    </a:lnTo>
                    <a:lnTo>
                      <a:pt x="153" y="388"/>
                    </a:lnTo>
                    <a:lnTo>
                      <a:pt x="154" y="389"/>
                    </a:lnTo>
                    <a:lnTo>
                      <a:pt x="156" y="390"/>
                    </a:lnTo>
                    <a:lnTo>
                      <a:pt x="158" y="392"/>
                    </a:lnTo>
                    <a:lnTo>
                      <a:pt x="159" y="393"/>
                    </a:lnTo>
                    <a:lnTo>
                      <a:pt x="162" y="396"/>
                    </a:lnTo>
                    <a:lnTo>
                      <a:pt x="164" y="398"/>
                    </a:lnTo>
                    <a:lnTo>
                      <a:pt x="167" y="402"/>
                    </a:lnTo>
                    <a:lnTo>
                      <a:pt x="170" y="407"/>
                    </a:lnTo>
                    <a:lnTo>
                      <a:pt x="170" y="410"/>
                    </a:lnTo>
                    <a:lnTo>
                      <a:pt x="171" y="411"/>
                    </a:lnTo>
                    <a:lnTo>
                      <a:pt x="171" y="414"/>
                    </a:lnTo>
                    <a:lnTo>
                      <a:pt x="171" y="417"/>
                    </a:lnTo>
                    <a:lnTo>
                      <a:pt x="171" y="418"/>
                    </a:lnTo>
                    <a:lnTo>
                      <a:pt x="170" y="420"/>
                    </a:lnTo>
                    <a:lnTo>
                      <a:pt x="169" y="423"/>
                    </a:lnTo>
                    <a:lnTo>
                      <a:pt x="166" y="429"/>
                    </a:lnTo>
                    <a:lnTo>
                      <a:pt x="165" y="432"/>
                    </a:lnTo>
                    <a:lnTo>
                      <a:pt x="162" y="436"/>
                    </a:lnTo>
                    <a:lnTo>
                      <a:pt x="159" y="439"/>
                    </a:lnTo>
                    <a:lnTo>
                      <a:pt x="158" y="441"/>
                    </a:lnTo>
                    <a:lnTo>
                      <a:pt x="151" y="449"/>
                    </a:lnTo>
                    <a:lnTo>
                      <a:pt x="150" y="451"/>
                    </a:lnTo>
                    <a:lnTo>
                      <a:pt x="149" y="452"/>
                    </a:lnTo>
                    <a:lnTo>
                      <a:pt x="149" y="453"/>
                    </a:lnTo>
                    <a:lnTo>
                      <a:pt x="149" y="454"/>
                    </a:lnTo>
                    <a:lnTo>
                      <a:pt x="149" y="457"/>
                    </a:lnTo>
                    <a:lnTo>
                      <a:pt x="149" y="462"/>
                    </a:lnTo>
                    <a:lnTo>
                      <a:pt x="149" y="463"/>
                    </a:lnTo>
                    <a:lnTo>
                      <a:pt x="149" y="464"/>
                    </a:lnTo>
                    <a:lnTo>
                      <a:pt x="151" y="466"/>
                    </a:lnTo>
                    <a:lnTo>
                      <a:pt x="151" y="467"/>
                    </a:lnTo>
                    <a:lnTo>
                      <a:pt x="153" y="469"/>
                    </a:lnTo>
                    <a:lnTo>
                      <a:pt x="155" y="471"/>
                    </a:lnTo>
                    <a:lnTo>
                      <a:pt x="158" y="474"/>
                    </a:lnTo>
                    <a:lnTo>
                      <a:pt x="161" y="476"/>
                    </a:lnTo>
                    <a:lnTo>
                      <a:pt x="163" y="477"/>
                    </a:lnTo>
                    <a:lnTo>
                      <a:pt x="165" y="478"/>
                    </a:lnTo>
                    <a:lnTo>
                      <a:pt x="168" y="481"/>
                    </a:lnTo>
                    <a:lnTo>
                      <a:pt x="171" y="484"/>
                    </a:lnTo>
                    <a:lnTo>
                      <a:pt x="172" y="487"/>
                    </a:lnTo>
                    <a:lnTo>
                      <a:pt x="176" y="489"/>
                    </a:lnTo>
                    <a:lnTo>
                      <a:pt x="178" y="491"/>
                    </a:lnTo>
                    <a:lnTo>
                      <a:pt x="181" y="493"/>
                    </a:lnTo>
                    <a:lnTo>
                      <a:pt x="184" y="496"/>
                    </a:lnTo>
                    <a:lnTo>
                      <a:pt x="187" y="499"/>
                    </a:lnTo>
                    <a:lnTo>
                      <a:pt x="188" y="503"/>
                    </a:lnTo>
                    <a:lnTo>
                      <a:pt x="189" y="505"/>
                    </a:lnTo>
                    <a:lnTo>
                      <a:pt x="189" y="507"/>
                    </a:lnTo>
                    <a:lnTo>
                      <a:pt x="189" y="510"/>
                    </a:lnTo>
                    <a:lnTo>
                      <a:pt x="188" y="514"/>
                    </a:lnTo>
                    <a:lnTo>
                      <a:pt x="188" y="516"/>
                    </a:lnTo>
                    <a:lnTo>
                      <a:pt x="187" y="518"/>
                    </a:lnTo>
                    <a:lnTo>
                      <a:pt x="184" y="520"/>
                    </a:lnTo>
                    <a:lnTo>
                      <a:pt x="183" y="523"/>
                    </a:lnTo>
                    <a:lnTo>
                      <a:pt x="182" y="525"/>
                    </a:lnTo>
                    <a:lnTo>
                      <a:pt x="180" y="528"/>
                    </a:lnTo>
                    <a:lnTo>
                      <a:pt x="178" y="529"/>
                    </a:lnTo>
                    <a:lnTo>
                      <a:pt x="174" y="532"/>
                    </a:lnTo>
                    <a:lnTo>
                      <a:pt x="170" y="534"/>
                    </a:lnTo>
                    <a:lnTo>
                      <a:pt x="167" y="535"/>
                    </a:lnTo>
                    <a:lnTo>
                      <a:pt x="161" y="539"/>
                    </a:lnTo>
                    <a:lnTo>
                      <a:pt x="156" y="540"/>
                    </a:lnTo>
                    <a:lnTo>
                      <a:pt x="153" y="541"/>
                    </a:lnTo>
                    <a:lnTo>
                      <a:pt x="150" y="542"/>
                    </a:lnTo>
                    <a:lnTo>
                      <a:pt x="149" y="543"/>
                    </a:lnTo>
                    <a:lnTo>
                      <a:pt x="142" y="546"/>
                    </a:lnTo>
                    <a:lnTo>
                      <a:pt x="140" y="548"/>
                    </a:lnTo>
                    <a:lnTo>
                      <a:pt x="140" y="550"/>
                    </a:lnTo>
                    <a:lnTo>
                      <a:pt x="139" y="551"/>
                    </a:lnTo>
                    <a:lnTo>
                      <a:pt x="139" y="552"/>
                    </a:lnTo>
                    <a:lnTo>
                      <a:pt x="138" y="553"/>
                    </a:lnTo>
                    <a:lnTo>
                      <a:pt x="136" y="556"/>
                    </a:lnTo>
                    <a:lnTo>
                      <a:pt x="136" y="557"/>
                    </a:lnTo>
                    <a:lnTo>
                      <a:pt x="135" y="558"/>
                    </a:lnTo>
                    <a:lnTo>
                      <a:pt x="133" y="559"/>
                    </a:lnTo>
                    <a:lnTo>
                      <a:pt x="131" y="561"/>
                    </a:lnTo>
                    <a:lnTo>
                      <a:pt x="130" y="563"/>
                    </a:lnTo>
                    <a:lnTo>
                      <a:pt x="129" y="564"/>
                    </a:lnTo>
                    <a:lnTo>
                      <a:pt x="129" y="565"/>
                    </a:lnTo>
                    <a:lnTo>
                      <a:pt x="128" y="567"/>
                    </a:lnTo>
                    <a:lnTo>
                      <a:pt x="127" y="567"/>
                    </a:lnTo>
                    <a:lnTo>
                      <a:pt x="126" y="568"/>
                    </a:lnTo>
                    <a:lnTo>
                      <a:pt x="126" y="567"/>
                    </a:lnTo>
                    <a:lnTo>
                      <a:pt x="126" y="565"/>
                    </a:lnTo>
                    <a:lnTo>
                      <a:pt x="126" y="563"/>
                    </a:lnTo>
                    <a:lnTo>
                      <a:pt x="126" y="561"/>
                    </a:lnTo>
                    <a:lnTo>
                      <a:pt x="126" y="557"/>
                    </a:lnTo>
                    <a:lnTo>
                      <a:pt x="126" y="556"/>
                    </a:lnTo>
                    <a:lnTo>
                      <a:pt x="127" y="554"/>
                    </a:lnTo>
                    <a:lnTo>
                      <a:pt x="129" y="552"/>
                    </a:lnTo>
                    <a:lnTo>
                      <a:pt x="129" y="551"/>
                    </a:lnTo>
                    <a:lnTo>
                      <a:pt x="129" y="548"/>
                    </a:lnTo>
                    <a:lnTo>
                      <a:pt x="129" y="546"/>
                    </a:lnTo>
                    <a:lnTo>
                      <a:pt x="129" y="545"/>
                    </a:lnTo>
                    <a:lnTo>
                      <a:pt x="130" y="543"/>
                    </a:lnTo>
                    <a:lnTo>
                      <a:pt x="131" y="541"/>
                    </a:lnTo>
                    <a:lnTo>
                      <a:pt x="132" y="538"/>
                    </a:lnTo>
                    <a:lnTo>
                      <a:pt x="133" y="536"/>
                    </a:lnTo>
                    <a:lnTo>
                      <a:pt x="136" y="533"/>
                    </a:lnTo>
                    <a:lnTo>
                      <a:pt x="137" y="531"/>
                    </a:lnTo>
                    <a:lnTo>
                      <a:pt x="138" y="530"/>
                    </a:lnTo>
                    <a:lnTo>
                      <a:pt x="138" y="529"/>
                    </a:lnTo>
                    <a:lnTo>
                      <a:pt x="137" y="527"/>
                    </a:lnTo>
                    <a:lnTo>
                      <a:pt x="137" y="526"/>
                    </a:lnTo>
                    <a:lnTo>
                      <a:pt x="136" y="522"/>
                    </a:lnTo>
                    <a:lnTo>
                      <a:pt x="135" y="521"/>
                    </a:lnTo>
                    <a:lnTo>
                      <a:pt x="135" y="520"/>
                    </a:lnTo>
                    <a:lnTo>
                      <a:pt x="133" y="519"/>
                    </a:lnTo>
                    <a:lnTo>
                      <a:pt x="132" y="518"/>
                    </a:lnTo>
                    <a:lnTo>
                      <a:pt x="131" y="517"/>
                    </a:lnTo>
                    <a:lnTo>
                      <a:pt x="130" y="516"/>
                    </a:lnTo>
                    <a:lnTo>
                      <a:pt x="128" y="515"/>
                    </a:lnTo>
                    <a:lnTo>
                      <a:pt x="127" y="515"/>
                    </a:lnTo>
                    <a:lnTo>
                      <a:pt x="126" y="515"/>
                    </a:lnTo>
                    <a:lnTo>
                      <a:pt x="125" y="515"/>
                    </a:lnTo>
                    <a:lnTo>
                      <a:pt x="123" y="515"/>
                    </a:lnTo>
                    <a:lnTo>
                      <a:pt x="120" y="515"/>
                    </a:lnTo>
                    <a:lnTo>
                      <a:pt x="118" y="515"/>
                    </a:lnTo>
                    <a:lnTo>
                      <a:pt x="116" y="515"/>
                    </a:lnTo>
                    <a:lnTo>
                      <a:pt x="114" y="515"/>
                    </a:lnTo>
                    <a:lnTo>
                      <a:pt x="113" y="515"/>
                    </a:lnTo>
                    <a:lnTo>
                      <a:pt x="112" y="516"/>
                    </a:lnTo>
                    <a:lnTo>
                      <a:pt x="110" y="517"/>
                    </a:lnTo>
                    <a:lnTo>
                      <a:pt x="107" y="517"/>
                    </a:lnTo>
                    <a:lnTo>
                      <a:pt x="107" y="518"/>
                    </a:lnTo>
                    <a:lnTo>
                      <a:pt x="106" y="518"/>
                    </a:lnTo>
                    <a:lnTo>
                      <a:pt x="105" y="518"/>
                    </a:lnTo>
                    <a:lnTo>
                      <a:pt x="104" y="518"/>
                    </a:lnTo>
                    <a:lnTo>
                      <a:pt x="103" y="518"/>
                    </a:lnTo>
                    <a:lnTo>
                      <a:pt x="102" y="518"/>
                    </a:lnTo>
                    <a:lnTo>
                      <a:pt x="100" y="518"/>
                    </a:lnTo>
                    <a:lnTo>
                      <a:pt x="99" y="517"/>
                    </a:lnTo>
                    <a:lnTo>
                      <a:pt x="98" y="517"/>
                    </a:lnTo>
                    <a:lnTo>
                      <a:pt x="95" y="517"/>
                    </a:lnTo>
                    <a:lnTo>
                      <a:pt x="94" y="517"/>
                    </a:lnTo>
                    <a:lnTo>
                      <a:pt x="92" y="517"/>
                    </a:lnTo>
                    <a:lnTo>
                      <a:pt x="91" y="517"/>
                    </a:lnTo>
                    <a:lnTo>
                      <a:pt x="90" y="517"/>
                    </a:lnTo>
                    <a:lnTo>
                      <a:pt x="90" y="516"/>
                    </a:lnTo>
                    <a:lnTo>
                      <a:pt x="89" y="516"/>
                    </a:lnTo>
                    <a:lnTo>
                      <a:pt x="89" y="515"/>
                    </a:lnTo>
                    <a:lnTo>
                      <a:pt x="90" y="510"/>
                    </a:lnTo>
                    <a:lnTo>
                      <a:pt x="93" y="504"/>
                    </a:lnTo>
                    <a:lnTo>
                      <a:pt x="95" y="497"/>
                    </a:lnTo>
                    <a:lnTo>
                      <a:pt x="97" y="496"/>
                    </a:lnTo>
                    <a:lnTo>
                      <a:pt x="97" y="494"/>
                    </a:lnTo>
                    <a:lnTo>
                      <a:pt x="98" y="493"/>
                    </a:lnTo>
                    <a:lnTo>
                      <a:pt x="98" y="492"/>
                    </a:lnTo>
                    <a:lnTo>
                      <a:pt x="97" y="490"/>
                    </a:lnTo>
                    <a:lnTo>
                      <a:pt x="94" y="490"/>
                    </a:lnTo>
                    <a:lnTo>
                      <a:pt x="92" y="488"/>
                    </a:lnTo>
                    <a:lnTo>
                      <a:pt x="91" y="488"/>
                    </a:lnTo>
                    <a:lnTo>
                      <a:pt x="91" y="486"/>
                    </a:lnTo>
                    <a:lnTo>
                      <a:pt x="91" y="483"/>
                    </a:lnTo>
                    <a:lnTo>
                      <a:pt x="91" y="482"/>
                    </a:lnTo>
                    <a:lnTo>
                      <a:pt x="92" y="481"/>
                    </a:lnTo>
                    <a:lnTo>
                      <a:pt x="93" y="480"/>
                    </a:lnTo>
                    <a:lnTo>
                      <a:pt x="94" y="479"/>
                    </a:lnTo>
                    <a:lnTo>
                      <a:pt x="95" y="478"/>
                    </a:lnTo>
                    <a:lnTo>
                      <a:pt x="97" y="478"/>
                    </a:lnTo>
                    <a:lnTo>
                      <a:pt x="98" y="477"/>
                    </a:lnTo>
                    <a:lnTo>
                      <a:pt x="99" y="477"/>
                    </a:lnTo>
                    <a:lnTo>
                      <a:pt x="100" y="476"/>
                    </a:lnTo>
                    <a:lnTo>
                      <a:pt x="101" y="473"/>
                    </a:lnTo>
                    <a:lnTo>
                      <a:pt x="101" y="470"/>
                    </a:lnTo>
                    <a:lnTo>
                      <a:pt x="101" y="468"/>
                    </a:lnTo>
                    <a:lnTo>
                      <a:pt x="101" y="467"/>
                    </a:lnTo>
                    <a:lnTo>
                      <a:pt x="100" y="465"/>
                    </a:lnTo>
                    <a:lnTo>
                      <a:pt x="99" y="464"/>
                    </a:lnTo>
                    <a:lnTo>
                      <a:pt x="97" y="464"/>
                    </a:lnTo>
                    <a:lnTo>
                      <a:pt x="94" y="463"/>
                    </a:lnTo>
                    <a:lnTo>
                      <a:pt x="93" y="463"/>
                    </a:lnTo>
                    <a:lnTo>
                      <a:pt x="92" y="462"/>
                    </a:lnTo>
                    <a:lnTo>
                      <a:pt x="92" y="458"/>
                    </a:lnTo>
                    <a:lnTo>
                      <a:pt x="91" y="457"/>
                    </a:lnTo>
                    <a:lnTo>
                      <a:pt x="91" y="454"/>
                    </a:lnTo>
                    <a:lnTo>
                      <a:pt x="91" y="452"/>
                    </a:lnTo>
                    <a:lnTo>
                      <a:pt x="91" y="450"/>
                    </a:lnTo>
                    <a:lnTo>
                      <a:pt x="92" y="446"/>
                    </a:lnTo>
                    <a:lnTo>
                      <a:pt x="94" y="442"/>
                    </a:lnTo>
                    <a:lnTo>
                      <a:pt x="95" y="441"/>
                    </a:lnTo>
                    <a:lnTo>
                      <a:pt x="95" y="439"/>
                    </a:lnTo>
                    <a:lnTo>
                      <a:pt x="97" y="438"/>
                    </a:lnTo>
                    <a:lnTo>
                      <a:pt x="98" y="437"/>
                    </a:lnTo>
                    <a:lnTo>
                      <a:pt x="99" y="435"/>
                    </a:lnTo>
                    <a:lnTo>
                      <a:pt x="100" y="432"/>
                    </a:lnTo>
                    <a:lnTo>
                      <a:pt x="102" y="430"/>
                    </a:lnTo>
                    <a:lnTo>
                      <a:pt x="103" y="430"/>
                    </a:lnTo>
                    <a:lnTo>
                      <a:pt x="105" y="429"/>
                    </a:lnTo>
                    <a:lnTo>
                      <a:pt x="108" y="430"/>
                    </a:lnTo>
                    <a:lnTo>
                      <a:pt x="111" y="430"/>
                    </a:lnTo>
                    <a:lnTo>
                      <a:pt x="112" y="430"/>
                    </a:lnTo>
                    <a:lnTo>
                      <a:pt x="113" y="430"/>
                    </a:lnTo>
                    <a:lnTo>
                      <a:pt x="114" y="428"/>
                    </a:lnTo>
                    <a:lnTo>
                      <a:pt x="114" y="427"/>
                    </a:lnTo>
                    <a:lnTo>
                      <a:pt x="114" y="424"/>
                    </a:lnTo>
                    <a:lnTo>
                      <a:pt x="113" y="422"/>
                    </a:lnTo>
                    <a:lnTo>
                      <a:pt x="113" y="419"/>
                    </a:lnTo>
                    <a:lnTo>
                      <a:pt x="114" y="418"/>
                    </a:lnTo>
                    <a:lnTo>
                      <a:pt x="115" y="416"/>
                    </a:lnTo>
                    <a:lnTo>
                      <a:pt x="116" y="415"/>
                    </a:lnTo>
                    <a:lnTo>
                      <a:pt x="117" y="414"/>
                    </a:lnTo>
                    <a:lnTo>
                      <a:pt x="117" y="413"/>
                    </a:lnTo>
                    <a:lnTo>
                      <a:pt x="117" y="412"/>
                    </a:lnTo>
                    <a:lnTo>
                      <a:pt x="116" y="412"/>
                    </a:lnTo>
                    <a:lnTo>
                      <a:pt x="115" y="411"/>
                    </a:lnTo>
                    <a:lnTo>
                      <a:pt x="114" y="410"/>
                    </a:lnTo>
                    <a:lnTo>
                      <a:pt x="113" y="405"/>
                    </a:lnTo>
                    <a:lnTo>
                      <a:pt x="112" y="404"/>
                    </a:lnTo>
                    <a:lnTo>
                      <a:pt x="111" y="403"/>
                    </a:lnTo>
                    <a:lnTo>
                      <a:pt x="108" y="402"/>
                    </a:lnTo>
                    <a:lnTo>
                      <a:pt x="107" y="401"/>
                    </a:lnTo>
                    <a:lnTo>
                      <a:pt x="104" y="400"/>
                    </a:lnTo>
                    <a:lnTo>
                      <a:pt x="103" y="400"/>
                    </a:lnTo>
                    <a:lnTo>
                      <a:pt x="102" y="399"/>
                    </a:lnTo>
                    <a:lnTo>
                      <a:pt x="101" y="398"/>
                    </a:lnTo>
                    <a:lnTo>
                      <a:pt x="100" y="397"/>
                    </a:lnTo>
                    <a:lnTo>
                      <a:pt x="98" y="397"/>
                    </a:lnTo>
                    <a:lnTo>
                      <a:pt x="97" y="398"/>
                    </a:lnTo>
                    <a:lnTo>
                      <a:pt x="94" y="399"/>
                    </a:lnTo>
                    <a:lnTo>
                      <a:pt x="93" y="400"/>
                    </a:lnTo>
                    <a:lnTo>
                      <a:pt x="92" y="401"/>
                    </a:lnTo>
                    <a:lnTo>
                      <a:pt x="91" y="402"/>
                    </a:lnTo>
                    <a:lnTo>
                      <a:pt x="90" y="403"/>
                    </a:lnTo>
                    <a:lnTo>
                      <a:pt x="89" y="403"/>
                    </a:lnTo>
                    <a:lnTo>
                      <a:pt x="87" y="402"/>
                    </a:lnTo>
                    <a:lnTo>
                      <a:pt x="85" y="402"/>
                    </a:lnTo>
                    <a:lnTo>
                      <a:pt x="84" y="401"/>
                    </a:lnTo>
                    <a:lnTo>
                      <a:pt x="81" y="401"/>
                    </a:lnTo>
                    <a:lnTo>
                      <a:pt x="79" y="401"/>
                    </a:lnTo>
                    <a:lnTo>
                      <a:pt x="78" y="400"/>
                    </a:lnTo>
                    <a:lnTo>
                      <a:pt x="77" y="399"/>
                    </a:lnTo>
                    <a:lnTo>
                      <a:pt x="76" y="396"/>
                    </a:lnTo>
                    <a:lnTo>
                      <a:pt x="76" y="394"/>
                    </a:lnTo>
                    <a:lnTo>
                      <a:pt x="76" y="393"/>
                    </a:lnTo>
                    <a:lnTo>
                      <a:pt x="75" y="393"/>
                    </a:lnTo>
                    <a:lnTo>
                      <a:pt x="74" y="392"/>
                    </a:lnTo>
                    <a:lnTo>
                      <a:pt x="73" y="391"/>
                    </a:lnTo>
                    <a:lnTo>
                      <a:pt x="67" y="387"/>
                    </a:lnTo>
                    <a:lnTo>
                      <a:pt x="65" y="387"/>
                    </a:lnTo>
                    <a:lnTo>
                      <a:pt x="63" y="387"/>
                    </a:lnTo>
                    <a:lnTo>
                      <a:pt x="61" y="387"/>
                    </a:lnTo>
                    <a:lnTo>
                      <a:pt x="58" y="388"/>
                    </a:lnTo>
                    <a:lnTo>
                      <a:pt x="55" y="388"/>
                    </a:lnTo>
                    <a:lnTo>
                      <a:pt x="52" y="387"/>
                    </a:lnTo>
                    <a:lnTo>
                      <a:pt x="50" y="386"/>
                    </a:lnTo>
                    <a:lnTo>
                      <a:pt x="47" y="385"/>
                    </a:lnTo>
                    <a:lnTo>
                      <a:pt x="46" y="384"/>
                    </a:lnTo>
                    <a:lnTo>
                      <a:pt x="45" y="383"/>
                    </a:lnTo>
                    <a:lnTo>
                      <a:pt x="42" y="380"/>
                    </a:lnTo>
                    <a:lnTo>
                      <a:pt x="40" y="379"/>
                    </a:lnTo>
                    <a:lnTo>
                      <a:pt x="38" y="378"/>
                    </a:lnTo>
                    <a:lnTo>
                      <a:pt x="35" y="377"/>
                    </a:lnTo>
                    <a:lnTo>
                      <a:pt x="34" y="375"/>
                    </a:lnTo>
                    <a:lnTo>
                      <a:pt x="33" y="374"/>
                    </a:lnTo>
                    <a:lnTo>
                      <a:pt x="33" y="372"/>
                    </a:lnTo>
                    <a:lnTo>
                      <a:pt x="34" y="369"/>
                    </a:lnTo>
                    <a:lnTo>
                      <a:pt x="34" y="368"/>
                    </a:lnTo>
                    <a:lnTo>
                      <a:pt x="34" y="367"/>
                    </a:lnTo>
                    <a:lnTo>
                      <a:pt x="33" y="366"/>
                    </a:lnTo>
                    <a:lnTo>
                      <a:pt x="30" y="365"/>
                    </a:lnTo>
                    <a:lnTo>
                      <a:pt x="28" y="365"/>
                    </a:lnTo>
                    <a:lnTo>
                      <a:pt x="27" y="364"/>
                    </a:lnTo>
                    <a:lnTo>
                      <a:pt x="26" y="363"/>
                    </a:lnTo>
                    <a:lnTo>
                      <a:pt x="25" y="362"/>
                    </a:lnTo>
                    <a:lnTo>
                      <a:pt x="24" y="361"/>
                    </a:lnTo>
                    <a:lnTo>
                      <a:pt x="23" y="359"/>
                    </a:lnTo>
                    <a:lnTo>
                      <a:pt x="22" y="358"/>
                    </a:lnTo>
                    <a:lnTo>
                      <a:pt x="21" y="355"/>
                    </a:lnTo>
                    <a:lnTo>
                      <a:pt x="22" y="355"/>
                    </a:lnTo>
                    <a:lnTo>
                      <a:pt x="25" y="351"/>
                    </a:lnTo>
                    <a:lnTo>
                      <a:pt x="26" y="350"/>
                    </a:lnTo>
                    <a:lnTo>
                      <a:pt x="27" y="348"/>
                    </a:lnTo>
                    <a:lnTo>
                      <a:pt x="28" y="347"/>
                    </a:lnTo>
                    <a:lnTo>
                      <a:pt x="28" y="342"/>
                    </a:lnTo>
                    <a:lnTo>
                      <a:pt x="28" y="340"/>
                    </a:lnTo>
                    <a:lnTo>
                      <a:pt x="28" y="338"/>
                    </a:lnTo>
                    <a:lnTo>
                      <a:pt x="27" y="337"/>
                    </a:lnTo>
                    <a:lnTo>
                      <a:pt x="26" y="336"/>
                    </a:lnTo>
                    <a:lnTo>
                      <a:pt x="25" y="336"/>
                    </a:lnTo>
                    <a:lnTo>
                      <a:pt x="25" y="335"/>
                    </a:lnTo>
                    <a:lnTo>
                      <a:pt x="24" y="335"/>
                    </a:lnTo>
                    <a:lnTo>
                      <a:pt x="22" y="336"/>
                    </a:lnTo>
                    <a:lnTo>
                      <a:pt x="19" y="337"/>
                    </a:lnTo>
                    <a:lnTo>
                      <a:pt x="16" y="337"/>
                    </a:lnTo>
                    <a:lnTo>
                      <a:pt x="15" y="337"/>
                    </a:lnTo>
                    <a:lnTo>
                      <a:pt x="13" y="336"/>
                    </a:lnTo>
                    <a:lnTo>
                      <a:pt x="9" y="335"/>
                    </a:lnTo>
                    <a:lnTo>
                      <a:pt x="7" y="333"/>
                    </a:lnTo>
                    <a:lnTo>
                      <a:pt x="3" y="330"/>
                    </a:lnTo>
                    <a:lnTo>
                      <a:pt x="2" y="327"/>
                    </a:lnTo>
                    <a:lnTo>
                      <a:pt x="1" y="326"/>
                    </a:lnTo>
                    <a:lnTo>
                      <a:pt x="1" y="323"/>
                    </a:lnTo>
                    <a:lnTo>
                      <a:pt x="1" y="321"/>
                    </a:lnTo>
                    <a:lnTo>
                      <a:pt x="0" y="320"/>
                    </a:lnTo>
                    <a:lnTo>
                      <a:pt x="1" y="316"/>
                    </a:lnTo>
                    <a:lnTo>
                      <a:pt x="1" y="312"/>
                    </a:lnTo>
                    <a:lnTo>
                      <a:pt x="1" y="310"/>
                    </a:lnTo>
                    <a:lnTo>
                      <a:pt x="1" y="306"/>
                    </a:lnTo>
                    <a:lnTo>
                      <a:pt x="2" y="302"/>
                    </a:lnTo>
                    <a:lnTo>
                      <a:pt x="2" y="299"/>
                    </a:lnTo>
                    <a:lnTo>
                      <a:pt x="3" y="293"/>
                    </a:lnTo>
                    <a:lnTo>
                      <a:pt x="3" y="290"/>
                    </a:lnTo>
                    <a:lnTo>
                      <a:pt x="4" y="288"/>
                    </a:lnTo>
                    <a:lnTo>
                      <a:pt x="6" y="286"/>
                    </a:lnTo>
                    <a:lnTo>
                      <a:pt x="7" y="284"/>
                    </a:lnTo>
                    <a:lnTo>
                      <a:pt x="10" y="281"/>
                    </a:lnTo>
                    <a:lnTo>
                      <a:pt x="14" y="277"/>
                    </a:lnTo>
                    <a:lnTo>
                      <a:pt x="16" y="276"/>
                    </a:lnTo>
                    <a:lnTo>
                      <a:pt x="19" y="275"/>
                    </a:lnTo>
                    <a:lnTo>
                      <a:pt x="21" y="275"/>
                    </a:lnTo>
                    <a:lnTo>
                      <a:pt x="23" y="275"/>
                    </a:lnTo>
                    <a:lnTo>
                      <a:pt x="24" y="275"/>
                    </a:lnTo>
                    <a:lnTo>
                      <a:pt x="25" y="275"/>
                    </a:lnTo>
                    <a:lnTo>
                      <a:pt x="27" y="276"/>
                    </a:lnTo>
                    <a:lnTo>
                      <a:pt x="28" y="276"/>
                    </a:lnTo>
                    <a:lnTo>
                      <a:pt x="29" y="277"/>
                    </a:lnTo>
                    <a:lnTo>
                      <a:pt x="30" y="277"/>
                    </a:lnTo>
                    <a:lnTo>
                      <a:pt x="32" y="278"/>
                    </a:lnTo>
                    <a:lnTo>
                      <a:pt x="33" y="279"/>
                    </a:lnTo>
                    <a:lnTo>
                      <a:pt x="34" y="279"/>
                    </a:lnTo>
                    <a:lnTo>
                      <a:pt x="34" y="281"/>
                    </a:lnTo>
                    <a:lnTo>
                      <a:pt x="35" y="281"/>
                    </a:lnTo>
                    <a:lnTo>
                      <a:pt x="36" y="281"/>
                    </a:lnTo>
                    <a:lnTo>
                      <a:pt x="37" y="281"/>
                    </a:lnTo>
                    <a:lnTo>
                      <a:pt x="38" y="281"/>
                    </a:lnTo>
                    <a:lnTo>
                      <a:pt x="40" y="279"/>
                    </a:lnTo>
                    <a:lnTo>
                      <a:pt x="41" y="279"/>
                    </a:lnTo>
                    <a:lnTo>
                      <a:pt x="42" y="278"/>
                    </a:lnTo>
                    <a:lnTo>
                      <a:pt x="43" y="278"/>
                    </a:lnTo>
                    <a:lnTo>
                      <a:pt x="46" y="279"/>
                    </a:lnTo>
                    <a:lnTo>
                      <a:pt x="48" y="278"/>
                    </a:lnTo>
                    <a:lnTo>
                      <a:pt x="49" y="278"/>
                    </a:lnTo>
                    <a:lnTo>
                      <a:pt x="51" y="275"/>
                    </a:lnTo>
                    <a:lnTo>
                      <a:pt x="52" y="275"/>
                    </a:lnTo>
                    <a:lnTo>
                      <a:pt x="54" y="274"/>
                    </a:lnTo>
                    <a:lnTo>
                      <a:pt x="54" y="273"/>
                    </a:lnTo>
                    <a:lnTo>
                      <a:pt x="55" y="272"/>
                    </a:lnTo>
                    <a:lnTo>
                      <a:pt x="56" y="271"/>
                    </a:lnTo>
                    <a:lnTo>
                      <a:pt x="55" y="269"/>
                    </a:lnTo>
                    <a:lnTo>
                      <a:pt x="55" y="266"/>
                    </a:lnTo>
                    <a:lnTo>
                      <a:pt x="54" y="265"/>
                    </a:lnTo>
                    <a:lnTo>
                      <a:pt x="52" y="264"/>
                    </a:lnTo>
                    <a:lnTo>
                      <a:pt x="51" y="263"/>
                    </a:lnTo>
                    <a:lnTo>
                      <a:pt x="49" y="263"/>
                    </a:lnTo>
                    <a:lnTo>
                      <a:pt x="47" y="263"/>
                    </a:lnTo>
                    <a:lnTo>
                      <a:pt x="43" y="263"/>
                    </a:lnTo>
                    <a:lnTo>
                      <a:pt x="40" y="264"/>
                    </a:lnTo>
                    <a:lnTo>
                      <a:pt x="37" y="264"/>
                    </a:lnTo>
                    <a:lnTo>
                      <a:pt x="32" y="263"/>
                    </a:lnTo>
                    <a:lnTo>
                      <a:pt x="29" y="262"/>
                    </a:lnTo>
                    <a:lnTo>
                      <a:pt x="26" y="261"/>
                    </a:lnTo>
                    <a:lnTo>
                      <a:pt x="24" y="260"/>
                    </a:lnTo>
                    <a:lnTo>
                      <a:pt x="21" y="259"/>
                    </a:lnTo>
                    <a:lnTo>
                      <a:pt x="19" y="258"/>
                    </a:lnTo>
                    <a:lnTo>
                      <a:pt x="16" y="256"/>
                    </a:lnTo>
                    <a:lnTo>
                      <a:pt x="14" y="253"/>
                    </a:lnTo>
                    <a:lnTo>
                      <a:pt x="12" y="250"/>
                    </a:lnTo>
                    <a:lnTo>
                      <a:pt x="10" y="248"/>
                    </a:lnTo>
                    <a:lnTo>
                      <a:pt x="9" y="246"/>
                    </a:lnTo>
                    <a:lnTo>
                      <a:pt x="8" y="243"/>
                    </a:lnTo>
                    <a:lnTo>
                      <a:pt x="8" y="240"/>
                    </a:lnTo>
                    <a:lnTo>
                      <a:pt x="7" y="236"/>
                    </a:lnTo>
                    <a:lnTo>
                      <a:pt x="7" y="232"/>
                    </a:lnTo>
                    <a:lnTo>
                      <a:pt x="6" y="223"/>
                    </a:lnTo>
                    <a:lnTo>
                      <a:pt x="3" y="216"/>
                    </a:lnTo>
                    <a:lnTo>
                      <a:pt x="2" y="214"/>
                    </a:lnTo>
                    <a:lnTo>
                      <a:pt x="2" y="212"/>
                    </a:lnTo>
                    <a:lnTo>
                      <a:pt x="3" y="211"/>
                    </a:lnTo>
                    <a:lnTo>
                      <a:pt x="3" y="208"/>
                    </a:lnTo>
                    <a:lnTo>
                      <a:pt x="4" y="206"/>
                    </a:lnTo>
                    <a:lnTo>
                      <a:pt x="6" y="205"/>
                    </a:lnTo>
                    <a:lnTo>
                      <a:pt x="7" y="204"/>
                    </a:lnTo>
                    <a:lnTo>
                      <a:pt x="8" y="202"/>
                    </a:lnTo>
                    <a:lnTo>
                      <a:pt x="9" y="200"/>
                    </a:lnTo>
                    <a:lnTo>
                      <a:pt x="9" y="199"/>
                    </a:lnTo>
                    <a:lnTo>
                      <a:pt x="9" y="197"/>
                    </a:lnTo>
                    <a:lnTo>
                      <a:pt x="8" y="196"/>
                    </a:lnTo>
                    <a:lnTo>
                      <a:pt x="7" y="195"/>
                    </a:lnTo>
                    <a:lnTo>
                      <a:pt x="7" y="194"/>
                    </a:lnTo>
                    <a:lnTo>
                      <a:pt x="7" y="193"/>
                    </a:lnTo>
                    <a:lnTo>
                      <a:pt x="7" y="192"/>
                    </a:lnTo>
                    <a:lnTo>
                      <a:pt x="8" y="191"/>
                    </a:lnTo>
                    <a:lnTo>
                      <a:pt x="9" y="191"/>
                    </a:lnTo>
                    <a:lnTo>
                      <a:pt x="10" y="189"/>
                    </a:lnTo>
                    <a:lnTo>
                      <a:pt x="11" y="188"/>
                    </a:lnTo>
                    <a:lnTo>
                      <a:pt x="12" y="187"/>
                    </a:lnTo>
                    <a:lnTo>
                      <a:pt x="13" y="186"/>
                    </a:lnTo>
                    <a:lnTo>
                      <a:pt x="15" y="186"/>
                    </a:lnTo>
                    <a:lnTo>
                      <a:pt x="16" y="186"/>
                    </a:lnTo>
                    <a:lnTo>
                      <a:pt x="19" y="186"/>
                    </a:lnTo>
                    <a:lnTo>
                      <a:pt x="20" y="187"/>
                    </a:lnTo>
                    <a:lnTo>
                      <a:pt x="21" y="187"/>
                    </a:lnTo>
                    <a:lnTo>
                      <a:pt x="22" y="188"/>
                    </a:lnTo>
                    <a:lnTo>
                      <a:pt x="23" y="188"/>
                    </a:lnTo>
                    <a:lnTo>
                      <a:pt x="23" y="189"/>
                    </a:lnTo>
                    <a:lnTo>
                      <a:pt x="24" y="191"/>
                    </a:lnTo>
                    <a:lnTo>
                      <a:pt x="25" y="192"/>
                    </a:lnTo>
                    <a:lnTo>
                      <a:pt x="27" y="195"/>
                    </a:lnTo>
                    <a:lnTo>
                      <a:pt x="27" y="196"/>
                    </a:lnTo>
                    <a:lnTo>
                      <a:pt x="30" y="202"/>
                    </a:lnTo>
                    <a:lnTo>
                      <a:pt x="32" y="208"/>
                    </a:lnTo>
                    <a:lnTo>
                      <a:pt x="33" y="211"/>
                    </a:lnTo>
                    <a:lnTo>
                      <a:pt x="34" y="216"/>
                    </a:lnTo>
                    <a:lnTo>
                      <a:pt x="35" y="219"/>
                    </a:lnTo>
                    <a:lnTo>
                      <a:pt x="36" y="221"/>
                    </a:lnTo>
                    <a:lnTo>
                      <a:pt x="36" y="224"/>
                    </a:lnTo>
                    <a:lnTo>
                      <a:pt x="36" y="229"/>
                    </a:lnTo>
                    <a:lnTo>
                      <a:pt x="36" y="230"/>
                    </a:lnTo>
                    <a:lnTo>
                      <a:pt x="36" y="231"/>
                    </a:lnTo>
                    <a:lnTo>
                      <a:pt x="38" y="232"/>
                    </a:lnTo>
                    <a:lnTo>
                      <a:pt x="39" y="233"/>
                    </a:lnTo>
                    <a:lnTo>
                      <a:pt x="42" y="233"/>
                    </a:lnTo>
                    <a:lnTo>
                      <a:pt x="43" y="232"/>
                    </a:lnTo>
                    <a:lnTo>
                      <a:pt x="48" y="231"/>
                    </a:lnTo>
                    <a:lnTo>
                      <a:pt x="49" y="231"/>
                    </a:lnTo>
                    <a:lnTo>
                      <a:pt x="51" y="231"/>
                    </a:lnTo>
                    <a:lnTo>
                      <a:pt x="54" y="231"/>
                    </a:lnTo>
                    <a:lnTo>
                      <a:pt x="56" y="231"/>
                    </a:lnTo>
                    <a:lnTo>
                      <a:pt x="59" y="233"/>
                    </a:lnTo>
                    <a:lnTo>
                      <a:pt x="61" y="234"/>
                    </a:lnTo>
                    <a:lnTo>
                      <a:pt x="62" y="236"/>
                    </a:lnTo>
                    <a:lnTo>
                      <a:pt x="64" y="237"/>
                    </a:lnTo>
                    <a:lnTo>
                      <a:pt x="67" y="237"/>
                    </a:lnTo>
                    <a:lnTo>
                      <a:pt x="69" y="238"/>
                    </a:lnTo>
                    <a:lnTo>
                      <a:pt x="73" y="238"/>
                    </a:lnTo>
                    <a:lnTo>
                      <a:pt x="75" y="237"/>
                    </a:lnTo>
                    <a:lnTo>
                      <a:pt x="78" y="237"/>
                    </a:lnTo>
                    <a:lnTo>
                      <a:pt x="79" y="237"/>
                    </a:lnTo>
                    <a:lnTo>
                      <a:pt x="81" y="237"/>
                    </a:lnTo>
                    <a:lnTo>
                      <a:pt x="84" y="236"/>
                    </a:lnTo>
                    <a:lnTo>
                      <a:pt x="85" y="235"/>
                    </a:lnTo>
                    <a:lnTo>
                      <a:pt x="87" y="234"/>
                    </a:lnTo>
                    <a:lnTo>
                      <a:pt x="88" y="232"/>
                    </a:lnTo>
                    <a:lnTo>
                      <a:pt x="90" y="230"/>
                    </a:lnTo>
                    <a:lnTo>
                      <a:pt x="90" y="227"/>
                    </a:lnTo>
                    <a:lnTo>
                      <a:pt x="90" y="224"/>
                    </a:lnTo>
                    <a:lnTo>
                      <a:pt x="90" y="222"/>
                    </a:lnTo>
                    <a:lnTo>
                      <a:pt x="89" y="220"/>
                    </a:lnTo>
                    <a:lnTo>
                      <a:pt x="88" y="217"/>
                    </a:lnTo>
                    <a:lnTo>
                      <a:pt x="86" y="214"/>
                    </a:lnTo>
                    <a:lnTo>
                      <a:pt x="84" y="212"/>
                    </a:lnTo>
                    <a:lnTo>
                      <a:pt x="81" y="212"/>
                    </a:lnTo>
                    <a:lnTo>
                      <a:pt x="80" y="211"/>
                    </a:lnTo>
                    <a:lnTo>
                      <a:pt x="79" y="211"/>
                    </a:lnTo>
                    <a:lnTo>
                      <a:pt x="73" y="212"/>
                    </a:lnTo>
                    <a:lnTo>
                      <a:pt x="66" y="212"/>
                    </a:lnTo>
                    <a:lnTo>
                      <a:pt x="63" y="211"/>
                    </a:lnTo>
                    <a:lnTo>
                      <a:pt x="61" y="211"/>
                    </a:lnTo>
                    <a:lnTo>
                      <a:pt x="59" y="211"/>
                    </a:lnTo>
                    <a:lnTo>
                      <a:pt x="54" y="211"/>
                    </a:lnTo>
                    <a:lnTo>
                      <a:pt x="49" y="210"/>
                    </a:lnTo>
                    <a:lnTo>
                      <a:pt x="46" y="208"/>
                    </a:lnTo>
                    <a:lnTo>
                      <a:pt x="42" y="207"/>
                    </a:lnTo>
                    <a:lnTo>
                      <a:pt x="40" y="205"/>
                    </a:lnTo>
                    <a:lnTo>
                      <a:pt x="39" y="202"/>
                    </a:lnTo>
                    <a:lnTo>
                      <a:pt x="39" y="200"/>
                    </a:lnTo>
                    <a:lnTo>
                      <a:pt x="39" y="199"/>
                    </a:lnTo>
                    <a:lnTo>
                      <a:pt x="39" y="198"/>
                    </a:lnTo>
                    <a:lnTo>
                      <a:pt x="39" y="197"/>
                    </a:lnTo>
                    <a:lnTo>
                      <a:pt x="39" y="196"/>
                    </a:lnTo>
                    <a:lnTo>
                      <a:pt x="40" y="195"/>
                    </a:lnTo>
                    <a:lnTo>
                      <a:pt x="42" y="194"/>
                    </a:lnTo>
                    <a:lnTo>
                      <a:pt x="46" y="192"/>
                    </a:lnTo>
                    <a:lnTo>
                      <a:pt x="48" y="191"/>
                    </a:lnTo>
                    <a:lnTo>
                      <a:pt x="49" y="188"/>
                    </a:lnTo>
                    <a:lnTo>
                      <a:pt x="50" y="188"/>
                    </a:lnTo>
                    <a:lnTo>
                      <a:pt x="52" y="186"/>
                    </a:lnTo>
                    <a:lnTo>
                      <a:pt x="52" y="185"/>
                    </a:lnTo>
                    <a:lnTo>
                      <a:pt x="53" y="185"/>
                    </a:lnTo>
                    <a:lnTo>
                      <a:pt x="53" y="184"/>
                    </a:lnTo>
                    <a:lnTo>
                      <a:pt x="53" y="183"/>
                    </a:lnTo>
                    <a:lnTo>
                      <a:pt x="54" y="182"/>
                    </a:lnTo>
                    <a:lnTo>
                      <a:pt x="54" y="181"/>
                    </a:lnTo>
                    <a:lnTo>
                      <a:pt x="55" y="179"/>
                    </a:lnTo>
                    <a:lnTo>
                      <a:pt x="55" y="178"/>
                    </a:lnTo>
                    <a:lnTo>
                      <a:pt x="56" y="178"/>
                    </a:lnTo>
                    <a:lnTo>
                      <a:pt x="56" y="176"/>
                    </a:lnTo>
                    <a:lnTo>
                      <a:pt x="56" y="175"/>
                    </a:lnTo>
                    <a:lnTo>
                      <a:pt x="56" y="173"/>
                    </a:lnTo>
                    <a:lnTo>
                      <a:pt x="56" y="171"/>
                    </a:lnTo>
                    <a:lnTo>
                      <a:pt x="56" y="170"/>
                    </a:lnTo>
                    <a:lnTo>
                      <a:pt x="55" y="169"/>
                    </a:lnTo>
                    <a:lnTo>
                      <a:pt x="55" y="168"/>
                    </a:lnTo>
                    <a:lnTo>
                      <a:pt x="54" y="166"/>
                    </a:lnTo>
                    <a:lnTo>
                      <a:pt x="52" y="163"/>
                    </a:lnTo>
                    <a:lnTo>
                      <a:pt x="50" y="161"/>
                    </a:lnTo>
                    <a:lnTo>
                      <a:pt x="49" y="159"/>
                    </a:lnTo>
                    <a:lnTo>
                      <a:pt x="48" y="158"/>
                    </a:lnTo>
                    <a:lnTo>
                      <a:pt x="46" y="157"/>
                    </a:lnTo>
                    <a:lnTo>
                      <a:pt x="46" y="156"/>
                    </a:lnTo>
                    <a:lnTo>
                      <a:pt x="43" y="155"/>
                    </a:lnTo>
                    <a:lnTo>
                      <a:pt x="40" y="153"/>
                    </a:lnTo>
                    <a:lnTo>
                      <a:pt x="39" y="153"/>
                    </a:lnTo>
                    <a:lnTo>
                      <a:pt x="38" y="152"/>
                    </a:lnTo>
                    <a:lnTo>
                      <a:pt x="37" y="150"/>
                    </a:lnTo>
                    <a:lnTo>
                      <a:pt x="36" y="150"/>
                    </a:lnTo>
                    <a:lnTo>
                      <a:pt x="36" y="149"/>
                    </a:lnTo>
                    <a:lnTo>
                      <a:pt x="35" y="149"/>
                    </a:lnTo>
                    <a:lnTo>
                      <a:pt x="34" y="148"/>
                    </a:lnTo>
                    <a:lnTo>
                      <a:pt x="33" y="147"/>
                    </a:lnTo>
                    <a:lnTo>
                      <a:pt x="32" y="146"/>
                    </a:lnTo>
                    <a:lnTo>
                      <a:pt x="30" y="145"/>
                    </a:lnTo>
                    <a:lnTo>
                      <a:pt x="29" y="145"/>
                    </a:lnTo>
                    <a:lnTo>
                      <a:pt x="29" y="144"/>
                    </a:lnTo>
                    <a:lnTo>
                      <a:pt x="28" y="143"/>
                    </a:lnTo>
                    <a:lnTo>
                      <a:pt x="27" y="140"/>
                    </a:lnTo>
                    <a:lnTo>
                      <a:pt x="26" y="139"/>
                    </a:lnTo>
                    <a:lnTo>
                      <a:pt x="26" y="137"/>
                    </a:lnTo>
                    <a:lnTo>
                      <a:pt x="26" y="136"/>
                    </a:lnTo>
                    <a:lnTo>
                      <a:pt x="25" y="133"/>
                    </a:lnTo>
                    <a:lnTo>
                      <a:pt x="25" y="132"/>
                    </a:lnTo>
                    <a:lnTo>
                      <a:pt x="25" y="131"/>
                    </a:lnTo>
                    <a:lnTo>
                      <a:pt x="25" y="130"/>
                    </a:lnTo>
                    <a:lnTo>
                      <a:pt x="25" y="128"/>
                    </a:lnTo>
                    <a:lnTo>
                      <a:pt x="25" y="126"/>
                    </a:lnTo>
                    <a:lnTo>
                      <a:pt x="25" y="124"/>
                    </a:lnTo>
                    <a:lnTo>
                      <a:pt x="25" y="123"/>
                    </a:lnTo>
                    <a:lnTo>
                      <a:pt x="25" y="122"/>
                    </a:lnTo>
                    <a:lnTo>
                      <a:pt x="26" y="121"/>
                    </a:lnTo>
                    <a:lnTo>
                      <a:pt x="26" y="120"/>
                    </a:lnTo>
                    <a:lnTo>
                      <a:pt x="26" y="119"/>
                    </a:lnTo>
                    <a:lnTo>
                      <a:pt x="27" y="117"/>
                    </a:lnTo>
                    <a:lnTo>
                      <a:pt x="27" y="115"/>
                    </a:lnTo>
                    <a:lnTo>
                      <a:pt x="29" y="111"/>
                    </a:lnTo>
                    <a:lnTo>
                      <a:pt x="29" y="109"/>
                    </a:lnTo>
                    <a:lnTo>
                      <a:pt x="30" y="107"/>
                    </a:lnTo>
                    <a:lnTo>
                      <a:pt x="32" y="106"/>
                    </a:lnTo>
                    <a:lnTo>
                      <a:pt x="32" y="105"/>
                    </a:lnTo>
                    <a:lnTo>
                      <a:pt x="32" y="104"/>
                    </a:lnTo>
                    <a:lnTo>
                      <a:pt x="33" y="103"/>
                    </a:lnTo>
                    <a:lnTo>
                      <a:pt x="33" y="102"/>
                    </a:lnTo>
                    <a:lnTo>
                      <a:pt x="34" y="101"/>
                    </a:lnTo>
                    <a:lnTo>
                      <a:pt x="35" y="99"/>
                    </a:lnTo>
                    <a:lnTo>
                      <a:pt x="36" y="98"/>
                    </a:lnTo>
                    <a:lnTo>
                      <a:pt x="37" y="97"/>
                    </a:lnTo>
                    <a:lnTo>
                      <a:pt x="37" y="96"/>
                    </a:lnTo>
                    <a:lnTo>
                      <a:pt x="38" y="95"/>
                    </a:lnTo>
                    <a:lnTo>
                      <a:pt x="38" y="94"/>
                    </a:lnTo>
                    <a:lnTo>
                      <a:pt x="39" y="93"/>
                    </a:lnTo>
                    <a:lnTo>
                      <a:pt x="40" y="93"/>
                    </a:lnTo>
                    <a:lnTo>
                      <a:pt x="41" y="92"/>
                    </a:lnTo>
                    <a:lnTo>
                      <a:pt x="47" y="89"/>
                    </a:lnTo>
                    <a:lnTo>
                      <a:pt x="49" y="86"/>
                    </a:lnTo>
                    <a:lnTo>
                      <a:pt x="52" y="84"/>
                    </a:lnTo>
                    <a:lnTo>
                      <a:pt x="53" y="84"/>
                    </a:lnTo>
                    <a:lnTo>
                      <a:pt x="54" y="83"/>
                    </a:lnTo>
                    <a:lnTo>
                      <a:pt x="55" y="83"/>
                    </a:lnTo>
                    <a:lnTo>
                      <a:pt x="55" y="82"/>
                    </a:lnTo>
                    <a:lnTo>
                      <a:pt x="56" y="81"/>
                    </a:lnTo>
                    <a:lnTo>
                      <a:pt x="58" y="81"/>
                    </a:lnTo>
                    <a:lnTo>
                      <a:pt x="59" y="81"/>
                    </a:lnTo>
                    <a:lnTo>
                      <a:pt x="61" y="82"/>
                    </a:lnTo>
                    <a:lnTo>
                      <a:pt x="62" y="82"/>
                    </a:lnTo>
                    <a:lnTo>
                      <a:pt x="63" y="83"/>
                    </a:lnTo>
                    <a:lnTo>
                      <a:pt x="64" y="84"/>
                    </a:lnTo>
                    <a:lnTo>
                      <a:pt x="64" y="86"/>
                    </a:lnTo>
                    <a:lnTo>
                      <a:pt x="65" y="88"/>
                    </a:lnTo>
                    <a:lnTo>
                      <a:pt x="66" y="93"/>
                    </a:lnTo>
                    <a:lnTo>
                      <a:pt x="67" y="97"/>
                    </a:lnTo>
                    <a:lnTo>
                      <a:pt x="68" y="98"/>
                    </a:lnTo>
                    <a:lnTo>
                      <a:pt x="68" y="99"/>
                    </a:lnTo>
                    <a:lnTo>
                      <a:pt x="71" y="102"/>
                    </a:lnTo>
                    <a:lnTo>
                      <a:pt x="72" y="104"/>
                    </a:lnTo>
                    <a:lnTo>
                      <a:pt x="73" y="104"/>
                    </a:lnTo>
                    <a:lnTo>
                      <a:pt x="75" y="106"/>
                    </a:lnTo>
                    <a:lnTo>
                      <a:pt x="77" y="106"/>
                    </a:lnTo>
                    <a:lnTo>
                      <a:pt x="78" y="106"/>
                    </a:lnTo>
                    <a:lnTo>
                      <a:pt x="80" y="106"/>
                    </a:lnTo>
                    <a:lnTo>
                      <a:pt x="81" y="105"/>
                    </a:lnTo>
                    <a:lnTo>
                      <a:pt x="82" y="105"/>
                    </a:lnTo>
                    <a:lnTo>
                      <a:pt x="86" y="101"/>
                    </a:lnTo>
                    <a:lnTo>
                      <a:pt x="87" y="99"/>
                    </a:lnTo>
                    <a:lnTo>
                      <a:pt x="89" y="98"/>
                    </a:lnTo>
                    <a:lnTo>
                      <a:pt x="90" y="97"/>
                    </a:lnTo>
                    <a:lnTo>
                      <a:pt x="92" y="96"/>
                    </a:lnTo>
                    <a:lnTo>
                      <a:pt x="93" y="95"/>
                    </a:lnTo>
                    <a:lnTo>
                      <a:pt x="95" y="92"/>
                    </a:lnTo>
                    <a:lnTo>
                      <a:pt x="97" y="91"/>
                    </a:lnTo>
                    <a:lnTo>
                      <a:pt x="98" y="90"/>
                    </a:lnTo>
                    <a:lnTo>
                      <a:pt x="99" y="88"/>
                    </a:lnTo>
                    <a:lnTo>
                      <a:pt x="100" y="85"/>
                    </a:lnTo>
                    <a:lnTo>
                      <a:pt x="100" y="83"/>
                    </a:lnTo>
                    <a:lnTo>
                      <a:pt x="100" y="81"/>
                    </a:lnTo>
                    <a:lnTo>
                      <a:pt x="100" y="80"/>
                    </a:lnTo>
                    <a:lnTo>
                      <a:pt x="99" y="79"/>
                    </a:lnTo>
                    <a:lnTo>
                      <a:pt x="99" y="78"/>
                    </a:lnTo>
                    <a:lnTo>
                      <a:pt x="98" y="75"/>
                    </a:lnTo>
                    <a:lnTo>
                      <a:pt x="95" y="69"/>
                    </a:lnTo>
                    <a:lnTo>
                      <a:pt x="95" y="68"/>
                    </a:lnTo>
                    <a:lnTo>
                      <a:pt x="94" y="66"/>
                    </a:lnTo>
                    <a:lnTo>
                      <a:pt x="94" y="64"/>
                    </a:lnTo>
                    <a:lnTo>
                      <a:pt x="94" y="62"/>
                    </a:lnTo>
                    <a:lnTo>
                      <a:pt x="94" y="60"/>
                    </a:lnTo>
                    <a:lnTo>
                      <a:pt x="95" y="58"/>
                    </a:lnTo>
                    <a:lnTo>
                      <a:pt x="97" y="55"/>
                    </a:lnTo>
                    <a:lnTo>
                      <a:pt x="99" y="52"/>
                    </a:lnTo>
                    <a:lnTo>
                      <a:pt x="99" y="50"/>
                    </a:lnTo>
                    <a:lnTo>
                      <a:pt x="100" y="47"/>
                    </a:lnTo>
                    <a:lnTo>
                      <a:pt x="101" y="45"/>
                    </a:lnTo>
                    <a:lnTo>
                      <a:pt x="102" y="42"/>
                    </a:lnTo>
                    <a:lnTo>
                      <a:pt x="102" y="41"/>
                    </a:lnTo>
                    <a:lnTo>
                      <a:pt x="102" y="37"/>
                    </a:lnTo>
                    <a:lnTo>
                      <a:pt x="103" y="34"/>
                    </a:lnTo>
                    <a:lnTo>
                      <a:pt x="103" y="29"/>
                    </a:lnTo>
                    <a:lnTo>
                      <a:pt x="103" y="28"/>
                    </a:lnTo>
                    <a:lnTo>
                      <a:pt x="104" y="25"/>
                    </a:lnTo>
                    <a:lnTo>
                      <a:pt x="104" y="24"/>
                    </a:lnTo>
                    <a:lnTo>
                      <a:pt x="105" y="21"/>
                    </a:lnTo>
                    <a:lnTo>
                      <a:pt x="106" y="19"/>
                    </a:lnTo>
                    <a:lnTo>
                      <a:pt x="107" y="17"/>
                    </a:lnTo>
                    <a:lnTo>
                      <a:pt x="110" y="16"/>
                    </a:lnTo>
                    <a:lnTo>
                      <a:pt x="111" y="15"/>
                    </a:lnTo>
                    <a:lnTo>
                      <a:pt x="112" y="14"/>
                    </a:lnTo>
                    <a:lnTo>
                      <a:pt x="113" y="13"/>
                    </a:lnTo>
                    <a:lnTo>
                      <a:pt x="114" y="13"/>
                    </a:lnTo>
                    <a:lnTo>
                      <a:pt x="115" y="13"/>
                    </a:lnTo>
                    <a:lnTo>
                      <a:pt x="116" y="14"/>
                    </a:lnTo>
                    <a:lnTo>
                      <a:pt x="118" y="15"/>
                    </a:lnTo>
                    <a:lnTo>
                      <a:pt x="119" y="16"/>
                    </a:lnTo>
                    <a:lnTo>
                      <a:pt x="122" y="19"/>
                    </a:lnTo>
                    <a:lnTo>
                      <a:pt x="124" y="20"/>
                    </a:lnTo>
                    <a:lnTo>
                      <a:pt x="125" y="22"/>
                    </a:lnTo>
                    <a:lnTo>
                      <a:pt x="126" y="24"/>
                    </a:lnTo>
                    <a:lnTo>
                      <a:pt x="128" y="24"/>
                    </a:lnTo>
                    <a:lnTo>
                      <a:pt x="129" y="25"/>
                    </a:lnTo>
                    <a:lnTo>
                      <a:pt x="131" y="25"/>
                    </a:lnTo>
                    <a:lnTo>
                      <a:pt x="133" y="25"/>
                    </a:lnTo>
                    <a:lnTo>
                      <a:pt x="137" y="25"/>
                    </a:lnTo>
                    <a:lnTo>
                      <a:pt x="140" y="24"/>
                    </a:lnTo>
                    <a:lnTo>
                      <a:pt x="142" y="24"/>
                    </a:lnTo>
                    <a:lnTo>
                      <a:pt x="144" y="22"/>
                    </a:lnTo>
                    <a:lnTo>
                      <a:pt x="148" y="20"/>
                    </a:lnTo>
                    <a:lnTo>
                      <a:pt x="149" y="19"/>
                    </a:lnTo>
                    <a:lnTo>
                      <a:pt x="150" y="18"/>
                    </a:lnTo>
                    <a:lnTo>
                      <a:pt x="153" y="15"/>
                    </a:lnTo>
                    <a:lnTo>
                      <a:pt x="154" y="14"/>
                    </a:lnTo>
                    <a:lnTo>
                      <a:pt x="155" y="13"/>
                    </a:lnTo>
                    <a:lnTo>
                      <a:pt x="156" y="12"/>
                    </a:lnTo>
                    <a:lnTo>
                      <a:pt x="156" y="11"/>
                    </a:lnTo>
                    <a:lnTo>
                      <a:pt x="157" y="7"/>
                    </a:lnTo>
                    <a:lnTo>
                      <a:pt x="158" y="5"/>
                    </a:lnTo>
                    <a:lnTo>
                      <a:pt x="159" y="3"/>
                    </a:lnTo>
                    <a:lnTo>
                      <a:pt x="161" y="2"/>
                    </a:lnTo>
                    <a:lnTo>
                      <a:pt x="162" y="1"/>
                    </a:lnTo>
                    <a:lnTo>
                      <a:pt x="163" y="0"/>
                    </a:lnTo>
                    <a:lnTo>
                      <a:pt x="164" y="0"/>
                    </a:lnTo>
                    <a:lnTo>
                      <a:pt x="165" y="0"/>
                    </a:lnTo>
                    <a:lnTo>
                      <a:pt x="166" y="0"/>
                    </a:lnTo>
                    <a:lnTo>
                      <a:pt x="167" y="0"/>
                    </a:lnTo>
                    <a:lnTo>
                      <a:pt x="169" y="0"/>
                    </a:lnTo>
                    <a:lnTo>
                      <a:pt x="170" y="1"/>
                    </a:lnTo>
                    <a:lnTo>
                      <a:pt x="171" y="2"/>
                    </a:lnTo>
                    <a:lnTo>
                      <a:pt x="174" y="3"/>
                    </a:lnTo>
                    <a:lnTo>
                      <a:pt x="175" y="4"/>
                    </a:lnTo>
                    <a:lnTo>
                      <a:pt x="176" y="7"/>
                    </a:lnTo>
                    <a:lnTo>
                      <a:pt x="177" y="12"/>
                    </a:lnTo>
                    <a:lnTo>
                      <a:pt x="179" y="15"/>
                    </a:lnTo>
                    <a:lnTo>
                      <a:pt x="180" y="17"/>
                    </a:lnTo>
                    <a:lnTo>
                      <a:pt x="181" y="18"/>
                    </a:lnTo>
                    <a:lnTo>
                      <a:pt x="182" y="19"/>
                    </a:lnTo>
                    <a:lnTo>
                      <a:pt x="185" y="21"/>
                    </a:lnTo>
                    <a:lnTo>
                      <a:pt x="187" y="22"/>
                    </a:lnTo>
                    <a:lnTo>
                      <a:pt x="188" y="24"/>
                    </a:lnTo>
                    <a:lnTo>
                      <a:pt x="190" y="26"/>
                    </a:lnTo>
                    <a:lnTo>
                      <a:pt x="191" y="27"/>
                    </a:lnTo>
                    <a:lnTo>
                      <a:pt x="192" y="27"/>
                    </a:lnTo>
                    <a:lnTo>
                      <a:pt x="194" y="28"/>
                    </a:lnTo>
                    <a:lnTo>
                      <a:pt x="196" y="28"/>
                    </a:lnTo>
                    <a:lnTo>
                      <a:pt x="197" y="27"/>
                    </a:lnTo>
                    <a:lnTo>
                      <a:pt x="198" y="27"/>
                    </a:lnTo>
                    <a:lnTo>
                      <a:pt x="200" y="26"/>
                    </a:lnTo>
                    <a:lnTo>
                      <a:pt x="201" y="25"/>
                    </a:lnTo>
                    <a:lnTo>
                      <a:pt x="202" y="22"/>
                    </a:lnTo>
                    <a:lnTo>
                      <a:pt x="203" y="21"/>
                    </a:lnTo>
                    <a:lnTo>
                      <a:pt x="204" y="19"/>
                    </a:lnTo>
                    <a:lnTo>
                      <a:pt x="204" y="17"/>
                    </a:lnTo>
                    <a:lnTo>
                      <a:pt x="204" y="16"/>
                    </a:lnTo>
                    <a:lnTo>
                      <a:pt x="204" y="14"/>
                    </a:lnTo>
                    <a:lnTo>
                      <a:pt x="203" y="12"/>
                    </a:lnTo>
                    <a:lnTo>
                      <a:pt x="202" y="11"/>
                    </a:lnTo>
                    <a:lnTo>
                      <a:pt x="201" y="9"/>
                    </a:lnTo>
                    <a:lnTo>
                      <a:pt x="200" y="8"/>
                    </a:lnTo>
                    <a:lnTo>
                      <a:pt x="197" y="6"/>
                    </a:lnTo>
                    <a:close/>
                  </a:path>
                </a:pathLst>
              </a:custGeom>
              <a:solidFill>
                <a:srgbClr val="4D9F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7" name="Freeform 47">
                <a:extLst>
                  <a:ext uri="{FF2B5EF4-FFF2-40B4-BE49-F238E27FC236}">
                    <a16:creationId xmlns:a16="http://schemas.microsoft.com/office/drawing/2014/main" id="{16D13911-1CEF-52D9-3160-535E462FE47F}"/>
                  </a:ext>
                </a:extLst>
              </p:cNvPr>
              <p:cNvSpPr>
                <a:spLocks/>
              </p:cNvSpPr>
              <p:nvPr/>
            </p:nvSpPr>
            <p:spPr bwMode="auto">
              <a:xfrm>
                <a:off x="2859088" y="3052763"/>
                <a:ext cx="585788" cy="563563"/>
              </a:xfrm>
              <a:custGeom>
                <a:avLst/>
                <a:gdLst>
                  <a:gd name="T0" fmla="*/ 166 w 369"/>
                  <a:gd name="T1" fmla="*/ 25 h 355"/>
                  <a:gd name="T2" fmla="*/ 173 w 369"/>
                  <a:gd name="T3" fmla="*/ 34 h 355"/>
                  <a:gd name="T4" fmla="*/ 164 w 369"/>
                  <a:gd name="T5" fmla="*/ 35 h 355"/>
                  <a:gd name="T6" fmla="*/ 159 w 369"/>
                  <a:gd name="T7" fmla="*/ 35 h 355"/>
                  <a:gd name="T8" fmla="*/ 158 w 369"/>
                  <a:gd name="T9" fmla="*/ 43 h 355"/>
                  <a:gd name="T10" fmla="*/ 165 w 369"/>
                  <a:gd name="T11" fmla="*/ 49 h 355"/>
                  <a:gd name="T12" fmla="*/ 175 w 369"/>
                  <a:gd name="T13" fmla="*/ 50 h 355"/>
                  <a:gd name="T14" fmla="*/ 169 w 369"/>
                  <a:gd name="T15" fmla="*/ 56 h 355"/>
                  <a:gd name="T16" fmla="*/ 176 w 369"/>
                  <a:gd name="T17" fmla="*/ 65 h 355"/>
                  <a:gd name="T18" fmla="*/ 171 w 369"/>
                  <a:gd name="T19" fmla="*/ 71 h 355"/>
                  <a:gd name="T20" fmla="*/ 177 w 369"/>
                  <a:gd name="T21" fmla="*/ 77 h 355"/>
                  <a:gd name="T22" fmla="*/ 189 w 369"/>
                  <a:gd name="T23" fmla="*/ 84 h 355"/>
                  <a:gd name="T24" fmla="*/ 201 w 369"/>
                  <a:gd name="T25" fmla="*/ 72 h 355"/>
                  <a:gd name="T26" fmla="*/ 208 w 369"/>
                  <a:gd name="T27" fmla="*/ 88 h 355"/>
                  <a:gd name="T28" fmla="*/ 218 w 369"/>
                  <a:gd name="T29" fmla="*/ 76 h 355"/>
                  <a:gd name="T30" fmla="*/ 210 w 369"/>
                  <a:gd name="T31" fmla="*/ 68 h 355"/>
                  <a:gd name="T32" fmla="*/ 208 w 369"/>
                  <a:gd name="T33" fmla="*/ 45 h 355"/>
                  <a:gd name="T34" fmla="*/ 248 w 369"/>
                  <a:gd name="T35" fmla="*/ 43 h 355"/>
                  <a:gd name="T36" fmla="*/ 268 w 369"/>
                  <a:gd name="T37" fmla="*/ 56 h 355"/>
                  <a:gd name="T38" fmla="*/ 282 w 369"/>
                  <a:gd name="T39" fmla="*/ 65 h 355"/>
                  <a:gd name="T40" fmla="*/ 297 w 369"/>
                  <a:gd name="T41" fmla="*/ 83 h 355"/>
                  <a:gd name="T42" fmla="*/ 326 w 369"/>
                  <a:gd name="T43" fmla="*/ 92 h 355"/>
                  <a:gd name="T44" fmla="*/ 341 w 369"/>
                  <a:gd name="T45" fmla="*/ 103 h 355"/>
                  <a:gd name="T46" fmla="*/ 356 w 369"/>
                  <a:gd name="T47" fmla="*/ 100 h 355"/>
                  <a:gd name="T48" fmla="*/ 368 w 369"/>
                  <a:gd name="T49" fmla="*/ 115 h 355"/>
                  <a:gd name="T50" fmla="*/ 357 w 369"/>
                  <a:gd name="T51" fmla="*/ 129 h 355"/>
                  <a:gd name="T52" fmla="*/ 343 w 369"/>
                  <a:gd name="T53" fmla="*/ 152 h 355"/>
                  <a:gd name="T54" fmla="*/ 353 w 369"/>
                  <a:gd name="T55" fmla="*/ 170 h 355"/>
                  <a:gd name="T56" fmla="*/ 343 w 369"/>
                  <a:gd name="T57" fmla="*/ 186 h 355"/>
                  <a:gd name="T58" fmla="*/ 341 w 369"/>
                  <a:gd name="T59" fmla="*/ 215 h 355"/>
                  <a:gd name="T60" fmla="*/ 318 w 369"/>
                  <a:gd name="T61" fmla="*/ 238 h 355"/>
                  <a:gd name="T62" fmla="*/ 304 w 369"/>
                  <a:gd name="T63" fmla="*/ 257 h 355"/>
                  <a:gd name="T64" fmla="*/ 290 w 369"/>
                  <a:gd name="T65" fmla="*/ 269 h 355"/>
                  <a:gd name="T66" fmla="*/ 293 w 369"/>
                  <a:gd name="T67" fmla="*/ 299 h 355"/>
                  <a:gd name="T68" fmla="*/ 292 w 369"/>
                  <a:gd name="T69" fmla="*/ 336 h 355"/>
                  <a:gd name="T70" fmla="*/ 280 w 369"/>
                  <a:gd name="T71" fmla="*/ 348 h 355"/>
                  <a:gd name="T72" fmla="*/ 177 w 369"/>
                  <a:gd name="T73" fmla="*/ 354 h 355"/>
                  <a:gd name="T74" fmla="*/ 18 w 369"/>
                  <a:gd name="T75" fmla="*/ 315 h 355"/>
                  <a:gd name="T76" fmla="*/ 43 w 369"/>
                  <a:gd name="T77" fmla="*/ 273 h 355"/>
                  <a:gd name="T78" fmla="*/ 42 w 369"/>
                  <a:gd name="T79" fmla="*/ 261 h 355"/>
                  <a:gd name="T80" fmla="*/ 32 w 369"/>
                  <a:gd name="T81" fmla="*/ 187 h 355"/>
                  <a:gd name="T82" fmla="*/ 28 w 369"/>
                  <a:gd name="T83" fmla="*/ 152 h 355"/>
                  <a:gd name="T84" fmla="*/ 29 w 369"/>
                  <a:gd name="T85" fmla="*/ 139 h 355"/>
                  <a:gd name="T86" fmla="*/ 31 w 369"/>
                  <a:gd name="T87" fmla="*/ 15 h 355"/>
                  <a:gd name="T88" fmla="*/ 36 w 369"/>
                  <a:gd name="T89" fmla="*/ 9 h 355"/>
                  <a:gd name="T90" fmla="*/ 42 w 369"/>
                  <a:gd name="T91" fmla="*/ 11 h 355"/>
                  <a:gd name="T92" fmla="*/ 52 w 369"/>
                  <a:gd name="T93" fmla="*/ 10 h 355"/>
                  <a:gd name="T94" fmla="*/ 56 w 369"/>
                  <a:gd name="T95" fmla="*/ 10 h 355"/>
                  <a:gd name="T96" fmla="*/ 62 w 369"/>
                  <a:gd name="T97" fmla="*/ 14 h 355"/>
                  <a:gd name="T98" fmla="*/ 63 w 369"/>
                  <a:gd name="T99" fmla="*/ 24 h 355"/>
                  <a:gd name="T100" fmla="*/ 72 w 369"/>
                  <a:gd name="T101" fmla="*/ 32 h 355"/>
                  <a:gd name="T102" fmla="*/ 81 w 369"/>
                  <a:gd name="T103" fmla="*/ 29 h 355"/>
                  <a:gd name="T104" fmla="*/ 91 w 369"/>
                  <a:gd name="T105" fmla="*/ 26 h 355"/>
                  <a:gd name="T106" fmla="*/ 95 w 369"/>
                  <a:gd name="T107" fmla="*/ 24 h 355"/>
                  <a:gd name="T108" fmla="*/ 101 w 369"/>
                  <a:gd name="T109" fmla="*/ 21 h 355"/>
                  <a:gd name="T110" fmla="*/ 110 w 369"/>
                  <a:gd name="T111" fmla="*/ 16 h 355"/>
                  <a:gd name="T112" fmla="*/ 114 w 369"/>
                  <a:gd name="T113" fmla="*/ 7 h 355"/>
                  <a:gd name="T114" fmla="*/ 122 w 369"/>
                  <a:gd name="T115" fmla="*/ 10 h 355"/>
                  <a:gd name="T116" fmla="*/ 130 w 369"/>
                  <a:gd name="T117" fmla="*/ 12 h 355"/>
                  <a:gd name="T118" fmla="*/ 148 w 369"/>
                  <a:gd name="T119" fmla="*/ 1 h 355"/>
                  <a:gd name="T120" fmla="*/ 158 w 369"/>
                  <a:gd name="T121" fmla="*/ 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9" h="355">
                    <a:moveTo>
                      <a:pt x="166" y="13"/>
                    </a:moveTo>
                    <a:lnTo>
                      <a:pt x="168" y="13"/>
                    </a:lnTo>
                    <a:lnTo>
                      <a:pt x="169" y="13"/>
                    </a:lnTo>
                    <a:lnTo>
                      <a:pt x="170" y="14"/>
                    </a:lnTo>
                    <a:lnTo>
                      <a:pt x="170" y="15"/>
                    </a:lnTo>
                    <a:lnTo>
                      <a:pt x="171" y="19"/>
                    </a:lnTo>
                    <a:lnTo>
                      <a:pt x="170" y="20"/>
                    </a:lnTo>
                    <a:lnTo>
                      <a:pt x="170" y="21"/>
                    </a:lnTo>
                    <a:lnTo>
                      <a:pt x="169" y="21"/>
                    </a:lnTo>
                    <a:lnTo>
                      <a:pt x="168" y="23"/>
                    </a:lnTo>
                    <a:lnTo>
                      <a:pt x="166" y="24"/>
                    </a:lnTo>
                    <a:lnTo>
                      <a:pt x="166" y="25"/>
                    </a:lnTo>
                    <a:lnTo>
                      <a:pt x="166" y="26"/>
                    </a:lnTo>
                    <a:lnTo>
                      <a:pt x="168" y="27"/>
                    </a:lnTo>
                    <a:lnTo>
                      <a:pt x="168" y="28"/>
                    </a:lnTo>
                    <a:lnTo>
                      <a:pt x="169" y="28"/>
                    </a:lnTo>
                    <a:lnTo>
                      <a:pt x="170" y="29"/>
                    </a:lnTo>
                    <a:lnTo>
                      <a:pt x="171" y="29"/>
                    </a:lnTo>
                    <a:lnTo>
                      <a:pt x="171" y="30"/>
                    </a:lnTo>
                    <a:lnTo>
                      <a:pt x="172" y="30"/>
                    </a:lnTo>
                    <a:lnTo>
                      <a:pt x="174" y="32"/>
                    </a:lnTo>
                    <a:lnTo>
                      <a:pt x="174" y="33"/>
                    </a:lnTo>
                    <a:lnTo>
                      <a:pt x="174" y="34"/>
                    </a:lnTo>
                    <a:lnTo>
                      <a:pt x="173" y="34"/>
                    </a:lnTo>
                    <a:lnTo>
                      <a:pt x="172" y="34"/>
                    </a:lnTo>
                    <a:lnTo>
                      <a:pt x="171" y="34"/>
                    </a:lnTo>
                    <a:lnTo>
                      <a:pt x="170" y="34"/>
                    </a:lnTo>
                    <a:lnTo>
                      <a:pt x="169" y="34"/>
                    </a:lnTo>
                    <a:lnTo>
                      <a:pt x="168" y="34"/>
                    </a:lnTo>
                    <a:lnTo>
                      <a:pt x="168" y="35"/>
                    </a:lnTo>
                    <a:lnTo>
                      <a:pt x="166" y="36"/>
                    </a:lnTo>
                    <a:lnTo>
                      <a:pt x="166" y="37"/>
                    </a:lnTo>
                    <a:lnTo>
                      <a:pt x="165" y="37"/>
                    </a:lnTo>
                    <a:lnTo>
                      <a:pt x="164" y="37"/>
                    </a:lnTo>
                    <a:lnTo>
                      <a:pt x="164" y="36"/>
                    </a:lnTo>
                    <a:lnTo>
                      <a:pt x="164" y="35"/>
                    </a:lnTo>
                    <a:lnTo>
                      <a:pt x="164" y="34"/>
                    </a:lnTo>
                    <a:lnTo>
                      <a:pt x="165" y="32"/>
                    </a:lnTo>
                    <a:lnTo>
                      <a:pt x="164" y="30"/>
                    </a:lnTo>
                    <a:lnTo>
                      <a:pt x="164" y="29"/>
                    </a:lnTo>
                    <a:lnTo>
                      <a:pt x="163" y="29"/>
                    </a:lnTo>
                    <a:lnTo>
                      <a:pt x="162" y="29"/>
                    </a:lnTo>
                    <a:lnTo>
                      <a:pt x="161" y="29"/>
                    </a:lnTo>
                    <a:lnTo>
                      <a:pt x="161" y="30"/>
                    </a:lnTo>
                    <a:lnTo>
                      <a:pt x="160" y="32"/>
                    </a:lnTo>
                    <a:lnTo>
                      <a:pt x="159" y="33"/>
                    </a:lnTo>
                    <a:lnTo>
                      <a:pt x="159" y="34"/>
                    </a:lnTo>
                    <a:lnTo>
                      <a:pt x="159" y="35"/>
                    </a:lnTo>
                    <a:lnTo>
                      <a:pt x="160" y="35"/>
                    </a:lnTo>
                    <a:lnTo>
                      <a:pt x="160" y="36"/>
                    </a:lnTo>
                    <a:lnTo>
                      <a:pt x="161" y="37"/>
                    </a:lnTo>
                    <a:lnTo>
                      <a:pt x="162" y="38"/>
                    </a:lnTo>
                    <a:lnTo>
                      <a:pt x="162" y="39"/>
                    </a:lnTo>
                    <a:lnTo>
                      <a:pt x="160" y="40"/>
                    </a:lnTo>
                    <a:lnTo>
                      <a:pt x="159" y="40"/>
                    </a:lnTo>
                    <a:lnTo>
                      <a:pt x="159" y="41"/>
                    </a:lnTo>
                    <a:lnTo>
                      <a:pt x="158" y="41"/>
                    </a:lnTo>
                    <a:lnTo>
                      <a:pt x="157" y="42"/>
                    </a:lnTo>
                    <a:lnTo>
                      <a:pt x="157" y="43"/>
                    </a:lnTo>
                    <a:lnTo>
                      <a:pt x="158" y="43"/>
                    </a:lnTo>
                    <a:lnTo>
                      <a:pt x="158" y="45"/>
                    </a:lnTo>
                    <a:lnTo>
                      <a:pt x="159" y="46"/>
                    </a:lnTo>
                    <a:lnTo>
                      <a:pt x="160" y="46"/>
                    </a:lnTo>
                    <a:lnTo>
                      <a:pt x="161" y="46"/>
                    </a:lnTo>
                    <a:lnTo>
                      <a:pt x="163" y="45"/>
                    </a:lnTo>
                    <a:lnTo>
                      <a:pt x="164" y="43"/>
                    </a:lnTo>
                    <a:lnTo>
                      <a:pt x="165" y="43"/>
                    </a:lnTo>
                    <a:lnTo>
                      <a:pt x="165" y="45"/>
                    </a:lnTo>
                    <a:lnTo>
                      <a:pt x="164" y="47"/>
                    </a:lnTo>
                    <a:lnTo>
                      <a:pt x="164" y="48"/>
                    </a:lnTo>
                    <a:lnTo>
                      <a:pt x="164" y="49"/>
                    </a:lnTo>
                    <a:lnTo>
                      <a:pt x="165" y="49"/>
                    </a:lnTo>
                    <a:lnTo>
                      <a:pt x="166" y="49"/>
                    </a:lnTo>
                    <a:lnTo>
                      <a:pt x="168" y="49"/>
                    </a:lnTo>
                    <a:lnTo>
                      <a:pt x="170" y="50"/>
                    </a:lnTo>
                    <a:lnTo>
                      <a:pt x="169" y="51"/>
                    </a:lnTo>
                    <a:lnTo>
                      <a:pt x="170" y="51"/>
                    </a:lnTo>
                    <a:lnTo>
                      <a:pt x="170" y="52"/>
                    </a:lnTo>
                    <a:lnTo>
                      <a:pt x="170" y="53"/>
                    </a:lnTo>
                    <a:lnTo>
                      <a:pt x="171" y="53"/>
                    </a:lnTo>
                    <a:lnTo>
                      <a:pt x="172" y="53"/>
                    </a:lnTo>
                    <a:lnTo>
                      <a:pt x="173" y="52"/>
                    </a:lnTo>
                    <a:lnTo>
                      <a:pt x="174" y="51"/>
                    </a:lnTo>
                    <a:lnTo>
                      <a:pt x="175" y="50"/>
                    </a:lnTo>
                    <a:lnTo>
                      <a:pt x="176" y="50"/>
                    </a:lnTo>
                    <a:lnTo>
                      <a:pt x="176" y="51"/>
                    </a:lnTo>
                    <a:lnTo>
                      <a:pt x="176" y="52"/>
                    </a:lnTo>
                    <a:lnTo>
                      <a:pt x="175" y="53"/>
                    </a:lnTo>
                    <a:lnTo>
                      <a:pt x="175" y="54"/>
                    </a:lnTo>
                    <a:lnTo>
                      <a:pt x="174" y="55"/>
                    </a:lnTo>
                    <a:lnTo>
                      <a:pt x="173" y="56"/>
                    </a:lnTo>
                    <a:lnTo>
                      <a:pt x="172" y="55"/>
                    </a:lnTo>
                    <a:lnTo>
                      <a:pt x="171" y="55"/>
                    </a:lnTo>
                    <a:lnTo>
                      <a:pt x="170" y="55"/>
                    </a:lnTo>
                    <a:lnTo>
                      <a:pt x="169" y="55"/>
                    </a:lnTo>
                    <a:lnTo>
                      <a:pt x="169" y="56"/>
                    </a:lnTo>
                    <a:lnTo>
                      <a:pt x="169" y="58"/>
                    </a:lnTo>
                    <a:lnTo>
                      <a:pt x="169" y="59"/>
                    </a:lnTo>
                    <a:lnTo>
                      <a:pt x="169" y="60"/>
                    </a:lnTo>
                    <a:lnTo>
                      <a:pt x="170" y="60"/>
                    </a:lnTo>
                    <a:lnTo>
                      <a:pt x="170" y="61"/>
                    </a:lnTo>
                    <a:lnTo>
                      <a:pt x="170" y="62"/>
                    </a:lnTo>
                    <a:lnTo>
                      <a:pt x="171" y="62"/>
                    </a:lnTo>
                    <a:lnTo>
                      <a:pt x="172" y="63"/>
                    </a:lnTo>
                    <a:lnTo>
                      <a:pt x="173" y="65"/>
                    </a:lnTo>
                    <a:lnTo>
                      <a:pt x="174" y="65"/>
                    </a:lnTo>
                    <a:lnTo>
                      <a:pt x="175" y="65"/>
                    </a:lnTo>
                    <a:lnTo>
                      <a:pt x="176" y="65"/>
                    </a:lnTo>
                    <a:lnTo>
                      <a:pt x="177" y="66"/>
                    </a:lnTo>
                    <a:lnTo>
                      <a:pt x="178" y="66"/>
                    </a:lnTo>
                    <a:lnTo>
                      <a:pt x="179" y="66"/>
                    </a:lnTo>
                    <a:lnTo>
                      <a:pt x="179" y="67"/>
                    </a:lnTo>
                    <a:lnTo>
                      <a:pt x="178" y="68"/>
                    </a:lnTo>
                    <a:lnTo>
                      <a:pt x="177" y="68"/>
                    </a:lnTo>
                    <a:lnTo>
                      <a:pt x="176" y="69"/>
                    </a:lnTo>
                    <a:lnTo>
                      <a:pt x="175" y="71"/>
                    </a:lnTo>
                    <a:lnTo>
                      <a:pt x="174" y="71"/>
                    </a:lnTo>
                    <a:lnTo>
                      <a:pt x="173" y="71"/>
                    </a:lnTo>
                    <a:lnTo>
                      <a:pt x="172" y="71"/>
                    </a:lnTo>
                    <a:lnTo>
                      <a:pt x="171" y="71"/>
                    </a:lnTo>
                    <a:lnTo>
                      <a:pt x="170" y="72"/>
                    </a:lnTo>
                    <a:lnTo>
                      <a:pt x="169" y="72"/>
                    </a:lnTo>
                    <a:lnTo>
                      <a:pt x="169" y="73"/>
                    </a:lnTo>
                    <a:lnTo>
                      <a:pt x="170" y="74"/>
                    </a:lnTo>
                    <a:lnTo>
                      <a:pt x="171" y="74"/>
                    </a:lnTo>
                    <a:lnTo>
                      <a:pt x="172" y="75"/>
                    </a:lnTo>
                    <a:lnTo>
                      <a:pt x="174" y="75"/>
                    </a:lnTo>
                    <a:lnTo>
                      <a:pt x="175" y="75"/>
                    </a:lnTo>
                    <a:lnTo>
                      <a:pt x="176" y="75"/>
                    </a:lnTo>
                    <a:lnTo>
                      <a:pt x="176" y="76"/>
                    </a:lnTo>
                    <a:lnTo>
                      <a:pt x="177" y="76"/>
                    </a:lnTo>
                    <a:lnTo>
                      <a:pt x="177" y="77"/>
                    </a:lnTo>
                    <a:lnTo>
                      <a:pt x="177" y="78"/>
                    </a:lnTo>
                    <a:lnTo>
                      <a:pt x="176" y="79"/>
                    </a:lnTo>
                    <a:lnTo>
                      <a:pt x="175" y="81"/>
                    </a:lnTo>
                    <a:lnTo>
                      <a:pt x="175" y="83"/>
                    </a:lnTo>
                    <a:lnTo>
                      <a:pt x="176" y="85"/>
                    </a:lnTo>
                    <a:lnTo>
                      <a:pt x="177" y="86"/>
                    </a:lnTo>
                    <a:lnTo>
                      <a:pt x="179" y="86"/>
                    </a:lnTo>
                    <a:lnTo>
                      <a:pt x="182" y="87"/>
                    </a:lnTo>
                    <a:lnTo>
                      <a:pt x="184" y="87"/>
                    </a:lnTo>
                    <a:lnTo>
                      <a:pt x="186" y="86"/>
                    </a:lnTo>
                    <a:lnTo>
                      <a:pt x="187" y="85"/>
                    </a:lnTo>
                    <a:lnTo>
                      <a:pt x="189" y="84"/>
                    </a:lnTo>
                    <a:lnTo>
                      <a:pt x="191" y="81"/>
                    </a:lnTo>
                    <a:lnTo>
                      <a:pt x="192" y="80"/>
                    </a:lnTo>
                    <a:lnTo>
                      <a:pt x="194" y="78"/>
                    </a:lnTo>
                    <a:lnTo>
                      <a:pt x="194" y="77"/>
                    </a:lnTo>
                    <a:lnTo>
                      <a:pt x="195" y="73"/>
                    </a:lnTo>
                    <a:lnTo>
                      <a:pt x="195" y="72"/>
                    </a:lnTo>
                    <a:lnTo>
                      <a:pt x="196" y="72"/>
                    </a:lnTo>
                    <a:lnTo>
                      <a:pt x="197" y="71"/>
                    </a:lnTo>
                    <a:lnTo>
                      <a:pt x="198" y="71"/>
                    </a:lnTo>
                    <a:lnTo>
                      <a:pt x="199" y="71"/>
                    </a:lnTo>
                    <a:lnTo>
                      <a:pt x="200" y="71"/>
                    </a:lnTo>
                    <a:lnTo>
                      <a:pt x="201" y="72"/>
                    </a:lnTo>
                    <a:lnTo>
                      <a:pt x="202" y="73"/>
                    </a:lnTo>
                    <a:lnTo>
                      <a:pt x="203" y="73"/>
                    </a:lnTo>
                    <a:lnTo>
                      <a:pt x="203" y="74"/>
                    </a:lnTo>
                    <a:lnTo>
                      <a:pt x="204" y="75"/>
                    </a:lnTo>
                    <a:lnTo>
                      <a:pt x="204" y="78"/>
                    </a:lnTo>
                    <a:lnTo>
                      <a:pt x="204" y="83"/>
                    </a:lnTo>
                    <a:lnTo>
                      <a:pt x="204" y="85"/>
                    </a:lnTo>
                    <a:lnTo>
                      <a:pt x="204" y="86"/>
                    </a:lnTo>
                    <a:lnTo>
                      <a:pt x="204" y="87"/>
                    </a:lnTo>
                    <a:lnTo>
                      <a:pt x="205" y="88"/>
                    </a:lnTo>
                    <a:lnTo>
                      <a:pt x="207" y="88"/>
                    </a:lnTo>
                    <a:lnTo>
                      <a:pt x="208" y="88"/>
                    </a:lnTo>
                    <a:lnTo>
                      <a:pt x="209" y="87"/>
                    </a:lnTo>
                    <a:lnTo>
                      <a:pt x="210" y="86"/>
                    </a:lnTo>
                    <a:lnTo>
                      <a:pt x="211" y="84"/>
                    </a:lnTo>
                    <a:lnTo>
                      <a:pt x="213" y="83"/>
                    </a:lnTo>
                    <a:lnTo>
                      <a:pt x="214" y="81"/>
                    </a:lnTo>
                    <a:lnTo>
                      <a:pt x="215" y="81"/>
                    </a:lnTo>
                    <a:lnTo>
                      <a:pt x="218" y="81"/>
                    </a:lnTo>
                    <a:lnTo>
                      <a:pt x="220" y="81"/>
                    </a:lnTo>
                    <a:lnTo>
                      <a:pt x="221" y="79"/>
                    </a:lnTo>
                    <a:lnTo>
                      <a:pt x="221" y="78"/>
                    </a:lnTo>
                    <a:lnTo>
                      <a:pt x="220" y="77"/>
                    </a:lnTo>
                    <a:lnTo>
                      <a:pt x="218" y="76"/>
                    </a:lnTo>
                    <a:lnTo>
                      <a:pt x="217" y="76"/>
                    </a:lnTo>
                    <a:lnTo>
                      <a:pt x="216" y="77"/>
                    </a:lnTo>
                    <a:lnTo>
                      <a:pt x="215" y="77"/>
                    </a:lnTo>
                    <a:lnTo>
                      <a:pt x="214" y="77"/>
                    </a:lnTo>
                    <a:lnTo>
                      <a:pt x="212" y="77"/>
                    </a:lnTo>
                    <a:lnTo>
                      <a:pt x="211" y="76"/>
                    </a:lnTo>
                    <a:lnTo>
                      <a:pt x="210" y="75"/>
                    </a:lnTo>
                    <a:lnTo>
                      <a:pt x="210" y="73"/>
                    </a:lnTo>
                    <a:lnTo>
                      <a:pt x="210" y="72"/>
                    </a:lnTo>
                    <a:lnTo>
                      <a:pt x="210" y="71"/>
                    </a:lnTo>
                    <a:lnTo>
                      <a:pt x="210" y="69"/>
                    </a:lnTo>
                    <a:lnTo>
                      <a:pt x="210" y="68"/>
                    </a:lnTo>
                    <a:lnTo>
                      <a:pt x="210" y="67"/>
                    </a:lnTo>
                    <a:lnTo>
                      <a:pt x="209" y="66"/>
                    </a:lnTo>
                    <a:lnTo>
                      <a:pt x="208" y="63"/>
                    </a:lnTo>
                    <a:lnTo>
                      <a:pt x="207" y="60"/>
                    </a:lnTo>
                    <a:lnTo>
                      <a:pt x="204" y="56"/>
                    </a:lnTo>
                    <a:lnTo>
                      <a:pt x="204" y="54"/>
                    </a:lnTo>
                    <a:lnTo>
                      <a:pt x="204" y="53"/>
                    </a:lnTo>
                    <a:lnTo>
                      <a:pt x="204" y="52"/>
                    </a:lnTo>
                    <a:lnTo>
                      <a:pt x="205" y="50"/>
                    </a:lnTo>
                    <a:lnTo>
                      <a:pt x="205" y="49"/>
                    </a:lnTo>
                    <a:lnTo>
                      <a:pt x="207" y="48"/>
                    </a:lnTo>
                    <a:lnTo>
                      <a:pt x="208" y="45"/>
                    </a:lnTo>
                    <a:lnTo>
                      <a:pt x="209" y="42"/>
                    </a:lnTo>
                    <a:lnTo>
                      <a:pt x="212" y="39"/>
                    </a:lnTo>
                    <a:lnTo>
                      <a:pt x="214" y="37"/>
                    </a:lnTo>
                    <a:lnTo>
                      <a:pt x="216" y="36"/>
                    </a:lnTo>
                    <a:lnTo>
                      <a:pt x="218" y="35"/>
                    </a:lnTo>
                    <a:lnTo>
                      <a:pt x="222" y="35"/>
                    </a:lnTo>
                    <a:lnTo>
                      <a:pt x="227" y="34"/>
                    </a:lnTo>
                    <a:lnTo>
                      <a:pt x="230" y="35"/>
                    </a:lnTo>
                    <a:lnTo>
                      <a:pt x="236" y="37"/>
                    </a:lnTo>
                    <a:lnTo>
                      <a:pt x="239" y="38"/>
                    </a:lnTo>
                    <a:lnTo>
                      <a:pt x="241" y="39"/>
                    </a:lnTo>
                    <a:lnTo>
                      <a:pt x="248" y="43"/>
                    </a:lnTo>
                    <a:lnTo>
                      <a:pt x="251" y="46"/>
                    </a:lnTo>
                    <a:lnTo>
                      <a:pt x="253" y="48"/>
                    </a:lnTo>
                    <a:lnTo>
                      <a:pt x="254" y="50"/>
                    </a:lnTo>
                    <a:lnTo>
                      <a:pt x="258" y="53"/>
                    </a:lnTo>
                    <a:lnTo>
                      <a:pt x="259" y="55"/>
                    </a:lnTo>
                    <a:lnTo>
                      <a:pt x="261" y="58"/>
                    </a:lnTo>
                    <a:lnTo>
                      <a:pt x="262" y="59"/>
                    </a:lnTo>
                    <a:lnTo>
                      <a:pt x="263" y="59"/>
                    </a:lnTo>
                    <a:lnTo>
                      <a:pt x="264" y="59"/>
                    </a:lnTo>
                    <a:lnTo>
                      <a:pt x="265" y="59"/>
                    </a:lnTo>
                    <a:lnTo>
                      <a:pt x="266" y="58"/>
                    </a:lnTo>
                    <a:lnTo>
                      <a:pt x="268" y="56"/>
                    </a:lnTo>
                    <a:lnTo>
                      <a:pt x="268" y="55"/>
                    </a:lnTo>
                    <a:lnTo>
                      <a:pt x="271" y="54"/>
                    </a:lnTo>
                    <a:lnTo>
                      <a:pt x="272" y="54"/>
                    </a:lnTo>
                    <a:lnTo>
                      <a:pt x="273" y="55"/>
                    </a:lnTo>
                    <a:lnTo>
                      <a:pt x="274" y="58"/>
                    </a:lnTo>
                    <a:lnTo>
                      <a:pt x="275" y="59"/>
                    </a:lnTo>
                    <a:lnTo>
                      <a:pt x="276" y="61"/>
                    </a:lnTo>
                    <a:lnTo>
                      <a:pt x="277" y="62"/>
                    </a:lnTo>
                    <a:lnTo>
                      <a:pt x="278" y="63"/>
                    </a:lnTo>
                    <a:lnTo>
                      <a:pt x="279" y="64"/>
                    </a:lnTo>
                    <a:lnTo>
                      <a:pt x="280" y="65"/>
                    </a:lnTo>
                    <a:lnTo>
                      <a:pt x="282" y="65"/>
                    </a:lnTo>
                    <a:lnTo>
                      <a:pt x="285" y="66"/>
                    </a:lnTo>
                    <a:lnTo>
                      <a:pt x="286" y="67"/>
                    </a:lnTo>
                    <a:lnTo>
                      <a:pt x="286" y="68"/>
                    </a:lnTo>
                    <a:lnTo>
                      <a:pt x="286" y="69"/>
                    </a:lnTo>
                    <a:lnTo>
                      <a:pt x="285" y="72"/>
                    </a:lnTo>
                    <a:lnTo>
                      <a:pt x="285" y="74"/>
                    </a:lnTo>
                    <a:lnTo>
                      <a:pt x="286" y="75"/>
                    </a:lnTo>
                    <a:lnTo>
                      <a:pt x="287" y="77"/>
                    </a:lnTo>
                    <a:lnTo>
                      <a:pt x="290" y="78"/>
                    </a:lnTo>
                    <a:lnTo>
                      <a:pt x="292" y="79"/>
                    </a:lnTo>
                    <a:lnTo>
                      <a:pt x="294" y="80"/>
                    </a:lnTo>
                    <a:lnTo>
                      <a:pt x="297" y="83"/>
                    </a:lnTo>
                    <a:lnTo>
                      <a:pt x="298" y="84"/>
                    </a:lnTo>
                    <a:lnTo>
                      <a:pt x="299" y="85"/>
                    </a:lnTo>
                    <a:lnTo>
                      <a:pt x="302" y="86"/>
                    </a:lnTo>
                    <a:lnTo>
                      <a:pt x="304" y="87"/>
                    </a:lnTo>
                    <a:lnTo>
                      <a:pt x="307" y="88"/>
                    </a:lnTo>
                    <a:lnTo>
                      <a:pt x="310" y="88"/>
                    </a:lnTo>
                    <a:lnTo>
                      <a:pt x="313" y="87"/>
                    </a:lnTo>
                    <a:lnTo>
                      <a:pt x="315" y="87"/>
                    </a:lnTo>
                    <a:lnTo>
                      <a:pt x="317" y="87"/>
                    </a:lnTo>
                    <a:lnTo>
                      <a:pt x="319" y="87"/>
                    </a:lnTo>
                    <a:lnTo>
                      <a:pt x="325" y="91"/>
                    </a:lnTo>
                    <a:lnTo>
                      <a:pt x="326" y="92"/>
                    </a:lnTo>
                    <a:lnTo>
                      <a:pt x="327" y="93"/>
                    </a:lnTo>
                    <a:lnTo>
                      <a:pt x="328" y="93"/>
                    </a:lnTo>
                    <a:lnTo>
                      <a:pt x="328" y="94"/>
                    </a:lnTo>
                    <a:lnTo>
                      <a:pt x="328" y="96"/>
                    </a:lnTo>
                    <a:lnTo>
                      <a:pt x="329" y="99"/>
                    </a:lnTo>
                    <a:lnTo>
                      <a:pt x="330" y="100"/>
                    </a:lnTo>
                    <a:lnTo>
                      <a:pt x="331" y="101"/>
                    </a:lnTo>
                    <a:lnTo>
                      <a:pt x="333" y="101"/>
                    </a:lnTo>
                    <a:lnTo>
                      <a:pt x="336" y="101"/>
                    </a:lnTo>
                    <a:lnTo>
                      <a:pt x="337" y="102"/>
                    </a:lnTo>
                    <a:lnTo>
                      <a:pt x="339" y="102"/>
                    </a:lnTo>
                    <a:lnTo>
                      <a:pt x="341" y="103"/>
                    </a:lnTo>
                    <a:lnTo>
                      <a:pt x="342" y="103"/>
                    </a:lnTo>
                    <a:lnTo>
                      <a:pt x="343" y="102"/>
                    </a:lnTo>
                    <a:lnTo>
                      <a:pt x="344" y="101"/>
                    </a:lnTo>
                    <a:lnTo>
                      <a:pt x="345" y="100"/>
                    </a:lnTo>
                    <a:lnTo>
                      <a:pt x="346" y="99"/>
                    </a:lnTo>
                    <a:lnTo>
                      <a:pt x="349" y="98"/>
                    </a:lnTo>
                    <a:lnTo>
                      <a:pt x="350" y="97"/>
                    </a:lnTo>
                    <a:lnTo>
                      <a:pt x="352" y="97"/>
                    </a:lnTo>
                    <a:lnTo>
                      <a:pt x="353" y="98"/>
                    </a:lnTo>
                    <a:lnTo>
                      <a:pt x="354" y="99"/>
                    </a:lnTo>
                    <a:lnTo>
                      <a:pt x="355" y="100"/>
                    </a:lnTo>
                    <a:lnTo>
                      <a:pt x="356" y="100"/>
                    </a:lnTo>
                    <a:lnTo>
                      <a:pt x="359" y="101"/>
                    </a:lnTo>
                    <a:lnTo>
                      <a:pt x="360" y="102"/>
                    </a:lnTo>
                    <a:lnTo>
                      <a:pt x="363" y="103"/>
                    </a:lnTo>
                    <a:lnTo>
                      <a:pt x="364" y="104"/>
                    </a:lnTo>
                    <a:lnTo>
                      <a:pt x="365" y="105"/>
                    </a:lnTo>
                    <a:lnTo>
                      <a:pt x="366" y="110"/>
                    </a:lnTo>
                    <a:lnTo>
                      <a:pt x="367" y="111"/>
                    </a:lnTo>
                    <a:lnTo>
                      <a:pt x="368" y="112"/>
                    </a:lnTo>
                    <a:lnTo>
                      <a:pt x="369" y="112"/>
                    </a:lnTo>
                    <a:lnTo>
                      <a:pt x="369" y="113"/>
                    </a:lnTo>
                    <a:lnTo>
                      <a:pt x="369" y="114"/>
                    </a:lnTo>
                    <a:lnTo>
                      <a:pt x="368" y="115"/>
                    </a:lnTo>
                    <a:lnTo>
                      <a:pt x="367" y="116"/>
                    </a:lnTo>
                    <a:lnTo>
                      <a:pt x="366" y="118"/>
                    </a:lnTo>
                    <a:lnTo>
                      <a:pt x="365" y="119"/>
                    </a:lnTo>
                    <a:lnTo>
                      <a:pt x="365" y="122"/>
                    </a:lnTo>
                    <a:lnTo>
                      <a:pt x="366" y="124"/>
                    </a:lnTo>
                    <a:lnTo>
                      <a:pt x="366" y="127"/>
                    </a:lnTo>
                    <a:lnTo>
                      <a:pt x="366" y="128"/>
                    </a:lnTo>
                    <a:lnTo>
                      <a:pt x="365" y="130"/>
                    </a:lnTo>
                    <a:lnTo>
                      <a:pt x="364" y="130"/>
                    </a:lnTo>
                    <a:lnTo>
                      <a:pt x="363" y="130"/>
                    </a:lnTo>
                    <a:lnTo>
                      <a:pt x="360" y="130"/>
                    </a:lnTo>
                    <a:lnTo>
                      <a:pt x="357" y="129"/>
                    </a:lnTo>
                    <a:lnTo>
                      <a:pt x="355" y="130"/>
                    </a:lnTo>
                    <a:lnTo>
                      <a:pt x="354" y="130"/>
                    </a:lnTo>
                    <a:lnTo>
                      <a:pt x="352" y="132"/>
                    </a:lnTo>
                    <a:lnTo>
                      <a:pt x="351" y="135"/>
                    </a:lnTo>
                    <a:lnTo>
                      <a:pt x="350" y="137"/>
                    </a:lnTo>
                    <a:lnTo>
                      <a:pt x="349" y="138"/>
                    </a:lnTo>
                    <a:lnTo>
                      <a:pt x="347" y="139"/>
                    </a:lnTo>
                    <a:lnTo>
                      <a:pt x="347" y="141"/>
                    </a:lnTo>
                    <a:lnTo>
                      <a:pt x="346" y="142"/>
                    </a:lnTo>
                    <a:lnTo>
                      <a:pt x="344" y="146"/>
                    </a:lnTo>
                    <a:lnTo>
                      <a:pt x="343" y="150"/>
                    </a:lnTo>
                    <a:lnTo>
                      <a:pt x="343" y="152"/>
                    </a:lnTo>
                    <a:lnTo>
                      <a:pt x="343" y="154"/>
                    </a:lnTo>
                    <a:lnTo>
                      <a:pt x="343" y="157"/>
                    </a:lnTo>
                    <a:lnTo>
                      <a:pt x="344" y="158"/>
                    </a:lnTo>
                    <a:lnTo>
                      <a:pt x="344" y="162"/>
                    </a:lnTo>
                    <a:lnTo>
                      <a:pt x="345" y="163"/>
                    </a:lnTo>
                    <a:lnTo>
                      <a:pt x="346" y="163"/>
                    </a:lnTo>
                    <a:lnTo>
                      <a:pt x="349" y="164"/>
                    </a:lnTo>
                    <a:lnTo>
                      <a:pt x="351" y="164"/>
                    </a:lnTo>
                    <a:lnTo>
                      <a:pt x="352" y="165"/>
                    </a:lnTo>
                    <a:lnTo>
                      <a:pt x="353" y="167"/>
                    </a:lnTo>
                    <a:lnTo>
                      <a:pt x="353" y="168"/>
                    </a:lnTo>
                    <a:lnTo>
                      <a:pt x="353" y="170"/>
                    </a:lnTo>
                    <a:lnTo>
                      <a:pt x="353" y="173"/>
                    </a:lnTo>
                    <a:lnTo>
                      <a:pt x="352" y="176"/>
                    </a:lnTo>
                    <a:lnTo>
                      <a:pt x="351" y="177"/>
                    </a:lnTo>
                    <a:lnTo>
                      <a:pt x="350" y="177"/>
                    </a:lnTo>
                    <a:lnTo>
                      <a:pt x="349" y="178"/>
                    </a:lnTo>
                    <a:lnTo>
                      <a:pt x="347" y="178"/>
                    </a:lnTo>
                    <a:lnTo>
                      <a:pt x="346" y="179"/>
                    </a:lnTo>
                    <a:lnTo>
                      <a:pt x="345" y="180"/>
                    </a:lnTo>
                    <a:lnTo>
                      <a:pt x="344" y="181"/>
                    </a:lnTo>
                    <a:lnTo>
                      <a:pt x="343" y="182"/>
                    </a:lnTo>
                    <a:lnTo>
                      <a:pt x="343" y="183"/>
                    </a:lnTo>
                    <a:lnTo>
                      <a:pt x="343" y="186"/>
                    </a:lnTo>
                    <a:lnTo>
                      <a:pt x="343" y="188"/>
                    </a:lnTo>
                    <a:lnTo>
                      <a:pt x="344" y="188"/>
                    </a:lnTo>
                    <a:lnTo>
                      <a:pt x="346" y="190"/>
                    </a:lnTo>
                    <a:lnTo>
                      <a:pt x="349" y="190"/>
                    </a:lnTo>
                    <a:lnTo>
                      <a:pt x="350" y="192"/>
                    </a:lnTo>
                    <a:lnTo>
                      <a:pt x="350" y="193"/>
                    </a:lnTo>
                    <a:lnTo>
                      <a:pt x="349" y="194"/>
                    </a:lnTo>
                    <a:lnTo>
                      <a:pt x="349" y="196"/>
                    </a:lnTo>
                    <a:lnTo>
                      <a:pt x="347" y="197"/>
                    </a:lnTo>
                    <a:lnTo>
                      <a:pt x="345" y="204"/>
                    </a:lnTo>
                    <a:lnTo>
                      <a:pt x="342" y="210"/>
                    </a:lnTo>
                    <a:lnTo>
                      <a:pt x="341" y="215"/>
                    </a:lnTo>
                    <a:lnTo>
                      <a:pt x="340" y="216"/>
                    </a:lnTo>
                    <a:lnTo>
                      <a:pt x="339" y="218"/>
                    </a:lnTo>
                    <a:lnTo>
                      <a:pt x="334" y="222"/>
                    </a:lnTo>
                    <a:lnTo>
                      <a:pt x="330" y="226"/>
                    </a:lnTo>
                    <a:lnTo>
                      <a:pt x="329" y="227"/>
                    </a:lnTo>
                    <a:lnTo>
                      <a:pt x="327" y="228"/>
                    </a:lnTo>
                    <a:lnTo>
                      <a:pt x="326" y="230"/>
                    </a:lnTo>
                    <a:lnTo>
                      <a:pt x="326" y="231"/>
                    </a:lnTo>
                    <a:lnTo>
                      <a:pt x="325" y="233"/>
                    </a:lnTo>
                    <a:lnTo>
                      <a:pt x="321" y="235"/>
                    </a:lnTo>
                    <a:lnTo>
                      <a:pt x="321" y="236"/>
                    </a:lnTo>
                    <a:lnTo>
                      <a:pt x="318" y="238"/>
                    </a:lnTo>
                    <a:lnTo>
                      <a:pt x="316" y="239"/>
                    </a:lnTo>
                    <a:lnTo>
                      <a:pt x="314" y="240"/>
                    </a:lnTo>
                    <a:lnTo>
                      <a:pt x="312" y="241"/>
                    </a:lnTo>
                    <a:lnTo>
                      <a:pt x="311" y="243"/>
                    </a:lnTo>
                    <a:lnTo>
                      <a:pt x="310" y="244"/>
                    </a:lnTo>
                    <a:lnTo>
                      <a:pt x="308" y="250"/>
                    </a:lnTo>
                    <a:lnTo>
                      <a:pt x="308" y="251"/>
                    </a:lnTo>
                    <a:lnTo>
                      <a:pt x="308" y="253"/>
                    </a:lnTo>
                    <a:lnTo>
                      <a:pt x="307" y="255"/>
                    </a:lnTo>
                    <a:lnTo>
                      <a:pt x="306" y="256"/>
                    </a:lnTo>
                    <a:lnTo>
                      <a:pt x="305" y="256"/>
                    </a:lnTo>
                    <a:lnTo>
                      <a:pt x="304" y="257"/>
                    </a:lnTo>
                    <a:lnTo>
                      <a:pt x="301" y="257"/>
                    </a:lnTo>
                    <a:lnTo>
                      <a:pt x="298" y="258"/>
                    </a:lnTo>
                    <a:lnTo>
                      <a:pt x="297" y="258"/>
                    </a:lnTo>
                    <a:lnTo>
                      <a:pt x="295" y="259"/>
                    </a:lnTo>
                    <a:lnTo>
                      <a:pt x="294" y="260"/>
                    </a:lnTo>
                    <a:lnTo>
                      <a:pt x="293" y="261"/>
                    </a:lnTo>
                    <a:lnTo>
                      <a:pt x="291" y="263"/>
                    </a:lnTo>
                    <a:lnTo>
                      <a:pt x="291" y="264"/>
                    </a:lnTo>
                    <a:lnTo>
                      <a:pt x="290" y="265"/>
                    </a:lnTo>
                    <a:lnTo>
                      <a:pt x="290" y="266"/>
                    </a:lnTo>
                    <a:lnTo>
                      <a:pt x="290" y="268"/>
                    </a:lnTo>
                    <a:lnTo>
                      <a:pt x="290" y="269"/>
                    </a:lnTo>
                    <a:lnTo>
                      <a:pt x="291" y="270"/>
                    </a:lnTo>
                    <a:lnTo>
                      <a:pt x="291" y="273"/>
                    </a:lnTo>
                    <a:lnTo>
                      <a:pt x="292" y="276"/>
                    </a:lnTo>
                    <a:lnTo>
                      <a:pt x="292" y="277"/>
                    </a:lnTo>
                    <a:lnTo>
                      <a:pt x="292" y="282"/>
                    </a:lnTo>
                    <a:lnTo>
                      <a:pt x="292" y="286"/>
                    </a:lnTo>
                    <a:lnTo>
                      <a:pt x="292" y="289"/>
                    </a:lnTo>
                    <a:lnTo>
                      <a:pt x="292" y="290"/>
                    </a:lnTo>
                    <a:lnTo>
                      <a:pt x="292" y="292"/>
                    </a:lnTo>
                    <a:lnTo>
                      <a:pt x="292" y="293"/>
                    </a:lnTo>
                    <a:lnTo>
                      <a:pt x="293" y="298"/>
                    </a:lnTo>
                    <a:lnTo>
                      <a:pt x="293" y="299"/>
                    </a:lnTo>
                    <a:lnTo>
                      <a:pt x="293" y="300"/>
                    </a:lnTo>
                    <a:lnTo>
                      <a:pt x="293" y="306"/>
                    </a:lnTo>
                    <a:lnTo>
                      <a:pt x="293" y="307"/>
                    </a:lnTo>
                    <a:lnTo>
                      <a:pt x="293" y="308"/>
                    </a:lnTo>
                    <a:lnTo>
                      <a:pt x="293" y="317"/>
                    </a:lnTo>
                    <a:lnTo>
                      <a:pt x="293" y="319"/>
                    </a:lnTo>
                    <a:lnTo>
                      <a:pt x="293" y="320"/>
                    </a:lnTo>
                    <a:lnTo>
                      <a:pt x="293" y="323"/>
                    </a:lnTo>
                    <a:lnTo>
                      <a:pt x="292" y="330"/>
                    </a:lnTo>
                    <a:lnTo>
                      <a:pt x="292" y="332"/>
                    </a:lnTo>
                    <a:lnTo>
                      <a:pt x="293" y="335"/>
                    </a:lnTo>
                    <a:lnTo>
                      <a:pt x="292" y="336"/>
                    </a:lnTo>
                    <a:lnTo>
                      <a:pt x="292" y="337"/>
                    </a:lnTo>
                    <a:lnTo>
                      <a:pt x="292" y="340"/>
                    </a:lnTo>
                    <a:lnTo>
                      <a:pt x="292" y="341"/>
                    </a:lnTo>
                    <a:lnTo>
                      <a:pt x="292" y="343"/>
                    </a:lnTo>
                    <a:lnTo>
                      <a:pt x="291" y="344"/>
                    </a:lnTo>
                    <a:lnTo>
                      <a:pt x="290" y="345"/>
                    </a:lnTo>
                    <a:lnTo>
                      <a:pt x="288" y="345"/>
                    </a:lnTo>
                    <a:lnTo>
                      <a:pt x="284" y="345"/>
                    </a:lnTo>
                    <a:lnTo>
                      <a:pt x="281" y="345"/>
                    </a:lnTo>
                    <a:lnTo>
                      <a:pt x="280" y="346"/>
                    </a:lnTo>
                    <a:lnTo>
                      <a:pt x="280" y="347"/>
                    </a:lnTo>
                    <a:lnTo>
                      <a:pt x="280" y="348"/>
                    </a:lnTo>
                    <a:lnTo>
                      <a:pt x="280" y="349"/>
                    </a:lnTo>
                    <a:lnTo>
                      <a:pt x="280" y="350"/>
                    </a:lnTo>
                    <a:lnTo>
                      <a:pt x="284" y="354"/>
                    </a:lnTo>
                    <a:lnTo>
                      <a:pt x="285" y="355"/>
                    </a:lnTo>
                    <a:lnTo>
                      <a:pt x="282" y="355"/>
                    </a:lnTo>
                    <a:lnTo>
                      <a:pt x="271" y="355"/>
                    </a:lnTo>
                    <a:lnTo>
                      <a:pt x="264" y="355"/>
                    </a:lnTo>
                    <a:lnTo>
                      <a:pt x="260" y="355"/>
                    </a:lnTo>
                    <a:lnTo>
                      <a:pt x="254" y="355"/>
                    </a:lnTo>
                    <a:lnTo>
                      <a:pt x="248" y="355"/>
                    </a:lnTo>
                    <a:lnTo>
                      <a:pt x="203" y="355"/>
                    </a:lnTo>
                    <a:lnTo>
                      <a:pt x="177" y="354"/>
                    </a:lnTo>
                    <a:lnTo>
                      <a:pt x="172" y="354"/>
                    </a:lnTo>
                    <a:lnTo>
                      <a:pt x="153" y="354"/>
                    </a:lnTo>
                    <a:lnTo>
                      <a:pt x="137" y="354"/>
                    </a:lnTo>
                    <a:lnTo>
                      <a:pt x="110" y="354"/>
                    </a:lnTo>
                    <a:lnTo>
                      <a:pt x="109" y="354"/>
                    </a:lnTo>
                    <a:lnTo>
                      <a:pt x="105" y="354"/>
                    </a:lnTo>
                    <a:lnTo>
                      <a:pt x="95" y="354"/>
                    </a:lnTo>
                    <a:lnTo>
                      <a:pt x="41" y="355"/>
                    </a:lnTo>
                    <a:lnTo>
                      <a:pt x="32" y="355"/>
                    </a:lnTo>
                    <a:lnTo>
                      <a:pt x="26" y="355"/>
                    </a:lnTo>
                    <a:lnTo>
                      <a:pt x="26" y="323"/>
                    </a:lnTo>
                    <a:lnTo>
                      <a:pt x="18" y="315"/>
                    </a:lnTo>
                    <a:lnTo>
                      <a:pt x="0" y="292"/>
                    </a:lnTo>
                    <a:lnTo>
                      <a:pt x="0" y="277"/>
                    </a:lnTo>
                    <a:lnTo>
                      <a:pt x="0" y="271"/>
                    </a:lnTo>
                    <a:lnTo>
                      <a:pt x="18" y="271"/>
                    </a:lnTo>
                    <a:lnTo>
                      <a:pt x="30" y="271"/>
                    </a:lnTo>
                    <a:lnTo>
                      <a:pt x="39" y="271"/>
                    </a:lnTo>
                    <a:lnTo>
                      <a:pt x="40" y="271"/>
                    </a:lnTo>
                    <a:lnTo>
                      <a:pt x="41" y="271"/>
                    </a:lnTo>
                    <a:lnTo>
                      <a:pt x="41" y="272"/>
                    </a:lnTo>
                    <a:lnTo>
                      <a:pt x="42" y="272"/>
                    </a:lnTo>
                    <a:lnTo>
                      <a:pt x="42" y="273"/>
                    </a:lnTo>
                    <a:lnTo>
                      <a:pt x="43" y="273"/>
                    </a:lnTo>
                    <a:lnTo>
                      <a:pt x="44" y="273"/>
                    </a:lnTo>
                    <a:lnTo>
                      <a:pt x="44" y="272"/>
                    </a:lnTo>
                    <a:lnTo>
                      <a:pt x="44" y="271"/>
                    </a:lnTo>
                    <a:lnTo>
                      <a:pt x="44" y="269"/>
                    </a:lnTo>
                    <a:lnTo>
                      <a:pt x="46" y="266"/>
                    </a:lnTo>
                    <a:lnTo>
                      <a:pt x="46" y="265"/>
                    </a:lnTo>
                    <a:lnTo>
                      <a:pt x="45" y="265"/>
                    </a:lnTo>
                    <a:lnTo>
                      <a:pt x="43" y="265"/>
                    </a:lnTo>
                    <a:lnTo>
                      <a:pt x="42" y="265"/>
                    </a:lnTo>
                    <a:lnTo>
                      <a:pt x="42" y="264"/>
                    </a:lnTo>
                    <a:lnTo>
                      <a:pt x="42" y="263"/>
                    </a:lnTo>
                    <a:lnTo>
                      <a:pt x="42" y="261"/>
                    </a:lnTo>
                    <a:lnTo>
                      <a:pt x="42" y="260"/>
                    </a:lnTo>
                    <a:lnTo>
                      <a:pt x="42" y="258"/>
                    </a:lnTo>
                    <a:lnTo>
                      <a:pt x="42" y="256"/>
                    </a:lnTo>
                    <a:lnTo>
                      <a:pt x="42" y="255"/>
                    </a:lnTo>
                    <a:lnTo>
                      <a:pt x="41" y="255"/>
                    </a:lnTo>
                    <a:lnTo>
                      <a:pt x="41" y="254"/>
                    </a:lnTo>
                    <a:lnTo>
                      <a:pt x="40" y="254"/>
                    </a:lnTo>
                    <a:lnTo>
                      <a:pt x="40" y="253"/>
                    </a:lnTo>
                    <a:lnTo>
                      <a:pt x="39" y="253"/>
                    </a:lnTo>
                    <a:lnTo>
                      <a:pt x="39" y="246"/>
                    </a:lnTo>
                    <a:lnTo>
                      <a:pt x="32" y="193"/>
                    </a:lnTo>
                    <a:lnTo>
                      <a:pt x="32" y="187"/>
                    </a:lnTo>
                    <a:lnTo>
                      <a:pt x="32" y="186"/>
                    </a:lnTo>
                    <a:lnTo>
                      <a:pt x="30" y="167"/>
                    </a:lnTo>
                    <a:lnTo>
                      <a:pt x="30" y="166"/>
                    </a:lnTo>
                    <a:lnTo>
                      <a:pt x="30" y="164"/>
                    </a:lnTo>
                    <a:lnTo>
                      <a:pt x="29" y="163"/>
                    </a:lnTo>
                    <a:lnTo>
                      <a:pt x="29" y="162"/>
                    </a:lnTo>
                    <a:lnTo>
                      <a:pt x="29" y="161"/>
                    </a:lnTo>
                    <a:lnTo>
                      <a:pt x="29" y="158"/>
                    </a:lnTo>
                    <a:lnTo>
                      <a:pt x="29" y="157"/>
                    </a:lnTo>
                    <a:lnTo>
                      <a:pt x="28" y="155"/>
                    </a:lnTo>
                    <a:lnTo>
                      <a:pt x="28" y="154"/>
                    </a:lnTo>
                    <a:lnTo>
                      <a:pt x="28" y="152"/>
                    </a:lnTo>
                    <a:lnTo>
                      <a:pt x="29" y="151"/>
                    </a:lnTo>
                    <a:lnTo>
                      <a:pt x="30" y="149"/>
                    </a:lnTo>
                    <a:lnTo>
                      <a:pt x="31" y="149"/>
                    </a:lnTo>
                    <a:lnTo>
                      <a:pt x="31" y="148"/>
                    </a:lnTo>
                    <a:lnTo>
                      <a:pt x="32" y="148"/>
                    </a:lnTo>
                    <a:lnTo>
                      <a:pt x="33" y="145"/>
                    </a:lnTo>
                    <a:lnTo>
                      <a:pt x="34" y="145"/>
                    </a:lnTo>
                    <a:lnTo>
                      <a:pt x="34" y="144"/>
                    </a:lnTo>
                    <a:lnTo>
                      <a:pt x="34" y="143"/>
                    </a:lnTo>
                    <a:lnTo>
                      <a:pt x="32" y="141"/>
                    </a:lnTo>
                    <a:lnTo>
                      <a:pt x="30" y="139"/>
                    </a:lnTo>
                    <a:lnTo>
                      <a:pt x="29" y="139"/>
                    </a:lnTo>
                    <a:lnTo>
                      <a:pt x="29" y="138"/>
                    </a:lnTo>
                    <a:lnTo>
                      <a:pt x="29" y="113"/>
                    </a:lnTo>
                    <a:lnTo>
                      <a:pt x="29" y="107"/>
                    </a:lnTo>
                    <a:lnTo>
                      <a:pt x="29" y="96"/>
                    </a:lnTo>
                    <a:lnTo>
                      <a:pt x="29" y="68"/>
                    </a:lnTo>
                    <a:lnTo>
                      <a:pt x="29" y="67"/>
                    </a:lnTo>
                    <a:lnTo>
                      <a:pt x="29" y="63"/>
                    </a:lnTo>
                    <a:lnTo>
                      <a:pt x="29" y="50"/>
                    </a:lnTo>
                    <a:lnTo>
                      <a:pt x="29" y="19"/>
                    </a:lnTo>
                    <a:lnTo>
                      <a:pt x="29" y="15"/>
                    </a:lnTo>
                    <a:lnTo>
                      <a:pt x="30" y="15"/>
                    </a:lnTo>
                    <a:lnTo>
                      <a:pt x="31" y="15"/>
                    </a:lnTo>
                    <a:lnTo>
                      <a:pt x="31" y="14"/>
                    </a:lnTo>
                    <a:lnTo>
                      <a:pt x="32" y="14"/>
                    </a:lnTo>
                    <a:lnTo>
                      <a:pt x="32" y="13"/>
                    </a:lnTo>
                    <a:lnTo>
                      <a:pt x="33" y="13"/>
                    </a:lnTo>
                    <a:lnTo>
                      <a:pt x="33" y="12"/>
                    </a:lnTo>
                    <a:lnTo>
                      <a:pt x="34" y="13"/>
                    </a:lnTo>
                    <a:lnTo>
                      <a:pt x="34" y="12"/>
                    </a:lnTo>
                    <a:lnTo>
                      <a:pt x="34" y="11"/>
                    </a:lnTo>
                    <a:lnTo>
                      <a:pt x="34" y="10"/>
                    </a:lnTo>
                    <a:lnTo>
                      <a:pt x="35" y="10"/>
                    </a:lnTo>
                    <a:lnTo>
                      <a:pt x="35" y="9"/>
                    </a:lnTo>
                    <a:lnTo>
                      <a:pt x="36" y="9"/>
                    </a:lnTo>
                    <a:lnTo>
                      <a:pt x="36" y="10"/>
                    </a:lnTo>
                    <a:lnTo>
                      <a:pt x="36" y="11"/>
                    </a:lnTo>
                    <a:lnTo>
                      <a:pt x="37" y="11"/>
                    </a:lnTo>
                    <a:lnTo>
                      <a:pt x="37" y="10"/>
                    </a:lnTo>
                    <a:lnTo>
                      <a:pt x="37" y="9"/>
                    </a:lnTo>
                    <a:lnTo>
                      <a:pt x="36" y="9"/>
                    </a:lnTo>
                    <a:lnTo>
                      <a:pt x="37" y="9"/>
                    </a:lnTo>
                    <a:lnTo>
                      <a:pt x="39" y="9"/>
                    </a:lnTo>
                    <a:lnTo>
                      <a:pt x="39" y="10"/>
                    </a:lnTo>
                    <a:lnTo>
                      <a:pt x="40" y="10"/>
                    </a:lnTo>
                    <a:lnTo>
                      <a:pt x="41" y="10"/>
                    </a:lnTo>
                    <a:lnTo>
                      <a:pt x="42" y="11"/>
                    </a:lnTo>
                    <a:lnTo>
                      <a:pt x="42" y="12"/>
                    </a:lnTo>
                    <a:lnTo>
                      <a:pt x="43" y="12"/>
                    </a:lnTo>
                    <a:lnTo>
                      <a:pt x="44" y="12"/>
                    </a:lnTo>
                    <a:lnTo>
                      <a:pt x="45" y="12"/>
                    </a:lnTo>
                    <a:lnTo>
                      <a:pt x="45" y="11"/>
                    </a:lnTo>
                    <a:lnTo>
                      <a:pt x="46" y="10"/>
                    </a:lnTo>
                    <a:lnTo>
                      <a:pt x="47" y="11"/>
                    </a:lnTo>
                    <a:lnTo>
                      <a:pt x="47" y="10"/>
                    </a:lnTo>
                    <a:lnTo>
                      <a:pt x="48" y="10"/>
                    </a:lnTo>
                    <a:lnTo>
                      <a:pt x="49" y="10"/>
                    </a:lnTo>
                    <a:lnTo>
                      <a:pt x="50" y="10"/>
                    </a:lnTo>
                    <a:lnTo>
                      <a:pt x="52" y="10"/>
                    </a:lnTo>
                    <a:lnTo>
                      <a:pt x="52" y="9"/>
                    </a:lnTo>
                    <a:lnTo>
                      <a:pt x="50" y="9"/>
                    </a:lnTo>
                    <a:lnTo>
                      <a:pt x="52" y="9"/>
                    </a:lnTo>
                    <a:lnTo>
                      <a:pt x="52" y="8"/>
                    </a:lnTo>
                    <a:lnTo>
                      <a:pt x="53" y="8"/>
                    </a:lnTo>
                    <a:lnTo>
                      <a:pt x="54" y="8"/>
                    </a:lnTo>
                    <a:lnTo>
                      <a:pt x="54" y="9"/>
                    </a:lnTo>
                    <a:lnTo>
                      <a:pt x="54" y="8"/>
                    </a:lnTo>
                    <a:lnTo>
                      <a:pt x="55" y="8"/>
                    </a:lnTo>
                    <a:lnTo>
                      <a:pt x="55" y="9"/>
                    </a:lnTo>
                    <a:lnTo>
                      <a:pt x="56" y="9"/>
                    </a:lnTo>
                    <a:lnTo>
                      <a:pt x="56" y="10"/>
                    </a:lnTo>
                    <a:lnTo>
                      <a:pt x="56" y="11"/>
                    </a:lnTo>
                    <a:lnTo>
                      <a:pt x="56" y="12"/>
                    </a:lnTo>
                    <a:lnTo>
                      <a:pt x="57" y="12"/>
                    </a:lnTo>
                    <a:lnTo>
                      <a:pt x="58" y="12"/>
                    </a:lnTo>
                    <a:lnTo>
                      <a:pt x="59" y="12"/>
                    </a:lnTo>
                    <a:lnTo>
                      <a:pt x="60" y="11"/>
                    </a:lnTo>
                    <a:lnTo>
                      <a:pt x="61" y="11"/>
                    </a:lnTo>
                    <a:lnTo>
                      <a:pt x="61" y="12"/>
                    </a:lnTo>
                    <a:lnTo>
                      <a:pt x="61" y="13"/>
                    </a:lnTo>
                    <a:lnTo>
                      <a:pt x="60" y="13"/>
                    </a:lnTo>
                    <a:lnTo>
                      <a:pt x="61" y="14"/>
                    </a:lnTo>
                    <a:lnTo>
                      <a:pt x="62" y="14"/>
                    </a:lnTo>
                    <a:lnTo>
                      <a:pt x="62" y="15"/>
                    </a:lnTo>
                    <a:lnTo>
                      <a:pt x="62" y="16"/>
                    </a:lnTo>
                    <a:lnTo>
                      <a:pt x="62" y="17"/>
                    </a:lnTo>
                    <a:lnTo>
                      <a:pt x="62" y="19"/>
                    </a:lnTo>
                    <a:lnTo>
                      <a:pt x="62" y="20"/>
                    </a:lnTo>
                    <a:lnTo>
                      <a:pt x="62" y="21"/>
                    </a:lnTo>
                    <a:lnTo>
                      <a:pt x="63" y="21"/>
                    </a:lnTo>
                    <a:lnTo>
                      <a:pt x="65" y="21"/>
                    </a:lnTo>
                    <a:lnTo>
                      <a:pt x="65" y="22"/>
                    </a:lnTo>
                    <a:lnTo>
                      <a:pt x="63" y="22"/>
                    </a:lnTo>
                    <a:lnTo>
                      <a:pt x="63" y="23"/>
                    </a:lnTo>
                    <a:lnTo>
                      <a:pt x="63" y="24"/>
                    </a:lnTo>
                    <a:lnTo>
                      <a:pt x="65" y="24"/>
                    </a:lnTo>
                    <a:lnTo>
                      <a:pt x="65" y="25"/>
                    </a:lnTo>
                    <a:lnTo>
                      <a:pt x="66" y="25"/>
                    </a:lnTo>
                    <a:lnTo>
                      <a:pt x="67" y="26"/>
                    </a:lnTo>
                    <a:lnTo>
                      <a:pt x="68" y="27"/>
                    </a:lnTo>
                    <a:lnTo>
                      <a:pt x="69" y="27"/>
                    </a:lnTo>
                    <a:lnTo>
                      <a:pt x="70" y="27"/>
                    </a:lnTo>
                    <a:lnTo>
                      <a:pt x="70" y="28"/>
                    </a:lnTo>
                    <a:lnTo>
                      <a:pt x="71" y="28"/>
                    </a:lnTo>
                    <a:lnTo>
                      <a:pt x="71" y="29"/>
                    </a:lnTo>
                    <a:lnTo>
                      <a:pt x="72" y="30"/>
                    </a:lnTo>
                    <a:lnTo>
                      <a:pt x="72" y="32"/>
                    </a:lnTo>
                    <a:lnTo>
                      <a:pt x="72" y="33"/>
                    </a:lnTo>
                    <a:lnTo>
                      <a:pt x="73" y="33"/>
                    </a:lnTo>
                    <a:lnTo>
                      <a:pt x="73" y="32"/>
                    </a:lnTo>
                    <a:lnTo>
                      <a:pt x="73" y="30"/>
                    </a:lnTo>
                    <a:lnTo>
                      <a:pt x="74" y="30"/>
                    </a:lnTo>
                    <a:lnTo>
                      <a:pt x="75" y="30"/>
                    </a:lnTo>
                    <a:lnTo>
                      <a:pt x="76" y="30"/>
                    </a:lnTo>
                    <a:lnTo>
                      <a:pt x="78" y="29"/>
                    </a:lnTo>
                    <a:lnTo>
                      <a:pt x="78" y="28"/>
                    </a:lnTo>
                    <a:lnTo>
                      <a:pt x="79" y="29"/>
                    </a:lnTo>
                    <a:lnTo>
                      <a:pt x="80" y="29"/>
                    </a:lnTo>
                    <a:lnTo>
                      <a:pt x="81" y="29"/>
                    </a:lnTo>
                    <a:lnTo>
                      <a:pt x="82" y="30"/>
                    </a:lnTo>
                    <a:lnTo>
                      <a:pt x="83" y="29"/>
                    </a:lnTo>
                    <a:lnTo>
                      <a:pt x="84" y="29"/>
                    </a:lnTo>
                    <a:lnTo>
                      <a:pt x="84" y="28"/>
                    </a:lnTo>
                    <a:lnTo>
                      <a:pt x="85" y="28"/>
                    </a:lnTo>
                    <a:lnTo>
                      <a:pt x="86" y="28"/>
                    </a:lnTo>
                    <a:lnTo>
                      <a:pt x="86" y="27"/>
                    </a:lnTo>
                    <a:lnTo>
                      <a:pt x="86" y="26"/>
                    </a:lnTo>
                    <a:lnTo>
                      <a:pt x="87" y="26"/>
                    </a:lnTo>
                    <a:lnTo>
                      <a:pt x="88" y="26"/>
                    </a:lnTo>
                    <a:lnTo>
                      <a:pt x="89" y="26"/>
                    </a:lnTo>
                    <a:lnTo>
                      <a:pt x="91" y="26"/>
                    </a:lnTo>
                    <a:lnTo>
                      <a:pt x="91" y="25"/>
                    </a:lnTo>
                    <a:lnTo>
                      <a:pt x="91" y="26"/>
                    </a:lnTo>
                    <a:lnTo>
                      <a:pt x="91" y="27"/>
                    </a:lnTo>
                    <a:lnTo>
                      <a:pt x="92" y="27"/>
                    </a:lnTo>
                    <a:lnTo>
                      <a:pt x="92" y="28"/>
                    </a:lnTo>
                    <a:lnTo>
                      <a:pt x="92" y="27"/>
                    </a:lnTo>
                    <a:lnTo>
                      <a:pt x="93" y="27"/>
                    </a:lnTo>
                    <a:lnTo>
                      <a:pt x="94" y="27"/>
                    </a:lnTo>
                    <a:lnTo>
                      <a:pt x="95" y="27"/>
                    </a:lnTo>
                    <a:lnTo>
                      <a:pt x="95" y="26"/>
                    </a:lnTo>
                    <a:lnTo>
                      <a:pt x="96" y="25"/>
                    </a:lnTo>
                    <a:lnTo>
                      <a:pt x="95" y="24"/>
                    </a:lnTo>
                    <a:lnTo>
                      <a:pt x="96" y="24"/>
                    </a:lnTo>
                    <a:lnTo>
                      <a:pt x="96" y="23"/>
                    </a:lnTo>
                    <a:lnTo>
                      <a:pt x="96" y="24"/>
                    </a:lnTo>
                    <a:lnTo>
                      <a:pt x="97" y="23"/>
                    </a:lnTo>
                    <a:lnTo>
                      <a:pt x="97" y="22"/>
                    </a:lnTo>
                    <a:lnTo>
                      <a:pt x="98" y="21"/>
                    </a:lnTo>
                    <a:lnTo>
                      <a:pt x="98" y="22"/>
                    </a:lnTo>
                    <a:lnTo>
                      <a:pt x="98" y="23"/>
                    </a:lnTo>
                    <a:lnTo>
                      <a:pt x="99" y="23"/>
                    </a:lnTo>
                    <a:lnTo>
                      <a:pt x="99" y="24"/>
                    </a:lnTo>
                    <a:lnTo>
                      <a:pt x="101" y="23"/>
                    </a:lnTo>
                    <a:lnTo>
                      <a:pt x="101" y="21"/>
                    </a:lnTo>
                    <a:lnTo>
                      <a:pt x="103" y="20"/>
                    </a:lnTo>
                    <a:lnTo>
                      <a:pt x="105" y="20"/>
                    </a:lnTo>
                    <a:lnTo>
                      <a:pt x="105" y="19"/>
                    </a:lnTo>
                    <a:lnTo>
                      <a:pt x="104" y="19"/>
                    </a:lnTo>
                    <a:lnTo>
                      <a:pt x="104" y="17"/>
                    </a:lnTo>
                    <a:lnTo>
                      <a:pt x="105" y="17"/>
                    </a:lnTo>
                    <a:lnTo>
                      <a:pt x="106" y="17"/>
                    </a:lnTo>
                    <a:lnTo>
                      <a:pt x="106" y="16"/>
                    </a:lnTo>
                    <a:lnTo>
                      <a:pt x="107" y="16"/>
                    </a:lnTo>
                    <a:lnTo>
                      <a:pt x="108" y="15"/>
                    </a:lnTo>
                    <a:lnTo>
                      <a:pt x="109" y="15"/>
                    </a:lnTo>
                    <a:lnTo>
                      <a:pt x="110" y="16"/>
                    </a:lnTo>
                    <a:lnTo>
                      <a:pt x="111" y="16"/>
                    </a:lnTo>
                    <a:lnTo>
                      <a:pt x="111" y="15"/>
                    </a:lnTo>
                    <a:lnTo>
                      <a:pt x="112" y="15"/>
                    </a:lnTo>
                    <a:lnTo>
                      <a:pt x="112" y="14"/>
                    </a:lnTo>
                    <a:lnTo>
                      <a:pt x="112" y="13"/>
                    </a:lnTo>
                    <a:lnTo>
                      <a:pt x="112" y="12"/>
                    </a:lnTo>
                    <a:lnTo>
                      <a:pt x="113" y="11"/>
                    </a:lnTo>
                    <a:lnTo>
                      <a:pt x="114" y="10"/>
                    </a:lnTo>
                    <a:lnTo>
                      <a:pt x="114" y="9"/>
                    </a:lnTo>
                    <a:lnTo>
                      <a:pt x="113" y="8"/>
                    </a:lnTo>
                    <a:lnTo>
                      <a:pt x="114" y="8"/>
                    </a:lnTo>
                    <a:lnTo>
                      <a:pt x="114" y="7"/>
                    </a:lnTo>
                    <a:lnTo>
                      <a:pt x="116" y="7"/>
                    </a:lnTo>
                    <a:lnTo>
                      <a:pt x="116" y="6"/>
                    </a:lnTo>
                    <a:lnTo>
                      <a:pt x="117" y="6"/>
                    </a:lnTo>
                    <a:lnTo>
                      <a:pt x="117" y="7"/>
                    </a:lnTo>
                    <a:lnTo>
                      <a:pt x="118" y="7"/>
                    </a:lnTo>
                    <a:lnTo>
                      <a:pt x="119" y="7"/>
                    </a:lnTo>
                    <a:lnTo>
                      <a:pt x="120" y="7"/>
                    </a:lnTo>
                    <a:lnTo>
                      <a:pt x="120" y="8"/>
                    </a:lnTo>
                    <a:lnTo>
                      <a:pt x="120" y="9"/>
                    </a:lnTo>
                    <a:lnTo>
                      <a:pt x="120" y="10"/>
                    </a:lnTo>
                    <a:lnTo>
                      <a:pt x="121" y="10"/>
                    </a:lnTo>
                    <a:lnTo>
                      <a:pt x="122" y="10"/>
                    </a:lnTo>
                    <a:lnTo>
                      <a:pt x="122" y="11"/>
                    </a:lnTo>
                    <a:lnTo>
                      <a:pt x="122" y="13"/>
                    </a:lnTo>
                    <a:lnTo>
                      <a:pt x="122" y="14"/>
                    </a:lnTo>
                    <a:lnTo>
                      <a:pt x="122" y="15"/>
                    </a:lnTo>
                    <a:lnTo>
                      <a:pt x="123" y="15"/>
                    </a:lnTo>
                    <a:lnTo>
                      <a:pt x="124" y="15"/>
                    </a:lnTo>
                    <a:lnTo>
                      <a:pt x="124" y="14"/>
                    </a:lnTo>
                    <a:lnTo>
                      <a:pt x="124" y="13"/>
                    </a:lnTo>
                    <a:lnTo>
                      <a:pt x="125" y="12"/>
                    </a:lnTo>
                    <a:lnTo>
                      <a:pt x="127" y="12"/>
                    </a:lnTo>
                    <a:lnTo>
                      <a:pt x="129" y="12"/>
                    </a:lnTo>
                    <a:lnTo>
                      <a:pt x="130" y="12"/>
                    </a:lnTo>
                    <a:lnTo>
                      <a:pt x="132" y="10"/>
                    </a:lnTo>
                    <a:lnTo>
                      <a:pt x="133" y="10"/>
                    </a:lnTo>
                    <a:lnTo>
                      <a:pt x="134" y="9"/>
                    </a:lnTo>
                    <a:lnTo>
                      <a:pt x="137" y="7"/>
                    </a:lnTo>
                    <a:lnTo>
                      <a:pt x="139" y="6"/>
                    </a:lnTo>
                    <a:lnTo>
                      <a:pt x="140" y="6"/>
                    </a:lnTo>
                    <a:lnTo>
                      <a:pt x="145" y="6"/>
                    </a:lnTo>
                    <a:lnTo>
                      <a:pt x="146" y="6"/>
                    </a:lnTo>
                    <a:lnTo>
                      <a:pt x="147" y="4"/>
                    </a:lnTo>
                    <a:lnTo>
                      <a:pt x="147" y="3"/>
                    </a:lnTo>
                    <a:lnTo>
                      <a:pt x="147" y="2"/>
                    </a:lnTo>
                    <a:lnTo>
                      <a:pt x="148" y="1"/>
                    </a:lnTo>
                    <a:lnTo>
                      <a:pt x="149" y="1"/>
                    </a:lnTo>
                    <a:lnTo>
                      <a:pt x="150" y="1"/>
                    </a:lnTo>
                    <a:lnTo>
                      <a:pt x="151" y="1"/>
                    </a:lnTo>
                    <a:lnTo>
                      <a:pt x="152" y="0"/>
                    </a:lnTo>
                    <a:lnTo>
                      <a:pt x="153" y="0"/>
                    </a:lnTo>
                    <a:lnTo>
                      <a:pt x="155" y="0"/>
                    </a:lnTo>
                    <a:lnTo>
                      <a:pt x="156" y="1"/>
                    </a:lnTo>
                    <a:lnTo>
                      <a:pt x="157" y="1"/>
                    </a:lnTo>
                    <a:lnTo>
                      <a:pt x="158" y="2"/>
                    </a:lnTo>
                    <a:lnTo>
                      <a:pt x="157" y="4"/>
                    </a:lnTo>
                    <a:lnTo>
                      <a:pt x="157" y="6"/>
                    </a:lnTo>
                    <a:lnTo>
                      <a:pt x="158" y="7"/>
                    </a:lnTo>
                    <a:lnTo>
                      <a:pt x="159" y="8"/>
                    </a:lnTo>
                    <a:lnTo>
                      <a:pt x="158" y="8"/>
                    </a:lnTo>
                    <a:lnTo>
                      <a:pt x="158" y="9"/>
                    </a:lnTo>
                    <a:lnTo>
                      <a:pt x="158" y="10"/>
                    </a:lnTo>
                    <a:lnTo>
                      <a:pt x="159" y="11"/>
                    </a:lnTo>
                    <a:lnTo>
                      <a:pt x="161" y="11"/>
                    </a:lnTo>
                    <a:lnTo>
                      <a:pt x="162" y="11"/>
                    </a:lnTo>
                    <a:lnTo>
                      <a:pt x="163" y="12"/>
                    </a:lnTo>
                    <a:lnTo>
                      <a:pt x="164" y="12"/>
                    </a:lnTo>
                    <a:lnTo>
                      <a:pt x="164" y="13"/>
                    </a:lnTo>
                    <a:lnTo>
                      <a:pt x="166" y="13"/>
                    </a:lnTo>
                    <a:close/>
                  </a:path>
                </a:pathLst>
              </a:custGeom>
              <a:solidFill>
                <a:srgbClr val="2578D9"/>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8" name="Freeform 48">
                <a:extLst>
                  <a:ext uri="{FF2B5EF4-FFF2-40B4-BE49-F238E27FC236}">
                    <a16:creationId xmlns:a16="http://schemas.microsoft.com/office/drawing/2014/main" id="{B6855F9D-6E8C-DFB6-18ED-8D19C6BFA834}"/>
                  </a:ext>
                </a:extLst>
              </p:cNvPr>
              <p:cNvSpPr>
                <a:spLocks/>
              </p:cNvSpPr>
              <p:nvPr/>
            </p:nvSpPr>
            <p:spPr bwMode="auto">
              <a:xfrm>
                <a:off x="3540126" y="2016125"/>
                <a:ext cx="533400" cy="592138"/>
              </a:xfrm>
              <a:custGeom>
                <a:avLst/>
                <a:gdLst>
                  <a:gd name="T0" fmla="*/ 252 w 336"/>
                  <a:gd name="T1" fmla="*/ 44 h 373"/>
                  <a:gd name="T2" fmla="*/ 251 w 336"/>
                  <a:gd name="T3" fmla="*/ 79 h 373"/>
                  <a:gd name="T4" fmla="*/ 287 w 336"/>
                  <a:gd name="T5" fmla="*/ 90 h 373"/>
                  <a:gd name="T6" fmla="*/ 312 w 336"/>
                  <a:gd name="T7" fmla="*/ 86 h 373"/>
                  <a:gd name="T8" fmla="*/ 336 w 336"/>
                  <a:gd name="T9" fmla="*/ 98 h 373"/>
                  <a:gd name="T10" fmla="*/ 307 w 336"/>
                  <a:gd name="T11" fmla="*/ 145 h 373"/>
                  <a:gd name="T12" fmla="*/ 285 w 336"/>
                  <a:gd name="T13" fmla="*/ 139 h 373"/>
                  <a:gd name="T14" fmla="*/ 263 w 336"/>
                  <a:gd name="T15" fmla="*/ 123 h 373"/>
                  <a:gd name="T16" fmla="*/ 256 w 336"/>
                  <a:gd name="T17" fmla="*/ 138 h 373"/>
                  <a:gd name="T18" fmla="*/ 268 w 336"/>
                  <a:gd name="T19" fmla="*/ 148 h 373"/>
                  <a:gd name="T20" fmla="*/ 285 w 336"/>
                  <a:gd name="T21" fmla="*/ 152 h 373"/>
                  <a:gd name="T22" fmla="*/ 304 w 336"/>
                  <a:gd name="T23" fmla="*/ 161 h 373"/>
                  <a:gd name="T24" fmla="*/ 285 w 336"/>
                  <a:gd name="T25" fmla="*/ 190 h 373"/>
                  <a:gd name="T26" fmla="*/ 258 w 336"/>
                  <a:gd name="T27" fmla="*/ 193 h 373"/>
                  <a:gd name="T28" fmla="*/ 242 w 336"/>
                  <a:gd name="T29" fmla="*/ 206 h 373"/>
                  <a:gd name="T30" fmla="*/ 236 w 336"/>
                  <a:gd name="T31" fmla="*/ 226 h 373"/>
                  <a:gd name="T32" fmla="*/ 245 w 336"/>
                  <a:gd name="T33" fmla="*/ 240 h 373"/>
                  <a:gd name="T34" fmla="*/ 231 w 336"/>
                  <a:gd name="T35" fmla="*/ 248 h 373"/>
                  <a:gd name="T36" fmla="*/ 193 w 336"/>
                  <a:gd name="T37" fmla="*/ 278 h 373"/>
                  <a:gd name="T38" fmla="*/ 197 w 336"/>
                  <a:gd name="T39" fmla="*/ 294 h 373"/>
                  <a:gd name="T40" fmla="*/ 204 w 336"/>
                  <a:gd name="T41" fmla="*/ 307 h 373"/>
                  <a:gd name="T42" fmla="*/ 193 w 336"/>
                  <a:gd name="T43" fmla="*/ 319 h 373"/>
                  <a:gd name="T44" fmla="*/ 179 w 336"/>
                  <a:gd name="T45" fmla="*/ 307 h 373"/>
                  <a:gd name="T46" fmla="*/ 175 w 336"/>
                  <a:gd name="T47" fmla="*/ 282 h 373"/>
                  <a:gd name="T48" fmla="*/ 156 w 336"/>
                  <a:gd name="T49" fmla="*/ 285 h 373"/>
                  <a:gd name="T50" fmla="*/ 143 w 336"/>
                  <a:gd name="T51" fmla="*/ 297 h 373"/>
                  <a:gd name="T52" fmla="*/ 135 w 336"/>
                  <a:gd name="T53" fmla="*/ 323 h 373"/>
                  <a:gd name="T54" fmla="*/ 133 w 336"/>
                  <a:gd name="T55" fmla="*/ 355 h 373"/>
                  <a:gd name="T56" fmla="*/ 156 w 336"/>
                  <a:gd name="T57" fmla="*/ 353 h 373"/>
                  <a:gd name="T58" fmla="*/ 178 w 336"/>
                  <a:gd name="T59" fmla="*/ 346 h 373"/>
                  <a:gd name="T60" fmla="*/ 196 w 336"/>
                  <a:gd name="T61" fmla="*/ 355 h 373"/>
                  <a:gd name="T62" fmla="*/ 180 w 336"/>
                  <a:gd name="T63" fmla="*/ 365 h 373"/>
                  <a:gd name="T64" fmla="*/ 160 w 336"/>
                  <a:gd name="T65" fmla="*/ 361 h 373"/>
                  <a:gd name="T66" fmla="*/ 122 w 336"/>
                  <a:gd name="T67" fmla="*/ 373 h 373"/>
                  <a:gd name="T68" fmla="*/ 106 w 336"/>
                  <a:gd name="T69" fmla="*/ 359 h 373"/>
                  <a:gd name="T70" fmla="*/ 79 w 336"/>
                  <a:gd name="T71" fmla="*/ 360 h 373"/>
                  <a:gd name="T72" fmla="*/ 8 w 336"/>
                  <a:gd name="T73" fmla="*/ 342 h 373"/>
                  <a:gd name="T74" fmla="*/ 5 w 336"/>
                  <a:gd name="T75" fmla="*/ 287 h 373"/>
                  <a:gd name="T76" fmla="*/ 2 w 336"/>
                  <a:gd name="T77" fmla="*/ 270 h 373"/>
                  <a:gd name="T78" fmla="*/ 18 w 336"/>
                  <a:gd name="T79" fmla="*/ 246 h 373"/>
                  <a:gd name="T80" fmla="*/ 41 w 336"/>
                  <a:gd name="T81" fmla="*/ 230 h 373"/>
                  <a:gd name="T82" fmla="*/ 31 w 336"/>
                  <a:gd name="T83" fmla="*/ 211 h 373"/>
                  <a:gd name="T84" fmla="*/ 39 w 336"/>
                  <a:gd name="T85" fmla="*/ 192 h 373"/>
                  <a:gd name="T86" fmla="*/ 51 w 336"/>
                  <a:gd name="T87" fmla="*/ 181 h 373"/>
                  <a:gd name="T88" fmla="*/ 46 w 336"/>
                  <a:gd name="T89" fmla="*/ 168 h 373"/>
                  <a:gd name="T90" fmla="*/ 45 w 336"/>
                  <a:gd name="T91" fmla="*/ 153 h 373"/>
                  <a:gd name="T92" fmla="*/ 47 w 336"/>
                  <a:gd name="T93" fmla="*/ 135 h 373"/>
                  <a:gd name="T94" fmla="*/ 55 w 336"/>
                  <a:gd name="T95" fmla="*/ 126 h 373"/>
                  <a:gd name="T96" fmla="*/ 54 w 336"/>
                  <a:gd name="T97" fmla="*/ 113 h 373"/>
                  <a:gd name="T98" fmla="*/ 44 w 336"/>
                  <a:gd name="T99" fmla="*/ 105 h 373"/>
                  <a:gd name="T100" fmla="*/ 45 w 336"/>
                  <a:gd name="T101" fmla="*/ 97 h 373"/>
                  <a:gd name="T102" fmla="*/ 45 w 336"/>
                  <a:gd name="T103" fmla="*/ 83 h 373"/>
                  <a:gd name="T104" fmla="*/ 49 w 336"/>
                  <a:gd name="T105" fmla="*/ 75 h 373"/>
                  <a:gd name="T106" fmla="*/ 89 w 336"/>
                  <a:gd name="T107" fmla="*/ 34 h 373"/>
                  <a:gd name="T108" fmla="*/ 165 w 336"/>
                  <a:gd name="T109" fmla="*/ 27 h 373"/>
                  <a:gd name="T110" fmla="*/ 178 w 336"/>
                  <a:gd name="T111" fmla="*/ 23 h 373"/>
                  <a:gd name="T112" fmla="*/ 189 w 336"/>
                  <a:gd name="T113" fmla="*/ 13 h 373"/>
                  <a:gd name="T114" fmla="*/ 199 w 336"/>
                  <a:gd name="T115" fmla="*/ 24 h 373"/>
                  <a:gd name="T116" fmla="*/ 212 w 336"/>
                  <a:gd name="T117" fmla="*/ 26 h 373"/>
                  <a:gd name="T118" fmla="*/ 221 w 336"/>
                  <a:gd name="T119" fmla="*/ 15 h 373"/>
                  <a:gd name="T120" fmla="*/ 256 w 336"/>
                  <a:gd name="T121" fmla="*/ 5 h 373"/>
                  <a:gd name="T122" fmla="*/ 274 w 336"/>
                  <a:gd name="T123" fmla="*/ 1 h 373"/>
                  <a:gd name="T124" fmla="*/ 279 w 336"/>
                  <a:gd name="T125" fmla="*/ 1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6" h="373">
                    <a:moveTo>
                      <a:pt x="278" y="28"/>
                    </a:moveTo>
                    <a:lnTo>
                      <a:pt x="277" y="27"/>
                    </a:lnTo>
                    <a:lnTo>
                      <a:pt x="276" y="27"/>
                    </a:lnTo>
                    <a:lnTo>
                      <a:pt x="275" y="26"/>
                    </a:lnTo>
                    <a:lnTo>
                      <a:pt x="274" y="26"/>
                    </a:lnTo>
                    <a:lnTo>
                      <a:pt x="273" y="26"/>
                    </a:lnTo>
                    <a:lnTo>
                      <a:pt x="268" y="30"/>
                    </a:lnTo>
                    <a:lnTo>
                      <a:pt x="258" y="35"/>
                    </a:lnTo>
                    <a:lnTo>
                      <a:pt x="257" y="36"/>
                    </a:lnTo>
                    <a:lnTo>
                      <a:pt x="256" y="37"/>
                    </a:lnTo>
                    <a:lnTo>
                      <a:pt x="255" y="38"/>
                    </a:lnTo>
                    <a:lnTo>
                      <a:pt x="253" y="39"/>
                    </a:lnTo>
                    <a:lnTo>
                      <a:pt x="253" y="40"/>
                    </a:lnTo>
                    <a:lnTo>
                      <a:pt x="253" y="41"/>
                    </a:lnTo>
                    <a:lnTo>
                      <a:pt x="253" y="43"/>
                    </a:lnTo>
                    <a:lnTo>
                      <a:pt x="252" y="44"/>
                    </a:lnTo>
                    <a:lnTo>
                      <a:pt x="251" y="46"/>
                    </a:lnTo>
                    <a:lnTo>
                      <a:pt x="251" y="50"/>
                    </a:lnTo>
                    <a:lnTo>
                      <a:pt x="250" y="53"/>
                    </a:lnTo>
                    <a:lnTo>
                      <a:pt x="249" y="58"/>
                    </a:lnTo>
                    <a:lnTo>
                      <a:pt x="249" y="59"/>
                    </a:lnTo>
                    <a:lnTo>
                      <a:pt x="248" y="62"/>
                    </a:lnTo>
                    <a:lnTo>
                      <a:pt x="248" y="65"/>
                    </a:lnTo>
                    <a:lnTo>
                      <a:pt x="248" y="68"/>
                    </a:lnTo>
                    <a:lnTo>
                      <a:pt x="248" y="69"/>
                    </a:lnTo>
                    <a:lnTo>
                      <a:pt x="248" y="71"/>
                    </a:lnTo>
                    <a:lnTo>
                      <a:pt x="248" y="72"/>
                    </a:lnTo>
                    <a:lnTo>
                      <a:pt x="248" y="73"/>
                    </a:lnTo>
                    <a:lnTo>
                      <a:pt x="249" y="75"/>
                    </a:lnTo>
                    <a:lnTo>
                      <a:pt x="249" y="77"/>
                    </a:lnTo>
                    <a:lnTo>
                      <a:pt x="250" y="78"/>
                    </a:lnTo>
                    <a:lnTo>
                      <a:pt x="251" y="79"/>
                    </a:lnTo>
                    <a:lnTo>
                      <a:pt x="251" y="81"/>
                    </a:lnTo>
                    <a:lnTo>
                      <a:pt x="253" y="84"/>
                    </a:lnTo>
                    <a:lnTo>
                      <a:pt x="255" y="85"/>
                    </a:lnTo>
                    <a:lnTo>
                      <a:pt x="259" y="85"/>
                    </a:lnTo>
                    <a:lnTo>
                      <a:pt x="260" y="86"/>
                    </a:lnTo>
                    <a:lnTo>
                      <a:pt x="262" y="86"/>
                    </a:lnTo>
                    <a:lnTo>
                      <a:pt x="266" y="87"/>
                    </a:lnTo>
                    <a:lnTo>
                      <a:pt x="268" y="87"/>
                    </a:lnTo>
                    <a:lnTo>
                      <a:pt x="271" y="89"/>
                    </a:lnTo>
                    <a:lnTo>
                      <a:pt x="272" y="89"/>
                    </a:lnTo>
                    <a:lnTo>
                      <a:pt x="274" y="90"/>
                    </a:lnTo>
                    <a:lnTo>
                      <a:pt x="278" y="90"/>
                    </a:lnTo>
                    <a:lnTo>
                      <a:pt x="283" y="90"/>
                    </a:lnTo>
                    <a:lnTo>
                      <a:pt x="285" y="90"/>
                    </a:lnTo>
                    <a:lnTo>
                      <a:pt x="286" y="90"/>
                    </a:lnTo>
                    <a:lnTo>
                      <a:pt x="287" y="90"/>
                    </a:lnTo>
                    <a:lnTo>
                      <a:pt x="287" y="91"/>
                    </a:lnTo>
                    <a:lnTo>
                      <a:pt x="287" y="90"/>
                    </a:lnTo>
                    <a:lnTo>
                      <a:pt x="288" y="90"/>
                    </a:lnTo>
                    <a:lnTo>
                      <a:pt x="288" y="89"/>
                    </a:lnTo>
                    <a:lnTo>
                      <a:pt x="289" y="88"/>
                    </a:lnTo>
                    <a:lnTo>
                      <a:pt x="291" y="87"/>
                    </a:lnTo>
                    <a:lnTo>
                      <a:pt x="292" y="86"/>
                    </a:lnTo>
                    <a:lnTo>
                      <a:pt x="296" y="85"/>
                    </a:lnTo>
                    <a:lnTo>
                      <a:pt x="297" y="85"/>
                    </a:lnTo>
                    <a:lnTo>
                      <a:pt x="298" y="85"/>
                    </a:lnTo>
                    <a:lnTo>
                      <a:pt x="300" y="85"/>
                    </a:lnTo>
                    <a:lnTo>
                      <a:pt x="302" y="84"/>
                    </a:lnTo>
                    <a:lnTo>
                      <a:pt x="304" y="84"/>
                    </a:lnTo>
                    <a:lnTo>
                      <a:pt x="308" y="85"/>
                    </a:lnTo>
                    <a:lnTo>
                      <a:pt x="310" y="85"/>
                    </a:lnTo>
                    <a:lnTo>
                      <a:pt x="312" y="86"/>
                    </a:lnTo>
                    <a:lnTo>
                      <a:pt x="313" y="87"/>
                    </a:lnTo>
                    <a:lnTo>
                      <a:pt x="315" y="88"/>
                    </a:lnTo>
                    <a:lnTo>
                      <a:pt x="317" y="89"/>
                    </a:lnTo>
                    <a:lnTo>
                      <a:pt x="321" y="90"/>
                    </a:lnTo>
                    <a:lnTo>
                      <a:pt x="322" y="91"/>
                    </a:lnTo>
                    <a:lnTo>
                      <a:pt x="323" y="91"/>
                    </a:lnTo>
                    <a:lnTo>
                      <a:pt x="325" y="92"/>
                    </a:lnTo>
                    <a:lnTo>
                      <a:pt x="327" y="94"/>
                    </a:lnTo>
                    <a:lnTo>
                      <a:pt x="328" y="94"/>
                    </a:lnTo>
                    <a:lnTo>
                      <a:pt x="329" y="94"/>
                    </a:lnTo>
                    <a:lnTo>
                      <a:pt x="330" y="94"/>
                    </a:lnTo>
                    <a:lnTo>
                      <a:pt x="334" y="94"/>
                    </a:lnTo>
                    <a:lnTo>
                      <a:pt x="335" y="94"/>
                    </a:lnTo>
                    <a:lnTo>
                      <a:pt x="336" y="94"/>
                    </a:lnTo>
                    <a:lnTo>
                      <a:pt x="336" y="97"/>
                    </a:lnTo>
                    <a:lnTo>
                      <a:pt x="336" y="98"/>
                    </a:lnTo>
                    <a:lnTo>
                      <a:pt x="336" y="100"/>
                    </a:lnTo>
                    <a:lnTo>
                      <a:pt x="336" y="103"/>
                    </a:lnTo>
                    <a:lnTo>
                      <a:pt x="334" y="108"/>
                    </a:lnTo>
                    <a:lnTo>
                      <a:pt x="334" y="109"/>
                    </a:lnTo>
                    <a:lnTo>
                      <a:pt x="333" y="109"/>
                    </a:lnTo>
                    <a:lnTo>
                      <a:pt x="331" y="110"/>
                    </a:lnTo>
                    <a:lnTo>
                      <a:pt x="330" y="111"/>
                    </a:lnTo>
                    <a:lnTo>
                      <a:pt x="329" y="111"/>
                    </a:lnTo>
                    <a:lnTo>
                      <a:pt x="328" y="112"/>
                    </a:lnTo>
                    <a:lnTo>
                      <a:pt x="311" y="121"/>
                    </a:lnTo>
                    <a:lnTo>
                      <a:pt x="305" y="124"/>
                    </a:lnTo>
                    <a:lnTo>
                      <a:pt x="304" y="125"/>
                    </a:lnTo>
                    <a:lnTo>
                      <a:pt x="304" y="126"/>
                    </a:lnTo>
                    <a:lnTo>
                      <a:pt x="304" y="127"/>
                    </a:lnTo>
                    <a:lnTo>
                      <a:pt x="307" y="143"/>
                    </a:lnTo>
                    <a:lnTo>
                      <a:pt x="307" y="145"/>
                    </a:lnTo>
                    <a:lnTo>
                      <a:pt x="307" y="146"/>
                    </a:lnTo>
                    <a:lnTo>
                      <a:pt x="305" y="146"/>
                    </a:lnTo>
                    <a:lnTo>
                      <a:pt x="305" y="147"/>
                    </a:lnTo>
                    <a:lnTo>
                      <a:pt x="304" y="147"/>
                    </a:lnTo>
                    <a:lnTo>
                      <a:pt x="303" y="147"/>
                    </a:lnTo>
                    <a:lnTo>
                      <a:pt x="302" y="147"/>
                    </a:lnTo>
                    <a:lnTo>
                      <a:pt x="298" y="147"/>
                    </a:lnTo>
                    <a:lnTo>
                      <a:pt x="295" y="146"/>
                    </a:lnTo>
                    <a:lnTo>
                      <a:pt x="294" y="146"/>
                    </a:lnTo>
                    <a:lnTo>
                      <a:pt x="292" y="146"/>
                    </a:lnTo>
                    <a:lnTo>
                      <a:pt x="291" y="145"/>
                    </a:lnTo>
                    <a:lnTo>
                      <a:pt x="290" y="143"/>
                    </a:lnTo>
                    <a:lnTo>
                      <a:pt x="288" y="142"/>
                    </a:lnTo>
                    <a:lnTo>
                      <a:pt x="288" y="141"/>
                    </a:lnTo>
                    <a:lnTo>
                      <a:pt x="286" y="140"/>
                    </a:lnTo>
                    <a:lnTo>
                      <a:pt x="285" y="139"/>
                    </a:lnTo>
                    <a:lnTo>
                      <a:pt x="278" y="129"/>
                    </a:lnTo>
                    <a:lnTo>
                      <a:pt x="278" y="128"/>
                    </a:lnTo>
                    <a:lnTo>
                      <a:pt x="277" y="127"/>
                    </a:lnTo>
                    <a:lnTo>
                      <a:pt x="276" y="126"/>
                    </a:lnTo>
                    <a:lnTo>
                      <a:pt x="275" y="125"/>
                    </a:lnTo>
                    <a:lnTo>
                      <a:pt x="274" y="124"/>
                    </a:lnTo>
                    <a:lnTo>
                      <a:pt x="273" y="124"/>
                    </a:lnTo>
                    <a:lnTo>
                      <a:pt x="273" y="123"/>
                    </a:lnTo>
                    <a:lnTo>
                      <a:pt x="272" y="123"/>
                    </a:lnTo>
                    <a:lnTo>
                      <a:pt x="271" y="123"/>
                    </a:lnTo>
                    <a:lnTo>
                      <a:pt x="270" y="122"/>
                    </a:lnTo>
                    <a:lnTo>
                      <a:pt x="268" y="122"/>
                    </a:lnTo>
                    <a:lnTo>
                      <a:pt x="266" y="122"/>
                    </a:lnTo>
                    <a:lnTo>
                      <a:pt x="265" y="122"/>
                    </a:lnTo>
                    <a:lnTo>
                      <a:pt x="265" y="123"/>
                    </a:lnTo>
                    <a:lnTo>
                      <a:pt x="263" y="123"/>
                    </a:lnTo>
                    <a:lnTo>
                      <a:pt x="263" y="124"/>
                    </a:lnTo>
                    <a:lnTo>
                      <a:pt x="262" y="124"/>
                    </a:lnTo>
                    <a:lnTo>
                      <a:pt x="262" y="125"/>
                    </a:lnTo>
                    <a:lnTo>
                      <a:pt x="261" y="125"/>
                    </a:lnTo>
                    <a:lnTo>
                      <a:pt x="260" y="126"/>
                    </a:lnTo>
                    <a:lnTo>
                      <a:pt x="259" y="126"/>
                    </a:lnTo>
                    <a:lnTo>
                      <a:pt x="259" y="127"/>
                    </a:lnTo>
                    <a:lnTo>
                      <a:pt x="258" y="128"/>
                    </a:lnTo>
                    <a:lnTo>
                      <a:pt x="258" y="129"/>
                    </a:lnTo>
                    <a:lnTo>
                      <a:pt x="257" y="130"/>
                    </a:lnTo>
                    <a:lnTo>
                      <a:pt x="256" y="131"/>
                    </a:lnTo>
                    <a:lnTo>
                      <a:pt x="256" y="133"/>
                    </a:lnTo>
                    <a:lnTo>
                      <a:pt x="256" y="134"/>
                    </a:lnTo>
                    <a:lnTo>
                      <a:pt x="256" y="136"/>
                    </a:lnTo>
                    <a:lnTo>
                      <a:pt x="256" y="137"/>
                    </a:lnTo>
                    <a:lnTo>
                      <a:pt x="256" y="138"/>
                    </a:lnTo>
                    <a:lnTo>
                      <a:pt x="257" y="139"/>
                    </a:lnTo>
                    <a:lnTo>
                      <a:pt x="257" y="140"/>
                    </a:lnTo>
                    <a:lnTo>
                      <a:pt x="258" y="140"/>
                    </a:lnTo>
                    <a:lnTo>
                      <a:pt x="258" y="141"/>
                    </a:lnTo>
                    <a:lnTo>
                      <a:pt x="259" y="142"/>
                    </a:lnTo>
                    <a:lnTo>
                      <a:pt x="259" y="143"/>
                    </a:lnTo>
                    <a:lnTo>
                      <a:pt x="260" y="143"/>
                    </a:lnTo>
                    <a:lnTo>
                      <a:pt x="260" y="145"/>
                    </a:lnTo>
                    <a:lnTo>
                      <a:pt x="261" y="145"/>
                    </a:lnTo>
                    <a:lnTo>
                      <a:pt x="262" y="146"/>
                    </a:lnTo>
                    <a:lnTo>
                      <a:pt x="263" y="147"/>
                    </a:lnTo>
                    <a:lnTo>
                      <a:pt x="264" y="147"/>
                    </a:lnTo>
                    <a:lnTo>
                      <a:pt x="265" y="147"/>
                    </a:lnTo>
                    <a:lnTo>
                      <a:pt x="265" y="148"/>
                    </a:lnTo>
                    <a:lnTo>
                      <a:pt x="266" y="148"/>
                    </a:lnTo>
                    <a:lnTo>
                      <a:pt x="268" y="148"/>
                    </a:lnTo>
                    <a:lnTo>
                      <a:pt x="269" y="148"/>
                    </a:lnTo>
                    <a:lnTo>
                      <a:pt x="270" y="148"/>
                    </a:lnTo>
                    <a:lnTo>
                      <a:pt x="270" y="149"/>
                    </a:lnTo>
                    <a:lnTo>
                      <a:pt x="271" y="149"/>
                    </a:lnTo>
                    <a:lnTo>
                      <a:pt x="272" y="149"/>
                    </a:lnTo>
                    <a:lnTo>
                      <a:pt x="273" y="149"/>
                    </a:lnTo>
                    <a:lnTo>
                      <a:pt x="274" y="149"/>
                    </a:lnTo>
                    <a:lnTo>
                      <a:pt x="275" y="149"/>
                    </a:lnTo>
                    <a:lnTo>
                      <a:pt x="275" y="150"/>
                    </a:lnTo>
                    <a:lnTo>
                      <a:pt x="276" y="150"/>
                    </a:lnTo>
                    <a:lnTo>
                      <a:pt x="277" y="150"/>
                    </a:lnTo>
                    <a:lnTo>
                      <a:pt x="278" y="150"/>
                    </a:lnTo>
                    <a:lnTo>
                      <a:pt x="279" y="150"/>
                    </a:lnTo>
                    <a:lnTo>
                      <a:pt x="281" y="151"/>
                    </a:lnTo>
                    <a:lnTo>
                      <a:pt x="282" y="151"/>
                    </a:lnTo>
                    <a:lnTo>
                      <a:pt x="285" y="152"/>
                    </a:lnTo>
                    <a:lnTo>
                      <a:pt x="286" y="152"/>
                    </a:lnTo>
                    <a:lnTo>
                      <a:pt x="288" y="152"/>
                    </a:lnTo>
                    <a:lnTo>
                      <a:pt x="289" y="152"/>
                    </a:lnTo>
                    <a:lnTo>
                      <a:pt x="290" y="153"/>
                    </a:lnTo>
                    <a:lnTo>
                      <a:pt x="291" y="153"/>
                    </a:lnTo>
                    <a:lnTo>
                      <a:pt x="292" y="153"/>
                    </a:lnTo>
                    <a:lnTo>
                      <a:pt x="294" y="153"/>
                    </a:lnTo>
                    <a:lnTo>
                      <a:pt x="296" y="154"/>
                    </a:lnTo>
                    <a:lnTo>
                      <a:pt x="298" y="154"/>
                    </a:lnTo>
                    <a:lnTo>
                      <a:pt x="299" y="155"/>
                    </a:lnTo>
                    <a:lnTo>
                      <a:pt x="300" y="155"/>
                    </a:lnTo>
                    <a:lnTo>
                      <a:pt x="301" y="156"/>
                    </a:lnTo>
                    <a:lnTo>
                      <a:pt x="302" y="158"/>
                    </a:lnTo>
                    <a:lnTo>
                      <a:pt x="303" y="159"/>
                    </a:lnTo>
                    <a:lnTo>
                      <a:pt x="303" y="160"/>
                    </a:lnTo>
                    <a:lnTo>
                      <a:pt x="304" y="161"/>
                    </a:lnTo>
                    <a:lnTo>
                      <a:pt x="304" y="163"/>
                    </a:lnTo>
                    <a:lnTo>
                      <a:pt x="305" y="164"/>
                    </a:lnTo>
                    <a:lnTo>
                      <a:pt x="305" y="165"/>
                    </a:lnTo>
                    <a:lnTo>
                      <a:pt x="305" y="167"/>
                    </a:lnTo>
                    <a:lnTo>
                      <a:pt x="305" y="168"/>
                    </a:lnTo>
                    <a:lnTo>
                      <a:pt x="309" y="168"/>
                    </a:lnTo>
                    <a:lnTo>
                      <a:pt x="300" y="181"/>
                    </a:lnTo>
                    <a:lnTo>
                      <a:pt x="298" y="182"/>
                    </a:lnTo>
                    <a:lnTo>
                      <a:pt x="296" y="185"/>
                    </a:lnTo>
                    <a:lnTo>
                      <a:pt x="295" y="186"/>
                    </a:lnTo>
                    <a:lnTo>
                      <a:pt x="294" y="187"/>
                    </a:lnTo>
                    <a:lnTo>
                      <a:pt x="291" y="188"/>
                    </a:lnTo>
                    <a:lnTo>
                      <a:pt x="290" y="188"/>
                    </a:lnTo>
                    <a:lnTo>
                      <a:pt x="289" y="189"/>
                    </a:lnTo>
                    <a:lnTo>
                      <a:pt x="286" y="189"/>
                    </a:lnTo>
                    <a:lnTo>
                      <a:pt x="285" y="190"/>
                    </a:lnTo>
                    <a:lnTo>
                      <a:pt x="283" y="190"/>
                    </a:lnTo>
                    <a:lnTo>
                      <a:pt x="281" y="190"/>
                    </a:lnTo>
                    <a:lnTo>
                      <a:pt x="279" y="191"/>
                    </a:lnTo>
                    <a:lnTo>
                      <a:pt x="278" y="191"/>
                    </a:lnTo>
                    <a:lnTo>
                      <a:pt x="277" y="191"/>
                    </a:lnTo>
                    <a:lnTo>
                      <a:pt x="276" y="191"/>
                    </a:lnTo>
                    <a:lnTo>
                      <a:pt x="275" y="191"/>
                    </a:lnTo>
                    <a:lnTo>
                      <a:pt x="273" y="191"/>
                    </a:lnTo>
                    <a:lnTo>
                      <a:pt x="272" y="191"/>
                    </a:lnTo>
                    <a:lnTo>
                      <a:pt x="270" y="191"/>
                    </a:lnTo>
                    <a:lnTo>
                      <a:pt x="268" y="192"/>
                    </a:lnTo>
                    <a:lnTo>
                      <a:pt x="265" y="192"/>
                    </a:lnTo>
                    <a:lnTo>
                      <a:pt x="264" y="192"/>
                    </a:lnTo>
                    <a:lnTo>
                      <a:pt x="263" y="192"/>
                    </a:lnTo>
                    <a:lnTo>
                      <a:pt x="262" y="192"/>
                    </a:lnTo>
                    <a:lnTo>
                      <a:pt x="258" y="193"/>
                    </a:lnTo>
                    <a:lnTo>
                      <a:pt x="256" y="193"/>
                    </a:lnTo>
                    <a:lnTo>
                      <a:pt x="255" y="193"/>
                    </a:lnTo>
                    <a:lnTo>
                      <a:pt x="253" y="194"/>
                    </a:lnTo>
                    <a:lnTo>
                      <a:pt x="252" y="194"/>
                    </a:lnTo>
                    <a:lnTo>
                      <a:pt x="251" y="195"/>
                    </a:lnTo>
                    <a:lnTo>
                      <a:pt x="250" y="197"/>
                    </a:lnTo>
                    <a:lnTo>
                      <a:pt x="248" y="198"/>
                    </a:lnTo>
                    <a:lnTo>
                      <a:pt x="248" y="199"/>
                    </a:lnTo>
                    <a:lnTo>
                      <a:pt x="247" y="199"/>
                    </a:lnTo>
                    <a:lnTo>
                      <a:pt x="246" y="200"/>
                    </a:lnTo>
                    <a:lnTo>
                      <a:pt x="246" y="201"/>
                    </a:lnTo>
                    <a:lnTo>
                      <a:pt x="245" y="203"/>
                    </a:lnTo>
                    <a:lnTo>
                      <a:pt x="244" y="203"/>
                    </a:lnTo>
                    <a:lnTo>
                      <a:pt x="244" y="204"/>
                    </a:lnTo>
                    <a:lnTo>
                      <a:pt x="243" y="204"/>
                    </a:lnTo>
                    <a:lnTo>
                      <a:pt x="242" y="206"/>
                    </a:lnTo>
                    <a:lnTo>
                      <a:pt x="240" y="208"/>
                    </a:lnTo>
                    <a:lnTo>
                      <a:pt x="239" y="208"/>
                    </a:lnTo>
                    <a:lnTo>
                      <a:pt x="239" y="210"/>
                    </a:lnTo>
                    <a:lnTo>
                      <a:pt x="239" y="211"/>
                    </a:lnTo>
                    <a:lnTo>
                      <a:pt x="239" y="212"/>
                    </a:lnTo>
                    <a:lnTo>
                      <a:pt x="239" y="213"/>
                    </a:lnTo>
                    <a:lnTo>
                      <a:pt x="239" y="214"/>
                    </a:lnTo>
                    <a:lnTo>
                      <a:pt x="239" y="215"/>
                    </a:lnTo>
                    <a:lnTo>
                      <a:pt x="239" y="216"/>
                    </a:lnTo>
                    <a:lnTo>
                      <a:pt x="239" y="218"/>
                    </a:lnTo>
                    <a:lnTo>
                      <a:pt x="238" y="219"/>
                    </a:lnTo>
                    <a:lnTo>
                      <a:pt x="238" y="222"/>
                    </a:lnTo>
                    <a:lnTo>
                      <a:pt x="237" y="223"/>
                    </a:lnTo>
                    <a:lnTo>
                      <a:pt x="237" y="224"/>
                    </a:lnTo>
                    <a:lnTo>
                      <a:pt x="237" y="226"/>
                    </a:lnTo>
                    <a:lnTo>
                      <a:pt x="236" y="226"/>
                    </a:lnTo>
                    <a:lnTo>
                      <a:pt x="236" y="227"/>
                    </a:lnTo>
                    <a:lnTo>
                      <a:pt x="236" y="228"/>
                    </a:lnTo>
                    <a:lnTo>
                      <a:pt x="237" y="228"/>
                    </a:lnTo>
                    <a:lnTo>
                      <a:pt x="238" y="228"/>
                    </a:lnTo>
                    <a:lnTo>
                      <a:pt x="239" y="228"/>
                    </a:lnTo>
                    <a:lnTo>
                      <a:pt x="240" y="228"/>
                    </a:lnTo>
                    <a:lnTo>
                      <a:pt x="242" y="228"/>
                    </a:lnTo>
                    <a:lnTo>
                      <a:pt x="243" y="229"/>
                    </a:lnTo>
                    <a:lnTo>
                      <a:pt x="243" y="231"/>
                    </a:lnTo>
                    <a:lnTo>
                      <a:pt x="242" y="232"/>
                    </a:lnTo>
                    <a:lnTo>
                      <a:pt x="242" y="233"/>
                    </a:lnTo>
                    <a:lnTo>
                      <a:pt x="242" y="235"/>
                    </a:lnTo>
                    <a:lnTo>
                      <a:pt x="242" y="236"/>
                    </a:lnTo>
                    <a:lnTo>
                      <a:pt x="242" y="237"/>
                    </a:lnTo>
                    <a:lnTo>
                      <a:pt x="244" y="239"/>
                    </a:lnTo>
                    <a:lnTo>
                      <a:pt x="245" y="240"/>
                    </a:lnTo>
                    <a:lnTo>
                      <a:pt x="244" y="240"/>
                    </a:lnTo>
                    <a:lnTo>
                      <a:pt x="243" y="241"/>
                    </a:lnTo>
                    <a:lnTo>
                      <a:pt x="242" y="242"/>
                    </a:lnTo>
                    <a:lnTo>
                      <a:pt x="240" y="242"/>
                    </a:lnTo>
                    <a:lnTo>
                      <a:pt x="239" y="242"/>
                    </a:lnTo>
                    <a:lnTo>
                      <a:pt x="239" y="243"/>
                    </a:lnTo>
                    <a:lnTo>
                      <a:pt x="238" y="243"/>
                    </a:lnTo>
                    <a:lnTo>
                      <a:pt x="238" y="244"/>
                    </a:lnTo>
                    <a:lnTo>
                      <a:pt x="237" y="244"/>
                    </a:lnTo>
                    <a:lnTo>
                      <a:pt x="237" y="245"/>
                    </a:lnTo>
                    <a:lnTo>
                      <a:pt x="236" y="246"/>
                    </a:lnTo>
                    <a:lnTo>
                      <a:pt x="235" y="246"/>
                    </a:lnTo>
                    <a:lnTo>
                      <a:pt x="234" y="246"/>
                    </a:lnTo>
                    <a:lnTo>
                      <a:pt x="233" y="246"/>
                    </a:lnTo>
                    <a:lnTo>
                      <a:pt x="232" y="246"/>
                    </a:lnTo>
                    <a:lnTo>
                      <a:pt x="231" y="248"/>
                    </a:lnTo>
                    <a:lnTo>
                      <a:pt x="231" y="249"/>
                    </a:lnTo>
                    <a:lnTo>
                      <a:pt x="230" y="249"/>
                    </a:lnTo>
                    <a:lnTo>
                      <a:pt x="230" y="250"/>
                    </a:lnTo>
                    <a:lnTo>
                      <a:pt x="227" y="252"/>
                    </a:lnTo>
                    <a:lnTo>
                      <a:pt x="226" y="253"/>
                    </a:lnTo>
                    <a:lnTo>
                      <a:pt x="226" y="254"/>
                    </a:lnTo>
                    <a:lnTo>
                      <a:pt x="224" y="255"/>
                    </a:lnTo>
                    <a:lnTo>
                      <a:pt x="215" y="264"/>
                    </a:lnTo>
                    <a:lnTo>
                      <a:pt x="211" y="269"/>
                    </a:lnTo>
                    <a:lnTo>
                      <a:pt x="211" y="270"/>
                    </a:lnTo>
                    <a:lnTo>
                      <a:pt x="210" y="270"/>
                    </a:lnTo>
                    <a:lnTo>
                      <a:pt x="209" y="271"/>
                    </a:lnTo>
                    <a:lnTo>
                      <a:pt x="202" y="275"/>
                    </a:lnTo>
                    <a:lnTo>
                      <a:pt x="201" y="276"/>
                    </a:lnTo>
                    <a:lnTo>
                      <a:pt x="194" y="278"/>
                    </a:lnTo>
                    <a:lnTo>
                      <a:pt x="193" y="278"/>
                    </a:lnTo>
                    <a:lnTo>
                      <a:pt x="192" y="279"/>
                    </a:lnTo>
                    <a:lnTo>
                      <a:pt x="191" y="280"/>
                    </a:lnTo>
                    <a:lnTo>
                      <a:pt x="191" y="281"/>
                    </a:lnTo>
                    <a:lnTo>
                      <a:pt x="191" y="282"/>
                    </a:lnTo>
                    <a:lnTo>
                      <a:pt x="189" y="283"/>
                    </a:lnTo>
                    <a:lnTo>
                      <a:pt x="191" y="283"/>
                    </a:lnTo>
                    <a:lnTo>
                      <a:pt x="191" y="285"/>
                    </a:lnTo>
                    <a:lnTo>
                      <a:pt x="191" y="287"/>
                    </a:lnTo>
                    <a:lnTo>
                      <a:pt x="191" y="288"/>
                    </a:lnTo>
                    <a:lnTo>
                      <a:pt x="192" y="289"/>
                    </a:lnTo>
                    <a:lnTo>
                      <a:pt x="193" y="290"/>
                    </a:lnTo>
                    <a:lnTo>
                      <a:pt x="194" y="291"/>
                    </a:lnTo>
                    <a:lnTo>
                      <a:pt x="195" y="292"/>
                    </a:lnTo>
                    <a:lnTo>
                      <a:pt x="196" y="293"/>
                    </a:lnTo>
                    <a:lnTo>
                      <a:pt x="196" y="294"/>
                    </a:lnTo>
                    <a:lnTo>
                      <a:pt x="197" y="294"/>
                    </a:lnTo>
                    <a:lnTo>
                      <a:pt x="197" y="295"/>
                    </a:lnTo>
                    <a:lnTo>
                      <a:pt x="198" y="296"/>
                    </a:lnTo>
                    <a:lnTo>
                      <a:pt x="199" y="296"/>
                    </a:lnTo>
                    <a:lnTo>
                      <a:pt x="199" y="297"/>
                    </a:lnTo>
                    <a:lnTo>
                      <a:pt x="200" y="297"/>
                    </a:lnTo>
                    <a:lnTo>
                      <a:pt x="199" y="297"/>
                    </a:lnTo>
                    <a:lnTo>
                      <a:pt x="200" y="297"/>
                    </a:lnTo>
                    <a:lnTo>
                      <a:pt x="201" y="298"/>
                    </a:lnTo>
                    <a:lnTo>
                      <a:pt x="201" y="300"/>
                    </a:lnTo>
                    <a:lnTo>
                      <a:pt x="205" y="302"/>
                    </a:lnTo>
                    <a:lnTo>
                      <a:pt x="205" y="303"/>
                    </a:lnTo>
                    <a:lnTo>
                      <a:pt x="205" y="304"/>
                    </a:lnTo>
                    <a:lnTo>
                      <a:pt x="204" y="304"/>
                    </a:lnTo>
                    <a:lnTo>
                      <a:pt x="204" y="305"/>
                    </a:lnTo>
                    <a:lnTo>
                      <a:pt x="204" y="306"/>
                    </a:lnTo>
                    <a:lnTo>
                      <a:pt x="204" y="307"/>
                    </a:lnTo>
                    <a:lnTo>
                      <a:pt x="204" y="308"/>
                    </a:lnTo>
                    <a:lnTo>
                      <a:pt x="202" y="310"/>
                    </a:lnTo>
                    <a:lnTo>
                      <a:pt x="202" y="312"/>
                    </a:lnTo>
                    <a:lnTo>
                      <a:pt x="201" y="312"/>
                    </a:lnTo>
                    <a:lnTo>
                      <a:pt x="201" y="313"/>
                    </a:lnTo>
                    <a:lnTo>
                      <a:pt x="201" y="314"/>
                    </a:lnTo>
                    <a:lnTo>
                      <a:pt x="200" y="314"/>
                    </a:lnTo>
                    <a:lnTo>
                      <a:pt x="200" y="315"/>
                    </a:lnTo>
                    <a:lnTo>
                      <a:pt x="199" y="315"/>
                    </a:lnTo>
                    <a:lnTo>
                      <a:pt x="199" y="316"/>
                    </a:lnTo>
                    <a:lnTo>
                      <a:pt x="198" y="316"/>
                    </a:lnTo>
                    <a:lnTo>
                      <a:pt x="197" y="317"/>
                    </a:lnTo>
                    <a:lnTo>
                      <a:pt x="196" y="317"/>
                    </a:lnTo>
                    <a:lnTo>
                      <a:pt x="195" y="318"/>
                    </a:lnTo>
                    <a:lnTo>
                      <a:pt x="194" y="318"/>
                    </a:lnTo>
                    <a:lnTo>
                      <a:pt x="193" y="319"/>
                    </a:lnTo>
                    <a:lnTo>
                      <a:pt x="192" y="319"/>
                    </a:lnTo>
                    <a:lnTo>
                      <a:pt x="189" y="319"/>
                    </a:lnTo>
                    <a:lnTo>
                      <a:pt x="188" y="318"/>
                    </a:lnTo>
                    <a:lnTo>
                      <a:pt x="185" y="317"/>
                    </a:lnTo>
                    <a:lnTo>
                      <a:pt x="184" y="317"/>
                    </a:lnTo>
                    <a:lnTo>
                      <a:pt x="184" y="316"/>
                    </a:lnTo>
                    <a:lnTo>
                      <a:pt x="183" y="316"/>
                    </a:lnTo>
                    <a:lnTo>
                      <a:pt x="182" y="315"/>
                    </a:lnTo>
                    <a:lnTo>
                      <a:pt x="181" y="314"/>
                    </a:lnTo>
                    <a:lnTo>
                      <a:pt x="181" y="313"/>
                    </a:lnTo>
                    <a:lnTo>
                      <a:pt x="180" y="312"/>
                    </a:lnTo>
                    <a:lnTo>
                      <a:pt x="180" y="310"/>
                    </a:lnTo>
                    <a:lnTo>
                      <a:pt x="180" y="309"/>
                    </a:lnTo>
                    <a:lnTo>
                      <a:pt x="179" y="309"/>
                    </a:lnTo>
                    <a:lnTo>
                      <a:pt x="179" y="308"/>
                    </a:lnTo>
                    <a:lnTo>
                      <a:pt x="179" y="307"/>
                    </a:lnTo>
                    <a:lnTo>
                      <a:pt x="178" y="306"/>
                    </a:lnTo>
                    <a:lnTo>
                      <a:pt x="178" y="305"/>
                    </a:lnTo>
                    <a:lnTo>
                      <a:pt x="178" y="302"/>
                    </a:lnTo>
                    <a:lnTo>
                      <a:pt x="178" y="301"/>
                    </a:lnTo>
                    <a:lnTo>
                      <a:pt x="178" y="296"/>
                    </a:lnTo>
                    <a:lnTo>
                      <a:pt x="178" y="295"/>
                    </a:lnTo>
                    <a:lnTo>
                      <a:pt x="178" y="294"/>
                    </a:lnTo>
                    <a:lnTo>
                      <a:pt x="178" y="293"/>
                    </a:lnTo>
                    <a:lnTo>
                      <a:pt x="178" y="292"/>
                    </a:lnTo>
                    <a:lnTo>
                      <a:pt x="178" y="291"/>
                    </a:lnTo>
                    <a:lnTo>
                      <a:pt x="178" y="290"/>
                    </a:lnTo>
                    <a:lnTo>
                      <a:pt x="176" y="288"/>
                    </a:lnTo>
                    <a:lnTo>
                      <a:pt x="175" y="287"/>
                    </a:lnTo>
                    <a:lnTo>
                      <a:pt x="175" y="285"/>
                    </a:lnTo>
                    <a:lnTo>
                      <a:pt x="175" y="283"/>
                    </a:lnTo>
                    <a:lnTo>
                      <a:pt x="175" y="282"/>
                    </a:lnTo>
                    <a:lnTo>
                      <a:pt x="174" y="282"/>
                    </a:lnTo>
                    <a:lnTo>
                      <a:pt x="173" y="282"/>
                    </a:lnTo>
                    <a:lnTo>
                      <a:pt x="172" y="282"/>
                    </a:lnTo>
                    <a:lnTo>
                      <a:pt x="171" y="283"/>
                    </a:lnTo>
                    <a:lnTo>
                      <a:pt x="170" y="283"/>
                    </a:lnTo>
                    <a:lnTo>
                      <a:pt x="169" y="283"/>
                    </a:lnTo>
                    <a:lnTo>
                      <a:pt x="167" y="284"/>
                    </a:lnTo>
                    <a:lnTo>
                      <a:pt x="166" y="284"/>
                    </a:lnTo>
                    <a:lnTo>
                      <a:pt x="165" y="284"/>
                    </a:lnTo>
                    <a:lnTo>
                      <a:pt x="165" y="285"/>
                    </a:lnTo>
                    <a:lnTo>
                      <a:pt x="163" y="285"/>
                    </a:lnTo>
                    <a:lnTo>
                      <a:pt x="162" y="285"/>
                    </a:lnTo>
                    <a:lnTo>
                      <a:pt x="161" y="285"/>
                    </a:lnTo>
                    <a:lnTo>
                      <a:pt x="159" y="285"/>
                    </a:lnTo>
                    <a:lnTo>
                      <a:pt x="158" y="285"/>
                    </a:lnTo>
                    <a:lnTo>
                      <a:pt x="156" y="285"/>
                    </a:lnTo>
                    <a:lnTo>
                      <a:pt x="154" y="285"/>
                    </a:lnTo>
                    <a:lnTo>
                      <a:pt x="153" y="287"/>
                    </a:lnTo>
                    <a:lnTo>
                      <a:pt x="152" y="287"/>
                    </a:lnTo>
                    <a:lnTo>
                      <a:pt x="150" y="287"/>
                    </a:lnTo>
                    <a:lnTo>
                      <a:pt x="149" y="288"/>
                    </a:lnTo>
                    <a:lnTo>
                      <a:pt x="148" y="288"/>
                    </a:lnTo>
                    <a:lnTo>
                      <a:pt x="147" y="289"/>
                    </a:lnTo>
                    <a:lnTo>
                      <a:pt x="146" y="290"/>
                    </a:lnTo>
                    <a:lnTo>
                      <a:pt x="145" y="291"/>
                    </a:lnTo>
                    <a:lnTo>
                      <a:pt x="145" y="292"/>
                    </a:lnTo>
                    <a:lnTo>
                      <a:pt x="144" y="292"/>
                    </a:lnTo>
                    <a:lnTo>
                      <a:pt x="144" y="293"/>
                    </a:lnTo>
                    <a:lnTo>
                      <a:pt x="143" y="294"/>
                    </a:lnTo>
                    <a:lnTo>
                      <a:pt x="143" y="295"/>
                    </a:lnTo>
                    <a:lnTo>
                      <a:pt x="143" y="296"/>
                    </a:lnTo>
                    <a:lnTo>
                      <a:pt x="143" y="297"/>
                    </a:lnTo>
                    <a:lnTo>
                      <a:pt x="142" y="298"/>
                    </a:lnTo>
                    <a:lnTo>
                      <a:pt x="142" y="300"/>
                    </a:lnTo>
                    <a:lnTo>
                      <a:pt x="142" y="302"/>
                    </a:lnTo>
                    <a:lnTo>
                      <a:pt x="142" y="303"/>
                    </a:lnTo>
                    <a:lnTo>
                      <a:pt x="141" y="304"/>
                    </a:lnTo>
                    <a:lnTo>
                      <a:pt x="141" y="305"/>
                    </a:lnTo>
                    <a:lnTo>
                      <a:pt x="141" y="306"/>
                    </a:lnTo>
                    <a:lnTo>
                      <a:pt x="140" y="309"/>
                    </a:lnTo>
                    <a:lnTo>
                      <a:pt x="139" y="312"/>
                    </a:lnTo>
                    <a:lnTo>
                      <a:pt x="139" y="313"/>
                    </a:lnTo>
                    <a:lnTo>
                      <a:pt x="139" y="314"/>
                    </a:lnTo>
                    <a:lnTo>
                      <a:pt x="137" y="316"/>
                    </a:lnTo>
                    <a:lnTo>
                      <a:pt x="137" y="319"/>
                    </a:lnTo>
                    <a:lnTo>
                      <a:pt x="136" y="319"/>
                    </a:lnTo>
                    <a:lnTo>
                      <a:pt x="136" y="321"/>
                    </a:lnTo>
                    <a:lnTo>
                      <a:pt x="135" y="323"/>
                    </a:lnTo>
                    <a:lnTo>
                      <a:pt x="135" y="325"/>
                    </a:lnTo>
                    <a:lnTo>
                      <a:pt x="134" y="326"/>
                    </a:lnTo>
                    <a:lnTo>
                      <a:pt x="134" y="327"/>
                    </a:lnTo>
                    <a:lnTo>
                      <a:pt x="134" y="329"/>
                    </a:lnTo>
                    <a:lnTo>
                      <a:pt x="134" y="330"/>
                    </a:lnTo>
                    <a:lnTo>
                      <a:pt x="134" y="331"/>
                    </a:lnTo>
                    <a:lnTo>
                      <a:pt x="133" y="331"/>
                    </a:lnTo>
                    <a:lnTo>
                      <a:pt x="133" y="333"/>
                    </a:lnTo>
                    <a:lnTo>
                      <a:pt x="133" y="334"/>
                    </a:lnTo>
                    <a:lnTo>
                      <a:pt x="132" y="338"/>
                    </a:lnTo>
                    <a:lnTo>
                      <a:pt x="132" y="339"/>
                    </a:lnTo>
                    <a:lnTo>
                      <a:pt x="132" y="340"/>
                    </a:lnTo>
                    <a:lnTo>
                      <a:pt x="131" y="354"/>
                    </a:lnTo>
                    <a:lnTo>
                      <a:pt x="132" y="354"/>
                    </a:lnTo>
                    <a:lnTo>
                      <a:pt x="133" y="354"/>
                    </a:lnTo>
                    <a:lnTo>
                      <a:pt x="133" y="355"/>
                    </a:lnTo>
                    <a:lnTo>
                      <a:pt x="134" y="355"/>
                    </a:lnTo>
                    <a:lnTo>
                      <a:pt x="135" y="355"/>
                    </a:lnTo>
                    <a:lnTo>
                      <a:pt x="136" y="355"/>
                    </a:lnTo>
                    <a:lnTo>
                      <a:pt x="136" y="356"/>
                    </a:lnTo>
                    <a:lnTo>
                      <a:pt x="137" y="356"/>
                    </a:lnTo>
                    <a:lnTo>
                      <a:pt x="139" y="356"/>
                    </a:lnTo>
                    <a:lnTo>
                      <a:pt x="140" y="356"/>
                    </a:lnTo>
                    <a:lnTo>
                      <a:pt x="142" y="356"/>
                    </a:lnTo>
                    <a:lnTo>
                      <a:pt x="143" y="355"/>
                    </a:lnTo>
                    <a:lnTo>
                      <a:pt x="146" y="355"/>
                    </a:lnTo>
                    <a:lnTo>
                      <a:pt x="147" y="355"/>
                    </a:lnTo>
                    <a:lnTo>
                      <a:pt x="149" y="354"/>
                    </a:lnTo>
                    <a:lnTo>
                      <a:pt x="150" y="354"/>
                    </a:lnTo>
                    <a:lnTo>
                      <a:pt x="153" y="354"/>
                    </a:lnTo>
                    <a:lnTo>
                      <a:pt x="154" y="354"/>
                    </a:lnTo>
                    <a:lnTo>
                      <a:pt x="156" y="353"/>
                    </a:lnTo>
                    <a:lnTo>
                      <a:pt x="158" y="352"/>
                    </a:lnTo>
                    <a:lnTo>
                      <a:pt x="160" y="352"/>
                    </a:lnTo>
                    <a:lnTo>
                      <a:pt x="162" y="351"/>
                    </a:lnTo>
                    <a:lnTo>
                      <a:pt x="163" y="351"/>
                    </a:lnTo>
                    <a:lnTo>
                      <a:pt x="165" y="351"/>
                    </a:lnTo>
                    <a:lnTo>
                      <a:pt x="167" y="349"/>
                    </a:lnTo>
                    <a:lnTo>
                      <a:pt x="168" y="349"/>
                    </a:lnTo>
                    <a:lnTo>
                      <a:pt x="169" y="349"/>
                    </a:lnTo>
                    <a:lnTo>
                      <a:pt x="170" y="349"/>
                    </a:lnTo>
                    <a:lnTo>
                      <a:pt x="171" y="349"/>
                    </a:lnTo>
                    <a:lnTo>
                      <a:pt x="172" y="348"/>
                    </a:lnTo>
                    <a:lnTo>
                      <a:pt x="173" y="348"/>
                    </a:lnTo>
                    <a:lnTo>
                      <a:pt x="174" y="347"/>
                    </a:lnTo>
                    <a:lnTo>
                      <a:pt x="175" y="347"/>
                    </a:lnTo>
                    <a:lnTo>
                      <a:pt x="176" y="346"/>
                    </a:lnTo>
                    <a:lnTo>
                      <a:pt x="178" y="346"/>
                    </a:lnTo>
                    <a:lnTo>
                      <a:pt x="179" y="345"/>
                    </a:lnTo>
                    <a:lnTo>
                      <a:pt x="180" y="345"/>
                    </a:lnTo>
                    <a:lnTo>
                      <a:pt x="181" y="345"/>
                    </a:lnTo>
                    <a:lnTo>
                      <a:pt x="183" y="345"/>
                    </a:lnTo>
                    <a:lnTo>
                      <a:pt x="184" y="345"/>
                    </a:lnTo>
                    <a:lnTo>
                      <a:pt x="186" y="346"/>
                    </a:lnTo>
                    <a:lnTo>
                      <a:pt x="187" y="346"/>
                    </a:lnTo>
                    <a:lnTo>
                      <a:pt x="189" y="346"/>
                    </a:lnTo>
                    <a:lnTo>
                      <a:pt x="191" y="347"/>
                    </a:lnTo>
                    <a:lnTo>
                      <a:pt x="193" y="348"/>
                    </a:lnTo>
                    <a:lnTo>
                      <a:pt x="194" y="349"/>
                    </a:lnTo>
                    <a:lnTo>
                      <a:pt x="195" y="351"/>
                    </a:lnTo>
                    <a:lnTo>
                      <a:pt x="196" y="352"/>
                    </a:lnTo>
                    <a:lnTo>
                      <a:pt x="196" y="353"/>
                    </a:lnTo>
                    <a:lnTo>
                      <a:pt x="196" y="354"/>
                    </a:lnTo>
                    <a:lnTo>
                      <a:pt x="196" y="355"/>
                    </a:lnTo>
                    <a:lnTo>
                      <a:pt x="195" y="356"/>
                    </a:lnTo>
                    <a:lnTo>
                      <a:pt x="195" y="357"/>
                    </a:lnTo>
                    <a:lnTo>
                      <a:pt x="194" y="357"/>
                    </a:lnTo>
                    <a:lnTo>
                      <a:pt x="194" y="358"/>
                    </a:lnTo>
                    <a:lnTo>
                      <a:pt x="193" y="359"/>
                    </a:lnTo>
                    <a:lnTo>
                      <a:pt x="192" y="360"/>
                    </a:lnTo>
                    <a:lnTo>
                      <a:pt x="191" y="361"/>
                    </a:lnTo>
                    <a:lnTo>
                      <a:pt x="189" y="362"/>
                    </a:lnTo>
                    <a:lnTo>
                      <a:pt x="188" y="362"/>
                    </a:lnTo>
                    <a:lnTo>
                      <a:pt x="188" y="364"/>
                    </a:lnTo>
                    <a:lnTo>
                      <a:pt x="187" y="364"/>
                    </a:lnTo>
                    <a:lnTo>
                      <a:pt x="186" y="365"/>
                    </a:lnTo>
                    <a:lnTo>
                      <a:pt x="185" y="365"/>
                    </a:lnTo>
                    <a:lnTo>
                      <a:pt x="183" y="365"/>
                    </a:lnTo>
                    <a:lnTo>
                      <a:pt x="181" y="365"/>
                    </a:lnTo>
                    <a:lnTo>
                      <a:pt x="180" y="365"/>
                    </a:lnTo>
                    <a:lnTo>
                      <a:pt x="179" y="365"/>
                    </a:lnTo>
                    <a:lnTo>
                      <a:pt x="178" y="365"/>
                    </a:lnTo>
                    <a:lnTo>
                      <a:pt x="176" y="365"/>
                    </a:lnTo>
                    <a:lnTo>
                      <a:pt x="175" y="365"/>
                    </a:lnTo>
                    <a:lnTo>
                      <a:pt x="174" y="365"/>
                    </a:lnTo>
                    <a:lnTo>
                      <a:pt x="173" y="365"/>
                    </a:lnTo>
                    <a:lnTo>
                      <a:pt x="172" y="365"/>
                    </a:lnTo>
                    <a:lnTo>
                      <a:pt x="171" y="364"/>
                    </a:lnTo>
                    <a:lnTo>
                      <a:pt x="170" y="364"/>
                    </a:lnTo>
                    <a:lnTo>
                      <a:pt x="169" y="362"/>
                    </a:lnTo>
                    <a:lnTo>
                      <a:pt x="168" y="362"/>
                    </a:lnTo>
                    <a:lnTo>
                      <a:pt x="167" y="362"/>
                    </a:lnTo>
                    <a:lnTo>
                      <a:pt x="166" y="362"/>
                    </a:lnTo>
                    <a:lnTo>
                      <a:pt x="163" y="362"/>
                    </a:lnTo>
                    <a:lnTo>
                      <a:pt x="162" y="362"/>
                    </a:lnTo>
                    <a:lnTo>
                      <a:pt x="160" y="361"/>
                    </a:lnTo>
                    <a:lnTo>
                      <a:pt x="158" y="361"/>
                    </a:lnTo>
                    <a:lnTo>
                      <a:pt x="140" y="361"/>
                    </a:lnTo>
                    <a:lnTo>
                      <a:pt x="137" y="361"/>
                    </a:lnTo>
                    <a:lnTo>
                      <a:pt x="135" y="362"/>
                    </a:lnTo>
                    <a:lnTo>
                      <a:pt x="134" y="362"/>
                    </a:lnTo>
                    <a:lnTo>
                      <a:pt x="133" y="362"/>
                    </a:lnTo>
                    <a:lnTo>
                      <a:pt x="132" y="362"/>
                    </a:lnTo>
                    <a:lnTo>
                      <a:pt x="131" y="362"/>
                    </a:lnTo>
                    <a:lnTo>
                      <a:pt x="130" y="364"/>
                    </a:lnTo>
                    <a:lnTo>
                      <a:pt x="129" y="364"/>
                    </a:lnTo>
                    <a:lnTo>
                      <a:pt x="127" y="366"/>
                    </a:lnTo>
                    <a:lnTo>
                      <a:pt x="127" y="367"/>
                    </a:lnTo>
                    <a:lnTo>
                      <a:pt x="127" y="368"/>
                    </a:lnTo>
                    <a:lnTo>
                      <a:pt x="126" y="368"/>
                    </a:lnTo>
                    <a:lnTo>
                      <a:pt x="126" y="369"/>
                    </a:lnTo>
                    <a:lnTo>
                      <a:pt x="122" y="373"/>
                    </a:lnTo>
                    <a:lnTo>
                      <a:pt x="122" y="372"/>
                    </a:lnTo>
                    <a:lnTo>
                      <a:pt x="123" y="364"/>
                    </a:lnTo>
                    <a:lnTo>
                      <a:pt x="121" y="364"/>
                    </a:lnTo>
                    <a:lnTo>
                      <a:pt x="120" y="364"/>
                    </a:lnTo>
                    <a:lnTo>
                      <a:pt x="119" y="364"/>
                    </a:lnTo>
                    <a:lnTo>
                      <a:pt x="114" y="364"/>
                    </a:lnTo>
                    <a:lnTo>
                      <a:pt x="113" y="364"/>
                    </a:lnTo>
                    <a:lnTo>
                      <a:pt x="111" y="362"/>
                    </a:lnTo>
                    <a:lnTo>
                      <a:pt x="110" y="361"/>
                    </a:lnTo>
                    <a:lnTo>
                      <a:pt x="110" y="360"/>
                    </a:lnTo>
                    <a:lnTo>
                      <a:pt x="111" y="359"/>
                    </a:lnTo>
                    <a:lnTo>
                      <a:pt x="110" y="359"/>
                    </a:lnTo>
                    <a:lnTo>
                      <a:pt x="109" y="358"/>
                    </a:lnTo>
                    <a:lnTo>
                      <a:pt x="108" y="359"/>
                    </a:lnTo>
                    <a:lnTo>
                      <a:pt x="107" y="359"/>
                    </a:lnTo>
                    <a:lnTo>
                      <a:pt x="106" y="359"/>
                    </a:lnTo>
                    <a:lnTo>
                      <a:pt x="103" y="359"/>
                    </a:lnTo>
                    <a:lnTo>
                      <a:pt x="103" y="358"/>
                    </a:lnTo>
                    <a:lnTo>
                      <a:pt x="102" y="358"/>
                    </a:lnTo>
                    <a:lnTo>
                      <a:pt x="101" y="358"/>
                    </a:lnTo>
                    <a:lnTo>
                      <a:pt x="100" y="358"/>
                    </a:lnTo>
                    <a:lnTo>
                      <a:pt x="98" y="359"/>
                    </a:lnTo>
                    <a:lnTo>
                      <a:pt x="97" y="358"/>
                    </a:lnTo>
                    <a:lnTo>
                      <a:pt x="96" y="358"/>
                    </a:lnTo>
                    <a:lnTo>
                      <a:pt x="95" y="358"/>
                    </a:lnTo>
                    <a:lnTo>
                      <a:pt x="94" y="358"/>
                    </a:lnTo>
                    <a:lnTo>
                      <a:pt x="93" y="358"/>
                    </a:lnTo>
                    <a:lnTo>
                      <a:pt x="92" y="359"/>
                    </a:lnTo>
                    <a:lnTo>
                      <a:pt x="91" y="360"/>
                    </a:lnTo>
                    <a:lnTo>
                      <a:pt x="90" y="360"/>
                    </a:lnTo>
                    <a:lnTo>
                      <a:pt x="87" y="360"/>
                    </a:lnTo>
                    <a:lnTo>
                      <a:pt x="79" y="360"/>
                    </a:lnTo>
                    <a:lnTo>
                      <a:pt x="76" y="360"/>
                    </a:lnTo>
                    <a:lnTo>
                      <a:pt x="69" y="360"/>
                    </a:lnTo>
                    <a:lnTo>
                      <a:pt x="57" y="360"/>
                    </a:lnTo>
                    <a:lnTo>
                      <a:pt x="55" y="360"/>
                    </a:lnTo>
                    <a:lnTo>
                      <a:pt x="49" y="360"/>
                    </a:lnTo>
                    <a:lnTo>
                      <a:pt x="40" y="360"/>
                    </a:lnTo>
                    <a:lnTo>
                      <a:pt x="21" y="359"/>
                    </a:lnTo>
                    <a:lnTo>
                      <a:pt x="20" y="359"/>
                    </a:lnTo>
                    <a:lnTo>
                      <a:pt x="17" y="356"/>
                    </a:lnTo>
                    <a:lnTo>
                      <a:pt x="16" y="354"/>
                    </a:lnTo>
                    <a:lnTo>
                      <a:pt x="14" y="352"/>
                    </a:lnTo>
                    <a:lnTo>
                      <a:pt x="13" y="349"/>
                    </a:lnTo>
                    <a:lnTo>
                      <a:pt x="12" y="347"/>
                    </a:lnTo>
                    <a:lnTo>
                      <a:pt x="11" y="346"/>
                    </a:lnTo>
                    <a:lnTo>
                      <a:pt x="10" y="344"/>
                    </a:lnTo>
                    <a:lnTo>
                      <a:pt x="8" y="342"/>
                    </a:lnTo>
                    <a:lnTo>
                      <a:pt x="6" y="340"/>
                    </a:lnTo>
                    <a:lnTo>
                      <a:pt x="4" y="336"/>
                    </a:lnTo>
                    <a:lnTo>
                      <a:pt x="1" y="328"/>
                    </a:lnTo>
                    <a:lnTo>
                      <a:pt x="1" y="327"/>
                    </a:lnTo>
                    <a:lnTo>
                      <a:pt x="1" y="323"/>
                    </a:lnTo>
                    <a:lnTo>
                      <a:pt x="1" y="322"/>
                    </a:lnTo>
                    <a:lnTo>
                      <a:pt x="2" y="319"/>
                    </a:lnTo>
                    <a:lnTo>
                      <a:pt x="2" y="318"/>
                    </a:lnTo>
                    <a:lnTo>
                      <a:pt x="4" y="314"/>
                    </a:lnTo>
                    <a:lnTo>
                      <a:pt x="5" y="310"/>
                    </a:lnTo>
                    <a:lnTo>
                      <a:pt x="6" y="307"/>
                    </a:lnTo>
                    <a:lnTo>
                      <a:pt x="6" y="306"/>
                    </a:lnTo>
                    <a:lnTo>
                      <a:pt x="6" y="303"/>
                    </a:lnTo>
                    <a:lnTo>
                      <a:pt x="6" y="295"/>
                    </a:lnTo>
                    <a:lnTo>
                      <a:pt x="5" y="291"/>
                    </a:lnTo>
                    <a:lnTo>
                      <a:pt x="5" y="287"/>
                    </a:lnTo>
                    <a:lnTo>
                      <a:pt x="5" y="285"/>
                    </a:lnTo>
                    <a:lnTo>
                      <a:pt x="5" y="281"/>
                    </a:lnTo>
                    <a:lnTo>
                      <a:pt x="5" y="280"/>
                    </a:lnTo>
                    <a:lnTo>
                      <a:pt x="4" y="279"/>
                    </a:lnTo>
                    <a:lnTo>
                      <a:pt x="3" y="279"/>
                    </a:lnTo>
                    <a:lnTo>
                      <a:pt x="2" y="279"/>
                    </a:lnTo>
                    <a:lnTo>
                      <a:pt x="1" y="280"/>
                    </a:lnTo>
                    <a:lnTo>
                      <a:pt x="1" y="279"/>
                    </a:lnTo>
                    <a:lnTo>
                      <a:pt x="0" y="278"/>
                    </a:lnTo>
                    <a:lnTo>
                      <a:pt x="0" y="277"/>
                    </a:lnTo>
                    <a:lnTo>
                      <a:pt x="0" y="276"/>
                    </a:lnTo>
                    <a:lnTo>
                      <a:pt x="0" y="275"/>
                    </a:lnTo>
                    <a:lnTo>
                      <a:pt x="0" y="274"/>
                    </a:lnTo>
                    <a:lnTo>
                      <a:pt x="1" y="272"/>
                    </a:lnTo>
                    <a:lnTo>
                      <a:pt x="2" y="271"/>
                    </a:lnTo>
                    <a:lnTo>
                      <a:pt x="2" y="270"/>
                    </a:lnTo>
                    <a:lnTo>
                      <a:pt x="2" y="269"/>
                    </a:lnTo>
                    <a:lnTo>
                      <a:pt x="2" y="268"/>
                    </a:lnTo>
                    <a:lnTo>
                      <a:pt x="2" y="267"/>
                    </a:lnTo>
                    <a:lnTo>
                      <a:pt x="2" y="266"/>
                    </a:lnTo>
                    <a:lnTo>
                      <a:pt x="4" y="261"/>
                    </a:lnTo>
                    <a:lnTo>
                      <a:pt x="5" y="261"/>
                    </a:lnTo>
                    <a:lnTo>
                      <a:pt x="5" y="259"/>
                    </a:lnTo>
                    <a:lnTo>
                      <a:pt x="6" y="258"/>
                    </a:lnTo>
                    <a:lnTo>
                      <a:pt x="7" y="256"/>
                    </a:lnTo>
                    <a:lnTo>
                      <a:pt x="8" y="255"/>
                    </a:lnTo>
                    <a:lnTo>
                      <a:pt x="10" y="254"/>
                    </a:lnTo>
                    <a:lnTo>
                      <a:pt x="12" y="253"/>
                    </a:lnTo>
                    <a:lnTo>
                      <a:pt x="14" y="251"/>
                    </a:lnTo>
                    <a:lnTo>
                      <a:pt x="17" y="249"/>
                    </a:lnTo>
                    <a:lnTo>
                      <a:pt x="18" y="248"/>
                    </a:lnTo>
                    <a:lnTo>
                      <a:pt x="18" y="246"/>
                    </a:lnTo>
                    <a:lnTo>
                      <a:pt x="20" y="244"/>
                    </a:lnTo>
                    <a:lnTo>
                      <a:pt x="23" y="243"/>
                    </a:lnTo>
                    <a:lnTo>
                      <a:pt x="25" y="242"/>
                    </a:lnTo>
                    <a:lnTo>
                      <a:pt x="28" y="242"/>
                    </a:lnTo>
                    <a:lnTo>
                      <a:pt x="31" y="242"/>
                    </a:lnTo>
                    <a:lnTo>
                      <a:pt x="33" y="242"/>
                    </a:lnTo>
                    <a:lnTo>
                      <a:pt x="34" y="241"/>
                    </a:lnTo>
                    <a:lnTo>
                      <a:pt x="36" y="239"/>
                    </a:lnTo>
                    <a:lnTo>
                      <a:pt x="36" y="238"/>
                    </a:lnTo>
                    <a:lnTo>
                      <a:pt x="36" y="236"/>
                    </a:lnTo>
                    <a:lnTo>
                      <a:pt x="37" y="235"/>
                    </a:lnTo>
                    <a:lnTo>
                      <a:pt x="39" y="233"/>
                    </a:lnTo>
                    <a:lnTo>
                      <a:pt x="40" y="232"/>
                    </a:lnTo>
                    <a:lnTo>
                      <a:pt x="41" y="232"/>
                    </a:lnTo>
                    <a:lnTo>
                      <a:pt x="42" y="231"/>
                    </a:lnTo>
                    <a:lnTo>
                      <a:pt x="41" y="230"/>
                    </a:lnTo>
                    <a:lnTo>
                      <a:pt x="42" y="228"/>
                    </a:lnTo>
                    <a:lnTo>
                      <a:pt x="42" y="226"/>
                    </a:lnTo>
                    <a:lnTo>
                      <a:pt x="42" y="225"/>
                    </a:lnTo>
                    <a:lnTo>
                      <a:pt x="42" y="220"/>
                    </a:lnTo>
                    <a:lnTo>
                      <a:pt x="42" y="218"/>
                    </a:lnTo>
                    <a:lnTo>
                      <a:pt x="41" y="216"/>
                    </a:lnTo>
                    <a:lnTo>
                      <a:pt x="41" y="215"/>
                    </a:lnTo>
                    <a:lnTo>
                      <a:pt x="41" y="214"/>
                    </a:lnTo>
                    <a:lnTo>
                      <a:pt x="40" y="214"/>
                    </a:lnTo>
                    <a:lnTo>
                      <a:pt x="39" y="213"/>
                    </a:lnTo>
                    <a:lnTo>
                      <a:pt x="38" y="213"/>
                    </a:lnTo>
                    <a:lnTo>
                      <a:pt x="37" y="212"/>
                    </a:lnTo>
                    <a:lnTo>
                      <a:pt x="36" y="211"/>
                    </a:lnTo>
                    <a:lnTo>
                      <a:pt x="34" y="211"/>
                    </a:lnTo>
                    <a:lnTo>
                      <a:pt x="32" y="211"/>
                    </a:lnTo>
                    <a:lnTo>
                      <a:pt x="31" y="211"/>
                    </a:lnTo>
                    <a:lnTo>
                      <a:pt x="31" y="210"/>
                    </a:lnTo>
                    <a:lnTo>
                      <a:pt x="31" y="208"/>
                    </a:lnTo>
                    <a:lnTo>
                      <a:pt x="32" y="207"/>
                    </a:lnTo>
                    <a:lnTo>
                      <a:pt x="34" y="206"/>
                    </a:lnTo>
                    <a:lnTo>
                      <a:pt x="36" y="204"/>
                    </a:lnTo>
                    <a:lnTo>
                      <a:pt x="38" y="203"/>
                    </a:lnTo>
                    <a:lnTo>
                      <a:pt x="39" y="202"/>
                    </a:lnTo>
                    <a:lnTo>
                      <a:pt x="38" y="201"/>
                    </a:lnTo>
                    <a:lnTo>
                      <a:pt x="38" y="200"/>
                    </a:lnTo>
                    <a:lnTo>
                      <a:pt x="39" y="200"/>
                    </a:lnTo>
                    <a:lnTo>
                      <a:pt x="40" y="199"/>
                    </a:lnTo>
                    <a:lnTo>
                      <a:pt x="41" y="199"/>
                    </a:lnTo>
                    <a:lnTo>
                      <a:pt x="41" y="198"/>
                    </a:lnTo>
                    <a:lnTo>
                      <a:pt x="40" y="197"/>
                    </a:lnTo>
                    <a:lnTo>
                      <a:pt x="40" y="194"/>
                    </a:lnTo>
                    <a:lnTo>
                      <a:pt x="39" y="192"/>
                    </a:lnTo>
                    <a:lnTo>
                      <a:pt x="40" y="191"/>
                    </a:lnTo>
                    <a:lnTo>
                      <a:pt x="41" y="190"/>
                    </a:lnTo>
                    <a:lnTo>
                      <a:pt x="42" y="189"/>
                    </a:lnTo>
                    <a:lnTo>
                      <a:pt x="43" y="188"/>
                    </a:lnTo>
                    <a:lnTo>
                      <a:pt x="44" y="187"/>
                    </a:lnTo>
                    <a:lnTo>
                      <a:pt x="45" y="187"/>
                    </a:lnTo>
                    <a:lnTo>
                      <a:pt x="46" y="187"/>
                    </a:lnTo>
                    <a:lnTo>
                      <a:pt x="47" y="187"/>
                    </a:lnTo>
                    <a:lnTo>
                      <a:pt x="49" y="188"/>
                    </a:lnTo>
                    <a:lnTo>
                      <a:pt x="50" y="188"/>
                    </a:lnTo>
                    <a:lnTo>
                      <a:pt x="50" y="187"/>
                    </a:lnTo>
                    <a:lnTo>
                      <a:pt x="51" y="187"/>
                    </a:lnTo>
                    <a:lnTo>
                      <a:pt x="51" y="186"/>
                    </a:lnTo>
                    <a:lnTo>
                      <a:pt x="50" y="184"/>
                    </a:lnTo>
                    <a:lnTo>
                      <a:pt x="50" y="182"/>
                    </a:lnTo>
                    <a:lnTo>
                      <a:pt x="51" y="181"/>
                    </a:lnTo>
                    <a:lnTo>
                      <a:pt x="52" y="180"/>
                    </a:lnTo>
                    <a:lnTo>
                      <a:pt x="52" y="179"/>
                    </a:lnTo>
                    <a:lnTo>
                      <a:pt x="52" y="178"/>
                    </a:lnTo>
                    <a:lnTo>
                      <a:pt x="51" y="178"/>
                    </a:lnTo>
                    <a:lnTo>
                      <a:pt x="49" y="178"/>
                    </a:lnTo>
                    <a:lnTo>
                      <a:pt x="47" y="178"/>
                    </a:lnTo>
                    <a:lnTo>
                      <a:pt x="47" y="177"/>
                    </a:lnTo>
                    <a:lnTo>
                      <a:pt x="47" y="176"/>
                    </a:lnTo>
                    <a:lnTo>
                      <a:pt x="49" y="176"/>
                    </a:lnTo>
                    <a:lnTo>
                      <a:pt x="50" y="176"/>
                    </a:lnTo>
                    <a:lnTo>
                      <a:pt x="51" y="176"/>
                    </a:lnTo>
                    <a:lnTo>
                      <a:pt x="51" y="175"/>
                    </a:lnTo>
                    <a:lnTo>
                      <a:pt x="51" y="174"/>
                    </a:lnTo>
                    <a:lnTo>
                      <a:pt x="50" y="173"/>
                    </a:lnTo>
                    <a:lnTo>
                      <a:pt x="49" y="172"/>
                    </a:lnTo>
                    <a:lnTo>
                      <a:pt x="46" y="168"/>
                    </a:lnTo>
                    <a:lnTo>
                      <a:pt x="44" y="168"/>
                    </a:lnTo>
                    <a:lnTo>
                      <a:pt x="43" y="167"/>
                    </a:lnTo>
                    <a:lnTo>
                      <a:pt x="42" y="166"/>
                    </a:lnTo>
                    <a:lnTo>
                      <a:pt x="42" y="165"/>
                    </a:lnTo>
                    <a:lnTo>
                      <a:pt x="43" y="163"/>
                    </a:lnTo>
                    <a:lnTo>
                      <a:pt x="44" y="162"/>
                    </a:lnTo>
                    <a:lnTo>
                      <a:pt x="44" y="161"/>
                    </a:lnTo>
                    <a:lnTo>
                      <a:pt x="45" y="160"/>
                    </a:lnTo>
                    <a:lnTo>
                      <a:pt x="45" y="159"/>
                    </a:lnTo>
                    <a:lnTo>
                      <a:pt x="44" y="158"/>
                    </a:lnTo>
                    <a:lnTo>
                      <a:pt x="44" y="156"/>
                    </a:lnTo>
                    <a:lnTo>
                      <a:pt x="43" y="156"/>
                    </a:lnTo>
                    <a:lnTo>
                      <a:pt x="43" y="155"/>
                    </a:lnTo>
                    <a:lnTo>
                      <a:pt x="44" y="154"/>
                    </a:lnTo>
                    <a:lnTo>
                      <a:pt x="45" y="154"/>
                    </a:lnTo>
                    <a:lnTo>
                      <a:pt x="45" y="153"/>
                    </a:lnTo>
                    <a:lnTo>
                      <a:pt x="45" y="152"/>
                    </a:lnTo>
                    <a:lnTo>
                      <a:pt x="45" y="151"/>
                    </a:lnTo>
                    <a:lnTo>
                      <a:pt x="45" y="150"/>
                    </a:lnTo>
                    <a:lnTo>
                      <a:pt x="46" y="149"/>
                    </a:lnTo>
                    <a:lnTo>
                      <a:pt x="47" y="148"/>
                    </a:lnTo>
                    <a:lnTo>
                      <a:pt x="47" y="147"/>
                    </a:lnTo>
                    <a:lnTo>
                      <a:pt x="47" y="146"/>
                    </a:lnTo>
                    <a:lnTo>
                      <a:pt x="46" y="145"/>
                    </a:lnTo>
                    <a:lnTo>
                      <a:pt x="45" y="143"/>
                    </a:lnTo>
                    <a:lnTo>
                      <a:pt x="46" y="142"/>
                    </a:lnTo>
                    <a:lnTo>
                      <a:pt x="46" y="141"/>
                    </a:lnTo>
                    <a:lnTo>
                      <a:pt x="47" y="141"/>
                    </a:lnTo>
                    <a:lnTo>
                      <a:pt x="47" y="140"/>
                    </a:lnTo>
                    <a:lnTo>
                      <a:pt x="47" y="139"/>
                    </a:lnTo>
                    <a:lnTo>
                      <a:pt x="47" y="136"/>
                    </a:lnTo>
                    <a:lnTo>
                      <a:pt x="47" y="135"/>
                    </a:lnTo>
                    <a:lnTo>
                      <a:pt x="47" y="133"/>
                    </a:lnTo>
                    <a:lnTo>
                      <a:pt x="49" y="131"/>
                    </a:lnTo>
                    <a:lnTo>
                      <a:pt x="50" y="131"/>
                    </a:lnTo>
                    <a:lnTo>
                      <a:pt x="51" y="131"/>
                    </a:lnTo>
                    <a:lnTo>
                      <a:pt x="52" y="130"/>
                    </a:lnTo>
                    <a:lnTo>
                      <a:pt x="53" y="130"/>
                    </a:lnTo>
                    <a:lnTo>
                      <a:pt x="54" y="130"/>
                    </a:lnTo>
                    <a:lnTo>
                      <a:pt x="54" y="129"/>
                    </a:lnTo>
                    <a:lnTo>
                      <a:pt x="53" y="128"/>
                    </a:lnTo>
                    <a:lnTo>
                      <a:pt x="52" y="128"/>
                    </a:lnTo>
                    <a:lnTo>
                      <a:pt x="52" y="127"/>
                    </a:lnTo>
                    <a:lnTo>
                      <a:pt x="52" y="126"/>
                    </a:lnTo>
                    <a:lnTo>
                      <a:pt x="52" y="125"/>
                    </a:lnTo>
                    <a:lnTo>
                      <a:pt x="53" y="125"/>
                    </a:lnTo>
                    <a:lnTo>
                      <a:pt x="54" y="126"/>
                    </a:lnTo>
                    <a:lnTo>
                      <a:pt x="55" y="126"/>
                    </a:lnTo>
                    <a:lnTo>
                      <a:pt x="55" y="125"/>
                    </a:lnTo>
                    <a:lnTo>
                      <a:pt x="55" y="124"/>
                    </a:lnTo>
                    <a:lnTo>
                      <a:pt x="55" y="123"/>
                    </a:lnTo>
                    <a:lnTo>
                      <a:pt x="54" y="123"/>
                    </a:lnTo>
                    <a:lnTo>
                      <a:pt x="54" y="122"/>
                    </a:lnTo>
                    <a:lnTo>
                      <a:pt x="53" y="122"/>
                    </a:lnTo>
                    <a:lnTo>
                      <a:pt x="53" y="121"/>
                    </a:lnTo>
                    <a:lnTo>
                      <a:pt x="53" y="120"/>
                    </a:lnTo>
                    <a:lnTo>
                      <a:pt x="54" y="120"/>
                    </a:lnTo>
                    <a:lnTo>
                      <a:pt x="54" y="118"/>
                    </a:lnTo>
                    <a:lnTo>
                      <a:pt x="54" y="117"/>
                    </a:lnTo>
                    <a:lnTo>
                      <a:pt x="55" y="116"/>
                    </a:lnTo>
                    <a:lnTo>
                      <a:pt x="55" y="115"/>
                    </a:lnTo>
                    <a:lnTo>
                      <a:pt x="55" y="114"/>
                    </a:lnTo>
                    <a:lnTo>
                      <a:pt x="54" y="114"/>
                    </a:lnTo>
                    <a:lnTo>
                      <a:pt x="54" y="113"/>
                    </a:lnTo>
                    <a:lnTo>
                      <a:pt x="53" y="113"/>
                    </a:lnTo>
                    <a:lnTo>
                      <a:pt x="52" y="113"/>
                    </a:lnTo>
                    <a:lnTo>
                      <a:pt x="51" y="112"/>
                    </a:lnTo>
                    <a:lnTo>
                      <a:pt x="50" y="111"/>
                    </a:lnTo>
                    <a:lnTo>
                      <a:pt x="49" y="111"/>
                    </a:lnTo>
                    <a:lnTo>
                      <a:pt x="47" y="110"/>
                    </a:lnTo>
                    <a:lnTo>
                      <a:pt x="46" y="111"/>
                    </a:lnTo>
                    <a:lnTo>
                      <a:pt x="45" y="111"/>
                    </a:lnTo>
                    <a:lnTo>
                      <a:pt x="45" y="110"/>
                    </a:lnTo>
                    <a:lnTo>
                      <a:pt x="43" y="111"/>
                    </a:lnTo>
                    <a:lnTo>
                      <a:pt x="43" y="110"/>
                    </a:lnTo>
                    <a:lnTo>
                      <a:pt x="42" y="109"/>
                    </a:lnTo>
                    <a:lnTo>
                      <a:pt x="42" y="108"/>
                    </a:lnTo>
                    <a:lnTo>
                      <a:pt x="43" y="107"/>
                    </a:lnTo>
                    <a:lnTo>
                      <a:pt x="43" y="105"/>
                    </a:lnTo>
                    <a:lnTo>
                      <a:pt x="44" y="105"/>
                    </a:lnTo>
                    <a:lnTo>
                      <a:pt x="45" y="105"/>
                    </a:lnTo>
                    <a:lnTo>
                      <a:pt x="45" y="104"/>
                    </a:lnTo>
                    <a:lnTo>
                      <a:pt x="46" y="105"/>
                    </a:lnTo>
                    <a:lnTo>
                      <a:pt x="46" y="104"/>
                    </a:lnTo>
                    <a:lnTo>
                      <a:pt x="47" y="104"/>
                    </a:lnTo>
                    <a:lnTo>
                      <a:pt x="47" y="105"/>
                    </a:lnTo>
                    <a:lnTo>
                      <a:pt x="47" y="104"/>
                    </a:lnTo>
                    <a:lnTo>
                      <a:pt x="47" y="103"/>
                    </a:lnTo>
                    <a:lnTo>
                      <a:pt x="47" y="102"/>
                    </a:lnTo>
                    <a:lnTo>
                      <a:pt x="47" y="101"/>
                    </a:lnTo>
                    <a:lnTo>
                      <a:pt x="47" y="100"/>
                    </a:lnTo>
                    <a:lnTo>
                      <a:pt x="47" y="99"/>
                    </a:lnTo>
                    <a:lnTo>
                      <a:pt x="46" y="99"/>
                    </a:lnTo>
                    <a:lnTo>
                      <a:pt x="46" y="98"/>
                    </a:lnTo>
                    <a:lnTo>
                      <a:pt x="45" y="98"/>
                    </a:lnTo>
                    <a:lnTo>
                      <a:pt x="45" y="97"/>
                    </a:lnTo>
                    <a:lnTo>
                      <a:pt x="45" y="96"/>
                    </a:lnTo>
                    <a:lnTo>
                      <a:pt x="45" y="95"/>
                    </a:lnTo>
                    <a:lnTo>
                      <a:pt x="45" y="94"/>
                    </a:lnTo>
                    <a:lnTo>
                      <a:pt x="45" y="92"/>
                    </a:lnTo>
                    <a:lnTo>
                      <a:pt x="45" y="91"/>
                    </a:lnTo>
                    <a:lnTo>
                      <a:pt x="45" y="90"/>
                    </a:lnTo>
                    <a:lnTo>
                      <a:pt x="44" y="89"/>
                    </a:lnTo>
                    <a:lnTo>
                      <a:pt x="44" y="88"/>
                    </a:lnTo>
                    <a:lnTo>
                      <a:pt x="45" y="88"/>
                    </a:lnTo>
                    <a:lnTo>
                      <a:pt x="45" y="87"/>
                    </a:lnTo>
                    <a:lnTo>
                      <a:pt x="46" y="87"/>
                    </a:lnTo>
                    <a:lnTo>
                      <a:pt x="46" y="86"/>
                    </a:lnTo>
                    <a:lnTo>
                      <a:pt x="46" y="85"/>
                    </a:lnTo>
                    <a:lnTo>
                      <a:pt x="45" y="85"/>
                    </a:lnTo>
                    <a:lnTo>
                      <a:pt x="45" y="84"/>
                    </a:lnTo>
                    <a:lnTo>
                      <a:pt x="45" y="83"/>
                    </a:lnTo>
                    <a:lnTo>
                      <a:pt x="46" y="83"/>
                    </a:lnTo>
                    <a:lnTo>
                      <a:pt x="46" y="82"/>
                    </a:lnTo>
                    <a:lnTo>
                      <a:pt x="46" y="81"/>
                    </a:lnTo>
                    <a:lnTo>
                      <a:pt x="45" y="79"/>
                    </a:lnTo>
                    <a:lnTo>
                      <a:pt x="46" y="79"/>
                    </a:lnTo>
                    <a:lnTo>
                      <a:pt x="45" y="78"/>
                    </a:lnTo>
                    <a:lnTo>
                      <a:pt x="44" y="78"/>
                    </a:lnTo>
                    <a:lnTo>
                      <a:pt x="44" y="77"/>
                    </a:lnTo>
                    <a:lnTo>
                      <a:pt x="44" y="76"/>
                    </a:lnTo>
                    <a:lnTo>
                      <a:pt x="45" y="76"/>
                    </a:lnTo>
                    <a:lnTo>
                      <a:pt x="45" y="75"/>
                    </a:lnTo>
                    <a:lnTo>
                      <a:pt x="45" y="76"/>
                    </a:lnTo>
                    <a:lnTo>
                      <a:pt x="46" y="76"/>
                    </a:lnTo>
                    <a:lnTo>
                      <a:pt x="47" y="76"/>
                    </a:lnTo>
                    <a:lnTo>
                      <a:pt x="49" y="76"/>
                    </a:lnTo>
                    <a:lnTo>
                      <a:pt x="49" y="75"/>
                    </a:lnTo>
                    <a:lnTo>
                      <a:pt x="50" y="74"/>
                    </a:lnTo>
                    <a:lnTo>
                      <a:pt x="51" y="74"/>
                    </a:lnTo>
                    <a:lnTo>
                      <a:pt x="52" y="74"/>
                    </a:lnTo>
                    <a:lnTo>
                      <a:pt x="52" y="73"/>
                    </a:lnTo>
                    <a:lnTo>
                      <a:pt x="51" y="72"/>
                    </a:lnTo>
                    <a:lnTo>
                      <a:pt x="52" y="72"/>
                    </a:lnTo>
                    <a:lnTo>
                      <a:pt x="52" y="71"/>
                    </a:lnTo>
                    <a:lnTo>
                      <a:pt x="52" y="70"/>
                    </a:lnTo>
                    <a:lnTo>
                      <a:pt x="52" y="69"/>
                    </a:lnTo>
                    <a:lnTo>
                      <a:pt x="53" y="68"/>
                    </a:lnTo>
                    <a:lnTo>
                      <a:pt x="54" y="63"/>
                    </a:lnTo>
                    <a:lnTo>
                      <a:pt x="53" y="62"/>
                    </a:lnTo>
                    <a:lnTo>
                      <a:pt x="53" y="45"/>
                    </a:lnTo>
                    <a:lnTo>
                      <a:pt x="53" y="34"/>
                    </a:lnTo>
                    <a:lnTo>
                      <a:pt x="59" y="34"/>
                    </a:lnTo>
                    <a:lnTo>
                      <a:pt x="89" y="34"/>
                    </a:lnTo>
                    <a:lnTo>
                      <a:pt x="100" y="34"/>
                    </a:lnTo>
                    <a:lnTo>
                      <a:pt x="116" y="34"/>
                    </a:lnTo>
                    <a:lnTo>
                      <a:pt x="126" y="34"/>
                    </a:lnTo>
                    <a:lnTo>
                      <a:pt x="142" y="35"/>
                    </a:lnTo>
                    <a:lnTo>
                      <a:pt x="158" y="35"/>
                    </a:lnTo>
                    <a:lnTo>
                      <a:pt x="158" y="34"/>
                    </a:lnTo>
                    <a:lnTo>
                      <a:pt x="159" y="33"/>
                    </a:lnTo>
                    <a:lnTo>
                      <a:pt x="159" y="32"/>
                    </a:lnTo>
                    <a:lnTo>
                      <a:pt x="159" y="31"/>
                    </a:lnTo>
                    <a:lnTo>
                      <a:pt x="160" y="31"/>
                    </a:lnTo>
                    <a:lnTo>
                      <a:pt x="161" y="31"/>
                    </a:lnTo>
                    <a:lnTo>
                      <a:pt x="162" y="30"/>
                    </a:lnTo>
                    <a:lnTo>
                      <a:pt x="161" y="30"/>
                    </a:lnTo>
                    <a:lnTo>
                      <a:pt x="161" y="28"/>
                    </a:lnTo>
                    <a:lnTo>
                      <a:pt x="162" y="27"/>
                    </a:lnTo>
                    <a:lnTo>
                      <a:pt x="165" y="27"/>
                    </a:lnTo>
                    <a:lnTo>
                      <a:pt x="166" y="27"/>
                    </a:lnTo>
                    <a:lnTo>
                      <a:pt x="166" y="26"/>
                    </a:lnTo>
                    <a:lnTo>
                      <a:pt x="167" y="26"/>
                    </a:lnTo>
                    <a:lnTo>
                      <a:pt x="169" y="25"/>
                    </a:lnTo>
                    <a:lnTo>
                      <a:pt x="170" y="24"/>
                    </a:lnTo>
                    <a:lnTo>
                      <a:pt x="170" y="23"/>
                    </a:lnTo>
                    <a:lnTo>
                      <a:pt x="171" y="23"/>
                    </a:lnTo>
                    <a:lnTo>
                      <a:pt x="172" y="23"/>
                    </a:lnTo>
                    <a:lnTo>
                      <a:pt x="172" y="22"/>
                    </a:lnTo>
                    <a:lnTo>
                      <a:pt x="173" y="22"/>
                    </a:lnTo>
                    <a:lnTo>
                      <a:pt x="174" y="22"/>
                    </a:lnTo>
                    <a:lnTo>
                      <a:pt x="175" y="22"/>
                    </a:lnTo>
                    <a:lnTo>
                      <a:pt x="176" y="23"/>
                    </a:lnTo>
                    <a:lnTo>
                      <a:pt x="176" y="22"/>
                    </a:lnTo>
                    <a:lnTo>
                      <a:pt x="178" y="22"/>
                    </a:lnTo>
                    <a:lnTo>
                      <a:pt x="178" y="23"/>
                    </a:lnTo>
                    <a:lnTo>
                      <a:pt x="179" y="24"/>
                    </a:lnTo>
                    <a:lnTo>
                      <a:pt x="179" y="23"/>
                    </a:lnTo>
                    <a:lnTo>
                      <a:pt x="180" y="23"/>
                    </a:lnTo>
                    <a:lnTo>
                      <a:pt x="180" y="22"/>
                    </a:lnTo>
                    <a:lnTo>
                      <a:pt x="181" y="22"/>
                    </a:lnTo>
                    <a:lnTo>
                      <a:pt x="182" y="21"/>
                    </a:lnTo>
                    <a:lnTo>
                      <a:pt x="183" y="21"/>
                    </a:lnTo>
                    <a:lnTo>
                      <a:pt x="184" y="20"/>
                    </a:lnTo>
                    <a:lnTo>
                      <a:pt x="185" y="19"/>
                    </a:lnTo>
                    <a:lnTo>
                      <a:pt x="185" y="18"/>
                    </a:lnTo>
                    <a:lnTo>
                      <a:pt x="185" y="15"/>
                    </a:lnTo>
                    <a:lnTo>
                      <a:pt x="186" y="15"/>
                    </a:lnTo>
                    <a:lnTo>
                      <a:pt x="187" y="14"/>
                    </a:lnTo>
                    <a:lnTo>
                      <a:pt x="188" y="14"/>
                    </a:lnTo>
                    <a:lnTo>
                      <a:pt x="188" y="13"/>
                    </a:lnTo>
                    <a:lnTo>
                      <a:pt x="189" y="13"/>
                    </a:lnTo>
                    <a:lnTo>
                      <a:pt x="189" y="14"/>
                    </a:lnTo>
                    <a:lnTo>
                      <a:pt x="189" y="15"/>
                    </a:lnTo>
                    <a:lnTo>
                      <a:pt x="189" y="17"/>
                    </a:lnTo>
                    <a:lnTo>
                      <a:pt x="191" y="18"/>
                    </a:lnTo>
                    <a:lnTo>
                      <a:pt x="191" y="19"/>
                    </a:lnTo>
                    <a:lnTo>
                      <a:pt x="192" y="19"/>
                    </a:lnTo>
                    <a:lnTo>
                      <a:pt x="193" y="20"/>
                    </a:lnTo>
                    <a:lnTo>
                      <a:pt x="193" y="21"/>
                    </a:lnTo>
                    <a:lnTo>
                      <a:pt x="194" y="21"/>
                    </a:lnTo>
                    <a:lnTo>
                      <a:pt x="195" y="22"/>
                    </a:lnTo>
                    <a:lnTo>
                      <a:pt x="196" y="22"/>
                    </a:lnTo>
                    <a:lnTo>
                      <a:pt x="197" y="22"/>
                    </a:lnTo>
                    <a:lnTo>
                      <a:pt x="197" y="23"/>
                    </a:lnTo>
                    <a:lnTo>
                      <a:pt x="198" y="23"/>
                    </a:lnTo>
                    <a:lnTo>
                      <a:pt x="198" y="24"/>
                    </a:lnTo>
                    <a:lnTo>
                      <a:pt x="199" y="24"/>
                    </a:lnTo>
                    <a:lnTo>
                      <a:pt x="200" y="24"/>
                    </a:lnTo>
                    <a:lnTo>
                      <a:pt x="200" y="25"/>
                    </a:lnTo>
                    <a:lnTo>
                      <a:pt x="200" y="24"/>
                    </a:lnTo>
                    <a:lnTo>
                      <a:pt x="201" y="24"/>
                    </a:lnTo>
                    <a:lnTo>
                      <a:pt x="202" y="24"/>
                    </a:lnTo>
                    <a:lnTo>
                      <a:pt x="204" y="24"/>
                    </a:lnTo>
                    <a:lnTo>
                      <a:pt x="205" y="25"/>
                    </a:lnTo>
                    <a:lnTo>
                      <a:pt x="206" y="25"/>
                    </a:lnTo>
                    <a:lnTo>
                      <a:pt x="206" y="26"/>
                    </a:lnTo>
                    <a:lnTo>
                      <a:pt x="207" y="27"/>
                    </a:lnTo>
                    <a:lnTo>
                      <a:pt x="208" y="28"/>
                    </a:lnTo>
                    <a:lnTo>
                      <a:pt x="209" y="28"/>
                    </a:lnTo>
                    <a:lnTo>
                      <a:pt x="210" y="30"/>
                    </a:lnTo>
                    <a:lnTo>
                      <a:pt x="211" y="30"/>
                    </a:lnTo>
                    <a:lnTo>
                      <a:pt x="211" y="27"/>
                    </a:lnTo>
                    <a:lnTo>
                      <a:pt x="212" y="26"/>
                    </a:lnTo>
                    <a:lnTo>
                      <a:pt x="212" y="25"/>
                    </a:lnTo>
                    <a:lnTo>
                      <a:pt x="213" y="25"/>
                    </a:lnTo>
                    <a:lnTo>
                      <a:pt x="213" y="23"/>
                    </a:lnTo>
                    <a:lnTo>
                      <a:pt x="214" y="23"/>
                    </a:lnTo>
                    <a:lnTo>
                      <a:pt x="214" y="22"/>
                    </a:lnTo>
                    <a:lnTo>
                      <a:pt x="214" y="21"/>
                    </a:lnTo>
                    <a:lnTo>
                      <a:pt x="215" y="21"/>
                    </a:lnTo>
                    <a:lnTo>
                      <a:pt x="215" y="20"/>
                    </a:lnTo>
                    <a:lnTo>
                      <a:pt x="217" y="19"/>
                    </a:lnTo>
                    <a:lnTo>
                      <a:pt x="217" y="18"/>
                    </a:lnTo>
                    <a:lnTo>
                      <a:pt x="218" y="18"/>
                    </a:lnTo>
                    <a:lnTo>
                      <a:pt x="218" y="17"/>
                    </a:lnTo>
                    <a:lnTo>
                      <a:pt x="219" y="17"/>
                    </a:lnTo>
                    <a:lnTo>
                      <a:pt x="219" y="15"/>
                    </a:lnTo>
                    <a:lnTo>
                      <a:pt x="220" y="15"/>
                    </a:lnTo>
                    <a:lnTo>
                      <a:pt x="221" y="15"/>
                    </a:lnTo>
                    <a:lnTo>
                      <a:pt x="221" y="14"/>
                    </a:lnTo>
                    <a:lnTo>
                      <a:pt x="223" y="12"/>
                    </a:lnTo>
                    <a:lnTo>
                      <a:pt x="224" y="11"/>
                    </a:lnTo>
                    <a:lnTo>
                      <a:pt x="226" y="10"/>
                    </a:lnTo>
                    <a:lnTo>
                      <a:pt x="231" y="8"/>
                    </a:lnTo>
                    <a:lnTo>
                      <a:pt x="237" y="5"/>
                    </a:lnTo>
                    <a:lnTo>
                      <a:pt x="239" y="5"/>
                    </a:lnTo>
                    <a:lnTo>
                      <a:pt x="242" y="4"/>
                    </a:lnTo>
                    <a:lnTo>
                      <a:pt x="243" y="4"/>
                    </a:lnTo>
                    <a:lnTo>
                      <a:pt x="245" y="4"/>
                    </a:lnTo>
                    <a:lnTo>
                      <a:pt x="246" y="4"/>
                    </a:lnTo>
                    <a:lnTo>
                      <a:pt x="248" y="4"/>
                    </a:lnTo>
                    <a:lnTo>
                      <a:pt x="250" y="4"/>
                    </a:lnTo>
                    <a:lnTo>
                      <a:pt x="252" y="5"/>
                    </a:lnTo>
                    <a:lnTo>
                      <a:pt x="253" y="5"/>
                    </a:lnTo>
                    <a:lnTo>
                      <a:pt x="256" y="5"/>
                    </a:lnTo>
                    <a:lnTo>
                      <a:pt x="257" y="5"/>
                    </a:lnTo>
                    <a:lnTo>
                      <a:pt x="258" y="4"/>
                    </a:lnTo>
                    <a:lnTo>
                      <a:pt x="259" y="4"/>
                    </a:lnTo>
                    <a:lnTo>
                      <a:pt x="261" y="2"/>
                    </a:lnTo>
                    <a:lnTo>
                      <a:pt x="262" y="2"/>
                    </a:lnTo>
                    <a:lnTo>
                      <a:pt x="264" y="1"/>
                    </a:lnTo>
                    <a:lnTo>
                      <a:pt x="265" y="1"/>
                    </a:lnTo>
                    <a:lnTo>
                      <a:pt x="266" y="1"/>
                    </a:lnTo>
                    <a:lnTo>
                      <a:pt x="268" y="1"/>
                    </a:lnTo>
                    <a:lnTo>
                      <a:pt x="269" y="0"/>
                    </a:lnTo>
                    <a:lnTo>
                      <a:pt x="270" y="0"/>
                    </a:lnTo>
                    <a:lnTo>
                      <a:pt x="271" y="0"/>
                    </a:lnTo>
                    <a:lnTo>
                      <a:pt x="272" y="0"/>
                    </a:lnTo>
                    <a:lnTo>
                      <a:pt x="273" y="0"/>
                    </a:lnTo>
                    <a:lnTo>
                      <a:pt x="273" y="1"/>
                    </a:lnTo>
                    <a:lnTo>
                      <a:pt x="274" y="1"/>
                    </a:lnTo>
                    <a:lnTo>
                      <a:pt x="275" y="2"/>
                    </a:lnTo>
                    <a:lnTo>
                      <a:pt x="277" y="5"/>
                    </a:lnTo>
                    <a:lnTo>
                      <a:pt x="278" y="6"/>
                    </a:lnTo>
                    <a:lnTo>
                      <a:pt x="279" y="7"/>
                    </a:lnTo>
                    <a:lnTo>
                      <a:pt x="281" y="8"/>
                    </a:lnTo>
                    <a:lnTo>
                      <a:pt x="281" y="9"/>
                    </a:lnTo>
                    <a:lnTo>
                      <a:pt x="279" y="10"/>
                    </a:lnTo>
                    <a:lnTo>
                      <a:pt x="279" y="11"/>
                    </a:lnTo>
                    <a:lnTo>
                      <a:pt x="278" y="11"/>
                    </a:lnTo>
                    <a:lnTo>
                      <a:pt x="278" y="12"/>
                    </a:lnTo>
                    <a:lnTo>
                      <a:pt x="279" y="12"/>
                    </a:lnTo>
                    <a:lnTo>
                      <a:pt x="279" y="13"/>
                    </a:lnTo>
                    <a:lnTo>
                      <a:pt x="279" y="14"/>
                    </a:lnTo>
                    <a:lnTo>
                      <a:pt x="279" y="15"/>
                    </a:lnTo>
                    <a:lnTo>
                      <a:pt x="279" y="17"/>
                    </a:lnTo>
                    <a:lnTo>
                      <a:pt x="279" y="18"/>
                    </a:lnTo>
                    <a:lnTo>
                      <a:pt x="279" y="19"/>
                    </a:lnTo>
                    <a:lnTo>
                      <a:pt x="279" y="20"/>
                    </a:lnTo>
                    <a:lnTo>
                      <a:pt x="279" y="21"/>
                    </a:lnTo>
                    <a:lnTo>
                      <a:pt x="278" y="22"/>
                    </a:lnTo>
                    <a:lnTo>
                      <a:pt x="279" y="22"/>
                    </a:lnTo>
                    <a:lnTo>
                      <a:pt x="279" y="23"/>
                    </a:lnTo>
                    <a:lnTo>
                      <a:pt x="279" y="24"/>
                    </a:lnTo>
                    <a:lnTo>
                      <a:pt x="279" y="25"/>
                    </a:lnTo>
                    <a:lnTo>
                      <a:pt x="281" y="25"/>
                    </a:lnTo>
                    <a:lnTo>
                      <a:pt x="281" y="26"/>
                    </a:lnTo>
                    <a:lnTo>
                      <a:pt x="281" y="27"/>
                    </a:lnTo>
                    <a:lnTo>
                      <a:pt x="279" y="27"/>
                    </a:lnTo>
                    <a:lnTo>
                      <a:pt x="278" y="28"/>
                    </a:lnTo>
                    <a:close/>
                  </a:path>
                </a:pathLst>
              </a:custGeom>
              <a:solidFill>
                <a:srgbClr val="D0E6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9" name="Freeform 49">
                <a:extLst>
                  <a:ext uri="{FF2B5EF4-FFF2-40B4-BE49-F238E27FC236}">
                    <a16:creationId xmlns:a16="http://schemas.microsoft.com/office/drawing/2014/main" id="{026644FD-F12E-329F-75EA-F0EBB1F45198}"/>
                  </a:ext>
                </a:extLst>
              </p:cNvPr>
              <p:cNvSpPr>
                <a:spLocks noEditPoints="1"/>
              </p:cNvSpPr>
              <p:nvPr/>
            </p:nvSpPr>
            <p:spPr bwMode="auto">
              <a:xfrm>
                <a:off x="3562351" y="1657350"/>
                <a:ext cx="661988" cy="508000"/>
              </a:xfrm>
              <a:custGeom>
                <a:avLst/>
                <a:gdLst>
                  <a:gd name="T0" fmla="*/ 265 w 417"/>
                  <a:gd name="T1" fmla="*/ 241 h 320"/>
                  <a:gd name="T2" fmla="*/ 259 w 417"/>
                  <a:gd name="T3" fmla="*/ 226 h 320"/>
                  <a:gd name="T4" fmla="*/ 238 w 417"/>
                  <a:gd name="T5" fmla="*/ 231 h 320"/>
                  <a:gd name="T6" fmla="*/ 205 w 417"/>
                  <a:gd name="T7" fmla="*/ 241 h 320"/>
                  <a:gd name="T8" fmla="*/ 197 w 417"/>
                  <a:gd name="T9" fmla="*/ 256 h 320"/>
                  <a:gd name="T10" fmla="*/ 184 w 417"/>
                  <a:gd name="T11" fmla="*/ 249 h 320"/>
                  <a:gd name="T12" fmla="*/ 174 w 417"/>
                  <a:gd name="T13" fmla="*/ 240 h 320"/>
                  <a:gd name="T14" fmla="*/ 162 w 417"/>
                  <a:gd name="T15" fmla="*/ 248 h 320"/>
                  <a:gd name="T16" fmla="*/ 147 w 417"/>
                  <a:gd name="T17" fmla="*/ 254 h 320"/>
                  <a:gd name="T18" fmla="*/ 39 w 417"/>
                  <a:gd name="T19" fmla="*/ 260 h 320"/>
                  <a:gd name="T20" fmla="*/ 7 w 417"/>
                  <a:gd name="T21" fmla="*/ 258 h 320"/>
                  <a:gd name="T22" fmla="*/ 16 w 417"/>
                  <a:gd name="T23" fmla="*/ 247 h 320"/>
                  <a:gd name="T24" fmla="*/ 28 w 417"/>
                  <a:gd name="T25" fmla="*/ 233 h 320"/>
                  <a:gd name="T26" fmla="*/ 19 w 417"/>
                  <a:gd name="T27" fmla="*/ 237 h 320"/>
                  <a:gd name="T28" fmla="*/ 0 w 417"/>
                  <a:gd name="T29" fmla="*/ 225 h 320"/>
                  <a:gd name="T30" fmla="*/ 17 w 417"/>
                  <a:gd name="T31" fmla="*/ 226 h 320"/>
                  <a:gd name="T32" fmla="*/ 19 w 417"/>
                  <a:gd name="T33" fmla="*/ 205 h 320"/>
                  <a:gd name="T34" fmla="*/ 23 w 417"/>
                  <a:gd name="T35" fmla="*/ 188 h 320"/>
                  <a:gd name="T36" fmla="*/ 32 w 417"/>
                  <a:gd name="T37" fmla="*/ 187 h 320"/>
                  <a:gd name="T38" fmla="*/ 44 w 417"/>
                  <a:gd name="T39" fmla="*/ 177 h 320"/>
                  <a:gd name="T40" fmla="*/ 50 w 417"/>
                  <a:gd name="T41" fmla="*/ 166 h 320"/>
                  <a:gd name="T42" fmla="*/ 40 w 417"/>
                  <a:gd name="T43" fmla="*/ 161 h 320"/>
                  <a:gd name="T44" fmla="*/ 40 w 417"/>
                  <a:gd name="T45" fmla="*/ 148 h 320"/>
                  <a:gd name="T46" fmla="*/ 46 w 417"/>
                  <a:gd name="T47" fmla="*/ 149 h 320"/>
                  <a:gd name="T48" fmla="*/ 63 w 417"/>
                  <a:gd name="T49" fmla="*/ 149 h 320"/>
                  <a:gd name="T50" fmla="*/ 54 w 417"/>
                  <a:gd name="T51" fmla="*/ 132 h 320"/>
                  <a:gd name="T52" fmla="*/ 44 w 417"/>
                  <a:gd name="T53" fmla="*/ 119 h 320"/>
                  <a:gd name="T54" fmla="*/ 45 w 417"/>
                  <a:gd name="T55" fmla="*/ 111 h 320"/>
                  <a:gd name="T56" fmla="*/ 43 w 417"/>
                  <a:gd name="T57" fmla="*/ 92 h 320"/>
                  <a:gd name="T58" fmla="*/ 52 w 417"/>
                  <a:gd name="T59" fmla="*/ 91 h 320"/>
                  <a:gd name="T60" fmla="*/ 50 w 417"/>
                  <a:gd name="T61" fmla="*/ 79 h 320"/>
                  <a:gd name="T62" fmla="*/ 45 w 417"/>
                  <a:gd name="T63" fmla="*/ 65 h 320"/>
                  <a:gd name="T64" fmla="*/ 45 w 417"/>
                  <a:gd name="T65" fmla="*/ 51 h 320"/>
                  <a:gd name="T66" fmla="*/ 45 w 417"/>
                  <a:gd name="T67" fmla="*/ 43 h 320"/>
                  <a:gd name="T68" fmla="*/ 51 w 417"/>
                  <a:gd name="T69" fmla="*/ 31 h 320"/>
                  <a:gd name="T70" fmla="*/ 54 w 417"/>
                  <a:gd name="T71" fmla="*/ 19 h 320"/>
                  <a:gd name="T72" fmla="*/ 210 w 417"/>
                  <a:gd name="T73" fmla="*/ 18 h 320"/>
                  <a:gd name="T74" fmla="*/ 303 w 417"/>
                  <a:gd name="T75" fmla="*/ 18 h 320"/>
                  <a:gd name="T76" fmla="*/ 347 w 417"/>
                  <a:gd name="T77" fmla="*/ 54 h 320"/>
                  <a:gd name="T78" fmla="*/ 317 w 417"/>
                  <a:gd name="T79" fmla="*/ 52 h 320"/>
                  <a:gd name="T80" fmla="*/ 284 w 417"/>
                  <a:gd name="T81" fmla="*/ 9 h 320"/>
                  <a:gd name="T82" fmla="*/ 269 w 417"/>
                  <a:gd name="T83" fmla="*/ 50 h 320"/>
                  <a:gd name="T84" fmla="*/ 280 w 417"/>
                  <a:gd name="T85" fmla="*/ 71 h 320"/>
                  <a:gd name="T86" fmla="*/ 300 w 417"/>
                  <a:gd name="T87" fmla="*/ 86 h 320"/>
                  <a:gd name="T88" fmla="*/ 335 w 417"/>
                  <a:gd name="T89" fmla="*/ 86 h 320"/>
                  <a:gd name="T90" fmla="*/ 358 w 417"/>
                  <a:gd name="T91" fmla="*/ 87 h 320"/>
                  <a:gd name="T92" fmla="*/ 352 w 417"/>
                  <a:gd name="T93" fmla="*/ 111 h 320"/>
                  <a:gd name="T94" fmla="*/ 338 w 417"/>
                  <a:gd name="T95" fmla="*/ 142 h 320"/>
                  <a:gd name="T96" fmla="*/ 384 w 417"/>
                  <a:gd name="T97" fmla="*/ 158 h 320"/>
                  <a:gd name="T98" fmla="*/ 411 w 417"/>
                  <a:gd name="T99" fmla="*/ 136 h 320"/>
                  <a:gd name="T100" fmla="*/ 401 w 417"/>
                  <a:gd name="T101" fmla="*/ 173 h 320"/>
                  <a:gd name="T102" fmla="*/ 370 w 417"/>
                  <a:gd name="T103" fmla="*/ 201 h 320"/>
                  <a:gd name="T104" fmla="*/ 352 w 417"/>
                  <a:gd name="T105" fmla="*/ 196 h 320"/>
                  <a:gd name="T106" fmla="*/ 359 w 417"/>
                  <a:gd name="T107" fmla="*/ 223 h 320"/>
                  <a:gd name="T108" fmla="*/ 351 w 417"/>
                  <a:gd name="T109" fmla="*/ 241 h 320"/>
                  <a:gd name="T110" fmla="*/ 338 w 417"/>
                  <a:gd name="T111" fmla="*/ 249 h 320"/>
                  <a:gd name="T112" fmla="*/ 307 w 417"/>
                  <a:gd name="T113" fmla="*/ 245 h 320"/>
                  <a:gd name="T114" fmla="*/ 321 w 417"/>
                  <a:gd name="T115" fmla="*/ 320 h 320"/>
                  <a:gd name="T116" fmla="*/ 311 w 417"/>
                  <a:gd name="T117" fmla="*/ 297 h 320"/>
                  <a:gd name="T118" fmla="*/ 324 w 417"/>
                  <a:gd name="T119" fmla="*/ 288 h 320"/>
                  <a:gd name="T120" fmla="*/ 329 w 417"/>
                  <a:gd name="T121" fmla="*/ 3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7" h="320">
                    <a:moveTo>
                      <a:pt x="264" y="254"/>
                    </a:moveTo>
                    <a:lnTo>
                      <a:pt x="265" y="253"/>
                    </a:lnTo>
                    <a:lnTo>
                      <a:pt x="267" y="253"/>
                    </a:lnTo>
                    <a:lnTo>
                      <a:pt x="267" y="252"/>
                    </a:lnTo>
                    <a:lnTo>
                      <a:pt x="267" y="251"/>
                    </a:lnTo>
                    <a:lnTo>
                      <a:pt x="265" y="251"/>
                    </a:lnTo>
                    <a:lnTo>
                      <a:pt x="265" y="250"/>
                    </a:lnTo>
                    <a:lnTo>
                      <a:pt x="265" y="249"/>
                    </a:lnTo>
                    <a:lnTo>
                      <a:pt x="265" y="248"/>
                    </a:lnTo>
                    <a:lnTo>
                      <a:pt x="264" y="248"/>
                    </a:lnTo>
                    <a:lnTo>
                      <a:pt x="265" y="247"/>
                    </a:lnTo>
                    <a:lnTo>
                      <a:pt x="265" y="246"/>
                    </a:lnTo>
                    <a:lnTo>
                      <a:pt x="265" y="245"/>
                    </a:lnTo>
                    <a:lnTo>
                      <a:pt x="265" y="244"/>
                    </a:lnTo>
                    <a:lnTo>
                      <a:pt x="265" y="243"/>
                    </a:lnTo>
                    <a:lnTo>
                      <a:pt x="265" y="241"/>
                    </a:lnTo>
                    <a:lnTo>
                      <a:pt x="265" y="240"/>
                    </a:lnTo>
                    <a:lnTo>
                      <a:pt x="265" y="239"/>
                    </a:lnTo>
                    <a:lnTo>
                      <a:pt x="265" y="238"/>
                    </a:lnTo>
                    <a:lnTo>
                      <a:pt x="264" y="238"/>
                    </a:lnTo>
                    <a:lnTo>
                      <a:pt x="264" y="237"/>
                    </a:lnTo>
                    <a:lnTo>
                      <a:pt x="265" y="237"/>
                    </a:lnTo>
                    <a:lnTo>
                      <a:pt x="265" y="236"/>
                    </a:lnTo>
                    <a:lnTo>
                      <a:pt x="267" y="235"/>
                    </a:lnTo>
                    <a:lnTo>
                      <a:pt x="267" y="234"/>
                    </a:lnTo>
                    <a:lnTo>
                      <a:pt x="265" y="233"/>
                    </a:lnTo>
                    <a:lnTo>
                      <a:pt x="264" y="232"/>
                    </a:lnTo>
                    <a:lnTo>
                      <a:pt x="263" y="231"/>
                    </a:lnTo>
                    <a:lnTo>
                      <a:pt x="261" y="228"/>
                    </a:lnTo>
                    <a:lnTo>
                      <a:pt x="260" y="227"/>
                    </a:lnTo>
                    <a:lnTo>
                      <a:pt x="259" y="227"/>
                    </a:lnTo>
                    <a:lnTo>
                      <a:pt x="259" y="226"/>
                    </a:lnTo>
                    <a:lnTo>
                      <a:pt x="258" y="226"/>
                    </a:lnTo>
                    <a:lnTo>
                      <a:pt x="257" y="226"/>
                    </a:lnTo>
                    <a:lnTo>
                      <a:pt x="256" y="226"/>
                    </a:lnTo>
                    <a:lnTo>
                      <a:pt x="255" y="226"/>
                    </a:lnTo>
                    <a:lnTo>
                      <a:pt x="254" y="227"/>
                    </a:lnTo>
                    <a:lnTo>
                      <a:pt x="252" y="227"/>
                    </a:lnTo>
                    <a:lnTo>
                      <a:pt x="251" y="227"/>
                    </a:lnTo>
                    <a:lnTo>
                      <a:pt x="250" y="227"/>
                    </a:lnTo>
                    <a:lnTo>
                      <a:pt x="248" y="228"/>
                    </a:lnTo>
                    <a:lnTo>
                      <a:pt x="247" y="228"/>
                    </a:lnTo>
                    <a:lnTo>
                      <a:pt x="245" y="230"/>
                    </a:lnTo>
                    <a:lnTo>
                      <a:pt x="244" y="230"/>
                    </a:lnTo>
                    <a:lnTo>
                      <a:pt x="243" y="231"/>
                    </a:lnTo>
                    <a:lnTo>
                      <a:pt x="242" y="231"/>
                    </a:lnTo>
                    <a:lnTo>
                      <a:pt x="239" y="231"/>
                    </a:lnTo>
                    <a:lnTo>
                      <a:pt x="238" y="231"/>
                    </a:lnTo>
                    <a:lnTo>
                      <a:pt x="236" y="230"/>
                    </a:lnTo>
                    <a:lnTo>
                      <a:pt x="234" y="230"/>
                    </a:lnTo>
                    <a:lnTo>
                      <a:pt x="232" y="230"/>
                    </a:lnTo>
                    <a:lnTo>
                      <a:pt x="231" y="230"/>
                    </a:lnTo>
                    <a:lnTo>
                      <a:pt x="229" y="230"/>
                    </a:lnTo>
                    <a:lnTo>
                      <a:pt x="228" y="230"/>
                    </a:lnTo>
                    <a:lnTo>
                      <a:pt x="225" y="231"/>
                    </a:lnTo>
                    <a:lnTo>
                      <a:pt x="223" y="231"/>
                    </a:lnTo>
                    <a:lnTo>
                      <a:pt x="217" y="234"/>
                    </a:lnTo>
                    <a:lnTo>
                      <a:pt x="212" y="236"/>
                    </a:lnTo>
                    <a:lnTo>
                      <a:pt x="210" y="237"/>
                    </a:lnTo>
                    <a:lnTo>
                      <a:pt x="209" y="238"/>
                    </a:lnTo>
                    <a:lnTo>
                      <a:pt x="207" y="240"/>
                    </a:lnTo>
                    <a:lnTo>
                      <a:pt x="207" y="241"/>
                    </a:lnTo>
                    <a:lnTo>
                      <a:pt x="206" y="241"/>
                    </a:lnTo>
                    <a:lnTo>
                      <a:pt x="205" y="241"/>
                    </a:lnTo>
                    <a:lnTo>
                      <a:pt x="205" y="243"/>
                    </a:lnTo>
                    <a:lnTo>
                      <a:pt x="204" y="243"/>
                    </a:lnTo>
                    <a:lnTo>
                      <a:pt x="204" y="244"/>
                    </a:lnTo>
                    <a:lnTo>
                      <a:pt x="203" y="244"/>
                    </a:lnTo>
                    <a:lnTo>
                      <a:pt x="203" y="245"/>
                    </a:lnTo>
                    <a:lnTo>
                      <a:pt x="201" y="246"/>
                    </a:lnTo>
                    <a:lnTo>
                      <a:pt x="201" y="247"/>
                    </a:lnTo>
                    <a:lnTo>
                      <a:pt x="200" y="247"/>
                    </a:lnTo>
                    <a:lnTo>
                      <a:pt x="200" y="248"/>
                    </a:lnTo>
                    <a:lnTo>
                      <a:pt x="200" y="249"/>
                    </a:lnTo>
                    <a:lnTo>
                      <a:pt x="199" y="249"/>
                    </a:lnTo>
                    <a:lnTo>
                      <a:pt x="199" y="251"/>
                    </a:lnTo>
                    <a:lnTo>
                      <a:pt x="198" y="251"/>
                    </a:lnTo>
                    <a:lnTo>
                      <a:pt x="198" y="252"/>
                    </a:lnTo>
                    <a:lnTo>
                      <a:pt x="197" y="253"/>
                    </a:lnTo>
                    <a:lnTo>
                      <a:pt x="197" y="256"/>
                    </a:lnTo>
                    <a:lnTo>
                      <a:pt x="196" y="256"/>
                    </a:lnTo>
                    <a:lnTo>
                      <a:pt x="195" y="254"/>
                    </a:lnTo>
                    <a:lnTo>
                      <a:pt x="194" y="254"/>
                    </a:lnTo>
                    <a:lnTo>
                      <a:pt x="193" y="253"/>
                    </a:lnTo>
                    <a:lnTo>
                      <a:pt x="192" y="252"/>
                    </a:lnTo>
                    <a:lnTo>
                      <a:pt x="192" y="251"/>
                    </a:lnTo>
                    <a:lnTo>
                      <a:pt x="191" y="251"/>
                    </a:lnTo>
                    <a:lnTo>
                      <a:pt x="190" y="250"/>
                    </a:lnTo>
                    <a:lnTo>
                      <a:pt x="188" y="250"/>
                    </a:lnTo>
                    <a:lnTo>
                      <a:pt x="187" y="250"/>
                    </a:lnTo>
                    <a:lnTo>
                      <a:pt x="186" y="250"/>
                    </a:lnTo>
                    <a:lnTo>
                      <a:pt x="186" y="251"/>
                    </a:lnTo>
                    <a:lnTo>
                      <a:pt x="186" y="250"/>
                    </a:lnTo>
                    <a:lnTo>
                      <a:pt x="185" y="250"/>
                    </a:lnTo>
                    <a:lnTo>
                      <a:pt x="184" y="250"/>
                    </a:lnTo>
                    <a:lnTo>
                      <a:pt x="184" y="249"/>
                    </a:lnTo>
                    <a:lnTo>
                      <a:pt x="183" y="249"/>
                    </a:lnTo>
                    <a:lnTo>
                      <a:pt x="183" y="248"/>
                    </a:lnTo>
                    <a:lnTo>
                      <a:pt x="182" y="248"/>
                    </a:lnTo>
                    <a:lnTo>
                      <a:pt x="181" y="248"/>
                    </a:lnTo>
                    <a:lnTo>
                      <a:pt x="180" y="247"/>
                    </a:lnTo>
                    <a:lnTo>
                      <a:pt x="179" y="247"/>
                    </a:lnTo>
                    <a:lnTo>
                      <a:pt x="179" y="246"/>
                    </a:lnTo>
                    <a:lnTo>
                      <a:pt x="178" y="245"/>
                    </a:lnTo>
                    <a:lnTo>
                      <a:pt x="177" y="245"/>
                    </a:lnTo>
                    <a:lnTo>
                      <a:pt x="177" y="244"/>
                    </a:lnTo>
                    <a:lnTo>
                      <a:pt x="175" y="243"/>
                    </a:lnTo>
                    <a:lnTo>
                      <a:pt x="175" y="241"/>
                    </a:lnTo>
                    <a:lnTo>
                      <a:pt x="175" y="240"/>
                    </a:lnTo>
                    <a:lnTo>
                      <a:pt x="175" y="239"/>
                    </a:lnTo>
                    <a:lnTo>
                      <a:pt x="174" y="239"/>
                    </a:lnTo>
                    <a:lnTo>
                      <a:pt x="174" y="240"/>
                    </a:lnTo>
                    <a:lnTo>
                      <a:pt x="173" y="240"/>
                    </a:lnTo>
                    <a:lnTo>
                      <a:pt x="172" y="241"/>
                    </a:lnTo>
                    <a:lnTo>
                      <a:pt x="171" y="241"/>
                    </a:lnTo>
                    <a:lnTo>
                      <a:pt x="171" y="244"/>
                    </a:lnTo>
                    <a:lnTo>
                      <a:pt x="171" y="245"/>
                    </a:lnTo>
                    <a:lnTo>
                      <a:pt x="170" y="246"/>
                    </a:lnTo>
                    <a:lnTo>
                      <a:pt x="169" y="247"/>
                    </a:lnTo>
                    <a:lnTo>
                      <a:pt x="168" y="247"/>
                    </a:lnTo>
                    <a:lnTo>
                      <a:pt x="167" y="248"/>
                    </a:lnTo>
                    <a:lnTo>
                      <a:pt x="166" y="248"/>
                    </a:lnTo>
                    <a:lnTo>
                      <a:pt x="166" y="249"/>
                    </a:lnTo>
                    <a:lnTo>
                      <a:pt x="165" y="249"/>
                    </a:lnTo>
                    <a:lnTo>
                      <a:pt x="165" y="250"/>
                    </a:lnTo>
                    <a:lnTo>
                      <a:pt x="164" y="249"/>
                    </a:lnTo>
                    <a:lnTo>
                      <a:pt x="164" y="248"/>
                    </a:lnTo>
                    <a:lnTo>
                      <a:pt x="162" y="248"/>
                    </a:lnTo>
                    <a:lnTo>
                      <a:pt x="162" y="249"/>
                    </a:lnTo>
                    <a:lnTo>
                      <a:pt x="161" y="248"/>
                    </a:lnTo>
                    <a:lnTo>
                      <a:pt x="160" y="248"/>
                    </a:lnTo>
                    <a:lnTo>
                      <a:pt x="159" y="248"/>
                    </a:lnTo>
                    <a:lnTo>
                      <a:pt x="158" y="248"/>
                    </a:lnTo>
                    <a:lnTo>
                      <a:pt x="158" y="249"/>
                    </a:lnTo>
                    <a:lnTo>
                      <a:pt x="157" y="249"/>
                    </a:lnTo>
                    <a:lnTo>
                      <a:pt x="156" y="249"/>
                    </a:lnTo>
                    <a:lnTo>
                      <a:pt x="156" y="250"/>
                    </a:lnTo>
                    <a:lnTo>
                      <a:pt x="155" y="251"/>
                    </a:lnTo>
                    <a:lnTo>
                      <a:pt x="153" y="252"/>
                    </a:lnTo>
                    <a:lnTo>
                      <a:pt x="152" y="252"/>
                    </a:lnTo>
                    <a:lnTo>
                      <a:pt x="152" y="253"/>
                    </a:lnTo>
                    <a:lnTo>
                      <a:pt x="151" y="253"/>
                    </a:lnTo>
                    <a:lnTo>
                      <a:pt x="148" y="253"/>
                    </a:lnTo>
                    <a:lnTo>
                      <a:pt x="147" y="254"/>
                    </a:lnTo>
                    <a:lnTo>
                      <a:pt x="147" y="256"/>
                    </a:lnTo>
                    <a:lnTo>
                      <a:pt x="148" y="256"/>
                    </a:lnTo>
                    <a:lnTo>
                      <a:pt x="147" y="257"/>
                    </a:lnTo>
                    <a:lnTo>
                      <a:pt x="146" y="257"/>
                    </a:lnTo>
                    <a:lnTo>
                      <a:pt x="145" y="257"/>
                    </a:lnTo>
                    <a:lnTo>
                      <a:pt x="145" y="258"/>
                    </a:lnTo>
                    <a:lnTo>
                      <a:pt x="145" y="259"/>
                    </a:lnTo>
                    <a:lnTo>
                      <a:pt x="144" y="260"/>
                    </a:lnTo>
                    <a:lnTo>
                      <a:pt x="144" y="261"/>
                    </a:lnTo>
                    <a:lnTo>
                      <a:pt x="128" y="261"/>
                    </a:lnTo>
                    <a:lnTo>
                      <a:pt x="112" y="260"/>
                    </a:lnTo>
                    <a:lnTo>
                      <a:pt x="102" y="260"/>
                    </a:lnTo>
                    <a:lnTo>
                      <a:pt x="86" y="260"/>
                    </a:lnTo>
                    <a:lnTo>
                      <a:pt x="75" y="260"/>
                    </a:lnTo>
                    <a:lnTo>
                      <a:pt x="45" y="260"/>
                    </a:lnTo>
                    <a:lnTo>
                      <a:pt x="39" y="260"/>
                    </a:lnTo>
                    <a:lnTo>
                      <a:pt x="35" y="260"/>
                    </a:lnTo>
                    <a:lnTo>
                      <a:pt x="33" y="260"/>
                    </a:lnTo>
                    <a:lnTo>
                      <a:pt x="32" y="260"/>
                    </a:lnTo>
                    <a:lnTo>
                      <a:pt x="31" y="260"/>
                    </a:lnTo>
                    <a:lnTo>
                      <a:pt x="28" y="259"/>
                    </a:lnTo>
                    <a:lnTo>
                      <a:pt x="27" y="259"/>
                    </a:lnTo>
                    <a:lnTo>
                      <a:pt x="13" y="260"/>
                    </a:lnTo>
                    <a:lnTo>
                      <a:pt x="13" y="259"/>
                    </a:lnTo>
                    <a:lnTo>
                      <a:pt x="12" y="259"/>
                    </a:lnTo>
                    <a:lnTo>
                      <a:pt x="12" y="258"/>
                    </a:lnTo>
                    <a:lnTo>
                      <a:pt x="12" y="257"/>
                    </a:lnTo>
                    <a:lnTo>
                      <a:pt x="11" y="257"/>
                    </a:lnTo>
                    <a:lnTo>
                      <a:pt x="10" y="257"/>
                    </a:lnTo>
                    <a:lnTo>
                      <a:pt x="9" y="257"/>
                    </a:lnTo>
                    <a:lnTo>
                      <a:pt x="9" y="258"/>
                    </a:lnTo>
                    <a:lnTo>
                      <a:pt x="7" y="258"/>
                    </a:lnTo>
                    <a:lnTo>
                      <a:pt x="6" y="258"/>
                    </a:lnTo>
                    <a:lnTo>
                      <a:pt x="5" y="258"/>
                    </a:lnTo>
                    <a:lnTo>
                      <a:pt x="5" y="257"/>
                    </a:lnTo>
                    <a:lnTo>
                      <a:pt x="5" y="256"/>
                    </a:lnTo>
                    <a:lnTo>
                      <a:pt x="6" y="256"/>
                    </a:lnTo>
                    <a:lnTo>
                      <a:pt x="6" y="254"/>
                    </a:lnTo>
                    <a:lnTo>
                      <a:pt x="7" y="253"/>
                    </a:lnTo>
                    <a:lnTo>
                      <a:pt x="9" y="252"/>
                    </a:lnTo>
                    <a:lnTo>
                      <a:pt x="9" y="251"/>
                    </a:lnTo>
                    <a:lnTo>
                      <a:pt x="9" y="250"/>
                    </a:lnTo>
                    <a:lnTo>
                      <a:pt x="10" y="249"/>
                    </a:lnTo>
                    <a:lnTo>
                      <a:pt x="11" y="248"/>
                    </a:lnTo>
                    <a:lnTo>
                      <a:pt x="12" y="248"/>
                    </a:lnTo>
                    <a:lnTo>
                      <a:pt x="12" y="247"/>
                    </a:lnTo>
                    <a:lnTo>
                      <a:pt x="13" y="247"/>
                    </a:lnTo>
                    <a:lnTo>
                      <a:pt x="16" y="247"/>
                    </a:lnTo>
                    <a:lnTo>
                      <a:pt x="17" y="247"/>
                    </a:lnTo>
                    <a:lnTo>
                      <a:pt x="18" y="247"/>
                    </a:lnTo>
                    <a:lnTo>
                      <a:pt x="19" y="247"/>
                    </a:lnTo>
                    <a:lnTo>
                      <a:pt x="20" y="247"/>
                    </a:lnTo>
                    <a:lnTo>
                      <a:pt x="22" y="246"/>
                    </a:lnTo>
                    <a:lnTo>
                      <a:pt x="23" y="246"/>
                    </a:lnTo>
                    <a:lnTo>
                      <a:pt x="24" y="244"/>
                    </a:lnTo>
                    <a:lnTo>
                      <a:pt x="25" y="243"/>
                    </a:lnTo>
                    <a:lnTo>
                      <a:pt x="25" y="241"/>
                    </a:lnTo>
                    <a:lnTo>
                      <a:pt x="26" y="240"/>
                    </a:lnTo>
                    <a:lnTo>
                      <a:pt x="26" y="239"/>
                    </a:lnTo>
                    <a:lnTo>
                      <a:pt x="26" y="237"/>
                    </a:lnTo>
                    <a:lnTo>
                      <a:pt x="26" y="236"/>
                    </a:lnTo>
                    <a:lnTo>
                      <a:pt x="26" y="235"/>
                    </a:lnTo>
                    <a:lnTo>
                      <a:pt x="27" y="233"/>
                    </a:lnTo>
                    <a:lnTo>
                      <a:pt x="28" y="233"/>
                    </a:lnTo>
                    <a:lnTo>
                      <a:pt x="28" y="232"/>
                    </a:lnTo>
                    <a:lnTo>
                      <a:pt x="29" y="231"/>
                    </a:lnTo>
                    <a:lnTo>
                      <a:pt x="29" y="230"/>
                    </a:lnTo>
                    <a:lnTo>
                      <a:pt x="28" y="230"/>
                    </a:lnTo>
                    <a:lnTo>
                      <a:pt x="28" y="228"/>
                    </a:lnTo>
                    <a:lnTo>
                      <a:pt x="27" y="228"/>
                    </a:lnTo>
                    <a:lnTo>
                      <a:pt x="27" y="230"/>
                    </a:lnTo>
                    <a:lnTo>
                      <a:pt x="27" y="231"/>
                    </a:lnTo>
                    <a:lnTo>
                      <a:pt x="26" y="232"/>
                    </a:lnTo>
                    <a:lnTo>
                      <a:pt x="26" y="233"/>
                    </a:lnTo>
                    <a:lnTo>
                      <a:pt x="25" y="233"/>
                    </a:lnTo>
                    <a:lnTo>
                      <a:pt x="24" y="235"/>
                    </a:lnTo>
                    <a:lnTo>
                      <a:pt x="23" y="236"/>
                    </a:lnTo>
                    <a:lnTo>
                      <a:pt x="22" y="237"/>
                    </a:lnTo>
                    <a:lnTo>
                      <a:pt x="20" y="237"/>
                    </a:lnTo>
                    <a:lnTo>
                      <a:pt x="19" y="237"/>
                    </a:lnTo>
                    <a:lnTo>
                      <a:pt x="17" y="237"/>
                    </a:lnTo>
                    <a:lnTo>
                      <a:pt x="16" y="237"/>
                    </a:lnTo>
                    <a:lnTo>
                      <a:pt x="14" y="237"/>
                    </a:lnTo>
                    <a:lnTo>
                      <a:pt x="13" y="236"/>
                    </a:lnTo>
                    <a:lnTo>
                      <a:pt x="11" y="236"/>
                    </a:lnTo>
                    <a:lnTo>
                      <a:pt x="10" y="235"/>
                    </a:lnTo>
                    <a:lnTo>
                      <a:pt x="9" y="235"/>
                    </a:lnTo>
                    <a:lnTo>
                      <a:pt x="7" y="234"/>
                    </a:lnTo>
                    <a:lnTo>
                      <a:pt x="5" y="231"/>
                    </a:lnTo>
                    <a:lnTo>
                      <a:pt x="4" y="231"/>
                    </a:lnTo>
                    <a:lnTo>
                      <a:pt x="3" y="230"/>
                    </a:lnTo>
                    <a:lnTo>
                      <a:pt x="3" y="228"/>
                    </a:lnTo>
                    <a:lnTo>
                      <a:pt x="2" y="228"/>
                    </a:lnTo>
                    <a:lnTo>
                      <a:pt x="0" y="227"/>
                    </a:lnTo>
                    <a:lnTo>
                      <a:pt x="0" y="226"/>
                    </a:lnTo>
                    <a:lnTo>
                      <a:pt x="0" y="225"/>
                    </a:lnTo>
                    <a:lnTo>
                      <a:pt x="0" y="223"/>
                    </a:lnTo>
                    <a:lnTo>
                      <a:pt x="1" y="223"/>
                    </a:lnTo>
                    <a:lnTo>
                      <a:pt x="2" y="221"/>
                    </a:lnTo>
                    <a:lnTo>
                      <a:pt x="3" y="220"/>
                    </a:lnTo>
                    <a:lnTo>
                      <a:pt x="4" y="220"/>
                    </a:lnTo>
                    <a:lnTo>
                      <a:pt x="7" y="220"/>
                    </a:lnTo>
                    <a:lnTo>
                      <a:pt x="9" y="220"/>
                    </a:lnTo>
                    <a:lnTo>
                      <a:pt x="11" y="221"/>
                    </a:lnTo>
                    <a:lnTo>
                      <a:pt x="12" y="222"/>
                    </a:lnTo>
                    <a:lnTo>
                      <a:pt x="13" y="222"/>
                    </a:lnTo>
                    <a:lnTo>
                      <a:pt x="13" y="223"/>
                    </a:lnTo>
                    <a:lnTo>
                      <a:pt x="13" y="224"/>
                    </a:lnTo>
                    <a:lnTo>
                      <a:pt x="13" y="225"/>
                    </a:lnTo>
                    <a:lnTo>
                      <a:pt x="14" y="226"/>
                    </a:lnTo>
                    <a:lnTo>
                      <a:pt x="15" y="226"/>
                    </a:lnTo>
                    <a:lnTo>
                      <a:pt x="17" y="226"/>
                    </a:lnTo>
                    <a:lnTo>
                      <a:pt x="18" y="226"/>
                    </a:lnTo>
                    <a:lnTo>
                      <a:pt x="19" y="226"/>
                    </a:lnTo>
                    <a:lnTo>
                      <a:pt x="19" y="225"/>
                    </a:lnTo>
                    <a:lnTo>
                      <a:pt x="20" y="224"/>
                    </a:lnTo>
                    <a:lnTo>
                      <a:pt x="20" y="222"/>
                    </a:lnTo>
                    <a:lnTo>
                      <a:pt x="19" y="220"/>
                    </a:lnTo>
                    <a:lnTo>
                      <a:pt x="19" y="219"/>
                    </a:lnTo>
                    <a:lnTo>
                      <a:pt x="19" y="217"/>
                    </a:lnTo>
                    <a:lnTo>
                      <a:pt x="19" y="214"/>
                    </a:lnTo>
                    <a:lnTo>
                      <a:pt x="19" y="213"/>
                    </a:lnTo>
                    <a:lnTo>
                      <a:pt x="19" y="212"/>
                    </a:lnTo>
                    <a:lnTo>
                      <a:pt x="19" y="210"/>
                    </a:lnTo>
                    <a:lnTo>
                      <a:pt x="19" y="209"/>
                    </a:lnTo>
                    <a:lnTo>
                      <a:pt x="20" y="207"/>
                    </a:lnTo>
                    <a:lnTo>
                      <a:pt x="19" y="206"/>
                    </a:lnTo>
                    <a:lnTo>
                      <a:pt x="19" y="205"/>
                    </a:lnTo>
                    <a:lnTo>
                      <a:pt x="19" y="204"/>
                    </a:lnTo>
                    <a:lnTo>
                      <a:pt x="18" y="201"/>
                    </a:lnTo>
                    <a:lnTo>
                      <a:pt x="18" y="200"/>
                    </a:lnTo>
                    <a:lnTo>
                      <a:pt x="17" y="199"/>
                    </a:lnTo>
                    <a:lnTo>
                      <a:pt x="17" y="198"/>
                    </a:lnTo>
                    <a:lnTo>
                      <a:pt x="17" y="196"/>
                    </a:lnTo>
                    <a:lnTo>
                      <a:pt x="16" y="195"/>
                    </a:lnTo>
                    <a:lnTo>
                      <a:pt x="16" y="194"/>
                    </a:lnTo>
                    <a:lnTo>
                      <a:pt x="17" y="192"/>
                    </a:lnTo>
                    <a:lnTo>
                      <a:pt x="17" y="191"/>
                    </a:lnTo>
                    <a:lnTo>
                      <a:pt x="18" y="191"/>
                    </a:lnTo>
                    <a:lnTo>
                      <a:pt x="18" y="189"/>
                    </a:lnTo>
                    <a:lnTo>
                      <a:pt x="19" y="188"/>
                    </a:lnTo>
                    <a:lnTo>
                      <a:pt x="20" y="188"/>
                    </a:lnTo>
                    <a:lnTo>
                      <a:pt x="22" y="188"/>
                    </a:lnTo>
                    <a:lnTo>
                      <a:pt x="23" y="188"/>
                    </a:lnTo>
                    <a:lnTo>
                      <a:pt x="24" y="189"/>
                    </a:lnTo>
                    <a:lnTo>
                      <a:pt x="26" y="191"/>
                    </a:lnTo>
                    <a:lnTo>
                      <a:pt x="27" y="191"/>
                    </a:lnTo>
                    <a:lnTo>
                      <a:pt x="28" y="191"/>
                    </a:lnTo>
                    <a:lnTo>
                      <a:pt x="28" y="192"/>
                    </a:lnTo>
                    <a:lnTo>
                      <a:pt x="29" y="193"/>
                    </a:lnTo>
                    <a:lnTo>
                      <a:pt x="30" y="194"/>
                    </a:lnTo>
                    <a:lnTo>
                      <a:pt x="30" y="195"/>
                    </a:lnTo>
                    <a:lnTo>
                      <a:pt x="31" y="195"/>
                    </a:lnTo>
                    <a:lnTo>
                      <a:pt x="32" y="195"/>
                    </a:lnTo>
                    <a:lnTo>
                      <a:pt x="32" y="194"/>
                    </a:lnTo>
                    <a:lnTo>
                      <a:pt x="32" y="192"/>
                    </a:lnTo>
                    <a:lnTo>
                      <a:pt x="32" y="191"/>
                    </a:lnTo>
                    <a:lnTo>
                      <a:pt x="32" y="189"/>
                    </a:lnTo>
                    <a:lnTo>
                      <a:pt x="32" y="188"/>
                    </a:lnTo>
                    <a:lnTo>
                      <a:pt x="32" y="187"/>
                    </a:lnTo>
                    <a:lnTo>
                      <a:pt x="33" y="186"/>
                    </a:lnTo>
                    <a:lnTo>
                      <a:pt x="33" y="185"/>
                    </a:lnTo>
                    <a:lnTo>
                      <a:pt x="32" y="184"/>
                    </a:lnTo>
                    <a:lnTo>
                      <a:pt x="32" y="182"/>
                    </a:lnTo>
                    <a:lnTo>
                      <a:pt x="32" y="181"/>
                    </a:lnTo>
                    <a:lnTo>
                      <a:pt x="32" y="180"/>
                    </a:lnTo>
                    <a:lnTo>
                      <a:pt x="33" y="179"/>
                    </a:lnTo>
                    <a:lnTo>
                      <a:pt x="35" y="179"/>
                    </a:lnTo>
                    <a:lnTo>
                      <a:pt x="36" y="179"/>
                    </a:lnTo>
                    <a:lnTo>
                      <a:pt x="37" y="179"/>
                    </a:lnTo>
                    <a:lnTo>
                      <a:pt x="38" y="179"/>
                    </a:lnTo>
                    <a:lnTo>
                      <a:pt x="39" y="179"/>
                    </a:lnTo>
                    <a:lnTo>
                      <a:pt x="41" y="179"/>
                    </a:lnTo>
                    <a:lnTo>
                      <a:pt x="41" y="177"/>
                    </a:lnTo>
                    <a:lnTo>
                      <a:pt x="43" y="177"/>
                    </a:lnTo>
                    <a:lnTo>
                      <a:pt x="44" y="177"/>
                    </a:lnTo>
                    <a:lnTo>
                      <a:pt x="45" y="177"/>
                    </a:lnTo>
                    <a:lnTo>
                      <a:pt x="46" y="177"/>
                    </a:lnTo>
                    <a:lnTo>
                      <a:pt x="48" y="177"/>
                    </a:lnTo>
                    <a:lnTo>
                      <a:pt x="49" y="177"/>
                    </a:lnTo>
                    <a:lnTo>
                      <a:pt x="50" y="179"/>
                    </a:lnTo>
                    <a:lnTo>
                      <a:pt x="51" y="179"/>
                    </a:lnTo>
                    <a:lnTo>
                      <a:pt x="52" y="177"/>
                    </a:lnTo>
                    <a:lnTo>
                      <a:pt x="52" y="176"/>
                    </a:lnTo>
                    <a:lnTo>
                      <a:pt x="52" y="175"/>
                    </a:lnTo>
                    <a:lnTo>
                      <a:pt x="52" y="174"/>
                    </a:lnTo>
                    <a:lnTo>
                      <a:pt x="52" y="173"/>
                    </a:lnTo>
                    <a:lnTo>
                      <a:pt x="51" y="171"/>
                    </a:lnTo>
                    <a:lnTo>
                      <a:pt x="51" y="169"/>
                    </a:lnTo>
                    <a:lnTo>
                      <a:pt x="50" y="168"/>
                    </a:lnTo>
                    <a:lnTo>
                      <a:pt x="50" y="167"/>
                    </a:lnTo>
                    <a:lnTo>
                      <a:pt x="50" y="166"/>
                    </a:lnTo>
                    <a:lnTo>
                      <a:pt x="50" y="164"/>
                    </a:lnTo>
                    <a:lnTo>
                      <a:pt x="51" y="163"/>
                    </a:lnTo>
                    <a:lnTo>
                      <a:pt x="51" y="162"/>
                    </a:lnTo>
                    <a:lnTo>
                      <a:pt x="51" y="161"/>
                    </a:lnTo>
                    <a:lnTo>
                      <a:pt x="51" y="160"/>
                    </a:lnTo>
                    <a:lnTo>
                      <a:pt x="50" y="160"/>
                    </a:lnTo>
                    <a:lnTo>
                      <a:pt x="50" y="159"/>
                    </a:lnTo>
                    <a:lnTo>
                      <a:pt x="49" y="159"/>
                    </a:lnTo>
                    <a:lnTo>
                      <a:pt x="48" y="159"/>
                    </a:lnTo>
                    <a:lnTo>
                      <a:pt x="45" y="159"/>
                    </a:lnTo>
                    <a:lnTo>
                      <a:pt x="44" y="160"/>
                    </a:lnTo>
                    <a:lnTo>
                      <a:pt x="43" y="160"/>
                    </a:lnTo>
                    <a:lnTo>
                      <a:pt x="42" y="160"/>
                    </a:lnTo>
                    <a:lnTo>
                      <a:pt x="42" y="161"/>
                    </a:lnTo>
                    <a:lnTo>
                      <a:pt x="41" y="161"/>
                    </a:lnTo>
                    <a:lnTo>
                      <a:pt x="40" y="161"/>
                    </a:lnTo>
                    <a:lnTo>
                      <a:pt x="39" y="162"/>
                    </a:lnTo>
                    <a:lnTo>
                      <a:pt x="38" y="162"/>
                    </a:lnTo>
                    <a:lnTo>
                      <a:pt x="37" y="161"/>
                    </a:lnTo>
                    <a:lnTo>
                      <a:pt x="36" y="160"/>
                    </a:lnTo>
                    <a:lnTo>
                      <a:pt x="35" y="159"/>
                    </a:lnTo>
                    <a:lnTo>
                      <a:pt x="33" y="158"/>
                    </a:lnTo>
                    <a:lnTo>
                      <a:pt x="33" y="157"/>
                    </a:lnTo>
                    <a:lnTo>
                      <a:pt x="33" y="156"/>
                    </a:lnTo>
                    <a:lnTo>
                      <a:pt x="35" y="156"/>
                    </a:lnTo>
                    <a:lnTo>
                      <a:pt x="35" y="155"/>
                    </a:lnTo>
                    <a:lnTo>
                      <a:pt x="36" y="154"/>
                    </a:lnTo>
                    <a:lnTo>
                      <a:pt x="36" y="153"/>
                    </a:lnTo>
                    <a:lnTo>
                      <a:pt x="37" y="151"/>
                    </a:lnTo>
                    <a:lnTo>
                      <a:pt x="38" y="149"/>
                    </a:lnTo>
                    <a:lnTo>
                      <a:pt x="39" y="149"/>
                    </a:lnTo>
                    <a:lnTo>
                      <a:pt x="40" y="148"/>
                    </a:lnTo>
                    <a:lnTo>
                      <a:pt x="41" y="148"/>
                    </a:lnTo>
                    <a:lnTo>
                      <a:pt x="41" y="147"/>
                    </a:lnTo>
                    <a:lnTo>
                      <a:pt x="41" y="146"/>
                    </a:lnTo>
                    <a:lnTo>
                      <a:pt x="42" y="146"/>
                    </a:lnTo>
                    <a:lnTo>
                      <a:pt x="42" y="144"/>
                    </a:lnTo>
                    <a:lnTo>
                      <a:pt x="43" y="144"/>
                    </a:lnTo>
                    <a:lnTo>
                      <a:pt x="43" y="143"/>
                    </a:lnTo>
                    <a:lnTo>
                      <a:pt x="43" y="142"/>
                    </a:lnTo>
                    <a:lnTo>
                      <a:pt x="44" y="142"/>
                    </a:lnTo>
                    <a:lnTo>
                      <a:pt x="45" y="142"/>
                    </a:lnTo>
                    <a:lnTo>
                      <a:pt x="45" y="143"/>
                    </a:lnTo>
                    <a:lnTo>
                      <a:pt x="45" y="144"/>
                    </a:lnTo>
                    <a:lnTo>
                      <a:pt x="45" y="145"/>
                    </a:lnTo>
                    <a:lnTo>
                      <a:pt x="45" y="146"/>
                    </a:lnTo>
                    <a:lnTo>
                      <a:pt x="45" y="148"/>
                    </a:lnTo>
                    <a:lnTo>
                      <a:pt x="46" y="149"/>
                    </a:lnTo>
                    <a:lnTo>
                      <a:pt x="46" y="150"/>
                    </a:lnTo>
                    <a:lnTo>
                      <a:pt x="48" y="150"/>
                    </a:lnTo>
                    <a:lnTo>
                      <a:pt x="48" y="151"/>
                    </a:lnTo>
                    <a:lnTo>
                      <a:pt x="49" y="151"/>
                    </a:lnTo>
                    <a:lnTo>
                      <a:pt x="49" y="153"/>
                    </a:lnTo>
                    <a:lnTo>
                      <a:pt x="51" y="153"/>
                    </a:lnTo>
                    <a:lnTo>
                      <a:pt x="52" y="153"/>
                    </a:lnTo>
                    <a:lnTo>
                      <a:pt x="53" y="153"/>
                    </a:lnTo>
                    <a:lnTo>
                      <a:pt x="55" y="153"/>
                    </a:lnTo>
                    <a:lnTo>
                      <a:pt x="56" y="153"/>
                    </a:lnTo>
                    <a:lnTo>
                      <a:pt x="57" y="153"/>
                    </a:lnTo>
                    <a:lnTo>
                      <a:pt x="59" y="150"/>
                    </a:lnTo>
                    <a:lnTo>
                      <a:pt x="61" y="150"/>
                    </a:lnTo>
                    <a:lnTo>
                      <a:pt x="61" y="149"/>
                    </a:lnTo>
                    <a:lnTo>
                      <a:pt x="62" y="149"/>
                    </a:lnTo>
                    <a:lnTo>
                      <a:pt x="63" y="149"/>
                    </a:lnTo>
                    <a:lnTo>
                      <a:pt x="64" y="148"/>
                    </a:lnTo>
                    <a:lnTo>
                      <a:pt x="64" y="147"/>
                    </a:lnTo>
                    <a:lnTo>
                      <a:pt x="65" y="146"/>
                    </a:lnTo>
                    <a:lnTo>
                      <a:pt x="65" y="145"/>
                    </a:lnTo>
                    <a:lnTo>
                      <a:pt x="65" y="143"/>
                    </a:lnTo>
                    <a:lnTo>
                      <a:pt x="65" y="142"/>
                    </a:lnTo>
                    <a:lnTo>
                      <a:pt x="64" y="141"/>
                    </a:lnTo>
                    <a:lnTo>
                      <a:pt x="64" y="140"/>
                    </a:lnTo>
                    <a:lnTo>
                      <a:pt x="63" y="138"/>
                    </a:lnTo>
                    <a:lnTo>
                      <a:pt x="62" y="137"/>
                    </a:lnTo>
                    <a:lnTo>
                      <a:pt x="61" y="136"/>
                    </a:lnTo>
                    <a:lnTo>
                      <a:pt x="58" y="136"/>
                    </a:lnTo>
                    <a:lnTo>
                      <a:pt x="58" y="135"/>
                    </a:lnTo>
                    <a:lnTo>
                      <a:pt x="56" y="134"/>
                    </a:lnTo>
                    <a:lnTo>
                      <a:pt x="54" y="133"/>
                    </a:lnTo>
                    <a:lnTo>
                      <a:pt x="54" y="132"/>
                    </a:lnTo>
                    <a:lnTo>
                      <a:pt x="53" y="132"/>
                    </a:lnTo>
                    <a:lnTo>
                      <a:pt x="52" y="131"/>
                    </a:lnTo>
                    <a:lnTo>
                      <a:pt x="51" y="130"/>
                    </a:lnTo>
                    <a:lnTo>
                      <a:pt x="50" y="130"/>
                    </a:lnTo>
                    <a:lnTo>
                      <a:pt x="50" y="129"/>
                    </a:lnTo>
                    <a:lnTo>
                      <a:pt x="49" y="128"/>
                    </a:lnTo>
                    <a:lnTo>
                      <a:pt x="49" y="127"/>
                    </a:lnTo>
                    <a:lnTo>
                      <a:pt x="49" y="125"/>
                    </a:lnTo>
                    <a:lnTo>
                      <a:pt x="49" y="124"/>
                    </a:lnTo>
                    <a:lnTo>
                      <a:pt x="48" y="123"/>
                    </a:lnTo>
                    <a:lnTo>
                      <a:pt x="48" y="122"/>
                    </a:lnTo>
                    <a:lnTo>
                      <a:pt x="48" y="121"/>
                    </a:lnTo>
                    <a:lnTo>
                      <a:pt x="48" y="120"/>
                    </a:lnTo>
                    <a:lnTo>
                      <a:pt x="46" y="120"/>
                    </a:lnTo>
                    <a:lnTo>
                      <a:pt x="45" y="120"/>
                    </a:lnTo>
                    <a:lnTo>
                      <a:pt x="44" y="119"/>
                    </a:lnTo>
                    <a:lnTo>
                      <a:pt x="43" y="119"/>
                    </a:lnTo>
                    <a:lnTo>
                      <a:pt x="43" y="118"/>
                    </a:lnTo>
                    <a:lnTo>
                      <a:pt x="43" y="117"/>
                    </a:lnTo>
                    <a:lnTo>
                      <a:pt x="44" y="117"/>
                    </a:lnTo>
                    <a:lnTo>
                      <a:pt x="44" y="116"/>
                    </a:lnTo>
                    <a:lnTo>
                      <a:pt x="45" y="116"/>
                    </a:lnTo>
                    <a:lnTo>
                      <a:pt x="46" y="116"/>
                    </a:lnTo>
                    <a:lnTo>
                      <a:pt x="48" y="116"/>
                    </a:lnTo>
                    <a:lnTo>
                      <a:pt x="49" y="116"/>
                    </a:lnTo>
                    <a:lnTo>
                      <a:pt x="50" y="116"/>
                    </a:lnTo>
                    <a:lnTo>
                      <a:pt x="50" y="115"/>
                    </a:lnTo>
                    <a:lnTo>
                      <a:pt x="50" y="114"/>
                    </a:lnTo>
                    <a:lnTo>
                      <a:pt x="49" y="114"/>
                    </a:lnTo>
                    <a:lnTo>
                      <a:pt x="49" y="112"/>
                    </a:lnTo>
                    <a:lnTo>
                      <a:pt x="46" y="111"/>
                    </a:lnTo>
                    <a:lnTo>
                      <a:pt x="45" y="111"/>
                    </a:lnTo>
                    <a:lnTo>
                      <a:pt x="45" y="110"/>
                    </a:lnTo>
                    <a:lnTo>
                      <a:pt x="44" y="109"/>
                    </a:lnTo>
                    <a:lnTo>
                      <a:pt x="43" y="108"/>
                    </a:lnTo>
                    <a:lnTo>
                      <a:pt x="42" y="108"/>
                    </a:lnTo>
                    <a:lnTo>
                      <a:pt x="42" y="107"/>
                    </a:lnTo>
                    <a:lnTo>
                      <a:pt x="43" y="107"/>
                    </a:lnTo>
                    <a:lnTo>
                      <a:pt x="44" y="106"/>
                    </a:lnTo>
                    <a:lnTo>
                      <a:pt x="44" y="105"/>
                    </a:lnTo>
                    <a:lnTo>
                      <a:pt x="44" y="104"/>
                    </a:lnTo>
                    <a:lnTo>
                      <a:pt x="44" y="103"/>
                    </a:lnTo>
                    <a:lnTo>
                      <a:pt x="43" y="102"/>
                    </a:lnTo>
                    <a:lnTo>
                      <a:pt x="42" y="99"/>
                    </a:lnTo>
                    <a:lnTo>
                      <a:pt x="42" y="98"/>
                    </a:lnTo>
                    <a:lnTo>
                      <a:pt x="43" y="96"/>
                    </a:lnTo>
                    <a:lnTo>
                      <a:pt x="43" y="94"/>
                    </a:lnTo>
                    <a:lnTo>
                      <a:pt x="43" y="92"/>
                    </a:lnTo>
                    <a:lnTo>
                      <a:pt x="43" y="91"/>
                    </a:lnTo>
                    <a:lnTo>
                      <a:pt x="44" y="90"/>
                    </a:lnTo>
                    <a:lnTo>
                      <a:pt x="45" y="90"/>
                    </a:lnTo>
                    <a:lnTo>
                      <a:pt x="46" y="90"/>
                    </a:lnTo>
                    <a:lnTo>
                      <a:pt x="48" y="91"/>
                    </a:lnTo>
                    <a:lnTo>
                      <a:pt x="49" y="91"/>
                    </a:lnTo>
                    <a:lnTo>
                      <a:pt x="50" y="91"/>
                    </a:lnTo>
                    <a:lnTo>
                      <a:pt x="50" y="92"/>
                    </a:lnTo>
                    <a:lnTo>
                      <a:pt x="49" y="93"/>
                    </a:lnTo>
                    <a:lnTo>
                      <a:pt x="49" y="94"/>
                    </a:lnTo>
                    <a:lnTo>
                      <a:pt x="50" y="94"/>
                    </a:lnTo>
                    <a:lnTo>
                      <a:pt x="51" y="94"/>
                    </a:lnTo>
                    <a:lnTo>
                      <a:pt x="51" y="93"/>
                    </a:lnTo>
                    <a:lnTo>
                      <a:pt x="52" y="93"/>
                    </a:lnTo>
                    <a:lnTo>
                      <a:pt x="52" y="92"/>
                    </a:lnTo>
                    <a:lnTo>
                      <a:pt x="52" y="91"/>
                    </a:lnTo>
                    <a:lnTo>
                      <a:pt x="51" y="91"/>
                    </a:lnTo>
                    <a:lnTo>
                      <a:pt x="52" y="90"/>
                    </a:lnTo>
                    <a:lnTo>
                      <a:pt x="52" y="89"/>
                    </a:lnTo>
                    <a:lnTo>
                      <a:pt x="51" y="89"/>
                    </a:lnTo>
                    <a:lnTo>
                      <a:pt x="50" y="87"/>
                    </a:lnTo>
                    <a:lnTo>
                      <a:pt x="50" y="86"/>
                    </a:lnTo>
                    <a:lnTo>
                      <a:pt x="50" y="85"/>
                    </a:lnTo>
                    <a:lnTo>
                      <a:pt x="49" y="84"/>
                    </a:lnTo>
                    <a:lnTo>
                      <a:pt x="48" y="84"/>
                    </a:lnTo>
                    <a:lnTo>
                      <a:pt x="48" y="83"/>
                    </a:lnTo>
                    <a:lnTo>
                      <a:pt x="48" y="82"/>
                    </a:lnTo>
                    <a:lnTo>
                      <a:pt x="49" y="82"/>
                    </a:lnTo>
                    <a:lnTo>
                      <a:pt x="50" y="82"/>
                    </a:lnTo>
                    <a:lnTo>
                      <a:pt x="50" y="81"/>
                    </a:lnTo>
                    <a:lnTo>
                      <a:pt x="50" y="80"/>
                    </a:lnTo>
                    <a:lnTo>
                      <a:pt x="50" y="79"/>
                    </a:lnTo>
                    <a:lnTo>
                      <a:pt x="50" y="78"/>
                    </a:lnTo>
                    <a:lnTo>
                      <a:pt x="50" y="77"/>
                    </a:lnTo>
                    <a:lnTo>
                      <a:pt x="49" y="76"/>
                    </a:lnTo>
                    <a:lnTo>
                      <a:pt x="49" y="74"/>
                    </a:lnTo>
                    <a:lnTo>
                      <a:pt x="49" y="73"/>
                    </a:lnTo>
                    <a:lnTo>
                      <a:pt x="49" y="72"/>
                    </a:lnTo>
                    <a:lnTo>
                      <a:pt x="48" y="71"/>
                    </a:lnTo>
                    <a:lnTo>
                      <a:pt x="48" y="70"/>
                    </a:lnTo>
                    <a:lnTo>
                      <a:pt x="46" y="70"/>
                    </a:lnTo>
                    <a:lnTo>
                      <a:pt x="46" y="69"/>
                    </a:lnTo>
                    <a:lnTo>
                      <a:pt x="46" y="68"/>
                    </a:lnTo>
                    <a:lnTo>
                      <a:pt x="46" y="67"/>
                    </a:lnTo>
                    <a:lnTo>
                      <a:pt x="45" y="67"/>
                    </a:lnTo>
                    <a:lnTo>
                      <a:pt x="44" y="66"/>
                    </a:lnTo>
                    <a:lnTo>
                      <a:pt x="44" y="65"/>
                    </a:lnTo>
                    <a:lnTo>
                      <a:pt x="45" y="65"/>
                    </a:lnTo>
                    <a:lnTo>
                      <a:pt x="45" y="64"/>
                    </a:lnTo>
                    <a:lnTo>
                      <a:pt x="45" y="63"/>
                    </a:lnTo>
                    <a:lnTo>
                      <a:pt x="44" y="63"/>
                    </a:lnTo>
                    <a:lnTo>
                      <a:pt x="43" y="63"/>
                    </a:lnTo>
                    <a:lnTo>
                      <a:pt x="43" y="61"/>
                    </a:lnTo>
                    <a:lnTo>
                      <a:pt x="43" y="60"/>
                    </a:lnTo>
                    <a:lnTo>
                      <a:pt x="43" y="59"/>
                    </a:lnTo>
                    <a:lnTo>
                      <a:pt x="43" y="58"/>
                    </a:lnTo>
                    <a:lnTo>
                      <a:pt x="44" y="58"/>
                    </a:lnTo>
                    <a:lnTo>
                      <a:pt x="43" y="56"/>
                    </a:lnTo>
                    <a:lnTo>
                      <a:pt x="43" y="55"/>
                    </a:lnTo>
                    <a:lnTo>
                      <a:pt x="43" y="54"/>
                    </a:lnTo>
                    <a:lnTo>
                      <a:pt x="44" y="53"/>
                    </a:lnTo>
                    <a:lnTo>
                      <a:pt x="44" y="52"/>
                    </a:lnTo>
                    <a:lnTo>
                      <a:pt x="45" y="52"/>
                    </a:lnTo>
                    <a:lnTo>
                      <a:pt x="45" y="51"/>
                    </a:lnTo>
                    <a:lnTo>
                      <a:pt x="44" y="50"/>
                    </a:lnTo>
                    <a:lnTo>
                      <a:pt x="44" y="48"/>
                    </a:lnTo>
                    <a:lnTo>
                      <a:pt x="43" y="48"/>
                    </a:lnTo>
                    <a:lnTo>
                      <a:pt x="44" y="48"/>
                    </a:lnTo>
                    <a:lnTo>
                      <a:pt x="44" y="47"/>
                    </a:lnTo>
                    <a:lnTo>
                      <a:pt x="45" y="47"/>
                    </a:lnTo>
                    <a:lnTo>
                      <a:pt x="45" y="46"/>
                    </a:lnTo>
                    <a:lnTo>
                      <a:pt x="46" y="46"/>
                    </a:lnTo>
                    <a:lnTo>
                      <a:pt x="46" y="45"/>
                    </a:lnTo>
                    <a:lnTo>
                      <a:pt x="45" y="46"/>
                    </a:lnTo>
                    <a:lnTo>
                      <a:pt x="44" y="45"/>
                    </a:lnTo>
                    <a:lnTo>
                      <a:pt x="44" y="44"/>
                    </a:lnTo>
                    <a:lnTo>
                      <a:pt x="43" y="43"/>
                    </a:lnTo>
                    <a:lnTo>
                      <a:pt x="44" y="42"/>
                    </a:lnTo>
                    <a:lnTo>
                      <a:pt x="45" y="42"/>
                    </a:lnTo>
                    <a:lnTo>
                      <a:pt x="45" y="43"/>
                    </a:lnTo>
                    <a:lnTo>
                      <a:pt x="45" y="44"/>
                    </a:lnTo>
                    <a:lnTo>
                      <a:pt x="46" y="44"/>
                    </a:lnTo>
                    <a:lnTo>
                      <a:pt x="46" y="42"/>
                    </a:lnTo>
                    <a:lnTo>
                      <a:pt x="46" y="41"/>
                    </a:lnTo>
                    <a:lnTo>
                      <a:pt x="48" y="41"/>
                    </a:lnTo>
                    <a:lnTo>
                      <a:pt x="48" y="40"/>
                    </a:lnTo>
                    <a:lnTo>
                      <a:pt x="48" y="39"/>
                    </a:lnTo>
                    <a:lnTo>
                      <a:pt x="49" y="39"/>
                    </a:lnTo>
                    <a:lnTo>
                      <a:pt x="49" y="38"/>
                    </a:lnTo>
                    <a:lnTo>
                      <a:pt x="49" y="37"/>
                    </a:lnTo>
                    <a:lnTo>
                      <a:pt x="49" y="35"/>
                    </a:lnTo>
                    <a:lnTo>
                      <a:pt x="50" y="35"/>
                    </a:lnTo>
                    <a:lnTo>
                      <a:pt x="50" y="34"/>
                    </a:lnTo>
                    <a:lnTo>
                      <a:pt x="51" y="33"/>
                    </a:lnTo>
                    <a:lnTo>
                      <a:pt x="51" y="32"/>
                    </a:lnTo>
                    <a:lnTo>
                      <a:pt x="51" y="31"/>
                    </a:lnTo>
                    <a:lnTo>
                      <a:pt x="51" y="30"/>
                    </a:lnTo>
                    <a:lnTo>
                      <a:pt x="52" y="30"/>
                    </a:lnTo>
                    <a:lnTo>
                      <a:pt x="53" y="29"/>
                    </a:lnTo>
                    <a:lnTo>
                      <a:pt x="53" y="28"/>
                    </a:lnTo>
                    <a:lnTo>
                      <a:pt x="52" y="27"/>
                    </a:lnTo>
                    <a:lnTo>
                      <a:pt x="53" y="26"/>
                    </a:lnTo>
                    <a:lnTo>
                      <a:pt x="54" y="26"/>
                    </a:lnTo>
                    <a:lnTo>
                      <a:pt x="54" y="25"/>
                    </a:lnTo>
                    <a:lnTo>
                      <a:pt x="54" y="24"/>
                    </a:lnTo>
                    <a:lnTo>
                      <a:pt x="53" y="24"/>
                    </a:lnTo>
                    <a:lnTo>
                      <a:pt x="53" y="22"/>
                    </a:lnTo>
                    <a:lnTo>
                      <a:pt x="52" y="22"/>
                    </a:lnTo>
                    <a:lnTo>
                      <a:pt x="53" y="21"/>
                    </a:lnTo>
                    <a:lnTo>
                      <a:pt x="53" y="20"/>
                    </a:lnTo>
                    <a:lnTo>
                      <a:pt x="54" y="20"/>
                    </a:lnTo>
                    <a:lnTo>
                      <a:pt x="54" y="19"/>
                    </a:lnTo>
                    <a:lnTo>
                      <a:pt x="56" y="19"/>
                    </a:lnTo>
                    <a:lnTo>
                      <a:pt x="57" y="19"/>
                    </a:lnTo>
                    <a:lnTo>
                      <a:pt x="59" y="18"/>
                    </a:lnTo>
                    <a:lnTo>
                      <a:pt x="61" y="18"/>
                    </a:lnTo>
                    <a:lnTo>
                      <a:pt x="61" y="17"/>
                    </a:lnTo>
                    <a:lnTo>
                      <a:pt x="80" y="17"/>
                    </a:lnTo>
                    <a:lnTo>
                      <a:pt x="97" y="17"/>
                    </a:lnTo>
                    <a:lnTo>
                      <a:pt x="99" y="17"/>
                    </a:lnTo>
                    <a:lnTo>
                      <a:pt x="102" y="17"/>
                    </a:lnTo>
                    <a:lnTo>
                      <a:pt x="109" y="17"/>
                    </a:lnTo>
                    <a:lnTo>
                      <a:pt x="115" y="17"/>
                    </a:lnTo>
                    <a:lnTo>
                      <a:pt x="116" y="17"/>
                    </a:lnTo>
                    <a:lnTo>
                      <a:pt x="133" y="17"/>
                    </a:lnTo>
                    <a:lnTo>
                      <a:pt x="153" y="17"/>
                    </a:lnTo>
                    <a:lnTo>
                      <a:pt x="187" y="18"/>
                    </a:lnTo>
                    <a:lnTo>
                      <a:pt x="210" y="18"/>
                    </a:lnTo>
                    <a:lnTo>
                      <a:pt x="236" y="17"/>
                    </a:lnTo>
                    <a:lnTo>
                      <a:pt x="242" y="17"/>
                    </a:lnTo>
                    <a:lnTo>
                      <a:pt x="249" y="17"/>
                    </a:lnTo>
                    <a:lnTo>
                      <a:pt x="259" y="17"/>
                    </a:lnTo>
                    <a:lnTo>
                      <a:pt x="261" y="12"/>
                    </a:lnTo>
                    <a:lnTo>
                      <a:pt x="264" y="10"/>
                    </a:lnTo>
                    <a:lnTo>
                      <a:pt x="273" y="5"/>
                    </a:lnTo>
                    <a:lnTo>
                      <a:pt x="274" y="4"/>
                    </a:lnTo>
                    <a:lnTo>
                      <a:pt x="274" y="0"/>
                    </a:lnTo>
                    <a:lnTo>
                      <a:pt x="281" y="0"/>
                    </a:lnTo>
                    <a:lnTo>
                      <a:pt x="298" y="0"/>
                    </a:lnTo>
                    <a:lnTo>
                      <a:pt x="297" y="1"/>
                    </a:lnTo>
                    <a:lnTo>
                      <a:pt x="291" y="4"/>
                    </a:lnTo>
                    <a:lnTo>
                      <a:pt x="295" y="10"/>
                    </a:lnTo>
                    <a:lnTo>
                      <a:pt x="298" y="15"/>
                    </a:lnTo>
                    <a:lnTo>
                      <a:pt x="303" y="18"/>
                    </a:lnTo>
                    <a:lnTo>
                      <a:pt x="308" y="21"/>
                    </a:lnTo>
                    <a:lnTo>
                      <a:pt x="311" y="24"/>
                    </a:lnTo>
                    <a:lnTo>
                      <a:pt x="316" y="26"/>
                    </a:lnTo>
                    <a:lnTo>
                      <a:pt x="327" y="30"/>
                    </a:lnTo>
                    <a:lnTo>
                      <a:pt x="332" y="31"/>
                    </a:lnTo>
                    <a:lnTo>
                      <a:pt x="334" y="33"/>
                    </a:lnTo>
                    <a:lnTo>
                      <a:pt x="337" y="34"/>
                    </a:lnTo>
                    <a:lnTo>
                      <a:pt x="340" y="38"/>
                    </a:lnTo>
                    <a:lnTo>
                      <a:pt x="345" y="40"/>
                    </a:lnTo>
                    <a:lnTo>
                      <a:pt x="347" y="45"/>
                    </a:lnTo>
                    <a:lnTo>
                      <a:pt x="348" y="45"/>
                    </a:lnTo>
                    <a:lnTo>
                      <a:pt x="348" y="47"/>
                    </a:lnTo>
                    <a:lnTo>
                      <a:pt x="348" y="50"/>
                    </a:lnTo>
                    <a:lnTo>
                      <a:pt x="348" y="52"/>
                    </a:lnTo>
                    <a:lnTo>
                      <a:pt x="348" y="53"/>
                    </a:lnTo>
                    <a:lnTo>
                      <a:pt x="347" y="54"/>
                    </a:lnTo>
                    <a:lnTo>
                      <a:pt x="345" y="55"/>
                    </a:lnTo>
                    <a:lnTo>
                      <a:pt x="342" y="56"/>
                    </a:lnTo>
                    <a:lnTo>
                      <a:pt x="341" y="57"/>
                    </a:lnTo>
                    <a:lnTo>
                      <a:pt x="340" y="58"/>
                    </a:lnTo>
                    <a:lnTo>
                      <a:pt x="338" y="58"/>
                    </a:lnTo>
                    <a:lnTo>
                      <a:pt x="336" y="58"/>
                    </a:lnTo>
                    <a:lnTo>
                      <a:pt x="336" y="57"/>
                    </a:lnTo>
                    <a:lnTo>
                      <a:pt x="330" y="57"/>
                    </a:lnTo>
                    <a:lnTo>
                      <a:pt x="329" y="56"/>
                    </a:lnTo>
                    <a:lnTo>
                      <a:pt x="328" y="56"/>
                    </a:lnTo>
                    <a:lnTo>
                      <a:pt x="326" y="56"/>
                    </a:lnTo>
                    <a:lnTo>
                      <a:pt x="325" y="55"/>
                    </a:lnTo>
                    <a:lnTo>
                      <a:pt x="323" y="54"/>
                    </a:lnTo>
                    <a:lnTo>
                      <a:pt x="320" y="53"/>
                    </a:lnTo>
                    <a:lnTo>
                      <a:pt x="319" y="53"/>
                    </a:lnTo>
                    <a:lnTo>
                      <a:pt x="317" y="52"/>
                    </a:lnTo>
                    <a:lnTo>
                      <a:pt x="315" y="51"/>
                    </a:lnTo>
                    <a:lnTo>
                      <a:pt x="313" y="50"/>
                    </a:lnTo>
                    <a:lnTo>
                      <a:pt x="313" y="48"/>
                    </a:lnTo>
                    <a:lnTo>
                      <a:pt x="311" y="46"/>
                    </a:lnTo>
                    <a:lnTo>
                      <a:pt x="310" y="45"/>
                    </a:lnTo>
                    <a:lnTo>
                      <a:pt x="308" y="42"/>
                    </a:lnTo>
                    <a:lnTo>
                      <a:pt x="306" y="39"/>
                    </a:lnTo>
                    <a:lnTo>
                      <a:pt x="303" y="35"/>
                    </a:lnTo>
                    <a:lnTo>
                      <a:pt x="301" y="32"/>
                    </a:lnTo>
                    <a:lnTo>
                      <a:pt x="300" y="31"/>
                    </a:lnTo>
                    <a:lnTo>
                      <a:pt x="299" y="28"/>
                    </a:lnTo>
                    <a:lnTo>
                      <a:pt x="298" y="25"/>
                    </a:lnTo>
                    <a:lnTo>
                      <a:pt x="296" y="22"/>
                    </a:lnTo>
                    <a:lnTo>
                      <a:pt x="295" y="20"/>
                    </a:lnTo>
                    <a:lnTo>
                      <a:pt x="294" y="19"/>
                    </a:lnTo>
                    <a:lnTo>
                      <a:pt x="284" y="9"/>
                    </a:lnTo>
                    <a:lnTo>
                      <a:pt x="283" y="9"/>
                    </a:lnTo>
                    <a:lnTo>
                      <a:pt x="281" y="13"/>
                    </a:lnTo>
                    <a:lnTo>
                      <a:pt x="281" y="14"/>
                    </a:lnTo>
                    <a:lnTo>
                      <a:pt x="281" y="16"/>
                    </a:lnTo>
                    <a:lnTo>
                      <a:pt x="281" y="18"/>
                    </a:lnTo>
                    <a:lnTo>
                      <a:pt x="281" y="21"/>
                    </a:lnTo>
                    <a:lnTo>
                      <a:pt x="280" y="24"/>
                    </a:lnTo>
                    <a:lnTo>
                      <a:pt x="278" y="27"/>
                    </a:lnTo>
                    <a:lnTo>
                      <a:pt x="277" y="29"/>
                    </a:lnTo>
                    <a:lnTo>
                      <a:pt x="276" y="31"/>
                    </a:lnTo>
                    <a:lnTo>
                      <a:pt x="275" y="34"/>
                    </a:lnTo>
                    <a:lnTo>
                      <a:pt x="271" y="41"/>
                    </a:lnTo>
                    <a:lnTo>
                      <a:pt x="270" y="45"/>
                    </a:lnTo>
                    <a:lnTo>
                      <a:pt x="269" y="46"/>
                    </a:lnTo>
                    <a:lnTo>
                      <a:pt x="269" y="48"/>
                    </a:lnTo>
                    <a:lnTo>
                      <a:pt x="269" y="50"/>
                    </a:lnTo>
                    <a:lnTo>
                      <a:pt x="269" y="51"/>
                    </a:lnTo>
                    <a:lnTo>
                      <a:pt x="269" y="52"/>
                    </a:lnTo>
                    <a:lnTo>
                      <a:pt x="269" y="54"/>
                    </a:lnTo>
                    <a:lnTo>
                      <a:pt x="270" y="55"/>
                    </a:lnTo>
                    <a:lnTo>
                      <a:pt x="270" y="57"/>
                    </a:lnTo>
                    <a:lnTo>
                      <a:pt x="270" y="58"/>
                    </a:lnTo>
                    <a:lnTo>
                      <a:pt x="271" y="59"/>
                    </a:lnTo>
                    <a:lnTo>
                      <a:pt x="271" y="60"/>
                    </a:lnTo>
                    <a:lnTo>
                      <a:pt x="272" y="61"/>
                    </a:lnTo>
                    <a:lnTo>
                      <a:pt x="272" y="63"/>
                    </a:lnTo>
                    <a:lnTo>
                      <a:pt x="274" y="65"/>
                    </a:lnTo>
                    <a:lnTo>
                      <a:pt x="275" y="66"/>
                    </a:lnTo>
                    <a:lnTo>
                      <a:pt x="276" y="68"/>
                    </a:lnTo>
                    <a:lnTo>
                      <a:pt x="277" y="69"/>
                    </a:lnTo>
                    <a:lnTo>
                      <a:pt x="278" y="70"/>
                    </a:lnTo>
                    <a:lnTo>
                      <a:pt x="280" y="71"/>
                    </a:lnTo>
                    <a:lnTo>
                      <a:pt x="280" y="72"/>
                    </a:lnTo>
                    <a:lnTo>
                      <a:pt x="281" y="72"/>
                    </a:lnTo>
                    <a:lnTo>
                      <a:pt x="281" y="73"/>
                    </a:lnTo>
                    <a:lnTo>
                      <a:pt x="283" y="74"/>
                    </a:lnTo>
                    <a:lnTo>
                      <a:pt x="284" y="76"/>
                    </a:lnTo>
                    <a:lnTo>
                      <a:pt x="286" y="78"/>
                    </a:lnTo>
                    <a:lnTo>
                      <a:pt x="287" y="79"/>
                    </a:lnTo>
                    <a:lnTo>
                      <a:pt x="289" y="80"/>
                    </a:lnTo>
                    <a:lnTo>
                      <a:pt x="290" y="80"/>
                    </a:lnTo>
                    <a:lnTo>
                      <a:pt x="290" y="81"/>
                    </a:lnTo>
                    <a:lnTo>
                      <a:pt x="293" y="82"/>
                    </a:lnTo>
                    <a:lnTo>
                      <a:pt x="295" y="83"/>
                    </a:lnTo>
                    <a:lnTo>
                      <a:pt x="297" y="84"/>
                    </a:lnTo>
                    <a:lnTo>
                      <a:pt x="298" y="84"/>
                    </a:lnTo>
                    <a:lnTo>
                      <a:pt x="299" y="85"/>
                    </a:lnTo>
                    <a:lnTo>
                      <a:pt x="300" y="86"/>
                    </a:lnTo>
                    <a:lnTo>
                      <a:pt x="309" y="90"/>
                    </a:lnTo>
                    <a:lnTo>
                      <a:pt x="311" y="91"/>
                    </a:lnTo>
                    <a:lnTo>
                      <a:pt x="314" y="91"/>
                    </a:lnTo>
                    <a:lnTo>
                      <a:pt x="320" y="92"/>
                    </a:lnTo>
                    <a:lnTo>
                      <a:pt x="321" y="93"/>
                    </a:lnTo>
                    <a:lnTo>
                      <a:pt x="322" y="93"/>
                    </a:lnTo>
                    <a:lnTo>
                      <a:pt x="323" y="93"/>
                    </a:lnTo>
                    <a:lnTo>
                      <a:pt x="324" y="93"/>
                    </a:lnTo>
                    <a:lnTo>
                      <a:pt x="325" y="93"/>
                    </a:lnTo>
                    <a:lnTo>
                      <a:pt x="326" y="92"/>
                    </a:lnTo>
                    <a:lnTo>
                      <a:pt x="327" y="91"/>
                    </a:lnTo>
                    <a:lnTo>
                      <a:pt x="328" y="90"/>
                    </a:lnTo>
                    <a:lnTo>
                      <a:pt x="329" y="90"/>
                    </a:lnTo>
                    <a:lnTo>
                      <a:pt x="329" y="89"/>
                    </a:lnTo>
                    <a:lnTo>
                      <a:pt x="330" y="89"/>
                    </a:lnTo>
                    <a:lnTo>
                      <a:pt x="335" y="86"/>
                    </a:lnTo>
                    <a:lnTo>
                      <a:pt x="338" y="84"/>
                    </a:lnTo>
                    <a:lnTo>
                      <a:pt x="340" y="83"/>
                    </a:lnTo>
                    <a:lnTo>
                      <a:pt x="340" y="82"/>
                    </a:lnTo>
                    <a:lnTo>
                      <a:pt x="341" y="81"/>
                    </a:lnTo>
                    <a:lnTo>
                      <a:pt x="342" y="81"/>
                    </a:lnTo>
                    <a:lnTo>
                      <a:pt x="343" y="81"/>
                    </a:lnTo>
                    <a:lnTo>
                      <a:pt x="345" y="81"/>
                    </a:lnTo>
                    <a:lnTo>
                      <a:pt x="347" y="81"/>
                    </a:lnTo>
                    <a:lnTo>
                      <a:pt x="350" y="82"/>
                    </a:lnTo>
                    <a:lnTo>
                      <a:pt x="351" y="82"/>
                    </a:lnTo>
                    <a:lnTo>
                      <a:pt x="352" y="82"/>
                    </a:lnTo>
                    <a:lnTo>
                      <a:pt x="353" y="83"/>
                    </a:lnTo>
                    <a:lnTo>
                      <a:pt x="354" y="83"/>
                    </a:lnTo>
                    <a:lnTo>
                      <a:pt x="354" y="84"/>
                    </a:lnTo>
                    <a:lnTo>
                      <a:pt x="357" y="85"/>
                    </a:lnTo>
                    <a:lnTo>
                      <a:pt x="358" y="87"/>
                    </a:lnTo>
                    <a:lnTo>
                      <a:pt x="360" y="89"/>
                    </a:lnTo>
                    <a:lnTo>
                      <a:pt x="360" y="90"/>
                    </a:lnTo>
                    <a:lnTo>
                      <a:pt x="361" y="92"/>
                    </a:lnTo>
                    <a:lnTo>
                      <a:pt x="361" y="93"/>
                    </a:lnTo>
                    <a:lnTo>
                      <a:pt x="361" y="94"/>
                    </a:lnTo>
                    <a:lnTo>
                      <a:pt x="361" y="97"/>
                    </a:lnTo>
                    <a:lnTo>
                      <a:pt x="362" y="99"/>
                    </a:lnTo>
                    <a:lnTo>
                      <a:pt x="362" y="100"/>
                    </a:lnTo>
                    <a:lnTo>
                      <a:pt x="361" y="103"/>
                    </a:lnTo>
                    <a:lnTo>
                      <a:pt x="361" y="104"/>
                    </a:lnTo>
                    <a:lnTo>
                      <a:pt x="360" y="106"/>
                    </a:lnTo>
                    <a:lnTo>
                      <a:pt x="359" y="107"/>
                    </a:lnTo>
                    <a:lnTo>
                      <a:pt x="358" y="107"/>
                    </a:lnTo>
                    <a:lnTo>
                      <a:pt x="357" y="109"/>
                    </a:lnTo>
                    <a:lnTo>
                      <a:pt x="355" y="109"/>
                    </a:lnTo>
                    <a:lnTo>
                      <a:pt x="352" y="111"/>
                    </a:lnTo>
                    <a:lnTo>
                      <a:pt x="349" y="114"/>
                    </a:lnTo>
                    <a:lnTo>
                      <a:pt x="345" y="115"/>
                    </a:lnTo>
                    <a:lnTo>
                      <a:pt x="345" y="116"/>
                    </a:lnTo>
                    <a:lnTo>
                      <a:pt x="345" y="120"/>
                    </a:lnTo>
                    <a:lnTo>
                      <a:pt x="343" y="123"/>
                    </a:lnTo>
                    <a:lnTo>
                      <a:pt x="343" y="127"/>
                    </a:lnTo>
                    <a:lnTo>
                      <a:pt x="342" y="129"/>
                    </a:lnTo>
                    <a:lnTo>
                      <a:pt x="340" y="131"/>
                    </a:lnTo>
                    <a:lnTo>
                      <a:pt x="340" y="132"/>
                    </a:lnTo>
                    <a:lnTo>
                      <a:pt x="340" y="133"/>
                    </a:lnTo>
                    <a:lnTo>
                      <a:pt x="339" y="134"/>
                    </a:lnTo>
                    <a:lnTo>
                      <a:pt x="339" y="135"/>
                    </a:lnTo>
                    <a:lnTo>
                      <a:pt x="339" y="137"/>
                    </a:lnTo>
                    <a:lnTo>
                      <a:pt x="338" y="138"/>
                    </a:lnTo>
                    <a:lnTo>
                      <a:pt x="338" y="140"/>
                    </a:lnTo>
                    <a:lnTo>
                      <a:pt x="338" y="142"/>
                    </a:lnTo>
                    <a:lnTo>
                      <a:pt x="338" y="143"/>
                    </a:lnTo>
                    <a:lnTo>
                      <a:pt x="338" y="144"/>
                    </a:lnTo>
                    <a:lnTo>
                      <a:pt x="338" y="145"/>
                    </a:lnTo>
                    <a:lnTo>
                      <a:pt x="339" y="145"/>
                    </a:lnTo>
                    <a:lnTo>
                      <a:pt x="339" y="146"/>
                    </a:lnTo>
                    <a:lnTo>
                      <a:pt x="340" y="148"/>
                    </a:lnTo>
                    <a:lnTo>
                      <a:pt x="342" y="149"/>
                    </a:lnTo>
                    <a:lnTo>
                      <a:pt x="345" y="150"/>
                    </a:lnTo>
                    <a:lnTo>
                      <a:pt x="349" y="153"/>
                    </a:lnTo>
                    <a:lnTo>
                      <a:pt x="354" y="154"/>
                    </a:lnTo>
                    <a:lnTo>
                      <a:pt x="368" y="157"/>
                    </a:lnTo>
                    <a:lnTo>
                      <a:pt x="371" y="157"/>
                    </a:lnTo>
                    <a:lnTo>
                      <a:pt x="373" y="157"/>
                    </a:lnTo>
                    <a:lnTo>
                      <a:pt x="376" y="157"/>
                    </a:lnTo>
                    <a:lnTo>
                      <a:pt x="378" y="157"/>
                    </a:lnTo>
                    <a:lnTo>
                      <a:pt x="384" y="158"/>
                    </a:lnTo>
                    <a:lnTo>
                      <a:pt x="387" y="159"/>
                    </a:lnTo>
                    <a:lnTo>
                      <a:pt x="389" y="159"/>
                    </a:lnTo>
                    <a:lnTo>
                      <a:pt x="394" y="161"/>
                    </a:lnTo>
                    <a:lnTo>
                      <a:pt x="397" y="159"/>
                    </a:lnTo>
                    <a:lnTo>
                      <a:pt x="398" y="157"/>
                    </a:lnTo>
                    <a:lnTo>
                      <a:pt x="401" y="154"/>
                    </a:lnTo>
                    <a:lnTo>
                      <a:pt x="404" y="150"/>
                    </a:lnTo>
                    <a:lnTo>
                      <a:pt x="405" y="146"/>
                    </a:lnTo>
                    <a:lnTo>
                      <a:pt x="406" y="143"/>
                    </a:lnTo>
                    <a:lnTo>
                      <a:pt x="406" y="141"/>
                    </a:lnTo>
                    <a:lnTo>
                      <a:pt x="406" y="140"/>
                    </a:lnTo>
                    <a:lnTo>
                      <a:pt x="407" y="138"/>
                    </a:lnTo>
                    <a:lnTo>
                      <a:pt x="407" y="137"/>
                    </a:lnTo>
                    <a:lnTo>
                      <a:pt x="409" y="137"/>
                    </a:lnTo>
                    <a:lnTo>
                      <a:pt x="410" y="136"/>
                    </a:lnTo>
                    <a:lnTo>
                      <a:pt x="411" y="136"/>
                    </a:lnTo>
                    <a:lnTo>
                      <a:pt x="414" y="136"/>
                    </a:lnTo>
                    <a:lnTo>
                      <a:pt x="415" y="136"/>
                    </a:lnTo>
                    <a:lnTo>
                      <a:pt x="416" y="136"/>
                    </a:lnTo>
                    <a:lnTo>
                      <a:pt x="417" y="136"/>
                    </a:lnTo>
                    <a:lnTo>
                      <a:pt x="417" y="138"/>
                    </a:lnTo>
                    <a:lnTo>
                      <a:pt x="416" y="140"/>
                    </a:lnTo>
                    <a:lnTo>
                      <a:pt x="416" y="142"/>
                    </a:lnTo>
                    <a:lnTo>
                      <a:pt x="415" y="144"/>
                    </a:lnTo>
                    <a:lnTo>
                      <a:pt x="412" y="150"/>
                    </a:lnTo>
                    <a:lnTo>
                      <a:pt x="411" y="154"/>
                    </a:lnTo>
                    <a:lnTo>
                      <a:pt x="409" y="157"/>
                    </a:lnTo>
                    <a:lnTo>
                      <a:pt x="406" y="160"/>
                    </a:lnTo>
                    <a:lnTo>
                      <a:pt x="404" y="164"/>
                    </a:lnTo>
                    <a:lnTo>
                      <a:pt x="402" y="168"/>
                    </a:lnTo>
                    <a:lnTo>
                      <a:pt x="402" y="171"/>
                    </a:lnTo>
                    <a:lnTo>
                      <a:pt x="401" y="173"/>
                    </a:lnTo>
                    <a:lnTo>
                      <a:pt x="400" y="175"/>
                    </a:lnTo>
                    <a:lnTo>
                      <a:pt x="399" y="179"/>
                    </a:lnTo>
                    <a:lnTo>
                      <a:pt x="399" y="180"/>
                    </a:lnTo>
                    <a:lnTo>
                      <a:pt x="398" y="180"/>
                    </a:lnTo>
                    <a:lnTo>
                      <a:pt x="397" y="182"/>
                    </a:lnTo>
                    <a:lnTo>
                      <a:pt x="394" y="184"/>
                    </a:lnTo>
                    <a:lnTo>
                      <a:pt x="392" y="187"/>
                    </a:lnTo>
                    <a:lnTo>
                      <a:pt x="388" y="191"/>
                    </a:lnTo>
                    <a:lnTo>
                      <a:pt x="385" y="195"/>
                    </a:lnTo>
                    <a:lnTo>
                      <a:pt x="381" y="197"/>
                    </a:lnTo>
                    <a:lnTo>
                      <a:pt x="376" y="200"/>
                    </a:lnTo>
                    <a:lnTo>
                      <a:pt x="374" y="201"/>
                    </a:lnTo>
                    <a:lnTo>
                      <a:pt x="373" y="202"/>
                    </a:lnTo>
                    <a:lnTo>
                      <a:pt x="372" y="202"/>
                    </a:lnTo>
                    <a:lnTo>
                      <a:pt x="371" y="202"/>
                    </a:lnTo>
                    <a:lnTo>
                      <a:pt x="370" y="201"/>
                    </a:lnTo>
                    <a:lnTo>
                      <a:pt x="368" y="200"/>
                    </a:lnTo>
                    <a:lnTo>
                      <a:pt x="367" y="198"/>
                    </a:lnTo>
                    <a:lnTo>
                      <a:pt x="367" y="197"/>
                    </a:lnTo>
                    <a:lnTo>
                      <a:pt x="366" y="197"/>
                    </a:lnTo>
                    <a:lnTo>
                      <a:pt x="365" y="196"/>
                    </a:lnTo>
                    <a:lnTo>
                      <a:pt x="364" y="195"/>
                    </a:lnTo>
                    <a:lnTo>
                      <a:pt x="364" y="194"/>
                    </a:lnTo>
                    <a:lnTo>
                      <a:pt x="363" y="193"/>
                    </a:lnTo>
                    <a:lnTo>
                      <a:pt x="362" y="192"/>
                    </a:lnTo>
                    <a:lnTo>
                      <a:pt x="360" y="192"/>
                    </a:lnTo>
                    <a:lnTo>
                      <a:pt x="358" y="192"/>
                    </a:lnTo>
                    <a:lnTo>
                      <a:pt x="357" y="192"/>
                    </a:lnTo>
                    <a:lnTo>
                      <a:pt x="355" y="193"/>
                    </a:lnTo>
                    <a:lnTo>
                      <a:pt x="354" y="194"/>
                    </a:lnTo>
                    <a:lnTo>
                      <a:pt x="353" y="195"/>
                    </a:lnTo>
                    <a:lnTo>
                      <a:pt x="352" y="196"/>
                    </a:lnTo>
                    <a:lnTo>
                      <a:pt x="352" y="198"/>
                    </a:lnTo>
                    <a:lnTo>
                      <a:pt x="351" y="200"/>
                    </a:lnTo>
                    <a:lnTo>
                      <a:pt x="351" y="202"/>
                    </a:lnTo>
                    <a:lnTo>
                      <a:pt x="350" y="205"/>
                    </a:lnTo>
                    <a:lnTo>
                      <a:pt x="350" y="207"/>
                    </a:lnTo>
                    <a:lnTo>
                      <a:pt x="351" y="208"/>
                    </a:lnTo>
                    <a:lnTo>
                      <a:pt x="351" y="211"/>
                    </a:lnTo>
                    <a:lnTo>
                      <a:pt x="351" y="212"/>
                    </a:lnTo>
                    <a:lnTo>
                      <a:pt x="352" y="213"/>
                    </a:lnTo>
                    <a:lnTo>
                      <a:pt x="352" y="214"/>
                    </a:lnTo>
                    <a:lnTo>
                      <a:pt x="354" y="217"/>
                    </a:lnTo>
                    <a:lnTo>
                      <a:pt x="355" y="218"/>
                    </a:lnTo>
                    <a:lnTo>
                      <a:pt x="357" y="219"/>
                    </a:lnTo>
                    <a:lnTo>
                      <a:pt x="358" y="220"/>
                    </a:lnTo>
                    <a:lnTo>
                      <a:pt x="359" y="221"/>
                    </a:lnTo>
                    <a:lnTo>
                      <a:pt x="359" y="223"/>
                    </a:lnTo>
                    <a:lnTo>
                      <a:pt x="360" y="224"/>
                    </a:lnTo>
                    <a:lnTo>
                      <a:pt x="360" y="225"/>
                    </a:lnTo>
                    <a:lnTo>
                      <a:pt x="359" y="225"/>
                    </a:lnTo>
                    <a:lnTo>
                      <a:pt x="358" y="226"/>
                    </a:lnTo>
                    <a:lnTo>
                      <a:pt x="355" y="227"/>
                    </a:lnTo>
                    <a:lnTo>
                      <a:pt x="354" y="228"/>
                    </a:lnTo>
                    <a:lnTo>
                      <a:pt x="354" y="230"/>
                    </a:lnTo>
                    <a:lnTo>
                      <a:pt x="353" y="230"/>
                    </a:lnTo>
                    <a:lnTo>
                      <a:pt x="353" y="231"/>
                    </a:lnTo>
                    <a:lnTo>
                      <a:pt x="352" y="232"/>
                    </a:lnTo>
                    <a:lnTo>
                      <a:pt x="352" y="233"/>
                    </a:lnTo>
                    <a:lnTo>
                      <a:pt x="352" y="234"/>
                    </a:lnTo>
                    <a:lnTo>
                      <a:pt x="352" y="235"/>
                    </a:lnTo>
                    <a:lnTo>
                      <a:pt x="351" y="238"/>
                    </a:lnTo>
                    <a:lnTo>
                      <a:pt x="351" y="239"/>
                    </a:lnTo>
                    <a:lnTo>
                      <a:pt x="351" y="241"/>
                    </a:lnTo>
                    <a:lnTo>
                      <a:pt x="351" y="244"/>
                    </a:lnTo>
                    <a:lnTo>
                      <a:pt x="351" y="245"/>
                    </a:lnTo>
                    <a:lnTo>
                      <a:pt x="351" y="247"/>
                    </a:lnTo>
                    <a:lnTo>
                      <a:pt x="351" y="251"/>
                    </a:lnTo>
                    <a:lnTo>
                      <a:pt x="351" y="253"/>
                    </a:lnTo>
                    <a:lnTo>
                      <a:pt x="350" y="257"/>
                    </a:lnTo>
                    <a:lnTo>
                      <a:pt x="348" y="259"/>
                    </a:lnTo>
                    <a:lnTo>
                      <a:pt x="346" y="264"/>
                    </a:lnTo>
                    <a:lnTo>
                      <a:pt x="345" y="265"/>
                    </a:lnTo>
                    <a:lnTo>
                      <a:pt x="345" y="266"/>
                    </a:lnTo>
                    <a:lnTo>
                      <a:pt x="343" y="267"/>
                    </a:lnTo>
                    <a:lnTo>
                      <a:pt x="341" y="269"/>
                    </a:lnTo>
                    <a:lnTo>
                      <a:pt x="340" y="269"/>
                    </a:lnTo>
                    <a:lnTo>
                      <a:pt x="339" y="264"/>
                    </a:lnTo>
                    <a:lnTo>
                      <a:pt x="338" y="253"/>
                    </a:lnTo>
                    <a:lnTo>
                      <a:pt x="338" y="249"/>
                    </a:lnTo>
                    <a:lnTo>
                      <a:pt x="339" y="246"/>
                    </a:lnTo>
                    <a:lnTo>
                      <a:pt x="337" y="245"/>
                    </a:lnTo>
                    <a:lnTo>
                      <a:pt x="336" y="244"/>
                    </a:lnTo>
                    <a:lnTo>
                      <a:pt x="335" y="244"/>
                    </a:lnTo>
                    <a:lnTo>
                      <a:pt x="334" y="243"/>
                    </a:lnTo>
                    <a:lnTo>
                      <a:pt x="333" y="241"/>
                    </a:lnTo>
                    <a:lnTo>
                      <a:pt x="332" y="240"/>
                    </a:lnTo>
                    <a:lnTo>
                      <a:pt x="327" y="236"/>
                    </a:lnTo>
                    <a:lnTo>
                      <a:pt x="324" y="234"/>
                    </a:lnTo>
                    <a:lnTo>
                      <a:pt x="320" y="233"/>
                    </a:lnTo>
                    <a:lnTo>
                      <a:pt x="316" y="232"/>
                    </a:lnTo>
                    <a:lnTo>
                      <a:pt x="312" y="233"/>
                    </a:lnTo>
                    <a:lnTo>
                      <a:pt x="310" y="235"/>
                    </a:lnTo>
                    <a:lnTo>
                      <a:pt x="309" y="237"/>
                    </a:lnTo>
                    <a:lnTo>
                      <a:pt x="308" y="243"/>
                    </a:lnTo>
                    <a:lnTo>
                      <a:pt x="307" y="245"/>
                    </a:lnTo>
                    <a:lnTo>
                      <a:pt x="303" y="249"/>
                    </a:lnTo>
                    <a:lnTo>
                      <a:pt x="297" y="244"/>
                    </a:lnTo>
                    <a:lnTo>
                      <a:pt x="295" y="243"/>
                    </a:lnTo>
                    <a:lnTo>
                      <a:pt x="289" y="244"/>
                    </a:lnTo>
                    <a:lnTo>
                      <a:pt x="284" y="245"/>
                    </a:lnTo>
                    <a:lnTo>
                      <a:pt x="280" y="249"/>
                    </a:lnTo>
                    <a:lnTo>
                      <a:pt x="274" y="257"/>
                    </a:lnTo>
                    <a:lnTo>
                      <a:pt x="272" y="258"/>
                    </a:lnTo>
                    <a:lnTo>
                      <a:pt x="271" y="258"/>
                    </a:lnTo>
                    <a:lnTo>
                      <a:pt x="270" y="258"/>
                    </a:lnTo>
                    <a:lnTo>
                      <a:pt x="269" y="258"/>
                    </a:lnTo>
                    <a:lnTo>
                      <a:pt x="268" y="257"/>
                    </a:lnTo>
                    <a:lnTo>
                      <a:pt x="267" y="256"/>
                    </a:lnTo>
                    <a:lnTo>
                      <a:pt x="264" y="254"/>
                    </a:lnTo>
                    <a:close/>
                    <a:moveTo>
                      <a:pt x="322" y="320"/>
                    </a:moveTo>
                    <a:lnTo>
                      <a:pt x="321" y="320"/>
                    </a:lnTo>
                    <a:lnTo>
                      <a:pt x="320" y="320"/>
                    </a:lnTo>
                    <a:lnTo>
                      <a:pt x="316" y="320"/>
                    </a:lnTo>
                    <a:lnTo>
                      <a:pt x="315" y="320"/>
                    </a:lnTo>
                    <a:lnTo>
                      <a:pt x="314" y="320"/>
                    </a:lnTo>
                    <a:lnTo>
                      <a:pt x="313" y="320"/>
                    </a:lnTo>
                    <a:lnTo>
                      <a:pt x="311" y="318"/>
                    </a:lnTo>
                    <a:lnTo>
                      <a:pt x="309" y="317"/>
                    </a:lnTo>
                    <a:lnTo>
                      <a:pt x="308" y="317"/>
                    </a:lnTo>
                    <a:lnTo>
                      <a:pt x="309" y="316"/>
                    </a:lnTo>
                    <a:lnTo>
                      <a:pt x="310" y="303"/>
                    </a:lnTo>
                    <a:lnTo>
                      <a:pt x="310" y="302"/>
                    </a:lnTo>
                    <a:lnTo>
                      <a:pt x="310" y="301"/>
                    </a:lnTo>
                    <a:lnTo>
                      <a:pt x="311" y="300"/>
                    </a:lnTo>
                    <a:lnTo>
                      <a:pt x="311" y="299"/>
                    </a:lnTo>
                    <a:lnTo>
                      <a:pt x="311" y="298"/>
                    </a:lnTo>
                    <a:lnTo>
                      <a:pt x="311" y="297"/>
                    </a:lnTo>
                    <a:lnTo>
                      <a:pt x="311" y="295"/>
                    </a:lnTo>
                    <a:lnTo>
                      <a:pt x="310" y="294"/>
                    </a:lnTo>
                    <a:lnTo>
                      <a:pt x="307" y="288"/>
                    </a:lnTo>
                    <a:lnTo>
                      <a:pt x="304" y="283"/>
                    </a:lnTo>
                    <a:lnTo>
                      <a:pt x="304" y="276"/>
                    </a:lnTo>
                    <a:lnTo>
                      <a:pt x="310" y="278"/>
                    </a:lnTo>
                    <a:lnTo>
                      <a:pt x="314" y="281"/>
                    </a:lnTo>
                    <a:lnTo>
                      <a:pt x="315" y="281"/>
                    </a:lnTo>
                    <a:lnTo>
                      <a:pt x="316" y="282"/>
                    </a:lnTo>
                    <a:lnTo>
                      <a:pt x="317" y="283"/>
                    </a:lnTo>
                    <a:lnTo>
                      <a:pt x="319" y="284"/>
                    </a:lnTo>
                    <a:lnTo>
                      <a:pt x="320" y="284"/>
                    </a:lnTo>
                    <a:lnTo>
                      <a:pt x="320" y="285"/>
                    </a:lnTo>
                    <a:lnTo>
                      <a:pt x="321" y="286"/>
                    </a:lnTo>
                    <a:lnTo>
                      <a:pt x="322" y="286"/>
                    </a:lnTo>
                    <a:lnTo>
                      <a:pt x="324" y="288"/>
                    </a:lnTo>
                    <a:lnTo>
                      <a:pt x="325" y="289"/>
                    </a:lnTo>
                    <a:lnTo>
                      <a:pt x="330" y="290"/>
                    </a:lnTo>
                    <a:lnTo>
                      <a:pt x="337" y="290"/>
                    </a:lnTo>
                    <a:lnTo>
                      <a:pt x="339" y="290"/>
                    </a:lnTo>
                    <a:lnTo>
                      <a:pt x="338" y="301"/>
                    </a:lnTo>
                    <a:lnTo>
                      <a:pt x="338" y="303"/>
                    </a:lnTo>
                    <a:lnTo>
                      <a:pt x="337" y="304"/>
                    </a:lnTo>
                    <a:lnTo>
                      <a:pt x="336" y="307"/>
                    </a:lnTo>
                    <a:lnTo>
                      <a:pt x="335" y="310"/>
                    </a:lnTo>
                    <a:lnTo>
                      <a:pt x="334" y="312"/>
                    </a:lnTo>
                    <a:lnTo>
                      <a:pt x="333" y="313"/>
                    </a:lnTo>
                    <a:lnTo>
                      <a:pt x="332" y="314"/>
                    </a:lnTo>
                    <a:lnTo>
                      <a:pt x="330" y="315"/>
                    </a:lnTo>
                    <a:lnTo>
                      <a:pt x="330" y="316"/>
                    </a:lnTo>
                    <a:lnTo>
                      <a:pt x="329" y="316"/>
                    </a:lnTo>
                    <a:lnTo>
                      <a:pt x="329" y="317"/>
                    </a:lnTo>
                    <a:lnTo>
                      <a:pt x="328" y="317"/>
                    </a:lnTo>
                    <a:lnTo>
                      <a:pt x="324" y="320"/>
                    </a:lnTo>
                    <a:lnTo>
                      <a:pt x="323" y="320"/>
                    </a:lnTo>
                    <a:lnTo>
                      <a:pt x="322" y="320"/>
                    </a:lnTo>
                    <a:close/>
                  </a:path>
                </a:pathLst>
              </a:custGeom>
              <a:solidFill>
                <a:srgbClr val="91C4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0" name="Freeform 50">
                <a:extLst>
                  <a:ext uri="{FF2B5EF4-FFF2-40B4-BE49-F238E27FC236}">
                    <a16:creationId xmlns:a16="http://schemas.microsoft.com/office/drawing/2014/main" id="{A0C196EA-8227-BBBA-10CA-3936D594D16C}"/>
                  </a:ext>
                </a:extLst>
              </p:cNvPr>
              <p:cNvSpPr>
                <a:spLocks/>
              </p:cNvSpPr>
              <p:nvPr/>
            </p:nvSpPr>
            <p:spPr bwMode="auto">
              <a:xfrm>
                <a:off x="2827338" y="1985963"/>
                <a:ext cx="431800" cy="400050"/>
              </a:xfrm>
              <a:custGeom>
                <a:avLst/>
                <a:gdLst>
                  <a:gd name="T0" fmla="*/ 196 w 272"/>
                  <a:gd name="T1" fmla="*/ 4 h 252"/>
                  <a:gd name="T2" fmla="*/ 191 w 272"/>
                  <a:gd name="T3" fmla="*/ 14 h 252"/>
                  <a:gd name="T4" fmla="*/ 199 w 272"/>
                  <a:gd name="T5" fmla="*/ 17 h 252"/>
                  <a:gd name="T6" fmla="*/ 193 w 272"/>
                  <a:gd name="T7" fmla="*/ 25 h 252"/>
                  <a:gd name="T8" fmla="*/ 189 w 272"/>
                  <a:gd name="T9" fmla="*/ 31 h 252"/>
                  <a:gd name="T10" fmla="*/ 192 w 272"/>
                  <a:gd name="T11" fmla="*/ 34 h 252"/>
                  <a:gd name="T12" fmla="*/ 196 w 272"/>
                  <a:gd name="T13" fmla="*/ 40 h 252"/>
                  <a:gd name="T14" fmla="*/ 191 w 272"/>
                  <a:gd name="T15" fmla="*/ 46 h 252"/>
                  <a:gd name="T16" fmla="*/ 199 w 272"/>
                  <a:gd name="T17" fmla="*/ 42 h 252"/>
                  <a:gd name="T18" fmla="*/ 205 w 272"/>
                  <a:gd name="T19" fmla="*/ 42 h 252"/>
                  <a:gd name="T20" fmla="*/ 193 w 272"/>
                  <a:gd name="T21" fmla="*/ 52 h 252"/>
                  <a:gd name="T22" fmla="*/ 185 w 272"/>
                  <a:gd name="T23" fmla="*/ 60 h 252"/>
                  <a:gd name="T24" fmla="*/ 195 w 272"/>
                  <a:gd name="T25" fmla="*/ 59 h 252"/>
                  <a:gd name="T26" fmla="*/ 206 w 272"/>
                  <a:gd name="T27" fmla="*/ 52 h 252"/>
                  <a:gd name="T28" fmla="*/ 206 w 272"/>
                  <a:gd name="T29" fmla="*/ 58 h 252"/>
                  <a:gd name="T30" fmla="*/ 203 w 272"/>
                  <a:gd name="T31" fmla="*/ 64 h 252"/>
                  <a:gd name="T32" fmla="*/ 206 w 272"/>
                  <a:gd name="T33" fmla="*/ 71 h 252"/>
                  <a:gd name="T34" fmla="*/ 204 w 272"/>
                  <a:gd name="T35" fmla="*/ 80 h 252"/>
                  <a:gd name="T36" fmla="*/ 216 w 272"/>
                  <a:gd name="T37" fmla="*/ 78 h 252"/>
                  <a:gd name="T38" fmla="*/ 223 w 272"/>
                  <a:gd name="T39" fmla="*/ 76 h 252"/>
                  <a:gd name="T40" fmla="*/ 228 w 272"/>
                  <a:gd name="T41" fmla="*/ 77 h 252"/>
                  <a:gd name="T42" fmla="*/ 236 w 272"/>
                  <a:gd name="T43" fmla="*/ 80 h 252"/>
                  <a:gd name="T44" fmla="*/ 245 w 272"/>
                  <a:gd name="T45" fmla="*/ 79 h 252"/>
                  <a:gd name="T46" fmla="*/ 253 w 272"/>
                  <a:gd name="T47" fmla="*/ 81 h 252"/>
                  <a:gd name="T48" fmla="*/ 256 w 272"/>
                  <a:gd name="T49" fmla="*/ 85 h 252"/>
                  <a:gd name="T50" fmla="*/ 255 w 272"/>
                  <a:gd name="T51" fmla="*/ 90 h 252"/>
                  <a:gd name="T52" fmla="*/ 255 w 272"/>
                  <a:gd name="T53" fmla="*/ 95 h 252"/>
                  <a:gd name="T54" fmla="*/ 256 w 272"/>
                  <a:gd name="T55" fmla="*/ 101 h 252"/>
                  <a:gd name="T56" fmla="*/ 263 w 272"/>
                  <a:gd name="T57" fmla="*/ 105 h 252"/>
                  <a:gd name="T58" fmla="*/ 262 w 272"/>
                  <a:gd name="T59" fmla="*/ 114 h 252"/>
                  <a:gd name="T60" fmla="*/ 269 w 272"/>
                  <a:gd name="T61" fmla="*/ 109 h 252"/>
                  <a:gd name="T62" fmla="*/ 269 w 272"/>
                  <a:gd name="T63" fmla="*/ 119 h 252"/>
                  <a:gd name="T64" fmla="*/ 270 w 272"/>
                  <a:gd name="T65" fmla="*/ 127 h 252"/>
                  <a:gd name="T66" fmla="*/ 272 w 272"/>
                  <a:gd name="T67" fmla="*/ 133 h 252"/>
                  <a:gd name="T68" fmla="*/ 263 w 272"/>
                  <a:gd name="T69" fmla="*/ 136 h 252"/>
                  <a:gd name="T70" fmla="*/ 259 w 272"/>
                  <a:gd name="T71" fmla="*/ 140 h 252"/>
                  <a:gd name="T72" fmla="*/ 253 w 272"/>
                  <a:gd name="T73" fmla="*/ 144 h 252"/>
                  <a:gd name="T74" fmla="*/ 250 w 272"/>
                  <a:gd name="T75" fmla="*/ 140 h 252"/>
                  <a:gd name="T76" fmla="*/ 244 w 272"/>
                  <a:gd name="T77" fmla="*/ 140 h 252"/>
                  <a:gd name="T78" fmla="*/ 240 w 272"/>
                  <a:gd name="T79" fmla="*/ 144 h 252"/>
                  <a:gd name="T80" fmla="*/ 232 w 272"/>
                  <a:gd name="T81" fmla="*/ 152 h 252"/>
                  <a:gd name="T82" fmla="*/ 240 w 272"/>
                  <a:gd name="T83" fmla="*/ 154 h 252"/>
                  <a:gd name="T84" fmla="*/ 246 w 272"/>
                  <a:gd name="T85" fmla="*/ 155 h 252"/>
                  <a:gd name="T86" fmla="*/ 246 w 272"/>
                  <a:gd name="T87" fmla="*/ 164 h 252"/>
                  <a:gd name="T88" fmla="*/ 254 w 272"/>
                  <a:gd name="T89" fmla="*/ 171 h 252"/>
                  <a:gd name="T90" fmla="*/ 253 w 272"/>
                  <a:gd name="T91" fmla="*/ 174 h 252"/>
                  <a:gd name="T92" fmla="*/ 253 w 272"/>
                  <a:gd name="T93" fmla="*/ 184 h 252"/>
                  <a:gd name="T94" fmla="*/ 254 w 272"/>
                  <a:gd name="T95" fmla="*/ 193 h 252"/>
                  <a:gd name="T96" fmla="*/ 255 w 272"/>
                  <a:gd name="T97" fmla="*/ 200 h 252"/>
                  <a:gd name="T98" fmla="*/ 254 w 272"/>
                  <a:gd name="T99" fmla="*/ 207 h 252"/>
                  <a:gd name="T100" fmla="*/ 259 w 272"/>
                  <a:gd name="T101" fmla="*/ 217 h 252"/>
                  <a:gd name="T102" fmla="*/ 222 w 272"/>
                  <a:gd name="T103" fmla="*/ 252 h 252"/>
                  <a:gd name="T104" fmla="*/ 105 w 272"/>
                  <a:gd name="T105" fmla="*/ 252 h 252"/>
                  <a:gd name="T106" fmla="*/ 40 w 272"/>
                  <a:gd name="T107" fmla="*/ 252 h 252"/>
                  <a:gd name="T108" fmla="*/ 0 w 272"/>
                  <a:gd name="T109" fmla="*/ 206 h 252"/>
                  <a:gd name="T110" fmla="*/ 0 w 272"/>
                  <a:gd name="T111" fmla="*/ 49 h 252"/>
                  <a:gd name="T112" fmla="*/ 0 w 272"/>
                  <a:gd name="T113" fmla="*/ 7 h 252"/>
                  <a:gd name="T114" fmla="*/ 91 w 272"/>
                  <a:gd name="T115" fmla="*/ 2 h 252"/>
                  <a:gd name="T116" fmla="*/ 99 w 272"/>
                  <a:gd name="T117" fmla="*/ 11 h 252"/>
                  <a:gd name="T118" fmla="*/ 137 w 272"/>
                  <a:gd name="T119"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252">
                    <a:moveTo>
                      <a:pt x="170" y="0"/>
                    </a:moveTo>
                    <a:lnTo>
                      <a:pt x="171" y="0"/>
                    </a:lnTo>
                    <a:lnTo>
                      <a:pt x="191" y="0"/>
                    </a:lnTo>
                    <a:lnTo>
                      <a:pt x="192" y="0"/>
                    </a:lnTo>
                    <a:lnTo>
                      <a:pt x="193" y="0"/>
                    </a:lnTo>
                    <a:lnTo>
                      <a:pt x="195" y="0"/>
                    </a:lnTo>
                    <a:lnTo>
                      <a:pt x="196" y="1"/>
                    </a:lnTo>
                    <a:lnTo>
                      <a:pt x="196" y="3"/>
                    </a:lnTo>
                    <a:lnTo>
                      <a:pt x="196" y="4"/>
                    </a:lnTo>
                    <a:lnTo>
                      <a:pt x="196" y="6"/>
                    </a:lnTo>
                    <a:lnTo>
                      <a:pt x="196" y="7"/>
                    </a:lnTo>
                    <a:lnTo>
                      <a:pt x="196" y="8"/>
                    </a:lnTo>
                    <a:lnTo>
                      <a:pt x="196" y="10"/>
                    </a:lnTo>
                    <a:lnTo>
                      <a:pt x="195" y="10"/>
                    </a:lnTo>
                    <a:lnTo>
                      <a:pt x="194" y="11"/>
                    </a:lnTo>
                    <a:lnTo>
                      <a:pt x="193" y="12"/>
                    </a:lnTo>
                    <a:lnTo>
                      <a:pt x="192" y="13"/>
                    </a:lnTo>
                    <a:lnTo>
                      <a:pt x="191" y="14"/>
                    </a:lnTo>
                    <a:lnTo>
                      <a:pt x="191" y="15"/>
                    </a:lnTo>
                    <a:lnTo>
                      <a:pt x="191" y="16"/>
                    </a:lnTo>
                    <a:lnTo>
                      <a:pt x="192" y="17"/>
                    </a:lnTo>
                    <a:lnTo>
                      <a:pt x="193" y="18"/>
                    </a:lnTo>
                    <a:lnTo>
                      <a:pt x="195" y="18"/>
                    </a:lnTo>
                    <a:lnTo>
                      <a:pt x="196" y="17"/>
                    </a:lnTo>
                    <a:lnTo>
                      <a:pt x="197" y="17"/>
                    </a:lnTo>
                    <a:lnTo>
                      <a:pt x="198" y="17"/>
                    </a:lnTo>
                    <a:lnTo>
                      <a:pt x="199" y="17"/>
                    </a:lnTo>
                    <a:lnTo>
                      <a:pt x="201" y="18"/>
                    </a:lnTo>
                    <a:lnTo>
                      <a:pt x="199" y="18"/>
                    </a:lnTo>
                    <a:lnTo>
                      <a:pt x="199" y="19"/>
                    </a:lnTo>
                    <a:lnTo>
                      <a:pt x="197" y="19"/>
                    </a:lnTo>
                    <a:lnTo>
                      <a:pt x="194" y="21"/>
                    </a:lnTo>
                    <a:lnTo>
                      <a:pt x="193" y="21"/>
                    </a:lnTo>
                    <a:lnTo>
                      <a:pt x="193" y="23"/>
                    </a:lnTo>
                    <a:lnTo>
                      <a:pt x="193" y="24"/>
                    </a:lnTo>
                    <a:lnTo>
                      <a:pt x="193" y="25"/>
                    </a:lnTo>
                    <a:lnTo>
                      <a:pt x="193" y="26"/>
                    </a:lnTo>
                    <a:lnTo>
                      <a:pt x="193" y="28"/>
                    </a:lnTo>
                    <a:lnTo>
                      <a:pt x="193" y="29"/>
                    </a:lnTo>
                    <a:lnTo>
                      <a:pt x="192" y="29"/>
                    </a:lnTo>
                    <a:lnTo>
                      <a:pt x="192" y="30"/>
                    </a:lnTo>
                    <a:lnTo>
                      <a:pt x="192" y="31"/>
                    </a:lnTo>
                    <a:lnTo>
                      <a:pt x="191" y="31"/>
                    </a:lnTo>
                    <a:lnTo>
                      <a:pt x="190" y="31"/>
                    </a:lnTo>
                    <a:lnTo>
                      <a:pt x="189" y="31"/>
                    </a:lnTo>
                    <a:lnTo>
                      <a:pt x="188" y="31"/>
                    </a:lnTo>
                    <a:lnTo>
                      <a:pt x="188" y="32"/>
                    </a:lnTo>
                    <a:lnTo>
                      <a:pt x="186" y="32"/>
                    </a:lnTo>
                    <a:lnTo>
                      <a:pt x="186" y="33"/>
                    </a:lnTo>
                    <a:lnTo>
                      <a:pt x="188" y="33"/>
                    </a:lnTo>
                    <a:lnTo>
                      <a:pt x="189" y="34"/>
                    </a:lnTo>
                    <a:lnTo>
                      <a:pt x="190" y="34"/>
                    </a:lnTo>
                    <a:lnTo>
                      <a:pt x="191" y="34"/>
                    </a:lnTo>
                    <a:lnTo>
                      <a:pt x="192" y="34"/>
                    </a:lnTo>
                    <a:lnTo>
                      <a:pt x="193" y="34"/>
                    </a:lnTo>
                    <a:lnTo>
                      <a:pt x="194" y="34"/>
                    </a:lnTo>
                    <a:lnTo>
                      <a:pt x="195" y="36"/>
                    </a:lnTo>
                    <a:lnTo>
                      <a:pt x="196" y="36"/>
                    </a:lnTo>
                    <a:lnTo>
                      <a:pt x="196" y="37"/>
                    </a:lnTo>
                    <a:lnTo>
                      <a:pt x="197" y="37"/>
                    </a:lnTo>
                    <a:lnTo>
                      <a:pt x="197" y="38"/>
                    </a:lnTo>
                    <a:lnTo>
                      <a:pt x="197" y="39"/>
                    </a:lnTo>
                    <a:lnTo>
                      <a:pt x="196" y="40"/>
                    </a:lnTo>
                    <a:lnTo>
                      <a:pt x="196" y="41"/>
                    </a:lnTo>
                    <a:lnTo>
                      <a:pt x="195" y="42"/>
                    </a:lnTo>
                    <a:lnTo>
                      <a:pt x="194" y="42"/>
                    </a:lnTo>
                    <a:lnTo>
                      <a:pt x="194" y="43"/>
                    </a:lnTo>
                    <a:lnTo>
                      <a:pt x="192" y="43"/>
                    </a:lnTo>
                    <a:lnTo>
                      <a:pt x="192" y="44"/>
                    </a:lnTo>
                    <a:lnTo>
                      <a:pt x="191" y="44"/>
                    </a:lnTo>
                    <a:lnTo>
                      <a:pt x="191" y="45"/>
                    </a:lnTo>
                    <a:lnTo>
                      <a:pt x="191" y="46"/>
                    </a:lnTo>
                    <a:lnTo>
                      <a:pt x="192" y="46"/>
                    </a:lnTo>
                    <a:lnTo>
                      <a:pt x="192" y="47"/>
                    </a:lnTo>
                    <a:lnTo>
                      <a:pt x="193" y="47"/>
                    </a:lnTo>
                    <a:lnTo>
                      <a:pt x="194" y="46"/>
                    </a:lnTo>
                    <a:lnTo>
                      <a:pt x="196" y="46"/>
                    </a:lnTo>
                    <a:lnTo>
                      <a:pt x="197" y="45"/>
                    </a:lnTo>
                    <a:lnTo>
                      <a:pt x="198" y="44"/>
                    </a:lnTo>
                    <a:lnTo>
                      <a:pt x="199" y="43"/>
                    </a:lnTo>
                    <a:lnTo>
                      <a:pt x="199" y="42"/>
                    </a:lnTo>
                    <a:lnTo>
                      <a:pt x="201" y="41"/>
                    </a:lnTo>
                    <a:lnTo>
                      <a:pt x="201" y="40"/>
                    </a:lnTo>
                    <a:lnTo>
                      <a:pt x="201" y="39"/>
                    </a:lnTo>
                    <a:lnTo>
                      <a:pt x="202" y="38"/>
                    </a:lnTo>
                    <a:lnTo>
                      <a:pt x="203" y="38"/>
                    </a:lnTo>
                    <a:lnTo>
                      <a:pt x="204" y="39"/>
                    </a:lnTo>
                    <a:lnTo>
                      <a:pt x="204" y="40"/>
                    </a:lnTo>
                    <a:lnTo>
                      <a:pt x="205" y="41"/>
                    </a:lnTo>
                    <a:lnTo>
                      <a:pt x="205" y="42"/>
                    </a:lnTo>
                    <a:lnTo>
                      <a:pt x="205" y="43"/>
                    </a:lnTo>
                    <a:lnTo>
                      <a:pt x="205" y="44"/>
                    </a:lnTo>
                    <a:lnTo>
                      <a:pt x="204" y="45"/>
                    </a:lnTo>
                    <a:lnTo>
                      <a:pt x="199" y="46"/>
                    </a:lnTo>
                    <a:lnTo>
                      <a:pt x="198" y="46"/>
                    </a:lnTo>
                    <a:lnTo>
                      <a:pt x="197" y="47"/>
                    </a:lnTo>
                    <a:lnTo>
                      <a:pt x="196" y="47"/>
                    </a:lnTo>
                    <a:lnTo>
                      <a:pt x="194" y="51"/>
                    </a:lnTo>
                    <a:lnTo>
                      <a:pt x="193" y="52"/>
                    </a:lnTo>
                    <a:lnTo>
                      <a:pt x="192" y="52"/>
                    </a:lnTo>
                    <a:lnTo>
                      <a:pt x="191" y="53"/>
                    </a:lnTo>
                    <a:lnTo>
                      <a:pt x="190" y="53"/>
                    </a:lnTo>
                    <a:lnTo>
                      <a:pt x="188" y="54"/>
                    </a:lnTo>
                    <a:lnTo>
                      <a:pt x="186" y="55"/>
                    </a:lnTo>
                    <a:lnTo>
                      <a:pt x="186" y="56"/>
                    </a:lnTo>
                    <a:lnTo>
                      <a:pt x="186" y="57"/>
                    </a:lnTo>
                    <a:lnTo>
                      <a:pt x="185" y="58"/>
                    </a:lnTo>
                    <a:lnTo>
                      <a:pt x="185" y="60"/>
                    </a:lnTo>
                    <a:lnTo>
                      <a:pt x="186" y="60"/>
                    </a:lnTo>
                    <a:lnTo>
                      <a:pt x="186" y="62"/>
                    </a:lnTo>
                    <a:lnTo>
                      <a:pt x="188" y="62"/>
                    </a:lnTo>
                    <a:lnTo>
                      <a:pt x="188" y="63"/>
                    </a:lnTo>
                    <a:lnTo>
                      <a:pt x="189" y="63"/>
                    </a:lnTo>
                    <a:lnTo>
                      <a:pt x="192" y="63"/>
                    </a:lnTo>
                    <a:lnTo>
                      <a:pt x="192" y="62"/>
                    </a:lnTo>
                    <a:lnTo>
                      <a:pt x="193" y="60"/>
                    </a:lnTo>
                    <a:lnTo>
                      <a:pt x="195" y="59"/>
                    </a:lnTo>
                    <a:lnTo>
                      <a:pt x="197" y="57"/>
                    </a:lnTo>
                    <a:lnTo>
                      <a:pt x="198" y="57"/>
                    </a:lnTo>
                    <a:lnTo>
                      <a:pt x="199" y="56"/>
                    </a:lnTo>
                    <a:lnTo>
                      <a:pt x="202" y="55"/>
                    </a:lnTo>
                    <a:lnTo>
                      <a:pt x="202" y="54"/>
                    </a:lnTo>
                    <a:lnTo>
                      <a:pt x="204" y="53"/>
                    </a:lnTo>
                    <a:lnTo>
                      <a:pt x="205" y="53"/>
                    </a:lnTo>
                    <a:lnTo>
                      <a:pt x="205" y="52"/>
                    </a:lnTo>
                    <a:lnTo>
                      <a:pt x="206" y="52"/>
                    </a:lnTo>
                    <a:lnTo>
                      <a:pt x="207" y="52"/>
                    </a:lnTo>
                    <a:lnTo>
                      <a:pt x="207" y="53"/>
                    </a:lnTo>
                    <a:lnTo>
                      <a:pt x="208" y="53"/>
                    </a:lnTo>
                    <a:lnTo>
                      <a:pt x="208" y="54"/>
                    </a:lnTo>
                    <a:lnTo>
                      <a:pt x="208" y="55"/>
                    </a:lnTo>
                    <a:lnTo>
                      <a:pt x="208" y="56"/>
                    </a:lnTo>
                    <a:lnTo>
                      <a:pt x="208" y="57"/>
                    </a:lnTo>
                    <a:lnTo>
                      <a:pt x="207" y="58"/>
                    </a:lnTo>
                    <a:lnTo>
                      <a:pt x="206" y="58"/>
                    </a:lnTo>
                    <a:lnTo>
                      <a:pt x="206" y="59"/>
                    </a:lnTo>
                    <a:lnTo>
                      <a:pt x="205" y="59"/>
                    </a:lnTo>
                    <a:lnTo>
                      <a:pt x="204" y="59"/>
                    </a:lnTo>
                    <a:lnTo>
                      <a:pt x="203" y="59"/>
                    </a:lnTo>
                    <a:lnTo>
                      <a:pt x="203" y="60"/>
                    </a:lnTo>
                    <a:lnTo>
                      <a:pt x="202" y="60"/>
                    </a:lnTo>
                    <a:lnTo>
                      <a:pt x="202" y="62"/>
                    </a:lnTo>
                    <a:lnTo>
                      <a:pt x="202" y="63"/>
                    </a:lnTo>
                    <a:lnTo>
                      <a:pt x="203" y="64"/>
                    </a:lnTo>
                    <a:lnTo>
                      <a:pt x="204" y="64"/>
                    </a:lnTo>
                    <a:lnTo>
                      <a:pt x="204" y="65"/>
                    </a:lnTo>
                    <a:lnTo>
                      <a:pt x="204" y="66"/>
                    </a:lnTo>
                    <a:lnTo>
                      <a:pt x="205" y="67"/>
                    </a:lnTo>
                    <a:lnTo>
                      <a:pt x="205" y="68"/>
                    </a:lnTo>
                    <a:lnTo>
                      <a:pt x="205" y="69"/>
                    </a:lnTo>
                    <a:lnTo>
                      <a:pt x="206" y="69"/>
                    </a:lnTo>
                    <a:lnTo>
                      <a:pt x="206" y="70"/>
                    </a:lnTo>
                    <a:lnTo>
                      <a:pt x="206" y="71"/>
                    </a:lnTo>
                    <a:lnTo>
                      <a:pt x="206" y="72"/>
                    </a:lnTo>
                    <a:lnTo>
                      <a:pt x="206" y="74"/>
                    </a:lnTo>
                    <a:lnTo>
                      <a:pt x="205" y="75"/>
                    </a:lnTo>
                    <a:lnTo>
                      <a:pt x="205" y="76"/>
                    </a:lnTo>
                    <a:lnTo>
                      <a:pt x="204" y="76"/>
                    </a:lnTo>
                    <a:lnTo>
                      <a:pt x="204" y="77"/>
                    </a:lnTo>
                    <a:lnTo>
                      <a:pt x="203" y="78"/>
                    </a:lnTo>
                    <a:lnTo>
                      <a:pt x="203" y="79"/>
                    </a:lnTo>
                    <a:lnTo>
                      <a:pt x="204" y="80"/>
                    </a:lnTo>
                    <a:lnTo>
                      <a:pt x="205" y="80"/>
                    </a:lnTo>
                    <a:lnTo>
                      <a:pt x="207" y="80"/>
                    </a:lnTo>
                    <a:lnTo>
                      <a:pt x="208" y="79"/>
                    </a:lnTo>
                    <a:lnTo>
                      <a:pt x="210" y="78"/>
                    </a:lnTo>
                    <a:lnTo>
                      <a:pt x="211" y="77"/>
                    </a:lnTo>
                    <a:lnTo>
                      <a:pt x="212" y="77"/>
                    </a:lnTo>
                    <a:lnTo>
                      <a:pt x="214" y="78"/>
                    </a:lnTo>
                    <a:lnTo>
                      <a:pt x="215" y="78"/>
                    </a:lnTo>
                    <a:lnTo>
                      <a:pt x="216" y="78"/>
                    </a:lnTo>
                    <a:lnTo>
                      <a:pt x="217" y="77"/>
                    </a:lnTo>
                    <a:lnTo>
                      <a:pt x="218" y="76"/>
                    </a:lnTo>
                    <a:lnTo>
                      <a:pt x="219" y="75"/>
                    </a:lnTo>
                    <a:lnTo>
                      <a:pt x="220" y="75"/>
                    </a:lnTo>
                    <a:lnTo>
                      <a:pt x="220" y="74"/>
                    </a:lnTo>
                    <a:lnTo>
                      <a:pt x="221" y="74"/>
                    </a:lnTo>
                    <a:lnTo>
                      <a:pt x="221" y="75"/>
                    </a:lnTo>
                    <a:lnTo>
                      <a:pt x="222" y="75"/>
                    </a:lnTo>
                    <a:lnTo>
                      <a:pt x="223" y="76"/>
                    </a:lnTo>
                    <a:lnTo>
                      <a:pt x="224" y="76"/>
                    </a:lnTo>
                    <a:lnTo>
                      <a:pt x="225" y="76"/>
                    </a:lnTo>
                    <a:lnTo>
                      <a:pt x="225" y="75"/>
                    </a:lnTo>
                    <a:lnTo>
                      <a:pt x="225" y="74"/>
                    </a:lnTo>
                    <a:lnTo>
                      <a:pt x="227" y="74"/>
                    </a:lnTo>
                    <a:lnTo>
                      <a:pt x="228" y="74"/>
                    </a:lnTo>
                    <a:lnTo>
                      <a:pt x="228" y="75"/>
                    </a:lnTo>
                    <a:lnTo>
                      <a:pt x="228" y="76"/>
                    </a:lnTo>
                    <a:lnTo>
                      <a:pt x="228" y="77"/>
                    </a:lnTo>
                    <a:lnTo>
                      <a:pt x="229" y="78"/>
                    </a:lnTo>
                    <a:lnTo>
                      <a:pt x="230" y="79"/>
                    </a:lnTo>
                    <a:lnTo>
                      <a:pt x="231" y="79"/>
                    </a:lnTo>
                    <a:lnTo>
                      <a:pt x="231" y="80"/>
                    </a:lnTo>
                    <a:lnTo>
                      <a:pt x="232" y="80"/>
                    </a:lnTo>
                    <a:lnTo>
                      <a:pt x="233" y="80"/>
                    </a:lnTo>
                    <a:lnTo>
                      <a:pt x="233" y="81"/>
                    </a:lnTo>
                    <a:lnTo>
                      <a:pt x="234" y="80"/>
                    </a:lnTo>
                    <a:lnTo>
                      <a:pt x="236" y="80"/>
                    </a:lnTo>
                    <a:lnTo>
                      <a:pt x="237" y="80"/>
                    </a:lnTo>
                    <a:lnTo>
                      <a:pt x="237" y="79"/>
                    </a:lnTo>
                    <a:lnTo>
                      <a:pt x="238" y="79"/>
                    </a:lnTo>
                    <a:lnTo>
                      <a:pt x="240" y="79"/>
                    </a:lnTo>
                    <a:lnTo>
                      <a:pt x="241" y="79"/>
                    </a:lnTo>
                    <a:lnTo>
                      <a:pt x="242" y="80"/>
                    </a:lnTo>
                    <a:lnTo>
                      <a:pt x="243" y="80"/>
                    </a:lnTo>
                    <a:lnTo>
                      <a:pt x="244" y="80"/>
                    </a:lnTo>
                    <a:lnTo>
                      <a:pt x="245" y="79"/>
                    </a:lnTo>
                    <a:lnTo>
                      <a:pt x="245" y="78"/>
                    </a:lnTo>
                    <a:lnTo>
                      <a:pt x="246" y="78"/>
                    </a:lnTo>
                    <a:lnTo>
                      <a:pt x="247" y="79"/>
                    </a:lnTo>
                    <a:lnTo>
                      <a:pt x="247" y="80"/>
                    </a:lnTo>
                    <a:lnTo>
                      <a:pt x="248" y="80"/>
                    </a:lnTo>
                    <a:lnTo>
                      <a:pt x="249" y="80"/>
                    </a:lnTo>
                    <a:lnTo>
                      <a:pt x="250" y="80"/>
                    </a:lnTo>
                    <a:lnTo>
                      <a:pt x="251" y="80"/>
                    </a:lnTo>
                    <a:lnTo>
                      <a:pt x="253" y="81"/>
                    </a:lnTo>
                    <a:lnTo>
                      <a:pt x="254" y="81"/>
                    </a:lnTo>
                    <a:lnTo>
                      <a:pt x="256" y="82"/>
                    </a:lnTo>
                    <a:lnTo>
                      <a:pt x="257" y="82"/>
                    </a:lnTo>
                    <a:lnTo>
                      <a:pt x="258" y="83"/>
                    </a:lnTo>
                    <a:lnTo>
                      <a:pt x="257" y="84"/>
                    </a:lnTo>
                    <a:lnTo>
                      <a:pt x="256" y="84"/>
                    </a:lnTo>
                    <a:lnTo>
                      <a:pt x="255" y="84"/>
                    </a:lnTo>
                    <a:lnTo>
                      <a:pt x="255" y="85"/>
                    </a:lnTo>
                    <a:lnTo>
                      <a:pt x="256" y="85"/>
                    </a:lnTo>
                    <a:lnTo>
                      <a:pt x="257" y="85"/>
                    </a:lnTo>
                    <a:lnTo>
                      <a:pt x="257" y="87"/>
                    </a:lnTo>
                    <a:lnTo>
                      <a:pt x="257" y="88"/>
                    </a:lnTo>
                    <a:lnTo>
                      <a:pt x="255" y="88"/>
                    </a:lnTo>
                    <a:lnTo>
                      <a:pt x="254" y="89"/>
                    </a:lnTo>
                    <a:lnTo>
                      <a:pt x="253" y="89"/>
                    </a:lnTo>
                    <a:lnTo>
                      <a:pt x="253" y="90"/>
                    </a:lnTo>
                    <a:lnTo>
                      <a:pt x="254" y="90"/>
                    </a:lnTo>
                    <a:lnTo>
                      <a:pt x="255" y="90"/>
                    </a:lnTo>
                    <a:lnTo>
                      <a:pt x="256" y="90"/>
                    </a:lnTo>
                    <a:lnTo>
                      <a:pt x="256" y="91"/>
                    </a:lnTo>
                    <a:lnTo>
                      <a:pt x="256" y="92"/>
                    </a:lnTo>
                    <a:lnTo>
                      <a:pt x="255" y="92"/>
                    </a:lnTo>
                    <a:lnTo>
                      <a:pt x="255" y="93"/>
                    </a:lnTo>
                    <a:lnTo>
                      <a:pt x="254" y="93"/>
                    </a:lnTo>
                    <a:lnTo>
                      <a:pt x="254" y="94"/>
                    </a:lnTo>
                    <a:lnTo>
                      <a:pt x="255" y="94"/>
                    </a:lnTo>
                    <a:lnTo>
                      <a:pt x="255" y="95"/>
                    </a:lnTo>
                    <a:lnTo>
                      <a:pt x="255" y="96"/>
                    </a:lnTo>
                    <a:lnTo>
                      <a:pt x="254" y="96"/>
                    </a:lnTo>
                    <a:lnTo>
                      <a:pt x="254" y="97"/>
                    </a:lnTo>
                    <a:lnTo>
                      <a:pt x="255" y="97"/>
                    </a:lnTo>
                    <a:lnTo>
                      <a:pt x="255" y="98"/>
                    </a:lnTo>
                    <a:lnTo>
                      <a:pt x="256" y="98"/>
                    </a:lnTo>
                    <a:lnTo>
                      <a:pt x="255" y="100"/>
                    </a:lnTo>
                    <a:lnTo>
                      <a:pt x="256" y="100"/>
                    </a:lnTo>
                    <a:lnTo>
                      <a:pt x="256" y="101"/>
                    </a:lnTo>
                    <a:lnTo>
                      <a:pt x="257" y="101"/>
                    </a:lnTo>
                    <a:lnTo>
                      <a:pt x="258" y="100"/>
                    </a:lnTo>
                    <a:lnTo>
                      <a:pt x="259" y="101"/>
                    </a:lnTo>
                    <a:lnTo>
                      <a:pt x="260" y="102"/>
                    </a:lnTo>
                    <a:lnTo>
                      <a:pt x="260" y="103"/>
                    </a:lnTo>
                    <a:lnTo>
                      <a:pt x="261" y="103"/>
                    </a:lnTo>
                    <a:lnTo>
                      <a:pt x="262" y="104"/>
                    </a:lnTo>
                    <a:lnTo>
                      <a:pt x="263" y="104"/>
                    </a:lnTo>
                    <a:lnTo>
                      <a:pt x="263" y="105"/>
                    </a:lnTo>
                    <a:lnTo>
                      <a:pt x="262" y="106"/>
                    </a:lnTo>
                    <a:lnTo>
                      <a:pt x="262" y="107"/>
                    </a:lnTo>
                    <a:lnTo>
                      <a:pt x="262" y="108"/>
                    </a:lnTo>
                    <a:lnTo>
                      <a:pt x="262" y="109"/>
                    </a:lnTo>
                    <a:lnTo>
                      <a:pt x="262" y="110"/>
                    </a:lnTo>
                    <a:lnTo>
                      <a:pt x="262" y="111"/>
                    </a:lnTo>
                    <a:lnTo>
                      <a:pt x="261" y="113"/>
                    </a:lnTo>
                    <a:lnTo>
                      <a:pt x="261" y="114"/>
                    </a:lnTo>
                    <a:lnTo>
                      <a:pt x="262" y="114"/>
                    </a:lnTo>
                    <a:lnTo>
                      <a:pt x="263" y="114"/>
                    </a:lnTo>
                    <a:lnTo>
                      <a:pt x="263" y="113"/>
                    </a:lnTo>
                    <a:lnTo>
                      <a:pt x="265" y="111"/>
                    </a:lnTo>
                    <a:lnTo>
                      <a:pt x="265" y="110"/>
                    </a:lnTo>
                    <a:lnTo>
                      <a:pt x="266" y="109"/>
                    </a:lnTo>
                    <a:lnTo>
                      <a:pt x="266" y="108"/>
                    </a:lnTo>
                    <a:lnTo>
                      <a:pt x="267" y="108"/>
                    </a:lnTo>
                    <a:lnTo>
                      <a:pt x="268" y="108"/>
                    </a:lnTo>
                    <a:lnTo>
                      <a:pt x="269" y="109"/>
                    </a:lnTo>
                    <a:lnTo>
                      <a:pt x="269" y="110"/>
                    </a:lnTo>
                    <a:lnTo>
                      <a:pt x="269" y="111"/>
                    </a:lnTo>
                    <a:lnTo>
                      <a:pt x="269" y="113"/>
                    </a:lnTo>
                    <a:lnTo>
                      <a:pt x="271" y="114"/>
                    </a:lnTo>
                    <a:lnTo>
                      <a:pt x="271" y="115"/>
                    </a:lnTo>
                    <a:lnTo>
                      <a:pt x="271" y="116"/>
                    </a:lnTo>
                    <a:lnTo>
                      <a:pt x="271" y="117"/>
                    </a:lnTo>
                    <a:lnTo>
                      <a:pt x="270" y="118"/>
                    </a:lnTo>
                    <a:lnTo>
                      <a:pt x="269" y="119"/>
                    </a:lnTo>
                    <a:lnTo>
                      <a:pt x="269" y="120"/>
                    </a:lnTo>
                    <a:lnTo>
                      <a:pt x="268" y="120"/>
                    </a:lnTo>
                    <a:lnTo>
                      <a:pt x="268" y="121"/>
                    </a:lnTo>
                    <a:lnTo>
                      <a:pt x="268" y="122"/>
                    </a:lnTo>
                    <a:lnTo>
                      <a:pt x="268" y="123"/>
                    </a:lnTo>
                    <a:lnTo>
                      <a:pt x="268" y="124"/>
                    </a:lnTo>
                    <a:lnTo>
                      <a:pt x="269" y="124"/>
                    </a:lnTo>
                    <a:lnTo>
                      <a:pt x="269" y="126"/>
                    </a:lnTo>
                    <a:lnTo>
                      <a:pt x="270" y="127"/>
                    </a:lnTo>
                    <a:lnTo>
                      <a:pt x="271" y="127"/>
                    </a:lnTo>
                    <a:lnTo>
                      <a:pt x="272" y="128"/>
                    </a:lnTo>
                    <a:lnTo>
                      <a:pt x="272" y="129"/>
                    </a:lnTo>
                    <a:lnTo>
                      <a:pt x="271" y="129"/>
                    </a:lnTo>
                    <a:lnTo>
                      <a:pt x="271" y="130"/>
                    </a:lnTo>
                    <a:lnTo>
                      <a:pt x="271" y="131"/>
                    </a:lnTo>
                    <a:lnTo>
                      <a:pt x="271" y="132"/>
                    </a:lnTo>
                    <a:lnTo>
                      <a:pt x="272" y="132"/>
                    </a:lnTo>
                    <a:lnTo>
                      <a:pt x="272" y="133"/>
                    </a:lnTo>
                    <a:lnTo>
                      <a:pt x="272" y="134"/>
                    </a:lnTo>
                    <a:lnTo>
                      <a:pt x="271" y="134"/>
                    </a:lnTo>
                    <a:lnTo>
                      <a:pt x="270" y="134"/>
                    </a:lnTo>
                    <a:lnTo>
                      <a:pt x="269" y="135"/>
                    </a:lnTo>
                    <a:lnTo>
                      <a:pt x="269" y="136"/>
                    </a:lnTo>
                    <a:lnTo>
                      <a:pt x="268" y="136"/>
                    </a:lnTo>
                    <a:lnTo>
                      <a:pt x="267" y="136"/>
                    </a:lnTo>
                    <a:lnTo>
                      <a:pt x="266" y="136"/>
                    </a:lnTo>
                    <a:lnTo>
                      <a:pt x="263" y="136"/>
                    </a:lnTo>
                    <a:lnTo>
                      <a:pt x="262" y="136"/>
                    </a:lnTo>
                    <a:lnTo>
                      <a:pt x="260" y="135"/>
                    </a:lnTo>
                    <a:lnTo>
                      <a:pt x="259" y="135"/>
                    </a:lnTo>
                    <a:lnTo>
                      <a:pt x="258" y="135"/>
                    </a:lnTo>
                    <a:lnTo>
                      <a:pt x="258" y="136"/>
                    </a:lnTo>
                    <a:lnTo>
                      <a:pt x="258" y="137"/>
                    </a:lnTo>
                    <a:lnTo>
                      <a:pt x="258" y="139"/>
                    </a:lnTo>
                    <a:lnTo>
                      <a:pt x="259" y="139"/>
                    </a:lnTo>
                    <a:lnTo>
                      <a:pt x="259" y="140"/>
                    </a:lnTo>
                    <a:lnTo>
                      <a:pt x="258" y="140"/>
                    </a:lnTo>
                    <a:lnTo>
                      <a:pt x="257" y="140"/>
                    </a:lnTo>
                    <a:lnTo>
                      <a:pt x="257" y="139"/>
                    </a:lnTo>
                    <a:lnTo>
                      <a:pt x="256" y="137"/>
                    </a:lnTo>
                    <a:lnTo>
                      <a:pt x="255" y="137"/>
                    </a:lnTo>
                    <a:lnTo>
                      <a:pt x="254" y="139"/>
                    </a:lnTo>
                    <a:lnTo>
                      <a:pt x="254" y="140"/>
                    </a:lnTo>
                    <a:lnTo>
                      <a:pt x="253" y="142"/>
                    </a:lnTo>
                    <a:lnTo>
                      <a:pt x="253" y="144"/>
                    </a:lnTo>
                    <a:lnTo>
                      <a:pt x="253" y="145"/>
                    </a:lnTo>
                    <a:lnTo>
                      <a:pt x="251" y="146"/>
                    </a:lnTo>
                    <a:lnTo>
                      <a:pt x="250" y="145"/>
                    </a:lnTo>
                    <a:lnTo>
                      <a:pt x="250" y="144"/>
                    </a:lnTo>
                    <a:lnTo>
                      <a:pt x="250" y="143"/>
                    </a:lnTo>
                    <a:lnTo>
                      <a:pt x="251" y="142"/>
                    </a:lnTo>
                    <a:lnTo>
                      <a:pt x="251" y="141"/>
                    </a:lnTo>
                    <a:lnTo>
                      <a:pt x="251" y="140"/>
                    </a:lnTo>
                    <a:lnTo>
                      <a:pt x="250" y="140"/>
                    </a:lnTo>
                    <a:lnTo>
                      <a:pt x="250" y="141"/>
                    </a:lnTo>
                    <a:lnTo>
                      <a:pt x="249" y="142"/>
                    </a:lnTo>
                    <a:lnTo>
                      <a:pt x="248" y="142"/>
                    </a:lnTo>
                    <a:lnTo>
                      <a:pt x="247" y="141"/>
                    </a:lnTo>
                    <a:lnTo>
                      <a:pt x="246" y="140"/>
                    </a:lnTo>
                    <a:lnTo>
                      <a:pt x="246" y="139"/>
                    </a:lnTo>
                    <a:lnTo>
                      <a:pt x="245" y="139"/>
                    </a:lnTo>
                    <a:lnTo>
                      <a:pt x="244" y="139"/>
                    </a:lnTo>
                    <a:lnTo>
                      <a:pt x="244" y="140"/>
                    </a:lnTo>
                    <a:lnTo>
                      <a:pt x="245" y="140"/>
                    </a:lnTo>
                    <a:lnTo>
                      <a:pt x="245" y="141"/>
                    </a:lnTo>
                    <a:lnTo>
                      <a:pt x="245" y="142"/>
                    </a:lnTo>
                    <a:lnTo>
                      <a:pt x="244" y="143"/>
                    </a:lnTo>
                    <a:lnTo>
                      <a:pt x="244" y="144"/>
                    </a:lnTo>
                    <a:lnTo>
                      <a:pt x="243" y="144"/>
                    </a:lnTo>
                    <a:lnTo>
                      <a:pt x="242" y="143"/>
                    </a:lnTo>
                    <a:lnTo>
                      <a:pt x="241" y="143"/>
                    </a:lnTo>
                    <a:lnTo>
                      <a:pt x="240" y="144"/>
                    </a:lnTo>
                    <a:lnTo>
                      <a:pt x="238" y="145"/>
                    </a:lnTo>
                    <a:lnTo>
                      <a:pt x="237" y="145"/>
                    </a:lnTo>
                    <a:lnTo>
                      <a:pt x="236" y="145"/>
                    </a:lnTo>
                    <a:lnTo>
                      <a:pt x="236" y="146"/>
                    </a:lnTo>
                    <a:lnTo>
                      <a:pt x="235" y="147"/>
                    </a:lnTo>
                    <a:lnTo>
                      <a:pt x="235" y="148"/>
                    </a:lnTo>
                    <a:lnTo>
                      <a:pt x="234" y="149"/>
                    </a:lnTo>
                    <a:lnTo>
                      <a:pt x="233" y="150"/>
                    </a:lnTo>
                    <a:lnTo>
                      <a:pt x="232" y="152"/>
                    </a:lnTo>
                    <a:lnTo>
                      <a:pt x="232" y="153"/>
                    </a:lnTo>
                    <a:lnTo>
                      <a:pt x="233" y="153"/>
                    </a:lnTo>
                    <a:lnTo>
                      <a:pt x="234" y="153"/>
                    </a:lnTo>
                    <a:lnTo>
                      <a:pt x="235" y="153"/>
                    </a:lnTo>
                    <a:lnTo>
                      <a:pt x="236" y="152"/>
                    </a:lnTo>
                    <a:lnTo>
                      <a:pt x="238" y="152"/>
                    </a:lnTo>
                    <a:lnTo>
                      <a:pt x="240" y="152"/>
                    </a:lnTo>
                    <a:lnTo>
                      <a:pt x="240" y="153"/>
                    </a:lnTo>
                    <a:lnTo>
                      <a:pt x="240" y="154"/>
                    </a:lnTo>
                    <a:lnTo>
                      <a:pt x="240" y="155"/>
                    </a:lnTo>
                    <a:lnTo>
                      <a:pt x="241" y="157"/>
                    </a:lnTo>
                    <a:lnTo>
                      <a:pt x="242" y="158"/>
                    </a:lnTo>
                    <a:lnTo>
                      <a:pt x="242" y="159"/>
                    </a:lnTo>
                    <a:lnTo>
                      <a:pt x="243" y="159"/>
                    </a:lnTo>
                    <a:lnTo>
                      <a:pt x="243" y="158"/>
                    </a:lnTo>
                    <a:lnTo>
                      <a:pt x="244" y="158"/>
                    </a:lnTo>
                    <a:lnTo>
                      <a:pt x="245" y="156"/>
                    </a:lnTo>
                    <a:lnTo>
                      <a:pt x="246" y="155"/>
                    </a:lnTo>
                    <a:lnTo>
                      <a:pt x="247" y="156"/>
                    </a:lnTo>
                    <a:lnTo>
                      <a:pt x="247" y="157"/>
                    </a:lnTo>
                    <a:lnTo>
                      <a:pt x="246" y="158"/>
                    </a:lnTo>
                    <a:lnTo>
                      <a:pt x="245" y="158"/>
                    </a:lnTo>
                    <a:lnTo>
                      <a:pt x="245" y="159"/>
                    </a:lnTo>
                    <a:lnTo>
                      <a:pt x="244" y="160"/>
                    </a:lnTo>
                    <a:lnTo>
                      <a:pt x="245" y="161"/>
                    </a:lnTo>
                    <a:lnTo>
                      <a:pt x="245" y="162"/>
                    </a:lnTo>
                    <a:lnTo>
                      <a:pt x="246" y="164"/>
                    </a:lnTo>
                    <a:lnTo>
                      <a:pt x="246" y="165"/>
                    </a:lnTo>
                    <a:lnTo>
                      <a:pt x="247" y="165"/>
                    </a:lnTo>
                    <a:lnTo>
                      <a:pt x="247" y="166"/>
                    </a:lnTo>
                    <a:lnTo>
                      <a:pt x="247" y="167"/>
                    </a:lnTo>
                    <a:lnTo>
                      <a:pt x="250" y="168"/>
                    </a:lnTo>
                    <a:lnTo>
                      <a:pt x="251" y="169"/>
                    </a:lnTo>
                    <a:lnTo>
                      <a:pt x="251" y="170"/>
                    </a:lnTo>
                    <a:lnTo>
                      <a:pt x="253" y="170"/>
                    </a:lnTo>
                    <a:lnTo>
                      <a:pt x="254" y="171"/>
                    </a:lnTo>
                    <a:lnTo>
                      <a:pt x="254" y="172"/>
                    </a:lnTo>
                    <a:lnTo>
                      <a:pt x="253" y="172"/>
                    </a:lnTo>
                    <a:lnTo>
                      <a:pt x="251" y="171"/>
                    </a:lnTo>
                    <a:lnTo>
                      <a:pt x="250" y="171"/>
                    </a:lnTo>
                    <a:lnTo>
                      <a:pt x="250" y="172"/>
                    </a:lnTo>
                    <a:lnTo>
                      <a:pt x="250" y="173"/>
                    </a:lnTo>
                    <a:lnTo>
                      <a:pt x="250" y="174"/>
                    </a:lnTo>
                    <a:lnTo>
                      <a:pt x="251" y="174"/>
                    </a:lnTo>
                    <a:lnTo>
                      <a:pt x="253" y="174"/>
                    </a:lnTo>
                    <a:lnTo>
                      <a:pt x="254" y="175"/>
                    </a:lnTo>
                    <a:lnTo>
                      <a:pt x="254" y="177"/>
                    </a:lnTo>
                    <a:lnTo>
                      <a:pt x="253" y="178"/>
                    </a:lnTo>
                    <a:lnTo>
                      <a:pt x="253" y="179"/>
                    </a:lnTo>
                    <a:lnTo>
                      <a:pt x="251" y="180"/>
                    </a:lnTo>
                    <a:lnTo>
                      <a:pt x="250" y="182"/>
                    </a:lnTo>
                    <a:lnTo>
                      <a:pt x="251" y="182"/>
                    </a:lnTo>
                    <a:lnTo>
                      <a:pt x="251" y="183"/>
                    </a:lnTo>
                    <a:lnTo>
                      <a:pt x="253" y="184"/>
                    </a:lnTo>
                    <a:lnTo>
                      <a:pt x="253" y="185"/>
                    </a:lnTo>
                    <a:lnTo>
                      <a:pt x="253" y="186"/>
                    </a:lnTo>
                    <a:lnTo>
                      <a:pt x="253" y="187"/>
                    </a:lnTo>
                    <a:lnTo>
                      <a:pt x="254" y="187"/>
                    </a:lnTo>
                    <a:lnTo>
                      <a:pt x="255" y="188"/>
                    </a:lnTo>
                    <a:lnTo>
                      <a:pt x="255" y="190"/>
                    </a:lnTo>
                    <a:lnTo>
                      <a:pt x="256" y="191"/>
                    </a:lnTo>
                    <a:lnTo>
                      <a:pt x="256" y="193"/>
                    </a:lnTo>
                    <a:lnTo>
                      <a:pt x="254" y="193"/>
                    </a:lnTo>
                    <a:lnTo>
                      <a:pt x="253" y="194"/>
                    </a:lnTo>
                    <a:lnTo>
                      <a:pt x="254" y="194"/>
                    </a:lnTo>
                    <a:lnTo>
                      <a:pt x="254" y="195"/>
                    </a:lnTo>
                    <a:lnTo>
                      <a:pt x="253" y="196"/>
                    </a:lnTo>
                    <a:lnTo>
                      <a:pt x="253" y="197"/>
                    </a:lnTo>
                    <a:lnTo>
                      <a:pt x="254" y="198"/>
                    </a:lnTo>
                    <a:lnTo>
                      <a:pt x="254" y="199"/>
                    </a:lnTo>
                    <a:lnTo>
                      <a:pt x="255" y="199"/>
                    </a:lnTo>
                    <a:lnTo>
                      <a:pt x="255" y="200"/>
                    </a:lnTo>
                    <a:lnTo>
                      <a:pt x="253" y="201"/>
                    </a:lnTo>
                    <a:lnTo>
                      <a:pt x="251" y="203"/>
                    </a:lnTo>
                    <a:lnTo>
                      <a:pt x="251" y="204"/>
                    </a:lnTo>
                    <a:lnTo>
                      <a:pt x="251" y="205"/>
                    </a:lnTo>
                    <a:lnTo>
                      <a:pt x="253" y="205"/>
                    </a:lnTo>
                    <a:lnTo>
                      <a:pt x="254" y="205"/>
                    </a:lnTo>
                    <a:lnTo>
                      <a:pt x="255" y="206"/>
                    </a:lnTo>
                    <a:lnTo>
                      <a:pt x="254" y="206"/>
                    </a:lnTo>
                    <a:lnTo>
                      <a:pt x="254" y="207"/>
                    </a:lnTo>
                    <a:lnTo>
                      <a:pt x="253" y="208"/>
                    </a:lnTo>
                    <a:lnTo>
                      <a:pt x="255" y="211"/>
                    </a:lnTo>
                    <a:lnTo>
                      <a:pt x="256" y="211"/>
                    </a:lnTo>
                    <a:lnTo>
                      <a:pt x="257" y="211"/>
                    </a:lnTo>
                    <a:lnTo>
                      <a:pt x="257" y="212"/>
                    </a:lnTo>
                    <a:lnTo>
                      <a:pt x="257" y="213"/>
                    </a:lnTo>
                    <a:lnTo>
                      <a:pt x="257" y="214"/>
                    </a:lnTo>
                    <a:lnTo>
                      <a:pt x="258" y="216"/>
                    </a:lnTo>
                    <a:lnTo>
                      <a:pt x="259" y="217"/>
                    </a:lnTo>
                    <a:lnTo>
                      <a:pt x="258" y="219"/>
                    </a:lnTo>
                    <a:lnTo>
                      <a:pt x="258" y="220"/>
                    </a:lnTo>
                    <a:lnTo>
                      <a:pt x="259" y="221"/>
                    </a:lnTo>
                    <a:lnTo>
                      <a:pt x="249" y="221"/>
                    </a:lnTo>
                    <a:lnTo>
                      <a:pt x="250" y="252"/>
                    </a:lnTo>
                    <a:lnTo>
                      <a:pt x="230" y="252"/>
                    </a:lnTo>
                    <a:lnTo>
                      <a:pt x="229" y="252"/>
                    </a:lnTo>
                    <a:lnTo>
                      <a:pt x="227" y="252"/>
                    </a:lnTo>
                    <a:lnTo>
                      <a:pt x="222" y="252"/>
                    </a:lnTo>
                    <a:lnTo>
                      <a:pt x="192" y="252"/>
                    </a:lnTo>
                    <a:lnTo>
                      <a:pt x="190" y="252"/>
                    </a:lnTo>
                    <a:lnTo>
                      <a:pt x="189" y="252"/>
                    </a:lnTo>
                    <a:lnTo>
                      <a:pt x="178" y="252"/>
                    </a:lnTo>
                    <a:lnTo>
                      <a:pt x="170" y="252"/>
                    </a:lnTo>
                    <a:lnTo>
                      <a:pt x="144" y="252"/>
                    </a:lnTo>
                    <a:lnTo>
                      <a:pt x="115" y="252"/>
                    </a:lnTo>
                    <a:lnTo>
                      <a:pt x="106" y="252"/>
                    </a:lnTo>
                    <a:lnTo>
                      <a:pt x="105" y="252"/>
                    </a:lnTo>
                    <a:lnTo>
                      <a:pt x="99" y="252"/>
                    </a:lnTo>
                    <a:lnTo>
                      <a:pt x="79" y="252"/>
                    </a:lnTo>
                    <a:lnTo>
                      <a:pt x="76" y="252"/>
                    </a:lnTo>
                    <a:lnTo>
                      <a:pt x="75" y="252"/>
                    </a:lnTo>
                    <a:lnTo>
                      <a:pt x="70" y="252"/>
                    </a:lnTo>
                    <a:lnTo>
                      <a:pt x="69" y="252"/>
                    </a:lnTo>
                    <a:lnTo>
                      <a:pt x="68" y="252"/>
                    </a:lnTo>
                    <a:lnTo>
                      <a:pt x="62" y="252"/>
                    </a:lnTo>
                    <a:lnTo>
                      <a:pt x="40" y="252"/>
                    </a:lnTo>
                    <a:lnTo>
                      <a:pt x="38" y="252"/>
                    </a:lnTo>
                    <a:lnTo>
                      <a:pt x="20" y="252"/>
                    </a:lnTo>
                    <a:lnTo>
                      <a:pt x="18" y="252"/>
                    </a:lnTo>
                    <a:lnTo>
                      <a:pt x="7" y="252"/>
                    </a:lnTo>
                    <a:lnTo>
                      <a:pt x="0" y="252"/>
                    </a:lnTo>
                    <a:lnTo>
                      <a:pt x="0" y="243"/>
                    </a:lnTo>
                    <a:lnTo>
                      <a:pt x="0" y="241"/>
                    </a:lnTo>
                    <a:lnTo>
                      <a:pt x="0" y="213"/>
                    </a:lnTo>
                    <a:lnTo>
                      <a:pt x="0" y="206"/>
                    </a:lnTo>
                    <a:lnTo>
                      <a:pt x="0" y="166"/>
                    </a:lnTo>
                    <a:lnTo>
                      <a:pt x="1" y="134"/>
                    </a:lnTo>
                    <a:lnTo>
                      <a:pt x="0" y="119"/>
                    </a:lnTo>
                    <a:lnTo>
                      <a:pt x="0" y="109"/>
                    </a:lnTo>
                    <a:lnTo>
                      <a:pt x="0" y="100"/>
                    </a:lnTo>
                    <a:lnTo>
                      <a:pt x="0" y="94"/>
                    </a:lnTo>
                    <a:lnTo>
                      <a:pt x="0" y="92"/>
                    </a:lnTo>
                    <a:lnTo>
                      <a:pt x="0" y="65"/>
                    </a:lnTo>
                    <a:lnTo>
                      <a:pt x="0" y="49"/>
                    </a:lnTo>
                    <a:lnTo>
                      <a:pt x="0" y="47"/>
                    </a:lnTo>
                    <a:lnTo>
                      <a:pt x="0" y="46"/>
                    </a:lnTo>
                    <a:lnTo>
                      <a:pt x="0" y="43"/>
                    </a:lnTo>
                    <a:lnTo>
                      <a:pt x="1" y="39"/>
                    </a:lnTo>
                    <a:lnTo>
                      <a:pt x="0" y="26"/>
                    </a:lnTo>
                    <a:lnTo>
                      <a:pt x="0" y="21"/>
                    </a:lnTo>
                    <a:lnTo>
                      <a:pt x="0" y="19"/>
                    </a:lnTo>
                    <a:lnTo>
                      <a:pt x="0" y="13"/>
                    </a:lnTo>
                    <a:lnTo>
                      <a:pt x="0" y="7"/>
                    </a:lnTo>
                    <a:lnTo>
                      <a:pt x="0" y="0"/>
                    </a:lnTo>
                    <a:lnTo>
                      <a:pt x="7" y="0"/>
                    </a:lnTo>
                    <a:lnTo>
                      <a:pt x="31" y="0"/>
                    </a:lnTo>
                    <a:lnTo>
                      <a:pt x="38" y="0"/>
                    </a:lnTo>
                    <a:lnTo>
                      <a:pt x="39" y="0"/>
                    </a:lnTo>
                    <a:lnTo>
                      <a:pt x="42" y="0"/>
                    </a:lnTo>
                    <a:lnTo>
                      <a:pt x="90" y="0"/>
                    </a:lnTo>
                    <a:lnTo>
                      <a:pt x="91" y="0"/>
                    </a:lnTo>
                    <a:lnTo>
                      <a:pt x="91" y="2"/>
                    </a:lnTo>
                    <a:lnTo>
                      <a:pt x="91" y="3"/>
                    </a:lnTo>
                    <a:lnTo>
                      <a:pt x="92" y="4"/>
                    </a:lnTo>
                    <a:lnTo>
                      <a:pt x="93" y="5"/>
                    </a:lnTo>
                    <a:lnTo>
                      <a:pt x="94" y="6"/>
                    </a:lnTo>
                    <a:lnTo>
                      <a:pt x="95" y="7"/>
                    </a:lnTo>
                    <a:lnTo>
                      <a:pt x="96" y="7"/>
                    </a:lnTo>
                    <a:lnTo>
                      <a:pt x="98" y="8"/>
                    </a:lnTo>
                    <a:lnTo>
                      <a:pt x="99" y="10"/>
                    </a:lnTo>
                    <a:lnTo>
                      <a:pt x="99" y="11"/>
                    </a:lnTo>
                    <a:lnTo>
                      <a:pt x="98" y="12"/>
                    </a:lnTo>
                    <a:lnTo>
                      <a:pt x="98" y="13"/>
                    </a:lnTo>
                    <a:lnTo>
                      <a:pt x="99" y="13"/>
                    </a:lnTo>
                    <a:lnTo>
                      <a:pt x="115" y="13"/>
                    </a:lnTo>
                    <a:lnTo>
                      <a:pt x="121" y="13"/>
                    </a:lnTo>
                    <a:lnTo>
                      <a:pt x="127" y="13"/>
                    </a:lnTo>
                    <a:lnTo>
                      <a:pt x="127" y="0"/>
                    </a:lnTo>
                    <a:lnTo>
                      <a:pt x="136" y="0"/>
                    </a:lnTo>
                    <a:lnTo>
                      <a:pt x="137" y="0"/>
                    </a:lnTo>
                    <a:lnTo>
                      <a:pt x="138" y="0"/>
                    </a:lnTo>
                    <a:lnTo>
                      <a:pt x="139" y="0"/>
                    </a:lnTo>
                    <a:lnTo>
                      <a:pt x="158" y="0"/>
                    </a:lnTo>
                    <a:lnTo>
                      <a:pt x="170" y="0"/>
                    </a:lnTo>
                    <a:close/>
                  </a:path>
                </a:pathLst>
              </a:custGeom>
              <a:solidFill>
                <a:srgbClr val="B1D5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1" name="Freeform 51">
                <a:extLst>
                  <a:ext uri="{FF2B5EF4-FFF2-40B4-BE49-F238E27FC236}">
                    <a16:creationId xmlns:a16="http://schemas.microsoft.com/office/drawing/2014/main" id="{BFBE3ED5-3F25-D71B-3184-6F861C7926D6}"/>
                  </a:ext>
                </a:extLst>
              </p:cNvPr>
              <p:cNvSpPr>
                <a:spLocks/>
              </p:cNvSpPr>
              <p:nvPr/>
            </p:nvSpPr>
            <p:spPr bwMode="auto">
              <a:xfrm>
                <a:off x="3195638" y="1838325"/>
                <a:ext cx="469900" cy="612775"/>
              </a:xfrm>
              <a:custGeom>
                <a:avLst/>
                <a:gdLst>
                  <a:gd name="T0" fmla="*/ 280 w 296"/>
                  <a:gd name="T1" fmla="*/ 14 h 386"/>
                  <a:gd name="T2" fmla="*/ 292 w 296"/>
                  <a:gd name="T3" fmla="*/ 35 h 386"/>
                  <a:gd name="T4" fmla="*/ 274 w 296"/>
                  <a:gd name="T5" fmla="*/ 30 h 386"/>
                  <a:gd name="T6" fmla="*/ 273 w 296"/>
                  <a:gd name="T7" fmla="*/ 47 h 386"/>
                  <a:gd name="T8" fmla="*/ 282 w 296"/>
                  <a:gd name="T9" fmla="*/ 65 h 386"/>
                  <a:gd name="T10" fmla="*/ 263 w 296"/>
                  <a:gd name="T11" fmla="*/ 75 h 386"/>
                  <a:gd name="T12" fmla="*/ 248 w 296"/>
                  <a:gd name="T13" fmla="*/ 82 h 386"/>
                  <a:gd name="T14" fmla="*/ 245 w 296"/>
                  <a:gd name="T15" fmla="*/ 112 h 386"/>
                  <a:gd name="T16" fmla="*/ 241 w 296"/>
                  <a:gd name="T17" fmla="*/ 121 h 386"/>
                  <a:gd name="T18" fmla="*/ 257 w 296"/>
                  <a:gd name="T19" fmla="*/ 121 h 386"/>
                  <a:gd name="T20" fmla="*/ 237 w 296"/>
                  <a:gd name="T21" fmla="*/ 140 h 386"/>
                  <a:gd name="T22" fmla="*/ 270 w 296"/>
                  <a:gd name="T23" fmla="*/ 174 h 386"/>
                  <a:gd name="T24" fmla="*/ 262 w 296"/>
                  <a:gd name="T25" fmla="*/ 191 h 386"/>
                  <a:gd name="T26" fmla="*/ 264 w 296"/>
                  <a:gd name="T27" fmla="*/ 211 h 386"/>
                  <a:gd name="T28" fmla="*/ 267 w 296"/>
                  <a:gd name="T29" fmla="*/ 223 h 386"/>
                  <a:gd name="T30" fmla="*/ 269 w 296"/>
                  <a:gd name="T31" fmla="*/ 238 h 386"/>
                  <a:gd name="T32" fmla="*/ 263 w 296"/>
                  <a:gd name="T33" fmla="*/ 261 h 386"/>
                  <a:gd name="T34" fmla="*/ 268 w 296"/>
                  <a:gd name="T35" fmla="*/ 287 h 386"/>
                  <a:gd name="T36" fmla="*/ 260 w 296"/>
                  <a:gd name="T37" fmla="*/ 300 h 386"/>
                  <a:gd name="T38" fmla="*/ 254 w 296"/>
                  <a:gd name="T39" fmla="*/ 324 h 386"/>
                  <a:gd name="T40" fmla="*/ 245 w 296"/>
                  <a:gd name="T41" fmla="*/ 354 h 386"/>
                  <a:gd name="T42" fmla="*/ 177 w 296"/>
                  <a:gd name="T43" fmla="*/ 314 h 386"/>
                  <a:gd name="T44" fmla="*/ 167 w 296"/>
                  <a:gd name="T45" fmla="*/ 337 h 386"/>
                  <a:gd name="T46" fmla="*/ 152 w 296"/>
                  <a:gd name="T47" fmla="*/ 351 h 386"/>
                  <a:gd name="T48" fmla="*/ 138 w 296"/>
                  <a:gd name="T49" fmla="*/ 369 h 386"/>
                  <a:gd name="T50" fmla="*/ 121 w 296"/>
                  <a:gd name="T51" fmla="*/ 378 h 386"/>
                  <a:gd name="T52" fmla="*/ 102 w 296"/>
                  <a:gd name="T53" fmla="*/ 381 h 386"/>
                  <a:gd name="T54" fmla="*/ 91 w 296"/>
                  <a:gd name="T55" fmla="*/ 374 h 386"/>
                  <a:gd name="T56" fmla="*/ 85 w 296"/>
                  <a:gd name="T57" fmla="*/ 363 h 386"/>
                  <a:gd name="T58" fmla="*/ 73 w 296"/>
                  <a:gd name="T59" fmla="*/ 349 h 386"/>
                  <a:gd name="T60" fmla="*/ 63 w 296"/>
                  <a:gd name="T61" fmla="*/ 340 h 386"/>
                  <a:gd name="T62" fmla="*/ 55 w 296"/>
                  <a:gd name="T63" fmla="*/ 326 h 386"/>
                  <a:gd name="T64" fmla="*/ 43 w 296"/>
                  <a:gd name="T65" fmla="*/ 317 h 386"/>
                  <a:gd name="T66" fmla="*/ 25 w 296"/>
                  <a:gd name="T67" fmla="*/ 304 h 386"/>
                  <a:gd name="T68" fmla="*/ 24 w 296"/>
                  <a:gd name="T69" fmla="*/ 284 h 386"/>
                  <a:gd name="T70" fmla="*/ 22 w 296"/>
                  <a:gd name="T71" fmla="*/ 265 h 386"/>
                  <a:gd name="T72" fmla="*/ 10 w 296"/>
                  <a:gd name="T73" fmla="*/ 252 h 386"/>
                  <a:gd name="T74" fmla="*/ 10 w 296"/>
                  <a:gd name="T75" fmla="*/ 236 h 386"/>
                  <a:gd name="T76" fmla="*/ 21 w 296"/>
                  <a:gd name="T77" fmla="*/ 238 h 386"/>
                  <a:gd name="T78" fmla="*/ 37 w 296"/>
                  <a:gd name="T79" fmla="*/ 228 h 386"/>
                  <a:gd name="T80" fmla="*/ 39 w 296"/>
                  <a:gd name="T81" fmla="*/ 210 h 386"/>
                  <a:gd name="T82" fmla="*/ 30 w 296"/>
                  <a:gd name="T83" fmla="*/ 199 h 386"/>
                  <a:gd name="T84" fmla="*/ 23 w 296"/>
                  <a:gd name="T85" fmla="*/ 185 h 386"/>
                  <a:gd name="T86" fmla="*/ 36 w 296"/>
                  <a:gd name="T87" fmla="*/ 170 h 386"/>
                  <a:gd name="T88" fmla="*/ 49 w 296"/>
                  <a:gd name="T89" fmla="*/ 165 h 386"/>
                  <a:gd name="T90" fmla="*/ 60 w 296"/>
                  <a:gd name="T91" fmla="*/ 161 h 386"/>
                  <a:gd name="T92" fmla="*/ 67 w 296"/>
                  <a:gd name="T93" fmla="*/ 152 h 386"/>
                  <a:gd name="T94" fmla="*/ 75 w 296"/>
                  <a:gd name="T95" fmla="*/ 134 h 386"/>
                  <a:gd name="T96" fmla="*/ 87 w 296"/>
                  <a:gd name="T97" fmla="*/ 125 h 386"/>
                  <a:gd name="T98" fmla="*/ 96 w 296"/>
                  <a:gd name="T99" fmla="*/ 118 h 386"/>
                  <a:gd name="T100" fmla="*/ 100 w 296"/>
                  <a:gd name="T101" fmla="*/ 105 h 386"/>
                  <a:gd name="T102" fmla="*/ 102 w 296"/>
                  <a:gd name="T103" fmla="*/ 90 h 386"/>
                  <a:gd name="T104" fmla="*/ 105 w 296"/>
                  <a:gd name="T105" fmla="*/ 78 h 386"/>
                  <a:gd name="T106" fmla="*/ 107 w 296"/>
                  <a:gd name="T107" fmla="*/ 63 h 386"/>
                  <a:gd name="T108" fmla="*/ 113 w 296"/>
                  <a:gd name="T109" fmla="*/ 50 h 386"/>
                  <a:gd name="T110" fmla="*/ 129 w 296"/>
                  <a:gd name="T111" fmla="*/ 50 h 386"/>
                  <a:gd name="T112" fmla="*/ 143 w 296"/>
                  <a:gd name="T113" fmla="*/ 35 h 386"/>
                  <a:gd name="T114" fmla="*/ 154 w 296"/>
                  <a:gd name="T115" fmla="*/ 23 h 386"/>
                  <a:gd name="T116" fmla="*/ 163 w 296"/>
                  <a:gd name="T117" fmla="*/ 13 h 386"/>
                  <a:gd name="T118" fmla="*/ 178 w 296"/>
                  <a:gd name="T119" fmla="*/ 8 h 386"/>
                  <a:gd name="T120" fmla="*/ 218 w 296"/>
                  <a:gd name="T121"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386">
                    <a:moveTo>
                      <a:pt x="280" y="0"/>
                    </a:moveTo>
                    <a:lnTo>
                      <a:pt x="281" y="0"/>
                    </a:lnTo>
                    <a:lnTo>
                      <a:pt x="281" y="1"/>
                    </a:lnTo>
                    <a:lnTo>
                      <a:pt x="281" y="2"/>
                    </a:lnTo>
                    <a:lnTo>
                      <a:pt x="280" y="2"/>
                    </a:lnTo>
                    <a:lnTo>
                      <a:pt x="279" y="2"/>
                    </a:lnTo>
                    <a:lnTo>
                      <a:pt x="277" y="2"/>
                    </a:lnTo>
                    <a:lnTo>
                      <a:pt x="276" y="2"/>
                    </a:lnTo>
                    <a:lnTo>
                      <a:pt x="275" y="2"/>
                    </a:lnTo>
                    <a:lnTo>
                      <a:pt x="275" y="3"/>
                    </a:lnTo>
                    <a:lnTo>
                      <a:pt x="274" y="3"/>
                    </a:lnTo>
                    <a:lnTo>
                      <a:pt x="274" y="4"/>
                    </a:lnTo>
                    <a:lnTo>
                      <a:pt x="274" y="5"/>
                    </a:lnTo>
                    <a:lnTo>
                      <a:pt x="275" y="5"/>
                    </a:lnTo>
                    <a:lnTo>
                      <a:pt x="276" y="6"/>
                    </a:lnTo>
                    <a:lnTo>
                      <a:pt x="277" y="6"/>
                    </a:lnTo>
                    <a:lnTo>
                      <a:pt x="279" y="6"/>
                    </a:lnTo>
                    <a:lnTo>
                      <a:pt x="279" y="7"/>
                    </a:lnTo>
                    <a:lnTo>
                      <a:pt x="279" y="8"/>
                    </a:lnTo>
                    <a:lnTo>
                      <a:pt x="279" y="9"/>
                    </a:lnTo>
                    <a:lnTo>
                      <a:pt x="280" y="10"/>
                    </a:lnTo>
                    <a:lnTo>
                      <a:pt x="280" y="11"/>
                    </a:lnTo>
                    <a:lnTo>
                      <a:pt x="280" y="13"/>
                    </a:lnTo>
                    <a:lnTo>
                      <a:pt x="280" y="14"/>
                    </a:lnTo>
                    <a:lnTo>
                      <a:pt x="281" y="15"/>
                    </a:lnTo>
                    <a:lnTo>
                      <a:pt x="281" y="16"/>
                    </a:lnTo>
                    <a:lnTo>
                      <a:pt x="282" y="16"/>
                    </a:lnTo>
                    <a:lnTo>
                      <a:pt x="283" y="17"/>
                    </a:lnTo>
                    <a:lnTo>
                      <a:pt x="284" y="18"/>
                    </a:lnTo>
                    <a:lnTo>
                      <a:pt x="285" y="18"/>
                    </a:lnTo>
                    <a:lnTo>
                      <a:pt x="285" y="19"/>
                    </a:lnTo>
                    <a:lnTo>
                      <a:pt x="287" y="20"/>
                    </a:lnTo>
                    <a:lnTo>
                      <a:pt x="289" y="21"/>
                    </a:lnTo>
                    <a:lnTo>
                      <a:pt x="289" y="22"/>
                    </a:lnTo>
                    <a:lnTo>
                      <a:pt x="292" y="22"/>
                    </a:lnTo>
                    <a:lnTo>
                      <a:pt x="293" y="23"/>
                    </a:lnTo>
                    <a:lnTo>
                      <a:pt x="294" y="24"/>
                    </a:lnTo>
                    <a:lnTo>
                      <a:pt x="295" y="26"/>
                    </a:lnTo>
                    <a:lnTo>
                      <a:pt x="295" y="27"/>
                    </a:lnTo>
                    <a:lnTo>
                      <a:pt x="296" y="28"/>
                    </a:lnTo>
                    <a:lnTo>
                      <a:pt x="296" y="29"/>
                    </a:lnTo>
                    <a:lnTo>
                      <a:pt x="296" y="31"/>
                    </a:lnTo>
                    <a:lnTo>
                      <a:pt x="296" y="32"/>
                    </a:lnTo>
                    <a:lnTo>
                      <a:pt x="295" y="33"/>
                    </a:lnTo>
                    <a:lnTo>
                      <a:pt x="295" y="34"/>
                    </a:lnTo>
                    <a:lnTo>
                      <a:pt x="294" y="35"/>
                    </a:lnTo>
                    <a:lnTo>
                      <a:pt x="293" y="35"/>
                    </a:lnTo>
                    <a:lnTo>
                      <a:pt x="292" y="35"/>
                    </a:lnTo>
                    <a:lnTo>
                      <a:pt x="292" y="36"/>
                    </a:lnTo>
                    <a:lnTo>
                      <a:pt x="290" y="36"/>
                    </a:lnTo>
                    <a:lnTo>
                      <a:pt x="288" y="39"/>
                    </a:lnTo>
                    <a:lnTo>
                      <a:pt x="287" y="39"/>
                    </a:lnTo>
                    <a:lnTo>
                      <a:pt x="286" y="39"/>
                    </a:lnTo>
                    <a:lnTo>
                      <a:pt x="284" y="39"/>
                    </a:lnTo>
                    <a:lnTo>
                      <a:pt x="283" y="39"/>
                    </a:lnTo>
                    <a:lnTo>
                      <a:pt x="282" y="39"/>
                    </a:lnTo>
                    <a:lnTo>
                      <a:pt x="280" y="39"/>
                    </a:lnTo>
                    <a:lnTo>
                      <a:pt x="280" y="37"/>
                    </a:lnTo>
                    <a:lnTo>
                      <a:pt x="279" y="37"/>
                    </a:lnTo>
                    <a:lnTo>
                      <a:pt x="279" y="36"/>
                    </a:lnTo>
                    <a:lnTo>
                      <a:pt x="277" y="36"/>
                    </a:lnTo>
                    <a:lnTo>
                      <a:pt x="277" y="35"/>
                    </a:lnTo>
                    <a:lnTo>
                      <a:pt x="276" y="34"/>
                    </a:lnTo>
                    <a:lnTo>
                      <a:pt x="276" y="32"/>
                    </a:lnTo>
                    <a:lnTo>
                      <a:pt x="276" y="31"/>
                    </a:lnTo>
                    <a:lnTo>
                      <a:pt x="276" y="30"/>
                    </a:lnTo>
                    <a:lnTo>
                      <a:pt x="276" y="29"/>
                    </a:lnTo>
                    <a:lnTo>
                      <a:pt x="276" y="28"/>
                    </a:lnTo>
                    <a:lnTo>
                      <a:pt x="275" y="28"/>
                    </a:lnTo>
                    <a:lnTo>
                      <a:pt x="274" y="28"/>
                    </a:lnTo>
                    <a:lnTo>
                      <a:pt x="274" y="29"/>
                    </a:lnTo>
                    <a:lnTo>
                      <a:pt x="274" y="30"/>
                    </a:lnTo>
                    <a:lnTo>
                      <a:pt x="273" y="30"/>
                    </a:lnTo>
                    <a:lnTo>
                      <a:pt x="273" y="32"/>
                    </a:lnTo>
                    <a:lnTo>
                      <a:pt x="272" y="32"/>
                    </a:lnTo>
                    <a:lnTo>
                      <a:pt x="272" y="33"/>
                    </a:lnTo>
                    <a:lnTo>
                      <a:pt x="272" y="34"/>
                    </a:lnTo>
                    <a:lnTo>
                      <a:pt x="271" y="34"/>
                    </a:lnTo>
                    <a:lnTo>
                      <a:pt x="270" y="35"/>
                    </a:lnTo>
                    <a:lnTo>
                      <a:pt x="269" y="35"/>
                    </a:lnTo>
                    <a:lnTo>
                      <a:pt x="268" y="37"/>
                    </a:lnTo>
                    <a:lnTo>
                      <a:pt x="267" y="39"/>
                    </a:lnTo>
                    <a:lnTo>
                      <a:pt x="267" y="40"/>
                    </a:lnTo>
                    <a:lnTo>
                      <a:pt x="266" y="41"/>
                    </a:lnTo>
                    <a:lnTo>
                      <a:pt x="266" y="42"/>
                    </a:lnTo>
                    <a:lnTo>
                      <a:pt x="264" y="42"/>
                    </a:lnTo>
                    <a:lnTo>
                      <a:pt x="264" y="43"/>
                    </a:lnTo>
                    <a:lnTo>
                      <a:pt x="264" y="44"/>
                    </a:lnTo>
                    <a:lnTo>
                      <a:pt x="266" y="45"/>
                    </a:lnTo>
                    <a:lnTo>
                      <a:pt x="267" y="46"/>
                    </a:lnTo>
                    <a:lnTo>
                      <a:pt x="268" y="47"/>
                    </a:lnTo>
                    <a:lnTo>
                      <a:pt x="269" y="48"/>
                    </a:lnTo>
                    <a:lnTo>
                      <a:pt x="270" y="48"/>
                    </a:lnTo>
                    <a:lnTo>
                      <a:pt x="271" y="47"/>
                    </a:lnTo>
                    <a:lnTo>
                      <a:pt x="272" y="47"/>
                    </a:lnTo>
                    <a:lnTo>
                      <a:pt x="273" y="47"/>
                    </a:lnTo>
                    <a:lnTo>
                      <a:pt x="273" y="46"/>
                    </a:lnTo>
                    <a:lnTo>
                      <a:pt x="274" y="46"/>
                    </a:lnTo>
                    <a:lnTo>
                      <a:pt x="275" y="46"/>
                    </a:lnTo>
                    <a:lnTo>
                      <a:pt x="276" y="45"/>
                    </a:lnTo>
                    <a:lnTo>
                      <a:pt x="279" y="45"/>
                    </a:lnTo>
                    <a:lnTo>
                      <a:pt x="280" y="45"/>
                    </a:lnTo>
                    <a:lnTo>
                      <a:pt x="281" y="45"/>
                    </a:lnTo>
                    <a:lnTo>
                      <a:pt x="281" y="46"/>
                    </a:lnTo>
                    <a:lnTo>
                      <a:pt x="282" y="46"/>
                    </a:lnTo>
                    <a:lnTo>
                      <a:pt x="282" y="47"/>
                    </a:lnTo>
                    <a:lnTo>
                      <a:pt x="282" y="48"/>
                    </a:lnTo>
                    <a:lnTo>
                      <a:pt x="282" y="49"/>
                    </a:lnTo>
                    <a:lnTo>
                      <a:pt x="281" y="50"/>
                    </a:lnTo>
                    <a:lnTo>
                      <a:pt x="281" y="52"/>
                    </a:lnTo>
                    <a:lnTo>
                      <a:pt x="281" y="53"/>
                    </a:lnTo>
                    <a:lnTo>
                      <a:pt x="281" y="54"/>
                    </a:lnTo>
                    <a:lnTo>
                      <a:pt x="282" y="55"/>
                    </a:lnTo>
                    <a:lnTo>
                      <a:pt x="282" y="57"/>
                    </a:lnTo>
                    <a:lnTo>
                      <a:pt x="283" y="59"/>
                    </a:lnTo>
                    <a:lnTo>
                      <a:pt x="283" y="60"/>
                    </a:lnTo>
                    <a:lnTo>
                      <a:pt x="283" y="61"/>
                    </a:lnTo>
                    <a:lnTo>
                      <a:pt x="283" y="62"/>
                    </a:lnTo>
                    <a:lnTo>
                      <a:pt x="283" y="63"/>
                    </a:lnTo>
                    <a:lnTo>
                      <a:pt x="282" y="65"/>
                    </a:lnTo>
                    <a:lnTo>
                      <a:pt x="281" y="65"/>
                    </a:lnTo>
                    <a:lnTo>
                      <a:pt x="280" y="63"/>
                    </a:lnTo>
                    <a:lnTo>
                      <a:pt x="279" y="63"/>
                    </a:lnTo>
                    <a:lnTo>
                      <a:pt x="277" y="63"/>
                    </a:lnTo>
                    <a:lnTo>
                      <a:pt x="276" y="63"/>
                    </a:lnTo>
                    <a:lnTo>
                      <a:pt x="275" y="63"/>
                    </a:lnTo>
                    <a:lnTo>
                      <a:pt x="274" y="63"/>
                    </a:lnTo>
                    <a:lnTo>
                      <a:pt x="272" y="63"/>
                    </a:lnTo>
                    <a:lnTo>
                      <a:pt x="272" y="65"/>
                    </a:lnTo>
                    <a:lnTo>
                      <a:pt x="270" y="65"/>
                    </a:lnTo>
                    <a:lnTo>
                      <a:pt x="269" y="65"/>
                    </a:lnTo>
                    <a:lnTo>
                      <a:pt x="268" y="65"/>
                    </a:lnTo>
                    <a:lnTo>
                      <a:pt x="267" y="65"/>
                    </a:lnTo>
                    <a:lnTo>
                      <a:pt x="266" y="65"/>
                    </a:lnTo>
                    <a:lnTo>
                      <a:pt x="264" y="65"/>
                    </a:lnTo>
                    <a:lnTo>
                      <a:pt x="263" y="66"/>
                    </a:lnTo>
                    <a:lnTo>
                      <a:pt x="263" y="67"/>
                    </a:lnTo>
                    <a:lnTo>
                      <a:pt x="263" y="68"/>
                    </a:lnTo>
                    <a:lnTo>
                      <a:pt x="263" y="70"/>
                    </a:lnTo>
                    <a:lnTo>
                      <a:pt x="264" y="71"/>
                    </a:lnTo>
                    <a:lnTo>
                      <a:pt x="264" y="72"/>
                    </a:lnTo>
                    <a:lnTo>
                      <a:pt x="263" y="73"/>
                    </a:lnTo>
                    <a:lnTo>
                      <a:pt x="263" y="74"/>
                    </a:lnTo>
                    <a:lnTo>
                      <a:pt x="263" y="75"/>
                    </a:lnTo>
                    <a:lnTo>
                      <a:pt x="263" y="77"/>
                    </a:lnTo>
                    <a:lnTo>
                      <a:pt x="263" y="78"/>
                    </a:lnTo>
                    <a:lnTo>
                      <a:pt x="263" y="80"/>
                    </a:lnTo>
                    <a:lnTo>
                      <a:pt x="263" y="81"/>
                    </a:lnTo>
                    <a:lnTo>
                      <a:pt x="262" y="81"/>
                    </a:lnTo>
                    <a:lnTo>
                      <a:pt x="261" y="81"/>
                    </a:lnTo>
                    <a:lnTo>
                      <a:pt x="261" y="80"/>
                    </a:lnTo>
                    <a:lnTo>
                      <a:pt x="260" y="79"/>
                    </a:lnTo>
                    <a:lnTo>
                      <a:pt x="259" y="78"/>
                    </a:lnTo>
                    <a:lnTo>
                      <a:pt x="259" y="77"/>
                    </a:lnTo>
                    <a:lnTo>
                      <a:pt x="258" y="77"/>
                    </a:lnTo>
                    <a:lnTo>
                      <a:pt x="257" y="77"/>
                    </a:lnTo>
                    <a:lnTo>
                      <a:pt x="255" y="75"/>
                    </a:lnTo>
                    <a:lnTo>
                      <a:pt x="254" y="74"/>
                    </a:lnTo>
                    <a:lnTo>
                      <a:pt x="253" y="74"/>
                    </a:lnTo>
                    <a:lnTo>
                      <a:pt x="251" y="74"/>
                    </a:lnTo>
                    <a:lnTo>
                      <a:pt x="250" y="74"/>
                    </a:lnTo>
                    <a:lnTo>
                      <a:pt x="249" y="75"/>
                    </a:lnTo>
                    <a:lnTo>
                      <a:pt x="249" y="77"/>
                    </a:lnTo>
                    <a:lnTo>
                      <a:pt x="248" y="77"/>
                    </a:lnTo>
                    <a:lnTo>
                      <a:pt x="248" y="78"/>
                    </a:lnTo>
                    <a:lnTo>
                      <a:pt x="247" y="80"/>
                    </a:lnTo>
                    <a:lnTo>
                      <a:pt x="247" y="81"/>
                    </a:lnTo>
                    <a:lnTo>
                      <a:pt x="248" y="82"/>
                    </a:lnTo>
                    <a:lnTo>
                      <a:pt x="248" y="84"/>
                    </a:lnTo>
                    <a:lnTo>
                      <a:pt x="248" y="85"/>
                    </a:lnTo>
                    <a:lnTo>
                      <a:pt x="249" y="86"/>
                    </a:lnTo>
                    <a:lnTo>
                      <a:pt x="249" y="87"/>
                    </a:lnTo>
                    <a:lnTo>
                      <a:pt x="250" y="90"/>
                    </a:lnTo>
                    <a:lnTo>
                      <a:pt x="250" y="91"/>
                    </a:lnTo>
                    <a:lnTo>
                      <a:pt x="250" y="92"/>
                    </a:lnTo>
                    <a:lnTo>
                      <a:pt x="251" y="93"/>
                    </a:lnTo>
                    <a:lnTo>
                      <a:pt x="250" y="95"/>
                    </a:lnTo>
                    <a:lnTo>
                      <a:pt x="250" y="96"/>
                    </a:lnTo>
                    <a:lnTo>
                      <a:pt x="250" y="98"/>
                    </a:lnTo>
                    <a:lnTo>
                      <a:pt x="250" y="99"/>
                    </a:lnTo>
                    <a:lnTo>
                      <a:pt x="250" y="100"/>
                    </a:lnTo>
                    <a:lnTo>
                      <a:pt x="250" y="103"/>
                    </a:lnTo>
                    <a:lnTo>
                      <a:pt x="250" y="105"/>
                    </a:lnTo>
                    <a:lnTo>
                      <a:pt x="250" y="106"/>
                    </a:lnTo>
                    <a:lnTo>
                      <a:pt x="251" y="108"/>
                    </a:lnTo>
                    <a:lnTo>
                      <a:pt x="251" y="110"/>
                    </a:lnTo>
                    <a:lnTo>
                      <a:pt x="250" y="111"/>
                    </a:lnTo>
                    <a:lnTo>
                      <a:pt x="250" y="112"/>
                    </a:lnTo>
                    <a:lnTo>
                      <a:pt x="249" y="112"/>
                    </a:lnTo>
                    <a:lnTo>
                      <a:pt x="248" y="112"/>
                    </a:lnTo>
                    <a:lnTo>
                      <a:pt x="246" y="112"/>
                    </a:lnTo>
                    <a:lnTo>
                      <a:pt x="245" y="112"/>
                    </a:lnTo>
                    <a:lnTo>
                      <a:pt x="244" y="111"/>
                    </a:lnTo>
                    <a:lnTo>
                      <a:pt x="244" y="110"/>
                    </a:lnTo>
                    <a:lnTo>
                      <a:pt x="244" y="109"/>
                    </a:lnTo>
                    <a:lnTo>
                      <a:pt x="244" y="108"/>
                    </a:lnTo>
                    <a:lnTo>
                      <a:pt x="243" y="108"/>
                    </a:lnTo>
                    <a:lnTo>
                      <a:pt x="242" y="107"/>
                    </a:lnTo>
                    <a:lnTo>
                      <a:pt x="240" y="106"/>
                    </a:lnTo>
                    <a:lnTo>
                      <a:pt x="238" y="106"/>
                    </a:lnTo>
                    <a:lnTo>
                      <a:pt x="235" y="106"/>
                    </a:lnTo>
                    <a:lnTo>
                      <a:pt x="234" y="106"/>
                    </a:lnTo>
                    <a:lnTo>
                      <a:pt x="233" y="107"/>
                    </a:lnTo>
                    <a:lnTo>
                      <a:pt x="232" y="109"/>
                    </a:lnTo>
                    <a:lnTo>
                      <a:pt x="231" y="109"/>
                    </a:lnTo>
                    <a:lnTo>
                      <a:pt x="231" y="111"/>
                    </a:lnTo>
                    <a:lnTo>
                      <a:pt x="231" y="112"/>
                    </a:lnTo>
                    <a:lnTo>
                      <a:pt x="231" y="113"/>
                    </a:lnTo>
                    <a:lnTo>
                      <a:pt x="233" y="114"/>
                    </a:lnTo>
                    <a:lnTo>
                      <a:pt x="234" y="114"/>
                    </a:lnTo>
                    <a:lnTo>
                      <a:pt x="234" y="116"/>
                    </a:lnTo>
                    <a:lnTo>
                      <a:pt x="235" y="117"/>
                    </a:lnTo>
                    <a:lnTo>
                      <a:pt x="236" y="117"/>
                    </a:lnTo>
                    <a:lnTo>
                      <a:pt x="238" y="120"/>
                    </a:lnTo>
                    <a:lnTo>
                      <a:pt x="240" y="121"/>
                    </a:lnTo>
                    <a:lnTo>
                      <a:pt x="241" y="121"/>
                    </a:lnTo>
                    <a:lnTo>
                      <a:pt x="242" y="122"/>
                    </a:lnTo>
                    <a:lnTo>
                      <a:pt x="244" y="122"/>
                    </a:lnTo>
                    <a:lnTo>
                      <a:pt x="245" y="123"/>
                    </a:lnTo>
                    <a:lnTo>
                      <a:pt x="247" y="123"/>
                    </a:lnTo>
                    <a:lnTo>
                      <a:pt x="248" y="123"/>
                    </a:lnTo>
                    <a:lnTo>
                      <a:pt x="250" y="123"/>
                    </a:lnTo>
                    <a:lnTo>
                      <a:pt x="251" y="123"/>
                    </a:lnTo>
                    <a:lnTo>
                      <a:pt x="253" y="123"/>
                    </a:lnTo>
                    <a:lnTo>
                      <a:pt x="254" y="122"/>
                    </a:lnTo>
                    <a:lnTo>
                      <a:pt x="255" y="121"/>
                    </a:lnTo>
                    <a:lnTo>
                      <a:pt x="256" y="119"/>
                    </a:lnTo>
                    <a:lnTo>
                      <a:pt x="257" y="119"/>
                    </a:lnTo>
                    <a:lnTo>
                      <a:pt x="257" y="118"/>
                    </a:lnTo>
                    <a:lnTo>
                      <a:pt x="258" y="117"/>
                    </a:lnTo>
                    <a:lnTo>
                      <a:pt x="258" y="116"/>
                    </a:lnTo>
                    <a:lnTo>
                      <a:pt x="258" y="114"/>
                    </a:lnTo>
                    <a:lnTo>
                      <a:pt x="259" y="114"/>
                    </a:lnTo>
                    <a:lnTo>
                      <a:pt x="259" y="116"/>
                    </a:lnTo>
                    <a:lnTo>
                      <a:pt x="260" y="116"/>
                    </a:lnTo>
                    <a:lnTo>
                      <a:pt x="260" y="117"/>
                    </a:lnTo>
                    <a:lnTo>
                      <a:pt x="259" y="118"/>
                    </a:lnTo>
                    <a:lnTo>
                      <a:pt x="259" y="119"/>
                    </a:lnTo>
                    <a:lnTo>
                      <a:pt x="258" y="119"/>
                    </a:lnTo>
                    <a:lnTo>
                      <a:pt x="257" y="121"/>
                    </a:lnTo>
                    <a:lnTo>
                      <a:pt x="257" y="122"/>
                    </a:lnTo>
                    <a:lnTo>
                      <a:pt x="257" y="123"/>
                    </a:lnTo>
                    <a:lnTo>
                      <a:pt x="257" y="125"/>
                    </a:lnTo>
                    <a:lnTo>
                      <a:pt x="257" y="126"/>
                    </a:lnTo>
                    <a:lnTo>
                      <a:pt x="256" y="127"/>
                    </a:lnTo>
                    <a:lnTo>
                      <a:pt x="256" y="129"/>
                    </a:lnTo>
                    <a:lnTo>
                      <a:pt x="255" y="130"/>
                    </a:lnTo>
                    <a:lnTo>
                      <a:pt x="254" y="132"/>
                    </a:lnTo>
                    <a:lnTo>
                      <a:pt x="253" y="132"/>
                    </a:lnTo>
                    <a:lnTo>
                      <a:pt x="251" y="133"/>
                    </a:lnTo>
                    <a:lnTo>
                      <a:pt x="250" y="133"/>
                    </a:lnTo>
                    <a:lnTo>
                      <a:pt x="249" y="133"/>
                    </a:lnTo>
                    <a:lnTo>
                      <a:pt x="248" y="133"/>
                    </a:lnTo>
                    <a:lnTo>
                      <a:pt x="247" y="133"/>
                    </a:lnTo>
                    <a:lnTo>
                      <a:pt x="244" y="133"/>
                    </a:lnTo>
                    <a:lnTo>
                      <a:pt x="243" y="133"/>
                    </a:lnTo>
                    <a:lnTo>
                      <a:pt x="243" y="134"/>
                    </a:lnTo>
                    <a:lnTo>
                      <a:pt x="242" y="134"/>
                    </a:lnTo>
                    <a:lnTo>
                      <a:pt x="241" y="135"/>
                    </a:lnTo>
                    <a:lnTo>
                      <a:pt x="240" y="136"/>
                    </a:lnTo>
                    <a:lnTo>
                      <a:pt x="240" y="137"/>
                    </a:lnTo>
                    <a:lnTo>
                      <a:pt x="240" y="138"/>
                    </a:lnTo>
                    <a:lnTo>
                      <a:pt x="238" y="139"/>
                    </a:lnTo>
                    <a:lnTo>
                      <a:pt x="237" y="140"/>
                    </a:lnTo>
                    <a:lnTo>
                      <a:pt x="237" y="142"/>
                    </a:lnTo>
                    <a:lnTo>
                      <a:pt x="236" y="142"/>
                    </a:lnTo>
                    <a:lnTo>
                      <a:pt x="236" y="143"/>
                    </a:lnTo>
                    <a:lnTo>
                      <a:pt x="236" y="144"/>
                    </a:lnTo>
                    <a:lnTo>
                      <a:pt x="237" y="144"/>
                    </a:lnTo>
                    <a:lnTo>
                      <a:pt x="238" y="144"/>
                    </a:lnTo>
                    <a:lnTo>
                      <a:pt x="240" y="144"/>
                    </a:lnTo>
                    <a:lnTo>
                      <a:pt x="240" y="143"/>
                    </a:lnTo>
                    <a:lnTo>
                      <a:pt x="241" y="143"/>
                    </a:lnTo>
                    <a:lnTo>
                      <a:pt x="242" y="143"/>
                    </a:lnTo>
                    <a:lnTo>
                      <a:pt x="243" y="143"/>
                    </a:lnTo>
                    <a:lnTo>
                      <a:pt x="243" y="144"/>
                    </a:lnTo>
                    <a:lnTo>
                      <a:pt x="243" y="145"/>
                    </a:lnTo>
                    <a:lnTo>
                      <a:pt x="244" y="145"/>
                    </a:lnTo>
                    <a:lnTo>
                      <a:pt x="244" y="146"/>
                    </a:lnTo>
                    <a:lnTo>
                      <a:pt x="258" y="145"/>
                    </a:lnTo>
                    <a:lnTo>
                      <a:pt x="259" y="145"/>
                    </a:lnTo>
                    <a:lnTo>
                      <a:pt x="262" y="146"/>
                    </a:lnTo>
                    <a:lnTo>
                      <a:pt x="263" y="146"/>
                    </a:lnTo>
                    <a:lnTo>
                      <a:pt x="264" y="146"/>
                    </a:lnTo>
                    <a:lnTo>
                      <a:pt x="266" y="146"/>
                    </a:lnTo>
                    <a:lnTo>
                      <a:pt x="270" y="146"/>
                    </a:lnTo>
                    <a:lnTo>
                      <a:pt x="270" y="157"/>
                    </a:lnTo>
                    <a:lnTo>
                      <a:pt x="270" y="174"/>
                    </a:lnTo>
                    <a:lnTo>
                      <a:pt x="271" y="175"/>
                    </a:lnTo>
                    <a:lnTo>
                      <a:pt x="270" y="180"/>
                    </a:lnTo>
                    <a:lnTo>
                      <a:pt x="269" y="181"/>
                    </a:lnTo>
                    <a:lnTo>
                      <a:pt x="269" y="182"/>
                    </a:lnTo>
                    <a:lnTo>
                      <a:pt x="269" y="183"/>
                    </a:lnTo>
                    <a:lnTo>
                      <a:pt x="269" y="184"/>
                    </a:lnTo>
                    <a:lnTo>
                      <a:pt x="268" y="184"/>
                    </a:lnTo>
                    <a:lnTo>
                      <a:pt x="269" y="185"/>
                    </a:lnTo>
                    <a:lnTo>
                      <a:pt x="269" y="186"/>
                    </a:lnTo>
                    <a:lnTo>
                      <a:pt x="268" y="186"/>
                    </a:lnTo>
                    <a:lnTo>
                      <a:pt x="267" y="186"/>
                    </a:lnTo>
                    <a:lnTo>
                      <a:pt x="266" y="187"/>
                    </a:lnTo>
                    <a:lnTo>
                      <a:pt x="266" y="188"/>
                    </a:lnTo>
                    <a:lnTo>
                      <a:pt x="264" y="188"/>
                    </a:lnTo>
                    <a:lnTo>
                      <a:pt x="263" y="188"/>
                    </a:lnTo>
                    <a:lnTo>
                      <a:pt x="262" y="188"/>
                    </a:lnTo>
                    <a:lnTo>
                      <a:pt x="262" y="187"/>
                    </a:lnTo>
                    <a:lnTo>
                      <a:pt x="262" y="188"/>
                    </a:lnTo>
                    <a:lnTo>
                      <a:pt x="261" y="188"/>
                    </a:lnTo>
                    <a:lnTo>
                      <a:pt x="261" y="189"/>
                    </a:lnTo>
                    <a:lnTo>
                      <a:pt x="261" y="190"/>
                    </a:lnTo>
                    <a:lnTo>
                      <a:pt x="262" y="190"/>
                    </a:lnTo>
                    <a:lnTo>
                      <a:pt x="263" y="191"/>
                    </a:lnTo>
                    <a:lnTo>
                      <a:pt x="262" y="191"/>
                    </a:lnTo>
                    <a:lnTo>
                      <a:pt x="263" y="193"/>
                    </a:lnTo>
                    <a:lnTo>
                      <a:pt x="263" y="194"/>
                    </a:lnTo>
                    <a:lnTo>
                      <a:pt x="263" y="195"/>
                    </a:lnTo>
                    <a:lnTo>
                      <a:pt x="262" y="195"/>
                    </a:lnTo>
                    <a:lnTo>
                      <a:pt x="262" y="196"/>
                    </a:lnTo>
                    <a:lnTo>
                      <a:pt x="262" y="197"/>
                    </a:lnTo>
                    <a:lnTo>
                      <a:pt x="263" y="197"/>
                    </a:lnTo>
                    <a:lnTo>
                      <a:pt x="263" y="198"/>
                    </a:lnTo>
                    <a:lnTo>
                      <a:pt x="263" y="199"/>
                    </a:lnTo>
                    <a:lnTo>
                      <a:pt x="262" y="199"/>
                    </a:lnTo>
                    <a:lnTo>
                      <a:pt x="262" y="200"/>
                    </a:lnTo>
                    <a:lnTo>
                      <a:pt x="261" y="200"/>
                    </a:lnTo>
                    <a:lnTo>
                      <a:pt x="261" y="201"/>
                    </a:lnTo>
                    <a:lnTo>
                      <a:pt x="262" y="202"/>
                    </a:lnTo>
                    <a:lnTo>
                      <a:pt x="262" y="203"/>
                    </a:lnTo>
                    <a:lnTo>
                      <a:pt x="262" y="204"/>
                    </a:lnTo>
                    <a:lnTo>
                      <a:pt x="262" y="206"/>
                    </a:lnTo>
                    <a:lnTo>
                      <a:pt x="262" y="207"/>
                    </a:lnTo>
                    <a:lnTo>
                      <a:pt x="262" y="208"/>
                    </a:lnTo>
                    <a:lnTo>
                      <a:pt x="262" y="209"/>
                    </a:lnTo>
                    <a:lnTo>
                      <a:pt x="262" y="210"/>
                    </a:lnTo>
                    <a:lnTo>
                      <a:pt x="263" y="210"/>
                    </a:lnTo>
                    <a:lnTo>
                      <a:pt x="263" y="211"/>
                    </a:lnTo>
                    <a:lnTo>
                      <a:pt x="264" y="211"/>
                    </a:lnTo>
                    <a:lnTo>
                      <a:pt x="264" y="212"/>
                    </a:lnTo>
                    <a:lnTo>
                      <a:pt x="264" y="213"/>
                    </a:lnTo>
                    <a:lnTo>
                      <a:pt x="264" y="214"/>
                    </a:lnTo>
                    <a:lnTo>
                      <a:pt x="264" y="215"/>
                    </a:lnTo>
                    <a:lnTo>
                      <a:pt x="264" y="216"/>
                    </a:lnTo>
                    <a:lnTo>
                      <a:pt x="264" y="217"/>
                    </a:lnTo>
                    <a:lnTo>
                      <a:pt x="264" y="216"/>
                    </a:lnTo>
                    <a:lnTo>
                      <a:pt x="263" y="216"/>
                    </a:lnTo>
                    <a:lnTo>
                      <a:pt x="263" y="217"/>
                    </a:lnTo>
                    <a:lnTo>
                      <a:pt x="262" y="216"/>
                    </a:lnTo>
                    <a:lnTo>
                      <a:pt x="262" y="217"/>
                    </a:lnTo>
                    <a:lnTo>
                      <a:pt x="261" y="217"/>
                    </a:lnTo>
                    <a:lnTo>
                      <a:pt x="260" y="217"/>
                    </a:lnTo>
                    <a:lnTo>
                      <a:pt x="260" y="219"/>
                    </a:lnTo>
                    <a:lnTo>
                      <a:pt x="259" y="220"/>
                    </a:lnTo>
                    <a:lnTo>
                      <a:pt x="259" y="221"/>
                    </a:lnTo>
                    <a:lnTo>
                      <a:pt x="260" y="222"/>
                    </a:lnTo>
                    <a:lnTo>
                      <a:pt x="260" y="223"/>
                    </a:lnTo>
                    <a:lnTo>
                      <a:pt x="262" y="222"/>
                    </a:lnTo>
                    <a:lnTo>
                      <a:pt x="262" y="223"/>
                    </a:lnTo>
                    <a:lnTo>
                      <a:pt x="263" y="223"/>
                    </a:lnTo>
                    <a:lnTo>
                      <a:pt x="264" y="222"/>
                    </a:lnTo>
                    <a:lnTo>
                      <a:pt x="266" y="223"/>
                    </a:lnTo>
                    <a:lnTo>
                      <a:pt x="267" y="223"/>
                    </a:lnTo>
                    <a:lnTo>
                      <a:pt x="268" y="224"/>
                    </a:lnTo>
                    <a:lnTo>
                      <a:pt x="269" y="225"/>
                    </a:lnTo>
                    <a:lnTo>
                      <a:pt x="270" y="225"/>
                    </a:lnTo>
                    <a:lnTo>
                      <a:pt x="271" y="225"/>
                    </a:lnTo>
                    <a:lnTo>
                      <a:pt x="271" y="226"/>
                    </a:lnTo>
                    <a:lnTo>
                      <a:pt x="272" y="226"/>
                    </a:lnTo>
                    <a:lnTo>
                      <a:pt x="272" y="227"/>
                    </a:lnTo>
                    <a:lnTo>
                      <a:pt x="272" y="228"/>
                    </a:lnTo>
                    <a:lnTo>
                      <a:pt x="271" y="229"/>
                    </a:lnTo>
                    <a:lnTo>
                      <a:pt x="271" y="230"/>
                    </a:lnTo>
                    <a:lnTo>
                      <a:pt x="271" y="232"/>
                    </a:lnTo>
                    <a:lnTo>
                      <a:pt x="270" y="232"/>
                    </a:lnTo>
                    <a:lnTo>
                      <a:pt x="270" y="233"/>
                    </a:lnTo>
                    <a:lnTo>
                      <a:pt x="270" y="234"/>
                    </a:lnTo>
                    <a:lnTo>
                      <a:pt x="271" y="234"/>
                    </a:lnTo>
                    <a:lnTo>
                      <a:pt x="271" y="235"/>
                    </a:lnTo>
                    <a:lnTo>
                      <a:pt x="272" y="235"/>
                    </a:lnTo>
                    <a:lnTo>
                      <a:pt x="272" y="236"/>
                    </a:lnTo>
                    <a:lnTo>
                      <a:pt x="272" y="237"/>
                    </a:lnTo>
                    <a:lnTo>
                      <a:pt x="272" y="238"/>
                    </a:lnTo>
                    <a:lnTo>
                      <a:pt x="271" y="238"/>
                    </a:lnTo>
                    <a:lnTo>
                      <a:pt x="270" y="237"/>
                    </a:lnTo>
                    <a:lnTo>
                      <a:pt x="269" y="237"/>
                    </a:lnTo>
                    <a:lnTo>
                      <a:pt x="269" y="238"/>
                    </a:lnTo>
                    <a:lnTo>
                      <a:pt x="269" y="239"/>
                    </a:lnTo>
                    <a:lnTo>
                      <a:pt x="269" y="240"/>
                    </a:lnTo>
                    <a:lnTo>
                      <a:pt x="270" y="240"/>
                    </a:lnTo>
                    <a:lnTo>
                      <a:pt x="271" y="241"/>
                    </a:lnTo>
                    <a:lnTo>
                      <a:pt x="271" y="242"/>
                    </a:lnTo>
                    <a:lnTo>
                      <a:pt x="270" y="242"/>
                    </a:lnTo>
                    <a:lnTo>
                      <a:pt x="269" y="242"/>
                    </a:lnTo>
                    <a:lnTo>
                      <a:pt x="268" y="243"/>
                    </a:lnTo>
                    <a:lnTo>
                      <a:pt x="267" y="243"/>
                    </a:lnTo>
                    <a:lnTo>
                      <a:pt x="266" y="243"/>
                    </a:lnTo>
                    <a:lnTo>
                      <a:pt x="264" y="245"/>
                    </a:lnTo>
                    <a:lnTo>
                      <a:pt x="264" y="247"/>
                    </a:lnTo>
                    <a:lnTo>
                      <a:pt x="264" y="248"/>
                    </a:lnTo>
                    <a:lnTo>
                      <a:pt x="264" y="251"/>
                    </a:lnTo>
                    <a:lnTo>
                      <a:pt x="264" y="252"/>
                    </a:lnTo>
                    <a:lnTo>
                      <a:pt x="264" y="253"/>
                    </a:lnTo>
                    <a:lnTo>
                      <a:pt x="263" y="253"/>
                    </a:lnTo>
                    <a:lnTo>
                      <a:pt x="263" y="254"/>
                    </a:lnTo>
                    <a:lnTo>
                      <a:pt x="262" y="255"/>
                    </a:lnTo>
                    <a:lnTo>
                      <a:pt x="263" y="257"/>
                    </a:lnTo>
                    <a:lnTo>
                      <a:pt x="264" y="258"/>
                    </a:lnTo>
                    <a:lnTo>
                      <a:pt x="264" y="259"/>
                    </a:lnTo>
                    <a:lnTo>
                      <a:pt x="264" y="260"/>
                    </a:lnTo>
                    <a:lnTo>
                      <a:pt x="263" y="261"/>
                    </a:lnTo>
                    <a:lnTo>
                      <a:pt x="262" y="262"/>
                    </a:lnTo>
                    <a:lnTo>
                      <a:pt x="262" y="263"/>
                    </a:lnTo>
                    <a:lnTo>
                      <a:pt x="262" y="264"/>
                    </a:lnTo>
                    <a:lnTo>
                      <a:pt x="262" y="265"/>
                    </a:lnTo>
                    <a:lnTo>
                      <a:pt x="262" y="266"/>
                    </a:lnTo>
                    <a:lnTo>
                      <a:pt x="261" y="266"/>
                    </a:lnTo>
                    <a:lnTo>
                      <a:pt x="260" y="267"/>
                    </a:lnTo>
                    <a:lnTo>
                      <a:pt x="260" y="268"/>
                    </a:lnTo>
                    <a:lnTo>
                      <a:pt x="261" y="268"/>
                    </a:lnTo>
                    <a:lnTo>
                      <a:pt x="261" y="270"/>
                    </a:lnTo>
                    <a:lnTo>
                      <a:pt x="262" y="271"/>
                    </a:lnTo>
                    <a:lnTo>
                      <a:pt x="262" y="272"/>
                    </a:lnTo>
                    <a:lnTo>
                      <a:pt x="261" y="273"/>
                    </a:lnTo>
                    <a:lnTo>
                      <a:pt x="261" y="274"/>
                    </a:lnTo>
                    <a:lnTo>
                      <a:pt x="260" y="275"/>
                    </a:lnTo>
                    <a:lnTo>
                      <a:pt x="259" y="277"/>
                    </a:lnTo>
                    <a:lnTo>
                      <a:pt x="259" y="278"/>
                    </a:lnTo>
                    <a:lnTo>
                      <a:pt x="260" y="279"/>
                    </a:lnTo>
                    <a:lnTo>
                      <a:pt x="261" y="280"/>
                    </a:lnTo>
                    <a:lnTo>
                      <a:pt x="263" y="280"/>
                    </a:lnTo>
                    <a:lnTo>
                      <a:pt x="266" y="284"/>
                    </a:lnTo>
                    <a:lnTo>
                      <a:pt x="267" y="285"/>
                    </a:lnTo>
                    <a:lnTo>
                      <a:pt x="268" y="286"/>
                    </a:lnTo>
                    <a:lnTo>
                      <a:pt x="268" y="287"/>
                    </a:lnTo>
                    <a:lnTo>
                      <a:pt x="268" y="288"/>
                    </a:lnTo>
                    <a:lnTo>
                      <a:pt x="267" y="288"/>
                    </a:lnTo>
                    <a:lnTo>
                      <a:pt x="266" y="288"/>
                    </a:lnTo>
                    <a:lnTo>
                      <a:pt x="264" y="288"/>
                    </a:lnTo>
                    <a:lnTo>
                      <a:pt x="264" y="289"/>
                    </a:lnTo>
                    <a:lnTo>
                      <a:pt x="264" y="290"/>
                    </a:lnTo>
                    <a:lnTo>
                      <a:pt x="266" y="290"/>
                    </a:lnTo>
                    <a:lnTo>
                      <a:pt x="268" y="290"/>
                    </a:lnTo>
                    <a:lnTo>
                      <a:pt x="269" y="290"/>
                    </a:lnTo>
                    <a:lnTo>
                      <a:pt x="269" y="291"/>
                    </a:lnTo>
                    <a:lnTo>
                      <a:pt x="269" y="292"/>
                    </a:lnTo>
                    <a:lnTo>
                      <a:pt x="268" y="293"/>
                    </a:lnTo>
                    <a:lnTo>
                      <a:pt x="267" y="294"/>
                    </a:lnTo>
                    <a:lnTo>
                      <a:pt x="267" y="296"/>
                    </a:lnTo>
                    <a:lnTo>
                      <a:pt x="268" y="298"/>
                    </a:lnTo>
                    <a:lnTo>
                      <a:pt x="268" y="299"/>
                    </a:lnTo>
                    <a:lnTo>
                      <a:pt x="267" y="299"/>
                    </a:lnTo>
                    <a:lnTo>
                      <a:pt x="267" y="300"/>
                    </a:lnTo>
                    <a:lnTo>
                      <a:pt x="266" y="300"/>
                    </a:lnTo>
                    <a:lnTo>
                      <a:pt x="264" y="299"/>
                    </a:lnTo>
                    <a:lnTo>
                      <a:pt x="263" y="299"/>
                    </a:lnTo>
                    <a:lnTo>
                      <a:pt x="262" y="299"/>
                    </a:lnTo>
                    <a:lnTo>
                      <a:pt x="261" y="299"/>
                    </a:lnTo>
                    <a:lnTo>
                      <a:pt x="260" y="300"/>
                    </a:lnTo>
                    <a:lnTo>
                      <a:pt x="259" y="301"/>
                    </a:lnTo>
                    <a:lnTo>
                      <a:pt x="258" y="302"/>
                    </a:lnTo>
                    <a:lnTo>
                      <a:pt x="257" y="303"/>
                    </a:lnTo>
                    <a:lnTo>
                      <a:pt x="256" y="304"/>
                    </a:lnTo>
                    <a:lnTo>
                      <a:pt x="257" y="306"/>
                    </a:lnTo>
                    <a:lnTo>
                      <a:pt x="257" y="309"/>
                    </a:lnTo>
                    <a:lnTo>
                      <a:pt x="258" y="310"/>
                    </a:lnTo>
                    <a:lnTo>
                      <a:pt x="258" y="311"/>
                    </a:lnTo>
                    <a:lnTo>
                      <a:pt x="257" y="311"/>
                    </a:lnTo>
                    <a:lnTo>
                      <a:pt x="256" y="312"/>
                    </a:lnTo>
                    <a:lnTo>
                      <a:pt x="255" y="312"/>
                    </a:lnTo>
                    <a:lnTo>
                      <a:pt x="255" y="313"/>
                    </a:lnTo>
                    <a:lnTo>
                      <a:pt x="256" y="314"/>
                    </a:lnTo>
                    <a:lnTo>
                      <a:pt x="255" y="315"/>
                    </a:lnTo>
                    <a:lnTo>
                      <a:pt x="253" y="316"/>
                    </a:lnTo>
                    <a:lnTo>
                      <a:pt x="251" y="318"/>
                    </a:lnTo>
                    <a:lnTo>
                      <a:pt x="249" y="319"/>
                    </a:lnTo>
                    <a:lnTo>
                      <a:pt x="248" y="320"/>
                    </a:lnTo>
                    <a:lnTo>
                      <a:pt x="248" y="322"/>
                    </a:lnTo>
                    <a:lnTo>
                      <a:pt x="248" y="323"/>
                    </a:lnTo>
                    <a:lnTo>
                      <a:pt x="249" y="323"/>
                    </a:lnTo>
                    <a:lnTo>
                      <a:pt x="251" y="323"/>
                    </a:lnTo>
                    <a:lnTo>
                      <a:pt x="253" y="323"/>
                    </a:lnTo>
                    <a:lnTo>
                      <a:pt x="254" y="324"/>
                    </a:lnTo>
                    <a:lnTo>
                      <a:pt x="255" y="325"/>
                    </a:lnTo>
                    <a:lnTo>
                      <a:pt x="256" y="325"/>
                    </a:lnTo>
                    <a:lnTo>
                      <a:pt x="257" y="326"/>
                    </a:lnTo>
                    <a:lnTo>
                      <a:pt x="258" y="326"/>
                    </a:lnTo>
                    <a:lnTo>
                      <a:pt x="258" y="327"/>
                    </a:lnTo>
                    <a:lnTo>
                      <a:pt x="258" y="328"/>
                    </a:lnTo>
                    <a:lnTo>
                      <a:pt x="259" y="330"/>
                    </a:lnTo>
                    <a:lnTo>
                      <a:pt x="259" y="332"/>
                    </a:lnTo>
                    <a:lnTo>
                      <a:pt x="259" y="337"/>
                    </a:lnTo>
                    <a:lnTo>
                      <a:pt x="259" y="338"/>
                    </a:lnTo>
                    <a:lnTo>
                      <a:pt x="259" y="340"/>
                    </a:lnTo>
                    <a:lnTo>
                      <a:pt x="258" y="342"/>
                    </a:lnTo>
                    <a:lnTo>
                      <a:pt x="259" y="343"/>
                    </a:lnTo>
                    <a:lnTo>
                      <a:pt x="258" y="344"/>
                    </a:lnTo>
                    <a:lnTo>
                      <a:pt x="257" y="344"/>
                    </a:lnTo>
                    <a:lnTo>
                      <a:pt x="256" y="345"/>
                    </a:lnTo>
                    <a:lnTo>
                      <a:pt x="254" y="347"/>
                    </a:lnTo>
                    <a:lnTo>
                      <a:pt x="253" y="348"/>
                    </a:lnTo>
                    <a:lnTo>
                      <a:pt x="253" y="350"/>
                    </a:lnTo>
                    <a:lnTo>
                      <a:pt x="253" y="351"/>
                    </a:lnTo>
                    <a:lnTo>
                      <a:pt x="251" y="353"/>
                    </a:lnTo>
                    <a:lnTo>
                      <a:pt x="250" y="354"/>
                    </a:lnTo>
                    <a:lnTo>
                      <a:pt x="248" y="354"/>
                    </a:lnTo>
                    <a:lnTo>
                      <a:pt x="245" y="354"/>
                    </a:lnTo>
                    <a:lnTo>
                      <a:pt x="242" y="354"/>
                    </a:lnTo>
                    <a:lnTo>
                      <a:pt x="240" y="355"/>
                    </a:lnTo>
                    <a:lnTo>
                      <a:pt x="237" y="356"/>
                    </a:lnTo>
                    <a:lnTo>
                      <a:pt x="235" y="358"/>
                    </a:lnTo>
                    <a:lnTo>
                      <a:pt x="235" y="360"/>
                    </a:lnTo>
                    <a:lnTo>
                      <a:pt x="234" y="361"/>
                    </a:lnTo>
                    <a:lnTo>
                      <a:pt x="231" y="363"/>
                    </a:lnTo>
                    <a:lnTo>
                      <a:pt x="229" y="365"/>
                    </a:lnTo>
                    <a:lnTo>
                      <a:pt x="227" y="366"/>
                    </a:lnTo>
                    <a:lnTo>
                      <a:pt x="225" y="367"/>
                    </a:lnTo>
                    <a:lnTo>
                      <a:pt x="224" y="368"/>
                    </a:lnTo>
                    <a:lnTo>
                      <a:pt x="223" y="370"/>
                    </a:lnTo>
                    <a:lnTo>
                      <a:pt x="222" y="371"/>
                    </a:lnTo>
                    <a:lnTo>
                      <a:pt x="222" y="373"/>
                    </a:lnTo>
                    <a:lnTo>
                      <a:pt x="221" y="373"/>
                    </a:lnTo>
                    <a:lnTo>
                      <a:pt x="219" y="378"/>
                    </a:lnTo>
                    <a:lnTo>
                      <a:pt x="218" y="378"/>
                    </a:lnTo>
                    <a:lnTo>
                      <a:pt x="206" y="378"/>
                    </a:lnTo>
                    <a:lnTo>
                      <a:pt x="206" y="377"/>
                    </a:lnTo>
                    <a:lnTo>
                      <a:pt x="206" y="315"/>
                    </a:lnTo>
                    <a:lnTo>
                      <a:pt x="202" y="315"/>
                    </a:lnTo>
                    <a:lnTo>
                      <a:pt x="189" y="314"/>
                    </a:lnTo>
                    <a:lnTo>
                      <a:pt x="178" y="314"/>
                    </a:lnTo>
                    <a:lnTo>
                      <a:pt x="177" y="314"/>
                    </a:lnTo>
                    <a:lnTo>
                      <a:pt x="176" y="314"/>
                    </a:lnTo>
                    <a:lnTo>
                      <a:pt x="176" y="315"/>
                    </a:lnTo>
                    <a:lnTo>
                      <a:pt x="176" y="317"/>
                    </a:lnTo>
                    <a:lnTo>
                      <a:pt x="176" y="318"/>
                    </a:lnTo>
                    <a:lnTo>
                      <a:pt x="176" y="319"/>
                    </a:lnTo>
                    <a:lnTo>
                      <a:pt x="176" y="320"/>
                    </a:lnTo>
                    <a:lnTo>
                      <a:pt x="177" y="320"/>
                    </a:lnTo>
                    <a:lnTo>
                      <a:pt x="177" y="322"/>
                    </a:lnTo>
                    <a:lnTo>
                      <a:pt x="176" y="322"/>
                    </a:lnTo>
                    <a:lnTo>
                      <a:pt x="175" y="323"/>
                    </a:lnTo>
                    <a:lnTo>
                      <a:pt x="175" y="324"/>
                    </a:lnTo>
                    <a:lnTo>
                      <a:pt x="175" y="325"/>
                    </a:lnTo>
                    <a:lnTo>
                      <a:pt x="175" y="326"/>
                    </a:lnTo>
                    <a:lnTo>
                      <a:pt x="175" y="327"/>
                    </a:lnTo>
                    <a:lnTo>
                      <a:pt x="173" y="327"/>
                    </a:lnTo>
                    <a:lnTo>
                      <a:pt x="171" y="329"/>
                    </a:lnTo>
                    <a:lnTo>
                      <a:pt x="170" y="329"/>
                    </a:lnTo>
                    <a:lnTo>
                      <a:pt x="170" y="330"/>
                    </a:lnTo>
                    <a:lnTo>
                      <a:pt x="169" y="330"/>
                    </a:lnTo>
                    <a:lnTo>
                      <a:pt x="169" y="331"/>
                    </a:lnTo>
                    <a:lnTo>
                      <a:pt x="169" y="334"/>
                    </a:lnTo>
                    <a:lnTo>
                      <a:pt x="168" y="335"/>
                    </a:lnTo>
                    <a:lnTo>
                      <a:pt x="167" y="336"/>
                    </a:lnTo>
                    <a:lnTo>
                      <a:pt x="167" y="337"/>
                    </a:lnTo>
                    <a:lnTo>
                      <a:pt x="167" y="338"/>
                    </a:lnTo>
                    <a:lnTo>
                      <a:pt x="166" y="338"/>
                    </a:lnTo>
                    <a:lnTo>
                      <a:pt x="166" y="339"/>
                    </a:lnTo>
                    <a:lnTo>
                      <a:pt x="165" y="340"/>
                    </a:lnTo>
                    <a:lnTo>
                      <a:pt x="165" y="341"/>
                    </a:lnTo>
                    <a:lnTo>
                      <a:pt x="164" y="341"/>
                    </a:lnTo>
                    <a:lnTo>
                      <a:pt x="163" y="342"/>
                    </a:lnTo>
                    <a:lnTo>
                      <a:pt x="163" y="343"/>
                    </a:lnTo>
                    <a:lnTo>
                      <a:pt x="163" y="344"/>
                    </a:lnTo>
                    <a:lnTo>
                      <a:pt x="163" y="345"/>
                    </a:lnTo>
                    <a:lnTo>
                      <a:pt x="164" y="345"/>
                    </a:lnTo>
                    <a:lnTo>
                      <a:pt x="163" y="345"/>
                    </a:lnTo>
                    <a:lnTo>
                      <a:pt x="163" y="347"/>
                    </a:lnTo>
                    <a:lnTo>
                      <a:pt x="162" y="347"/>
                    </a:lnTo>
                    <a:lnTo>
                      <a:pt x="160" y="347"/>
                    </a:lnTo>
                    <a:lnTo>
                      <a:pt x="158" y="347"/>
                    </a:lnTo>
                    <a:lnTo>
                      <a:pt x="157" y="347"/>
                    </a:lnTo>
                    <a:lnTo>
                      <a:pt x="156" y="348"/>
                    </a:lnTo>
                    <a:lnTo>
                      <a:pt x="155" y="348"/>
                    </a:lnTo>
                    <a:lnTo>
                      <a:pt x="154" y="348"/>
                    </a:lnTo>
                    <a:lnTo>
                      <a:pt x="154" y="349"/>
                    </a:lnTo>
                    <a:lnTo>
                      <a:pt x="153" y="349"/>
                    </a:lnTo>
                    <a:lnTo>
                      <a:pt x="153" y="350"/>
                    </a:lnTo>
                    <a:lnTo>
                      <a:pt x="152" y="351"/>
                    </a:lnTo>
                    <a:lnTo>
                      <a:pt x="151" y="351"/>
                    </a:lnTo>
                    <a:lnTo>
                      <a:pt x="151" y="352"/>
                    </a:lnTo>
                    <a:lnTo>
                      <a:pt x="150" y="352"/>
                    </a:lnTo>
                    <a:lnTo>
                      <a:pt x="150" y="353"/>
                    </a:lnTo>
                    <a:lnTo>
                      <a:pt x="150" y="354"/>
                    </a:lnTo>
                    <a:lnTo>
                      <a:pt x="148" y="354"/>
                    </a:lnTo>
                    <a:lnTo>
                      <a:pt x="147" y="355"/>
                    </a:lnTo>
                    <a:lnTo>
                      <a:pt x="146" y="355"/>
                    </a:lnTo>
                    <a:lnTo>
                      <a:pt x="146" y="356"/>
                    </a:lnTo>
                    <a:lnTo>
                      <a:pt x="146" y="357"/>
                    </a:lnTo>
                    <a:lnTo>
                      <a:pt x="146" y="358"/>
                    </a:lnTo>
                    <a:lnTo>
                      <a:pt x="146" y="360"/>
                    </a:lnTo>
                    <a:lnTo>
                      <a:pt x="146" y="361"/>
                    </a:lnTo>
                    <a:lnTo>
                      <a:pt x="145" y="363"/>
                    </a:lnTo>
                    <a:lnTo>
                      <a:pt x="144" y="363"/>
                    </a:lnTo>
                    <a:lnTo>
                      <a:pt x="143" y="364"/>
                    </a:lnTo>
                    <a:lnTo>
                      <a:pt x="142" y="364"/>
                    </a:lnTo>
                    <a:lnTo>
                      <a:pt x="141" y="365"/>
                    </a:lnTo>
                    <a:lnTo>
                      <a:pt x="141" y="366"/>
                    </a:lnTo>
                    <a:lnTo>
                      <a:pt x="141" y="367"/>
                    </a:lnTo>
                    <a:lnTo>
                      <a:pt x="140" y="367"/>
                    </a:lnTo>
                    <a:lnTo>
                      <a:pt x="140" y="368"/>
                    </a:lnTo>
                    <a:lnTo>
                      <a:pt x="139" y="368"/>
                    </a:lnTo>
                    <a:lnTo>
                      <a:pt x="138" y="369"/>
                    </a:lnTo>
                    <a:lnTo>
                      <a:pt x="137" y="369"/>
                    </a:lnTo>
                    <a:lnTo>
                      <a:pt x="135" y="368"/>
                    </a:lnTo>
                    <a:lnTo>
                      <a:pt x="134" y="368"/>
                    </a:lnTo>
                    <a:lnTo>
                      <a:pt x="133" y="368"/>
                    </a:lnTo>
                    <a:lnTo>
                      <a:pt x="132" y="368"/>
                    </a:lnTo>
                    <a:lnTo>
                      <a:pt x="132" y="369"/>
                    </a:lnTo>
                    <a:lnTo>
                      <a:pt x="131" y="369"/>
                    </a:lnTo>
                    <a:lnTo>
                      <a:pt x="130" y="369"/>
                    </a:lnTo>
                    <a:lnTo>
                      <a:pt x="129" y="370"/>
                    </a:lnTo>
                    <a:lnTo>
                      <a:pt x="129" y="371"/>
                    </a:lnTo>
                    <a:lnTo>
                      <a:pt x="129" y="373"/>
                    </a:lnTo>
                    <a:lnTo>
                      <a:pt x="130" y="374"/>
                    </a:lnTo>
                    <a:lnTo>
                      <a:pt x="129" y="374"/>
                    </a:lnTo>
                    <a:lnTo>
                      <a:pt x="129" y="375"/>
                    </a:lnTo>
                    <a:lnTo>
                      <a:pt x="128" y="376"/>
                    </a:lnTo>
                    <a:lnTo>
                      <a:pt x="127" y="376"/>
                    </a:lnTo>
                    <a:lnTo>
                      <a:pt x="127" y="377"/>
                    </a:lnTo>
                    <a:lnTo>
                      <a:pt x="126" y="377"/>
                    </a:lnTo>
                    <a:lnTo>
                      <a:pt x="126" y="378"/>
                    </a:lnTo>
                    <a:lnTo>
                      <a:pt x="125" y="378"/>
                    </a:lnTo>
                    <a:lnTo>
                      <a:pt x="124" y="378"/>
                    </a:lnTo>
                    <a:lnTo>
                      <a:pt x="122" y="379"/>
                    </a:lnTo>
                    <a:lnTo>
                      <a:pt x="122" y="378"/>
                    </a:lnTo>
                    <a:lnTo>
                      <a:pt x="121" y="378"/>
                    </a:lnTo>
                    <a:lnTo>
                      <a:pt x="120" y="378"/>
                    </a:lnTo>
                    <a:lnTo>
                      <a:pt x="119" y="378"/>
                    </a:lnTo>
                    <a:lnTo>
                      <a:pt x="117" y="379"/>
                    </a:lnTo>
                    <a:lnTo>
                      <a:pt x="115" y="379"/>
                    </a:lnTo>
                    <a:lnTo>
                      <a:pt x="114" y="379"/>
                    </a:lnTo>
                    <a:lnTo>
                      <a:pt x="114" y="378"/>
                    </a:lnTo>
                    <a:lnTo>
                      <a:pt x="114" y="377"/>
                    </a:lnTo>
                    <a:lnTo>
                      <a:pt x="113" y="377"/>
                    </a:lnTo>
                    <a:lnTo>
                      <a:pt x="113" y="378"/>
                    </a:lnTo>
                    <a:lnTo>
                      <a:pt x="112" y="378"/>
                    </a:lnTo>
                    <a:lnTo>
                      <a:pt x="112" y="377"/>
                    </a:lnTo>
                    <a:lnTo>
                      <a:pt x="112" y="376"/>
                    </a:lnTo>
                    <a:lnTo>
                      <a:pt x="111" y="376"/>
                    </a:lnTo>
                    <a:lnTo>
                      <a:pt x="109" y="377"/>
                    </a:lnTo>
                    <a:lnTo>
                      <a:pt x="109" y="376"/>
                    </a:lnTo>
                    <a:lnTo>
                      <a:pt x="108" y="376"/>
                    </a:lnTo>
                    <a:lnTo>
                      <a:pt x="107" y="377"/>
                    </a:lnTo>
                    <a:lnTo>
                      <a:pt x="106" y="377"/>
                    </a:lnTo>
                    <a:lnTo>
                      <a:pt x="105" y="378"/>
                    </a:lnTo>
                    <a:lnTo>
                      <a:pt x="105" y="379"/>
                    </a:lnTo>
                    <a:lnTo>
                      <a:pt x="103" y="379"/>
                    </a:lnTo>
                    <a:lnTo>
                      <a:pt x="103" y="380"/>
                    </a:lnTo>
                    <a:lnTo>
                      <a:pt x="102" y="380"/>
                    </a:lnTo>
                    <a:lnTo>
                      <a:pt x="102" y="381"/>
                    </a:lnTo>
                    <a:lnTo>
                      <a:pt x="101" y="381"/>
                    </a:lnTo>
                    <a:lnTo>
                      <a:pt x="100" y="381"/>
                    </a:lnTo>
                    <a:lnTo>
                      <a:pt x="99" y="382"/>
                    </a:lnTo>
                    <a:lnTo>
                      <a:pt x="99" y="383"/>
                    </a:lnTo>
                    <a:lnTo>
                      <a:pt x="98" y="383"/>
                    </a:lnTo>
                    <a:lnTo>
                      <a:pt x="96" y="383"/>
                    </a:lnTo>
                    <a:lnTo>
                      <a:pt x="96" y="384"/>
                    </a:lnTo>
                    <a:lnTo>
                      <a:pt x="95" y="384"/>
                    </a:lnTo>
                    <a:lnTo>
                      <a:pt x="95" y="386"/>
                    </a:lnTo>
                    <a:lnTo>
                      <a:pt x="94" y="386"/>
                    </a:lnTo>
                    <a:lnTo>
                      <a:pt x="93" y="386"/>
                    </a:lnTo>
                    <a:lnTo>
                      <a:pt x="93" y="384"/>
                    </a:lnTo>
                    <a:lnTo>
                      <a:pt x="93" y="383"/>
                    </a:lnTo>
                    <a:lnTo>
                      <a:pt x="92" y="383"/>
                    </a:lnTo>
                    <a:lnTo>
                      <a:pt x="91" y="382"/>
                    </a:lnTo>
                    <a:lnTo>
                      <a:pt x="91" y="381"/>
                    </a:lnTo>
                    <a:lnTo>
                      <a:pt x="91" y="380"/>
                    </a:lnTo>
                    <a:lnTo>
                      <a:pt x="93" y="380"/>
                    </a:lnTo>
                    <a:lnTo>
                      <a:pt x="94" y="379"/>
                    </a:lnTo>
                    <a:lnTo>
                      <a:pt x="94" y="376"/>
                    </a:lnTo>
                    <a:lnTo>
                      <a:pt x="95" y="374"/>
                    </a:lnTo>
                    <a:lnTo>
                      <a:pt x="94" y="374"/>
                    </a:lnTo>
                    <a:lnTo>
                      <a:pt x="93" y="374"/>
                    </a:lnTo>
                    <a:lnTo>
                      <a:pt x="91" y="374"/>
                    </a:lnTo>
                    <a:lnTo>
                      <a:pt x="90" y="375"/>
                    </a:lnTo>
                    <a:lnTo>
                      <a:pt x="89" y="375"/>
                    </a:lnTo>
                    <a:lnTo>
                      <a:pt x="89" y="374"/>
                    </a:lnTo>
                    <a:lnTo>
                      <a:pt x="89" y="370"/>
                    </a:lnTo>
                    <a:lnTo>
                      <a:pt x="88" y="370"/>
                    </a:lnTo>
                    <a:lnTo>
                      <a:pt x="87" y="370"/>
                    </a:lnTo>
                    <a:lnTo>
                      <a:pt x="87" y="371"/>
                    </a:lnTo>
                    <a:lnTo>
                      <a:pt x="87" y="373"/>
                    </a:lnTo>
                    <a:lnTo>
                      <a:pt x="87" y="374"/>
                    </a:lnTo>
                    <a:lnTo>
                      <a:pt x="86" y="374"/>
                    </a:lnTo>
                    <a:lnTo>
                      <a:pt x="85" y="373"/>
                    </a:lnTo>
                    <a:lnTo>
                      <a:pt x="83" y="371"/>
                    </a:lnTo>
                    <a:lnTo>
                      <a:pt x="82" y="371"/>
                    </a:lnTo>
                    <a:lnTo>
                      <a:pt x="81" y="370"/>
                    </a:lnTo>
                    <a:lnTo>
                      <a:pt x="79" y="370"/>
                    </a:lnTo>
                    <a:lnTo>
                      <a:pt x="79" y="369"/>
                    </a:lnTo>
                    <a:lnTo>
                      <a:pt x="80" y="368"/>
                    </a:lnTo>
                    <a:lnTo>
                      <a:pt x="80" y="367"/>
                    </a:lnTo>
                    <a:lnTo>
                      <a:pt x="80" y="366"/>
                    </a:lnTo>
                    <a:lnTo>
                      <a:pt x="80" y="365"/>
                    </a:lnTo>
                    <a:lnTo>
                      <a:pt x="81" y="365"/>
                    </a:lnTo>
                    <a:lnTo>
                      <a:pt x="83" y="364"/>
                    </a:lnTo>
                    <a:lnTo>
                      <a:pt x="85" y="364"/>
                    </a:lnTo>
                    <a:lnTo>
                      <a:pt x="85" y="363"/>
                    </a:lnTo>
                    <a:lnTo>
                      <a:pt x="86" y="363"/>
                    </a:lnTo>
                    <a:lnTo>
                      <a:pt x="85" y="362"/>
                    </a:lnTo>
                    <a:lnTo>
                      <a:pt x="82" y="362"/>
                    </a:lnTo>
                    <a:lnTo>
                      <a:pt x="81" y="362"/>
                    </a:lnTo>
                    <a:lnTo>
                      <a:pt x="81" y="361"/>
                    </a:lnTo>
                    <a:lnTo>
                      <a:pt x="81" y="360"/>
                    </a:lnTo>
                    <a:lnTo>
                      <a:pt x="81" y="358"/>
                    </a:lnTo>
                    <a:lnTo>
                      <a:pt x="82" y="358"/>
                    </a:lnTo>
                    <a:lnTo>
                      <a:pt x="82" y="357"/>
                    </a:lnTo>
                    <a:lnTo>
                      <a:pt x="81" y="356"/>
                    </a:lnTo>
                    <a:lnTo>
                      <a:pt x="80" y="355"/>
                    </a:lnTo>
                    <a:lnTo>
                      <a:pt x="81" y="353"/>
                    </a:lnTo>
                    <a:lnTo>
                      <a:pt x="80" y="352"/>
                    </a:lnTo>
                    <a:lnTo>
                      <a:pt x="79" y="352"/>
                    </a:lnTo>
                    <a:lnTo>
                      <a:pt x="78" y="352"/>
                    </a:lnTo>
                    <a:lnTo>
                      <a:pt x="78" y="353"/>
                    </a:lnTo>
                    <a:lnTo>
                      <a:pt x="78" y="354"/>
                    </a:lnTo>
                    <a:lnTo>
                      <a:pt x="77" y="354"/>
                    </a:lnTo>
                    <a:lnTo>
                      <a:pt x="76" y="353"/>
                    </a:lnTo>
                    <a:lnTo>
                      <a:pt x="75" y="352"/>
                    </a:lnTo>
                    <a:lnTo>
                      <a:pt x="75" y="350"/>
                    </a:lnTo>
                    <a:lnTo>
                      <a:pt x="74" y="350"/>
                    </a:lnTo>
                    <a:lnTo>
                      <a:pt x="74" y="349"/>
                    </a:lnTo>
                    <a:lnTo>
                      <a:pt x="73" y="349"/>
                    </a:lnTo>
                    <a:lnTo>
                      <a:pt x="73" y="350"/>
                    </a:lnTo>
                    <a:lnTo>
                      <a:pt x="72" y="350"/>
                    </a:lnTo>
                    <a:lnTo>
                      <a:pt x="72" y="351"/>
                    </a:lnTo>
                    <a:lnTo>
                      <a:pt x="70" y="352"/>
                    </a:lnTo>
                    <a:lnTo>
                      <a:pt x="69" y="353"/>
                    </a:lnTo>
                    <a:lnTo>
                      <a:pt x="68" y="353"/>
                    </a:lnTo>
                    <a:lnTo>
                      <a:pt x="67" y="352"/>
                    </a:lnTo>
                    <a:lnTo>
                      <a:pt x="67" y="351"/>
                    </a:lnTo>
                    <a:lnTo>
                      <a:pt x="67" y="350"/>
                    </a:lnTo>
                    <a:lnTo>
                      <a:pt x="66" y="349"/>
                    </a:lnTo>
                    <a:lnTo>
                      <a:pt x="66" y="348"/>
                    </a:lnTo>
                    <a:lnTo>
                      <a:pt x="63" y="347"/>
                    </a:lnTo>
                    <a:lnTo>
                      <a:pt x="62" y="347"/>
                    </a:lnTo>
                    <a:lnTo>
                      <a:pt x="62" y="345"/>
                    </a:lnTo>
                    <a:lnTo>
                      <a:pt x="61" y="344"/>
                    </a:lnTo>
                    <a:lnTo>
                      <a:pt x="61" y="343"/>
                    </a:lnTo>
                    <a:lnTo>
                      <a:pt x="62" y="343"/>
                    </a:lnTo>
                    <a:lnTo>
                      <a:pt x="63" y="342"/>
                    </a:lnTo>
                    <a:lnTo>
                      <a:pt x="64" y="342"/>
                    </a:lnTo>
                    <a:lnTo>
                      <a:pt x="64" y="341"/>
                    </a:lnTo>
                    <a:lnTo>
                      <a:pt x="65" y="340"/>
                    </a:lnTo>
                    <a:lnTo>
                      <a:pt x="64" y="339"/>
                    </a:lnTo>
                    <a:lnTo>
                      <a:pt x="63" y="339"/>
                    </a:lnTo>
                    <a:lnTo>
                      <a:pt x="63" y="340"/>
                    </a:lnTo>
                    <a:lnTo>
                      <a:pt x="62" y="340"/>
                    </a:lnTo>
                    <a:lnTo>
                      <a:pt x="61" y="340"/>
                    </a:lnTo>
                    <a:lnTo>
                      <a:pt x="60" y="340"/>
                    </a:lnTo>
                    <a:lnTo>
                      <a:pt x="57" y="340"/>
                    </a:lnTo>
                    <a:lnTo>
                      <a:pt x="56" y="340"/>
                    </a:lnTo>
                    <a:lnTo>
                      <a:pt x="56" y="339"/>
                    </a:lnTo>
                    <a:lnTo>
                      <a:pt x="55" y="339"/>
                    </a:lnTo>
                    <a:lnTo>
                      <a:pt x="56" y="338"/>
                    </a:lnTo>
                    <a:lnTo>
                      <a:pt x="56" y="337"/>
                    </a:lnTo>
                    <a:lnTo>
                      <a:pt x="54" y="335"/>
                    </a:lnTo>
                    <a:lnTo>
                      <a:pt x="52" y="335"/>
                    </a:lnTo>
                    <a:lnTo>
                      <a:pt x="52" y="334"/>
                    </a:lnTo>
                    <a:lnTo>
                      <a:pt x="51" y="332"/>
                    </a:lnTo>
                    <a:lnTo>
                      <a:pt x="52" y="332"/>
                    </a:lnTo>
                    <a:lnTo>
                      <a:pt x="52" y="331"/>
                    </a:lnTo>
                    <a:lnTo>
                      <a:pt x="53" y="332"/>
                    </a:lnTo>
                    <a:lnTo>
                      <a:pt x="54" y="332"/>
                    </a:lnTo>
                    <a:lnTo>
                      <a:pt x="54" y="331"/>
                    </a:lnTo>
                    <a:lnTo>
                      <a:pt x="53" y="330"/>
                    </a:lnTo>
                    <a:lnTo>
                      <a:pt x="52" y="330"/>
                    </a:lnTo>
                    <a:lnTo>
                      <a:pt x="52" y="329"/>
                    </a:lnTo>
                    <a:lnTo>
                      <a:pt x="53" y="328"/>
                    </a:lnTo>
                    <a:lnTo>
                      <a:pt x="54" y="327"/>
                    </a:lnTo>
                    <a:lnTo>
                      <a:pt x="55" y="326"/>
                    </a:lnTo>
                    <a:lnTo>
                      <a:pt x="55" y="325"/>
                    </a:lnTo>
                    <a:lnTo>
                      <a:pt x="55" y="324"/>
                    </a:lnTo>
                    <a:lnTo>
                      <a:pt x="55" y="323"/>
                    </a:lnTo>
                    <a:lnTo>
                      <a:pt x="54" y="323"/>
                    </a:lnTo>
                    <a:lnTo>
                      <a:pt x="54" y="325"/>
                    </a:lnTo>
                    <a:lnTo>
                      <a:pt x="53" y="326"/>
                    </a:lnTo>
                    <a:lnTo>
                      <a:pt x="52" y="327"/>
                    </a:lnTo>
                    <a:lnTo>
                      <a:pt x="51" y="327"/>
                    </a:lnTo>
                    <a:lnTo>
                      <a:pt x="50" y="327"/>
                    </a:lnTo>
                    <a:lnTo>
                      <a:pt x="50" y="326"/>
                    </a:lnTo>
                    <a:lnTo>
                      <a:pt x="50" y="325"/>
                    </a:lnTo>
                    <a:lnTo>
                      <a:pt x="50" y="324"/>
                    </a:lnTo>
                    <a:lnTo>
                      <a:pt x="50" y="323"/>
                    </a:lnTo>
                    <a:lnTo>
                      <a:pt x="49" y="323"/>
                    </a:lnTo>
                    <a:lnTo>
                      <a:pt x="47" y="324"/>
                    </a:lnTo>
                    <a:lnTo>
                      <a:pt x="46" y="325"/>
                    </a:lnTo>
                    <a:lnTo>
                      <a:pt x="46" y="324"/>
                    </a:lnTo>
                    <a:lnTo>
                      <a:pt x="44" y="324"/>
                    </a:lnTo>
                    <a:lnTo>
                      <a:pt x="44" y="323"/>
                    </a:lnTo>
                    <a:lnTo>
                      <a:pt x="44" y="322"/>
                    </a:lnTo>
                    <a:lnTo>
                      <a:pt x="46" y="319"/>
                    </a:lnTo>
                    <a:lnTo>
                      <a:pt x="46" y="318"/>
                    </a:lnTo>
                    <a:lnTo>
                      <a:pt x="44" y="317"/>
                    </a:lnTo>
                    <a:lnTo>
                      <a:pt x="43" y="317"/>
                    </a:lnTo>
                    <a:lnTo>
                      <a:pt x="43" y="318"/>
                    </a:lnTo>
                    <a:lnTo>
                      <a:pt x="42" y="318"/>
                    </a:lnTo>
                    <a:lnTo>
                      <a:pt x="43" y="322"/>
                    </a:lnTo>
                    <a:lnTo>
                      <a:pt x="43" y="323"/>
                    </a:lnTo>
                    <a:lnTo>
                      <a:pt x="42" y="323"/>
                    </a:lnTo>
                    <a:lnTo>
                      <a:pt x="41" y="322"/>
                    </a:lnTo>
                    <a:lnTo>
                      <a:pt x="40" y="320"/>
                    </a:lnTo>
                    <a:lnTo>
                      <a:pt x="39" y="319"/>
                    </a:lnTo>
                    <a:lnTo>
                      <a:pt x="37" y="318"/>
                    </a:lnTo>
                    <a:lnTo>
                      <a:pt x="36" y="317"/>
                    </a:lnTo>
                    <a:lnTo>
                      <a:pt x="34" y="316"/>
                    </a:lnTo>
                    <a:lnTo>
                      <a:pt x="33" y="315"/>
                    </a:lnTo>
                    <a:lnTo>
                      <a:pt x="30" y="314"/>
                    </a:lnTo>
                    <a:lnTo>
                      <a:pt x="29" y="314"/>
                    </a:lnTo>
                    <a:lnTo>
                      <a:pt x="28" y="314"/>
                    </a:lnTo>
                    <a:lnTo>
                      <a:pt x="27" y="314"/>
                    </a:lnTo>
                    <a:lnTo>
                      <a:pt x="26" y="313"/>
                    </a:lnTo>
                    <a:lnTo>
                      <a:pt x="26" y="312"/>
                    </a:lnTo>
                    <a:lnTo>
                      <a:pt x="27" y="310"/>
                    </a:lnTo>
                    <a:lnTo>
                      <a:pt x="26" y="309"/>
                    </a:lnTo>
                    <a:lnTo>
                      <a:pt x="25" y="307"/>
                    </a:lnTo>
                    <a:lnTo>
                      <a:pt x="25" y="306"/>
                    </a:lnTo>
                    <a:lnTo>
                      <a:pt x="25" y="305"/>
                    </a:lnTo>
                    <a:lnTo>
                      <a:pt x="25" y="304"/>
                    </a:lnTo>
                    <a:lnTo>
                      <a:pt x="24" y="304"/>
                    </a:lnTo>
                    <a:lnTo>
                      <a:pt x="23" y="304"/>
                    </a:lnTo>
                    <a:lnTo>
                      <a:pt x="21" y="301"/>
                    </a:lnTo>
                    <a:lnTo>
                      <a:pt x="22" y="300"/>
                    </a:lnTo>
                    <a:lnTo>
                      <a:pt x="22" y="299"/>
                    </a:lnTo>
                    <a:lnTo>
                      <a:pt x="23" y="299"/>
                    </a:lnTo>
                    <a:lnTo>
                      <a:pt x="22" y="298"/>
                    </a:lnTo>
                    <a:lnTo>
                      <a:pt x="21" y="298"/>
                    </a:lnTo>
                    <a:lnTo>
                      <a:pt x="19" y="298"/>
                    </a:lnTo>
                    <a:lnTo>
                      <a:pt x="19" y="297"/>
                    </a:lnTo>
                    <a:lnTo>
                      <a:pt x="19" y="296"/>
                    </a:lnTo>
                    <a:lnTo>
                      <a:pt x="21" y="294"/>
                    </a:lnTo>
                    <a:lnTo>
                      <a:pt x="23" y="293"/>
                    </a:lnTo>
                    <a:lnTo>
                      <a:pt x="23" y="292"/>
                    </a:lnTo>
                    <a:lnTo>
                      <a:pt x="22" y="292"/>
                    </a:lnTo>
                    <a:lnTo>
                      <a:pt x="22" y="291"/>
                    </a:lnTo>
                    <a:lnTo>
                      <a:pt x="21" y="290"/>
                    </a:lnTo>
                    <a:lnTo>
                      <a:pt x="21" y="289"/>
                    </a:lnTo>
                    <a:lnTo>
                      <a:pt x="22" y="288"/>
                    </a:lnTo>
                    <a:lnTo>
                      <a:pt x="22" y="287"/>
                    </a:lnTo>
                    <a:lnTo>
                      <a:pt x="21" y="287"/>
                    </a:lnTo>
                    <a:lnTo>
                      <a:pt x="22" y="286"/>
                    </a:lnTo>
                    <a:lnTo>
                      <a:pt x="24" y="286"/>
                    </a:lnTo>
                    <a:lnTo>
                      <a:pt x="24" y="284"/>
                    </a:lnTo>
                    <a:lnTo>
                      <a:pt x="23" y="283"/>
                    </a:lnTo>
                    <a:lnTo>
                      <a:pt x="23" y="281"/>
                    </a:lnTo>
                    <a:lnTo>
                      <a:pt x="22" y="280"/>
                    </a:lnTo>
                    <a:lnTo>
                      <a:pt x="21" y="280"/>
                    </a:lnTo>
                    <a:lnTo>
                      <a:pt x="21" y="279"/>
                    </a:lnTo>
                    <a:lnTo>
                      <a:pt x="21" y="278"/>
                    </a:lnTo>
                    <a:lnTo>
                      <a:pt x="21" y="277"/>
                    </a:lnTo>
                    <a:lnTo>
                      <a:pt x="19" y="276"/>
                    </a:lnTo>
                    <a:lnTo>
                      <a:pt x="19" y="275"/>
                    </a:lnTo>
                    <a:lnTo>
                      <a:pt x="18" y="275"/>
                    </a:lnTo>
                    <a:lnTo>
                      <a:pt x="19" y="273"/>
                    </a:lnTo>
                    <a:lnTo>
                      <a:pt x="21" y="272"/>
                    </a:lnTo>
                    <a:lnTo>
                      <a:pt x="21" y="271"/>
                    </a:lnTo>
                    <a:lnTo>
                      <a:pt x="22" y="270"/>
                    </a:lnTo>
                    <a:lnTo>
                      <a:pt x="22" y="268"/>
                    </a:lnTo>
                    <a:lnTo>
                      <a:pt x="21" y="267"/>
                    </a:lnTo>
                    <a:lnTo>
                      <a:pt x="19" y="267"/>
                    </a:lnTo>
                    <a:lnTo>
                      <a:pt x="18" y="267"/>
                    </a:lnTo>
                    <a:lnTo>
                      <a:pt x="18" y="266"/>
                    </a:lnTo>
                    <a:lnTo>
                      <a:pt x="18" y="265"/>
                    </a:lnTo>
                    <a:lnTo>
                      <a:pt x="18" y="264"/>
                    </a:lnTo>
                    <a:lnTo>
                      <a:pt x="19" y="264"/>
                    </a:lnTo>
                    <a:lnTo>
                      <a:pt x="21" y="265"/>
                    </a:lnTo>
                    <a:lnTo>
                      <a:pt x="22" y="265"/>
                    </a:lnTo>
                    <a:lnTo>
                      <a:pt x="22" y="264"/>
                    </a:lnTo>
                    <a:lnTo>
                      <a:pt x="21" y="263"/>
                    </a:lnTo>
                    <a:lnTo>
                      <a:pt x="19" y="263"/>
                    </a:lnTo>
                    <a:lnTo>
                      <a:pt x="19" y="262"/>
                    </a:lnTo>
                    <a:lnTo>
                      <a:pt x="18" y="261"/>
                    </a:lnTo>
                    <a:lnTo>
                      <a:pt x="15" y="260"/>
                    </a:lnTo>
                    <a:lnTo>
                      <a:pt x="15" y="259"/>
                    </a:lnTo>
                    <a:lnTo>
                      <a:pt x="15" y="258"/>
                    </a:lnTo>
                    <a:lnTo>
                      <a:pt x="14" y="258"/>
                    </a:lnTo>
                    <a:lnTo>
                      <a:pt x="14" y="257"/>
                    </a:lnTo>
                    <a:lnTo>
                      <a:pt x="13" y="255"/>
                    </a:lnTo>
                    <a:lnTo>
                      <a:pt x="13" y="254"/>
                    </a:lnTo>
                    <a:lnTo>
                      <a:pt x="12" y="253"/>
                    </a:lnTo>
                    <a:lnTo>
                      <a:pt x="13" y="252"/>
                    </a:lnTo>
                    <a:lnTo>
                      <a:pt x="13" y="251"/>
                    </a:lnTo>
                    <a:lnTo>
                      <a:pt x="14" y="251"/>
                    </a:lnTo>
                    <a:lnTo>
                      <a:pt x="15" y="250"/>
                    </a:lnTo>
                    <a:lnTo>
                      <a:pt x="15" y="249"/>
                    </a:lnTo>
                    <a:lnTo>
                      <a:pt x="14" y="248"/>
                    </a:lnTo>
                    <a:lnTo>
                      <a:pt x="13" y="249"/>
                    </a:lnTo>
                    <a:lnTo>
                      <a:pt x="12" y="251"/>
                    </a:lnTo>
                    <a:lnTo>
                      <a:pt x="11" y="251"/>
                    </a:lnTo>
                    <a:lnTo>
                      <a:pt x="11" y="252"/>
                    </a:lnTo>
                    <a:lnTo>
                      <a:pt x="10" y="252"/>
                    </a:lnTo>
                    <a:lnTo>
                      <a:pt x="10" y="251"/>
                    </a:lnTo>
                    <a:lnTo>
                      <a:pt x="9" y="250"/>
                    </a:lnTo>
                    <a:lnTo>
                      <a:pt x="8" y="248"/>
                    </a:lnTo>
                    <a:lnTo>
                      <a:pt x="8" y="247"/>
                    </a:lnTo>
                    <a:lnTo>
                      <a:pt x="8" y="246"/>
                    </a:lnTo>
                    <a:lnTo>
                      <a:pt x="8" y="245"/>
                    </a:lnTo>
                    <a:lnTo>
                      <a:pt x="6" y="245"/>
                    </a:lnTo>
                    <a:lnTo>
                      <a:pt x="4" y="245"/>
                    </a:lnTo>
                    <a:lnTo>
                      <a:pt x="3" y="246"/>
                    </a:lnTo>
                    <a:lnTo>
                      <a:pt x="2" y="246"/>
                    </a:lnTo>
                    <a:lnTo>
                      <a:pt x="1" y="246"/>
                    </a:lnTo>
                    <a:lnTo>
                      <a:pt x="0" y="246"/>
                    </a:lnTo>
                    <a:lnTo>
                      <a:pt x="0" y="245"/>
                    </a:lnTo>
                    <a:lnTo>
                      <a:pt x="1" y="243"/>
                    </a:lnTo>
                    <a:lnTo>
                      <a:pt x="2" y="242"/>
                    </a:lnTo>
                    <a:lnTo>
                      <a:pt x="3" y="241"/>
                    </a:lnTo>
                    <a:lnTo>
                      <a:pt x="3" y="240"/>
                    </a:lnTo>
                    <a:lnTo>
                      <a:pt x="4" y="239"/>
                    </a:lnTo>
                    <a:lnTo>
                      <a:pt x="4" y="238"/>
                    </a:lnTo>
                    <a:lnTo>
                      <a:pt x="5" y="238"/>
                    </a:lnTo>
                    <a:lnTo>
                      <a:pt x="6" y="238"/>
                    </a:lnTo>
                    <a:lnTo>
                      <a:pt x="8" y="237"/>
                    </a:lnTo>
                    <a:lnTo>
                      <a:pt x="9" y="236"/>
                    </a:lnTo>
                    <a:lnTo>
                      <a:pt x="10" y="236"/>
                    </a:lnTo>
                    <a:lnTo>
                      <a:pt x="11" y="237"/>
                    </a:lnTo>
                    <a:lnTo>
                      <a:pt x="12" y="237"/>
                    </a:lnTo>
                    <a:lnTo>
                      <a:pt x="12" y="236"/>
                    </a:lnTo>
                    <a:lnTo>
                      <a:pt x="13" y="235"/>
                    </a:lnTo>
                    <a:lnTo>
                      <a:pt x="13" y="234"/>
                    </a:lnTo>
                    <a:lnTo>
                      <a:pt x="13" y="233"/>
                    </a:lnTo>
                    <a:lnTo>
                      <a:pt x="12" y="233"/>
                    </a:lnTo>
                    <a:lnTo>
                      <a:pt x="12" y="232"/>
                    </a:lnTo>
                    <a:lnTo>
                      <a:pt x="13" y="232"/>
                    </a:lnTo>
                    <a:lnTo>
                      <a:pt x="14" y="232"/>
                    </a:lnTo>
                    <a:lnTo>
                      <a:pt x="14" y="233"/>
                    </a:lnTo>
                    <a:lnTo>
                      <a:pt x="15" y="234"/>
                    </a:lnTo>
                    <a:lnTo>
                      <a:pt x="16" y="235"/>
                    </a:lnTo>
                    <a:lnTo>
                      <a:pt x="17" y="235"/>
                    </a:lnTo>
                    <a:lnTo>
                      <a:pt x="18" y="234"/>
                    </a:lnTo>
                    <a:lnTo>
                      <a:pt x="18" y="233"/>
                    </a:lnTo>
                    <a:lnTo>
                      <a:pt x="19" y="233"/>
                    </a:lnTo>
                    <a:lnTo>
                      <a:pt x="19" y="234"/>
                    </a:lnTo>
                    <a:lnTo>
                      <a:pt x="19" y="235"/>
                    </a:lnTo>
                    <a:lnTo>
                      <a:pt x="18" y="236"/>
                    </a:lnTo>
                    <a:lnTo>
                      <a:pt x="18" y="237"/>
                    </a:lnTo>
                    <a:lnTo>
                      <a:pt x="18" y="238"/>
                    </a:lnTo>
                    <a:lnTo>
                      <a:pt x="19" y="239"/>
                    </a:lnTo>
                    <a:lnTo>
                      <a:pt x="21" y="238"/>
                    </a:lnTo>
                    <a:lnTo>
                      <a:pt x="21" y="237"/>
                    </a:lnTo>
                    <a:lnTo>
                      <a:pt x="21" y="235"/>
                    </a:lnTo>
                    <a:lnTo>
                      <a:pt x="22" y="233"/>
                    </a:lnTo>
                    <a:lnTo>
                      <a:pt x="22" y="232"/>
                    </a:lnTo>
                    <a:lnTo>
                      <a:pt x="23" y="230"/>
                    </a:lnTo>
                    <a:lnTo>
                      <a:pt x="24" y="230"/>
                    </a:lnTo>
                    <a:lnTo>
                      <a:pt x="25" y="232"/>
                    </a:lnTo>
                    <a:lnTo>
                      <a:pt x="25" y="233"/>
                    </a:lnTo>
                    <a:lnTo>
                      <a:pt x="26" y="233"/>
                    </a:lnTo>
                    <a:lnTo>
                      <a:pt x="27" y="233"/>
                    </a:lnTo>
                    <a:lnTo>
                      <a:pt x="27" y="232"/>
                    </a:lnTo>
                    <a:lnTo>
                      <a:pt x="26" y="232"/>
                    </a:lnTo>
                    <a:lnTo>
                      <a:pt x="26" y="230"/>
                    </a:lnTo>
                    <a:lnTo>
                      <a:pt x="26" y="229"/>
                    </a:lnTo>
                    <a:lnTo>
                      <a:pt x="26" y="228"/>
                    </a:lnTo>
                    <a:lnTo>
                      <a:pt x="27" y="228"/>
                    </a:lnTo>
                    <a:lnTo>
                      <a:pt x="28" y="228"/>
                    </a:lnTo>
                    <a:lnTo>
                      <a:pt x="30" y="229"/>
                    </a:lnTo>
                    <a:lnTo>
                      <a:pt x="31" y="229"/>
                    </a:lnTo>
                    <a:lnTo>
                      <a:pt x="34" y="229"/>
                    </a:lnTo>
                    <a:lnTo>
                      <a:pt x="35" y="229"/>
                    </a:lnTo>
                    <a:lnTo>
                      <a:pt x="36" y="229"/>
                    </a:lnTo>
                    <a:lnTo>
                      <a:pt x="37" y="229"/>
                    </a:lnTo>
                    <a:lnTo>
                      <a:pt x="37" y="228"/>
                    </a:lnTo>
                    <a:lnTo>
                      <a:pt x="38" y="227"/>
                    </a:lnTo>
                    <a:lnTo>
                      <a:pt x="39" y="227"/>
                    </a:lnTo>
                    <a:lnTo>
                      <a:pt x="40" y="227"/>
                    </a:lnTo>
                    <a:lnTo>
                      <a:pt x="40" y="226"/>
                    </a:lnTo>
                    <a:lnTo>
                      <a:pt x="40" y="225"/>
                    </a:lnTo>
                    <a:lnTo>
                      <a:pt x="39" y="225"/>
                    </a:lnTo>
                    <a:lnTo>
                      <a:pt x="39" y="224"/>
                    </a:lnTo>
                    <a:lnTo>
                      <a:pt x="39" y="223"/>
                    </a:lnTo>
                    <a:lnTo>
                      <a:pt x="39" y="222"/>
                    </a:lnTo>
                    <a:lnTo>
                      <a:pt x="40" y="222"/>
                    </a:lnTo>
                    <a:lnTo>
                      <a:pt x="40" y="221"/>
                    </a:lnTo>
                    <a:lnTo>
                      <a:pt x="39" y="220"/>
                    </a:lnTo>
                    <a:lnTo>
                      <a:pt x="38" y="220"/>
                    </a:lnTo>
                    <a:lnTo>
                      <a:pt x="37" y="219"/>
                    </a:lnTo>
                    <a:lnTo>
                      <a:pt x="37" y="217"/>
                    </a:lnTo>
                    <a:lnTo>
                      <a:pt x="36" y="217"/>
                    </a:lnTo>
                    <a:lnTo>
                      <a:pt x="36" y="216"/>
                    </a:lnTo>
                    <a:lnTo>
                      <a:pt x="36" y="215"/>
                    </a:lnTo>
                    <a:lnTo>
                      <a:pt x="36" y="214"/>
                    </a:lnTo>
                    <a:lnTo>
                      <a:pt x="36" y="213"/>
                    </a:lnTo>
                    <a:lnTo>
                      <a:pt x="37" y="213"/>
                    </a:lnTo>
                    <a:lnTo>
                      <a:pt x="37" y="212"/>
                    </a:lnTo>
                    <a:lnTo>
                      <a:pt x="38" y="211"/>
                    </a:lnTo>
                    <a:lnTo>
                      <a:pt x="39" y="210"/>
                    </a:lnTo>
                    <a:lnTo>
                      <a:pt x="39" y="209"/>
                    </a:lnTo>
                    <a:lnTo>
                      <a:pt x="39" y="208"/>
                    </a:lnTo>
                    <a:lnTo>
                      <a:pt x="39" y="207"/>
                    </a:lnTo>
                    <a:lnTo>
                      <a:pt x="37" y="206"/>
                    </a:lnTo>
                    <a:lnTo>
                      <a:pt x="37" y="204"/>
                    </a:lnTo>
                    <a:lnTo>
                      <a:pt x="37" y="203"/>
                    </a:lnTo>
                    <a:lnTo>
                      <a:pt x="37" y="202"/>
                    </a:lnTo>
                    <a:lnTo>
                      <a:pt x="36" y="201"/>
                    </a:lnTo>
                    <a:lnTo>
                      <a:pt x="35" y="201"/>
                    </a:lnTo>
                    <a:lnTo>
                      <a:pt x="34" y="201"/>
                    </a:lnTo>
                    <a:lnTo>
                      <a:pt x="34" y="202"/>
                    </a:lnTo>
                    <a:lnTo>
                      <a:pt x="33" y="203"/>
                    </a:lnTo>
                    <a:lnTo>
                      <a:pt x="33" y="204"/>
                    </a:lnTo>
                    <a:lnTo>
                      <a:pt x="31" y="206"/>
                    </a:lnTo>
                    <a:lnTo>
                      <a:pt x="31" y="207"/>
                    </a:lnTo>
                    <a:lnTo>
                      <a:pt x="30" y="207"/>
                    </a:lnTo>
                    <a:lnTo>
                      <a:pt x="29" y="207"/>
                    </a:lnTo>
                    <a:lnTo>
                      <a:pt x="29" y="206"/>
                    </a:lnTo>
                    <a:lnTo>
                      <a:pt x="30" y="204"/>
                    </a:lnTo>
                    <a:lnTo>
                      <a:pt x="30" y="203"/>
                    </a:lnTo>
                    <a:lnTo>
                      <a:pt x="30" y="202"/>
                    </a:lnTo>
                    <a:lnTo>
                      <a:pt x="30" y="201"/>
                    </a:lnTo>
                    <a:lnTo>
                      <a:pt x="30" y="200"/>
                    </a:lnTo>
                    <a:lnTo>
                      <a:pt x="30" y="199"/>
                    </a:lnTo>
                    <a:lnTo>
                      <a:pt x="31" y="198"/>
                    </a:lnTo>
                    <a:lnTo>
                      <a:pt x="31" y="197"/>
                    </a:lnTo>
                    <a:lnTo>
                      <a:pt x="30" y="197"/>
                    </a:lnTo>
                    <a:lnTo>
                      <a:pt x="29" y="196"/>
                    </a:lnTo>
                    <a:lnTo>
                      <a:pt x="28" y="196"/>
                    </a:lnTo>
                    <a:lnTo>
                      <a:pt x="28" y="195"/>
                    </a:lnTo>
                    <a:lnTo>
                      <a:pt x="27" y="194"/>
                    </a:lnTo>
                    <a:lnTo>
                      <a:pt x="26" y="193"/>
                    </a:lnTo>
                    <a:lnTo>
                      <a:pt x="25" y="194"/>
                    </a:lnTo>
                    <a:lnTo>
                      <a:pt x="24" y="194"/>
                    </a:lnTo>
                    <a:lnTo>
                      <a:pt x="24" y="193"/>
                    </a:lnTo>
                    <a:lnTo>
                      <a:pt x="23" y="193"/>
                    </a:lnTo>
                    <a:lnTo>
                      <a:pt x="24" y="191"/>
                    </a:lnTo>
                    <a:lnTo>
                      <a:pt x="23" y="191"/>
                    </a:lnTo>
                    <a:lnTo>
                      <a:pt x="23" y="190"/>
                    </a:lnTo>
                    <a:lnTo>
                      <a:pt x="22" y="190"/>
                    </a:lnTo>
                    <a:lnTo>
                      <a:pt x="22" y="189"/>
                    </a:lnTo>
                    <a:lnTo>
                      <a:pt x="23" y="189"/>
                    </a:lnTo>
                    <a:lnTo>
                      <a:pt x="23" y="188"/>
                    </a:lnTo>
                    <a:lnTo>
                      <a:pt x="23" y="187"/>
                    </a:lnTo>
                    <a:lnTo>
                      <a:pt x="22" y="187"/>
                    </a:lnTo>
                    <a:lnTo>
                      <a:pt x="22" y="186"/>
                    </a:lnTo>
                    <a:lnTo>
                      <a:pt x="23" y="186"/>
                    </a:lnTo>
                    <a:lnTo>
                      <a:pt x="23" y="185"/>
                    </a:lnTo>
                    <a:lnTo>
                      <a:pt x="24" y="185"/>
                    </a:lnTo>
                    <a:lnTo>
                      <a:pt x="24" y="184"/>
                    </a:lnTo>
                    <a:lnTo>
                      <a:pt x="24" y="183"/>
                    </a:lnTo>
                    <a:lnTo>
                      <a:pt x="25" y="182"/>
                    </a:lnTo>
                    <a:lnTo>
                      <a:pt x="26" y="182"/>
                    </a:lnTo>
                    <a:lnTo>
                      <a:pt x="26" y="181"/>
                    </a:lnTo>
                    <a:lnTo>
                      <a:pt x="26" y="180"/>
                    </a:lnTo>
                    <a:lnTo>
                      <a:pt x="27" y="178"/>
                    </a:lnTo>
                    <a:lnTo>
                      <a:pt x="28" y="177"/>
                    </a:lnTo>
                    <a:lnTo>
                      <a:pt x="28" y="176"/>
                    </a:lnTo>
                    <a:lnTo>
                      <a:pt x="28" y="175"/>
                    </a:lnTo>
                    <a:lnTo>
                      <a:pt x="29" y="175"/>
                    </a:lnTo>
                    <a:lnTo>
                      <a:pt x="30" y="175"/>
                    </a:lnTo>
                    <a:lnTo>
                      <a:pt x="30" y="174"/>
                    </a:lnTo>
                    <a:lnTo>
                      <a:pt x="29" y="174"/>
                    </a:lnTo>
                    <a:lnTo>
                      <a:pt x="29" y="173"/>
                    </a:lnTo>
                    <a:lnTo>
                      <a:pt x="30" y="171"/>
                    </a:lnTo>
                    <a:lnTo>
                      <a:pt x="31" y="171"/>
                    </a:lnTo>
                    <a:lnTo>
                      <a:pt x="33" y="171"/>
                    </a:lnTo>
                    <a:lnTo>
                      <a:pt x="33" y="170"/>
                    </a:lnTo>
                    <a:lnTo>
                      <a:pt x="33" y="169"/>
                    </a:lnTo>
                    <a:lnTo>
                      <a:pt x="34" y="169"/>
                    </a:lnTo>
                    <a:lnTo>
                      <a:pt x="35" y="170"/>
                    </a:lnTo>
                    <a:lnTo>
                      <a:pt x="36" y="170"/>
                    </a:lnTo>
                    <a:lnTo>
                      <a:pt x="36" y="169"/>
                    </a:lnTo>
                    <a:lnTo>
                      <a:pt x="36" y="168"/>
                    </a:lnTo>
                    <a:lnTo>
                      <a:pt x="37" y="168"/>
                    </a:lnTo>
                    <a:lnTo>
                      <a:pt x="37" y="169"/>
                    </a:lnTo>
                    <a:lnTo>
                      <a:pt x="38" y="169"/>
                    </a:lnTo>
                    <a:lnTo>
                      <a:pt x="39" y="168"/>
                    </a:lnTo>
                    <a:lnTo>
                      <a:pt x="39" y="167"/>
                    </a:lnTo>
                    <a:lnTo>
                      <a:pt x="39" y="168"/>
                    </a:lnTo>
                    <a:lnTo>
                      <a:pt x="40" y="168"/>
                    </a:lnTo>
                    <a:lnTo>
                      <a:pt x="40" y="169"/>
                    </a:lnTo>
                    <a:lnTo>
                      <a:pt x="41" y="168"/>
                    </a:lnTo>
                    <a:lnTo>
                      <a:pt x="41" y="169"/>
                    </a:lnTo>
                    <a:lnTo>
                      <a:pt x="42" y="169"/>
                    </a:lnTo>
                    <a:lnTo>
                      <a:pt x="42" y="168"/>
                    </a:lnTo>
                    <a:lnTo>
                      <a:pt x="43" y="168"/>
                    </a:lnTo>
                    <a:lnTo>
                      <a:pt x="44" y="168"/>
                    </a:lnTo>
                    <a:lnTo>
                      <a:pt x="46" y="169"/>
                    </a:lnTo>
                    <a:lnTo>
                      <a:pt x="46" y="168"/>
                    </a:lnTo>
                    <a:lnTo>
                      <a:pt x="47" y="168"/>
                    </a:lnTo>
                    <a:lnTo>
                      <a:pt x="48" y="168"/>
                    </a:lnTo>
                    <a:lnTo>
                      <a:pt x="48" y="167"/>
                    </a:lnTo>
                    <a:lnTo>
                      <a:pt x="47" y="167"/>
                    </a:lnTo>
                    <a:lnTo>
                      <a:pt x="48" y="165"/>
                    </a:lnTo>
                    <a:lnTo>
                      <a:pt x="49" y="165"/>
                    </a:lnTo>
                    <a:lnTo>
                      <a:pt x="49" y="167"/>
                    </a:lnTo>
                    <a:lnTo>
                      <a:pt x="49" y="168"/>
                    </a:lnTo>
                    <a:lnTo>
                      <a:pt x="50" y="167"/>
                    </a:lnTo>
                    <a:lnTo>
                      <a:pt x="51" y="167"/>
                    </a:lnTo>
                    <a:lnTo>
                      <a:pt x="51" y="168"/>
                    </a:lnTo>
                    <a:lnTo>
                      <a:pt x="52" y="168"/>
                    </a:lnTo>
                    <a:lnTo>
                      <a:pt x="53" y="168"/>
                    </a:lnTo>
                    <a:lnTo>
                      <a:pt x="54" y="167"/>
                    </a:lnTo>
                    <a:lnTo>
                      <a:pt x="54" y="165"/>
                    </a:lnTo>
                    <a:lnTo>
                      <a:pt x="55" y="165"/>
                    </a:lnTo>
                    <a:lnTo>
                      <a:pt x="55" y="167"/>
                    </a:lnTo>
                    <a:lnTo>
                      <a:pt x="56" y="167"/>
                    </a:lnTo>
                    <a:lnTo>
                      <a:pt x="56" y="165"/>
                    </a:lnTo>
                    <a:lnTo>
                      <a:pt x="56" y="164"/>
                    </a:lnTo>
                    <a:lnTo>
                      <a:pt x="57" y="164"/>
                    </a:lnTo>
                    <a:lnTo>
                      <a:pt x="59" y="164"/>
                    </a:lnTo>
                    <a:lnTo>
                      <a:pt x="59" y="165"/>
                    </a:lnTo>
                    <a:lnTo>
                      <a:pt x="60" y="165"/>
                    </a:lnTo>
                    <a:lnTo>
                      <a:pt x="60" y="164"/>
                    </a:lnTo>
                    <a:lnTo>
                      <a:pt x="61" y="164"/>
                    </a:lnTo>
                    <a:lnTo>
                      <a:pt x="61" y="163"/>
                    </a:lnTo>
                    <a:lnTo>
                      <a:pt x="60" y="163"/>
                    </a:lnTo>
                    <a:lnTo>
                      <a:pt x="60" y="162"/>
                    </a:lnTo>
                    <a:lnTo>
                      <a:pt x="60" y="161"/>
                    </a:lnTo>
                    <a:lnTo>
                      <a:pt x="61" y="161"/>
                    </a:lnTo>
                    <a:lnTo>
                      <a:pt x="61" y="162"/>
                    </a:lnTo>
                    <a:lnTo>
                      <a:pt x="61" y="163"/>
                    </a:lnTo>
                    <a:lnTo>
                      <a:pt x="62" y="163"/>
                    </a:lnTo>
                    <a:lnTo>
                      <a:pt x="63" y="163"/>
                    </a:lnTo>
                    <a:lnTo>
                      <a:pt x="63" y="162"/>
                    </a:lnTo>
                    <a:lnTo>
                      <a:pt x="62" y="161"/>
                    </a:lnTo>
                    <a:lnTo>
                      <a:pt x="62" y="160"/>
                    </a:lnTo>
                    <a:lnTo>
                      <a:pt x="63" y="160"/>
                    </a:lnTo>
                    <a:lnTo>
                      <a:pt x="63" y="159"/>
                    </a:lnTo>
                    <a:lnTo>
                      <a:pt x="63" y="158"/>
                    </a:lnTo>
                    <a:lnTo>
                      <a:pt x="63" y="157"/>
                    </a:lnTo>
                    <a:lnTo>
                      <a:pt x="64" y="157"/>
                    </a:lnTo>
                    <a:lnTo>
                      <a:pt x="65" y="156"/>
                    </a:lnTo>
                    <a:lnTo>
                      <a:pt x="65" y="153"/>
                    </a:lnTo>
                    <a:lnTo>
                      <a:pt x="66" y="153"/>
                    </a:lnTo>
                    <a:lnTo>
                      <a:pt x="66" y="155"/>
                    </a:lnTo>
                    <a:lnTo>
                      <a:pt x="67" y="155"/>
                    </a:lnTo>
                    <a:lnTo>
                      <a:pt x="67" y="156"/>
                    </a:lnTo>
                    <a:lnTo>
                      <a:pt x="68" y="156"/>
                    </a:lnTo>
                    <a:lnTo>
                      <a:pt x="68" y="155"/>
                    </a:lnTo>
                    <a:lnTo>
                      <a:pt x="68" y="153"/>
                    </a:lnTo>
                    <a:lnTo>
                      <a:pt x="67" y="153"/>
                    </a:lnTo>
                    <a:lnTo>
                      <a:pt x="67" y="152"/>
                    </a:lnTo>
                    <a:lnTo>
                      <a:pt x="67" y="151"/>
                    </a:lnTo>
                    <a:lnTo>
                      <a:pt x="66" y="151"/>
                    </a:lnTo>
                    <a:lnTo>
                      <a:pt x="67" y="151"/>
                    </a:lnTo>
                    <a:lnTo>
                      <a:pt x="67" y="150"/>
                    </a:lnTo>
                    <a:lnTo>
                      <a:pt x="67" y="149"/>
                    </a:lnTo>
                    <a:lnTo>
                      <a:pt x="67" y="148"/>
                    </a:lnTo>
                    <a:lnTo>
                      <a:pt x="67" y="147"/>
                    </a:lnTo>
                    <a:lnTo>
                      <a:pt x="67" y="146"/>
                    </a:lnTo>
                    <a:lnTo>
                      <a:pt x="68" y="145"/>
                    </a:lnTo>
                    <a:lnTo>
                      <a:pt x="69" y="145"/>
                    </a:lnTo>
                    <a:lnTo>
                      <a:pt x="70" y="145"/>
                    </a:lnTo>
                    <a:lnTo>
                      <a:pt x="70" y="144"/>
                    </a:lnTo>
                    <a:lnTo>
                      <a:pt x="69" y="144"/>
                    </a:lnTo>
                    <a:lnTo>
                      <a:pt x="69" y="143"/>
                    </a:lnTo>
                    <a:lnTo>
                      <a:pt x="69" y="142"/>
                    </a:lnTo>
                    <a:lnTo>
                      <a:pt x="69" y="140"/>
                    </a:lnTo>
                    <a:lnTo>
                      <a:pt x="69" y="139"/>
                    </a:lnTo>
                    <a:lnTo>
                      <a:pt x="69" y="138"/>
                    </a:lnTo>
                    <a:lnTo>
                      <a:pt x="70" y="138"/>
                    </a:lnTo>
                    <a:lnTo>
                      <a:pt x="73" y="137"/>
                    </a:lnTo>
                    <a:lnTo>
                      <a:pt x="74" y="136"/>
                    </a:lnTo>
                    <a:lnTo>
                      <a:pt x="74" y="135"/>
                    </a:lnTo>
                    <a:lnTo>
                      <a:pt x="75" y="135"/>
                    </a:lnTo>
                    <a:lnTo>
                      <a:pt x="75" y="134"/>
                    </a:lnTo>
                    <a:lnTo>
                      <a:pt x="74" y="133"/>
                    </a:lnTo>
                    <a:lnTo>
                      <a:pt x="75" y="132"/>
                    </a:lnTo>
                    <a:lnTo>
                      <a:pt x="75" y="133"/>
                    </a:lnTo>
                    <a:lnTo>
                      <a:pt x="76" y="133"/>
                    </a:lnTo>
                    <a:lnTo>
                      <a:pt x="76" y="134"/>
                    </a:lnTo>
                    <a:lnTo>
                      <a:pt x="75" y="135"/>
                    </a:lnTo>
                    <a:lnTo>
                      <a:pt x="76" y="135"/>
                    </a:lnTo>
                    <a:lnTo>
                      <a:pt x="77" y="135"/>
                    </a:lnTo>
                    <a:lnTo>
                      <a:pt x="77" y="134"/>
                    </a:lnTo>
                    <a:lnTo>
                      <a:pt x="76" y="133"/>
                    </a:lnTo>
                    <a:lnTo>
                      <a:pt x="77" y="133"/>
                    </a:lnTo>
                    <a:lnTo>
                      <a:pt x="78" y="133"/>
                    </a:lnTo>
                    <a:lnTo>
                      <a:pt x="79" y="133"/>
                    </a:lnTo>
                    <a:lnTo>
                      <a:pt x="80" y="132"/>
                    </a:lnTo>
                    <a:lnTo>
                      <a:pt x="81" y="132"/>
                    </a:lnTo>
                    <a:lnTo>
                      <a:pt x="82" y="131"/>
                    </a:lnTo>
                    <a:lnTo>
                      <a:pt x="83" y="131"/>
                    </a:lnTo>
                    <a:lnTo>
                      <a:pt x="86" y="131"/>
                    </a:lnTo>
                    <a:lnTo>
                      <a:pt x="87" y="131"/>
                    </a:lnTo>
                    <a:lnTo>
                      <a:pt x="87" y="130"/>
                    </a:lnTo>
                    <a:lnTo>
                      <a:pt x="87" y="129"/>
                    </a:lnTo>
                    <a:lnTo>
                      <a:pt x="86" y="127"/>
                    </a:lnTo>
                    <a:lnTo>
                      <a:pt x="87" y="126"/>
                    </a:lnTo>
                    <a:lnTo>
                      <a:pt x="87" y="125"/>
                    </a:lnTo>
                    <a:lnTo>
                      <a:pt x="88" y="125"/>
                    </a:lnTo>
                    <a:lnTo>
                      <a:pt x="89" y="125"/>
                    </a:lnTo>
                    <a:lnTo>
                      <a:pt x="89" y="124"/>
                    </a:lnTo>
                    <a:lnTo>
                      <a:pt x="90" y="123"/>
                    </a:lnTo>
                    <a:lnTo>
                      <a:pt x="91" y="123"/>
                    </a:lnTo>
                    <a:lnTo>
                      <a:pt x="91" y="122"/>
                    </a:lnTo>
                    <a:lnTo>
                      <a:pt x="91" y="121"/>
                    </a:lnTo>
                    <a:lnTo>
                      <a:pt x="90" y="121"/>
                    </a:lnTo>
                    <a:lnTo>
                      <a:pt x="90" y="120"/>
                    </a:lnTo>
                    <a:lnTo>
                      <a:pt x="91" y="120"/>
                    </a:lnTo>
                    <a:lnTo>
                      <a:pt x="92" y="119"/>
                    </a:lnTo>
                    <a:lnTo>
                      <a:pt x="93" y="119"/>
                    </a:lnTo>
                    <a:lnTo>
                      <a:pt x="94" y="119"/>
                    </a:lnTo>
                    <a:lnTo>
                      <a:pt x="94" y="120"/>
                    </a:lnTo>
                    <a:lnTo>
                      <a:pt x="94" y="121"/>
                    </a:lnTo>
                    <a:lnTo>
                      <a:pt x="95" y="121"/>
                    </a:lnTo>
                    <a:lnTo>
                      <a:pt x="96" y="120"/>
                    </a:lnTo>
                    <a:lnTo>
                      <a:pt x="96" y="119"/>
                    </a:lnTo>
                    <a:lnTo>
                      <a:pt x="95" y="119"/>
                    </a:lnTo>
                    <a:lnTo>
                      <a:pt x="94" y="119"/>
                    </a:lnTo>
                    <a:lnTo>
                      <a:pt x="94" y="118"/>
                    </a:lnTo>
                    <a:lnTo>
                      <a:pt x="94" y="117"/>
                    </a:lnTo>
                    <a:lnTo>
                      <a:pt x="95" y="117"/>
                    </a:lnTo>
                    <a:lnTo>
                      <a:pt x="96" y="118"/>
                    </a:lnTo>
                    <a:lnTo>
                      <a:pt x="98" y="118"/>
                    </a:lnTo>
                    <a:lnTo>
                      <a:pt x="98" y="117"/>
                    </a:lnTo>
                    <a:lnTo>
                      <a:pt x="96" y="117"/>
                    </a:lnTo>
                    <a:lnTo>
                      <a:pt x="96" y="116"/>
                    </a:lnTo>
                    <a:lnTo>
                      <a:pt x="98" y="114"/>
                    </a:lnTo>
                    <a:lnTo>
                      <a:pt x="99" y="113"/>
                    </a:lnTo>
                    <a:lnTo>
                      <a:pt x="100" y="113"/>
                    </a:lnTo>
                    <a:lnTo>
                      <a:pt x="100" y="112"/>
                    </a:lnTo>
                    <a:lnTo>
                      <a:pt x="99" y="112"/>
                    </a:lnTo>
                    <a:lnTo>
                      <a:pt x="99" y="111"/>
                    </a:lnTo>
                    <a:lnTo>
                      <a:pt x="99" y="110"/>
                    </a:lnTo>
                    <a:lnTo>
                      <a:pt x="98" y="110"/>
                    </a:lnTo>
                    <a:lnTo>
                      <a:pt x="98" y="109"/>
                    </a:lnTo>
                    <a:lnTo>
                      <a:pt x="99" y="109"/>
                    </a:lnTo>
                    <a:lnTo>
                      <a:pt x="100" y="109"/>
                    </a:lnTo>
                    <a:lnTo>
                      <a:pt x="100" y="108"/>
                    </a:lnTo>
                    <a:lnTo>
                      <a:pt x="101" y="108"/>
                    </a:lnTo>
                    <a:lnTo>
                      <a:pt x="101" y="107"/>
                    </a:lnTo>
                    <a:lnTo>
                      <a:pt x="100" y="107"/>
                    </a:lnTo>
                    <a:lnTo>
                      <a:pt x="99" y="107"/>
                    </a:lnTo>
                    <a:lnTo>
                      <a:pt x="99" y="106"/>
                    </a:lnTo>
                    <a:lnTo>
                      <a:pt x="99" y="105"/>
                    </a:lnTo>
                    <a:lnTo>
                      <a:pt x="100" y="106"/>
                    </a:lnTo>
                    <a:lnTo>
                      <a:pt x="100" y="105"/>
                    </a:lnTo>
                    <a:lnTo>
                      <a:pt x="101" y="105"/>
                    </a:lnTo>
                    <a:lnTo>
                      <a:pt x="100" y="105"/>
                    </a:lnTo>
                    <a:lnTo>
                      <a:pt x="100" y="104"/>
                    </a:lnTo>
                    <a:lnTo>
                      <a:pt x="99" y="104"/>
                    </a:lnTo>
                    <a:lnTo>
                      <a:pt x="99" y="103"/>
                    </a:lnTo>
                    <a:lnTo>
                      <a:pt x="98" y="103"/>
                    </a:lnTo>
                    <a:lnTo>
                      <a:pt x="98" y="101"/>
                    </a:lnTo>
                    <a:lnTo>
                      <a:pt x="98" y="100"/>
                    </a:lnTo>
                    <a:lnTo>
                      <a:pt x="98" y="99"/>
                    </a:lnTo>
                    <a:lnTo>
                      <a:pt x="99" y="98"/>
                    </a:lnTo>
                    <a:lnTo>
                      <a:pt x="99" y="97"/>
                    </a:lnTo>
                    <a:lnTo>
                      <a:pt x="100" y="97"/>
                    </a:lnTo>
                    <a:lnTo>
                      <a:pt x="100" y="96"/>
                    </a:lnTo>
                    <a:lnTo>
                      <a:pt x="99" y="96"/>
                    </a:lnTo>
                    <a:lnTo>
                      <a:pt x="98" y="96"/>
                    </a:lnTo>
                    <a:lnTo>
                      <a:pt x="98" y="95"/>
                    </a:lnTo>
                    <a:lnTo>
                      <a:pt x="98" y="94"/>
                    </a:lnTo>
                    <a:lnTo>
                      <a:pt x="98" y="93"/>
                    </a:lnTo>
                    <a:lnTo>
                      <a:pt x="99" y="92"/>
                    </a:lnTo>
                    <a:lnTo>
                      <a:pt x="99" y="91"/>
                    </a:lnTo>
                    <a:lnTo>
                      <a:pt x="100" y="91"/>
                    </a:lnTo>
                    <a:lnTo>
                      <a:pt x="100" y="90"/>
                    </a:lnTo>
                    <a:lnTo>
                      <a:pt x="101" y="90"/>
                    </a:lnTo>
                    <a:lnTo>
                      <a:pt x="102" y="90"/>
                    </a:lnTo>
                    <a:lnTo>
                      <a:pt x="102" y="88"/>
                    </a:lnTo>
                    <a:lnTo>
                      <a:pt x="101" y="88"/>
                    </a:lnTo>
                    <a:lnTo>
                      <a:pt x="101" y="87"/>
                    </a:lnTo>
                    <a:lnTo>
                      <a:pt x="101" y="86"/>
                    </a:lnTo>
                    <a:lnTo>
                      <a:pt x="102" y="85"/>
                    </a:lnTo>
                    <a:lnTo>
                      <a:pt x="102" y="84"/>
                    </a:lnTo>
                    <a:lnTo>
                      <a:pt x="103" y="84"/>
                    </a:lnTo>
                    <a:lnTo>
                      <a:pt x="103" y="83"/>
                    </a:lnTo>
                    <a:lnTo>
                      <a:pt x="104" y="83"/>
                    </a:lnTo>
                    <a:lnTo>
                      <a:pt x="104" y="82"/>
                    </a:lnTo>
                    <a:lnTo>
                      <a:pt x="105" y="81"/>
                    </a:lnTo>
                    <a:lnTo>
                      <a:pt x="105" y="80"/>
                    </a:lnTo>
                    <a:lnTo>
                      <a:pt x="104" y="79"/>
                    </a:lnTo>
                    <a:lnTo>
                      <a:pt x="104" y="80"/>
                    </a:lnTo>
                    <a:lnTo>
                      <a:pt x="103" y="80"/>
                    </a:lnTo>
                    <a:lnTo>
                      <a:pt x="102" y="80"/>
                    </a:lnTo>
                    <a:lnTo>
                      <a:pt x="101" y="80"/>
                    </a:lnTo>
                    <a:lnTo>
                      <a:pt x="101" y="79"/>
                    </a:lnTo>
                    <a:lnTo>
                      <a:pt x="102" y="79"/>
                    </a:lnTo>
                    <a:lnTo>
                      <a:pt x="102" y="78"/>
                    </a:lnTo>
                    <a:lnTo>
                      <a:pt x="103" y="78"/>
                    </a:lnTo>
                    <a:lnTo>
                      <a:pt x="104" y="78"/>
                    </a:lnTo>
                    <a:lnTo>
                      <a:pt x="105" y="77"/>
                    </a:lnTo>
                    <a:lnTo>
                      <a:pt x="105" y="78"/>
                    </a:lnTo>
                    <a:lnTo>
                      <a:pt x="105" y="77"/>
                    </a:lnTo>
                    <a:lnTo>
                      <a:pt x="105" y="75"/>
                    </a:lnTo>
                    <a:lnTo>
                      <a:pt x="104" y="74"/>
                    </a:lnTo>
                    <a:lnTo>
                      <a:pt x="104" y="75"/>
                    </a:lnTo>
                    <a:lnTo>
                      <a:pt x="102" y="75"/>
                    </a:lnTo>
                    <a:lnTo>
                      <a:pt x="103" y="73"/>
                    </a:lnTo>
                    <a:lnTo>
                      <a:pt x="103" y="72"/>
                    </a:lnTo>
                    <a:lnTo>
                      <a:pt x="104" y="72"/>
                    </a:lnTo>
                    <a:lnTo>
                      <a:pt x="105" y="72"/>
                    </a:lnTo>
                    <a:lnTo>
                      <a:pt x="106" y="72"/>
                    </a:lnTo>
                    <a:lnTo>
                      <a:pt x="106" y="71"/>
                    </a:lnTo>
                    <a:lnTo>
                      <a:pt x="106" y="70"/>
                    </a:lnTo>
                    <a:lnTo>
                      <a:pt x="106" y="69"/>
                    </a:lnTo>
                    <a:lnTo>
                      <a:pt x="107" y="69"/>
                    </a:lnTo>
                    <a:lnTo>
                      <a:pt x="106" y="68"/>
                    </a:lnTo>
                    <a:lnTo>
                      <a:pt x="104" y="69"/>
                    </a:lnTo>
                    <a:lnTo>
                      <a:pt x="103" y="69"/>
                    </a:lnTo>
                    <a:lnTo>
                      <a:pt x="103" y="68"/>
                    </a:lnTo>
                    <a:lnTo>
                      <a:pt x="103" y="67"/>
                    </a:lnTo>
                    <a:lnTo>
                      <a:pt x="104" y="67"/>
                    </a:lnTo>
                    <a:lnTo>
                      <a:pt x="105" y="66"/>
                    </a:lnTo>
                    <a:lnTo>
                      <a:pt x="106" y="66"/>
                    </a:lnTo>
                    <a:lnTo>
                      <a:pt x="106" y="65"/>
                    </a:lnTo>
                    <a:lnTo>
                      <a:pt x="107" y="63"/>
                    </a:lnTo>
                    <a:lnTo>
                      <a:pt x="107" y="62"/>
                    </a:lnTo>
                    <a:lnTo>
                      <a:pt x="107" y="61"/>
                    </a:lnTo>
                    <a:lnTo>
                      <a:pt x="106" y="61"/>
                    </a:lnTo>
                    <a:lnTo>
                      <a:pt x="106" y="60"/>
                    </a:lnTo>
                    <a:lnTo>
                      <a:pt x="106" y="59"/>
                    </a:lnTo>
                    <a:lnTo>
                      <a:pt x="106" y="58"/>
                    </a:lnTo>
                    <a:lnTo>
                      <a:pt x="105" y="58"/>
                    </a:lnTo>
                    <a:lnTo>
                      <a:pt x="104" y="58"/>
                    </a:lnTo>
                    <a:lnTo>
                      <a:pt x="105" y="58"/>
                    </a:lnTo>
                    <a:lnTo>
                      <a:pt x="105" y="57"/>
                    </a:lnTo>
                    <a:lnTo>
                      <a:pt x="105" y="56"/>
                    </a:lnTo>
                    <a:lnTo>
                      <a:pt x="104" y="55"/>
                    </a:lnTo>
                    <a:lnTo>
                      <a:pt x="104" y="54"/>
                    </a:lnTo>
                    <a:lnTo>
                      <a:pt x="105" y="53"/>
                    </a:lnTo>
                    <a:lnTo>
                      <a:pt x="105" y="52"/>
                    </a:lnTo>
                    <a:lnTo>
                      <a:pt x="105" y="50"/>
                    </a:lnTo>
                    <a:lnTo>
                      <a:pt x="106" y="50"/>
                    </a:lnTo>
                    <a:lnTo>
                      <a:pt x="107" y="50"/>
                    </a:lnTo>
                    <a:lnTo>
                      <a:pt x="108" y="50"/>
                    </a:lnTo>
                    <a:lnTo>
                      <a:pt x="108" y="52"/>
                    </a:lnTo>
                    <a:lnTo>
                      <a:pt x="109" y="52"/>
                    </a:lnTo>
                    <a:lnTo>
                      <a:pt x="111" y="50"/>
                    </a:lnTo>
                    <a:lnTo>
                      <a:pt x="112" y="50"/>
                    </a:lnTo>
                    <a:lnTo>
                      <a:pt x="113" y="50"/>
                    </a:lnTo>
                    <a:lnTo>
                      <a:pt x="113" y="49"/>
                    </a:lnTo>
                    <a:lnTo>
                      <a:pt x="114" y="49"/>
                    </a:lnTo>
                    <a:lnTo>
                      <a:pt x="115" y="49"/>
                    </a:lnTo>
                    <a:lnTo>
                      <a:pt x="115" y="48"/>
                    </a:lnTo>
                    <a:lnTo>
                      <a:pt x="115" y="47"/>
                    </a:lnTo>
                    <a:lnTo>
                      <a:pt x="116" y="47"/>
                    </a:lnTo>
                    <a:lnTo>
                      <a:pt x="116" y="48"/>
                    </a:lnTo>
                    <a:lnTo>
                      <a:pt x="117" y="48"/>
                    </a:lnTo>
                    <a:lnTo>
                      <a:pt x="117" y="49"/>
                    </a:lnTo>
                    <a:lnTo>
                      <a:pt x="117" y="50"/>
                    </a:lnTo>
                    <a:lnTo>
                      <a:pt x="117" y="52"/>
                    </a:lnTo>
                    <a:lnTo>
                      <a:pt x="118" y="52"/>
                    </a:lnTo>
                    <a:lnTo>
                      <a:pt x="120" y="52"/>
                    </a:lnTo>
                    <a:lnTo>
                      <a:pt x="121" y="52"/>
                    </a:lnTo>
                    <a:lnTo>
                      <a:pt x="122" y="52"/>
                    </a:lnTo>
                    <a:lnTo>
                      <a:pt x="124" y="50"/>
                    </a:lnTo>
                    <a:lnTo>
                      <a:pt x="125" y="50"/>
                    </a:lnTo>
                    <a:lnTo>
                      <a:pt x="125" y="52"/>
                    </a:lnTo>
                    <a:lnTo>
                      <a:pt x="126" y="52"/>
                    </a:lnTo>
                    <a:lnTo>
                      <a:pt x="127" y="50"/>
                    </a:lnTo>
                    <a:lnTo>
                      <a:pt x="128" y="50"/>
                    </a:lnTo>
                    <a:lnTo>
                      <a:pt x="128" y="52"/>
                    </a:lnTo>
                    <a:lnTo>
                      <a:pt x="129" y="52"/>
                    </a:lnTo>
                    <a:lnTo>
                      <a:pt x="129" y="50"/>
                    </a:lnTo>
                    <a:lnTo>
                      <a:pt x="131" y="50"/>
                    </a:lnTo>
                    <a:lnTo>
                      <a:pt x="131" y="49"/>
                    </a:lnTo>
                    <a:lnTo>
                      <a:pt x="132" y="48"/>
                    </a:lnTo>
                    <a:lnTo>
                      <a:pt x="132" y="47"/>
                    </a:lnTo>
                    <a:lnTo>
                      <a:pt x="133" y="47"/>
                    </a:lnTo>
                    <a:lnTo>
                      <a:pt x="133" y="46"/>
                    </a:lnTo>
                    <a:lnTo>
                      <a:pt x="133" y="45"/>
                    </a:lnTo>
                    <a:lnTo>
                      <a:pt x="134" y="45"/>
                    </a:lnTo>
                    <a:lnTo>
                      <a:pt x="137" y="45"/>
                    </a:lnTo>
                    <a:lnTo>
                      <a:pt x="138" y="44"/>
                    </a:lnTo>
                    <a:lnTo>
                      <a:pt x="139" y="45"/>
                    </a:lnTo>
                    <a:lnTo>
                      <a:pt x="140" y="45"/>
                    </a:lnTo>
                    <a:lnTo>
                      <a:pt x="141" y="45"/>
                    </a:lnTo>
                    <a:lnTo>
                      <a:pt x="142" y="44"/>
                    </a:lnTo>
                    <a:lnTo>
                      <a:pt x="142" y="43"/>
                    </a:lnTo>
                    <a:lnTo>
                      <a:pt x="142" y="42"/>
                    </a:lnTo>
                    <a:lnTo>
                      <a:pt x="142" y="41"/>
                    </a:lnTo>
                    <a:lnTo>
                      <a:pt x="143" y="40"/>
                    </a:lnTo>
                    <a:lnTo>
                      <a:pt x="143" y="39"/>
                    </a:lnTo>
                    <a:lnTo>
                      <a:pt x="143" y="37"/>
                    </a:lnTo>
                    <a:lnTo>
                      <a:pt x="144" y="37"/>
                    </a:lnTo>
                    <a:lnTo>
                      <a:pt x="144" y="36"/>
                    </a:lnTo>
                    <a:lnTo>
                      <a:pt x="143" y="36"/>
                    </a:lnTo>
                    <a:lnTo>
                      <a:pt x="143" y="35"/>
                    </a:lnTo>
                    <a:lnTo>
                      <a:pt x="142" y="35"/>
                    </a:lnTo>
                    <a:lnTo>
                      <a:pt x="142" y="34"/>
                    </a:lnTo>
                    <a:lnTo>
                      <a:pt x="141" y="33"/>
                    </a:lnTo>
                    <a:lnTo>
                      <a:pt x="141" y="32"/>
                    </a:lnTo>
                    <a:lnTo>
                      <a:pt x="142" y="32"/>
                    </a:lnTo>
                    <a:lnTo>
                      <a:pt x="142" y="31"/>
                    </a:lnTo>
                    <a:lnTo>
                      <a:pt x="143" y="31"/>
                    </a:lnTo>
                    <a:lnTo>
                      <a:pt x="144" y="31"/>
                    </a:lnTo>
                    <a:lnTo>
                      <a:pt x="145" y="31"/>
                    </a:lnTo>
                    <a:lnTo>
                      <a:pt x="145" y="30"/>
                    </a:lnTo>
                    <a:lnTo>
                      <a:pt x="145" y="29"/>
                    </a:lnTo>
                    <a:lnTo>
                      <a:pt x="144" y="28"/>
                    </a:lnTo>
                    <a:lnTo>
                      <a:pt x="144" y="27"/>
                    </a:lnTo>
                    <a:lnTo>
                      <a:pt x="144" y="26"/>
                    </a:lnTo>
                    <a:lnTo>
                      <a:pt x="144" y="24"/>
                    </a:lnTo>
                    <a:lnTo>
                      <a:pt x="145" y="24"/>
                    </a:lnTo>
                    <a:lnTo>
                      <a:pt x="147" y="26"/>
                    </a:lnTo>
                    <a:lnTo>
                      <a:pt x="148" y="26"/>
                    </a:lnTo>
                    <a:lnTo>
                      <a:pt x="148" y="23"/>
                    </a:lnTo>
                    <a:lnTo>
                      <a:pt x="150" y="23"/>
                    </a:lnTo>
                    <a:lnTo>
                      <a:pt x="152" y="24"/>
                    </a:lnTo>
                    <a:lnTo>
                      <a:pt x="153" y="24"/>
                    </a:lnTo>
                    <a:lnTo>
                      <a:pt x="153" y="23"/>
                    </a:lnTo>
                    <a:lnTo>
                      <a:pt x="154" y="23"/>
                    </a:lnTo>
                    <a:lnTo>
                      <a:pt x="155" y="23"/>
                    </a:lnTo>
                    <a:lnTo>
                      <a:pt x="155" y="22"/>
                    </a:lnTo>
                    <a:lnTo>
                      <a:pt x="156" y="22"/>
                    </a:lnTo>
                    <a:lnTo>
                      <a:pt x="156" y="21"/>
                    </a:lnTo>
                    <a:lnTo>
                      <a:pt x="156" y="20"/>
                    </a:lnTo>
                    <a:lnTo>
                      <a:pt x="156" y="19"/>
                    </a:lnTo>
                    <a:lnTo>
                      <a:pt x="156" y="18"/>
                    </a:lnTo>
                    <a:lnTo>
                      <a:pt x="156" y="17"/>
                    </a:lnTo>
                    <a:lnTo>
                      <a:pt x="156" y="16"/>
                    </a:lnTo>
                    <a:lnTo>
                      <a:pt x="155" y="16"/>
                    </a:lnTo>
                    <a:lnTo>
                      <a:pt x="155" y="15"/>
                    </a:lnTo>
                    <a:lnTo>
                      <a:pt x="156" y="15"/>
                    </a:lnTo>
                    <a:lnTo>
                      <a:pt x="157" y="15"/>
                    </a:lnTo>
                    <a:lnTo>
                      <a:pt x="157" y="16"/>
                    </a:lnTo>
                    <a:lnTo>
                      <a:pt x="158" y="16"/>
                    </a:lnTo>
                    <a:lnTo>
                      <a:pt x="159" y="16"/>
                    </a:lnTo>
                    <a:lnTo>
                      <a:pt x="160" y="16"/>
                    </a:lnTo>
                    <a:lnTo>
                      <a:pt x="162" y="16"/>
                    </a:lnTo>
                    <a:lnTo>
                      <a:pt x="162" y="15"/>
                    </a:lnTo>
                    <a:lnTo>
                      <a:pt x="160" y="14"/>
                    </a:lnTo>
                    <a:lnTo>
                      <a:pt x="160" y="13"/>
                    </a:lnTo>
                    <a:lnTo>
                      <a:pt x="162" y="13"/>
                    </a:lnTo>
                    <a:lnTo>
                      <a:pt x="162" y="11"/>
                    </a:lnTo>
                    <a:lnTo>
                      <a:pt x="163" y="13"/>
                    </a:lnTo>
                    <a:lnTo>
                      <a:pt x="164" y="13"/>
                    </a:lnTo>
                    <a:lnTo>
                      <a:pt x="164" y="11"/>
                    </a:lnTo>
                    <a:lnTo>
                      <a:pt x="165" y="11"/>
                    </a:lnTo>
                    <a:lnTo>
                      <a:pt x="166" y="11"/>
                    </a:lnTo>
                    <a:lnTo>
                      <a:pt x="166" y="13"/>
                    </a:lnTo>
                    <a:lnTo>
                      <a:pt x="167" y="13"/>
                    </a:lnTo>
                    <a:lnTo>
                      <a:pt x="168" y="13"/>
                    </a:lnTo>
                    <a:lnTo>
                      <a:pt x="168" y="14"/>
                    </a:lnTo>
                    <a:lnTo>
                      <a:pt x="169" y="14"/>
                    </a:lnTo>
                    <a:lnTo>
                      <a:pt x="169" y="13"/>
                    </a:lnTo>
                    <a:lnTo>
                      <a:pt x="169" y="10"/>
                    </a:lnTo>
                    <a:lnTo>
                      <a:pt x="170" y="10"/>
                    </a:lnTo>
                    <a:lnTo>
                      <a:pt x="170" y="11"/>
                    </a:lnTo>
                    <a:lnTo>
                      <a:pt x="171" y="11"/>
                    </a:lnTo>
                    <a:lnTo>
                      <a:pt x="172" y="11"/>
                    </a:lnTo>
                    <a:lnTo>
                      <a:pt x="173" y="11"/>
                    </a:lnTo>
                    <a:lnTo>
                      <a:pt x="175" y="11"/>
                    </a:lnTo>
                    <a:lnTo>
                      <a:pt x="175" y="10"/>
                    </a:lnTo>
                    <a:lnTo>
                      <a:pt x="173" y="9"/>
                    </a:lnTo>
                    <a:lnTo>
                      <a:pt x="173" y="8"/>
                    </a:lnTo>
                    <a:lnTo>
                      <a:pt x="175" y="8"/>
                    </a:lnTo>
                    <a:lnTo>
                      <a:pt x="176" y="8"/>
                    </a:lnTo>
                    <a:lnTo>
                      <a:pt x="177" y="8"/>
                    </a:lnTo>
                    <a:lnTo>
                      <a:pt x="178" y="8"/>
                    </a:lnTo>
                    <a:lnTo>
                      <a:pt x="178" y="7"/>
                    </a:lnTo>
                    <a:lnTo>
                      <a:pt x="178" y="6"/>
                    </a:lnTo>
                    <a:lnTo>
                      <a:pt x="179" y="5"/>
                    </a:lnTo>
                    <a:lnTo>
                      <a:pt x="179" y="4"/>
                    </a:lnTo>
                    <a:lnTo>
                      <a:pt x="179" y="3"/>
                    </a:lnTo>
                    <a:lnTo>
                      <a:pt x="179" y="2"/>
                    </a:lnTo>
                    <a:lnTo>
                      <a:pt x="180" y="2"/>
                    </a:lnTo>
                    <a:lnTo>
                      <a:pt x="180" y="3"/>
                    </a:lnTo>
                    <a:lnTo>
                      <a:pt x="181" y="3"/>
                    </a:lnTo>
                    <a:lnTo>
                      <a:pt x="182" y="3"/>
                    </a:lnTo>
                    <a:lnTo>
                      <a:pt x="183" y="2"/>
                    </a:lnTo>
                    <a:lnTo>
                      <a:pt x="184" y="2"/>
                    </a:lnTo>
                    <a:lnTo>
                      <a:pt x="185" y="2"/>
                    </a:lnTo>
                    <a:lnTo>
                      <a:pt x="185" y="1"/>
                    </a:lnTo>
                    <a:lnTo>
                      <a:pt x="185" y="0"/>
                    </a:lnTo>
                    <a:lnTo>
                      <a:pt x="184" y="0"/>
                    </a:lnTo>
                    <a:lnTo>
                      <a:pt x="183" y="0"/>
                    </a:lnTo>
                    <a:lnTo>
                      <a:pt x="189" y="0"/>
                    </a:lnTo>
                    <a:lnTo>
                      <a:pt x="194" y="0"/>
                    </a:lnTo>
                    <a:lnTo>
                      <a:pt x="202" y="0"/>
                    </a:lnTo>
                    <a:lnTo>
                      <a:pt x="207" y="0"/>
                    </a:lnTo>
                    <a:lnTo>
                      <a:pt x="208" y="0"/>
                    </a:lnTo>
                    <a:lnTo>
                      <a:pt x="211" y="0"/>
                    </a:lnTo>
                    <a:lnTo>
                      <a:pt x="218" y="0"/>
                    </a:lnTo>
                    <a:lnTo>
                      <a:pt x="228" y="0"/>
                    </a:lnTo>
                    <a:lnTo>
                      <a:pt x="235" y="0"/>
                    </a:lnTo>
                    <a:lnTo>
                      <a:pt x="238" y="0"/>
                    </a:lnTo>
                    <a:lnTo>
                      <a:pt x="246" y="0"/>
                    </a:lnTo>
                    <a:lnTo>
                      <a:pt x="264" y="0"/>
                    </a:lnTo>
                    <a:lnTo>
                      <a:pt x="272" y="0"/>
                    </a:lnTo>
                    <a:lnTo>
                      <a:pt x="274" y="0"/>
                    </a:lnTo>
                    <a:lnTo>
                      <a:pt x="277" y="0"/>
                    </a:lnTo>
                    <a:lnTo>
                      <a:pt x="279" y="0"/>
                    </a:lnTo>
                    <a:lnTo>
                      <a:pt x="280" y="0"/>
                    </a:lnTo>
                    <a:close/>
                  </a:path>
                </a:pathLst>
              </a:custGeom>
              <a:solidFill>
                <a:srgbClr val="489C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2" name="Freeform 52">
                <a:extLst>
                  <a:ext uri="{FF2B5EF4-FFF2-40B4-BE49-F238E27FC236}">
                    <a16:creationId xmlns:a16="http://schemas.microsoft.com/office/drawing/2014/main" id="{23492D45-19BE-DEFC-743F-C7C0CEE9968F}"/>
                  </a:ext>
                </a:extLst>
              </p:cNvPr>
              <p:cNvSpPr>
                <a:spLocks/>
              </p:cNvSpPr>
              <p:nvPr/>
            </p:nvSpPr>
            <p:spPr bwMode="auto">
              <a:xfrm>
                <a:off x="2182813" y="2133600"/>
                <a:ext cx="646113" cy="503238"/>
              </a:xfrm>
              <a:custGeom>
                <a:avLst/>
                <a:gdLst>
                  <a:gd name="T0" fmla="*/ 250 w 407"/>
                  <a:gd name="T1" fmla="*/ 1 h 317"/>
                  <a:gd name="T2" fmla="*/ 351 w 407"/>
                  <a:gd name="T3" fmla="*/ 1 h 317"/>
                  <a:gd name="T4" fmla="*/ 406 w 407"/>
                  <a:gd name="T5" fmla="*/ 120 h 317"/>
                  <a:gd name="T6" fmla="*/ 402 w 407"/>
                  <a:gd name="T7" fmla="*/ 185 h 317"/>
                  <a:gd name="T8" fmla="*/ 398 w 407"/>
                  <a:gd name="T9" fmla="*/ 189 h 317"/>
                  <a:gd name="T10" fmla="*/ 398 w 407"/>
                  <a:gd name="T11" fmla="*/ 198 h 317"/>
                  <a:gd name="T12" fmla="*/ 401 w 407"/>
                  <a:gd name="T13" fmla="*/ 204 h 317"/>
                  <a:gd name="T14" fmla="*/ 397 w 407"/>
                  <a:gd name="T15" fmla="*/ 208 h 317"/>
                  <a:gd name="T16" fmla="*/ 391 w 407"/>
                  <a:gd name="T17" fmla="*/ 211 h 317"/>
                  <a:gd name="T18" fmla="*/ 392 w 407"/>
                  <a:gd name="T19" fmla="*/ 221 h 317"/>
                  <a:gd name="T20" fmla="*/ 391 w 407"/>
                  <a:gd name="T21" fmla="*/ 228 h 317"/>
                  <a:gd name="T22" fmla="*/ 391 w 407"/>
                  <a:gd name="T23" fmla="*/ 235 h 317"/>
                  <a:gd name="T24" fmla="*/ 390 w 407"/>
                  <a:gd name="T25" fmla="*/ 239 h 317"/>
                  <a:gd name="T26" fmla="*/ 380 w 407"/>
                  <a:gd name="T27" fmla="*/ 245 h 317"/>
                  <a:gd name="T28" fmla="*/ 378 w 407"/>
                  <a:gd name="T29" fmla="*/ 249 h 317"/>
                  <a:gd name="T30" fmla="*/ 365 w 407"/>
                  <a:gd name="T31" fmla="*/ 254 h 317"/>
                  <a:gd name="T32" fmla="*/ 293 w 407"/>
                  <a:gd name="T33" fmla="*/ 254 h 317"/>
                  <a:gd name="T34" fmla="*/ 217 w 407"/>
                  <a:gd name="T35" fmla="*/ 317 h 317"/>
                  <a:gd name="T36" fmla="*/ 61 w 407"/>
                  <a:gd name="T37" fmla="*/ 317 h 317"/>
                  <a:gd name="T38" fmla="*/ 2 w 407"/>
                  <a:gd name="T39" fmla="*/ 308 h 317"/>
                  <a:gd name="T40" fmla="*/ 4 w 407"/>
                  <a:gd name="T41" fmla="*/ 290 h 317"/>
                  <a:gd name="T42" fmla="*/ 3 w 407"/>
                  <a:gd name="T43" fmla="*/ 280 h 317"/>
                  <a:gd name="T44" fmla="*/ 5 w 407"/>
                  <a:gd name="T45" fmla="*/ 265 h 317"/>
                  <a:gd name="T46" fmla="*/ 15 w 407"/>
                  <a:gd name="T47" fmla="*/ 261 h 317"/>
                  <a:gd name="T48" fmla="*/ 16 w 407"/>
                  <a:gd name="T49" fmla="*/ 254 h 317"/>
                  <a:gd name="T50" fmla="*/ 20 w 407"/>
                  <a:gd name="T51" fmla="*/ 241 h 317"/>
                  <a:gd name="T52" fmla="*/ 18 w 407"/>
                  <a:gd name="T53" fmla="*/ 232 h 317"/>
                  <a:gd name="T54" fmla="*/ 21 w 407"/>
                  <a:gd name="T55" fmla="*/ 228 h 317"/>
                  <a:gd name="T56" fmla="*/ 17 w 407"/>
                  <a:gd name="T57" fmla="*/ 221 h 317"/>
                  <a:gd name="T58" fmla="*/ 17 w 407"/>
                  <a:gd name="T59" fmla="*/ 213 h 317"/>
                  <a:gd name="T60" fmla="*/ 24 w 407"/>
                  <a:gd name="T61" fmla="*/ 213 h 317"/>
                  <a:gd name="T62" fmla="*/ 36 w 407"/>
                  <a:gd name="T63" fmla="*/ 214 h 317"/>
                  <a:gd name="T64" fmla="*/ 46 w 407"/>
                  <a:gd name="T65" fmla="*/ 210 h 317"/>
                  <a:gd name="T66" fmla="*/ 44 w 407"/>
                  <a:gd name="T67" fmla="*/ 200 h 317"/>
                  <a:gd name="T68" fmla="*/ 47 w 407"/>
                  <a:gd name="T69" fmla="*/ 182 h 317"/>
                  <a:gd name="T70" fmla="*/ 50 w 407"/>
                  <a:gd name="T71" fmla="*/ 167 h 317"/>
                  <a:gd name="T72" fmla="*/ 54 w 407"/>
                  <a:gd name="T73" fmla="*/ 158 h 317"/>
                  <a:gd name="T74" fmla="*/ 60 w 407"/>
                  <a:gd name="T75" fmla="*/ 149 h 317"/>
                  <a:gd name="T76" fmla="*/ 60 w 407"/>
                  <a:gd name="T77" fmla="*/ 144 h 317"/>
                  <a:gd name="T78" fmla="*/ 57 w 407"/>
                  <a:gd name="T79" fmla="*/ 133 h 317"/>
                  <a:gd name="T80" fmla="*/ 56 w 407"/>
                  <a:gd name="T81" fmla="*/ 121 h 317"/>
                  <a:gd name="T82" fmla="*/ 50 w 407"/>
                  <a:gd name="T83" fmla="*/ 115 h 317"/>
                  <a:gd name="T84" fmla="*/ 46 w 407"/>
                  <a:gd name="T85" fmla="*/ 115 h 317"/>
                  <a:gd name="T86" fmla="*/ 48 w 407"/>
                  <a:gd name="T87" fmla="*/ 107 h 317"/>
                  <a:gd name="T88" fmla="*/ 56 w 407"/>
                  <a:gd name="T89" fmla="*/ 99 h 317"/>
                  <a:gd name="T90" fmla="*/ 55 w 407"/>
                  <a:gd name="T91" fmla="*/ 93 h 317"/>
                  <a:gd name="T92" fmla="*/ 55 w 407"/>
                  <a:gd name="T93" fmla="*/ 88 h 317"/>
                  <a:gd name="T94" fmla="*/ 53 w 407"/>
                  <a:gd name="T95" fmla="*/ 85 h 317"/>
                  <a:gd name="T96" fmla="*/ 49 w 407"/>
                  <a:gd name="T97" fmla="*/ 77 h 317"/>
                  <a:gd name="T98" fmla="*/ 48 w 407"/>
                  <a:gd name="T99" fmla="*/ 74 h 317"/>
                  <a:gd name="T100" fmla="*/ 48 w 407"/>
                  <a:gd name="T101" fmla="*/ 67 h 317"/>
                  <a:gd name="T102" fmla="*/ 45 w 407"/>
                  <a:gd name="T103" fmla="*/ 62 h 317"/>
                  <a:gd name="T104" fmla="*/ 43 w 407"/>
                  <a:gd name="T105" fmla="*/ 57 h 317"/>
                  <a:gd name="T106" fmla="*/ 40 w 407"/>
                  <a:gd name="T107" fmla="*/ 52 h 317"/>
                  <a:gd name="T108" fmla="*/ 44 w 407"/>
                  <a:gd name="T109" fmla="*/ 48 h 317"/>
                  <a:gd name="T110" fmla="*/ 44 w 407"/>
                  <a:gd name="T111" fmla="*/ 42 h 317"/>
                  <a:gd name="T112" fmla="*/ 41 w 407"/>
                  <a:gd name="T113" fmla="*/ 38 h 317"/>
                  <a:gd name="T114" fmla="*/ 37 w 407"/>
                  <a:gd name="T115" fmla="*/ 33 h 317"/>
                  <a:gd name="T116" fmla="*/ 32 w 407"/>
                  <a:gd name="T117" fmla="*/ 26 h 317"/>
                  <a:gd name="T118" fmla="*/ 28 w 407"/>
                  <a:gd name="T119" fmla="*/ 18 h 317"/>
                  <a:gd name="T120" fmla="*/ 27 w 407"/>
                  <a:gd name="T121" fmla="*/ 14 h 317"/>
                  <a:gd name="T122" fmla="*/ 27 w 407"/>
                  <a:gd name="T123" fmla="*/ 9 h 317"/>
                  <a:gd name="T124" fmla="*/ 22 w 407"/>
                  <a:gd name="T12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7" h="317">
                    <a:moveTo>
                      <a:pt x="99" y="1"/>
                    </a:moveTo>
                    <a:lnTo>
                      <a:pt x="106" y="1"/>
                    </a:lnTo>
                    <a:lnTo>
                      <a:pt x="113" y="1"/>
                    </a:lnTo>
                    <a:lnTo>
                      <a:pt x="138" y="1"/>
                    </a:lnTo>
                    <a:lnTo>
                      <a:pt x="139" y="1"/>
                    </a:lnTo>
                    <a:lnTo>
                      <a:pt x="169" y="1"/>
                    </a:lnTo>
                    <a:lnTo>
                      <a:pt x="170" y="1"/>
                    </a:lnTo>
                    <a:lnTo>
                      <a:pt x="177" y="1"/>
                    </a:lnTo>
                    <a:lnTo>
                      <a:pt x="215" y="1"/>
                    </a:lnTo>
                    <a:lnTo>
                      <a:pt x="229" y="1"/>
                    </a:lnTo>
                    <a:lnTo>
                      <a:pt x="246" y="1"/>
                    </a:lnTo>
                    <a:lnTo>
                      <a:pt x="250" y="1"/>
                    </a:lnTo>
                    <a:lnTo>
                      <a:pt x="252" y="1"/>
                    </a:lnTo>
                    <a:lnTo>
                      <a:pt x="271" y="1"/>
                    </a:lnTo>
                    <a:lnTo>
                      <a:pt x="290" y="1"/>
                    </a:lnTo>
                    <a:lnTo>
                      <a:pt x="303" y="1"/>
                    </a:lnTo>
                    <a:lnTo>
                      <a:pt x="310" y="1"/>
                    </a:lnTo>
                    <a:lnTo>
                      <a:pt x="319" y="1"/>
                    </a:lnTo>
                    <a:lnTo>
                      <a:pt x="327" y="1"/>
                    </a:lnTo>
                    <a:lnTo>
                      <a:pt x="333" y="1"/>
                    </a:lnTo>
                    <a:lnTo>
                      <a:pt x="338" y="1"/>
                    </a:lnTo>
                    <a:lnTo>
                      <a:pt x="347" y="1"/>
                    </a:lnTo>
                    <a:lnTo>
                      <a:pt x="349" y="1"/>
                    </a:lnTo>
                    <a:lnTo>
                      <a:pt x="351" y="1"/>
                    </a:lnTo>
                    <a:lnTo>
                      <a:pt x="368" y="1"/>
                    </a:lnTo>
                    <a:lnTo>
                      <a:pt x="382" y="1"/>
                    </a:lnTo>
                    <a:lnTo>
                      <a:pt x="390" y="2"/>
                    </a:lnTo>
                    <a:lnTo>
                      <a:pt x="394" y="2"/>
                    </a:lnTo>
                    <a:lnTo>
                      <a:pt x="406" y="1"/>
                    </a:lnTo>
                    <a:lnTo>
                      <a:pt x="406" y="7"/>
                    </a:lnTo>
                    <a:lnTo>
                      <a:pt x="406" y="16"/>
                    </a:lnTo>
                    <a:lnTo>
                      <a:pt x="406" y="26"/>
                    </a:lnTo>
                    <a:lnTo>
                      <a:pt x="407" y="41"/>
                    </a:lnTo>
                    <a:lnTo>
                      <a:pt x="406" y="73"/>
                    </a:lnTo>
                    <a:lnTo>
                      <a:pt x="406" y="113"/>
                    </a:lnTo>
                    <a:lnTo>
                      <a:pt x="406" y="120"/>
                    </a:lnTo>
                    <a:lnTo>
                      <a:pt x="406" y="148"/>
                    </a:lnTo>
                    <a:lnTo>
                      <a:pt x="406" y="150"/>
                    </a:lnTo>
                    <a:lnTo>
                      <a:pt x="406" y="159"/>
                    </a:lnTo>
                    <a:lnTo>
                      <a:pt x="406" y="182"/>
                    </a:lnTo>
                    <a:lnTo>
                      <a:pt x="405" y="182"/>
                    </a:lnTo>
                    <a:lnTo>
                      <a:pt x="405" y="183"/>
                    </a:lnTo>
                    <a:lnTo>
                      <a:pt x="405" y="184"/>
                    </a:lnTo>
                    <a:lnTo>
                      <a:pt x="405" y="185"/>
                    </a:lnTo>
                    <a:lnTo>
                      <a:pt x="404" y="185"/>
                    </a:lnTo>
                    <a:lnTo>
                      <a:pt x="403" y="185"/>
                    </a:lnTo>
                    <a:lnTo>
                      <a:pt x="403" y="184"/>
                    </a:lnTo>
                    <a:lnTo>
                      <a:pt x="402" y="185"/>
                    </a:lnTo>
                    <a:lnTo>
                      <a:pt x="402" y="184"/>
                    </a:lnTo>
                    <a:lnTo>
                      <a:pt x="401" y="184"/>
                    </a:lnTo>
                    <a:lnTo>
                      <a:pt x="402" y="185"/>
                    </a:lnTo>
                    <a:lnTo>
                      <a:pt x="401" y="185"/>
                    </a:lnTo>
                    <a:lnTo>
                      <a:pt x="401" y="187"/>
                    </a:lnTo>
                    <a:lnTo>
                      <a:pt x="400" y="187"/>
                    </a:lnTo>
                    <a:lnTo>
                      <a:pt x="400" y="188"/>
                    </a:lnTo>
                    <a:lnTo>
                      <a:pt x="400" y="189"/>
                    </a:lnTo>
                    <a:lnTo>
                      <a:pt x="401" y="188"/>
                    </a:lnTo>
                    <a:lnTo>
                      <a:pt x="401" y="189"/>
                    </a:lnTo>
                    <a:lnTo>
                      <a:pt x="400" y="189"/>
                    </a:lnTo>
                    <a:lnTo>
                      <a:pt x="398" y="189"/>
                    </a:lnTo>
                    <a:lnTo>
                      <a:pt x="400" y="190"/>
                    </a:lnTo>
                    <a:lnTo>
                      <a:pt x="401" y="190"/>
                    </a:lnTo>
                    <a:lnTo>
                      <a:pt x="401" y="191"/>
                    </a:lnTo>
                    <a:lnTo>
                      <a:pt x="402" y="191"/>
                    </a:lnTo>
                    <a:lnTo>
                      <a:pt x="402" y="192"/>
                    </a:lnTo>
                    <a:lnTo>
                      <a:pt x="401" y="193"/>
                    </a:lnTo>
                    <a:lnTo>
                      <a:pt x="401" y="194"/>
                    </a:lnTo>
                    <a:lnTo>
                      <a:pt x="401" y="195"/>
                    </a:lnTo>
                    <a:lnTo>
                      <a:pt x="401" y="196"/>
                    </a:lnTo>
                    <a:lnTo>
                      <a:pt x="401" y="197"/>
                    </a:lnTo>
                    <a:lnTo>
                      <a:pt x="400" y="198"/>
                    </a:lnTo>
                    <a:lnTo>
                      <a:pt x="398" y="198"/>
                    </a:lnTo>
                    <a:lnTo>
                      <a:pt x="400" y="198"/>
                    </a:lnTo>
                    <a:lnTo>
                      <a:pt x="400" y="200"/>
                    </a:lnTo>
                    <a:lnTo>
                      <a:pt x="398" y="200"/>
                    </a:lnTo>
                    <a:lnTo>
                      <a:pt x="398" y="201"/>
                    </a:lnTo>
                    <a:lnTo>
                      <a:pt x="400" y="201"/>
                    </a:lnTo>
                    <a:lnTo>
                      <a:pt x="400" y="202"/>
                    </a:lnTo>
                    <a:lnTo>
                      <a:pt x="398" y="202"/>
                    </a:lnTo>
                    <a:lnTo>
                      <a:pt x="398" y="203"/>
                    </a:lnTo>
                    <a:lnTo>
                      <a:pt x="400" y="203"/>
                    </a:lnTo>
                    <a:lnTo>
                      <a:pt x="401" y="203"/>
                    </a:lnTo>
                    <a:lnTo>
                      <a:pt x="400" y="204"/>
                    </a:lnTo>
                    <a:lnTo>
                      <a:pt x="401" y="204"/>
                    </a:lnTo>
                    <a:lnTo>
                      <a:pt x="401" y="205"/>
                    </a:lnTo>
                    <a:lnTo>
                      <a:pt x="400" y="205"/>
                    </a:lnTo>
                    <a:lnTo>
                      <a:pt x="398" y="205"/>
                    </a:lnTo>
                    <a:lnTo>
                      <a:pt x="400" y="206"/>
                    </a:lnTo>
                    <a:lnTo>
                      <a:pt x="401" y="206"/>
                    </a:lnTo>
                    <a:lnTo>
                      <a:pt x="401" y="207"/>
                    </a:lnTo>
                    <a:lnTo>
                      <a:pt x="400" y="207"/>
                    </a:lnTo>
                    <a:lnTo>
                      <a:pt x="398" y="207"/>
                    </a:lnTo>
                    <a:lnTo>
                      <a:pt x="397" y="207"/>
                    </a:lnTo>
                    <a:lnTo>
                      <a:pt x="398" y="207"/>
                    </a:lnTo>
                    <a:lnTo>
                      <a:pt x="398" y="208"/>
                    </a:lnTo>
                    <a:lnTo>
                      <a:pt x="397" y="208"/>
                    </a:lnTo>
                    <a:lnTo>
                      <a:pt x="397" y="209"/>
                    </a:lnTo>
                    <a:lnTo>
                      <a:pt x="398" y="210"/>
                    </a:lnTo>
                    <a:lnTo>
                      <a:pt x="397" y="210"/>
                    </a:lnTo>
                    <a:lnTo>
                      <a:pt x="396" y="210"/>
                    </a:lnTo>
                    <a:lnTo>
                      <a:pt x="395" y="209"/>
                    </a:lnTo>
                    <a:lnTo>
                      <a:pt x="394" y="209"/>
                    </a:lnTo>
                    <a:lnTo>
                      <a:pt x="394" y="208"/>
                    </a:lnTo>
                    <a:lnTo>
                      <a:pt x="393" y="209"/>
                    </a:lnTo>
                    <a:lnTo>
                      <a:pt x="393" y="210"/>
                    </a:lnTo>
                    <a:lnTo>
                      <a:pt x="392" y="210"/>
                    </a:lnTo>
                    <a:lnTo>
                      <a:pt x="392" y="211"/>
                    </a:lnTo>
                    <a:lnTo>
                      <a:pt x="391" y="211"/>
                    </a:lnTo>
                    <a:lnTo>
                      <a:pt x="391" y="213"/>
                    </a:lnTo>
                    <a:lnTo>
                      <a:pt x="391" y="214"/>
                    </a:lnTo>
                    <a:lnTo>
                      <a:pt x="392" y="215"/>
                    </a:lnTo>
                    <a:lnTo>
                      <a:pt x="394" y="216"/>
                    </a:lnTo>
                    <a:lnTo>
                      <a:pt x="395" y="216"/>
                    </a:lnTo>
                    <a:lnTo>
                      <a:pt x="396" y="216"/>
                    </a:lnTo>
                    <a:lnTo>
                      <a:pt x="396" y="217"/>
                    </a:lnTo>
                    <a:lnTo>
                      <a:pt x="394" y="217"/>
                    </a:lnTo>
                    <a:lnTo>
                      <a:pt x="394" y="218"/>
                    </a:lnTo>
                    <a:lnTo>
                      <a:pt x="393" y="219"/>
                    </a:lnTo>
                    <a:lnTo>
                      <a:pt x="393" y="220"/>
                    </a:lnTo>
                    <a:lnTo>
                      <a:pt x="392" y="221"/>
                    </a:lnTo>
                    <a:lnTo>
                      <a:pt x="392" y="222"/>
                    </a:lnTo>
                    <a:lnTo>
                      <a:pt x="392" y="223"/>
                    </a:lnTo>
                    <a:lnTo>
                      <a:pt x="393" y="223"/>
                    </a:lnTo>
                    <a:lnTo>
                      <a:pt x="393" y="222"/>
                    </a:lnTo>
                    <a:lnTo>
                      <a:pt x="393" y="223"/>
                    </a:lnTo>
                    <a:lnTo>
                      <a:pt x="393" y="224"/>
                    </a:lnTo>
                    <a:lnTo>
                      <a:pt x="392" y="224"/>
                    </a:lnTo>
                    <a:lnTo>
                      <a:pt x="391" y="226"/>
                    </a:lnTo>
                    <a:lnTo>
                      <a:pt x="390" y="226"/>
                    </a:lnTo>
                    <a:lnTo>
                      <a:pt x="390" y="227"/>
                    </a:lnTo>
                    <a:lnTo>
                      <a:pt x="391" y="227"/>
                    </a:lnTo>
                    <a:lnTo>
                      <a:pt x="391" y="228"/>
                    </a:lnTo>
                    <a:lnTo>
                      <a:pt x="390" y="228"/>
                    </a:lnTo>
                    <a:lnTo>
                      <a:pt x="389" y="228"/>
                    </a:lnTo>
                    <a:lnTo>
                      <a:pt x="389" y="229"/>
                    </a:lnTo>
                    <a:lnTo>
                      <a:pt x="389" y="230"/>
                    </a:lnTo>
                    <a:lnTo>
                      <a:pt x="389" y="231"/>
                    </a:lnTo>
                    <a:lnTo>
                      <a:pt x="389" y="232"/>
                    </a:lnTo>
                    <a:lnTo>
                      <a:pt x="390" y="232"/>
                    </a:lnTo>
                    <a:lnTo>
                      <a:pt x="391" y="233"/>
                    </a:lnTo>
                    <a:lnTo>
                      <a:pt x="391" y="234"/>
                    </a:lnTo>
                    <a:lnTo>
                      <a:pt x="392" y="234"/>
                    </a:lnTo>
                    <a:lnTo>
                      <a:pt x="392" y="235"/>
                    </a:lnTo>
                    <a:lnTo>
                      <a:pt x="391" y="235"/>
                    </a:lnTo>
                    <a:lnTo>
                      <a:pt x="390" y="235"/>
                    </a:lnTo>
                    <a:lnTo>
                      <a:pt x="390" y="234"/>
                    </a:lnTo>
                    <a:lnTo>
                      <a:pt x="390" y="233"/>
                    </a:lnTo>
                    <a:lnTo>
                      <a:pt x="389" y="233"/>
                    </a:lnTo>
                    <a:lnTo>
                      <a:pt x="388" y="234"/>
                    </a:lnTo>
                    <a:lnTo>
                      <a:pt x="388" y="235"/>
                    </a:lnTo>
                    <a:lnTo>
                      <a:pt x="389" y="235"/>
                    </a:lnTo>
                    <a:lnTo>
                      <a:pt x="389" y="236"/>
                    </a:lnTo>
                    <a:lnTo>
                      <a:pt x="388" y="238"/>
                    </a:lnTo>
                    <a:lnTo>
                      <a:pt x="389" y="239"/>
                    </a:lnTo>
                    <a:lnTo>
                      <a:pt x="390" y="238"/>
                    </a:lnTo>
                    <a:lnTo>
                      <a:pt x="390" y="239"/>
                    </a:lnTo>
                    <a:lnTo>
                      <a:pt x="389" y="240"/>
                    </a:lnTo>
                    <a:lnTo>
                      <a:pt x="389" y="241"/>
                    </a:lnTo>
                    <a:lnTo>
                      <a:pt x="389" y="242"/>
                    </a:lnTo>
                    <a:lnTo>
                      <a:pt x="389" y="241"/>
                    </a:lnTo>
                    <a:lnTo>
                      <a:pt x="388" y="240"/>
                    </a:lnTo>
                    <a:lnTo>
                      <a:pt x="385" y="241"/>
                    </a:lnTo>
                    <a:lnTo>
                      <a:pt x="384" y="242"/>
                    </a:lnTo>
                    <a:lnTo>
                      <a:pt x="384" y="243"/>
                    </a:lnTo>
                    <a:lnTo>
                      <a:pt x="384" y="244"/>
                    </a:lnTo>
                    <a:lnTo>
                      <a:pt x="382" y="245"/>
                    </a:lnTo>
                    <a:lnTo>
                      <a:pt x="381" y="245"/>
                    </a:lnTo>
                    <a:lnTo>
                      <a:pt x="380" y="245"/>
                    </a:lnTo>
                    <a:lnTo>
                      <a:pt x="379" y="244"/>
                    </a:lnTo>
                    <a:lnTo>
                      <a:pt x="379" y="245"/>
                    </a:lnTo>
                    <a:lnTo>
                      <a:pt x="377" y="245"/>
                    </a:lnTo>
                    <a:lnTo>
                      <a:pt x="376" y="245"/>
                    </a:lnTo>
                    <a:lnTo>
                      <a:pt x="376" y="246"/>
                    </a:lnTo>
                    <a:lnTo>
                      <a:pt x="376" y="247"/>
                    </a:lnTo>
                    <a:lnTo>
                      <a:pt x="377" y="247"/>
                    </a:lnTo>
                    <a:lnTo>
                      <a:pt x="378" y="247"/>
                    </a:lnTo>
                    <a:lnTo>
                      <a:pt x="379" y="247"/>
                    </a:lnTo>
                    <a:lnTo>
                      <a:pt x="379" y="248"/>
                    </a:lnTo>
                    <a:lnTo>
                      <a:pt x="379" y="249"/>
                    </a:lnTo>
                    <a:lnTo>
                      <a:pt x="378" y="249"/>
                    </a:lnTo>
                    <a:lnTo>
                      <a:pt x="378" y="251"/>
                    </a:lnTo>
                    <a:lnTo>
                      <a:pt x="377" y="251"/>
                    </a:lnTo>
                    <a:lnTo>
                      <a:pt x="376" y="251"/>
                    </a:lnTo>
                    <a:lnTo>
                      <a:pt x="376" y="252"/>
                    </a:lnTo>
                    <a:lnTo>
                      <a:pt x="378" y="252"/>
                    </a:lnTo>
                    <a:lnTo>
                      <a:pt x="378" y="253"/>
                    </a:lnTo>
                    <a:lnTo>
                      <a:pt x="377" y="253"/>
                    </a:lnTo>
                    <a:lnTo>
                      <a:pt x="376" y="253"/>
                    </a:lnTo>
                    <a:lnTo>
                      <a:pt x="376" y="254"/>
                    </a:lnTo>
                    <a:lnTo>
                      <a:pt x="367" y="254"/>
                    </a:lnTo>
                    <a:lnTo>
                      <a:pt x="366" y="254"/>
                    </a:lnTo>
                    <a:lnTo>
                      <a:pt x="365" y="254"/>
                    </a:lnTo>
                    <a:lnTo>
                      <a:pt x="362" y="254"/>
                    </a:lnTo>
                    <a:lnTo>
                      <a:pt x="347" y="254"/>
                    </a:lnTo>
                    <a:lnTo>
                      <a:pt x="337" y="254"/>
                    </a:lnTo>
                    <a:lnTo>
                      <a:pt x="336" y="254"/>
                    </a:lnTo>
                    <a:lnTo>
                      <a:pt x="333" y="254"/>
                    </a:lnTo>
                    <a:lnTo>
                      <a:pt x="332" y="254"/>
                    </a:lnTo>
                    <a:lnTo>
                      <a:pt x="328" y="254"/>
                    </a:lnTo>
                    <a:lnTo>
                      <a:pt x="325" y="254"/>
                    </a:lnTo>
                    <a:lnTo>
                      <a:pt x="305" y="254"/>
                    </a:lnTo>
                    <a:lnTo>
                      <a:pt x="303" y="254"/>
                    </a:lnTo>
                    <a:lnTo>
                      <a:pt x="301" y="254"/>
                    </a:lnTo>
                    <a:lnTo>
                      <a:pt x="293" y="254"/>
                    </a:lnTo>
                    <a:lnTo>
                      <a:pt x="292" y="254"/>
                    </a:lnTo>
                    <a:lnTo>
                      <a:pt x="291" y="254"/>
                    </a:lnTo>
                    <a:lnTo>
                      <a:pt x="269" y="254"/>
                    </a:lnTo>
                    <a:lnTo>
                      <a:pt x="266" y="254"/>
                    </a:lnTo>
                    <a:lnTo>
                      <a:pt x="258" y="254"/>
                    </a:lnTo>
                    <a:lnTo>
                      <a:pt x="242" y="254"/>
                    </a:lnTo>
                    <a:lnTo>
                      <a:pt x="241" y="254"/>
                    </a:lnTo>
                    <a:lnTo>
                      <a:pt x="218" y="254"/>
                    </a:lnTo>
                    <a:lnTo>
                      <a:pt x="218" y="260"/>
                    </a:lnTo>
                    <a:lnTo>
                      <a:pt x="217" y="287"/>
                    </a:lnTo>
                    <a:lnTo>
                      <a:pt x="217" y="305"/>
                    </a:lnTo>
                    <a:lnTo>
                      <a:pt x="217" y="317"/>
                    </a:lnTo>
                    <a:lnTo>
                      <a:pt x="215" y="317"/>
                    </a:lnTo>
                    <a:lnTo>
                      <a:pt x="197" y="317"/>
                    </a:lnTo>
                    <a:lnTo>
                      <a:pt x="186" y="317"/>
                    </a:lnTo>
                    <a:lnTo>
                      <a:pt x="162" y="317"/>
                    </a:lnTo>
                    <a:lnTo>
                      <a:pt x="160" y="317"/>
                    </a:lnTo>
                    <a:lnTo>
                      <a:pt x="139" y="317"/>
                    </a:lnTo>
                    <a:lnTo>
                      <a:pt x="138" y="317"/>
                    </a:lnTo>
                    <a:lnTo>
                      <a:pt x="113" y="317"/>
                    </a:lnTo>
                    <a:lnTo>
                      <a:pt x="68" y="317"/>
                    </a:lnTo>
                    <a:lnTo>
                      <a:pt x="65" y="317"/>
                    </a:lnTo>
                    <a:lnTo>
                      <a:pt x="62" y="317"/>
                    </a:lnTo>
                    <a:lnTo>
                      <a:pt x="61" y="317"/>
                    </a:lnTo>
                    <a:lnTo>
                      <a:pt x="37" y="317"/>
                    </a:lnTo>
                    <a:lnTo>
                      <a:pt x="29" y="317"/>
                    </a:lnTo>
                    <a:lnTo>
                      <a:pt x="5" y="317"/>
                    </a:lnTo>
                    <a:lnTo>
                      <a:pt x="2" y="317"/>
                    </a:lnTo>
                    <a:lnTo>
                      <a:pt x="1" y="317"/>
                    </a:lnTo>
                    <a:lnTo>
                      <a:pt x="1" y="316"/>
                    </a:lnTo>
                    <a:lnTo>
                      <a:pt x="0" y="314"/>
                    </a:lnTo>
                    <a:lnTo>
                      <a:pt x="1" y="313"/>
                    </a:lnTo>
                    <a:lnTo>
                      <a:pt x="1" y="312"/>
                    </a:lnTo>
                    <a:lnTo>
                      <a:pt x="1" y="310"/>
                    </a:lnTo>
                    <a:lnTo>
                      <a:pt x="2" y="309"/>
                    </a:lnTo>
                    <a:lnTo>
                      <a:pt x="2" y="308"/>
                    </a:lnTo>
                    <a:lnTo>
                      <a:pt x="3" y="308"/>
                    </a:lnTo>
                    <a:lnTo>
                      <a:pt x="3" y="306"/>
                    </a:lnTo>
                    <a:lnTo>
                      <a:pt x="4" y="304"/>
                    </a:lnTo>
                    <a:lnTo>
                      <a:pt x="4" y="301"/>
                    </a:lnTo>
                    <a:lnTo>
                      <a:pt x="5" y="300"/>
                    </a:lnTo>
                    <a:lnTo>
                      <a:pt x="5" y="298"/>
                    </a:lnTo>
                    <a:lnTo>
                      <a:pt x="4" y="297"/>
                    </a:lnTo>
                    <a:lnTo>
                      <a:pt x="4" y="296"/>
                    </a:lnTo>
                    <a:lnTo>
                      <a:pt x="5" y="295"/>
                    </a:lnTo>
                    <a:lnTo>
                      <a:pt x="5" y="293"/>
                    </a:lnTo>
                    <a:lnTo>
                      <a:pt x="4" y="292"/>
                    </a:lnTo>
                    <a:lnTo>
                      <a:pt x="4" y="290"/>
                    </a:lnTo>
                    <a:lnTo>
                      <a:pt x="4" y="287"/>
                    </a:lnTo>
                    <a:lnTo>
                      <a:pt x="4" y="286"/>
                    </a:lnTo>
                    <a:lnTo>
                      <a:pt x="4" y="285"/>
                    </a:lnTo>
                    <a:lnTo>
                      <a:pt x="3" y="285"/>
                    </a:lnTo>
                    <a:lnTo>
                      <a:pt x="3" y="284"/>
                    </a:lnTo>
                    <a:lnTo>
                      <a:pt x="2" y="284"/>
                    </a:lnTo>
                    <a:lnTo>
                      <a:pt x="2" y="283"/>
                    </a:lnTo>
                    <a:lnTo>
                      <a:pt x="3" y="283"/>
                    </a:lnTo>
                    <a:lnTo>
                      <a:pt x="3" y="282"/>
                    </a:lnTo>
                    <a:lnTo>
                      <a:pt x="4" y="282"/>
                    </a:lnTo>
                    <a:lnTo>
                      <a:pt x="4" y="281"/>
                    </a:lnTo>
                    <a:lnTo>
                      <a:pt x="3" y="280"/>
                    </a:lnTo>
                    <a:lnTo>
                      <a:pt x="3" y="278"/>
                    </a:lnTo>
                    <a:lnTo>
                      <a:pt x="3" y="277"/>
                    </a:lnTo>
                    <a:lnTo>
                      <a:pt x="4" y="275"/>
                    </a:lnTo>
                    <a:lnTo>
                      <a:pt x="4" y="274"/>
                    </a:lnTo>
                    <a:lnTo>
                      <a:pt x="4" y="273"/>
                    </a:lnTo>
                    <a:lnTo>
                      <a:pt x="5" y="272"/>
                    </a:lnTo>
                    <a:lnTo>
                      <a:pt x="5" y="271"/>
                    </a:lnTo>
                    <a:lnTo>
                      <a:pt x="5" y="270"/>
                    </a:lnTo>
                    <a:lnTo>
                      <a:pt x="5" y="269"/>
                    </a:lnTo>
                    <a:lnTo>
                      <a:pt x="5" y="268"/>
                    </a:lnTo>
                    <a:lnTo>
                      <a:pt x="5" y="266"/>
                    </a:lnTo>
                    <a:lnTo>
                      <a:pt x="5" y="265"/>
                    </a:lnTo>
                    <a:lnTo>
                      <a:pt x="6" y="265"/>
                    </a:lnTo>
                    <a:lnTo>
                      <a:pt x="6" y="266"/>
                    </a:lnTo>
                    <a:lnTo>
                      <a:pt x="8" y="267"/>
                    </a:lnTo>
                    <a:lnTo>
                      <a:pt x="9" y="267"/>
                    </a:lnTo>
                    <a:lnTo>
                      <a:pt x="10" y="267"/>
                    </a:lnTo>
                    <a:lnTo>
                      <a:pt x="11" y="267"/>
                    </a:lnTo>
                    <a:lnTo>
                      <a:pt x="11" y="266"/>
                    </a:lnTo>
                    <a:lnTo>
                      <a:pt x="13" y="265"/>
                    </a:lnTo>
                    <a:lnTo>
                      <a:pt x="14" y="265"/>
                    </a:lnTo>
                    <a:lnTo>
                      <a:pt x="15" y="264"/>
                    </a:lnTo>
                    <a:lnTo>
                      <a:pt x="15" y="262"/>
                    </a:lnTo>
                    <a:lnTo>
                      <a:pt x="15" y="261"/>
                    </a:lnTo>
                    <a:lnTo>
                      <a:pt x="15" y="260"/>
                    </a:lnTo>
                    <a:lnTo>
                      <a:pt x="15" y="259"/>
                    </a:lnTo>
                    <a:lnTo>
                      <a:pt x="14" y="259"/>
                    </a:lnTo>
                    <a:lnTo>
                      <a:pt x="15" y="259"/>
                    </a:lnTo>
                    <a:lnTo>
                      <a:pt x="15" y="258"/>
                    </a:lnTo>
                    <a:lnTo>
                      <a:pt x="15" y="257"/>
                    </a:lnTo>
                    <a:lnTo>
                      <a:pt x="15" y="256"/>
                    </a:lnTo>
                    <a:lnTo>
                      <a:pt x="15" y="255"/>
                    </a:lnTo>
                    <a:lnTo>
                      <a:pt x="16" y="255"/>
                    </a:lnTo>
                    <a:lnTo>
                      <a:pt x="15" y="255"/>
                    </a:lnTo>
                    <a:lnTo>
                      <a:pt x="15" y="254"/>
                    </a:lnTo>
                    <a:lnTo>
                      <a:pt x="16" y="254"/>
                    </a:lnTo>
                    <a:lnTo>
                      <a:pt x="17" y="253"/>
                    </a:lnTo>
                    <a:lnTo>
                      <a:pt x="18" y="252"/>
                    </a:lnTo>
                    <a:lnTo>
                      <a:pt x="18" y="251"/>
                    </a:lnTo>
                    <a:lnTo>
                      <a:pt x="18" y="249"/>
                    </a:lnTo>
                    <a:lnTo>
                      <a:pt x="18" y="246"/>
                    </a:lnTo>
                    <a:lnTo>
                      <a:pt x="17" y="245"/>
                    </a:lnTo>
                    <a:lnTo>
                      <a:pt x="17" y="244"/>
                    </a:lnTo>
                    <a:lnTo>
                      <a:pt x="18" y="244"/>
                    </a:lnTo>
                    <a:lnTo>
                      <a:pt x="19" y="243"/>
                    </a:lnTo>
                    <a:lnTo>
                      <a:pt x="20" y="241"/>
                    </a:lnTo>
                    <a:lnTo>
                      <a:pt x="21" y="241"/>
                    </a:lnTo>
                    <a:lnTo>
                      <a:pt x="20" y="241"/>
                    </a:lnTo>
                    <a:lnTo>
                      <a:pt x="20" y="240"/>
                    </a:lnTo>
                    <a:lnTo>
                      <a:pt x="19" y="240"/>
                    </a:lnTo>
                    <a:lnTo>
                      <a:pt x="17" y="239"/>
                    </a:lnTo>
                    <a:lnTo>
                      <a:pt x="17" y="238"/>
                    </a:lnTo>
                    <a:lnTo>
                      <a:pt x="16" y="236"/>
                    </a:lnTo>
                    <a:lnTo>
                      <a:pt x="15" y="235"/>
                    </a:lnTo>
                    <a:lnTo>
                      <a:pt x="15" y="234"/>
                    </a:lnTo>
                    <a:lnTo>
                      <a:pt x="15" y="233"/>
                    </a:lnTo>
                    <a:lnTo>
                      <a:pt x="16" y="233"/>
                    </a:lnTo>
                    <a:lnTo>
                      <a:pt x="16" y="232"/>
                    </a:lnTo>
                    <a:lnTo>
                      <a:pt x="17" y="232"/>
                    </a:lnTo>
                    <a:lnTo>
                      <a:pt x="18" y="232"/>
                    </a:lnTo>
                    <a:lnTo>
                      <a:pt x="18" y="233"/>
                    </a:lnTo>
                    <a:lnTo>
                      <a:pt x="20" y="234"/>
                    </a:lnTo>
                    <a:lnTo>
                      <a:pt x="21" y="235"/>
                    </a:lnTo>
                    <a:lnTo>
                      <a:pt x="22" y="235"/>
                    </a:lnTo>
                    <a:lnTo>
                      <a:pt x="23" y="235"/>
                    </a:lnTo>
                    <a:lnTo>
                      <a:pt x="23" y="234"/>
                    </a:lnTo>
                    <a:lnTo>
                      <a:pt x="22" y="233"/>
                    </a:lnTo>
                    <a:lnTo>
                      <a:pt x="22" y="232"/>
                    </a:lnTo>
                    <a:lnTo>
                      <a:pt x="22" y="231"/>
                    </a:lnTo>
                    <a:lnTo>
                      <a:pt x="23" y="230"/>
                    </a:lnTo>
                    <a:lnTo>
                      <a:pt x="22" y="229"/>
                    </a:lnTo>
                    <a:lnTo>
                      <a:pt x="21" y="228"/>
                    </a:lnTo>
                    <a:lnTo>
                      <a:pt x="21" y="227"/>
                    </a:lnTo>
                    <a:lnTo>
                      <a:pt x="21" y="226"/>
                    </a:lnTo>
                    <a:lnTo>
                      <a:pt x="21" y="224"/>
                    </a:lnTo>
                    <a:lnTo>
                      <a:pt x="20" y="224"/>
                    </a:lnTo>
                    <a:lnTo>
                      <a:pt x="19" y="226"/>
                    </a:lnTo>
                    <a:lnTo>
                      <a:pt x="19" y="224"/>
                    </a:lnTo>
                    <a:lnTo>
                      <a:pt x="18" y="224"/>
                    </a:lnTo>
                    <a:lnTo>
                      <a:pt x="17" y="224"/>
                    </a:lnTo>
                    <a:lnTo>
                      <a:pt x="17" y="223"/>
                    </a:lnTo>
                    <a:lnTo>
                      <a:pt x="16" y="223"/>
                    </a:lnTo>
                    <a:lnTo>
                      <a:pt x="17" y="222"/>
                    </a:lnTo>
                    <a:lnTo>
                      <a:pt x="17" y="221"/>
                    </a:lnTo>
                    <a:lnTo>
                      <a:pt x="18" y="221"/>
                    </a:lnTo>
                    <a:lnTo>
                      <a:pt x="18" y="220"/>
                    </a:lnTo>
                    <a:lnTo>
                      <a:pt x="17" y="219"/>
                    </a:lnTo>
                    <a:lnTo>
                      <a:pt x="17" y="218"/>
                    </a:lnTo>
                    <a:lnTo>
                      <a:pt x="16" y="218"/>
                    </a:lnTo>
                    <a:lnTo>
                      <a:pt x="15" y="216"/>
                    </a:lnTo>
                    <a:lnTo>
                      <a:pt x="16" y="216"/>
                    </a:lnTo>
                    <a:lnTo>
                      <a:pt x="17" y="216"/>
                    </a:lnTo>
                    <a:lnTo>
                      <a:pt x="18" y="216"/>
                    </a:lnTo>
                    <a:lnTo>
                      <a:pt x="18" y="215"/>
                    </a:lnTo>
                    <a:lnTo>
                      <a:pt x="18" y="214"/>
                    </a:lnTo>
                    <a:lnTo>
                      <a:pt x="17" y="213"/>
                    </a:lnTo>
                    <a:lnTo>
                      <a:pt x="16" y="211"/>
                    </a:lnTo>
                    <a:lnTo>
                      <a:pt x="16" y="210"/>
                    </a:lnTo>
                    <a:lnTo>
                      <a:pt x="17" y="210"/>
                    </a:lnTo>
                    <a:lnTo>
                      <a:pt x="18" y="210"/>
                    </a:lnTo>
                    <a:lnTo>
                      <a:pt x="19" y="210"/>
                    </a:lnTo>
                    <a:lnTo>
                      <a:pt x="19" y="211"/>
                    </a:lnTo>
                    <a:lnTo>
                      <a:pt x="20" y="211"/>
                    </a:lnTo>
                    <a:lnTo>
                      <a:pt x="20" y="213"/>
                    </a:lnTo>
                    <a:lnTo>
                      <a:pt x="21" y="213"/>
                    </a:lnTo>
                    <a:lnTo>
                      <a:pt x="22" y="213"/>
                    </a:lnTo>
                    <a:lnTo>
                      <a:pt x="23" y="213"/>
                    </a:lnTo>
                    <a:lnTo>
                      <a:pt x="24" y="213"/>
                    </a:lnTo>
                    <a:lnTo>
                      <a:pt x="26" y="213"/>
                    </a:lnTo>
                    <a:lnTo>
                      <a:pt x="27" y="213"/>
                    </a:lnTo>
                    <a:lnTo>
                      <a:pt x="28" y="213"/>
                    </a:lnTo>
                    <a:lnTo>
                      <a:pt x="29" y="213"/>
                    </a:lnTo>
                    <a:lnTo>
                      <a:pt x="30" y="211"/>
                    </a:lnTo>
                    <a:lnTo>
                      <a:pt x="31" y="211"/>
                    </a:lnTo>
                    <a:lnTo>
                      <a:pt x="31" y="213"/>
                    </a:lnTo>
                    <a:lnTo>
                      <a:pt x="32" y="213"/>
                    </a:lnTo>
                    <a:lnTo>
                      <a:pt x="33" y="213"/>
                    </a:lnTo>
                    <a:lnTo>
                      <a:pt x="34" y="213"/>
                    </a:lnTo>
                    <a:lnTo>
                      <a:pt x="35" y="213"/>
                    </a:lnTo>
                    <a:lnTo>
                      <a:pt x="36" y="214"/>
                    </a:lnTo>
                    <a:lnTo>
                      <a:pt x="36" y="215"/>
                    </a:lnTo>
                    <a:lnTo>
                      <a:pt x="37" y="214"/>
                    </a:lnTo>
                    <a:lnTo>
                      <a:pt x="39" y="214"/>
                    </a:lnTo>
                    <a:lnTo>
                      <a:pt x="39" y="215"/>
                    </a:lnTo>
                    <a:lnTo>
                      <a:pt x="40" y="215"/>
                    </a:lnTo>
                    <a:lnTo>
                      <a:pt x="40" y="214"/>
                    </a:lnTo>
                    <a:lnTo>
                      <a:pt x="41" y="215"/>
                    </a:lnTo>
                    <a:lnTo>
                      <a:pt x="42" y="215"/>
                    </a:lnTo>
                    <a:lnTo>
                      <a:pt x="43" y="214"/>
                    </a:lnTo>
                    <a:lnTo>
                      <a:pt x="45" y="211"/>
                    </a:lnTo>
                    <a:lnTo>
                      <a:pt x="45" y="210"/>
                    </a:lnTo>
                    <a:lnTo>
                      <a:pt x="46" y="210"/>
                    </a:lnTo>
                    <a:lnTo>
                      <a:pt x="47" y="210"/>
                    </a:lnTo>
                    <a:lnTo>
                      <a:pt x="47" y="209"/>
                    </a:lnTo>
                    <a:lnTo>
                      <a:pt x="47" y="208"/>
                    </a:lnTo>
                    <a:lnTo>
                      <a:pt x="46" y="207"/>
                    </a:lnTo>
                    <a:lnTo>
                      <a:pt x="46" y="206"/>
                    </a:lnTo>
                    <a:lnTo>
                      <a:pt x="45" y="205"/>
                    </a:lnTo>
                    <a:lnTo>
                      <a:pt x="44" y="204"/>
                    </a:lnTo>
                    <a:lnTo>
                      <a:pt x="43" y="204"/>
                    </a:lnTo>
                    <a:lnTo>
                      <a:pt x="43" y="203"/>
                    </a:lnTo>
                    <a:lnTo>
                      <a:pt x="43" y="202"/>
                    </a:lnTo>
                    <a:lnTo>
                      <a:pt x="43" y="201"/>
                    </a:lnTo>
                    <a:lnTo>
                      <a:pt x="44" y="200"/>
                    </a:lnTo>
                    <a:lnTo>
                      <a:pt x="44" y="198"/>
                    </a:lnTo>
                    <a:lnTo>
                      <a:pt x="45" y="197"/>
                    </a:lnTo>
                    <a:lnTo>
                      <a:pt x="45" y="196"/>
                    </a:lnTo>
                    <a:lnTo>
                      <a:pt x="45" y="194"/>
                    </a:lnTo>
                    <a:lnTo>
                      <a:pt x="45" y="193"/>
                    </a:lnTo>
                    <a:lnTo>
                      <a:pt x="45" y="191"/>
                    </a:lnTo>
                    <a:lnTo>
                      <a:pt x="45" y="190"/>
                    </a:lnTo>
                    <a:lnTo>
                      <a:pt x="45" y="188"/>
                    </a:lnTo>
                    <a:lnTo>
                      <a:pt x="45" y="185"/>
                    </a:lnTo>
                    <a:lnTo>
                      <a:pt x="46" y="185"/>
                    </a:lnTo>
                    <a:lnTo>
                      <a:pt x="46" y="183"/>
                    </a:lnTo>
                    <a:lnTo>
                      <a:pt x="47" y="182"/>
                    </a:lnTo>
                    <a:lnTo>
                      <a:pt x="49" y="181"/>
                    </a:lnTo>
                    <a:lnTo>
                      <a:pt x="50" y="180"/>
                    </a:lnTo>
                    <a:lnTo>
                      <a:pt x="50" y="178"/>
                    </a:lnTo>
                    <a:lnTo>
                      <a:pt x="52" y="177"/>
                    </a:lnTo>
                    <a:lnTo>
                      <a:pt x="52" y="176"/>
                    </a:lnTo>
                    <a:lnTo>
                      <a:pt x="50" y="175"/>
                    </a:lnTo>
                    <a:lnTo>
                      <a:pt x="50" y="174"/>
                    </a:lnTo>
                    <a:lnTo>
                      <a:pt x="50" y="171"/>
                    </a:lnTo>
                    <a:lnTo>
                      <a:pt x="50" y="170"/>
                    </a:lnTo>
                    <a:lnTo>
                      <a:pt x="49" y="169"/>
                    </a:lnTo>
                    <a:lnTo>
                      <a:pt x="50" y="168"/>
                    </a:lnTo>
                    <a:lnTo>
                      <a:pt x="50" y="167"/>
                    </a:lnTo>
                    <a:lnTo>
                      <a:pt x="49" y="167"/>
                    </a:lnTo>
                    <a:lnTo>
                      <a:pt x="50" y="166"/>
                    </a:lnTo>
                    <a:lnTo>
                      <a:pt x="50" y="165"/>
                    </a:lnTo>
                    <a:lnTo>
                      <a:pt x="50" y="164"/>
                    </a:lnTo>
                    <a:lnTo>
                      <a:pt x="50" y="163"/>
                    </a:lnTo>
                    <a:lnTo>
                      <a:pt x="52" y="163"/>
                    </a:lnTo>
                    <a:lnTo>
                      <a:pt x="52" y="162"/>
                    </a:lnTo>
                    <a:lnTo>
                      <a:pt x="52" y="161"/>
                    </a:lnTo>
                    <a:lnTo>
                      <a:pt x="52" y="159"/>
                    </a:lnTo>
                    <a:lnTo>
                      <a:pt x="53" y="159"/>
                    </a:lnTo>
                    <a:lnTo>
                      <a:pt x="54" y="159"/>
                    </a:lnTo>
                    <a:lnTo>
                      <a:pt x="54" y="158"/>
                    </a:lnTo>
                    <a:lnTo>
                      <a:pt x="55" y="157"/>
                    </a:lnTo>
                    <a:lnTo>
                      <a:pt x="54" y="156"/>
                    </a:lnTo>
                    <a:lnTo>
                      <a:pt x="54" y="155"/>
                    </a:lnTo>
                    <a:lnTo>
                      <a:pt x="55" y="154"/>
                    </a:lnTo>
                    <a:lnTo>
                      <a:pt x="56" y="153"/>
                    </a:lnTo>
                    <a:lnTo>
                      <a:pt x="56" y="152"/>
                    </a:lnTo>
                    <a:lnTo>
                      <a:pt x="56" y="151"/>
                    </a:lnTo>
                    <a:lnTo>
                      <a:pt x="57" y="151"/>
                    </a:lnTo>
                    <a:lnTo>
                      <a:pt x="58" y="150"/>
                    </a:lnTo>
                    <a:lnTo>
                      <a:pt x="59" y="150"/>
                    </a:lnTo>
                    <a:lnTo>
                      <a:pt x="59" y="149"/>
                    </a:lnTo>
                    <a:lnTo>
                      <a:pt x="60" y="149"/>
                    </a:lnTo>
                    <a:lnTo>
                      <a:pt x="60" y="150"/>
                    </a:lnTo>
                    <a:lnTo>
                      <a:pt x="60" y="149"/>
                    </a:lnTo>
                    <a:lnTo>
                      <a:pt x="61" y="149"/>
                    </a:lnTo>
                    <a:lnTo>
                      <a:pt x="62" y="149"/>
                    </a:lnTo>
                    <a:lnTo>
                      <a:pt x="62" y="148"/>
                    </a:lnTo>
                    <a:lnTo>
                      <a:pt x="62" y="146"/>
                    </a:lnTo>
                    <a:lnTo>
                      <a:pt x="63" y="146"/>
                    </a:lnTo>
                    <a:lnTo>
                      <a:pt x="63" y="145"/>
                    </a:lnTo>
                    <a:lnTo>
                      <a:pt x="63" y="144"/>
                    </a:lnTo>
                    <a:lnTo>
                      <a:pt x="62" y="144"/>
                    </a:lnTo>
                    <a:lnTo>
                      <a:pt x="61" y="144"/>
                    </a:lnTo>
                    <a:lnTo>
                      <a:pt x="60" y="144"/>
                    </a:lnTo>
                    <a:lnTo>
                      <a:pt x="60" y="143"/>
                    </a:lnTo>
                    <a:lnTo>
                      <a:pt x="59" y="142"/>
                    </a:lnTo>
                    <a:lnTo>
                      <a:pt x="58" y="142"/>
                    </a:lnTo>
                    <a:lnTo>
                      <a:pt x="57" y="142"/>
                    </a:lnTo>
                    <a:lnTo>
                      <a:pt x="57" y="141"/>
                    </a:lnTo>
                    <a:lnTo>
                      <a:pt x="57" y="140"/>
                    </a:lnTo>
                    <a:lnTo>
                      <a:pt x="56" y="140"/>
                    </a:lnTo>
                    <a:lnTo>
                      <a:pt x="56" y="139"/>
                    </a:lnTo>
                    <a:lnTo>
                      <a:pt x="56" y="137"/>
                    </a:lnTo>
                    <a:lnTo>
                      <a:pt x="56" y="136"/>
                    </a:lnTo>
                    <a:lnTo>
                      <a:pt x="56" y="134"/>
                    </a:lnTo>
                    <a:lnTo>
                      <a:pt x="57" y="133"/>
                    </a:lnTo>
                    <a:lnTo>
                      <a:pt x="56" y="132"/>
                    </a:lnTo>
                    <a:lnTo>
                      <a:pt x="56" y="131"/>
                    </a:lnTo>
                    <a:lnTo>
                      <a:pt x="56" y="130"/>
                    </a:lnTo>
                    <a:lnTo>
                      <a:pt x="57" y="129"/>
                    </a:lnTo>
                    <a:lnTo>
                      <a:pt x="57" y="128"/>
                    </a:lnTo>
                    <a:lnTo>
                      <a:pt x="56" y="128"/>
                    </a:lnTo>
                    <a:lnTo>
                      <a:pt x="56" y="127"/>
                    </a:lnTo>
                    <a:lnTo>
                      <a:pt x="56" y="126"/>
                    </a:lnTo>
                    <a:lnTo>
                      <a:pt x="56" y="125"/>
                    </a:lnTo>
                    <a:lnTo>
                      <a:pt x="56" y="124"/>
                    </a:lnTo>
                    <a:lnTo>
                      <a:pt x="56" y="123"/>
                    </a:lnTo>
                    <a:lnTo>
                      <a:pt x="56" y="121"/>
                    </a:lnTo>
                    <a:lnTo>
                      <a:pt x="57" y="121"/>
                    </a:lnTo>
                    <a:lnTo>
                      <a:pt x="57" y="120"/>
                    </a:lnTo>
                    <a:lnTo>
                      <a:pt x="56" y="119"/>
                    </a:lnTo>
                    <a:lnTo>
                      <a:pt x="56" y="120"/>
                    </a:lnTo>
                    <a:lnTo>
                      <a:pt x="55" y="119"/>
                    </a:lnTo>
                    <a:lnTo>
                      <a:pt x="55" y="118"/>
                    </a:lnTo>
                    <a:lnTo>
                      <a:pt x="55" y="117"/>
                    </a:lnTo>
                    <a:lnTo>
                      <a:pt x="54" y="116"/>
                    </a:lnTo>
                    <a:lnTo>
                      <a:pt x="53" y="116"/>
                    </a:lnTo>
                    <a:lnTo>
                      <a:pt x="52" y="116"/>
                    </a:lnTo>
                    <a:lnTo>
                      <a:pt x="50" y="116"/>
                    </a:lnTo>
                    <a:lnTo>
                      <a:pt x="50" y="115"/>
                    </a:lnTo>
                    <a:lnTo>
                      <a:pt x="50" y="116"/>
                    </a:lnTo>
                    <a:lnTo>
                      <a:pt x="49" y="116"/>
                    </a:lnTo>
                    <a:lnTo>
                      <a:pt x="49" y="115"/>
                    </a:lnTo>
                    <a:lnTo>
                      <a:pt x="48" y="115"/>
                    </a:lnTo>
                    <a:lnTo>
                      <a:pt x="48" y="116"/>
                    </a:lnTo>
                    <a:lnTo>
                      <a:pt x="48" y="115"/>
                    </a:lnTo>
                    <a:lnTo>
                      <a:pt x="47" y="115"/>
                    </a:lnTo>
                    <a:lnTo>
                      <a:pt x="47" y="116"/>
                    </a:lnTo>
                    <a:lnTo>
                      <a:pt x="47" y="115"/>
                    </a:lnTo>
                    <a:lnTo>
                      <a:pt x="46" y="116"/>
                    </a:lnTo>
                    <a:lnTo>
                      <a:pt x="45" y="115"/>
                    </a:lnTo>
                    <a:lnTo>
                      <a:pt x="46" y="115"/>
                    </a:lnTo>
                    <a:lnTo>
                      <a:pt x="46" y="114"/>
                    </a:lnTo>
                    <a:lnTo>
                      <a:pt x="46" y="113"/>
                    </a:lnTo>
                    <a:lnTo>
                      <a:pt x="45" y="113"/>
                    </a:lnTo>
                    <a:lnTo>
                      <a:pt x="45" y="112"/>
                    </a:lnTo>
                    <a:lnTo>
                      <a:pt x="46" y="112"/>
                    </a:lnTo>
                    <a:lnTo>
                      <a:pt x="45" y="111"/>
                    </a:lnTo>
                    <a:lnTo>
                      <a:pt x="46" y="111"/>
                    </a:lnTo>
                    <a:lnTo>
                      <a:pt x="46" y="110"/>
                    </a:lnTo>
                    <a:lnTo>
                      <a:pt x="47" y="110"/>
                    </a:lnTo>
                    <a:lnTo>
                      <a:pt x="48" y="110"/>
                    </a:lnTo>
                    <a:lnTo>
                      <a:pt x="48" y="108"/>
                    </a:lnTo>
                    <a:lnTo>
                      <a:pt x="48" y="107"/>
                    </a:lnTo>
                    <a:lnTo>
                      <a:pt x="49" y="107"/>
                    </a:lnTo>
                    <a:lnTo>
                      <a:pt x="50" y="107"/>
                    </a:lnTo>
                    <a:lnTo>
                      <a:pt x="50" y="106"/>
                    </a:lnTo>
                    <a:lnTo>
                      <a:pt x="52" y="105"/>
                    </a:lnTo>
                    <a:lnTo>
                      <a:pt x="52" y="104"/>
                    </a:lnTo>
                    <a:lnTo>
                      <a:pt x="53" y="103"/>
                    </a:lnTo>
                    <a:lnTo>
                      <a:pt x="54" y="102"/>
                    </a:lnTo>
                    <a:lnTo>
                      <a:pt x="54" y="101"/>
                    </a:lnTo>
                    <a:lnTo>
                      <a:pt x="54" y="100"/>
                    </a:lnTo>
                    <a:lnTo>
                      <a:pt x="54" y="99"/>
                    </a:lnTo>
                    <a:lnTo>
                      <a:pt x="55" y="99"/>
                    </a:lnTo>
                    <a:lnTo>
                      <a:pt x="56" y="99"/>
                    </a:lnTo>
                    <a:lnTo>
                      <a:pt x="56" y="98"/>
                    </a:lnTo>
                    <a:lnTo>
                      <a:pt x="55" y="98"/>
                    </a:lnTo>
                    <a:lnTo>
                      <a:pt x="54" y="98"/>
                    </a:lnTo>
                    <a:lnTo>
                      <a:pt x="54" y="97"/>
                    </a:lnTo>
                    <a:lnTo>
                      <a:pt x="54" y="95"/>
                    </a:lnTo>
                    <a:lnTo>
                      <a:pt x="55" y="95"/>
                    </a:lnTo>
                    <a:lnTo>
                      <a:pt x="54" y="95"/>
                    </a:lnTo>
                    <a:lnTo>
                      <a:pt x="55" y="95"/>
                    </a:lnTo>
                    <a:lnTo>
                      <a:pt x="55" y="94"/>
                    </a:lnTo>
                    <a:lnTo>
                      <a:pt x="55" y="93"/>
                    </a:lnTo>
                    <a:lnTo>
                      <a:pt x="55" y="92"/>
                    </a:lnTo>
                    <a:lnTo>
                      <a:pt x="55" y="93"/>
                    </a:lnTo>
                    <a:lnTo>
                      <a:pt x="55" y="92"/>
                    </a:lnTo>
                    <a:lnTo>
                      <a:pt x="55" y="91"/>
                    </a:lnTo>
                    <a:lnTo>
                      <a:pt x="54" y="91"/>
                    </a:lnTo>
                    <a:lnTo>
                      <a:pt x="55" y="91"/>
                    </a:lnTo>
                    <a:lnTo>
                      <a:pt x="55" y="90"/>
                    </a:lnTo>
                    <a:lnTo>
                      <a:pt x="54" y="90"/>
                    </a:lnTo>
                    <a:lnTo>
                      <a:pt x="54" y="91"/>
                    </a:lnTo>
                    <a:lnTo>
                      <a:pt x="54" y="90"/>
                    </a:lnTo>
                    <a:lnTo>
                      <a:pt x="54" y="89"/>
                    </a:lnTo>
                    <a:lnTo>
                      <a:pt x="55" y="89"/>
                    </a:lnTo>
                    <a:lnTo>
                      <a:pt x="54" y="89"/>
                    </a:lnTo>
                    <a:lnTo>
                      <a:pt x="55" y="88"/>
                    </a:lnTo>
                    <a:lnTo>
                      <a:pt x="54" y="89"/>
                    </a:lnTo>
                    <a:lnTo>
                      <a:pt x="54" y="88"/>
                    </a:lnTo>
                    <a:lnTo>
                      <a:pt x="55" y="88"/>
                    </a:lnTo>
                    <a:lnTo>
                      <a:pt x="54" y="88"/>
                    </a:lnTo>
                    <a:lnTo>
                      <a:pt x="55" y="87"/>
                    </a:lnTo>
                    <a:lnTo>
                      <a:pt x="54" y="87"/>
                    </a:lnTo>
                    <a:lnTo>
                      <a:pt x="54" y="86"/>
                    </a:lnTo>
                    <a:lnTo>
                      <a:pt x="55" y="87"/>
                    </a:lnTo>
                    <a:lnTo>
                      <a:pt x="55" y="86"/>
                    </a:lnTo>
                    <a:lnTo>
                      <a:pt x="54" y="85"/>
                    </a:lnTo>
                    <a:lnTo>
                      <a:pt x="54" y="86"/>
                    </a:lnTo>
                    <a:lnTo>
                      <a:pt x="53" y="85"/>
                    </a:lnTo>
                    <a:lnTo>
                      <a:pt x="53" y="84"/>
                    </a:lnTo>
                    <a:lnTo>
                      <a:pt x="53" y="82"/>
                    </a:lnTo>
                    <a:lnTo>
                      <a:pt x="52" y="82"/>
                    </a:lnTo>
                    <a:lnTo>
                      <a:pt x="52" y="81"/>
                    </a:lnTo>
                    <a:lnTo>
                      <a:pt x="50" y="81"/>
                    </a:lnTo>
                    <a:lnTo>
                      <a:pt x="50" y="80"/>
                    </a:lnTo>
                    <a:lnTo>
                      <a:pt x="49" y="80"/>
                    </a:lnTo>
                    <a:lnTo>
                      <a:pt x="49" y="79"/>
                    </a:lnTo>
                    <a:lnTo>
                      <a:pt x="49" y="78"/>
                    </a:lnTo>
                    <a:lnTo>
                      <a:pt x="49" y="77"/>
                    </a:lnTo>
                    <a:lnTo>
                      <a:pt x="48" y="77"/>
                    </a:lnTo>
                    <a:lnTo>
                      <a:pt x="49" y="77"/>
                    </a:lnTo>
                    <a:lnTo>
                      <a:pt x="49" y="76"/>
                    </a:lnTo>
                    <a:lnTo>
                      <a:pt x="48" y="76"/>
                    </a:lnTo>
                    <a:lnTo>
                      <a:pt x="49" y="76"/>
                    </a:lnTo>
                    <a:lnTo>
                      <a:pt x="48" y="75"/>
                    </a:lnTo>
                    <a:lnTo>
                      <a:pt x="47" y="75"/>
                    </a:lnTo>
                    <a:lnTo>
                      <a:pt x="47" y="74"/>
                    </a:lnTo>
                    <a:lnTo>
                      <a:pt x="48" y="74"/>
                    </a:lnTo>
                    <a:lnTo>
                      <a:pt x="49" y="74"/>
                    </a:lnTo>
                    <a:lnTo>
                      <a:pt x="49" y="73"/>
                    </a:lnTo>
                    <a:lnTo>
                      <a:pt x="48" y="74"/>
                    </a:lnTo>
                    <a:lnTo>
                      <a:pt x="48" y="73"/>
                    </a:lnTo>
                    <a:lnTo>
                      <a:pt x="48" y="74"/>
                    </a:lnTo>
                    <a:lnTo>
                      <a:pt x="48" y="73"/>
                    </a:lnTo>
                    <a:lnTo>
                      <a:pt x="48" y="72"/>
                    </a:lnTo>
                    <a:lnTo>
                      <a:pt x="49" y="72"/>
                    </a:lnTo>
                    <a:lnTo>
                      <a:pt x="49" y="71"/>
                    </a:lnTo>
                    <a:lnTo>
                      <a:pt x="48" y="71"/>
                    </a:lnTo>
                    <a:lnTo>
                      <a:pt x="49" y="71"/>
                    </a:lnTo>
                    <a:lnTo>
                      <a:pt x="48" y="71"/>
                    </a:lnTo>
                    <a:lnTo>
                      <a:pt x="49" y="69"/>
                    </a:lnTo>
                    <a:lnTo>
                      <a:pt x="48" y="69"/>
                    </a:lnTo>
                    <a:lnTo>
                      <a:pt x="48" y="68"/>
                    </a:lnTo>
                    <a:lnTo>
                      <a:pt x="49" y="67"/>
                    </a:lnTo>
                    <a:lnTo>
                      <a:pt x="48" y="67"/>
                    </a:lnTo>
                    <a:lnTo>
                      <a:pt x="48" y="66"/>
                    </a:lnTo>
                    <a:lnTo>
                      <a:pt x="47" y="66"/>
                    </a:lnTo>
                    <a:lnTo>
                      <a:pt x="47" y="65"/>
                    </a:lnTo>
                    <a:lnTo>
                      <a:pt x="46" y="65"/>
                    </a:lnTo>
                    <a:lnTo>
                      <a:pt x="45" y="65"/>
                    </a:lnTo>
                    <a:lnTo>
                      <a:pt x="45" y="64"/>
                    </a:lnTo>
                    <a:lnTo>
                      <a:pt x="46" y="64"/>
                    </a:lnTo>
                    <a:lnTo>
                      <a:pt x="46" y="63"/>
                    </a:lnTo>
                    <a:lnTo>
                      <a:pt x="45" y="63"/>
                    </a:lnTo>
                    <a:lnTo>
                      <a:pt x="46" y="63"/>
                    </a:lnTo>
                    <a:lnTo>
                      <a:pt x="45" y="63"/>
                    </a:lnTo>
                    <a:lnTo>
                      <a:pt x="45" y="62"/>
                    </a:lnTo>
                    <a:lnTo>
                      <a:pt x="45" y="63"/>
                    </a:lnTo>
                    <a:lnTo>
                      <a:pt x="45" y="62"/>
                    </a:lnTo>
                    <a:lnTo>
                      <a:pt x="44" y="62"/>
                    </a:lnTo>
                    <a:lnTo>
                      <a:pt x="45" y="62"/>
                    </a:lnTo>
                    <a:lnTo>
                      <a:pt x="44" y="62"/>
                    </a:lnTo>
                    <a:lnTo>
                      <a:pt x="45" y="62"/>
                    </a:lnTo>
                    <a:lnTo>
                      <a:pt x="45" y="61"/>
                    </a:lnTo>
                    <a:lnTo>
                      <a:pt x="45" y="60"/>
                    </a:lnTo>
                    <a:lnTo>
                      <a:pt x="45" y="59"/>
                    </a:lnTo>
                    <a:lnTo>
                      <a:pt x="45" y="57"/>
                    </a:lnTo>
                    <a:lnTo>
                      <a:pt x="44" y="57"/>
                    </a:lnTo>
                    <a:lnTo>
                      <a:pt x="43" y="57"/>
                    </a:lnTo>
                    <a:lnTo>
                      <a:pt x="43" y="56"/>
                    </a:lnTo>
                    <a:lnTo>
                      <a:pt x="42" y="56"/>
                    </a:lnTo>
                    <a:lnTo>
                      <a:pt x="42" y="55"/>
                    </a:lnTo>
                    <a:lnTo>
                      <a:pt x="41" y="55"/>
                    </a:lnTo>
                    <a:lnTo>
                      <a:pt x="41" y="54"/>
                    </a:lnTo>
                    <a:lnTo>
                      <a:pt x="42" y="54"/>
                    </a:lnTo>
                    <a:lnTo>
                      <a:pt x="41" y="54"/>
                    </a:lnTo>
                    <a:lnTo>
                      <a:pt x="42" y="54"/>
                    </a:lnTo>
                    <a:lnTo>
                      <a:pt x="41" y="54"/>
                    </a:lnTo>
                    <a:lnTo>
                      <a:pt x="41" y="53"/>
                    </a:lnTo>
                    <a:lnTo>
                      <a:pt x="40" y="53"/>
                    </a:lnTo>
                    <a:lnTo>
                      <a:pt x="40" y="52"/>
                    </a:lnTo>
                    <a:lnTo>
                      <a:pt x="40" y="51"/>
                    </a:lnTo>
                    <a:lnTo>
                      <a:pt x="40" y="50"/>
                    </a:lnTo>
                    <a:lnTo>
                      <a:pt x="40" y="49"/>
                    </a:lnTo>
                    <a:lnTo>
                      <a:pt x="41" y="49"/>
                    </a:lnTo>
                    <a:lnTo>
                      <a:pt x="42" y="49"/>
                    </a:lnTo>
                    <a:lnTo>
                      <a:pt x="41" y="49"/>
                    </a:lnTo>
                    <a:lnTo>
                      <a:pt x="41" y="48"/>
                    </a:lnTo>
                    <a:lnTo>
                      <a:pt x="42" y="48"/>
                    </a:lnTo>
                    <a:lnTo>
                      <a:pt x="43" y="48"/>
                    </a:lnTo>
                    <a:lnTo>
                      <a:pt x="43" y="49"/>
                    </a:lnTo>
                    <a:lnTo>
                      <a:pt x="43" y="48"/>
                    </a:lnTo>
                    <a:lnTo>
                      <a:pt x="44" y="48"/>
                    </a:lnTo>
                    <a:lnTo>
                      <a:pt x="43" y="48"/>
                    </a:lnTo>
                    <a:lnTo>
                      <a:pt x="43" y="47"/>
                    </a:lnTo>
                    <a:lnTo>
                      <a:pt x="43" y="46"/>
                    </a:lnTo>
                    <a:lnTo>
                      <a:pt x="43" y="44"/>
                    </a:lnTo>
                    <a:lnTo>
                      <a:pt x="44" y="43"/>
                    </a:lnTo>
                    <a:lnTo>
                      <a:pt x="43" y="43"/>
                    </a:lnTo>
                    <a:lnTo>
                      <a:pt x="44" y="43"/>
                    </a:lnTo>
                    <a:lnTo>
                      <a:pt x="43" y="43"/>
                    </a:lnTo>
                    <a:lnTo>
                      <a:pt x="43" y="42"/>
                    </a:lnTo>
                    <a:lnTo>
                      <a:pt x="43" y="41"/>
                    </a:lnTo>
                    <a:lnTo>
                      <a:pt x="43" y="42"/>
                    </a:lnTo>
                    <a:lnTo>
                      <a:pt x="44" y="42"/>
                    </a:lnTo>
                    <a:lnTo>
                      <a:pt x="44" y="41"/>
                    </a:lnTo>
                    <a:lnTo>
                      <a:pt x="43" y="41"/>
                    </a:lnTo>
                    <a:lnTo>
                      <a:pt x="42" y="41"/>
                    </a:lnTo>
                    <a:lnTo>
                      <a:pt x="42" y="40"/>
                    </a:lnTo>
                    <a:lnTo>
                      <a:pt x="41" y="40"/>
                    </a:lnTo>
                    <a:lnTo>
                      <a:pt x="42" y="40"/>
                    </a:lnTo>
                    <a:lnTo>
                      <a:pt x="42" y="39"/>
                    </a:lnTo>
                    <a:lnTo>
                      <a:pt x="41" y="39"/>
                    </a:lnTo>
                    <a:lnTo>
                      <a:pt x="41" y="40"/>
                    </a:lnTo>
                    <a:lnTo>
                      <a:pt x="41" y="39"/>
                    </a:lnTo>
                    <a:lnTo>
                      <a:pt x="40" y="39"/>
                    </a:lnTo>
                    <a:lnTo>
                      <a:pt x="41" y="38"/>
                    </a:lnTo>
                    <a:lnTo>
                      <a:pt x="40" y="38"/>
                    </a:lnTo>
                    <a:lnTo>
                      <a:pt x="40" y="37"/>
                    </a:lnTo>
                    <a:lnTo>
                      <a:pt x="40" y="36"/>
                    </a:lnTo>
                    <a:lnTo>
                      <a:pt x="39" y="36"/>
                    </a:lnTo>
                    <a:lnTo>
                      <a:pt x="40" y="36"/>
                    </a:lnTo>
                    <a:lnTo>
                      <a:pt x="40" y="35"/>
                    </a:lnTo>
                    <a:lnTo>
                      <a:pt x="40" y="34"/>
                    </a:lnTo>
                    <a:lnTo>
                      <a:pt x="39" y="34"/>
                    </a:lnTo>
                    <a:lnTo>
                      <a:pt x="39" y="33"/>
                    </a:lnTo>
                    <a:lnTo>
                      <a:pt x="40" y="33"/>
                    </a:lnTo>
                    <a:lnTo>
                      <a:pt x="39" y="33"/>
                    </a:lnTo>
                    <a:lnTo>
                      <a:pt x="37" y="33"/>
                    </a:lnTo>
                    <a:lnTo>
                      <a:pt x="37" y="31"/>
                    </a:lnTo>
                    <a:lnTo>
                      <a:pt x="37" y="30"/>
                    </a:lnTo>
                    <a:lnTo>
                      <a:pt x="36" y="30"/>
                    </a:lnTo>
                    <a:lnTo>
                      <a:pt x="36" y="29"/>
                    </a:lnTo>
                    <a:lnTo>
                      <a:pt x="35" y="29"/>
                    </a:lnTo>
                    <a:lnTo>
                      <a:pt x="35" y="28"/>
                    </a:lnTo>
                    <a:lnTo>
                      <a:pt x="34" y="27"/>
                    </a:lnTo>
                    <a:lnTo>
                      <a:pt x="34" y="28"/>
                    </a:lnTo>
                    <a:lnTo>
                      <a:pt x="33" y="28"/>
                    </a:lnTo>
                    <a:lnTo>
                      <a:pt x="33" y="27"/>
                    </a:lnTo>
                    <a:lnTo>
                      <a:pt x="32" y="27"/>
                    </a:lnTo>
                    <a:lnTo>
                      <a:pt x="32" y="26"/>
                    </a:lnTo>
                    <a:lnTo>
                      <a:pt x="31" y="26"/>
                    </a:lnTo>
                    <a:lnTo>
                      <a:pt x="32" y="25"/>
                    </a:lnTo>
                    <a:lnTo>
                      <a:pt x="31" y="25"/>
                    </a:lnTo>
                    <a:lnTo>
                      <a:pt x="31" y="24"/>
                    </a:lnTo>
                    <a:lnTo>
                      <a:pt x="30" y="23"/>
                    </a:lnTo>
                    <a:lnTo>
                      <a:pt x="31" y="23"/>
                    </a:lnTo>
                    <a:lnTo>
                      <a:pt x="31" y="22"/>
                    </a:lnTo>
                    <a:lnTo>
                      <a:pt x="30" y="22"/>
                    </a:lnTo>
                    <a:lnTo>
                      <a:pt x="30" y="21"/>
                    </a:lnTo>
                    <a:lnTo>
                      <a:pt x="29" y="20"/>
                    </a:lnTo>
                    <a:lnTo>
                      <a:pt x="29" y="18"/>
                    </a:lnTo>
                    <a:lnTo>
                      <a:pt x="28" y="18"/>
                    </a:lnTo>
                    <a:lnTo>
                      <a:pt x="27" y="18"/>
                    </a:lnTo>
                    <a:lnTo>
                      <a:pt x="27" y="17"/>
                    </a:lnTo>
                    <a:lnTo>
                      <a:pt x="28" y="17"/>
                    </a:lnTo>
                    <a:lnTo>
                      <a:pt x="27" y="17"/>
                    </a:lnTo>
                    <a:lnTo>
                      <a:pt x="28" y="16"/>
                    </a:lnTo>
                    <a:lnTo>
                      <a:pt x="27" y="16"/>
                    </a:lnTo>
                    <a:lnTo>
                      <a:pt x="28" y="16"/>
                    </a:lnTo>
                    <a:lnTo>
                      <a:pt x="27" y="16"/>
                    </a:lnTo>
                    <a:lnTo>
                      <a:pt x="27" y="15"/>
                    </a:lnTo>
                    <a:lnTo>
                      <a:pt x="28" y="15"/>
                    </a:lnTo>
                    <a:lnTo>
                      <a:pt x="28" y="14"/>
                    </a:lnTo>
                    <a:lnTo>
                      <a:pt x="27" y="14"/>
                    </a:lnTo>
                    <a:lnTo>
                      <a:pt x="27" y="13"/>
                    </a:lnTo>
                    <a:lnTo>
                      <a:pt x="27" y="14"/>
                    </a:lnTo>
                    <a:lnTo>
                      <a:pt x="28" y="14"/>
                    </a:lnTo>
                    <a:lnTo>
                      <a:pt x="27" y="13"/>
                    </a:lnTo>
                    <a:lnTo>
                      <a:pt x="28" y="13"/>
                    </a:lnTo>
                    <a:lnTo>
                      <a:pt x="27" y="13"/>
                    </a:lnTo>
                    <a:lnTo>
                      <a:pt x="27" y="12"/>
                    </a:lnTo>
                    <a:lnTo>
                      <a:pt x="27" y="11"/>
                    </a:lnTo>
                    <a:lnTo>
                      <a:pt x="27" y="10"/>
                    </a:lnTo>
                    <a:lnTo>
                      <a:pt x="27" y="9"/>
                    </a:lnTo>
                    <a:lnTo>
                      <a:pt x="26" y="9"/>
                    </a:lnTo>
                    <a:lnTo>
                      <a:pt x="27" y="9"/>
                    </a:lnTo>
                    <a:lnTo>
                      <a:pt x="27" y="8"/>
                    </a:lnTo>
                    <a:lnTo>
                      <a:pt x="26" y="8"/>
                    </a:lnTo>
                    <a:lnTo>
                      <a:pt x="26" y="7"/>
                    </a:lnTo>
                    <a:lnTo>
                      <a:pt x="24" y="7"/>
                    </a:lnTo>
                    <a:lnTo>
                      <a:pt x="24" y="5"/>
                    </a:lnTo>
                    <a:lnTo>
                      <a:pt x="23" y="4"/>
                    </a:lnTo>
                    <a:lnTo>
                      <a:pt x="24" y="4"/>
                    </a:lnTo>
                    <a:lnTo>
                      <a:pt x="23" y="3"/>
                    </a:lnTo>
                    <a:lnTo>
                      <a:pt x="23" y="2"/>
                    </a:lnTo>
                    <a:lnTo>
                      <a:pt x="23" y="1"/>
                    </a:lnTo>
                    <a:lnTo>
                      <a:pt x="22" y="1"/>
                    </a:lnTo>
                    <a:lnTo>
                      <a:pt x="22" y="0"/>
                    </a:lnTo>
                    <a:lnTo>
                      <a:pt x="33" y="0"/>
                    </a:lnTo>
                    <a:lnTo>
                      <a:pt x="45" y="0"/>
                    </a:lnTo>
                    <a:lnTo>
                      <a:pt x="53" y="0"/>
                    </a:lnTo>
                    <a:lnTo>
                      <a:pt x="55" y="0"/>
                    </a:lnTo>
                    <a:lnTo>
                      <a:pt x="61" y="0"/>
                    </a:lnTo>
                    <a:lnTo>
                      <a:pt x="83" y="0"/>
                    </a:lnTo>
                    <a:lnTo>
                      <a:pt x="99" y="1"/>
                    </a:lnTo>
                    <a:close/>
                  </a:path>
                </a:pathLst>
              </a:custGeom>
              <a:solidFill>
                <a:srgbClr val="A1CC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3" name="Freeform 53">
                <a:extLst>
                  <a:ext uri="{FF2B5EF4-FFF2-40B4-BE49-F238E27FC236}">
                    <a16:creationId xmlns:a16="http://schemas.microsoft.com/office/drawing/2014/main" id="{C2D3ACA4-7157-E7A5-39C0-8B6B1A96FC5F}"/>
                  </a:ext>
                </a:extLst>
              </p:cNvPr>
              <p:cNvSpPr>
                <a:spLocks/>
              </p:cNvSpPr>
              <p:nvPr/>
            </p:nvSpPr>
            <p:spPr bwMode="auto">
              <a:xfrm>
                <a:off x="2332038" y="1731963"/>
                <a:ext cx="496888" cy="404813"/>
              </a:xfrm>
              <a:custGeom>
                <a:avLst/>
                <a:gdLst>
                  <a:gd name="T0" fmla="*/ 249 w 313"/>
                  <a:gd name="T1" fmla="*/ 22 h 255"/>
                  <a:gd name="T2" fmla="*/ 278 w 313"/>
                  <a:gd name="T3" fmla="*/ 94 h 255"/>
                  <a:gd name="T4" fmla="*/ 312 w 313"/>
                  <a:gd name="T5" fmla="*/ 167 h 255"/>
                  <a:gd name="T6" fmla="*/ 313 w 313"/>
                  <a:gd name="T7" fmla="*/ 199 h 255"/>
                  <a:gd name="T8" fmla="*/ 312 w 313"/>
                  <a:gd name="T9" fmla="*/ 225 h 255"/>
                  <a:gd name="T10" fmla="*/ 288 w 313"/>
                  <a:gd name="T11" fmla="*/ 254 h 255"/>
                  <a:gd name="T12" fmla="*/ 244 w 313"/>
                  <a:gd name="T13" fmla="*/ 254 h 255"/>
                  <a:gd name="T14" fmla="*/ 209 w 313"/>
                  <a:gd name="T15" fmla="*/ 254 h 255"/>
                  <a:gd name="T16" fmla="*/ 152 w 313"/>
                  <a:gd name="T17" fmla="*/ 254 h 255"/>
                  <a:gd name="T18" fmla="*/ 75 w 313"/>
                  <a:gd name="T19" fmla="*/ 254 h 255"/>
                  <a:gd name="T20" fmla="*/ 5 w 313"/>
                  <a:gd name="T21" fmla="*/ 254 h 255"/>
                  <a:gd name="T22" fmla="*/ 2 w 313"/>
                  <a:gd name="T23" fmla="*/ 252 h 255"/>
                  <a:gd name="T24" fmla="*/ 2 w 313"/>
                  <a:gd name="T25" fmla="*/ 250 h 255"/>
                  <a:gd name="T26" fmla="*/ 2 w 313"/>
                  <a:gd name="T27" fmla="*/ 247 h 255"/>
                  <a:gd name="T28" fmla="*/ 0 w 313"/>
                  <a:gd name="T29" fmla="*/ 242 h 255"/>
                  <a:gd name="T30" fmla="*/ 2 w 313"/>
                  <a:gd name="T31" fmla="*/ 242 h 255"/>
                  <a:gd name="T32" fmla="*/ 4 w 313"/>
                  <a:gd name="T33" fmla="*/ 242 h 255"/>
                  <a:gd name="T34" fmla="*/ 5 w 313"/>
                  <a:gd name="T35" fmla="*/ 240 h 255"/>
                  <a:gd name="T36" fmla="*/ 6 w 313"/>
                  <a:gd name="T37" fmla="*/ 239 h 255"/>
                  <a:gd name="T38" fmla="*/ 9 w 313"/>
                  <a:gd name="T39" fmla="*/ 238 h 255"/>
                  <a:gd name="T40" fmla="*/ 9 w 313"/>
                  <a:gd name="T41" fmla="*/ 235 h 255"/>
                  <a:gd name="T42" fmla="*/ 12 w 313"/>
                  <a:gd name="T43" fmla="*/ 232 h 255"/>
                  <a:gd name="T44" fmla="*/ 13 w 313"/>
                  <a:gd name="T45" fmla="*/ 230 h 255"/>
                  <a:gd name="T46" fmla="*/ 13 w 313"/>
                  <a:gd name="T47" fmla="*/ 227 h 255"/>
                  <a:gd name="T48" fmla="*/ 14 w 313"/>
                  <a:gd name="T49" fmla="*/ 224 h 255"/>
                  <a:gd name="T50" fmla="*/ 14 w 313"/>
                  <a:gd name="T51" fmla="*/ 222 h 255"/>
                  <a:gd name="T52" fmla="*/ 14 w 313"/>
                  <a:gd name="T53" fmla="*/ 218 h 255"/>
                  <a:gd name="T54" fmla="*/ 13 w 313"/>
                  <a:gd name="T55" fmla="*/ 216 h 255"/>
                  <a:gd name="T56" fmla="*/ 15 w 313"/>
                  <a:gd name="T57" fmla="*/ 214 h 255"/>
                  <a:gd name="T58" fmla="*/ 14 w 313"/>
                  <a:gd name="T59" fmla="*/ 212 h 255"/>
                  <a:gd name="T60" fmla="*/ 13 w 313"/>
                  <a:gd name="T61" fmla="*/ 210 h 255"/>
                  <a:gd name="T62" fmla="*/ 14 w 313"/>
                  <a:gd name="T63" fmla="*/ 206 h 255"/>
                  <a:gd name="T64" fmla="*/ 15 w 313"/>
                  <a:gd name="T65" fmla="*/ 206 h 255"/>
                  <a:gd name="T66" fmla="*/ 18 w 313"/>
                  <a:gd name="T67" fmla="*/ 204 h 255"/>
                  <a:gd name="T68" fmla="*/ 22 w 313"/>
                  <a:gd name="T69" fmla="*/ 204 h 255"/>
                  <a:gd name="T70" fmla="*/ 24 w 313"/>
                  <a:gd name="T71" fmla="*/ 202 h 255"/>
                  <a:gd name="T72" fmla="*/ 24 w 313"/>
                  <a:gd name="T73" fmla="*/ 199 h 255"/>
                  <a:gd name="T74" fmla="*/ 25 w 313"/>
                  <a:gd name="T75" fmla="*/ 197 h 255"/>
                  <a:gd name="T76" fmla="*/ 27 w 313"/>
                  <a:gd name="T77" fmla="*/ 193 h 255"/>
                  <a:gd name="T78" fmla="*/ 29 w 313"/>
                  <a:gd name="T79" fmla="*/ 190 h 255"/>
                  <a:gd name="T80" fmla="*/ 29 w 313"/>
                  <a:gd name="T81" fmla="*/ 189 h 255"/>
                  <a:gd name="T82" fmla="*/ 29 w 313"/>
                  <a:gd name="T83" fmla="*/ 137 h 255"/>
                  <a:gd name="T84" fmla="*/ 29 w 313"/>
                  <a:gd name="T85" fmla="*/ 112 h 255"/>
                  <a:gd name="T86" fmla="*/ 29 w 313"/>
                  <a:gd name="T87" fmla="*/ 80 h 255"/>
                  <a:gd name="T88" fmla="*/ 28 w 313"/>
                  <a:gd name="T89" fmla="*/ 49 h 255"/>
                  <a:gd name="T90" fmla="*/ 84 w 313"/>
                  <a:gd name="T91" fmla="*/ 32 h 255"/>
                  <a:gd name="T92" fmla="*/ 122 w 313"/>
                  <a:gd name="T93" fmla="*/ 31 h 255"/>
                  <a:gd name="T94" fmla="*/ 122 w 313"/>
                  <a:gd name="T95" fmla="*/ 18 h 255"/>
                  <a:gd name="T96" fmla="*/ 122 w 313"/>
                  <a:gd name="T97" fmla="*/ 0 h 255"/>
                  <a:gd name="T98" fmla="*/ 157 w 313"/>
                  <a:gd name="T99" fmla="*/ 0 h 255"/>
                  <a:gd name="T100" fmla="*/ 168 w 313"/>
                  <a:gd name="T101" fmla="*/ 0 h 255"/>
                  <a:gd name="T102" fmla="*/ 196 w 313"/>
                  <a:gd name="T103" fmla="*/ 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3" h="255">
                    <a:moveTo>
                      <a:pt x="249" y="1"/>
                    </a:moveTo>
                    <a:lnTo>
                      <a:pt x="249" y="3"/>
                    </a:lnTo>
                    <a:lnTo>
                      <a:pt x="249" y="6"/>
                    </a:lnTo>
                    <a:lnTo>
                      <a:pt x="249" y="19"/>
                    </a:lnTo>
                    <a:lnTo>
                      <a:pt x="249" y="22"/>
                    </a:lnTo>
                    <a:lnTo>
                      <a:pt x="249" y="40"/>
                    </a:lnTo>
                    <a:lnTo>
                      <a:pt x="249" y="64"/>
                    </a:lnTo>
                    <a:lnTo>
                      <a:pt x="252" y="68"/>
                    </a:lnTo>
                    <a:lnTo>
                      <a:pt x="259" y="75"/>
                    </a:lnTo>
                    <a:lnTo>
                      <a:pt x="278" y="94"/>
                    </a:lnTo>
                    <a:lnTo>
                      <a:pt x="306" y="122"/>
                    </a:lnTo>
                    <a:lnTo>
                      <a:pt x="307" y="122"/>
                    </a:lnTo>
                    <a:lnTo>
                      <a:pt x="312" y="128"/>
                    </a:lnTo>
                    <a:lnTo>
                      <a:pt x="312" y="160"/>
                    </a:lnTo>
                    <a:lnTo>
                      <a:pt x="312" y="167"/>
                    </a:lnTo>
                    <a:lnTo>
                      <a:pt x="312" y="173"/>
                    </a:lnTo>
                    <a:lnTo>
                      <a:pt x="312" y="179"/>
                    </a:lnTo>
                    <a:lnTo>
                      <a:pt x="312" y="181"/>
                    </a:lnTo>
                    <a:lnTo>
                      <a:pt x="312" y="186"/>
                    </a:lnTo>
                    <a:lnTo>
                      <a:pt x="313" y="199"/>
                    </a:lnTo>
                    <a:lnTo>
                      <a:pt x="312" y="203"/>
                    </a:lnTo>
                    <a:lnTo>
                      <a:pt x="312" y="206"/>
                    </a:lnTo>
                    <a:lnTo>
                      <a:pt x="312" y="207"/>
                    </a:lnTo>
                    <a:lnTo>
                      <a:pt x="312" y="209"/>
                    </a:lnTo>
                    <a:lnTo>
                      <a:pt x="312" y="225"/>
                    </a:lnTo>
                    <a:lnTo>
                      <a:pt x="312" y="252"/>
                    </a:lnTo>
                    <a:lnTo>
                      <a:pt x="312" y="254"/>
                    </a:lnTo>
                    <a:lnTo>
                      <a:pt x="300" y="255"/>
                    </a:lnTo>
                    <a:lnTo>
                      <a:pt x="296" y="255"/>
                    </a:lnTo>
                    <a:lnTo>
                      <a:pt x="288" y="254"/>
                    </a:lnTo>
                    <a:lnTo>
                      <a:pt x="274" y="254"/>
                    </a:lnTo>
                    <a:lnTo>
                      <a:pt x="257" y="254"/>
                    </a:lnTo>
                    <a:lnTo>
                      <a:pt x="255" y="254"/>
                    </a:lnTo>
                    <a:lnTo>
                      <a:pt x="253" y="254"/>
                    </a:lnTo>
                    <a:lnTo>
                      <a:pt x="244" y="254"/>
                    </a:lnTo>
                    <a:lnTo>
                      <a:pt x="239" y="254"/>
                    </a:lnTo>
                    <a:lnTo>
                      <a:pt x="233" y="254"/>
                    </a:lnTo>
                    <a:lnTo>
                      <a:pt x="225" y="254"/>
                    </a:lnTo>
                    <a:lnTo>
                      <a:pt x="216" y="254"/>
                    </a:lnTo>
                    <a:lnTo>
                      <a:pt x="209" y="254"/>
                    </a:lnTo>
                    <a:lnTo>
                      <a:pt x="196" y="254"/>
                    </a:lnTo>
                    <a:lnTo>
                      <a:pt x="177" y="254"/>
                    </a:lnTo>
                    <a:lnTo>
                      <a:pt x="158" y="254"/>
                    </a:lnTo>
                    <a:lnTo>
                      <a:pt x="156" y="254"/>
                    </a:lnTo>
                    <a:lnTo>
                      <a:pt x="152" y="254"/>
                    </a:lnTo>
                    <a:lnTo>
                      <a:pt x="135" y="254"/>
                    </a:lnTo>
                    <a:lnTo>
                      <a:pt x="121" y="254"/>
                    </a:lnTo>
                    <a:lnTo>
                      <a:pt x="83" y="254"/>
                    </a:lnTo>
                    <a:lnTo>
                      <a:pt x="76" y="254"/>
                    </a:lnTo>
                    <a:lnTo>
                      <a:pt x="75" y="254"/>
                    </a:lnTo>
                    <a:lnTo>
                      <a:pt x="45" y="254"/>
                    </a:lnTo>
                    <a:lnTo>
                      <a:pt x="44" y="254"/>
                    </a:lnTo>
                    <a:lnTo>
                      <a:pt x="19" y="254"/>
                    </a:lnTo>
                    <a:lnTo>
                      <a:pt x="12" y="254"/>
                    </a:lnTo>
                    <a:lnTo>
                      <a:pt x="5" y="254"/>
                    </a:lnTo>
                    <a:lnTo>
                      <a:pt x="4" y="254"/>
                    </a:lnTo>
                    <a:lnTo>
                      <a:pt x="4" y="253"/>
                    </a:lnTo>
                    <a:lnTo>
                      <a:pt x="3" y="253"/>
                    </a:lnTo>
                    <a:lnTo>
                      <a:pt x="3" y="252"/>
                    </a:lnTo>
                    <a:lnTo>
                      <a:pt x="2" y="252"/>
                    </a:lnTo>
                    <a:lnTo>
                      <a:pt x="2" y="251"/>
                    </a:lnTo>
                    <a:lnTo>
                      <a:pt x="1" y="251"/>
                    </a:lnTo>
                    <a:lnTo>
                      <a:pt x="1" y="250"/>
                    </a:lnTo>
                    <a:lnTo>
                      <a:pt x="2" y="251"/>
                    </a:lnTo>
                    <a:lnTo>
                      <a:pt x="2" y="250"/>
                    </a:lnTo>
                    <a:lnTo>
                      <a:pt x="2" y="249"/>
                    </a:lnTo>
                    <a:lnTo>
                      <a:pt x="3" y="249"/>
                    </a:lnTo>
                    <a:lnTo>
                      <a:pt x="3" y="248"/>
                    </a:lnTo>
                    <a:lnTo>
                      <a:pt x="2" y="248"/>
                    </a:lnTo>
                    <a:lnTo>
                      <a:pt x="2" y="247"/>
                    </a:lnTo>
                    <a:lnTo>
                      <a:pt x="2" y="245"/>
                    </a:lnTo>
                    <a:lnTo>
                      <a:pt x="1" y="244"/>
                    </a:lnTo>
                    <a:lnTo>
                      <a:pt x="1" y="243"/>
                    </a:lnTo>
                    <a:lnTo>
                      <a:pt x="1" y="242"/>
                    </a:lnTo>
                    <a:lnTo>
                      <a:pt x="0" y="242"/>
                    </a:lnTo>
                    <a:lnTo>
                      <a:pt x="1" y="241"/>
                    </a:lnTo>
                    <a:lnTo>
                      <a:pt x="1" y="242"/>
                    </a:lnTo>
                    <a:lnTo>
                      <a:pt x="1" y="241"/>
                    </a:lnTo>
                    <a:lnTo>
                      <a:pt x="1" y="242"/>
                    </a:lnTo>
                    <a:lnTo>
                      <a:pt x="2" y="242"/>
                    </a:lnTo>
                    <a:lnTo>
                      <a:pt x="1" y="242"/>
                    </a:lnTo>
                    <a:lnTo>
                      <a:pt x="2" y="242"/>
                    </a:lnTo>
                    <a:lnTo>
                      <a:pt x="2" y="243"/>
                    </a:lnTo>
                    <a:lnTo>
                      <a:pt x="3" y="243"/>
                    </a:lnTo>
                    <a:lnTo>
                      <a:pt x="4" y="242"/>
                    </a:lnTo>
                    <a:lnTo>
                      <a:pt x="3" y="242"/>
                    </a:lnTo>
                    <a:lnTo>
                      <a:pt x="3" y="241"/>
                    </a:lnTo>
                    <a:lnTo>
                      <a:pt x="4" y="241"/>
                    </a:lnTo>
                    <a:lnTo>
                      <a:pt x="4" y="240"/>
                    </a:lnTo>
                    <a:lnTo>
                      <a:pt x="5" y="240"/>
                    </a:lnTo>
                    <a:lnTo>
                      <a:pt x="5" y="239"/>
                    </a:lnTo>
                    <a:lnTo>
                      <a:pt x="5" y="238"/>
                    </a:lnTo>
                    <a:lnTo>
                      <a:pt x="6" y="239"/>
                    </a:lnTo>
                    <a:lnTo>
                      <a:pt x="6" y="238"/>
                    </a:lnTo>
                    <a:lnTo>
                      <a:pt x="6" y="239"/>
                    </a:lnTo>
                    <a:lnTo>
                      <a:pt x="6" y="238"/>
                    </a:lnTo>
                    <a:lnTo>
                      <a:pt x="7" y="238"/>
                    </a:lnTo>
                    <a:lnTo>
                      <a:pt x="9" y="238"/>
                    </a:lnTo>
                    <a:lnTo>
                      <a:pt x="9" y="239"/>
                    </a:lnTo>
                    <a:lnTo>
                      <a:pt x="9" y="238"/>
                    </a:lnTo>
                    <a:lnTo>
                      <a:pt x="9" y="237"/>
                    </a:lnTo>
                    <a:lnTo>
                      <a:pt x="10" y="237"/>
                    </a:lnTo>
                    <a:lnTo>
                      <a:pt x="10" y="236"/>
                    </a:lnTo>
                    <a:lnTo>
                      <a:pt x="9" y="236"/>
                    </a:lnTo>
                    <a:lnTo>
                      <a:pt x="9" y="235"/>
                    </a:lnTo>
                    <a:lnTo>
                      <a:pt x="10" y="235"/>
                    </a:lnTo>
                    <a:lnTo>
                      <a:pt x="10" y="234"/>
                    </a:lnTo>
                    <a:lnTo>
                      <a:pt x="11" y="234"/>
                    </a:lnTo>
                    <a:lnTo>
                      <a:pt x="12" y="234"/>
                    </a:lnTo>
                    <a:lnTo>
                      <a:pt x="12" y="232"/>
                    </a:lnTo>
                    <a:lnTo>
                      <a:pt x="11" y="232"/>
                    </a:lnTo>
                    <a:lnTo>
                      <a:pt x="12" y="232"/>
                    </a:lnTo>
                    <a:lnTo>
                      <a:pt x="12" y="231"/>
                    </a:lnTo>
                    <a:lnTo>
                      <a:pt x="13" y="231"/>
                    </a:lnTo>
                    <a:lnTo>
                      <a:pt x="13" y="230"/>
                    </a:lnTo>
                    <a:lnTo>
                      <a:pt x="14" y="230"/>
                    </a:lnTo>
                    <a:lnTo>
                      <a:pt x="14" y="229"/>
                    </a:lnTo>
                    <a:lnTo>
                      <a:pt x="14" y="228"/>
                    </a:lnTo>
                    <a:lnTo>
                      <a:pt x="13" y="228"/>
                    </a:lnTo>
                    <a:lnTo>
                      <a:pt x="13" y="227"/>
                    </a:lnTo>
                    <a:lnTo>
                      <a:pt x="13" y="226"/>
                    </a:lnTo>
                    <a:lnTo>
                      <a:pt x="14" y="226"/>
                    </a:lnTo>
                    <a:lnTo>
                      <a:pt x="13" y="225"/>
                    </a:lnTo>
                    <a:lnTo>
                      <a:pt x="13" y="224"/>
                    </a:lnTo>
                    <a:lnTo>
                      <a:pt x="14" y="224"/>
                    </a:lnTo>
                    <a:lnTo>
                      <a:pt x="13" y="223"/>
                    </a:lnTo>
                    <a:lnTo>
                      <a:pt x="14" y="223"/>
                    </a:lnTo>
                    <a:lnTo>
                      <a:pt x="15" y="223"/>
                    </a:lnTo>
                    <a:lnTo>
                      <a:pt x="15" y="222"/>
                    </a:lnTo>
                    <a:lnTo>
                      <a:pt x="14" y="222"/>
                    </a:lnTo>
                    <a:lnTo>
                      <a:pt x="13" y="222"/>
                    </a:lnTo>
                    <a:lnTo>
                      <a:pt x="13" y="220"/>
                    </a:lnTo>
                    <a:lnTo>
                      <a:pt x="13" y="219"/>
                    </a:lnTo>
                    <a:lnTo>
                      <a:pt x="14" y="219"/>
                    </a:lnTo>
                    <a:lnTo>
                      <a:pt x="14" y="218"/>
                    </a:lnTo>
                    <a:lnTo>
                      <a:pt x="13" y="218"/>
                    </a:lnTo>
                    <a:lnTo>
                      <a:pt x="14" y="218"/>
                    </a:lnTo>
                    <a:lnTo>
                      <a:pt x="14" y="217"/>
                    </a:lnTo>
                    <a:lnTo>
                      <a:pt x="13" y="217"/>
                    </a:lnTo>
                    <a:lnTo>
                      <a:pt x="13" y="216"/>
                    </a:lnTo>
                    <a:lnTo>
                      <a:pt x="14" y="217"/>
                    </a:lnTo>
                    <a:lnTo>
                      <a:pt x="14" y="216"/>
                    </a:lnTo>
                    <a:lnTo>
                      <a:pt x="14" y="215"/>
                    </a:lnTo>
                    <a:lnTo>
                      <a:pt x="14" y="214"/>
                    </a:lnTo>
                    <a:lnTo>
                      <a:pt x="15" y="214"/>
                    </a:lnTo>
                    <a:lnTo>
                      <a:pt x="14" y="214"/>
                    </a:lnTo>
                    <a:lnTo>
                      <a:pt x="15" y="214"/>
                    </a:lnTo>
                    <a:lnTo>
                      <a:pt x="15" y="213"/>
                    </a:lnTo>
                    <a:lnTo>
                      <a:pt x="14" y="213"/>
                    </a:lnTo>
                    <a:lnTo>
                      <a:pt x="14" y="212"/>
                    </a:lnTo>
                    <a:lnTo>
                      <a:pt x="13" y="212"/>
                    </a:lnTo>
                    <a:lnTo>
                      <a:pt x="13" y="211"/>
                    </a:lnTo>
                    <a:lnTo>
                      <a:pt x="14" y="211"/>
                    </a:lnTo>
                    <a:lnTo>
                      <a:pt x="13" y="211"/>
                    </a:lnTo>
                    <a:lnTo>
                      <a:pt x="13" y="210"/>
                    </a:lnTo>
                    <a:lnTo>
                      <a:pt x="13" y="209"/>
                    </a:lnTo>
                    <a:lnTo>
                      <a:pt x="14" y="209"/>
                    </a:lnTo>
                    <a:lnTo>
                      <a:pt x="13" y="207"/>
                    </a:lnTo>
                    <a:lnTo>
                      <a:pt x="14" y="207"/>
                    </a:lnTo>
                    <a:lnTo>
                      <a:pt x="14" y="206"/>
                    </a:lnTo>
                    <a:lnTo>
                      <a:pt x="15" y="206"/>
                    </a:lnTo>
                    <a:lnTo>
                      <a:pt x="15" y="207"/>
                    </a:lnTo>
                    <a:lnTo>
                      <a:pt x="16" y="207"/>
                    </a:lnTo>
                    <a:lnTo>
                      <a:pt x="15" y="207"/>
                    </a:lnTo>
                    <a:lnTo>
                      <a:pt x="15" y="206"/>
                    </a:lnTo>
                    <a:lnTo>
                      <a:pt x="16" y="206"/>
                    </a:lnTo>
                    <a:lnTo>
                      <a:pt x="17" y="206"/>
                    </a:lnTo>
                    <a:lnTo>
                      <a:pt x="17" y="205"/>
                    </a:lnTo>
                    <a:lnTo>
                      <a:pt x="18" y="205"/>
                    </a:lnTo>
                    <a:lnTo>
                      <a:pt x="18" y="204"/>
                    </a:lnTo>
                    <a:lnTo>
                      <a:pt x="19" y="204"/>
                    </a:lnTo>
                    <a:lnTo>
                      <a:pt x="19" y="205"/>
                    </a:lnTo>
                    <a:lnTo>
                      <a:pt x="19" y="204"/>
                    </a:lnTo>
                    <a:lnTo>
                      <a:pt x="20" y="205"/>
                    </a:lnTo>
                    <a:lnTo>
                      <a:pt x="22" y="204"/>
                    </a:lnTo>
                    <a:lnTo>
                      <a:pt x="20" y="204"/>
                    </a:lnTo>
                    <a:lnTo>
                      <a:pt x="22" y="203"/>
                    </a:lnTo>
                    <a:lnTo>
                      <a:pt x="22" y="202"/>
                    </a:lnTo>
                    <a:lnTo>
                      <a:pt x="23" y="202"/>
                    </a:lnTo>
                    <a:lnTo>
                      <a:pt x="24" y="202"/>
                    </a:lnTo>
                    <a:lnTo>
                      <a:pt x="25" y="202"/>
                    </a:lnTo>
                    <a:lnTo>
                      <a:pt x="25" y="201"/>
                    </a:lnTo>
                    <a:lnTo>
                      <a:pt x="24" y="201"/>
                    </a:lnTo>
                    <a:lnTo>
                      <a:pt x="24" y="200"/>
                    </a:lnTo>
                    <a:lnTo>
                      <a:pt x="24" y="199"/>
                    </a:lnTo>
                    <a:lnTo>
                      <a:pt x="25" y="199"/>
                    </a:lnTo>
                    <a:lnTo>
                      <a:pt x="24" y="199"/>
                    </a:lnTo>
                    <a:lnTo>
                      <a:pt x="24" y="198"/>
                    </a:lnTo>
                    <a:lnTo>
                      <a:pt x="24" y="197"/>
                    </a:lnTo>
                    <a:lnTo>
                      <a:pt x="25" y="197"/>
                    </a:lnTo>
                    <a:lnTo>
                      <a:pt x="25" y="196"/>
                    </a:lnTo>
                    <a:lnTo>
                      <a:pt x="26" y="196"/>
                    </a:lnTo>
                    <a:lnTo>
                      <a:pt x="26" y="194"/>
                    </a:lnTo>
                    <a:lnTo>
                      <a:pt x="27" y="194"/>
                    </a:lnTo>
                    <a:lnTo>
                      <a:pt x="27" y="193"/>
                    </a:lnTo>
                    <a:lnTo>
                      <a:pt x="28" y="193"/>
                    </a:lnTo>
                    <a:lnTo>
                      <a:pt x="28" y="192"/>
                    </a:lnTo>
                    <a:lnTo>
                      <a:pt x="28" y="191"/>
                    </a:lnTo>
                    <a:lnTo>
                      <a:pt x="29" y="191"/>
                    </a:lnTo>
                    <a:lnTo>
                      <a:pt x="29" y="190"/>
                    </a:lnTo>
                    <a:lnTo>
                      <a:pt x="29" y="191"/>
                    </a:lnTo>
                    <a:lnTo>
                      <a:pt x="29" y="190"/>
                    </a:lnTo>
                    <a:lnTo>
                      <a:pt x="30" y="190"/>
                    </a:lnTo>
                    <a:lnTo>
                      <a:pt x="30" y="189"/>
                    </a:lnTo>
                    <a:lnTo>
                      <a:pt x="29" y="189"/>
                    </a:lnTo>
                    <a:lnTo>
                      <a:pt x="29" y="179"/>
                    </a:lnTo>
                    <a:lnTo>
                      <a:pt x="30" y="172"/>
                    </a:lnTo>
                    <a:lnTo>
                      <a:pt x="30" y="159"/>
                    </a:lnTo>
                    <a:lnTo>
                      <a:pt x="30" y="154"/>
                    </a:lnTo>
                    <a:lnTo>
                      <a:pt x="29" y="137"/>
                    </a:lnTo>
                    <a:lnTo>
                      <a:pt x="29" y="135"/>
                    </a:lnTo>
                    <a:lnTo>
                      <a:pt x="29" y="128"/>
                    </a:lnTo>
                    <a:lnTo>
                      <a:pt x="29" y="127"/>
                    </a:lnTo>
                    <a:lnTo>
                      <a:pt x="29" y="115"/>
                    </a:lnTo>
                    <a:lnTo>
                      <a:pt x="29" y="112"/>
                    </a:lnTo>
                    <a:lnTo>
                      <a:pt x="29" y="106"/>
                    </a:lnTo>
                    <a:lnTo>
                      <a:pt x="29" y="89"/>
                    </a:lnTo>
                    <a:lnTo>
                      <a:pt x="29" y="88"/>
                    </a:lnTo>
                    <a:lnTo>
                      <a:pt x="29" y="81"/>
                    </a:lnTo>
                    <a:lnTo>
                      <a:pt x="29" y="80"/>
                    </a:lnTo>
                    <a:lnTo>
                      <a:pt x="29" y="78"/>
                    </a:lnTo>
                    <a:lnTo>
                      <a:pt x="29" y="77"/>
                    </a:lnTo>
                    <a:lnTo>
                      <a:pt x="29" y="71"/>
                    </a:lnTo>
                    <a:lnTo>
                      <a:pt x="28" y="61"/>
                    </a:lnTo>
                    <a:lnTo>
                      <a:pt x="28" y="49"/>
                    </a:lnTo>
                    <a:lnTo>
                      <a:pt x="28" y="32"/>
                    </a:lnTo>
                    <a:lnTo>
                      <a:pt x="31" y="32"/>
                    </a:lnTo>
                    <a:lnTo>
                      <a:pt x="44" y="32"/>
                    </a:lnTo>
                    <a:lnTo>
                      <a:pt x="45" y="32"/>
                    </a:lnTo>
                    <a:lnTo>
                      <a:pt x="84" y="32"/>
                    </a:lnTo>
                    <a:lnTo>
                      <a:pt x="102" y="32"/>
                    </a:lnTo>
                    <a:lnTo>
                      <a:pt x="111" y="32"/>
                    </a:lnTo>
                    <a:lnTo>
                      <a:pt x="121" y="32"/>
                    </a:lnTo>
                    <a:lnTo>
                      <a:pt x="122" y="32"/>
                    </a:lnTo>
                    <a:lnTo>
                      <a:pt x="122" y="31"/>
                    </a:lnTo>
                    <a:lnTo>
                      <a:pt x="122" y="27"/>
                    </a:lnTo>
                    <a:lnTo>
                      <a:pt x="122" y="23"/>
                    </a:lnTo>
                    <a:lnTo>
                      <a:pt x="122" y="22"/>
                    </a:lnTo>
                    <a:lnTo>
                      <a:pt x="122" y="20"/>
                    </a:lnTo>
                    <a:lnTo>
                      <a:pt x="122" y="18"/>
                    </a:lnTo>
                    <a:lnTo>
                      <a:pt x="122" y="17"/>
                    </a:lnTo>
                    <a:lnTo>
                      <a:pt x="122" y="16"/>
                    </a:lnTo>
                    <a:lnTo>
                      <a:pt x="122" y="12"/>
                    </a:lnTo>
                    <a:lnTo>
                      <a:pt x="122" y="10"/>
                    </a:lnTo>
                    <a:lnTo>
                      <a:pt x="122" y="0"/>
                    </a:lnTo>
                    <a:lnTo>
                      <a:pt x="127" y="0"/>
                    </a:lnTo>
                    <a:lnTo>
                      <a:pt x="131" y="0"/>
                    </a:lnTo>
                    <a:lnTo>
                      <a:pt x="145" y="0"/>
                    </a:lnTo>
                    <a:lnTo>
                      <a:pt x="148" y="0"/>
                    </a:lnTo>
                    <a:lnTo>
                      <a:pt x="157" y="0"/>
                    </a:lnTo>
                    <a:lnTo>
                      <a:pt x="159" y="0"/>
                    </a:lnTo>
                    <a:lnTo>
                      <a:pt x="162" y="0"/>
                    </a:lnTo>
                    <a:lnTo>
                      <a:pt x="166" y="0"/>
                    </a:lnTo>
                    <a:lnTo>
                      <a:pt x="167" y="0"/>
                    </a:lnTo>
                    <a:lnTo>
                      <a:pt x="168" y="0"/>
                    </a:lnTo>
                    <a:lnTo>
                      <a:pt x="171" y="0"/>
                    </a:lnTo>
                    <a:lnTo>
                      <a:pt x="177" y="0"/>
                    </a:lnTo>
                    <a:lnTo>
                      <a:pt x="178" y="0"/>
                    </a:lnTo>
                    <a:lnTo>
                      <a:pt x="185" y="0"/>
                    </a:lnTo>
                    <a:lnTo>
                      <a:pt x="196" y="1"/>
                    </a:lnTo>
                    <a:lnTo>
                      <a:pt x="203" y="1"/>
                    </a:lnTo>
                    <a:lnTo>
                      <a:pt x="213" y="1"/>
                    </a:lnTo>
                    <a:lnTo>
                      <a:pt x="249" y="1"/>
                    </a:lnTo>
                    <a:close/>
                  </a:path>
                </a:pathLst>
              </a:custGeom>
              <a:solidFill>
                <a:srgbClr val="A6CF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4" name="Freeform 54">
                <a:extLst>
                  <a:ext uri="{FF2B5EF4-FFF2-40B4-BE49-F238E27FC236}">
                    <a16:creationId xmlns:a16="http://schemas.microsoft.com/office/drawing/2014/main" id="{C3842133-DCE8-7FBB-7AF7-2ACA871E12C4}"/>
                  </a:ext>
                </a:extLst>
              </p:cNvPr>
              <p:cNvSpPr>
                <a:spLocks/>
              </p:cNvSpPr>
              <p:nvPr/>
            </p:nvSpPr>
            <p:spPr bwMode="auto">
              <a:xfrm>
                <a:off x="2727326" y="1471613"/>
                <a:ext cx="496888" cy="534988"/>
              </a:xfrm>
              <a:custGeom>
                <a:avLst/>
                <a:gdLst>
                  <a:gd name="T0" fmla="*/ 298 w 313"/>
                  <a:gd name="T1" fmla="*/ 167 h 337"/>
                  <a:gd name="T2" fmla="*/ 294 w 313"/>
                  <a:gd name="T3" fmla="*/ 175 h 337"/>
                  <a:gd name="T4" fmla="*/ 291 w 313"/>
                  <a:gd name="T5" fmla="*/ 185 h 337"/>
                  <a:gd name="T6" fmla="*/ 290 w 313"/>
                  <a:gd name="T7" fmla="*/ 196 h 337"/>
                  <a:gd name="T8" fmla="*/ 284 w 313"/>
                  <a:gd name="T9" fmla="*/ 203 h 337"/>
                  <a:gd name="T10" fmla="*/ 275 w 313"/>
                  <a:gd name="T11" fmla="*/ 214 h 337"/>
                  <a:gd name="T12" fmla="*/ 270 w 313"/>
                  <a:gd name="T13" fmla="*/ 221 h 337"/>
                  <a:gd name="T14" fmla="*/ 262 w 313"/>
                  <a:gd name="T15" fmla="*/ 229 h 337"/>
                  <a:gd name="T16" fmla="*/ 257 w 313"/>
                  <a:gd name="T17" fmla="*/ 238 h 337"/>
                  <a:gd name="T18" fmla="*/ 252 w 313"/>
                  <a:gd name="T19" fmla="*/ 253 h 337"/>
                  <a:gd name="T20" fmla="*/ 249 w 313"/>
                  <a:gd name="T21" fmla="*/ 264 h 337"/>
                  <a:gd name="T22" fmla="*/ 247 w 313"/>
                  <a:gd name="T23" fmla="*/ 276 h 337"/>
                  <a:gd name="T24" fmla="*/ 243 w 313"/>
                  <a:gd name="T25" fmla="*/ 290 h 337"/>
                  <a:gd name="T26" fmla="*/ 242 w 313"/>
                  <a:gd name="T27" fmla="*/ 309 h 337"/>
                  <a:gd name="T28" fmla="*/ 221 w 313"/>
                  <a:gd name="T29" fmla="*/ 324 h 337"/>
                  <a:gd name="T30" fmla="*/ 161 w 313"/>
                  <a:gd name="T31" fmla="*/ 336 h 337"/>
                  <a:gd name="T32" fmla="*/ 154 w 313"/>
                  <a:gd name="T33" fmla="*/ 324 h 337"/>
                  <a:gd name="T34" fmla="*/ 29 w 313"/>
                  <a:gd name="T35" fmla="*/ 258 h 337"/>
                  <a:gd name="T36" fmla="*/ 0 w 313"/>
                  <a:gd name="T37" fmla="*/ 150 h 337"/>
                  <a:gd name="T38" fmla="*/ 39 w 313"/>
                  <a:gd name="T39" fmla="*/ 101 h 337"/>
                  <a:gd name="T40" fmla="*/ 72 w 313"/>
                  <a:gd name="T41" fmla="*/ 98 h 337"/>
                  <a:gd name="T42" fmla="*/ 81 w 313"/>
                  <a:gd name="T43" fmla="*/ 101 h 337"/>
                  <a:gd name="T44" fmla="*/ 90 w 313"/>
                  <a:gd name="T45" fmla="*/ 100 h 337"/>
                  <a:gd name="T46" fmla="*/ 100 w 313"/>
                  <a:gd name="T47" fmla="*/ 100 h 337"/>
                  <a:gd name="T48" fmla="*/ 109 w 313"/>
                  <a:gd name="T49" fmla="*/ 97 h 337"/>
                  <a:gd name="T50" fmla="*/ 117 w 313"/>
                  <a:gd name="T51" fmla="*/ 95 h 337"/>
                  <a:gd name="T52" fmla="*/ 117 w 313"/>
                  <a:gd name="T53" fmla="*/ 87 h 337"/>
                  <a:gd name="T54" fmla="*/ 158 w 313"/>
                  <a:gd name="T55" fmla="*/ 54 h 337"/>
                  <a:gd name="T56" fmla="*/ 174 w 313"/>
                  <a:gd name="T57" fmla="*/ 34 h 337"/>
                  <a:gd name="T58" fmla="*/ 188 w 313"/>
                  <a:gd name="T59" fmla="*/ 29 h 337"/>
                  <a:gd name="T60" fmla="*/ 201 w 313"/>
                  <a:gd name="T61" fmla="*/ 21 h 337"/>
                  <a:gd name="T62" fmla="*/ 213 w 313"/>
                  <a:gd name="T63" fmla="*/ 1 h 337"/>
                  <a:gd name="T64" fmla="*/ 226 w 313"/>
                  <a:gd name="T65" fmla="*/ 2 h 337"/>
                  <a:gd name="T66" fmla="*/ 214 w 313"/>
                  <a:gd name="T67" fmla="*/ 9 h 337"/>
                  <a:gd name="T68" fmla="*/ 221 w 313"/>
                  <a:gd name="T69" fmla="*/ 6 h 337"/>
                  <a:gd name="T70" fmla="*/ 220 w 313"/>
                  <a:gd name="T71" fmla="*/ 14 h 337"/>
                  <a:gd name="T72" fmla="*/ 229 w 313"/>
                  <a:gd name="T73" fmla="*/ 17 h 337"/>
                  <a:gd name="T74" fmla="*/ 223 w 313"/>
                  <a:gd name="T75" fmla="*/ 27 h 337"/>
                  <a:gd name="T76" fmla="*/ 235 w 313"/>
                  <a:gd name="T77" fmla="*/ 18 h 337"/>
                  <a:gd name="T78" fmla="*/ 229 w 313"/>
                  <a:gd name="T79" fmla="*/ 8 h 337"/>
                  <a:gd name="T80" fmla="*/ 239 w 313"/>
                  <a:gd name="T81" fmla="*/ 15 h 337"/>
                  <a:gd name="T82" fmla="*/ 247 w 313"/>
                  <a:gd name="T83" fmla="*/ 13 h 337"/>
                  <a:gd name="T84" fmla="*/ 258 w 313"/>
                  <a:gd name="T85" fmla="*/ 14 h 337"/>
                  <a:gd name="T86" fmla="*/ 268 w 313"/>
                  <a:gd name="T87" fmla="*/ 9 h 337"/>
                  <a:gd name="T88" fmla="*/ 272 w 313"/>
                  <a:gd name="T89" fmla="*/ 16 h 337"/>
                  <a:gd name="T90" fmla="*/ 275 w 313"/>
                  <a:gd name="T91" fmla="*/ 27 h 337"/>
                  <a:gd name="T92" fmla="*/ 283 w 313"/>
                  <a:gd name="T93" fmla="*/ 35 h 337"/>
                  <a:gd name="T94" fmla="*/ 294 w 313"/>
                  <a:gd name="T95" fmla="*/ 46 h 337"/>
                  <a:gd name="T96" fmla="*/ 304 w 313"/>
                  <a:gd name="T97" fmla="*/ 41 h 337"/>
                  <a:gd name="T98" fmla="*/ 310 w 313"/>
                  <a:gd name="T99" fmla="*/ 52 h 337"/>
                  <a:gd name="T100" fmla="*/ 301 w 313"/>
                  <a:gd name="T101" fmla="*/ 56 h 337"/>
                  <a:gd name="T102" fmla="*/ 303 w 313"/>
                  <a:gd name="T103" fmla="*/ 67 h 337"/>
                  <a:gd name="T104" fmla="*/ 299 w 313"/>
                  <a:gd name="T105" fmla="*/ 77 h 337"/>
                  <a:gd name="T106" fmla="*/ 297 w 313"/>
                  <a:gd name="T107" fmla="*/ 97 h 337"/>
                  <a:gd name="T108" fmla="*/ 299 w 313"/>
                  <a:gd name="T109" fmla="*/ 111 h 337"/>
                  <a:gd name="T110" fmla="*/ 303 w 313"/>
                  <a:gd name="T111" fmla="*/ 123 h 337"/>
                  <a:gd name="T112" fmla="*/ 307 w 313"/>
                  <a:gd name="T113" fmla="*/ 133 h 337"/>
                  <a:gd name="T114" fmla="*/ 313 w 313"/>
                  <a:gd name="T115" fmla="*/ 14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 h="337">
                    <a:moveTo>
                      <a:pt x="308" y="158"/>
                    </a:moveTo>
                    <a:lnTo>
                      <a:pt x="305" y="162"/>
                    </a:lnTo>
                    <a:lnTo>
                      <a:pt x="305" y="163"/>
                    </a:lnTo>
                    <a:lnTo>
                      <a:pt x="304" y="163"/>
                    </a:lnTo>
                    <a:lnTo>
                      <a:pt x="303" y="164"/>
                    </a:lnTo>
                    <a:lnTo>
                      <a:pt x="301" y="164"/>
                    </a:lnTo>
                    <a:lnTo>
                      <a:pt x="301" y="165"/>
                    </a:lnTo>
                    <a:lnTo>
                      <a:pt x="300" y="165"/>
                    </a:lnTo>
                    <a:lnTo>
                      <a:pt x="299" y="165"/>
                    </a:lnTo>
                    <a:lnTo>
                      <a:pt x="299" y="167"/>
                    </a:lnTo>
                    <a:lnTo>
                      <a:pt x="298" y="167"/>
                    </a:lnTo>
                    <a:lnTo>
                      <a:pt x="297" y="167"/>
                    </a:lnTo>
                    <a:lnTo>
                      <a:pt x="296" y="167"/>
                    </a:lnTo>
                    <a:lnTo>
                      <a:pt x="296" y="168"/>
                    </a:lnTo>
                    <a:lnTo>
                      <a:pt x="295" y="168"/>
                    </a:lnTo>
                    <a:lnTo>
                      <a:pt x="295" y="169"/>
                    </a:lnTo>
                    <a:lnTo>
                      <a:pt x="295" y="170"/>
                    </a:lnTo>
                    <a:lnTo>
                      <a:pt x="294" y="172"/>
                    </a:lnTo>
                    <a:lnTo>
                      <a:pt x="294" y="173"/>
                    </a:lnTo>
                    <a:lnTo>
                      <a:pt x="295" y="173"/>
                    </a:lnTo>
                    <a:lnTo>
                      <a:pt x="295" y="174"/>
                    </a:lnTo>
                    <a:lnTo>
                      <a:pt x="294" y="175"/>
                    </a:lnTo>
                    <a:lnTo>
                      <a:pt x="294" y="176"/>
                    </a:lnTo>
                    <a:lnTo>
                      <a:pt x="293" y="176"/>
                    </a:lnTo>
                    <a:lnTo>
                      <a:pt x="293" y="177"/>
                    </a:lnTo>
                    <a:lnTo>
                      <a:pt x="292" y="178"/>
                    </a:lnTo>
                    <a:lnTo>
                      <a:pt x="292" y="180"/>
                    </a:lnTo>
                    <a:lnTo>
                      <a:pt x="291" y="181"/>
                    </a:lnTo>
                    <a:lnTo>
                      <a:pt x="291" y="182"/>
                    </a:lnTo>
                    <a:lnTo>
                      <a:pt x="291" y="183"/>
                    </a:lnTo>
                    <a:lnTo>
                      <a:pt x="292" y="183"/>
                    </a:lnTo>
                    <a:lnTo>
                      <a:pt x="291" y="184"/>
                    </a:lnTo>
                    <a:lnTo>
                      <a:pt x="291" y="185"/>
                    </a:lnTo>
                    <a:lnTo>
                      <a:pt x="291" y="186"/>
                    </a:lnTo>
                    <a:lnTo>
                      <a:pt x="290" y="186"/>
                    </a:lnTo>
                    <a:lnTo>
                      <a:pt x="290" y="187"/>
                    </a:lnTo>
                    <a:lnTo>
                      <a:pt x="288" y="188"/>
                    </a:lnTo>
                    <a:lnTo>
                      <a:pt x="287" y="190"/>
                    </a:lnTo>
                    <a:lnTo>
                      <a:pt x="288" y="191"/>
                    </a:lnTo>
                    <a:lnTo>
                      <a:pt x="288" y="193"/>
                    </a:lnTo>
                    <a:lnTo>
                      <a:pt x="290" y="193"/>
                    </a:lnTo>
                    <a:lnTo>
                      <a:pt x="291" y="194"/>
                    </a:lnTo>
                    <a:lnTo>
                      <a:pt x="291" y="195"/>
                    </a:lnTo>
                    <a:lnTo>
                      <a:pt x="290" y="196"/>
                    </a:lnTo>
                    <a:lnTo>
                      <a:pt x="288" y="197"/>
                    </a:lnTo>
                    <a:lnTo>
                      <a:pt x="288" y="198"/>
                    </a:lnTo>
                    <a:lnTo>
                      <a:pt x="288" y="199"/>
                    </a:lnTo>
                    <a:lnTo>
                      <a:pt x="287" y="199"/>
                    </a:lnTo>
                    <a:lnTo>
                      <a:pt x="286" y="199"/>
                    </a:lnTo>
                    <a:lnTo>
                      <a:pt x="286" y="200"/>
                    </a:lnTo>
                    <a:lnTo>
                      <a:pt x="285" y="200"/>
                    </a:lnTo>
                    <a:lnTo>
                      <a:pt x="285" y="201"/>
                    </a:lnTo>
                    <a:lnTo>
                      <a:pt x="285" y="202"/>
                    </a:lnTo>
                    <a:lnTo>
                      <a:pt x="284" y="202"/>
                    </a:lnTo>
                    <a:lnTo>
                      <a:pt x="284" y="203"/>
                    </a:lnTo>
                    <a:lnTo>
                      <a:pt x="284" y="204"/>
                    </a:lnTo>
                    <a:lnTo>
                      <a:pt x="283" y="204"/>
                    </a:lnTo>
                    <a:lnTo>
                      <a:pt x="282" y="204"/>
                    </a:lnTo>
                    <a:lnTo>
                      <a:pt x="281" y="206"/>
                    </a:lnTo>
                    <a:lnTo>
                      <a:pt x="279" y="208"/>
                    </a:lnTo>
                    <a:lnTo>
                      <a:pt x="278" y="209"/>
                    </a:lnTo>
                    <a:lnTo>
                      <a:pt x="277" y="210"/>
                    </a:lnTo>
                    <a:lnTo>
                      <a:pt x="277" y="211"/>
                    </a:lnTo>
                    <a:lnTo>
                      <a:pt x="277" y="212"/>
                    </a:lnTo>
                    <a:lnTo>
                      <a:pt x="275" y="213"/>
                    </a:lnTo>
                    <a:lnTo>
                      <a:pt x="275" y="214"/>
                    </a:lnTo>
                    <a:lnTo>
                      <a:pt x="274" y="215"/>
                    </a:lnTo>
                    <a:lnTo>
                      <a:pt x="274" y="216"/>
                    </a:lnTo>
                    <a:lnTo>
                      <a:pt x="273" y="216"/>
                    </a:lnTo>
                    <a:lnTo>
                      <a:pt x="272" y="215"/>
                    </a:lnTo>
                    <a:lnTo>
                      <a:pt x="271" y="217"/>
                    </a:lnTo>
                    <a:lnTo>
                      <a:pt x="271" y="219"/>
                    </a:lnTo>
                    <a:lnTo>
                      <a:pt x="272" y="219"/>
                    </a:lnTo>
                    <a:lnTo>
                      <a:pt x="272" y="220"/>
                    </a:lnTo>
                    <a:lnTo>
                      <a:pt x="271" y="220"/>
                    </a:lnTo>
                    <a:lnTo>
                      <a:pt x="271" y="221"/>
                    </a:lnTo>
                    <a:lnTo>
                      <a:pt x="270" y="221"/>
                    </a:lnTo>
                    <a:lnTo>
                      <a:pt x="271" y="221"/>
                    </a:lnTo>
                    <a:lnTo>
                      <a:pt x="270" y="222"/>
                    </a:lnTo>
                    <a:lnTo>
                      <a:pt x="269" y="222"/>
                    </a:lnTo>
                    <a:lnTo>
                      <a:pt x="269" y="223"/>
                    </a:lnTo>
                    <a:lnTo>
                      <a:pt x="268" y="223"/>
                    </a:lnTo>
                    <a:lnTo>
                      <a:pt x="268" y="222"/>
                    </a:lnTo>
                    <a:lnTo>
                      <a:pt x="267" y="223"/>
                    </a:lnTo>
                    <a:lnTo>
                      <a:pt x="266" y="223"/>
                    </a:lnTo>
                    <a:lnTo>
                      <a:pt x="265" y="224"/>
                    </a:lnTo>
                    <a:lnTo>
                      <a:pt x="264" y="226"/>
                    </a:lnTo>
                    <a:lnTo>
                      <a:pt x="262" y="229"/>
                    </a:lnTo>
                    <a:lnTo>
                      <a:pt x="262" y="231"/>
                    </a:lnTo>
                    <a:lnTo>
                      <a:pt x="261" y="231"/>
                    </a:lnTo>
                    <a:lnTo>
                      <a:pt x="260" y="232"/>
                    </a:lnTo>
                    <a:lnTo>
                      <a:pt x="260" y="233"/>
                    </a:lnTo>
                    <a:lnTo>
                      <a:pt x="259" y="233"/>
                    </a:lnTo>
                    <a:lnTo>
                      <a:pt x="258" y="233"/>
                    </a:lnTo>
                    <a:lnTo>
                      <a:pt x="258" y="234"/>
                    </a:lnTo>
                    <a:lnTo>
                      <a:pt x="258" y="235"/>
                    </a:lnTo>
                    <a:lnTo>
                      <a:pt x="258" y="236"/>
                    </a:lnTo>
                    <a:lnTo>
                      <a:pt x="258" y="237"/>
                    </a:lnTo>
                    <a:lnTo>
                      <a:pt x="257" y="238"/>
                    </a:lnTo>
                    <a:lnTo>
                      <a:pt x="257" y="239"/>
                    </a:lnTo>
                    <a:lnTo>
                      <a:pt x="257" y="240"/>
                    </a:lnTo>
                    <a:lnTo>
                      <a:pt x="256" y="240"/>
                    </a:lnTo>
                    <a:lnTo>
                      <a:pt x="256" y="241"/>
                    </a:lnTo>
                    <a:lnTo>
                      <a:pt x="256" y="242"/>
                    </a:lnTo>
                    <a:lnTo>
                      <a:pt x="255" y="244"/>
                    </a:lnTo>
                    <a:lnTo>
                      <a:pt x="254" y="246"/>
                    </a:lnTo>
                    <a:lnTo>
                      <a:pt x="252" y="249"/>
                    </a:lnTo>
                    <a:lnTo>
                      <a:pt x="252" y="250"/>
                    </a:lnTo>
                    <a:lnTo>
                      <a:pt x="252" y="252"/>
                    </a:lnTo>
                    <a:lnTo>
                      <a:pt x="252" y="253"/>
                    </a:lnTo>
                    <a:lnTo>
                      <a:pt x="251" y="254"/>
                    </a:lnTo>
                    <a:lnTo>
                      <a:pt x="251" y="255"/>
                    </a:lnTo>
                    <a:lnTo>
                      <a:pt x="249" y="255"/>
                    </a:lnTo>
                    <a:lnTo>
                      <a:pt x="249" y="259"/>
                    </a:lnTo>
                    <a:lnTo>
                      <a:pt x="249" y="260"/>
                    </a:lnTo>
                    <a:lnTo>
                      <a:pt x="248" y="260"/>
                    </a:lnTo>
                    <a:lnTo>
                      <a:pt x="247" y="261"/>
                    </a:lnTo>
                    <a:lnTo>
                      <a:pt x="247" y="262"/>
                    </a:lnTo>
                    <a:lnTo>
                      <a:pt x="248" y="262"/>
                    </a:lnTo>
                    <a:lnTo>
                      <a:pt x="249" y="263"/>
                    </a:lnTo>
                    <a:lnTo>
                      <a:pt x="249" y="264"/>
                    </a:lnTo>
                    <a:lnTo>
                      <a:pt x="251" y="265"/>
                    </a:lnTo>
                    <a:lnTo>
                      <a:pt x="251" y="267"/>
                    </a:lnTo>
                    <a:lnTo>
                      <a:pt x="251" y="268"/>
                    </a:lnTo>
                    <a:lnTo>
                      <a:pt x="249" y="270"/>
                    </a:lnTo>
                    <a:lnTo>
                      <a:pt x="248" y="270"/>
                    </a:lnTo>
                    <a:lnTo>
                      <a:pt x="248" y="271"/>
                    </a:lnTo>
                    <a:lnTo>
                      <a:pt x="247" y="272"/>
                    </a:lnTo>
                    <a:lnTo>
                      <a:pt x="247" y="273"/>
                    </a:lnTo>
                    <a:lnTo>
                      <a:pt x="247" y="274"/>
                    </a:lnTo>
                    <a:lnTo>
                      <a:pt x="247" y="275"/>
                    </a:lnTo>
                    <a:lnTo>
                      <a:pt x="247" y="276"/>
                    </a:lnTo>
                    <a:lnTo>
                      <a:pt x="248" y="278"/>
                    </a:lnTo>
                    <a:lnTo>
                      <a:pt x="248" y="279"/>
                    </a:lnTo>
                    <a:lnTo>
                      <a:pt x="248" y="281"/>
                    </a:lnTo>
                    <a:lnTo>
                      <a:pt x="247" y="284"/>
                    </a:lnTo>
                    <a:lnTo>
                      <a:pt x="247" y="285"/>
                    </a:lnTo>
                    <a:lnTo>
                      <a:pt x="247" y="287"/>
                    </a:lnTo>
                    <a:lnTo>
                      <a:pt x="246" y="289"/>
                    </a:lnTo>
                    <a:lnTo>
                      <a:pt x="245" y="289"/>
                    </a:lnTo>
                    <a:lnTo>
                      <a:pt x="244" y="289"/>
                    </a:lnTo>
                    <a:lnTo>
                      <a:pt x="244" y="290"/>
                    </a:lnTo>
                    <a:lnTo>
                      <a:pt x="243" y="290"/>
                    </a:lnTo>
                    <a:lnTo>
                      <a:pt x="243" y="291"/>
                    </a:lnTo>
                    <a:lnTo>
                      <a:pt x="243" y="292"/>
                    </a:lnTo>
                    <a:lnTo>
                      <a:pt x="243" y="293"/>
                    </a:lnTo>
                    <a:lnTo>
                      <a:pt x="244" y="293"/>
                    </a:lnTo>
                    <a:lnTo>
                      <a:pt x="245" y="293"/>
                    </a:lnTo>
                    <a:lnTo>
                      <a:pt x="244" y="298"/>
                    </a:lnTo>
                    <a:lnTo>
                      <a:pt x="244" y="301"/>
                    </a:lnTo>
                    <a:lnTo>
                      <a:pt x="243" y="303"/>
                    </a:lnTo>
                    <a:lnTo>
                      <a:pt x="243" y="304"/>
                    </a:lnTo>
                    <a:lnTo>
                      <a:pt x="243" y="306"/>
                    </a:lnTo>
                    <a:lnTo>
                      <a:pt x="242" y="309"/>
                    </a:lnTo>
                    <a:lnTo>
                      <a:pt x="242" y="310"/>
                    </a:lnTo>
                    <a:lnTo>
                      <a:pt x="241" y="312"/>
                    </a:lnTo>
                    <a:lnTo>
                      <a:pt x="240" y="313"/>
                    </a:lnTo>
                    <a:lnTo>
                      <a:pt x="240" y="315"/>
                    </a:lnTo>
                    <a:lnTo>
                      <a:pt x="239" y="317"/>
                    </a:lnTo>
                    <a:lnTo>
                      <a:pt x="238" y="318"/>
                    </a:lnTo>
                    <a:lnTo>
                      <a:pt x="235" y="321"/>
                    </a:lnTo>
                    <a:lnTo>
                      <a:pt x="234" y="322"/>
                    </a:lnTo>
                    <a:lnTo>
                      <a:pt x="233" y="323"/>
                    </a:lnTo>
                    <a:lnTo>
                      <a:pt x="233" y="324"/>
                    </a:lnTo>
                    <a:lnTo>
                      <a:pt x="221" y="324"/>
                    </a:lnTo>
                    <a:lnTo>
                      <a:pt x="202" y="324"/>
                    </a:lnTo>
                    <a:lnTo>
                      <a:pt x="201" y="324"/>
                    </a:lnTo>
                    <a:lnTo>
                      <a:pt x="200" y="324"/>
                    </a:lnTo>
                    <a:lnTo>
                      <a:pt x="199" y="324"/>
                    </a:lnTo>
                    <a:lnTo>
                      <a:pt x="190" y="324"/>
                    </a:lnTo>
                    <a:lnTo>
                      <a:pt x="190" y="337"/>
                    </a:lnTo>
                    <a:lnTo>
                      <a:pt x="184" y="337"/>
                    </a:lnTo>
                    <a:lnTo>
                      <a:pt x="178" y="337"/>
                    </a:lnTo>
                    <a:lnTo>
                      <a:pt x="162" y="337"/>
                    </a:lnTo>
                    <a:lnTo>
                      <a:pt x="161" y="337"/>
                    </a:lnTo>
                    <a:lnTo>
                      <a:pt x="161" y="336"/>
                    </a:lnTo>
                    <a:lnTo>
                      <a:pt x="162" y="335"/>
                    </a:lnTo>
                    <a:lnTo>
                      <a:pt x="162" y="334"/>
                    </a:lnTo>
                    <a:lnTo>
                      <a:pt x="161" y="332"/>
                    </a:lnTo>
                    <a:lnTo>
                      <a:pt x="159" y="331"/>
                    </a:lnTo>
                    <a:lnTo>
                      <a:pt x="158" y="331"/>
                    </a:lnTo>
                    <a:lnTo>
                      <a:pt x="157" y="330"/>
                    </a:lnTo>
                    <a:lnTo>
                      <a:pt x="156" y="329"/>
                    </a:lnTo>
                    <a:lnTo>
                      <a:pt x="155" y="328"/>
                    </a:lnTo>
                    <a:lnTo>
                      <a:pt x="154" y="327"/>
                    </a:lnTo>
                    <a:lnTo>
                      <a:pt x="154" y="326"/>
                    </a:lnTo>
                    <a:lnTo>
                      <a:pt x="154" y="324"/>
                    </a:lnTo>
                    <a:lnTo>
                      <a:pt x="153" y="324"/>
                    </a:lnTo>
                    <a:lnTo>
                      <a:pt x="105" y="324"/>
                    </a:lnTo>
                    <a:lnTo>
                      <a:pt x="102" y="324"/>
                    </a:lnTo>
                    <a:lnTo>
                      <a:pt x="101" y="324"/>
                    </a:lnTo>
                    <a:lnTo>
                      <a:pt x="94" y="324"/>
                    </a:lnTo>
                    <a:lnTo>
                      <a:pt x="70" y="324"/>
                    </a:lnTo>
                    <a:lnTo>
                      <a:pt x="63" y="324"/>
                    </a:lnTo>
                    <a:lnTo>
                      <a:pt x="63" y="292"/>
                    </a:lnTo>
                    <a:lnTo>
                      <a:pt x="58" y="286"/>
                    </a:lnTo>
                    <a:lnTo>
                      <a:pt x="57" y="286"/>
                    </a:lnTo>
                    <a:lnTo>
                      <a:pt x="29" y="258"/>
                    </a:lnTo>
                    <a:lnTo>
                      <a:pt x="10" y="239"/>
                    </a:lnTo>
                    <a:lnTo>
                      <a:pt x="3" y="232"/>
                    </a:lnTo>
                    <a:lnTo>
                      <a:pt x="0" y="228"/>
                    </a:lnTo>
                    <a:lnTo>
                      <a:pt x="0" y="204"/>
                    </a:lnTo>
                    <a:lnTo>
                      <a:pt x="0" y="186"/>
                    </a:lnTo>
                    <a:lnTo>
                      <a:pt x="0" y="183"/>
                    </a:lnTo>
                    <a:lnTo>
                      <a:pt x="0" y="170"/>
                    </a:lnTo>
                    <a:lnTo>
                      <a:pt x="0" y="167"/>
                    </a:lnTo>
                    <a:lnTo>
                      <a:pt x="0" y="165"/>
                    </a:lnTo>
                    <a:lnTo>
                      <a:pt x="0" y="157"/>
                    </a:lnTo>
                    <a:lnTo>
                      <a:pt x="0" y="150"/>
                    </a:lnTo>
                    <a:lnTo>
                      <a:pt x="0" y="146"/>
                    </a:lnTo>
                    <a:lnTo>
                      <a:pt x="0" y="137"/>
                    </a:lnTo>
                    <a:lnTo>
                      <a:pt x="0" y="127"/>
                    </a:lnTo>
                    <a:lnTo>
                      <a:pt x="0" y="122"/>
                    </a:lnTo>
                    <a:lnTo>
                      <a:pt x="0" y="101"/>
                    </a:lnTo>
                    <a:lnTo>
                      <a:pt x="19" y="101"/>
                    </a:lnTo>
                    <a:lnTo>
                      <a:pt x="24" y="101"/>
                    </a:lnTo>
                    <a:lnTo>
                      <a:pt x="25" y="101"/>
                    </a:lnTo>
                    <a:lnTo>
                      <a:pt x="26" y="101"/>
                    </a:lnTo>
                    <a:lnTo>
                      <a:pt x="32" y="101"/>
                    </a:lnTo>
                    <a:lnTo>
                      <a:pt x="39" y="101"/>
                    </a:lnTo>
                    <a:lnTo>
                      <a:pt x="53" y="101"/>
                    </a:lnTo>
                    <a:lnTo>
                      <a:pt x="67" y="101"/>
                    </a:lnTo>
                    <a:lnTo>
                      <a:pt x="68" y="101"/>
                    </a:lnTo>
                    <a:lnTo>
                      <a:pt x="68" y="100"/>
                    </a:lnTo>
                    <a:lnTo>
                      <a:pt x="68" y="101"/>
                    </a:lnTo>
                    <a:lnTo>
                      <a:pt x="70" y="101"/>
                    </a:lnTo>
                    <a:lnTo>
                      <a:pt x="71" y="101"/>
                    </a:lnTo>
                    <a:lnTo>
                      <a:pt x="71" y="100"/>
                    </a:lnTo>
                    <a:lnTo>
                      <a:pt x="71" y="99"/>
                    </a:lnTo>
                    <a:lnTo>
                      <a:pt x="72" y="99"/>
                    </a:lnTo>
                    <a:lnTo>
                      <a:pt x="72" y="98"/>
                    </a:lnTo>
                    <a:lnTo>
                      <a:pt x="73" y="98"/>
                    </a:lnTo>
                    <a:lnTo>
                      <a:pt x="74" y="98"/>
                    </a:lnTo>
                    <a:lnTo>
                      <a:pt x="75" y="99"/>
                    </a:lnTo>
                    <a:lnTo>
                      <a:pt x="76" y="99"/>
                    </a:lnTo>
                    <a:lnTo>
                      <a:pt x="77" y="100"/>
                    </a:lnTo>
                    <a:lnTo>
                      <a:pt x="78" y="101"/>
                    </a:lnTo>
                    <a:lnTo>
                      <a:pt x="79" y="101"/>
                    </a:lnTo>
                    <a:lnTo>
                      <a:pt x="79" y="100"/>
                    </a:lnTo>
                    <a:lnTo>
                      <a:pt x="80" y="100"/>
                    </a:lnTo>
                    <a:lnTo>
                      <a:pt x="80" y="101"/>
                    </a:lnTo>
                    <a:lnTo>
                      <a:pt x="81" y="101"/>
                    </a:lnTo>
                    <a:lnTo>
                      <a:pt x="83" y="101"/>
                    </a:lnTo>
                    <a:lnTo>
                      <a:pt x="84" y="101"/>
                    </a:lnTo>
                    <a:lnTo>
                      <a:pt x="85" y="101"/>
                    </a:lnTo>
                    <a:lnTo>
                      <a:pt x="84" y="103"/>
                    </a:lnTo>
                    <a:lnTo>
                      <a:pt x="85" y="103"/>
                    </a:lnTo>
                    <a:lnTo>
                      <a:pt x="86" y="103"/>
                    </a:lnTo>
                    <a:lnTo>
                      <a:pt x="87" y="103"/>
                    </a:lnTo>
                    <a:lnTo>
                      <a:pt x="88" y="103"/>
                    </a:lnTo>
                    <a:lnTo>
                      <a:pt x="89" y="101"/>
                    </a:lnTo>
                    <a:lnTo>
                      <a:pt x="90" y="101"/>
                    </a:lnTo>
                    <a:lnTo>
                      <a:pt x="90" y="100"/>
                    </a:lnTo>
                    <a:lnTo>
                      <a:pt x="91" y="101"/>
                    </a:lnTo>
                    <a:lnTo>
                      <a:pt x="92" y="101"/>
                    </a:lnTo>
                    <a:lnTo>
                      <a:pt x="93" y="101"/>
                    </a:lnTo>
                    <a:lnTo>
                      <a:pt x="93" y="103"/>
                    </a:lnTo>
                    <a:lnTo>
                      <a:pt x="94" y="103"/>
                    </a:lnTo>
                    <a:lnTo>
                      <a:pt x="96" y="101"/>
                    </a:lnTo>
                    <a:lnTo>
                      <a:pt x="97" y="101"/>
                    </a:lnTo>
                    <a:lnTo>
                      <a:pt x="98" y="101"/>
                    </a:lnTo>
                    <a:lnTo>
                      <a:pt x="98" y="100"/>
                    </a:lnTo>
                    <a:lnTo>
                      <a:pt x="99" y="100"/>
                    </a:lnTo>
                    <a:lnTo>
                      <a:pt x="100" y="100"/>
                    </a:lnTo>
                    <a:lnTo>
                      <a:pt x="101" y="99"/>
                    </a:lnTo>
                    <a:lnTo>
                      <a:pt x="101" y="98"/>
                    </a:lnTo>
                    <a:lnTo>
                      <a:pt x="101" y="97"/>
                    </a:lnTo>
                    <a:lnTo>
                      <a:pt x="102" y="98"/>
                    </a:lnTo>
                    <a:lnTo>
                      <a:pt x="102" y="97"/>
                    </a:lnTo>
                    <a:lnTo>
                      <a:pt x="103" y="97"/>
                    </a:lnTo>
                    <a:lnTo>
                      <a:pt x="104" y="97"/>
                    </a:lnTo>
                    <a:lnTo>
                      <a:pt x="105" y="97"/>
                    </a:lnTo>
                    <a:lnTo>
                      <a:pt x="106" y="97"/>
                    </a:lnTo>
                    <a:lnTo>
                      <a:pt x="107" y="97"/>
                    </a:lnTo>
                    <a:lnTo>
                      <a:pt x="109" y="97"/>
                    </a:lnTo>
                    <a:lnTo>
                      <a:pt x="110" y="97"/>
                    </a:lnTo>
                    <a:lnTo>
                      <a:pt x="111" y="97"/>
                    </a:lnTo>
                    <a:lnTo>
                      <a:pt x="112" y="98"/>
                    </a:lnTo>
                    <a:lnTo>
                      <a:pt x="113" y="97"/>
                    </a:lnTo>
                    <a:lnTo>
                      <a:pt x="114" y="97"/>
                    </a:lnTo>
                    <a:lnTo>
                      <a:pt x="114" y="96"/>
                    </a:lnTo>
                    <a:lnTo>
                      <a:pt x="115" y="97"/>
                    </a:lnTo>
                    <a:lnTo>
                      <a:pt x="115" y="96"/>
                    </a:lnTo>
                    <a:lnTo>
                      <a:pt x="116" y="96"/>
                    </a:lnTo>
                    <a:lnTo>
                      <a:pt x="117" y="96"/>
                    </a:lnTo>
                    <a:lnTo>
                      <a:pt x="117" y="95"/>
                    </a:lnTo>
                    <a:lnTo>
                      <a:pt x="118" y="95"/>
                    </a:lnTo>
                    <a:lnTo>
                      <a:pt x="118" y="94"/>
                    </a:lnTo>
                    <a:lnTo>
                      <a:pt x="118" y="93"/>
                    </a:lnTo>
                    <a:lnTo>
                      <a:pt x="117" y="93"/>
                    </a:lnTo>
                    <a:lnTo>
                      <a:pt x="118" y="92"/>
                    </a:lnTo>
                    <a:lnTo>
                      <a:pt x="117" y="92"/>
                    </a:lnTo>
                    <a:lnTo>
                      <a:pt x="117" y="91"/>
                    </a:lnTo>
                    <a:lnTo>
                      <a:pt x="117" y="90"/>
                    </a:lnTo>
                    <a:lnTo>
                      <a:pt x="118" y="90"/>
                    </a:lnTo>
                    <a:lnTo>
                      <a:pt x="117" y="88"/>
                    </a:lnTo>
                    <a:lnTo>
                      <a:pt x="117" y="87"/>
                    </a:lnTo>
                    <a:lnTo>
                      <a:pt x="117" y="86"/>
                    </a:lnTo>
                    <a:lnTo>
                      <a:pt x="117" y="85"/>
                    </a:lnTo>
                    <a:lnTo>
                      <a:pt x="118" y="85"/>
                    </a:lnTo>
                    <a:lnTo>
                      <a:pt x="118" y="84"/>
                    </a:lnTo>
                    <a:lnTo>
                      <a:pt x="118" y="83"/>
                    </a:lnTo>
                    <a:lnTo>
                      <a:pt x="118" y="82"/>
                    </a:lnTo>
                    <a:lnTo>
                      <a:pt x="119" y="82"/>
                    </a:lnTo>
                    <a:lnTo>
                      <a:pt x="119" y="81"/>
                    </a:lnTo>
                    <a:lnTo>
                      <a:pt x="120" y="81"/>
                    </a:lnTo>
                    <a:lnTo>
                      <a:pt x="154" y="57"/>
                    </a:lnTo>
                    <a:lnTo>
                      <a:pt x="158" y="54"/>
                    </a:lnTo>
                    <a:lnTo>
                      <a:pt x="169" y="45"/>
                    </a:lnTo>
                    <a:lnTo>
                      <a:pt x="170" y="45"/>
                    </a:lnTo>
                    <a:lnTo>
                      <a:pt x="168" y="42"/>
                    </a:lnTo>
                    <a:lnTo>
                      <a:pt x="168" y="41"/>
                    </a:lnTo>
                    <a:lnTo>
                      <a:pt x="168" y="40"/>
                    </a:lnTo>
                    <a:lnTo>
                      <a:pt x="168" y="37"/>
                    </a:lnTo>
                    <a:lnTo>
                      <a:pt x="168" y="35"/>
                    </a:lnTo>
                    <a:lnTo>
                      <a:pt x="169" y="34"/>
                    </a:lnTo>
                    <a:lnTo>
                      <a:pt x="170" y="34"/>
                    </a:lnTo>
                    <a:lnTo>
                      <a:pt x="172" y="34"/>
                    </a:lnTo>
                    <a:lnTo>
                      <a:pt x="174" y="34"/>
                    </a:lnTo>
                    <a:lnTo>
                      <a:pt x="175" y="34"/>
                    </a:lnTo>
                    <a:lnTo>
                      <a:pt x="176" y="34"/>
                    </a:lnTo>
                    <a:lnTo>
                      <a:pt x="179" y="35"/>
                    </a:lnTo>
                    <a:lnTo>
                      <a:pt x="180" y="35"/>
                    </a:lnTo>
                    <a:lnTo>
                      <a:pt x="181" y="35"/>
                    </a:lnTo>
                    <a:lnTo>
                      <a:pt x="182" y="35"/>
                    </a:lnTo>
                    <a:lnTo>
                      <a:pt x="182" y="34"/>
                    </a:lnTo>
                    <a:lnTo>
                      <a:pt x="184" y="33"/>
                    </a:lnTo>
                    <a:lnTo>
                      <a:pt x="186" y="32"/>
                    </a:lnTo>
                    <a:lnTo>
                      <a:pt x="187" y="30"/>
                    </a:lnTo>
                    <a:lnTo>
                      <a:pt x="188" y="29"/>
                    </a:lnTo>
                    <a:lnTo>
                      <a:pt x="189" y="29"/>
                    </a:lnTo>
                    <a:lnTo>
                      <a:pt x="190" y="29"/>
                    </a:lnTo>
                    <a:lnTo>
                      <a:pt x="192" y="29"/>
                    </a:lnTo>
                    <a:lnTo>
                      <a:pt x="193" y="29"/>
                    </a:lnTo>
                    <a:lnTo>
                      <a:pt x="195" y="28"/>
                    </a:lnTo>
                    <a:lnTo>
                      <a:pt x="197" y="27"/>
                    </a:lnTo>
                    <a:lnTo>
                      <a:pt x="199" y="27"/>
                    </a:lnTo>
                    <a:lnTo>
                      <a:pt x="200" y="26"/>
                    </a:lnTo>
                    <a:lnTo>
                      <a:pt x="200" y="24"/>
                    </a:lnTo>
                    <a:lnTo>
                      <a:pt x="200" y="23"/>
                    </a:lnTo>
                    <a:lnTo>
                      <a:pt x="201" y="21"/>
                    </a:lnTo>
                    <a:lnTo>
                      <a:pt x="201" y="20"/>
                    </a:lnTo>
                    <a:lnTo>
                      <a:pt x="202" y="18"/>
                    </a:lnTo>
                    <a:lnTo>
                      <a:pt x="203" y="16"/>
                    </a:lnTo>
                    <a:lnTo>
                      <a:pt x="204" y="14"/>
                    </a:lnTo>
                    <a:lnTo>
                      <a:pt x="206" y="13"/>
                    </a:lnTo>
                    <a:lnTo>
                      <a:pt x="207" y="10"/>
                    </a:lnTo>
                    <a:lnTo>
                      <a:pt x="208" y="9"/>
                    </a:lnTo>
                    <a:lnTo>
                      <a:pt x="209" y="7"/>
                    </a:lnTo>
                    <a:lnTo>
                      <a:pt x="210" y="5"/>
                    </a:lnTo>
                    <a:lnTo>
                      <a:pt x="212" y="3"/>
                    </a:lnTo>
                    <a:lnTo>
                      <a:pt x="213" y="1"/>
                    </a:lnTo>
                    <a:lnTo>
                      <a:pt x="214" y="1"/>
                    </a:lnTo>
                    <a:lnTo>
                      <a:pt x="215" y="0"/>
                    </a:lnTo>
                    <a:lnTo>
                      <a:pt x="216" y="0"/>
                    </a:lnTo>
                    <a:lnTo>
                      <a:pt x="218" y="1"/>
                    </a:lnTo>
                    <a:lnTo>
                      <a:pt x="219" y="1"/>
                    </a:lnTo>
                    <a:lnTo>
                      <a:pt x="219" y="2"/>
                    </a:lnTo>
                    <a:lnTo>
                      <a:pt x="220" y="2"/>
                    </a:lnTo>
                    <a:lnTo>
                      <a:pt x="222" y="2"/>
                    </a:lnTo>
                    <a:lnTo>
                      <a:pt x="223" y="2"/>
                    </a:lnTo>
                    <a:lnTo>
                      <a:pt x="225" y="2"/>
                    </a:lnTo>
                    <a:lnTo>
                      <a:pt x="226" y="2"/>
                    </a:lnTo>
                    <a:lnTo>
                      <a:pt x="225" y="3"/>
                    </a:lnTo>
                    <a:lnTo>
                      <a:pt x="225" y="4"/>
                    </a:lnTo>
                    <a:lnTo>
                      <a:pt x="223" y="3"/>
                    </a:lnTo>
                    <a:lnTo>
                      <a:pt x="222" y="3"/>
                    </a:lnTo>
                    <a:lnTo>
                      <a:pt x="221" y="3"/>
                    </a:lnTo>
                    <a:lnTo>
                      <a:pt x="220" y="3"/>
                    </a:lnTo>
                    <a:lnTo>
                      <a:pt x="219" y="4"/>
                    </a:lnTo>
                    <a:lnTo>
                      <a:pt x="218" y="5"/>
                    </a:lnTo>
                    <a:lnTo>
                      <a:pt x="217" y="6"/>
                    </a:lnTo>
                    <a:lnTo>
                      <a:pt x="215" y="9"/>
                    </a:lnTo>
                    <a:lnTo>
                      <a:pt x="214" y="9"/>
                    </a:lnTo>
                    <a:lnTo>
                      <a:pt x="214" y="10"/>
                    </a:lnTo>
                    <a:lnTo>
                      <a:pt x="215" y="10"/>
                    </a:lnTo>
                    <a:lnTo>
                      <a:pt x="216" y="10"/>
                    </a:lnTo>
                    <a:lnTo>
                      <a:pt x="216" y="9"/>
                    </a:lnTo>
                    <a:lnTo>
                      <a:pt x="216" y="8"/>
                    </a:lnTo>
                    <a:lnTo>
                      <a:pt x="217" y="8"/>
                    </a:lnTo>
                    <a:lnTo>
                      <a:pt x="217" y="7"/>
                    </a:lnTo>
                    <a:lnTo>
                      <a:pt x="218" y="7"/>
                    </a:lnTo>
                    <a:lnTo>
                      <a:pt x="219" y="7"/>
                    </a:lnTo>
                    <a:lnTo>
                      <a:pt x="220" y="6"/>
                    </a:lnTo>
                    <a:lnTo>
                      <a:pt x="221" y="6"/>
                    </a:lnTo>
                    <a:lnTo>
                      <a:pt x="221" y="5"/>
                    </a:lnTo>
                    <a:lnTo>
                      <a:pt x="222" y="5"/>
                    </a:lnTo>
                    <a:lnTo>
                      <a:pt x="222" y="6"/>
                    </a:lnTo>
                    <a:lnTo>
                      <a:pt x="222" y="7"/>
                    </a:lnTo>
                    <a:lnTo>
                      <a:pt x="220" y="8"/>
                    </a:lnTo>
                    <a:lnTo>
                      <a:pt x="219" y="9"/>
                    </a:lnTo>
                    <a:lnTo>
                      <a:pt x="219" y="10"/>
                    </a:lnTo>
                    <a:lnTo>
                      <a:pt x="219" y="11"/>
                    </a:lnTo>
                    <a:lnTo>
                      <a:pt x="219" y="13"/>
                    </a:lnTo>
                    <a:lnTo>
                      <a:pt x="220" y="13"/>
                    </a:lnTo>
                    <a:lnTo>
                      <a:pt x="220" y="14"/>
                    </a:lnTo>
                    <a:lnTo>
                      <a:pt x="220" y="15"/>
                    </a:lnTo>
                    <a:lnTo>
                      <a:pt x="221" y="15"/>
                    </a:lnTo>
                    <a:lnTo>
                      <a:pt x="221" y="16"/>
                    </a:lnTo>
                    <a:lnTo>
                      <a:pt x="220" y="17"/>
                    </a:lnTo>
                    <a:lnTo>
                      <a:pt x="220" y="18"/>
                    </a:lnTo>
                    <a:lnTo>
                      <a:pt x="221" y="18"/>
                    </a:lnTo>
                    <a:lnTo>
                      <a:pt x="222" y="18"/>
                    </a:lnTo>
                    <a:lnTo>
                      <a:pt x="223" y="18"/>
                    </a:lnTo>
                    <a:lnTo>
                      <a:pt x="227" y="16"/>
                    </a:lnTo>
                    <a:lnTo>
                      <a:pt x="228" y="16"/>
                    </a:lnTo>
                    <a:lnTo>
                      <a:pt x="229" y="17"/>
                    </a:lnTo>
                    <a:lnTo>
                      <a:pt x="228" y="17"/>
                    </a:lnTo>
                    <a:lnTo>
                      <a:pt x="227" y="19"/>
                    </a:lnTo>
                    <a:lnTo>
                      <a:pt x="226" y="19"/>
                    </a:lnTo>
                    <a:lnTo>
                      <a:pt x="226" y="20"/>
                    </a:lnTo>
                    <a:lnTo>
                      <a:pt x="226" y="21"/>
                    </a:lnTo>
                    <a:lnTo>
                      <a:pt x="225" y="22"/>
                    </a:lnTo>
                    <a:lnTo>
                      <a:pt x="223" y="22"/>
                    </a:lnTo>
                    <a:lnTo>
                      <a:pt x="223" y="23"/>
                    </a:lnTo>
                    <a:lnTo>
                      <a:pt x="223" y="24"/>
                    </a:lnTo>
                    <a:lnTo>
                      <a:pt x="223" y="26"/>
                    </a:lnTo>
                    <a:lnTo>
                      <a:pt x="223" y="27"/>
                    </a:lnTo>
                    <a:lnTo>
                      <a:pt x="225" y="27"/>
                    </a:lnTo>
                    <a:lnTo>
                      <a:pt x="226" y="27"/>
                    </a:lnTo>
                    <a:lnTo>
                      <a:pt x="226" y="26"/>
                    </a:lnTo>
                    <a:lnTo>
                      <a:pt x="227" y="26"/>
                    </a:lnTo>
                    <a:lnTo>
                      <a:pt x="227" y="24"/>
                    </a:lnTo>
                    <a:lnTo>
                      <a:pt x="228" y="23"/>
                    </a:lnTo>
                    <a:lnTo>
                      <a:pt x="229" y="23"/>
                    </a:lnTo>
                    <a:lnTo>
                      <a:pt x="233" y="21"/>
                    </a:lnTo>
                    <a:lnTo>
                      <a:pt x="234" y="20"/>
                    </a:lnTo>
                    <a:lnTo>
                      <a:pt x="235" y="19"/>
                    </a:lnTo>
                    <a:lnTo>
                      <a:pt x="235" y="18"/>
                    </a:lnTo>
                    <a:lnTo>
                      <a:pt x="235" y="17"/>
                    </a:lnTo>
                    <a:lnTo>
                      <a:pt x="235" y="16"/>
                    </a:lnTo>
                    <a:lnTo>
                      <a:pt x="233" y="16"/>
                    </a:lnTo>
                    <a:lnTo>
                      <a:pt x="231" y="16"/>
                    </a:lnTo>
                    <a:lnTo>
                      <a:pt x="229" y="15"/>
                    </a:lnTo>
                    <a:lnTo>
                      <a:pt x="228" y="14"/>
                    </a:lnTo>
                    <a:lnTo>
                      <a:pt x="228" y="13"/>
                    </a:lnTo>
                    <a:lnTo>
                      <a:pt x="228" y="11"/>
                    </a:lnTo>
                    <a:lnTo>
                      <a:pt x="228" y="10"/>
                    </a:lnTo>
                    <a:lnTo>
                      <a:pt x="228" y="9"/>
                    </a:lnTo>
                    <a:lnTo>
                      <a:pt x="229" y="8"/>
                    </a:lnTo>
                    <a:lnTo>
                      <a:pt x="230" y="7"/>
                    </a:lnTo>
                    <a:lnTo>
                      <a:pt x="231" y="7"/>
                    </a:lnTo>
                    <a:lnTo>
                      <a:pt x="232" y="7"/>
                    </a:lnTo>
                    <a:lnTo>
                      <a:pt x="233" y="7"/>
                    </a:lnTo>
                    <a:lnTo>
                      <a:pt x="234" y="7"/>
                    </a:lnTo>
                    <a:lnTo>
                      <a:pt x="234" y="8"/>
                    </a:lnTo>
                    <a:lnTo>
                      <a:pt x="234" y="9"/>
                    </a:lnTo>
                    <a:lnTo>
                      <a:pt x="235" y="10"/>
                    </a:lnTo>
                    <a:lnTo>
                      <a:pt x="236" y="13"/>
                    </a:lnTo>
                    <a:lnTo>
                      <a:pt x="238" y="14"/>
                    </a:lnTo>
                    <a:lnTo>
                      <a:pt x="239" y="15"/>
                    </a:lnTo>
                    <a:lnTo>
                      <a:pt x="240" y="16"/>
                    </a:lnTo>
                    <a:lnTo>
                      <a:pt x="241" y="16"/>
                    </a:lnTo>
                    <a:lnTo>
                      <a:pt x="242" y="16"/>
                    </a:lnTo>
                    <a:lnTo>
                      <a:pt x="243" y="16"/>
                    </a:lnTo>
                    <a:lnTo>
                      <a:pt x="244" y="16"/>
                    </a:lnTo>
                    <a:lnTo>
                      <a:pt x="245" y="16"/>
                    </a:lnTo>
                    <a:lnTo>
                      <a:pt x="245" y="15"/>
                    </a:lnTo>
                    <a:lnTo>
                      <a:pt x="246" y="15"/>
                    </a:lnTo>
                    <a:lnTo>
                      <a:pt x="246" y="14"/>
                    </a:lnTo>
                    <a:lnTo>
                      <a:pt x="247" y="14"/>
                    </a:lnTo>
                    <a:lnTo>
                      <a:pt x="247" y="13"/>
                    </a:lnTo>
                    <a:lnTo>
                      <a:pt x="248" y="11"/>
                    </a:lnTo>
                    <a:lnTo>
                      <a:pt x="248" y="10"/>
                    </a:lnTo>
                    <a:lnTo>
                      <a:pt x="249" y="10"/>
                    </a:lnTo>
                    <a:lnTo>
                      <a:pt x="251" y="10"/>
                    </a:lnTo>
                    <a:lnTo>
                      <a:pt x="252" y="10"/>
                    </a:lnTo>
                    <a:lnTo>
                      <a:pt x="252" y="11"/>
                    </a:lnTo>
                    <a:lnTo>
                      <a:pt x="253" y="11"/>
                    </a:lnTo>
                    <a:lnTo>
                      <a:pt x="255" y="13"/>
                    </a:lnTo>
                    <a:lnTo>
                      <a:pt x="256" y="13"/>
                    </a:lnTo>
                    <a:lnTo>
                      <a:pt x="257" y="14"/>
                    </a:lnTo>
                    <a:lnTo>
                      <a:pt x="258" y="14"/>
                    </a:lnTo>
                    <a:lnTo>
                      <a:pt x="260" y="13"/>
                    </a:lnTo>
                    <a:lnTo>
                      <a:pt x="260" y="11"/>
                    </a:lnTo>
                    <a:lnTo>
                      <a:pt x="261" y="11"/>
                    </a:lnTo>
                    <a:lnTo>
                      <a:pt x="262" y="11"/>
                    </a:lnTo>
                    <a:lnTo>
                      <a:pt x="264" y="11"/>
                    </a:lnTo>
                    <a:lnTo>
                      <a:pt x="265" y="11"/>
                    </a:lnTo>
                    <a:lnTo>
                      <a:pt x="266" y="10"/>
                    </a:lnTo>
                    <a:lnTo>
                      <a:pt x="266" y="11"/>
                    </a:lnTo>
                    <a:lnTo>
                      <a:pt x="267" y="10"/>
                    </a:lnTo>
                    <a:lnTo>
                      <a:pt x="268" y="10"/>
                    </a:lnTo>
                    <a:lnTo>
                      <a:pt x="268" y="9"/>
                    </a:lnTo>
                    <a:lnTo>
                      <a:pt x="269" y="9"/>
                    </a:lnTo>
                    <a:lnTo>
                      <a:pt x="268" y="9"/>
                    </a:lnTo>
                    <a:lnTo>
                      <a:pt x="269" y="9"/>
                    </a:lnTo>
                    <a:lnTo>
                      <a:pt x="268" y="8"/>
                    </a:lnTo>
                    <a:lnTo>
                      <a:pt x="269" y="8"/>
                    </a:lnTo>
                    <a:lnTo>
                      <a:pt x="270" y="8"/>
                    </a:lnTo>
                    <a:lnTo>
                      <a:pt x="270" y="9"/>
                    </a:lnTo>
                    <a:lnTo>
                      <a:pt x="272" y="11"/>
                    </a:lnTo>
                    <a:lnTo>
                      <a:pt x="272" y="13"/>
                    </a:lnTo>
                    <a:lnTo>
                      <a:pt x="272" y="15"/>
                    </a:lnTo>
                    <a:lnTo>
                      <a:pt x="272" y="16"/>
                    </a:lnTo>
                    <a:lnTo>
                      <a:pt x="272" y="17"/>
                    </a:lnTo>
                    <a:lnTo>
                      <a:pt x="272" y="18"/>
                    </a:lnTo>
                    <a:lnTo>
                      <a:pt x="272" y="19"/>
                    </a:lnTo>
                    <a:lnTo>
                      <a:pt x="273" y="21"/>
                    </a:lnTo>
                    <a:lnTo>
                      <a:pt x="273" y="22"/>
                    </a:lnTo>
                    <a:lnTo>
                      <a:pt x="273" y="23"/>
                    </a:lnTo>
                    <a:lnTo>
                      <a:pt x="273" y="24"/>
                    </a:lnTo>
                    <a:lnTo>
                      <a:pt x="274" y="24"/>
                    </a:lnTo>
                    <a:lnTo>
                      <a:pt x="274" y="26"/>
                    </a:lnTo>
                    <a:lnTo>
                      <a:pt x="274" y="27"/>
                    </a:lnTo>
                    <a:lnTo>
                      <a:pt x="275" y="27"/>
                    </a:lnTo>
                    <a:lnTo>
                      <a:pt x="275" y="28"/>
                    </a:lnTo>
                    <a:lnTo>
                      <a:pt x="275" y="29"/>
                    </a:lnTo>
                    <a:lnTo>
                      <a:pt x="277" y="30"/>
                    </a:lnTo>
                    <a:lnTo>
                      <a:pt x="277" y="31"/>
                    </a:lnTo>
                    <a:lnTo>
                      <a:pt x="278" y="31"/>
                    </a:lnTo>
                    <a:lnTo>
                      <a:pt x="278" y="32"/>
                    </a:lnTo>
                    <a:lnTo>
                      <a:pt x="278" y="33"/>
                    </a:lnTo>
                    <a:lnTo>
                      <a:pt x="280" y="34"/>
                    </a:lnTo>
                    <a:lnTo>
                      <a:pt x="281" y="35"/>
                    </a:lnTo>
                    <a:lnTo>
                      <a:pt x="282" y="35"/>
                    </a:lnTo>
                    <a:lnTo>
                      <a:pt x="283" y="35"/>
                    </a:lnTo>
                    <a:lnTo>
                      <a:pt x="283" y="36"/>
                    </a:lnTo>
                    <a:lnTo>
                      <a:pt x="284" y="37"/>
                    </a:lnTo>
                    <a:lnTo>
                      <a:pt x="285" y="40"/>
                    </a:lnTo>
                    <a:lnTo>
                      <a:pt x="286" y="40"/>
                    </a:lnTo>
                    <a:lnTo>
                      <a:pt x="286" y="42"/>
                    </a:lnTo>
                    <a:lnTo>
                      <a:pt x="286" y="43"/>
                    </a:lnTo>
                    <a:lnTo>
                      <a:pt x="287" y="43"/>
                    </a:lnTo>
                    <a:lnTo>
                      <a:pt x="288" y="43"/>
                    </a:lnTo>
                    <a:lnTo>
                      <a:pt x="290" y="44"/>
                    </a:lnTo>
                    <a:lnTo>
                      <a:pt x="292" y="45"/>
                    </a:lnTo>
                    <a:lnTo>
                      <a:pt x="294" y="46"/>
                    </a:lnTo>
                    <a:lnTo>
                      <a:pt x="295" y="46"/>
                    </a:lnTo>
                    <a:lnTo>
                      <a:pt x="296" y="44"/>
                    </a:lnTo>
                    <a:lnTo>
                      <a:pt x="296" y="43"/>
                    </a:lnTo>
                    <a:lnTo>
                      <a:pt x="296" y="42"/>
                    </a:lnTo>
                    <a:lnTo>
                      <a:pt x="297" y="42"/>
                    </a:lnTo>
                    <a:lnTo>
                      <a:pt x="297" y="41"/>
                    </a:lnTo>
                    <a:lnTo>
                      <a:pt x="299" y="41"/>
                    </a:lnTo>
                    <a:lnTo>
                      <a:pt x="300" y="40"/>
                    </a:lnTo>
                    <a:lnTo>
                      <a:pt x="301" y="40"/>
                    </a:lnTo>
                    <a:lnTo>
                      <a:pt x="303" y="41"/>
                    </a:lnTo>
                    <a:lnTo>
                      <a:pt x="304" y="41"/>
                    </a:lnTo>
                    <a:lnTo>
                      <a:pt x="306" y="43"/>
                    </a:lnTo>
                    <a:lnTo>
                      <a:pt x="307" y="43"/>
                    </a:lnTo>
                    <a:lnTo>
                      <a:pt x="307" y="44"/>
                    </a:lnTo>
                    <a:lnTo>
                      <a:pt x="308" y="44"/>
                    </a:lnTo>
                    <a:lnTo>
                      <a:pt x="308" y="45"/>
                    </a:lnTo>
                    <a:lnTo>
                      <a:pt x="309" y="45"/>
                    </a:lnTo>
                    <a:lnTo>
                      <a:pt x="309" y="46"/>
                    </a:lnTo>
                    <a:lnTo>
                      <a:pt x="310" y="48"/>
                    </a:lnTo>
                    <a:lnTo>
                      <a:pt x="310" y="49"/>
                    </a:lnTo>
                    <a:lnTo>
                      <a:pt x="310" y="51"/>
                    </a:lnTo>
                    <a:lnTo>
                      <a:pt x="310" y="52"/>
                    </a:lnTo>
                    <a:lnTo>
                      <a:pt x="309" y="52"/>
                    </a:lnTo>
                    <a:lnTo>
                      <a:pt x="309" y="53"/>
                    </a:lnTo>
                    <a:lnTo>
                      <a:pt x="308" y="53"/>
                    </a:lnTo>
                    <a:lnTo>
                      <a:pt x="308" y="54"/>
                    </a:lnTo>
                    <a:lnTo>
                      <a:pt x="307" y="54"/>
                    </a:lnTo>
                    <a:lnTo>
                      <a:pt x="306" y="53"/>
                    </a:lnTo>
                    <a:lnTo>
                      <a:pt x="305" y="53"/>
                    </a:lnTo>
                    <a:lnTo>
                      <a:pt x="304" y="54"/>
                    </a:lnTo>
                    <a:lnTo>
                      <a:pt x="303" y="55"/>
                    </a:lnTo>
                    <a:lnTo>
                      <a:pt x="301" y="55"/>
                    </a:lnTo>
                    <a:lnTo>
                      <a:pt x="301" y="56"/>
                    </a:lnTo>
                    <a:lnTo>
                      <a:pt x="300" y="56"/>
                    </a:lnTo>
                    <a:lnTo>
                      <a:pt x="300" y="57"/>
                    </a:lnTo>
                    <a:lnTo>
                      <a:pt x="300" y="58"/>
                    </a:lnTo>
                    <a:lnTo>
                      <a:pt x="300" y="60"/>
                    </a:lnTo>
                    <a:lnTo>
                      <a:pt x="300" y="61"/>
                    </a:lnTo>
                    <a:lnTo>
                      <a:pt x="300" y="62"/>
                    </a:lnTo>
                    <a:lnTo>
                      <a:pt x="301" y="62"/>
                    </a:lnTo>
                    <a:lnTo>
                      <a:pt x="301" y="65"/>
                    </a:lnTo>
                    <a:lnTo>
                      <a:pt x="301" y="66"/>
                    </a:lnTo>
                    <a:lnTo>
                      <a:pt x="301" y="67"/>
                    </a:lnTo>
                    <a:lnTo>
                      <a:pt x="303" y="67"/>
                    </a:lnTo>
                    <a:lnTo>
                      <a:pt x="303" y="68"/>
                    </a:lnTo>
                    <a:lnTo>
                      <a:pt x="303" y="69"/>
                    </a:lnTo>
                    <a:lnTo>
                      <a:pt x="303" y="71"/>
                    </a:lnTo>
                    <a:lnTo>
                      <a:pt x="303" y="72"/>
                    </a:lnTo>
                    <a:lnTo>
                      <a:pt x="301" y="72"/>
                    </a:lnTo>
                    <a:lnTo>
                      <a:pt x="301" y="73"/>
                    </a:lnTo>
                    <a:lnTo>
                      <a:pt x="300" y="73"/>
                    </a:lnTo>
                    <a:lnTo>
                      <a:pt x="300" y="74"/>
                    </a:lnTo>
                    <a:lnTo>
                      <a:pt x="300" y="75"/>
                    </a:lnTo>
                    <a:lnTo>
                      <a:pt x="300" y="77"/>
                    </a:lnTo>
                    <a:lnTo>
                      <a:pt x="299" y="77"/>
                    </a:lnTo>
                    <a:lnTo>
                      <a:pt x="299" y="78"/>
                    </a:lnTo>
                    <a:lnTo>
                      <a:pt x="299" y="79"/>
                    </a:lnTo>
                    <a:lnTo>
                      <a:pt x="298" y="79"/>
                    </a:lnTo>
                    <a:lnTo>
                      <a:pt x="297" y="80"/>
                    </a:lnTo>
                    <a:lnTo>
                      <a:pt x="297" y="81"/>
                    </a:lnTo>
                    <a:lnTo>
                      <a:pt x="297" y="82"/>
                    </a:lnTo>
                    <a:lnTo>
                      <a:pt x="296" y="82"/>
                    </a:lnTo>
                    <a:lnTo>
                      <a:pt x="296" y="83"/>
                    </a:lnTo>
                    <a:lnTo>
                      <a:pt x="296" y="84"/>
                    </a:lnTo>
                    <a:lnTo>
                      <a:pt x="297" y="91"/>
                    </a:lnTo>
                    <a:lnTo>
                      <a:pt x="297" y="97"/>
                    </a:lnTo>
                    <a:lnTo>
                      <a:pt x="298" y="100"/>
                    </a:lnTo>
                    <a:lnTo>
                      <a:pt x="300" y="101"/>
                    </a:lnTo>
                    <a:lnTo>
                      <a:pt x="301" y="103"/>
                    </a:lnTo>
                    <a:lnTo>
                      <a:pt x="301" y="104"/>
                    </a:lnTo>
                    <a:lnTo>
                      <a:pt x="301" y="105"/>
                    </a:lnTo>
                    <a:lnTo>
                      <a:pt x="301" y="106"/>
                    </a:lnTo>
                    <a:lnTo>
                      <a:pt x="301" y="107"/>
                    </a:lnTo>
                    <a:lnTo>
                      <a:pt x="300" y="108"/>
                    </a:lnTo>
                    <a:lnTo>
                      <a:pt x="299" y="109"/>
                    </a:lnTo>
                    <a:lnTo>
                      <a:pt x="299" y="110"/>
                    </a:lnTo>
                    <a:lnTo>
                      <a:pt x="299" y="111"/>
                    </a:lnTo>
                    <a:lnTo>
                      <a:pt x="299" y="112"/>
                    </a:lnTo>
                    <a:lnTo>
                      <a:pt x="299" y="114"/>
                    </a:lnTo>
                    <a:lnTo>
                      <a:pt x="300" y="116"/>
                    </a:lnTo>
                    <a:lnTo>
                      <a:pt x="300" y="117"/>
                    </a:lnTo>
                    <a:lnTo>
                      <a:pt x="300" y="118"/>
                    </a:lnTo>
                    <a:lnTo>
                      <a:pt x="301" y="119"/>
                    </a:lnTo>
                    <a:lnTo>
                      <a:pt x="303" y="120"/>
                    </a:lnTo>
                    <a:lnTo>
                      <a:pt x="301" y="121"/>
                    </a:lnTo>
                    <a:lnTo>
                      <a:pt x="301" y="122"/>
                    </a:lnTo>
                    <a:lnTo>
                      <a:pt x="303" y="122"/>
                    </a:lnTo>
                    <a:lnTo>
                      <a:pt x="303" y="123"/>
                    </a:lnTo>
                    <a:lnTo>
                      <a:pt x="303" y="125"/>
                    </a:lnTo>
                    <a:lnTo>
                      <a:pt x="303" y="126"/>
                    </a:lnTo>
                    <a:lnTo>
                      <a:pt x="303" y="127"/>
                    </a:lnTo>
                    <a:lnTo>
                      <a:pt x="304" y="129"/>
                    </a:lnTo>
                    <a:lnTo>
                      <a:pt x="304" y="130"/>
                    </a:lnTo>
                    <a:lnTo>
                      <a:pt x="305" y="130"/>
                    </a:lnTo>
                    <a:lnTo>
                      <a:pt x="305" y="131"/>
                    </a:lnTo>
                    <a:lnTo>
                      <a:pt x="305" y="132"/>
                    </a:lnTo>
                    <a:lnTo>
                      <a:pt x="306" y="132"/>
                    </a:lnTo>
                    <a:lnTo>
                      <a:pt x="306" y="133"/>
                    </a:lnTo>
                    <a:lnTo>
                      <a:pt x="307" y="133"/>
                    </a:lnTo>
                    <a:lnTo>
                      <a:pt x="308" y="134"/>
                    </a:lnTo>
                    <a:lnTo>
                      <a:pt x="310" y="135"/>
                    </a:lnTo>
                    <a:lnTo>
                      <a:pt x="311" y="136"/>
                    </a:lnTo>
                    <a:lnTo>
                      <a:pt x="311" y="137"/>
                    </a:lnTo>
                    <a:lnTo>
                      <a:pt x="310" y="137"/>
                    </a:lnTo>
                    <a:lnTo>
                      <a:pt x="310" y="138"/>
                    </a:lnTo>
                    <a:lnTo>
                      <a:pt x="311" y="139"/>
                    </a:lnTo>
                    <a:lnTo>
                      <a:pt x="311" y="141"/>
                    </a:lnTo>
                    <a:lnTo>
                      <a:pt x="312" y="141"/>
                    </a:lnTo>
                    <a:lnTo>
                      <a:pt x="312" y="142"/>
                    </a:lnTo>
                    <a:lnTo>
                      <a:pt x="313" y="142"/>
                    </a:lnTo>
                    <a:lnTo>
                      <a:pt x="313" y="147"/>
                    </a:lnTo>
                    <a:lnTo>
                      <a:pt x="313" y="148"/>
                    </a:lnTo>
                    <a:lnTo>
                      <a:pt x="313" y="149"/>
                    </a:lnTo>
                    <a:lnTo>
                      <a:pt x="313" y="150"/>
                    </a:lnTo>
                    <a:lnTo>
                      <a:pt x="313" y="151"/>
                    </a:lnTo>
                    <a:lnTo>
                      <a:pt x="312" y="151"/>
                    </a:lnTo>
                    <a:lnTo>
                      <a:pt x="312" y="152"/>
                    </a:lnTo>
                    <a:lnTo>
                      <a:pt x="311" y="152"/>
                    </a:lnTo>
                    <a:lnTo>
                      <a:pt x="311" y="154"/>
                    </a:lnTo>
                    <a:lnTo>
                      <a:pt x="308" y="158"/>
                    </a:lnTo>
                    <a:close/>
                  </a:path>
                </a:pathLst>
              </a:custGeom>
              <a:solidFill>
                <a:srgbClr val="0A4384"/>
              </a:solidFill>
              <a:ln w="6350">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 name="Freeform 55">
                <a:extLst>
                  <a:ext uri="{FF2B5EF4-FFF2-40B4-BE49-F238E27FC236}">
                    <a16:creationId xmlns:a16="http://schemas.microsoft.com/office/drawing/2014/main" id="{581051A1-26A3-2199-B4AD-AF6311A12FA7}"/>
                  </a:ext>
                </a:extLst>
              </p:cNvPr>
              <p:cNvSpPr>
                <a:spLocks/>
              </p:cNvSpPr>
              <p:nvPr/>
            </p:nvSpPr>
            <p:spPr bwMode="auto">
              <a:xfrm>
                <a:off x="2274888" y="1427163"/>
                <a:ext cx="452438" cy="355600"/>
              </a:xfrm>
              <a:custGeom>
                <a:avLst/>
                <a:gdLst>
                  <a:gd name="T0" fmla="*/ 285 w 285"/>
                  <a:gd name="T1" fmla="*/ 178 h 224"/>
                  <a:gd name="T2" fmla="*/ 221 w 285"/>
                  <a:gd name="T3" fmla="*/ 192 h 224"/>
                  <a:gd name="T4" fmla="*/ 202 w 285"/>
                  <a:gd name="T5" fmla="*/ 192 h 224"/>
                  <a:gd name="T6" fmla="*/ 167 w 285"/>
                  <a:gd name="T7" fmla="*/ 192 h 224"/>
                  <a:gd name="T8" fmla="*/ 158 w 285"/>
                  <a:gd name="T9" fmla="*/ 209 h 224"/>
                  <a:gd name="T10" fmla="*/ 158 w 285"/>
                  <a:gd name="T11" fmla="*/ 223 h 224"/>
                  <a:gd name="T12" fmla="*/ 81 w 285"/>
                  <a:gd name="T13" fmla="*/ 224 h 224"/>
                  <a:gd name="T14" fmla="*/ 12 w 285"/>
                  <a:gd name="T15" fmla="*/ 223 h 224"/>
                  <a:gd name="T16" fmla="*/ 1 w 285"/>
                  <a:gd name="T17" fmla="*/ 208 h 224"/>
                  <a:gd name="T18" fmla="*/ 1 w 285"/>
                  <a:gd name="T19" fmla="*/ 159 h 224"/>
                  <a:gd name="T20" fmla="*/ 0 w 285"/>
                  <a:gd name="T21" fmla="*/ 128 h 224"/>
                  <a:gd name="T22" fmla="*/ 0 w 285"/>
                  <a:gd name="T23" fmla="*/ 118 h 224"/>
                  <a:gd name="T24" fmla="*/ 5 w 285"/>
                  <a:gd name="T25" fmla="*/ 115 h 224"/>
                  <a:gd name="T26" fmla="*/ 9 w 285"/>
                  <a:gd name="T27" fmla="*/ 111 h 224"/>
                  <a:gd name="T28" fmla="*/ 10 w 285"/>
                  <a:gd name="T29" fmla="*/ 105 h 224"/>
                  <a:gd name="T30" fmla="*/ 11 w 285"/>
                  <a:gd name="T31" fmla="*/ 99 h 224"/>
                  <a:gd name="T32" fmla="*/ 12 w 285"/>
                  <a:gd name="T33" fmla="*/ 95 h 224"/>
                  <a:gd name="T34" fmla="*/ 12 w 285"/>
                  <a:gd name="T35" fmla="*/ 90 h 224"/>
                  <a:gd name="T36" fmla="*/ 12 w 285"/>
                  <a:gd name="T37" fmla="*/ 88 h 224"/>
                  <a:gd name="T38" fmla="*/ 11 w 285"/>
                  <a:gd name="T39" fmla="*/ 85 h 224"/>
                  <a:gd name="T40" fmla="*/ 11 w 285"/>
                  <a:gd name="T41" fmla="*/ 80 h 224"/>
                  <a:gd name="T42" fmla="*/ 10 w 285"/>
                  <a:gd name="T43" fmla="*/ 79 h 224"/>
                  <a:gd name="T44" fmla="*/ 10 w 285"/>
                  <a:gd name="T45" fmla="*/ 74 h 224"/>
                  <a:gd name="T46" fmla="*/ 10 w 285"/>
                  <a:gd name="T47" fmla="*/ 68 h 224"/>
                  <a:gd name="T48" fmla="*/ 9 w 285"/>
                  <a:gd name="T49" fmla="*/ 64 h 224"/>
                  <a:gd name="T50" fmla="*/ 10 w 285"/>
                  <a:gd name="T51" fmla="*/ 59 h 224"/>
                  <a:gd name="T52" fmla="*/ 10 w 285"/>
                  <a:gd name="T53" fmla="*/ 54 h 224"/>
                  <a:gd name="T54" fmla="*/ 14 w 285"/>
                  <a:gd name="T55" fmla="*/ 50 h 224"/>
                  <a:gd name="T56" fmla="*/ 18 w 285"/>
                  <a:gd name="T57" fmla="*/ 48 h 224"/>
                  <a:gd name="T58" fmla="*/ 21 w 285"/>
                  <a:gd name="T59" fmla="*/ 45 h 224"/>
                  <a:gd name="T60" fmla="*/ 23 w 285"/>
                  <a:gd name="T61" fmla="*/ 42 h 224"/>
                  <a:gd name="T62" fmla="*/ 25 w 285"/>
                  <a:gd name="T63" fmla="*/ 37 h 224"/>
                  <a:gd name="T64" fmla="*/ 30 w 285"/>
                  <a:gd name="T65" fmla="*/ 35 h 224"/>
                  <a:gd name="T66" fmla="*/ 33 w 285"/>
                  <a:gd name="T67" fmla="*/ 21 h 224"/>
                  <a:gd name="T68" fmla="*/ 80 w 285"/>
                  <a:gd name="T69" fmla="*/ 0 h 224"/>
                  <a:gd name="T70" fmla="*/ 151 w 285"/>
                  <a:gd name="T71" fmla="*/ 2 h 224"/>
                  <a:gd name="T72" fmla="*/ 155 w 285"/>
                  <a:gd name="T73" fmla="*/ 2 h 224"/>
                  <a:gd name="T74" fmla="*/ 159 w 285"/>
                  <a:gd name="T75" fmla="*/ 4 h 224"/>
                  <a:gd name="T76" fmla="*/ 165 w 285"/>
                  <a:gd name="T77" fmla="*/ 6 h 224"/>
                  <a:gd name="T78" fmla="*/ 170 w 285"/>
                  <a:gd name="T79" fmla="*/ 5 h 224"/>
                  <a:gd name="T80" fmla="*/ 175 w 285"/>
                  <a:gd name="T81" fmla="*/ 5 h 224"/>
                  <a:gd name="T82" fmla="*/ 179 w 285"/>
                  <a:gd name="T83" fmla="*/ 8 h 224"/>
                  <a:gd name="T84" fmla="*/ 184 w 285"/>
                  <a:gd name="T85" fmla="*/ 10 h 224"/>
                  <a:gd name="T86" fmla="*/ 190 w 285"/>
                  <a:gd name="T87" fmla="*/ 9 h 224"/>
                  <a:gd name="T88" fmla="*/ 192 w 285"/>
                  <a:gd name="T89" fmla="*/ 13 h 224"/>
                  <a:gd name="T90" fmla="*/ 196 w 285"/>
                  <a:gd name="T91" fmla="*/ 17 h 224"/>
                  <a:gd name="T92" fmla="*/ 200 w 285"/>
                  <a:gd name="T93" fmla="*/ 20 h 224"/>
                  <a:gd name="T94" fmla="*/ 203 w 285"/>
                  <a:gd name="T95" fmla="*/ 26 h 224"/>
                  <a:gd name="T96" fmla="*/ 204 w 285"/>
                  <a:gd name="T97" fmla="*/ 30 h 224"/>
                  <a:gd name="T98" fmla="*/ 208 w 285"/>
                  <a:gd name="T99" fmla="*/ 32 h 224"/>
                  <a:gd name="T100" fmla="*/ 210 w 285"/>
                  <a:gd name="T101" fmla="*/ 31 h 224"/>
                  <a:gd name="T102" fmla="*/ 215 w 285"/>
                  <a:gd name="T103" fmla="*/ 30 h 224"/>
                  <a:gd name="T104" fmla="*/ 222 w 285"/>
                  <a:gd name="T105" fmla="*/ 39 h 224"/>
                  <a:gd name="T106" fmla="*/ 242 w 285"/>
                  <a:gd name="T107" fmla="*/ 65 h 224"/>
                  <a:gd name="T108" fmla="*/ 285 w 285"/>
                  <a:gd name="T109" fmla="*/ 9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5" h="224">
                    <a:moveTo>
                      <a:pt x="285" y="129"/>
                    </a:moveTo>
                    <a:lnTo>
                      <a:pt x="285" y="150"/>
                    </a:lnTo>
                    <a:lnTo>
                      <a:pt x="285" y="155"/>
                    </a:lnTo>
                    <a:lnTo>
                      <a:pt x="285" y="165"/>
                    </a:lnTo>
                    <a:lnTo>
                      <a:pt x="285" y="174"/>
                    </a:lnTo>
                    <a:lnTo>
                      <a:pt x="285" y="178"/>
                    </a:lnTo>
                    <a:lnTo>
                      <a:pt x="285" y="185"/>
                    </a:lnTo>
                    <a:lnTo>
                      <a:pt x="285" y="193"/>
                    </a:lnTo>
                    <a:lnTo>
                      <a:pt x="249" y="193"/>
                    </a:lnTo>
                    <a:lnTo>
                      <a:pt x="239" y="193"/>
                    </a:lnTo>
                    <a:lnTo>
                      <a:pt x="232" y="193"/>
                    </a:lnTo>
                    <a:lnTo>
                      <a:pt x="221" y="192"/>
                    </a:lnTo>
                    <a:lnTo>
                      <a:pt x="214" y="192"/>
                    </a:lnTo>
                    <a:lnTo>
                      <a:pt x="213" y="192"/>
                    </a:lnTo>
                    <a:lnTo>
                      <a:pt x="207" y="192"/>
                    </a:lnTo>
                    <a:lnTo>
                      <a:pt x="204" y="192"/>
                    </a:lnTo>
                    <a:lnTo>
                      <a:pt x="203" y="192"/>
                    </a:lnTo>
                    <a:lnTo>
                      <a:pt x="202" y="192"/>
                    </a:lnTo>
                    <a:lnTo>
                      <a:pt x="198" y="192"/>
                    </a:lnTo>
                    <a:lnTo>
                      <a:pt x="195" y="192"/>
                    </a:lnTo>
                    <a:lnTo>
                      <a:pt x="193" y="192"/>
                    </a:lnTo>
                    <a:lnTo>
                      <a:pt x="184" y="192"/>
                    </a:lnTo>
                    <a:lnTo>
                      <a:pt x="181" y="192"/>
                    </a:lnTo>
                    <a:lnTo>
                      <a:pt x="167" y="192"/>
                    </a:lnTo>
                    <a:lnTo>
                      <a:pt x="163" y="192"/>
                    </a:lnTo>
                    <a:lnTo>
                      <a:pt x="158" y="192"/>
                    </a:lnTo>
                    <a:lnTo>
                      <a:pt x="158" y="202"/>
                    </a:lnTo>
                    <a:lnTo>
                      <a:pt x="158" y="204"/>
                    </a:lnTo>
                    <a:lnTo>
                      <a:pt x="158" y="208"/>
                    </a:lnTo>
                    <a:lnTo>
                      <a:pt x="158" y="209"/>
                    </a:lnTo>
                    <a:lnTo>
                      <a:pt x="158" y="210"/>
                    </a:lnTo>
                    <a:lnTo>
                      <a:pt x="158" y="212"/>
                    </a:lnTo>
                    <a:lnTo>
                      <a:pt x="158" y="214"/>
                    </a:lnTo>
                    <a:lnTo>
                      <a:pt x="158" y="215"/>
                    </a:lnTo>
                    <a:lnTo>
                      <a:pt x="158" y="219"/>
                    </a:lnTo>
                    <a:lnTo>
                      <a:pt x="158" y="223"/>
                    </a:lnTo>
                    <a:lnTo>
                      <a:pt x="158" y="224"/>
                    </a:lnTo>
                    <a:lnTo>
                      <a:pt x="157" y="224"/>
                    </a:lnTo>
                    <a:lnTo>
                      <a:pt x="147" y="224"/>
                    </a:lnTo>
                    <a:lnTo>
                      <a:pt x="138" y="224"/>
                    </a:lnTo>
                    <a:lnTo>
                      <a:pt x="120" y="224"/>
                    </a:lnTo>
                    <a:lnTo>
                      <a:pt x="81" y="224"/>
                    </a:lnTo>
                    <a:lnTo>
                      <a:pt x="80" y="224"/>
                    </a:lnTo>
                    <a:lnTo>
                      <a:pt x="67" y="224"/>
                    </a:lnTo>
                    <a:lnTo>
                      <a:pt x="64" y="224"/>
                    </a:lnTo>
                    <a:lnTo>
                      <a:pt x="55" y="224"/>
                    </a:lnTo>
                    <a:lnTo>
                      <a:pt x="47" y="224"/>
                    </a:lnTo>
                    <a:lnTo>
                      <a:pt x="12" y="223"/>
                    </a:lnTo>
                    <a:lnTo>
                      <a:pt x="8" y="223"/>
                    </a:lnTo>
                    <a:lnTo>
                      <a:pt x="3" y="223"/>
                    </a:lnTo>
                    <a:lnTo>
                      <a:pt x="1" y="223"/>
                    </a:lnTo>
                    <a:lnTo>
                      <a:pt x="1" y="216"/>
                    </a:lnTo>
                    <a:lnTo>
                      <a:pt x="1" y="213"/>
                    </a:lnTo>
                    <a:lnTo>
                      <a:pt x="1" y="208"/>
                    </a:lnTo>
                    <a:lnTo>
                      <a:pt x="1" y="202"/>
                    </a:lnTo>
                    <a:lnTo>
                      <a:pt x="1" y="190"/>
                    </a:lnTo>
                    <a:lnTo>
                      <a:pt x="1" y="183"/>
                    </a:lnTo>
                    <a:lnTo>
                      <a:pt x="1" y="173"/>
                    </a:lnTo>
                    <a:lnTo>
                      <a:pt x="1" y="172"/>
                    </a:lnTo>
                    <a:lnTo>
                      <a:pt x="1" y="159"/>
                    </a:lnTo>
                    <a:lnTo>
                      <a:pt x="0" y="153"/>
                    </a:lnTo>
                    <a:lnTo>
                      <a:pt x="0" y="151"/>
                    </a:lnTo>
                    <a:lnTo>
                      <a:pt x="1" y="150"/>
                    </a:lnTo>
                    <a:lnTo>
                      <a:pt x="0" y="150"/>
                    </a:lnTo>
                    <a:lnTo>
                      <a:pt x="0" y="148"/>
                    </a:lnTo>
                    <a:lnTo>
                      <a:pt x="0" y="128"/>
                    </a:lnTo>
                    <a:lnTo>
                      <a:pt x="0" y="126"/>
                    </a:lnTo>
                    <a:lnTo>
                      <a:pt x="0" y="125"/>
                    </a:lnTo>
                    <a:lnTo>
                      <a:pt x="0" y="124"/>
                    </a:lnTo>
                    <a:lnTo>
                      <a:pt x="0" y="123"/>
                    </a:lnTo>
                    <a:lnTo>
                      <a:pt x="0" y="121"/>
                    </a:lnTo>
                    <a:lnTo>
                      <a:pt x="0" y="118"/>
                    </a:lnTo>
                    <a:lnTo>
                      <a:pt x="1" y="116"/>
                    </a:lnTo>
                    <a:lnTo>
                      <a:pt x="2" y="116"/>
                    </a:lnTo>
                    <a:lnTo>
                      <a:pt x="3" y="116"/>
                    </a:lnTo>
                    <a:lnTo>
                      <a:pt x="3" y="115"/>
                    </a:lnTo>
                    <a:lnTo>
                      <a:pt x="4" y="115"/>
                    </a:lnTo>
                    <a:lnTo>
                      <a:pt x="5" y="115"/>
                    </a:lnTo>
                    <a:lnTo>
                      <a:pt x="5" y="114"/>
                    </a:lnTo>
                    <a:lnTo>
                      <a:pt x="7" y="114"/>
                    </a:lnTo>
                    <a:lnTo>
                      <a:pt x="7" y="113"/>
                    </a:lnTo>
                    <a:lnTo>
                      <a:pt x="8" y="112"/>
                    </a:lnTo>
                    <a:lnTo>
                      <a:pt x="9" y="112"/>
                    </a:lnTo>
                    <a:lnTo>
                      <a:pt x="9" y="111"/>
                    </a:lnTo>
                    <a:lnTo>
                      <a:pt x="9" y="110"/>
                    </a:lnTo>
                    <a:lnTo>
                      <a:pt x="10" y="109"/>
                    </a:lnTo>
                    <a:lnTo>
                      <a:pt x="10" y="108"/>
                    </a:lnTo>
                    <a:lnTo>
                      <a:pt x="10" y="107"/>
                    </a:lnTo>
                    <a:lnTo>
                      <a:pt x="10" y="106"/>
                    </a:lnTo>
                    <a:lnTo>
                      <a:pt x="10" y="105"/>
                    </a:lnTo>
                    <a:lnTo>
                      <a:pt x="11" y="105"/>
                    </a:lnTo>
                    <a:lnTo>
                      <a:pt x="11" y="103"/>
                    </a:lnTo>
                    <a:lnTo>
                      <a:pt x="11" y="102"/>
                    </a:lnTo>
                    <a:lnTo>
                      <a:pt x="11" y="101"/>
                    </a:lnTo>
                    <a:lnTo>
                      <a:pt x="11" y="100"/>
                    </a:lnTo>
                    <a:lnTo>
                      <a:pt x="11" y="99"/>
                    </a:lnTo>
                    <a:lnTo>
                      <a:pt x="12" y="99"/>
                    </a:lnTo>
                    <a:lnTo>
                      <a:pt x="11" y="98"/>
                    </a:lnTo>
                    <a:lnTo>
                      <a:pt x="11" y="97"/>
                    </a:lnTo>
                    <a:lnTo>
                      <a:pt x="12" y="97"/>
                    </a:lnTo>
                    <a:lnTo>
                      <a:pt x="12" y="96"/>
                    </a:lnTo>
                    <a:lnTo>
                      <a:pt x="12" y="95"/>
                    </a:lnTo>
                    <a:lnTo>
                      <a:pt x="13" y="95"/>
                    </a:lnTo>
                    <a:lnTo>
                      <a:pt x="13" y="94"/>
                    </a:lnTo>
                    <a:lnTo>
                      <a:pt x="12" y="94"/>
                    </a:lnTo>
                    <a:lnTo>
                      <a:pt x="12" y="93"/>
                    </a:lnTo>
                    <a:lnTo>
                      <a:pt x="12" y="92"/>
                    </a:lnTo>
                    <a:lnTo>
                      <a:pt x="12" y="90"/>
                    </a:lnTo>
                    <a:lnTo>
                      <a:pt x="13" y="90"/>
                    </a:lnTo>
                    <a:lnTo>
                      <a:pt x="13" y="89"/>
                    </a:lnTo>
                    <a:lnTo>
                      <a:pt x="12" y="89"/>
                    </a:lnTo>
                    <a:lnTo>
                      <a:pt x="13" y="89"/>
                    </a:lnTo>
                    <a:lnTo>
                      <a:pt x="13" y="88"/>
                    </a:lnTo>
                    <a:lnTo>
                      <a:pt x="12" y="88"/>
                    </a:lnTo>
                    <a:lnTo>
                      <a:pt x="12" y="87"/>
                    </a:lnTo>
                    <a:lnTo>
                      <a:pt x="13" y="87"/>
                    </a:lnTo>
                    <a:lnTo>
                      <a:pt x="12" y="87"/>
                    </a:lnTo>
                    <a:lnTo>
                      <a:pt x="12" y="86"/>
                    </a:lnTo>
                    <a:lnTo>
                      <a:pt x="12" y="85"/>
                    </a:lnTo>
                    <a:lnTo>
                      <a:pt x="11" y="85"/>
                    </a:lnTo>
                    <a:lnTo>
                      <a:pt x="12" y="85"/>
                    </a:lnTo>
                    <a:lnTo>
                      <a:pt x="11" y="84"/>
                    </a:lnTo>
                    <a:lnTo>
                      <a:pt x="11" y="83"/>
                    </a:lnTo>
                    <a:lnTo>
                      <a:pt x="11" y="82"/>
                    </a:lnTo>
                    <a:lnTo>
                      <a:pt x="11" y="81"/>
                    </a:lnTo>
                    <a:lnTo>
                      <a:pt x="11" y="80"/>
                    </a:lnTo>
                    <a:lnTo>
                      <a:pt x="10" y="80"/>
                    </a:lnTo>
                    <a:lnTo>
                      <a:pt x="10" y="79"/>
                    </a:lnTo>
                    <a:lnTo>
                      <a:pt x="10" y="80"/>
                    </a:lnTo>
                    <a:lnTo>
                      <a:pt x="9" y="80"/>
                    </a:lnTo>
                    <a:lnTo>
                      <a:pt x="9" y="79"/>
                    </a:lnTo>
                    <a:lnTo>
                      <a:pt x="10" y="79"/>
                    </a:lnTo>
                    <a:lnTo>
                      <a:pt x="10" y="77"/>
                    </a:lnTo>
                    <a:lnTo>
                      <a:pt x="10" y="76"/>
                    </a:lnTo>
                    <a:lnTo>
                      <a:pt x="9" y="76"/>
                    </a:lnTo>
                    <a:lnTo>
                      <a:pt x="9" y="75"/>
                    </a:lnTo>
                    <a:lnTo>
                      <a:pt x="10" y="75"/>
                    </a:lnTo>
                    <a:lnTo>
                      <a:pt x="10" y="74"/>
                    </a:lnTo>
                    <a:lnTo>
                      <a:pt x="10" y="73"/>
                    </a:lnTo>
                    <a:lnTo>
                      <a:pt x="10" y="72"/>
                    </a:lnTo>
                    <a:lnTo>
                      <a:pt x="10" y="71"/>
                    </a:lnTo>
                    <a:lnTo>
                      <a:pt x="10" y="70"/>
                    </a:lnTo>
                    <a:lnTo>
                      <a:pt x="10" y="69"/>
                    </a:lnTo>
                    <a:lnTo>
                      <a:pt x="10" y="68"/>
                    </a:lnTo>
                    <a:lnTo>
                      <a:pt x="9" y="68"/>
                    </a:lnTo>
                    <a:lnTo>
                      <a:pt x="9" y="67"/>
                    </a:lnTo>
                    <a:lnTo>
                      <a:pt x="8" y="67"/>
                    </a:lnTo>
                    <a:lnTo>
                      <a:pt x="9" y="67"/>
                    </a:lnTo>
                    <a:lnTo>
                      <a:pt x="9" y="65"/>
                    </a:lnTo>
                    <a:lnTo>
                      <a:pt x="9" y="64"/>
                    </a:lnTo>
                    <a:lnTo>
                      <a:pt x="9" y="63"/>
                    </a:lnTo>
                    <a:lnTo>
                      <a:pt x="9" y="62"/>
                    </a:lnTo>
                    <a:lnTo>
                      <a:pt x="10" y="61"/>
                    </a:lnTo>
                    <a:lnTo>
                      <a:pt x="9" y="61"/>
                    </a:lnTo>
                    <a:lnTo>
                      <a:pt x="10" y="60"/>
                    </a:lnTo>
                    <a:lnTo>
                      <a:pt x="10" y="59"/>
                    </a:lnTo>
                    <a:lnTo>
                      <a:pt x="11" y="58"/>
                    </a:lnTo>
                    <a:lnTo>
                      <a:pt x="11" y="57"/>
                    </a:lnTo>
                    <a:lnTo>
                      <a:pt x="11" y="56"/>
                    </a:lnTo>
                    <a:lnTo>
                      <a:pt x="11" y="55"/>
                    </a:lnTo>
                    <a:lnTo>
                      <a:pt x="11" y="54"/>
                    </a:lnTo>
                    <a:lnTo>
                      <a:pt x="10" y="54"/>
                    </a:lnTo>
                    <a:lnTo>
                      <a:pt x="11" y="54"/>
                    </a:lnTo>
                    <a:lnTo>
                      <a:pt x="11" y="52"/>
                    </a:lnTo>
                    <a:lnTo>
                      <a:pt x="12" y="52"/>
                    </a:lnTo>
                    <a:lnTo>
                      <a:pt x="14" y="52"/>
                    </a:lnTo>
                    <a:lnTo>
                      <a:pt x="14" y="51"/>
                    </a:lnTo>
                    <a:lnTo>
                      <a:pt x="14" y="50"/>
                    </a:lnTo>
                    <a:lnTo>
                      <a:pt x="15" y="51"/>
                    </a:lnTo>
                    <a:lnTo>
                      <a:pt x="16" y="51"/>
                    </a:lnTo>
                    <a:lnTo>
                      <a:pt x="17" y="51"/>
                    </a:lnTo>
                    <a:lnTo>
                      <a:pt x="17" y="50"/>
                    </a:lnTo>
                    <a:lnTo>
                      <a:pt x="18" y="49"/>
                    </a:lnTo>
                    <a:lnTo>
                      <a:pt x="18" y="48"/>
                    </a:lnTo>
                    <a:lnTo>
                      <a:pt x="17" y="48"/>
                    </a:lnTo>
                    <a:lnTo>
                      <a:pt x="18" y="47"/>
                    </a:lnTo>
                    <a:lnTo>
                      <a:pt x="18" y="46"/>
                    </a:lnTo>
                    <a:lnTo>
                      <a:pt x="20" y="46"/>
                    </a:lnTo>
                    <a:lnTo>
                      <a:pt x="21" y="46"/>
                    </a:lnTo>
                    <a:lnTo>
                      <a:pt x="21" y="45"/>
                    </a:lnTo>
                    <a:lnTo>
                      <a:pt x="21" y="44"/>
                    </a:lnTo>
                    <a:lnTo>
                      <a:pt x="22" y="45"/>
                    </a:lnTo>
                    <a:lnTo>
                      <a:pt x="22" y="44"/>
                    </a:lnTo>
                    <a:lnTo>
                      <a:pt x="22" y="43"/>
                    </a:lnTo>
                    <a:lnTo>
                      <a:pt x="23" y="43"/>
                    </a:lnTo>
                    <a:lnTo>
                      <a:pt x="23" y="42"/>
                    </a:lnTo>
                    <a:lnTo>
                      <a:pt x="22" y="42"/>
                    </a:lnTo>
                    <a:lnTo>
                      <a:pt x="22" y="41"/>
                    </a:lnTo>
                    <a:lnTo>
                      <a:pt x="23" y="41"/>
                    </a:lnTo>
                    <a:lnTo>
                      <a:pt x="24" y="41"/>
                    </a:lnTo>
                    <a:lnTo>
                      <a:pt x="25" y="38"/>
                    </a:lnTo>
                    <a:lnTo>
                      <a:pt x="25" y="37"/>
                    </a:lnTo>
                    <a:lnTo>
                      <a:pt x="26" y="37"/>
                    </a:lnTo>
                    <a:lnTo>
                      <a:pt x="27" y="37"/>
                    </a:lnTo>
                    <a:lnTo>
                      <a:pt x="28" y="37"/>
                    </a:lnTo>
                    <a:lnTo>
                      <a:pt x="29" y="37"/>
                    </a:lnTo>
                    <a:lnTo>
                      <a:pt x="29" y="36"/>
                    </a:lnTo>
                    <a:lnTo>
                      <a:pt x="30" y="35"/>
                    </a:lnTo>
                    <a:lnTo>
                      <a:pt x="30" y="34"/>
                    </a:lnTo>
                    <a:lnTo>
                      <a:pt x="31" y="35"/>
                    </a:lnTo>
                    <a:lnTo>
                      <a:pt x="33" y="35"/>
                    </a:lnTo>
                    <a:lnTo>
                      <a:pt x="33" y="36"/>
                    </a:lnTo>
                    <a:lnTo>
                      <a:pt x="33" y="33"/>
                    </a:lnTo>
                    <a:lnTo>
                      <a:pt x="33" y="21"/>
                    </a:lnTo>
                    <a:lnTo>
                      <a:pt x="33" y="8"/>
                    </a:lnTo>
                    <a:lnTo>
                      <a:pt x="33" y="2"/>
                    </a:lnTo>
                    <a:lnTo>
                      <a:pt x="43" y="2"/>
                    </a:lnTo>
                    <a:lnTo>
                      <a:pt x="45" y="2"/>
                    </a:lnTo>
                    <a:lnTo>
                      <a:pt x="63" y="2"/>
                    </a:lnTo>
                    <a:lnTo>
                      <a:pt x="80" y="0"/>
                    </a:lnTo>
                    <a:lnTo>
                      <a:pt x="85" y="2"/>
                    </a:lnTo>
                    <a:lnTo>
                      <a:pt x="95" y="2"/>
                    </a:lnTo>
                    <a:lnTo>
                      <a:pt x="126" y="2"/>
                    </a:lnTo>
                    <a:lnTo>
                      <a:pt x="137" y="2"/>
                    </a:lnTo>
                    <a:lnTo>
                      <a:pt x="150" y="2"/>
                    </a:lnTo>
                    <a:lnTo>
                      <a:pt x="151" y="2"/>
                    </a:lnTo>
                    <a:lnTo>
                      <a:pt x="152" y="2"/>
                    </a:lnTo>
                    <a:lnTo>
                      <a:pt x="152" y="0"/>
                    </a:lnTo>
                    <a:lnTo>
                      <a:pt x="153" y="0"/>
                    </a:lnTo>
                    <a:lnTo>
                      <a:pt x="154" y="0"/>
                    </a:lnTo>
                    <a:lnTo>
                      <a:pt x="155" y="0"/>
                    </a:lnTo>
                    <a:lnTo>
                      <a:pt x="155" y="2"/>
                    </a:lnTo>
                    <a:lnTo>
                      <a:pt x="156" y="2"/>
                    </a:lnTo>
                    <a:lnTo>
                      <a:pt x="156" y="3"/>
                    </a:lnTo>
                    <a:lnTo>
                      <a:pt x="156" y="4"/>
                    </a:lnTo>
                    <a:lnTo>
                      <a:pt x="157" y="4"/>
                    </a:lnTo>
                    <a:lnTo>
                      <a:pt x="158" y="4"/>
                    </a:lnTo>
                    <a:lnTo>
                      <a:pt x="159" y="4"/>
                    </a:lnTo>
                    <a:lnTo>
                      <a:pt x="160" y="4"/>
                    </a:lnTo>
                    <a:lnTo>
                      <a:pt x="160" y="5"/>
                    </a:lnTo>
                    <a:lnTo>
                      <a:pt x="162" y="5"/>
                    </a:lnTo>
                    <a:lnTo>
                      <a:pt x="163" y="6"/>
                    </a:lnTo>
                    <a:lnTo>
                      <a:pt x="164" y="6"/>
                    </a:lnTo>
                    <a:lnTo>
                      <a:pt x="165" y="6"/>
                    </a:lnTo>
                    <a:lnTo>
                      <a:pt x="166" y="6"/>
                    </a:lnTo>
                    <a:lnTo>
                      <a:pt x="167" y="6"/>
                    </a:lnTo>
                    <a:lnTo>
                      <a:pt x="167" y="5"/>
                    </a:lnTo>
                    <a:lnTo>
                      <a:pt x="168" y="5"/>
                    </a:lnTo>
                    <a:lnTo>
                      <a:pt x="169" y="5"/>
                    </a:lnTo>
                    <a:lnTo>
                      <a:pt x="170" y="5"/>
                    </a:lnTo>
                    <a:lnTo>
                      <a:pt x="170" y="6"/>
                    </a:lnTo>
                    <a:lnTo>
                      <a:pt x="171" y="5"/>
                    </a:lnTo>
                    <a:lnTo>
                      <a:pt x="172" y="5"/>
                    </a:lnTo>
                    <a:lnTo>
                      <a:pt x="172" y="4"/>
                    </a:lnTo>
                    <a:lnTo>
                      <a:pt x="175" y="4"/>
                    </a:lnTo>
                    <a:lnTo>
                      <a:pt x="175" y="5"/>
                    </a:lnTo>
                    <a:lnTo>
                      <a:pt x="176" y="4"/>
                    </a:lnTo>
                    <a:lnTo>
                      <a:pt x="177" y="5"/>
                    </a:lnTo>
                    <a:lnTo>
                      <a:pt x="178" y="5"/>
                    </a:lnTo>
                    <a:lnTo>
                      <a:pt x="178" y="6"/>
                    </a:lnTo>
                    <a:lnTo>
                      <a:pt x="178" y="7"/>
                    </a:lnTo>
                    <a:lnTo>
                      <a:pt x="179" y="8"/>
                    </a:lnTo>
                    <a:lnTo>
                      <a:pt x="180" y="8"/>
                    </a:lnTo>
                    <a:lnTo>
                      <a:pt x="180" y="9"/>
                    </a:lnTo>
                    <a:lnTo>
                      <a:pt x="181" y="9"/>
                    </a:lnTo>
                    <a:lnTo>
                      <a:pt x="182" y="10"/>
                    </a:lnTo>
                    <a:lnTo>
                      <a:pt x="183" y="10"/>
                    </a:lnTo>
                    <a:lnTo>
                      <a:pt x="184" y="10"/>
                    </a:lnTo>
                    <a:lnTo>
                      <a:pt x="185" y="10"/>
                    </a:lnTo>
                    <a:lnTo>
                      <a:pt x="187" y="10"/>
                    </a:lnTo>
                    <a:lnTo>
                      <a:pt x="188" y="10"/>
                    </a:lnTo>
                    <a:lnTo>
                      <a:pt x="189" y="10"/>
                    </a:lnTo>
                    <a:lnTo>
                      <a:pt x="190" y="10"/>
                    </a:lnTo>
                    <a:lnTo>
                      <a:pt x="190" y="9"/>
                    </a:lnTo>
                    <a:lnTo>
                      <a:pt x="191" y="9"/>
                    </a:lnTo>
                    <a:lnTo>
                      <a:pt x="191" y="10"/>
                    </a:lnTo>
                    <a:lnTo>
                      <a:pt x="192" y="10"/>
                    </a:lnTo>
                    <a:lnTo>
                      <a:pt x="192" y="11"/>
                    </a:lnTo>
                    <a:lnTo>
                      <a:pt x="192" y="12"/>
                    </a:lnTo>
                    <a:lnTo>
                      <a:pt x="192" y="13"/>
                    </a:lnTo>
                    <a:lnTo>
                      <a:pt x="193" y="13"/>
                    </a:lnTo>
                    <a:lnTo>
                      <a:pt x="194" y="15"/>
                    </a:lnTo>
                    <a:lnTo>
                      <a:pt x="194" y="16"/>
                    </a:lnTo>
                    <a:lnTo>
                      <a:pt x="195" y="16"/>
                    </a:lnTo>
                    <a:lnTo>
                      <a:pt x="195" y="17"/>
                    </a:lnTo>
                    <a:lnTo>
                      <a:pt x="196" y="17"/>
                    </a:lnTo>
                    <a:lnTo>
                      <a:pt x="197" y="18"/>
                    </a:lnTo>
                    <a:lnTo>
                      <a:pt x="196" y="18"/>
                    </a:lnTo>
                    <a:lnTo>
                      <a:pt x="196" y="19"/>
                    </a:lnTo>
                    <a:lnTo>
                      <a:pt x="197" y="20"/>
                    </a:lnTo>
                    <a:lnTo>
                      <a:pt x="198" y="20"/>
                    </a:lnTo>
                    <a:lnTo>
                      <a:pt x="200" y="20"/>
                    </a:lnTo>
                    <a:lnTo>
                      <a:pt x="201" y="21"/>
                    </a:lnTo>
                    <a:lnTo>
                      <a:pt x="201" y="22"/>
                    </a:lnTo>
                    <a:lnTo>
                      <a:pt x="201" y="23"/>
                    </a:lnTo>
                    <a:lnTo>
                      <a:pt x="202" y="24"/>
                    </a:lnTo>
                    <a:lnTo>
                      <a:pt x="202" y="25"/>
                    </a:lnTo>
                    <a:lnTo>
                      <a:pt x="203" y="26"/>
                    </a:lnTo>
                    <a:lnTo>
                      <a:pt x="203" y="28"/>
                    </a:lnTo>
                    <a:lnTo>
                      <a:pt x="202" y="28"/>
                    </a:lnTo>
                    <a:lnTo>
                      <a:pt x="203" y="28"/>
                    </a:lnTo>
                    <a:lnTo>
                      <a:pt x="203" y="29"/>
                    </a:lnTo>
                    <a:lnTo>
                      <a:pt x="204" y="29"/>
                    </a:lnTo>
                    <a:lnTo>
                      <a:pt x="204" y="30"/>
                    </a:lnTo>
                    <a:lnTo>
                      <a:pt x="204" y="31"/>
                    </a:lnTo>
                    <a:lnTo>
                      <a:pt x="205" y="31"/>
                    </a:lnTo>
                    <a:lnTo>
                      <a:pt x="206" y="31"/>
                    </a:lnTo>
                    <a:lnTo>
                      <a:pt x="207" y="31"/>
                    </a:lnTo>
                    <a:lnTo>
                      <a:pt x="208" y="31"/>
                    </a:lnTo>
                    <a:lnTo>
                      <a:pt x="208" y="32"/>
                    </a:lnTo>
                    <a:lnTo>
                      <a:pt x="208" y="31"/>
                    </a:lnTo>
                    <a:lnTo>
                      <a:pt x="208" y="30"/>
                    </a:lnTo>
                    <a:lnTo>
                      <a:pt x="209" y="31"/>
                    </a:lnTo>
                    <a:lnTo>
                      <a:pt x="209" y="30"/>
                    </a:lnTo>
                    <a:lnTo>
                      <a:pt x="210" y="30"/>
                    </a:lnTo>
                    <a:lnTo>
                      <a:pt x="210" y="31"/>
                    </a:lnTo>
                    <a:lnTo>
                      <a:pt x="210" y="30"/>
                    </a:lnTo>
                    <a:lnTo>
                      <a:pt x="211" y="30"/>
                    </a:lnTo>
                    <a:lnTo>
                      <a:pt x="211" y="29"/>
                    </a:lnTo>
                    <a:lnTo>
                      <a:pt x="213" y="29"/>
                    </a:lnTo>
                    <a:lnTo>
                      <a:pt x="214" y="30"/>
                    </a:lnTo>
                    <a:lnTo>
                      <a:pt x="215" y="30"/>
                    </a:lnTo>
                    <a:lnTo>
                      <a:pt x="217" y="30"/>
                    </a:lnTo>
                    <a:lnTo>
                      <a:pt x="218" y="30"/>
                    </a:lnTo>
                    <a:lnTo>
                      <a:pt x="219" y="30"/>
                    </a:lnTo>
                    <a:lnTo>
                      <a:pt x="220" y="30"/>
                    </a:lnTo>
                    <a:lnTo>
                      <a:pt x="221" y="30"/>
                    </a:lnTo>
                    <a:lnTo>
                      <a:pt x="222" y="39"/>
                    </a:lnTo>
                    <a:lnTo>
                      <a:pt x="222" y="55"/>
                    </a:lnTo>
                    <a:lnTo>
                      <a:pt x="222" y="60"/>
                    </a:lnTo>
                    <a:lnTo>
                      <a:pt x="222" y="62"/>
                    </a:lnTo>
                    <a:lnTo>
                      <a:pt x="222" y="65"/>
                    </a:lnTo>
                    <a:lnTo>
                      <a:pt x="228" y="65"/>
                    </a:lnTo>
                    <a:lnTo>
                      <a:pt x="242" y="65"/>
                    </a:lnTo>
                    <a:lnTo>
                      <a:pt x="268" y="67"/>
                    </a:lnTo>
                    <a:lnTo>
                      <a:pt x="285" y="67"/>
                    </a:lnTo>
                    <a:lnTo>
                      <a:pt x="285" y="72"/>
                    </a:lnTo>
                    <a:lnTo>
                      <a:pt x="285" y="76"/>
                    </a:lnTo>
                    <a:lnTo>
                      <a:pt x="285" y="83"/>
                    </a:lnTo>
                    <a:lnTo>
                      <a:pt x="285" y="95"/>
                    </a:lnTo>
                    <a:lnTo>
                      <a:pt x="285" y="96"/>
                    </a:lnTo>
                    <a:lnTo>
                      <a:pt x="285" y="99"/>
                    </a:lnTo>
                    <a:lnTo>
                      <a:pt x="285" y="100"/>
                    </a:lnTo>
                    <a:lnTo>
                      <a:pt x="285" y="113"/>
                    </a:lnTo>
                    <a:lnTo>
                      <a:pt x="285" y="129"/>
                    </a:lnTo>
                    <a:close/>
                  </a:path>
                </a:pathLst>
              </a:custGeom>
              <a:solidFill>
                <a:srgbClr val="267BDE"/>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 name="Freeform 56">
                <a:extLst>
                  <a:ext uri="{FF2B5EF4-FFF2-40B4-BE49-F238E27FC236}">
                    <a16:creationId xmlns:a16="http://schemas.microsoft.com/office/drawing/2014/main" id="{CB9D8DD0-1F06-A48D-0B3C-0A61F897F106}"/>
                  </a:ext>
                </a:extLst>
              </p:cNvPr>
              <p:cNvSpPr>
                <a:spLocks/>
              </p:cNvSpPr>
              <p:nvPr/>
            </p:nvSpPr>
            <p:spPr bwMode="auto">
              <a:xfrm>
                <a:off x="2417763" y="1133475"/>
                <a:ext cx="661988" cy="501650"/>
              </a:xfrm>
              <a:custGeom>
                <a:avLst/>
                <a:gdLst>
                  <a:gd name="T0" fmla="*/ 405 w 417"/>
                  <a:gd name="T1" fmla="*/ 14 h 316"/>
                  <a:gd name="T2" fmla="*/ 399 w 417"/>
                  <a:gd name="T3" fmla="*/ 24 h 316"/>
                  <a:gd name="T4" fmla="*/ 399 w 417"/>
                  <a:gd name="T5" fmla="*/ 34 h 316"/>
                  <a:gd name="T6" fmla="*/ 398 w 417"/>
                  <a:gd name="T7" fmla="*/ 42 h 316"/>
                  <a:gd name="T8" fmla="*/ 402 w 417"/>
                  <a:gd name="T9" fmla="*/ 51 h 316"/>
                  <a:gd name="T10" fmla="*/ 404 w 417"/>
                  <a:gd name="T11" fmla="*/ 67 h 316"/>
                  <a:gd name="T12" fmla="*/ 404 w 417"/>
                  <a:gd name="T13" fmla="*/ 73 h 316"/>
                  <a:gd name="T14" fmla="*/ 401 w 417"/>
                  <a:gd name="T15" fmla="*/ 78 h 316"/>
                  <a:gd name="T16" fmla="*/ 400 w 417"/>
                  <a:gd name="T17" fmla="*/ 82 h 316"/>
                  <a:gd name="T18" fmla="*/ 400 w 417"/>
                  <a:gd name="T19" fmla="*/ 92 h 316"/>
                  <a:gd name="T20" fmla="*/ 401 w 417"/>
                  <a:gd name="T21" fmla="*/ 108 h 316"/>
                  <a:gd name="T22" fmla="*/ 415 w 417"/>
                  <a:gd name="T23" fmla="*/ 129 h 316"/>
                  <a:gd name="T24" fmla="*/ 411 w 417"/>
                  <a:gd name="T25" fmla="*/ 137 h 316"/>
                  <a:gd name="T26" fmla="*/ 412 w 417"/>
                  <a:gd name="T27" fmla="*/ 151 h 316"/>
                  <a:gd name="T28" fmla="*/ 416 w 417"/>
                  <a:gd name="T29" fmla="*/ 171 h 316"/>
                  <a:gd name="T30" fmla="*/ 412 w 417"/>
                  <a:gd name="T31" fmla="*/ 193 h 316"/>
                  <a:gd name="T32" fmla="*/ 417 w 417"/>
                  <a:gd name="T33" fmla="*/ 201 h 316"/>
                  <a:gd name="T34" fmla="*/ 408 w 417"/>
                  <a:gd name="T35" fmla="*/ 206 h 316"/>
                  <a:gd name="T36" fmla="*/ 410 w 417"/>
                  <a:gd name="T37" fmla="*/ 213 h 316"/>
                  <a:gd name="T38" fmla="*/ 399 w 417"/>
                  <a:gd name="T39" fmla="*/ 227 h 316"/>
                  <a:gd name="T40" fmla="*/ 392 w 417"/>
                  <a:gd name="T41" fmla="*/ 240 h 316"/>
                  <a:gd name="T42" fmla="*/ 379 w 417"/>
                  <a:gd name="T43" fmla="*/ 246 h 316"/>
                  <a:gd name="T44" fmla="*/ 367 w 417"/>
                  <a:gd name="T45" fmla="*/ 247 h 316"/>
                  <a:gd name="T46" fmla="*/ 364 w 417"/>
                  <a:gd name="T47" fmla="*/ 258 h 316"/>
                  <a:gd name="T48" fmla="*/ 313 w 417"/>
                  <a:gd name="T49" fmla="*/ 298 h 316"/>
                  <a:gd name="T50" fmla="*/ 313 w 417"/>
                  <a:gd name="T51" fmla="*/ 305 h 316"/>
                  <a:gd name="T52" fmla="*/ 310 w 417"/>
                  <a:gd name="T53" fmla="*/ 310 h 316"/>
                  <a:gd name="T54" fmla="*/ 301 w 417"/>
                  <a:gd name="T55" fmla="*/ 310 h 316"/>
                  <a:gd name="T56" fmla="*/ 295 w 417"/>
                  <a:gd name="T57" fmla="*/ 313 h 316"/>
                  <a:gd name="T58" fmla="*/ 287 w 417"/>
                  <a:gd name="T59" fmla="*/ 314 h 316"/>
                  <a:gd name="T60" fmla="*/ 279 w 417"/>
                  <a:gd name="T61" fmla="*/ 316 h 316"/>
                  <a:gd name="T62" fmla="*/ 273 w 417"/>
                  <a:gd name="T63" fmla="*/ 314 h 316"/>
                  <a:gd name="T64" fmla="*/ 266 w 417"/>
                  <a:gd name="T65" fmla="*/ 313 h 316"/>
                  <a:gd name="T66" fmla="*/ 227 w 417"/>
                  <a:gd name="T67" fmla="*/ 314 h 316"/>
                  <a:gd name="T68" fmla="*/ 195 w 417"/>
                  <a:gd name="T69" fmla="*/ 281 h 316"/>
                  <a:gd name="T70" fmla="*/ 132 w 417"/>
                  <a:gd name="T71" fmla="*/ 250 h 316"/>
                  <a:gd name="T72" fmla="*/ 127 w 417"/>
                  <a:gd name="T73" fmla="*/ 215 h 316"/>
                  <a:gd name="T74" fmla="*/ 119 w 417"/>
                  <a:gd name="T75" fmla="*/ 215 h 316"/>
                  <a:gd name="T76" fmla="*/ 114 w 417"/>
                  <a:gd name="T77" fmla="*/ 216 h 316"/>
                  <a:gd name="T78" fmla="*/ 112 w 417"/>
                  <a:gd name="T79" fmla="*/ 209 h 316"/>
                  <a:gd name="T80" fmla="*/ 107 w 417"/>
                  <a:gd name="T81" fmla="*/ 203 h 316"/>
                  <a:gd name="T82" fmla="*/ 102 w 417"/>
                  <a:gd name="T83" fmla="*/ 196 h 316"/>
                  <a:gd name="T84" fmla="*/ 95 w 417"/>
                  <a:gd name="T85" fmla="*/ 195 h 316"/>
                  <a:gd name="T86" fmla="*/ 88 w 417"/>
                  <a:gd name="T87" fmla="*/ 191 h 316"/>
                  <a:gd name="T88" fmla="*/ 80 w 417"/>
                  <a:gd name="T89" fmla="*/ 191 h 316"/>
                  <a:gd name="T90" fmla="*/ 73 w 417"/>
                  <a:gd name="T91" fmla="*/ 191 h 316"/>
                  <a:gd name="T92" fmla="*/ 66 w 417"/>
                  <a:gd name="T93" fmla="*/ 187 h 316"/>
                  <a:gd name="T94" fmla="*/ 47 w 417"/>
                  <a:gd name="T95" fmla="*/ 187 h 316"/>
                  <a:gd name="T96" fmla="*/ 5 w 417"/>
                  <a:gd name="T97" fmla="*/ 126 h 316"/>
                  <a:gd name="T98" fmla="*/ 5 w 417"/>
                  <a:gd name="T99" fmla="*/ 67 h 316"/>
                  <a:gd name="T100" fmla="*/ 5 w 417"/>
                  <a:gd name="T101" fmla="*/ 3 h 316"/>
                  <a:gd name="T102" fmla="*/ 18 w 417"/>
                  <a:gd name="T103" fmla="*/ 0 h 316"/>
                  <a:gd name="T104" fmla="*/ 107 w 417"/>
                  <a:gd name="T105" fmla="*/ 1 h 316"/>
                  <a:gd name="T106" fmla="*/ 150 w 417"/>
                  <a:gd name="T107" fmla="*/ 2 h 316"/>
                  <a:gd name="T108" fmla="*/ 228 w 417"/>
                  <a:gd name="T109" fmla="*/ 3 h 316"/>
                  <a:gd name="T110" fmla="*/ 284 w 417"/>
                  <a:gd name="T111" fmla="*/ 3 h 316"/>
                  <a:gd name="T112" fmla="*/ 363 w 417"/>
                  <a:gd name="T113" fmla="*/ 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7" h="316">
                    <a:moveTo>
                      <a:pt x="408" y="4"/>
                    </a:moveTo>
                    <a:lnTo>
                      <a:pt x="408" y="5"/>
                    </a:lnTo>
                    <a:lnTo>
                      <a:pt x="409" y="9"/>
                    </a:lnTo>
                    <a:lnTo>
                      <a:pt x="409" y="10"/>
                    </a:lnTo>
                    <a:lnTo>
                      <a:pt x="408" y="11"/>
                    </a:lnTo>
                    <a:lnTo>
                      <a:pt x="407" y="12"/>
                    </a:lnTo>
                    <a:lnTo>
                      <a:pt x="405" y="12"/>
                    </a:lnTo>
                    <a:lnTo>
                      <a:pt x="405" y="13"/>
                    </a:lnTo>
                    <a:lnTo>
                      <a:pt x="405" y="14"/>
                    </a:lnTo>
                    <a:lnTo>
                      <a:pt x="405" y="15"/>
                    </a:lnTo>
                    <a:lnTo>
                      <a:pt x="407" y="17"/>
                    </a:lnTo>
                    <a:lnTo>
                      <a:pt x="405" y="20"/>
                    </a:lnTo>
                    <a:lnTo>
                      <a:pt x="405" y="21"/>
                    </a:lnTo>
                    <a:lnTo>
                      <a:pt x="404" y="21"/>
                    </a:lnTo>
                    <a:lnTo>
                      <a:pt x="402" y="22"/>
                    </a:lnTo>
                    <a:lnTo>
                      <a:pt x="401" y="22"/>
                    </a:lnTo>
                    <a:lnTo>
                      <a:pt x="400" y="23"/>
                    </a:lnTo>
                    <a:lnTo>
                      <a:pt x="399" y="24"/>
                    </a:lnTo>
                    <a:lnTo>
                      <a:pt x="399" y="25"/>
                    </a:lnTo>
                    <a:lnTo>
                      <a:pt x="400" y="25"/>
                    </a:lnTo>
                    <a:lnTo>
                      <a:pt x="403" y="30"/>
                    </a:lnTo>
                    <a:lnTo>
                      <a:pt x="403" y="31"/>
                    </a:lnTo>
                    <a:lnTo>
                      <a:pt x="403" y="33"/>
                    </a:lnTo>
                    <a:lnTo>
                      <a:pt x="402" y="34"/>
                    </a:lnTo>
                    <a:lnTo>
                      <a:pt x="401" y="34"/>
                    </a:lnTo>
                    <a:lnTo>
                      <a:pt x="400" y="34"/>
                    </a:lnTo>
                    <a:lnTo>
                      <a:pt x="399" y="34"/>
                    </a:lnTo>
                    <a:lnTo>
                      <a:pt x="398" y="34"/>
                    </a:lnTo>
                    <a:lnTo>
                      <a:pt x="398" y="36"/>
                    </a:lnTo>
                    <a:lnTo>
                      <a:pt x="397" y="36"/>
                    </a:lnTo>
                    <a:lnTo>
                      <a:pt x="397" y="37"/>
                    </a:lnTo>
                    <a:lnTo>
                      <a:pt x="398" y="38"/>
                    </a:lnTo>
                    <a:lnTo>
                      <a:pt x="398" y="39"/>
                    </a:lnTo>
                    <a:lnTo>
                      <a:pt x="398" y="40"/>
                    </a:lnTo>
                    <a:lnTo>
                      <a:pt x="398" y="41"/>
                    </a:lnTo>
                    <a:lnTo>
                      <a:pt x="398" y="42"/>
                    </a:lnTo>
                    <a:lnTo>
                      <a:pt x="399" y="42"/>
                    </a:lnTo>
                    <a:lnTo>
                      <a:pt x="400" y="42"/>
                    </a:lnTo>
                    <a:lnTo>
                      <a:pt x="401" y="42"/>
                    </a:lnTo>
                    <a:lnTo>
                      <a:pt x="401" y="43"/>
                    </a:lnTo>
                    <a:lnTo>
                      <a:pt x="400" y="47"/>
                    </a:lnTo>
                    <a:lnTo>
                      <a:pt x="400" y="48"/>
                    </a:lnTo>
                    <a:lnTo>
                      <a:pt x="400" y="49"/>
                    </a:lnTo>
                    <a:lnTo>
                      <a:pt x="402" y="50"/>
                    </a:lnTo>
                    <a:lnTo>
                      <a:pt x="402" y="51"/>
                    </a:lnTo>
                    <a:lnTo>
                      <a:pt x="401" y="53"/>
                    </a:lnTo>
                    <a:lnTo>
                      <a:pt x="401" y="54"/>
                    </a:lnTo>
                    <a:lnTo>
                      <a:pt x="402" y="56"/>
                    </a:lnTo>
                    <a:lnTo>
                      <a:pt x="402" y="59"/>
                    </a:lnTo>
                    <a:lnTo>
                      <a:pt x="403" y="62"/>
                    </a:lnTo>
                    <a:lnTo>
                      <a:pt x="404" y="64"/>
                    </a:lnTo>
                    <a:lnTo>
                      <a:pt x="405" y="65"/>
                    </a:lnTo>
                    <a:lnTo>
                      <a:pt x="404" y="66"/>
                    </a:lnTo>
                    <a:lnTo>
                      <a:pt x="404" y="67"/>
                    </a:lnTo>
                    <a:lnTo>
                      <a:pt x="403" y="67"/>
                    </a:lnTo>
                    <a:lnTo>
                      <a:pt x="402" y="67"/>
                    </a:lnTo>
                    <a:lnTo>
                      <a:pt x="401" y="67"/>
                    </a:lnTo>
                    <a:lnTo>
                      <a:pt x="401" y="68"/>
                    </a:lnTo>
                    <a:lnTo>
                      <a:pt x="401" y="69"/>
                    </a:lnTo>
                    <a:lnTo>
                      <a:pt x="402" y="70"/>
                    </a:lnTo>
                    <a:lnTo>
                      <a:pt x="403" y="70"/>
                    </a:lnTo>
                    <a:lnTo>
                      <a:pt x="404" y="72"/>
                    </a:lnTo>
                    <a:lnTo>
                      <a:pt x="404" y="73"/>
                    </a:lnTo>
                    <a:lnTo>
                      <a:pt x="403" y="74"/>
                    </a:lnTo>
                    <a:lnTo>
                      <a:pt x="401" y="73"/>
                    </a:lnTo>
                    <a:lnTo>
                      <a:pt x="400" y="73"/>
                    </a:lnTo>
                    <a:lnTo>
                      <a:pt x="400" y="74"/>
                    </a:lnTo>
                    <a:lnTo>
                      <a:pt x="400" y="75"/>
                    </a:lnTo>
                    <a:lnTo>
                      <a:pt x="401" y="76"/>
                    </a:lnTo>
                    <a:lnTo>
                      <a:pt x="402" y="77"/>
                    </a:lnTo>
                    <a:lnTo>
                      <a:pt x="401" y="77"/>
                    </a:lnTo>
                    <a:lnTo>
                      <a:pt x="401" y="78"/>
                    </a:lnTo>
                    <a:lnTo>
                      <a:pt x="400" y="79"/>
                    </a:lnTo>
                    <a:lnTo>
                      <a:pt x="399" y="79"/>
                    </a:lnTo>
                    <a:lnTo>
                      <a:pt x="399" y="80"/>
                    </a:lnTo>
                    <a:lnTo>
                      <a:pt x="400" y="80"/>
                    </a:lnTo>
                    <a:lnTo>
                      <a:pt x="401" y="80"/>
                    </a:lnTo>
                    <a:lnTo>
                      <a:pt x="402" y="80"/>
                    </a:lnTo>
                    <a:lnTo>
                      <a:pt x="402" y="81"/>
                    </a:lnTo>
                    <a:lnTo>
                      <a:pt x="401" y="81"/>
                    </a:lnTo>
                    <a:lnTo>
                      <a:pt x="400" y="82"/>
                    </a:lnTo>
                    <a:lnTo>
                      <a:pt x="399" y="83"/>
                    </a:lnTo>
                    <a:lnTo>
                      <a:pt x="400" y="83"/>
                    </a:lnTo>
                    <a:lnTo>
                      <a:pt x="400" y="85"/>
                    </a:lnTo>
                    <a:lnTo>
                      <a:pt x="401" y="86"/>
                    </a:lnTo>
                    <a:lnTo>
                      <a:pt x="401" y="87"/>
                    </a:lnTo>
                    <a:lnTo>
                      <a:pt x="402" y="88"/>
                    </a:lnTo>
                    <a:lnTo>
                      <a:pt x="402" y="89"/>
                    </a:lnTo>
                    <a:lnTo>
                      <a:pt x="400" y="91"/>
                    </a:lnTo>
                    <a:lnTo>
                      <a:pt x="400" y="92"/>
                    </a:lnTo>
                    <a:lnTo>
                      <a:pt x="399" y="94"/>
                    </a:lnTo>
                    <a:lnTo>
                      <a:pt x="398" y="95"/>
                    </a:lnTo>
                    <a:lnTo>
                      <a:pt x="398" y="97"/>
                    </a:lnTo>
                    <a:lnTo>
                      <a:pt x="398" y="98"/>
                    </a:lnTo>
                    <a:lnTo>
                      <a:pt x="398" y="100"/>
                    </a:lnTo>
                    <a:lnTo>
                      <a:pt x="398" y="101"/>
                    </a:lnTo>
                    <a:lnTo>
                      <a:pt x="398" y="102"/>
                    </a:lnTo>
                    <a:lnTo>
                      <a:pt x="401" y="107"/>
                    </a:lnTo>
                    <a:lnTo>
                      <a:pt x="401" y="108"/>
                    </a:lnTo>
                    <a:lnTo>
                      <a:pt x="401" y="110"/>
                    </a:lnTo>
                    <a:lnTo>
                      <a:pt x="405" y="115"/>
                    </a:lnTo>
                    <a:lnTo>
                      <a:pt x="408" y="118"/>
                    </a:lnTo>
                    <a:lnTo>
                      <a:pt x="409" y="120"/>
                    </a:lnTo>
                    <a:lnTo>
                      <a:pt x="411" y="121"/>
                    </a:lnTo>
                    <a:lnTo>
                      <a:pt x="414" y="124"/>
                    </a:lnTo>
                    <a:lnTo>
                      <a:pt x="415" y="126"/>
                    </a:lnTo>
                    <a:lnTo>
                      <a:pt x="415" y="128"/>
                    </a:lnTo>
                    <a:lnTo>
                      <a:pt x="415" y="129"/>
                    </a:lnTo>
                    <a:lnTo>
                      <a:pt x="414" y="130"/>
                    </a:lnTo>
                    <a:lnTo>
                      <a:pt x="413" y="130"/>
                    </a:lnTo>
                    <a:lnTo>
                      <a:pt x="411" y="130"/>
                    </a:lnTo>
                    <a:lnTo>
                      <a:pt x="410" y="131"/>
                    </a:lnTo>
                    <a:lnTo>
                      <a:pt x="409" y="132"/>
                    </a:lnTo>
                    <a:lnTo>
                      <a:pt x="408" y="133"/>
                    </a:lnTo>
                    <a:lnTo>
                      <a:pt x="409" y="133"/>
                    </a:lnTo>
                    <a:lnTo>
                      <a:pt x="409" y="136"/>
                    </a:lnTo>
                    <a:lnTo>
                      <a:pt x="411" y="137"/>
                    </a:lnTo>
                    <a:lnTo>
                      <a:pt x="412" y="137"/>
                    </a:lnTo>
                    <a:lnTo>
                      <a:pt x="412" y="138"/>
                    </a:lnTo>
                    <a:lnTo>
                      <a:pt x="412" y="139"/>
                    </a:lnTo>
                    <a:lnTo>
                      <a:pt x="411" y="140"/>
                    </a:lnTo>
                    <a:lnTo>
                      <a:pt x="410" y="141"/>
                    </a:lnTo>
                    <a:lnTo>
                      <a:pt x="409" y="141"/>
                    </a:lnTo>
                    <a:lnTo>
                      <a:pt x="409" y="142"/>
                    </a:lnTo>
                    <a:lnTo>
                      <a:pt x="412" y="149"/>
                    </a:lnTo>
                    <a:lnTo>
                      <a:pt x="412" y="151"/>
                    </a:lnTo>
                    <a:lnTo>
                      <a:pt x="413" y="153"/>
                    </a:lnTo>
                    <a:lnTo>
                      <a:pt x="416" y="156"/>
                    </a:lnTo>
                    <a:lnTo>
                      <a:pt x="416" y="158"/>
                    </a:lnTo>
                    <a:lnTo>
                      <a:pt x="417" y="160"/>
                    </a:lnTo>
                    <a:lnTo>
                      <a:pt x="417" y="163"/>
                    </a:lnTo>
                    <a:lnTo>
                      <a:pt x="416" y="165"/>
                    </a:lnTo>
                    <a:lnTo>
                      <a:pt x="416" y="166"/>
                    </a:lnTo>
                    <a:lnTo>
                      <a:pt x="416" y="169"/>
                    </a:lnTo>
                    <a:lnTo>
                      <a:pt x="416" y="171"/>
                    </a:lnTo>
                    <a:lnTo>
                      <a:pt x="416" y="172"/>
                    </a:lnTo>
                    <a:lnTo>
                      <a:pt x="414" y="178"/>
                    </a:lnTo>
                    <a:lnTo>
                      <a:pt x="413" y="180"/>
                    </a:lnTo>
                    <a:lnTo>
                      <a:pt x="412" y="181"/>
                    </a:lnTo>
                    <a:lnTo>
                      <a:pt x="411" y="183"/>
                    </a:lnTo>
                    <a:lnTo>
                      <a:pt x="411" y="184"/>
                    </a:lnTo>
                    <a:lnTo>
                      <a:pt x="411" y="187"/>
                    </a:lnTo>
                    <a:lnTo>
                      <a:pt x="411" y="190"/>
                    </a:lnTo>
                    <a:lnTo>
                      <a:pt x="412" y="193"/>
                    </a:lnTo>
                    <a:lnTo>
                      <a:pt x="413" y="194"/>
                    </a:lnTo>
                    <a:lnTo>
                      <a:pt x="413" y="195"/>
                    </a:lnTo>
                    <a:lnTo>
                      <a:pt x="414" y="195"/>
                    </a:lnTo>
                    <a:lnTo>
                      <a:pt x="415" y="196"/>
                    </a:lnTo>
                    <a:lnTo>
                      <a:pt x="416" y="196"/>
                    </a:lnTo>
                    <a:lnTo>
                      <a:pt x="417" y="197"/>
                    </a:lnTo>
                    <a:lnTo>
                      <a:pt x="417" y="198"/>
                    </a:lnTo>
                    <a:lnTo>
                      <a:pt x="417" y="200"/>
                    </a:lnTo>
                    <a:lnTo>
                      <a:pt x="417" y="201"/>
                    </a:lnTo>
                    <a:lnTo>
                      <a:pt x="417" y="203"/>
                    </a:lnTo>
                    <a:lnTo>
                      <a:pt x="416" y="204"/>
                    </a:lnTo>
                    <a:lnTo>
                      <a:pt x="415" y="204"/>
                    </a:lnTo>
                    <a:lnTo>
                      <a:pt x="411" y="204"/>
                    </a:lnTo>
                    <a:lnTo>
                      <a:pt x="409" y="204"/>
                    </a:lnTo>
                    <a:lnTo>
                      <a:pt x="408" y="204"/>
                    </a:lnTo>
                    <a:lnTo>
                      <a:pt x="407" y="205"/>
                    </a:lnTo>
                    <a:lnTo>
                      <a:pt x="407" y="206"/>
                    </a:lnTo>
                    <a:lnTo>
                      <a:pt x="408" y="206"/>
                    </a:lnTo>
                    <a:lnTo>
                      <a:pt x="409" y="206"/>
                    </a:lnTo>
                    <a:lnTo>
                      <a:pt x="411" y="206"/>
                    </a:lnTo>
                    <a:lnTo>
                      <a:pt x="412" y="206"/>
                    </a:lnTo>
                    <a:lnTo>
                      <a:pt x="412" y="207"/>
                    </a:lnTo>
                    <a:lnTo>
                      <a:pt x="413" y="208"/>
                    </a:lnTo>
                    <a:lnTo>
                      <a:pt x="413" y="209"/>
                    </a:lnTo>
                    <a:lnTo>
                      <a:pt x="412" y="210"/>
                    </a:lnTo>
                    <a:lnTo>
                      <a:pt x="412" y="211"/>
                    </a:lnTo>
                    <a:lnTo>
                      <a:pt x="410" y="213"/>
                    </a:lnTo>
                    <a:lnTo>
                      <a:pt x="409" y="214"/>
                    </a:lnTo>
                    <a:lnTo>
                      <a:pt x="408" y="214"/>
                    </a:lnTo>
                    <a:lnTo>
                      <a:pt x="407" y="216"/>
                    </a:lnTo>
                    <a:lnTo>
                      <a:pt x="405" y="218"/>
                    </a:lnTo>
                    <a:lnTo>
                      <a:pt x="404" y="220"/>
                    </a:lnTo>
                    <a:lnTo>
                      <a:pt x="403" y="222"/>
                    </a:lnTo>
                    <a:lnTo>
                      <a:pt x="402" y="223"/>
                    </a:lnTo>
                    <a:lnTo>
                      <a:pt x="401" y="226"/>
                    </a:lnTo>
                    <a:lnTo>
                      <a:pt x="399" y="227"/>
                    </a:lnTo>
                    <a:lnTo>
                      <a:pt x="398" y="229"/>
                    </a:lnTo>
                    <a:lnTo>
                      <a:pt x="397" y="231"/>
                    </a:lnTo>
                    <a:lnTo>
                      <a:pt x="396" y="233"/>
                    </a:lnTo>
                    <a:lnTo>
                      <a:pt x="396" y="234"/>
                    </a:lnTo>
                    <a:lnTo>
                      <a:pt x="395" y="236"/>
                    </a:lnTo>
                    <a:lnTo>
                      <a:pt x="395" y="237"/>
                    </a:lnTo>
                    <a:lnTo>
                      <a:pt x="395" y="239"/>
                    </a:lnTo>
                    <a:lnTo>
                      <a:pt x="394" y="240"/>
                    </a:lnTo>
                    <a:lnTo>
                      <a:pt x="392" y="240"/>
                    </a:lnTo>
                    <a:lnTo>
                      <a:pt x="390" y="241"/>
                    </a:lnTo>
                    <a:lnTo>
                      <a:pt x="388" y="242"/>
                    </a:lnTo>
                    <a:lnTo>
                      <a:pt x="387" y="242"/>
                    </a:lnTo>
                    <a:lnTo>
                      <a:pt x="385" y="242"/>
                    </a:lnTo>
                    <a:lnTo>
                      <a:pt x="384" y="242"/>
                    </a:lnTo>
                    <a:lnTo>
                      <a:pt x="383" y="242"/>
                    </a:lnTo>
                    <a:lnTo>
                      <a:pt x="382" y="243"/>
                    </a:lnTo>
                    <a:lnTo>
                      <a:pt x="381" y="245"/>
                    </a:lnTo>
                    <a:lnTo>
                      <a:pt x="379" y="246"/>
                    </a:lnTo>
                    <a:lnTo>
                      <a:pt x="377" y="247"/>
                    </a:lnTo>
                    <a:lnTo>
                      <a:pt x="377" y="248"/>
                    </a:lnTo>
                    <a:lnTo>
                      <a:pt x="376" y="248"/>
                    </a:lnTo>
                    <a:lnTo>
                      <a:pt x="375" y="248"/>
                    </a:lnTo>
                    <a:lnTo>
                      <a:pt x="374" y="248"/>
                    </a:lnTo>
                    <a:lnTo>
                      <a:pt x="371" y="247"/>
                    </a:lnTo>
                    <a:lnTo>
                      <a:pt x="370" y="247"/>
                    </a:lnTo>
                    <a:lnTo>
                      <a:pt x="369" y="247"/>
                    </a:lnTo>
                    <a:lnTo>
                      <a:pt x="367" y="247"/>
                    </a:lnTo>
                    <a:lnTo>
                      <a:pt x="365" y="247"/>
                    </a:lnTo>
                    <a:lnTo>
                      <a:pt x="364" y="247"/>
                    </a:lnTo>
                    <a:lnTo>
                      <a:pt x="363" y="248"/>
                    </a:lnTo>
                    <a:lnTo>
                      <a:pt x="363" y="250"/>
                    </a:lnTo>
                    <a:lnTo>
                      <a:pt x="363" y="253"/>
                    </a:lnTo>
                    <a:lnTo>
                      <a:pt x="363" y="254"/>
                    </a:lnTo>
                    <a:lnTo>
                      <a:pt x="363" y="255"/>
                    </a:lnTo>
                    <a:lnTo>
                      <a:pt x="365" y="258"/>
                    </a:lnTo>
                    <a:lnTo>
                      <a:pt x="364" y="258"/>
                    </a:lnTo>
                    <a:lnTo>
                      <a:pt x="353" y="267"/>
                    </a:lnTo>
                    <a:lnTo>
                      <a:pt x="349" y="270"/>
                    </a:lnTo>
                    <a:lnTo>
                      <a:pt x="315" y="294"/>
                    </a:lnTo>
                    <a:lnTo>
                      <a:pt x="314" y="294"/>
                    </a:lnTo>
                    <a:lnTo>
                      <a:pt x="314" y="295"/>
                    </a:lnTo>
                    <a:lnTo>
                      <a:pt x="313" y="295"/>
                    </a:lnTo>
                    <a:lnTo>
                      <a:pt x="313" y="296"/>
                    </a:lnTo>
                    <a:lnTo>
                      <a:pt x="313" y="297"/>
                    </a:lnTo>
                    <a:lnTo>
                      <a:pt x="313" y="298"/>
                    </a:lnTo>
                    <a:lnTo>
                      <a:pt x="312" y="298"/>
                    </a:lnTo>
                    <a:lnTo>
                      <a:pt x="312" y="299"/>
                    </a:lnTo>
                    <a:lnTo>
                      <a:pt x="312" y="300"/>
                    </a:lnTo>
                    <a:lnTo>
                      <a:pt x="312" y="301"/>
                    </a:lnTo>
                    <a:lnTo>
                      <a:pt x="313" y="303"/>
                    </a:lnTo>
                    <a:lnTo>
                      <a:pt x="312" y="303"/>
                    </a:lnTo>
                    <a:lnTo>
                      <a:pt x="312" y="304"/>
                    </a:lnTo>
                    <a:lnTo>
                      <a:pt x="312" y="305"/>
                    </a:lnTo>
                    <a:lnTo>
                      <a:pt x="313" y="305"/>
                    </a:lnTo>
                    <a:lnTo>
                      <a:pt x="312" y="306"/>
                    </a:lnTo>
                    <a:lnTo>
                      <a:pt x="313" y="306"/>
                    </a:lnTo>
                    <a:lnTo>
                      <a:pt x="313" y="307"/>
                    </a:lnTo>
                    <a:lnTo>
                      <a:pt x="313" y="308"/>
                    </a:lnTo>
                    <a:lnTo>
                      <a:pt x="312" y="308"/>
                    </a:lnTo>
                    <a:lnTo>
                      <a:pt x="312" y="309"/>
                    </a:lnTo>
                    <a:lnTo>
                      <a:pt x="311" y="309"/>
                    </a:lnTo>
                    <a:lnTo>
                      <a:pt x="310" y="309"/>
                    </a:lnTo>
                    <a:lnTo>
                      <a:pt x="310" y="310"/>
                    </a:lnTo>
                    <a:lnTo>
                      <a:pt x="309" y="309"/>
                    </a:lnTo>
                    <a:lnTo>
                      <a:pt x="309" y="310"/>
                    </a:lnTo>
                    <a:lnTo>
                      <a:pt x="308" y="310"/>
                    </a:lnTo>
                    <a:lnTo>
                      <a:pt x="307" y="311"/>
                    </a:lnTo>
                    <a:lnTo>
                      <a:pt x="306" y="310"/>
                    </a:lnTo>
                    <a:lnTo>
                      <a:pt x="305" y="310"/>
                    </a:lnTo>
                    <a:lnTo>
                      <a:pt x="304" y="310"/>
                    </a:lnTo>
                    <a:lnTo>
                      <a:pt x="302" y="310"/>
                    </a:lnTo>
                    <a:lnTo>
                      <a:pt x="301" y="310"/>
                    </a:lnTo>
                    <a:lnTo>
                      <a:pt x="300" y="310"/>
                    </a:lnTo>
                    <a:lnTo>
                      <a:pt x="299" y="310"/>
                    </a:lnTo>
                    <a:lnTo>
                      <a:pt x="298" y="310"/>
                    </a:lnTo>
                    <a:lnTo>
                      <a:pt x="297" y="310"/>
                    </a:lnTo>
                    <a:lnTo>
                      <a:pt x="297" y="311"/>
                    </a:lnTo>
                    <a:lnTo>
                      <a:pt x="296" y="310"/>
                    </a:lnTo>
                    <a:lnTo>
                      <a:pt x="296" y="311"/>
                    </a:lnTo>
                    <a:lnTo>
                      <a:pt x="296" y="312"/>
                    </a:lnTo>
                    <a:lnTo>
                      <a:pt x="295" y="313"/>
                    </a:lnTo>
                    <a:lnTo>
                      <a:pt x="294" y="313"/>
                    </a:lnTo>
                    <a:lnTo>
                      <a:pt x="293" y="313"/>
                    </a:lnTo>
                    <a:lnTo>
                      <a:pt x="293" y="314"/>
                    </a:lnTo>
                    <a:lnTo>
                      <a:pt x="292" y="314"/>
                    </a:lnTo>
                    <a:lnTo>
                      <a:pt x="291" y="314"/>
                    </a:lnTo>
                    <a:lnTo>
                      <a:pt x="289" y="316"/>
                    </a:lnTo>
                    <a:lnTo>
                      <a:pt x="288" y="316"/>
                    </a:lnTo>
                    <a:lnTo>
                      <a:pt x="288" y="314"/>
                    </a:lnTo>
                    <a:lnTo>
                      <a:pt x="287" y="314"/>
                    </a:lnTo>
                    <a:lnTo>
                      <a:pt x="286" y="314"/>
                    </a:lnTo>
                    <a:lnTo>
                      <a:pt x="285" y="313"/>
                    </a:lnTo>
                    <a:lnTo>
                      <a:pt x="285" y="314"/>
                    </a:lnTo>
                    <a:lnTo>
                      <a:pt x="284" y="314"/>
                    </a:lnTo>
                    <a:lnTo>
                      <a:pt x="283" y="316"/>
                    </a:lnTo>
                    <a:lnTo>
                      <a:pt x="282" y="316"/>
                    </a:lnTo>
                    <a:lnTo>
                      <a:pt x="281" y="316"/>
                    </a:lnTo>
                    <a:lnTo>
                      <a:pt x="280" y="316"/>
                    </a:lnTo>
                    <a:lnTo>
                      <a:pt x="279" y="316"/>
                    </a:lnTo>
                    <a:lnTo>
                      <a:pt x="280" y="314"/>
                    </a:lnTo>
                    <a:lnTo>
                      <a:pt x="279" y="314"/>
                    </a:lnTo>
                    <a:lnTo>
                      <a:pt x="278" y="314"/>
                    </a:lnTo>
                    <a:lnTo>
                      <a:pt x="276" y="314"/>
                    </a:lnTo>
                    <a:lnTo>
                      <a:pt x="275" y="314"/>
                    </a:lnTo>
                    <a:lnTo>
                      <a:pt x="275" y="313"/>
                    </a:lnTo>
                    <a:lnTo>
                      <a:pt x="274" y="313"/>
                    </a:lnTo>
                    <a:lnTo>
                      <a:pt x="274" y="314"/>
                    </a:lnTo>
                    <a:lnTo>
                      <a:pt x="273" y="314"/>
                    </a:lnTo>
                    <a:lnTo>
                      <a:pt x="272" y="313"/>
                    </a:lnTo>
                    <a:lnTo>
                      <a:pt x="271" y="312"/>
                    </a:lnTo>
                    <a:lnTo>
                      <a:pt x="270" y="312"/>
                    </a:lnTo>
                    <a:lnTo>
                      <a:pt x="269" y="311"/>
                    </a:lnTo>
                    <a:lnTo>
                      <a:pt x="268" y="311"/>
                    </a:lnTo>
                    <a:lnTo>
                      <a:pt x="267" y="311"/>
                    </a:lnTo>
                    <a:lnTo>
                      <a:pt x="267" y="312"/>
                    </a:lnTo>
                    <a:lnTo>
                      <a:pt x="266" y="312"/>
                    </a:lnTo>
                    <a:lnTo>
                      <a:pt x="266" y="313"/>
                    </a:lnTo>
                    <a:lnTo>
                      <a:pt x="266" y="314"/>
                    </a:lnTo>
                    <a:lnTo>
                      <a:pt x="265" y="314"/>
                    </a:lnTo>
                    <a:lnTo>
                      <a:pt x="263" y="314"/>
                    </a:lnTo>
                    <a:lnTo>
                      <a:pt x="263" y="313"/>
                    </a:lnTo>
                    <a:lnTo>
                      <a:pt x="263" y="314"/>
                    </a:lnTo>
                    <a:lnTo>
                      <a:pt x="262" y="314"/>
                    </a:lnTo>
                    <a:lnTo>
                      <a:pt x="248" y="314"/>
                    </a:lnTo>
                    <a:lnTo>
                      <a:pt x="234" y="314"/>
                    </a:lnTo>
                    <a:lnTo>
                      <a:pt x="227" y="314"/>
                    </a:lnTo>
                    <a:lnTo>
                      <a:pt x="221" y="314"/>
                    </a:lnTo>
                    <a:lnTo>
                      <a:pt x="220" y="314"/>
                    </a:lnTo>
                    <a:lnTo>
                      <a:pt x="219" y="314"/>
                    </a:lnTo>
                    <a:lnTo>
                      <a:pt x="214" y="314"/>
                    </a:lnTo>
                    <a:lnTo>
                      <a:pt x="195" y="314"/>
                    </a:lnTo>
                    <a:lnTo>
                      <a:pt x="195" y="298"/>
                    </a:lnTo>
                    <a:lnTo>
                      <a:pt x="195" y="285"/>
                    </a:lnTo>
                    <a:lnTo>
                      <a:pt x="195" y="284"/>
                    </a:lnTo>
                    <a:lnTo>
                      <a:pt x="195" y="281"/>
                    </a:lnTo>
                    <a:lnTo>
                      <a:pt x="195" y="280"/>
                    </a:lnTo>
                    <a:lnTo>
                      <a:pt x="195" y="268"/>
                    </a:lnTo>
                    <a:lnTo>
                      <a:pt x="195" y="261"/>
                    </a:lnTo>
                    <a:lnTo>
                      <a:pt x="195" y="257"/>
                    </a:lnTo>
                    <a:lnTo>
                      <a:pt x="195" y="252"/>
                    </a:lnTo>
                    <a:lnTo>
                      <a:pt x="178" y="252"/>
                    </a:lnTo>
                    <a:lnTo>
                      <a:pt x="152" y="250"/>
                    </a:lnTo>
                    <a:lnTo>
                      <a:pt x="138" y="250"/>
                    </a:lnTo>
                    <a:lnTo>
                      <a:pt x="132" y="250"/>
                    </a:lnTo>
                    <a:lnTo>
                      <a:pt x="132" y="247"/>
                    </a:lnTo>
                    <a:lnTo>
                      <a:pt x="132" y="245"/>
                    </a:lnTo>
                    <a:lnTo>
                      <a:pt x="132" y="240"/>
                    </a:lnTo>
                    <a:lnTo>
                      <a:pt x="132" y="224"/>
                    </a:lnTo>
                    <a:lnTo>
                      <a:pt x="131" y="215"/>
                    </a:lnTo>
                    <a:lnTo>
                      <a:pt x="130" y="215"/>
                    </a:lnTo>
                    <a:lnTo>
                      <a:pt x="129" y="215"/>
                    </a:lnTo>
                    <a:lnTo>
                      <a:pt x="128" y="215"/>
                    </a:lnTo>
                    <a:lnTo>
                      <a:pt x="127" y="215"/>
                    </a:lnTo>
                    <a:lnTo>
                      <a:pt x="125" y="215"/>
                    </a:lnTo>
                    <a:lnTo>
                      <a:pt x="124" y="215"/>
                    </a:lnTo>
                    <a:lnTo>
                      <a:pt x="123" y="214"/>
                    </a:lnTo>
                    <a:lnTo>
                      <a:pt x="121" y="214"/>
                    </a:lnTo>
                    <a:lnTo>
                      <a:pt x="121" y="215"/>
                    </a:lnTo>
                    <a:lnTo>
                      <a:pt x="120" y="215"/>
                    </a:lnTo>
                    <a:lnTo>
                      <a:pt x="120" y="216"/>
                    </a:lnTo>
                    <a:lnTo>
                      <a:pt x="120" y="215"/>
                    </a:lnTo>
                    <a:lnTo>
                      <a:pt x="119" y="215"/>
                    </a:lnTo>
                    <a:lnTo>
                      <a:pt x="119" y="216"/>
                    </a:lnTo>
                    <a:lnTo>
                      <a:pt x="118" y="215"/>
                    </a:lnTo>
                    <a:lnTo>
                      <a:pt x="118" y="216"/>
                    </a:lnTo>
                    <a:lnTo>
                      <a:pt x="118" y="217"/>
                    </a:lnTo>
                    <a:lnTo>
                      <a:pt x="118" y="216"/>
                    </a:lnTo>
                    <a:lnTo>
                      <a:pt x="117" y="216"/>
                    </a:lnTo>
                    <a:lnTo>
                      <a:pt x="116" y="216"/>
                    </a:lnTo>
                    <a:lnTo>
                      <a:pt x="115" y="216"/>
                    </a:lnTo>
                    <a:lnTo>
                      <a:pt x="114" y="216"/>
                    </a:lnTo>
                    <a:lnTo>
                      <a:pt x="114" y="215"/>
                    </a:lnTo>
                    <a:lnTo>
                      <a:pt x="114" y="214"/>
                    </a:lnTo>
                    <a:lnTo>
                      <a:pt x="113" y="214"/>
                    </a:lnTo>
                    <a:lnTo>
                      <a:pt x="113" y="213"/>
                    </a:lnTo>
                    <a:lnTo>
                      <a:pt x="112" y="213"/>
                    </a:lnTo>
                    <a:lnTo>
                      <a:pt x="113" y="213"/>
                    </a:lnTo>
                    <a:lnTo>
                      <a:pt x="113" y="211"/>
                    </a:lnTo>
                    <a:lnTo>
                      <a:pt x="112" y="210"/>
                    </a:lnTo>
                    <a:lnTo>
                      <a:pt x="112" y="209"/>
                    </a:lnTo>
                    <a:lnTo>
                      <a:pt x="111" y="208"/>
                    </a:lnTo>
                    <a:lnTo>
                      <a:pt x="111" y="207"/>
                    </a:lnTo>
                    <a:lnTo>
                      <a:pt x="111" y="206"/>
                    </a:lnTo>
                    <a:lnTo>
                      <a:pt x="110" y="205"/>
                    </a:lnTo>
                    <a:lnTo>
                      <a:pt x="108" y="205"/>
                    </a:lnTo>
                    <a:lnTo>
                      <a:pt x="107" y="205"/>
                    </a:lnTo>
                    <a:lnTo>
                      <a:pt x="106" y="204"/>
                    </a:lnTo>
                    <a:lnTo>
                      <a:pt x="106" y="203"/>
                    </a:lnTo>
                    <a:lnTo>
                      <a:pt x="107" y="203"/>
                    </a:lnTo>
                    <a:lnTo>
                      <a:pt x="106" y="202"/>
                    </a:lnTo>
                    <a:lnTo>
                      <a:pt x="105" y="202"/>
                    </a:lnTo>
                    <a:lnTo>
                      <a:pt x="105" y="201"/>
                    </a:lnTo>
                    <a:lnTo>
                      <a:pt x="104" y="201"/>
                    </a:lnTo>
                    <a:lnTo>
                      <a:pt x="104" y="200"/>
                    </a:lnTo>
                    <a:lnTo>
                      <a:pt x="103" y="198"/>
                    </a:lnTo>
                    <a:lnTo>
                      <a:pt x="102" y="198"/>
                    </a:lnTo>
                    <a:lnTo>
                      <a:pt x="102" y="197"/>
                    </a:lnTo>
                    <a:lnTo>
                      <a:pt x="102" y="196"/>
                    </a:lnTo>
                    <a:lnTo>
                      <a:pt x="102" y="195"/>
                    </a:lnTo>
                    <a:lnTo>
                      <a:pt x="101" y="195"/>
                    </a:lnTo>
                    <a:lnTo>
                      <a:pt x="101" y="194"/>
                    </a:lnTo>
                    <a:lnTo>
                      <a:pt x="100" y="194"/>
                    </a:lnTo>
                    <a:lnTo>
                      <a:pt x="100" y="195"/>
                    </a:lnTo>
                    <a:lnTo>
                      <a:pt x="99" y="195"/>
                    </a:lnTo>
                    <a:lnTo>
                      <a:pt x="98" y="195"/>
                    </a:lnTo>
                    <a:lnTo>
                      <a:pt x="97" y="195"/>
                    </a:lnTo>
                    <a:lnTo>
                      <a:pt x="95" y="195"/>
                    </a:lnTo>
                    <a:lnTo>
                      <a:pt x="94" y="195"/>
                    </a:lnTo>
                    <a:lnTo>
                      <a:pt x="93" y="195"/>
                    </a:lnTo>
                    <a:lnTo>
                      <a:pt x="92" y="195"/>
                    </a:lnTo>
                    <a:lnTo>
                      <a:pt x="91" y="194"/>
                    </a:lnTo>
                    <a:lnTo>
                      <a:pt x="90" y="194"/>
                    </a:lnTo>
                    <a:lnTo>
                      <a:pt x="90" y="193"/>
                    </a:lnTo>
                    <a:lnTo>
                      <a:pt x="89" y="193"/>
                    </a:lnTo>
                    <a:lnTo>
                      <a:pt x="88" y="192"/>
                    </a:lnTo>
                    <a:lnTo>
                      <a:pt x="88" y="191"/>
                    </a:lnTo>
                    <a:lnTo>
                      <a:pt x="88" y="190"/>
                    </a:lnTo>
                    <a:lnTo>
                      <a:pt x="87" y="190"/>
                    </a:lnTo>
                    <a:lnTo>
                      <a:pt x="86" y="189"/>
                    </a:lnTo>
                    <a:lnTo>
                      <a:pt x="85" y="190"/>
                    </a:lnTo>
                    <a:lnTo>
                      <a:pt x="85" y="189"/>
                    </a:lnTo>
                    <a:lnTo>
                      <a:pt x="82" y="189"/>
                    </a:lnTo>
                    <a:lnTo>
                      <a:pt x="82" y="190"/>
                    </a:lnTo>
                    <a:lnTo>
                      <a:pt x="81" y="190"/>
                    </a:lnTo>
                    <a:lnTo>
                      <a:pt x="80" y="191"/>
                    </a:lnTo>
                    <a:lnTo>
                      <a:pt x="80" y="190"/>
                    </a:lnTo>
                    <a:lnTo>
                      <a:pt x="79" y="190"/>
                    </a:lnTo>
                    <a:lnTo>
                      <a:pt x="78" y="190"/>
                    </a:lnTo>
                    <a:lnTo>
                      <a:pt x="77" y="190"/>
                    </a:lnTo>
                    <a:lnTo>
                      <a:pt x="77" y="191"/>
                    </a:lnTo>
                    <a:lnTo>
                      <a:pt x="76" y="191"/>
                    </a:lnTo>
                    <a:lnTo>
                      <a:pt x="75" y="191"/>
                    </a:lnTo>
                    <a:lnTo>
                      <a:pt x="74" y="191"/>
                    </a:lnTo>
                    <a:lnTo>
                      <a:pt x="73" y="191"/>
                    </a:lnTo>
                    <a:lnTo>
                      <a:pt x="72" y="190"/>
                    </a:lnTo>
                    <a:lnTo>
                      <a:pt x="70" y="190"/>
                    </a:lnTo>
                    <a:lnTo>
                      <a:pt x="70" y="189"/>
                    </a:lnTo>
                    <a:lnTo>
                      <a:pt x="69" y="189"/>
                    </a:lnTo>
                    <a:lnTo>
                      <a:pt x="68" y="189"/>
                    </a:lnTo>
                    <a:lnTo>
                      <a:pt x="67" y="189"/>
                    </a:lnTo>
                    <a:lnTo>
                      <a:pt x="66" y="189"/>
                    </a:lnTo>
                    <a:lnTo>
                      <a:pt x="66" y="188"/>
                    </a:lnTo>
                    <a:lnTo>
                      <a:pt x="66" y="187"/>
                    </a:lnTo>
                    <a:lnTo>
                      <a:pt x="65" y="187"/>
                    </a:lnTo>
                    <a:lnTo>
                      <a:pt x="65" y="185"/>
                    </a:lnTo>
                    <a:lnTo>
                      <a:pt x="64" y="185"/>
                    </a:lnTo>
                    <a:lnTo>
                      <a:pt x="63" y="185"/>
                    </a:lnTo>
                    <a:lnTo>
                      <a:pt x="62" y="185"/>
                    </a:lnTo>
                    <a:lnTo>
                      <a:pt x="62" y="187"/>
                    </a:lnTo>
                    <a:lnTo>
                      <a:pt x="61" y="187"/>
                    </a:lnTo>
                    <a:lnTo>
                      <a:pt x="60" y="187"/>
                    </a:lnTo>
                    <a:lnTo>
                      <a:pt x="47" y="187"/>
                    </a:lnTo>
                    <a:lnTo>
                      <a:pt x="36" y="187"/>
                    </a:lnTo>
                    <a:lnTo>
                      <a:pt x="5" y="187"/>
                    </a:lnTo>
                    <a:lnTo>
                      <a:pt x="5" y="158"/>
                    </a:lnTo>
                    <a:lnTo>
                      <a:pt x="5" y="154"/>
                    </a:lnTo>
                    <a:lnTo>
                      <a:pt x="0" y="154"/>
                    </a:lnTo>
                    <a:lnTo>
                      <a:pt x="0" y="153"/>
                    </a:lnTo>
                    <a:lnTo>
                      <a:pt x="0" y="143"/>
                    </a:lnTo>
                    <a:lnTo>
                      <a:pt x="5" y="143"/>
                    </a:lnTo>
                    <a:lnTo>
                      <a:pt x="5" y="126"/>
                    </a:lnTo>
                    <a:lnTo>
                      <a:pt x="5" y="115"/>
                    </a:lnTo>
                    <a:lnTo>
                      <a:pt x="5" y="114"/>
                    </a:lnTo>
                    <a:lnTo>
                      <a:pt x="5" y="110"/>
                    </a:lnTo>
                    <a:lnTo>
                      <a:pt x="5" y="106"/>
                    </a:lnTo>
                    <a:lnTo>
                      <a:pt x="5" y="104"/>
                    </a:lnTo>
                    <a:lnTo>
                      <a:pt x="5" y="102"/>
                    </a:lnTo>
                    <a:lnTo>
                      <a:pt x="5" y="85"/>
                    </a:lnTo>
                    <a:lnTo>
                      <a:pt x="5" y="72"/>
                    </a:lnTo>
                    <a:lnTo>
                      <a:pt x="5" y="67"/>
                    </a:lnTo>
                    <a:lnTo>
                      <a:pt x="5" y="66"/>
                    </a:lnTo>
                    <a:lnTo>
                      <a:pt x="5" y="55"/>
                    </a:lnTo>
                    <a:lnTo>
                      <a:pt x="5" y="41"/>
                    </a:lnTo>
                    <a:lnTo>
                      <a:pt x="5" y="26"/>
                    </a:lnTo>
                    <a:lnTo>
                      <a:pt x="5" y="11"/>
                    </a:lnTo>
                    <a:lnTo>
                      <a:pt x="5" y="7"/>
                    </a:lnTo>
                    <a:lnTo>
                      <a:pt x="5" y="5"/>
                    </a:lnTo>
                    <a:lnTo>
                      <a:pt x="5" y="4"/>
                    </a:lnTo>
                    <a:lnTo>
                      <a:pt x="5" y="3"/>
                    </a:lnTo>
                    <a:lnTo>
                      <a:pt x="5" y="2"/>
                    </a:lnTo>
                    <a:lnTo>
                      <a:pt x="5" y="1"/>
                    </a:lnTo>
                    <a:lnTo>
                      <a:pt x="5" y="0"/>
                    </a:lnTo>
                    <a:lnTo>
                      <a:pt x="10" y="0"/>
                    </a:lnTo>
                    <a:lnTo>
                      <a:pt x="11" y="0"/>
                    </a:lnTo>
                    <a:lnTo>
                      <a:pt x="12" y="0"/>
                    </a:lnTo>
                    <a:lnTo>
                      <a:pt x="14" y="0"/>
                    </a:lnTo>
                    <a:lnTo>
                      <a:pt x="16" y="0"/>
                    </a:lnTo>
                    <a:lnTo>
                      <a:pt x="18" y="0"/>
                    </a:lnTo>
                    <a:lnTo>
                      <a:pt x="26" y="0"/>
                    </a:lnTo>
                    <a:lnTo>
                      <a:pt x="56" y="1"/>
                    </a:lnTo>
                    <a:lnTo>
                      <a:pt x="65" y="1"/>
                    </a:lnTo>
                    <a:lnTo>
                      <a:pt x="77" y="1"/>
                    </a:lnTo>
                    <a:lnTo>
                      <a:pt x="86" y="1"/>
                    </a:lnTo>
                    <a:lnTo>
                      <a:pt x="91" y="1"/>
                    </a:lnTo>
                    <a:lnTo>
                      <a:pt x="99" y="1"/>
                    </a:lnTo>
                    <a:lnTo>
                      <a:pt x="104" y="1"/>
                    </a:lnTo>
                    <a:lnTo>
                      <a:pt x="107" y="1"/>
                    </a:lnTo>
                    <a:lnTo>
                      <a:pt x="119" y="1"/>
                    </a:lnTo>
                    <a:lnTo>
                      <a:pt x="126" y="1"/>
                    </a:lnTo>
                    <a:lnTo>
                      <a:pt x="128" y="1"/>
                    </a:lnTo>
                    <a:lnTo>
                      <a:pt x="137" y="2"/>
                    </a:lnTo>
                    <a:lnTo>
                      <a:pt x="141" y="2"/>
                    </a:lnTo>
                    <a:lnTo>
                      <a:pt x="143" y="2"/>
                    </a:lnTo>
                    <a:lnTo>
                      <a:pt x="144" y="2"/>
                    </a:lnTo>
                    <a:lnTo>
                      <a:pt x="146" y="2"/>
                    </a:lnTo>
                    <a:lnTo>
                      <a:pt x="150" y="2"/>
                    </a:lnTo>
                    <a:lnTo>
                      <a:pt x="156" y="2"/>
                    </a:lnTo>
                    <a:lnTo>
                      <a:pt x="168" y="2"/>
                    </a:lnTo>
                    <a:lnTo>
                      <a:pt x="189" y="2"/>
                    </a:lnTo>
                    <a:lnTo>
                      <a:pt x="203" y="2"/>
                    </a:lnTo>
                    <a:lnTo>
                      <a:pt x="205" y="2"/>
                    </a:lnTo>
                    <a:lnTo>
                      <a:pt x="220" y="3"/>
                    </a:lnTo>
                    <a:lnTo>
                      <a:pt x="222" y="3"/>
                    </a:lnTo>
                    <a:lnTo>
                      <a:pt x="224" y="3"/>
                    </a:lnTo>
                    <a:lnTo>
                      <a:pt x="228" y="3"/>
                    </a:lnTo>
                    <a:lnTo>
                      <a:pt x="239" y="3"/>
                    </a:lnTo>
                    <a:lnTo>
                      <a:pt x="243" y="3"/>
                    </a:lnTo>
                    <a:lnTo>
                      <a:pt x="244" y="3"/>
                    </a:lnTo>
                    <a:lnTo>
                      <a:pt x="249" y="3"/>
                    </a:lnTo>
                    <a:lnTo>
                      <a:pt x="268" y="3"/>
                    </a:lnTo>
                    <a:lnTo>
                      <a:pt x="270" y="3"/>
                    </a:lnTo>
                    <a:lnTo>
                      <a:pt x="272" y="3"/>
                    </a:lnTo>
                    <a:lnTo>
                      <a:pt x="283" y="3"/>
                    </a:lnTo>
                    <a:lnTo>
                      <a:pt x="284" y="3"/>
                    </a:lnTo>
                    <a:lnTo>
                      <a:pt x="288" y="3"/>
                    </a:lnTo>
                    <a:lnTo>
                      <a:pt x="289" y="3"/>
                    </a:lnTo>
                    <a:lnTo>
                      <a:pt x="291" y="4"/>
                    </a:lnTo>
                    <a:lnTo>
                      <a:pt x="296" y="4"/>
                    </a:lnTo>
                    <a:lnTo>
                      <a:pt x="313" y="4"/>
                    </a:lnTo>
                    <a:lnTo>
                      <a:pt x="314" y="4"/>
                    </a:lnTo>
                    <a:lnTo>
                      <a:pt x="328" y="4"/>
                    </a:lnTo>
                    <a:lnTo>
                      <a:pt x="351" y="4"/>
                    </a:lnTo>
                    <a:lnTo>
                      <a:pt x="363" y="4"/>
                    </a:lnTo>
                    <a:lnTo>
                      <a:pt x="407" y="4"/>
                    </a:lnTo>
                    <a:lnTo>
                      <a:pt x="408" y="4"/>
                    </a:lnTo>
                    <a:close/>
                  </a:path>
                </a:pathLst>
              </a:custGeom>
              <a:solidFill>
                <a:srgbClr val="5DA8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 name="Freeform 57">
                <a:extLst>
                  <a:ext uri="{FF2B5EF4-FFF2-40B4-BE49-F238E27FC236}">
                    <a16:creationId xmlns:a16="http://schemas.microsoft.com/office/drawing/2014/main" id="{6207D760-D66E-A8BA-C62A-4BC213E7846E}"/>
                  </a:ext>
                </a:extLst>
              </p:cNvPr>
              <p:cNvSpPr>
                <a:spLocks/>
              </p:cNvSpPr>
              <p:nvPr/>
            </p:nvSpPr>
            <p:spPr bwMode="auto">
              <a:xfrm>
                <a:off x="3048001" y="1139825"/>
                <a:ext cx="635000" cy="582613"/>
              </a:xfrm>
              <a:custGeom>
                <a:avLst/>
                <a:gdLst>
                  <a:gd name="T0" fmla="*/ 394 w 400"/>
                  <a:gd name="T1" fmla="*/ 14 h 367"/>
                  <a:gd name="T2" fmla="*/ 393 w 400"/>
                  <a:gd name="T3" fmla="*/ 19 h 367"/>
                  <a:gd name="T4" fmla="*/ 382 w 400"/>
                  <a:gd name="T5" fmla="*/ 35 h 367"/>
                  <a:gd name="T6" fmla="*/ 374 w 400"/>
                  <a:gd name="T7" fmla="*/ 59 h 367"/>
                  <a:gd name="T8" fmla="*/ 361 w 400"/>
                  <a:gd name="T9" fmla="*/ 84 h 367"/>
                  <a:gd name="T10" fmla="*/ 344 w 400"/>
                  <a:gd name="T11" fmla="*/ 97 h 367"/>
                  <a:gd name="T12" fmla="*/ 325 w 400"/>
                  <a:gd name="T13" fmla="*/ 107 h 367"/>
                  <a:gd name="T14" fmla="*/ 313 w 400"/>
                  <a:gd name="T15" fmla="*/ 124 h 367"/>
                  <a:gd name="T16" fmla="*/ 307 w 400"/>
                  <a:gd name="T17" fmla="*/ 139 h 367"/>
                  <a:gd name="T18" fmla="*/ 304 w 400"/>
                  <a:gd name="T19" fmla="*/ 152 h 367"/>
                  <a:gd name="T20" fmla="*/ 295 w 400"/>
                  <a:gd name="T21" fmla="*/ 164 h 367"/>
                  <a:gd name="T22" fmla="*/ 300 w 400"/>
                  <a:gd name="T23" fmla="*/ 183 h 367"/>
                  <a:gd name="T24" fmla="*/ 290 w 400"/>
                  <a:gd name="T25" fmla="*/ 200 h 367"/>
                  <a:gd name="T26" fmla="*/ 281 w 400"/>
                  <a:gd name="T27" fmla="*/ 212 h 367"/>
                  <a:gd name="T28" fmla="*/ 279 w 400"/>
                  <a:gd name="T29" fmla="*/ 227 h 367"/>
                  <a:gd name="T30" fmla="*/ 281 w 400"/>
                  <a:gd name="T31" fmla="*/ 243 h 367"/>
                  <a:gd name="T32" fmla="*/ 273 w 400"/>
                  <a:gd name="T33" fmla="*/ 256 h 367"/>
                  <a:gd name="T34" fmla="*/ 263 w 400"/>
                  <a:gd name="T35" fmla="*/ 277 h 367"/>
                  <a:gd name="T36" fmla="*/ 245 w 400"/>
                  <a:gd name="T37" fmla="*/ 287 h 367"/>
                  <a:gd name="T38" fmla="*/ 230 w 400"/>
                  <a:gd name="T39" fmla="*/ 290 h 367"/>
                  <a:gd name="T40" fmla="*/ 214 w 400"/>
                  <a:gd name="T41" fmla="*/ 310 h 367"/>
                  <a:gd name="T42" fmla="*/ 206 w 400"/>
                  <a:gd name="T43" fmla="*/ 329 h 367"/>
                  <a:gd name="T44" fmla="*/ 193 w 400"/>
                  <a:gd name="T45" fmla="*/ 331 h 367"/>
                  <a:gd name="T46" fmla="*/ 183 w 400"/>
                  <a:gd name="T47" fmla="*/ 325 h 367"/>
                  <a:gd name="T48" fmla="*/ 168 w 400"/>
                  <a:gd name="T49" fmla="*/ 320 h 367"/>
                  <a:gd name="T50" fmla="*/ 160 w 400"/>
                  <a:gd name="T51" fmla="*/ 332 h 367"/>
                  <a:gd name="T52" fmla="*/ 150 w 400"/>
                  <a:gd name="T53" fmla="*/ 346 h 367"/>
                  <a:gd name="T54" fmla="*/ 148 w 400"/>
                  <a:gd name="T55" fmla="*/ 357 h 367"/>
                  <a:gd name="T56" fmla="*/ 132 w 400"/>
                  <a:gd name="T57" fmla="*/ 353 h 367"/>
                  <a:gd name="T58" fmla="*/ 121 w 400"/>
                  <a:gd name="T59" fmla="*/ 339 h 367"/>
                  <a:gd name="T60" fmla="*/ 115 w 400"/>
                  <a:gd name="T61" fmla="*/ 354 h 367"/>
                  <a:gd name="T62" fmla="*/ 106 w 400"/>
                  <a:gd name="T63" fmla="*/ 367 h 367"/>
                  <a:gd name="T64" fmla="*/ 109 w 400"/>
                  <a:gd name="T65" fmla="*/ 345 h 367"/>
                  <a:gd name="T66" fmla="*/ 101 w 400"/>
                  <a:gd name="T67" fmla="*/ 329 h 367"/>
                  <a:gd name="T68" fmla="*/ 95 w 400"/>
                  <a:gd name="T69" fmla="*/ 306 h 367"/>
                  <a:gd name="T70" fmla="*/ 101 w 400"/>
                  <a:gd name="T71" fmla="*/ 281 h 367"/>
                  <a:gd name="T72" fmla="*/ 102 w 400"/>
                  <a:gd name="T73" fmla="*/ 263 h 367"/>
                  <a:gd name="T74" fmla="*/ 104 w 400"/>
                  <a:gd name="T75" fmla="*/ 252 h 367"/>
                  <a:gd name="T76" fmla="*/ 84 w 400"/>
                  <a:gd name="T77" fmla="*/ 251 h 367"/>
                  <a:gd name="T78" fmla="*/ 72 w 400"/>
                  <a:gd name="T79" fmla="*/ 235 h 367"/>
                  <a:gd name="T80" fmla="*/ 66 w 400"/>
                  <a:gd name="T81" fmla="*/ 218 h 367"/>
                  <a:gd name="T82" fmla="*/ 50 w 400"/>
                  <a:gd name="T83" fmla="*/ 220 h 367"/>
                  <a:gd name="T84" fmla="*/ 36 w 400"/>
                  <a:gd name="T85" fmla="*/ 223 h 367"/>
                  <a:gd name="T86" fmla="*/ 31 w 400"/>
                  <a:gd name="T87" fmla="*/ 225 h 367"/>
                  <a:gd name="T88" fmla="*/ 21 w 400"/>
                  <a:gd name="T89" fmla="*/ 231 h 367"/>
                  <a:gd name="T90" fmla="*/ 18 w 400"/>
                  <a:gd name="T91" fmla="*/ 223 h 367"/>
                  <a:gd name="T92" fmla="*/ 14 w 400"/>
                  <a:gd name="T93" fmla="*/ 218 h 367"/>
                  <a:gd name="T94" fmla="*/ 20 w 400"/>
                  <a:gd name="T95" fmla="*/ 211 h 367"/>
                  <a:gd name="T96" fmla="*/ 11 w 400"/>
                  <a:gd name="T97" fmla="*/ 200 h 367"/>
                  <a:gd name="T98" fmla="*/ 14 w 400"/>
                  <a:gd name="T99" fmla="*/ 180 h 367"/>
                  <a:gd name="T100" fmla="*/ 12 w 400"/>
                  <a:gd name="T101" fmla="*/ 137 h 367"/>
                  <a:gd name="T102" fmla="*/ 17 w 400"/>
                  <a:gd name="T103" fmla="*/ 120 h 367"/>
                  <a:gd name="T104" fmla="*/ 5 w 400"/>
                  <a:gd name="T105" fmla="*/ 84 h 367"/>
                  <a:gd name="T106" fmla="*/ 4 w 400"/>
                  <a:gd name="T107" fmla="*/ 72 h 367"/>
                  <a:gd name="T108" fmla="*/ 7 w 400"/>
                  <a:gd name="T109" fmla="*/ 60 h 367"/>
                  <a:gd name="T110" fmla="*/ 1 w 400"/>
                  <a:gd name="T111" fmla="*/ 35 h 367"/>
                  <a:gd name="T112" fmla="*/ 5 w 400"/>
                  <a:gd name="T113" fmla="*/ 18 h 367"/>
                  <a:gd name="T114" fmla="*/ 53 w 400"/>
                  <a:gd name="T115" fmla="*/ 1 h 367"/>
                  <a:gd name="T116" fmla="*/ 202 w 400"/>
                  <a:gd name="T117" fmla="*/ 1 h 367"/>
                  <a:gd name="T118" fmla="*/ 310 w 400"/>
                  <a:gd name="T119" fmla="*/ 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67">
                    <a:moveTo>
                      <a:pt x="382" y="3"/>
                    </a:moveTo>
                    <a:lnTo>
                      <a:pt x="387" y="3"/>
                    </a:lnTo>
                    <a:lnTo>
                      <a:pt x="398" y="3"/>
                    </a:lnTo>
                    <a:lnTo>
                      <a:pt x="398" y="4"/>
                    </a:lnTo>
                    <a:lnTo>
                      <a:pt x="397" y="5"/>
                    </a:lnTo>
                    <a:lnTo>
                      <a:pt x="398" y="5"/>
                    </a:lnTo>
                    <a:lnTo>
                      <a:pt x="399" y="4"/>
                    </a:lnTo>
                    <a:lnTo>
                      <a:pt x="399" y="5"/>
                    </a:lnTo>
                    <a:lnTo>
                      <a:pt x="400" y="6"/>
                    </a:lnTo>
                    <a:lnTo>
                      <a:pt x="399" y="6"/>
                    </a:lnTo>
                    <a:lnTo>
                      <a:pt x="398" y="7"/>
                    </a:lnTo>
                    <a:lnTo>
                      <a:pt x="397" y="7"/>
                    </a:lnTo>
                    <a:lnTo>
                      <a:pt x="397" y="8"/>
                    </a:lnTo>
                    <a:lnTo>
                      <a:pt x="397" y="9"/>
                    </a:lnTo>
                    <a:lnTo>
                      <a:pt x="397" y="12"/>
                    </a:lnTo>
                    <a:lnTo>
                      <a:pt x="397" y="13"/>
                    </a:lnTo>
                    <a:lnTo>
                      <a:pt x="395" y="13"/>
                    </a:lnTo>
                    <a:lnTo>
                      <a:pt x="394" y="14"/>
                    </a:lnTo>
                    <a:lnTo>
                      <a:pt x="394" y="13"/>
                    </a:lnTo>
                    <a:lnTo>
                      <a:pt x="393" y="13"/>
                    </a:lnTo>
                    <a:lnTo>
                      <a:pt x="391" y="12"/>
                    </a:lnTo>
                    <a:lnTo>
                      <a:pt x="390" y="12"/>
                    </a:lnTo>
                    <a:lnTo>
                      <a:pt x="390" y="14"/>
                    </a:lnTo>
                    <a:lnTo>
                      <a:pt x="390" y="16"/>
                    </a:lnTo>
                    <a:lnTo>
                      <a:pt x="391" y="14"/>
                    </a:lnTo>
                    <a:lnTo>
                      <a:pt x="392" y="16"/>
                    </a:lnTo>
                    <a:lnTo>
                      <a:pt x="391" y="17"/>
                    </a:lnTo>
                    <a:lnTo>
                      <a:pt x="390" y="17"/>
                    </a:lnTo>
                    <a:lnTo>
                      <a:pt x="390" y="18"/>
                    </a:lnTo>
                    <a:lnTo>
                      <a:pt x="390" y="19"/>
                    </a:lnTo>
                    <a:lnTo>
                      <a:pt x="389" y="19"/>
                    </a:lnTo>
                    <a:lnTo>
                      <a:pt x="390" y="19"/>
                    </a:lnTo>
                    <a:lnTo>
                      <a:pt x="392" y="19"/>
                    </a:lnTo>
                    <a:lnTo>
                      <a:pt x="392" y="20"/>
                    </a:lnTo>
                    <a:lnTo>
                      <a:pt x="393" y="20"/>
                    </a:lnTo>
                    <a:lnTo>
                      <a:pt x="393" y="19"/>
                    </a:lnTo>
                    <a:lnTo>
                      <a:pt x="393" y="18"/>
                    </a:lnTo>
                    <a:lnTo>
                      <a:pt x="394" y="18"/>
                    </a:lnTo>
                    <a:lnTo>
                      <a:pt x="395" y="18"/>
                    </a:lnTo>
                    <a:lnTo>
                      <a:pt x="397" y="19"/>
                    </a:lnTo>
                    <a:lnTo>
                      <a:pt x="397" y="20"/>
                    </a:lnTo>
                    <a:lnTo>
                      <a:pt x="397" y="21"/>
                    </a:lnTo>
                    <a:lnTo>
                      <a:pt x="397" y="22"/>
                    </a:lnTo>
                    <a:lnTo>
                      <a:pt x="394" y="25"/>
                    </a:lnTo>
                    <a:lnTo>
                      <a:pt x="393" y="26"/>
                    </a:lnTo>
                    <a:lnTo>
                      <a:pt x="393" y="27"/>
                    </a:lnTo>
                    <a:lnTo>
                      <a:pt x="389" y="30"/>
                    </a:lnTo>
                    <a:lnTo>
                      <a:pt x="387" y="31"/>
                    </a:lnTo>
                    <a:lnTo>
                      <a:pt x="386" y="32"/>
                    </a:lnTo>
                    <a:lnTo>
                      <a:pt x="385" y="32"/>
                    </a:lnTo>
                    <a:lnTo>
                      <a:pt x="385" y="33"/>
                    </a:lnTo>
                    <a:lnTo>
                      <a:pt x="385" y="34"/>
                    </a:lnTo>
                    <a:lnTo>
                      <a:pt x="383" y="34"/>
                    </a:lnTo>
                    <a:lnTo>
                      <a:pt x="382" y="35"/>
                    </a:lnTo>
                    <a:lnTo>
                      <a:pt x="382" y="37"/>
                    </a:lnTo>
                    <a:lnTo>
                      <a:pt x="381" y="38"/>
                    </a:lnTo>
                    <a:lnTo>
                      <a:pt x="380" y="40"/>
                    </a:lnTo>
                    <a:lnTo>
                      <a:pt x="380" y="42"/>
                    </a:lnTo>
                    <a:lnTo>
                      <a:pt x="380" y="43"/>
                    </a:lnTo>
                    <a:lnTo>
                      <a:pt x="379" y="44"/>
                    </a:lnTo>
                    <a:lnTo>
                      <a:pt x="378" y="44"/>
                    </a:lnTo>
                    <a:lnTo>
                      <a:pt x="378" y="45"/>
                    </a:lnTo>
                    <a:lnTo>
                      <a:pt x="377" y="46"/>
                    </a:lnTo>
                    <a:lnTo>
                      <a:pt x="376" y="46"/>
                    </a:lnTo>
                    <a:lnTo>
                      <a:pt x="375" y="47"/>
                    </a:lnTo>
                    <a:lnTo>
                      <a:pt x="374" y="48"/>
                    </a:lnTo>
                    <a:lnTo>
                      <a:pt x="373" y="49"/>
                    </a:lnTo>
                    <a:lnTo>
                      <a:pt x="372" y="50"/>
                    </a:lnTo>
                    <a:lnTo>
                      <a:pt x="370" y="52"/>
                    </a:lnTo>
                    <a:lnTo>
                      <a:pt x="370" y="53"/>
                    </a:lnTo>
                    <a:lnTo>
                      <a:pt x="374" y="58"/>
                    </a:lnTo>
                    <a:lnTo>
                      <a:pt x="374" y="59"/>
                    </a:lnTo>
                    <a:lnTo>
                      <a:pt x="374" y="60"/>
                    </a:lnTo>
                    <a:lnTo>
                      <a:pt x="373" y="61"/>
                    </a:lnTo>
                    <a:lnTo>
                      <a:pt x="370" y="62"/>
                    </a:lnTo>
                    <a:lnTo>
                      <a:pt x="369" y="63"/>
                    </a:lnTo>
                    <a:lnTo>
                      <a:pt x="368" y="65"/>
                    </a:lnTo>
                    <a:lnTo>
                      <a:pt x="367" y="66"/>
                    </a:lnTo>
                    <a:lnTo>
                      <a:pt x="366" y="69"/>
                    </a:lnTo>
                    <a:lnTo>
                      <a:pt x="366" y="70"/>
                    </a:lnTo>
                    <a:lnTo>
                      <a:pt x="365" y="71"/>
                    </a:lnTo>
                    <a:lnTo>
                      <a:pt x="364" y="72"/>
                    </a:lnTo>
                    <a:lnTo>
                      <a:pt x="363" y="73"/>
                    </a:lnTo>
                    <a:lnTo>
                      <a:pt x="361" y="74"/>
                    </a:lnTo>
                    <a:lnTo>
                      <a:pt x="361" y="75"/>
                    </a:lnTo>
                    <a:lnTo>
                      <a:pt x="360" y="75"/>
                    </a:lnTo>
                    <a:lnTo>
                      <a:pt x="360" y="77"/>
                    </a:lnTo>
                    <a:lnTo>
                      <a:pt x="360" y="78"/>
                    </a:lnTo>
                    <a:lnTo>
                      <a:pt x="360" y="81"/>
                    </a:lnTo>
                    <a:lnTo>
                      <a:pt x="361" y="84"/>
                    </a:lnTo>
                    <a:lnTo>
                      <a:pt x="361" y="85"/>
                    </a:lnTo>
                    <a:lnTo>
                      <a:pt x="362" y="86"/>
                    </a:lnTo>
                    <a:lnTo>
                      <a:pt x="362" y="87"/>
                    </a:lnTo>
                    <a:lnTo>
                      <a:pt x="361" y="87"/>
                    </a:lnTo>
                    <a:lnTo>
                      <a:pt x="360" y="87"/>
                    </a:lnTo>
                    <a:lnTo>
                      <a:pt x="359" y="88"/>
                    </a:lnTo>
                    <a:lnTo>
                      <a:pt x="359" y="89"/>
                    </a:lnTo>
                    <a:lnTo>
                      <a:pt x="357" y="89"/>
                    </a:lnTo>
                    <a:lnTo>
                      <a:pt x="357" y="91"/>
                    </a:lnTo>
                    <a:lnTo>
                      <a:pt x="356" y="91"/>
                    </a:lnTo>
                    <a:lnTo>
                      <a:pt x="354" y="93"/>
                    </a:lnTo>
                    <a:lnTo>
                      <a:pt x="352" y="95"/>
                    </a:lnTo>
                    <a:lnTo>
                      <a:pt x="350" y="96"/>
                    </a:lnTo>
                    <a:lnTo>
                      <a:pt x="349" y="96"/>
                    </a:lnTo>
                    <a:lnTo>
                      <a:pt x="348" y="97"/>
                    </a:lnTo>
                    <a:lnTo>
                      <a:pt x="347" y="97"/>
                    </a:lnTo>
                    <a:lnTo>
                      <a:pt x="346" y="97"/>
                    </a:lnTo>
                    <a:lnTo>
                      <a:pt x="344" y="97"/>
                    </a:lnTo>
                    <a:lnTo>
                      <a:pt x="343" y="98"/>
                    </a:lnTo>
                    <a:lnTo>
                      <a:pt x="341" y="97"/>
                    </a:lnTo>
                    <a:lnTo>
                      <a:pt x="340" y="97"/>
                    </a:lnTo>
                    <a:lnTo>
                      <a:pt x="337" y="96"/>
                    </a:lnTo>
                    <a:lnTo>
                      <a:pt x="336" y="97"/>
                    </a:lnTo>
                    <a:lnTo>
                      <a:pt x="335" y="97"/>
                    </a:lnTo>
                    <a:lnTo>
                      <a:pt x="334" y="97"/>
                    </a:lnTo>
                    <a:lnTo>
                      <a:pt x="333" y="97"/>
                    </a:lnTo>
                    <a:lnTo>
                      <a:pt x="333" y="98"/>
                    </a:lnTo>
                    <a:lnTo>
                      <a:pt x="330" y="99"/>
                    </a:lnTo>
                    <a:lnTo>
                      <a:pt x="329" y="100"/>
                    </a:lnTo>
                    <a:lnTo>
                      <a:pt x="329" y="101"/>
                    </a:lnTo>
                    <a:lnTo>
                      <a:pt x="329" y="102"/>
                    </a:lnTo>
                    <a:lnTo>
                      <a:pt x="328" y="103"/>
                    </a:lnTo>
                    <a:lnTo>
                      <a:pt x="327" y="104"/>
                    </a:lnTo>
                    <a:lnTo>
                      <a:pt x="327" y="106"/>
                    </a:lnTo>
                    <a:lnTo>
                      <a:pt x="326" y="107"/>
                    </a:lnTo>
                    <a:lnTo>
                      <a:pt x="325" y="107"/>
                    </a:lnTo>
                    <a:lnTo>
                      <a:pt x="324" y="108"/>
                    </a:lnTo>
                    <a:lnTo>
                      <a:pt x="323" y="109"/>
                    </a:lnTo>
                    <a:lnTo>
                      <a:pt x="322" y="110"/>
                    </a:lnTo>
                    <a:lnTo>
                      <a:pt x="321" y="111"/>
                    </a:lnTo>
                    <a:lnTo>
                      <a:pt x="320" y="112"/>
                    </a:lnTo>
                    <a:lnTo>
                      <a:pt x="318" y="112"/>
                    </a:lnTo>
                    <a:lnTo>
                      <a:pt x="317" y="112"/>
                    </a:lnTo>
                    <a:lnTo>
                      <a:pt x="317" y="113"/>
                    </a:lnTo>
                    <a:lnTo>
                      <a:pt x="317" y="114"/>
                    </a:lnTo>
                    <a:lnTo>
                      <a:pt x="317" y="115"/>
                    </a:lnTo>
                    <a:lnTo>
                      <a:pt x="316" y="116"/>
                    </a:lnTo>
                    <a:lnTo>
                      <a:pt x="316" y="117"/>
                    </a:lnTo>
                    <a:lnTo>
                      <a:pt x="316" y="119"/>
                    </a:lnTo>
                    <a:lnTo>
                      <a:pt x="316" y="120"/>
                    </a:lnTo>
                    <a:lnTo>
                      <a:pt x="315" y="121"/>
                    </a:lnTo>
                    <a:lnTo>
                      <a:pt x="314" y="122"/>
                    </a:lnTo>
                    <a:lnTo>
                      <a:pt x="313" y="123"/>
                    </a:lnTo>
                    <a:lnTo>
                      <a:pt x="313" y="124"/>
                    </a:lnTo>
                    <a:lnTo>
                      <a:pt x="313" y="127"/>
                    </a:lnTo>
                    <a:lnTo>
                      <a:pt x="313" y="129"/>
                    </a:lnTo>
                    <a:lnTo>
                      <a:pt x="312" y="129"/>
                    </a:lnTo>
                    <a:lnTo>
                      <a:pt x="311" y="129"/>
                    </a:lnTo>
                    <a:lnTo>
                      <a:pt x="311" y="130"/>
                    </a:lnTo>
                    <a:lnTo>
                      <a:pt x="311" y="132"/>
                    </a:lnTo>
                    <a:lnTo>
                      <a:pt x="312" y="132"/>
                    </a:lnTo>
                    <a:lnTo>
                      <a:pt x="313" y="132"/>
                    </a:lnTo>
                    <a:lnTo>
                      <a:pt x="314" y="132"/>
                    </a:lnTo>
                    <a:lnTo>
                      <a:pt x="314" y="133"/>
                    </a:lnTo>
                    <a:lnTo>
                      <a:pt x="313" y="134"/>
                    </a:lnTo>
                    <a:lnTo>
                      <a:pt x="312" y="136"/>
                    </a:lnTo>
                    <a:lnTo>
                      <a:pt x="310" y="137"/>
                    </a:lnTo>
                    <a:lnTo>
                      <a:pt x="310" y="138"/>
                    </a:lnTo>
                    <a:lnTo>
                      <a:pt x="310" y="139"/>
                    </a:lnTo>
                    <a:lnTo>
                      <a:pt x="309" y="139"/>
                    </a:lnTo>
                    <a:lnTo>
                      <a:pt x="308" y="139"/>
                    </a:lnTo>
                    <a:lnTo>
                      <a:pt x="307" y="139"/>
                    </a:lnTo>
                    <a:lnTo>
                      <a:pt x="307" y="140"/>
                    </a:lnTo>
                    <a:lnTo>
                      <a:pt x="307" y="141"/>
                    </a:lnTo>
                    <a:lnTo>
                      <a:pt x="308" y="141"/>
                    </a:lnTo>
                    <a:lnTo>
                      <a:pt x="307" y="141"/>
                    </a:lnTo>
                    <a:lnTo>
                      <a:pt x="305" y="142"/>
                    </a:lnTo>
                    <a:lnTo>
                      <a:pt x="305" y="143"/>
                    </a:lnTo>
                    <a:lnTo>
                      <a:pt x="304" y="145"/>
                    </a:lnTo>
                    <a:lnTo>
                      <a:pt x="305" y="145"/>
                    </a:lnTo>
                    <a:lnTo>
                      <a:pt x="305" y="146"/>
                    </a:lnTo>
                    <a:lnTo>
                      <a:pt x="304" y="146"/>
                    </a:lnTo>
                    <a:lnTo>
                      <a:pt x="303" y="146"/>
                    </a:lnTo>
                    <a:lnTo>
                      <a:pt x="303" y="147"/>
                    </a:lnTo>
                    <a:lnTo>
                      <a:pt x="303" y="148"/>
                    </a:lnTo>
                    <a:lnTo>
                      <a:pt x="303" y="149"/>
                    </a:lnTo>
                    <a:lnTo>
                      <a:pt x="303" y="150"/>
                    </a:lnTo>
                    <a:lnTo>
                      <a:pt x="303" y="151"/>
                    </a:lnTo>
                    <a:lnTo>
                      <a:pt x="304" y="151"/>
                    </a:lnTo>
                    <a:lnTo>
                      <a:pt x="304" y="152"/>
                    </a:lnTo>
                    <a:lnTo>
                      <a:pt x="303" y="152"/>
                    </a:lnTo>
                    <a:lnTo>
                      <a:pt x="303" y="153"/>
                    </a:lnTo>
                    <a:lnTo>
                      <a:pt x="304" y="154"/>
                    </a:lnTo>
                    <a:lnTo>
                      <a:pt x="303" y="155"/>
                    </a:lnTo>
                    <a:lnTo>
                      <a:pt x="302" y="155"/>
                    </a:lnTo>
                    <a:lnTo>
                      <a:pt x="301" y="155"/>
                    </a:lnTo>
                    <a:lnTo>
                      <a:pt x="302" y="156"/>
                    </a:lnTo>
                    <a:lnTo>
                      <a:pt x="302" y="158"/>
                    </a:lnTo>
                    <a:lnTo>
                      <a:pt x="301" y="158"/>
                    </a:lnTo>
                    <a:lnTo>
                      <a:pt x="300" y="158"/>
                    </a:lnTo>
                    <a:lnTo>
                      <a:pt x="300" y="159"/>
                    </a:lnTo>
                    <a:lnTo>
                      <a:pt x="299" y="160"/>
                    </a:lnTo>
                    <a:lnTo>
                      <a:pt x="298" y="160"/>
                    </a:lnTo>
                    <a:lnTo>
                      <a:pt x="297" y="161"/>
                    </a:lnTo>
                    <a:lnTo>
                      <a:pt x="297" y="162"/>
                    </a:lnTo>
                    <a:lnTo>
                      <a:pt x="296" y="162"/>
                    </a:lnTo>
                    <a:lnTo>
                      <a:pt x="295" y="163"/>
                    </a:lnTo>
                    <a:lnTo>
                      <a:pt x="295" y="164"/>
                    </a:lnTo>
                    <a:lnTo>
                      <a:pt x="295" y="165"/>
                    </a:lnTo>
                    <a:lnTo>
                      <a:pt x="295" y="166"/>
                    </a:lnTo>
                    <a:lnTo>
                      <a:pt x="296" y="166"/>
                    </a:lnTo>
                    <a:lnTo>
                      <a:pt x="297" y="165"/>
                    </a:lnTo>
                    <a:lnTo>
                      <a:pt x="297" y="166"/>
                    </a:lnTo>
                    <a:lnTo>
                      <a:pt x="297" y="167"/>
                    </a:lnTo>
                    <a:lnTo>
                      <a:pt x="297" y="168"/>
                    </a:lnTo>
                    <a:lnTo>
                      <a:pt x="298" y="171"/>
                    </a:lnTo>
                    <a:lnTo>
                      <a:pt x="299" y="171"/>
                    </a:lnTo>
                    <a:lnTo>
                      <a:pt x="299" y="172"/>
                    </a:lnTo>
                    <a:lnTo>
                      <a:pt x="300" y="173"/>
                    </a:lnTo>
                    <a:lnTo>
                      <a:pt x="300" y="174"/>
                    </a:lnTo>
                    <a:lnTo>
                      <a:pt x="300" y="176"/>
                    </a:lnTo>
                    <a:lnTo>
                      <a:pt x="300" y="177"/>
                    </a:lnTo>
                    <a:lnTo>
                      <a:pt x="300" y="179"/>
                    </a:lnTo>
                    <a:lnTo>
                      <a:pt x="300" y="180"/>
                    </a:lnTo>
                    <a:lnTo>
                      <a:pt x="300" y="181"/>
                    </a:lnTo>
                    <a:lnTo>
                      <a:pt x="300" y="183"/>
                    </a:lnTo>
                    <a:lnTo>
                      <a:pt x="300" y="185"/>
                    </a:lnTo>
                    <a:lnTo>
                      <a:pt x="300" y="186"/>
                    </a:lnTo>
                    <a:lnTo>
                      <a:pt x="300" y="188"/>
                    </a:lnTo>
                    <a:lnTo>
                      <a:pt x="300" y="189"/>
                    </a:lnTo>
                    <a:lnTo>
                      <a:pt x="299" y="190"/>
                    </a:lnTo>
                    <a:lnTo>
                      <a:pt x="298" y="190"/>
                    </a:lnTo>
                    <a:lnTo>
                      <a:pt x="298" y="191"/>
                    </a:lnTo>
                    <a:lnTo>
                      <a:pt x="297" y="192"/>
                    </a:lnTo>
                    <a:lnTo>
                      <a:pt x="297" y="193"/>
                    </a:lnTo>
                    <a:lnTo>
                      <a:pt x="296" y="193"/>
                    </a:lnTo>
                    <a:lnTo>
                      <a:pt x="295" y="196"/>
                    </a:lnTo>
                    <a:lnTo>
                      <a:pt x="294" y="197"/>
                    </a:lnTo>
                    <a:lnTo>
                      <a:pt x="294" y="198"/>
                    </a:lnTo>
                    <a:lnTo>
                      <a:pt x="292" y="198"/>
                    </a:lnTo>
                    <a:lnTo>
                      <a:pt x="291" y="198"/>
                    </a:lnTo>
                    <a:lnTo>
                      <a:pt x="290" y="198"/>
                    </a:lnTo>
                    <a:lnTo>
                      <a:pt x="290" y="199"/>
                    </a:lnTo>
                    <a:lnTo>
                      <a:pt x="290" y="200"/>
                    </a:lnTo>
                    <a:lnTo>
                      <a:pt x="290" y="201"/>
                    </a:lnTo>
                    <a:lnTo>
                      <a:pt x="290" y="202"/>
                    </a:lnTo>
                    <a:lnTo>
                      <a:pt x="290" y="203"/>
                    </a:lnTo>
                    <a:lnTo>
                      <a:pt x="289" y="203"/>
                    </a:lnTo>
                    <a:lnTo>
                      <a:pt x="288" y="203"/>
                    </a:lnTo>
                    <a:lnTo>
                      <a:pt x="288" y="205"/>
                    </a:lnTo>
                    <a:lnTo>
                      <a:pt x="287" y="205"/>
                    </a:lnTo>
                    <a:lnTo>
                      <a:pt x="287" y="206"/>
                    </a:lnTo>
                    <a:lnTo>
                      <a:pt x="287" y="207"/>
                    </a:lnTo>
                    <a:lnTo>
                      <a:pt x="287" y="209"/>
                    </a:lnTo>
                    <a:lnTo>
                      <a:pt x="287" y="210"/>
                    </a:lnTo>
                    <a:lnTo>
                      <a:pt x="287" y="211"/>
                    </a:lnTo>
                    <a:lnTo>
                      <a:pt x="286" y="211"/>
                    </a:lnTo>
                    <a:lnTo>
                      <a:pt x="284" y="210"/>
                    </a:lnTo>
                    <a:lnTo>
                      <a:pt x="284" y="211"/>
                    </a:lnTo>
                    <a:lnTo>
                      <a:pt x="283" y="211"/>
                    </a:lnTo>
                    <a:lnTo>
                      <a:pt x="282" y="212"/>
                    </a:lnTo>
                    <a:lnTo>
                      <a:pt x="281" y="212"/>
                    </a:lnTo>
                    <a:lnTo>
                      <a:pt x="279" y="212"/>
                    </a:lnTo>
                    <a:lnTo>
                      <a:pt x="279" y="213"/>
                    </a:lnTo>
                    <a:lnTo>
                      <a:pt x="278" y="214"/>
                    </a:lnTo>
                    <a:lnTo>
                      <a:pt x="277" y="215"/>
                    </a:lnTo>
                    <a:lnTo>
                      <a:pt x="277" y="216"/>
                    </a:lnTo>
                    <a:lnTo>
                      <a:pt x="276" y="218"/>
                    </a:lnTo>
                    <a:lnTo>
                      <a:pt x="276" y="219"/>
                    </a:lnTo>
                    <a:lnTo>
                      <a:pt x="276" y="220"/>
                    </a:lnTo>
                    <a:lnTo>
                      <a:pt x="275" y="220"/>
                    </a:lnTo>
                    <a:lnTo>
                      <a:pt x="274" y="222"/>
                    </a:lnTo>
                    <a:lnTo>
                      <a:pt x="274" y="223"/>
                    </a:lnTo>
                    <a:lnTo>
                      <a:pt x="274" y="224"/>
                    </a:lnTo>
                    <a:lnTo>
                      <a:pt x="274" y="225"/>
                    </a:lnTo>
                    <a:lnTo>
                      <a:pt x="275" y="225"/>
                    </a:lnTo>
                    <a:lnTo>
                      <a:pt x="276" y="225"/>
                    </a:lnTo>
                    <a:lnTo>
                      <a:pt x="277" y="225"/>
                    </a:lnTo>
                    <a:lnTo>
                      <a:pt x="278" y="226"/>
                    </a:lnTo>
                    <a:lnTo>
                      <a:pt x="279" y="227"/>
                    </a:lnTo>
                    <a:lnTo>
                      <a:pt x="279" y="228"/>
                    </a:lnTo>
                    <a:lnTo>
                      <a:pt x="279" y="229"/>
                    </a:lnTo>
                    <a:lnTo>
                      <a:pt x="281" y="229"/>
                    </a:lnTo>
                    <a:lnTo>
                      <a:pt x="282" y="229"/>
                    </a:lnTo>
                    <a:lnTo>
                      <a:pt x="283" y="228"/>
                    </a:lnTo>
                    <a:lnTo>
                      <a:pt x="283" y="229"/>
                    </a:lnTo>
                    <a:lnTo>
                      <a:pt x="283" y="230"/>
                    </a:lnTo>
                    <a:lnTo>
                      <a:pt x="283" y="231"/>
                    </a:lnTo>
                    <a:lnTo>
                      <a:pt x="284" y="231"/>
                    </a:lnTo>
                    <a:lnTo>
                      <a:pt x="284" y="232"/>
                    </a:lnTo>
                    <a:lnTo>
                      <a:pt x="285" y="233"/>
                    </a:lnTo>
                    <a:lnTo>
                      <a:pt x="285" y="235"/>
                    </a:lnTo>
                    <a:lnTo>
                      <a:pt x="283" y="236"/>
                    </a:lnTo>
                    <a:lnTo>
                      <a:pt x="283" y="237"/>
                    </a:lnTo>
                    <a:lnTo>
                      <a:pt x="284" y="239"/>
                    </a:lnTo>
                    <a:lnTo>
                      <a:pt x="284" y="240"/>
                    </a:lnTo>
                    <a:lnTo>
                      <a:pt x="282" y="242"/>
                    </a:lnTo>
                    <a:lnTo>
                      <a:pt x="281" y="243"/>
                    </a:lnTo>
                    <a:lnTo>
                      <a:pt x="279" y="243"/>
                    </a:lnTo>
                    <a:lnTo>
                      <a:pt x="279" y="244"/>
                    </a:lnTo>
                    <a:lnTo>
                      <a:pt x="279" y="245"/>
                    </a:lnTo>
                    <a:lnTo>
                      <a:pt x="278" y="245"/>
                    </a:lnTo>
                    <a:lnTo>
                      <a:pt x="278" y="246"/>
                    </a:lnTo>
                    <a:lnTo>
                      <a:pt x="277" y="248"/>
                    </a:lnTo>
                    <a:lnTo>
                      <a:pt x="276" y="248"/>
                    </a:lnTo>
                    <a:lnTo>
                      <a:pt x="275" y="248"/>
                    </a:lnTo>
                    <a:lnTo>
                      <a:pt x="274" y="249"/>
                    </a:lnTo>
                    <a:lnTo>
                      <a:pt x="274" y="250"/>
                    </a:lnTo>
                    <a:lnTo>
                      <a:pt x="275" y="251"/>
                    </a:lnTo>
                    <a:lnTo>
                      <a:pt x="275" y="252"/>
                    </a:lnTo>
                    <a:lnTo>
                      <a:pt x="275" y="253"/>
                    </a:lnTo>
                    <a:lnTo>
                      <a:pt x="274" y="253"/>
                    </a:lnTo>
                    <a:lnTo>
                      <a:pt x="273" y="254"/>
                    </a:lnTo>
                    <a:lnTo>
                      <a:pt x="275" y="255"/>
                    </a:lnTo>
                    <a:lnTo>
                      <a:pt x="275" y="256"/>
                    </a:lnTo>
                    <a:lnTo>
                      <a:pt x="273" y="256"/>
                    </a:lnTo>
                    <a:lnTo>
                      <a:pt x="273" y="257"/>
                    </a:lnTo>
                    <a:lnTo>
                      <a:pt x="272" y="260"/>
                    </a:lnTo>
                    <a:lnTo>
                      <a:pt x="272" y="261"/>
                    </a:lnTo>
                    <a:lnTo>
                      <a:pt x="271" y="262"/>
                    </a:lnTo>
                    <a:lnTo>
                      <a:pt x="271" y="264"/>
                    </a:lnTo>
                    <a:lnTo>
                      <a:pt x="270" y="266"/>
                    </a:lnTo>
                    <a:lnTo>
                      <a:pt x="270" y="267"/>
                    </a:lnTo>
                    <a:lnTo>
                      <a:pt x="269" y="269"/>
                    </a:lnTo>
                    <a:lnTo>
                      <a:pt x="268" y="270"/>
                    </a:lnTo>
                    <a:lnTo>
                      <a:pt x="266" y="270"/>
                    </a:lnTo>
                    <a:lnTo>
                      <a:pt x="265" y="270"/>
                    </a:lnTo>
                    <a:lnTo>
                      <a:pt x="264" y="271"/>
                    </a:lnTo>
                    <a:lnTo>
                      <a:pt x="264" y="273"/>
                    </a:lnTo>
                    <a:lnTo>
                      <a:pt x="264" y="274"/>
                    </a:lnTo>
                    <a:lnTo>
                      <a:pt x="265" y="275"/>
                    </a:lnTo>
                    <a:lnTo>
                      <a:pt x="264" y="275"/>
                    </a:lnTo>
                    <a:lnTo>
                      <a:pt x="263" y="276"/>
                    </a:lnTo>
                    <a:lnTo>
                      <a:pt x="263" y="277"/>
                    </a:lnTo>
                    <a:lnTo>
                      <a:pt x="262" y="278"/>
                    </a:lnTo>
                    <a:lnTo>
                      <a:pt x="261" y="279"/>
                    </a:lnTo>
                    <a:lnTo>
                      <a:pt x="261" y="280"/>
                    </a:lnTo>
                    <a:lnTo>
                      <a:pt x="260" y="282"/>
                    </a:lnTo>
                    <a:lnTo>
                      <a:pt x="260" y="283"/>
                    </a:lnTo>
                    <a:lnTo>
                      <a:pt x="259" y="284"/>
                    </a:lnTo>
                    <a:lnTo>
                      <a:pt x="257" y="286"/>
                    </a:lnTo>
                    <a:lnTo>
                      <a:pt x="256" y="288"/>
                    </a:lnTo>
                    <a:lnTo>
                      <a:pt x="255" y="288"/>
                    </a:lnTo>
                    <a:lnTo>
                      <a:pt x="253" y="290"/>
                    </a:lnTo>
                    <a:lnTo>
                      <a:pt x="252" y="290"/>
                    </a:lnTo>
                    <a:lnTo>
                      <a:pt x="251" y="289"/>
                    </a:lnTo>
                    <a:lnTo>
                      <a:pt x="250" y="289"/>
                    </a:lnTo>
                    <a:lnTo>
                      <a:pt x="249" y="289"/>
                    </a:lnTo>
                    <a:lnTo>
                      <a:pt x="248" y="288"/>
                    </a:lnTo>
                    <a:lnTo>
                      <a:pt x="247" y="288"/>
                    </a:lnTo>
                    <a:lnTo>
                      <a:pt x="246" y="288"/>
                    </a:lnTo>
                    <a:lnTo>
                      <a:pt x="245" y="287"/>
                    </a:lnTo>
                    <a:lnTo>
                      <a:pt x="245" y="288"/>
                    </a:lnTo>
                    <a:lnTo>
                      <a:pt x="244" y="288"/>
                    </a:lnTo>
                    <a:lnTo>
                      <a:pt x="244" y="289"/>
                    </a:lnTo>
                    <a:lnTo>
                      <a:pt x="244" y="290"/>
                    </a:lnTo>
                    <a:lnTo>
                      <a:pt x="244" y="291"/>
                    </a:lnTo>
                    <a:lnTo>
                      <a:pt x="243" y="292"/>
                    </a:lnTo>
                    <a:lnTo>
                      <a:pt x="241" y="292"/>
                    </a:lnTo>
                    <a:lnTo>
                      <a:pt x="239" y="292"/>
                    </a:lnTo>
                    <a:lnTo>
                      <a:pt x="238" y="292"/>
                    </a:lnTo>
                    <a:lnTo>
                      <a:pt x="237" y="292"/>
                    </a:lnTo>
                    <a:lnTo>
                      <a:pt x="237" y="291"/>
                    </a:lnTo>
                    <a:lnTo>
                      <a:pt x="237" y="290"/>
                    </a:lnTo>
                    <a:lnTo>
                      <a:pt x="235" y="290"/>
                    </a:lnTo>
                    <a:lnTo>
                      <a:pt x="234" y="289"/>
                    </a:lnTo>
                    <a:lnTo>
                      <a:pt x="233" y="289"/>
                    </a:lnTo>
                    <a:lnTo>
                      <a:pt x="232" y="289"/>
                    </a:lnTo>
                    <a:lnTo>
                      <a:pt x="231" y="290"/>
                    </a:lnTo>
                    <a:lnTo>
                      <a:pt x="230" y="290"/>
                    </a:lnTo>
                    <a:lnTo>
                      <a:pt x="227" y="291"/>
                    </a:lnTo>
                    <a:lnTo>
                      <a:pt x="227" y="292"/>
                    </a:lnTo>
                    <a:lnTo>
                      <a:pt x="225" y="293"/>
                    </a:lnTo>
                    <a:lnTo>
                      <a:pt x="224" y="294"/>
                    </a:lnTo>
                    <a:lnTo>
                      <a:pt x="223" y="295"/>
                    </a:lnTo>
                    <a:lnTo>
                      <a:pt x="222" y="296"/>
                    </a:lnTo>
                    <a:lnTo>
                      <a:pt x="222" y="297"/>
                    </a:lnTo>
                    <a:lnTo>
                      <a:pt x="221" y="299"/>
                    </a:lnTo>
                    <a:lnTo>
                      <a:pt x="219" y="301"/>
                    </a:lnTo>
                    <a:lnTo>
                      <a:pt x="219" y="302"/>
                    </a:lnTo>
                    <a:lnTo>
                      <a:pt x="219" y="303"/>
                    </a:lnTo>
                    <a:lnTo>
                      <a:pt x="218" y="304"/>
                    </a:lnTo>
                    <a:lnTo>
                      <a:pt x="218" y="305"/>
                    </a:lnTo>
                    <a:lnTo>
                      <a:pt x="215" y="306"/>
                    </a:lnTo>
                    <a:lnTo>
                      <a:pt x="214" y="307"/>
                    </a:lnTo>
                    <a:lnTo>
                      <a:pt x="214" y="308"/>
                    </a:lnTo>
                    <a:lnTo>
                      <a:pt x="214" y="309"/>
                    </a:lnTo>
                    <a:lnTo>
                      <a:pt x="214" y="310"/>
                    </a:lnTo>
                    <a:lnTo>
                      <a:pt x="213" y="313"/>
                    </a:lnTo>
                    <a:lnTo>
                      <a:pt x="213" y="314"/>
                    </a:lnTo>
                    <a:lnTo>
                      <a:pt x="212" y="314"/>
                    </a:lnTo>
                    <a:lnTo>
                      <a:pt x="212" y="315"/>
                    </a:lnTo>
                    <a:lnTo>
                      <a:pt x="213" y="315"/>
                    </a:lnTo>
                    <a:lnTo>
                      <a:pt x="214" y="316"/>
                    </a:lnTo>
                    <a:lnTo>
                      <a:pt x="214" y="319"/>
                    </a:lnTo>
                    <a:lnTo>
                      <a:pt x="214" y="320"/>
                    </a:lnTo>
                    <a:lnTo>
                      <a:pt x="213" y="321"/>
                    </a:lnTo>
                    <a:lnTo>
                      <a:pt x="213" y="322"/>
                    </a:lnTo>
                    <a:lnTo>
                      <a:pt x="212" y="326"/>
                    </a:lnTo>
                    <a:lnTo>
                      <a:pt x="212" y="327"/>
                    </a:lnTo>
                    <a:lnTo>
                      <a:pt x="211" y="328"/>
                    </a:lnTo>
                    <a:lnTo>
                      <a:pt x="210" y="328"/>
                    </a:lnTo>
                    <a:lnTo>
                      <a:pt x="209" y="328"/>
                    </a:lnTo>
                    <a:lnTo>
                      <a:pt x="208" y="329"/>
                    </a:lnTo>
                    <a:lnTo>
                      <a:pt x="207" y="329"/>
                    </a:lnTo>
                    <a:lnTo>
                      <a:pt x="206" y="329"/>
                    </a:lnTo>
                    <a:lnTo>
                      <a:pt x="205" y="329"/>
                    </a:lnTo>
                    <a:lnTo>
                      <a:pt x="204" y="329"/>
                    </a:lnTo>
                    <a:lnTo>
                      <a:pt x="202" y="329"/>
                    </a:lnTo>
                    <a:lnTo>
                      <a:pt x="202" y="328"/>
                    </a:lnTo>
                    <a:lnTo>
                      <a:pt x="204" y="328"/>
                    </a:lnTo>
                    <a:lnTo>
                      <a:pt x="204" y="327"/>
                    </a:lnTo>
                    <a:lnTo>
                      <a:pt x="202" y="327"/>
                    </a:lnTo>
                    <a:lnTo>
                      <a:pt x="201" y="327"/>
                    </a:lnTo>
                    <a:lnTo>
                      <a:pt x="201" y="328"/>
                    </a:lnTo>
                    <a:lnTo>
                      <a:pt x="200" y="328"/>
                    </a:lnTo>
                    <a:lnTo>
                      <a:pt x="199" y="328"/>
                    </a:lnTo>
                    <a:lnTo>
                      <a:pt x="199" y="329"/>
                    </a:lnTo>
                    <a:lnTo>
                      <a:pt x="198" y="329"/>
                    </a:lnTo>
                    <a:lnTo>
                      <a:pt x="197" y="330"/>
                    </a:lnTo>
                    <a:lnTo>
                      <a:pt x="196" y="331"/>
                    </a:lnTo>
                    <a:lnTo>
                      <a:pt x="195" y="331"/>
                    </a:lnTo>
                    <a:lnTo>
                      <a:pt x="194" y="331"/>
                    </a:lnTo>
                    <a:lnTo>
                      <a:pt x="193" y="331"/>
                    </a:lnTo>
                    <a:lnTo>
                      <a:pt x="192" y="330"/>
                    </a:lnTo>
                    <a:lnTo>
                      <a:pt x="192" y="329"/>
                    </a:lnTo>
                    <a:lnTo>
                      <a:pt x="191" y="329"/>
                    </a:lnTo>
                    <a:lnTo>
                      <a:pt x="191" y="328"/>
                    </a:lnTo>
                    <a:lnTo>
                      <a:pt x="191" y="327"/>
                    </a:lnTo>
                    <a:lnTo>
                      <a:pt x="189" y="327"/>
                    </a:lnTo>
                    <a:lnTo>
                      <a:pt x="189" y="326"/>
                    </a:lnTo>
                    <a:lnTo>
                      <a:pt x="188" y="326"/>
                    </a:lnTo>
                    <a:lnTo>
                      <a:pt x="188" y="327"/>
                    </a:lnTo>
                    <a:lnTo>
                      <a:pt x="187" y="327"/>
                    </a:lnTo>
                    <a:lnTo>
                      <a:pt x="187" y="328"/>
                    </a:lnTo>
                    <a:lnTo>
                      <a:pt x="186" y="328"/>
                    </a:lnTo>
                    <a:lnTo>
                      <a:pt x="185" y="328"/>
                    </a:lnTo>
                    <a:lnTo>
                      <a:pt x="184" y="328"/>
                    </a:lnTo>
                    <a:lnTo>
                      <a:pt x="184" y="327"/>
                    </a:lnTo>
                    <a:lnTo>
                      <a:pt x="184" y="326"/>
                    </a:lnTo>
                    <a:lnTo>
                      <a:pt x="184" y="325"/>
                    </a:lnTo>
                    <a:lnTo>
                      <a:pt x="183" y="325"/>
                    </a:lnTo>
                    <a:lnTo>
                      <a:pt x="183" y="323"/>
                    </a:lnTo>
                    <a:lnTo>
                      <a:pt x="182" y="323"/>
                    </a:lnTo>
                    <a:lnTo>
                      <a:pt x="181" y="323"/>
                    </a:lnTo>
                    <a:lnTo>
                      <a:pt x="180" y="323"/>
                    </a:lnTo>
                    <a:lnTo>
                      <a:pt x="180" y="325"/>
                    </a:lnTo>
                    <a:lnTo>
                      <a:pt x="179" y="325"/>
                    </a:lnTo>
                    <a:lnTo>
                      <a:pt x="179" y="323"/>
                    </a:lnTo>
                    <a:lnTo>
                      <a:pt x="178" y="323"/>
                    </a:lnTo>
                    <a:lnTo>
                      <a:pt x="176" y="322"/>
                    </a:lnTo>
                    <a:lnTo>
                      <a:pt x="176" y="321"/>
                    </a:lnTo>
                    <a:lnTo>
                      <a:pt x="176" y="320"/>
                    </a:lnTo>
                    <a:lnTo>
                      <a:pt x="176" y="319"/>
                    </a:lnTo>
                    <a:lnTo>
                      <a:pt x="175" y="320"/>
                    </a:lnTo>
                    <a:lnTo>
                      <a:pt x="174" y="320"/>
                    </a:lnTo>
                    <a:lnTo>
                      <a:pt x="173" y="320"/>
                    </a:lnTo>
                    <a:lnTo>
                      <a:pt x="173" y="319"/>
                    </a:lnTo>
                    <a:lnTo>
                      <a:pt x="172" y="319"/>
                    </a:lnTo>
                    <a:lnTo>
                      <a:pt x="168" y="320"/>
                    </a:lnTo>
                    <a:lnTo>
                      <a:pt x="168" y="321"/>
                    </a:lnTo>
                    <a:lnTo>
                      <a:pt x="167" y="321"/>
                    </a:lnTo>
                    <a:lnTo>
                      <a:pt x="166" y="322"/>
                    </a:lnTo>
                    <a:lnTo>
                      <a:pt x="165" y="322"/>
                    </a:lnTo>
                    <a:lnTo>
                      <a:pt x="165" y="323"/>
                    </a:lnTo>
                    <a:lnTo>
                      <a:pt x="165" y="325"/>
                    </a:lnTo>
                    <a:lnTo>
                      <a:pt x="166" y="325"/>
                    </a:lnTo>
                    <a:lnTo>
                      <a:pt x="166" y="326"/>
                    </a:lnTo>
                    <a:lnTo>
                      <a:pt x="166" y="327"/>
                    </a:lnTo>
                    <a:lnTo>
                      <a:pt x="166" y="328"/>
                    </a:lnTo>
                    <a:lnTo>
                      <a:pt x="166" y="329"/>
                    </a:lnTo>
                    <a:lnTo>
                      <a:pt x="166" y="330"/>
                    </a:lnTo>
                    <a:lnTo>
                      <a:pt x="165" y="330"/>
                    </a:lnTo>
                    <a:lnTo>
                      <a:pt x="165" y="331"/>
                    </a:lnTo>
                    <a:lnTo>
                      <a:pt x="163" y="332"/>
                    </a:lnTo>
                    <a:lnTo>
                      <a:pt x="162" y="332"/>
                    </a:lnTo>
                    <a:lnTo>
                      <a:pt x="161" y="332"/>
                    </a:lnTo>
                    <a:lnTo>
                      <a:pt x="160" y="332"/>
                    </a:lnTo>
                    <a:lnTo>
                      <a:pt x="159" y="332"/>
                    </a:lnTo>
                    <a:lnTo>
                      <a:pt x="158" y="332"/>
                    </a:lnTo>
                    <a:lnTo>
                      <a:pt x="158" y="333"/>
                    </a:lnTo>
                    <a:lnTo>
                      <a:pt x="157" y="333"/>
                    </a:lnTo>
                    <a:lnTo>
                      <a:pt x="156" y="334"/>
                    </a:lnTo>
                    <a:lnTo>
                      <a:pt x="156" y="335"/>
                    </a:lnTo>
                    <a:lnTo>
                      <a:pt x="155" y="336"/>
                    </a:lnTo>
                    <a:lnTo>
                      <a:pt x="155" y="338"/>
                    </a:lnTo>
                    <a:lnTo>
                      <a:pt x="154" y="338"/>
                    </a:lnTo>
                    <a:lnTo>
                      <a:pt x="153" y="338"/>
                    </a:lnTo>
                    <a:lnTo>
                      <a:pt x="153" y="339"/>
                    </a:lnTo>
                    <a:lnTo>
                      <a:pt x="152" y="340"/>
                    </a:lnTo>
                    <a:lnTo>
                      <a:pt x="152" y="341"/>
                    </a:lnTo>
                    <a:lnTo>
                      <a:pt x="152" y="342"/>
                    </a:lnTo>
                    <a:lnTo>
                      <a:pt x="150" y="343"/>
                    </a:lnTo>
                    <a:lnTo>
                      <a:pt x="150" y="344"/>
                    </a:lnTo>
                    <a:lnTo>
                      <a:pt x="150" y="345"/>
                    </a:lnTo>
                    <a:lnTo>
                      <a:pt x="150" y="346"/>
                    </a:lnTo>
                    <a:lnTo>
                      <a:pt x="152" y="346"/>
                    </a:lnTo>
                    <a:lnTo>
                      <a:pt x="150" y="347"/>
                    </a:lnTo>
                    <a:lnTo>
                      <a:pt x="152" y="347"/>
                    </a:lnTo>
                    <a:lnTo>
                      <a:pt x="152" y="348"/>
                    </a:lnTo>
                    <a:lnTo>
                      <a:pt x="152" y="350"/>
                    </a:lnTo>
                    <a:lnTo>
                      <a:pt x="152" y="351"/>
                    </a:lnTo>
                    <a:lnTo>
                      <a:pt x="153" y="351"/>
                    </a:lnTo>
                    <a:lnTo>
                      <a:pt x="153" y="352"/>
                    </a:lnTo>
                    <a:lnTo>
                      <a:pt x="152" y="352"/>
                    </a:lnTo>
                    <a:lnTo>
                      <a:pt x="152" y="353"/>
                    </a:lnTo>
                    <a:lnTo>
                      <a:pt x="152" y="354"/>
                    </a:lnTo>
                    <a:lnTo>
                      <a:pt x="150" y="355"/>
                    </a:lnTo>
                    <a:lnTo>
                      <a:pt x="150" y="356"/>
                    </a:lnTo>
                    <a:lnTo>
                      <a:pt x="152" y="356"/>
                    </a:lnTo>
                    <a:lnTo>
                      <a:pt x="152" y="357"/>
                    </a:lnTo>
                    <a:lnTo>
                      <a:pt x="150" y="357"/>
                    </a:lnTo>
                    <a:lnTo>
                      <a:pt x="149" y="358"/>
                    </a:lnTo>
                    <a:lnTo>
                      <a:pt x="148" y="357"/>
                    </a:lnTo>
                    <a:lnTo>
                      <a:pt x="148" y="358"/>
                    </a:lnTo>
                    <a:lnTo>
                      <a:pt x="147" y="358"/>
                    </a:lnTo>
                    <a:lnTo>
                      <a:pt x="146" y="358"/>
                    </a:lnTo>
                    <a:lnTo>
                      <a:pt x="145" y="358"/>
                    </a:lnTo>
                    <a:lnTo>
                      <a:pt x="144" y="358"/>
                    </a:lnTo>
                    <a:lnTo>
                      <a:pt x="143" y="358"/>
                    </a:lnTo>
                    <a:lnTo>
                      <a:pt x="142" y="358"/>
                    </a:lnTo>
                    <a:lnTo>
                      <a:pt x="140" y="357"/>
                    </a:lnTo>
                    <a:lnTo>
                      <a:pt x="139" y="356"/>
                    </a:lnTo>
                    <a:lnTo>
                      <a:pt x="137" y="356"/>
                    </a:lnTo>
                    <a:lnTo>
                      <a:pt x="137" y="355"/>
                    </a:lnTo>
                    <a:lnTo>
                      <a:pt x="136" y="355"/>
                    </a:lnTo>
                    <a:lnTo>
                      <a:pt x="135" y="355"/>
                    </a:lnTo>
                    <a:lnTo>
                      <a:pt x="134" y="355"/>
                    </a:lnTo>
                    <a:lnTo>
                      <a:pt x="134" y="354"/>
                    </a:lnTo>
                    <a:lnTo>
                      <a:pt x="134" y="353"/>
                    </a:lnTo>
                    <a:lnTo>
                      <a:pt x="133" y="353"/>
                    </a:lnTo>
                    <a:lnTo>
                      <a:pt x="132" y="353"/>
                    </a:lnTo>
                    <a:lnTo>
                      <a:pt x="132" y="352"/>
                    </a:lnTo>
                    <a:lnTo>
                      <a:pt x="131" y="351"/>
                    </a:lnTo>
                    <a:lnTo>
                      <a:pt x="130" y="350"/>
                    </a:lnTo>
                    <a:lnTo>
                      <a:pt x="130" y="348"/>
                    </a:lnTo>
                    <a:lnTo>
                      <a:pt x="129" y="348"/>
                    </a:lnTo>
                    <a:lnTo>
                      <a:pt x="129" y="347"/>
                    </a:lnTo>
                    <a:lnTo>
                      <a:pt x="128" y="347"/>
                    </a:lnTo>
                    <a:lnTo>
                      <a:pt x="128" y="346"/>
                    </a:lnTo>
                    <a:lnTo>
                      <a:pt x="128" y="345"/>
                    </a:lnTo>
                    <a:lnTo>
                      <a:pt x="128" y="344"/>
                    </a:lnTo>
                    <a:lnTo>
                      <a:pt x="127" y="343"/>
                    </a:lnTo>
                    <a:lnTo>
                      <a:pt x="126" y="343"/>
                    </a:lnTo>
                    <a:lnTo>
                      <a:pt x="126" y="342"/>
                    </a:lnTo>
                    <a:lnTo>
                      <a:pt x="126" y="341"/>
                    </a:lnTo>
                    <a:lnTo>
                      <a:pt x="124" y="341"/>
                    </a:lnTo>
                    <a:lnTo>
                      <a:pt x="123" y="341"/>
                    </a:lnTo>
                    <a:lnTo>
                      <a:pt x="123" y="340"/>
                    </a:lnTo>
                    <a:lnTo>
                      <a:pt x="121" y="339"/>
                    </a:lnTo>
                    <a:lnTo>
                      <a:pt x="121" y="340"/>
                    </a:lnTo>
                    <a:lnTo>
                      <a:pt x="120" y="340"/>
                    </a:lnTo>
                    <a:lnTo>
                      <a:pt x="119" y="341"/>
                    </a:lnTo>
                    <a:lnTo>
                      <a:pt x="119" y="342"/>
                    </a:lnTo>
                    <a:lnTo>
                      <a:pt x="118" y="342"/>
                    </a:lnTo>
                    <a:lnTo>
                      <a:pt x="118" y="343"/>
                    </a:lnTo>
                    <a:lnTo>
                      <a:pt x="117" y="343"/>
                    </a:lnTo>
                    <a:lnTo>
                      <a:pt x="116" y="343"/>
                    </a:lnTo>
                    <a:lnTo>
                      <a:pt x="116" y="344"/>
                    </a:lnTo>
                    <a:lnTo>
                      <a:pt x="115" y="345"/>
                    </a:lnTo>
                    <a:lnTo>
                      <a:pt x="115" y="347"/>
                    </a:lnTo>
                    <a:lnTo>
                      <a:pt x="115" y="348"/>
                    </a:lnTo>
                    <a:lnTo>
                      <a:pt x="114" y="350"/>
                    </a:lnTo>
                    <a:lnTo>
                      <a:pt x="114" y="351"/>
                    </a:lnTo>
                    <a:lnTo>
                      <a:pt x="115" y="351"/>
                    </a:lnTo>
                    <a:lnTo>
                      <a:pt x="115" y="352"/>
                    </a:lnTo>
                    <a:lnTo>
                      <a:pt x="115" y="353"/>
                    </a:lnTo>
                    <a:lnTo>
                      <a:pt x="115" y="354"/>
                    </a:lnTo>
                    <a:lnTo>
                      <a:pt x="114" y="355"/>
                    </a:lnTo>
                    <a:lnTo>
                      <a:pt x="114" y="356"/>
                    </a:lnTo>
                    <a:lnTo>
                      <a:pt x="114" y="357"/>
                    </a:lnTo>
                    <a:lnTo>
                      <a:pt x="114" y="358"/>
                    </a:lnTo>
                    <a:lnTo>
                      <a:pt x="114" y="359"/>
                    </a:lnTo>
                    <a:lnTo>
                      <a:pt x="114" y="360"/>
                    </a:lnTo>
                    <a:lnTo>
                      <a:pt x="114" y="361"/>
                    </a:lnTo>
                    <a:lnTo>
                      <a:pt x="112" y="361"/>
                    </a:lnTo>
                    <a:lnTo>
                      <a:pt x="112" y="363"/>
                    </a:lnTo>
                    <a:lnTo>
                      <a:pt x="111" y="363"/>
                    </a:lnTo>
                    <a:lnTo>
                      <a:pt x="111" y="364"/>
                    </a:lnTo>
                    <a:lnTo>
                      <a:pt x="111" y="365"/>
                    </a:lnTo>
                    <a:lnTo>
                      <a:pt x="110" y="365"/>
                    </a:lnTo>
                    <a:lnTo>
                      <a:pt x="109" y="366"/>
                    </a:lnTo>
                    <a:lnTo>
                      <a:pt x="108" y="366"/>
                    </a:lnTo>
                    <a:lnTo>
                      <a:pt x="108" y="367"/>
                    </a:lnTo>
                    <a:lnTo>
                      <a:pt x="107" y="367"/>
                    </a:lnTo>
                    <a:lnTo>
                      <a:pt x="106" y="367"/>
                    </a:lnTo>
                    <a:lnTo>
                      <a:pt x="109" y="363"/>
                    </a:lnTo>
                    <a:lnTo>
                      <a:pt x="109" y="361"/>
                    </a:lnTo>
                    <a:lnTo>
                      <a:pt x="110" y="361"/>
                    </a:lnTo>
                    <a:lnTo>
                      <a:pt x="110" y="360"/>
                    </a:lnTo>
                    <a:lnTo>
                      <a:pt x="111" y="360"/>
                    </a:lnTo>
                    <a:lnTo>
                      <a:pt x="111" y="359"/>
                    </a:lnTo>
                    <a:lnTo>
                      <a:pt x="111" y="358"/>
                    </a:lnTo>
                    <a:lnTo>
                      <a:pt x="111" y="357"/>
                    </a:lnTo>
                    <a:lnTo>
                      <a:pt x="111" y="356"/>
                    </a:lnTo>
                    <a:lnTo>
                      <a:pt x="111" y="351"/>
                    </a:lnTo>
                    <a:lnTo>
                      <a:pt x="110" y="351"/>
                    </a:lnTo>
                    <a:lnTo>
                      <a:pt x="110" y="350"/>
                    </a:lnTo>
                    <a:lnTo>
                      <a:pt x="109" y="350"/>
                    </a:lnTo>
                    <a:lnTo>
                      <a:pt x="109" y="348"/>
                    </a:lnTo>
                    <a:lnTo>
                      <a:pt x="108" y="347"/>
                    </a:lnTo>
                    <a:lnTo>
                      <a:pt x="108" y="346"/>
                    </a:lnTo>
                    <a:lnTo>
                      <a:pt x="109" y="346"/>
                    </a:lnTo>
                    <a:lnTo>
                      <a:pt x="109" y="345"/>
                    </a:lnTo>
                    <a:lnTo>
                      <a:pt x="108" y="344"/>
                    </a:lnTo>
                    <a:lnTo>
                      <a:pt x="106" y="343"/>
                    </a:lnTo>
                    <a:lnTo>
                      <a:pt x="105" y="342"/>
                    </a:lnTo>
                    <a:lnTo>
                      <a:pt x="104" y="342"/>
                    </a:lnTo>
                    <a:lnTo>
                      <a:pt x="104" y="341"/>
                    </a:lnTo>
                    <a:lnTo>
                      <a:pt x="103" y="341"/>
                    </a:lnTo>
                    <a:lnTo>
                      <a:pt x="103" y="340"/>
                    </a:lnTo>
                    <a:lnTo>
                      <a:pt x="103" y="339"/>
                    </a:lnTo>
                    <a:lnTo>
                      <a:pt x="102" y="339"/>
                    </a:lnTo>
                    <a:lnTo>
                      <a:pt x="102" y="338"/>
                    </a:lnTo>
                    <a:lnTo>
                      <a:pt x="101" y="336"/>
                    </a:lnTo>
                    <a:lnTo>
                      <a:pt x="101" y="335"/>
                    </a:lnTo>
                    <a:lnTo>
                      <a:pt x="101" y="334"/>
                    </a:lnTo>
                    <a:lnTo>
                      <a:pt x="101" y="332"/>
                    </a:lnTo>
                    <a:lnTo>
                      <a:pt x="101" y="331"/>
                    </a:lnTo>
                    <a:lnTo>
                      <a:pt x="99" y="331"/>
                    </a:lnTo>
                    <a:lnTo>
                      <a:pt x="99" y="330"/>
                    </a:lnTo>
                    <a:lnTo>
                      <a:pt x="101" y="329"/>
                    </a:lnTo>
                    <a:lnTo>
                      <a:pt x="99" y="328"/>
                    </a:lnTo>
                    <a:lnTo>
                      <a:pt x="98" y="327"/>
                    </a:lnTo>
                    <a:lnTo>
                      <a:pt x="98" y="326"/>
                    </a:lnTo>
                    <a:lnTo>
                      <a:pt x="98" y="325"/>
                    </a:lnTo>
                    <a:lnTo>
                      <a:pt x="97" y="323"/>
                    </a:lnTo>
                    <a:lnTo>
                      <a:pt x="97" y="321"/>
                    </a:lnTo>
                    <a:lnTo>
                      <a:pt x="97" y="320"/>
                    </a:lnTo>
                    <a:lnTo>
                      <a:pt x="97" y="319"/>
                    </a:lnTo>
                    <a:lnTo>
                      <a:pt x="97" y="318"/>
                    </a:lnTo>
                    <a:lnTo>
                      <a:pt x="98" y="317"/>
                    </a:lnTo>
                    <a:lnTo>
                      <a:pt x="99" y="316"/>
                    </a:lnTo>
                    <a:lnTo>
                      <a:pt x="99" y="315"/>
                    </a:lnTo>
                    <a:lnTo>
                      <a:pt x="99" y="314"/>
                    </a:lnTo>
                    <a:lnTo>
                      <a:pt x="99" y="313"/>
                    </a:lnTo>
                    <a:lnTo>
                      <a:pt x="99" y="312"/>
                    </a:lnTo>
                    <a:lnTo>
                      <a:pt x="98" y="310"/>
                    </a:lnTo>
                    <a:lnTo>
                      <a:pt x="96" y="309"/>
                    </a:lnTo>
                    <a:lnTo>
                      <a:pt x="95" y="306"/>
                    </a:lnTo>
                    <a:lnTo>
                      <a:pt x="95" y="300"/>
                    </a:lnTo>
                    <a:lnTo>
                      <a:pt x="94" y="293"/>
                    </a:lnTo>
                    <a:lnTo>
                      <a:pt x="94" y="292"/>
                    </a:lnTo>
                    <a:lnTo>
                      <a:pt x="94" y="291"/>
                    </a:lnTo>
                    <a:lnTo>
                      <a:pt x="95" y="291"/>
                    </a:lnTo>
                    <a:lnTo>
                      <a:pt x="95" y="290"/>
                    </a:lnTo>
                    <a:lnTo>
                      <a:pt x="95" y="289"/>
                    </a:lnTo>
                    <a:lnTo>
                      <a:pt x="96" y="288"/>
                    </a:lnTo>
                    <a:lnTo>
                      <a:pt x="97" y="288"/>
                    </a:lnTo>
                    <a:lnTo>
                      <a:pt x="97" y="287"/>
                    </a:lnTo>
                    <a:lnTo>
                      <a:pt x="97" y="286"/>
                    </a:lnTo>
                    <a:lnTo>
                      <a:pt x="98" y="286"/>
                    </a:lnTo>
                    <a:lnTo>
                      <a:pt x="98" y="284"/>
                    </a:lnTo>
                    <a:lnTo>
                      <a:pt x="98" y="283"/>
                    </a:lnTo>
                    <a:lnTo>
                      <a:pt x="98" y="282"/>
                    </a:lnTo>
                    <a:lnTo>
                      <a:pt x="99" y="282"/>
                    </a:lnTo>
                    <a:lnTo>
                      <a:pt x="99" y="281"/>
                    </a:lnTo>
                    <a:lnTo>
                      <a:pt x="101" y="281"/>
                    </a:lnTo>
                    <a:lnTo>
                      <a:pt x="101" y="280"/>
                    </a:lnTo>
                    <a:lnTo>
                      <a:pt x="101" y="278"/>
                    </a:lnTo>
                    <a:lnTo>
                      <a:pt x="101" y="277"/>
                    </a:lnTo>
                    <a:lnTo>
                      <a:pt x="101" y="276"/>
                    </a:lnTo>
                    <a:lnTo>
                      <a:pt x="99" y="276"/>
                    </a:lnTo>
                    <a:lnTo>
                      <a:pt x="99" y="275"/>
                    </a:lnTo>
                    <a:lnTo>
                      <a:pt x="99" y="274"/>
                    </a:lnTo>
                    <a:lnTo>
                      <a:pt x="99" y="271"/>
                    </a:lnTo>
                    <a:lnTo>
                      <a:pt x="98" y="271"/>
                    </a:lnTo>
                    <a:lnTo>
                      <a:pt x="98" y="270"/>
                    </a:lnTo>
                    <a:lnTo>
                      <a:pt x="98" y="269"/>
                    </a:lnTo>
                    <a:lnTo>
                      <a:pt x="98" y="267"/>
                    </a:lnTo>
                    <a:lnTo>
                      <a:pt x="98" y="266"/>
                    </a:lnTo>
                    <a:lnTo>
                      <a:pt x="98" y="265"/>
                    </a:lnTo>
                    <a:lnTo>
                      <a:pt x="99" y="265"/>
                    </a:lnTo>
                    <a:lnTo>
                      <a:pt x="99" y="264"/>
                    </a:lnTo>
                    <a:lnTo>
                      <a:pt x="101" y="264"/>
                    </a:lnTo>
                    <a:lnTo>
                      <a:pt x="102" y="263"/>
                    </a:lnTo>
                    <a:lnTo>
                      <a:pt x="103" y="262"/>
                    </a:lnTo>
                    <a:lnTo>
                      <a:pt x="104" y="262"/>
                    </a:lnTo>
                    <a:lnTo>
                      <a:pt x="105" y="263"/>
                    </a:lnTo>
                    <a:lnTo>
                      <a:pt x="106" y="263"/>
                    </a:lnTo>
                    <a:lnTo>
                      <a:pt x="106" y="262"/>
                    </a:lnTo>
                    <a:lnTo>
                      <a:pt x="107" y="262"/>
                    </a:lnTo>
                    <a:lnTo>
                      <a:pt x="107" y="261"/>
                    </a:lnTo>
                    <a:lnTo>
                      <a:pt x="108" y="261"/>
                    </a:lnTo>
                    <a:lnTo>
                      <a:pt x="108" y="260"/>
                    </a:lnTo>
                    <a:lnTo>
                      <a:pt x="108" y="258"/>
                    </a:lnTo>
                    <a:lnTo>
                      <a:pt x="108" y="257"/>
                    </a:lnTo>
                    <a:lnTo>
                      <a:pt x="107" y="255"/>
                    </a:lnTo>
                    <a:lnTo>
                      <a:pt x="107" y="254"/>
                    </a:lnTo>
                    <a:lnTo>
                      <a:pt x="106" y="254"/>
                    </a:lnTo>
                    <a:lnTo>
                      <a:pt x="106" y="253"/>
                    </a:lnTo>
                    <a:lnTo>
                      <a:pt x="105" y="253"/>
                    </a:lnTo>
                    <a:lnTo>
                      <a:pt x="105" y="252"/>
                    </a:lnTo>
                    <a:lnTo>
                      <a:pt x="104" y="252"/>
                    </a:lnTo>
                    <a:lnTo>
                      <a:pt x="102" y="250"/>
                    </a:lnTo>
                    <a:lnTo>
                      <a:pt x="101" y="250"/>
                    </a:lnTo>
                    <a:lnTo>
                      <a:pt x="99" y="249"/>
                    </a:lnTo>
                    <a:lnTo>
                      <a:pt x="98" y="249"/>
                    </a:lnTo>
                    <a:lnTo>
                      <a:pt x="97" y="250"/>
                    </a:lnTo>
                    <a:lnTo>
                      <a:pt x="95" y="250"/>
                    </a:lnTo>
                    <a:lnTo>
                      <a:pt x="95" y="251"/>
                    </a:lnTo>
                    <a:lnTo>
                      <a:pt x="94" y="251"/>
                    </a:lnTo>
                    <a:lnTo>
                      <a:pt x="94" y="252"/>
                    </a:lnTo>
                    <a:lnTo>
                      <a:pt x="94" y="253"/>
                    </a:lnTo>
                    <a:lnTo>
                      <a:pt x="93" y="255"/>
                    </a:lnTo>
                    <a:lnTo>
                      <a:pt x="92" y="255"/>
                    </a:lnTo>
                    <a:lnTo>
                      <a:pt x="90" y="254"/>
                    </a:lnTo>
                    <a:lnTo>
                      <a:pt x="88" y="253"/>
                    </a:lnTo>
                    <a:lnTo>
                      <a:pt x="86" y="252"/>
                    </a:lnTo>
                    <a:lnTo>
                      <a:pt x="85" y="252"/>
                    </a:lnTo>
                    <a:lnTo>
                      <a:pt x="84" y="252"/>
                    </a:lnTo>
                    <a:lnTo>
                      <a:pt x="84" y="251"/>
                    </a:lnTo>
                    <a:lnTo>
                      <a:pt x="84" y="249"/>
                    </a:lnTo>
                    <a:lnTo>
                      <a:pt x="83" y="249"/>
                    </a:lnTo>
                    <a:lnTo>
                      <a:pt x="82" y="246"/>
                    </a:lnTo>
                    <a:lnTo>
                      <a:pt x="81" y="245"/>
                    </a:lnTo>
                    <a:lnTo>
                      <a:pt x="81" y="244"/>
                    </a:lnTo>
                    <a:lnTo>
                      <a:pt x="80" y="244"/>
                    </a:lnTo>
                    <a:lnTo>
                      <a:pt x="79" y="244"/>
                    </a:lnTo>
                    <a:lnTo>
                      <a:pt x="78" y="243"/>
                    </a:lnTo>
                    <a:lnTo>
                      <a:pt x="76" y="242"/>
                    </a:lnTo>
                    <a:lnTo>
                      <a:pt x="76" y="241"/>
                    </a:lnTo>
                    <a:lnTo>
                      <a:pt x="76" y="240"/>
                    </a:lnTo>
                    <a:lnTo>
                      <a:pt x="75" y="240"/>
                    </a:lnTo>
                    <a:lnTo>
                      <a:pt x="75" y="239"/>
                    </a:lnTo>
                    <a:lnTo>
                      <a:pt x="73" y="238"/>
                    </a:lnTo>
                    <a:lnTo>
                      <a:pt x="73" y="237"/>
                    </a:lnTo>
                    <a:lnTo>
                      <a:pt x="73" y="236"/>
                    </a:lnTo>
                    <a:lnTo>
                      <a:pt x="72" y="236"/>
                    </a:lnTo>
                    <a:lnTo>
                      <a:pt x="72" y="235"/>
                    </a:lnTo>
                    <a:lnTo>
                      <a:pt x="72" y="233"/>
                    </a:lnTo>
                    <a:lnTo>
                      <a:pt x="71" y="233"/>
                    </a:lnTo>
                    <a:lnTo>
                      <a:pt x="71" y="232"/>
                    </a:lnTo>
                    <a:lnTo>
                      <a:pt x="71" y="231"/>
                    </a:lnTo>
                    <a:lnTo>
                      <a:pt x="71" y="230"/>
                    </a:lnTo>
                    <a:lnTo>
                      <a:pt x="70" y="228"/>
                    </a:lnTo>
                    <a:lnTo>
                      <a:pt x="70" y="227"/>
                    </a:lnTo>
                    <a:lnTo>
                      <a:pt x="70" y="226"/>
                    </a:lnTo>
                    <a:lnTo>
                      <a:pt x="70" y="225"/>
                    </a:lnTo>
                    <a:lnTo>
                      <a:pt x="70" y="224"/>
                    </a:lnTo>
                    <a:lnTo>
                      <a:pt x="70" y="222"/>
                    </a:lnTo>
                    <a:lnTo>
                      <a:pt x="70" y="220"/>
                    </a:lnTo>
                    <a:lnTo>
                      <a:pt x="68" y="218"/>
                    </a:lnTo>
                    <a:lnTo>
                      <a:pt x="68" y="217"/>
                    </a:lnTo>
                    <a:lnTo>
                      <a:pt x="67" y="217"/>
                    </a:lnTo>
                    <a:lnTo>
                      <a:pt x="66" y="217"/>
                    </a:lnTo>
                    <a:lnTo>
                      <a:pt x="67" y="218"/>
                    </a:lnTo>
                    <a:lnTo>
                      <a:pt x="66" y="218"/>
                    </a:lnTo>
                    <a:lnTo>
                      <a:pt x="67" y="218"/>
                    </a:lnTo>
                    <a:lnTo>
                      <a:pt x="66" y="218"/>
                    </a:lnTo>
                    <a:lnTo>
                      <a:pt x="66" y="219"/>
                    </a:lnTo>
                    <a:lnTo>
                      <a:pt x="65" y="219"/>
                    </a:lnTo>
                    <a:lnTo>
                      <a:pt x="64" y="220"/>
                    </a:lnTo>
                    <a:lnTo>
                      <a:pt x="64" y="219"/>
                    </a:lnTo>
                    <a:lnTo>
                      <a:pt x="63" y="220"/>
                    </a:lnTo>
                    <a:lnTo>
                      <a:pt x="62" y="220"/>
                    </a:lnTo>
                    <a:lnTo>
                      <a:pt x="60" y="220"/>
                    </a:lnTo>
                    <a:lnTo>
                      <a:pt x="59" y="220"/>
                    </a:lnTo>
                    <a:lnTo>
                      <a:pt x="58" y="220"/>
                    </a:lnTo>
                    <a:lnTo>
                      <a:pt x="58" y="222"/>
                    </a:lnTo>
                    <a:lnTo>
                      <a:pt x="56" y="223"/>
                    </a:lnTo>
                    <a:lnTo>
                      <a:pt x="55" y="223"/>
                    </a:lnTo>
                    <a:lnTo>
                      <a:pt x="54" y="222"/>
                    </a:lnTo>
                    <a:lnTo>
                      <a:pt x="53" y="222"/>
                    </a:lnTo>
                    <a:lnTo>
                      <a:pt x="51" y="220"/>
                    </a:lnTo>
                    <a:lnTo>
                      <a:pt x="50" y="220"/>
                    </a:lnTo>
                    <a:lnTo>
                      <a:pt x="50" y="219"/>
                    </a:lnTo>
                    <a:lnTo>
                      <a:pt x="49" y="219"/>
                    </a:lnTo>
                    <a:lnTo>
                      <a:pt x="47" y="219"/>
                    </a:lnTo>
                    <a:lnTo>
                      <a:pt x="46" y="219"/>
                    </a:lnTo>
                    <a:lnTo>
                      <a:pt x="46" y="220"/>
                    </a:lnTo>
                    <a:lnTo>
                      <a:pt x="45" y="222"/>
                    </a:lnTo>
                    <a:lnTo>
                      <a:pt x="45" y="223"/>
                    </a:lnTo>
                    <a:lnTo>
                      <a:pt x="44" y="223"/>
                    </a:lnTo>
                    <a:lnTo>
                      <a:pt x="44" y="224"/>
                    </a:lnTo>
                    <a:lnTo>
                      <a:pt x="43" y="224"/>
                    </a:lnTo>
                    <a:lnTo>
                      <a:pt x="43" y="225"/>
                    </a:lnTo>
                    <a:lnTo>
                      <a:pt x="42" y="225"/>
                    </a:lnTo>
                    <a:lnTo>
                      <a:pt x="41" y="225"/>
                    </a:lnTo>
                    <a:lnTo>
                      <a:pt x="40" y="225"/>
                    </a:lnTo>
                    <a:lnTo>
                      <a:pt x="39" y="225"/>
                    </a:lnTo>
                    <a:lnTo>
                      <a:pt x="38" y="225"/>
                    </a:lnTo>
                    <a:lnTo>
                      <a:pt x="37" y="224"/>
                    </a:lnTo>
                    <a:lnTo>
                      <a:pt x="36" y="223"/>
                    </a:lnTo>
                    <a:lnTo>
                      <a:pt x="34" y="222"/>
                    </a:lnTo>
                    <a:lnTo>
                      <a:pt x="33" y="219"/>
                    </a:lnTo>
                    <a:lnTo>
                      <a:pt x="32" y="218"/>
                    </a:lnTo>
                    <a:lnTo>
                      <a:pt x="32" y="217"/>
                    </a:lnTo>
                    <a:lnTo>
                      <a:pt x="32" y="216"/>
                    </a:lnTo>
                    <a:lnTo>
                      <a:pt x="31" y="216"/>
                    </a:lnTo>
                    <a:lnTo>
                      <a:pt x="30" y="216"/>
                    </a:lnTo>
                    <a:lnTo>
                      <a:pt x="29" y="216"/>
                    </a:lnTo>
                    <a:lnTo>
                      <a:pt x="28" y="216"/>
                    </a:lnTo>
                    <a:lnTo>
                      <a:pt x="27" y="217"/>
                    </a:lnTo>
                    <a:lnTo>
                      <a:pt x="26" y="218"/>
                    </a:lnTo>
                    <a:lnTo>
                      <a:pt x="26" y="219"/>
                    </a:lnTo>
                    <a:lnTo>
                      <a:pt x="26" y="220"/>
                    </a:lnTo>
                    <a:lnTo>
                      <a:pt x="26" y="222"/>
                    </a:lnTo>
                    <a:lnTo>
                      <a:pt x="26" y="223"/>
                    </a:lnTo>
                    <a:lnTo>
                      <a:pt x="27" y="224"/>
                    </a:lnTo>
                    <a:lnTo>
                      <a:pt x="29" y="225"/>
                    </a:lnTo>
                    <a:lnTo>
                      <a:pt x="31" y="225"/>
                    </a:lnTo>
                    <a:lnTo>
                      <a:pt x="33" y="225"/>
                    </a:lnTo>
                    <a:lnTo>
                      <a:pt x="33" y="226"/>
                    </a:lnTo>
                    <a:lnTo>
                      <a:pt x="33" y="227"/>
                    </a:lnTo>
                    <a:lnTo>
                      <a:pt x="33" y="228"/>
                    </a:lnTo>
                    <a:lnTo>
                      <a:pt x="32" y="229"/>
                    </a:lnTo>
                    <a:lnTo>
                      <a:pt x="31" y="230"/>
                    </a:lnTo>
                    <a:lnTo>
                      <a:pt x="27" y="232"/>
                    </a:lnTo>
                    <a:lnTo>
                      <a:pt x="26" y="232"/>
                    </a:lnTo>
                    <a:lnTo>
                      <a:pt x="25" y="233"/>
                    </a:lnTo>
                    <a:lnTo>
                      <a:pt x="25" y="235"/>
                    </a:lnTo>
                    <a:lnTo>
                      <a:pt x="24" y="235"/>
                    </a:lnTo>
                    <a:lnTo>
                      <a:pt x="24" y="236"/>
                    </a:lnTo>
                    <a:lnTo>
                      <a:pt x="23" y="236"/>
                    </a:lnTo>
                    <a:lnTo>
                      <a:pt x="21" y="236"/>
                    </a:lnTo>
                    <a:lnTo>
                      <a:pt x="21" y="235"/>
                    </a:lnTo>
                    <a:lnTo>
                      <a:pt x="21" y="233"/>
                    </a:lnTo>
                    <a:lnTo>
                      <a:pt x="21" y="232"/>
                    </a:lnTo>
                    <a:lnTo>
                      <a:pt x="21" y="231"/>
                    </a:lnTo>
                    <a:lnTo>
                      <a:pt x="23" y="231"/>
                    </a:lnTo>
                    <a:lnTo>
                      <a:pt x="24" y="230"/>
                    </a:lnTo>
                    <a:lnTo>
                      <a:pt x="24" y="229"/>
                    </a:lnTo>
                    <a:lnTo>
                      <a:pt x="24" y="228"/>
                    </a:lnTo>
                    <a:lnTo>
                      <a:pt x="25" y="228"/>
                    </a:lnTo>
                    <a:lnTo>
                      <a:pt x="26" y="226"/>
                    </a:lnTo>
                    <a:lnTo>
                      <a:pt x="27" y="226"/>
                    </a:lnTo>
                    <a:lnTo>
                      <a:pt x="26" y="225"/>
                    </a:lnTo>
                    <a:lnTo>
                      <a:pt x="25" y="225"/>
                    </a:lnTo>
                    <a:lnTo>
                      <a:pt x="21" y="227"/>
                    </a:lnTo>
                    <a:lnTo>
                      <a:pt x="20" y="227"/>
                    </a:lnTo>
                    <a:lnTo>
                      <a:pt x="19" y="227"/>
                    </a:lnTo>
                    <a:lnTo>
                      <a:pt x="18" y="227"/>
                    </a:lnTo>
                    <a:lnTo>
                      <a:pt x="18" y="226"/>
                    </a:lnTo>
                    <a:lnTo>
                      <a:pt x="19" y="225"/>
                    </a:lnTo>
                    <a:lnTo>
                      <a:pt x="19" y="224"/>
                    </a:lnTo>
                    <a:lnTo>
                      <a:pt x="18" y="224"/>
                    </a:lnTo>
                    <a:lnTo>
                      <a:pt x="18" y="223"/>
                    </a:lnTo>
                    <a:lnTo>
                      <a:pt x="18" y="222"/>
                    </a:lnTo>
                    <a:lnTo>
                      <a:pt x="17" y="222"/>
                    </a:lnTo>
                    <a:lnTo>
                      <a:pt x="17" y="220"/>
                    </a:lnTo>
                    <a:lnTo>
                      <a:pt x="17" y="219"/>
                    </a:lnTo>
                    <a:lnTo>
                      <a:pt x="17" y="218"/>
                    </a:lnTo>
                    <a:lnTo>
                      <a:pt x="18" y="217"/>
                    </a:lnTo>
                    <a:lnTo>
                      <a:pt x="20" y="216"/>
                    </a:lnTo>
                    <a:lnTo>
                      <a:pt x="20" y="215"/>
                    </a:lnTo>
                    <a:lnTo>
                      <a:pt x="20" y="214"/>
                    </a:lnTo>
                    <a:lnTo>
                      <a:pt x="19" y="214"/>
                    </a:lnTo>
                    <a:lnTo>
                      <a:pt x="19" y="215"/>
                    </a:lnTo>
                    <a:lnTo>
                      <a:pt x="18" y="215"/>
                    </a:lnTo>
                    <a:lnTo>
                      <a:pt x="17" y="216"/>
                    </a:lnTo>
                    <a:lnTo>
                      <a:pt x="16" y="216"/>
                    </a:lnTo>
                    <a:lnTo>
                      <a:pt x="15" y="216"/>
                    </a:lnTo>
                    <a:lnTo>
                      <a:pt x="15" y="217"/>
                    </a:lnTo>
                    <a:lnTo>
                      <a:pt x="14" y="217"/>
                    </a:lnTo>
                    <a:lnTo>
                      <a:pt x="14" y="218"/>
                    </a:lnTo>
                    <a:lnTo>
                      <a:pt x="14" y="219"/>
                    </a:lnTo>
                    <a:lnTo>
                      <a:pt x="13" y="219"/>
                    </a:lnTo>
                    <a:lnTo>
                      <a:pt x="12" y="219"/>
                    </a:lnTo>
                    <a:lnTo>
                      <a:pt x="12" y="218"/>
                    </a:lnTo>
                    <a:lnTo>
                      <a:pt x="13" y="218"/>
                    </a:lnTo>
                    <a:lnTo>
                      <a:pt x="15" y="215"/>
                    </a:lnTo>
                    <a:lnTo>
                      <a:pt x="16" y="214"/>
                    </a:lnTo>
                    <a:lnTo>
                      <a:pt x="17" y="213"/>
                    </a:lnTo>
                    <a:lnTo>
                      <a:pt x="18" y="212"/>
                    </a:lnTo>
                    <a:lnTo>
                      <a:pt x="19" y="212"/>
                    </a:lnTo>
                    <a:lnTo>
                      <a:pt x="20" y="212"/>
                    </a:lnTo>
                    <a:lnTo>
                      <a:pt x="21" y="212"/>
                    </a:lnTo>
                    <a:lnTo>
                      <a:pt x="23" y="213"/>
                    </a:lnTo>
                    <a:lnTo>
                      <a:pt x="23" y="212"/>
                    </a:lnTo>
                    <a:lnTo>
                      <a:pt x="24" y="211"/>
                    </a:lnTo>
                    <a:lnTo>
                      <a:pt x="23" y="211"/>
                    </a:lnTo>
                    <a:lnTo>
                      <a:pt x="21" y="211"/>
                    </a:lnTo>
                    <a:lnTo>
                      <a:pt x="20" y="211"/>
                    </a:lnTo>
                    <a:lnTo>
                      <a:pt x="18" y="211"/>
                    </a:lnTo>
                    <a:lnTo>
                      <a:pt x="17" y="211"/>
                    </a:lnTo>
                    <a:lnTo>
                      <a:pt x="17" y="210"/>
                    </a:lnTo>
                    <a:lnTo>
                      <a:pt x="16" y="210"/>
                    </a:lnTo>
                    <a:lnTo>
                      <a:pt x="14" y="209"/>
                    </a:lnTo>
                    <a:lnTo>
                      <a:pt x="13" y="209"/>
                    </a:lnTo>
                    <a:lnTo>
                      <a:pt x="15" y="207"/>
                    </a:lnTo>
                    <a:lnTo>
                      <a:pt x="15" y="206"/>
                    </a:lnTo>
                    <a:lnTo>
                      <a:pt x="16" y="205"/>
                    </a:lnTo>
                    <a:lnTo>
                      <a:pt x="16" y="204"/>
                    </a:lnTo>
                    <a:lnTo>
                      <a:pt x="15" y="203"/>
                    </a:lnTo>
                    <a:lnTo>
                      <a:pt x="15" y="202"/>
                    </a:lnTo>
                    <a:lnTo>
                      <a:pt x="14" y="202"/>
                    </a:lnTo>
                    <a:lnTo>
                      <a:pt x="12" y="202"/>
                    </a:lnTo>
                    <a:lnTo>
                      <a:pt x="11" y="202"/>
                    </a:lnTo>
                    <a:lnTo>
                      <a:pt x="10" y="202"/>
                    </a:lnTo>
                    <a:lnTo>
                      <a:pt x="10" y="201"/>
                    </a:lnTo>
                    <a:lnTo>
                      <a:pt x="11" y="200"/>
                    </a:lnTo>
                    <a:lnTo>
                      <a:pt x="12" y="200"/>
                    </a:lnTo>
                    <a:lnTo>
                      <a:pt x="14" y="200"/>
                    </a:lnTo>
                    <a:lnTo>
                      <a:pt x="18" y="200"/>
                    </a:lnTo>
                    <a:lnTo>
                      <a:pt x="19" y="200"/>
                    </a:lnTo>
                    <a:lnTo>
                      <a:pt x="20" y="199"/>
                    </a:lnTo>
                    <a:lnTo>
                      <a:pt x="20" y="197"/>
                    </a:lnTo>
                    <a:lnTo>
                      <a:pt x="20" y="196"/>
                    </a:lnTo>
                    <a:lnTo>
                      <a:pt x="20" y="194"/>
                    </a:lnTo>
                    <a:lnTo>
                      <a:pt x="20" y="193"/>
                    </a:lnTo>
                    <a:lnTo>
                      <a:pt x="19" y="192"/>
                    </a:lnTo>
                    <a:lnTo>
                      <a:pt x="18" y="192"/>
                    </a:lnTo>
                    <a:lnTo>
                      <a:pt x="17" y="191"/>
                    </a:lnTo>
                    <a:lnTo>
                      <a:pt x="16" y="191"/>
                    </a:lnTo>
                    <a:lnTo>
                      <a:pt x="16" y="190"/>
                    </a:lnTo>
                    <a:lnTo>
                      <a:pt x="15" y="189"/>
                    </a:lnTo>
                    <a:lnTo>
                      <a:pt x="14" y="186"/>
                    </a:lnTo>
                    <a:lnTo>
                      <a:pt x="14" y="183"/>
                    </a:lnTo>
                    <a:lnTo>
                      <a:pt x="14" y="180"/>
                    </a:lnTo>
                    <a:lnTo>
                      <a:pt x="14" y="179"/>
                    </a:lnTo>
                    <a:lnTo>
                      <a:pt x="15" y="177"/>
                    </a:lnTo>
                    <a:lnTo>
                      <a:pt x="16" y="176"/>
                    </a:lnTo>
                    <a:lnTo>
                      <a:pt x="17" y="174"/>
                    </a:lnTo>
                    <a:lnTo>
                      <a:pt x="19" y="168"/>
                    </a:lnTo>
                    <a:lnTo>
                      <a:pt x="19" y="167"/>
                    </a:lnTo>
                    <a:lnTo>
                      <a:pt x="19" y="165"/>
                    </a:lnTo>
                    <a:lnTo>
                      <a:pt x="19" y="162"/>
                    </a:lnTo>
                    <a:lnTo>
                      <a:pt x="19" y="161"/>
                    </a:lnTo>
                    <a:lnTo>
                      <a:pt x="20" y="159"/>
                    </a:lnTo>
                    <a:lnTo>
                      <a:pt x="20" y="156"/>
                    </a:lnTo>
                    <a:lnTo>
                      <a:pt x="19" y="154"/>
                    </a:lnTo>
                    <a:lnTo>
                      <a:pt x="19" y="152"/>
                    </a:lnTo>
                    <a:lnTo>
                      <a:pt x="16" y="149"/>
                    </a:lnTo>
                    <a:lnTo>
                      <a:pt x="15" y="147"/>
                    </a:lnTo>
                    <a:lnTo>
                      <a:pt x="15" y="145"/>
                    </a:lnTo>
                    <a:lnTo>
                      <a:pt x="12" y="138"/>
                    </a:lnTo>
                    <a:lnTo>
                      <a:pt x="12" y="137"/>
                    </a:lnTo>
                    <a:lnTo>
                      <a:pt x="13" y="137"/>
                    </a:lnTo>
                    <a:lnTo>
                      <a:pt x="14" y="136"/>
                    </a:lnTo>
                    <a:lnTo>
                      <a:pt x="15" y="135"/>
                    </a:lnTo>
                    <a:lnTo>
                      <a:pt x="15" y="134"/>
                    </a:lnTo>
                    <a:lnTo>
                      <a:pt x="15" y="133"/>
                    </a:lnTo>
                    <a:lnTo>
                      <a:pt x="14" y="133"/>
                    </a:lnTo>
                    <a:lnTo>
                      <a:pt x="12" y="132"/>
                    </a:lnTo>
                    <a:lnTo>
                      <a:pt x="12" y="129"/>
                    </a:lnTo>
                    <a:lnTo>
                      <a:pt x="11" y="129"/>
                    </a:lnTo>
                    <a:lnTo>
                      <a:pt x="12" y="128"/>
                    </a:lnTo>
                    <a:lnTo>
                      <a:pt x="13" y="127"/>
                    </a:lnTo>
                    <a:lnTo>
                      <a:pt x="14" y="126"/>
                    </a:lnTo>
                    <a:lnTo>
                      <a:pt x="16" y="126"/>
                    </a:lnTo>
                    <a:lnTo>
                      <a:pt x="17" y="126"/>
                    </a:lnTo>
                    <a:lnTo>
                      <a:pt x="18" y="125"/>
                    </a:lnTo>
                    <a:lnTo>
                      <a:pt x="18" y="124"/>
                    </a:lnTo>
                    <a:lnTo>
                      <a:pt x="18" y="122"/>
                    </a:lnTo>
                    <a:lnTo>
                      <a:pt x="17" y="120"/>
                    </a:lnTo>
                    <a:lnTo>
                      <a:pt x="14" y="117"/>
                    </a:lnTo>
                    <a:lnTo>
                      <a:pt x="12" y="116"/>
                    </a:lnTo>
                    <a:lnTo>
                      <a:pt x="11" y="114"/>
                    </a:lnTo>
                    <a:lnTo>
                      <a:pt x="8" y="111"/>
                    </a:lnTo>
                    <a:lnTo>
                      <a:pt x="4" y="106"/>
                    </a:lnTo>
                    <a:lnTo>
                      <a:pt x="4" y="104"/>
                    </a:lnTo>
                    <a:lnTo>
                      <a:pt x="4" y="103"/>
                    </a:lnTo>
                    <a:lnTo>
                      <a:pt x="1" y="98"/>
                    </a:lnTo>
                    <a:lnTo>
                      <a:pt x="1" y="97"/>
                    </a:lnTo>
                    <a:lnTo>
                      <a:pt x="1" y="96"/>
                    </a:lnTo>
                    <a:lnTo>
                      <a:pt x="1" y="94"/>
                    </a:lnTo>
                    <a:lnTo>
                      <a:pt x="1" y="93"/>
                    </a:lnTo>
                    <a:lnTo>
                      <a:pt x="1" y="91"/>
                    </a:lnTo>
                    <a:lnTo>
                      <a:pt x="2" y="90"/>
                    </a:lnTo>
                    <a:lnTo>
                      <a:pt x="3" y="88"/>
                    </a:lnTo>
                    <a:lnTo>
                      <a:pt x="3" y="87"/>
                    </a:lnTo>
                    <a:lnTo>
                      <a:pt x="5" y="85"/>
                    </a:lnTo>
                    <a:lnTo>
                      <a:pt x="5" y="84"/>
                    </a:lnTo>
                    <a:lnTo>
                      <a:pt x="4" y="83"/>
                    </a:lnTo>
                    <a:lnTo>
                      <a:pt x="4" y="82"/>
                    </a:lnTo>
                    <a:lnTo>
                      <a:pt x="3" y="81"/>
                    </a:lnTo>
                    <a:lnTo>
                      <a:pt x="3" y="79"/>
                    </a:lnTo>
                    <a:lnTo>
                      <a:pt x="2" y="79"/>
                    </a:lnTo>
                    <a:lnTo>
                      <a:pt x="3" y="78"/>
                    </a:lnTo>
                    <a:lnTo>
                      <a:pt x="4" y="77"/>
                    </a:lnTo>
                    <a:lnTo>
                      <a:pt x="5" y="77"/>
                    </a:lnTo>
                    <a:lnTo>
                      <a:pt x="5" y="76"/>
                    </a:lnTo>
                    <a:lnTo>
                      <a:pt x="4" y="76"/>
                    </a:lnTo>
                    <a:lnTo>
                      <a:pt x="3" y="76"/>
                    </a:lnTo>
                    <a:lnTo>
                      <a:pt x="2" y="76"/>
                    </a:lnTo>
                    <a:lnTo>
                      <a:pt x="2" y="75"/>
                    </a:lnTo>
                    <a:lnTo>
                      <a:pt x="3" y="75"/>
                    </a:lnTo>
                    <a:lnTo>
                      <a:pt x="4" y="74"/>
                    </a:lnTo>
                    <a:lnTo>
                      <a:pt x="4" y="73"/>
                    </a:lnTo>
                    <a:lnTo>
                      <a:pt x="5" y="73"/>
                    </a:lnTo>
                    <a:lnTo>
                      <a:pt x="4" y="72"/>
                    </a:lnTo>
                    <a:lnTo>
                      <a:pt x="3" y="71"/>
                    </a:lnTo>
                    <a:lnTo>
                      <a:pt x="3" y="70"/>
                    </a:lnTo>
                    <a:lnTo>
                      <a:pt x="3" y="69"/>
                    </a:lnTo>
                    <a:lnTo>
                      <a:pt x="4" y="69"/>
                    </a:lnTo>
                    <a:lnTo>
                      <a:pt x="6" y="70"/>
                    </a:lnTo>
                    <a:lnTo>
                      <a:pt x="7" y="69"/>
                    </a:lnTo>
                    <a:lnTo>
                      <a:pt x="7" y="68"/>
                    </a:lnTo>
                    <a:lnTo>
                      <a:pt x="6" y="66"/>
                    </a:lnTo>
                    <a:lnTo>
                      <a:pt x="5" y="66"/>
                    </a:lnTo>
                    <a:lnTo>
                      <a:pt x="4" y="65"/>
                    </a:lnTo>
                    <a:lnTo>
                      <a:pt x="4" y="64"/>
                    </a:lnTo>
                    <a:lnTo>
                      <a:pt x="4" y="63"/>
                    </a:lnTo>
                    <a:lnTo>
                      <a:pt x="5" y="63"/>
                    </a:lnTo>
                    <a:lnTo>
                      <a:pt x="6" y="63"/>
                    </a:lnTo>
                    <a:lnTo>
                      <a:pt x="7" y="63"/>
                    </a:lnTo>
                    <a:lnTo>
                      <a:pt x="7" y="62"/>
                    </a:lnTo>
                    <a:lnTo>
                      <a:pt x="8" y="61"/>
                    </a:lnTo>
                    <a:lnTo>
                      <a:pt x="7" y="60"/>
                    </a:lnTo>
                    <a:lnTo>
                      <a:pt x="6" y="58"/>
                    </a:lnTo>
                    <a:lnTo>
                      <a:pt x="5" y="55"/>
                    </a:lnTo>
                    <a:lnTo>
                      <a:pt x="5" y="52"/>
                    </a:lnTo>
                    <a:lnTo>
                      <a:pt x="4" y="50"/>
                    </a:lnTo>
                    <a:lnTo>
                      <a:pt x="4" y="49"/>
                    </a:lnTo>
                    <a:lnTo>
                      <a:pt x="5" y="47"/>
                    </a:lnTo>
                    <a:lnTo>
                      <a:pt x="5" y="46"/>
                    </a:lnTo>
                    <a:lnTo>
                      <a:pt x="3" y="45"/>
                    </a:lnTo>
                    <a:lnTo>
                      <a:pt x="3" y="44"/>
                    </a:lnTo>
                    <a:lnTo>
                      <a:pt x="3" y="43"/>
                    </a:lnTo>
                    <a:lnTo>
                      <a:pt x="4" y="39"/>
                    </a:lnTo>
                    <a:lnTo>
                      <a:pt x="4" y="38"/>
                    </a:lnTo>
                    <a:lnTo>
                      <a:pt x="3" y="38"/>
                    </a:lnTo>
                    <a:lnTo>
                      <a:pt x="2" y="38"/>
                    </a:lnTo>
                    <a:lnTo>
                      <a:pt x="1" y="38"/>
                    </a:lnTo>
                    <a:lnTo>
                      <a:pt x="1" y="37"/>
                    </a:lnTo>
                    <a:lnTo>
                      <a:pt x="1" y="36"/>
                    </a:lnTo>
                    <a:lnTo>
                      <a:pt x="1" y="35"/>
                    </a:lnTo>
                    <a:lnTo>
                      <a:pt x="1" y="34"/>
                    </a:lnTo>
                    <a:lnTo>
                      <a:pt x="0" y="33"/>
                    </a:lnTo>
                    <a:lnTo>
                      <a:pt x="0" y="32"/>
                    </a:lnTo>
                    <a:lnTo>
                      <a:pt x="1" y="32"/>
                    </a:lnTo>
                    <a:lnTo>
                      <a:pt x="1" y="30"/>
                    </a:lnTo>
                    <a:lnTo>
                      <a:pt x="2" y="30"/>
                    </a:lnTo>
                    <a:lnTo>
                      <a:pt x="3" y="30"/>
                    </a:lnTo>
                    <a:lnTo>
                      <a:pt x="4" y="30"/>
                    </a:lnTo>
                    <a:lnTo>
                      <a:pt x="5" y="30"/>
                    </a:lnTo>
                    <a:lnTo>
                      <a:pt x="6" y="29"/>
                    </a:lnTo>
                    <a:lnTo>
                      <a:pt x="6" y="27"/>
                    </a:lnTo>
                    <a:lnTo>
                      <a:pt x="6" y="26"/>
                    </a:lnTo>
                    <a:lnTo>
                      <a:pt x="3" y="21"/>
                    </a:lnTo>
                    <a:lnTo>
                      <a:pt x="2" y="21"/>
                    </a:lnTo>
                    <a:lnTo>
                      <a:pt x="2" y="20"/>
                    </a:lnTo>
                    <a:lnTo>
                      <a:pt x="3" y="19"/>
                    </a:lnTo>
                    <a:lnTo>
                      <a:pt x="4" y="18"/>
                    </a:lnTo>
                    <a:lnTo>
                      <a:pt x="5" y="18"/>
                    </a:lnTo>
                    <a:lnTo>
                      <a:pt x="7" y="17"/>
                    </a:lnTo>
                    <a:lnTo>
                      <a:pt x="8" y="17"/>
                    </a:lnTo>
                    <a:lnTo>
                      <a:pt x="8" y="16"/>
                    </a:lnTo>
                    <a:lnTo>
                      <a:pt x="10" y="13"/>
                    </a:lnTo>
                    <a:lnTo>
                      <a:pt x="8" y="11"/>
                    </a:lnTo>
                    <a:lnTo>
                      <a:pt x="8" y="10"/>
                    </a:lnTo>
                    <a:lnTo>
                      <a:pt x="8" y="9"/>
                    </a:lnTo>
                    <a:lnTo>
                      <a:pt x="8" y="8"/>
                    </a:lnTo>
                    <a:lnTo>
                      <a:pt x="10" y="8"/>
                    </a:lnTo>
                    <a:lnTo>
                      <a:pt x="11" y="7"/>
                    </a:lnTo>
                    <a:lnTo>
                      <a:pt x="12" y="6"/>
                    </a:lnTo>
                    <a:lnTo>
                      <a:pt x="12" y="5"/>
                    </a:lnTo>
                    <a:lnTo>
                      <a:pt x="11" y="1"/>
                    </a:lnTo>
                    <a:lnTo>
                      <a:pt x="11" y="0"/>
                    </a:lnTo>
                    <a:lnTo>
                      <a:pt x="14" y="0"/>
                    </a:lnTo>
                    <a:lnTo>
                      <a:pt x="27" y="1"/>
                    </a:lnTo>
                    <a:lnTo>
                      <a:pt x="52" y="1"/>
                    </a:lnTo>
                    <a:lnTo>
                      <a:pt x="53" y="1"/>
                    </a:lnTo>
                    <a:lnTo>
                      <a:pt x="56" y="1"/>
                    </a:lnTo>
                    <a:lnTo>
                      <a:pt x="75" y="1"/>
                    </a:lnTo>
                    <a:lnTo>
                      <a:pt x="79" y="1"/>
                    </a:lnTo>
                    <a:lnTo>
                      <a:pt x="82" y="1"/>
                    </a:lnTo>
                    <a:lnTo>
                      <a:pt x="94" y="1"/>
                    </a:lnTo>
                    <a:lnTo>
                      <a:pt x="95" y="1"/>
                    </a:lnTo>
                    <a:lnTo>
                      <a:pt x="97" y="1"/>
                    </a:lnTo>
                    <a:lnTo>
                      <a:pt x="99" y="1"/>
                    </a:lnTo>
                    <a:lnTo>
                      <a:pt x="102" y="1"/>
                    </a:lnTo>
                    <a:lnTo>
                      <a:pt x="108" y="1"/>
                    </a:lnTo>
                    <a:lnTo>
                      <a:pt x="114" y="1"/>
                    </a:lnTo>
                    <a:lnTo>
                      <a:pt x="115" y="1"/>
                    </a:lnTo>
                    <a:lnTo>
                      <a:pt x="129" y="1"/>
                    </a:lnTo>
                    <a:lnTo>
                      <a:pt x="132" y="1"/>
                    </a:lnTo>
                    <a:lnTo>
                      <a:pt x="141" y="1"/>
                    </a:lnTo>
                    <a:lnTo>
                      <a:pt x="152" y="1"/>
                    </a:lnTo>
                    <a:lnTo>
                      <a:pt x="173" y="1"/>
                    </a:lnTo>
                    <a:lnTo>
                      <a:pt x="202" y="1"/>
                    </a:lnTo>
                    <a:lnTo>
                      <a:pt x="205" y="1"/>
                    </a:lnTo>
                    <a:lnTo>
                      <a:pt x="214" y="1"/>
                    </a:lnTo>
                    <a:lnTo>
                      <a:pt x="218" y="1"/>
                    </a:lnTo>
                    <a:lnTo>
                      <a:pt x="223" y="1"/>
                    </a:lnTo>
                    <a:lnTo>
                      <a:pt x="237" y="1"/>
                    </a:lnTo>
                    <a:lnTo>
                      <a:pt x="243" y="1"/>
                    </a:lnTo>
                    <a:lnTo>
                      <a:pt x="248" y="1"/>
                    </a:lnTo>
                    <a:lnTo>
                      <a:pt x="261" y="1"/>
                    </a:lnTo>
                    <a:lnTo>
                      <a:pt x="281" y="1"/>
                    </a:lnTo>
                    <a:lnTo>
                      <a:pt x="282" y="3"/>
                    </a:lnTo>
                    <a:lnTo>
                      <a:pt x="284" y="1"/>
                    </a:lnTo>
                    <a:lnTo>
                      <a:pt x="287" y="1"/>
                    </a:lnTo>
                    <a:lnTo>
                      <a:pt x="291" y="3"/>
                    </a:lnTo>
                    <a:lnTo>
                      <a:pt x="296" y="1"/>
                    </a:lnTo>
                    <a:lnTo>
                      <a:pt x="303" y="3"/>
                    </a:lnTo>
                    <a:lnTo>
                      <a:pt x="305" y="3"/>
                    </a:lnTo>
                    <a:lnTo>
                      <a:pt x="308" y="1"/>
                    </a:lnTo>
                    <a:lnTo>
                      <a:pt x="310" y="3"/>
                    </a:lnTo>
                    <a:lnTo>
                      <a:pt x="314" y="1"/>
                    </a:lnTo>
                    <a:lnTo>
                      <a:pt x="320" y="1"/>
                    </a:lnTo>
                    <a:lnTo>
                      <a:pt x="322" y="1"/>
                    </a:lnTo>
                    <a:lnTo>
                      <a:pt x="359" y="1"/>
                    </a:lnTo>
                    <a:lnTo>
                      <a:pt x="365" y="3"/>
                    </a:lnTo>
                    <a:lnTo>
                      <a:pt x="376" y="3"/>
                    </a:lnTo>
                    <a:lnTo>
                      <a:pt x="381" y="3"/>
                    </a:lnTo>
                    <a:lnTo>
                      <a:pt x="382" y="3"/>
                    </a:lnTo>
                    <a:close/>
                  </a:path>
                </a:pathLst>
              </a:custGeom>
              <a:solidFill>
                <a:srgbClr val="3391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 name="Freeform 58">
                <a:extLst>
                  <a:ext uri="{FF2B5EF4-FFF2-40B4-BE49-F238E27FC236}">
                    <a16:creationId xmlns:a16="http://schemas.microsoft.com/office/drawing/2014/main" id="{F419DCC8-D162-0FBF-D934-7EAB018E38D3}"/>
                  </a:ext>
                </a:extLst>
              </p:cNvPr>
              <p:cNvSpPr>
                <a:spLocks/>
              </p:cNvSpPr>
              <p:nvPr/>
            </p:nvSpPr>
            <p:spPr bwMode="auto">
              <a:xfrm>
                <a:off x="3482976" y="1144588"/>
                <a:ext cx="366713" cy="490538"/>
              </a:xfrm>
              <a:custGeom>
                <a:avLst/>
                <a:gdLst>
                  <a:gd name="T0" fmla="*/ 227 w 231"/>
                  <a:gd name="T1" fmla="*/ 10 h 309"/>
                  <a:gd name="T2" fmla="*/ 225 w 231"/>
                  <a:gd name="T3" fmla="*/ 23 h 309"/>
                  <a:gd name="T4" fmla="*/ 222 w 231"/>
                  <a:gd name="T5" fmla="*/ 28 h 309"/>
                  <a:gd name="T6" fmla="*/ 218 w 231"/>
                  <a:gd name="T7" fmla="*/ 40 h 309"/>
                  <a:gd name="T8" fmla="*/ 209 w 231"/>
                  <a:gd name="T9" fmla="*/ 42 h 309"/>
                  <a:gd name="T10" fmla="*/ 202 w 231"/>
                  <a:gd name="T11" fmla="*/ 52 h 309"/>
                  <a:gd name="T12" fmla="*/ 204 w 231"/>
                  <a:gd name="T13" fmla="*/ 59 h 309"/>
                  <a:gd name="T14" fmla="*/ 199 w 231"/>
                  <a:gd name="T15" fmla="*/ 72 h 309"/>
                  <a:gd name="T16" fmla="*/ 199 w 231"/>
                  <a:gd name="T17" fmla="*/ 86 h 309"/>
                  <a:gd name="T18" fmla="*/ 199 w 231"/>
                  <a:gd name="T19" fmla="*/ 95 h 309"/>
                  <a:gd name="T20" fmla="*/ 193 w 231"/>
                  <a:gd name="T21" fmla="*/ 100 h 309"/>
                  <a:gd name="T22" fmla="*/ 188 w 231"/>
                  <a:gd name="T23" fmla="*/ 101 h 309"/>
                  <a:gd name="T24" fmla="*/ 182 w 231"/>
                  <a:gd name="T25" fmla="*/ 108 h 309"/>
                  <a:gd name="T26" fmla="*/ 180 w 231"/>
                  <a:gd name="T27" fmla="*/ 121 h 309"/>
                  <a:gd name="T28" fmla="*/ 181 w 231"/>
                  <a:gd name="T29" fmla="*/ 133 h 309"/>
                  <a:gd name="T30" fmla="*/ 181 w 231"/>
                  <a:gd name="T31" fmla="*/ 144 h 309"/>
                  <a:gd name="T32" fmla="*/ 181 w 231"/>
                  <a:gd name="T33" fmla="*/ 164 h 309"/>
                  <a:gd name="T34" fmla="*/ 181 w 231"/>
                  <a:gd name="T35" fmla="*/ 176 h 309"/>
                  <a:gd name="T36" fmla="*/ 176 w 231"/>
                  <a:gd name="T37" fmla="*/ 190 h 309"/>
                  <a:gd name="T38" fmla="*/ 163 w 231"/>
                  <a:gd name="T39" fmla="*/ 208 h 309"/>
                  <a:gd name="T40" fmla="*/ 159 w 231"/>
                  <a:gd name="T41" fmla="*/ 217 h 309"/>
                  <a:gd name="T42" fmla="*/ 160 w 231"/>
                  <a:gd name="T43" fmla="*/ 227 h 309"/>
                  <a:gd name="T44" fmla="*/ 157 w 231"/>
                  <a:gd name="T45" fmla="*/ 229 h 309"/>
                  <a:gd name="T46" fmla="*/ 146 w 231"/>
                  <a:gd name="T47" fmla="*/ 228 h 309"/>
                  <a:gd name="T48" fmla="*/ 144 w 231"/>
                  <a:gd name="T49" fmla="*/ 238 h 309"/>
                  <a:gd name="T50" fmla="*/ 147 w 231"/>
                  <a:gd name="T51" fmla="*/ 250 h 309"/>
                  <a:gd name="T52" fmla="*/ 147 w 231"/>
                  <a:gd name="T53" fmla="*/ 257 h 309"/>
                  <a:gd name="T54" fmla="*/ 149 w 231"/>
                  <a:gd name="T55" fmla="*/ 265 h 309"/>
                  <a:gd name="T56" fmla="*/ 144 w 231"/>
                  <a:gd name="T57" fmla="*/ 274 h 309"/>
                  <a:gd name="T58" fmla="*/ 147 w 231"/>
                  <a:gd name="T59" fmla="*/ 285 h 309"/>
                  <a:gd name="T60" fmla="*/ 141 w 231"/>
                  <a:gd name="T61" fmla="*/ 292 h 309"/>
                  <a:gd name="T62" fmla="*/ 129 w 231"/>
                  <a:gd name="T63" fmla="*/ 297 h 309"/>
                  <a:gd name="T64" fmla="*/ 118 w 231"/>
                  <a:gd name="T65" fmla="*/ 306 h 309"/>
                  <a:gd name="T66" fmla="*/ 56 w 231"/>
                  <a:gd name="T67" fmla="*/ 309 h 309"/>
                  <a:gd name="T68" fmla="*/ 26 w 231"/>
                  <a:gd name="T69" fmla="*/ 300 h 309"/>
                  <a:gd name="T70" fmla="*/ 0 w 231"/>
                  <a:gd name="T71" fmla="*/ 246 h 309"/>
                  <a:gd name="T72" fmla="*/ 9 w 231"/>
                  <a:gd name="T73" fmla="*/ 234 h 309"/>
                  <a:gd name="T74" fmla="*/ 5 w 231"/>
                  <a:gd name="T75" fmla="*/ 225 h 309"/>
                  <a:gd name="T76" fmla="*/ 2 w 231"/>
                  <a:gd name="T77" fmla="*/ 215 h 309"/>
                  <a:gd name="T78" fmla="*/ 13 w 231"/>
                  <a:gd name="T79" fmla="*/ 207 h 309"/>
                  <a:gd name="T80" fmla="*/ 16 w 231"/>
                  <a:gd name="T81" fmla="*/ 195 h 309"/>
                  <a:gd name="T82" fmla="*/ 26 w 231"/>
                  <a:gd name="T83" fmla="*/ 185 h 309"/>
                  <a:gd name="T84" fmla="*/ 24 w 231"/>
                  <a:gd name="T85" fmla="*/ 168 h 309"/>
                  <a:gd name="T86" fmla="*/ 24 w 231"/>
                  <a:gd name="T87" fmla="*/ 157 h 309"/>
                  <a:gd name="T88" fmla="*/ 30 w 231"/>
                  <a:gd name="T89" fmla="*/ 149 h 309"/>
                  <a:gd name="T90" fmla="*/ 31 w 231"/>
                  <a:gd name="T91" fmla="*/ 139 h 309"/>
                  <a:gd name="T92" fmla="*/ 40 w 231"/>
                  <a:gd name="T93" fmla="*/ 130 h 309"/>
                  <a:gd name="T94" fmla="*/ 41 w 231"/>
                  <a:gd name="T95" fmla="*/ 118 h 309"/>
                  <a:gd name="T96" fmla="*/ 49 w 231"/>
                  <a:gd name="T97" fmla="*/ 106 h 309"/>
                  <a:gd name="T98" fmla="*/ 60 w 231"/>
                  <a:gd name="T99" fmla="*/ 94 h 309"/>
                  <a:gd name="T100" fmla="*/ 78 w 231"/>
                  <a:gd name="T101" fmla="*/ 92 h 309"/>
                  <a:gd name="T102" fmla="*/ 86 w 231"/>
                  <a:gd name="T103" fmla="*/ 78 h 309"/>
                  <a:gd name="T104" fmla="*/ 95 w 231"/>
                  <a:gd name="T105" fmla="*/ 60 h 309"/>
                  <a:gd name="T106" fmla="*/ 103 w 231"/>
                  <a:gd name="T107" fmla="*/ 43 h 309"/>
                  <a:gd name="T108" fmla="*/ 111 w 231"/>
                  <a:gd name="T109" fmla="*/ 29 h 309"/>
                  <a:gd name="T110" fmla="*/ 119 w 231"/>
                  <a:gd name="T111" fmla="*/ 15 h 309"/>
                  <a:gd name="T112" fmla="*/ 116 w 231"/>
                  <a:gd name="T113" fmla="*/ 13 h 309"/>
                  <a:gd name="T114" fmla="*/ 124 w 231"/>
                  <a:gd name="T115" fmla="*/ 4 h 309"/>
                  <a:gd name="T116" fmla="*/ 141 w 231"/>
                  <a:gd name="T117" fmla="*/ 0 h 309"/>
                  <a:gd name="T118" fmla="*/ 188 w 231"/>
                  <a:gd name="T119" fmla="*/ 0 h 309"/>
                  <a:gd name="T120" fmla="*/ 215 w 231"/>
                  <a:gd name="T12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1" h="309">
                    <a:moveTo>
                      <a:pt x="229" y="1"/>
                    </a:moveTo>
                    <a:lnTo>
                      <a:pt x="231" y="2"/>
                    </a:lnTo>
                    <a:lnTo>
                      <a:pt x="231" y="3"/>
                    </a:lnTo>
                    <a:lnTo>
                      <a:pt x="231" y="4"/>
                    </a:lnTo>
                    <a:lnTo>
                      <a:pt x="230" y="5"/>
                    </a:lnTo>
                    <a:lnTo>
                      <a:pt x="230" y="6"/>
                    </a:lnTo>
                    <a:lnTo>
                      <a:pt x="230" y="7"/>
                    </a:lnTo>
                    <a:lnTo>
                      <a:pt x="230" y="8"/>
                    </a:lnTo>
                    <a:lnTo>
                      <a:pt x="230" y="9"/>
                    </a:lnTo>
                    <a:lnTo>
                      <a:pt x="230" y="10"/>
                    </a:lnTo>
                    <a:lnTo>
                      <a:pt x="229" y="10"/>
                    </a:lnTo>
                    <a:lnTo>
                      <a:pt x="228" y="10"/>
                    </a:lnTo>
                    <a:lnTo>
                      <a:pt x="227" y="10"/>
                    </a:lnTo>
                    <a:lnTo>
                      <a:pt x="225" y="11"/>
                    </a:lnTo>
                    <a:lnTo>
                      <a:pt x="223" y="13"/>
                    </a:lnTo>
                    <a:lnTo>
                      <a:pt x="223" y="14"/>
                    </a:lnTo>
                    <a:lnTo>
                      <a:pt x="224" y="14"/>
                    </a:lnTo>
                    <a:lnTo>
                      <a:pt x="224" y="15"/>
                    </a:lnTo>
                    <a:lnTo>
                      <a:pt x="224" y="17"/>
                    </a:lnTo>
                    <a:lnTo>
                      <a:pt x="224" y="18"/>
                    </a:lnTo>
                    <a:lnTo>
                      <a:pt x="225" y="18"/>
                    </a:lnTo>
                    <a:lnTo>
                      <a:pt x="225" y="19"/>
                    </a:lnTo>
                    <a:lnTo>
                      <a:pt x="227" y="20"/>
                    </a:lnTo>
                    <a:lnTo>
                      <a:pt x="227" y="21"/>
                    </a:lnTo>
                    <a:lnTo>
                      <a:pt x="227" y="22"/>
                    </a:lnTo>
                    <a:lnTo>
                      <a:pt x="225" y="23"/>
                    </a:lnTo>
                    <a:lnTo>
                      <a:pt x="224" y="23"/>
                    </a:lnTo>
                    <a:lnTo>
                      <a:pt x="223" y="23"/>
                    </a:lnTo>
                    <a:lnTo>
                      <a:pt x="223" y="22"/>
                    </a:lnTo>
                    <a:lnTo>
                      <a:pt x="223" y="21"/>
                    </a:lnTo>
                    <a:lnTo>
                      <a:pt x="222" y="21"/>
                    </a:lnTo>
                    <a:lnTo>
                      <a:pt x="221" y="21"/>
                    </a:lnTo>
                    <a:lnTo>
                      <a:pt x="221" y="22"/>
                    </a:lnTo>
                    <a:lnTo>
                      <a:pt x="220" y="23"/>
                    </a:lnTo>
                    <a:lnTo>
                      <a:pt x="220" y="24"/>
                    </a:lnTo>
                    <a:lnTo>
                      <a:pt x="221" y="24"/>
                    </a:lnTo>
                    <a:lnTo>
                      <a:pt x="221" y="26"/>
                    </a:lnTo>
                    <a:lnTo>
                      <a:pt x="222" y="27"/>
                    </a:lnTo>
                    <a:lnTo>
                      <a:pt x="222" y="28"/>
                    </a:lnTo>
                    <a:lnTo>
                      <a:pt x="222" y="29"/>
                    </a:lnTo>
                    <a:lnTo>
                      <a:pt x="223" y="29"/>
                    </a:lnTo>
                    <a:lnTo>
                      <a:pt x="223" y="30"/>
                    </a:lnTo>
                    <a:lnTo>
                      <a:pt x="222" y="31"/>
                    </a:lnTo>
                    <a:lnTo>
                      <a:pt x="222" y="32"/>
                    </a:lnTo>
                    <a:lnTo>
                      <a:pt x="222" y="33"/>
                    </a:lnTo>
                    <a:lnTo>
                      <a:pt x="222" y="34"/>
                    </a:lnTo>
                    <a:lnTo>
                      <a:pt x="222" y="35"/>
                    </a:lnTo>
                    <a:lnTo>
                      <a:pt x="222" y="36"/>
                    </a:lnTo>
                    <a:lnTo>
                      <a:pt x="221" y="37"/>
                    </a:lnTo>
                    <a:lnTo>
                      <a:pt x="220" y="39"/>
                    </a:lnTo>
                    <a:lnTo>
                      <a:pt x="219" y="40"/>
                    </a:lnTo>
                    <a:lnTo>
                      <a:pt x="218" y="40"/>
                    </a:lnTo>
                    <a:lnTo>
                      <a:pt x="217" y="40"/>
                    </a:lnTo>
                    <a:lnTo>
                      <a:pt x="216" y="41"/>
                    </a:lnTo>
                    <a:lnTo>
                      <a:pt x="215" y="41"/>
                    </a:lnTo>
                    <a:lnTo>
                      <a:pt x="214" y="41"/>
                    </a:lnTo>
                    <a:lnTo>
                      <a:pt x="212" y="40"/>
                    </a:lnTo>
                    <a:lnTo>
                      <a:pt x="212" y="39"/>
                    </a:lnTo>
                    <a:lnTo>
                      <a:pt x="211" y="39"/>
                    </a:lnTo>
                    <a:lnTo>
                      <a:pt x="211" y="40"/>
                    </a:lnTo>
                    <a:lnTo>
                      <a:pt x="211" y="42"/>
                    </a:lnTo>
                    <a:lnTo>
                      <a:pt x="211" y="43"/>
                    </a:lnTo>
                    <a:lnTo>
                      <a:pt x="210" y="43"/>
                    </a:lnTo>
                    <a:lnTo>
                      <a:pt x="209" y="43"/>
                    </a:lnTo>
                    <a:lnTo>
                      <a:pt x="209" y="42"/>
                    </a:lnTo>
                    <a:lnTo>
                      <a:pt x="209" y="41"/>
                    </a:lnTo>
                    <a:lnTo>
                      <a:pt x="208" y="41"/>
                    </a:lnTo>
                    <a:lnTo>
                      <a:pt x="208" y="42"/>
                    </a:lnTo>
                    <a:lnTo>
                      <a:pt x="207" y="42"/>
                    </a:lnTo>
                    <a:lnTo>
                      <a:pt x="208" y="43"/>
                    </a:lnTo>
                    <a:lnTo>
                      <a:pt x="207" y="44"/>
                    </a:lnTo>
                    <a:lnTo>
                      <a:pt x="206" y="46"/>
                    </a:lnTo>
                    <a:lnTo>
                      <a:pt x="205" y="48"/>
                    </a:lnTo>
                    <a:lnTo>
                      <a:pt x="204" y="48"/>
                    </a:lnTo>
                    <a:lnTo>
                      <a:pt x="204" y="49"/>
                    </a:lnTo>
                    <a:lnTo>
                      <a:pt x="203" y="49"/>
                    </a:lnTo>
                    <a:lnTo>
                      <a:pt x="202" y="50"/>
                    </a:lnTo>
                    <a:lnTo>
                      <a:pt x="202" y="52"/>
                    </a:lnTo>
                    <a:lnTo>
                      <a:pt x="203" y="53"/>
                    </a:lnTo>
                    <a:lnTo>
                      <a:pt x="204" y="53"/>
                    </a:lnTo>
                    <a:lnTo>
                      <a:pt x="204" y="54"/>
                    </a:lnTo>
                    <a:lnTo>
                      <a:pt x="203" y="54"/>
                    </a:lnTo>
                    <a:lnTo>
                      <a:pt x="203" y="55"/>
                    </a:lnTo>
                    <a:lnTo>
                      <a:pt x="203" y="56"/>
                    </a:lnTo>
                    <a:lnTo>
                      <a:pt x="204" y="56"/>
                    </a:lnTo>
                    <a:lnTo>
                      <a:pt x="205" y="56"/>
                    </a:lnTo>
                    <a:lnTo>
                      <a:pt x="206" y="57"/>
                    </a:lnTo>
                    <a:lnTo>
                      <a:pt x="206" y="58"/>
                    </a:lnTo>
                    <a:lnTo>
                      <a:pt x="205" y="58"/>
                    </a:lnTo>
                    <a:lnTo>
                      <a:pt x="204" y="58"/>
                    </a:lnTo>
                    <a:lnTo>
                      <a:pt x="204" y="59"/>
                    </a:lnTo>
                    <a:lnTo>
                      <a:pt x="203" y="59"/>
                    </a:lnTo>
                    <a:lnTo>
                      <a:pt x="203" y="61"/>
                    </a:lnTo>
                    <a:lnTo>
                      <a:pt x="203" y="62"/>
                    </a:lnTo>
                    <a:lnTo>
                      <a:pt x="202" y="62"/>
                    </a:lnTo>
                    <a:lnTo>
                      <a:pt x="202" y="63"/>
                    </a:lnTo>
                    <a:lnTo>
                      <a:pt x="202" y="65"/>
                    </a:lnTo>
                    <a:lnTo>
                      <a:pt x="202" y="66"/>
                    </a:lnTo>
                    <a:lnTo>
                      <a:pt x="201" y="66"/>
                    </a:lnTo>
                    <a:lnTo>
                      <a:pt x="199" y="67"/>
                    </a:lnTo>
                    <a:lnTo>
                      <a:pt x="199" y="68"/>
                    </a:lnTo>
                    <a:lnTo>
                      <a:pt x="199" y="69"/>
                    </a:lnTo>
                    <a:lnTo>
                      <a:pt x="199" y="71"/>
                    </a:lnTo>
                    <a:lnTo>
                      <a:pt x="199" y="72"/>
                    </a:lnTo>
                    <a:lnTo>
                      <a:pt x="199" y="73"/>
                    </a:lnTo>
                    <a:lnTo>
                      <a:pt x="199" y="74"/>
                    </a:lnTo>
                    <a:lnTo>
                      <a:pt x="199" y="75"/>
                    </a:lnTo>
                    <a:lnTo>
                      <a:pt x="199" y="78"/>
                    </a:lnTo>
                    <a:lnTo>
                      <a:pt x="199" y="79"/>
                    </a:lnTo>
                    <a:lnTo>
                      <a:pt x="199" y="80"/>
                    </a:lnTo>
                    <a:lnTo>
                      <a:pt x="199" y="81"/>
                    </a:lnTo>
                    <a:lnTo>
                      <a:pt x="199" y="82"/>
                    </a:lnTo>
                    <a:lnTo>
                      <a:pt x="201" y="82"/>
                    </a:lnTo>
                    <a:lnTo>
                      <a:pt x="201" y="83"/>
                    </a:lnTo>
                    <a:lnTo>
                      <a:pt x="201" y="84"/>
                    </a:lnTo>
                    <a:lnTo>
                      <a:pt x="201" y="85"/>
                    </a:lnTo>
                    <a:lnTo>
                      <a:pt x="199" y="86"/>
                    </a:lnTo>
                    <a:lnTo>
                      <a:pt x="199" y="87"/>
                    </a:lnTo>
                    <a:lnTo>
                      <a:pt x="201" y="88"/>
                    </a:lnTo>
                    <a:lnTo>
                      <a:pt x="202" y="88"/>
                    </a:lnTo>
                    <a:lnTo>
                      <a:pt x="203" y="88"/>
                    </a:lnTo>
                    <a:lnTo>
                      <a:pt x="203" y="90"/>
                    </a:lnTo>
                    <a:lnTo>
                      <a:pt x="203" y="91"/>
                    </a:lnTo>
                    <a:lnTo>
                      <a:pt x="203" y="92"/>
                    </a:lnTo>
                    <a:lnTo>
                      <a:pt x="202" y="92"/>
                    </a:lnTo>
                    <a:lnTo>
                      <a:pt x="201" y="92"/>
                    </a:lnTo>
                    <a:lnTo>
                      <a:pt x="199" y="92"/>
                    </a:lnTo>
                    <a:lnTo>
                      <a:pt x="199" y="93"/>
                    </a:lnTo>
                    <a:lnTo>
                      <a:pt x="199" y="94"/>
                    </a:lnTo>
                    <a:lnTo>
                      <a:pt x="199" y="95"/>
                    </a:lnTo>
                    <a:lnTo>
                      <a:pt x="198" y="96"/>
                    </a:lnTo>
                    <a:lnTo>
                      <a:pt x="198" y="97"/>
                    </a:lnTo>
                    <a:lnTo>
                      <a:pt x="197" y="98"/>
                    </a:lnTo>
                    <a:lnTo>
                      <a:pt x="196" y="98"/>
                    </a:lnTo>
                    <a:lnTo>
                      <a:pt x="195" y="99"/>
                    </a:lnTo>
                    <a:lnTo>
                      <a:pt x="196" y="100"/>
                    </a:lnTo>
                    <a:lnTo>
                      <a:pt x="196" y="101"/>
                    </a:lnTo>
                    <a:lnTo>
                      <a:pt x="195" y="103"/>
                    </a:lnTo>
                    <a:lnTo>
                      <a:pt x="194" y="104"/>
                    </a:lnTo>
                    <a:lnTo>
                      <a:pt x="194" y="103"/>
                    </a:lnTo>
                    <a:lnTo>
                      <a:pt x="194" y="101"/>
                    </a:lnTo>
                    <a:lnTo>
                      <a:pt x="193" y="101"/>
                    </a:lnTo>
                    <a:lnTo>
                      <a:pt x="193" y="100"/>
                    </a:lnTo>
                    <a:lnTo>
                      <a:pt x="192" y="99"/>
                    </a:lnTo>
                    <a:lnTo>
                      <a:pt x="192" y="98"/>
                    </a:lnTo>
                    <a:lnTo>
                      <a:pt x="191" y="98"/>
                    </a:lnTo>
                    <a:lnTo>
                      <a:pt x="191" y="97"/>
                    </a:lnTo>
                    <a:lnTo>
                      <a:pt x="190" y="97"/>
                    </a:lnTo>
                    <a:lnTo>
                      <a:pt x="189" y="97"/>
                    </a:lnTo>
                    <a:lnTo>
                      <a:pt x="189" y="98"/>
                    </a:lnTo>
                    <a:lnTo>
                      <a:pt x="188" y="98"/>
                    </a:lnTo>
                    <a:lnTo>
                      <a:pt x="188" y="99"/>
                    </a:lnTo>
                    <a:lnTo>
                      <a:pt x="189" y="99"/>
                    </a:lnTo>
                    <a:lnTo>
                      <a:pt x="189" y="100"/>
                    </a:lnTo>
                    <a:lnTo>
                      <a:pt x="188" y="100"/>
                    </a:lnTo>
                    <a:lnTo>
                      <a:pt x="188" y="101"/>
                    </a:lnTo>
                    <a:lnTo>
                      <a:pt x="186" y="101"/>
                    </a:lnTo>
                    <a:lnTo>
                      <a:pt x="185" y="101"/>
                    </a:lnTo>
                    <a:lnTo>
                      <a:pt x="185" y="103"/>
                    </a:lnTo>
                    <a:lnTo>
                      <a:pt x="185" y="104"/>
                    </a:lnTo>
                    <a:lnTo>
                      <a:pt x="186" y="104"/>
                    </a:lnTo>
                    <a:lnTo>
                      <a:pt x="186" y="105"/>
                    </a:lnTo>
                    <a:lnTo>
                      <a:pt x="185" y="106"/>
                    </a:lnTo>
                    <a:lnTo>
                      <a:pt x="184" y="105"/>
                    </a:lnTo>
                    <a:lnTo>
                      <a:pt x="183" y="105"/>
                    </a:lnTo>
                    <a:lnTo>
                      <a:pt x="182" y="105"/>
                    </a:lnTo>
                    <a:lnTo>
                      <a:pt x="182" y="106"/>
                    </a:lnTo>
                    <a:lnTo>
                      <a:pt x="182" y="107"/>
                    </a:lnTo>
                    <a:lnTo>
                      <a:pt x="182" y="108"/>
                    </a:lnTo>
                    <a:lnTo>
                      <a:pt x="182" y="109"/>
                    </a:lnTo>
                    <a:lnTo>
                      <a:pt x="183" y="109"/>
                    </a:lnTo>
                    <a:lnTo>
                      <a:pt x="183" y="110"/>
                    </a:lnTo>
                    <a:lnTo>
                      <a:pt x="183" y="111"/>
                    </a:lnTo>
                    <a:lnTo>
                      <a:pt x="183" y="112"/>
                    </a:lnTo>
                    <a:lnTo>
                      <a:pt x="182" y="113"/>
                    </a:lnTo>
                    <a:lnTo>
                      <a:pt x="181" y="116"/>
                    </a:lnTo>
                    <a:lnTo>
                      <a:pt x="181" y="117"/>
                    </a:lnTo>
                    <a:lnTo>
                      <a:pt x="181" y="118"/>
                    </a:lnTo>
                    <a:lnTo>
                      <a:pt x="180" y="118"/>
                    </a:lnTo>
                    <a:lnTo>
                      <a:pt x="180" y="119"/>
                    </a:lnTo>
                    <a:lnTo>
                      <a:pt x="180" y="120"/>
                    </a:lnTo>
                    <a:lnTo>
                      <a:pt x="180" y="121"/>
                    </a:lnTo>
                    <a:lnTo>
                      <a:pt x="179" y="123"/>
                    </a:lnTo>
                    <a:lnTo>
                      <a:pt x="179" y="124"/>
                    </a:lnTo>
                    <a:lnTo>
                      <a:pt x="178" y="126"/>
                    </a:lnTo>
                    <a:lnTo>
                      <a:pt x="178" y="129"/>
                    </a:lnTo>
                    <a:lnTo>
                      <a:pt x="178" y="130"/>
                    </a:lnTo>
                    <a:lnTo>
                      <a:pt x="178" y="131"/>
                    </a:lnTo>
                    <a:lnTo>
                      <a:pt x="178" y="132"/>
                    </a:lnTo>
                    <a:lnTo>
                      <a:pt x="178" y="133"/>
                    </a:lnTo>
                    <a:lnTo>
                      <a:pt x="178" y="134"/>
                    </a:lnTo>
                    <a:lnTo>
                      <a:pt x="179" y="134"/>
                    </a:lnTo>
                    <a:lnTo>
                      <a:pt x="180" y="134"/>
                    </a:lnTo>
                    <a:lnTo>
                      <a:pt x="180" y="133"/>
                    </a:lnTo>
                    <a:lnTo>
                      <a:pt x="181" y="133"/>
                    </a:lnTo>
                    <a:lnTo>
                      <a:pt x="182" y="133"/>
                    </a:lnTo>
                    <a:lnTo>
                      <a:pt x="182" y="134"/>
                    </a:lnTo>
                    <a:lnTo>
                      <a:pt x="183" y="134"/>
                    </a:lnTo>
                    <a:lnTo>
                      <a:pt x="182" y="135"/>
                    </a:lnTo>
                    <a:lnTo>
                      <a:pt x="182" y="136"/>
                    </a:lnTo>
                    <a:lnTo>
                      <a:pt x="182" y="137"/>
                    </a:lnTo>
                    <a:lnTo>
                      <a:pt x="182" y="138"/>
                    </a:lnTo>
                    <a:lnTo>
                      <a:pt x="182" y="139"/>
                    </a:lnTo>
                    <a:lnTo>
                      <a:pt x="181" y="140"/>
                    </a:lnTo>
                    <a:lnTo>
                      <a:pt x="181" y="142"/>
                    </a:lnTo>
                    <a:lnTo>
                      <a:pt x="182" y="142"/>
                    </a:lnTo>
                    <a:lnTo>
                      <a:pt x="182" y="143"/>
                    </a:lnTo>
                    <a:lnTo>
                      <a:pt x="181" y="144"/>
                    </a:lnTo>
                    <a:lnTo>
                      <a:pt x="182" y="145"/>
                    </a:lnTo>
                    <a:lnTo>
                      <a:pt x="182" y="146"/>
                    </a:lnTo>
                    <a:lnTo>
                      <a:pt x="182" y="147"/>
                    </a:lnTo>
                    <a:lnTo>
                      <a:pt x="182" y="148"/>
                    </a:lnTo>
                    <a:lnTo>
                      <a:pt x="182" y="149"/>
                    </a:lnTo>
                    <a:lnTo>
                      <a:pt x="182" y="150"/>
                    </a:lnTo>
                    <a:lnTo>
                      <a:pt x="182" y="153"/>
                    </a:lnTo>
                    <a:lnTo>
                      <a:pt x="181" y="155"/>
                    </a:lnTo>
                    <a:lnTo>
                      <a:pt x="181" y="160"/>
                    </a:lnTo>
                    <a:lnTo>
                      <a:pt x="181" y="161"/>
                    </a:lnTo>
                    <a:lnTo>
                      <a:pt x="181" y="162"/>
                    </a:lnTo>
                    <a:lnTo>
                      <a:pt x="181" y="163"/>
                    </a:lnTo>
                    <a:lnTo>
                      <a:pt x="181" y="164"/>
                    </a:lnTo>
                    <a:lnTo>
                      <a:pt x="181" y="166"/>
                    </a:lnTo>
                    <a:lnTo>
                      <a:pt x="180" y="169"/>
                    </a:lnTo>
                    <a:lnTo>
                      <a:pt x="180" y="170"/>
                    </a:lnTo>
                    <a:lnTo>
                      <a:pt x="181" y="170"/>
                    </a:lnTo>
                    <a:lnTo>
                      <a:pt x="181" y="171"/>
                    </a:lnTo>
                    <a:lnTo>
                      <a:pt x="181" y="172"/>
                    </a:lnTo>
                    <a:lnTo>
                      <a:pt x="182" y="172"/>
                    </a:lnTo>
                    <a:lnTo>
                      <a:pt x="182" y="173"/>
                    </a:lnTo>
                    <a:lnTo>
                      <a:pt x="181" y="173"/>
                    </a:lnTo>
                    <a:lnTo>
                      <a:pt x="180" y="174"/>
                    </a:lnTo>
                    <a:lnTo>
                      <a:pt x="180" y="175"/>
                    </a:lnTo>
                    <a:lnTo>
                      <a:pt x="181" y="175"/>
                    </a:lnTo>
                    <a:lnTo>
                      <a:pt x="181" y="176"/>
                    </a:lnTo>
                    <a:lnTo>
                      <a:pt x="180" y="177"/>
                    </a:lnTo>
                    <a:lnTo>
                      <a:pt x="180" y="178"/>
                    </a:lnTo>
                    <a:lnTo>
                      <a:pt x="180" y="182"/>
                    </a:lnTo>
                    <a:lnTo>
                      <a:pt x="180" y="183"/>
                    </a:lnTo>
                    <a:lnTo>
                      <a:pt x="180" y="184"/>
                    </a:lnTo>
                    <a:lnTo>
                      <a:pt x="180" y="185"/>
                    </a:lnTo>
                    <a:lnTo>
                      <a:pt x="181" y="185"/>
                    </a:lnTo>
                    <a:lnTo>
                      <a:pt x="181" y="186"/>
                    </a:lnTo>
                    <a:lnTo>
                      <a:pt x="180" y="187"/>
                    </a:lnTo>
                    <a:lnTo>
                      <a:pt x="179" y="188"/>
                    </a:lnTo>
                    <a:lnTo>
                      <a:pt x="178" y="188"/>
                    </a:lnTo>
                    <a:lnTo>
                      <a:pt x="177" y="189"/>
                    </a:lnTo>
                    <a:lnTo>
                      <a:pt x="176" y="190"/>
                    </a:lnTo>
                    <a:lnTo>
                      <a:pt x="173" y="191"/>
                    </a:lnTo>
                    <a:lnTo>
                      <a:pt x="173" y="193"/>
                    </a:lnTo>
                    <a:lnTo>
                      <a:pt x="172" y="193"/>
                    </a:lnTo>
                    <a:lnTo>
                      <a:pt x="171" y="195"/>
                    </a:lnTo>
                    <a:lnTo>
                      <a:pt x="169" y="199"/>
                    </a:lnTo>
                    <a:lnTo>
                      <a:pt x="169" y="200"/>
                    </a:lnTo>
                    <a:lnTo>
                      <a:pt x="168" y="201"/>
                    </a:lnTo>
                    <a:lnTo>
                      <a:pt x="167" y="202"/>
                    </a:lnTo>
                    <a:lnTo>
                      <a:pt x="166" y="203"/>
                    </a:lnTo>
                    <a:lnTo>
                      <a:pt x="166" y="204"/>
                    </a:lnTo>
                    <a:lnTo>
                      <a:pt x="165" y="207"/>
                    </a:lnTo>
                    <a:lnTo>
                      <a:pt x="164" y="208"/>
                    </a:lnTo>
                    <a:lnTo>
                      <a:pt x="163" y="208"/>
                    </a:lnTo>
                    <a:lnTo>
                      <a:pt x="163" y="209"/>
                    </a:lnTo>
                    <a:lnTo>
                      <a:pt x="162" y="209"/>
                    </a:lnTo>
                    <a:lnTo>
                      <a:pt x="162" y="210"/>
                    </a:lnTo>
                    <a:lnTo>
                      <a:pt x="163" y="211"/>
                    </a:lnTo>
                    <a:lnTo>
                      <a:pt x="164" y="211"/>
                    </a:lnTo>
                    <a:lnTo>
                      <a:pt x="163" y="211"/>
                    </a:lnTo>
                    <a:lnTo>
                      <a:pt x="163" y="212"/>
                    </a:lnTo>
                    <a:lnTo>
                      <a:pt x="162" y="212"/>
                    </a:lnTo>
                    <a:lnTo>
                      <a:pt x="162" y="213"/>
                    </a:lnTo>
                    <a:lnTo>
                      <a:pt x="162" y="214"/>
                    </a:lnTo>
                    <a:lnTo>
                      <a:pt x="162" y="215"/>
                    </a:lnTo>
                    <a:lnTo>
                      <a:pt x="160" y="216"/>
                    </a:lnTo>
                    <a:lnTo>
                      <a:pt x="159" y="217"/>
                    </a:lnTo>
                    <a:lnTo>
                      <a:pt x="159" y="219"/>
                    </a:lnTo>
                    <a:lnTo>
                      <a:pt x="159" y="220"/>
                    </a:lnTo>
                    <a:lnTo>
                      <a:pt x="160" y="220"/>
                    </a:lnTo>
                    <a:lnTo>
                      <a:pt x="160" y="221"/>
                    </a:lnTo>
                    <a:lnTo>
                      <a:pt x="160" y="222"/>
                    </a:lnTo>
                    <a:lnTo>
                      <a:pt x="159" y="222"/>
                    </a:lnTo>
                    <a:lnTo>
                      <a:pt x="159" y="223"/>
                    </a:lnTo>
                    <a:lnTo>
                      <a:pt x="162" y="224"/>
                    </a:lnTo>
                    <a:lnTo>
                      <a:pt x="162" y="225"/>
                    </a:lnTo>
                    <a:lnTo>
                      <a:pt x="163" y="225"/>
                    </a:lnTo>
                    <a:lnTo>
                      <a:pt x="162" y="226"/>
                    </a:lnTo>
                    <a:lnTo>
                      <a:pt x="160" y="226"/>
                    </a:lnTo>
                    <a:lnTo>
                      <a:pt x="160" y="227"/>
                    </a:lnTo>
                    <a:lnTo>
                      <a:pt x="162" y="228"/>
                    </a:lnTo>
                    <a:lnTo>
                      <a:pt x="162" y="229"/>
                    </a:lnTo>
                    <a:lnTo>
                      <a:pt x="162" y="230"/>
                    </a:lnTo>
                    <a:lnTo>
                      <a:pt x="160" y="230"/>
                    </a:lnTo>
                    <a:lnTo>
                      <a:pt x="159" y="230"/>
                    </a:lnTo>
                    <a:lnTo>
                      <a:pt x="158" y="230"/>
                    </a:lnTo>
                    <a:lnTo>
                      <a:pt x="158" y="229"/>
                    </a:lnTo>
                    <a:lnTo>
                      <a:pt x="159" y="228"/>
                    </a:lnTo>
                    <a:lnTo>
                      <a:pt x="159" y="227"/>
                    </a:lnTo>
                    <a:lnTo>
                      <a:pt x="158" y="227"/>
                    </a:lnTo>
                    <a:lnTo>
                      <a:pt x="157" y="227"/>
                    </a:lnTo>
                    <a:lnTo>
                      <a:pt x="157" y="228"/>
                    </a:lnTo>
                    <a:lnTo>
                      <a:pt x="157" y="229"/>
                    </a:lnTo>
                    <a:lnTo>
                      <a:pt x="156" y="229"/>
                    </a:lnTo>
                    <a:lnTo>
                      <a:pt x="155" y="229"/>
                    </a:lnTo>
                    <a:lnTo>
                      <a:pt x="154" y="228"/>
                    </a:lnTo>
                    <a:lnTo>
                      <a:pt x="153" y="228"/>
                    </a:lnTo>
                    <a:lnTo>
                      <a:pt x="152" y="228"/>
                    </a:lnTo>
                    <a:lnTo>
                      <a:pt x="152" y="227"/>
                    </a:lnTo>
                    <a:lnTo>
                      <a:pt x="151" y="227"/>
                    </a:lnTo>
                    <a:lnTo>
                      <a:pt x="150" y="228"/>
                    </a:lnTo>
                    <a:lnTo>
                      <a:pt x="150" y="227"/>
                    </a:lnTo>
                    <a:lnTo>
                      <a:pt x="149" y="227"/>
                    </a:lnTo>
                    <a:lnTo>
                      <a:pt x="147" y="227"/>
                    </a:lnTo>
                    <a:lnTo>
                      <a:pt x="146" y="227"/>
                    </a:lnTo>
                    <a:lnTo>
                      <a:pt x="146" y="228"/>
                    </a:lnTo>
                    <a:lnTo>
                      <a:pt x="146" y="229"/>
                    </a:lnTo>
                    <a:lnTo>
                      <a:pt x="147" y="230"/>
                    </a:lnTo>
                    <a:lnTo>
                      <a:pt x="146" y="232"/>
                    </a:lnTo>
                    <a:lnTo>
                      <a:pt x="146" y="233"/>
                    </a:lnTo>
                    <a:lnTo>
                      <a:pt x="147" y="234"/>
                    </a:lnTo>
                    <a:lnTo>
                      <a:pt x="147" y="235"/>
                    </a:lnTo>
                    <a:lnTo>
                      <a:pt x="146" y="235"/>
                    </a:lnTo>
                    <a:lnTo>
                      <a:pt x="145" y="235"/>
                    </a:lnTo>
                    <a:lnTo>
                      <a:pt x="144" y="236"/>
                    </a:lnTo>
                    <a:lnTo>
                      <a:pt x="143" y="236"/>
                    </a:lnTo>
                    <a:lnTo>
                      <a:pt x="143" y="237"/>
                    </a:lnTo>
                    <a:lnTo>
                      <a:pt x="144" y="237"/>
                    </a:lnTo>
                    <a:lnTo>
                      <a:pt x="144" y="238"/>
                    </a:lnTo>
                    <a:lnTo>
                      <a:pt x="144" y="239"/>
                    </a:lnTo>
                    <a:lnTo>
                      <a:pt x="145" y="239"/>
                    </a:lnTo>
                    <a:lnTo>
                      <a:pt x="145" y="240"/>
                    </a:lnTo>
                    <a:lnTo>
                      <a:pt x="145" y="241"/>
                    </a:lnTo>
                    <a:lnTo>
                      <a:pt x="145" y="242"/>
                    </a:lnTo>
                    <a:lnTo>
                      <a:pt x="145" y="245"/>
                    </a:lnTo>
                    <a:lnTo>
                      <a:pt x="145" y="246"/>
                    </a:lnTo>
                    <a:lnTo>
                      <a:pt x="145" y="247"/>
                    </a:lnTo>
                    <a:lnTo>
                      <a:pt x="145" y="248"/>
                    </a:lnTo>
                    <a:lnTo>
                      <a:pt x="146" y="248"/>
                    </a:lnTo>
                    <a:lnTo>
                      <a:pt x="146" y="249"/>
                    </a:lnTo>
                    <a:lnTo>
                      <a:pt x="146" y="250"/>
                    </a:lnTo>
                    <a:lnTo>
                      <a:pt x="147" y="250"/>
                    </a:lnTo>
                    <a:lnTo>
                      <a:pt x="146" y="250"/>
                    </a:lnTo>
                    <a:lnTo>
                      <a:pt x="146" y="251"/>
                    </a:lnTo>
                    <a:lnTo>
                      <a:pt x="145" y="252"/>
                    </a:lnTo>
                    <a:lnTo>
                      <a:pt x="145" y="253"/>
                    </a:lnTo>
                    <a:lnTo>
                      <a:pt x="146" y="254"/>
                    </a:lnTo>
                    <a:lnTo>
                      <a:pt x="147" y="254"/>
                    </a:lnTo>
                    <a:lnTo>
                      <a:pt x="147" y="253"/>
                    </a:lnTo>
                    <a:lnTo>
                      <a:pt x="149" y="253"/>
                    </a:lnTo>
                    <a:lnTo>
                      <a:pt x="150" y="254"/>
                    </a:lnTo>
                    <a:lnTo>
                      <a:pt x="149" y="254"/>
                    </a:lnTo>
                    <a:lnTo>
                      <a:pt x="149" y="255"/>
                    </a:lnTo>
                    <a:lnTo>
                      <a:pt x="149" y="257"/>
                    </a:lnTo>
                    <a:lnTo>
                      <a:pt x="147" y="257"/>
                    </a:lnTo>
                    <a:lnTo>
                      <a:pt x="147" y="258"/>
                    </a:lnTo>
                    <a:lnTo>
                      <a:pt x="147" y="259"/>
                    </a:lnTo>
                    <a:lnTo>
                      <a:pt x="146" y="259"/>
                    </a:lnTo>
                    <a:lnTo>
                      <a:pt x="146" y="260"/>
                    </a:lnTo>
                    <a:lnTo>
                      <a:pt x="147" y="261"/>
                    </a:lnTo>
                    <a:lnTo>
                      <a:pt x="149" y="262"/>
                    </a:lnTo>
                    <a:lnTo>
                      <a:pt x="150" y="262"/>
                    </a:lnTo>
                    <a:lnTo>
                      <a:pt x="150" y="263"/>
                    </a:lnTo>
                    <a:lnTo>
                      <a:pt x="149" y="263"/>
                    </a:lnTo>
                    <a:lnTo>
                      <a:pt x="147" y="263"/>
                    </a:lnTo>
                    <a:lnTo>
                      <a:pt x="147" y="264"/>
                    </a:lnTo>
                    <a:lnTo>
                      <a:pt x="149" y="264"/>
                    </a:lnTo>
                    <a:lnTo>
                      <a:pt x="149" y="265"/>
                    </a:lnTo>
                    <a:lnTo>
                      <a:pt x="147" y="266"/>
                    </a:lnTo>
                    <a:lnTo>
                      <a:pt x="146" y="266"/>
                    </a:lnTo>
                    <a:lnTo>
                      <a:pt x="145" y="265"/>
                    </a:lnTo>
                    <a:lnTo>
                      <a:pt x="144" y="265"/>
                    </a:lnTo>
                    <a:lnTo>
                      <a:pt x="144" y="266"/>
                    </a:lnTo>
                    <a:lnTo>
                      <a:pt x="144" y="268"/>
                    </a:lnTo>
                    <a:lnTo>
                      <a:pt x="144" y="270"/>
                    </a:lnTo>
                    <a:lnTo>
                      <a:pt x="145" y="270"/>
                    </a:lnTo>
                    <a:lnTo>
                      <a:pt x="145" y="271"/>
                    </a:lnTo>
                    <a:lnTo>
                      <a:pt x="145" y="272"/>
                    </a:lnTo>
                    <a:lnTo>
                      <a:pt x="145" y="273"/>
                    </a:lnTo>
                    <a:lnTo>
                      <a:pt x="145" y="274"/>
                    </a:lnTo>
                    <a:lnTo>
                      <a:pt x="144" y="274"/>
                    </a:lnTo>
                    <a:lnTo>
                      <a:pt x="144" y="275"/>
                    </a:lnTo>
                    <a:lnTo>
                      <a:pt x="143" y="275"/>
                    </a:lnTo>
                    <a:lnTo>
                      <a:pt x="143" y="276"/>
                    </a:lnTo>
                    <a:lnTo>
                      <a:pt x="142" y="276"/>
                    </a:lnTo>
                    <a:lnTo>
                      <a:pt x="142" y="277"/>
                    </a:lnTo>
                    <a:lnTo>
                      <a:pt x="142" y="279"/>
                    </a:lnTo>
                    <a:lnTo>
                      <a:pt x="142" y="280"/>
                    </a:lnTo>
                    <a:lnTo>
                      <a:pt x="143" y="281"/>
                    </a:lnTo>
                    <a:lnTo>
                      <a:pt x="143" y="283"/>
                    </a:lnTo>
                    <a:lnTo>
                      <a:pt x="143" y="284"/>
                    </a:lnTo>
                    <a:lnTo>
                      <a:pt x="144" y="284"/>
                    </a:lnTo>
                    <a:lnTo>
                      <a:pt x="145" y="285"/>
                    </a:lnTo>
                    <a:lnTo>
                      <a:pt x="147" y="285"/>
                    </a:lnTo>
                    <a:lnTo>
                      <a:pt x="149" y="285"/>
                    </a:lnTo>
                    <a:lnTo>
                      <a:pt x="149" y="286"/>
                    </a:lnTo>
                    <a:lnTo>
                      <a:pt x="149" y="287"/>
                    </a:lnTo>
                    <a:lnTo>
                      <a:pt x="147" y="288"/>
                    </a:lnTo>
                    <a:lnTo>
                      <a:pt x="147" y="289"/>
                    </a:lnTo>
                    <a:lnTo>
                      <a:pt x="146" y="289"/>
                    </a:lnTo>
                    <a:lnTo>
                      <a:pt x="146" y="290"/>
                    </a:lnTo>
                    <a:lnTo>
                      <a:pt x="145" y="290"/>
                    </a:lnTo>
                    <a:lnTo>
                      <a:pt x="145" y="291"/>
                    </a:lnTo>
                    <a:lnTo>
                      <a:pt x="144" y="291"/>
                    </a:lnTo>
                    <a:lnTo>
                      <a:pt x="143" y="291"/>
                    </a:lnTo>
                    <a:lnTo>
                      <a:pt x="142" y="292"/>
                    </a:lnTo>
                    <a:lnTo>
                      <a:pt x="141" y="292"/>
                    </a:lnTo>
                    <a:lnTo>
                      <a:pt x="140" y="292"/>
                    </a:lnTo>
                    <a:lnTo>
                      <a:pt x="139" y="292"/>
                    </a:lnTo>
                    <a:lnTo>
                      <a:pt x="137" y="292"/>
                    </a:lnTo>
                    <a:lnTo>
                      <a:pt x="136" y="293"/>
                    </a:lnTo>
                    <a:lnTo>
                      <a:pt x="134" y="294"/>
                    </a:lnTo>
                    <a:lnTo>
                      <a:pt x="134" y="296"/>
                    </a:lnTo>
                    <a:lnTo>
                      <a:pt x="133" y="296"/>
                    </a:lnTo>
                    <a:lnTo>
                      <a:pt x="133" y="294"/>
                    </a:lnTo>
                    <a:lnTo>
                      <a:pt x="131" y="294"/>
                    </a:lnTo>
                    <a:lnTo>
                      <a:pt x="130" y="294"/>
                    </a:lnTo>
                    <a:lnTo>
                      <a:pt x="130" y="296"/>
                    </a:lnTo>
                    <a:lnTo>
                      <a:pt x="129" y="296"/>
                    </a:lnTo>
                    <a:lnTo>
                      <a:pt x="129" y="297"/>
                    </a:lnTo>
                    <a:lnTo>
                      <a:pt x="128" y="297"/>
                    </a:lnTo>
                    <a:lnTo>
                      <a:pt x="127" y="298"/>
                    </a:lnTo>
                    <a:lnTo>
                      <a:pt x="127" y="299"/>
                    </a:lnTo>
                    <a:lnTo>
                      <a:pt x="126" y="300"/>
                    </a:lnTo>
                    <a:lnTo>
                      <a:pt x="126" y="301"/>
                    </a:lnTo>
                    <a:lnTo>
                      <a:pt x="125" y="301"/>
                    </a:lnTo>
                    <a:lnTo>
                      <a:pt x="124" y="302"/>
                    </a:lnTo>
                    <a:lnTo>
                      <a:pt x="121" y="303"/>
                    </a:lnTo>
                    <a:lnTo>
                      <a:pt x="120" y="304"/>
                    </a:lnTo>
                    <a:lnTo>
                      <a:pt x="120" y="305"/>
                    </a:lnTo>
                    <a:lnTo>
                      <a:pt x="119" y="305"/>
                    </a:lnTo>
                    <a:lnTo>
                      <a:pt x="119" y="306"/>
                    </a:lnTo>
                    <a:lnTo>
                      <a:pt x="118" y="306"/>
                    </a:lnTo>
                    <a:lnTo>
                      <a:pt x="118" y="307"/>
                    </a:lnTo>
                    <a:lnTo>
                      <a:pt x="118" y="309"/>
                    </a:lnTo>
                    <a:lnTo>
                      <a:pt x="105" y="309"/>
                    </a:lnTo>
                    <a:lnTo>
                      <a:pt x="85" y="309"/>
                    </a:lnTo>
                    <a:lnTo>
                      <a:pt x="77" y="309"/>
                    </a:lnTo>
                    <a:lnTo>
                      <a:pt x="75" y="309"/>
                    </a:lnTo>
                    <a:lnTo>
                      <a:pt x="70" y="309"/>
                    </a:lnTo>
                    <a:lnTo>
                      <a:pt x="67" y="309"/>
                    </a:lnTo>
                    <a:lnTo>
                      <a:pt x="65" y="309"/>
                    </a:lnTo>
                    <a:lnTo>
                      <a:pt x="64" y="309"/>
                    </a:lnTo>
                    <a:lnTo>
                      <a:pt x="63" y="309"/>
                    </a:lnTo>
                    <a:lnTo>
                      <a:pt x="57" y="309"/>
                    </a:lnTo>
                    <a:lnTo>
                      <a:pt x="56" y="309"/>
                    </a:lnTo>
                    <a:lnTo>
                      <a:pt x="53" y="309"/>
                    </a:lnTo>
                    <a:lnTo>
                      <a:pt x="52" y="307"/>
                    </a:lnTo>
                    <a:lnTo>
                      <a:pt x="51" y="309"/>
                    </a:lnTo>
                    <a:lnTo>
                      <a:pt x="50" y="309"/>
                    </a:lnTo>
                    <a:lnTo>
                      <a:pt x="49" y="309"/>
                    </a:lnTo>
                    <a:lnTo>
                      <a:pt x="46" y="309"/>
                    </a:lnTo>
                    <a:lnTo>
                      <a:pt x="42" y="309"/>
                    </a:lnTo>
                    <a:lnTo>
                      <a:pt x="37" y="309"/>
                    </a:lnTo>
                    <a:lnTo>
                      <a:pt x="34" y="309"/>
                    </a:lnTo>
                    <a:lnTo>
                      <a:pt x="33" y="309"/>
                    </a:lnTo>
                    <a:lnTo>
                      <a:pt x="27" y="309"/>
                    </a:lnTo>
                    <a:lnTo>
                      <a:pt x="26" y="309"/>
                    </a:lnTo>
                    <a:lnTo>
                      <a:pt x="26" y="300"/>
                    </a:lnTo>
                    <a:lnTo>
                      <a:pt x="26" y="286"/>
                    </a:lnTo>
                    <a:lnTo>
                      <a:pt x="25" y="281"/>
                    </a:lnTo>
                    <a:lnTo>
                      <a:pt x="25" y="272"/>
                    </a:lnTo>
                    <a:lnTo>
                      <a:pt x="25" y="265"/>
                    </a:lnTo>
                    <a:lnTo>
                      <a:pt x="25" y="261"/>
                    </a:lnTo>
                    <a:lnTo>
                      <a:pt x="25" y="259"/>
                    </a:lnTo>
                    <a:lnTo>
                      <a:pt x="25" y="253"/>
                    </a:lnTo>
                    <a:lnTo>
                      <a:pt x="25" y="247"/>
                    </a:lnTo>
                    <a:lnTo>
                      <a:pt x="24" y="247"/>
                    </a:lnTo>
                    <a:lnTo>
                      <a:pt x="13" y="247"/>
                    </a:lnTo>
                    <a:lnTo>
                      <a:pt x="1" y="247"/>
                    </a:lnTo>
                    <a:lnTo>
                      <a:pt x="0" y="247"/>
                    </a:lnTo>
                    <a:lnTo>
                      <a:pt x="0" y="246"/>
                    </a:lnTo>
                    <a:lnTo>
                      <a:pt x="1" y="245"/>
                    </a:lnTo>
                    <a:lnTo>
                      <a:pt x="2" y="245"/>
                    </a:lnTo>
                    <a:lnTo>
                      <a:pt x="3" y="245"/>
                    </a:lnTo>
                    <a:lnTo>
                      <a:pt x="4" y="243"/>
                    </a:lnTo>
                    <a:lnTo>
                      <a:pt x="4" y="242"/>
                    </a:lnTo>
                    <a:lnTo>
                      <a:pt x="5" y="242"/>
                    </a:lnTo>
                    <a:lnTo>
                      <a:pt x="5" y="241"/>
                    </a:lnTo>
                    <a:lnTo>
                      <a:pt x="5" y="240"/>
                    </a:lnTo>
                    <a:lnTo>
                      <a:pt x="7" y="240"/>
                    </a:lnTo>
                    <a:lnTo>
                      <a:pt x="8" y="239"/>
                    </a:lnTo>
                    <a:lnTo>
                      <a:pt x="10" y="237"/>
                    </a:lnTo>
                    <a:lnTo>
                      <a:pt x="10" y="236"/>
                    </a:lnTo>
                    <a:lnTo>
                      <a:pt x="9" y="234"/>
                    </a:lnTo>
                    <a:lnTo>
                      <a:pt x="9" y="233"/>
                    </a:lnTo>
                    <a:lnTo>
                      <a:pt x="11" y="232"/>
                    </a:lnTo>
                    <a:lnTo>
                      <a:pt x="11" y="230"/>
                    </a:lnTo>
                    <a:lnTo>
                      <a:pt x="10" y="229"/>
                    </a:lnTo>
                    <a:lnTo>
                      <a:pt x="10" y="228"/>
                    </a:lnTo>
                    <a:lnTo>
                      <a:pt x="9" y="228"/>
                    </a:lnTo>
                    <a:lnTo>
                      <a:pt x="9" y="227"/>
                    </a:lnTo>
                    <a:lnTo>
                      <a:pt x="9" y="226"/>
                    </a:lnTo>
                    <a:lnTo>
                      <a:pt x="9" y="225"/>
                    </a:lnTo>
                    <a:lnTo>
                      <a:pt x="8" y="226"/>
                    </a:lnTo>
                    <a:lnTo>
                      <a:pt x="7" y="226"/>
                    </a:lnTo>
                    <a:lnTo>
                      <a:pt x="5" y="226"/>
                    </a:lnTo>
                    <a:lnTo>
                      <a:pt x="5" y="225"/>
                    </a:lnTo>
                    <a:lnTo>
                      <a:pt x="5" y="224"/>
                    </a:lnTo>
                    <a:lnTo>
                      <a:pt x="4" y="223"/>
                    </a:lnTo>
                    <a:lnTo>
                      <a:pt x="3" y="222"/>
                    </a:lnTo>
                    <a:lnTo>
                      <a:pt x="2" y="222"/>
                    </a:lnTo>
                    <a:lnTo>
                      <a:pt x="1" y="222"/>
                    </a:lnTo>
                    <a:lnTo>
                      <a:pt x="0" y="222"/>
                    </a:lnTo>
                    <a:lnTo>
                      <a:pt x="0" y="221"/>
                    </a:lnTo>
                    <a:lnTo>
                      <a:pt x="0" y="220"/>
                    </a:lnTo>
                    <a:lnTo>
                      <a:pt x="0" y="219"/>
                    </a:lnTo>
                    <a:lnTo>
                      <a:pt x="1" y="217"/>
                    </a:lnTo>
                    <a:lnTo>
                      <a:pt x="2" y="217"/>
                    </a:lnTo>
                    <a:lnTo>
                      <a:pt x="2" y="216"/>
                    </a:lnTo>
                    <a:lnTo>
                      <a:pt x="2" y="215"/>
                    </a:lnTo>
                    <a:lnTo>
                      <a:pt x="3" y="213"/>
                    </a:lnTo>
                    <a:lnTo>
                      <a:pt x="3" y="212"/>
                    </a:lnTo>
                    <a:lnTo>
                      <a:pt x="4" y="211"/>
                    </a:lnTo>
                    <a:lnTo>
                      <a:pt x="5" y="210"/>
                    </a:lnTo>
                    <a:lnTo>
                      <a:pt x="5" y="209"/>
                    </a:lnTo>
                    <a:lnTo>
                      <a:pt x="7" y="209"/>
                    </a:lnTo>
                    <a:lnTo>
                      <a:pt x="8" y="209"/>
                    </a:lnTo>
                    <a:lnTo>
                      <a:pt x="9" y="208"/>
                    </a:lnTo>
                    <a:lnTo>
                      <a:pt x="10" y="208"/>
                    </a:lnTo>
                    <a:lnTo>
                      <a:pt x="10" y="207"/>
                    </a:lnTo>
                    <a:lnTo>
                      <a:pt x="12" y="208"/>
                    </a:lnTo>
                    <a:lnTo>
                      <a:pt x="13" y="208"/>
                    </a:lnTo>
                    <a:lnTo>
                      <a:pt x="13" y="207"/>
                    </a:lnTo>
                    <a:lnTo>
                      <a:pt x="13" y="206"/>
                    </a:lnTo>
                    <a:lnTo>
                      <a:pt x="13" y="204"/>
                    </a:lnTo>
                    <a:lnTo>
                      <a:pt x="13" y="203"/>
                    </a:lnTo>
                    <a:lnTo>
                      <a:pt x="13" y="202"/>
                    </a:lnTo>
                    <a:lnTo>
                      <a:pt x="14" y="202"/>
                    </a:lnTo>
                    <a:lnTo>
                      <a:pt x="14" y="200"/>
                    </a:lnTo>
                    <a:lnTo>
                      <a:pt x="15" y="200"/>
                    </a:lnTo>
                    <a:lnTo>
                      <a:pt x="16" y="200"/>
                    </a:lnTo>
                    <a:lnTo>
                      <a:pt x="16" y="199"/>
                    </a:lnTo>
                    <a:lnTo>
                      <a:pt x="16" y="198"/>
                    </a:lnTo>
                    <a:lnTo>
                      <a:pt x="16" y="197"/>
                    </a:lnTo>
                    <a:lnTo>
                      <a:pt x="16" y="196"/>
                    </a:lnTo>
                    <a:lnTo>
                      <a:pt x="16" y="195"/>
                    </a:lnTo>
                    <a:lnTo>
                      <a:pt x="17" y="195"/>
                    </a:lnTo>
                    <a:lnTo>
                      <a:pt x="18" y="195"/>
                    </a:lnTo>
                    <a:lnTo>
                      <a:pt x="20" y="195"/>
                    </a:lnTo>
                    <a:lnTo>
                      <a:pt x="20" y="194"/>
                    </a:lnTo>
                    <a:lnTo>
                      <a:pt x="21" y="193"/>
                    </a:lnTo>
                    <a:lnTo>
                      <a:pt x="22" y="190"/>
                    </a:lnTo>
                    <a:lnTo>
                      <a:pt x="23" y="190"/>
                    </a:lnTo>
                    <a:lnTo>
                      <a:pt x="23" y="189"/>
                    </a:lnTo>
                    <a:lnTo>
                      <a:pt x="24" y="188"/>
                    </a:lnTo>
                    <a:lnTo>
                      <a:pt x="24" y="187"/>
                    </a:lnTo>
                    <a:lnTo>
                      <a:pt x="25" y="187"/>
                    </a:lnTo>
                    <a:lnTo>
                      <a:pt x="26" y="186"/>
                    </a:lnTo>
                    <a:lnTo>
                      <a:pt x="26" y="185"/>
                    </a:lnTo>
                    <a:lnTo>
                      <a:pt x="26" y="183"/>
                    </a:lnTo>
                    <a:lnTo>
                      <a:pt x="26" y="182"/>
                    </a:lnTo>
                    <a:lnTo>
                      <a:pt x="26" y="180"/>
                    </a:lnTo>
                    <a:lnTo>
                      <a:pt x="26" y="178"/>
                    </a:lnTo>
                    <a:lnTo>
                      <a:pt x="26" y="177"/>
                    </a:lnTo>
                    <a:lnTo>
                      <a:pt x="26" y="176"/>
                    </a:lnTo>
                    <a:lnTo>
                      <a:pt x="26" y="174"/>
                    </a:lnTo>
                    <a:lnTo>
                      <a:pt x="26" y="173"/>
                    </a:lnTo>
                    <a:lnTo>
                      <a:pt x="26" y="171"/>
                    </a:lnTo>
                    <a:lnTo>
                      <a:pt x="26" y="170"/>
                    </a:lnTo>
                    <a:lnTo>
                      <a:pt x="25" y="169"/>
                    </a:lnTo>
                    <a:lnTo>
                      <a:pt x="25" y="168"/>
                    </a:lnTo>
                    <a:lnTo>
                      <a:pt x="24" y="168"/>
                    </a:lnTo>
                    <a:lnTo>
                      <a:pt x="23" y="165"/>
                    </a:lnTo>
                    <a:lnTo>
                      <a:pt x="23" y="164"/>
                    </a:lnTo>
                    <a:lnTo>
                      <a:pt x="23" y="163"/>
                    </a:lnTo>
                    <a:lnTo>
                      <a:pt x="23" y="162"/>
                    </a:lnTo>
                    <a:lnTo>
                      <a:pt x="22" y="163"/>
                    </a:lnTo>
                    <a:lnTo>
                      <a:pt x="21" y="163"/>
                    </a:lnTo>
                    <a:lnTo>
                      <a:pt x="21" y="162"/>
                    </a:lnTo>
                    <a:lnTo>
                      <a:pt x="21" y="161"/>
                    </a:lnTo>
                    <a:lnTo>
                      <a:pt x="21" y="160"/>
                    </a:lnTo>
                    <a:lnTo>
                      <a:pt x="22" y="159"/>
                    </a:lnTo>
                    <a:lnTo>
                      <a:pt x="23" y="159"/>
                    </a:lnTo>
                    <a:lnTo>
                      <a:pt x="23" y="158"/>
                    </a:lnTo>
                    <a:lnTo>
                      <a:pt x="24" y="157"/>
                    </a:lnTo>
                    <a:lnTo>
                      <a:pt x="25" y="157"/>
                    </a:lnTo>
                    <a:lnTo>
                      <a:pt x="26" y="156"/>
                    </a:lnTo>
                    <a:lnTo>
                      <a:pt x="26" y="155"/>
                    </a:lnTo>
                    <a:lnTo>
                      <a:pt x="27" y="155"/>
                    </a:lnTo>
                    <a:lnTo>
                      <a:pt x="28" y="155"/>
                    </a:lnTo>
                    <a:lnTo>
                      <a:pt x="28" y="153"/>
                    </a:lnTo>
                    <a:lnTo>
                      <a:pt x="27" y="152"/>
                    </a:lnTo>
                    <a:lnTo>
                      <a:pt x="28" y="152"/>
                    </a:lnTo>
                    <a:lnTo>
                      <a:pt x="29" y="152"/>
                    </a:lnTo>
                    <a:lnTo>
                      <a:pt x="30" y="151"/>
                    </a:lnTo>
                    <a:lnTo>
                      <a:pt x="29" y="150"/>
                    </a:lnTo>
                    <a:lnTo>
                      <a:pt x="29" y="149"/>
                    </a:lnTo>
                    <a:lnTo>
                      <a:pt x="30" y="149"/>
                    </a:lnTo>
                    <a:lnTo>
                      <a:pt x="30" y="148"/>
                    </a:lnTo>
                    <a:lnTo>
                      <a:pt x="29" y="148"/>
                    </a:lnTo>
                    <a:lnTo>
                      <a:pt x="29" y="147"/>
                    </a:lnTo>
                    <a:lnTo>
                      <a:pt x="29" y="146"/>
                    </a:lnTo>
                    <a:lnTo>
                      <a:pt x="29" y="145"/>
                    </a:lnTo>
                    <a:lnTo>
                      <a:pt x="29" y="144"/>
                    </a:lnTo>
                    <a:lnTo>
                      <a:pt x="29" y="143"/>
                    </a:lnTo>
                    <a:lnTo>
                      <a:pt x="30" y="143"/>
                    </a:lnTo>
                    <a:lnTo>
                      <a:pt x="31" y="143"/>
                    </a:lnTo>
                    <a:lnTo>
                      <a:pt x="31" y="142"/>
                    </a:lnTo>
                    <a:lnTo>
                      <a:pt x="30" y="142"/>
                    </a:lnTo>
                    <a:lnTo>
                      <a:pt x="31" y="140"/>
                    </a:lnTo>
                    <a:lnTo>
                      <a:pt x="31" y="139"/>
                    </a:lnTo>
                    <a:lnTo>
                      <a:pt x="33" y="138"/>
                    </a:lnTo>
                    <a:lnTo>
                      <a:pt x="34" y="138"/>
                    </a:lnTo>
                    <a:lnTo>
                      <a:pt x="33" y="138"/>
                    </a:lnTo>
                    <a:lnTo>
                      <a:pt x="33" y="137"/>
                    </a:lnTo>
                    <a:lnTo>
                      <a:pt x="33" y="136"/>
                    </a:lnTo>
                    <a:lnTo>
                      <a:pt x="34" y="136"/>
                    </a:lnTo>
                    <a:lnTo>
                      <a:pt x="35" y="136"/>
                    </a:lnTo>
                    <a:lnTo>
                      <a:pt x="36" y="136"/>
                    </a:lnTo>
                    <a:lnTo>
                      <a:pt x="36" y="135"/>
                    </a:lnTo>
                    <a:lnTo>
                      <a:pt x="36" y="134"/>
                    </a:lnTo>
                    <a:lnTo>
                      <a:pt x="38" y="133"/>
                    </a:lnTo>
                    <a:lnTo>
                      <a:pt x="39" y="131"/>
                    </a:lnTo>
                    <a:lnTo>
                      <a:pt x="40" y="130"/>
                    </a:lnTo>
                    <a:lnTo>
                      <a:pt x="40" y="129"/>
                    </a:lnTo>
                    <a:lnTo>
                      <a:pt x="39" y="129"/>
                    </a:lnTo>
                    <a:lnTo>
                      <a:pt x="38" y="129"/>
                    </a:lnTo>
                    <a:lnTo>
                      <a:pt x="37" y="129"/>
                    </a:lnTo>
                    <a:lnTo>
                      <a:pt x="37" y="127"/>
                    </a:lnTo>
                    <a:lnTo>
                      <a:pt x="37" y="126"/>
                    </a:lnTo>
                    <a:lnTo>
                      <a:pt x="38" y="126"/>
                    </a:lnTo>
                    <a:lnTo>
                      <a:pt x="39" y="126"/>
                    </a:lnTo>
                    <a:lnTo>
                      <a:pt x="39" y="124"/>
                    </a:lnTo>
                    <a:lnTo>
                      <a:pt x="39" y="121"/>
                    </a:lnTo>
                    <a:lnTo>
                      <a:pt x="39" y="120"/>
                    </a:lnTo>
                    <a:lnTo>
                      <a:pt x="40" y="119"/>
                    </a:lnTo>
                    <a:lnTo>
                      <a:pt x="41" y="118"/>
                    </a:lnTo>
                    <a:lnTo>
                      <a:pt x="42" y="117"/>
                    </a:lnTo>
                    <a:lnTo>
                      <a:pt x="42" y="116"/>
                    </a:lnTo>
                    <a:lnTo>
                      <a:pt x="42" y="114"/>
                    </a:lnTo>
                    <a:lnTo>
                      <a:pt x="42" y="113"/>
                    </a:lnTo>
                    <a:lnTo>
                      <a:pt x="43" y="112"/>
                    </a:lnTo>
                    <a:lnTo>
                      <a:pt x="43" y="111"/>
                    </a:lnTo>
                    <a:lnTo>
                      <a:pt x="43" y="110"/>
                    </a:lnTo>
                    <a:lnTo>
                      <a:pt x="43" y="109"/>
                    </a:lnTo>
                    <a:lnTo>
                      <a:pt x="44" y="109"/>
                    </a:lnTo>
                    <a:lnTo>
                      <a:pt x="46" y="109"/>
                    </a:lnTo>
                    <a:lnTo>
                      <a:pt x="47" y="108"/>
                    </a:lnTo>
                    <a:lnTo>
                      <a:pt x="48" y="107"/>
                    </a:lnTo>
                    <a:lnTo>
                      <a:pt x="49" y="106"/>
                    </a:lnTo>
                    <a:lnTo>
                      <a:pt x="50" y="105"/>
                    </a:lnTo>
                    <a:lnTo>
                      <a:pt x="51" y="104"/>
                    </a:lnTo>
                    <a:lnTo>
                      <a:pt x="52" y="104"/>
                    </a:lnTo>
                    <a:lnTo>
                      <a:pt x="53" y="103"/>
                    </a:lnTo>
                    <a:lnTo>
                      <a:pt x="53" y="101"/>
                    </a:lnTo>
                    <a:lnTo>
                      <a:pt x="54" y="100"/>
                    </a:lnTo>
                    <a:lnTo>
                      <a:pt x="55" y="99"/>
                    </a:lnTo>
                    <a:lnTo>
                      <a:pt x="55" y="98"/>
                    </a:lnTo>
                    <a:lnTo>
                      <a:pt x="55" y="97"/>
                    </a:lnTo>
                    <a:lnTo>
                      <a:pt x="56" y="96"/>
                    </a:lnTo>
                    <a:lnTo>
                      <a:pt x="59" y="95"/>
                    </a:lnTo>
                    <a:lnTo>
                      <a:pt x="59" y="94"/>
                    </a:lnTo>
                    <a:lnTo>
                      <a:pt x="60" y="94"/>
                    </a:lnTo>
                    <a:lnTo>
                      <a:pt x="61" y="94"/>
                    </a:lnTo>
                    <a:lnTo>
                      <a:pt x="62" y="94"/>
                    </a:lnTo>
                    <a:lnTo>
                      <a:pt x="63" y="93"/>
                    </a:lnTo>
                    <a:lnTo>
                      <a:pt x="66" y="94"/>
                    </a:lnTo>
                    <a:lnTo>
                      <a:pt x="67" y="94"/>
                    </a:lnTo>
                    <a:lnTo>
                      <a:pt x="69" y="95"/>
                    </a:lnTo>
                    <a:lnTo>
                      <a:pt x="70" y="94"/>
                    </a:lnTo>
                    <a:lnTo>
                      <a:pt x="72" y="94"/>
                    </a:lnTo>
                    <a:lnTo>
                      <a:pt x="73" y="94"/>
                    </a:lnTo>
                    <a:lnTo>
                      <a:pt x="74" y="94"/>
                    </a:lnTo>
                    <a:lnTo>
                      <a:pt x="75" y="93"/>
                    </a:lnTo>
                    <a:lnTo>
                      <a:pt x="76" y="93"/>
                    </a:lnTo>
                    <a:lnTo>
                      <a:pt x="78" y="92"/>
                    </a:lnTo>
                    <a:lnTo>
                      <a:pt x="80" y="90"/>
                    </a:lnTo>
                    <a:lnTo>
                      <a:pt x="82" y="88"/>
                    </a:lnTo>
                    <a:lnTo>
                      <a:pt x="83" y="88"/>
                    </a:lnTo>
                    <a:lnTo>
                      <a:pt x="83" y="86"/>
                    </a:lnTo>
                    <a:lnTo>
                      <a:pt x="85" y="86"/>
                    </a:lnTo>
                    <a:lnTo>
                      <a:pt x="85" y="85"/>
                    </a:lnTo>
                    <a:lnTo>
                      <a:pt x="86" y="84"/>
                    </a:lnTo>
                    <a:lnTo>
                      <a:pt x="87" y="84"/>
                    </a:lnTo>
                    <a:lnTo>
                      <a:pt x="88" y="84"/>
                    </a:lnTo>
                    <a:lnTo>
                      <a:pt x="88" y="83"/>
                    </a:lnTo>
                    <a:lnTo>
                      <a:pt x="87" y="82"/>
                    </a:lnTo>
                    <a:lnTo>
                      <a:pt x="87" y="81"/>
                    </a:lnTo>
                    <a:lnTo>
                      <a:pt x="86" y="78"/>
                    </a:lnTo>
                    <a:lnTo>
                      <a:pt x="86" y="75"/>
                    </a:lnTo>
                    <a:lnTo>
                      <a:pt x="86" y="74"/>
                    </a:lnTo>
                    <a:lnTo>
                      <a:pt x="86" y="72"/>
                    </a:lnTo>
                    <a:lnTo>
                      <a:pt x="87" y="72"/>
                    </a:lnTo>
                    <a:lnTo>
                      <a:pt x="87" y="71"/>
                    </a:lnTo>
                    <a:lnTo>
                      <a:pt x="89" y="70"/>
                    </a:lnTo>
                    <a:lnTo>
                      <a:pt x="90" y="69"/>
                    </a:lnTo>
                    <a:lnTo>
                      <a:pt x="91" y="68"/>
                    </a:lnTo>
                    <a:lnTo>
                      <a:pt x="92" y="67"/>
                    </a:lnTo>
                    <a:lnTo>
                      <a:pt x="92" y="66"/>
                    </a:lnTo>
                    <a:lnTo>
                      <a:pt x="93" y="63"/>
                    </a:lnTo>
                    <a:lnTo>
                      <a:pt x="94" y="62"/>
                    </a:lnTo>
                    <a:lnTo>
                      <a:pt x="95" y="60"/>
                    </a:lnTo>
                    <a:lnTo>
                      <a:pt x="96" y="59"/>
                    </a:lnTo>
                    <a:lnTo>
                      <a:pt x="99" y="58"/>
                    </a:lnTo>
                    <a:lnTo>
                      <a:pt x="100" y="57"/>
                    </a:lnTo>
                    <a:lnTo>
                      <a:pt x="100" y="56"/>
                    </a:lnTo>
                    <a:lnTo>
                      <a:pt x="100" y="55"/>
                    </a:lnTo>
                    <a:lnTo>
                      <a:pt x="96" y="50"/>
                    </a:lnTo>
                    <a:lnTo>
                      <a:pt x="96" y="49"/>
                    </a:lnTo>
                    <a:lnTo>
                      <a:pt x="98" y="47"/>
                    </a:lnTo>
                    <a:lnTo>
                      <a:pt x="99" y="46"/>
                    </a:lnTo>
                    <a:lnTo>
                      <a:pt x="100" y="45"/>
                    </a:lnTo>
                    <a:lnTo>
                      <a:pt x="101" y="44"/>
                    </a:lnTo>
                    <a:lnTo>
                      <a:pt x="102" y="43"/>
                    </a:lnTo>
                    <a:lnTo>
                      <a:pt x="103" y="43"/>
                    </a:lnTo>
                    <a:lnTo>
                      <a:pt x="104" y="42"/>
                    </a:lnTo>
                    <a:lnTo>
                      <a:pt x="104" y="41"/>
                    </a:lnTo>
                    <a:lnTo>
                      <a:pt x="105" y="41"/>
                    </a:lnTo>
                    <a:lnTo>
                      <a:pt x="106" y="40"/>
                    </a:lnTo>
                    <a:lnTo>
                      <a:pt x="106" y="39"/>
                    </a:lnTo>
                    <a:lnTo>
                      <a:pt x="106" y="37"/>
                    </a:lnTo>
                    <a:lnTo>
                      <a:pt x="107" y="35"/>
                    </a:lnTo>
                    <a:lnTo>
                      <a:pt x="108" y="34"/>
                    </a:lnTo>
                    <a:lnTo>
                      <a:pt x="108" y="32"/>
                    </a:lnTo>
                    <a:lnTo>
                      <a:pt x="109" y="31"/>
                    </a:lnTo>
                    <a:lnTo>
                      <a:pt x="111" y="31"/>
                    </a:lnTo>
                    <a:lnTo>
                      <a:pt x="111" y="30"/>
                    </a:lnTo>
                    <a:lnTo>
                      <a:pt x="111" y="29"/>
                    </a:lnTo>
                    <a:lnTo>
                      <a:pt x="112" y="29"/>
                    </a:lnTo>
                    <a:lnTo>
                      <a:pt x="113" y="28"/>
                    </a:lnTo>
                    <a:lnTo>
                      <a:pt x="115" y="27"/>
                    </a:lnTo>
                    <a:lnTo>
                      <a:pt x="119" y="24"/>
                    </a:lnTo>
                    <a:lnTo>
                      <a:pt x="119" y="23"/>
                    </a:lnTo>
                    <a:lnTo>
                      <a:pt x="120" y="22"/>
                    </a:lnTo>
                    <a:lnTo>
                      <a:pt x="123" y="19"/>
                    </a:lnTo>
                    <a:lnTo>
                      <a:pt x="123" y="18"/>
                    </a:lnTo>
                    <a:lnTo>
                      <a:pt x="123" y="17"/>
                    </a:lnTo>
                    <a:lnTo>
                      <a:pt x="123" y="16"/>
                    </a:lnTo>
                    <a:lnTo>
                      <a:pt x="121" y="15"/>
                    </a:lnTo>
                    <a:lnTo>
                      <a:pt x="120" y="15"/>
                    </a:lnTo>
                    <a:lnTo>
                      <a:pt x="119" y="15"/>
                    </a:lnTo>
                    <a:lnTo>
                      <a:pt x="119" y="16"/>
                    </a:lnTo>
                    <a:lnTo>
                      <a:pt x="119" y="17"/>
                    </a:lnTo>
                    <a:lnTo>
                      <a:pt x="118" y="17"/>
                    </a:lnTo>
                    <a:lnTo>
                      <a:pt x="118" y="16"/>
                    </a:lnTo>
                    <a:lnTo>
                      <a:pt x="116" y="16"/>
                    </a:lnTo>
                    <a:lnTo>
                      <a:pt x="115" y="16"/>
                    </a:lnTo>
                    <a:lnTo>
                      <a:pt x="116" y="16"/>
                    </a:lnTo>
                    <a:lnTo>
                      <a:pt x="116" y="15"/>
                    </a:lnTo>
                    <a:lnTo>
                      <a:pt x="116" y="14"/>
                    </a:lnTo>
                    <a:lnTo>
                      <a:pt x="117" y="14"/>
                    </a:lnTo>
                    <a:lnTo>
                      <a:pt x="118" y="13"/>
                    </a:lnTo>
                    <a:lnTo>
                      <a:pt x="117" y="11"/>
                    </a:lnTo>
                    <a:lnTo>
                      <a:pt x="116" y="13"/>
                    </a:lnTo>
                    <a:lnTo>
                      <a:pt x="116" y="11"/>
                    </a:lnTo>
                    <a:lnTo>
                      <a:pt x="116" y="9"/>
                    </a:lnTo>
                    <a:lnTo>
                      <a:pt x="117" y="9"/>
                    </a:lnTo>
                    <a:lnTo>
                      <a:pt x="119" y="10"/>
                    </a:lnTo>
                    <a:lnTo>
                      <a:pt x="120" y="10"/>
                    </a:lnTo>
                    <a:lnTo>
                      <a:pt x="120" y="11"/>
                    </a:lnTo>
                    <a:lnTo>
                      <a:pt x="121" y="10"/>
                    </a:lnTo>
                    <a:lnTo>
                      <a:pt x="123" y="10"/>
                    </a:lnTo>
                    <a:lnTo>
                      <a:pt x="123" y="9"/>
                    </a:lnTo>
                    <a:lnTo>
                      <a:pt x="123" y="6"/>
                    </a:lnTo>
                    <a:lnTo>
                      <a:pt x="123" y="5"/>
                    </a:lnTo>
                    <a:lnTo>
                      <a:pt x="123" y="4"/>
                    </a:lnTo>
                    <a:lnTo>
                      <a:pt x="124" y="4"/>
                    </a:lnTo>
                    <a:lnTo>
                      <a:pt x="125" y="3"/>
                    </a:lnTo>
                    <a:lnTo>
                      <a:pt x="126" y="3"/>
                    </a:lnTo>
                    <a:lnTo>
                      <a:pt x="125" y="2"/>
                    </a:lnTo>
                    <a:lnTo>
                      <a:pt x="125" y="1"/>
                    </a:lnTo>
                    <a:lnTo>
                      <a:pt x="124" y="2"/>
                    </a:lnTo>
                    <a:lnTo>
                      <a:pt x="123" y="2"/>
                    </a:lnTo>
                    <a:lnTo>
                      <a:pt x="124" y="1"/>
                    </a:lnTo>
                    <a:lnTo>
                      <a:pt x="124" y="0"/>
                    </a:lnTo>
                    <a:lnTo>
                      <a:pt x="125" y="0"/>
                    </a:lnTo>
                    <a:lnTo>
                      <a:pt x="133" y="0"/>
                    </a:lnTo>
                    <a:lnTo>
                      <a:pt x="139" y="0"/>
                    </a:lnTo>
                    <a:lnTo>
                      <a:pt x="140" y="0"/>
                    </a:lnTo>
                    <a:lnTo>
                      <a:pt x="141" y="0"/>
                    </a:lnTo>
                    <a:lnTo>
                      <a:pt x="146" y="0"/>
                    </a:lnTo>
                    <a:lnTo>
                      <a:pt x="147" y="0"/>
                    </a:lnTo>
                    <a:lnTo>
                      <a:pt x="149" y="0"/>
                    </a:lnTo>
                    <a:lnTo>
                      <a:pt x="150" y="0"/>
                    </a:lnTo>
                    <a:lnTo>
                      <a:pt x="154" y="0"/>
                    </a:lnTo>
                    <a:lnTo>
                      <a:pt x="157" y="0"/>
                    </a:lnTo>
                    <a:lnTo>
                      <a:pt x="166" y="0"/>
                    </a:lnTo>
                    <a:lnTo>
                      <a:pt x="167" y="0"/>
                    </a:lnTo>
                    <a:lnTo>
                      <a:pt x="169" y="0"/>
                    </a:lnTo>
                    <a:lnTo>
                      <a:pt x="171" y="0"/>
                    </a:lnTo>
                    <a:lnTo>
                      <a:pt x="182" y="0"/>
                    </a:lnTo>
                    <a:lnTo>
                      <a:pt x="183" y="0"/>
                    </a:lnTo>
                    <a:lnTo>
                      <a:pt x="188" y="0"/>
                    </a:lnTo>
                    <a:lnTo>
                      <a:pt x="189" y="0"/>
                    </a:lnTo>
                    <a:lnTo>
                      <a:pt x="190" y="0"/>
                    </a:lnTo>
                    <a:lnTo>
                      <a:pt x="192" y="0"/>
                    </a:lnTo>
                    <a:lnTo>
                      <a:pt x="194" y="0"/>
                    </a:lnTo>
                    <a:lnTo>
                      <a:pt x="199" y="0"/>
                    </a:lnTo>
                    <a:lnTo>
                      <a:pt x="201" y="0"/>
                    </a:lnTo>
                    <a:lnTo>
                      <a:pt x="205" y="0"/>
                    </a:lnTo>
                    <a:lnTo>
                      <a:pt x="208" y="0"/>
                    </a:lnTo>
                    <a:lnTo>
                      <a:pt x="209" y="0"/>
                    </a:lnTo>
                    <a:lnTo>
                      <a:pt x="210" y="0"/>
                    </a:lnTo>
                    <a:lnTo>
                      <a:pt x="212" y="0"/>
                    </a:lnTo>
                    <a:lnTo>
                      <a:pt x="214" y="0"/>
                    </a:lnTo>
                    <a:lnTo>
                      <a:pt x="215" y="0"/>
                    </a:lnTo>
                    <a:lnTo>
                      <a:pt x="217" y="0"/>
                    </a:lnTo>
                    <a:lnTo>
                      <a:pt x="222" y="1"/>
                    </a:lnTo>
                    <a:lnTo>
                      <a:pt x="229" y="1"/>
                    </a:lnTo>
                    <a:close/>
                  </a:path>
                </a:pathLst>
              </a:custGeom>
              <a:solidFill>
                <a:srgbClr val="ACD2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 name="Freeform 59">
                <a:extLst>
                  <a:ext uri="{FF2B5EF4-FFF2-40B4-BE49-F238E27FC236}">
                    <a16:creationId xmlns:a16="http://schemas.microsoft.com/office/drawing/2014/main" id="{A8986C3A-77F5-2C59-E500-642C73CA8195}"/>
                  </a:ext>
                </a:extLst>
              </p:cNvPr>
              <p:cNvSpPr>
                <a:spLocks/>
              </p:cNvSpPr>
              <p:nvPr/>
            </p:nvSpPr>
            <p:spPr bwMode="auto">
              <a:xfrm>
                <a:off x="3097213" y="1536700"/>
                <a:ext cx="587375" cy="593725"/>
              </a:xfrm>
              <a:custGeom>
                <a:avLst/>
                <a:gdLst>
                  <a:gd name="T0" fmla="*/ 367 w 370"/>
                  <a:gd name="T1" fmla="*/ 80 h 374"/>
                  <a:gd name="T2" fmla="*/ 354 w 370"/>
                  <a:gd name="T3" fmla="*/ 94 h 374"/>
                  <a:gd name="T4" fmla="*/ 344 w 370"/>
                  <a:gd name="T5" fmla="*/ 108 h 374"/>
                  <a:gd name="T6" fmla="*/ 338 w 370"/>
                  <a:gd name="T7" fmla="*/ 122 h 374"/>
                  <a:gd name="T8" fmla="*/ 336 w 370"/>
                  <a:gd name="T9" fmla="*/ 137 h 374"/>
                  <a:gd name="T10" fmla="*/ 343 w 370"/>
                  <a:gd name="T11" fmla="*/ 155 h 374"/>
                  <a:gd name="T12" fmla="*/ 343 w 370"/>
                  <a:gd name="T13" fmla="*/ 170 h 374"/>
                  <a:gd name="T14" fmla="*/ 336 w 370"/>
                  <a:gd name="T15" fmla="*/ 183 h 374"/>
                  <a:gd name="T16" fmla="*/ 270 w 370"/>
                  <a:gd name="T17" fmla="*/ 190 h 374"/>
                  <a:gd name="T18" fmla="*/ 240 w 370"/>
                  <a:gd name="T19" fmla="*/ 197 h 374"/>
                  <a:gd name="T20" fmla="*/ 228 w 370"/>
                  <a:gd name="T21" fmla="*/ 201 h 374"/>
                  <a:gd name="T22" fmla="*/ 218 w 370"/>
                  <a:gd name="T23" fmla="*/ 208 h 374"/>
                  <a:gd name="T24" fmla="*/ 207 w 370"/>
                  <a:gd name="T25" fmla="*/ 220 h 374"/>
                  <a:gd name="T26" fmla="*/ 203 w 370"/>
                  <a:gd name="T27" fmla="*/ 235 h 374"/>
                  <a:gd name="T28" fmla="*/ 186 w 370"/>
                  <a:gd name="T29" fmla="*/ 240 h 374"/>
                  <a:gd name="T30" fmla="*/ 170 w 370"/>
                  <a:gd name="T31" fmla="*/ 240 h 374"/>
                  <a:gd name="T32" fmla="*/ 168 w 370"/>
                  <a:gd name="T33" fmla="*/ 256 h 374"/>
                  <a:gd name="T34" fmla="*/ 167 w 370"/>
                  <a:gd name="T35" fmla="*/ 267 h 374"/>
                  <a:gd name="T36" fmla="*/ 163 w 370"/>
                  <a:gd name="T37" fmla="*/ 276 h 374"/>
                  <a:gd name="T38" fmla="*/ 160 w 370"/>
                  <a:gd name="T39" fmla="*/ 291 h 374"/>
                  <a:gd name="T40" fmla="*/ 161 w 370"/>
                  <a:gd name="T41" fmla="*/ 301 h 374"/>
                  <a:gd name="T42" fmla="*/ 156 w 370"/>
                  <a:gd name="T43" fmla="*/ 309 h 374"/>
                  <a:gd name="T44" fmla="*/ 144 w 370"/>
                  <a:gd name="T45" fmla="*/ 321 h 374"/>
                  <a:gd name="T46" fmla="*/ 132 w 370"/>
                  <a:gd name="T47" fmla="*/ 328 h 374"/>
                  <a:gd name="T48" fmla="*/ 130 w 370"/>
                  <a:gd name="T49" fmla="*/ 343 h 374"/>
                  <a:gd name="T50" fmla="*/ 123 w 370"/>
                  <a:gd name="T51" fmla="*/ 351 h 374"/>
                  <a:gd name="T52" fmla="*/ 113 w 370"/>
                  <a:gd name="T53" fmla="*/ 357 h 374"/>
                  <a:gd name="T54" fmla="*/ 101 w 370"/>
                  <a:gd name="T55" fmla="*/ 357 h 374"/>
                  <a:gd name="T56" fmla="*/ 90 w 370"/>
                  <a:gd name="T57" fmla="*/ 366 h 374"/>
                  <a:gd name="T58" fmla="*/ 85 w 370"/>
                  <a:gd name="T59" fmla="*/ 367 h 374"/>
                  <a:gd name="T60" fmla="*/ 70 w 370"/>
                  <a:gd name="T61" fmla="*/ 362 h 374"/>
                  <a:gd name="T62" fmla="*/ 54 w 370"/>
                  <a:gd name="T63" fmla="*/ 359 h 374"/>
                  <a:gd name="T64" fmla="*/ 33 w 370"/>
                  <a:gd name="T65" fmla="*/ 361 h 374"/>
                  <a:gd name="T66" fmla="*/ 33 w 370"/>
                  <a:gd name="T67" fmla="*/ 342 h 374"/>
                  <a:gd name="T68" fmla="*/ 27 w 370"/>
                  <a:gd name="T69" fmla="*/ 340 h 374"/>
                  <a:gd name="T70" fmla="*/ 26 w 370"/>
                  <a:gd name="T71" fmla="*/ 330 h 374"/>
                  <a:gd name="T72" fmla="*/ 24 w 370"/>
                  <a:gd name="T73" fmla="*/ 329 h 374"/>
                  <a:gd name="T74" fmla="*/ 23 w 370"/>
                  <a:gd name="T75" fmla="*/ 317 h 374"/>
                  <a:gd name="T76" fmla="*/ 23 w 370"/>
                  <a:gd name="T77" fmla="*/ 306 h 374"/>
                  <a:gd name="T78" fmla="*/ 26 w 370"/>
                  <a:gd name="T79" fmla="*/ 293 h 374"/>
                  <a:gd name="T80" fmla="*/ 9 w 370"/>
                  <a:gd name="T81" fmla="*/ 269 h 374"/>
                  <a:gd name="T82" fmla="*/ 15 w 370"/>
                  <a:gd name="T83" fmla="*/ 238 h 374"/>
                  <a:gd name="T84" fmla="*/ 16 w 370"/>
                  <a:gd name="T85" fmla="*/ 214 h 374"/>
                  <a:gd name="T86" fmla="*/ 27 w 370"/>
                  <a:gd name="T87" fmla="*/ 192 h 374"/>
                  <a:gd name="T88" fmla="*/ 38 w 370"/>
                  <a:gd name="T89" fmla="*/ 176 h 374"/>
                  <a:gd name="T90" fmla="*/ 53 w 370"/>
                  <a:gd name="T91" fmla="*/ 159 h 374"/>
                  <a:gd name="T92" fmla="*/ 58 w 370"/>
                  <a:gd name="T93" fmla="*/ 141 h 374"/>
                  <a:gd name="T94" fmla="*/ 67 w 370"/>
                  <a:gd name="T95" fmla="*/ 124 h 374"/>
                  <a:gd name="T96" fmla="*/ 83 w 370"/>
                  <a:gd name="T97" fmla="*/ 108 h 374"/>
                  <a:gd name="T98" fmla="*/ 90 w 370"/>
                  <a:gd name="T99" fmla="*/ 90 h 374"/>
                  <a:gd name="T100" fmla="*/ 103 w 370"/>
                  <a:gd name="T101" fmla="*/ 103 h 374"/>
                  <a:gd name="T102" fmla="*/ 119 w 370"/>
                  <a:gd name="T103" fmla="*/ 106 h 374"/>
                  <a:gd name="T104" fmla="*/ 122 w 370"/>
                  <a:gd name="T105" fmla="*/ 88 h 374"/>
                  <a:gd name="T106" fmla="*/ 135 w 370"/>
                  <a:gd name="T107" fmla="*/ 75 h 374"/>
                  <a:gd name="T108" fmla="*/ 149 w 370"/>
                  <a:gd name="T109" fmla="*/ 73 h 374"/>
                  <a:gd name="T110" fmla="*/ 161 w 370"/>
                  <a:gd name="T111" fmla="*/ 80 h 374"/>
                  <a:gd name="T112" fmla="*/ 177 w 370"/>
                  <a:gd name="T113" fmla="*/ 79 h 374"/>
                  <a:gd name="T114" fmla="*/ 187 w 370"/>
                  <a:gd name="T115" fmla="*/ 55 h 374"/>
                  <a:gd name="T116" fmla="*/ 206 w 370"/>
                  <a:gd name="T117" fmla="*/ 42 h 374"/>
                  <a:gd name="T118" fmla="*/ 226 w 370"/>
                  <a:gd name="T119" fmla="*/ 36 h 374"/>
                  <a:gd name="T120" fmla="*/ 240 w 370"/>
                  <a:gd name="T121" fmla="*/ 12 h 374"/>
                  <a:gd name="T122" fmla="*/ 268 w 370"/>
                  <a:gd name="T123" fmla="*/ 25 h 374"/>
                  <a:gd name="T124" fmla="*/ 310 w 370"/>
                  <a:gd name="T125" fmla="*/ 62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0" h="374">
                    <a:moveTo>
                      <a:pt x="361" y="62"/>
                    </a:moveTo>
                    <a:lnTo>
                      <a:pt x="361" y="63"/>
                    </a:lnTo>
                    <a:lnTo>
                      <a:pt x="361" y="64"/>
                    </a:lnTo>
                    <a:lnTo>
                      <a:pt x="362" y="65"/>
                    </a:lnTo>
                    <a:lnTo>
                      <a:pt x="362" y="66"/>
                    </a:lnTo>
                    <a:lnTo>
                      <a:pt x="363" y="66"/>
                    </a:lnTo>
                    <a:lnTo>
                      <a:pt x="364" y="67"/>
                    </a:lnTo>
                    <a:lnTo>
                      <a:pt x="364" y="68"/>
                    </a:lnTo>
                    <a:lnTo>
                      <a:pt x="366" y="68"/>
                    </a:lnTo>
                    <a:lnTo>
                      <a:pt x="366" y="69"/>
                    </a:lnTo>
                    <a:lnTo>
                      <a:pt x="366" y="70"/>
                    </a:lnTo>
                    <a:lnTo>
                      <a:pt x="367" y="71"/>
                    </a:lnTo>
                    <a:lnTo>
                      <a:pt x="367" y="72"/>
                    </a:lnTo>
                    <a:lnTo>
                      <a:pt x="369" y="75"/>
                    </a:lnTo>
                    <a:lnTo>
                      <a:pt x="370" y="76"/>
                    </a:lnTo>
                    <a:lnTo>
                      <a:pt x="370" y="77"/>
                    </a:lnTo>
                    <a:lnTo>
                      <a:pt x="370" y="78"/>
                    </a:lnTo>
                    <a:lnTo>
                      <a:pt x="369" y="78"/>
                    </a:lnTo>
                    <a:lnTo>
                      <a:pt x="369" y="79"/>
                    </a:lnTo>
                    <a:lnTo>
                      <a:pt x="368" y="79"/>
                    </a:lnTo>
                    <a:lnTo>
                      <a:pt x="367" y="80"/>
                    </a:lnTo>
                    <a:lnTo>
                      <a:pt x="363" y="82"/>
                    </a:lnTo>
                    <a:lnTo>
                      <a:pt x="363" y="83"/>
                    </a:lnTo>
                    <a:lnTo>
                      <a:pt x="363" y="84"/>
                    </a:lnTo>
                    <a:lnTo>
                      <a:pt x="364" y="85"/>
                    </a:lnTo>
                    <a:lnTo>
                      <a:pt x="366" y="86"/>
                    </a:lnTo>
                    <a:lnTo>
                      <a:pt x="366" y="88"/>
                    </a:lnTo>
                    <a:lnTo>
                      <a:pt x="364" y="89"/>
                    </a:lnTo>
                    <a:lnTo>
                      <a:pt x="364" y="90"/>
                    </a:lnTo>
                    <a:lnTo>
                      <a:pt x="363" y="90"/>
                    </a:lnTo>
                    <a:lnTo>
                      <a:pt x="362" y="90"/>
                    </a:lnTo>
                    <a:lnTo>
                      <a:pt x="361" y="90"/>
                    </a:lnTo>
                    <a:lnTo>
                      <a:pt x="360" y="90"/>
                    </a:lnTo>
                    <a:lnTo>
                      <a:pt x="359" y="91"/>
                    </a:lnTo>
                    <a:lnTo>
                      <a:pt x="358" y="91"/>
                    </a:lnTo>
                    <a:lnTo>
                      <a:pt x="358" y="92"/>
                    </a:lnTo>
                    <a:lnTo>
                      <a:pt x="357" y="91"/>
                    </a:lnTo>
                    <a:lnTo>
                      <a:pt x="356" y="91"/>
                    </a:lnTo>
                    <a:lnTo>
                      <a:pt x="355" y="91"/>
                    </a:lnTo>
                    <a:lnTo>
                      <a:pt x="355" y="92"/>
                    </a:lnTo>
                    <a:lnTo>
                      <a:pt x="354" y="93"/>
                    </a:lnTo>
                    <a:lnTo>
                      <a:pt x="354" y="94"/>
                    </a:lnTo>
                    <a:lnTo>
                      <a:pt x="352" y="94"/>
                    </a:lnTo>
                    <a:lnTo>
                      <a:pt x="350" y="95"/>
                    </a:lnTo>
                    <a:lnTo>
                      <a:pt x="349" y="95"/>
                    </a:lnTo>
                    <a:lnTo>
                      <a:pt x="347" y="95"/>
                    </a:lnTo>
                    <a:lnTo>
                      <a:pt x="347" y="96"/>
                    </a:lnTo>
                    <a:lnTo>
                      <a:pt x="346" y="96"/>
                    </a:lnTo>
                    <a:lnTo>
                      <a:pt x="346" y="97"/>
                    </a:lnTo>
                    <a:lnTo>
                      <a:pt x="345" y="98"/>
                    </a:lnTo>
                    <a:lnTo>
                      <a:pt x="346" y="98"/>
                    </a:lnTo>
                    <a:lnTo>
                      <a:pt x="346" y="100"/>
                    </a:lnTo>
                    <a:lnTo>
                      <a:pt x="347" y="100"/>
                    </a:lnTo>
                    <a:lnTo>
                      <a:pt x="347" y="101"/>
                    </a:lnTo>
                    <a:lnTo>
                      <a:pt x="347" y="102"/>
                    </a:lnTo>
                    <a:lnTo>
                      <a:pt x="346" y="102"/>
                    </a:lnTo>
                    <a:lnTo>
                      <a:pt x="345" y="103"/>
                    </a:lnTo>
                    <a:lnTo>
                      <a:pt x="346" y="104"/>
                    </a:lnTo>
                    <a:lnTo>
                      <a:pt x="346" y="105"/>
                    </a:lnTo>
                    <a:lnTo>
                      <a:pt x="345" y="106"/>
                    </a:lnTo>
                    <a:lnTo>
                      <a:pt x="344" y="106"/>
                    </a:lnTo>
                    <a:lnTo>
                      <a:pt x="344" y="107"/>
                    </a:lnTo>
                    <a:lnTo>
                      <a:pt x="344" y="108"/>
                    </a:lnTo>
                    <a:lnTo>
                      <a:pt x="344" y="109"/>
                    </a:lnTo>
                    <a:lnTo>
                      <a:pt x="343" y="110"/>
                    </a:lnTo>
                    <a:lnTo>
                      <a:pt x="343" y="111"/>
                    </a:lnTo>
                    <a:lnTo>
                      <a:pt x="342" y="111"/>
                    </a:lnTo>
                    <a:lnTo>
                      <a:pt x="342" y="113"/>
                    </a:lnTo>
                    <a:lnTo>
                      <a:pt x="342" y="114"/>
                    </a:lnTo>
                    <a:lnTo>
                      <a:pt x="342" y="115"/>
                    </a:lnTo>
                    <a:lnTo>
                      <a:pt x="341" y="115"/>
                    </a:lnTo>
                    <a:lnTo>
                      <a:pt x="341" y="116"/>
                    </a:lnTo>
                    <a:lnTo>
                      <a:pt x="341" y="117"/>
                    </a:lnTo>
                    <a:lnTo>
                      <a:pt x="339" y="117"/>
                    </a:lnTo>
                    <a:lnTo>
                      <a:pt x="339" y="118"/>
                    </a:lnTo>
                    <a:lnTo>
                      <a:pt x="339" y="120"/>
                    </a:lnTo>
                    <a:lnTo>
                      <a:pt x="338" y="120"/>
                    </a:lnTo>
                    <a:lnTo>
                      <a:pt x="338" y="119"/>
                    </a:lnTo>
                    <a:lnTo>
                      <a:pt x="338" y="118"/>
                    </a:lnTo>
                    <a:lnTo>
                      <a:pt x="337" y="118"/>
                    </a:lnTo>
                    <a:lnTo>
                      <a:pt x="336" y="119"/>
                    </a:lnTo>
                    <a:lnTo>
                      <a:pt x="337" y="120"/>
                    </a:lnTo>
                    <a:lnTo>
                      <a:pt x="337" y="121"/>
                    </a:lnTo>
                    <a:lnTo>
                      <a:pt x="338" y="122"/>
                    </a:lnTo>
                    <a:lnTo>
                      <a:pt x="339" y="121"/>
                    </a:lnTo>
                    <a:lnTo>
                      <a:pt x="339" y="122"/>
                    </a:lnTo>
                    <a:lnTo>
                      <a:pt x="338" y="122"/>
                    </a:lnTo>
                    <a:lnTo>
                      <a:pt x="338" y="123"/>
                    </a:lnTo>
                    <a:lnTo>
                      <a:pt x="337" y="123"/>
                    </a:lnTo>
                    <a:lnTo>
                      <a:pt x="337" y="124"/>
                    </a:lnTo>
                    <a:lnTo>
                      <a:pt x="336" y="124"/>
                    </a:lnTo>
                    <a:lnTo>
                      <a:pt x="337" y="124"/>
                    </a:lnTo>
                    <a:lnTo>
                      <a:pt x="337" y="126"/>
                    </a:lnTo>
                    <a:lnTo>
                      <a:pt x="338" y="127"/>
                    </a:lnTo>
                    <a:lnTo>
                      <a:pt x="338" y="128"/>
                    </a:lnTo>
                    <a:lnTo>
                      <a:pt x="337" y="128"/>
                    </a:lnTo>
                    <a:lnTo>
                      <a:pt x="337" y="129"/>
                    </a:lnTo>
                    <a:lnTo>
                      <a:pt x="336" y="130"/>
                    </a:lnTo>
                    <a:lnTo>
                      <a:pt x="336" y="131"/>
                    </a:lnTo>
                    <a:lnTo>
                      <a:pt x="336" y="132"/>
                    </a:lnTo>
                    <a:lnTo>
                      <a:pt x="337" y="134"/>
                    </a:lnTo>
                    <a:lnTo>
                      <a:pt x="336" y="134"/>
                    </a:lnTo>
                    <a:lnTo>
                      <a:pt x="336" y="135"/>
                    </a:lnTo>
                    <a:lnTo>
                      <a:pt x="336" y="136"/>
                    </a:lnTo>
                    <a:lnTo>
                      <a:pt x="336" y="137"/>
                    </a:lnTo>
                    <a:lnTo>
                      <a:pt x="336" y="139"/>
                    </a:lnTo>
                    <a:lnTo>
                      <a:pt x="337" y="139"/>
                    </a:lnTo>
                    <a:lnTo>
                      <a:pt x="338" y="139"/>
                    </a:lnTo>
                    <a:lnTo>
                      <a:pt x="338" y="140"/>
                    </a:lnTo>
                    <a:lnTo>
                      <a:pt x="338" y="141"/>
                    </a:lnTo>
                    <a:lnTo>
                      <a:pt x="337" y="141"/>
                    </a:lnTo>
                    <a:lnTo>
                      <a:pt x="337" y="142"/>
                    </a:lnTo>
                    <a:lnTo>
                      <a:pt x="338" y="143"/>
                    </a:lnTo>
                    <a:lnTo>
                      <a:pt x="339" y="143"/>
                    </a:lnTo>
                    <a:lnTo>
                      <a:pt x="339" y="144"/>
                    </a:lnTo>
                    <a:lnTo>
                      <a:pt x="339" y="145"/>
                    </a:lnTo>
                    <a:lnTo>
                      <a:pt x="339" y="146"/>
                    </a:lnTo>
                    <a:lnTo>
                      <a:pt x="341" y="146"/>
                    </a:lnTo>
                    <a:lnTo>
                      <a:pt x="341" y="147"/>
                    </a:lnTo>
                    <a:lnTo>
                      <a:pt x="342" y="148"/>
                    </a:lnTo>
                    <a:lnTo>
                      <a:pt x="342" y="149"/>
                    </a:lnTo>
                    <a:lnTo>
                      <a:pt x="342" y="150"/>
                    </a:lnTo>
                    <a:lnTo>
                      <a:pt x="342" y="152"/>
                    </a:lnTo>
                    <a:lnTo>
                      <a:pt x="343" y="153"/>
                    </a:lnTo>
                    <a:lnTo>
                      <a:pt x="343" y="154"/>
                    </a:lnTo>
                    <a:lnTo>
                      <a:pt x="343" y="155"/>
                    </a:lnTo>
                    <a:lnTo>
                      <a:pt x="343" y="156"/>
                    </a:lnTo>
                    <a:lnTo>
                      <a:pt x="343" y="157"/>
                    </a:lnTo>
                    <a:lnTo>
                      <a:pt x="343" y="158"/>
                    </a:lnTo>
                    <a:lnTo>
                      <a:pt x="342" y="158"/>
                    </a:lnTo>
                    <a:lnTo>
                      <a:pt x="341" y="158"/>
                    </a:lnTo>
                    <a:lnTo>
                      <a:pt x="341" y="159"/>
                    </a:lnTo>
                    <a:lnTo>
                      <a:pt x="341" y="160"/>
                    </a:lnTo>
                    <a:lnTo>
                      <a:pt x="342" y="160"/>
                    </a:lnTo>
                    <a:lnTo>
                      <a:pt x="343" y="161"/>
                    </a:lnTo>
                    <a:lnTo>
                      <a:pt x="343" y="162"/>
                    </a:lnTo>
                    <a:lnTo>
                      <a:pt x="343" y="163"/>
                    </a:lnTo>
                    <a:lnTo>
                      <a:pt x="344" y="165"/>
                    </a:lnTo>
                    <a:lnTo>
                      <a:pt x="345" y="165"/>
                    </a:lnTo>
                    <a:lnTo>
                      <a:pt x="345" y="166"/>
                    </a:lnTo>
                    <a:lnTo>
                      <a:pt x="344" y="167"/>
                    </a:lnTo>
                    <a:lnTo>
                      <a:pt x="345" y="167"/>
                    </a:lnTo>
                    <a:lnTo>
                      <a:pt x="345" y="168"/>
                    </a:lnTo>
                    <a:lnTo>
                      <a:pt x="345" y="169"/>
                    </a:lnTo>
                    <a:lnTo>
                      <a:pt x="344" y="169"/>
                    </a:lnTo>
                    <a:lnTo>
                      <a:pt x="344" y="170"/>
                    </a:lnTo>
                    <a:lnTo>
                      <a:pt x="343" y="170"/>
                    </a:lnTo>
                    <a:lnTo>
                      <a:pt x="342" y="170"/>
                    </a:lnTo>
                    <a:lnTo>
                      <a:pt x="342" y="169"/>
                    </a:lnTo>
                    <a:lnTo>
                      <a:pt x="343" y="168"/>
                    </a:lnTo>
                    <a:lnTo>
                      <a:pt x="343" y="167"/>
                    </a:lnTo>
                    <a:lnTo>
                      <a:pt x="342" y="167"/>
                    </a:lnTo>
                    <a:lnTo>
                      <a:pt x="341" y="167"/>
                    </a:lnTo>
                    <a:lnTo>
                      <a:pt x="339" y="166"/>
                    </a:lnTo>
                    <a:lnTo>
                      <a:pt x="338" y="166"/>
                    </a:lnTo>
                    <a:lnTo>
                      <a:pt x="337" y="166"/>
                    </a:lnTo>
                    <a:lnTo>
                      <a:pt x="336" y="167"/>
                    </a:lnTo>
                    <a:lnTo>
                      <a:pt x="336" y="168"/>
                    </a:lnTo>
                    <a:lnTo>
                      <a:pt x="336" y="170"/>
                    </a:lnTo>
                    <a:lnTo>
                      <a:pt x="336" y="172"/>
                    </a:lnTo>
                    <a:lnTo>
                      <a:pt x="335" y="174"/>
                    </a:lnTo>
                    <a:lnTo>
                      <a:pt x="335" y="175"/>
                    </a:lnTo>
                    <a:lnTo>
                      <a:pt x="336" y="178"/>
                    </a:lnTo>
                    <a:lnTo>
                      <a:pt x="337" y="179"/>
                    </a:lnTo>
                    <a:lnTo>
                      <a:pt x="337" y="180"/>
                    </a:lnTo>
                    <a:lnTo>
                      <a:pt x="337" y="181"/>
                    </a:lnTo>
                    <a:lnTo>
                      <a:pt x="337" y="182"/>
                    </a:lnTo>
                    <a:lnTo>
                      <a:pt x="336" y="183"/>
                    </a:lnTo>
                    <a:lnTo>
                      <a:pt x="335" y="183"/>
                    </a:lnTo>
                    <a:lnTo>
                      <a:pt x="335" y="184"/>
                    </a:lnTo>
                    <a:lnTo>
                      <a:pt x="336" y="184"/>
                    </a:lnTo>
                    <a:lnTo>
                      <a:pt x="337" y="185"/>
                    </a:lnTo>
                    <a:lnTo>
                      <a:pt x="338" y="186"/>
                    </a:lnTo>
                    <a:lnTo>
                      <a:pt x="338" y="187"/>
                    </a:lnTo>
                    <a:lnTo>
                      <a:pt x="339" y="187"/>
                    </a:lnTo>
                    <a:lnTo>
                      <a:pt x="342" y="188"/>
                    </a:lnTo>
                    <a:lnTo>
                      <a:pt x="342" y="190"/>
                    </a:lnTo>
                    <a:lnTo>
                      <a:pt x="341" y="190"/>
                    </a:lnTo>
                    <a:lnTo>
                      <a:pt x="339" y="190"/>
                    </a:lnTo>
                    <a:lnTo>
                      <a:pt x="336" y="190"/>
                    </a:lnTo>
                    <a:lnTo>
                      <a:pt x="334" y="190"/>
                    </a:lnTo>
                    <a:lnTo>
                      <a:pt x="326" y="190"/>
                    </a:lnTo>
                    <a:lnTo>
                      <a:pt x="308" y="190"/>
                    </a:lnTo>
                    <a:lnTo>
                      <a:pt x="300" y="190"/>
                    </a:lnTo>
                    <a:lnTo>
                      <a:pt x="297" y="190"/>
                    </a:lnTo>
                    <a:lnTo>
                      <a:pt x="290" y="190"/>
                    </a:lnTo>
                    <a:lnTo>
                      <a:pt x="280" y="190"/>
                    </a:lnTo>
                    <a:lnTo>
                      <a:pt x="273" y="190"/>
                    </a:lnTo>
                    <a:lnTo>
                      <a:pt x="270" y="190"/>
                    </a:lnTo>
                    <a:lnTo>
                      <a:pt x="269" y="190"/>
                    </a:lnTo>
                    <a:lnTo>
                      <a:pt x="264" y="190"/>
                    </a:lnTo>
                    <a:lnTo>
                      <a:pt x="256" y="190"/>
                    </a:lnTo>
                    <a:lnTo>
                      <a:pt x="251" y="190"/>
                    </a:lnTo>
                    <a:lnTo>
                      <a:pt x="245" y="190"/>
                    </a:lnTo>
                    <a:lnTo>
                      <a:pt x="246" y="190"/>
                    </a:lnTo>
                    <a:lnTo>
                      <a:pt x="247" y="190"/>
                    </a:lnTo>
                    <a:lnTo>
                      <a:pt x="247" y="191"/>
                    </a:lnTo>
                    <a:lnTo>
                      <a:pt x="247" y="192"/>
                    </a:lnTo>
                    <a:lnTo>
                      <a:pt x="246" y="192"/>
                    </a:lnTo>
                    <a:lnTo>
                      <a:pt x="245" y="192"/>
                    </a:lnTo>
                    <a:lnTo>
                      <a:pt x="244" y="193"/>
                    </a:lnTo>
                    <a:lnTo>
                      <a:pt x="243" y="193"/>
                    </a:lnTo>
                    <a:lnTo>
                      <a:pt x="242" y="193"/>
                    </a:lnTo>
                    <a:lnTo>
                      <a:pt x="242" y="192"/>
                    </a:lnTo>
                    <a:lnTo>
                      <a:pt x="241" y="192"/>
                    </a:lnTo>
                    <a:lnTo>
                      <a:pt x="241" y="193"/>
                    </a:lnTo>
                    <a:lnTo>
                      <a:pt x="241" y="194"/>
                    </a:lnTo>
                    <a:lnTo>
                      <a:pt x="241" y="195"/>
                    </a:lnTo>
                    <a:lnTo>
                      <a:pt x="240" y="196"/>
                    </a:lnTo>
                    <a:lnTo>
                      <a:pt x="240" y="197"/>
                    </a:lnTo>
                    <a:lnTo>
                      <a:pt x="240" y="198"/>
                    </a:lnTo>
                    <a:lnTo>
                      <a:pt x="239" y="198"/>
                    </a:lnTo>
                    <a:lnTo>
                      <a:pt x="238" y="198"/>
                    </a:lnTo>
                    <a:lnTo>
                      <a:pt x="237" y="198"/>
                    </a:lnTo>
                    <a:lnTo>
                      <a:pt x="235" y="198"/>
                    </a:lnTo>
                    <a:lnTo>
                      <a:pt x="235" y="199"/>
                    </a:lnTo>
                    <a:lnTo>
                      <a:pt x="237" y="200"/>
                    </a:lnTo>
                    <a:lnTo>
                      <a:pt x="237" y="201"/>
                    </a:lnTo>
                    <a:lnTo>
                      <a:pt x="235" y="201"/>
                    </a:lnTo>
                    <a:lnTo>
                      <a:pt x="234" y="201"/>
                    </a:lnTo>
                    <a:lnTo>
                      <a:pt x="233" y="201"/>
                    </a:lnTo>
                    <a:lnTo>
                      <a:pt x="232" y="201"/>
                    </a:lnTo>
                    <a:lnTo>
                      <a:pt x="232" y="200"/>
                    </a:lnTo>
                    <a:lnTo>
                      <a:pt x="231" y="200"/>
                    </a:lnTo>
                    <a:lnTo>
                      <a:pt x="231" y="203"/>
                    </a:lnTo>
                    <a:lnTo>
                      <a:pt x="231" y="204"/>
                    </a:lnTo>
                    <a:lnTo>
                      <a:pt x="230" y="204"/>
                    </a:lnTo>
                    <a:lnTo>
                      <a:pt x="230" y="203"/>
                    </a:lnTo>
                    <a:lnTo>
                      <a:pt x="229" y="203"/>
                    </a:lnTo>
                    <a:lnTo>
                      <a:pt x="228" y="203"/>
                    </a:lnTo>
                    <a:lnTo>
                      <a:pt x="228" y="201"/>
                    </a:lnTo>
                    <a:lnTo>
                      <a:pt x="227" y="201"/>
                    </a:lnTo>
                    <a:lnTo>
                      <a:pt x="226" y="201"/>
                    </a:lnTo>
                    <a:lnTo>
                      <a:pt x="226" y="203"/>
                    </a:lnTo>
                    <a:lnTo>
                      <a:pt x="225" y="203"/>
                    </a:lnTo>
                    <a:lnTo>
                      <a:pt x="224" y="201"/>
                    </a:lnTo>
                    <a:lnTo>
                      <a:pt x="224" y="203"/>
                    </a:lnTo>
                    <a:lnTo>
                      <a:pt x="222" y="203"/>
                    </a:lnTo>
                    <a:lnTo>
                      <a:pt x="222" y="204"/>
                    </a:lnTo>
                    <a:lnTo>
                      <a:pt x="224" y="205"/>
                    </a:lnTo>
                    <a:lnTo>
                      <a:pt x="224" y="206"/>
                    </a:lnTo>
                    <a:lnTo>
                      <a:pt x="222" y="206"/>
                    </a:lnTo>
                    <a:lnTo>
                      <a:pt x="221" y="206"/>
                    </a:lnTo>
                    <a:lnTo>
                      <a:pt x="220" y="206"/>
                    </a:lnTo>
                    <a:lnTo>
                      <a:pt x="219" y="206"/>
                    </a:lnTo>
                    <a:lnTo>
                      <a:pt x="219" y="205"/>
                    </a:lnTo>
                    <a:lnTo>
                      <a:pt x="218" y="205"/>
                    </a:lnTo>
                    <a:lnTo>
                      <a:pt x="217" y="205"/>
                    </a:lnTo>
                    <a:lnTo>
                      <a:pt x="217" y="206"/>
                    </a:lnTo>
                    <a:lnTo>
                      <a:pt x="218" y="206"/>
                    </a:lnTo>
                    <a:lnTo>
                      <a:pt x="218" y="207"/>
                    </a:lnTo>
                    <a:lnTo>
                      <a:pt x="218" y="208"/>
                    </a:lnTo>
                    <a:lnTo>
                      <a:pt x="218" y="209"/>
                    </a:lnTo>
                    <a:lnTo>
                      <a:pt x="218" y="210"/>
                    </a:lnTo>
                    <a:lnTo>
                      <a:pt x="218" y="211"/>
                    </a:lnTo>
                    <a:lnTo>
                      <a:pt x="218" y="212"/>
                    </a:lnTo>
                    <a:lnTo>
                      <a:pt x="217" y="212"/>
                    </a:lnTo>
                    <a:lnTo>
                      <a:pt x="217" y="213"/>
                    </a:lnTo>
                    <a:lnTo>
                      <a:pt x="216" y="213"/>
                    </a:lnTo>
                    <a:lnTo>
                      <a:pt x="215" y="213"/>
                    </a:lnTo>
                    <a:lnTo>
                      <a:pt x="215" y="214"/>
                    </a:lnTo>
                    <a:lnTo>
                      <a:pt x="214" y="214"/>
                    </a:lnTo>
                    <a:lnTo>
                      <a:pt x="212" y="213"/>
                    </a:lnTo>
                    <a:lnTo>
                      <a:pt x="210" y="213"/>
                    </a:lnTo>
                    <a:lnTo>
                      <a:pt x="210" y="216"/>
                    </a:lnTo>
                    <a:lnTo>
                      <a:pt x="209" y="216"/>
                    </a:lnTo>
                    <a:lnTo>
                      <a:pt x="207" y="214"/>
                    </a:lnTo>
                    <a:lnTo>
                      <a:pt x="206" y="214"/>
                    </a:lnTo>
                    <a:lnTo>
                      <a:pt x="206" y="216"/>
                    </a:lnTo>
                    <a:lnTo>
                      <a:pt x="206" y="217"/>
                    </a:lnTo>
                    <a:lnTo>
                      <a:pt x="206" y="218"/>
                    </a:lnTo>
                    <a:lnTo>
                      <a:pt x="207" y="219"/>
                    </a:lnTo>
                    <a:lnTo>
                      <a:pt x="207" y="220"/>
                    </a:lnTo>
                    <a:lnTo>
                      <a:pt x="207" y="221"/>
                    </a:lnTo>
                    <a:lnTo>
                      <a:pt x="206" y="221"/>
                    </a:lnTo>
                    <a:lnTo>
                      <a:pt x="205" y="221"/>
                    </a:lnTo>
                    <a:lnTo>
                      <a:pt x="204" y="221"/>
                    </a:lnTo>
                    <a:lnTo>
                      <a:pt x="204" y="222"/>
                    </a:lnTo>
                    <a:lnTo>
                      <a:pt x="203" y="222"/>
                    </a:lnTo>
                    <a:lnTo>
                      <a:pt x="203" y="223"/>
                    </a:lnTo>
                    <a:lnTo>
                      <a:pt x="204" y="224"/>
                    </a:lnTo>
                    <a:lnTo>
                      <a:pt x="204" y="225"/>
                    </a:lnTo>
                    <a:lnTo>
                      <a:pt x="205" y="225"/>
                    </a:lnTo>
                    <a:lnTo>
                      <a:pt x="205" y="226"/>
                    </a:lnTo>
                    <a:lnTo>
                      <a:pt x="206" y="226"/>
                    </a:lnTo>
                    <a:lnTo>
                      <a:pt x="206" y="227"/>
                    </a:lnTo>
                    <a:lnTo>
                      <a:pt x="205" y="227"/>
                    </a:lnTo>
                    <a:lnTo>
                      <a:pt x="205" y="229"/>
                    </a:lnTo>
                    <a:lnTo>
                      <a:pt x="205" y="230"/>
                    </a:lnTo>
                    <a:lnTo>
                      <a:pt x="204" y="231"/>
                    </a:lnTo>
                    <a:lnTo>
                      <a:pt x="204" y="232"/>
                    </a:lnTo>
                    <a:lnTo>
                      <a:pt x="204" y="233"/>
                    </a:lnTo>
                    <a:lnTo>
                      <a:pt x="204" y="234"/>
                    </a:lnTo>
                    <a:lnTo>
                      <a:pt x="203" y="235"/>
                    </a:lnTo>
                    <a:lnTo>
                      <a:pt x="202" y="235"/>
                    </a:lnTo>
                    <a:lnTo>
                      <a:pt x="201" y="235"/>
                    </a:lnTo>
                    <a:lnTo>
                      <a:pt x="200" y="234"/>
                    </a:lnTo>
                    <a:lnTo>
                      <a:pt x="199" y="235"/>
                    </a:lnTo>
                    <a:lnTo>
                      <a:pt x="196" y="235"/>
                    </a:lnTo>
                    <a:lnTo>
                      <a:pt x="195" y="235"/>
                    </a:lnTo>
                    <a:lnTo>
                      <a:pt x="195" y="236"/>
                    </a:lnTo>
                    <a:lnTo>
                      <a:pt x="195" y="237"/>
                    </a:lnTo>
                    <a:lnTo>
                      <a:pt x="194" y="237"/>
                    </a:lnTo>
                    <a:lnTo>
                      <a:pt x="194" y="238"/>
                    </a:lnTo>
                    <a:lnTo>
                      <a:pt x="193" y="239"/>
                    </a:lnTo>
                    <a:lnTo>
                      <a:pt x="193" y="240"/>
                    </a:lnTo>
                    <a:lnTo>
                      <a:pt x="191" y="240"/>
                    </a:lnTo>
                    <a:lnTo>
                      <a:pt x="191" y="242"/>
                    </a:lnTo>
                    <a:lnTo>
                      <a:pt x="190" y="242"/>
                    </a:lnTo>
                    <a:lnTo>
                      <a:pt x="190" y="240"/>
                    </a:lnTo>
                    <a:lnTo>
                      <a:pt x="189" y="240"/>
                    </a:lnTo>
                    <a:lnTo>
                      <a:pt x="188" y="242"/>
                    </a:lnTo>
                    <a:lnTo>
                      <a:pt x="187" y="242"/>
                    </a:lnTo>
                    <a:lnTo>
                      <a:pt x="187" y="240"/>
                    </a:lnTo>
                    <a:lnTo>
                      <a:pt x="186" y="240"/>
                    </a:lnTo>
                    <a:lnTo>
                      <a:pt x="184" y="242"/>
                    </a:lnTo>
                    <a:lnTo>
                      <a:pt x="183" y="242"/>
                    </a:lnTo>
                    <a:lnTo>
                      <a:pt x="182" y="242"/>
                    </a:lnTo>
                    <a:lnTo>
                      <a:pt x="180" y="242"/>
                    </a:lnTo>
                    <a:lnTo>
                      <a:pt x="179" y="242"/>
                    </a:lnTo>
                    <a:lnTo>
                      <a:pt x="179" y="240"/>
                    </a:lnTo>
                    <a:lnTo>
                      <a:pt x="179" y="239"/>
                    </a:lnTo>
                    <a:lnTo>
                      <a:pt x="179" y="238"/>
                    </a:lnTo>
                    <a:lnTo>
                      <a:pt x="178" y="238"/>
                    </a:lnTo>
                    <a:lnTo>
                      <a:pt x="178" y="237"/>
                    </a:lnTo>
                    <a:lnTo>
                      <a:pt x="177" y="237"/>
                    </a:lnTo>
                    <a:lnTo>
                      <a:pt x="177" y="238"/>
                    </a:lnTo>
                    <a:lnTo>
                      <a:pt x="177" y="239"/>
                    </a:lnTo>
                    <a:lnTo>
                      <a:pt x="176" y="239"/>
                    </a:lnTo>
                    <a:lnTo>
                      <a:pt x="175" y="239"/>
                    </a:lnTo>
                    <a:lnTo>
                      <a:pt x="175" y="240"/>
                    </a:lnTo>
                    <a:lnTo>
                      <a:pt x="174" y="240"/>
                    </a:lnTo>
                    <a:lnTo>
                      <a:pt x="173" y="240"/>
                    </a:lnTo>
                    <a:lnTo>
                      <a:pt x="171" y="242"/>
                    </a:lnTo>
                    <a:lnTo>
                      <a:pt x="170" y="242"/>
                    </a:lnTo>
                    <a:lnTo>
                      <a:pt x="170" y="240"/>
                    </a:lnTo>
                    <a:lnTo>
                      <a:pt x="169" y="240"/>
                    </a:lnTo>
                    <a:lnTo>
                      <a:pt x="168" y="240"/>
                    </a:lnTo>
                    <a:lnTo>
                      <a:pt x="167" y="240"/>
                    </a:lnTo>
                    <a:lnTo>
                      <a:pt x="167" y="242"/>
                    </a:lnTo>
                    <a:lnTo>
                      <a:pt x="167" y="243"/>
                    </a:lnTo>
                    <a:lnTo>
                      <a:pt x="166" y="244"/>
                    </a:lnTo>
                    <a:lnTo>
                      <a:pt x="166" y="245"/>
                    </a:lnTo>
                    <a:lnTo>
                      <a:pt x="167" y="246"/>
                    </a:lnTo>
                    <a:lnTo>
                      <a:pt x="167" y="247"/>
                    </a:lnTo>
                    <a:lnTo>
                      <a:pt x="167" y="248"/>
                    </a:lnTo>
                    <a:lnTo>
                      <a:pt x="166" y="248"/>
                    </a:lnTo>
                    <a:lnTo>
                      <a:pt x="167" y="248"/>
                    </a:lnTo>
                    <a:lnTo>
                      <a:pt x="168" y="248"/>
                    </a:lnTo>
                    <a:lnTo>
                      <a:pt x="168" y="249"/>
                    </a:lnTo>
                    <a:lnTo>
                      <a:pt x="168" y="250"/>
                    </a:lnTo>
                    <a:lnTo>
                      <a:pt x="168" y="251"/>
                    </a:lnTo>
                    <a:lnTo>
                      <a:pt x="169" y="251"/>
                    </a:lnTo>
                    <a:lnTo>
                      <a:pt x="169" y="252"/>
                    </a:lnTo>
                    <a:lnTo>
                      <a:pt x="169" y="253"/>
                    </a:lnTo>
                    <a:lnTo>
                      <a:pt x="168" y="255"/>
                    </a:lnTo>
                    <a:lnTo>
                      <a:pt x="168" y="256"/>
                    </a:lnTo>
                    <a:lnTo>
                      <a:pt x="167" y="256"/>
                    </a:lnTo>
                    <a:lnTo>
                      <a:pt x="166" y="257"/>
                    </a:lnTo>
                    <a:lnTo>
                      <a:pt x="165" y="257"/>
                    </a:lnTo>
                    <a:lnTo>
                      <a:pt x="165" y="258"/>
                    </a:lnTo>
                    <a:lnTo>
                      <a:pt x="165" y="259"/>
                    </a:lnTo>
                    <a:lnTo>
                      <a:pt x="166" y="259"/>
                    </a:lnTo>
                    <a:lnTo>
                      <a:pt x="168" y="258"/>
                    </a:lnTo>
                    <a:lnTo>
                      <a:pt x="169" y="259"/>
                    </a:lnTo>
                    <a:lnTo>
                      <a:pt x="168" y="259"/>
                    </a:lnTo>
                    <a:lnTo>
                      <a:pt x="168" y="260"/>
                    </a:lnTo>
                    <a:lnTo>
                      <a:pt x="168" y="261"/>
                    </a:lnTo>
                    <a:lnTo>
                      <a:pt x="168" y="262"/>
                    </a:lnTo>
                    <a:lnTo>
                      <a:pt x="167" y="262"/>
                    </a:lnTo>
                    <a:lnTo>
                      <a:pt x="166" y="262"/>
                    </a:lnTo>
                    <a:lnTo>
                      <a:pt x="165" y="262"/>
                    </a:lnTo>
                    <a:lnTo>
                      <a:pt x="165" y="263"/>
                    </a:lnTo>
                    <a:lnTo>
                      <a:pt x="164" y="265"/>
                    </a:lnTo>
                    <a:lnTo>
                      <a:pt x="166" y="265"/>
                    </a:lnTo>
                    <a:lnTo>
                      <a:pt x="166" y="264"/>
                    </a:lnTo>
                    <a:lnTo>
                      <a:pt x="167" y="265"/>
                    </a:lnTo>
                    <a:lnTo>
                      <a:pt x="167" y="267"/>
                    </a:lnTo>
                    <a:lnTo>
                      <a:pt x="167" y="268"/>
                    </a:lnTo>
                    <a:lnTo>
                      <a:pt x="167" y="267"/>
                    </a:lnTo>
                    <a:lnTo>
                      <a:pt x="166" y="268"/>
                    </a:lnTo>
                    <a:lnTo>
                      <a:pt x="165" y="268"/>
                    </a:lnTo>
                    <a:lnTo>
                      <a:pt x="164" y="268"/>
                    </a:lnTo>
                    <a:lnTo>
                      <a:pt x="164" y="269"/>
                    </a:lnTo>
                    <a:lnTo>
                      <a:pt x="163" y="269"/>
                    </a:lnTo>
                    <a:lnTo>
                      <a:pt x="163" y="270"/>
                    </a:lnTo>
                    <a:lnTo>
                      <a:pt x="164" y="270"/>
                    </a:lnTo>
                    <a:lnTo>
                      <a:pt x="165" y="270"/>
                    </a:lnTo>
                    <a:lnTo>
                      <a:pt x="166" y="270"/>
                    </a:lnTo>
                    <a:lnTo>
                      <a:pt x="166" y="269"/>
                    </a:lnTo>
                    <a:lnTo>
                      <a:pt x="167" y="270"/>
                    </a:lnTo>
                    <a:lnTo>
                      <a:pt x="167" y="271"/>
                    </a:lnTo>
                    <a:lnTo>
                      <a:pt x="166" y="272"/>
                    </a:lnTo>
                    <a:lnTo>
                      <a:pt x="166" y="273"/>
                    </a:lnTo>
                    <a:lnTo>
                      <a:pt x="165" y="273"/>
                    </a:lnTo>
                    <a:lnTo>
                      <a:pt x="165" y="274"/>
                    </a:lnTo>
                    <a:lnTo>
                      <a:pt x="164" y="274"/>
                    </a:lnTo>
                    <a:lnTo>
                      <a:pt x="164" y="275"/>
                    </a:lnTo>
                    <a:lnTo>
                      <a:pt x="163" y="276"/>
                    </a:lnTo>
                    <a:lnTo>
                      <a:pt x="163" y="277"/>
                    </a:lnTo>
                    <a:lnTo>
                      <a:pt x="163" y="278"/>
                    </a:lnTo>
                    <a:lnTo>
                      <a:pt x="164" y="278"/>
                    </a:lnTo>
                    <a:lnTo>
                      <a:pt x="164" y="280"/>
                    </a:lnTo>
                    <a:lnTo>
                      <a:pt x="163" y="280"/>
                    </a:lnTo>
                    <a:lnTo>
                      <a:pt x="162" y="280"/>
                    </a:lnTo>
                    <a:lnTo>
                      <a:pt x="162" y="281"/>
                    </a:lnTo>
                    <a:lnTo>
                      <a:pt x="161" y="281"/>
                    </a:lnTo>
                    <a:lnTo>
                      <a:pt x="161" y="282"/>
                    </a:lnTo>
                    <a:lnTo>
                      <a:pt x="160" y="283"/>
                    </a:lnTo>
                    <a:lnTo>
                      <a:pt x="160" y="284"/>
                    </a:lnTo>
                    <a:lnTo>
                      <a:pt x="160" y="285"/>
                    </a:lnTo>
                    <a:lnTo>
                      <a:pt x="160" y="286"/>
                    </a:lnTo>
                    <a:lnTo>
                      <a:pt x="161" y="286"/>
                    </a:lnTo>
                    <a:lnTo>
                      <a:pt x="162" y="286"/>
                    </a:lnTo>
                    <a:lnTo>
                      <a:pt x="162" y="287"/>
                    </a:lnTo>
                    <a:lnTo>
                      <a:pt x="161" y="287"/>
                    </a:lnTo>
                    <a:lnTo>
                      <a:pt x="161" y="288"/>
                    </a:lnTo>
                    <a:lnTo>
                      <a:pt x="160" y="289"/>
                    </a:lnTo>
                    <a:lnTo>
                      <a:pt x="160" y="290"/>
                    </a:lnTo>
                    <a:lnTo>
                      <a:pt x="160" y="291"/>
                    </a:lnTo>
                    <a:lnTo>
                      <a:pt x="160" y="293"/>
                    </a:lnTo>
                    <a:lnTo>
                      <a:pt x="161" y="293"/>
                    </a:lnTo>
                    <a:lnTo>
                      <a:pt x="161" y="294"/>
                    </a:lnTo>
                    <a:lnTo>
                      <a:pt x="162" y="294"/>
                    </a:lnTo>
                    <a:lnTo>
                      <a:pt x="162" y="295"/>
                    </a:lnTo>
                    <a:lnTo>
                      <a:pt x="163" y="295"/>
                    </a:lnTo>
                    <a:lnTo>
                      <a:pt x="162" y="295"/>
                    </a:lnTo>
                    <a:lnTo>
                      <a:pt x="162" y="296"/>
                    </a:lnTo>
                    <a:lnTo>
                      <a:pt x="161" y="295"/>
                    </a:lnTo>
                    <a:lnTo>
                      <a:pt x="161" y="296"/>
                    </a:lnTo>
                    <a:lnTo>
                      <a:pt x="161" y="297"/>
                    </a:lnTo>
                    <a:lnTo>
                      <a:pt x="162" y="297"/>
                    </a:lnTo>
                    <a:lnTo>
                      <a:pt x="163" y="297"/>
                    </a:lnTo>
                    <a:lnTo>
                      <a:pt x="163" y="298"/>
                    </a:lnTo>
                    <a:lnTo>
                      <a:pt x="162" y="298"/>
                    </a:lnTo>
                    <a:lnTo>
                      <a:pt x="162" y="299"/>
                    </a:lnTo>
                    <a:lnTo>
                      <a:pt x="161" y="299"/>
                    </a:lnTo>
                    <a:lnTo>
                      <a:pt x="160" y="299"/>
                    </a:lnTo>
                    <a:lnTo>
                      <a:pt x="160" y="300"/>
                    </a:lnTo>
                    <a:lnTo>
                      <a:pt x="161" y="300"/>
                    </a:lnTo>
                    <a:lnTo>
                      <a:pt x="161" y="301"/>
                    </a:lnTo>
                    <a:lnTo>
                      <a:pt x="161" y="302"/>
                    </a:lnTo>
                    <a:lnTo>
                      <a:pt x="162" y="302"/>
                    </a:lnTo>
                    <a:lnTo>
                      <a:pt x="162" y="303"/>
                    </a:lnTo>
                    <a:lnTo>
                      <a:pt x="161" y="303"/>
                    </a:lnTo>
                    <a:lnTo>
                      <a:pt x="160" y="304"/>
                    </a:lnTo>
                    <a:lnTo>
                      <a:pt x="158" y="306"/>
                    </a:lnTo>
                    <a:lnTo>
                      <a:pt x="158" y="307"/>
                    </a:lnTo>
                    <a:lnTo>
                      <a:pt x="160" y="307"/>
                    </a:lnTo>
                    <a:lnTo>
                      <a:pt x="160" y="308"/>
                    </a:lnTo>
                    <a:lnTo>
                      <a:pt x="158" y="308"/>
                    </a:lnTo>
                    <a:lnTo>
                      <a:pt x="157" y="307"/>
                    </a:lnTo>
                    <a:lnTo>
                      <a:pt x="156" y="307"/>
                    </a:lnTo>
                    <a:lnTo>
                      <a:pt x="156" y="308"/>
                    </a:lnTo>
                    <a:lnTo>
                      <a:pt x="156" y="309"/>
                    </a:lnTo>
                    <a:lnTo>
                      <a:pt x="157" y="309"/>
                    </a:lnTo>
                    <a:lnTo>
                      <a:pt x="158" y="309"/>
                    </a:lnTo>
                    <a:lnTo>
                      <a:pt x="158" y="310"/>
                    </a:lnTo>
                    <a:lnTo>
                      <a:pt x="157" y="311"/>
                    </a:lnTo>
                    <a:lnTo>
                      <a:pt x="156" y="311"/>
                    </a:lnTo>
                    <a:lnTo>
                      <a:pt x="156" y="310"/>
                    </a:lnTo>
                    <a:lnTo>
                      <a:pt x="156" y="309"/>
                    </a:lnTo>
                    <a:lnTo>
                      <a:pt x="155" y="309"/>
                    </a:lnTo>
                    <a:lnTo>
                      <a:pt x="154" y="309"/>
                    </a:lnTo>
                    <a:lnTo>
                      <a:pt x="153" y="310"/>
                    </a:lnTo>
                    <a:lnTo>
                      <a:pt x="152" y="310"/>
                    </a:lnTo>
                    <a:lnTo>
                      <a:pt x="152" y="311"/>
                    </a:lnTo>
                    <a:lnTo>
                      <a:pt x="153" y="311"/>
                    </a:lnTo>
                    <a:lnTo>
                      <a:pt x="153" y="312"/>
                    </a:lnTo>
                    <a:lnTo>
                      <a:pt x="153" y="313"/>
                    </a:lnTo>
                    <a:lnTo>
                      <a:pt x="152" y="313"/>
                    </a:lnTo>
                    <a:lnTo>
                      <a:pt x="151" y="314"/>
                    </a:lnTo>
                    <a:lnTo>
                      <a:pt x="151" y="315"/>
                    </a:lnTo>
                    <a:lnTo>
                      <a:pt x="150" y="315"/>
                    </a:lnTo>
                    <a:lnTo>
                      <a:pt x="149" y="315"/>
                    </a:lnTo>
                    <a:lnTo>
                      <a:pt x="149" y="316"/>
                    </a:lnTo>
                    <a:lnTo>
                      <a:pt x="148" y="317"/>
                    </a:lnTo>
                    <a:lnTo>
                      <a:pt x="149" y="319"/>
                    </a:lnTo>
                    <a:lnTo>
                      <a:pt x="149" y="320"/>
                    </a:lnTo>
                    <a:lnTo>
                      <a:pt x="149" y="321"/>
                    </a:lnTo>
                    <a:lnTo>
                      <a:pt x="148" y="321"/>
                    </a:lnTo>
                    <a:lnTo>
                      <a:pt x="145" y="321"/>
                    </a:lnTo>
                    <a:lnTo>
                      <a:pt x="144" y="321"/>
                    </a:lnTo>
                    <a:lnTo>
                      <a:pt x="143" y="322"/>
                    </a:lnTo>
                    <a:lnTo>
                      <a:pt x="142" y="322"/>
                    </a:lnTo>
                    <a:lnTo>
                      <a:pt x="141" y="323"/>
                    </a:lnTo>
                    <a:lnTo>
                      <a:pt x="140" y="323"/>
                    </a:lnTo>
                    <a:lnTo>
                      <a:pt x="139" y="323"/>
                    </a:lnTo>
                    <a:lnTo>
                      <a:pt x="138" y="323"/>
                    </a:lnTo>
                    <a:lnTo>
                      <a:pt x="139" y="324"/>
                    </a:lnTo>
                    <a:lnTo>
                      <a:pt x="139" y="325"/>
                    </a:lnTo>
                    <a:lnTo>
                      <a:pt x="138" y="325"/>
                    </a:lnTo>
                    <a:lnTo>
                      <a:pt x="137" y="325"/>
                    </a:lnTo>
                    <a:lnTo>
                      <a:pt x="138" y="324"/>
                    </a:lnTo>
                    <a:lnTo>
                      <a:pt x="138" y="323"/>
                    </a:lnTo>
                    <a:lnTo>
                      <a:pt x="137" y="323"/>
                    </a:lnTo>
                    <a:lnTo>
                      <a:pt x="137" y="322"/>
                    </a:lnTo>
                    <a:lnTo>
                      <a:pt x="136" y="323"/>
                    </a:lnTo>
                    <a:lnTo>
                      <a:pt x="137" y="324"/>
                    </a:lnTo>
                    <a:lnTo>
                      <a:pt x="137" y="325"/>
                    </a:lnTo>
                    <a:lnTo>
                      <a:pt x="136" y="325"/>
                    </a:lnTo>
                    <a:lnTo>
                      <a:pt x="136" y="326"/>
                    </a:lnTo>
                    <a:lnTo>
                      <a:pt x="135" y="327"/>
                    </a:lnTo>
                    <a:lnTo>
                      <a:pt x="132" y="328"/>
                    </a:lnTo>
                    <a:lnTo>
                      <a:pt x="131" y="328"/>
                    </a:lnTo>
                    <a:lnTo>
                      <a:pt x="131" y="329"/>
                    </a:lnTo>
                    <a:lnTo>
                      <a:pt x="131" y="330"/>
                    </a:lnTo>
                    <a:lnTo>
                      <a:pt x="131" y="332"/>
                    </a:lnTo>
                    <a:lnTo>
                      <a:pt x="131" y="333"/>
                    </a:lnTo>
                    <a:lnTo>
                      <a:pt x="131" y="334"/>
                    </a:lnTo>
                    <a:lnTo>
                      <a:pt x="132" y="334"/>
                    </a:lnTo>
                    <a:lnTo>
                      <a:pt x="132" y="335"/>
                    </a:lnTo>
                    <a:lnTo>
                      <a:pt x="131" y="335"/>
                    </a:lnTo>
                    <a:lnTo>
                      <a:pt x="130" y="335"/>
                    </a:lnTo>
                    <a:lnTo>
                      <a:pt x="129" y="336"/>
                    </a:lnTo>
                    <a:lnTo>
                      <a:pt x="129" y="337"/>
                    </a:lnTo>
                    <a:lnTo>
                      <a:pt x="129" y="338"/>
                    </a:lnTo>
                    <a:lnTo>
                      <a:pt x="129" y="339"/>
                    </a:lnTo>
                    <a:lnTo>
                      <a:pt x="129" y="340"/>
                    </a:lnTo>
                    <a:lnTo>
                      <a:pt x="129" y="341"/>
                    </a:lnTo>
                    <a:lnTo>
                      <a:pt x="128" y="341"/>
                    </a:lnTo>
                    <a:lnTo>
                      <a:pt x="129" y="341"/>
                    </a:lnTo>
                    <a:lnTo>
                      <a:pt x="129" y="342"/>
                    </a:lnTo>
                    <a:lnTo>
                      <a:pt x="129" y="343"/>
                    </a:lnTo>
                    <a:lnTo>
                      <a:pt x="130" y="343"/>
                    </a:lnTo>
                    <a:lnTo>
                      <a:pt x="130" y="345"/>
                    </a:lnTo>
                    <a:lnTo>
                      <a:pt x="130" y="346"/>
                    </a:lnTo>
                    <a:lnTo>
                      <a:pt x="129" y="346"/>
                    </a:lnTo>
                    <a:lnTo>
                      <a:pt x="129" y="345"/>
                    </a:lnTo>
                    <a:lnTo>
                      <a:pt x="128" y="345"/>
                    </a:lnTo>
                    <a:lnTo>
                      <a:pt x="128" y="343"/>
                    </a:lnTo>
                    <a:lnTo>
                      <a:pt x="127" y="343"/>
                    </a:lnTo>
                    <a:lnTo>
                      <a:pt x="127" y="346"/>
                    </a:lnTo>
                    <a:lnTo>
                      <a:pt x="126" y="347"/>
                    </a:lnTo>
                    <a:lnTo>
                      <a:pt x="125" y="347"/>
                    </a:lnTo>
                    <a:lnTo>
                      <a:pt x="125" y="348"/>
                    </a:lnTo>
                    <a:lnTo>
                      <a:pt x="125" y="349"/>
                    </a:lnTo>
                    <a:lnTo>
                      <a:pt x="125" y="350"/>
                    </a:lnTo>
                    <a:lnTo>
                      <a:pt x="124" y="350"/>
                    </a:lnTo>
                    <a:lnTo>
                      <a:pt x="124" y="351"/>
                    </a:lnTo>
                    <a:lnTo>
                      <a:pt x="125" y="352"/>
                    </a:lnTo>
                    <a:lnTo>
                      <a:pt x="125" y="353"/>
                    </a:lnTo>
                    <a:lnTo>
                      <a:pt x="124" y="353"/>
                    </a:lnTo>
                    <a:lnTo>
                      <a:pt x="123" y="353"/>
                    </a:lnTo>
                    <a:lnTo>
                      <a:pt x="123" y="352"/>
                    </a:lnTo>
                    <a:lnTo>
                      <a:pt x="123" y="351"/>
                    </a:lnTo>
                    <a:lnTo>
                      <a:pt x="122" y="351"/>
                    </a:lnTo>
                    <a:lnTo>
                      <a:pt x="122" y="352"/>
                    </a:lnTo>
                    <a:lnTo>
                      <a:pt x="122" y="353"/>
                    </a:lnTo>
                    <a:lnTo>
                      <a:pt x="123" y="353"/>
                    </a:lnTo>
                    <a:lnTo>
                      <a:pt x="123" y="354"/>
                    </a:lnTo>
                    <a:lnTo>
                      <a:pt x="122" y="354"/>
                    </a:lnTo>
                    <a:lnTo>
                      <a:pt x="122" y="355"/>
                    </a:lnTo>
                    <a:lnTo>
                      <a:pt x="121" y="355"/>
                    </a:lnTo>
                    <a:lnTo>
                      <a:pt x="121" y="354"/>
                    </a:lnTo>
                    <a:lnTo>
                      <a:pt x="119" y="354"/>
                    </a:lnTo>
                    <a:lnTo>
                      <a:pt x="118" y="354"/>
                    </a:lnTo>
                    <a:lnTo>
                      <a:pt x="118" y="355"/>
                    </a:lnTo>
                    <a:lnTo>
                      <a:pt x="118" y="357"/>
                    </a:lnTo>
                    <a:lnTo>
                      <a:pt x="117" y="357"/>
                    </a:lnTo>
                    <a:lnTo>
                      <a:pt x="117" y="355"/>
                    </a:lnTo>
                    <a:lnTo>
                      <a:pt x="116" y="355"/>
                    </a:lnTo>
                    <a:lnTo>
                      <a:pt x="116" y="357"/>
                    </a:lnTo>
                    <a:lnTo>
                      <a:pt x="115" y="358"/>
                    </a:lnTo>
                    <a:lnTo>
                      <a:pt x="114" y="358"/>
                    </a:lnTo>
                    <a:lnTo>
                      <a:pt x="113" y="358"/>
                    </a:lnTo>
                    <a:lnTo>
                      <a:pt x="113" y="357"/>
                    </a:lnTo>
                    <a:lnTo>
                      <a:pt x="112" y="357"/>
                    </a:lnTo>
                    <a:lnTo>
                      <a:pt x="111" y="358"/>
                    </a:lnTo>
                    <a:lnTo>
                      <a:pt x="111" y="357"/>
                    </a:lnTo>
                    <a:lnTo>
                      <a:pt x="111" y="355"/>
                    </a:lnTo>
                    <a:lnTo>
                      <a:pt x="110" y="355"/>
                    </a:lnTo>
                    <a:lnTo>
                      <a:pt x="109" y="357"/>
                    </a:lnTo>
                    <a:lnTo>
                      <a:pt x="110" y="357"/>
                    </a:lnTo>
                    <a:lnTo>
                      <a:pt x="110" y="358"/>
                    </a:lnTo>
                    <a:lnTo>
                      <a:pt x="109" y="358"/>
                    </a:lnTo>
                    <a:lnTo>
                      <a:pt x="108" y="358"/>
                    </a:lnTo>
                    <a:lnTo>
                      <a:pt x="108" y="359"/>
                    </a:lnTo>
                    <a:lnTo>
                      <a:pt x="106" y="358"/>
                    </a:lnTo>
                    <a:lnTo>
                      <a:pt x="105" y="358"/>
                    </a:lnTo>
                    <a:lnTo>
                      <a:pt x="104" y="358"/>
                    </a:lnTo>
                    <a:lnTo>
                      <a:pt x="104" y="359"/>
                    </a:lnTo>
                    <a:lnTo>
                      <a:pt x="103" y="359"/>
                    </a:lnTo>
                    <a:lnTo>
                      <a:pt x="103" y="358"/>
                    </a:lnTo>
                    <a:lnTo>
                      <a:pt x="102" y="359"/>
                    </a:lnTo>
                    <a:lnTo>
                      <a:pt x="102" y="358"/>
                    </a:lnTo>
                    <a:lnTo>
                      <a:pt x="101" y="358"/>
                    </a:lnTo>
                    <a:lnTo>
                      <a:pt x="101" y="357"/>
                    </a:lnTo>
                    <a:lnTo>
                      <a:pt x="101" y="358"/>
                    </a:lnTo>
                    <a:lnTo>
                      <a:pt x="100" y="359"/>
                    </a:lnTo>
                    <a:lnTo>
                      <a:pt x="99" y="359"/>
                    </a:lnTo>
                    <a:lnTo>
                      <a:pt x="99" y="358"/>
                    </a:lnTo>
                    <a:lnTo>
                      <a:pt x="98" y="358"/>
                    </a:lnTo>
                    <a:lnTo>
                      <a:pt x="98" y="359"/>
                    </a:lnTo>
                    <a:lnTo>
                      <a:pt x="98" y="360"/>
                    </a:lnTo>
                    <a:lnTo>
                      <a:pt x="97" y="360"/>
                    </a:lnTo>
                    <a:lnTo>
                      <a:pt x="96" y="359"/>
                    </a:lnTo>
                    <a:lnTo>
                      <a:pt x="95" y="359"/>
                    </a:lnTo>
                    <a:lnTo>
                      <a:pt x="95" y="360"/>
                    </a:lnTo>
                    <a:lnTo>
                      <a:pt x="95" y="361"/>
                    </a:lnTo>
                    <a:lnTo>
                      <a:pt x="93" y="361"/>
                    </a:lnTo>
                    <a:lnTo>
                      <a:pt x="92" y="361"/>
                    </a:lnTo>
                    <a:lnTo>
                      <a:pt x="91" y="363"/>
                    </a:lnTo>
                    <a:lnTo>
                      <a:pt x="91" y="364"/>
                    </a:lnTo>
                    <a:lnTo>
                      <a:pt x="92" y="364"/>
                    </a:lnTo>
                    <a:lnTo>
                      <a:pt x="92" y="365"/>
                    </a:lnTo>
                    <a:lnTo>
                      <a:pt x="91" y="365"/>
                    </a:lnTo>
                    <a:lnTo>
                      <a:pt x="90" y="365"/>
                    </a:lnTo>
                    <a:lnTo>
                      <a:pt x="90" y="366"/>
                    </a:lnTo>
                    <a:lnTo>
                      <a:pt x="90" y="367"/>
                    </a:lnTo>
                    <a:lnTo>
                      <a:pt x="89" y="368"/>
                    </a:lnTo>
                    <a:lnTo>
                      <a:pt x="88" y="370"/>
                    </a:lnTo>
                    <a:lnTo>
                      <a:pt x="88" y="371"/>
                    </a:lnTo>
                    <a:lnTo>
                      <a:pt x="88" y="372"/>
                    </a:lnTo>
                    <a:lnTo>
                      <a:pt x="87" y="372"/>
                    </a:lnTo>
                    <a:lnTo>
                      <a:pt x="86" y="373"/>
                    </a:lnTo>
                    <a:lnTo>
                      <a:pt x="86" y="374"/>
                    </a:lnTo>
                    <a:lnTo>
                      <a:pt x="86" y="373"/>
                    </a:lnTo>
                    <a:lnTo>
                      <a:pt x="85" y="373"/>
                    </a:lnTo>
                    <a:lnTo>
                      <a:pt x="84" y="373"/>
                    </a:lnTo>
                    <a:lnTo>
                      <a:pt x="83" y="373"/>
                    </a:lnTo>
                    <a:lnTo>
                      <a:pt x="83" y="372"/>
                    </a:lnTo>
                    <a:lnTo>
                      <a:pt x="84" y="372"/>
                    </a:lnTo>
                    <a:lnTo>
                      <a:pt x="85" y="371"/>
                    </a:lnTo>
                    <a:lnTo>
                      <a:pt x="87" y="371"/>
                    </a:lnTo>
                    <a:lnTo>
                      <a:pt x="87" y="370"/>
                    </a:lnTo>
                    <a:lnTo>
                      <a:pt x="87" y="368"/>
                    </a:lnTo>
                    <a:lnTo>
                      <a:pt x="86" y="368"/>
                    </a:lnTo>
                    <a:lnTo>
                      <a:pt x="85" y="368"/>
                    </a:lnTo>
                    <a:lnTo>
                      <a:pt x="85" y="367"/>
                    </a:lnTo>
                    <a:lnTo>
                      <a:pt x="86" y="367"/>
                    </a:lnTo>
                    <a:lnTo>
                      <a:pt x="87" y="367"/>
                    </a:lnTo>
                    <a:lnTo>
                      <a:pt x="88" y="366"/>
                    </a:lnTo>
                    <a:lnTo>
                      <a:pt x="87" y="365"/>
                    </a:lnTo>
                    <a:lnTo>
                      <a:pt x="86" y="365"/>
                    </a:lnTo>
                    <a:lnTo>
                      <a:pt x="84" y="364"/>
                    </a:lnTo>
                    <a:lnTo>
                      <a:pt x="83" y="364"/>
                    </a:lnTo>
                    <a:lnTo>
                      <a:pt x="81" y="363"/>
                    </a:lnTo>
                    <a:lnTo>
                      <a:pt x="80" y="363"/>
                    </a:lnTo>
                    <a:lnTo>
                      <a:pt x="79" y="363"/>
                    </a:lnTo>
                    <a:lnTo>
                      <a:pt x="78" y="363"/>
                    </a:lnTo>
                    <a:lnTo>
                      <a:pt x="77" y="363"/>
                    </a:lnTo>
                    <a:lnTo>
                      <a:pt x="77" y="362"/>
                    </a:lnTo>
                    <a:lnTo>
                      <a:pt x="76" y="361"/>
                    </a:lnTo>
                    <a:lnTo>
                      <a:pt x="75" y="361"/>
                    </a:lnTo>
                    <a:lnTo>
                      <a:pt x="75" y="362"/>
                    </a:lnTo>
                    <a:lnTo>
                      <a:pt x="74" y="363"/>
                    </a:lnTo>
                    <a:lnTo>
                      <a:pt x="73" y="363"/>
                    </a:lnTo>
                    <a:lnTo>
                      <a:pt x="72" y="363"/>
                    </a:lnTo>
                    <a:lnTo>
                      <a:pt x="71" y="362"/>
                    </a:lnTo>
                    <a:lnTo>
                      <a:pt x="70" y="362"/>
                    </a:lnTo>
                    <a:lnTo>
                      <a:pt x="68" y="362"/>
                    </a:lnTo>
                    <a:lnTo>
                      <a:pt x="67" y="362"/>
                    </a:lnTo>
                    <a:lnTo>
                      <a:pt x="67" y="363"/>
                    </a:lnTo>
                    <a:lnTo>
                      <a:pt x="66" y="363"/>
                    </a:lnTo>
                    <a:lnTo>
                      <a:pt x="64" y="363"/>
                    </a:lnTo>
                    <a:lnTo>
                      <a:pt x="63" y="364"/>
                    </a:lnTo>
                    <a:lnTo>
                      <a:pt x="63" y="363"/>
                    </a:lnTo>
                    <a:lnTo>
                      <a:pt x="62" y="363"/>
                    </a:lnTo>
                    <a:lnTo>
                      <a:pt x="61" y="363"/>
                    </a:lnTo>
                    <a:lnTo>
                      <a:pt x="61" y="362"/>
                    </a:lnTo>
                    <a:lnTo>
                      <a:pt x="60" y="362"/>
                    </a:lnTo>
                    <a:lnTo>
                      <a:pt x="59" y="361"/>
                    </a:lnTo>
                    <a:lnTo>
                      <a:pt x="58" y="360"/>
                    </a:lnTo>
                    <a:lnTo>
                      <a:pt x="58" y="359"/>
                    </a:lnTo>
                    <a:lnTo>
                      <a:pt x="58" y="358"/>
                    </a:lnTo>
                    <a:lnTo>
                      <a:pt x="58" y="357"/>
                    </a:lnTo>
                    <a:lnTo>
                      <a:pt x="57" y="357"/>
                    </a:lnTo>
                    <a:lnTo>
                      <a:pt x="55" y="357"/>
                    </a:lnTo>
                    <a:lnTo>
                      <a:pt x="55" y="358"/>
                    </a:lnTo>
                    <a:lnTo>
                      <a:pt x="55" y="359"/>
                    </a:lnTo>
                    <a:lnTo>
                      <a:pt x="54" y="359"/>
                    </a:lnTo>
                    <a:lnTo>
                      <a:pt x="53" y="359"/>
                    </a:lnTo>
                    <a:lnTo>
                      <a:pt x="52" y="358"/>
                    </a:lnTo>
                    <a:lnTo>
                      <a:pt x="51" y="358"/>
                    </a:lnTo>
                    <a:lnTo>
                      <a:pt x="51" y="357"/>
                    </a:lnTo>
                    <a:lnTo>
                      <a:pt x="50" y="357"/>
                    </a:lnTo>
                    <a:lnTo>
                      <a:pt x="50" y="358"/>
                    </a:lnTo>
                    <a:lnTo>
                      <a:pt x="49" y="358"/>
                    </a:lnTo>
                    <a:lnTo>
                      <a:pt x="48" y="359"/>
                    </a:lnTo>
                    <a:lnTo>
                      <a:pt x="47" y="360"/>
                    </a:lnTo>
                    <a:lnTo>
                      <a:pt x="46" y="361"/>
                    </a:lnTo>
                    <a:lnTo>
                      <a:pt x="45" y="361"/>
                    </a:lnTo>
                    <a:lnTo>
                      <a:pt x="44" y="361"/>
                    </a:lnTo>
                    <a:lnTo>
                      <a:pt x="42" y="360"/>
                    </a:lnTo>
                    <a:lnTo>
                      <a:pt x="41" y="360"/>
                    </a:lnTo>
                    <a:lnTo>
                      <a:pt x="40" y="361"/>
                    </a:lnTo>
                    <a:lnTo>
                      <a:pt x="38" y="362"/>
                    </a:lnTo>
                    <a:lnTo>
                      <a:pt x="37" y="363"/>
                    </a:lnTo>
                    <a:lnTo>
                      <a:pt x="35" y="363"/>
                    </a:lnTo>
                    <a:lnTo>
                      <a:pt x="34" y="363"/>
                    </a:lnTo>
                    <a:lnTo>
                      <a:pt x="33" y="362"/>
                    </a:lnTo>
                    <a:lnTo>
                      <a:pt x="33" y="361"/>
                    </a:lnTo>
                    <a:lnTo>
                      <a:pt x="34" y="360"/>
                    </a:lnTo>
                    <a:lnTo>
                      <a:pt x="34" y="359"/>
                    </a:lnTo>
                    <a:lnTo>
                      <a:pt x="35" y="359"/>
                    </a:lnTo>
                    <a:lnTo>
                      <a:pt x="35" y="358"/>
                    </a:lnTo>
                    <a:lnTo>
                      <a:pt x="36" y="357"/>
                    </a:lnTo>
                    <a:lnTo>
                      <a:pt x="36" y="355"/>
                    </a:lnTo>
                    <a:lnTo>
                      <a:pt x="36" y="354"/>
                    </a:lnTo>
                    <a:lnTo>
                      <a:pt x="36" y="353"/>
                    </a:lnTo>
                    <a:lnTo>
                      <a:pt x="36" y="352"/>
                    </a:lnTo>
                    <a:lnTo>
                      <a:pt x="35" y="352"/>
                    </a:lnTo>
                    <a:lnTo>
                      <a:pt x="35" y="351"/>
                    </a:lnTo>
                    <a:lnTo>
                      <a:pt x="35" y="350"/>
                    </a:lnTo>
                    <a:lnTo>
                      <a:pt x="34" y="349"/>
                    </a:lnTo>
                    <a:lnTo>
                      <a:pt x="34" y="348"/>
                    </a:lnTo>
                    <a:lnTo>
                      <a:pt x="34" y="347"/>
                    </a:lnTo>
                    <a:lnTo>
                      <a:pt x="33" y="347"/>
                    </a:lnTo>
                    <a:lnTo>
                      <a:pt x="32" y="346"/>
                    </a:lnTo>
                    <a:lnTo>
                      <a:pt x="32" y="345"/>
                    </a:lnTo>
                    <a:lnTo>
                      <a:pt x="32" y="343"/>
                    </a:lnTo>
                    <a:lnTo>
                      <a:pt x="33" y="343"/>
                    </a:lnTo>
                    <a:lnTo>
                      <a:pt x="33" y="342"/>
                    </a:lnTo>
                    <a:lnTo>
                      <a:pt x="34" y="342"/>
                    </a:lnTo>
                    <a:lnTo>
                      <a:pt x="35" y="342"/>
                    </a:lnTo>
                    <a:lnTo>
                      <a:pt x="36" y="342"/>
                    </a:lnTo>
                    <a:lnTo>
                      <a:pt x="36" y="341"/>
                    </a:lnTo>
                    <a:lnTo>
                      <a:pt x="37" y="341"/>
                    </a:lnTo>
                    <a:lnTo>
                      <a:pt x="38" y="340"/>
                    </a:lnTo>
                    <a:lnTo>
                      <a:pt x="38" y="339"/>
                    </a:lnTo>
                    <a:lnTo>
                      <a:pt x="38" y="338"/>
                    </a:lnTo>
                    <a:lnTo>
                      <a:pt x="38" y="337"/>
                    </a:lnTo>
                    <a:lnTo>
                      <a:pt x="38" y="336"/>
                    </a:lnTo>
                    <a:lnTo>
                      <a:pt x="37" y="336"/>
                    </a:lnTo>
                    <a:lnTo>
                      <a:pt x="37" y="335"/>
                    </a:lnTo>
                    <a:lnTo>
                      <a:pt x="36" y="335"/>
                    </a:lnTo>
                    <a:lnTo>
                      <a:pt x="35" y="335"/>
                    </a:lnTo>
                    <a:lnTo>
                      <a:pt x="35" y="336"/>
                    </a:lnTo>
                    <a:lnTo>
                      <a:pt x="34" y="336"/>
                    </a:lnTo>
                    <a:lnTo>
                      <a:pt x="32" y="337"/>
                    </a:lnTo>
                    <a:lnTo>
                      <a:pt x="32" y="338"/>
                    </a:lnTo>
                    <a:lnTo>
                      <a:pt x="29" y="339"/>
                    </a:lnTo>
                    <a:lnTo>
                      <a:pt x="28" y="340"/>
                    </a:lnTo>
                    <a:lnTo>
                      <a:pt x="27" y="340"/>
                    </a:lnTo>
                    <a:lnTo>
                      <a:pt x="25" y="342"/>
                    </a:lnTo>
                    <a:lnTo>
                      <a:pt x="23" y="343"/>
                    </a:lnTo>
                    <a:lnTo>
                      <a:pt x="22" y="345"/>
                    </a:lnTo>
                    <a:lnTo>
                      <a:pt x="22" y="346"/>
                    </a:lnTo>
                    <a:lnTo>
                      <a:pt x="19" y="346"/>
                    </a:lnTo>
                    <a:lnTo>
                      <a:pt x="18" y="346"/>
                    </a:lnTo>
                    <a:lnTo>
                      <a:pt x="18" y="345"/>
                    </a:lnTo>
                    <a:lnTo>
                      <a:pt x="16" y="345"/>
                    </a:lnTo>
                    <a:lnTo>
                      <a:pt x="16" y="343"/>
                    </a:lnTo>
                    <a:lnTo>
                      <a:pt x="15" y="343"/>
                    </a:lnTo>
                    <a:lnTo>
                      <a:pt x="15" y="341"/>
                    </a:lnTo>
                    <a:lnTo>
                      <a:pt x="16" y="340"/>
                    </a:lnTo>
                    <a:lnTo>
                      <a:pt x="16" y="339"/>
                    </a:lnTo>
                    <a:lnTo>
                      <a:pt x="16" y="338"/>
                    </a:lnTo>
                    <a:lnTo>
                      <a:pt x="18" y="337"/>
                    </a:lnTo>
                    <a:lnTo>
                      <a:pt x="20" y="336"/>
                    </a:lnTo>
                    <a:lnTo>
                      <a:pt x="21" y="336"/>
                    </a:lnTo>
                    <a:lnTo>
                      <a:pt x="22" y="335"/>
                    </a:lnTo>
                    <a:lnTo>
                      <a:pt x="23" y="335"/>
                    </a:lnTo>
                    <a:lnTo>
                      <a:pt x="24" y="334"/>
                    </a:lnTo>
                    <a:lnTo>
                      <a:pt x="26" y="330"/>
                    </a:lnTo>
                    <a:lnTo>
                      <a:pt x="27" y="330"/>
                    </a:lnTo>
                    <a:lnTo>
                      <a:pt x="28" y="329"/>
                    </a:lnTo>
                    <a:lnTo>
                      <a:pt x="29" y="329"/>
                    </a:lnTo>
                    <a:lnTo>
                      <a:pt x="34" y="328"/>
                    </a:lnTo>
                    <a:lnTo>
                      <a:pt x="35" y="327"/>
                    </a:lnTo>
                    <a:lnTo>
                      <a:pt x="35" y="326"/>
                    </a:lnTo>
                    <a:lnTo>
                      <a:pt x="35" y="325"/>
                    </a:lnTo>
                    <a:lnTo>
                      <a:pt x="35" y="324"/>
                    </a:lnTo>
                    <a:lnTo>
                      <a:pt x="34" y="323"/>
                    </a:lnTo>
                    <a:lnTo>
                      <a:pt x="34" y="322"/>
                    </a:lnTo>
                    <a:lnTo>
                      <a:pt x="33" y="321"/>
                    </a:lnTo>
                    <a:lnTo>
                      <a:pt x="32" y="321"/>
                    </a:lnTo>
                    <a:lnTo>
                      <a:pt x="31" y="322"/>
                    </a:lnTo>
                    <a:lnTo>
                      <a:pt x="31" y="323"/>
                    </a:lnTo>
                    <a:lnTo>
                      <a:pt x="31" y="324"/>
                    </a:lnTo>
                    <a:lnTo>
                      <a:pt x="29" y="325"/>
                    </a:lnTo>
                    <a:lnTo>
                      <a:pt x="29" y="326"/>
                    </a:lnTo>
                    <a:lnTo>
                      <a:pt x="28" y="327"/>
                    </a:lnTo>
                    <a:lnTo>
                      <a:pt x="27" y="328"/>
                    </a:lnTo>
                    <a:lnTo>
                      <a:pt x="26" y="329"/>
                    </a:lnTo>
                    <a:lnTo>
                      <a:pt x="24" y="329"/>
                    </a:lnTo>
                    <a:lnTo>
                      <a:pt x="23" y="330"/>
                    </a:lnTo>
                    <a:lnTo>
                      <a:pt x="22" y="330"/>
                    </a:lnTo>
                    <a:lnTo>
                      <a:pt x="22" y="329"/>
                    </a:lnTo>
                    <a:lnTo>
                      <a:pt x="21" y="329"/>
                    </a:lnTo>
                    <a:lnTo>
                      <a:pt x="21" y="328"/>
                    </a:lnTo>
                    <a:lnTo>
                      <a:pt x="21" y="327"/>
                    </a:lnTo>
                    <a:lnTo>
                      <a:pt x="22" y="327"/>
                    </a:lnTo>
                    <a:lnTo>
                      <a:pt x="22" y="326"/>
                    </a:lnTo>
                    <a:lnTo>
                      <a:pt x="24" y="326"/>
                    </a:lnTo>
                    <a:lnTo>
                      <a:pt x="24" y="325"/>
                    </a:lnTo>
                    <a:lnTo>
                      <a:pt x="25" y="325"/>
                    </a:lnTo>
                    <a:lnTo>
                      <a:pt x="26" y="324"/>
                    </a:lnTo>
                    <a:lnTo>
                      <a:pt x="26" y="323"/>
                    </a:lnTo>
                    <a:lnTo>
                      <a:pt x="27" y="322"/>
                    </a:lnTo>
                    <a:lnTo>
                      <a:pt x="27" y="321"/>
                    </a:lnTo>
                    <a:lnTo>
                      <a:pt x="27" y="320"/>
                    </a:lnTo>
                    <a:lnTo>
                      <a:pt x="26" y="320"/>
                    </a:lnTo>
                    <a:lnTo>
                      <a:pt x="26" y="319"/>
                    </a:lnTo>
                    <a:lnTo>
                      <a:pt x="25" y="319"/>
                    </a:lnTo>
                    <a:lnTo>
                      <a:pt x="24" y="317"/>
                    </a:lnTo>
                    <a:lnTo>
                      <a:pt x="23" y="317"/>
                    </a:lnTo>
                    <a:lnTo>
                      <a:pt x="22" y="317"/>
                    </a:lnTo>
                    <a:lnTo>
                      <a:pt x="21" y="317"/>
                    </a:lnTo>
                    <a:lnTo>
                      <a:pt x="20" y="317"/>
                    </a:lnTo>
                    <a:lnTo>
                      <a:pt x="19" y="317"/>
                    </a:lnTo>
                    <a:lnTo>
                      <a:pt x="18" y="316"/>
                    </a:lnTo>
                    <a:lnTo>
                      <a:pt x="16" y="316"/>
                    </a:lnTo>
                    <a:lnTo>
                      <a:pt x="16" y="315"/>
                    </a:lnTo>
                    <a:lnTo>
                      <a:pt x="18" y="315"/>
                    </a:lnTo>
                    <a:lnTo>
                      <a:pt x="18" y="314"/>
                    </a:lnTo>
                    <a:lnTo>
                      <a:pt x="19" y="314"/>
                    </a:lnTo>
                    <a:lnTo>
                      <a:pt x="20" y="314"/>
                    </a:lnTo>
                    <a:lnTo>
                      <a:pt x="21" y="314"/>
                    </a:lnTo>
                    <a:lnTo>
                      <a:pt x="22" y="314"/>
                    </a:lnTo>
                    <a:lnTo>
                      <a:pt x="22" y="313"/>
                    </a:lnTo>
                    <a:lnTo>
                      <a:pt x="22" y="312"/>
                    </a:lnTo>
                    <a:lnTo>
                      <a:pt x="23" y="312"/>
                    </a:lnTo>
                    <a:lnTo>
                      <a:pt x="23" y="311"/>
                    </a:lnTo>
                    <a:lnTo>
                      <a:pt x="23" y="309"/>
                    </a:lnTo>
                    <a:lnTo>
                      <a:pt x="23" y="308"/>
                    </a:lnTo>
                    <a:lnTo>
                      <a:pt x="23" y="307"/>
                    </a:lnTo>
                    <a:lnTo>
                      <a:pt x="23" y="306"/>
                    </a:lnTo>
                    <a:lnTo>
                      <a:pt x="23" y="304"/>
                    </a:lnTo>
                    <a:lnTo>
                      <a:pt x="24" y="304"/>
                    </a:lnTo>
                    <a:lnTo>
                      <a:pt x="27" y="302"/>
                    </a:lnTo>
                    <a:lnTo>
                      <a:pt x="29" y="302"/>
                    </a:lnTo>
                    <a:lnTo>
                      <a:pt x="29" y="301"/>
                    </a:lnTo>
                    <a:lnTo>
                      <a:pt x="31" y="301"/>
                    </a:lnTo>
                    <a:lnTo>
                      <a:pt x="29" y="300"/>
                    </a:lnTo>
                    <a:lnTo>
                      <a:pt x="28" y="300"/>
                    </a:lnTo>
                    <a:lnTo>
                      <a:pt x="27" y="300"/>
                    </a:lnTo>
                    <a:lnTo>
                      <a:pt x="26" y="300"/>
                    </a:lnTo>
                    <a:lnTo>
                      <a:pt x="25" y="301"/>
                    </a:lnTo>
                    <a:lnTo>
                      <a:pt x="23" y="301"/>
                    </a:lnTo>
                    <a:lnTo>
                      <a:pt x="22" y="300"/>
                    </a:lnTo>
                    <a:lnTo>
                      <a:pt x="21" y="299"/>
                    </a:lnTo>
                    <a:lnTo>
                      <a:pt x="21" y="298"/>
                    </a:lnTo>
                    <a:lnTo>
                      <a:pt x="21" y="297"/>
                    </a:lnTo>
                    <a:lnTo>
                      <a:pt x="22" y="296"/>
                    </a:lnTo>
                    <a:lnTo>
                      <a:pt x="23" y="295"/>
                    </a:lnTo>
                    <a:lnTo>
                      <a:pt x="24" y="294"/>
                    </a:lnTo>
                    <a:lnTo>
                      <a:pt x="25" y="293"/>
                    </a:lnTo>
                    <a:lnTo>
                      <a:pt x="26" y="293"/>
                    </a:lnTo>
                    <a:lnTo>
                      <a:pt x="26" y="291"/>
                    </a:lnTo>
                    <a:lnTo>
                      <a:pt x="26" y="290"/>
                    </a:lnTo>
                    <a:lnTo>
                      <a:pt x="26" y="289"/>
                    </a:lnTo>
                    <a:lnTo>
                      <a:pt x="26" y="287"/>
                    </a:lnTo>
                    <a:lnTo>
                      <a:pt x="26" y="286"/>
                    </a:lnTo>
                    <a:lnTo>
                      <a:pt x="26" y="284"/>
                    </a:lnTo>
                    <a:lnTo>
                      <a:pt x="25" y="283"/>
                    </a:lnTo>
                    <a:lnTo>
                      <a:pt x="23" y="283"/>
                    </a:lnTo>
                    <a:lnTo>
                      <a:pt x="22" y="283"/>
                    </a:lnTo>
                    <a:lnTo>
                      <a:pt x="21" y="283"/>
                    </a:lnTo>
                    <a:lnTo>
                      <a:pt x="1" y="283"/>
                    </a:lnTo>
                    <a:lnTo>
                      <a:pt x="0" y="283"/>
                    </a:lnTo>
                    <a:lnTo>
                      <a:pt x="0" y="282"/>
                    </a:lnTo>
                    <a:lnTo>
                      <a:pt x="1" y="281"/>
                    </a:lnTo>
                    <a:lnTo>
                      <a:pt x="2" y="280"/>
                    </a:lnTo>
                    <a:lnTo>
                      <a:pt x="5" y="277"/>
                    </a:lnTo>
                    <a:lnTo>
                      <a:pt x="6" y="276"/>
                    </a:lnTo>
                    <a:lnTo>
                      <a:pt x="7" y="274"/>
                    </a:lnTo>
                    <a:lnTo>
                      <a:pt x="7" y="272"/>
                    </a:lnTo>
                    <a:lnTo>
                      <a:pt x="8" y="271"/>
                    </a:lnTo>
                    <a:lnTo>
                      <a:pt x="9" y="269"/>
                    </a:lnTo>
                    <a:lnTo>
                      <a:pt x="9" y="268"/>
                    </a:lnTo>
                    <a:lnTo>
                      <a:pt x="10" y="265"/>
                    </a:lnTo>
                    <a:lnTo>
                      <a:pt x="10" y="263"/>
                    </a:lnTo>
                    <a:lnTo>
                      <a:pt x="10" y="262"/>
                    </a:lnTo>
                    <a:lnTo>
                      <a:pt x="11" y="260"/>
                    </a:lnTo>
                    <a:lnTo>
                      <a:pt x="11" y="257"/>
                    </a:lnTo>
                    <a:lnTo>
                      <a:pt x="12" y="252"/>
                    </a:lnTo>
                    <a:lnTo>
                      <a:pt x="11" y="252"/>
                    </a:lnTo>
                    <a:lnTo>
                      <a:pt x="10" y="252"/>
                    </a:lnTo>
                    <a:lnTo>
                      <a:pt x="10" y="251"/>
                    </a:lnTo>
                    <a:lnTo>
                      <a:pt x="10" y="250"/>
                    </a:lnTo>
                    <a:lnTo>
                      <a:pt x="10" y="249"/>
                    </a:lnTo>
                    <a:lnTo>
                      <a:pt x="11" y="249"/>
                    </a:lnTo>
                    <a:lnTo>
                      <a:pt x="11" y="248"/>
                    </a:lnTo>
                    <a:lnTo>
                      <a:pt x="12" y="248"/>
                    </a:lnTo>
                    <a:lnTo>
                      <a:pt x="13" y="248"/>
                    </a:lnTo>
                    <a:lnTo>
                      <a:pt x="14" y="246"/>
                    </a:lnTo>
                    <a:lnTo>
                      <a:pt x="14" y="244"/>
                    </a:lnTo>
                    <a:lnTo>
                      <a:pt x="14" y="243"/>
                    </a:lnTo>
                    <a:lnTo>
                      <a:pt x="15" y="240"/>
                    </a:lnTo>
                    <a:lnTo>
                      <a:pt x="15" y="238"/>
                    </a:lnTo>
                    <a:lnTo>
                      <a:pt x="15" y="237"/>
                    </a:lnTo>
                    <a:lnTo>
                      <a:pt x="14" y="235"/>
                    </a:lnTo>
                    <a:lnTo>
                      <a:pt x="14" y="234"/>
                    </a:lnTo>
                    <a:lnTo>
                      <a:pt x="14" y="233"/>
                    </a:lnTo>
                    <a:lnTo>
                      <a:pt x="14" y="232"/>
                    </a:lnTo>
                    <a:lnTo>
                      <a:pt x="14" y="231"/>
                    </a:lnTo>
                    <a:lnTo>
                      <a:pt x="15" y="230"/>
                    </a:lnTo>
                    <a:lnTo>
                      <a:pt x="15" y="229"/>
                    </a:lnTo>
                    <a:lnTo>
                      <a:pt x="16" y="229"/>
                    </a:lnTo>
                    <a:lnTo>
                      <a:pt x="18" y="227"/>
                    </a:lnTo>
                    <a:lnTo>
                      <a:pt x="18" y="226"/>
                    </a:lnTo>
                    <a:lnTo>
                      <a:pt x="18" y="224"/>
                    </a:lnTo>
                    <a:lnTo>
                      <a:pt x="16" y="223"/>
                    </a:lnTo>
                    <a:lnTo>
                      <a:pt x="16" y="222"/>
                    </a:lnTo>
                    <a:lnTo>
                      <a:pt x="15" y="221"/>
                    </a:lnTo>
                    <a:lnTo>
                      <a:pt x="14" y="221"/>
                    </a:lnTo>
                    <a:lnTo>
                      <a:pt x="14" y="220"/>
                    </a:lnTo>
                    <a:lnTo>
                      <a:pt x="15" y="219"/>
                    </a:lnTo>
                    <a:lnTo>
                      <a:pt x="16" y="219"/>
                    </a:lnTo>
                    <a:lnTo>
                      <a:pt x="16" y="218"/>
                    </a:lnTo>
                    <a:lnTo>
                      <a:pt x="16" y="214"/>
                    </a:lnTo>
                    <a:lnTo>
                      <a:pt x="18" y="214"/>
                    </a:lnTo>
                    <a:lnTo>
                      <a:pt x="18" y="213"/>
                    </a:lnTo>
                    <a:lnTo>
                      <a:pt x="19" y="212"/>
                    </a:lnTo>
                    <a:lnTo>
                      <a:pt x="19" y="211"/>
                    </a:lnTo>
                    <a:lnTo>
                      <a:pt x="19" y="209"/>
                    </a:lnTo>
                    <a:lnTo>
                      <a:pt x="19" y="208"/>
                    </a:lnTo>
                    <a:lnTo>
                      <a:pt x="21" y="205"/>
                    </a:lnTo>
                    <a:lnTo>
                      <a:pt x="22" y="203"/>
                    </a:lnTo>
                    <a:lnTo>
                      <a:pt x="23" y="201"/>
                    </a:lnTo>
                    <a:lnTo>
                      <a:pt x="23" y="200"/>
                    </a:lnTo>
                    <a:lnTo>
                      <a:pt x="23" y="199"/>
                    </a:lnTo>
                    <a:lnTo>
                      <a:pt x="24" y="199"/>
                    </a:lnTo>
                    <a:lnTo>
                      <a:pt x="24" y="198"/>
                    </a:lnTo>
                    <a:lnTo>
                      <a:pt x="24" y="197"/>
                    </a:lnTo>
                    <a:lnTo>
                      <a:pt x="25" y="196"/>
                    </a:lnTo>
                    <a:lnTo>
                      <a:pt x="25" y="195"/>
                    </a:lnTo>
                    <a:lnTo>
                      <a:pt x="25" y="194"/>
                    </a:lnTo>
                    <a:lnTo>
                      <a:pt x="25" y="193"/>
                    </a:lnTo>
                    <a:lnTo>
                      <a:pt x="25" y="192"/>
                    </a:lnTo>
                    <a:lnTo>
                      <a:pt x="26" y="192"/>
                    </a:lnTo>
                    <a:lnTo>
                      <a:pt x="27" y="192"/>
                    </a:lnTo>
                    <a:lnTo>
                      <a:pt x="27" y="191"/>
                    </a:lnTo>
                    <a:lnTo>
                      <a:pt x="28" y="190"/>
                    </a:lnTo>
                    <a:lnTo>
                      <a:pt x="29" y="190"/>
                    </a:lnTo>
                    <a:lnTo>
                      <a:pt x="29" y="188"/>
                    </a:lnTo>
                    <a:lnTo>
                      <a:pt x="31" y="185"/>
                    </a:lnTo>
                    <a:lnTo>
                      <a:pt x="32" y="183"/>
                    </a:lnTo>
                    <a:lnTo>
                      <a:pt x="33" y="182"/>
                    </a:lnTo>
                    <a:lnTo>
                      <a:pt x="34" y="182"/>
                    </a:lnTo>
                    <a:lnTo>
                      <a:pt x="35" y="181"/>
                    </a:lnTo>
                    <a:lnTo>
                      <a:pt x="35" y="182"/>
                    </a:lnTo>
                    <a:lnTo>
                      <a:pt x="36" y="182"/>
                    </a:lnTo>
                    <a:lnTo>
                      <a:pt x="36" y="181"/>
                    </a:lnTo>
                    <a:lnTo>
                      <a:pt x="37" y="181"/>
                    </a:lnTo>
                    <a:lnTo>
                      <a:pt x="38" y="180"/>
                    </a:lnTo>
                    <a:lnTo>
                      <a:pt x="37" y="180"/>
                    </a:lnTo>
                    <a:lnTo>
                      <a:pt x="38" y="180"/>
                    </a:lnTo>
                    <a:lnTo>
                      <a:pt x="38" y="179"/>
                    </a:lnTo>
                    <a:lnTo>
                      <a:pt x="39" y="179"/>
                    </a:lnTo>
                    <a:lnTo>
                      <a:pt x="39" y="178"/>
                    </a:lnTo>
                    <a:lnTo>
                      <a:pt x="38" y="178"/>
                    </a:lnTo>
                    <a:lnTo>
                      <a:pt x="38" y="176"/>
                    </a:lnTo>
                    <a:lnTo>
                      <a:pt x="39" y="174"/>
                    </a:lnTo>
                    <a:lnTo>
                      <a:pt x="40" y="175"/>
                    </a:lnTo>
                    <a:lnTo>
                      <a:pt x="41" y="175"/>
                    </a:lnTo>
                    <a:lnTo>
                      <a:pt x="41" y="174"/>
                    </a:lnTo>
                    <a:lnTo>
                      <a:pt x="42" y="173"/>
                    </a:lnTo>
                    <a:lnTo>
                      <a:pt x="42" y="172"/>
                    </a:lnTo>
                    <a:lnTo>
                      <a:pt x="44" y="171"/>
                    </a:lnTo>
                    <a:lnTo>
                      <a:pt x="44" y="170"/>
                    </a:lnTo>
                    <a:lnTo>
                      <a:pt x="44" y="169"/>
                    </a:lnTo>
                    <a:lnTo>
                      <a:pt x="45" y="168"/>
                    </a:lnTo>
                    <a:lnTo>
                      <a:pt x="46" y="167"/>
                    </a:lnTo>
                    <a:lnTo>
                      <a:pt x="48" y="165"/>
                    </a:lnTo>
                    <a:lnTo>
                      <a:pt x="49" y="163"/>
                    </a:lnTo>
                    <a:lnTo>
                      <a:pt x="50" y="163"/>
                    </a:lnTo>
                    <a:lnTo>
                      <a:pt x="51" y="163"/>
                    </a:lnTo>
                    <a:lnTo>
                      <a:pt x="51" y="162"/>
                    </a:lnTo>
                    <a:lnTo>
                      <a:pt x="51" y="161"/>
                    </a:lnTo>
                    <a:lnTo>
                      <a:pt x="52" y="161"/>
                    </a:lnTo>
                    <a:lnTo>
                      <a:pt x="52" y="160"/>
                    </a:lnTo>
                    <a:lnTo>
                      <a:pt x="52" y="159"/>
                    </a:lnTo>
                    <a:lnTo>
                      <a:pt x="53" y="159"/>
                    </a:lnTo>
                    <a:lnTo>
                      <a:pt x="53" y="158"/>
                    </a:lnTo>
                    <a:lnTo>
                      <a:pt x="54" y="158"/>
                    </a:lnTo>
                    <a:lnTo>
                      <a:pt x="55" y="158"/>
                    </a:lnTo>
                    <a:lnTo>
                      <a:pt x="55" y="157"/>
                    </a:lnTo>
                    <a:lnTo>
                      <a:pt x="55" y="156"/>
                    </a:lnTo>
                    <a:lnTo>
                      <a:pt x="57" y="155"/>
                    </a:lnTo>
                    <a:lnTo>
                      <a:pt x="58" y="154"/>
                    </a:lnTo>
                    <a:lnTo>
                      <a:pt x="58" y="153"/>
                    </a:lnTo>
                    <a:lnTo>
                      <a:pt x="57" y="152"/>
                    </a:lnTo>
                    <a:lnTo>
                      <a:pt x="55" y="152"/>
                    </a:lnTo>
                    <a:lnTo>
                      <a:pt x="55" y="150"/>
                    </a:lnTo>
                    <a:lnTo>
                      <a:pt x="54" y="149"/>
                    </a:lnTo>
                    <a:lnTo>
                      <a:pt x="55" y="147"/>
                    </a:lnTo>
                    <a:lnTo>
                      <a:pt x="57" y="146"/>
                    </a:lnTo>
                    <a:lnTo>
                      <a:pt x="57" y="145"/>
                    </a:lnTo>
                    <a:lnTo>
                      <a:pt x="58" y="145"/>
                    </a:lnTo>
                    <a:lnTo>
                      <a:pt x="58" y="144"/>
                    </a:lnTo>
                    <a:lnTo>
                      <a:pt x="58" y="143"/>
                    </a:lnTo>
                    <a:lnTo>
                      <a:pt x="59" y="142"/>
                    </a:lnTo>
                    <a:lnTo>
                      <a:pt x="58" y="142"/>
                    </a:lnTo>
                    <a:lnTo>
                      <a:pt x="58" y="141"/>
                    </a:lnTo>
                    <a:lnTo>
                      <a:pt x="58" y="140"/>
                    </a:lnTo>
                    <a:lnTo>
                      <a:pt x="59" y="139"/>
                    </a:lnTo>
                    <a:lnTo>
                      <a:pt x="59" y="137"/>
                    </a:lnTo>
                    <a:lnTo>
                      <a:pt x="60" y="136"/>
                    </a:lnTo>
                    <a:lnTo>
                      <a:pt x="60" y="135"/>
                    </a:lnTo>
                    <a:lnTo>
                      <a:pt x="61" y="135"/>
                    </a:lnTo>
                    <a:lnTo>
                      <a:pt x="61" y="134"/>
                    </a:lnTo>
                    <a:lnTo>
                      <a:pt x="62" y="133"/>
                    </a:lnTo>
                    <a:lnTo>
                      <a:pt x="62" y="132"/>
                    </a:lnTo>
                    <a:lnTo>
                      <a:pt x="61" y="132"/>
                    </a:lnTo>
                    <a:lnTo>
                      <a:pt x="61" y="131"/>
                    </a:lnTo>
                    <a:lnTo>
                      <a:pt x="62" y="129"/>
                    </a:lnTo>
                    <a:lnTo>
                      <a:pt x="62" y="128"/>
                    </a:lnTo>
                    <a:lnTo>
                      <a:pt x="62" y="127"/>
                    </a:lnTo>
                    <a:lnTo>
                      <a:pt x="63" y="127"/>
                    </a:lnTo>
                    <a:lnTo>
                      <a:pt x="63" y="126"/>
                    </a:lnTo>
                    <a:lnTo>
                      <a:pt x="64" y="126"/>
                    </a:lnTo>
                    <a:lnTo>
                      <a:pt x="65" y="126"/>
                    </a:lnTo>
                    <a:lnTo>
                      <a:pt x="66" y="126"/>
                    </a:lnTo>
                    <a:lnTo>
                      <a:pt x="66" y="124"/>
                    </a:lnTo>
                    <a:lnTo>
                      <a:pt x="67" y="124"/>
                    </a:lnTo>
                    <a:lnTo>
                      <a:pt x="68" y="124"/>
                    </a:lnTo>
                    <a:lnTo>
                      <a:pt x="68" y="123"/>
                    </a:lnTo>
                    <a:lnTo>
                      <a:pt x="70" y="123"/>
                    </a:lnTo>
                    <a:lnTo>
                      <a:pt x="71" y="122"/>
                    </a:lnTo>
                    <a:lnTo>
                      <a:pt x="72" y="122"/>
                    </a:lnTo>
                    <a:lnTo>
                      <a:pt x="72" y="121"/>
                    </a:lnTo>
                    <a:lnTo>
                      <a:pt x="75" y="117"/>
                    </a:lnTo>
                    <a:lnTo>
                      <a:pt x="76" y="117"/>
                    </a:lnTo>
                    <a:lnTo>
                      <a:pt x="77" y="117"/>
                    </a:lnTo>
                    <a:lnTo>
                      <a:pt x="77" y="116"/>
                    </a:lnTo>
                    <a:lnTo>
                      <a:pt x="78" y="116"/>
                    </a:lnTo>
                    <a:lnTo>
                      <a:pt x="79" y="115"/>
                    </a:lnTo>
                    <a:lnTo>
                      <a:pt x="80" y="115"/>
                    </a:lnTo>
                    <a:lnTo>
                      <a:pt x="80" y="114"/>
                    </a:lnTo>
                    <a:lnTo>
                      <a:pt x="80" y="113"/>
                    </a:lnTo>
                    <a:lnTo>
                      <a:pt x="81" y="113"/>
                    </a:lnTo>
                    <a:lnTo>
                      <a:pt x="81" y="111"/>
                    </a:lnTo>
                    <a:lnTo>
                      <a:pt x="83" y="111"/>
                    </a:lnTo>
                    <a:lnTo>
                      <a:pt x="83" y="110"/>
                    </a:lnTo>
                    <a:lnTo>
                      <a:pt x="83" y="109"/>
                    </a:lnTo>
                    <a:lnTo>
                      <a:pt x="83" y="108"/>
                    </a:lnTo>
                    <a:lnTo>
                      <a:pt x="83" y="107"/>
                    </a:lnTo>
                    <a:lnTo>
                      <a:pt x="83" y="106"/>
                    </a:lnTo>
                    <a:lnTo>
                      <a:pt x="83" y="105"/>
                    </a:lnTo>
                    <a:lnTo>
                      <a:pt x="84" y="104"/>
                    </a:lnTo>
                    <a:lnTo>
                      <a:pt x="84" y="103"/>
                    </a:lnTo>
                    <a:lnTo>
                      <a:pt x="84" y="102"/>
                    </a:lnTo>
                    <a:lnTo>
                      <a:pt x="84" y="101"/>
                    </a:lnTo>
                    <a:lnTo>
                      <a:pt x="83" y="101"/>
                    </a:lnTo>
                    <a:lnTo>
                      <a:pt x="83" y="100"/>
                    </a:lnTo>
                    <a:lnTo>
                      <a:pt x="84" y="98"/>
                    </a:lnTo>
                    <a:lnTo>
                      <a:pt x="84" y="97"/>
                    </a:lnTo>
                    <a:lnTo>
                      <a:pt x="84" y="95"/>
                    </a:lnTo>
                    <a:lnTo>
                      <a:pt x="85" y="94"/>
                    </a:lnTo>
                    <a:lnTo>
                      <a:pt x="85" y="93"/>
                    </a:lnTo>
                    <a:lnTo>
                      <a:pt x="86" y="93"/>
                    </a:lnTo>
                    <a:lnTo>
                      <a:pt x="87" y="93"/>
                    </a:lnTo>
                    <a:lnTo>
                      <a:pt x="87" y="92"/>
                    </a:lnTo>
                    <a:lnTo>
                      <a:pt x="88" y="92"/>
                    </a:lnTo>
                    <a:lnTo>
                      <a:pt x="88" y="91"/>
                    </a:lnTo>
                    <a:lnTo>
                      <a:pt x="89" y="90"/>
                    </a:lnTo>
                    <a:lnTo>
                      <a:pt x="90" y="90"/>
                    </a:lnTo>
                    <a:lnTo>
                      <a:pt x="90" y="89"/>
                    </a:lnTo>
                    <a:lnTo>
                      <a:pt x="92" y="90"/>
                    </a:lnTo>
                    <a:lnTo>
                      <a:pt x="92" y="91"/>
                    </a:lnTo>
                    <a:lnTo>
                      <a:pt x="93" y="91"/>
                    </a:lnTo>
                    <a:lnTo>
                      <a:pt x="95" y="91"/>
                    </a:lnTo>
                    <a:lnTo>
                      <a:pt x="95" y="92"/>
                    </a:lnTo>
                    <a:lnTo>
                      <a:pt x="95" y="93"/>
                    </a:lnTo>
                    <a:lnTo>
                      <a:pt x="96" y="93"/>
                    </a:lnTo>
                    <a:lnTo>
                      <a:pt x="97" y="94"/>
                    </a:lnTo>
                    <a:lnTo>
                      <a:pt x="97" y="95"/>
                    </a:lnTo>
                    <a:lnTo>
                      <a:pt x="97" y="96"/>
                    </a:lnTo>
                    <a:lnTo>
                      <a:pt x="97" y="97"/>
                    </a:lnTo>
                    <a:lnTo>
                      <a:pt x="98" y="97"/>
                    </a:lnTo>
                    <a:lnTo>
                      <a:pt x="98" y="98"/>
                    </a:lnTo>
                    <a:lnTo>
                      <a:pt x="99" y="98"/>
                    </a:lnTo>
                    <a:lnTo>
                      <a:pt x="99" y="100"/>
                    </a:lnTo>
                    <a:lnTo>
                      <a:pt x="100" y="101"/>
                    </a:lnTo>
                    <a:lnTo>
                      <a:pt x="101" y="102"/>
                    </a:lnTo>
                    <a:lnTo>
                      <a:pt x="101" y="103"/>
                    </a:lnTo>
                    <a:lnTo>
                      <a:pt x="102" y="103"/>
                    </a:lnTo>
                    <a:lnTo>
                      <a:pt x="103" y="103"/>
                    </a:lnTo>
                    <a:lnTo>
                      <a:pt x="103" y="104"/>
                    </a:lnTo>
                    <a:lnTo>
                      <a:pt x="103" y="105"/>
                    </a:lnTo>
                    <a:lnTo>
                      <a:pt x="104" y="105"/>
                    </a:lnTo>
                    <a:lnTo>
                      <a:pt x="105" y="105"/>
                    </a:lnTo>
                    <a:lnTo>
                      <a:pt x="106" y="105"/>
                    </a:lnTo>
                    <a:lnTo>
                      <a:pt x="106" y="106"/>
                    </a:lnTo>
                    <a:lnTo>
                      <a:pt x="108" y="106"/>
                    </a:lnTo>
                    <a:lnTo>
                      <a:pt x="109" y="107"/>
                    </a:lnTo>
                    <a:lnTo>
                      <a:pt x="111" y="108"/>
                    </a:lnTo>
                    <a:lnTo>
                      <a:pt x="112" y="108"/>
                    </a:lnTo>
                    <a:lnTo>
                      <a:pt x="113" y="108"/>
                    </a:lnTo>
                    <a:lnTo>
                      <a:pt x="114" y="108"/>
                    </a:lnTo>
                    <a:lnTo>
                      <a:pt x="115" y="108"/>
                    </a:lnTo>
                    <a:lnTo>
                      <a:pt x="116" y="108"/>
                    </a:lnTo>
                    <a:lnTo>
                      <a:pt x="117" y="108"/>
                    </a:lnTo>
                    <a:lnTo>
                      <a:pt x="117" y="107"/>
                    </a:lnTo>
                    <a:lnTo>
                      <a:pt x="118" y="108"/>
                    </a:lnTo>
                    <a:lnTo>
                      <a:pt x="119" y="107"/>
                    </a:lnTo>
                    <a:lnTo>
                      <a:pt x="121" y="107"/>
                    </a:lnTo>
                    <a:lnTo>
                      <a:pt x="121" y="106"/>
                    </a:lnTo>
                    <a:lnTo>
                      <a:pt x="119" y="106"/>
                    </a:lnTo>
                    <a:lnTo>
                      <a:pt x="119" y="105"/>
                    </a:lnTo>
                    <a:lnTo>
                      <a:pt x="121" y="104"/>
                    </a:lnTo>
                    <a:lnTo>
                      <a:pt x="121" y="103"/>
                    </a:lnTo>
                    <a:lnTo>
                      <a:pt x="121" y="102"/>
                    </a:lnTo>
                    <a:lnTo>
                      <a:pt x="122" y="102"/>
                    </a:lnTo>
                    <a:lnTo>
                      <a:pt x="122" y="101"/>
                    </a:lnTo>
                    <a:lnTo>
                      <a:pt x="121" y="101"/>
                    </a:lnTo>
                    <a:lnTo>
                      <a:pt x="121" y="100"/>
                    </a:lnTo>
                    <a:lnTo>
                      <a:pt x="121" y="98"/>
                    </a:lnTo>
                    <a:lnTo>
                      <a:pt x="121" y="97"/>
                    </a:lnTo>
                    <a:lnTo>
                      <a:pt x="119" y="97"/>
                    </a:lnTo>
                    <a:lnTo>
                      <a:pt x="121" y="96"/>
                    </a:lnTo>
                    <a:lnTo>
                      <a:pt x="119" y="96"/>
                    </a:lnTo>
                    <a:lnTo>
                      <a:pt x="119" y="95"/>
                    </a:lnTo>
                    <a:lnTo>
                      <a:pt x="119" y="94"/>
                    </a:lnTo>
                    <a:lnTo>
                      <a:pt x="119" y="93"/>
                    </a:lnTo>
                    <a:lnTo>
                      <a:pt x="121" y="92"/>
                    </a:lnTo>
                    <a:lnTo>
                      <a:pt x="121" y="91"/>
                    </a:lnTo>
                    <a:lnTo>
                      <a:pt x="121" y="90"/>
                    </a:lnTo>
                    <a:lnTo>
                      <a:pt x="122" y="89"/>
                    </a:lnTo>
                    <a:lnTo>
                      <a:pt x="122" y="88"/>
                    </a:lnTo>
                    <a:lnTo>
                      <a:pt x="123" y="88"/>
                    </a:lnTo>
                    <a:lnTo>
                      <a:pt x="124" y="88"/>
                    </a:lnTo>
                    <a:lnTo>
                      <a:pt x="124" y="86"/>
                    </a:lnTo>
                    <a:lnTo>
                      <a:pt x="125" y="85"/>
                    </a:lnTo>
                    <a:lnTo>
                      <a:pt x="125" y="84"/>
                    </a:lnTo>
                    <a:lnTo>
                      <a:pt x="126" y="83"/>
                    </a:lnTo>
                    <a:lnTo>
                      <a:pt x="127" y="83"/>
                    </a:lnTo>
                    <a:lnTo>
                      <a:pt x="127" y="82"/>
                    </a:lnTo>
                    <a:lnTo>
                      <a:pt x="128" y="82"/>
                    </a:lnTo>
                    <a:lnTo>
                      <a:pt x="129" y="82"/>
                    </a:lnTo>
                    <a:lnTo>
                      <a:pt x="130" y="82"/>
                    </a:lnTo>
                    <a:lnTo>
                      <a:pt x="131" y="82"/>
                    </a:lnTo>
                    <a:lnTo>
                      <a:pt x="132" y="82"/>
                    </a:lnTo>
                    <a:lnTo>
                      <a:pt x="134" y="81"/>
                    </a:lnTo>
                    <a:lnTo>
                      <a:pt x="134" y="80"/>
                    </a:lnTo>
                    <a:lnTo>
                      <a:pt x="135" y="80"/>
                    </a:lnTo>
                    <a:lnTo>
                      <a:pt x="135" y="79"/>
                    </a:lnTo>
                    <a:lnTo>
                      <a:pt x="135" y="78"/>
                    </a:lnTo>
                    <a:lnTo>
                      <a:pt x="135" y="77"/>
                    </a:lnTo>
                    <a:lnTo>
                      <a:pt x="135" y="76"/>
                    </a:lnTo>
                    <a:lnTo>
                      <a:pt x="135" y="75"/>
                    </a:lnTo>
                    <a:lnTo>
                      <a:pt x="134" y="75"/>
                    </a:lnTo>
                    <a:lnTo>
                      <a:pt x="134" y="73"/>
                    </a:lnTo>
                    <a:lnTo>
                      <a:pt x="134" y="72"/>
                    </a:lnTo>
                    <a:lnTo>
                      <a:pt x="135" y="72"/>
                    </a:lnTo>
                    <a:lnTo>
                      <a:pt x="136" y="71"/>
                    </a:lnTo>
                    <a:lnTo>
                      <a:pt x="137" y="71"/>
                    </a:lnTo>
                    <a:lnTo>
                      <a:pt x="137" y="70"/>
                    </a:lnTo>
                    <a:lnTo>
                      <a:pt x="141" y="69"/>
                    </a:lnTo>
                    <a:lnTo>
                      <a:pt x="142" y="69"/>
                    </a:lnTo>
                    <a:lnTo>
                      <a:pt x="142" y="70"/>
                    </a:lnTo>
                    <a:lnTo>
                      <a:pt x="143" y="70"/>
                    </a:lnTo>
                    <a:lnTo>
                      <a:pt x="144" y="70"/>
                    </a:lnTo>
                    <a:lnTo>
                      <a:pt x="145" y="69"/>
                    </a:lnTo>
                    <a:lnTo>
                      <a:pt x="145" y="70"/>
                    </a:lnTo>
                    <a:lnTo>
                      <a:pt x="145" y="71"/>
                    </a:lnTo>
                    <a:lnTo>
                      <a:pt x="145" y="72"/>
                    </a:lnTo>
                    <a:lnTo>
                      <a:pt x="147" y="73"/>
                    </a:lnTo>
                    <a:lnTo>
                      <a:pt x="148" y="73"/>
                    </a:lnTo>
                    <a:lnTo>
                      <a:pt x="148" y="75"/>
                    </a:lnTo>
                    <a:lnTo>
                      <a:pt x="149" y="75"/>
                    </a:lnTo>
                    <a:lnTo>
                      <a:pt x="149" y="73"/>
                    </a:lnTo>
                    <a:lnTo>
                      <a:pt x="150" y="73"/>
                    </a:lnTo>
                    <a:lnTo>
                      <a:pt x="151" y="73"/>
                    </a:lnTo>
                    <a:lnTo>
                      <a:pt x="152" y="73"/>
                    </a:lnTo>
                    <a:lnTo>
                      <a:pt x="152" y="75"/>
                    </a:lnTo>
                    <a:lnTo>
                      <a:pt x="153" y="75"/>
                    </a:lnTo>
                    <a:lnTo>
                      <a:pt x="153" y="76"/>
                    </a:lnTo>
                    <a:lnTo>
                      <a:pt x="153" y="77"/>
                    </a:lnTo>
                    <a:lnTo>
                      <a:pt x="153" y="78"/>
                    </a:lnTo>
                    <a:lnTo>
                      <a:pt x="154" y="78"/>
                    </a:lnTo>
                    <a:lnTo>
                      <a:pt x="155" y="78"/>
                    </a:lnTo>
                    <a:lnTo>
                      <a:pt x="156" y="78"/>
                    </a:lnTo>
                    <a:lnTo>
                      <a:pt x="156" y="77"/>
                    </a:lnTo>
                    <a:lnTo>
                      <a:pt x="157" y="77"/>
                    </a:lnTo>
                    <a:lnTo>
                      <a:pt x="157" y="76"/>
                    </a:lnTo>
                    <a:lnTo>
                      <a:pt x="158" y="76"/>
                    </a:lnTo>
                    <a:lnTo>
                      <a:pt x="158" y="77"/>
                    </a:lnTo>
                    <a:lnTo>
                      <a:pt x="160" y="77"/>
                    </a:lnTo>
                    <a:lnTo>
                      <a:pt x="160" y="78"/>
                    </a:lnTo>
                    <a:lnTo>
                      <a:pt x="160" y="79"/>
                    </a:lnTo>
                    <a:lnTo>
                      <a:pt x="161" y="79"/>
                    </a:lnTo>
                    <a:lnTo>
                      <a:pt x="161" y="80"/>
                    </a:lnTo>
                    <a:lnTo>
                      <a:pt x="162" y="81"/>
                    </a:lnTo>
                    <a:lnTo>
                      <a:pt x="163" y="81"/>
                    </a:lnTo>
                    <a:lnTo>
                      <a:pt x="164" y="81"/>
                    </a:lnTo>
                    <a:lnTo>
                      <a:pt x="165" y="81"/>
                    </a:lnTo>
                    <a:lnTo>
                      <a:pt x="166" y="80"/>
                    </a:lnTo>
                    <a:lnTo>
                      <a:pt x="167" y="79"/>
                    </a:lnTo>
                    <a:lnTo>
                      <a:pt x="168" y="79"/>
                    </a:lnTo>
                    <a:lnTo>
                      <a:pt x="168" y="78"/>
                    </a:lnTo>
                    <a:lnTo>
                      <a:pt x="169" y="78"/>
                    </a:lnTo>
                    <a:lnTo>
                      <a:pt x="170" y="78"/>
                    </a:lnTo>
                    <a:lnTo>
                      <a:pt x="170" y="77"/>
                    </a:lnTo>
                    <a:lnTo>
                      <a:pt x="171" y="77"/>
                    </a:lnTo>
                    <a:lnTo>
                      <a:pt x="173" y="77"/>
                    </a:lnTo>
                    <a:lnTo>
                      <a:pt x="173" y="78"/>
                    </a:lnTo>
                    <a:lnTo>
                      <a:pt x="171" y="78"/>
                    </a:lnTo>
                    <a:lnTo>
                      <a:pt x="171" y="79"/>
                    </a:lnTo>
                    <a:lnTo>
                      <a:pt x="173" y="79"/>
                    </a:lnTo>
                    <a:lnTo>
                      <a:pt x="174" y="79"/>
                    </a:lnTo>
                    <a:lnTo>
                      <a:pt x="175" y="79"/>
                    </a:lnTo>
                    <a:lnTo>
                      <a:pt x="176" y="79"/>
                    </a:lnTo>
                    <a:lnTo>
                      <a:pt x="177" y="79"/>
                    </a:lnTo>
                    <a:lnTo>
                      <a:pt x="178" y="78"/>
                    </a:lnTo>
                    <a:lnTo>
                      <a:pt x="179" y="78"/>
                    </a:lnTo>
                    <a:lnTo>
                      <a:pt x="180" y="78"/>
                    </a:lnTo>
                    <a:lnTo>
                      <a:pt x="181" y="77"/>
                    </a:lnTo>
                    <a:lnTo>
                      <a:pt x="181" y="76"/>
                    </a:lnTo>
                    <a:lnTo>
                      <a:pt x="182" y="72"/>
                    </a:lnTo>
                    <a:lnTo>
                      <a:pt x="182" y="71"/>
                    </a:lnTo>
                    <a:lnTo>
                      <a:pt x="183" y="70"/>
                    </a:lnTo>
                    <a:lnTo>
                      <a:pt x="183" y="69"/>
                    </a:lnTo>
                    <a:lnTo>
                      <a:pt x="183" y="66"/>
                    </a:lnTo>
                    <a:lnTo>
                      <a:pt x="182" y="65"/>
                    </a:lnTo>
                    <a:lnTo>
                      <a:pt x="181" y="65"/>
                    </a:lnTo>
                    <a:lnTo>
                      <a:pt x="181" y="64"/>
                    </a:lnTo>
                    <a:lnTo>
                      <a:pt x="182" y="64"/>
                    </a:lnTo>
                    <a:lnTo>
                      <a:pt x="182" y="63"/>
                    </a:lnTo>
                    <a:lnTo>
                      <a:pt x="183" y="60"/>
                    </a:lnTo>
                    <a:lnTo>
                      <a:pt x="183" y="59"/>
                    </a:lnTo>
                    <a:lnTo>
                      <a:pt x="183" y="58"/>
                    </a:lnTo>
                    <a:lnTo>
                      <a:pt x="183" y="57"/>
                    </a:lnTo>
                    <a:lnTo>
                      <a:pt x="184" y="56"/>
                    </a:lnTo>
                    <a:lnTo>
                      <a:pt x="187" y="55"/>
                    </a:lnTo>
                    <a:lnTo>
                      <a:pt x="187" y="54"/>
                    </a:lnTo>
                    <a:lnTo>
                      <a:pt x="188" y="53"/>
                    </a:lnTo>
                    <a:lnTo>
                      <a:pt x="188" y="52"/>
                    </a:lnTo>
                    <a:lnTo>
                      <a:pt x="188" y="51"/>
                    </a:lnTo>
                    <a:lnTo>
                      <a:pt x="190" y="49"/>
                    </a:lnTo>
                    <a:lnTo>
                      <a:pt x="191" y="47"/>
                    </a:lnTo>
                    <a:lnTo>
                      <a:pt x="191" y="46"/>
                    </a:lnTo>
                    <a:lnTo>
                      <a:pt x="192" y="45"/>
                    </a:lnTo>
                    <a:lnTo>
                      <a:pt x="193" y="44"/>
                    </a:lnTo>
                    <a:lnTo>
                      <a:pt x="194" y="43"/>
                    </a:lnTo>
                    <a:lnTo>
                      <a:pt x="196" y="42"/>
                    </a:lnTo>
                    <a:lnTo>
                      <a:pt x="196" y="41"/>
                    </a:lnTo>
                    <a:lnTo>
                      <a:pt x="199" y="40"/>
                    </a:lnTo>
                    <a:lnTo>
                      <a:pt x="200" y="40"/>
                    </a:lnTo>
                    <a:lnTo>
                      <a:pt x="201" y="39"/>
                    </a:lnTo>
                    <a:lnTo>
                      <a:pt x="202" y="39"/>
                    </a:lnTo>
                    <a:lnTo>
                      <a:pt x="203" y="39"/>
                    </a:lnTo>
                    <a:lnTo>
                      <a:pt x="204" y="40"/>
                    </a:lnTo>
                    <a:lnTo>
                      <a:pt x="206" y="40"/>
                    </a:lnTo>
                    <a:lnTo>
                      <a:pt x="206" y="41"/>
                    </a:lnTo>
                    <a:lnTo>
                      <a:pt x="206" y="42"/>
                    </a:lnTo>
                    <a:lnTo>
                      <a:pt x="207" y="42"/>
                    </a:lnTo>
                    <a:lnTo>
                      <a:pt x="208" y="42"/>
                    </a:lnTo>
                    <a:lnTo>
                      <a:pt x="210" y="42"/>
                    </a:lnTo>
                    <a:lnTo>
                      <a:pt x="212" y="42"/>
                    </a:lnTo>
                    <a:lnTo>
                      <a:pt x="213" y="41"/>
                    </a:lnTo>
                    <a:lnTo>
                      <a:pt x="213" y="40"/>
                    </a:lnTo>
                    <a:lnTo>
                      <a:pt x="213" y="39"/>
                    </a:lnTo>
                    <a:lnTo>
                      <a:pt x="213" y="38"/>
                    </a:lnTo>
                    <a:lnTo>
                      <a:pt x="214" y="38"/>
                    </a:lnTo>
                    <a:lnTo>
                      <a:pt x="214" y="37"/>
                    </a:lnTo>
                    <a:lnTo>
                      <a:pt x="215" y="38"/>
                    </a:lnTo>
                    <a:lnTo>
                      <a:pt x="216" y="38"/>
                    </a:lnTo>
                    <a:lnTo>
                      <a:pt x="217" y="38"/>
                    </a:lnTo>
                    <a:lnTo>
                      <a:pt x="218" y="39"/>
                    </a:lnTo>
                    <a:lnTo>
                      <a:pt x="219" y="39"/>
                    </a:lnTo>
                    <a:lnTo>
                      <a:pt x="220" y="39"/>
                    </a:lnTo>
                    <a:lnTo>
                      <a:pt x="221" y="40"/>
                    </a:lnTo>
                    <a:lnTo>
                      <a:pt x="222" y="40"/>
                    </a:lnTo>
                    <a:lnTo>
                      <a:pt x="224" y="38"/>
                    </a:lnTo>
                    <a:lnTo>
                      <a:pt x="225" y="38"/>
                    </a:lnTo>
                    <a:lnTo>
                      <a:pt x="226" y="36"/>
                    </a:lnTo>
                    <a:lnTo>
                      <a:pt x="228" y="34"/>
                    </a:lnTo>
                    <a:lnTo>
                      <a:pt x="229" y="33"/>
                    </a:lnTo>
                    <a:lnTo>
                      <a:pt x="229" y="32"/>
                    </a:lnTo>
                    <a:lnTo>
                      <a:pt x="230" y="30"/>
                    </a:lnTo>
                    <a:lnTo>
                      <a:pt x="230" y="29"/>
                    </a:lnTo>
                    <a:lnTo>
                      <a:pt x="231" y="28"/>
                    </a:lnTo>
                    <a:lnTo>
                      <a:pt x="232" y="27"/>
                    </a:lnTo>
                    <a:lnTo>
                      <a:pt x="232" y="26"/>
                    </a:lnTo>
                    <a:lnTo>
                      <a:pt x="233" y="25"/>
                    </a:lnTo>
                    <a:lnTo>
                      <a:pt x="234" y="25"/>
                    </a:lnTo>
                    <a:lnTo>
                      <a:pt x="233" y="24"/>
                    </a:lnTo>
                    <a:lnTo>
                      <a:pt x="233" y="23"/>
                    </a:lnTo>
                    <a:lnTo>
                      <a:pt x="233" y="21"/>
                    </a:lnTo>
                    <a:lnTo>
                      <a:pt x="234" y="20"/>
                    </a:lnTo>
                    <a:lnTo>
                      <a:pt x="235" y="20"/>
                    </a:lnTo>
                    <a:lnTo>
                      <a:pt x="237" y="20"/>
                    </a:lnTo>
                    <a:lnTo>
                      <a:pt x="238" y="19"/>
                    </a:lnTo>
                    <a:lnTo>
                      <a:pt x="239" y="17"/>
                    </a:lnTo>
                    <a:lnTo>
                      <a:pt x="239" y="16"/>
                    </a:lnTo>
                    <a:lnTo>
                      <a:pt x="240" y="14"/>
                    </a:lnTo>
                    <a:lnTo>
                      <a:pt x="240" y="12"/>
                    </a:lnTo>
                    <a:lnTo>
                      <a:pt x="241" y="11"/>
                    </a:lnTo>
                    <a:lnTo>
                      <a:pt x="241" y="10"/>
                    </a:lnTo>
                    <a:lnTo>
                      <a:pt x="242" y="7"/>
                    </a:lnTo>
                    <a:lnTo>
                      <a:pt x="242" y="6"/>
                    </a:lnTo>
                    <a:lnTo>
                      <a:pt x="244" y="6"/>
                    </a:lnTo>
                    <a:lnTo>
                      <a:pt x="244" y="5"/>
                    </a:lnTo>
                    <a:lnTo>
                      <a:pt x="242" y="4"/>
                    </a:lnTo>
                    <a:lnTo>
                      <a:pt x="243" y="3"/>
                    </a:lnTo>
                    <a:lnTo>
                      <a:pt x="244" y="3"/>
                    </a:lnTo>
                    <a:lnTo>
                      <a:pt x="244" y="2"/>
                    </a:lnTo>
                    <a:lnTo>
                      <a:pt x="244" y="1"/>
                    </a:lnTo>
                    <a:lnTo>
                      <a:pt x="243" y="0"/>
                    </a:lnTo>
                    <a:lnTo>
                      <a:pt x="244" y="0"/>
                    </a:lnTo>
                    <a:lnTo>
                      <a:pt x="256" y="0"/>
                    </a:lnTo>
                    <a:lnTo>
                      <a:pt x="267" y="0"/>
                    </a:lnTo>
                    <a:lnTo>
                      <a:pt x="268" y="0"/>
                    </a:lnTo>
                    <a:lnTo>
                      <a:pt x="268" y="6"/>
                    </a:lnTo>
                    <a:lnTo>
                      <a:pt x="268" y="12"/>
                    </a:lnTo>
                    <a:lnTo>
                      <a:pt x="268" y="14"/>
                    </a:lnTo>
                    <a:lnTo>
                      <a:pt x="268" y="18"/>
                    </a:lnTo>
                    <a:lnTo>
                      <a:pt x="268" y="25"/>
                    </a:lnTo>
                    <a:lnTo>
                      <a:pt x="268" y="34"/>
                    </a:lnTo>
                    <a:lnTo>
                      <a:pt x="269" y="39"/>
                    </a:lnTo>
                    <a:lnTo>
                      <a:pt x="269" y="53"/>
                    </a:lnTo>
                    <a:lnTo>
                      <a:pt x="269" y="62"/>
                    </a:lnTo>
                    <a:lnTo>
                      <a:pt x="270" y="62"/>
                    </a:lnTo>
                    <a:lnTo>
                      <a:pt x="276" y="62"/>
                    </a:lnTo>
                    <a:lnTo>
                      <a:pt x="277" y="62"/>
                    </a:lnTo>
                    <a:lnTo>
                      <a:pt x="280" y="62"/>
                    </a:lnTo>
                    <a:lnTo>
                      <a:pt x="285" y="62"/>
                    </a:lnTo>
                    <a:lnTo>
                      <a:pt x="289" y="62"/>
                    </a:lnTo>
                    <a:lnTo>
                      <a:pt x="292" y="62"/>
                    </a:lnTo>
                    <a:lnTo>
                      <a:pt x="293" y="62"/>
                    </a:lnTo>
                    <a:lnTo>
                      <a:pt x="294" y="62"/>
                    </a:lnTo>
                    <a:lnTo>
                      <a:pt x="295" y="60"/>
                    </a:lnTo>
                    <a:lnTo>
                      <a:pt x="296" y="62"/>
                    </a:lnTo>
                    <a:lnTo>
                      <a:pt x="299" y="62"/>
                    </a:lnTo>
                    <a:lnTo>
                      <a:pt x="300" y="62"/>
                    </a:lnTo>
                    <a:lnTo>
                      <a:pt x="306" y="62"/>
                    </a:lnTo>
                    <a:lnTo>
                      <a:pt x="307" y="62"/>
                    </a:lnTo>
                    <a:lnTo>
                      <a:pt x="308" y="62"/>
                    </a:lnTo>
                    <a:lnTo>
                      <a:pt x="310" y="62"/>
                    </a:lnTo>
                    <a:lnTo>
                      <a:pt x="313" y="62"/>
                    </a:lnTo>
                    <a:lnTo>
                      <a:pt x="318" y="62"/>
                    </a:lnTo>
                    <a:lnTo>
                      <a:pt x="320" y="62"/>
                    </a:lnTo>
                    <a:lnTo>
                      <a:pt x="328" y="62"/>
                    </a:lnTo>
                    <a:lnTo>
                      <a:pt x="348" y="62"/>
                    </a:lnTo>
                    <a:lnTo>
                      <a:pt x="361" y="62"/>
                    </a:lnTo>
                    <a:close/>
                  </a:path>
                </a:pathLst>
              </a:custGeom>
              <a:solidFill>
                <a:srgbClr val="53A2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 name="Freeform 60">
                <a:extLst>
                  <a:ext uri="{FF2B5EF4-FFF2-40B4-BE49-F238E27FC236}">
                    <a16:creationId xmlns:a16="http://schemas.microsoft.com/office/drawing/2014/main" id="{D44DE256-7C5F-5D82-2B90-0019413619E6}"/>
                  </a:ext>
                </a:extLst>
              </p:cNvPr>
              <p:cNvSpPr>
                <a:spLocks/>
              </p:cNvSpPr>
              <p:nvPr/>
            </p:nvSpPr>
            <p:spPr bwMode="auto">
              <a:xfrm>
                <a:off x="3659188" y="1146175"/>
                <a:ext cx="441325" cy="539750"/>
              </a:xfrm>
              <a:custGeom>
                <a:avLst/>
                <a:gdLst>
                  <a:gd name="T0" fmla="*/ 198 w 278"/>
                  <a:gd name="T1" fmla="*/ 339 h 340"/>
                  <a:gd name="T2" fmla="*/ 0 w 278"/>
                  <a:gd name="T3" fmla="*/ 339 h 340"/>
                  <a:gd name="T4" fmla="*/ 12 w 278"/>
                  <a:gd name="T5" fmla="*/ 332 h 340"/>
                  <a:gd name="T6" fmla="*/ 12 w 278"/>
                  <a:gd name="T7" fmla="*/ 316 h 340"/>
                  <a:gd name="T8" fmla="*/ 9 w 278"/>
                  <a:gd name="T9" fmla="*/ 304 h 340"/>
                  <a:gd name="T10" fmla="*/ 22 w 278"/>
                  <a:gd name="T11" fmla="*/ 293 h 340"/>
                  <a:gd name="T12" fmla="*/ 35 w 278"/>
                  <a:gd name="T13" fmla="*/ 288 h 340"/>
                  <a:gd name="T14" fmla="*/ 31 w 278"/>
                  <a:gd name="T15" fmla="*/ 275 h 340"/>
                  <a:gd name="T16" fmla="*/ 35 w 278"/>
                  <a:gd name="T17" fmla="*/ 265 h 340"/>
                  <a:gd name="T18" fmla="*/ 36 w 278"/>
                  <a:gd name="T19" fmla="*/ 256 h 340"/>
                  <a:gd name="T20" fmla="*/ 35 w 278"/>
                  <a:gd name="T21" fmla="*/ 248 h 340"/>
                  <a:gd name="T22" fmla="*/ 33 w 278"/>
                  <a:gd name="T23" fmla="*/ 235 h 340"/>
                  <a:gd name="T24" fmla="*/ 40 w 278"/>
                  <a:gd name="T25" fmla="*/ 226 h 340"/>
                  <a:gd name="T26" fmla="*/ 48 w 278"/>
                  <a:gd name="T27" fmla="*/ 229 h 340"/>
                  <a:gd name="T28" fmla="*/ 49 w 278"/>
                  <a:gd name="T29" fmla="*/ 219 h 340"/>
                  <a:gd name="T30" fmla="*/ 52 w 278"/>
                  <a:gd name="T31" fmla="*/ 208 h 340"/>
                  <a:gd name="T32" fmla="*/ 66 w 278"/>
                  <a:gd name="T33" fmla="*/ 188 h 340"/>
                  <a:gd name="T34" fmla="*/ 69 w 278"/>
                  <a:gd name="T35" fmla="*/ 173 h 340"/>
                  <a:gd name="T36" fmla="*/ 70 w 278"/>
                  <a:gd name="T37" fmla="*/ 154 h 340"/>
                  <a:gd name="T38" fmla="*/ 71 w 278"/>
                  <a:gd name="T39" fmla="*/ 136 h 340"/>
                  <a:gd name="T40" fmla="*/ 67 w 278"/>
                  <a:gd name="T41" fmla="*/ 128 h 340"/>
                  <a:gd name="T42" fmla="*/ 72 w 278"/>
                  <a:gd name="T43" fmla="*/ 108 h 340"/>
                  <a:gd name="T44" fmla="*/ 77 w 278"/>
                  <a:gd name="T45" fmla="*/ 100 h 340"/>
                  <a:gd name="T46" fmla="*/ 83 w 278"/>
                  <a:gd name="T47" fmla="*/ 100 h 340"/>
                  <a:gd name="T48" fmla="*/ 90 w 278"/>
                  <a:gd name="T49" fmla="*/ 91 h 340"/>
                  <a:gd name="T50" fmla="*/ 88 w 278"/>
                  <a:gd name="T51" fmla="*/ 80 h 340"/>
                  <a:gd name="T52" fmla="*/ 91 w 278"/>
                  <a:gd name="T53" fmla="*/ 62 h 340"/>
                  <a:gd name="T54" fmla="*/ 93 w 278"/>
                  <a:gd name="T55" fmla="*/ 53 h 340"/>
                  <a:gd name="T56" fmla="*/ 98 w 278"/>
                  <a:gd name="T57" fmla="*/ 40 h 340"/>
                  <a:gd name="T58" fmla="*/ 108 w 278"/>
                  <a:gd name="T59" fmla="*/ 39 h 340"/>
                  <a:gd name="T60" fmla="*/ 110 w 278"/>
                  <a:gd name="T61" fmla="*/ 23 h 340"/>
                  <a:gd name="T62" fmla="*/ 114 w 278"/>
                  <a:gd name="T63" fmla="*/ 17 h 340"/>
                  <a:gd name="T64" fmla="*/ 119 w 278"/>
                  <a:gd name="T65" fmla="*/ 5 h 340"/>
                  <a:gd name="T66" fmla="*/ 176 w 278"/>
                  <a:gd name="T67" fmla="*/ 7 h 340"/>
                  <a:gd name="T68" fmla="*/ 157 w 278"/>
                  <a:gd name="T69" fmla="*/ 31 h 340"/>
                  <a:gd name="T70" fmla="*/ 151 w 278"/>
                  <a:gd name="T71" fmla="*/ 45 h 340"/>
                  <a:gd name="T72" fmla="*/ 156 w 278"/>
                  <a:gd name="T73" fmla="*/ 68 h 340"/>
                  <a:gd name="T74" fmla="*/ 182 w 278"/>
                  <a:gd name="T75" fmla="*/ 75 h 340"/>
                  <a:gd name="T76" fmla="*/ 199 w 278"/>
                  <a:gd name="T77" fmla="*/ 55 h 340"/>
                  <a:gd name="T78" fmla="*/ 196 w 278"/>
                  <a:gd name="T79" fmla="*/ 35 h 340"/>
                  <a:gd name="T80" fmla="*/ 195 w 278"/>
                  <a:gd name="T81" fmla="*/ 25 h 340"/>
                  <a:gd name="T82" fmla="*/ 207 w 278"/>
                  <a:gd name="T83" fmla="*/ 13 h 340"/>
                  <a:gd name="T84" fmla="*/ 232 w 278"/>
                  <a:gd name="T85" fmla="*/ 38 h 340"/>
                  <a:gd name="T86" fmla="*/ 240 w 278"/>
                  <a:gd name="T87" fmla="*/ 58 h 340"/>
                  <a:gd name="T88" fmla="*/ 237 w 278"/>
                  <a:gd name="T89" fmla="*/ 84 h 340"/>
                  <a:gd name="T90" fmla="*/ 209 w 278"/>
                  <a:gd name="T91" fmla="*/ 108 h 340"/>
                  <a:gd name="T92" fmla="*/ 191 w 278"/>
                  <a:gd name="T93" fmla="*/ 116 h 340"/>
                  <a:gd name="T94" fmla="*/ 182 w 278"/>
                  <a:gd name="T95" fmla="*/ 136 h 340"/>
                  <a:gd name="T96" fmla="*/ 184 w 278"/>
                  <a:gd name="T97" fmla="*/ 163 h 340"/>
                  <a:gd name="T98" fmla="*/ 183 w 278"/>
                  <a:gd name="T99" fmla="*/ 189 h 340"/>
                  <a:gd name="T100" fmla="*/ 219 w 278"/>
                  <a:gd name="T101" fmla="*/ 194 h 340"/>
                  <a:gd name="T102" fmla="*/ 233 w 278"/>
                  <a:gd name="T103" fmla="*/ 226 h 340"/>
                  <a:gd name="T104" fmla="*/ 199 w 278"/>
                  <a:gd name="T105" fmla="*/ 252 h 340"/>
                  <a:gd name="T106" fmla="*/ 186 w 278"/>
                  <a:gd name="T107" fmla="*/ 265 h 340"/>
                  <a:gd name="T108" fmla="*/ 189 w 278"/>
                  <a:gd name="T109" fmla="*/ 290 h 340"/>
                  <a:gd name="T110" fmla="*/ 208 w 278"/>
                  <a:gd name="T111" fmla="*/ 304 h 340"/>
                  <a:gd name="T112" fmla="*/ 228 w 278"/>
                  <a:gd name="T113" fmla="*/ 296 h 340"/>
                  <a:gd name="T114" fmla="*/ 259 w 278"/>
                  <a:gd name="T115" fmla="*/ 265 h 340"/>
                  <a:gd name="T116" fmla="*/ 276 w 278"/>
                  <a:gd name="T117" fmla="*/ 272 h 340"/>
                  <a:gd name="T118" fmla="*/ 269 w 278"/>
                  <a:gd name="T119" fmla="*/ 29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340">
                    <a:moveTo>
                      <a:pt x="253" y="312"/>
                    </a:moveTo>
                    <a:lnTo>
                      <a:pt x="252" y="312"/>
                    </a:lnTo>
                    <a:lnTo>
                      <a:pt x="250" y="313"/>
                    </a:lnTo>
                    <a:lnTo>
                      <a:pt x="247" y="315"/>
                    </a:lnTo>
                    <a:lnTo>
                      <a:pt x="243" y="317"/>
                    </a:lnTo>
                    <a:lnTo>
                      <a:pt x="241" y="318"/>
                    </a:lnTo>
                    <a:lnTo>
                      <a:pt x="239" y="319"/>
                    </a:lnTo>
                    <a:lnTo>
                      <a:pt x="237" y="322"/>
                    </a:lnTo>
                    <a:lnTo>
                      <a:pt x="220" y="322"/>
                    </a:lnTo>
                    <a:lnTo>
                      <a:pt x="213" y="322"/>
                    </a:lnTo>
                    <a:lnTo>
                      <a:pt x="213" y="326"/>
                    </a:lnTo>
                    <a:lnTo>
                      <a:pt x="212" y="327"/>
                    </a:lnTo>
                    <a:lnTo>
                      <a:pt x="203" y="332"/>
                    </a:lnTo>
                    <a:lnTo>
                      <a:pt x="200" y="334"/>
                    </a:lnTo>
                    <a:lnTo>
                      <a:pt x="198" y="339"/>
                    </a:lnTo>
                    <a:lnTo>
                      <a:pt x="188" y="339"/>
                    </a:lnTo>
                    <a:lnTo>
                      <a:pt x="181" y="339"/>
                    </a:lnTo>
                    <a:lnTo>
                      <a:pt x="175" y="339"/>
                    </a:lnTo>
                    <a:lnTo>
                      <a:pt x="149" y="340"/>
                    </a:lnTo>
                    <a:lnTo>
                      <a:pt x="126" y="340"/>
                    </a:lnTo>
                    <a:lnTo>
                      <a:pt x="92" y="339"/>
                    </a:lnTo>
                    <a:lnTo>
                      <a:pt x="72" y="339"/>
                    </a:lnTo>
                    <a:lnTo>
                      <a:pt x="55" y="339"/>
                    </a:lnTo>
                    <a:lnTo>
                      <a:pt x="54" y="339"/>
                    </a:lnTo>
                    <a:lnTo>
                      <a:pt x="48" y="339"/>
                    </a:lnTo>
                    <a:lnTo>
                      <a:pt x="41" y="339"/>
                    </a:lnTo>
                    <a:lnTo>
                      <a:pt x="38" y="339"/>
                    </a:lnTo>
                    <a:lnTo>
                      <a:pt x="36" y="339"/>
                    </a:lnTo>
                    <a:lnTo>
                      <a:pt x="19" y="339"/>
                    </a:lnTo>
                    <a:lnTo>
                      <a:pt x="0" y="339"/>
                    </a:lnTo>
                    <a:lnTo>
                      <a:pt x="1" y="338"/>
                    </a:lnTo>
                    <a:lnTo>
                      <a:pt x="1" y="337"/>
                    </a:lnTo>
                    <a:lnTo>
                      <a:pt x="2" y="337"/>
                    </a:lnTo>
                    <a:lnTo>
                      <a:pt x="3" y="337"/>
                    </a:lnTo>
                    <a:lnTo>
                      <a:pt x="4" y="338"/>
                    </a:lnTo>
                    <a:lnTo>
                      <a:pt x="4" y="337"/>
                    </a:lnTo>
                    <a:lnTo>
                      <a:pt x="5" y="337"/>
                    </a:lnTo>
                    <a:lnTo>
                      <a:pt x="6" y="336"/>
                    </a:lnTo>
                    <a:lnTo>
                      <a:pt x="7" y="336"/>
                    </a:lnTo>
                    <a:lnTo>
                      <a:pt x="8" y="336"/>
                    </a:lnTo>
                    <a:lnTo>
                      <a:pt x="9" y="336"/>
                    </a:lnTo>
                    <a:lnTo>
                      <a:pt x="10" y="336"/>
                    </a:lnTo>
                    <a:lnTo>
                      <a:pt x="10" y="335"/>
                    </a:lnTo>
                    <a:lnTo>
                      <a:pt x="12" y="334"/>
                    </a:lnTo>
                    <a:lnTo>
                      <a:pt x="12" y="332"/>
                    </a:lnTo>
                    <a:lnTo>
                      <a:pt x="10" y="331"/>
                    </a:lnTo>
                    <a:lnTo>
                      <a:pt x="9" y="330"/>
                    </a:lnTo>
                    <a:lnTo>
                      <a:pt x="9" y="329"/>
                    </a:lnTo>
                    <a:lnTo>
                      <a:pt x="9" y="328"/>
                    </a:lnTo>
                    <a:lnTo>
                      <a:pt x="13" y="326"/>
                    </a:lnTo>
                    <a:lnTo>
                      <a:pt x="14" y="325"/>
                    </a:lnTo>
                    <a:lnTo>
                      <a:pt x="15" y="325"/>
                    </a:lnTo>
                    <a:lnTo>
                      <a:pt x="15" y="324"/>
                    </a:lnTo>
                    <a:lnTo>
                      <a:pt x="16" y="324"/>
                    </a:lnTo>
                    <a:lnTo>
                      <a:pt x="16" y="323"/>
                    </a:lnTo>
                    <a:lnTo>
                      <a:pt x="16" y="322"/>
                    </a:lnTo>
                    <a:lnTo>
                      <a:pt x="15" y="321"/>
                    </a:lnTo>
                    <a:lnTo>
                      <a:pt x="13" y="318"/>
                    </a:lnTo>
                    <a:lnTo>
                      <a:pt x="13" y="317"/>
                    </a:lnTo>
                    <a:lnTo>
                      <a:pt x="12" y="316"/>
                    </a:lnTo>
                    <a:lnTo>
                      <a:pt x="12" y="315"/>
                    </a:lnTo>
                    <a:lnTo>
                      <a:pt x="12" y="314"/>
                    </a:lnTo>
                    <a:lnTo>
                      <a:pt x="10" y="314"/>
                    </a:lnTo>
                    <a:lnTo>
                      <a:pt x="10" y="313"/>
                    </a:lnTo>
                    <a:lnTo>
                      <a:pt x="9" y="312"/>
                    </a:lnTo>
                    <a:lnTo>
                      <a:pt x="8" y="312"/>
                    </a:lnTo>
                    <a:lnTo>
                      <a:pt x="8" y="311"/>
                    </a:lnTo>
                    <a:lnTo>
                      <a:pt x="7" y="310"/>
                    </a:lnTo>
                    <a:lnTo>
                      <a:pt x="7" y="309"/>
                    </a:lnTo>
                    <a:lnTo>
                      <a:pt x="7" y="308"/>
                    </a:lnTo>
                    <a:lnTo>
                      <a:pt x="7" y="306"/>
                    </a:lnTo>
                    <a:lnTo>
                      <a:pt x="7" y="305"/>
                    </a:lnTo>
                    <a:lnTo>
                      <a:pt x="8" y="305"/>
                    </a:lnTo>
                    <a:lnTo>
                      <a:pt x="8" y="304"/>
                    </a:lnTo>
                    <a:lnTo>
                      <a:pt x="9" y="304"/>
                    </a:lnTo>
                    <a:lnTo>
                      <a:pt x="9" y="303"/>
                    </a:lnTo>
                    <a:lnTo>
                      <a:pt x="10" y="302"/>
                    </a:lnTo>
                    <a:lnTo>
                      <a:pt x="13" y="301"/>
                    </a:lnTo>
                    <a:lnTo>
                      <a:pt x="14" y="300"/>
                    </a:lnTo>
                    <a:lnTo>
                      <a:pt x="15" y="300"/>
                    </a:lnTo>
                    <a:lnTo>
                      <a:pt x="15" y="299"/>
                    </a:lnTo>
                    <a:lnTo>
                      <a:pt x="16" y="298"/>
                    </a:lnTo>
                    <a:lnTo>
                      <a:pt x="16" y="297"/>
                    </a:lnTo>
                    <a:lnTo>
                      <a:pt x="17" y="296"/>
                    </a:lnTo>
                    <a:lnTo>
                      <a:pt x="18" y="296"/>
                    </a:lnTo>
                    <a:lnTo>
                      <a:pt x="18" y="295"/>
                    </a:lnTo>
                    <a:lnTo>
                      <a:pt x="19" y="295"/>
                    </a:lnTo>
                    <a:lnTo>
                      <a:pt x="19" y="293"/>
                    </a:lnTo>
                    <a:lnTo>
                      <a:pt x="20" y="293"/>
                    </a:lnTo>
                    <a:lnTo>
                      <a:pt x="22" y="293"/>
                    </a:lnTo>
                    <a:lnTo>
                      <a:pt x="22" y="295"/>
                    </a:lnTo>
                    <a:lnTo>
                      <a:pt x="23" y="295"/>
                    </a:lnTo>
                    <a:lnTo>
                      <a:pt x="23" y="293"/>
                    </a:lnTo>
                    <a:lnTo>
                      <a:pt x="25" y="292"/>
                    </a:lnTo>
                    <a:lnTo>
                      <a:pt x="26" y="291"/>
                    </a:lnTo>
                    <a:lnTo>
                      <a:pt x="28" y="291"/>
                    </a:lnTo>
                    <a:lnTo>
                      <a:pt x="29" y="291"/>
                    </a:lnTo>
                    <a:lnTo>
                      <a:pt x="30" y="291"/>
                    </a:lnTo>
                    <a:lnTo>
                      <a:pt x="31" y="291"/>
                    </a:lnTo>
                    <a:lnTo>
                      <a:pt x="32" y="290"/>
                    </a:lnTo>
                    <a:lnTo>
                      <a:pt x="33" y="290"/>
                    </a:lnTo>
                    <a:lnTo>
                      <a:pt x="34" y="290"/>
                    </a:lnTo>
                    <a:lnTo>
                      <a:pt x="34" y="289"/>
                    </a:lnTo>
                    <a:lnTo>
                      <a:pt x="35" y="289"/>
                    </a:lnTo>
                    <a:lnTo>
                      <a:pt x="35" y="288"/>
                    </a:lnTo>
                    <a:lnTo>
                      <a:pt x="36" y="288"/>
                    </a:lnTo>
                    <a:lnTo>
                      <a:pt x="36" y="287"/>
                    </a:lnTo>
                    <a:lnTo>
                      <a:pt x="38" y="286"/>
                    </a:lnTo>
                    <a:lnTo>
                      <a:pt x="38" y="285"/>
                    </a:lnTo>
                    <a:lnTo>
                      <a:pt x="38" y="284"/>
                    </a:lnTo>
                    <a:lnTo>
                      <a:pt x="36" y="284"/>
                    </a:lnTo>
                    <a:lnTo>
                      <a:pt x="34" y="284"/>
                    </a:lnTo>
                    <a:lnTo>
                      <a:pt x="33" y="283"/>
                    </a:lnTo>
                    <a:lnTo>
                      <a:pt x="32" y="283"/>
                    </a:lnTo>
                    <a:lnTo>
                      <a:pt x="32" y="282"/>
                    </a:lnTo>
                    <a:lnTo>
                      <a:pt x="32" y="280"/>
                    </a:lnTo>
                    <a:lnTo>
                      <a:pt x="31" y="279"/>
                    </a:lnTo>
                    <a:lnTo>
                      <a:pt x="31" y="278"/>
                    </a:lnTo>
                    <a:lnTo>
                      <a:pt x="31" y="276"/>
                    </a:lnTo>
                    <a:lnTo>
                      <a:pt x="31" y="275"/>
                    </a:lnTo>
                    <a:lnTo>
                      <a:pt x="32" y="275"/>
                    </a:lnTo>
                    <a:lnTo>
                      <a:pt x="32" y="274"/>
                    </a:lnTo>
                    <a:lnTo>
                      <a:pt x="33" y="274"/>
                    </a:lnTo>
                    <a:lnTo>
                      <a:pt x="33" y="273"/>
                    </a:lnTo>
                    <a:lnTo>
                      <a:pt x="34" y="273"/>
                    </a:lnTo>
                    <a:lnTo>
                      <a:pt x="34" y="272"/>
                    </a:lnTo>
                    <a:lnTo>
                      <a:pt x="34" y="271"/>
                    </a:lnTo>
                    <a:lnTo>
                      <a:pt x="34" y="270"/>
                    </a:lnTo>
                    <a:lnTo>
                      <a:pt x="34" y="269"/>
                    </a:lnTo>
                    <a:lnTo>
                      <a:pt x="33" y="269"/>
                    </a:lnTo>
                    <a:lnTo>
                      <a:pt x="33" y="267"/>
                    </a:lnTo>
                    <a:lnTo>
                      <a:pt x="33" y="265"/>
                    </a:lnTo>
                    <a:lnTo>
                      <a:pt x="33" y="264"/>
                    </a:lnTo>
                    <a:lnTo>
                      <a:pt x="34" y="264"/>
                    </a:lnTo>
                    <a:lnTo>
                      <a:pt x="35" y="265"/>
                    </a:lnTo>
                    <a:lnTo>
                      <a:pt x="36" y="265"/>
                    </a:lnTo>
                    <a:lnTo>
                      <a:pt x="38" y="264"/>
                    </a:lnTo>
                    <a:lnTo>
                      <a:pt x="38" y="263"/>
                    </a:lnTo>
                    <a:lnTo>
                      <a:pt x="36" y="263"/>
                    </a:lnTo>
                    <a:lnTo>
                      <a:pt x="36" y="262"/>
                    </a:lnTo>
                    <a:lnTo>
                      <a:pt x="38" y="262"/>
                    </a:lnTo>
                    <a:lnTo>
                      <a:pt x="39" y="262"/>
                    </a:lnTo>
                    <a:lnTo>
                      <a:pt x="39" y="261"/>
                    </a:lnTo>
                    <a:lnTo>
                      <a:pt x="38" y="261"/>
                    </a:lnTo>
                    <a:lnTo>
                      <a:pt x="36" y="260"/>
                    </a:lnTo>
                    <a:lnTo>
                      <a:pt x="35" y="259"/>
                    </a:lnTo>
                    <a:lnTo>
                      <a:pt x="35" y="258"/>
                    </a:lnTo>
                    <a:lnTo>
                      <a:pt x="36" y="258"/>
                    </a:lnTo>
                    <a:lnTo>
                      <a:pt x="36" y="257"/>
                    </a:lnTo>
                    <a:lnTo>
                      <a:pt x="36" y="256"/>
                    </a:lnTo>
                    <a:lnTo>
                      <a:pt x="38" y="256"/>
                    </a:lnTo>
                    <a:lnTo>
                      <a:pt x="38" y="254"/>
                    </a:lnTo>
                    <a:lnTo>
                      <a:pt x="38" y="253"/>
                    </a:lnTo>
                    <a:lnTo>
                      <a:pt x="39" y="253"/>
                    </a:lnTo>
                    <a:lnTo>
                      <a:pt x="38" y="252"/>
                    </a:lnTo>
                    <a:lnTo>
                      <a:pt x="36" y="252"/>
                    </a:lnTo>
                    <a:lnTo>
                      <a:pt x="36" y="253"/>
                    </a:lnTo>
                    <a:lnTo>
                      <a:pt x="35" y="253"/>
                    </a:lnTo>
                    <a:lnTo>
                      <a:pt x="34" y="252"/>
                    </a:lnTo>
                    <a:lnTo>
                      <a:pt x="34" y="251"/>
                    </a:lnTo>
                    <a:lnTo>
                      <a:pt x="35" y="250"/>
                    </a:lnTo>
                    <a:lnTo>
                      <a:pt x="35" y="249"/>
                    </a:lnTo>
                    <a:lnTo>
                      <a:pt x="36" y="249"/>
                    </a:lnTo>
                    <a:lnTo>
                      <a:pt x="35" y="249"/>
                    </a:lnTo>
                    <a:lnTo>
                      <a:pt x="35" y="248"/>
                    </a:lnTo>
                    <a:lnTo>
                      <a:pt x="35" y="247"/>
                    </a:lnTo>
                    <a:lnTo>
                      <a:pt x="34" y="247"/>
                    </a:lnTo>
                    <a:lnTo>
                      <a:pt x="34" y="246"/>
                    </a:lnTo>
                    <a:lnTo>
                      <a:pt x="34" y="245"/>
                    </a:lnTo>
                    <a:lnTo>
                      <a:pt x="34" y="244"/>
                    </a:lnTo>
                    <a:lnTo>
                      <a:pt x="34" y="241"/>
                    </a:lnTo>
                    <a:lnTo>
                      <a:pt x="34" y="240"/>
                    </a:lnTo>
                    <a:lnTo>
                      <a:pt x="34" y="239"/>
                    </a:lnTo>
                    <a:lnTo>
                      <a:pt x="34" y="238"/>
                    </a:lnTo>
                    <a:lnTo>
                      <a:pt x="33" y="238"/>
                    </a:lnTo>
                    <a:lnTo>
                      <a:pt x="33" y="237"/>
                    </a:lnTo>
                    <a:lnTo>
                      <a:pt x="33" y="236"/>
                    </a:lnTo>
                    <a:lnTo>
                      <a:pt x="32" y="236"/>
                    </a:lnTo>
                    <a:lnTo>
                      <a:pt x="32" y="235"/>
                    </a:lnTo>
                    <a:lnTo>
                      <a:pt x="33" y="235"/>
                    </a:lnTo>
                    <a:lnTo>
                      <a:pt x="34" y="234"/>
                    </a:lnTo>
                    <a:lnTo>
                      <a:pt x="35" y="234"/>
                    </a:lnTo>
                    <a:lnTo>
                      <a:pt x="36" y="234"/>
                    </a:lnTo>
                    <a:lnTo>
                      <a:pt x="36" y="233"/>
                    </a:lnTo>
                    <a:lnTo>
                      <a:pt x="35" y="232"/>
                    </a:lnTo>
                    <a:lnTo>
                      <a:pt x="35" y="231"/>
                    </a:lnTo>
                    <a:lnTo>
                      <a:pt x="36" y="229"/>
                    </a:lnTo>
                    <a:lnTo>
                      <a:pt x="35" y="228"/>
                    </a:lnTo>
                    <a:lnTo>
                      <a:pt x="35" y="227"/>
                    </a:lnTo>
                    <a:lnTo>
                      <a:pt x="35" y="226"/>
                    </a:lnTo>
                    <a:lnTo>
                      <a:pt x="36" y="226"/>
                    </a:lnTo>
                    <a:lnTo>
                      <a:pt x="38" y="226"/>
                    </a:lnTo>
                    <a:lnTo>
                      <a:pt x="39" y="226"/>
                    </a:lnTo>
                    <a:lnTo>
                      <a:pt x="39" y="227"/>
                    </a:lnTo>
                    <a:lnTo>
                      <a:pt x="40" y="226"/>
                    </a:lnTo>
                    <a:lnTo>
                      <a:pt x="41" y="226"/>
                    </a:lnTo>
                    <a:lnTo>
                      <a:pt x="41" y="227"/>
                    </a:lnTo>
                    <a:lnTo>
                      <a:pt x="42" y="227"/>
                    </a:lnTo>
                    <a:lnTo>
                      <a:pt x="43" y="227"/>
                    </a:lnTo>
                    <a:lnTo>
                      <a:pt x="44" y="228"/>
                    </a:lnTo>
                    <a:lnTo>
                      <a:pt x="45" y="228"/>
                    </a:lnTo>
                    <a:lnTo>
                      <a:pt x="46" y="228"/>
                    </a:lnTo>
                    <a:lnTo>
                      <a:pt x="46" y="227"/>
                    </a:lnTo>
                    <a:lnTo>
                      <a:pt x="46" y="226"/>
                    </a:lnTo>
                    <a:lnTo>
                      <a:pt x="47" y="226"/>
                    </a:lnTo>
                    <a:lnTo>
                      <a:pt x="48" y="226"/>
                    </a:lnTo>
                    <a:lnTo>
                      <a:pt x="48" y="227"/>
                    </a:lnTo>
                    <a:lnTo>
                      <a:pt x="47" y="228"/>
                    </a:lnTo>
                    <a:lnTo>
                      <a:pt x="47" y="229"/>
                    </a:lnTo>
                    <a:lnTo>
                      <a:pt x="48" y="229"/>
                    </a:lnTo>
                    <a:lnTo>
                      <a:pt x="49" y="229"/>
                    </a:lnTo>
                    <a:lnTo>
                      <a:pt x="51" y="229"/>
                    </a:lnTo>
                    <a:lnTo>
                      <a:pt x="51" y="228"/>
                    </a:lnTo>
                    <a:lnTo>
                      <a:pt x="51" y="227"/>
                    </a:lnTo>
                    <a:lnTo>
                      <a:pt x="49" y="226"/>
                    </a:lnTo>
                    <a:lnTo>
                      <a:pt x="49" y="225"/>
                    </a:lnTo>
                    <a:lnTo>
                      <a:pt x="51" y="225"/>
                    </a:lnTo>
                    <a:lnTo>
                      <a:pt x="52" y="224"/>
                    </a:lnTo>
                    <a:lnTo>
                      <a:pt x="51" y="224"/>
                    </a:lnTo>
                    <a:lnTo>
                      <a:pt x="51" y="223"/>
                    </a:lnTo>
                    <a:lnTo>
                      <a:pt x="48" y="222"/>
                    </a:lnTo>
                    <a:lnTo>
                      <a:pt x="48" y="221"/>
                    </a:lnTo>
                    <a:lnTo>
                      <a:pt x="49" y="221"/>
                    </a:lnTo>
                    <a:lnTo>
                      <a:pt x="49" y="220"/>
                    </a:lnTo>
                    <a:lnTo>
                      <a:pt x="49" y="219"/>
                    </a:lnTo>
                    <a:lnTo>
                      <a:pt x="48" y="219"/>
                    </a:lnTo>
                    <a:lnTo>
                      <a:pt x="48" y="218"/>
                    </a:lnTo>
                    <a:lnTo>
                      <a:pt x="48" y="216"/>
                    </a:lnTo>
                    <a:lnTo>
                      <a:pt x="49" y="215"/>
                    </a:lnTo>
                    <a:lnTo>
                      <a:pt x="51" y="214"/>
                    </a:lnTo>
                    <a:lnTo>
                      <a:pt x="51" y="213"/>
                    </a:lnTo>
                    <a:lnTo>
                      <a:pt x="51" y="212"/>
                    </a:lnTo>
                    <a:lnTo>
                      <a:pt x="51" y="211"/>
                    </a:lnTo>
                    <a:lnTo>
                      <a:pt x="52" y="211"/>
                    </a:lnTo>
                    <a:lnTo>
                      <a:pt x="52" y="210"/>
                    </a:lnTo>
                    <a:lnTo>
                      <a:pt x="53" y="210"/>
                    </a:lnTo>
                    <a:lnTo>
                      <a:pt x="52" y="210"/>
                    </a:lnTo>
                    <a:lnTo>
                      <a:pt x="51" y="209"/>
                    </a:lnTo>
                    <a:lnTo>
                      <a:pt x="51" y="208"/>
                    </a:lnTo>
                    <a:lnTo>
                      <a:pt x="52" y="208"/>
                    </a:lnTo>
                    <a:lnTo>
                      <a:pt x="52" y="207"/>
                    </a:lnTo>
                    <a:lnTo>
                      <a:pt x="53" y="207"/>
                    </a:lnTo>
                    <a:lnTo>
                      <a:pt x="54" y="206"/>
                    </a:lnTo>
                    <a:lnTo>
                      <a:pt x="55" y="203"/>
                    </a:lnTo>
                    <a:lnTo>
                      <a:pt x="55" y="202"/>
                    </a:lnTo>
                    <a:lnTo>
                      <a:pt x="56" y="201"/>
                    </a:lnTo>
                    <a:lnTo>
                      <a:pt x="57" y="200"/>
                    </a:lnTo>
                    <a:lnTo>
                      <a:pt x="58" y="199"/>
                    </a:lnTo>
                    <a:lnTo>
                      <a:pt x="58" y="198"/>
                    </a:lnTo>
                    <a:lnTo>
                      <a:pt x="60" y="194"/>
                    </a:lnTo>
                    <a:lnTo>
                      <a:pt x="61" y="192"/>
                    </a:lnTo>
                    <a:lnTo>
                      <a:pt x="62" y="192"/>
                    </a:lnTo>
                    <a:lnTo>
                      <a:pt x="62" y="190"/>
                    </a:lnTo>
                    <a:lnTo>
                      <a:pt x="65" y="189"/>
                    </a:lnTo>
                    <a:lnTo>
                      <a:pt x="66" y="188"/>
                    </a:lnTo>
                    <a:lnTo>
                      <a:pt x="67" y="187"/>
                    </a:lnTo>
                    <a:lnTo>
                      <a:pt x="68" y="187"/>
                    </a:lnTo>
                    <a:lnTo>
                      <a:pt x="69" y="186"/>
                    </a:lnTo>
                    <a:lnTo>
                      <a:pt x="70" y="185"/>
                    </a:lnTo>
                    <a:lnTo>
                      <a:pt x="70" y="184"/>
                    </a:lnTo>
                    <a:lnTo>
                      <a:pt x="69" y="184"/>
                    </a:lnTo>
                    <a:lnTo>
                      <a:pt x="69" y="183"/>
                    </a:lnTo>
                    <a:lnTo>
                      <a:pt x="69" y="182"/>
                    </a:lnTo>
                    <a:lnTo>
                      <a:pt x="69" y="181"/>
                    </a:lnTo>
                    <a:lnTo>
                      <a:pt x="69" y="177"/>
                    </a:lnTo>
                    <a:lnTo>
                      <a:pt x="69" y="176"/>
                    </a:lnTo>
                    <a:lnTo>
                      <a:pt x="70" y="175"/>
                    </a:lnTo>
                    <a:lnTo>
                      <a:pt x="70" y="174"/>
                    </a:lnTo>
                    <a:lnTo>
                      <a:pt x="69" y="174"/>
                    </a:lnTo>
                    <a:lnTo>
                      <a:pt x="69" y="173"/>
                    </a:lnTo>
                    <a:lnTo>
                      <a:pt x="70" y="172"/>
                    </a:lnTo>
                    <a:lnTo>
                      <a:pt x="71" y="172"/>
                    </a:lnTo>
                    <a:lnTo>
                      <a:pt x="71" y="171"/>
                    </a:lnTo>
                    <a:lnTo>
                      <a:pt x="70" y="171"/>
                    </a:lnTo>
                    <a:lnTo>
                      <a:pt x="70" y="170"/>
                    </a:lnTo>
                    <a:lnTo>
                      <a:pt x="70" y="169"/>
                    </a:lnTo>
                    <a:lnTo>
                      <a:pt x="69" y="169"/>
                    </a:lnTo>
                    <a:lnTo>
                      <a:pt x="69" y="168"/>
                    </a:lnTo>
                    <a:lnTo>
                      <a:pt x="70" y="165"/>
                    </a:lnTo>
                    <a:lnTo>
                      <a:pt x="70" y="163"/>
                    </a:lnTo>
                    <a:lnTo>
                      <a:pt x="70" y="162"/>
                    </a:lnTo>
                    <a:lnTo>
                      <a:pt x="70" y="161"/>
                    </a:lnTo>
                    <a:lnTo>
                      <a:pt x="70" y="160"/>
                    </a:lnTo>
                    <a:lnTo>
                      <a:pt x="70" y="159"/>
                    </a:lnTo>
                    <a:lnTo>
                      <a:pt x="70" y="154"/>
                    </a:lnTo>
                    <a:lnTo>
                      <a:pt x="71" y="152"/>
                    </a:lnTo>
                    <a:lnTo>
                      <a:pt x="71" y="149"/>
                    </a:lnTo>
                    <a:lnTo>
                      <a:pt x="71" y="148"/>
                    </a:lnTo>
                    <a:lnTo>
                      <a:pt x="71" y="147"/>
                    </a:lnTo>
                    <a:lnTo>
                      <a:pt x="71" y="146"/>
                    </a:lnTo>
                    <a:lnTo>
                      <a:pt x="71" y="145"/>
                    </a:lnTo>
                    <a:lnTo>
                      <a:pt x="71" y="144"/>
                    </a:lnTo>
                    <a:lnTo>
                      <a:pt x="70" y="143"/>
                    </a:lnTo>
                    <a:lnTo>
                      <a:pt x="71" y="142"/>
                    </a:lnTo>
                    <a:lnTo>
                      <a:pt x="71" y="141"/>
                    </a:lnTo>
                    <a:lnTo>
                      <a:pt x="70" y="141"/>
                    </a:lnTo>
                    <a:lnTo>
                      <a:pt x="70" y="139"/>
                    </a:lnTo>
                    <a:lnTo>
                      <a:pt x="71" y="138"/>
                    </a:lnTo>
                    <a:lnTo>
                      <a:pt x="71" y="137"/>
                    </a:lnTo>
                    <a:lnTo>
                      <a:pt x="71" y="136"/>
                    </a:lnTo>
                    <a:lnTo>
                      <a:pt x="71" y="135"/>
                    </a:lnTo>
                    <a:lnTo>
                      <a:pt x="71" y="134"/>
                    </a:lnTo>
                    <a:lnTo>
                      <a:pt x="72" y="133"/>
                    </a:lnTo>
                    <a:lnTo>
                      <a:pt x="71" y="133"/>
                    </a:lnTo>
                    <a:lnTo>
                      <a:pt x="71" y="132"/>
                    </a:lnTo>
                    <a:lnTo>
                      <a:pt x="70" y="132"/>
                    </a:lnTo>
                    <a:lnTo>
                      <a:pt x="69" y="132"/>
                    </a:lnTo>
                    <a:lnTo>
                      <a:pt x="69" y="133"/>
                    </a:lnTo>
                    <a:lnTo>
                      <a:pt x="68" y="133"/>
                    </a:lnTo>
                    <a:lnTo>
                      <a:pt x="67" y="133"/>
                    </a:lnTo>
                    <a:lnTo>
                      <a:pt x="67" y="132"/>
                    </a:lnTo>
                    <a:lnTo>
                      <a:pt x="67" y="131"/>
                    </a:lnTo>
                    <a:lnTo>
                      <a:pt x="67" y="130"/>
                    </a:lnTo>
                    <a:lnTo>
                      <a:pt x="67" y="129"/>
                    </a:lnTo>
                    <a:lnTo>
                      <a:pt x="67" y="128"/>
                    </a:lnTo>
                    <a:lnTo>
                      <a:pt x="67" y="125"/>
                    </a:lnTo>
                    <a:lnTo>
                      <a:pt x="68" y="123"/>
                    </a:lnTo>
                    <a:lnTo>
                      <a:pt x="68" y="122"/>
                    </a:lnTo>
                    <a:lnTo>
                      <a:pt x="69" y="120"/>
                    </a:lnTo>
                    <a:lnTo>
                      <a:pt x="69" y="119"/>
                    </a:lnTo>
                    <a:lnTo>
                      <a:pt x="69" y="118"/>
                    </a:lnTo>
                    <a:lnTo>
                      <a:pt x="69" y="117"/>
                    </a:lnTo>
                    <a:lnTo>
                      <a:pt x="70" y="117"/>
                    </a:lnTo>
                    <a:lnTo>
                      <a:pt x="70" y="116"/>
                    </a:lnTo>
                    <a:lnTo>
                      <a:pt x="70" y="115"/>
                    </a:lnTo>
                    <a:lnTo>
                      <a:pt x="71" y="112"/>
                    </a:lnTo>
                    <a:lnTo>
                      <a:pt x="72" y="111"/>
                    </a:lnTo>
                    <a:lnTo>
                      <a:pt x="72" y="110"/>
                    </a:lnTo>
                    <a:lnTo>
                      <a:pt x="72" y="109"/>
                    </a:lnTo>
                    <a:lnTo>
                      <a:pt x="72" y="108"/>
                    </a:lnTo>
                    <a:lnTo>
                      <a:pt x="71" y="108"/>
                    </a:lnTo>
                    <a:lnTo>
                      <a:pt x="71" y="107"/>
                    </a:lnTo>
                    <a:lnTo>
                      <a:pt x="71" y="106"/>
                    </a:lnTo>
                    <a:lnTo>
                      <a:pt x="71" y="105"/>
                    </a:lnTo>
                    <a:lnTo>
                      <a:pt x="71" y="104"/>
                    </a:lnTo>
                    <a:lnTo>
                      <a:pt x="72" y="104"/>
                    </a:lnTo>
                    <a:lnTo>
                      <a:pt x="73" y="104"/>
                    </a:lnTo>
                    <a:lnTo>
                      <a:pt x="74" y="105"/>
                    </a:lnTo>
                    <a:lnTo>
                      <a:pt x="75" y="104"/>
                    </a:lnTo>
                    <a:lnTo>
                      <a:pt x="75" y="103"/>
                    </a:lnTo>
                    <a:lnTo>
                      <a:pt x="74" y="103"/>
                    </a:lnTo>
                    <a:lnTo>
                      <a:pt x="74" y="102"/>
                    </a:lnTo>
                    <a:lnTo>
                      <a:pt x="74" y="100"/>
                    </a:lnTo>
                    <a:lnTo>
                      <a:pt x="75" y="100"/>
                    </a:lnTo>
                    <a:lnTo>
                      <a:pt x="77" y="100"/>
                    </a:lnTo>
                    <a:lnTo>
                      <a:pt x="77" y="99"/>
                    </a:lnTo>
                    <a:lnTo>
                      <a:pt x="78" y="99"/>
                    </a:lnTo>
                    <a:lnTo>
                      <a:pt x="78" y="98"/>
                    </a:lnTo>
                    <a:lnTo>
                      <a:pt x="77" y="98"/>
                    </a:lnTo>
                    <a:lnTo>
                      <a:pt x="77" y="97"/>
                    </a:lnTo>
                    <a:lnTo>
                      <a:pt x="78" y="97"/>
                    </a:lnTo>
                    <a:lnTo>
                      <a:pt x="78" y="96"/>
                    </a:lnTo>
                    <a:lnTo>
                      <a:pt x="79" y="96"/>
                    </a:lnTo>
                    <a:lnTo>
                      <a:pt x="80" y="96"/>
                    </a:lnTo>
                    <a:lnTo>
                      <a:pt x="80" y="97"/>
                    </a:lnTo>
                    <a:lnTo>
                      <a:pt x="81" y="97"/>
                    </a:lnTo>
                    <a:lnTo>
                      <a:pt x="81" y="98"/>
                    </a:lnTo>
                    <a:lnTo>
                      <a:pt x="82" y="99"/>
                    </a:lnTo>
                    <a:lnTo>
                      <a:pt x="82" y="100"/>
                    </a:lnTo>
                    <a:lnTo>
                      <a:pt x="83" y="100"/>
                    </a:lnTo>
                    <a:lnTo>
                      <a:pt x="83" y="102"/>
                    </a:lnTo>
                    <a:lnTo>
                      <a:pt x="83" y="103"/>
                    </a:lnTo>
                    <a:lnTo>
                      <a:pt x="84" y="102"/>
                    </a:lnTo>
                    <a:lnTo>
                      <a:pt x="85" y="100"/>
                    </a:lnTo>
                    <a:lnTo>
                      <a:pt x="85" y="99"/>
                    </a:lnTo>
                    <a:lnTo>
                      <a:pt x="84" y="98"/>
                    </a:lnTo>
                    <a:lnTo>
                      <a:pt x="85" y="97"/>
                    </a:lnTo>
                    <a:lnTo>
                      <a:pt x="86" y="97"/>
                    </a:lnTo>
                    <a:lnTo>
                      <a:pt x="87" y="96"/>
                    </a:lnTo>
                    <a:lnTo>
                      <a:pt x="87" y="95"/>
                    </a:lnTo>
                    <a:lnTo>
                      <a:pt x="88" y="94"/>
                    </a:lnTo>
                    <a:lnTo>
                      <a:pt x="88" y="93"/>
                    </a:lnTo>
                    <a:lnTo>
                      <a:pt x="88" y="92"/>
                    </a:lnTo>
                    <a:lnTo>
                      <a:pt x="88" y="91"/>
                    </a:lnTo>
                    <a:lnTo>
                      <a:pt x="90" y="91"/>
                    </a:lnTo>
                    <a:lnTo>
                      <a:pt x="91" y="91"/>
                    </a:lnTo>
                    <a:lnTo>
                      <a:pt x="92" y="91"/>
                    </a:lnTo>
                    <a:lnTo>
                      <a:pt x="92" y="90"/>
                    </a:lnTo>
                    <a:lnTo>
                      <a:pt x="92" y="89"/>
                    </a:lnTo>
                    <a:lnTo>
                      <a:pt x="92" y="87"/>
                    </a:lnTo>
                    <a:lnTo>
                      <a:pt x="91" y="87"/>
                    </a:lnTo>
                    <a:lnTo>
                      <a:pt x="90" y="87"/>
                    </a:lnTo>
                    <a:lnTo>
                      <a:pt x="88" y="86"/>
                    </a:lnTo>
                    <a:lnTo>
                      <a:pt x="88" y="85"/>
                    </a:lnTo>
                    <a:lnTo>
                      <a:pt x="90" y="84"/>
                    </a:lnTo>
                    <a:lnTo>
                      <a:pt x="90" y="83"/>
                    </a:lnTo>
                    <a:lnTo>
                      <a:pt x="90" y="82"/>
                    </a:lnTo>
                    <a:lnTo>
                      <a:pt x="90" y="81"/>
                    </a:lnTo>
                    <a:lnTo>
                      <a:pt x="88" y="81"/>
                    </a:lnTo>
                    <a:lnTo>
                      <a:pt x="88" y="80"/>
                    </a:lnTo>
                    <a:lnTo>
                      <a:pt x="88" y="79"/>
                    </a:lnTo>
                    <a:lnTo>
                      <a:pt x="88" y="78"/>
                    </a:lnTo>
                    <a:lnTo>
                      <a:pt x="88" y="77"/>
                    </a:lnTo>
                    <a:lnTo>
                      <a:pt x="88" y="74"/>
                    </a:lnTo>
                    <a:lnTo>
                      <a:pt x="88" y="73"/>
                    </a:lnTo>
                    <a:lnTo>
                      <a:pt x="88" y="72"/>
                    </a:lnTo>
                    <a:lnTo>
                      <a:pt x="88" y="71"/>
                    </a:lnTo>
                    <a:lnTo>
                      <a:pt x="88" y="70"/>
                    </a:lnTo>
                    <a:lnTo>
                      <a:pt x="88" y="68"/>
                    </a:lnTo>
                    <a:lnTo>
                      <a:pt x="88" y="67"/>
                    </a:lnTo>
                    <a:lnTo>
                      <a:pt x="88" y="66"/>
                    </a:lnTo>
                    <a:lnTo>
                      <a:pt x="90" y="65"/>
                    </a:lnTo>
                    <a:lnTo>
                      <a:pt x="91" y="65"/>
                    </a:lnTo>
                    <a:lnTo>
                      <a:pt x="91" y="64"/>
                    </a:lnTo>
                    <a:lnTo>
                      <a:pt x="91" y="62"/>
                    </a:lnTo>
                    <a:lnTo>
                      <a:pt x="91" y="61"/>
                    </a:lnTo>
                    <a:lnTo>
                      <a:pt x="92" y="61"/>
                    </a:lnTo>
                    <a:lnTo>
                      <a:pt x="92" y="60"/>
                    </a:lnTo>
                    <a:lnTo>
                      <a:pt x="92" y="58"/>
                    </a:lnTo>
                    <a:lnTo>
                      <a:pt x="93" y="58"/>
                    </a:lnTo>
                    <a:lnTo>
                      <a:pt x="93" y="57"/>
                    </a:lnTo>
                    <a:lnTo>
                      <a:pt x="94" y="57"/>
                    </a:lnTo>
                    <a:lnTo>
                      <a:pt x="95" y="57"/>
                    </a:lnTo>
                    <a:lnTo>
                      <a:pt x="95" y="56"/>
                    </a:lnTo>
                    <a:lnTo>
                      <a:pt x="94" y="55"/>
                    </a:lnTo>
                    <a:lnTo>
                      <a:pt x="93" y="55"/>
                    </a:lnTo>
                    <a:lnTo>
                      <a:pt x="92" y="55"/>
                    </a:lnTo>
                    <a:lnTo>
                      <a:pt x="92" y="54"/>
                    </a:lnTo>
                    <a:lnTo>
                      <a:pt x="92" y="53"/>
                    </a:lnTo>
                    <a:lnTo>
                      <a:pt x="93" y="53"/>
                    </a:lnTo>
                    <a:lnTo>
                      <a:pt x="93" y="52"/>
                    </a:lnTo>
                    <a:lnTo>
                      <a:pt x="92" y="52"/>
                    </a:lnTo>
                    <a:lnTo>
                      <a:pt x="91" y="51"/>
                    </a:lnTo>
                    <a:lnTo>
                      <a:pt x="91" y="49"/>
                    </a:lnTo>
                    <a:lnTo>
                      <a:pt x="92" y="48"/>
                    </a:lnTo>
                    <a:lnTo>
                      <a:pt x="93" y="48"/>
                    </a:lnTo>
                    <a:lnTo>
                      <a:pt x="93" y="47"/>
                    </a:lnTo>
                    <a:lnTo>
                      <a:pt x="94" y="47"/>
                    </a:lnTo>
                    <a:lnTo>
                      <a:pt x="95" y="45"/>
                    </a:lnTo>
                    <a:lnTo>
                      <a:pt x="96" y="43"/>
                    </a:lnTo>
                    <a:lnTo>
                      <a:pt x="97" y="42"/>
                    </a:lnTo>
                    <a:lnTo>
                      <a:pt x="96" y="41"/>
                    </a:lnTo>
                    <a:lnTo>
                      <a:pt x="97" y="41"/>
                    </a:lnTo>
                    <a:lnTo>
                      <a:pt x="97" y="40"/>
                    </a:lnTo>
                    <a:lnTo>
                      <a:pt x="98" y="40"/>
                    </a:lnTo>
                    <a:lnTo>
                      <a:pt x="98" y="41"/>
                    </a:lnTo>
                    <a:lnTo>
                      <a:pt x="98" y="42"/>
                    </a:lnTo>
                    <a:lnTo>
                      <a:pt x="99" y="42"/>
                    </a:lnTo>
                    <a:lnTo>
                      <a:pt x="100" y="42"/>
                    </a:lnTo>
                    <a:lnTo>
                      <a:pt x="100" y="41"/>
                    </a:lnTo>
                    <a:lnTo>
                      <a:pt x="100" y="39"/>
                    </a:lnTo>
                    <a:lnTo>
                      <a:pt x="100" y="38"/>
                    </a:lnTo>
                    <a:lnTo>
                      <a:pt x="101" y="38"/>
                    </a:lnTo>
                    <a:lnTo>
                      <a:pt x="101" y="39"/>
                    </a:lnTo>
                    <a:lnTo>
                      <a:pt x="103" y="40"/>
                    </a:lnTo>
                    <a:lnTo>
                      <a:pt x="104" y="40"/>
                    </a:lnTo>
                    <a:lnTo>
                      <a:pt x="105" y="40"/>
                    </a:lnTo>
                    <a:lnTo>
                      <a:pt x="106" y="39"/>
                    </a:lnTo>
                    <a:lnTo>
                      <a:pt x="107" y="39"/>
                    </a:lnTo>
                    <a:lnTo>
                      <a:pt x="108" y="39"/>
                    </a:lnTo>
                    <a:lnTo>
                      <a:pt x="109" y="38"/>
                    </a:lnTo>
                    <a:lnTo>
                      <a:pt x="110" y="36"/>
                    </a:lnTo>
                    <a:lnTo>
                      <a:pt x="111" y="35"/>
                    </a:lnTo>
                    <a:lnTo>
                      <a:pt x="111" y="34"/>
                    </a:lnTo>
                    <a:lnTo>
                      <a:pt x="111" y="33"/>
                    </a:lnTo>
                    <a:lnTo>
                      <a:pt x="111" y="32"/>
                    </a:lnTo>
                    <a:lnTo>
                      <a:pt x="111" y="31"/>
                    </a:lnTo>
                    <a:lnTo>
                      <a:pt x="111" y="30"/>
                    </a:lnTo>
                    <a:lnTo>
                      <a:pt x="112" y="29"/>
                    </a:lnTo>
                    <a:lnTo>
                      <a:pt x="112" y="28"/>
                    </a:lnTo>
                    <a:lnTo>
                      <a:pt x="111" y="28"/>
                    </a:lnTo>
                    <a:lnTo>
                      <a:pt x="111" y="27"/>
                    </a:lnTo>
                    <a:lnTo>
                      <a:pt x="111" y="26"/>
                    </a:lnTo>
                    <a:lnTo>
                      <a:pt x="110" y="25"/>
                    </a:lnTo>
                    <a:lnTo>
                      <a:pt x="110" y="23"/>
                    </a:lnTo>
                    <a:lnTo>
                      <a:pt x="109" y="23"/>
                    </a:lnTo>
                    <a:lnTo>
                      <a:pt x="109" y="22"/>
                    </a:lnTo>
                    <a:lnTo>
                      <a:pt x="110" y="21"/>
                    </a:lnTo>
                    <a:lnTo>
                      <a:pt x="110" y="20"/>
                    </a:lnTo>
                    <a:lnTo>
                      <a:pt x="111" y="20"/>
                    </a:lnTo>
                    <a:lnTo>
                      <a:pt x="112" y="20"/>
                    </a:lnTo>
                    <a:lnTo>
                      <a:pt x="112" y="21"/>
                    </a:lnTo>
                    <a:lnTo>
                      <a:pt x="112" y="22"/>
                    </a:lnTo>
                    <a:lnTo>
                      <a:pt x="113" y="22"/>
                    </a:lnTo>
                    <a:lnTo>
                      <a:pt x="114" y="22"/>
                    </a:lnTo>
                    <a:lnTo>
                      <a:pt x="116" y="21"/>
                    </a:lnTo>
                    <a:lnTo>
                      <a:pt x="116" y="20"/>
                    </a:lnTo>
                    <a:lnTo>
                      <a:pt x="116" y="19"/>
                    </a:lnTo>
                    <a:lnTo>
                      <a:pt x="114" y="18"/>
                    </a:lnTo>
                    <a:lnTo>
                      <a:pt x="114" y="17"/>
                    </a:lnTo>
                    <a:lnTo>
                      <a:pt x="113" y="17"/>
                    </a:lnTo>
                    <a:lnTo>
                      <a:pt x="113" y="16"/>
                    </a:lnTo>
                    <a:lnTo>
                      <a:pt x="113" y="14"/>
                    </a:lnTo>
                    <a:lnTo>
                      <a:pt x="113" y="13"/>
                    </a:lnTo>
                    <a:lnTo>
                      <a:pt x="112" y="13"/>
                    </a:lnTo>
                    <a:lnTo>
                      <a:pt x="112" y="12"/>
                    </a:lnTo>
                    <a:lnTo>
                      <a:pt x="114" y="10"/>
                    </a:lnTo>
                    <a:lnTo>
                      <a:pt x="116" y="9"/>
                    </a:lnTo>
                    <a:lnTo>
                      <a:pt x="117" y="9"/>
                    </a:lnTo>
                    <a:lnTo>
                      <a:pt x="118" y="9"/>
                    </a:lnTo>
                    <a:lnTo>
                      <a:pt x="119" y="9"/>
                    </a:lnTo>
                    <a:lnTo>
                      <a:pt x="119" y="8"/>
                    </a:lnTo>
                    <a:lnTo>
                      <a:pt x="119" y="7"/>
                    </a:lnTo>
                    <a:lnTo>
                      <a:pt x="119" y="6"/>
                    </a:lnTo>
                    <a:lnTo>
                      <a:pt x="119" y="5"/>
                    </a:lnTo>
                    <a:lnTo>
                      <a:pt x="119" y="4"/>
                    </a:lnTo>
                    <a:lnTo>
                      <a:pt x="120" y="3"/>
                    </a:lnTo>
                    <a:lnTo>
                      <a:pt x="120" y="2"/>
                    </a:lnTo>
                    <a:lnTo>
                      <a:pt x="120" y="1"/>
                    </a:lnTo>
                    <a:lnTo>
                      <a:pt x="118" y="0"/>
                    </a:lnTo>
                    <a:lnTo>
                      <a:pt x="126" y="0"/>
                    </a:lnTo>
                    <a:lnTo>
                      <a:pt x="144" y="0"/>
                    </a:lnTo>
                    <a:lnTo>
                      <a:pt x="173" y="0"/>
                    </a:lnTo>
                    <a:lnTo>
                      <a:pt x="176" y="0"/>
                    </a:lnTo>
                    <a:lnTo>
                      <a:pt x="178" y="0"/>
                    </a:lnTo>
                    <a:lnTo>
                      <a:pt x="178" y="1"/>
                    </a:lnTo>
                    <a:lnTo>
                      <a:pt x="177" y="2"/>
                    </a:lnTo>
                    <a:lnTo>
                      <a:pt x="176" y="5"/>
                    </a:lnTo>
                    <a:lnTo>
                      <a:pt x="176" y="6"/>
                    </a:lnTo>
                    <a:lnTo>
                      <a:pt x="176" y="7"/>
                    </a:lnTo>
                    <a:lnTo>
                      <a:pt x="176" y="8"/>
                    </a:lnTo>
                    <a:lnTo>
                      <a:pt x="176" y="9"/>
                    </a:lnTo>
                    <a:lnTo>
                      <a:pt x="175" y="10"/>
                    </a:lnTo>
                    <a:lnTo>
                      <a:pt x="175" y="12"/>
                    </a:lnTo>
                    <a:lnTo>
                      <a:pt x="174" y="13"/>
                    </a:lnTo>
                    <a:lnTo>
                      <a:pt x="173" y="14"/>
                    </a:lnTo>
                    <a:lnTo>
                      <a:pt x="171" y="16"/>
                    </a:lnTo>
                    <a:lnTo>
                      <a:pt x="169" y="18"/>
                    </a:lnTo>
                    <a:lnTo>
                      <a:pt x="167" y="19"/>
                    </a:lnTo>
                    <a:lnTo>
                      <a:pt x="165" y="20"/>
                    </a:lnTo>
                    <a:lnTo>
                      <a:pt x="164" y="21"/>
                    </a:lnTo>
                    <a:lnTo>
                      <a:pt x="159" y="29"/>
                    </a:lnTo>
                    <a:lnTo>
                      <a:pt x="158" y="29"/>
                    </a:lnTo>
                    <a:lnTo>
                      <a:pt x="157" y="30"/>
                    </a:lnTo>
                    <a:lnTo>
                      <a:pt x="157" y="31"/>
                    </a:lnTo>
                    <a:lnTo>
                      <a:pt x="156" y="31"/>
                    </a:lnTo>
                    <a:lnTo>
                      <a:pt x="156" y="32"/>
                    </a:lnTo>
                    <a:lnTo>
                      <a:pt x="156" y="33"/>
                    </a:lnTo>
                    <a:lnTo>
                      <a:pt x="156" y="34"/>
                    </a:lnTo>
                    <a:lnTo>
                      <a:pt x="157" y="35"/>
                    </a:lnTo>
                    <a:lnTo>
                      <a:pt x="157" y="36"/>
                    </a:lnTo>
                    <a:lnTo>
                      <a:pt x="158" y="38"/>
                    </a:lnTo>
                    <a:lnTo>
                      <a:pt x="158" y="39"/>
                    </a:lnTo>
                    <a:lnTo>
                      <a:pt x="158" y="40"/>
                    </a:lnTo>
                    <a:lnTo>
                      <a:pt x="157" y="40"/>
                    </a:lnTo>
                    <a:lnTo>
                      <a:pt x="156" y="40"/>
                    </a:lnTo>
                    <a:lnTo>
                      <a:pt x="155" y="41"/>
                    </a:lnTo>
                    <a:lnTo>
                      <a:pt x="155" y="42"/>
                    </a:lnTo>
                    <a:lnTo>
                      <a:pt x="152" y="43"/>
                    </a:lnTo>
                    <a:lnTo>
                      <a:pt x="151" y="45"/>
                    </a:lnTo>
                    <a:lnTo>
                      <a:pt x="150" y="46"/>
                    </a:lnTo>
                    <a:lnTo>
                      <a:pt x="150" y="48"/>
                    </a:lnTo>
                    <a:lnTo>
                      <a:pt x="149" y="49"/>
                    </a:lnTo>
                    <a:lnTo>
                      <a:pt x="149" y="51"/>
                    </a:lnTo>
                    <a:lnTo>
                      <a:pt x="149" y="54"/>
                    </a:lnTo>
                    <a:lnTo>
                      <a:pt x="149" y="56"/>
                    </a:lnTo>
                    <a:lnTo>
                      <a:pt x="149" y="59"/>
                    </a:lnTo>
                    <a:lnTo>
                      <a:pt x="150" y="61"/>
                    </a:lnTo>
                    <a:lnTo>
                      <a:pt x="150" y="62"/>
                    </a:lnTo>
                    <a:lnTo>
                      <a:pt x="151" y="62"/>
                    </a:lnTo>
                    <a:lnTo>
                      <a:pt x="151" y="64"/>
                    </a:lnTo>
                    <a:lnTo>
                      <a:pt x="152" y="65"/>
                    </a:lnTo>
                    <a:lnTo>
                      <a:pt x="152" y="66"/>
                    </a:lnTo>
                    <a:lnTo>
                      <a:pt x="154" y="66"/>
                    </a:lnTo>
                    <a:lnTo>
                      <a:pt x="156" y="68"/>
                    </a:lnTo>
                    <a:lnTo>
                      <a:pt x="158" y="70"/>
                    </a:lnTo>
                    <a:lnTo>
                      <a:pt x="159" y="70"/>
                    </a:lnTo>
                    <a:lnTo>
                      <a:pt x="159" y="71"/>
                    </a:lnTo>
                    <a:lnTo>
                      <a:pt x="161" y="71"/>
                    </a:lnTo>
                    <a:lnTo>
                      <a:pt x="162" y="72"/>
                    </a:lnTo>
                    <a:lnTo>
                      <a:pt x="164" y="73"/>
                    </a:lnTo>
                    <a:lnTo>
                      <a:pt x="169" y="74"/>
                    </a:lnTo>
                    <a:lnTo>
                      <a:pt x="170" y="74"/>
                    </a:lnTo>
                    <a:lnTo>
                      <a:pt x="171" y="75"/>
                    </a:lnTo>
                    <a:lnTo>
                      <a:pt x="172" y="75"/>
                    </a:lnTo>
                    <a:lnTo>
                      <a:pt x="174" y="75"/>
                    </a:lnTo>
                    <a:lnTo>
                      <a:pt x="175" y="77"/>
                    </a:lnTo>
                    <a:lnTo>
                      <a:pt x="177" y="77"/>
                    </a:lnTo>
                    <a:lnTo>
                      <a:pt x="180" y="77"/>
                    </a:lnTo>
                    <a:lnTo>
                      <a:pt x="182" y="75"/>
                    </a:lnTo>
                    <a:lnTo>
                      <a:pt x="184" y="75"/>
                    </a:lnTo>
                    <a:lnTo>
                      <a:pt x="186" y="74"/>
                    </a:lnTo>
                    <a:lnTo>
                      <a:pt x="187" y="74"/>
                    </a:lnTo>
                    <a:lnTo>
                      <a:pt x="188" y="73"/>
                    </a:lnTo>
                    <a:lnTo>
                      <a:pt x="189" y="72"/>
                    </a:lnTo>
                    <a:lnTo>
                      <a:pt x="190" y="72"/>
                    </a:lnTo>
                    <a:lnTo>
                      <a:pt x="194" y="69"/>
                    </a:lnTo>
                    <a:lnTo>
                      <a:pt x="195" y="67"/>
                    </a:lnTo>
                    <a:lnTo>
                      <a:pt x="197" y="64"/>
                    </a:lnTo>
                    <a:lnTo>
                      <a:pt x="198" y="62"/>
                    </a:lnTo>
                    <a:lnTo>
                      <a:pt x="198" y="61"/>
                    </a:lnTo>
                    <a:lnTo>
                      <a:pt x="199" y="59"/>
                    </a:lnTo>
                    <a:lnTo>
                      <a:pt x="199" y="57"/>
                    </a:lnTo>
                    <a:lnTo>
                      <a:pt x="199" y="56"/>
                    </a:lnTo>
                    <a:lnTo>
                      <a:pt x="199" y="55"/>
                    </a:lnTo>
                    <a:lnTo>
                      <a:pt x="199" y="54"/>
                    </a:lnTo>
                    <a:lnTo>
                      <a:pt x="199" y="51"/>
                    </a:lnTo>
                    <a:lnTo>
                      <a:pt x="198" y="49"/>
                    </a:lnTo>
                    <a:lnTo>
                      <a:pt x="198" y="48"/>
                    </a:lnTo>
                    <a:lnTo>
                      <a:pt x="197" y="45"/>
                    </a:lnTo>
                    <a:lnTo>
                      <a:pt x="197" y="44"/>
                    </a:lnTo>
                    <a:lnTo>
                      <a:pt x="197" y="43"/>
                    </a:lnTo>
                    <a:lnTo>
                      <a:pt x="197" y="42"/>
                    </a:lnTo>
                    <a:lnTo>
                      <a:pt x="196" y="41"/>
                    </a:lnTo>
                    <a:lnTo>
                      <a:pt x="197" y="40"/>
                    </a:lnTo>
                    <a:lnTo>
                      <a:pt x="196" y="40"/>
                    </a:lnTo>
                    <a:lnTo>
                      <a:pt x="196" y="39"/>
                    </a:lnTo>
                    <a:lnTo>
                      <a:pt x="196" y="38"/>
                    </a:lnTo>
                    <a:lnTo>
                      <a:pt x="196" y="36"/>
                    </a:lnTo>
                    <a:lnTo>
                      <a:pt x="196" y="35"/>
                    </a:lnTo>
                    <a:lnTo>
                      <a:pt x="196" y="34"/>
                    </a:lnTo>
                    <a:lnTo>
                      <a:pt x="197" y="33"/>
                    </a:lnTo>
                    <a:lnTo>
                      <a:pt x="198" y="33"/>
                    </a:lnTo>
                    <a:lnTo>
                      <a:pt x="198" y="32"/>
                    </a:lnTo>
                    <a:lnTo>
                      <a:pt x="199" y="32"/>
                    </a:lnTo>
                    <a:lnTo>
                      <a:pt x="199" y="31"/>
                    </a:lnTo>
                    <a:lnTo>
                      <a:pt x="200" y="30"/>
                    </a:lnTo>
                    <a:lnTo>
                      <a:pt x="200" y="29"/>
                    </a:lnTo>
                    <a:lnTo>
                      <a:pt x="199" y="29"/>
                    </a:lnTo>
                    <a:lnTo>
                      <a:pt x="199" y="28"/>
                    </a:lnTo>
                    <a:lnTo>
                      <a:pt x="198" y="27"/>
                    </a:lnTo>
                    <a:lnTo>
                      <a:pt x="197" y="27"/>
                    </a:lnTo>
                    <a:lnTo>
                      <a:pt x="197" y="26"/>
                    </a:lnTo>
                    <a:lnTo>
                      <a:pt x="196" y="25"/>
                    </a:lnTo>
                    <a:lnTo>
                      <a:pt x="195" y="25"/>
                    </a:lnTo>
                    <a:lnTo>
                      <a:pt x="195" y="23"/>
                    </a:lnTo>
                    <a:lnTo>
                      <a:pt x="195" y="22"/>
                    </a:lnTo>
                    <a:lnTo>
                      <a:pt x="196" y="22"/>
                    </a:lnTo>
                    <a:lnTo>
                      <a:pt x="196" y="21"/>
                    </a:lnTo>
                    <a:lnTo>
                      <a:pt x="197" y="21"/>
                    </a:lnTo>
                    <a:lnTo>
                      <a:pt x="197" y="20"/>
                    </a:lnTo>
                    <a:lnTo>
                      <a:pt x="197" y="18"/>
                    </a:lnTo>
                    <a:lnTo>
                      <a:pt x="197" y="17"/>
                    </a:lnTo>
                    <a:lnTo>
                      <a:pt x="198" y="17"/>
                    </a:lnTo>
                    <a:lnTo>
                      <a:pt x="199" y="16"/>
                    </a:lnTo>
                    <a:lnTo>
                      <a:pt x="201" y="15"/>
                    </a:lnTo>
                    <a:lnTo>
                      <a:pt x="202" y="15"/>
                    </a:lnTo>
                    <a:lnTo>
                      <a:pt x="203" y="14"/>
                    </a:lnTo>
                    <a:lnTo>
                      <a:pt x="204" y="14"/>
                    </a:lnTo>
                    <a:lnTo>
                      <a:pt x="207" y="13"/>
                    </a:lnTo>
                    <a:lnTo>
                      <a:pt x="209" y="12"/>
                    </a:lnTo>
                    <a:lnTo>
                      <a:pt x="211" y="12"/>
                    </a:lnTo>
                    <a:lnTo>
                      <a:pt x="214" y="10"/>
                    </a:lnTo>
                    <a:lnTo>
                      <a:pt x="216" y="12"/>
                    </a:lnTo>
                    <a:lnTo>
                      <a:pt x="217" y="12"/>
                    </a:lnTo>
                    <a:lnTo>
                      <a:pt x="221" y="13"/>
                    </a:lnTo>
                    <a:lnTo>
                      <a:pt x="222" y="14"/>
                    </a:lnTo>
                    <a:lnTo>
                      <a:pt x="223" y="16"/>
                    </a:lnTo>
                    <a:lnTo>
                      <a:pt x="224" y="17"/>
                    </a:lnTo>
                    <a:lnTo>
                      <a:pt x="225" y="18"/>
                    </a:lnTo>
                    <a:lnTo>
                      <a:pt x="226" y="20"/>
                    </a:lnTo>
                    <a:lnTo>
                      <a:pt x="230" y="30"/>
                    </a:lnTo>
                    <a:lnTo>
                      <a:pt x="232" y="35"/>
                    </a:lnTo>
                    <a:lnTo>
                      <a:pt x="232" y="36"/>
                    </a:lnTo>
                    <a:lnTo>
                      <a:pt x="232" y="38"/>
                    </a:lnTo>
                    <a:lnTo>
                      <a:pt x="232" y="39"/>
                    </a:lnTo>
                    <a:lnTo>
                      <a:pt x="230" y="40"/>
                    </a:lnTo>
                    <a:lnTo>
                      <a:pt x="229" y="40"/>
                    </a:lnTo>
                    <a:lnTo>
                      <a:pt x="228" y="41"/>
                    </a:lnTo>
                    <a:lnTo>
                      <a:pt x="229" y="42"/>
                    </a:lnTo>
                    <a:lnTo>
                      <a:pt x="229" y="43"/>
                    </a:lnTo>
                    <a:lnTo>
                      <a:pt x="230" y="44"/>
                    </a:lnTo>
                    <a:lnTo>
                      <a:pt x="234" y="46"/>
                    </a:lnTo>
                    <a:lnTo>
                      <a:pt x="236" y="48"/>
                    </a:lnTo>
                    <a:lnTo>
                      <a:pt x="237" y="49"/>
                    </a:lnTo>
                    <a:lnTo>
                      <a:pt x="237" y="52"/>
                    </a:lnTo>
                    <a:lnTo>
                      <a:pt x="238" y="53"/>
                    </a:lnTo>
                    <a:lnTo>
                      <a:pt x="239" y="55"/>
                    </a:lnTo>
                    <a:lnTo>
                      <a:pt x="240" y="56"/>
                    </a:lnTo>
                    <a:lnTo>
                      <a:pt x="240" y="58"/>
                    </a:lnTo>
                    <a:lnTo>
                      <a:pt x="240" y="59"/>
                    </a:lnTo>
                    <a:lnTo>
                      <a:pt x="240" y="61"/>
                    </a:lnTo>
                    <a:lnTo>
                      <a:pt x="240" y="64"/>
                    </a:lnTo>
                    <a:lnTo>
                      <a:pt x="240" y="66"/>
                    </a:lnTo>
                    <a:lnTo>
                      <a:pt x="240" y="69"/>
                    </a:lnTo>
                    <a:lnTo>
                      <a:pt x="240" y="71"/>
                    </a:lnTo>
                    <a:lnTo>
                      <a:pt x="240" y="72"/>
                    </a:lnTo>
                    <a:lnTo>
                      <a:pt x="240" y="73"/>
                    </a:lnTo>
                    <a:lnTo>
                      <a:pt x="240" y="75"/>
                    </a:lnTo>
                    <a:lnTo>
                      <a:pt x="239" y="75"/>
                    </a:lnTo>
                    <a:lnTo>
                      <a:pt x="239" y="78"/>
                    </a:lnTo>
                    <a:lnTo>
                      <a:pt x="238" y="80"/>
                    </a:lnTo>
                    <a:lnTo>
                      <a:pt x="238" y="82"/>
                    </a:lnTo>
                    <a:lnTo>
                      <a:pt x="237" y="83"/>
                    </a:lnTo>
                    <a:lnTo>
                      <a:pt x="237" y="84"/>
                    </a:lnTo>
                    <a:lnTo>
                      <a:pt x="235" y="86"/>
                    </a:lnTo>
                    <a:lnTo>
                      <a:pt x="233" y="89"/>
                    </a:lnTo>
                    <a:lnTo>
                      <a:pt x="229" y="92"/>
                    </a:lnTo>
                    <a:lnTo>
                      <a:pt x="228" y="94"/>
                    </a:lnTo>
                    <a:lnTo>
                      <a:pt x="226" y="95"/>
                    </a:lnTo>
                    <a:lnTo>
                      <a:pt x="225" y="96"/>
                    </a:lnTo>
                    <a:lnTo>
                      <a:pt x="222" y="99"/>
                    </a:lnTo>
                    <a:lnTo>
                      <a:pt x="220" y="102"/>
                    </a:lnTo>
                    <a:lnTo>
                      <a:pt x="219" y="103"/>
                    </a:lnTo>
                    <a:lnTo>
                      <a:pt x="215" y="106"/>
                    </a:lnTo>
                    <a:lnTo>
                      <a:pt x="214" y="107"/>
                    </a:lnTo>
                    <a:lnTo>
                      <a:pt x="213" y="107"/>
                    </a:lnTo>
                    <a:lnTo>
                      <a:pt x="211" y="107"/>
                    </a:lnTo>
                    <a:lnTo>
                      <a:pt x="210" y="108"/>
                    </a:lnTo>
                    <a:lnTo>
                      <a:pt x="209" y="108"/>
                    </a:lnTo>
                    <a:lnTo>
                      <a:pt x="206" y="108"/>
                    </a:lnTo>
                    <a:lnTo>
                      <a:pt x="204" y="108"/>
                    </a:lnTo>
                    <a:lnTo>
                      <a:pt x="203" y="109"/>
                    </a:lnTo>
                    <a:lnTo>
                      <a:pt x="202" y="108"/>
                    </a:lnTo>
                    <a:lnTo>
                      <a:pt x="201" y="108"/>
                    </a:lnTo>
                    <a:lnTo>
                      <a:pt x="201" y="109"/>
                    </a:lnTo>
                    <a:lnTo>
                      <a:pt x="200" y="109"/>
                    </a:lnTo>
                    <a:lnTo>
                      <a:pt x="199" y="110"/>
                    </a:lnTo>
                    <a:lnTo>
                      <a:pt x="198" y="111"/>
                    </a:lnTo>
                    <a:lnTo>
                      <a:pt x="197" y="111"/>
                    </a:lnTo>
                    <a:lnTo>
                      <a:pt x="196" y="112"/>
                    </a:lnTo>
                    <a:lnTo>
                      <a:pt x="196" y="113"/>
                    </a:lnTo>
                    <a:lnTo>
                      <a:pt x="195" y="113"/>
                    </a:lnTo>
                    <a:lnTo>
                      <a:pt x="193" y="116"/>
                    </a:lnTo>
                    <a:lnTo>
                      <a:pt x="191" y="116"/>
                    </a:lnTo>
                    <a:lnTo>
                      <a:pt x="191" y="117"/>
                    </a:lnTo>
                    <a:lnTo>
                      <a:pt x="191" y="118"/>
                    </a:lnTo>
                    <a:lnTo>
                      <a:pt x="190" y="119"/>
                    </a:lnTo>
                    <a:lnTo>
                      <a:pt x="190" y="120"/>
                    </a:lnTo>
                    <a:lnTo>
                      <a:pt x="189" y="121"/>
                    </a:lnTo>
                    <a:lnTo>
                      <a:pt x="189" y="122"/>
                    </a:lnTo>
                    <a:lnTo>
                      <a:pt x="188" y="125"/>
                    </a:lnTo>
                    <a:lnTo>
                      <a:pt x="187" y="128"/>
                    </a:lnTo>
                    <a:lnTo>
                      <a:pt x="186" y="130"/>
                    </a:lnTo>
                    <a:lnTo>
                      <a:pt x="185" y="131"/>
                    </a:lnTo>
                    <a:lnTo>
                      <a:pt x="184" y="131"/>
                    </a:lnTo>
                    <a:lnTo>
                      <a:pt x="183" y="132"/>
                    </a:lnTo>
                    <a:lnTo>
                      <a:pt x="183" y="133"/>
                    </a:lnTo>
                    <a:lnTo>
                      <a:pt x="182" y="134"/>
                    </a:lnTo>
                    <a:lnTo>
                      <a:pt x="182" y="136"/>
                    </a:lnTo>
                    <a:lnTo>
                      <a:pt x="182" y="137"/>
                    </a:lnTo>
                    <a:lnTo>
                      <a:pt x="181" y="139"/>
                    </a:lnTo>
                    <a:lnTo>
                      <a:pt x="181" y="141"/>
                    </a:lnTo>
                    <a:lnTo>
                      <a:pt x="181" y="144"/>
                    </a:lnTo>
                    <a:lnTo>
                      <a:pt x="181" y="145"/>
                    </a:lnTo>
                    <a:lnTo>
                      <a:pt x="182" y="146"/>
                    </a:lnTo>
                    <a:lnTo>
                      <a:pt x="181" y="147"/>
                    </a:lnTo>
                    <a:lnTo>
                      <a:pt x="181" y="150"/>
                    </a:lnTo>
                    <a:lnTo>
                      <a:pt x="180" y="155"/>
                    </a:lnTo>
                    <a:lnTo>
                      <a:pt x="180" y="158"/>
                    </a:lnTo>
                    <a:lnTo>
                      <a:pt x="180" y="159"/>
                    </a:lnTo>
                    <a:lnTo>
                      <a:pt x="180" y="160"/>
                    </a:lnTo>
                    <a:lnTo>
                      <a:pt x="181" y="161"/>
                    </a:lnTo>
                    <a:lnTo>
                      <a:pt x="183" y="162"/>
                    </a:lnTo>
                    <a:lnTo>
                      <a:pt x="184" y="163"/>
                    </a:lnTo>
                    <a:lnTo>
                      <a:pt x="185" y="163"/>
                    </a:lnTo>
                    <a:lnTo>
                      <a:pt x="183" y="167"/>
                    </a:lnTo>
                    <a:lnTo>
                      <a:pt x="182" y="170"/>
                    </a:lnTo>
                    <a:lnTo>
                      <a:pt x="181" y="172"/>
                    </a:lnTo>
                    <a:lnTo>
                      <a:pt x="180" y="173"/>
                    </a:lnTo>
                    <a:lnTo>
                      <a:pt x="180" y="174"/>
                    </a:lnTo>
                    <a:lnTo>
                      <a:pt x="180" y="175"/>
                    </a:lnTo>
                    <a:lnTo>
                      <a:pt x="178" y="176"/>
                    </a:lnTo>
                    <a:lnTo>
                      <a:pt x="178" y="180"/>
                    </a:lnTo>
                    <a:lnTo>
                      <a:pt x="178" y="181"/>
                    </a:lnTo>
                    <a:lnTo>
                      <a:pt x="178" y="183"/>
                    </a:lnTo>
                    <a:lnTo>
                      <a:pt x="178" y="184"/>
                    </a:lnTo>
                    <a:lnTo>
                      <a:pt x="180" y="186"/>
                    </a:lnTo>
                    <a:lnTo>
                      <a:pt x="180" y="187"/>
                    </a:lnTo>
                    <a:lnTo>
                      <a:pt x="183" y="189"/>
                    </a:lnTo>
                    <a:lnTo>
                      <a:pt x="185" y="190"/>
                    </a:lnTo>
                    <a:lnTo>
                      <a:pt x="187" y="190"/>
                    </a:lnTo>
                    <a:lnTo>
                      <a:pt x="188" y="192"/>
                    </a:lnTo>
                    <a:lnTo>
                      <a:pt x="188" y="190"/>
                    </a:lnTo>
                    <a:lnTo>
                      <a:pt x="196" y="190"/>
                    </a:lnTo>
                    <a:lnTo>
                      <a:pt x="199" y="190"/>
                    </a:lnTo>
                    <a:lnTo>
                      <a:pt x="200" y="190"/>
                    </a:lnTo>
                    <a:lnTo>
                      <a:pt x="203" y="190"/>
                    </a:lnTo>
                    <a:lnTo>
                      <a:pt x="204" y="190"/>
                    </a:lnTo>
                    <a:lnTo>
                      <a:pt x="207" y="192"/>
                    </a:lnTo>
                    <a:lnTo>
                      <a:pt x="208" y="192"/>
                    </a:lnTo>
                    <a:lnTo>
                      <a:pt x="210" y="193"/>
                    </a:lnTo>
                    <a:lnTo>
                      <a:pt x="212" y="193"/>
                    </a:lnTo>
                    <a:lnTo>
                      <a:pt x="215" y="194"/>
                    </a:lnTo>
                    <a:lnTo>
                      <a:pt x="219" y="194"/>
                    </a:lnTo>
                    <a:lnTo>
                      <a:pt x="224" y="195"/>
                    </a:lnTo>
                    <a:lnTo>
                      <a:pt x="229" y="197"/>
                    </a:lnTo>
                    <a:lnTo>
                      <a:pt x="233" y="198"/>
                    </a:lnTo>
                    <a:lnTo>
                      <a:pt x="236" y="199"/>
                    </a:lnTo>
                    <a:lnTo>
                      <a:pt x="239" y="200"/>
                    </a:lnTo>
                    <a:lnTo>
                      <a:pt x="242" y="201"/>
                    </a:lnTo>
                    <a:lnTo>
                      <a:pt x="245" y="202"/>
                    </a:lnTo>
                    <a:lnTo>
                      <a:pt x="247" y="206"/>
                    </a:lnTo>
                    <a:lnTo>
                      <a:pt x="247" y="208"/>
                    </a:lnTo>
                    <a:lnTo>
                      <a:pt x="246" y="209"/>
                    </a:lnTo>
                    <a:lnTo>
                      <a:pt x="245" y="212"/>
                    </a:lnTo>
                    <a:lnTo>
                      <a:pt x="242" y="215"/>
                    </a:lnTo>
                    <a:lnTo>
                      <a:pt x="240" y="220"/>
                    </a:lnTo>
                    <a:lnTo>
                      <a:pt x="237" y="223"/>
                    </a:lnTo>
                    <a:lnTo>
                      <a:pt x="233" y="226"/>
                    </a:lnTo>
                    <a:lnTo>
                      <a:pt x="230" y="228"/>
                    </a:lnTo>
                    <a:lnTo>
                      <a:pt x="223" y="231"/>
                    </a:lnTo>
                    <a:lnTo>
                      <a:pt x="220" y="233"/>
                    </a:lnTo>
                    <a:lnTo>
                      <a:pt x="215" y="234"/>
                    </a:lnTo>
                    <a:lnTo>
                      <a:pt x="212" y="237"/>
                    </a:lnTo>
                    <a:lnTo>
                      <a:pt x="210" y="238"/>
                    </a:lnTo>
                    <a:lnTo>
                      <a:pt x="208" y="240"/>
                    </a:lnTo>
                    <a:lnTo>
                      <a:pt x="206" y="242"/>
                    </a:lnTo>
                    <a:lnTo>
                      <a:pt x="203" y="245"/>
                    </a:lnTo>
                    <a:lnTo>
                      <a:pt x="202" y="246"/>
                    </a:lnTo>
                    <a:lnTo>
                      <a:pt x="201" y="247"/>
                    </a:lnTo>
                    <a:lnTo>
                      <a:pt x="201" y="248"/>
                    </a:lnTo>
                    <a:lnTo>
                      <a:pt x="200" y="250"/>
                    </a:lnTo>
                    <a:lnTo>
                      <a:pt x="199" y="251"/>
                    </a:lnTo>
                    <a:lnTo>
                      <a:pt x="199" y="252"/>
                    </a:lnTo>
                    <a:lnTo>
                      <a:pt x="198" y="253"/>
                    </a:lnTo>
                    <a:lnTo>
                      <a:pt x="197" y="253"/>
                    </a:lnTo>
                    <a:lnTo>
                      <a:pt x="197" y="256"/>
                    </a:lnTo>
                    <a:lnTo>
                      <a:pt x="196" y="257"/>
                    </a:lnTo>
                    <a:lnTo>
                      <a:pt x="196" y="258"/>
                    </a:lnTo>
                    <a:lnTo>
                      <a:pt x="195" y="258"/>
                    </a:lnTo>
                    <a:lnTo>
                      <a:pt x="193" y="259"/>
                    </a:lnTo>
                    <a:lnTo>
                      <a:pt x="191" y="260"/>
                    </a:lnTo>
                    <a:lnTo>
                      <a:pt x="190" y="260"/>
                    </a:lnTo>
                    <a:lnTo>
                      <a:pt x="188" y="262"/>
                    </a:lnTo>
                    <a:lnTo>
                      <a:pt x="188" y="263"/>
                    </a:lnTo>
                    <a:lnTo>
                      <a:pt x="187" y="263"/>
                    </a:lnTo>
                    <a:lnTo>
                      <a:pt x="187" y="264"/>
                    </a:lnTo>
                    <a:lnTo>
                      <a:pt x="186" y="264"/>
                    </a:lnTo>
                    <a:lnTo>
                      <a:pt x="186" y="265"/>
                    </a:lnTo>
                    <a:lnTo>
                      <a:pt x="186" y="266"/>
                    </a:lnTo>
                    <a:lnTo>
                      <a:pt x="186" y="267"/>
                    </a:lnTo>
                    <a:lnTo>
                      <a:pt x="186" y="269"/>
                    </a:lnTo>
                    <a:lnTo>
                      <a:pt x="186" y="272"/>
                    </a:lnTo>
                    <a:lnTo>
                      <a:pt x="186" y="273"/>
                    </a:lnTo>
                    <a:lnTo>
                      <a:pt x="186" y="274"/>
                    </a:lnTo>
                    <a:lnTo>
                      <a:pt x="186" y="275"/>
                    </a:lnTo>
                    <a:lnTo>
                      <a:pt x="186" y="276"/>
                    </a:lnTo>
                    <a:lnTo>
                      <a:pt x="186" y="277"/>
                    </a:lnTo>
                    <a:lnTo>
                      <a:pt x="186" y="279"/>
                    </a:lnTo>
                    <a:lnTo>
                      <a:pt x="187" y="283"/>
                    </a:lnTo>
                    <a:lnTo>
                      <a:pt x="187" y="285"/>
                    </a:lnTo>
                    <a:lnTo>
                      <a:pt x="188" y="287"/>
                    </a:lnTo>
                    <a:lnTo>
                      <a:pt x="189" y="288"/>
                    </a:lnTo>
                    <a:lnTo>
                      <a:pt x="189" y="290"/>
                    </a:lnTo>
                    <a:lnTo>
                      <a:pt x="190" y="291"/>
                    </a:lnTo>
                    <a:lnTo>
                      <a:pt x="191" y="293"/>
                    </a:lnTo>
                    <a:lnTo>
                      <a:pt x="193" y="295"/>
                    </a:lnTo>
                    <a:lnTo>
                      <a:pt x="194" y="297"/>
                    </a:lnTo>
                    <a:lnTo>
                      <a:pt x="195" y="298"/>
                    </a:lnTo>
                    <a:lnTo>
                      <a:pt x="196" y="299"/>
                    </a:lnTo>
                    <a:lnTo>
                      <a:pt x="196" y="300"/>
                    </a:lnTo>
                    <a:lnTo>
                      <a:pt x="197" y="300"/>
                    </a:lnTo>
                    <a:lnTo>
                      <a:pt x="199" y="302"/>
                    </a:lnTo>
                    <a:lnTo>
                      <a:pt x="201" y="304"/>
                    </a:lnTo>
                    <a:lnTo>
                      <a:pt x="202" y="305"/>
                    </a:lnTo>
                    <a:lnTo>
                      <a:pt x="203" y="305"/>
                    </a:lnTo>
                    <a:lnTo>
                      <a:pt x="206" y="305"/>
                    </a:lnTo>
                    <a:lnTo>
                      <a:pt x="207" y="305"/>
                    </a:lnTo>
                    <a:lnTo>
                      <a:pt x="208" y="304"/>
                    </a:lnTo>
                    <a:lnTo>
                      <a:pt x="208" y="303"/>
                    </a:lnTo>
                    <a:lnTo>
                      <a:pt x="209" y="303"/>
                    </a:lnTo>
                    <a:lnTo>
                      <a:pt x="209" y="302"/>
                    </a:lnTo>
                    <a:lnTo>
                      <a:pt x="209" y="301"/>
                    </a:lnTo>
                    <a:lnTo>
                      <a:pt x="210" y="301"/>
                    </a:lnTo>
                    <a:lnTo>
                      <a:pt x="211" y="301"/>
                    </a:lnTo>
                    <a:lnTo>
                      <a:pt x="212" y="301"/>
                    </a:lnTo>
                    <a:lnTo>
                      <a:pt x="213" y="301"/>
                    </a:lnTo>
                    <a:lnTo>
                      <a:pt x="214" y="301"/>
                    </a:lnTo>
                    <a:lnTo>
                      <a:pt x="216" y="300"/>
                    </a:lnTo>
                    <a:lnTo>
                      <a:pt x="217" y="300"/>
                    </a:lnTo>
                    <a:lnTo>
                      <a:pt x="220" y="299"/>
                    </a:lnTo>
                    <a:lnTo>
                      <a:pt x="221" y="299"/>
                    </a:lnTo>
                    <a:lnTo>
                      <a:pt x="226" y="297"/>
                    </a:lnTo>
                    <a:lnTo>
                      <a:pt x="228" y="296"/>
                    </a:lnTo>
                    <a:lnTo>
                      <a:pt x="232" y="293"/>
                    </a:lnTo>
                    <a:lnTo>
                      <a:pt x="236" y="292"/>
                    </a:lnTo>
                    <a:lnTo>
                      <a:pt x="242" y="290"/>
                    </a:lnTo>
                    <a:lnTo>
                      <a:pt x="249" y="289"/>
                    </a:lnTo>
                    <a:lnTo>
                      <a:pt x="250" y="285"/>
                    </a:lnTo>
                    <a:lnTo>
                      <a:pt x="253" y="279"/>
                    </a:lnTo>
                    <a:lnTo>
                      <a:pt x="253" y="277"/>
                    </a:lnTo>
                    <a:lnTo>
                      <a:pt x="254" y="275"/>
                    </a:lnTo>
                    <a:lnTo>
                      <a:pt x="254" y="274"/>
                    </a:lnTo>
                    <a:lnTo>
                      <a:pt x="254" y="272"/>
                    </a:lnTo>
                    <a:lnTo>
                      <a:pt x="255" y="271"/>
                    </a:lnTo>
                    <a:lnTo>
                      <a:pt x="255" y="270"/>
                    </a:lnTo>
                    <a:lnTo>
                      <a:pt x="256" y="267"/>
                    </a:lnTo>
                    <a:lnTo>
                      <a:pt x="256" y="266"/>
                    </a:lnTo>
                    <a:lnTo>
                      <a:pt x="259" y="265"/>
                    </a:lnTo>
                    <a:lnTo>
                      <a:pt x="260" y="265"/>
                    </a:lnTo>
                    <a:lnTo>
                      <a:pt x="261" y="264"/>
                    </a:lnTo>
                    <a:lnTo>
                      <a:pt x="261" y="263"/>
                    </a:lnTo>
                    <a:lnTo>
                      <a:pt x="261" y="262"/>
                    </a:lnTo>
                    <a:lnTo>
                      <a:pt x="262" y="262"/>
                    </a:lnTo>
                    <a:lnTo>
                      <a:pt x="263" y="261"/>
                    </a:lnTo>
                    <a:lnTo>
                      <a:pt x="264" y="260"/>
                    </a:lnTo>
                    <a:lnTo>
                      <a:pt x="265" y="261"/>
                    </a:lnTo>
                    <a:lnTo>
                      <a:pt x="266" y="262"/>
                    </a:lnTo>
                    <a:lnTo>
                      <a:pt x="268" y="262"/>
                    </a:lnTo>
                    <a:lnTo>
                      <a:pt x="271" y="264"/>
                    </a:lnTo>
                    <a:lnTo>
                      <a:pt x="271" y="265"/>
                    </a:lnTo>
                    <a:lnTo>
                      <a:pt x="273" y="267"/>
                    </a:lnTo>
                    <a:lnTo>
                      <a:pt x="274" y="269"/>
                    </a:lnTo>
                    <a:lnTo>
                      <a:pt x="276" y="272"/>
                    </a:lnTo>
                    <a:lnTo>
                      <a:pt x="276" y="273"/>
                    </a:lnTo>
                    <a:lnTo>
                      <a:pt x="277" y="275"/>
                    </a:lnTo>
                    <a:lnTo>
                      <a:pt x="277" y="276"/>
                    </a:lnTo>
                    <a:lnTo>
                      <a:pt x="278" y="278"/>
                    </a:lnTo>
                    <a:lnTo>
                      <a:pt x="278" y="279"/>
                    </a:lnTo>
                    <a:lnTo>
                      <a:pt x="278" y="282"/>
                    </a:lnTo>
                    <a:lnTo>
                      <a:pt x="278" y="284"/>
                    </a:lnTo>
                    <a:lnTo>
                      <a:pt x="277" y="285"/>
                    </a:lnTo>
                    <a:lnTo>
                      <a:pt x="277" y="287"/>
                    </a:lnTo>
                    <a:lnTo>
                      <a:pt x="276" y="289"/>
                    </a:lnTo>
                    <a:lnTo>
                      <a:pt x="275" y="291"/>
                    </a:lnTo>
                    <a:lnTo>
                      <a:pt x="274" y="292"/>
                    </a:lnTo>
                    <a:lnTo>
                      <a:pt x="272" y="296"/>
                    </a:lnTo>
                    <a:lnTo>
                      <a:pt x="271" y="296"/>
                    </a:lnTo>
                    <a:lnTo>
                      <a:pt x="269" y="297"/>
                    </a:lnTo>
                    <a:lnTo>
                      <a:pt x="268" y="298"/>
                    </a:lnTo>
                    <a:lnTo>
                      <a:pt x="267" y="299"/>
                    </a:lnTo>
                    <a:lnTo>
                      <a:pt x="265" y="300"/>
                    </a:lnTo>
                    <a:lnTo>
                      <a:pt x="264" y="301"/>
                    </a:lnTo>
                    <a:lnTo>
                      <a:pt x="263" y="302"/>
                    </a:lnTo>
                    <a:lnTo>
                      <a:pt x="261" y="306"/>
                    </a:lnTo>
                    <a:lnTo>
                      <a:pt x="260" y="308"/>
                    </a:lnTo>
                    <a:lnTo>
                      <a:pt x="258" y="309"/>
                    </a:lnTo>
                    <a:lnTo>
                      <a:pt x="254" y="311"/>
                    </a:lnTo>
                    <a:lnTo>
                      <a:pt x="253" y="312"/>
                    </a:lnTo>
                    <a:close/>
                  </a:path>
                </a:pathLst>
              </a:custGeom>
              <a:solidFill>
                <a:srgbClr val="C1DD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1" name="Freeform 61">
                <a:extLst>
                  <a:ext uri="{FF2B5EF4-FFF2-40B4-BE49-F238E27FC236}">
                    <a16:creationId xmlns:a16="http://schemas.microsoft.com/office/drawing/2014/main" id="{891F201F-9A2D-047F-3C2C-4F3C805B0718}"/>
                  </a:ext>
                </a:extLst>
              </p:cNvPr>
              <p:cNvSpPr>
                <a:spLocks/>
              </p:cNvSpPr>
              <p:nvPr/>
            </p:nvSpPr>
            <p:spPr bwMode="auto">
              <a:xfrm>
                <a:off x="1643063" y="1128713"/>
                <a:ext cx="373063" cy="703263"/>
              </a:xfrm>
              <a:custGeom>
                <a:avLst/>
                <a:gdLst>
                  <a:gd name="T0" fmla="*/ 117 w 235"/>
                  <a:gd name="T1" fmla="*/ 1 h 443"/>
                  <a:gd name="T2" fmla="*/ 179 w 235"/>
                  <a:gd name="T3" fmla="*/ 102 h 443"/>
                  <a:gd name="T4" fmla="*/ 179 w 235"/>
                  <a:gd name="T5" fmla="*/ 194 h 443"/>
                  <a:gd name="T6" fmla="*/ 217 w 235"/>
                  <a:gd name="T7" fmla="*/ 252 h 443"/>
                  <a:gd name="T8" fmla="*/ 215 w 235"/>
                  <a:gd name="T9" fmla="*/ 258 h 443"/>
                  <a:gd name="T10" fmla="*/ 216 w 235"/>
                  <a:gd name="T11" fmla="*/ 261 h 443"/>
                  <a:gd name="T12" fmla="*/ 216 w 235"/>
                  <a:gd name="T13" fmla="*/ 264 h 443"/>
                  <a:gd name="T14" fmla="*/ 217 w 235"/>
                  <a:gd name="T15" fmla="*/ 271 h 443"/>
                  <a:gd name="T16" fmla="*/ 217 w 235"/>
                  <a:gd name="T17" fmla="*/ 278 h 443"/>
                  <a:gd name="T18" fmla="*/ 218 w 235"/>
                  <a:gd name="T19" fmla="*/ 285 h 443"/>
                  <a:gd name="T20" fmla="*/ 216 w 235"/>
                  <a:gd name="T21" fmla="*/ 293 h 443"/>
                  <a:gd name="T22" fmla="*/ 217 w 235"/>
                  <a:gd name="T23" fmla="*/ 302 h 443"/>
                  <a:gd name="T24" fmla="*/ 214 w 235"/>
                  <a:gd name="T25" fmla="*/ 308 h 443"/>
                  <a:gd name="T26" fmla="*/ 215 w 235"/>
                  <a:gd name="T27" fmla="*/ 315 h 443"/>
                  <a:gd name="T28" fmla="*/ 217 w 235"/>
                  <a:gd name="T29" fmla="*/ 324 h 443"/>
                  <a:gd name="T30" fmla="*/ 219 w 235"/>
                  <a:gd name="T31" fmla="*/ 333 h 443"/>
                  <a:gd name="T32" fmla="*/ 221 w 235"/>
                  <a:gd name="T33" fmla="*/ 342 h 443"/>
                  <a:gd name="T34" fmla="*/ 221 w 235"/>
                  <a:gd name="T35" fmla="*/ 352 h 443"/>
                  <a:gd name="T36" fmla="*/ 221 w 235"/>
                  <a:gd name="T37" fmla="*/ 362 h 443"/>
                  <a:gd name="T38" fmla="*/ 224 w 235"/>
                  <a:gd name="T39" fmla="*/ 368 h 443"/>
                  <a:gd name="T40" fmla="*/ 226 w 235"/>
                  <a:gd name="T41" fmla="*/ 376 h 443"/>
                  <a:gd name="T42" fmla="*/ 230 w 235"/>
                  <a:gd name="T43" fmla="*/ 384 h 443"/>
                  <a:gd name="T44" fmla="*/ 233 w 235"/>
                  <a:gd name="T45" fmla="*/ 392 h 443"/>
                  <a:gd name="T46" fmla="*/ 234 w 235"/>
                  <a:gd name="T47" fmla="*/ 399 h 443"/>
                  <a:gd name="T48" fmla="*/ 233 w 235"/>
                  <a:gd name="T49" fmla="*/ 404 h 443"/>
                  <a:gd name="T50" fmla="*/ 199 w 235"/>
                  <a:gd name="T51" fmla="*/ 411 h 443"/>
                  <a:gd name="T52" fmla="*/ 165 w 235"/>
                  <a:gd name="T53" fmla="*/ 443 h 443"/>
                  <a:gd name="T54" fmla="*/ 90 w 235"/>
                  <a:gd name="T55" fmla="*/ 443 h 443"/>
                  <a:gd name="T56" fmla="*/ 52 w 235"/>
                  <a:gd name="T57" fmla="*/ 378 h 443"/>
                  <a:gd name="T58" fmla="*/ 52 w 235"/>
                  <a:gd name="T59" fmla="*/ 294 h 443"/>
                  <a:gd name="T60" fmla="*/ 38 w 235"/>
                  <a:gd name="T61" fmla="*/ 185 h 443"/>
                  <a:gd name="T62" fmla="*/ 39 w 235"/>
                  <a:gd name="T63" fmla="*/ 179 h 443"/>
                  <a:gd name="T64" fmla="*/ 37 w 235"/>
                  <a:gd name="T65" fmla="*/ 172 h 443"/>
                  <a:gd name="T66" fmla="*/ 38 w 235"/>
                  <a:gd name="T67" fmla="*/ 165 h 443"/>
                  <a:gd name="T68" fmla="*/ 44 w 235"/>
                  <a:gd name="T69" fmla="*/ 157 h 443"/>
                  <a:gd name="T70" fmla="*/ 44 w 235"/>
                  <a:gd name="T71" fmla="*/ 149 h 443"/>
                  <a:gd name="T72" fmla="*/ 47 w 235"/>
                  <a:gd name="T73" fmla="*/ 142 h 443"/>
                  <a:gd name="T74" fmla="*/ 46 w 235"/>
                  <a:gd name="T75" fmla="*/ 136 h 443"/>
                  <a:gd name="T76" fmla="*/ 40 w 235"/>
                  <a:gd name="T77" fmla="*/ 128 h 443"/>
                  <a:gd name="T78" fmla="*/ 45 w 235"/>
                  <a:gd name="T79" fmla="*/ 121 h 443"/>
                  <a:gd name="T80" fmla="*/ 48 w 235"/>
                  <a:gd name="T81" fmla="*/ 117 h 443"/>
                  <a:gd name="T82" fmla="*/ 49 w 235"/>
                  <a:gd name="T83" fmla="*/ 111 h 443"/>
                  <a:gd name="T84" fmla="*/ 40 w 235"/>
                  <a:gd name="T85" fmla="*/ 109 h 443"/>
                  <a:gd name="T86" fmla="*/ 35 w 235"/>
                  <a:gd name="T87" fmla="*/ 98 h 443"/>
                  <a:gd name="T88" fmla="*/ 32 w 235"/>
                  <a:gd name="T89" fmla="*/ 92 h 443"/>
                  <a:gd name="T90" fmla="*/ 30 w 235"/>
                  <a:gd name="T91" fmla="*/ 84 h 443"/>
                  <a:gd name="T92" fmla="*/ 36 w 235"/>
                  <a:gd name="T93" fmla="*/ 80 h 443"/>
                  <a:gd name="T94" fmla="*/ 34 w 235"/>
                  <a:gd name="T95" fmla="*/ 73 h 443"/>
                  <a:gd name="T96" fmla="*/ 30 w 235"/>
                  <a:gd name="T97" fmla="*/ 68 h 443"/>
                  <a:gd name="T98" fmla="*/ 21 w 235"/>
                  <a:gd name="T99" fmla="*/ 70 h 443"/>
                  <a:gd name="T100" fmla="*/ 18 w 235"/>
                  <a:gd name="T101" fmla="*/ 62 h 443"/>
                  <a:gd name="T102" fmla="*/ 11 w 235"/>
                  <a:gd name="T103" fmla="*/ 58 h 443"/>
                  <a:gd name="T104" fmla="*/ 9 w 235"/>
                  <a:gd name="T105" fmla="*/ 50 h 443"/>
                  <a:gd name="T106" fmla="*/ 7 w 235"/>
                  <a:gd name="T107" fmla="*/ 40 h 443"/>
                  <a:gd name="T108" fmla="*/ 1 w 235"/>
                  <a:gd name="T109" fmla="*/ 36 h 443"/>
                  <a:gd name="T110" fmla="*/ 1 w 235"/>
                  <a:gd name="T111" fmla="*/ 31 h 443"/>
                  <a:gd name="T112" fmla="*/ 1 w 235"/>
                  <a:gd name="T113" fmla="*/ 26 h 443"/>
                  <a:gd name="T114" fmla="*/ 5 w 235"/>
                  <a:gd name="T115" fmla="*/ 18 h 443"/>
                  <a:gd name="T116" fmla="*/ 9 w 235"/>
                  <a:gd name="T117" fmla="*/ 12 h 443"/>
                  <a:gd name="T118" fmla="*/ 8 w 235"/>
                  <a:gd name="T119" fmla="*/ 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 h="443">
                    <a:moveTo>
                      <a:pt x="7" y="0"/>
                    </a:moveTo>
                    <a:lnTo>
                      <a:pt x="25" y="1"/>
                    </a:lnTo>
                    <a:lnTo>
                      <a:pt x="32" y="0"/>
                    </a:lnTo>
                    <a:lnTo>
                      <a:pt x="39" y="0"/>
                    </a:lnTo>
                    <a:lnTo>
                      <a:pt x="46" y="0"/>
                    </a:lnTo>
                    <a:lnTo>
                      <a:pt x="52" y="0"/>
                    </a:lnTo>
                    <a:lnTo>
                      <a:pt x="85" y="1"/>
                    </a:lnTo>
                    <a:lnTo>
                      <a:pt x="95" y="1"/>
                    </a:lnTo>
                    <a:lnTo>
                      <a:pt x="99" y="1"/>
                    </a:lnTo>
                    <a:lnTo>
                      <a:pt x="109" y="1"/>
                    </a:lnTo>
                    <a:lnTo>
                      <a:pt x="117" y="1"/>
                    </a:lnTo>
                    <a:lnTo>
                      <a:pt x="126" y="1"/>
                    </a:lnTo>
                    <a:lnTo>
                      <a:pt x="136" y="1"/>
                    </a:lnTo>
                    <a:lnTo>
                      <a:pt x="168" y="1"/>
                    </a:lnTo>
                    <a:lnTo>
                      <a:pt x="174" y="1"/>
                    </a:lnTo>
                    <a:lnTo>
                      <a:pt x="179" y="1"/>
                    </a:lnTo>
                    <a:lnTo>
                      <a:pt x="179" y="7"/>
                    </a:lnTo>
                    <a:lnTo>
                      <a:pt x="179" y="14"/>
                    </a:lnTo>
                    <a:lnTo>
                      <a:pt x="179" y="15"/>
                    </a:lnTo>
                    <a:lnTo>
                      <a:pt x="179" y="83"/>
                    </a:lnTo>
                    <a:lnTo>
                      <a:pt x="179" y="97"/>
                    </a:lnTo>
                    <a:lnTo>
                      <a:pt x="179" y="102"/>
                    </a:lnTo>
                    <a:lnTo>
                      <a:pt x="179" y="108"/>
                    </a:lnTo>
                    <a:lnTo>
                      <a:pt x="179" y="120"/>
                    </a:lnTo>
                    <a:lnTo>
                      <a:pt x="179" y="123"/>
                    </a:lnTo>
                    <a:lnTo>
                      <a:pt x="180" y="135"/>
                    </a:lnTo>
                    <a:lnTo>
                      <a:pt x="180" y="141"/>
                    </a:lnTo>
                    <a:lnTo>
                      <a:pt x="180" y="149"/>
                    </a:lnTo>
                    <a:lnTo>
                      <a:pt x="179" y="155"/>
                    </a:lnTo>
                    <a:lnTo>
                      <a:pt x="179" y="157"/>
                    </a:lnTo>
                    <a:lnTo>
                      <a:pt x="179" y="159"/>
                    </a:lnTo>
                    <a:lnTo>
                      <a:pt x="179" y="188"/>
                    </a:lnTo>
                    <a:lnTo>
                      <a:pt x="179" y="194"/>
                    </a:lnTo>
                    <a:lnTo>
                      <a:pt x="179" y="196"/>
                    </a:lnTo>
                    <a:lnTo>
                      <a:pt x="180" y="196"/>
                    </a:lnTo>
                    <a:lnTo>
                      <a:pt x="180" y="221"/>
                    </a:lnTo>
                    <a:lnTo>
                      <a:pt x="194" y="220"/>
                    </a:lnTo>
                    <a:lnTo>
                      <a:pt x="201" y="220"/>
                    </a:lnTo>
                    <a:lnTo>
                      <a:pt x="211" y="220"/>
                    </a:lnTo>
                    <a:lnTo>
                      <a:pt x="211" y="236"/>
                    </a:lnTo>
                    <a:lnTo>
                      <a:pt x="211" y="242"/>
                    </a:lnTo>
                    <a:lnTo>
                      <a:pt x="212" y="252"/>
                    </a:lnTo>
                    <a:lnTo>
                      <a:pt x="216" y="252"/>
                    </a:lnTo>
                    <a:lnTo>
                      <a:pt x="217" y="252"/>
                    </a:lnTo>
                    <a:lnTo>
                      <a:pt x="216" y="252"/>
                    </a:lnTo>
                    <a:lnTo>
                      <a:pt x="216" y="253"/>
                    </a:lnTo>
                    <a:lnTo>
                      <a:pt x="215" y="253"/>
                    </a:lnTo>
                    <a:lnTo>
                      <a:pt x="215" y="255"/>
                    </a:lnTo>
                    <a:lnTo>
                      <a:pt x="214" y="255"/>
                    </a:lnTo>
                    <a:lnTo>
                      <a:pt x="214" y="256"/>
                    </a:lnTo>
                    <a:lnTo>
                      <a:pt x="214" y="257"/>
                    </a:lnTo>
                    <a:lnTo>
                      <a:pt x="213" y="257"/>
                    </a:lnTo>
                    <a:lnTo>
                      <a:pt x="213" y="258"/>
                    </a:lnTo>
                    <a:lnTo>
                      <a:pt x="214" y="258"/>
                    </a:lnTo>
                    <a:lnTo>
                      <a:pt x="215" y="258"/>
                    </a:lnTo>
                    <a:lnTo>
                      <a:pt x="216" y="258"/>
                    </a:lnTo>
                    <a:lnTo>
                      <a:pt x="217" y="258"/>
                    </a:lnTo>
                    <a:lnTo>
                      <a:pt x="216" y="258"/>
                    </a:lnTo>
                    <a:lnTo>
                      <a:pt x="216" y="259"/>
                    </a:lnTo>
                    <a:lnTo>
                      <a:pt x="217" y="259"/>
                    </a:lnTo>
                    <a:lnTo>
                      <a:pt x="216" y="259"/>
                    </a:lnTo>
                    <a:lnTo>
                      <a:pt x="217" y="260"/>
                    </a:lnTo>
                    <a:lnTo>
                      <a:pt x="216" y="260"/>
                    </a:lnTo>
                    <a:lnTo>
                      <a:pt x="217" y="260"/>
                    </a:lnTo>
                    <a:lnTo>
                      <a:pt x="217" y="261"/>
                    </a:lnTo>
                    <a:lnTo>
                      <a:pt x="216" y="261"/>
                    </a:lnTo>
                    <a:lnTo>
                      <a:pt x="217" y="261"/>
                    </a:lnTo>
                    <a:lnTo>
                      <a:pt x="217" y="262"/>
                    </a:lnTo>
                    <a:lnTo>
                      <a:pt x="218" y="262"/>
                    </a:lnTo>
                    <a:lnTo>
                      <a:pt x="217" y="262"/>
                    </a:lnTo>
                    <a:lnTo>
                      <a:pt x="217" y="263"/>
                    </a:lnTo>
                    <a:lnTo>
                      <a:pt x="218" y="263"/>
                    </a:lnTo>
                    <a:lnTo>
                      <a:pt x="217" y="263"/>
                    </a:lnTo>
                    <a:lnTo>
                      <a:pt x="217" y="264"/>
                    </a:lnTo>
                    <a:lnTo>
                      <a:pt x="217" y="263"/>
                    </a:lnTo>
                    <a:lnTo>
                      <a:pt x="216" y="263"/>
                    </a:lnTo>
                    <a:lnTo>
                      <a:pt x="216" y="264"/>
                    </a:lnTo>
                    <a:lnTo>
                      <a:pt x="216" y="265"/>
                    </a:lnTo>
                    <a:lnTo>
                      <a:pt x="215" y="265"/>
                    </a:lnTo>
                    <a:lnTo>
                      <a:pt x="214" y="265"/>
                    </a:lnTo>
                    <a:lnTo>
                      <a:pt x="215" y="265"/>
                    </a:lnTo>
                    <a:lnTo>
                      <a:pt x="215" y="267"/>
                    </a:lnTo>
                    <a:lnTo>
                      <a:pt x="215" y="268"/>
                    </a:lnTo>
                    <a:lnTo>
                      <a:pt x="215" y="269"/>
                    </a:lnTo>
                    <a:lnTo>
                      <a:pt x="216" y="269"/>
                    </a:lnTo>
                    <a:lnTo>
                      <a:pt x="216" y="270"/>
                    </a:lnTo>
                    <a:lnTo>
                      <a:pt x="217" y="270"/>
                    </a:lnTo>
                    <a:lnTo>
                      <a:pt x="217" y="271"/>
                    </a:lnTo>
                    <a:lnTo>
                      <a:pt x="218" y="271"/>
                    </a:lnTo>
                    <a:lnTo>
                      <a:pt x="217" y="271"/>
                    </a:lnTo>
                    <a:lnTo>
                      <a:pt x="217" y="272"/>
                    </a:lnTo>
                    <a:lnTo>
                      <a:pt x="217" y="273"/>
                    </a:lnTo>
                    <a:lnTo>
                      <a:pt x="217" y="274"/>
                    </a:lnTo>
                    <a:lnTo>
                      <a:pt x="217" y="275"/>
                    </a:lnTo>
                    <a:lnTo>
                      <a:pt x="217" y="276"/>
                    </a:lnTo>
                    <a:lnTo>
                      <a:pt x="217" y="277"/>
                    </a:lnTo>
                    <a:lnTo>
                      <a:pt x="216" y="277"/>
                    </a:lnTo>
                    <a:lnTo>
                      <a:pt x="217" y="277"/>
                    </a:lnTo>
                    <a:lnTo>
                      <a:pt x="217" y="278"/>
                    </a:lnTo>
                    <a:lnTo>
                      <a:pt x="217" y="280"/>
                    </a:lnTo>
                    <a:lnTo>
                      <a:pt x="218" y="280"/>
                    </a:lnTo>
                    <a:lnTo>
                      <a:pt x="218" y="281"/>
                    </a:lnTo>
                    <a:lnTo>
                      <a:pt x="219" y="281"/>
                    </a:lnTo>
                    <a:lnTo>
                      <a:pt x="219" y="282"/>
                    </a:lnTo>
                    <a:lnTo>
                      <a:pt x="218" y="282"/>
                    </a:lnTo>
                    <a:lnTo>
                      <a:pt x="218" y="283"/>
                    </a:lnTo>
                    <a:lnTo>
                      <a:pt x="218" y="284"/>
                    </a:lnTo>
                    <a:lnTo>
                      <a:pt x="218" y="285"/>
                    </a:lnTo>
                    <a:lnTo>
                      <a:pt x="217" y="285"/>
                    </a:lnTo>
                    <a:lnTo>
                      <a:pt x="218" y="285"/>
                    </a:lnTo>
                    <a:lnTo>
                      <a:pt x="217" y="285"/>
                    </a:lnTo>
                    <a:lnTo>
                      <a:pt x="217" y="286"/>
                    </a:lnTo>
                    <a:lnTo>
                      <a:pt x="216" y="286"/>
                    </a:lnTo>
                    <a:lnTo>
                      <a:pt x="217" y="286"/>
                    </a:lnTo>
                    <a:lnTo>
                      <a:pt x="217" y="287"/>
                    </a:lnTo>
                    <a:lnTo>
                      <a:pt x="216" y="287"/>
                    </a:lnTo>
                    <a:lnTo>
                      <a:pt x="216" y="288"/>
                    </a:lnTo>
                    <a:lnTo>
                      <a:pt x="216" y="289"/>
                    </a:lnTo>
                    <a:lnTo>
                      <a:pt x="216" y="290"/>
                    </a:lnTo>
                    <a:lnTo>
                      <a:pt x="216" y="291"/>
                    </a:lnTo>
                    <a:lnTo>
                      <a:pt x="216" y="293"/>
                    </a:lnTo>
                    <a:lnTo>
                      <a:pt x="216" y="294"/>
                    </a:lnTo>
                    <a:lnTo>
                      <a:pt x="216" y="295"/>
                    </a:lnTo>
                    <a:lnTo>
                      <a:pt x="217" y="295"/>
                    </a:lnTo>
                    <a:lnTo>
                      <a:pt x="217" y="296"/>
                    </a:lnTo>
                    <a:lnTo>
                      <a:pt x="217" y="297"/>
                    </a:lnTo>
                    <a:lnTo>
                      <a:pt x="216" y="297"/>
                    </a:lnTo>
                    <a:lnTo>
                      <a:pt x="216" y="298"/>
                    </a:lnTo>
                    <a:lnTo>
                      <a:pt x="216" y="299"/>
                    </a:lnTo>
                    <a:lnTo>
                      <a:pt x="216" y="300"/>
                    </a:lnTo>
                    <a:lnTo>
                      <a:pt x="216" y="301"/>
                    </a:lnTo>
                    <a:lnTo>
                      <a:pt x="217" y="302"/>
                    </a:lnTo>
                    <a:lnTo>
                      <a:pt x="216" y="302"/>
                    </a:lnTo>
                    <a:lnTo>
                      <a:pt x="217" y="302"/>
                    </a:lnTo>
                    <a:lnTo>
                      <a:pt x="217" y="303"/>
                    </a:lnTo>
                    <a:lnTo>
                      <a:pt x="216" y="303"/>
                    </a:lnTo>
                    <a:lnTo>
                      <a:pt x="217" y="303"/>
                    </a:lnTo>
                    <a:lnTo>
                      <a:pt x="217" y="304"/>
                    </a:lnTo>
                    <a:lnTo>
                      <a:pt x="216" y="306"/>
                    </a:lnTo>
                    <a:lnTo>
                      <a:pt x="215" y="306"/>
                    </a:lnTo>
                    <a:lnTo>
                      <a:pt x="214" y="306"/>
                    </a:lnTo>
                    <a:lnTo>
                      <a:pt x="214" y="307"/>
                    </a:lnTo>
                    <a:lnTo>
                      <a:pt x="214" y="308"/>
                    </a:lnTo>
                    <a:lnTo>
                      <a:pt x="215" y="308"/>
                    </a:lnTo>
                    <a:lnTo>
                      <a:pt x="215" y="309"/>
                    </a:lnTo>
                    <a:lnTo>
                      <a:pt x="214" y="310"/>
                    </a:lnTo>
                    <a:lnTo>
                      <a:pt x="214" y="311"/>
                    </a:lnTo>
                    <a:lnTo>
                      <a:pt x="214" y="312"/>
                    </a:lnTo>
                    <a:lnTo>
                      <a:pt x="215" y="312"/>
                    </a:lnTo>
                    <a:lnTo>
                      <a:pt x="215" y="313"/>
                    </a:lnTo>
                    <a:lnTo>
                      <a:pt x="214" y="313"/>
                    </a:lnTo>
                    <a:lnTo>
                      <a:pt x="214" y="314"/>
                    </a:lnTo>
                    <a:lnTo>
                      <a:pt x="214" y="315"/>
                    </a:lnTo>
                    <a:lnTo>
                      <a:pt x="215" y="315"/>
                    </a:lnTo>
                    <a:lnTo>
                      <a:pt x="216" y="316"/>
                    </a:lnTo>
                    <a:lnTo>
                      <a:pt x="216" y="317"/>
                    </a:lnTo>
                    <a:lnTo>
                      <a:pt x="217" y="317"/>
                    </a:lnTo>
                    <a:lnTo>
                      <a:pt x="217" y="319"/>
                    </a:lnTo>
                    <a:lnTo>
                      <a:pt x="217" y="320"/>
                    </a:lnTo>
                    <a:lnTo>
                      <a:pt x="217" y="321"/>
                    </a:lnTo>
                    <a:lnTo>
                      <a:pt x="216" y="321"/>
                    </a:lnTo>
                    <a:lnTo>
                      <a:pt x="217" y="321"/>
                    </a:lnTo>
                    <a:lnTo>
                      <a:pt x="217" y="322"/>
                    </a:lnTo>
                    <a:lnTo>
                      <a:pt x="217" y="323"/>
                    </a:lnTo>
                    <a:lnTo>
                      <a:pt x="217" y="324"/>
                    </a:lnTo>
                    <a:lnTo>
                      <a:pt x="217" y="325"/>
                    </a:lnTo>
                    <a:lnTo>
                      <a:pt x="217" y="326"/>
                    </a:lnTo>
                    <a:lnTo>
                      <a:pt x="217" y="327"/>
                    </a:lnTo>
                    <a:lnTo>
                      <a:pt x="218" y="327"/>
                    </a:lnTo>
                    <a:lnTo>
                      <a:pt x="218" y="328"/>
                    </a:lnTo>
                    <a:lnTo>
                      <a:pt x="218" y="329"/>
                    </a:lnTo>
                    <a:lnTo>
                      <a:pt x="219" y="330"/>
                    </a:lnTo>
                    <a:lnTo>
                      <a:pt x="218" y="330"/>
                    </a:lnTo>
                    <a:lnTo>
                      <a:pt x="218" y="332"/>
                    </a:lnTo>
                    <a:lnTo>
                      <a:pt x="218" y="333"/>
                    </a:lnTo>
                    <a:lnTo>
                      <a:pt x="219" y="333"/>
                    </a:lnTo>
                    <a:lnTo>
                      <a:pt x="219" y="334"/>
                    </a:lnTo>
                    <a:lnTo>
                      <a:pt x="219" y="335"/>
                    </a:lnTo>
                    <a:lnTo>
                      <a:pt x="220" y="336"/>
                    </a:lnTo>
                    <a:lnTo>
                      <a:pt x="220" y="337"/>
                    </a:lnTo>
                    <a:lnTo>
                      <a:pt x="221" y="337"/>
                    </a:lnTo>
                    <a:lnTo>
                      <a:pt x="221" y="338"/>
                    </a:lnTo>
                    <a:lnTo>
                      <a:pt x="221" y="340"/>
                    </a:lnTo>
                    <a:lnTo>
                      <a:pt x="222" y="340"/>
                    </a:lnTo>
                    <a:lnTo>
                      <a:pt x="222" y="341"/>
                    </a:lnTo>
                    <a:lnTo>
                      <a:pt x="222" y="342"/>
                    </a:lnTo>
                    <a:lnTo>
                      <a:pt x="221" y="342"/>
                    </a:lnTo>
                    <a:lnTo>
                      <a:pt x="221" y="345"/>
                    </a:lnTo>
                    <a:lnTo>
                      <a:pt x="220" y="345"/>
                    </a:lnTo>
                    <a:lnTo>
                      <a:pt x="220" y="346"/>
                    </a:lnTo>
                    <a:lnTo>
                      <a:pt x="220" y="347"/>
                    </a:lnTo>
                    <a:lnTo>
                      <a:pt x="219" y="348"/>
                    </a:lnTo>
                    <a:lnTo>
                      <a:pt x="220" y="348"/>
                    </a:lnTo>
                    <a:lnTo>
                      <a:pt x="220" y="349"/>
                    </a:lnTo>
                    <a:lnTo>
                      <a:pt x="220" y="350"/>
                    </a:lnTo>
                    <a:lnTo>
                      <a:pt x="220" y="351"/>
                    </a:lnTo>
                    <a:lnTo>
                      <a:pt x="220" y="352"/>
                    </a:lnTo>
                    <a:lnTo>
                      <a:pt x="221" y="352"/>
                    </a:lnTo>
                    <a:lnTo>
                      <a:pt x="221" y="353"/>
                    </a:lnTo>
                    <a:lnTo>
                      <a:pt x="221" y="354"/>
                    </a:lnTo>
                    <a:lnTo>
                      <a:pt x="221" y="355"/>
                    </a:lnTo>
                    <a:lnTo>
                      <a:pt x="222" y="357"/>
                    </a:lnTo>
                    <a:lnTo>
                      <a:pt x="222" y="358"/>
                    </a:lnTo>
                    <a:lnTo>
                      <a:pt x="221" y="358"/>
                    </a:lnTo>
                    <a:lnTo>
                      <a:pt x="221" y="359"/>
                    </a:lnTo>
                    <a:lnTo>
                      <a:pt x="220" y="359"/>
                    </a:lnTo>
                    <a:lnTo>
                      <a:pt x="221" y="360"/>
                    </a:lnTo>
                    <a:lnTo>
                      <a:pt x="221" y="361"/>
                    </a:lnTo>
                    <a:lnTo>
                      <a:pt x="221" y="362"/>
                    </a:lnTo>
                    <a:lnTo>
                      <a:pt x="222" y="362"/>
                    </a:lnTo>
                    <a:lnTo>
                      <a:pt x="221" y="363"/>
                    </a:lnTo>
                    <a:lnTo>
                      <a:pt x="222" y="363"/>
                    </a:lnTo>
                    <a:lnTo>
                      <a:pt x="222" y="364"/>
                    </a:lnTo>
                    <a:lnTo>
                      <a:pt x="222" y="365"/>
                    </a:lnTo>
                    <a:lnTo>
                      <a:pt x="222" y="366"/>
                    </a:lnTo>
                    <a:lnTo>
                      <a:pt x="224" y="366"/>
                    </a:lnTo>
                    <a:lnTo>
                      <a:pt x="224" y="367"/>
                    </a:lnTo>
                    <a:lnTo>
                      <a:pt x="225" y="367"/>
                    </a:lnTo>
                    <a:lnTo>
                      <a:pt x="224" y="367"/>
                    </a:lnTo>
                    <a:lnTo>
                      <a:pt x="224" y="368"/>
                    </a:lnTo>
                    <a:lnTo>
                      <a:pt x="224" y="370"/>
                    </a:lnTo>
                    <a:lnTo>
                      <a:pt x="222" y="370"/>
                    </a:lnTo>
                    <a:lnTo>
                      <a:pt x="222" y="371"/>
                    </a:lnTo>
                    <a:lnTo>
                      <a:pt x="224" y="371"/>
                    </a:lnTo>
                    <a:lnTo>
                      <a:pt x="225" y="371"/>
                    </a:lnTo>
                    <a:lnTo>
                      <a:pt x="225" y="372"/>
                    </a:lnTo>
                    <a:lnTo>
                      <a:pt x="225" y="373"/>
                    </a:lnTo>
                    <a:lnTo>
                      <a:pt x="225" y="374"/>
                    </a:lnTo>
                    <a:lnTo>
                      <a:pt x="225" y="375"/>
                    </a:lnTo>
                    <a:lnTo>
                      <a:pt x="225" y="376"/>
                    </a:lnTo>
                    <a:lnTo>
                      <a:pt x="226" y="376"/>
                    </a:lnTo>
                    <a:lnTo>
                      <a:pt x="226" y="377"/>
                    </a:lnTo>
                    <a:lnTo>
                      <a:pt x="227" y="377"/>
                    </a:lnTo>
                    <a:lnTo>
                      <a:pt x="227" y="378"/>
                    </a:lnTo>
                    <a:lnTo>
                      <a:pt x="227" y="379"/>
                    </a:lnTo>
                    <a:lnTo>
                      <a:pt x="228" y="379"/>
                    </a:lnTo>
                    <a:lnTo>
                      <a:pt x="228" y="380"/>
                    </a:lnTo>
                    <a:lnTo>
                      <a:pt x="228" y="381"/>
                    </a:lnTo>
                    <a:lnTo>
                      <a:pt x="228" y="383"/>
                    </a:lnTo>
                    <a:lnTo>
                      <a:pt x="229" y="383"/>
                    </a:lnTo>
                    <a:lnTo>
                      <a:pt x="230" y="383"/>
                    </a:lnTo>
                    <a:lnTo>
                      <a:pt x="230" y="384"/>
                    </a:lnTo>
                    <a:lnTo>
                      <a:pt x="231" y="385"/>
                    </a:lnTo>
                    <a:lnTo>
                      <a:pt x="231" y="386"/>
                    </a:lnTo>
                    <a:lnTo>
                      <a:pt x="231" y="387"/>
                    </a:lnTo>
                    <a:lnTo>
                      <a:pt x="230" y="388"/>
                    </a:lnTo>
                    <a:lnTo>
                      <a:pt x="230" y="389"/>
                    </a:lnTo>
                    <a:lnTo>
                      <a:pt x="230" y="390"/>
                    </a:lnTo>
                    <a:lnTo>
                      <a:pt x="230" y="391"/>
                    </a:lnTo>
                    <a:lnTo>
                      <a:pt x="230" y="392"/>
                    </a:lnTo>
                    <a:lnTo>
                      <a:pt x="231" y="392"/>
                    </a:lnTo>
                    <a:lnTo>
                      <a:pt x="232" y="392"/>
                    </a:lnTo>
                    <a:lnTo>
                      <a:pt x="233" y="392"/>
                    </a:lnTo>
                    <a:lnTo>
                      <a:pt x="234" y="392"/>
                    </a:lnTo>
                    <a:lnTo>
                      <a:pt x="235" y="392"/>
                    </a:lnTo>
                    <a:lnTo>
                      <a:pt x="235" y="393"/>
                    </a:lnTo>
                    <a:lnTo>
                      <a:pt x="234" y="393"/>
                    </a:lnTo>
                    <a:lnTo>
                      <a:pt x="235" y="394"/>
                    </a:lnTo>
                    <a:lnTo>
                      <a:pt x="235" y="396"/>
                    </a:lnTo>
                    <a:lnTo>
                      <a:pt x="234" y="397"/>
                    </a:lnTo>
                    <a:lnTo>
                      <a:pt x="234" y="398"/>
                    </a:lnTo>
                    <a:lnTo>
                      <a:pt x="235" y="398"/>
                    </a:lnTo>
                    <a:lnTo>
                      <a:pt x="235" y="399"/>
                    </a:lnTo>
                    <a:lnTo>
                      <a:pt x="234" y="399"/>
                    </a:lnTo>
                    <a:lnTo>
                      <a:pt x="233" y="400"/>
                    </a:lnTo>
                    <a:lnTo>
                      <a:pt x="234" y="400"/>
                    </a:lnTo>
                    <a:lnTo>
                      <a:pt x="234" y="401"/>
                    </a:lnTo>
                    <a:lnTo>
                      <a:pt x="233" y="401"/>
                    </a:lnTo>
                    <a:lnTo>
                      <a:pt x="233" y="402"/>
                    </a:lnTo>
                    <a:lnTo>
                      <a:pt x="233" y="401"/>
                    </a:lnTo>
                    <a:lnTo>
                      <a:pt x="232" y="401"/>
                    </a:lnTo>
                    <a:lnTo>
                      <a:pt x="232" y="402"/>
                    </a:lnTo>
                    <a:lnTo>
                      <a:pt x="232" y="403"/>
                    </a:lnTo>
                    <a:lnTo>
                      <a:pt x="233" y="403"/>
                    </a:lnTo>
                    <a:lnTo>
                      <a:pt x="233" y="404"/>
                    </a:lnTo>
                    <a:lnTo>
                      <a:pt x="233" y="405"/>
                    </a:lnTo>
                    <a:lnTo>
                      <a:pt x="232" y="405"/>
                    </a:lnTo>
                    <a:lnTo>
                      <a:pt x="232" y="406"/>
                    </a:lnTo>
                    <a:lnTo>
                      <a:pt x="232" y="407"/>
                    </a:lnTo>
                    <a:lnTo>
                      <a:pt x="233" y="407"/>
                    </a:lnTo>
                    <a:lnTo>
                      <a:pt x="234" y="409"/>
                    </a:lnTo>
                    <a:lnTo>
                      <a:pt x="235" y="410"/>
                    </a:lnTo>
                    <a:lnTo>
                      <a:pt x="235" y="411"/>
                    </a:lnTo>
                    <a:lnTo>
                      <a:pt x="213" y="411"/>
                    </a:lnTo>
                    <a:lnTo>
                      <a:pt x="200" y="411"/>
                    </a:lnTo>
                    <a:lnTo>
                      <a:pt x="199" y="411"/>
                    </a:lnTo>
                    <a:lnTo>
                      <a:pt x="198" y="411"/>
                    </a:lnTo>
                    <a:lnTo>
                      <a:pt x="180" y="411"/>
                    </a:lnTo>
                    <a:lnTo>
                      <a:pt x="180" y="413"/>
                    </a:lnTo>
                    <a:lnTo>
                      <a:pt x="180" y="419"/>
                    </a:lnTo>
                    <a:lnTo>
                      <a:pt x="180" y="423"/>
                    </a:lnTo>
                    <a:lnTo>
                      <a:pt x="180" y="425"/>
                    </a:lnTo>
                    <a:lnTo>
                      <a:pt x="180" y="427"/>
                    </a:lnTo>
                    <a:lnTo>
                      <a:pt x="180" y="431"/>
                    </a:lnTo>
                    <a:lnTo>
                      <a:pt x="180" y="443"/>
                    </a:lnTo>
                    <a:lnTo>
                      <a:pt x="172" y="443"/>
                    </a:lnTo>
                    <a:lnTo>
                      <a:pt x="165" y="443"/>
                    </a:lnTo>
                    <a:lnTo>
                      <a:pt x="162" y="443"/>
                    </a:lnTo>
                    <a:lnTo>
                      <a:pt x="153" y="443"/>
                    </a:lnTo>
                    <a:lnTo>
                      <a:pt x="152" y="443"/>
                    </a:lnTo>
                    <a:lnTo>
                      <a:pt x="142" y="443"/>
                    </a:lnTo>
                    <a:lnTo>
                      <a:pt x="134" y="443"/>
                    </a:lnTo>
                    <a:lnTo>
                      <a:pt x="127" y="443"/>
                    </a:lnTo>
                    <a:lnTo>
                      <a:pt x="117" y="443"/>
                    </a:lnTo>
                    <a:lnTo>
                      <a:pt x="110" y="443"/>
                    </a:lnTo>
                    <a:lnTo>
                      <a:pt x="102" y="443"/>
                    </a:lnTo>
                    <a:lnTo>
                      <a:pt x="97" y="443"/>
                    </a:lnTo>
                    <a:lnTo>
                      <a:pt x="90" y="443"/>
                    </a:lnTo>
                    <a:lnTo>
                      <a:pt x="86" y="443"/>
                    </a:lnTo>
                    <a:lnTo>
                      <a:pt x="80" y="443"/>
                    </a:lnTo>
                    <a:lnTo>
                      <a:pt x="73" y="443"/>
                    </a:lnTo>
                    <a:lnTo>
                      <a:pt x="60" y="443"/>
                    </a:lnTo>
                    <a:lnTo>
                      <a:pt x="59" y="443"/>
                    </a:lnTo>
                    <a:lnTo>
                      <a:pt x="58" y="443"/>
                    </a:lnTo>
                    <a:lnTo>
                      <a:pt x="56" y="443"/>
                    </a:lnTo>
                    <a:lnTo>
                      <a:pt x="56" y="423"/>
                    </a:lnTo>
                    <a:lnTo>
                      <a:pt x="56" y="379"/>
                    </a:lnTo>
                    <a:lnTo>
                      <a:pt x="52" y="379"/>
                    </a:lnTo>
                    <a:lnTo>
                      <a:pt x="52" y="378"/>
                    </a:lnTo>
                    <a:lnTo>
                      <a:pt x="52" y="374"/>
                    </a:lnTo>
                    <a:lnTo>
                      <a:pt x="52" y="352"/>
                    </a:lnTo>
                    <a:lnTo>
                      <a:pt x="52" y="349"/>
                    </a:lnTo>
                    <a:lnTo>
                      <a:pt x="52" y="338"/>
                    </a:lnTo>
                    <a:lnTo>
                      <a:pt x="52" y="333"/>
                    </a:lnTo>
                    <a:lnTo>
                      <a:pt x="52" y="332"/>
                    </a:lnTo>
                    <a:lnTo>
                      <a:pt x="52" y="326"/>
                    </a:lnTo>
                    <a:lnTo>
                      <a:pt x="52" y="322"/>
                    </a:lnTo>
                    <a:lnTo>
                      <a:pt x="52" y="319"/>
                    </a:lnTo>
                    <a:lnTo>
                      <a:pt x="52" y="313"/>
                    </a:lnTo>
                    <a:lnTo>
                      <a:pt x="52" y="294"/>
                    </a:lnTo>
                    <a:lnTo>
                      <a:pt x="52" y="287"/>
                    </a:lnTo>
                    <a:lnTo>
                      <a:pt x="52" y="273"/>
                    </a:lnTo>
                    <a:lnTo>
                      <a:pt x="52" y="230"/>
                    </a:lnTo>
                    <a:lnTo>
                      <a:pt x="52" y="223"/>
                    </a:lnTo>
                    <a:lnTo>
                      <a:pt x="52" y="197"/>
                    </a:lnTo>
                    <a:lnTo>
                      <a:pt x="53" y="188"/>
                    </a:lnTo>
                    <a:lnTo>
                      <a:pt x="47" y="188"/>
                    </a:lnTo>
                    <a:lnTo>
                      <a:pt x="37" y="187"/>
                    </a:lnTo>
                    <a:lnTo>
                      <a:pt x="38" y="187"/>
                    </a:lnTo>
                    <a:lnTo>
                      <a:pt x="38" y="186"/>
                    </a:lnTo>
                    <a:lnTo>
                      <a:pt x="38" y="185"/>
                    </a:lnTo>
                    <a:lnTo>
                      <a:pt x="37" y="185"/>
                    </a:lnTo>
                    <a:lnTo>
                      <a:pt x="37" y="184"/>
                    </a:lnTo>
                    <a:lnTo>
                      <a:pt x="38" y="184"/>
                    </a:lnTo>
                    <a:lnTo>
                      <a:pt x="39" y="184"/>
                    </a:lnTo>
                    <a:lnTo>
                      <a:pt x="38" y="183"/>
                    </a:lnTo>
                    <a:lnTo>
                      <a:pt x="39" y="183"/>
                    </a:lnTo>
                    <a:lnTo>
                      <a:pt x="39" y="182"/>
                    </a:lnTo>
                    <a:lnTo>
                      <a:pt x="40" y="181"/>
                    </a:lnTo>
                    <a:lnTo>
                      <a:pt x="40" y="180"/>
                    </a:lnTo>
                    <a:lnTo>
                      <a:pt x="39" y="180"/>
                    </a:lnTo>
                    <a:lnTo>
                      <a:pt x="39" y="179"/>
                    </a:lnTo>
                    <a:lnTo>
                      <a:pt x="38" y="179"/>
                    </a:lnTo>
                    <a:lnTo>
                      <a:pt x="39" y="179"/>
                    </a:lnTo>
                    <a:lnTo>
                      <a:pt x="39" y="178"/>
                    </a:lnTo>
                    <a:lnTo>
                      <a:pt x="38" y="178"/>
                    </a:lnTo>
                    <a:lnTo>
                      <a:pt x="38" y="176"/>
                    </a:lnTo>
                    <a:lnTo>
                      <a:pt x="37" y="175"/>
                    </a:lnTo>
                    <a:lnTo>
                      <a:pt x="37" y="174"/>
                    </a:lnTo>
                    <a:lnTo>
                      <a:pt x="36" y="174"/>
                    </a:lnTo>
                    <a:lnTo>
                      <a:pt x="36" y="173"/>
                    </a:lnTo>
                    <a:lnTo>
                      <a:pt x="37" y="173"/>
                    </a:lnTo>
                    <a:lnTo>
                      <a:pt x="37" y="172"/>
                    </a:lnTo>
                    <a:lnTo>
                      <a:pt x="36" y="172"/>
                    </a:lnTo>
                    <a:lnTo>
                      <a:pt x="35" y="172"/>
                    </a:lnTo>
                    <a:lnTo>
                      <a:pt x="35" y="171"/>
                    </a:lnTo>
                    <a:lnTo>
                      <a:pt x="35" y="170"/>
                    </a:lnTo>
                    <a:lnTo>
                      <a:pt x="35" y="169"/>
                    </a:lnTo>
                    <a:lnTo>
                      <a:pt x="35" y="168"/>
                    </a:lnTo>
                    <a:lnTo>
                      <a:pt x="36" y="168"/>
                    </a:lnTo>
                    <a:lnTo>
                      <a:pt x="36" y="167"/>
                    </a:lnTo>
                    <a:lnTo>
                      <a:pt x="37" y="166"/>
                    </a:lnTo>
                    <a:lnTo>
                      <a:pt x="37" y="165"/>
                    </a:lnTo>
                    <a:lnTo>
                      <a:pt x="38" y="165"/>
                    </a:lnTo>
                    <a:lnTo>
                      <a:pt x="38" y="163"/>
                    </a:lnTo>
                    <a:lnTo>
                      <a:pt x="39" y="163"/>
                    </a:lnTo>
                    <a:lnTo>
                      <a:pt x="40" y="163"/>
                    </a:lnTo>
                    <a:lnTo>
                      <a:pt x="40" y="162"/>
                    </a:lnTo>
                    <a:lnTo>
                      <a:pt x="41" y="162"/>
                    </a:lnTo>
                    <a:lnTo>
                      <a:pt x="41" y="161"/>
                    </a:lnTo>
                    <a:lnTo>
                      <a:pt x="41" y="160"/>
                    </a:lnTo>
                    <a:lnTo>
                      <a:pt x="41" y="159"/>
                    </a:lnTo>
                    <a:lnTo>
                      <a:pt x="43" y="159"/>
                    </a:lnTo>
                    <a:lnTo>
                      <a:pt x="43" y="157"/>
                    </a:lnTo>
                    <a:lnTo>
                      <a:pt x="44" y="157"/>
                    </a:lnTo>
                    <a:lnTo>
                      <a:pt x="44" y="156"/>
                    </a:lnTo>
                    <a:lnTo>
                      <a:pt x="44" y="155"/>
                    </a:lnTo>
                    <a:lnTo>
                      <a:pt x="43" y="155"/>
                    </a:lnTo>
                    <a:lnTo>
                      <a:pt x="43" y="154"/>
                    </a:lnTo>
                    <a:lnTo>
                      <a:pt x="44" y="154"/>
                    </a:lnTo>
                    <a:lnTo>
                      <a:pt x="44" y="153"/>
                    </a:lnTo>
                    <a:lnTo>
                      <a:pt x="43" y="153"/>
                    </a:lnTo>
                    <a:lnTo>
                      <a:pt x="44" y="152"/>
                    </a:lnTo>
                    <a:lnTo>
                      <a:pt x="44" y="150"/>
                    </a:lnTo>
                    <a:lnTo>
                      <a:pt x="43" y="150"/>
                    </a:lnTo>
                    <a:lnTo>
                      <a:pt x="44" y="149"/>
                    </a:lnTo>
                    <a:lnTo>
                      <a:pt x="44" y="148"/>
                    </a:lnTo>
                    <a:lnTo>
                      <a:pt x="43" y="148"/>
                    </a:lnTo>
                    <a:lnTo>
                      <a:pt x="43" y="147"/>
                    </a:lnTo>
                    <a:lnTo>
                      <a:pt x="44" y="147"/>
                    </a:lnTo>
                    <a:lnTo>
                      <a:pt x="44" y="146"/>
                    </a:lnTo>
                    <a:lnTo>
                      <a:pt x="45" y="146"/>
                    </a:lnTo>
                    <a:lnTo>
                      <a:pt x="45" y="145"/>
                    </a:lnTo>
                    <a:lnTo>
                      <a:pt x="46" y="144"/>
                    </a:lnTo>
                    <a:lnTo>
                      <a:pt x="47" y="144"/>
                    </a:lnTo>
                    <a:lnTo>
                      <a:pt x="47" y="143"/>
                    </a:lnTo>
                    <a:lnTo>
                      <a:pt x="47" y="142"/>
                    </a:lnTo>
                    <a:lnTo>
                      <a:pt x="46" y="141"/>
                    </a:lnTo>
                    <a:lnTo>
                      <a:pt x="46" y="140"/>
                    </a:lnTo>
                    <a:lnTo>
                      <a:pt x="45" y="140"/>
                    </a:lnTo>
                    <a:lnTo>
                      <a:pt x="44" y="140"/>
                    </a:lnTo>
                    <a:lnTo>
                      <a:pt x="44" y="139"/>
                    </a:lnTo>
                    <a:lnTo>
                      <a:pt x="44" y="137"/>
                    </a:lnTo>
                    <a:lnTo>
                      <a:pt x="45" y="137"/>
                    </a:lnTo>
                    <a:lnTo>
                      <a:pt x="46" y="136"/>
                    </a:lnTo>
                    <a:lnTo>
                      <a:pt x="47" y="137"/>
                    </a:lnTo>
                    <a:lnTo>
                      <a:pt x="47" y="136"/>
                    </a:lnTo>
                    <a:lnTo>
                      <a:pt x="46" y="136"/>
                    </a:lnTo>
                    <a:lnTo>
                      <a:pt x="46" y="135"/>
                    </a:lnTo>
                    <a:lnTo>
                      <a:pt x="46" y="134"/>
                    </a:lnTo>
                    <a:lnTo>
                      <a:pt x="45" y="134"/>
                    </a:lnTo>
                    <a:lnTo>
                      <a:pt x="45" y="133"/>
                    </a:lnTo>
                    <a:lnTo>
                      <a:pt x="44" y="133"/>
                    </a:lnTo>
                    <a:lnTo>
                      <a:pt x="44" y="132"/>
                    </a:lnTo>
                    <a:lnTo>
                      <a:pt x="43" y="131"/>
                    </a:lnTo>
                    <a:lnTo>
                      <a:pt x="41" y="130"/>
                    </a:lnTo>
                    <a:lnTo>
                      <a:pt x="41" y="129"/>
                    </a:lnTo>
                    <a:lnTo>
                      <a:pt x="40" y="129"/>
                    </a:lnTo>
                    <a:lnTo>
                      <a:pt x="40" y="128"/>
                    </a:lnTo>
                    <a:lnTo>
                      <a:pt x="40" y="127"/>
                    </a:lnTo>
                    <a:lnTo>
                      <a:pt x="39" y="127"/>
                    </a:lnTo>
                    <a:lnTo>
                      <a:pt x="39" y="126"/>
                    </a:lnTo>
                    <a:lnTo>
                      <a:pt x="39" y="124"/>
                    </a:lnTo>
                    <a:lnTo>
                      <a:pt x="40" y="123"/>
                    </a:lnTo>
                    <a:lnTo>
                      <a:pt x="41" y="122"/>
                    </a:lnTo>
                    <a:lnTo>
                      <a:pt x="43" y="122"/>
                    </a:lnTo>
                    <a:lnTo>
                      <a:pt x="43" y="123"/>
                    </a:lnTo>
                    <a:lnTo>
                      <a:pt x="44" y="122"/>
                    </a:lnTo>
                    <a:lnTo>
                      <a:pt x="45" y="122"/>
                    </a:lnTo>
                    <a:lnTo>
                      <a:pt x="45" y="121"/>
                    </a:lnTo>
                    <a:lnTo>
                      <a:pt x="46" y="121"/>
                    </a:lnTo>
                    <a:lnTo>
                      <a:pt x="46" y="122"/>
                    </a:lnTo>
                    <a:lnTo>
                      <a:pt x="47" y="122"/>
                    </a:lnTo>
                    <a:lnTo>
                      <a:pt x="47" y="121"/>
                    </a:lnTo>
                    <a:lnTo>
                      <a:pt x="47" y="120"/>
                    </a:lnTo>
                    <a:lnTo>
                      <a:pt x="48" y="120"/>
                    </a:lnTo>
                    <a:lnTo>
                      <a:pt x="48" y="119"/>
                    </a:lnTo>
                    <a:lnTo>
                      <a:pt x="49" y="119"/>
                    </a:lnTo>
                    <a:lnTo>
                      <a:pt x="49" y="118"/>
                    </a:lnTo>
                    <a:lnTo>
                      <a:pt x="48" y="118"/>
                    </a:lnTo>
                    <a:lnTo>
                      <a:pt x="48" y="117"/>
                    </a:lnTo>
                    <a:lnTo>
                      <a:pt x="48" y="116"/>
                    </a:lnTo>
                    <a:lnTo>
                      <a:pt x="47" y="116"/>
                    </a:lnTo>
                    <a:lnTo>
                      <a:pt x="47" y="117"/>
                    </a:lnTo>
                    <a:lnTo>
                      <a:pt x="46" y="116"/>
                    </a:lnTo>
                    <a:lnTo>
                      <a:pt x="46" y="115"/>
                    </a:lnTo>
                    <a:lnTo>
                      <a:pt x="46" y="114"/>
                    </a:lnTo>
                    <a:lnTo>
                      <a:pt x="46" y="113"/>
                    </a:lnTo>
                    <a:lnTo>
                      <a:pt x="47" y="113"/>
                    </a:lnTo>
                    <a:lnTo>
                      <a:pt x="47" y="111"/>
                    </a:lnTo>
                    <a:lnTo>
                      <a:pt x="48" y="111"/>
                    </a:lnTo>
                    <a:lnTo>
                      <a:pt x="49" y="111"/>
                    </a:lnTo>
                    <a:lnTo>
                      <a:pt x="50" y="111"/>
                    </a:lnTo>
                    <a:lnTo>
                      <a:pt x="51" y="111"/>
                    </a:lnTo>
                    <a:lnTo>
                      <a:pt x="51" y="110"/>
                    </a:lnTo>
                    <a:lnTo>
                      <a:pt x="50" y="110"/>
                    </a:lnTo>
                    <a:lnTo>
                      <a:pt x="50" y="109"/>
                    </a:lnTo>
                    <a:lnTo>
                      <a:pt x="49" y="108"/>
                    </a:lnTo>
                    <a:lnTo>
                      <a:pt x="48" y="109"/>
                    </a:lnTo>
                    <a:lnTo>
                      <a:pt x="46" y="109"/>
                    </a:lnTo>
                    <a:lnTo>
                      <a:pt x="43" y="110"/>
                    </a:lnTo>
                    <a:lnTo>
                      <a:pt x="41" y="110"/>
                    </a:lnTo>
                    <a:lnTo>
                      <a:pt x="40" y="109"/>
                    </a:lnTo>
                    <a:lnTo>
                      <a:pt x="40" y="108"/>
                    </a:lnTo>
                    <a:lnTo>
                      <a:pt x="40" y="107"/>
                    </a:lnTo>
                    <a:lnTo>
                      <a:pt x="40" y="105"/>
                    </a:lnTo>
                    <a:lnTo>
                      <a:pt x="40" y="104"/>
                    </a:lnTo>
                    <a:lnTo>
                      <a:pt x="40" y="103"/>
                    </a:lnTo>
                    <a:lnTo>
                      <a:pt x="39" y="102"/>
                    </a:lnTo>
                    <a:lnTo>
                      <a:pt x="38" y="101"/>
                    </a:lnTo>
                    <a:lnTo>
                      <a:pt x="37" y="100"/>
                    </a:lnTo>
                    <a:lnTo>
                      <a:pt x="37" y="98"/>
                    </a:lnTo>
                    <a:lnTo>
                      <a:pt x="36" y="98"/>
                    </a:lnTo>
                    <a:lnTo>
                      <a:pt x="35" y="98"/>
                    </a:lnTo>
                    <a:lnTo>
                      <a:pt x="35" y="97"/>
                    </a:lnTo>
                    <a:lnTo>
                      <a:pt x="34" y="97"/>
                    </a:lnTo>
                    <a:lnTo>
                      <a:pt x="33" y="97"/>
                    </a:lnTo>
                    <a:lnTo>
                      <a:pt x="33" y="96"/>
                    </a:lnTo>
                    <a:lnTo>
                      <a:pt x="33" y="95"/>
                    </a:lnTo>
                    <a:lnTo>
                      <a:pt x="33" y="94"/>
                    </a:lnTo>
                    <a:lnTo>
                      <a:pt x="32" y="93"/>
                    </a:lnTo>
                    <a:lnTo>
                      <a:pt x="32" y="94"/>
                    </a:lnTo>
                    <a:lnTo>
                      <a:pt x="31" y="94"/>
                    </a:lnTo>
                    <a:lnTo>
                      <a:pt x="31" y="93"/>
                    </a:lnTo>
                    <a:lnTo>
                      <a:pt x="32" y="92"/>
                    </a:lnTo>
                    <a:lnTo>
                      <a:pt x="32" y="91"/>
                    </a:lnTo>
                    <a:lnTo>
                      <a:pt x="32" y="90"/>
                    </a:lnTo>
                    <a:lnTo>
                      <a:pt x="32" y="89"/>
                    </a:lnTo>
                    <a:lnTo>
                      <a:pt x="31" y="89"/>
                    </a:lnTo>
                    <a:lnTo>
                      <a:pt x="31" y="88"/>
                    </a:lnTo>
                    <a:lnTo>
                      <a:pt x="31" y="86"/>
                    </a:lnTo>
                    <a:lnTo>
                      <a:pt x="31" y="85"/>
                    </a:lnTo>
                    <a:lnTo>
                      <a:pt x="30" y="85"/>
                    </a:lnTo>
                    <a:lnTo>
                      <a:pt x="31" y="85"/>
                    </a:lnTo>
                    <a:lnTo>
                      <a:pt x="31" y="84"/>
                    </a:lnTo>
                    <a:lnTo>
                      <a:pt x="30" y="84"/>
                    </a:lnTo>
                    <a:lnTo>
                      <a:pt x="30" y="83"/>
                    </a:lnTo>
                    <a:lnTo>
                      <a:pt x="31" y="83"/>
                    </a:lnTo>
                    <a:lnTo>
                      <a:pt x="31" y="82"/>
                    </a:lnTo>
                    <a:lnTo>
                      <a:pt x="32" y="82"/>
                    </a:lnTo>
                    <a:lnTo>
                      <a:pt x="33" y="82"/>
                    </a:lnTo>
                    <a:lnTo>
                      <a:pt x="34" y="83"/>
                    </a:lnTo>
                    <a:lnTo>
                      <a:pt x="35" y="83"/>
                    </a:lnTo>
                    <a:lnTo>
                      <a:pt x="37" y="83"/>
                    </a:lnTo>
                    <a:lnTo>
                      <a:pt x="37" y="82"/>
                    </a:lnTo>
                    <a:lnTo>
                      <a:pt x="36" y="81"/>
                    </a:lnTo>
                    <a:lnTo>
                      <a:pt x="36" y="80"/>
                    </a:lnTo>
                    <a:lnTo>
                      <a:pt x="36" y="79"/>
                    </a:lnTo>
                    <a:lnTo>
                      <a:pt x="37" y="78"/>
                    </a:lnTo>
                    <a:lnTo>
                      <a:pt x="36" y="77"/>
                    </a:lnTo>
                    <a:lnTo>
                      <a:pt x="36" y="76"/>
                    </a:lnTo>
                    <a:lnTo>
                      <a:pt x="37" y="76"/>
                    </a:lnTo>
                    <a:lnTo>
                      <a:pt x="37" y="75"/>
                    </a:lnTo>
                    <a:lnTo>
                      <a:pt x="38" y="75"/>
                    </a:lnTo>
                    <a:lnTo>
                      <a:pt x="37" y="73"/>
                    </a:lnTo>
                    <a:lnTo>
                      <a:pt x="36" y="73"/>
                    </a:lnTo>
                    <a:lnTo>
                      <a:pt x="35" y="73"/>
                    </a:lnTo>
                    <a:lnTo>
                      <a:pt x="34" y="73"/>
                    </a:lnTo>
                    <a:lnTo>
                      <a:pt x="33" y="73"/>
                    </a:lnTo>
                    <a:lnTo>
                      <a:pt x="32" y="72"/>
                    </a:lnTo>
                    <a:lnTo>
                      <a:pt x="32" y="71"/>
                    </a:lnTo>
                    <a:lnTo>
                      <a:pt x="32" y="70"/>
                    </a:lnTo>
                    <a:lnTo>
                      <a:pt x="33" y="70"/>
                    </a:lnTo>
                    <a:lnTo>
                      <a:pt x="33" y="69"/>
                    </a:lnTo>
                    <a:lnTo>
                      <a:pt x="32" y="69"/>
                    </a:lnTo>
                    <a:lnTo>
                      <a:pt x="32" y="68"/>
                    </a:lnTo>
                    <a:lnTo>
                      <a:pt x="31" y="68"/>
                    </a:lnTo>
                    <a:lnTo>
                      <a:pt x="31" y="67"/>
                    </a:lnTo>
                    <a:lnTo>
                      <a:pt x="30" y="68"/>
                    </a:lnTo>
                    <a:lnTo>
                      <a:pt x="28" y="68"/>
                    </a:lnTo>
                    <a:lnTo>
                      <a:pt x="28" y="67"/>
                    </a:lnTo>
                    <a:lnTo>
                      <a:pt x="27" y="68"/>
                    </a:lnTo>
                    <a:lnTo>
                      <a:pt x="26" y="68"/>
                    </a:lnTo>
                    <a:lnTo>
                      <a:pt x="26" y="69"/>
                    </a:lnTo>
                    <a:lnTo>
                      <a:pt x="25" y="69"/>
                    </a:lnTo>
                    <a:lnTo>
                      <a:pt x="24" y="70"/>
                    </a:lnTo>
                    <a:lnTo>
                      <a:pt x="23" y="71"/>
                    </a:lnTo>
                    <a:lnTo>
                      <a:pt x="22" y="71"/>
                    </a:lnTo>
                    <a:lnTo>
                      <a:pt x="22" y="70"/>
                    </a:lnTo>
                    <a:lnTo>
                      <a:pt x="21" y="70"/>
                    </a:lnTo>
                    <a:lnTo>
                      <a:pt x="20" y="70"/>
                    </a:lnTo>
                    <a:lnTo>
                      <a:pt x="20" y="69"/>
                    </a:lnTo>
                    <a:lnTo>
                      <a:pt x="21" y="68"/>
                    </a:lnTo>
                    <a:lnTo>
                      <a:pt x="21" y="67"/>
                    </a:lnTo>
                    <a:lnTo>
                      <a:pt x="21" y="66"/>
                    </a:lnTo>
                    <a:lnTo>
                      <a:pt x="20" y="66"/>
                    </a:lnTo>
                    <a:lnTo>
                      <a:pt x="20" y="65"/>
                    </a:lnTo>
                    <a:lnTo>
                      <a:pt x="19" y="64"/>
                    </a:lnTo>
                    <a:lnTo>
                      <a:pt x="19" y="63"/>
                    </a:lnTo>
                    <a:lnTo>
                      <a:pt x="18" y="63"/>
                    </a:lnTo>
                    <a:lnTo>
                      <a:pt x="18" y="62"/>
                    </a:lnTo>
                    <a:lnTo>
                      <a:pt x="16" y="62"/>
                    </a:lnTo>
                    <a:lnTo>
                      <a:pt x="15" y="62"/>
                    </a:lnTo>
                    <a:lnTo>
                      <a:pt x="15" y="60"/>
                    </a:lnTo>
                    <a:lnTo>
                      <a:pt x="14" y="60"/>
                    </a:lnTo>
                    <a:lnTo>
                      <a:pt x="13" y="60"/>
                    </a:lnTo>
                    <a:lnTo>
                      <a:pt x="14" y="60"/>
                    </a:lnTo>
                    <a:lnTo>
                      <a:pt x="14" y="59"/>
                    </a:lnTo>
                    <a:lnTo>
                      <a:pt x="13" y="59"/>
                    </a:lnTo>
                    <a:lnTo>
                      <a:pt x="13" y="58"/>
                    </a:lnTo>
                    <a:lnTo>
                      <a:pt x="12" y="58"/>
                    </a:lnTo>
                    <a:lnTo>
                      <a:pt x="11" y="58"/>
                    </a:lnTo>
                    <a:lnTo>
                      <a:pt x="11" y="57"/>
                    </a:lnTo>
                    <a:lnTo>
                      <a:pt x="12" y="56"/>
                    </a:lnTo>
                    <a:lnTo>
                      <a:pt x="12" y="55"/>
                    </a:lnTo>
                    <a:lnTo>
                      <a:pt x="12" y="54"/>
                    </a:lnTo>
                    <a:lnTo>
                      <a:pt x="11" y="54"/>
                    </a:lnTo>
                    <a:lnTo>
                      <a:pt x="11" y="53"/>
                    </a:lnTo>
                    <a:lnTo>
                      <a:pt x="11" y="52"/>
                    </a:lnTo>
                    <a:lnTo>
                      <a:pt x="11" y="51"/>
                    </a:lnTo>
                    <a:lnTo>
                      <a:pt x="11" y="50"/>
                    </a:lnTo>
                    <a:lnTo>
                      <a:pt x="10" y="50"/>
                    </a:lnTo>
                    <a:lnTo>
                      <a:pt x="9" y="50"/>
                    </a:lnTo>
                    <a:lnTo>
                      <a:pt x="9" y="49"/>
                    </a:lnTo>
                    <a:lnTo>
                      <a:pt x="9" y="47"/>
                    </a:lnTo>
                    <a:lnTo>
                      <a:pt x="8" y="47"/>
                    </a:lnTo>
                    <a:lnTo>
                      <a:pt x="8" y="49"/>
                    </a:lnTo>
                    <a:lnTo>
                      <a:pt x="7" y="49"/>
                    </a:lnTo>
                    <a:lnTo>
                      <a:pt x="7" y="47"/>
                    </a:lnTo>
                    <a:lnTo>
                      <a:pt x="7" y="46"/>
                    </a:lnTo>
                    <a:lnTo>
                      <a:pt x="7" y="45"/>
                    </a:lnTo>
                    <a:lnTo>
                      <a:pt x="7" y="44"/>
                    </a:lnTo>
                    <a:lnTo>
                      <a:pt x="7" y="42"/>
                    </a:lnTo>
                    <a:lnTo>
                      <a:pt x="7" y="40"/>
                    </a:lnTo>
                    <a:lnTo>
                      <a:pt x="7" y="39"/>
                    </a:lnTo>
                    <a:lnTo>
                      <a:pt x="6" y="40"/>
                    </a:lnTo>
                    <a:lnTo>
                      <a:pt x="5" y="40"/>
                    </a:lnTo>
                    <a:lnTo>
                      <a:pt x="5" y="39"/>
                    </a:lnTo>
                    <a:lnTo>
                      <a:pt x="5" y="38"/>
                    </a:lnTo>
                    <a:lnTo>
                      <a:pt x="3" y="38"/>
                    </a:lnTo>
                    <a:lnTo>
                      <a:pt x="2" y="38"/>
                    </a:lnTo>
                    <a:lnTo>
                      <a:pt x="1" y="38"/>
                    </a:lnTo>
                    <a:lnTo>
                      <a:pt x="0" y="38"/>
                    </a:lnTo>
                    <a:lnTo>
                      <a:pt x="0" y="37"/>
                    </a:lnTo>
                    <a:lnTo>
                      <a:pt x="1" y="36"/>
                    </a:lnTo>
                    <a:lnTo>
                      <a:pt x="1" y="34"/>
                    </a:lnTo>
                    <a:lnTo>
                      <a:pt x="2" y="34"/>
                    </a:lnTo>
                    <a:lnTo>
                      <a:pt x="2" y="33"/>
                    </a:lnTo>
                    <a:lnTo>
                      <a:pt x="2" y="32"/>
                    </a:lnTo>
                    <a:lnTo>
                      <a:pt x="3" y="31"/>
                    </a:lnTo>
                    <a:lnTo>
                      <a:pt x="3" y="30"/>
                    </a:lnTo>
                    <a:lnTo>
                      <a:pt x="2" y="30"/>
                    </a:lnTo>
                    <a:lnTo>
                      <a:pt x="2" y="31"/>
                    </a:lnTo>
                    <a:lnTo>
                      <a:pt x="2" y="30"/>
                    </a:lnTo>
                    <a:lnTo>
                      <a:pt x="1" y="30"/>
                    </a:lnTo>
                    <a:lnTo>
                      <a:pt x="1" y="31"/>
                    </a:lnTo>
                    <a:lnTo>
                      <a:pt x="1" y="32"/>
                    </a:lnTo>
                    <a:lnTo>
                      <a:pt x="0" y="32"/>
                    </a:lnTo>
                    <a:lnTo>
                      <a:pt x="0" y="31"/>
                    </a:lnTo>
                    <a:lnTo>
                      <a:pt x="1" y="31"/>
                    </a:lnTo>
                    <a:lnTo>
                      <a:pt x="1" y="30"/>
                    </a:lnTo>
                    <a:lnTo>
                      <a:pt x="0" y="30"/>
                    </a:lnTo>
                    <a:lnTo>
                      <a:pt x="0" y="29"/>
                    </a:lnTo>
                    <a:lnTo>
                      <a:pt x="0" y="28"/>
                    </a:lnTo>
                    <a:lnTo>
                      <a:pt x="0" y="27"/>
                    </a:lnTo>
                    <a:lnTo>
                      <a:pt x="0" y="26"/>
                    </a:lnTo>
                    <a:lnTo>
                      <a:pt x="1" y="26"/>
                    </a:lnTo>
                    <a:lnTo>
                      <a:pt x="1" y="25"/>
                    </a:lnTo>
                    <a:lnTo>
                      <a:pt x="2" y="25"/>
                    </a:lnTo>
                    <a:lnTo>
                      <a:pt x="3" y="25"/>
                    </a:lnTo>
                    <a:lnTo>
                      <a:pt x="3" y="24"/>
                    </a:lnTo>
                    <a:lnTo>
                      <a:pt x="3" y="23"/>
                    </a:lnTo>
                    <a:lnTo>
                      <a:pt x="3" y="21"/>
                    </a:lnTo>
                    <a:lnTo>
                      <a:pt x="3" y="20"/>
                    </a:lnTo>
                    <a:lnTo>
                      <a:pt x="5" y="19"/>
                    </a:lnTo>
                    <a:lnTo>
                      <a:pt x="3" y="19"/>
                    </a:lnTo>
                    <a:lnTo>
                      <a:pt x="3" y="18"/>
                    </a:lnTo>
                    <a:lnTo>
                      <a:pt x="5" y="18"/>
                    </a:lnTo>
                    <a:lnTo>
                      <a:pt x="5" y="19"/>
                    </a:lnTo>
                    <a:lnTo>
                      <a:pt x="6" y="18"/>
                    </a:lnTo>
                    <a:lnTo>
                      <a:pt x="6" y="17"/>
                    </a:lnTo>
                    <a:lnTo>
                      <a:pt x="7" y="16"/>
                    </a:lnTo>
                    <a:lnTo>
                      <a:pt x="7" y="15"/>
                    </a:lnTo>
                    <a:lnTo>
                      <a:pt x="6" y="15"/>
                    </a:lnTo>
                    <a:lnTo>
                      <a:pt x="6" y="14"/>
                    </a:lnTo>
                    <a:lnTo>
                      <a:pt x="7" y="14"/>
                    </a:lnTo>
                    <a:lnTo>
                      <a:pt x="8" y="13"/>
                    </a:lnTo>
                    <a:lnTo>
                      <a:pt x="9" y="13"/>
                    </a:lnTo>
                    <a:lnTo>
                      <a:pt x="9" y="12"/>
                    </a:lnTo>
                    <a:lnTo>
                      <a:pt x="9" y="11"/>
                    </a:lnTo>
                    <a:lnTo>
                      <a:pt x="9" y="8"/>
                    </a:lnTo>
                    <a:lnTo>
                      <a:pt x="9" y="7"/>
                    </a:lnTo>
                    <a:lnTo>
                      <a:pt x="9" y="6"/>
                    </a:lnTo>
                    <a:lnTo>
                      <a:pt x="10" y="6"/>
                    </a:lnTo>
                    <a:lnTo>
                      <a:pt x="10" y="5"/>
                    </a:lnTo>
                    <a:lnTo>
                      <a:pt x="10" y="4"/>
                    </a:lnTo>
                    <a:lnTo>
                      <a:pt x="9" y="4"/>
                    </a:lnTo>
                    <a:lnTo>
                      <a:pt x="9" y="3"/>
                    </a:lnTo>
                    <a:lnTo>
                      <a:pt x="8" y="3"/>
                    </a:lnTo>
                    <a:lnTo>
                      <a:pt x="8" y="2"/>
                    </a:lnTo>
                    <a:lnTo>
                      <a:pt x="7" y="2"/>
                    </a:lnTo>
                    <a:lnTo>
                      <a:pt x="7" y="1"/>
                    </a:lnTo>
                    <a:lnTo>
                      <a:pt x="6" y="1"/>
                    </a:lnTo>
                    <a:lnTo>
                      <a:pt x="7" y="0"/>
                    </a:lnTo>
                    <a:close/>
                  </a:path>
                </a:pathLst>
              </a:custGeom>
              <a:solidFill>
                <a:srgbClr val="287EE3"/>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2" name="Freeform 62">
                <a:extLst>
                  <a:ext uri="{FF2B5EF4-FFF2-40B4-BE49-F238E27FC236}">
                    <a16:creationId xmlns:a16="http://schemas.microsoft.com/office/drawing/2014/main" id="{6EA4A5AD-CB4B-C59B-3A87-88197B84F922}"/>
                  </a:ext>
                </a:extLst>
              </p:cNvPr>
              <p:cNvSpPr>
                <a:spLocks/>
              </p:cNvSpPr>
              <p:nvPr/>
            </p:nvSpPr>
            <p:spPr bwMode="auto">
              <a:xfrm>
                <a:off x="1927226" y="1130300"/>
                <a:ext cx="498475" cy="500063"/>
              </a:xfrm>
              <a:custGeom>
                <a:avLst/>
                <a:gdLst>
                  <a:gd name="T0" fmla="*/ 204 w 314"/>
                  <a:gd name="T1" fmla="*/ 1 h 315"/>
                  <a:gd name="T2" fmla="*/ 228 w 314"/>
                  <a:gd name="T3" fmla="*/ 1 h 315"/>
                  <a:gd name="T4" fmla="*/ 249 w 314"/>
                  <a:gd name="T5" fmla="*/ 1 h 315"/>
                  <a:gd name="T6" fmla="*/ 288 w 314"/>
                  <a:gd name="T7" fmla="*/ 2 h 315"/>
                  <a:gd name="T8" fmla="*/ 314 w 314"/>
                  <a:gd name="T9" fmla="*/ 5 h 315"/>
                  <a:gd name="T10" fmla="*/ 314 w 314"/>
                  <a:gd name="T11" fmla="*/ 43 h 315"/>
                  <a:gd name="T12" fmla="*/ 314 w 314"/>
                  <a:gd name="T13" fmla="*/ 104 h 315"/>
                  <a:gd name="T14" fmla="*/ 314 w 314"/>
                  <a:gd name="T15" fmla="*/ 128 h 315"/>
                  <a:gd name="T16" fmla="*/ 314 w 314"/>
                  <a:gd name="T17" fmla="*/ 160 h 315"/>
                  <a:gd name="T18" fmla="*/ 262 w 314"/>
                  <a:gd name="T19" fmla="*/ 189 h 315"/>
                  <a:gd name="T20" fmla="*/ 252 w 314"/>
                  <a:gd name="T21" fmla="*/ 222 h 315"/>
                  <a:gd name="T22" fmla="*/ 247 w 314"/>
                  <a:gd name="T23" fmla="*/ 224 h 315"/>
                  <a:gd name="T24" fmla="*/ 242 w 314"/>
                  <a:gd name="T25" fmla="*/ 228 h 315"/>
                  <a:gd name="T26" fmla="*/ 241 w 314"/>
                  <a:gd name="T27" fmla="*/ 231 h 315"/>
                  <a:gd name="T28" fmla="*/ 237 w 314"/>
                  <a:gd name="T29" fmla="*/ 233 h 315"/>
                  <a:gd name="T30" fmla="*/ 236 w 314"/>
                  <a:gd name="T31" fmla="*/ 238 h 315"/>
                  <a:gd name="T32" fmla="*/ 231 w 314"/>
                  <a:gd name="T33" fmla="*/ 239 h 315"/>
                  <a:gd name="T34" fmla="*/ 230 w 314"/>
                  <a:gd name="T35" fmla="*/ 243 h 315"/>
                  <a:gd name="T36" fmla="*/ 229 w 314"/>
                  <a:gd name="T37" fmla="*/ 248 h 315"/>
                  <a:gd name="T38" fmla="*/ 227 w 314"/>
                  <a:gd name="T39" fmla="*/ 254 h 315"/>
                  <a:gd name="T40" fmla="*/ 229 w 314"/>
                  <a:gd name="T41" fmla="*/ 258 h 315"/>
                  <a:gd name="T42" fmla="*/ 228 w 314"/>
                  <a:gd name="T43" fmla="*/ 263 h 315"/>
                  <a:gd name="T44" fmla="*/ 229 w 314"/>
                  <a:gd name="T45" fmla="*/ 267 h 315"/>
                  <a:gd name="T46" fmla="*/ 230 w 314"/>
                  <a:gd name="T47" fmla="*/ 270 h 315"/>
                  <a:gd name="T48" fmla="*/ 231 w 314"/>
                  <a:gd name="T49" fmla="*/ 274 h 315"/>
                  <a:gd name="T50" fmla="*/ 231 w 314"/>
                  <a:gd name="T51" fmla="*/ 276 h 315"/>
                  <a:gd name="T52" fmla="*/ 231 w 314"/>
                  <a:gd name="T53" fmla="*/ 281 h 315"/>
                  <a:gd name="T54" fmla="*/ 230 w 314"/>
                  <a:gd name="T55" fmla="*/ 284 h 315"/>
                  <a:gd name="T56" fmla="*/ 230 w 314"/>
                  <a:gd name="T57" fmla="*/ 289 h 315"/>
                  <a:gd name="T58" fmla="*/ 229 w 314"/>
                  <a:gd name="T59" fmla="*/ 295 h 315"/>
                  <a:gd name="T60" fmla="*/ 226 w 314"/>
                  <a:gd name="T61" fmla="*/ 300 h 315"/>
                  <a:gd name="T62" fmla="*/ 222 w 314"/>
                  <a:gd name="T63" fmla="*/ 303 h 315"/>
                  <a:gd name="T64" fmla="*/ 219 w 314"/>
                  <a:gd name="T65" fmla="*/ 311 h 315"/>
                  <a:gd name="T66" fmla="*/ 209 w 314"/>
                  <a:gd name="T67" fmla="*/ 315 h 315"/>
                  <a:gd name="T68" fmla="*/ 144 w 314"/>
                  <a:gd name="T69" fmla="*/ 315 h 315"/>
                  <a:gd name="T70" fmla="*/ 55 w 314"/>
                  <a:gd name="T71" fmla="*/ 315 h 315"/>
                  <a:gd name="T72" fmla="*/ 35 w 314"/>
                  <a:gd name="T73" fmla="*/ 312 h 315"/>
                  <a:gd name="T74" fmla="*/ 36 w 314"/>
                  <a:gd name="T75" fmla="*/ 308 h 315"/>
                  <a:gd name="T76" fmla="*/ 37 w 314"/>
                  <a:gd name="T77" fmla="*/ 305 h 315"/>
                  <a:gd name="T78" fmla="*/ 37 w 314"/>
                  <a:gd name="T79" fmla="*/ 301 h 315"/>
                  <a:gd name="T80" fmla="*/ 37 w 314"/>
                  <a:gd name="T81" fmla="*/ 296 h 315"/>
                  <a:gd name="T82" fmla="*/ 37 w 314"/>
                  <a:gd name="T83" fmla="*/ 292 h 315"/>
                  <a:gd name="T84" fmla="*/ 38 w 314"/>
                  <a:gd name="T85" fmla="*/ 286 h 315"/>
                  <a:gd name="T86" fmla="*/ 38 w 314"/>
                  <a:gd name="T87" fmla="*/ 284 h 315"/>
                  <a:gd name="T88" fmla="*/ 40 w 314"/>
                  <a:gd name="T89" fmla="*/ 280 h 315"/>
                  <a:gd name="T90" fmla="*/ 37 w 314"/>
                  <a:gd name="T91" fmla="*/ 276 h 315"/>
                  <a:gd name="T92" fmla="*/ 38 w 314"/>
                  <a:gd name="T93" fmla="*/ 271 h 315"/>
                  <a:gd name="T94" fmla="*/ 37 w 314"/>
                  <a:gd name="T95" fmla="*/ 268 h 315"/>
                  <a:gd name="T96" fmla="*/ 36 w 314"/>
                  <a:gd name="T97" fmla="*/ 264 h 315"/>
                  <a:gd name="T98" fmla="*/ 38 w 314"/>
                  <a:gd name="T99" fmla="*/ 262 h 315"/>
                  <a:gd name="T100" fmla="*/ 38 w 314"/>
                  <a:gd name="T101" fmla="*/ 260 h 315"/>
                  <a:gd name="T102" fmla="*/ 37 w 314"/>
                  <a:gd name="T103" fmla="*/ 258 h 315"/>
                  <a:gd name="T104" fmla="*/ 36 w 314"/>
                  <a:gd name="T105" fmla="*/ 257 h 315"/>
                  <a:gd name="T106" fmla="*/ 35 w 314"/>
                  <a:gd name="T107" fmla="*/ 254 h 315"/>
                  <a:gd name="T108" fmla="*/ 37 w 314"/>
                  <a:gd name="T109" fmla="*/ 251 h 315"/>
                  <a:gd name="T110" fmla="*/ 15 w 314"/>
                  <a:gd name="T111" fmla="*/ 219 h 315"/>
                  <a:gd name="T112" fmla="*/ 0 w 314"/>
                  <a:gd name="T113" fmla="*/ 158 h 315"/>
                  <a:gd name="T114" fmla="*/ 0 w 314"/>
                  <a:gd name="T115" fmla="*/ 122 h 315"/>
                  <a:gd name="T116" fmla="*/ 0 w 314"/>
                  <a:gd name="T117" fmla="*/ 14 h 315"/>
                  <a:gd name="T118" fmla="*/ 28 w 314"/>
                  <a:gd name="T119" fmla="*/ 0 h 315"/>
                  <a:gd name="T120" fmla="*/ 69 w 314"/>
                  <a:gd name="T121" fmla="*/ 0 h 315"/>
                  <a:gd name="T122" fmla="*/ 101 w 314"/>
                  <a:gd name="T123" fmla="*/ 0 h 315"/>
                  <a:gd name="T124" fmla="*/ 142 w 314"/>
                  <a:gd name="T1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315">
                    <a:moveTo>
                      <a:pt x="153" y="0"/>
                    </a:moveTo>
                    <a:lnTo>
                      <a:pt x="175" y="0"/>
                    </a:lnTo>
                    <a:lnTo>
                      <a:pt x="179" y="1"/>
                    </a:lnTo>
                    <a:lnTo>
                      <a:pt x="193" y="1"/>
                    </a:lnTo>
                    <a:lnTo>
                      <a:pt x="200" y="1"/>
                    </a:lnTo>
                    <a:lnTo>
                      <a:pt x="204" y="1"/>
                    </a:lnTo>
                    <a:lnTo>
                      <a:pt x="207" y="1"/>
                    </a:lnTo>
                    <a:lnTo>
                      <a:pt x="209" y="1"/>
                    </a:lnTo>
                    <a:lnTo>
                      <a:pt x="211" y="1"/>
                    </a:lnTo>
                    <a:lnTo>
                      <a:pt x="218" y="1"/>
                    </a:lnTo>
                    <a:lnTo>
                      <a:pt x="220" y="1"/>
                    </a:lnTo>
                    <a:lnTo>
                      <a:pt x="228" y="1"/>
                    </a:lnTo>
                    <a:lnTo>
                      <a:pt x="234" y="1"/>
                    </a:lnTo>
                    <a:lnTo>
                      <a:pt x="235" y="1"/>
                    </a:lnTo>
                    <a:lnTo>
                      <a:pt x="239" y="1"/>
                    </a:lnTo>
                    <a:lnTo>
                      <a:pt x="242" y="1"/>
                    </a:lnTo>
                    <a:lnTo>
                      <a:pt x="244" y="1"/>
                    </a:lnTo>
                    <a:lnTo>
                      <a:pt x="249" y="1"/>
                    </a:lnTo>
                    <a:lnTo>
                      <a:pt x="254" y="1"/>
                    </a:lnTo>
                    <a:lnTo>
                      <a:pt x="256" y="2"/>
                    </a:lnTo>
                    <a:lnTo>
                      <a:pt x="262" y="2"/>
                    </a:lnTo>
                    <a:lnTo>
                      <a:pt x="265" y="2"/>
                    </a:lnTo>
                    <a:lnTo>
                      <a:pt x="271" y="2"/>
                    </a:lnTo>
                    <a:lnTo>
                      <a:pt x="288" y="2"/>
                    </a:lnTo>
                    <a:lnTo>
                      <a:pt x="304" y="2"/>
                    </a:lnTo>
                    <a:lnTo>
                      <a:pt x="306" y="2"/>
                    </a:lnTo>
                    <a:lnTo>
                      <a:pt x="314" y="2"/>
                    </a:lnTo>
                    <a:lnTo>
                      <a:pt x="314" y="3"/>
                    </a:lnTo>
                    <a:lnTo>
                      <a:pt x="314" y="4"/>
                    </a:lnTo>
                    <a:lnTo>
                      <a:pt x="314" y="5"/>
                    </a:lnTo>
                    <a:lnTo>
                      <a:pt x="314" y="6"/>
                    </a:lnTo>
                    <a:lnTo>
                      <a:pt x="314" y="7"/>
                    </a:lnTo>
                    <a:lnTo>
                      <a:pt x="314" y="9"/>
                    </a:lnTo>
                    <a:lnTo>
                      <a:pt x="314" y="13"/>
                    </a:lnTo>
                    <a:lnTo>
                      <a:pt x="314" y="28"/>
                    </a:lnTo>
                    <a:lnTo>
                      <a:pt x="314" y="43"/>
                    </a:lnTo>
                    <a:lnTo>
                      <a:pt x="314" y="57"/>
                    </a:lnTo>
                    <a:lnTo>
                      <a:pt x="314" y="68"/>
                    </a:lnTo>
                    <a:lnTo>
                      <a:pt x="314" y="69"/>
                    </a:lnTo>
                    <a:lnTo>
                      <a:pt x="314" y="74"/>
                    </a:lnTo>
                    <a:lnTo>
                      <a:pt x="314" y="87"/>
                    </a:lnTo>
                    <a:lnTo>
                      <a:pt x="314" y="104"/>
                    </a:lnTo>
                    <a:lnTo>
                      <a:pt x="314" y="106"/>
                    </a:lnTo>
                    <a:lnTo>
                      <a:pt x="314" y="108"/>
                    </a:lnTo>
                    <a:lnTo>
                      <a:pt x="314" y="112"/>
                    </a:lnTo>
                    <a:lnTo>
                      <a:pt x="314" y="116"/>
                    </a:lnTo>
                    <a:lnTo>
                      <a:pt x="314" y="117"/>
                    </a:lnTo>
                    <a:lnTo>
                      <a:pt x="314" y="128"/>
                    </a:lnTo>
                    <a:lnTo>
                      <a:pt x="314" y="145"/>
                    </a:lnTo>
                    <a:lnTo>
                      <a:pt x="309" y="145"/>
                    </a:lnTo>
                    <a:lnTo>
                      <a:pt x="309" y="155"/>
                    </a:lnTo>
                    <a:lnTo>
                      <a:pt x="309" y="156"/>
                    </a:lnTo>
                    <a:lnTo>
                      <a:pt x="314" y="156"/>
                    </a:lnTo>
                    <a:lnTo>
                      <a:pt x="314" y="160"/>
                    </a:lnTo>
                    <a:lnTo>
                      <a:pt x="314" y="189"/>
                    </a:lnTo>
                    <a:lnTo>
                      <a:pt x="304" y="189"/>
                    </a:lnTo>
                    <a:lnTo>
                      <a:pt x="299" y="187"/>
                    </a:lnTo>
                    <a:lnTo>
                      <a:pt x="282" y="189"/>
                    </a:lnTo>
                    <a:lnTo>
                      <a:pt x="264" y="189"/>
                    </a:lnTo>
                    <a:lnTo>
                      <a:pt x="262" y="189"/>
                    </a:lnTo>
                    <a:lnTo>
                      <a:pt x="252" y="189"/>
                    </a:lnTo>
                    <a:lnTo>
                      <a:pt x="252" y="195"/>
                    </a:lnTo>
                    <a:lnTo>
                      <a:pt x="252" y="208"/>
                    </a:lnTo>
                    <a:lnTo>
                      <a:pt x="252" y="220"/>
                    </a:lnTo>
                    <a:lnTo>
                      <a:pt x="252" y="223"/>
                    </a:lnTo>
                    <a:lnTo>
                      <a:pt x="252" y="222"/>
                    </a:lnTo>
                    <a:lnTo>
                      <a:pt x="250" y="222"/>
                    </a:lnTo>
                    <a:lnTo>
                      <a:pt x="249" y="221"/>
                    </a:lnTo>
                    <a:lnTo>
                      <a:pt x="249" y="222"/>
                    </a:lnTo>
                    <a:lnTo>
                      <a:pt x="248" y="223"/>
                    </a:lnTo>
                    <a:lnTo>
                      <a:pt x="248" y="224"/>
                    </a:lnTo>
                    <a:lnTo>
                      <a:pt x="247" y="224"/>
                    </a:lnTo>
                    <a:lnTo>
                      <a:pt x="246" y="224"/>
                    </a:lnTo>
                    <a:lnTo>
                      <a:pt x="245" y="224"/>
                    </a:lnTo>
                    <a:lnTo>
                      <a:pt x="244" y="224"/>
                    </a:lnTo>
                    <a:lnTo>
                      <a:pt x="244" y="225"/>
                    </a:lnTo>
                    <a:lnTo>
                      <a:pt x="243" y="228"/>
                    </a:lnTo>
                    <a:lnTo>
                      <a:pt x="242" y="228"/>
                    </a:lnTo>
                    <a:lnTo>
                      <a:pt x="241" y="228"/>
                    </a:lnTo>
                    <a:lnTo>
                      <a:pt x="241" y="229"/>
                    </a:lnTo>
                    <a:lnTo>
                      <a:pt x="242" y="229"/>
                    </a:lnTo>
                    <a:lnTo>
                      <a:pt x="242" y="230"/>
                    </a:lnTo>
                    <a:lnTo>
                      <a:pt x="241" y="230"/>
                    </a:lnTo>
                    <a:lnTo>
                      <a:pt x="241" y="231"/>
                    </a:lnTo>
                    <a:lnTo>
                      <a:pt x="241" y="232"/>
                    </a:lnTo>
                    <a:lnTo>
                      <a:pt x="240" y="231"/>
                    </a:lnTo>
                    <a:lnTo>
                      <a:pt x="240" y="232"/>
                    </a:lnTo>
                    <a:lnTo>
                      <a:pt x="240" y="233"/>
                    </a:lnTo>
                    <a:lnTo>
                      <a:pt x="239" y="233"/>
                    </a:lnTo>
                    <a:lnTo>
                      <a:pt x="237" y="233"/>
                    </a:lnTo>
                    <a:lnTo>
                      <a:pt x="237" y="234"/>
                    </a:lnTo>
                    <a:lnTo>
                      <a:pt x="236" y="235"/>
                    </a:lnTo>
                    <a:lnTo>
                      <a:pt x="237" y="235"/>
                    </a:lnTo>
                    <a:lnTo>
                      <a:pt x="237" y="236"/>
                    </a:lnTo>
                    <a:lnTo>
                      <a:pt x="236" y="237"/>
                    </a:lnTo>
                    <a:lnTo>
                      <a:pt x="236" y="238"/>
                    </a:lnTo>
                    <a:lnTo>
                      <a:pt x="235" y="238"/>
                    </a:lnTo>
                    <a:lnTo>
                      <a:pt x="234" y="238"/>
                    </a:lnTo>
                    <a:lnTo>
                      <a:pt x="233" y="237"/>
                    </a:lnTo>
                    <a:lnTo>
                      <a:pt x="233" y="238"/>
                    </a:lnTo>
                    <a:lnTo>
                      <a:pt x="233" y="239"/>
                    </a:lnTo>
                    <a:lnTo>
                      <a:pt x="231" y="239"/>
                    </a:lnTo>
                    <a:lnTo>
                      <a:pt x="230" y="239"/>
                    </a:lnTo>
                    <a:lnTo>
                      <a:pt x="230" y="241"/>
                    </a:lnTo>
                    <a:lnTo>
                      <a:pt x="229" y="241"/>
                    </a:lnTo>
                    <a:lnTo>
                      <a:pt x="230" y="241"/>
                    </a:lnTo>
                    <a:lnTo>
                      <a:pt x="230" y="242"/>
                    </a:lnTo>
                    <a:lnTo>
                      <a:pt x="230" y="243"/>
                    </a:lnTo>
                    <a:lnTo>
                      <a:pt x="230" y="244"/>
                    </a:lnTo>
                    <a:lnTo>
                      <a:pt x="230" y="245"/>
                    </a:lnTo>
                    <a:lnTo>
                      <a:pt x="229" y="246"/>
                    </a:lnTo>
                    <a:lnTo>
                      <a:pt x="229" y="247"/>
                    </a:lnTo>
                    <a:lnTo>
                      <a:pt x="228" y="248"/>
                    </a:lnTo>
                    <a:lnTo>
                      <a:pt x="229" y="248"/>
                    </a:lnTo>
                    <a:lnTo>
                      <a:pt x="228" y="249"/>
                    </a:lnTo>
                    <a:lnTo>
                      <a:pt x="228" y="250"/>
                    </a:lnTo>
                    <a:lnTo>
                      <a:pt x="228" y="251"/>
                    </a:lnTo>
                    <a:lnTo>
                      <a:pt x="228" y="252"/>
                    </a:lnTo>
                    <a:lnTo>
                      <a:pt x="228" y="254"/>
                    </a:lnTo>
                    <a:lnTo>
                      <a:pt x="227" y="254"/>
                    </a:lnTo>
                    <a:lnTo>
                      <a:pt x="228" y="254"/>
                    </a:lnTo>
                    <a:lnTo>
                      <a:pt x="228" y="255"/>
                    </a:lnTo>
                    <a:lnTo>
                      <a:pt x="229" y="255"/>
                    </a:lnTo>
                    <a:lnTo>
                      <a:pt x="229" y="256"/>
                    </a:lnTo>
                    <a:lnTo>
                      <a:pt x="229" y="257"/>
                    </a:lnTo>
                    <a:lnTo>
                      <a:pt x="229" y="258"/>
                    </a:lnTo>
                    <a:lnTo>
                      <a:pt x="229" y="259"/>
                    </a:lnTo>
                    <a:lnTo>
                      <a:pt x="229" y="260"/>
                    </a:lnTo>
                    <a:lnTo>
                      <a:pt x="229" y="261"/>
                    </a:lnTo>
                    <a:lnTo>
                      <a:pt x="229" y="262"/>
                    </a:lnTo>
                    <a:lnTo>
                      <a:pt x="228" y="262"/>
                    </a:lnTo>
                    <a:lnTo>
                      <a:pt x="228" y="263"/>
                    </a:lnTo>
                    <a:lnTo>
                      <a:pt x="229" y="263"/>
                    </a:lnTo>
                    <a:lnTo>
                      <a:pt x="229" y="264"/>
                    </a:lnTo>
                    <a:lnTo>
                      <a:pt x="229" y="266"/>
                    </a:lnTo>
                    <a:lnTo>
                      <a:pt x="228" y="266"/>
                    </a:lnTo>
                    <a:lnTo>
                      <a:pt x="228" y="267"/>
                    </a:lnTo>
                    <a:lnTo>
                      <a:pt x="229" y="267"/>
                    </a:lnTo>
                    <a:lnTo>
                      <a:pt x="229" y="266"/>
                    </a:lnTo>
                    <a:lnTo>
                      <a:pt x="229" y="267"/>
                    </a:lnTo>
                    <a:lnTo>
                      <a:pt x="230" y="267"/>
                    </a:lnTo>
                    <a:lnTo>
                      <a:pt x="230" y="268"/>
                    </a:lnTo>
                    <a:lnTo>
                      <a:pt x="230" y="269"/>
                    </a:lnTo>
                    <a:lnTo>
                      <a:pt x="230" y="270"/>
                    </a:lnTo>
                    <a:lnTo>
                      <a:pt x="230" y="271"/>
                    </a:lnTo>
                    <a:lnTo>
                      <a:pt x="231" y="272"/>
                    </a:lnTo>
                    <a:lnTo>
                      <a:pt x="230" y="272"/>
                    </a:lnTo>
                    <a:lnTo>
                      <a:pt x="231" y="272"/>
                    </a:lnTo>
                    <a:lnTo>
                      <a:pt x="231" y="273"/>
                    </a:lnTo>
                    <a:lnTo>
                      <a:pt x="231" y="274"/>
                    </a:lnTo>
                    <a:lnTo>
                      <a:pt x="232" y="274"/>
                    </a:lnTo>
                    <a:lnTo>
                      <a:pt x="231" y="274"/>
                    </a:lnTo>
                    <a:lnTo>
                      <a:pt x="231" y="275"/>
                    </a:lnTo>
                    <a:lnTo>
                      <a:pt x="232" y="275"/>
                    </a:lnTo>
                    <a:lnTo>
                      <a:pt x="232" y="276"/>
                    </a:lnTo>
                    <a:lnTo>
                      <a:pt x="231" y="276"/>
                    </a:lnTo>
                    <a:lnTo>
                      <a:pt x="232" y="276"/>
                    </a:lnTo>
                    <a:lnTo>
                      <a:pt x="232" y="277"/>
                    </a:lnTo>
                    <a:lnTo>
                      <a:pt x="231" y="277"/>
                    </a:lnTo>
                    <a:lnTo>
                      <a:pt x="231" y="279"/>
                    </a:lnTo>
                    <a:lnTo>
                      <a:pt x="231" y="280"/>
                    </a:lnTo>
                    <a:lnTo>
                      <a:pt x="231" y="281"/>
                    </a:lnTo>
                    <a:lnTo>
                      <a:pt x="232" y="281"/>
                    </a:lnTo>
                    <a:lnTo>
                      <a:pt x="232" y="282"/>
                    </a:lnTo>
                    <a:lnTo>
                      <a:pt x="231" y="282"/>
                    </a:lnTo>
                    <a:lnTo>
                      <a:pt x="231" y="283"/>
                    </a:lnTo>
                    <a:lnTo>
                      <a:pt x="231" y="284"/>
                    </a:lnTo>
                    <a:lnTo>
                      <a:pt x="230" y="284"/>
                    </a:lnTo>
                    <a:lnTo>
                      <a:pt x="230" y="285"/>
                    </a:lnTo>
                    <a:lnTo>
                      <a:pt x="231" y="286"/>
                    </a:lnTo>
                    <a:lnTo>
                      <a:pt x="230" y="286"/>
                    </a:lnTo>
                    <a:lnTo>
                      <a:pt x="230" y="287"/>
                    </a:lnTo>
                    <a:lnTo>
                      <a:pt x="230" y="288"/>
                    </a:lnTo>
                    <a:lnTo>
                      <a:pt x="230" y="289"/>
                    </a:lnTo>
                    <a:lnTo>
                      <a:pt x="230" y="290"/>
                    </a:lnTo>
                    <a:lnTo>
                      <a:pt x="230" y="292"/>
                    </a:lnTo>
                    <a:lnTo>
                      <a:pt x="229" y="292"/>
                    </a:lnTo>
                    <a:lnTo>
                      <a:pt x="229" y="293"/>
                    </a:lnTo>
                    <a:lnTo>
                      <a:pt x="229" y="294"/>
                    </a:lnTo>
                    <a:lnTo>
                      <a:pt x="229" y="295"/>
                    </a:lnTo>
                    <a:lnTo>
                      <a:pt x="229" y="296"/>
                    </a:lnTo>
                    <a:lnTo>
                      <a:pt x="228" y="297"/>
                    </a:lnTo>
                    <a:lnTo>
                      <a:pt x="228" y="298"/>
                    </a:lnTo>
                    <a:lnTo>
                      <a:pt x="228" y="299"/>
                    </a:lnTo>
                    <a:lnTo>
                      <a:pt x="227" y="299"/>
                    </a:lnTo>
                    <a:lnTo>
                      <a:pt x="226" y="300"/>
                    </a:lnTo>
                    <a:lnTo>
                      <a:pt x="226" y="301"/>
                    </a:lnTo>
                    <a:lnTo>
                      <a:pt x="224" y="301"/>
                    </a:lnTo>
                    <a:lnTo>
                      <a:pt x="224" y="302"/>
                    </a:lnTo>
                    <a:lnTo>
                      <a:pt x="223" y="302"/>
                    </a:lnTo>
                    <a:lnTo>
                      <a:pt x="222" y="302"/>
                    </a:lnTo>
                    <a:lnTo>
                      <a:pt x="222" y="303"/>
                    </a:lnTo>
                    <a:lnTo>
                      <a:pt x="221" y="303"/>
                    </a:lnTo>
                    <a:lnTo>
                      <a:pt x="220" y="303"/>
                    </a:lnTo>
                    <a:lnTo>
                      <a:pt x="219" y="305"/>
                    </a:lnTo>
                    <a:lnTo>
                      <a:pt x="219" y="308"/>
                    </a:lnTo>
                    <a:lnTo>
                      <a:pt x="219" y="310"/>
                    </a:lnTo>
                    <a:lnTo>
                      <a:pt x="219" y="311"/>
                    </a:lnTo>
                    <a:lnTo>
                      <a:pt x="219" y="312"/>
                    </a:lnTo>
                    <a:lnTo>
                      <a:pt x="219" y="313"/>
                    </a:lnTo>
                    <a:lnTo>
                      <a:pt x="219" y="315"/>
                    </a:lnTo>
                    <a:lnTo>
                      <a:pt x="215" y="315"/>
                    </a:lnTo>
                    <a:lnTo>
                      <a:pt x="210" y="315"/>
                    </a:lnTo>
                    <a:lnTo>
                      <a:pt x="209" y="315"/>
                    </a:lnTo>
                    <a:lnTo>
                      <a:pt x="195" y="315"/>
                    </a:lnTo>
                    <a:lnTo>
                      <a:pt x="179" y="315"/>
                    </a:lnTo>
                    <a:lnTo>
                      <a:pt x="168" y="315"/>
                    </a:lnTo>
                    <a:lnTo>
                      <a:pt x="162" y="315"/>
                    </a:lnTo>
                    <a:lnTo>
                      <a:pt x="146" y="315"/>
                    </a:lnTo>
                    <a:lnTo>
                      <a:pt x="144" y="315"/>
                    </a:lnTo>
                    <a:lnTo>
                      <a:pt x="112" y="315"/>
                    </a:lnTo>
                    <a:lnTo>
                      <a:pt x="78" y="315"/>
                    </a:lnTo>
                    <a:lnTo>
                      <a:pt x="76" y="315"/>
                    </a:lnTo>
                    <a:lnTo>
                      <a:pt x="75" y="315"/>
                    </a:lnTo>
                    <a:lnTo>
                      <a:pt x="71" y="315"/>
                    </a:lnTo>
                    <a:lnTo>
                      <a:pt x="55" y="315"/>
                    </a:lnTo>
                    <a:lnTo>
                      <a:pt x="53" y="315"/>
                    </a:lnTo>
                    <a:lnTo>
                      <a:pt x="37" y="315"/>
                    </a:lnTo>
                    <a:lnTo>
                      <a:pt x="36" y="314"/>
                    </a:lnTo>
                    <a:lnTo>
                      <a:pt x="35" y="314"/>
                    </a:lnTo>
                    <a:lnTo>
                      <a:pt x="35" y="313"/>
                    </a:lnTo>
                    <a:lnTo>
                      <a:pt x="35" y="312"/>
                    </a:lnTo>
                    <a:lnTo>
                      <a:pt x="36" y="312"/>
                    </a:lnTo>
                    <a:lnTo>
                      <a:pt x="36" y="311"/>
                    </a:lnTo>
                    <a:lnTo>
                      <a:pt x="35" y="311"/>
                    </a:lnTo>
                    <a:lnTo>
                      <a:pt x="35" y="310"/>
                    </a:lnTo>
                    <a:lnTo>
                      <a:pt x="35" y="309"/>
                    </a:lnTo>
                    <a:lnTo>
                      <a:pt x="36" y="308"/>
                    </a:lnTo>
                    <a:lnTo>
                      <a:pt x="36" y="307"/>
                    </a:lnTo>
                    <a:lnTo>
                      <a:pt x="35" y="307"/>
                    </a:lnTo>
                    <a:lnTo>
                      <a:pt x="35" y="306"/>
                    </a:lnTo>
                    <a:lnTo>
                      <a:pt x="35" y="305"/>
                    </a:lnTo>
                    <a:lnTo>
                      <a:pt x="36" y="305"/>
                    </a:lnTo>
                    <a:lnTo>
                      <a:pt x="37" y="305"/>
                    </a:lnTo>
                    <a:lnTo>
                      <a:pt x="38" y="303"/>
                    </a:lnTo>
                    <a:lnTo>
                      <a:pt x="38" y="302"/>
                    </a:lnTo>
                    <a:lnTo>
                      <a:pt x="37" y="302"/>
                    </a:lnTo>
                    <a:lnTo>
                      <a:pt x="38" y="302"/>
                    </a:lnTo>
                    <a:lnTo>
                      <a:pt x="38" y="301"/>
                    </a:lnTo>
                    <a:lnTo>
                      <a:pt x="37" y="301"/>
                    </a:lnTo>
                    <a:lnTo>
                      <a:pt x="38" y="301"/>
                    </a:lnTo>
                    <a:lnTo>
                      <a:pt x="37" y="300"/>
                    </a:lnTo>
                    <a:lnTo>
                      <a:pt x="37" y="299"/>
                    </a:lnTo>
                    <a:lnTo>
                      <a:pt x="37" y="298"/>
                    </a:lnTo>
                    <a:lnTo>
                      <a:pt x="37" y="297"/>
                    </a:lnTo>
                    <a:lnTo>
                      <a:pt x="37" y="296"/>
                    </a:lnTo>
                    <a:lnTo>
                      <a:pt x="38" y="296"/>
                    </a:lnTo>
                    <a:lnTo>
                      <a:pt x="38" y="295"/>
                    </a:lnTo>
                    <a:lnTo>
                      <a:pt x="38" y="294"/>
                    </a:lnTo>
                    <a:lnTo>
                      <a:pt x="37" y="294"/>
                    </a:lnTo>
                    <a:lnTo>
                      <a:pt x="37" y="293"/>
                    </a:lnTo>
                    <a:lnTo>
                      <a:pt x="37" y="292"/>
                    </a:lnTo>
                    <a:lnTo>
                      <a:pt x="37" y="290"/>
                    </a:lnTo>
                    <a:lnTo>
                      <a:pt x="37" y="289"/>
                    </a:lnTo>
                    <a:lnTo>
                      <a:pt x="37" y="288"/>
                    </a:lnTo>
                    <a:lnTo>
                      <a:pt x="37" y="287"/>
                    </a:lnTo>
                    <a:lnTo>
                      <a:pt x="37" y="286"/>
                    </a:lnTo>
                    <a:lnTo>
                      <a:pt x="38" y="286"/>
                    </a:lnTo>
                    <a:lnTo>
                      <a:pt x="38" y="285"/>
                    </a:lnTo>
                    <a:lnTo>
                      <a:pt x="37" y="285"/>
                    </a:lnTo>
                    <a:lnTo>
                      <a:pt x="38" y="285"/>
                    </a:lnTo>
                    <a:lnTo>
                      <a:pt x="38" y="284"/>
                    </a:lnTo>
                    <a:lnTo>
                      <a:pt x="39" y="284"/>
                    </a:lnTo>
                    <a:lnTo>
                      <a:pt x="38" y="284"/>
                    </a:lnTo>
                    <a:lnTo>
                      <a:pt x="39" y="284"/>
                    </a:lnTo>
                    <a:lnTo>
                      <a:pt x="39" y="283"/>
                    </a:lnTo>
                    <a:lnTo>
                      <a:pt x="39" y="282"/>
                    </a:lnTo>
                    <a:lnTo>
                      <a:pt x="39" y="281"/>
                    </a:lnTo>
                    <a:lnTo>
                      <a:pt x="40" y="281"/>
                    </a:lnTo>
                    <a:lnTo>
                      <a:pt x="40" y="280"/>
                    </a:lnTo>
                    <a:lnTo>
                      <a:pt x="39" y="280"/>
                    </a:lnTo>
                    <a:lnTo>
                      <a:pt x="39" y="279"/>
                    </a:lnTo>
                    <a:lnTo>
                      <a:pt x="38" y="279"/>
                    </a:lnTo>
                    <a:lnTo>
                      <a:pt x="38" y="277"/>
                    </a:lnTo>
                    <a:lnTo>
                      <a:pt x="38" y="276"/>
                    </a:lnTo>
                    <a:lnTo>
                      <a:pt x="37" y="276"/>
                    </a:lnTo>
                    <a:lnTo>
                      <a:pt x="38" y="276"/>
                    </a:lnTo>
                    <a:lnTo>
                      <a:pt x="38" y="275"/>
                    </a:lnTo>
                    <a:lnTo>
                      <a:pt x="38" y="274"/>
                    </a:lnTo>
                    <a:lnTo>
                      <a:pt x="38" y="273"/>
                    </a:lnTo>
                    <a:lnTo>
                      <a:pt x="38" y="272"/>
                    </a:lnTo>
                    <a:lnTo>
                      <a:pt x="38" y="271"/>
                    </a:lnTo>
                    <a:lnTo>
                      <a:pt x="38" y="270"/>
                    </a:lnTo>
                    <a:lnTo>
                      <a:pt x="39" y="270"/>
                    </a:lnTo>
                    <a:lnTo>
                      <a:pt x="38" y="270"/>
                    </a:lnTo>
                    <a:lnTo>
                      <a:pt x="38" y="269"/>
                    </a:lnTo>
                    <a:lnTo>
                      <a:pt x="37" y="269"/>
                    </a:lnTo>
                    <a:lnTo>
                      <a:pt x="37" y="268"/>
                    </a:lnTo>
                    <a:lnTo>
                      <a:pt x="36" y="268"/>
                    </a:lnTo>
                    <a:lnTo>
                      <a:pt x="36" y="267"/>
                    </a:lnTo>
                    <a:lnTo>
                      <a:pt x="36" y="266"/>
                    </a:lnTo>
                    <a:lnTo>
                      <a:pt x="36" y="264"/>
                    </a:lnTo>
                    <a:lnTo>
                      <a:pt x="35" y="264"/>
                    </a:lnTo>
                    <a:lnTo>
                      <a:pt x="36" y="264"/>
                    </a:lnTo>
                    <a:lnTo>
                      <a:pt x="37" y="264"/>
                    </a:lnTo>
                    <a:lnTo>
                      <a:pt x="37" y="263"/>
                    </a:lnTo>
                    <a:lnTo>
                      <a:pt x="37" y="262"/>
                    </a:lnTo>
                    <a:lnTo>
                      <a:pt x="38" y="262"/>
                    </a:lnTo>
                    <a:lnTo>
                      <a:pt x="38" y="263"/>
                    </a:lnTo>
                    <a:lnTo>
                      <a:pt x="38" y="262"/>
                    </a:lnTo>
                    <a:lnTo>
                      <a:pt x="39" y="262"/>
                    </a:lnTo>
                    <a:lnTo>
                      <a:pt x="38" y="262"/>
                    </a:lnTo>
                    <a:lnTo>
                      <a:pt x="38" y="261"/>
                    </a:lnTo>
                    <a:lnTo>
                      <a:pt x="39" y="261"/>
                    </a:lnTo>
                    <a:lnTo>
                      <a:pt x="38" y="261"/>
                    </a:lnTo>
                    <a:lnTo>
                      <a:pt x="38" y="260"/>
                    </a:lnTo>
                    <a:lnTo>
                      <a:pt x="37" y="260"/>
                    </a:lnTo>
                    <a:lnTo>
                      <a:pt x="38" y="260"/>
                    </a:lnTo>
                    <a:lnTo>
                      <a:pt x="38" y="259"/>
                    </a:lnTo>
                    <a:lnTo>
                      <a:pt x="37" y="259"/>
                    </a:lnTo>
                    <a:lnTo>
                      <a:pt x="38" y="259"/>
                    </a:lnTo>
                    <a:lnTo>
                      <a:pt x="37" y="258"/>
                    </a:lnTo>
                    <a:lnTo>
                      <a:pt x="38" y="258"/>
                    </a:lnTo>
                    <a:lnTo>
                      <a:pt x="37" y="258"/>
                    </a:lnTo>
                    <a:lnTo>
                      <a:pt x="37" y="257"/>
                    </a:lnTo>
                    <a:lnTo>
                      <a:pt x="38" y="257"/>
                    </a:lnTo>
                    <a:lnTo>
                      <a:pt x="37" y="257"/>
                    </a:lnTo>
                    <a:lnTo>
                      <a:pt x="36" y="257"/>
                    </a:lnTo>
                    <a:lnTo>
                      <a:pt x="35" y="257"/>
                    </a:lnTo>
                    <a:lnTo>
                      <a:pt x="34" y="257"/>
                    </a:lnTo>
                    <a:lnTo>
                      <a:pt x="34" y="256"/>
                    </a:lnTo>
                    <a:lnTo>
                      <a:pt x="35" y="256"/>
                    </a:lnTo>
                    <a:lnTo>
                      <a:pt x="35" y="255"/>
                    </a:lnTo>
                    <a:lnTo>
                      <a:pt x="35" y="254"/>
                    </a:lnTo>
                    <a:lnTo>
                      <a:pt x="36" y="254"/>
                    </a:lnTo>
                    <a:lnTo>
                      <a:pt x="36" y="252"/>
                    </a:lnTo>
                    <a:lnTo>
                      <a:pt x="37" y="252"/>
                    </a:lnTo>
                    <a:lnTo>
                      <a:pt x="37" y="251"/>
                    </a:lnTo>
                    <a:lnTo>
                      <a:pt x="38" y="251"/>
                    </a:lnTo>
                    <a:lnTo>
                      <a:pt x="37" y="251"/>
                    </a:lnTo>
                    <a:lnTo>
                      <a:pt x="33" y="251"/>
                    </a:lnTo>
                    <a:lnTo>
                      <a:pt x="32" y="241"/>
                    </a:lnTo>
                    <a:lnTo>
                      <a:pt x="32" y="235"/>
                    </a:lnTo>
                    <a:lnTo>
                      <a:pt x="32" y="219"/>
                    </a:lnTo>
                    <a:lnTo>
                      <a:pt x="22" y="219"/>
                    </a:lnTo>
                    <a:lnTo>
                      <a:pt x="15" y="219"/>
                    </a:lnTo>
                    <a:lnTo>
                      <a:pt x="1" y="220"/>
                    </a:lnTo>
                    <a:lnTo>
                      <a:pt x="1" y="195"/>
                    </a:lnTo>
                    <a:lnTo>
                      <a:pt x="0" y="195"/>
                    </a:lnTo>
                    <a:lnTo>
                      <a:pt x="0" y="193"/>
                    </a:lnTo>
                    <a:lnTo>
                      <a:pt x="0" y="187"/>
                    </a:lnTo>
                    <a:lnTo>
                      <a:pt x="0" y="158"/>
                    </a:lnTo>
                    <a:lnTo>
                      <a:pt x="0" y="156"/>
                    </a:lnTo>
                    <a:lnTo>
                      <a:pt x="0" y="154"/>
                    </a:lnTo>
                    <a:lnTo>
                      <a:pt x="1" y="148"/>
                    </a:lnTo>
                    <a:lnTo>
                      <a:pt x="1" y="140"/>
                    </a:lnTo>
                    <a:lnTo>
                      <a:pt x="1" y="134"/>
                    </a:lnTo>
                    <a:lnTo>
                      <a:pt x="0" y="122"/>
                    </a:lnTo>
                    <a:lnTo>
                      <a:pt x="0" y="119"/>
                    </a:lnTo>
                    <a:lnTo>
                      <a:pt x="0" y="107"/>
                    </a:lnTo>
                    <a:lnTo>
                      <a:pt x="0" y="101"/>
                    </a:lnTo>
                    <a:lnTo>
                      <a:pt x="0" y="96"/>
                    </a:lnTo>
                    <a:lnTo>
                      <a:pt x="0" y="82"/>
                    </a:lnTo>
                    <a:lnTo>
                      <a:pt x="0" y="14"/>
                    </a:lnTo>
                    <a:lnTo>
                      <a:pt x="0" y="13"/>
                    </a:lnTo>
                    <a:lnTo>
                      <a:pt x="0" y="6"/>
                    </a:lnTo>
                    <a:lnTo>
                      <a:pt x="0" y="0"/>
                    </a:lnTo>
                    <a:lnTo>
                      <a:pt x="14" y="0"/>
                    </a:lnTo>
                    <a:lnTo>
                      <a:pt x="25" y="0"/>
                    </a:lnTo>
                    <a:lnTo>
                      <a:pt x="28" y="0"/>
                    </a:lnTo>
                    <a:lnTo>
                      <a:pt x="32" y="0"/>
                    </a:lnTo>
                    <a:lnTo>
                      <a:pt x="35" y="0"/>
                    </a:lnTo>
                    <a:lnTo>
                      <a:pt x="39" y="0"/>
                    </a:lnTo>
                    <a:lnTo>
                      <a:pt x="52" y="0"/>
                    </a:lnTo>
                    <a:lnTo>
                      <a:pt x="64" y="0"/>
                    </a:lnTo>
                    <a:lnTo>
                      <a:pt x="69" y="0"/>
                    </a:lnTo>
                    <a:lnTo>
                      <a:pt x="76" y="0"/>
                    </a:lnTo>
                    <a:lnTo>
                      <a:pt x="84" y="0"/>
                    </a:lnTo>
                    <a:lnTo>
                      <a:pt x="85" y="0"/>
                    </a:lnTo>
                    <a:lnTo>
                      <a:pt x="93" y="0"/>
                    </a:lnTo>
                    <a:lnTo>
                      <a:pt x="97" y="0"/>
                    </a:lnTo>
                    <a:lnTo>
                      <a:pt x="101" y="0"/>
                    </a:lnTo>
                    <a:lnTo>
                      <a:pt x="103" y="0"/>
                    </a:lnTo>
                    <a:lnTo>
                      <a:pt x="119" y="0"/>
                    </a:lnTo>
                    <a:lnTo>
                      <a:pt x="129" y="0"/>
                    </a:lnTo>
                    <a:lnTo>
                      <a:pt x="136" y="0"/>
                    </a:lnTo>
                    <a:lnTo>
                      <a:pt x="141" y="0"/>
                    </a:lnTo>
                    <a:lnTo>
                      <a:pt x="142" y="0"/>
                    </a:lnTo>
                    <a:lnTo>
                      <a:pt x="146" y="0"/>
                    </a:lnTo>
                    <a:lnTo>
                      <a:pt x="153" y="0"/>
                    </a:lnTo>
                    <a:close/>
                  </a:path>
                </a:pathLst>
              </a:custGeom>
              <a:solidFill>
                <a:srgbClr val="9CC9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3" name="Freeform 63">
                <a:extLst>
                  <a:ext uri="{FF2B5EF4-FFF2-40B4-BE49-F238E27FC236}">
                    <a16:creationId xmlns:a16="http://schemas.microsoft.com/office/drawing/2014/main" id="{270B36A9-6225-9B56-516E-E1904E404F45}"/>
                  </a:ext>
                </a:extLst>
              </p:cNvPr>
              <p:cNvSpPr>
                <a:spLocks/>
              </p:cNvSpPr>
              <p:nvPr/>
            </p:nvSpPr>
            <p:spPr bwMode="auto">
              <a:xfrm>
                <a:off x="1743076" y="1630363"/>
                <a:ext cx="636588" cy="504825"/>
              </a:xfrm>
              <a:custGeom>
                <a:avLst/>
                <a:gdLst>
                  <a:gd name="T0" fmla="*/ 336 w 401"/>
                  <a:gd name="T1" fmla="*/ 62 h 318"/>
                  <a:gd name="T2" fmla="*/ 399 w 401"/>
                  <a:gd name="T3" fmla="*/ 96 h 318"/>
                  <a:gd name="T4" fmla="*/ 400 w 401"/>
                  <a:gd name="T5" fmla="*/ 176 h 318"/>
                  <a:gd name="T6" fmla="*/ 401 w 401"/>
                  <a:gd name="T7" fmla="*/ 253 h 318"/>
                  <a:gd name="T8" fmla="*/ 397 w 401"/>
                  <a:gd name="T9" fmla="*/ 258 h 318"/>
                  <a:gd name="T10" fmla="*/ 396 w 401"/>
                  <a:gd name="T11" fmla="*/ 265 h 318"/>
                  <a:gd name="T12" fmla="*/ 390 w 401"/>
                  <a:gd name="T13" fmla="*/ 268 h 318"/>
                  <a:gd name="T14" fmla="*/ 385 w 401"/>
                  <a:gd name="T15" fmla="*/ 270 h 318"/>
                  <a:gd name="T16" fmla="*/ 385 w 401"/>
                  <a:gd name="T17" fmla="*/ 277 h 318"/>
                  <a:gd name="T18" fmla="*/ 385 w 401"/>
                  <a:gd name="T19" fmla="*/ 281 h 318"/>
                  <a:gd name="T20" fmla="*/ 385 w 401"/>
                  <a:gd name="T21" fmla="*/ 287 h 318"/>
                  <a:gd name="T22" fmla="*/ 385 w 401"/>
                  <a:gd name="T23" fmla="*/ 294 h 318"/>
                  <a:gd name="T24" fmla="*/ 380 w 401"/>
                  <a:gd name="T25" fmla="*/ 299 h 318"/>
                  <a:gd name="T26" fmla="*/ 377 w 401"/>
                  <a:gd name="T27" fmla="*/ 302 h 318"/>
                  <a:gd name="T28" fmla="*/ 373 w 401"/>
                  <a:gd name="T29" fmla="*/ 307 h 318"/>
                  <a:gd name="T30" fmla="*/ 372 w 401"/>
                  <a:gd name="T31" fmla="*/ 308 h 318"/>
                  <a:gd name="T32" fmla="*/ 373 w 401"/>
                  <a:gd name="T33" fmla="*/ 315 h 318"/>
                  <a:gd name="T34" fmla="*/ 322 w 401"/>
                  <a:gd name="T35" fmla="*/ 317 h 318"/>
                  <a:gd name="T36" fmla="*/ 191 w 401"/>
                  <a:gd name="T37" fmla="*/ 317 h 318"/>
                  <a:gd name="T38" fmla="*/ 146 w 401"/>
                  <a:gd name="T39" fmla="*/ 312 h 318"/>
                  <a:gd name="T40" fmla="*/ 144 w 401"/>
                  <a:gd name="T41" fmla="*/ 304 h 318"/>
                  <a:gd name="T42" fmla="*/ 144 w 401"/>
                  <a:gd name="T43" fmla="*/ 294 h 318"/>
                  <a:gd name="T44" fmla="*/ 139 w 401"/>
                  <a:gd name="T45" fmla="*/ 289 h 318"/>
                  <a:gd name="T46" fmla="*/ 133 w 401"/>
                  <a:gd name="T47" fmla="*/ 286 h 318"/>
                  <a:gd name="T48" fmla="*/ 132 w 401"/>
                  <a:gd name="T49" fmla="*/ 282 h 318"/>
                  <a:gd name="T50" fmla="*/ 131 w 401"/>
                  <a:gd name="T51" fmla="*/ 275 h 318"/>
                  <a:gd name="T52" fmla="*/ 132 w 401"/>
                  <a:gd name="T53" fmla="*/ 269 h 318"/>
                  <a:gd name="T54" fmla="*/ 132 w 401"/>
                  <a:gd name="T55" fmla="*/ 257 h 318"/>
                  <a:gd name="T56" fmla="*/ 103 w 401"/>
                  <a:gd name="T57" fmla="*/ 253 h 318"/>
                  <a:gd name="T58" fmla="*/ 2 w 401"/>
                  <a:gd name="T59" fmla="*/ 253 h 318"/>
                  <a:gd name="T60" fmla="*/ 8 w 401"/>
                  <a:gd name="T61" fmla="*/ 248 h 318"/>
                  <a:gd name="T62" fmla="*/ 11 w 401"/>
                  <a:gd name="T63" fmla="*/ 239 h 318"/>
                  <a:gd name="T64" fmla="*/ 14 w 401"/>
                  <a:gd name="T65" fmla="*/ 230 h 318"/>
                  <a:gd name="T66" fmla="*/ 14 w 401"/>
                  <a:gd name="T67" fmla="*/ 224 h 318"/>
                  <a:gd name="T68" fmla="*/ 7 w 401"/>
                  <a:gd name="T69" fmla="*/ 218 h 318"/>
                  <a:gd name="T70" fmla="*/ 4 w 401"/>
                  <a:gd name="T71" fmla="*/ 210 h 318"/>
                  <a:gd name="T72" fmla="*/ 1 w 401"/>
                  <a:gd name="T73" fmla="*/ 205 h 318"/>
                  <a:gd name="T74" fmla="*/ 3 w 401"/>
                  <a:gd name="T75" fmla="*/ 197 h 318"/>
                  <a:gd name="T76" fmla="*/ 8 w 401"/>
                  <a:gd name="T77" fmla="*/ 189 h 318"/>
                  <a:gd name="T78" fmla="*/ 15 w 401"/>
                  <a:gd name="T79" fmla="*/ 168 h 318"/>
                  <a:gd name="T80" fmla="*/ 14 w 401"/>
                  <a:gd name="T81" fmla="*/ 157 h 318"/>
                  <a:gd name="T82" fmla="*/ 0 w 401"/>
                  <a:gd name="T83" fmla="*/ 146 h 318"/>
                  <a:gd name="T84" fmla="*/ 13 w 401"/>
                  <a:gd name="T85" fmla="*/ 135 h 318"/>
                  <a:gd name="T86" fmla="*/ 32 w 401"/>
                  <a:gd name="T87" fmla="*/ 129 h 318"/>
                  <a:gd name="T88" fmla="*/ 99 w 401"/>
                  <a:gd name="T89" fmla="*/ 127 h 318"/>
                  <a:gd name="T90" fmla="*/ 135 w 401"/>
                  <a:gd name="T91" fmla="*/ 95 h 318"/>
                  <a:gd name="T92" fmla="*/ 170 w 401"/>
                  <a:gd name="T93" fmla="*/ 89 h 318"/>
                  <a:gd name="T94" fmla="*/ 170 w 401"/>
                  <a:gd name="T95" fmla="*/ 84 h 318"/>
                  <a:gd name="T96" fmla="*/ 171 w 401"/>
                  <a:gd name="T97" fmla="*/ 76 h 318"/>
                  <a:gd name="T98" fmla="*/ 168 w 401"/>
                  <a:gd name="T99" fmla="*/ 69 h 318"/>
                  <a:gd name="T100" fmla="*/ 163 w 401"/>
                  <a:gd name="T101" fmla="*/ 61 h 318"/>
                  <a:gd name="T102" fmla="*/ 161 w 401"/>
                  <a:gd name="T103" fmla="*/ 54 h 318"/>
                  <a:gd name="T104" fmla="*/ 159 w 401"/>
                  <a:gd name="T105" fmla="*/ 46 h 318"/>
                  <a:gd name="T106" fmla="*/ 158 w 401"/>
                  <a:gd name="T107" fmla="*/ 37 h 318"/>
                  <a:gd name="T108" fmla="*/ 158 w 401"/>
                  <a:gd name="T109" fmla="*/ 29 h 318"/>
                  <a:gd name="T110" fmla="*/ 156 w 401"/>
                  <a:gd name="T111" fmla="*/ 18 h 318"/>
                  <a:gd name="T112" fmla="*/ 154 w 401"/>
                  <a:gd name="T113" fmla="*/ 9 h 318"/>
                  <a:gd name="T114" fmla="*/ 153 w 401"/>
                  <a:gd name="T115" fmla="*/ 0 h 318"/>
                  <a:gd name="T116" fmla="*/ 284 w 401"/>
                  <a:gd name="T11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1" h="318">
                    <a:moveTo>
                      <a:pt x="335" y="0"/>
                    </a:moveTo>
                    <a:lnTo>
                      <a:pt x="335" y="20"/>
                    </a:lnTo>
                    <a:lnTo>
                      <a:pt x="335" y="22"/>
                    </a:lnTo>
                    <a:lnTo>
                      <a:pt x="336" y="22"/>
                    </a:lnTo>
                    <a:lnTo>
                      <a:pt x="335" y="23"/>
                    </a:lnTo>
                    <a:lnTo>
                      <a:pt x="335" y="25"/>
                    </a:lnTo>
                    <a:lnTo>
                      <a:pt x="336" y="31"/>
                    </a:lnTo>
                    <a:lnTo>
                      <a:pt x="336" y="44"/>
                    </a:lnTo>
                    <a:lnTo>
                      <a:pt x="336" y="45"/>
                    </a:lnTo>
                    <a:lnTo>
                      <a:pt x="336" y="55"/>
                    </a:lnTo>
                    <a:lnTo>
                      <a:pt x="336" y="62"/>
                    </a:lnTo>
                    <a:lnTo>
                      <a:pt x="336" y="74"/>
                    </a:lnTo>
                    <a:lnTo>
                      <a:pt x="336" y="80"/>
                    </a:lnTo>
                    <a:lnTo>
                      <a:pt x="336" y="85"/>
                    </a:lnTo>
                    <a:lnTo>
                      <a:pt x="336" y="88"/>
                    </a:lnTo>
                    <a:lnTo>
                      <a:pt x="336" y="95"/>
                    </a:lnTo>
                    <a:lnTo>
                      <a:pt x="338" y="95"/>
                    </a:lnTo>
                    <a:lnTo>
                      <a:pt x="343" y="95"/>
                    </a:lnTo>
                    <a:lnTo>
                      <a:pt x="347" y="95"/>
                    </a:lnTo>
                    <a:lnTo>
                      <a:pt x="382" y="96"/>
                    </a:lnTo>
                    <a:lnTo>
                      <a:pt x="390" y="96"/>
                    </a:lnTo>
                    <a:lnTo>
                      <a:pt x="399" y="96"/>
                    </a:lnTo>
                    <a:lnTo>
                      <a:pt x="399" y="113"/>
                    </a:lnTo>
                    <a:lnTo>
                      <a:pt x="399" y="125"/>
                    </a:lnTo>
                    <a:lnTo>
                      <a:pt x="400" y="135"/>
                    </a:lnTo>
                    <a:lnTo>
                      <a:pt x="400" y="141"/>
                    </a:lnTo>
                    <a:lnTo>
                      <a:pt x="400" y="142"/>
                    </a:lnTo>
                    <a:lnTo>
                      <a:pt x="400" y="144"/>
                    </a:lnTo>
                    <a:lnTo>
                      <a:pt x="400" y="145"/>
                    </a:lnTo>
                    <a:lnTo>
                      <a:pt x="400" y="152"/>
                    </a:lnTo>
                    <a:lnTo>
                      <a:pt x="400" y="153"/>
                    </a:lnTo>
                    <a:lnTo>
                      <a:pt x="400" y="170"/>
                    </a:lnTo>
                    <a:lnTo>
                      <a:pt x="400" y="176"/>
                    </a:lnTo>
                    <a:lnTo>
                      <a:pt x="400" y="179"/>
                    </a:lnTo>
                    <a:lnTo>
                      <a:pt x="400" y="191"/>
                    </a:lnTo>
                    <a:lnTo>
                      <a:pt x="400" y="192"/>
                    </a:lnTo>
                    <a:lnTo>
                      <a:pt x="400" y="199"/>
                    </a:lnTo>
                    <a:lnTo>
                      <a:pt x="400" y="201"/>
                    </a:lnTo>
                    <a:lnTo>
                      <a:pt x="401" y="218"/>
                    </a:lnTo>
                    <a:lnTo>
                      <a:pt x="401" y="223"/>
                    </a:lnTo>
                    <a:lnTo>
                      <a:pt x="401" y="236"/>
                    </a:lnTo>
                    <a:lnTo>
                      <a:pt x="400" y="243"/>
                    </a:lnTo>
                    <a:lnTo>
                      <a:pt x="400" y="253"/>
                    </a:lnTo>
                    <a:lnTo>
                      <a:pt x="401" y="253"/>
                    </a:lnTo>
                    <a:lnTo>
                      <a:pt x="401" y="254"/>
                    </a:lnTo>
                    <a:lnTo>
                      <a:pt x="400" y="254"/>
                    </a:lnTo>
                    <a:lnTo>
                      <a:pt x="400" y="255"/>
                    </a:lnTo>
                    <a:lnTo>
                      <a:pt x="400" y="254"/>
                    </a:lnTo>
                    <a:lnTo>
                      <a:pt x="400" y="255"/>
                    </a:lnTo>
                    <a:lnTo>
                      <a:pt x="399" y="255"/>
                    </a:lnTo>
                    <a:lnTo>
                      <a:pt x="399" y="256"/>
                    </a:lnTo>
                    <a:lnTo>
                      <a:pt x="399" y="257"/>
                    </a:lnTo>
                    <a:lnTo>
                      <a:pt x="398" y="257"/>
                    </a:lnTo>
                    <a:lnTo>
                      <a:pt x="398" y="258"/>
                    </a:lnTo>
                    <a:lnTo>
                      <a:pt x="397" y="258"/>
                    </a:lnTo>
                    <a:lnTo>
                      <a:pt x="397" y="260"/>
                    </a:lnTo>
                    <a:lnTo>
                      <a:pt x="396" y="260"/>
                    </a:lnTo>
                    <a:lnTo>
                      <a:pt x="396" y="261"/>
                    </a:lnTo>
                    <a:lnTo>
                      <a:pt x="395" y="261"/>
                    </a:lnTo>
                    <a:lnTo>
                      <a:pt x="395" y="262"/>
                    </a:lnTo>
                    <a:lnTo>
                      <a:pt x="395" y="263"/>
                    </a:lnTo>
                    <a:lnTo>
                      <a:pt x="396" y="263"/>
                    </a:lnTo>
                    <a:lnTo>
                      <a:pt x="395" y="263"/>
                    </a:lnTo>
                    <a:lnTo>
                      <a:pt x="395" y="264"/>
                    </a:lnTo>
                    <a:lnTo>
                      <a:pt x="395" y="265"/>
                    </a:lnTo>
                    <a:lnTo>
                      <a:pt x="396" y="265"/>
                    </a:lnTo>
                    <a:lnTo>
                      <a:pt x="396" y="266"/>
                    </a:lnTo>
                    <a:lnTo>
                      <a:pt x="395" y="266"/>
                    </a:lnTo>
                    <a:lnTo>
                      <a:pt x="394" y="266"/>
                    </a:lnTo>
                    <a:lnTo>
                      <a:pt x="393" y="266"/>
                    </a:lnTo>
                    <a:lnTo>
                      <a:pt x="393" y="267"/>
                    </a:lnTo>
                    <a:lnTo>
                      <a:pt x="391" y="268"/>
                    </a:lnTo>
                    <a:lnTo>
                      <a:pt x="393" y="268"/>
                    </a:lnTo>
                    <a:lnTo>
                      <a:pt x="391" y="269"/>
                    </a:lnTo>
                    <a:lnTo>
                      <a:pt x="390" y="268"/>
                    </a:lnTo>
                    <a:lnTo>
                      <a:pt x="390" y="269"/>
                    </a:lnTo>
                    <a:lnTo>
                      <a:pt x="390" y="268"/>
                    </a:lnTo>
                    <a:lnTo>
                      <a:pt x="389" y="268"/>
                    </a:lnTo>
                    <a:lnTo>
                      <a:pt x="389" y="269"/>
                    </a:lnTo>
                    <a:lnTo>
                      <a:pt x="388" y="269"/>
                    </a:lnTo>
                    <a:lnTo>
                      <a:pt x="388" y="270"/>
                    </a:lnTo>
                    <a:lnTo>
                      <a:pt x="387" y="270"/>
                    </a:lnTo>
                    <a:lnTo>
                      <a:pt x="386" y="270"/>
                    </a:lnTo>
                    <a:lnTo>
                      <a:pt x="386" y="271"/>
                    </a:lnTo>
                    <a:lnTo>
                      <a:pt x="387" y="271"/>
                    </a:lnTo>
                    <a:lnTo>
                      <a:pt x="386" y="271"/>
                    </a:lnTo>
                    <a:lnTo>
                      <a:pt x="386" y="270"/>
                    </a:lnTo>
                    <a:lnTo>
                      <a:pt x="385" y="270"/>
                    </a:lnTo>
                    <a:lnTo>
                      <a:pt x="385" y="271"/>
                    </a:lnTo>
                    <a:lnTo>
                      <a:pt x="384" y="271"/>
                    </a:lnTo>
                    <a:lnTo>
                      <a:pt x="385" y="273"/>
                    </a:lnTo>
                    <a:lnTo>
                      <a:pt x="384" y="273"/>
                    </a:lnTo>
                    <a:lnTo>
                      <a:pt x="384" y="274"/>
                    </a:lnTo>
                    <a:lnTo>
                      <a:pt x="384" y="275"/>
                    </a:lnTo>
                    <a:lnTo>
                      <a:pt x="385" y="275"/>
                    </a:lnTo>
                    <a:lnTo>
                      <a:pt x="384" y="275"/>
                    </a:lnTo>
                    <a:lnTo>
                      <a:pt x="384" y="276"/>
                    </a:lnTo>
                    <a:lnTo>
                      <a:pt x="385" y="276"/>
                    </a:lnTo>
                    <a:lnTo>
                      <a:pt x="385" y="277"/>
                    </a:lnTo>
                    <a:lnTo>
                      <a:pt x="386" y="277"/>
                    </a:lnTo>
                    <a:lnTo>
                      <a:pt x="386" y="278"/>
                    </a:lnTo>
                    <a:lnTo>
                      <a:pt x="385" y="278"/>
                    </a:lnTo>
                    <a:lnTo>
                      <a:pt x="386" y="278"/>
                    </a:lnTo>
                    <a:lnTo>
                      <a:pt x="385" y="278"/>
                    </a:lnTo>
                    <a:lnTo>
                      <a:pt x="385" y="279"/>
                    </a:lnTo>
                    <a:lnTo>
                      <a:pt x="385" y="280"/>
                    </a:lnTo>
                    <a:lnTo>
                      <a:pt x="385" y="281"/>
                    </a:lnTo>
                    <a:lnTo>
                      <a:pt x="384" y="280"/>
                    </a:lnTo>
                    <a:lnTo>
                      <a:pt x="384" y="281"/>
                    </a:lnTo>
                    <a:lnTo>
                      <a:pt x="385" y="281"/>
                    </a:lnTo>
                    <a:lnTo>
                      <a:pt x="385" y="282"/>
                    </a:lnTo>
                    <a:lnTo>
                      <a:pt x="384" y="282"/>
                    </a:lnTo>
                    <a:lnTo>
                      <a:pt x="385" y="282"/>
                    </a:lnTo>
                    <a:lnTo>
                      <a:pt x="385" y="283"/>
                    </a:lnTo>
                    <a:lnTo>
                      <a:pt x="384" y="283"/>
                    </a:lnTo>
                    <a:lnTo>
                      <a:pt x="384" y="284"/>
                    </a:lnTo>
                    <a:lnTo>
                      <a:pt x="384" y="286"/>
                    </a:lnTo>
                    <a:lnTo>
                      <a:pt x="385" y="286"/>
                    </a:lnTo>
                    <a:lnTo>
                      <a:pt x="386" y="286"/>
                    </a:lnTo>
                    <a:lnTo>
                      <a:pt x="386" y="287"/>
                    </a:lnTo>
                    <a:lnTo>
                      <a:pt x="385" y="287"/>
                    </a:lnTo>
                    <a:lnTo>
                      <a:pt x="384" y="287"/>
                    </a:lnTo>
                    <a:lnTo>
                      <a:pt x="385" y="288"/>
                    </a:lnTo>
                    <a:lnTo>
                      <a:pt x="384" y="288"/>
                    </a:lnTo>
                    <a:lnTo>
                      <a:pt x="384" y="289"/>
                    </a:lnTo>
                    <a:lnTo>
                      <a:pt x="385" y="290"/>
                    </a:lnTo>
                    <a:lnTo>
                      <a:pt x="384" y="290"/>
                    </a:lnTo>
                    <a:lnTo>
                      <a:pt x="384" y="291"/>
                    </a:lnTo>
                    <a:lnTo>
                      <a:pt x="384" y="292"/>
                    </a:lnTo>
                    <a:lnTo>
                      <a:pt x="385" y="292"/>
                    </a:lnTo>
                    <a:lnTo>
                      <a:pt x="385" y="293"/>
                    </a:lnTo>
                    <a:lnTo>
                      <a:pt x="385" y="294"/>
                    </a:lnTo>
                    <a:lnTo>
                      <a:pt x="384" y="294"/>
                    </a:lnTo>
                    <a:lnTo>
                      <a:pt x="384" y="295"/>
                    </a:lnTo>
                    <a:lnTo>
                      <a:pt x="383" y="295"/>
                    </a:lnTo>
                    <a:lnTo>
                      <a:pt x="383" y="296"/>
                    </a:lnTo>
                    <a:lnTo>
                      <a:pt x="382" y="296"/>
                    </a:lnTo>
                    <a:lnTo>
                      <a:pt x="383" y="296"/>
                    </a:lnTo>
                    <a:lnTo>
                      <a:pt x="383" y="298"/>
                    </a:lnTo>
                    <a:lnTo>
                      <a:pt x="382" y="298"/>
                    </a:lnTo>
                    <a:lnTo>
                      <a:pt x="381" y="298"/>
                    </a:lnTo>
                    <a:lnTo>
                      <a:pt x="381" y="299"/>
                    </a:lnTo>
                    <a:lnTo>
                      <a:pt x="380" y="299"/>
                    </a:lnTo>
                    <a:lnTo>
                      <a:pt x="380" y="300"/>
                    </a:lnTo>
                    <a:lnTo>
                      <a:pt x="381" y="300"/>
                    </a:lnTo>
                    <a:lnTo>
                      <a:pt x="381" y="301"/>
                    </a:lnTo>
                    <a:lnTo>
                      <a:pt x="380" y="301"/>
                    </a:lnTo>
                    <a:lnTo>
                      <a:pt x="380" y="302"/>
                    </a:lnTo>
                    <a:lnTo>
                      <a:pt x="380" y="303"/>
                    </a:lnTo>
                    <a:lnTo>
                      <a:pt x="380" y="302"/>
                    </a:lnTo>
                    <a:lnTo>
                      <a:pt x="378" y="302"/>
                    </a:lnTo>
                    <a:lnTo>
                      <a:pt x="377" y="302"/>
                    </a:lnTo>
                    <a:lnTo>
                      <a:pt x="377" y="303"/>
                    </a:lnTo>
                    <a:lnTo>
                      <a:pt x="377" y="302"/>
                    </a:lnTo>
                    <a:lnTo>
                      <a:pt x="377" y="303"/>
                    </a:lnTo>
                    <a:lnTo>
                      <a:pt x="376" y="302"/>
                    </a:lnTo>
                    <a:lnTo>
                      <a:pt x="376" y="303"/>
                    </a:lnTo>
                    <a:lnTo>
                      <a:pt x="376" y="304"/>
                    </a:lnTo>
                    <a:lnTo>
                      <a:pt x="375" y="304"/>
                    </a:lnTo>
                    <a:lnTo>
                      <a:pt x="375" y="305"/>
                    </a:lnTo>
                    <a:lnTo>
                      <a:pt x="374" y="305"/>
                    </a:lnTo>
                    <a:lnTo>
                      <a:pt x="374" y="306"/>
                    </a:lnTo>
                    <a:lnTo>
                      <a:pt x="375" y="306"/>
                    </a:lnTo>
                    <a:lnTo>
                      <a:pt x="374" y="307"/>
                    </a:lnTo>
                    <a:lnTo>
                      <a:pt x="373" y="307"/>
                    </a:lnTo>
                    <a:lnTo>
                      <a:pt x="373" y="306"/>
                    </a:lnTo>
                    <a:lnTo>
                      <a:pt x="372" y="306"/>
                    </a:lnTo>
                    <a:lnTo>
                      <a:pt x="373" y="306"/>
                    </a:lnTo>
                    <a:lnTo>
                      <a:pt x="372" y="306"/>
                    </a:lnTo>
                    <a:lnTo>
                      <a:pt x="372" y="305"/>
                    </a:lnTo>
                    <a:lnTo>
                      <a:pt x="372" y="306"/>
                    </a:lnTo>
                    <a:lnTo>
                      <a:pt x="372" y="305"/>
                    </a:lnTo>
                    <a:lnTo>
                      <a:pt x="371" y="306"/>
                    </a:lnTo>
                    <a:lnTo>
                      <a:pt x="372" y="306"/>
                    </a:lnTo>
                    <a:lnTo>
                      <a:pt x="372" y="307"/>
                    </a:lnTo>
                    <a:lnTo>
                      <a:pt x="372" y="308"/>
                    </a:lnTo>
                    <a:lnTo>
                      <a:pt x="373" y="309"/>
                    </a:lnTo>
                    <a:lnTo>
                      <a:pt x="373" y="311"/>
                    </a:lnTo>
                    <a:lnTo>
                      <a:pt x="373" y="312"/>
                    </a:lnTo>
                    <a:lnTo>
                      <a:pt x="374" y="312"/>
                    </a:lnTo>
                    <a:lnTo>
                      <a:pt x="374" y="313"/>
                    </a:lnTo>
                    <a:lnTo>
                      <a:pt x="373" y="313"/>
                    </a:lnTo>
                    <a:lnTo>
                      <a:pt x="373" y="314"/>
                    </a:lnTo>
                    <a:lnTo>
                      <a:pt x="373" y="315"/>
                    </a:lnTo>
                    <a:lnTo>
                      <a:pt x="372" y="314"/>
                    </a:lnTo>
                    <a:lnTo>
                      <a:pt x="372" y="315"/>
                    </a:lnTo>
                    <a:lnTo>
                      <a:pt x="373" y="315"/>
                    </a:lnTo>
                    <a:lnTo>
                      <a:pt x="373" y="316"/>
                    </a:lnTo>
                    <a:lnTo>
                      <a:pt x="374" y="316"/>
                    </a:lnTo>
                    <a:lnTo>
                      <a:pt x="374" y="317"/>
                    </a:lnTo>
                    <a:lnTo>
                      <a:pt x="375" y="317"/>
                    </a:lnTo>
                    <a:lnTo>
                      <a:pt x="375" y="318"/>
                    </a:lnTo>
                    <a:lnTo>
                      <a:pt x="376" y="318"/>
                    </a:lnTo>
                    <a:lnTo>
                      <a:pt x="360" y="317"/>
                    </a:lnTo>
                    <a:lnTo>
                      <a:pt x="338" y="317"/>
                    </a:lnTo>
                    <a:lnTo>
                      <a:pt x="332" y="317"/>
                    </a:lnTo>
                    <a:lnTo>
                      <a:pt x="330" y="317"/>
                    </a:lnTo>
                    <a:lnTo>
                      <a:pt x="322" y="317"/>
                    </a:lnTo>
                    <a:lnTo>
                      <a:pt x="310" y="317"/>
                    </a:lnTo>
                    <a:lnTo>
                      <a:pt x="299" y="317"/>
                    </a:lnTo>
                    <a:lnTo>
                      <a:pt x="279" y="317"/>
                    </a:lnTo>
                    <a:lnTo>
                      <a:pt x="262" y="317"/>
                    </a:lnTo>
                    <a:lnTo>
                      <a:pt x="260" y="317"/>
                    </a:lnTo>
                    <a:lnTo>
                      <a:pt x="246" y="317"/>
                    </a:lnTo>
                    <a:lnTo>
                      <a:pt x="232" y="317"/>
                    </a:lnTo>
                    <a:lnTo>
                      <a:pt x="201" y="317"/>
                    </a:lnTo>
                    <a:lnTo>
                      <a:pt x="195" y="317"/>
                    </a:lnTo>
                    <a:lnTo>
                      <a:pt x="193" y="317"/>
                    </a:lnTo>
                    <a:lnTo>
                      <a:pt x="191" y="317"/>
                    </a:lnTo>
                    <a:lnTo>
                      <a:pt x="185" y="317"/>
                    </a:lnTo>
                    <a:lnTo>
                      <a:pt x="180" y="317"/>
                    </a:lnTo>
                    <a:lnTo>
                      <a:pt x="162" y="317"/>
                    </a:lnTo>
                    <a:lnTo>
                      <a:pt x="159" y="317"/>
                    </a:lnTo>
                    <a:lnTo>
                      <a:pt x="148" y="317"/>
                    </a:lnTo>
                    <a:lnTo>
                      <a:pt x="148" y="316"/>
                    </a:lnTo>
                    <a:lnTo>
                      <a:pt x="148" y="315"/>
                    </a:lnTo>
                    <a:lnTo>
                      <a:pt x="146" y="315"/>
                    </a:lnTo>
                    <a:lnTo>
                      <a:pt x="146" y="314"/>
                    </a:lnTo>
                    <a:lnTo>
                      <a:pt x="146" y="313"/>
                    </a:lnTo>
                    <a:lnTo>
                      <a:pt x="146" y="312"/>
                    </a:lnTo>
                    <a:lnTo>
                      <a:pt x="146" y="311"/>
                    </a:lnTo>
                    <a:lnTo>
                      <a:pt x="146" y="309"/>
                    </a:lnTo>
                    <a:lnTo>
                      <a:pt x="145" y="309"/>
                    </a:lnTo>
                    <a:lnTo>
                      <a:pt x="145" y="308"/>
                    </a:lnTo>
                    <a:lnTo>
                      <a:pt x="145" y="307"/>
                    </a:lnTo>
                    <a:lnTo>
                      <a:pt x="144" y="307"/>
                    </a:lnTo>
                    <a:lnTo>
                      <a:pt x="144" y="306"/>
                    </a:lnTo>
                    <a:lnTo>
                      <a:pt x="144" y="305"/>
                    </a:lnTo>
                    <a:lnTo>
                      <a:pt x="143" y="305"/>
                    </a:lnTo>
                    <a:lnTo>
                      <a:pt x="143" y="304"/>
                    </a:lnTo>
                    <a:lnTo>
                      <a:pt x="144" y="304"/>
                    </a:lnTo>
                    <a:lnTo>
                      <a:pt x="144" y="303"/>
                    </a:lnTo>
                    <a:lnTo>
                      <a:pt x="145" y="303"/>
                    </a:lnTo>
                    <a:lnTo>
                      <a:pt x="145" y="302"/>
                    </a:lnTo>
                    <a:lnTo>
                      <a:pt x="145" y="301"/>
                    </a:lnTo>
                    <a:lnTo>
                      <a:pt x="144" y="301"/>
                    </a:lnTo>
                    <a:lnTo>
                      <a:pt x="144" y="300"/>
                    </a:lnTo>
                    <a:lnTo>
                      <a:pt x="144" y="299"/>
                    </a:lnTo>
                    <a:lnTo>
                      <a:pt x="144" y="298"/>
                    </a:lnTo>
                    <a:lnTo>
                      <a:pt x="144" y="296"/>
                    </a:lnTo>
                    <a:lnTo>
                      <a:pt x="144" y="295"/>
                    </a:lnTo>
                    <a:lnTo>
                      <a:pt x="144" y="294"/>
                    </a:lnTo>
                    <a:lnTo>
                      <a:pt x="144" y="295"/>
                    </a:lnTo>
                    <a:lnTo>
                      <a:pt x="143" y="294"/>
                    </a:lnTo>
                    <a:lnTo>
                      <a:pt x="143" y="293"/>
                    </a:lnTo>
                    <a:lnTo>
                      <a:pt x="142" y="293"/>
                    </a:lnTo>
                    <a:lnTo>
                      <a:pt x="142" y="292"/>
                    </a:lnTo>
                    <a:lnTo>
                      <a:pt x="142" y="291"/>
                    </a:lnTo>
                    <a:lnTo>
                      <a:pt x="141" y="291"/>
                    </a:lnTo>
                    <a:lnTo>
                      <a:pt x="141" y="290"/>
                    </a:lnTo>
                    <a:lnTo>
                      <a:pt x="140" y="290"/>
                    </a:lnTo>
                    <a:lnTo>
                      <a:pt x="139" y="290"/>
                    </a:lnTo>
                    <a:lnTo>
                      <a:pt x="139" y="289"/>
                    </a:lnTo>
                    <a:lnTo>
                      <a:pt x="138" y="289"/>
                    </a:lnTo>
                    <a:lnTo>
                      <a:pt x="137" y="289"/>
                    </a:lnTo>
                    <a:lnTo>
                      <a:pt x="137" y="288"/>
                    </a:lnTo>
                    <a:lnTo>
                      <a:pt x="137" y="289"/>
                    </a:lnTo>
                    <a:lnTo>
                      <a:pt x="136" y="288"/>
                    </a:lnTo>
                    <a:lnTo>
                      <a:pt x="136" y="287"/>
                    </a:lnTo>
                    <a:lnTo>
                      <a:pt x="135" y="287"/>
                    </a:lnTo>
                    <a:lnTo>
                      <a:pt x="136" y="287"/>
                    </a:lnTo>
                    <a:lnTo>
                      <a:pt x="136" y="286"/>
                    </a:lnTo>
                    <a:lnTo>
                      <a:pt x="135" y="286"/>
                    </a:lnTo>
                    <a:lnTo>
                      <a:pt x="133" y="286"/>
                    </a:lnTo>
                    <a:lnTo>
                      <a:pt x="133" y="284"/>
                    </a:lnTo>
                    <a:lnTo>
                      <a:pt x="133" y="286"/>
                    </a:lnTo>
                    <a:lnTo>
                      <a:pt x="133" y="284"/>
                    </a:lnTo>
                    <a:lnTo>
                      <a:pt x="132" y="284"/>
                    </a:lnTo>
                    <a:lnTo>
                      <a:pt x="133" y="284"/>
                    </a:lnTo>
                    <a:lnTo>
                      <a:pt x="132" y="284"/>
                    </a:lnTo>
                    <a:lnTo>
                      <a:pt x="133" y="284"/>
                    </a:lnTo>
                    <a:lnTo>
                      <a:pt x="133" y="283"/>
                    </a:lnTo>
                    <a:lnTo>
                      <a:pt x="132" y="283"/>
                    </a:lnTo>
                    <a:lnTo>
                      <a:pt x="133" y="283"/>
                    </a:lnTo>
                    <a:lnTo>
                      <a:pt x="132" y="282"/>
                    </a:lnTo>
                    <a:lnTo>
                      <a:pt x="131" y="281"/>
                    </a:lnTo>
                    <a:lnTo>
                      <a:pt x="132" y="281"/>
                    </a:lnTo>
                    <a:lnTo>
                      <a:pt x="132" y="280"/>
                    </a:lnTo>
                    <a:lnTo>
                      <a:pt x="131" y="280"/>
                    </a:lnTo>
                    <a:lnTo>
                      <a:pt x="132" y="280"/>
                    </a:lnTo>
                    <a:lnTo>
                      <a:pt x="132" y="279"/>
                    </a:lnTo>
                    <a:lnTo>
                      <a:pt x="131" y="279"/>
                    </a:lnTo>
                    <a:lnTo>
                      <a:pt x="131" y="278"/>
                    </a:lnTo>
                    <a:lnTo>
                      <a:pt x="131" y="277"/>
                    </a:lnTo>
                    <a:lnTo>
                      <a:pt x="131" y="276"/>
                    </a:lnTo>
                    <a:lnTo>
                      <a:pt x="131" y="275"/>
                    </a:lnTo>
                    <a:lnTo>
                      <a:pt x="130" y="275"/>
                    </a:lnTo>
                    <a:lnTo>
                      <a:pt x="130" y="274"/>
                    </a:lnTo>
                    <a:lnTo>
                      <a:pt x="130" y="275"/>
                    </a:lnTo>
                    <a:lnTo>
                      <a:pt x="131" y="275"/>
                    </a:lnTo>
                    <a:lnTo>
                      <a:pt x="131" y="274"/>
                    </a:lnTo>
                    <a:lnTo>
                      <a:pt x="131" y="273"/>
                    </a:lnTo>
                    <a:lnTo>
                      <a:pt x="131" y="271"/>
                    </a:lnTo>
                    <a:lnTo>
                      <a:pt x="132" y="271"/>
                    </a:lnTo>
                    <a:lnTo>
                      <a:pt x="131" y="270"/>
                    </a:lnTo>
                    <a:lnTo>
                      <a:pt x="132" y="270"/>
                    </a:lnTo>
                    <a:lnTo>
                      <a:pt x="132" y="269"/>
                    </a:lnTo>
                    <a:lnTo>
                      <a:pt x="132" y="268"/>
                    </a:lnTo>
                    <a:lnTo>
                      <a:pt x="132" y="267"/>
                    </a:lnTo>
                    <a:lnTo>
                      <a:pt x="132" y="266"/>
                    </a:lnTo>
                    <a:lnTo>
                      <a:pt x="133" y="265"/>
                    </a:lnTo>
                    <a:lnTo>
                      <a:pt x="133" y="263"/>
                    </a:lnTo>
                    <a:lnTo>
                      <a:pt x="133" y="262"/>
                    </a:lnTo>
                    <a:lnTo>
                      <a:pt x="133" y="261"/>
                    </a:lnTo>
                    <a:lnTo>
                      <a:pt x="132" y="261"/>
                    </a:lnTo>
                    <a:lnTo>
                      <a:pt x="132" y="260"/>
                    </a:lnTo>
                    <a:lnTo>
                      <a:pt x="132" y="258"/>
                    </a:lnTo>
                    <a:lnTo>
                      <a:pt x="132" y="257"/>
                    </a:lnTo>
                    <a:lnTo>
                      <a:pt x="133" y="257"/>
                    </a:lnTo>
                    <a:lnTo>
                      <a:pt x="133" y="256"/>
                    </a:lnTo>
                    <a:lnTo>
                      <a:pt x="132" y="256"/>
                    </a:lnTo>
                    <a:lnTo>
                      <a:pt x="132" y="255"/>
                    </a:lnTo>
                    <a:lnTo>
                      <a:pt x="132" y="254"/>
                    </a:lnTo>
                    <a:lnTo>
                      <a:pt x="131" y="254"/>
                    </a:lnTo>
                    <a:lnTo>
                      <a:pt x="131" y="253"/>
                    </a:lnTo>
                    <a:lnTo>
                      <a:pt x="114" y="253"/>
                    </a:lnTo>
                    <a:lnTo>
                      <a:pt x="110" y="253"/>
                    </a:lnTo>
                    <a:lnTo>
                      <a:pt x="109" y="253"/>
                    </a:lnTo>
                    <a:lnTo>
                      <a:pt x="103" y="253"/>
                    </a:lnTo>
                    <a:lnTo>
                      <a:pt x="91" y="253"/>
                    </a:lnTo>
                    <a:lnTo>
                      <a:pt x="71" y="253"/>
                    </a:lnTo>
                    <a:lnTo>
                      <a:pt x="65" y="253"/>
                    </a:lnTo>
                    <a:lnTo>
                      <a:pt x="53" y="253"/>
                    </a:lnTo>
                    <a:lnTo>
                      <a:pt x="47" y="253"/>
                    </a:lnTo>
                    <a:lnTo>
                      <a:pt x="45" y="253"/>
                    </a:lnTo>
                    <a:lnTo>
                      <a:pt x="33" y="253"/>
                    </a:lnTo>
                    <a:lnTo>
                      <a:pt x="20" y="253"/>
                    </a:lnTo>
                    <a:lnTo>
                      <a:pt x="17" y="253"/>
                    </a:lnTo>
                    <a:lnTo>
                      <a:pt x="3" y="253"/>
                    </a:lnTo>
                    <a:lnTo>
                      <a:pt x="2" y="253"/>
                    </a:lnTo>
                    <a:lnTo>
                      <a:pt x="0" y="253"/>
                    </a:lnTo>
                    <a:lnTo>
                      <a:pt x="0" y="252"/>
                    </a:lnTo>
                    <a:lnTo>
                      <a:pt x="1" y="252"/>
                    </a:lnTo>
                    <a:lnTo>
                      <a:pt x="1" y="251"/>
                    </a:lnTo>
                    <a:lnTo>
                      <a:pt x="2" y="251"/>
                    </a:lnTo>
                    <a:lnTo>
                      <a:pt x="3" y="251"/>
                    </a:lnTo>
                    <a:lnTo>
                      <a:pt x="4" y="252"/>
                    </a:lnTo>
                    <a:lnTo>
                      <a:pt x="6" y="251"/>
                    </a:lnTo>
                    <a:lnTo>
                      <a:pt x="7" y="250"/>
                    </a:lnTo>
                    <a:lnTo>
                      <a:pt x="7" y="248"/>
                    </a:lnTo>
                    <a:lnTo>
                      <a:pt x="8" y="248"/>
                    </a:lnTo>
                    <a:lnTo>
                      <a:pt x="8" y="247"/>
                    </a:lnTo>
                    <a:lnTo>
                      <a:pt x="9" y="247"/>
                    </a:lnTo>
                    <a:lnTo>
                      <a:pt x="10" y="245"/>
                    </a:lnTo>
                    <a:lnTo>
                      <a:pt x="11" y="245"/>
                    </a:lnTo>
                    <a:lnTo>
                      <a:pt x="11" y="244"/>
                    </a:lnTo>
                    <a:lnTo>
                      <a:pt x="12" y="244"/>
                    </a:lnTo>
                    <a:lnTo>
                      <a:pt x="12" y="243"/>
                    </a:lnTo>
                    <a:lnTo>
                      <a:pt x="12" y="242"/>
                    </a:lnTo>
                    <a:lnTo>
                      <a:pt x="11" y="241"/>
                    </a:lnTo>
                    <a:lnTo>
                      <a:pt x="11" y="240"/>
                    </a:lnTo>
                    <a:lnTo>
                      <a:pt x="11" y="239"/>
                    </a:lnTo>
                    <a:lnTo>
                      <a:pt x="12" y="239"/>
                    </a:lnTo>
                    <a:lnTo>
                      <a:pt x="13" y="239"/>
                    </a:lnTo>
                    <a:lnTo>
                      <a:pt x="13" y="238"/>
                    </a:lnTo>
                    <a:lnTo>
                      <a:pt x="13" y="237"/>
                    </a:lnTo>
                    <a:lnTo>
                      <a:pt x="12" y="236"/>
                    </a:lnTo>
                    <a:lnTo>
                      <a:pt x="13" y="235"/>
                    </a:lnTo>
                    <a:lnTo>
                      <a:pt x="13" y="234"/>
                    </a:lnTo>
                    <a:lnTo>
                      <a:pt x="12" y="232"/>
                    </a:lnTo>
                    <a:lnTo>
                      <a:pt x="13" y="231"/>
                    </a:lnTo>
                    <a:lnTo>
                      <a:pt x="14" y="231"/>
                    </a:lnTo>
                    <a:lnTo>
                      <a:pt x="14" y="230"/>
                    </a:lnTo>
                    <a:lnTo>
                      <a:pt x="13" y="230"/>
                    </a:lnTo>
                    <a:lnTo>
                      <a:pt x="12" y="230"/>
                    </a:lnTo>
                    <a:lnTo>
                      <a:pt x="12" y="229"/>
                    </a:lnTo>
                    <a:lnTo>
                      <a:pt x="11" y="229"/>
                    </a:lnTo>
                    <a:lnTo>
                      <a:pt x="11" y="228"/>
                    </a:lnTo>
                    <a:lnTo>
                      <a:pt x="11" y="227"/>
                    </a:lnTo>
                    <a:lnTo>
                      <a:pt x="12" y="227"/>
                    </a:lnTo>
                    <a:lnTo>
                      <a:pt x="12" y="225"/>
                    </a:lnTo>
                    <a:lnTo>
                      <a:pt x="12" y="224"/>
                    </a:lnTo>
                    <a:lnTo>
                      <a:pt x="13" y="224"/>
                    </a:lnTo>
                    <a:lnTo>
                      <a:pt x="14" y="224"/>
                    </a:lnTo>
                    <a:lnTo>
                      <a:pt x="14" y="223"/>
                    </a:lnTo>
                    <a:lnTo>
                      <a:pt x="14" y="222"/>
                    </a:lnTo>
                    <a:lnTo>
                      <a:pt x="13" y="221"/>
                    </a:lnTo>
                    <a:lnTo>
                      <a:pt x="13" y="219"/>
                    </a:lnTo>
                    <a:lnTo>
                      <a:pt x="13" y="218"/>
                    </a:lnTo>
                    <a:lnTo>
                      <a:pt x="12" y="217"/>
                    </a:lnTo>
                    <a:lnTo>
                      <a:pt x="11" y="217"/>
                    </a:lnTo>
                    <a:lnTo>
                      <a:pt x="10" y="216"/>
                    </a:lnTo>
                    <a:lnTo>
                      <a:pt x="9" y="217"/>
                    </a:lnTo>
                    <a:lnTo>
                      <a:pt x="8" y="217"/>
                    </a:lnTo>
                    <a:lnTo>
                      <a:pt x="7" y="218"/>
                    </a:lnTo>
                    <a:lnTo>
                      <a:pt x="6" y="218"/>
                    </a:lnTo>
                    <a:lnTo>
                      <a:pt x="6" y="216"/>
                    </a:lnTo>
                    <a:lnTo>
                      <a:pt x="6" y="214"/>
                    </a:lnTo>
                    <a:lnTo>
                      <a:pt x="4" y="213"/>
                    </a:lnTo>
                    <a:lnTo>
                      <a:pt x="4" y="212"/>
                    </a:lnTo>
                    <a:lnTo>
                      <a:pt x="6" y="212"/>
                    </a:lnTo>
                    <a:lnTo>
                      <a:pt x="6" y="211"/>
                    </a:lnTo>
                    <a:lnTo>
                      <a:pt x="7" y="211"/>
                    </a:lnTo>
                    <a:lnTo>
                      <a:pt x="7" y="210"/>
                    </a:lnTo>
                    <a:lnTo>
                      <a:pt x="6" y="210"/>
                    </a:lnTo>
                    <a:lnTo>
                      <a:pt x="4" y="210"/>
                    </a:lnTo>
                    <a:lnTo>
                      <a:pt x="4" y="209"/>
                    </a:lnTo>
                    <a:lnTo>
                      <a:pt x="3" y="209"/>
                    </a:lnTo>
                    <a:lnTo>
                      <a:pt x="2" y="209"/>
                    </a:lnTo>
                    <a:lnTo>
                      <a:pt x="2" y="208"/>
                    </a:lnTo>
                    <a:lnTo>
                      <a:pt x="2" y="206"/>
                    </a:lnTo>
                    <a:lnTo>
                      <a:pt x="3" y="206"/>
                    </a:lnTo>
                    <a:lnTo>
                      <a:pt x="4" y="205"/>
                    </a:lnTo>
                    <a:lnTo>
                      <a:pt x="3" y="205"/>
                    </a:lnTo>
                    <a:lnTo>
                      <a:pt x="2" y="206"/>
                    </a:lnTo>
                    <a:lnTo>
                      <a:pt x="2" y="205"/>
                    </a:lnTo>
                    <a:lnTo>
                      <a:pt x="1" y="205"/>
                    </a:lnTo>
                    <a:lnTo>
                      <a:pt x="1" y="204"/>
                    </a:lnTo>
                    <a:lnTo>
                      <a:pt x="1" y="203"/>
                    </a:lnTo>
                    <a:lnTo>
                      <a:pt x="2" y="203"/>
                    </a:lnTo>
                    <a:lnTo>
                      <a:pt x="2" y="202"/>
                    </a:lnTo>
                    <a:lnTo>
                      <a:pt x="1" y="202"/>
                    </a:lnTo>
                    <a:lnTo>
                      <a:pt x="1" y="201"/>
                    </a:lnTo>
                    <a:lnTo>
                      <a:pt x="1" y="200"/>
                    </a:lnTo>
                    <a:lnTo>
                      <a:pt x="2" y="200"/>
                    </a:lnTo>
                    <a:lnTo>
                      <a:pt x="3" y="199"/>
                    </a:lnTo>
                    <a:lnTo>
                      <a:pt x="3" y="198"/>
                    </a:lnTo>
                    <a:lnTo>
                      <a:pt x="3" y="197"/>
                    </a:lnTo>
                    <a:lnTo>
                      <a:pt x="3" y="196"/>
                    </a:lnTo>
                    <a:lnTo>
                      <a:pt x="3" y="194"/>
                    </a:lnTo>
                    <a:lnTo>
                      <a:pt x="4" y="194"/>
                    </a:lnTo>
                    <a:lnTo>
                      <a:pt x="6" y="194"/>
                    </a:lnTo>
                    <a:lnTo>
                      <a:pt x="6" y="193"/>
                    </a:lnTo>
                    <a:lnTo>
                      <a:pt x="4" y="193"/>
                    </a:lnTo>
                    <a:lnTo>
                      <a:pt x="4" y="192"/>
                    </a:lnTo>
                    <a:lnTo>
                      <a:pt x="6" y="192"/>
                    </a:lnTo>
                    <a:lnTo>
                      <a:pt x="7" y="191"/>
                    </a:lnTo>
                    <a:lnTo>
                      <a:pt x="7" y="190"/>
                    </a:lnTo>
                    <a:lnTo>
                      <a:pt x="8" y="189"/>
                    </a:lnTo>
                    <a:lnTo>
                      <a:pt x="8" y="187"/>
                    </a:lnTo>
                    <a:lnTo>
                      <a:pt x="8" y="184"/>
                    </a:lnTo>
                    <a:lnTo>
                      <a:pt x="9" y="183"/>
                    </a:lnTo>
                    <a:lnTo>
                      <a:pt x="10" y="179"/>
                    </a:lnTo>
                    <a:lnTo>
                      <a:pt x="10" y="177"/>
                    </a:lnTo>
                    <a:lnTo>
                      <a:pt x="11" y="175"/>
                    </a:lnTo>
                    <a:lnTo>
                      <a:pt x="11" y="174"/>
                    </a:lnTo>
                    <a:lnTo>
                      <a:pt x="12" y="172"/>
                    </a:lnTo>
                    <a:lnTo>
                      <a:pt x="13" y="171"/>
                    </a:lnTo>
                    <a:lnTo>
                      <a:pt x="13" y="170"/>
                    </a:lnTo>
                    <a:lnTo>
                      <a:pt x="15" y="168"/>
                    </a:lnTo>
                    <a:lnTo>
                      <a:pt x="16" y="166"/>
                    </a:lnTo>
                    <a:lnTo>
                      <a:pt x="16" y="165"/>
                    </a:lnTo>
                    <a:lnTo>
                      <a:pt x="17" y="164"/>
                    </a:lnTo>
                    <a:lnTo>
                      <a:pt x="17" y="163"/>
                    </a:lnTo>
                    <a:lnTo>
                      <a:pt x="17" y="162"/>
                    </a:lnTo>
                    <a:lnTo>
                      <a:pt x="17" y="161"/>
                    </a:lnTo>
                    <a:lnTo>
                      <a:pt x="17" y="160"/>
                    </a:lnTo>
                    <a:lnTo>
                      <a:pt x="16" y="159"/>
                    </a:lnTo>
                    <a:lnTo>
                      <a:pt x="16" y="158"/>
                    </a:lnTo>
                    <a:lnTo>
                      <a:pt x="15" y="158"/>
                    </a:lnTo>
                    <a:lnTo>
                      <a:pt x="14" y="157"/>
                    </a:lnTo>
                    <a:lnTo>
                      <a:pt x="13" y="155"/>
                    </a:lnTo>
                    <a:lnTo>
                      <a:pt x="9" y="154"/>
                    </a:lnTo>
                    <a:lnTo>
                      <a:pt x="7" y="154"/>
                    </a:lnTo>
                    <a:lnTo>
                      <a:pt x="6" y="153"/>
                    </a:lnTo>
                    <a:lnTo>
                      <a:pt x="4" y="153"/>
                    </a:lnTo>
                    <a:lnTo>
                      <a:pt x="3" y="152"/>
                    </a:lnTo>
                    <a:lnTo>
                      <a:pt x="2" y="151"/>
                    </a:lnTo>
                    <a:lnTo>
                      <a:pt x="1" y="149"/>
                    </a:lnTo>
                    <a:lnTo>
                      <a:pt x="0" y="148"/>
                    </a:lnTo>
                    <a:lnTo>
                      <a:pt x="0" y="147"/>
                    </a:lnTo>
                    <a:lnTo>
                      <a:pt x="0" y="146"/>
                    </a:lnTo>
                    <a:lnTo>
                      <a:pt x="0" y="142"/>
                    </a:lnTo>
                    <a:lnTo>
                      <a:pt x="0" y="140"/>
                    </a:lnTo>
                    <a:lnTo>
                      <a:pt x="1" y="138"/>
                    </a:lnTo>
                    <a:lnTo>
                      <a:pt x="3" y="136"/>
                    </a:lnTo>
                    <a:lnTo>
                      <a:pt x="4" y="135"/>
                    </a:lnTo>
                    <a:lnTo>
                      <a:pt x="6" y="134"/>
                    </a:lnTo>
                    <a:lnTo>
                      <a:pt x="7" y="134"/>
                    </a:lnTo>
                    <a:lnTo>
                      <a:pt x="8" y="134"/>
                    </a:lnTo>
                    <a:lnTo>
                      <a:pt x="10" y="134"/>
                    </a:lnTo>
                    <a:lnTo>
                      <a:pt x="11" y="135"/>
                    </a:lnTo>
                    <a:lnTo>
                      <a:pt x="13" y="135"/>
                    </a:lnTo>
                    <a:lnTo>
                      <a:pt x="17" y="137"/>
                    </a:lnTo>
                    <a:lnTo>
                      <a:pt x="19" y="138"/>
                    </a:lnTo>
                    <a:lnTo>
                      <a:pt x="20" y="138"/>
                    </a:lnTo>
                    <a:lnTo>
                      <a:pt x="22" y="138"/>
                    </a:lnTo>
                    <a:lnTo>
                      <a:pt x="23" y="138"/>
                    </a:lnTo>
                    <a:lnTo>
                      <a:pt x="24" y="137"/>
                    </a:lnTo>
                    <a:lnTo>
                      <a:pt x="26" y="136"/>
                    </a:lnTo>
                    <a:lnTo>
                      <a:pt x="27" y="133"/>
                    </a:lnTo>
                    <a:lnTo>
                      <a:pt x="28" y="132"/>
                    </a:lnTo>
                    <a:lnTo>
                      <a:pt x="29" y="131"/>
                    </a:lnTo>
                    <a:lnTo>
                      <a:pt x="32" y="129"/>
                    </a:lnTo>
                    <a:lnTo>
                      <a:pt x="33" y="128"/>
                    </a:lnTo>
                    <a:lnTo>
                      <a:pt x="34" y="127"/>
                    </a:lnTo>
                    <a:lnTo>
                      <a:pt x="39" y="127"/>
                    </a:lnTo>
                    <a:lnTo>
                      <a:pt x="47" y="127"/>
                    </a:lnTo>
                    <a:lnTo>
                      <a:pt x="54" y="127"/>
                    </a:lnTo>
                    <a:lnTo>
                      <a:pt x="64" y="127"/>
                    </a:lnTo>
                    <a:lnTo>
                      <a:pt x="71" y="127"/>
                    </a:lnTo>
                    <a:lnTo>
                      <a:pt x="79" y="127"/>
                    </a:lnTo>
                    <a:lnTo>
                      <a:pt x="89" y="127"/>
                    </a:lnTo>
                    <a:lnTo>
                      <a:pt x="90" y="127"/>
                    </a:lnTo>
                    <a:lnTo>
                      <a:pt x="99" y="127"/>
                    </a:lnTo>
                    <a:lnTo>
                      <a:pt x="102" y="127"/>
                    </a:lnTo>
                    <a:lnTo>
                      <a:pt x="109" y="127"/>
                    </a:lnTo>
                    <a:lnTo>
                      <a:pt x="117" y="127"/>
                    </a:lnTo>
                    <a:lnTo>
                      <a:pt x="117" y="115"/>
                    </a:lnTo>
                    <a:lnTo>
                      <a:pt x="117" y="111"/>
                    </a:lnTo>
                    <a:lnTo>
                      <a:pt x="117" y="109"/>
                    </a:lnTo>
                    <a:lnTo>
                      <a:pt x="117" y="107"/>
                    </a:lnTo>
                    <a:lnTo>
                      <a:pt x="117" y="103"/>
                    </a:lnTo>
                    <a:lnTo>
                      <a:pt x="117" y="97"/>
                    </a:lnTo>
                    <a:lnTo>
                      <a:pt x="117" y="95"/>
                    </a:lnTo>
                    <a:lnTo>
                      <a:pt x="135" y="95"/>
                    </a:lnTo>
                    <a:lnTo>
                      <a:pt x="136" y="95"/>
                    </a:lnTo>
                    <a:lnTo>
                      <a:pt x="137" y="95"/>
                    </a:lnTo>
                    <a:lnTo>
                      <a:pt x="150" y="95"/>
                    </a:lnTo>
                    <a:lnTo>
                      <a:pt x="172" y="95"/>
                    </a:lnTo>
                    <a:lnTo>
                      <a:pt x="172" y="94"/>
                    </a:lnTo>
                    <a:lnTo>
                      <a:pt x="171" y="93"/>
                    </a:lnTo>
                    <a:lnTo>
                      <a:pt x="170" y="91"/>
                    </a:lnTo>
                    <a:lnTo>
                      <a:pt x="169" y="91"/>
                    </a:lnTo>
                    <a:lnTo>
                      <a:pt x="169" y="90"/>
                    </a:lnTo>
                    <a:lnTo>
                      <a:pt x="169" y="89"/>
                    </a:lnTo>
                    <a:lnTo>
                      <a:pt x="170" y="89"/>
                    </a:lnTo>
                    <a:lnTo>
                      <a:pt x="170" y="88"/>
                    </a:lnTo>
                    <a:lnTo>
                      <a:pt x="170" y="87"/>
                    </a:lnTo>
                    <a:lnTo>
                      <a:pt x="169" y="87"/>
                    </a:lnTo>
                    <a:lnTo>
                      <a:pt x="169" y="86"/>
                    </a:lnTo>
                    <a:lnTo>
                      <a:pt x="169" y="85"/>
                    </a:lnTo>
                    <a:lnTo>
                      <a:pt x="170" y="85"/>
                    </a:lnTo>
                    <a:lnTo>
                      <a:pt x="170" y="86"/>
                    </a:lnTo>
                    <a:lnTo>
                      <a:pt x="170" y="85"/>
                    </a:lnTo>
                    <a:lnTo>
                      <a:pt x="171" y="85"/>
                    </a:lnTo>
                    <a:lnTo>
                      <a:pt x="171" y="84"/>
                    </a:lnTo>
                    <a:lnTo>
                      <a:pt x="170" y="84"/>
                    </a:lnTo>
                    <a:lnTo>
                      <a:pt x="171" y="83"/>
                    </a:lnTo>
                    <a:lnTo>
                      <a:pt x="172" y="83"/>
                    </a:lnTo>
                    <a:lnTo>
                      <a:pt x="172" y="82"/>
                    </a:lnTo>
                    <a:lnTo>
                      <a:pt x="171" y="82"/>
                    </a:lnTo>
                    <a:lnTo>
                      <a:pt x="171" y="81"/>
                    </a:lnTo>
                    <a:lnTo>
                      <a:pt x="172" y="80"/>
                    </a:lnTo>
                    <a:lnTo>
                      <a:pt x="172" y="78"/>
                    </a:lnTo>
                    <a:lnTo>
                      <a:pt x="171" y="77"/>
                    </a:lnTo>
                    <a:lnTo>
                      <a:pt x="172" y="77"/>
                    </a:lnTo>
                    <a:lnTo>
                      <a:pt x="172" y="76"/>
                    </a:lnTo>
                    <a:lnTo>
                      <a:pt x="171" y="76"/>
                    </a:lnTo>
                    <a:lnTo>
                      <a:pt x="170" y="76"/>
                    </a:lnTo>
                    <a:lnTo>
                      <a:pt x="169" y="76"/>
                    </a:lnTo>
                    <a:lnTo>
                      <a:pt x="168" y="76"/>
                    </a:lnTo>
                    <a:lnTo>
                      <a:pt x="167" y="76"/>
                    </a:lnTo>
                    <a:lnTo>
                      <a:pt x="167" y="75"/>
                    </a:lnTo>
                    <a:lnTo>
                      <a:pt x="167" y="74"/>
                    </a:lnTo>
                    <a:lnTo>
                      <a:pt x="167" y="73"/>
                    </a:lnTo>
                    <a:lnTo>
                      <a:pt x="167" y="72"/>
                    </a:lnTo>
                    <a:lnTo>
                      <a:pt x="168" y="71"/>
                    </a:lnTo>
                    <a:lnTo>
                      <a:pt x="168" y="70"/>
                    </a:lnTo>
                    <a:lnTo>
                      <a:pt x="168" y="69"/>
                    </a:lnTo>
                    <a:lnTo>
                      <a:pt x="167" y="68"/>
                    </a:lnTo>
                    <a:lnTo>
                      <a:pt x="167" y="67"/>
                    </a:lnTo>
                    <a:lnTo>
                      <a:pt x="166" y="67"/>
                    </a:lnTo>
                    <a:lnTo>
                      <a:pt x="165" y="67"/>
                    </a:lnTo>
                    <a:lnTo>
                      <a:pt x="165" y="65"/>
                    </a:lnTo>
                    <a:lnTo>
                      <a:pt x="165" y="64"/>
                    </a:lnTo>
                    <a:lnTo>
                      <a:pt x="165" y="63"/>
                    </a:lnTo>
                    <a:lnTo>
                      <a:pt x="164" y="63"/>
                    </a:lnTo>
                    <a:lnTo>
                      <a:pt x="164" y="62"/>
                    </a:lnTo>
                    <a:lnTo>
                      <a:pt x="164" y="61"/>
                    </a:lnTo>
                    <a:lnTo>
                      <a:pt x="163" y="61"/>
                    </a:lnTo>
                    <a:lnTo>
                      <a:pt x="163" y="60"/>
                    </a:lnTo>
                    <a:lnTo>
                      <a:pt x="162" y="60"/>
                    </a:lnTo>
                    <a:lnTo>
                      <a:pt x="162" y="59"/>
                    </a:lnTo>
                    <a:lnTo>
                      <a:pt x="162" y="58"/>
                    </a:lnTo>
                    <a:lnTo>
                      <a:pt x="162" y="57"/>
                    </a:lnTo>
                    <a:lnTo>
                      <a:pt x="162" y="56"/>
                    </a:lnTo>
                    <a:lnTo>
                      <a:pt x="162" y="55"/>
                    </a:lnTo>
                    <a:lnTo>
                      <a:pt x="161" y="55"/>
                    </a:lnTo>
                    <a:lnTo>
                      <a:pt x="159" y="55"/>
                    </a:lnTo>
                    <a:lnTo>
                      <a:pt x="159" y="54"/>
                    </a:lnTo>
                    <a:lnTo>
                      <a:pt x="161" y="54"/>
                    </a:lnTo>
                    <a:lnTo>
                      <a:pt x="161" y="52"/>
                    </a:lnTo>
                    <a:lnTo>
                      <a:pt x="161" y="51"/>
                    </a:lnTo>
                    <a:lnTo>
                      <a:pt x="162" y="51"/>
                    </a:lnTo>
                    <a:lnTo>
                      <a:pt x="161" y="51"/>
                    </a:lnTo>
                    <a:lnTo>
                      <a:pt x="161" y="50"/>
                    </a:lnTo>
                    <a:lnTo>
                      <a:pt x="159" y="50"/>
                    </a:lnTo>
                    <a:lnTo>
                      <a:pt x="159" y="49"/>
                    </a:lnTo>
                    <a:lnTo>
                      <a:pt x="159" y="48"/>
                    </a:lnTo>
                    <a:lnTo>
                      <a:pt x="159" y="47"/>
                    </a:lnTo>
                    <a:lnTo>
                      <a:pt x="158" y="47"/>
                    </a:lnTo>
                    <a:lnTo>
                      <a:pt x="159" y="46"/>
                    </a:lnTo>
                    <a:lnTo>
                      <a:pt x="158" y="46"/>
                    </a:lnTo>
                    <a:lnTo>
                      <a:pt x="158" y="45"/>
                    </a:lnTo>
                    <a:lnTo>
                      <a:pt x="158" y="44"/>
                    </a:lnTo>
                    <a:lnTo>
                      <a:pt x="157" y="43"/>
                    </a:lnTo>
                    <a:lnTo>
                      <a:pt x="158" y="43"/>
                    </a:lnTo>
                    <a:lnTo>
                      <a:pt x="158" y="42"/>
                    </a:lnTo>
                    <a:lnTo>
                      <a:pt x="159" y="42"/>
                    </a:lnTo>
                    <a:lnTo>
                      <a:pt x="159" y="41"/>
                    </a:lnTo>
                    <a:lnTo>
                      <a:pt x="158" y="39"/>
                    </a:lnTo>
                    <a:lnTo>
                      <a:pt x="158" y="38"/>
                    </a:lnTo>
                    <a:lnTo>
                      <a:pt x="158" y="37"/>
                    </a:lnTo>
                    <a:lnTo>
                      <a:pt x="158" y="36"/>
                    </a:lnTo>
                    <a:lnTo>
                      <a:pt x="157" y="36"/>
                    </a:lnTo>
                    <a:lnTo>
                      <a:pt x="157" y="35"/>
                    </a:lnTo>
                    <a:lnTo>
                      <a:pt x="157" y="34"/>
                    </a:lnTo>
                    <a:lnTo>
                      <a:pt x="157" y="33"/>
                    </a:lnTo>
                    <a:lnTo>
                      <a:pt x="157" y="32"/>
                    </a:lnTo>
                    <a:lnTo>
                      <a:pt x="156" y="32"/>
                    </a:lnTo>
                    <a:lnTo>
                      <a:pt x="157" y="31"/>
                    </a:lnTo>
                    <a:lnTo>
                      <a:pt x="157" y="30"/>
                    </a:lnTo>
                    <a:lnTo>
                      <a:pt x="157" y="29"/>
                    </a:lnTo>
                    <a:lnTo>
                      <a:pt x="158" y="29"/>
                    </a:lnTo>
                    <a:lnTo>
                      <a:pt x="158" y="26"/>
                    </a:lnTo>
                    <a:lnTo>
                      <a:pt x="159" y="26"/>
                    </a:lnTo>
                    <a:lnTo>
                      <a:pt x="159" y="25"/>
                    </a:lnTo>
                    <a:lnTo>
                      <a:pt x="159" y="24"/>
                    </a:lnTo>
                    <a:lnTo>
                      <a:pt x="158" y="24"/>
                    </a:lnTo>
                    <a:lnTo>
                      <a:pt x="158" y="22"/>
                    </a:lnTo>
                    <a:lnTo>
                      <a:pt x="158" y="21"/>
                    </a:lnTo>
                    <a:lnTo>
                      <a:pt x="157" y="21"/>
                    </a:lnTo>
                    <a:lnTo>
                      <a:pt x="157" y="20"/>
                    </a:lnTo>
                    <a:lnTo>
                      <a:pt x="156" y="19"/>
                    </a:lnTo>
                    <a:lnTo>
                      <a:pt x="156" y="18"/>
                    </a:lnTo>
                    <a:lnTo>
                      <a:pt x="156" y="17"/>
                    </a:lnTo>
                    <a:lnTo>
                      <a:pt x="155" y="17"/>
                    </a:lnTo>
                    <a:lnTo>
                      <a:pt x="155" y="16"/>
                    </a:lnTo>
                    <a:lnTo>
                      <a:pt x="155" y="14"/>
                    </a:lnTo>
                    <a:lnTo>
                      <a:pt x="156" y="14"/>
                    </a:lnTo>
                    <a:lnTo>
                      <a:pt x="155" y="13"/>
                    </a:lnTo>
                    <a:lnTo>
                      <a:pt x="155" y="12"/>
                    </a:lnTo>
                    <a:lnTo>
                      <a:pt x="155" y="11"/>
                    </a:lnTo>
                    <a:lnTo>
                      <a:pt x="154" y="11"/>
                    </a:lnTo>
                    <a:lnTo>
                      <a:pt x="154" y="10"/>
                    </a:lnTo>
                    <a:lnTo>
                      <a:pt x="154" y="9"/>
                    </a:lnTo>
                    <a:lnTo>
                      <a:pt x="154" y="8"/>
                    </a:lnTo>
                    <a:lnTo>
                      <a:pt x="154" y="7"/>
                    </a:lnTo>
                    <a:lnTo>
                      <a:pt x="154" y="6"/>
                    </a:lnTo>
                    <a:lnTo>
                      <a:pt x="154" y="5"/>
                    </a:lnTo>
                    <a:lnTo>
                      <a:pt x="153" y="5"/>
                    </a:lnTo>
                    <a:lnTo>
                      <a:pt x="154" y="5"/>
                    </a:lnTo>
                    <a:lnTo>
                      <a:pt x="154" y="4"/>
                    </a:lnTo>
                    <a:lnTo>
                      <a:pt x="154" y="3"/>
                    </a:lnTo>
                    <a:lnTo>
                      <a:pt x="154" y="1"/>
                    </a:lnTo>
                    <a:lnTo>
                      <a:pt x="153" y="1"/>
                    </a:lnTo>
                    <a:lnTo>
                      <a:pt x="153" y="0"/>
                    </a:lnTo>
                    <a:lnTo>
                      <a:pt x="169" y="0"/>
                    </a:lnTo>
                    <a:lnTo>
                      <a:pt x="171" y="0"/>
                    </a:lnTo>
                    <a:lnTo>
                      <a:pt x="187" y="0"/>
                    </a:lnTo>
                    <a:lnTo>
                      <a:pt x="191" y="0"/>
                    </a:lnTo>
                    <a:lnTo>
                      <a:pt x="192" y="0"/>
                    </a:lnTo>
                    <a:lnTo>
                      <a:pt x="194" y="0"/>
                    </a:lnTo>
                    <a:lnTo>
                      <a:pt x="228" y="0"/>
                    </a:lnTo>
                    <a:lnTo>
                      <a:pt x="260" y="0"/>
                    </a:lnTo>
                    <a:lnTo>
                      <a:pt x="262" y="0"/>
                    </a:lnTo>
                    <a:lnTo>
                      <a:pt x="278" y="0"/>
                    </a:lnTo>
                    <a:lnTo>
                      <a:pt x="284" y="0"/>
                    </a:lnTo>
                    <a:lnTo>
                      <a:pt x="295" y="0"/>
                    </a:lnTo>
                    <a:lnTo>
                      <a:pt x="311" y="0"/>
                    </a:lnTo>
                    <a:lnTo>
                      <a:pt x="325" y="0"/>
                    </a:lnTo>
                    <a:lnTo>
                      <a:pt x="326" y="0"/>
                    </a:lnTo>
                    <a:lnTo>
                      <a:pt x="331" y="0"/>
                    </a:lnTo>
                    <a:lnTo>
                      <a:pt x="335" y="0"/>
                    </a:lnTo>
                    <a:close/>
                  </a:path>
                </a:pathLst>
              </a:custGeom>
              <a:solidFill>
                <a:srgbClr val="8CC1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4" name="Freeform 64">
                <a:extLst>
                  <a:ext uri="{FF2B5EF4-FFF2-40B4-BE49-F238E27FC236}">
                    <a16:creationId xmlns:a16="http://schemas.microsoft.com/office/drawing/2014/main" id="{CF9ECDA2-0A20-4A0F-1716-994097EA3C10}"/>
                  </a:ext>
                </a:extLst>
              </p:cNvPr>
              <p:cNvSpPr>
                <a:spLocks/>
              </p:cNvSpPr>
              <p:nvPr/>
            </p:nvSpPr>
            <p:spPr bwMode="auto">
              <a:xfrm>
                <a:off x="1336676" y="1128713"/>
                <a:ext cx="460375" cy="903288"/>
              </a:xfrm>
              <a:custGeom>
                <a:avLst/>
                <a:gdLst>
                  <a:gd name="T0" fmla="*/ 199 w 290"/>
                  <a:gd name="T1" fmla="*/ 18 h 569"/>
                  <a:gd name="T2" fmla="*/ 194 w 290"/>
                  <a:gd name="T3" fmla="*/ 30 h 569"/>
                  <a:gd name="T4" fmla="*/ 200 w 290"/>
                  <a:gd name="T5" fmla="*/ 46 h 569"/>
                  <a:gd name="T6" fmla="*/ 207 w 290"/>
                  <a:gd name="T7" fmla="*/ 60 h 569"/>
                  <a:gd name="T8" fmla="*/ 221 w 290"/>
                  <a:gd name="T9" fmla="*/ 68 h 569"/>
                  <a:gd name="T10" fmla="*/ 230 w 290"/>
                  <a:gd name="T11" fmla="*/ 82 h 569"/>
                  <a:gd name="T12" fmla="*/ 226 w 290"/>
                  <a:gd name="T13" fmla="*/ 94 h 569"/>
                  <a:gd name="T14" fmla="*/ 244 w 290"/>
                  <a:gd name="T15" fmla="*/ 110 h 569"/>
                  <a:gd name="T16" fmla="*/ 238 w 290"/>
                  <a:gd name="T17" fmla="*/ 121 h 569"/>
                  <a:gd name="T18" fmla="*/ 239 w 290"/>
                  <a:gd name="T19" fmla="*/ 136 h 569"/>
                  <a:gd name="T20" fmla="*/ 237 w 290"/>
                  <a:gd name="T21" fmla="*/ 154 h 569"/>
                  <a:gd name="T22" fmla="*/ 228 w 290"/>
                  <a:gd name="T23" fmla="*/ 172 h 569"/>
                  <a:gd name="T24" fmla="*/ 231 w 290"/>
                  <a:gd name="T25" fmla="*/ 186 h 569"/>
                  <a:gd name="T26" fmla="*/ 249 w 290"/>
                  <a:gd name="T27" fmla="*/ 443 h 569"/>
                  <a:gd name="T28" fmla="*/ 263 w 290"/>
                  <a:gd name="T29" fmla="*/ 450 h 569"/>
                  <a:gd name="T30" fmla="*/ 273 w 290"/>
                  <a:gd name="T31" fmla="*/ 479 h 569"/>
                  <a:gd name="T32" fmla="*/ 259 w 290"/>
                  <a:gd name="T33" fmla="*/ 512 h 569"/>
                  <a:gd name="T34" fmla="*/ 263 w 290"/>
                  <a:gd name="T35" fmla="*/ 526 h 569"/>
                  <a:gd name="T36" fmla="*/ 267 w 290"/>
                  <a:gd name="T37" fmla="*/ 543 h 569"/>
                  <a:gd name="T38" fmla="*/ 266 w 290"/>
                  <a:gd name="T39" fmla="*/ 561 h 569"/>
                  <a:gd name="T40" fmla="*/ 229 w 290"/>
                  <a:gd name="T41" fmla="*/ 566 h 569"/>
                  <a:gd name="T42" fmla="*/ 220 w 290"/>
                  <a:gd name="T43" fmla="*/ 554 h 569"/>
                  <a:gd name="T44" fmla="*/ 217 w 290"/>
                  <a:gd name="T45" fmla="*/ 551 h 569"/>
                  <a:gd name="T46" fmla="*/ 204 w 290"/>
                  <a:gd name="T47" fmla="*/ 540 h 569"/>
                  <a:gd name="T48" fmla="*/ 202 w 290"/>
                  <a:gd name="T49" fmla="*/ 525 h 569"/>
                  <a:gd name="T50" fmla="*/ 183 w 290"/>
                  <a:gd name="T51" fmla="*/ 527 h 569"/>
                  <a:gd name="T52" fmla="*/ 191 w 290"/>
                  <a:gd name="T53" fmla="*/ 512 h 569"/>
                  <a:gd name="T54" fmla="*/ 180 w 290"/>
                  <a:gd name="T55" fmla="*/ 508 h 569"/>
                  <a:gd name="T56" fmla="*/ 180 w 290"/>
                  <a:gd name="T57" fmla="*/ 502 h 569"/>
                  <a:gd name="T58" fmla="*/ 172 w 290"/>
                  <a:gd name="T59" fmla="*/ 501 h 569"/>
                  <a:gd name="T60" fmla="*/ 162 w 290"/>
                  <a:gd name="T61" fmla="*/ 496 h 569"/>
                  <a:gd name="T62" fmla="*/ 141 w 290"/>
                  <a:gd name="T63" fmla="*/ 488 h 569"/>
                  <a:gd name="T64" fmla="*/ 149 w 290"/>
                  <a:gd name="T65" fmla="*/ 467 h 569"/>
                  <a:gd name="T66" fmla="*/ 133 w 290"/>
                  <a:gd name="T67" fmla="*/ 473 h 569"/>
                  <a:gd name="T68" fmla="*/ 127 w 290"/>
                  <a:gd name="T69" fmla="*/ 458 h 569"/>
                  <a:gd name="T70" fmla="*/ 126 w 290"/>
                  <a:gd name="T71" fmla="*/ 453 h 569"/>
                  <a:gd name="T72" fmla="*/ 113 w 290"/>
                  <a:gd name="T73" fmla="*/ 457 h 569"/>
                  <a:gd name="T74" fmla="*/ 110 w 290"/>
                  <a:gd name="T75" fmla="*/ 440 h 569"/>
                  <a:gd name="T76" fmla="*/ 100 w 290"/>
                  <a:gd name="T77" fmla="*/ 429 h 569"/>
                  <a:gd name="T78" fmla="*/ 105 w 290"/>
                  <a:gd name="T79" fmla="*/ 420 h 569"/>
                  <a:gd name="T80" fmla="*/ 91 w 290"/>
                  <a:gd name="T81" fmla="*/ 396 h 569"/>
                  <a:gd name="T82" fmla="*/ 81 w 290"/>
                  <a:gd name="T83" fmla="*/ 383 h 569"/>
                  <a:gd name="T84" fmla="*/ 63 w 290"/>
                  <a:gd name="T85" fmla="*/ 357 h 569"/>
                  <a:gd name="T86" fmla="*/ 56 w 290"/>
                  <a:gd name="T87" fmla="*/ 351 h 569"/>
                  <a:gd name="T88" fmla="*/ 67 w 290"/>
                  <a:gd name="T89" fmla="*/ 345 h 569"/>
                  <a:gd name="T90" fmla="*/ 64 w 290"/>
                  <a:gd name="T91" fmla="*/ 325 h 569"/>
                  <a:gd name="T92" fmla="*/ 47 w 290"/>
                  <a:gd name="T93" fmla="*/ 309 h 569"/>
                  <a:gd name="T94" fmla="*/ 57 w 290"/>
                  <a:gd name="T95" fmla="*/ 293 h 569"/>
                  <a:gd name="T96" fmla="*/ 40 w 290"/>
                  <a:gd name="T97" fmla="*/ 269 h 569"/>
                  <a:gd name="T98" fmla="*/ 35 w 290"/>
                  <a:gd name="T99" fmla="*/ 252 h 569"/>
                  <a:gd name="T100" fmla="*/ 19 w 290"/>
                  <a:gd name="T101" fmla="*/ 224 h 569"/>
                  <a:gd name="T102" fmla="*/ 34 w 290"/>
                  <a:gd name="T103" fmla="*/ 190 h 569"/>
                  <a:gd name="T104" fmla="*/ 34 w 290"/>
                  <a:gd name="T105" fmla="*/ 161 h 569"/>
                  <a:gd name="T106" fmla="*/ 13 w 290"/>
                  <a:gd name="T107" fmla="*/ 166 h 569"/>
                  <a:gd name="T108" fmla="*/ 36 w 290"/>
                  <a:gd name="T109" fmla="*/ 137 h 569"/>
                  <a:gd name="T110" fmla="*/ 24 w 290"/>
                  <a:gd name="T111" fmla="*/ 124 h 569"/>
                  <a:gd name="T112" fmla="*/ 22 w 290"/>
                  <a:gd name="T113" fmla="*/ 105 h 569"/>
                  <a:gd name="T114" fmla="*/ 26 w 290"/>
                  <a:gd name="T115" fmla="*/ 67 h 569"/>
                  <a:gd name="T116" fmla="*/ 1 w 290"/>
                  <a:gd name="T117" fmla="*/ 49 h 569"/>
                  <a:gd name="T118" fmla="*/ 27 w 290"/>
                  <a:gd name="T119" fmla="*/ 40 h 569"/>
                  <a:gd name="T120" fmla="*/ 18 w 290"/>
                  <a:gd name="T121" fmla="*/ 28 h 569"/>
                  <a:gd name="T122" fmla="*/ 26 w 290"/>
                  <a:gd name="T12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0" h="569">
                    <a:moveTo>
                      <a:pt x="200" y="0"/>
                    </a:moveTo>
                    <a:lnTo>
                      <a:pt x="199" y="1"/>
                    </a:lnTo>
                    <a:lnTo>
                      <a:pt x="200" y="1"/>
                    </a:lnTo>
                    <a:lnTo>
                      <a:pt x="200" y="2"/>
                    </a:lnTo>
                    <a:lnTo>
                      <a:pt x="201" y="2"/>
                    </a:lnTo>
                    <a:lnTo>
                      <a:pt x="201" y="3"/>
                    </a:lnTo>
                    <a:lnTo>
                      <a:pt x="202" y="3"/>
                    </a:lnTo>
                    <a:lnTo>
                      <a:pt x="202" y="4"/>
                    </a:lnTo>
                    <a:lnTo>
                      <a:pt x="203" y="4"/>
                    </a:lnTo>
                    <a:lnTo>
                      <a:pt x="203" y="5"/>
                    </a:lnTo>
                    <a:lnTo>
                      <a:pt x="203" y="6"/>
                    </a:lnTo>
                    <a:lnTo>
                      <a:pt x="202" y="6"/>
                    </a:lnTo>
                    <a:lnTo>
                      <a:pt x="202" y="7"/>
                    </a:lnTo>
                    <a:lnTo>
                      <a:pt x="202" y="8"/>
                    </a:lnTo>
                    <a:lnTo>
                      <a:pt x="202" y="11"/>
                    </a:lnTo>
                    <a:lnTo>
                      <a:pt x="202" y="12"/>
                    </a:lnTo>
                    <a:lnTo>
                      <a:pt x="202" y="13"/>
                    </a:lnTo>
                    <a:lnTo>
                      <a:pt x="201" y="13"/>
                    </a:lnTo>
                    <a:lnTo>
                      <a:pt x="200" y="14"/>
                    </a:lnTo>
                    <a:lnTo>
                      <a:pt x="199" y="14"/>
                    </a:lnTo>
                    <a:lnTo>
                      <a:pt x="199" y="15"/>
                    </a:lnTo>
                    <a:lnTo>
                      <a:pt x="200" y="15"/>
                    </a:lnTo>
                    <a:lnTo>
                      <a:pt x="200" y="16"/>
                    </a:lnTo>
                    <a:lnTo>
                      <a:pt x="199" y="17"/>
                    </a:lnTo>
                    <a:lnTo>
                      <a:pt x="199" y="18"/>
                    </a:lnTo>
                    <a:lnTo>
                      <a:pt x="198" y="19"/>
                    </a:lnTo>
                    <a:lnTo>
                      <a:pt x="198" y="18"/>
                    </a:lnTo>
                    <a:lnTo>
                      <a:pt x="196" y="18"/>
                    </a:lnTo>
                    <a:lnTo>
                      <a:pt x="196" y="19"/>
                    </a:lnTo>
                    <a:lnTo>
                      <a:pt x="198" y="19"/>
                    </a:lnTo>
                    <a:lnTo>
                      <a:pt x="196" y="20"/>
                    </a:lnTo>
                    <a:lnTo>
                      <a:pt x="196" y="21"/>
                    </a:lnTo>
                    <a:lnTo>
                      <a:pt x="196" y="23"/>
                    </a:lnTo>
                    <a:lnTo>
                      <a:pt x="196" y="24"/>
                    </a:lnTo>
                    <a:lnTo>
                      <a:pt x="196" y="25"/>
                    </a:lnTo>
                    <a:lnTo>
                      <a:pt x="195" y="25"/>
                    </a:lnTo>
                    <a:lnTo>
                      <a:pt x="194" y="25"/>
                    </a:lnTo>
                    <a:lnTo>
                      <a:pt x="194" y="26"/>
                    </a:lnTo>
                    <a:lnTo>
                      <a:pt x="193" y="26"/>
                    </a:lnTo>
                    <a:lnTo>
                      <a:pt x="193" y="27"/>
                    </a:lnTo>
                    <a:lnTo>
                      <a:pt x="193" y="28"/>
                    </a:lnTo>
                    <a:lnTo>
                      <a:pt x="193" y="29"/>
                    </a:lnTo>
                    <a:lnTo>
                      <a:pt x="193" y="30"/>
                    </a:lnTo>
                    <a:lnTo>
                      <a:pt x="194" y="30"/>
                    </a:lnTo>
                    <a:lnTo>
                      <a:pt x="194" y="31"/>
                    </a:lnTo>
                    <a:lnTo>
                      <a:pt x="193" y="31"/>
                    </a:lnTo>
                    <a:lnTo>
                      <a:pt x="193" y="32"/>
                    </a:lnTo>
                    <a:lnTo>
                      <a:pt x="194" y="32"/>
                    </a:lnTo>
                    <a:lnTo>
                      <a:pt x="194" y="31"/>
                    </a:lnTo>
                    <a:lnTo>
                      <a:pt x="194" y="30"/>
                    </a:lnTo>
                    <a:lnTo>
                      <a:pt x="195" y="30"/>
                    </a:lnTo>
                    <a:lnTo>
                      <a:pt x="195" y="31"/>
                    </a:lnTo>
                    <a:lnTo>
                      <a:pt x="195" y="30"/>
                    </a:lnTo>
                    <a:lnTo>
                      <a:pt x="196" y="30"/>
                    </a:lnTo>
                    <a:lnTo>
                      <a:pt x="196" y="31"/>
                    </a:lnTo>
                    <a:lnTo>
                      <a:pt x="195" y="32"/>
                    </a:lnTo>
                    <a:lnTo>
                      <a:pt x="195" y="33"/>
                    </a:lnTo>
                    <a:lnTo>
                      <a:pt x="195" y="34"/>
                    </a:lnTo>
                    <a:lnTo>
                      <a:pt x="194" y="34"/>
                    </a:lnTo>
                    <a:lnTo>
                      <a:pt x="194" y="36"/>
                    </a:lnTo>
                    <a:lnTo>
                      <a:pt x="193" y="37"/>
                    </a:lnTo>
                    <a:lnTo>
                      <a:pt x="193" y="38"/>
                    </a:lnTo>
                    <a:lnTo>
                      <a:pt x="194" y="38"/>
                    </a:lnTo>
                    <a:lnTo>
                      <a:pt x="195" y="38"/>
                    </a:lnTo>
                    <a:lnTo>
                      <a:pt x="196" y="38"/>
                    </a:lnTo>
                    <a:lnTo>
                      <a:pt x="198" y="38"/>
                    </a:lnTo>
                    <a:lnTo>
                      <a:pt x="198" y="39"/>
                    </a:lnTo>
                    <a:lnTo>
                      <a:pt x="198" y="40"/>
                    </a:lnTo>
                    <a:lnTo>
                      <a:pt x="199" y="40"/>
                    </a:lnTo>
                    <a:lnTo>
                      <a:pt x="200" y="39"/>
                    </a:lnTo>
                    <a:lnTo>
                      <a:pt x="200" y="40"/>
                    </a:lnTo>
                    <a:lnTo>
                      <a:pt x="200" y="42"/>
                    </a:lnTo>
                    <a:lnTo>
                      <a:pt x="200" y="44"/>
                    </a:lnTo>
                    <a:lnTo>
                      <a:pt x="200" y="45"/>
                    </a:lnTo>
                    <a:lnTo>
                      <a:pt x="200" y="46"/>
                    </a:lnTo>
                    <a:lnTo>
                      <a:pt x="200" y="47"/>
                    </a:lnTo>
                    <a:lnTo>
                      <a:pt x="200" y="49"/>
                    </a:lnTo>
                    <a:lnTo>
                      <a:pt x="201" y="49"/>
                    </a:lnTo>
                    <a:lnTo>
                      <a:pt x="201" y="47"/>
                    </a:lnTo>
                    <a:lnTo>
                      <a:pt x="202" y="47"/>
                    </a:lnTo>
                    <a:lnTo>
                      <a:pt x="202" y="49"/>
                    </a:lnTo>
                    <a:lnTo>
                      <a:pt x="202" y="50"/>
                    </a:lnTo>
                    <a:lnTo>
                      <a:pt x="203" y="50"/>
                    </a:lnTo>
                    <a:lnTo>
                      <a:pt x="204" y="50"/>
                    </a:lnTo>
                    <a:lnTo>
                      <a:pt x="204" y="51"/>
                    </a:lnTo>
                    <a:lnTo>
                      <a:pt x="204" y="52"/>
                    </a:lnTo>
                    <a:lnTo>
                      <a:pt x="204" y="53"/>
                    </a:lnTo>
                    <a:lnTo>
                      <a:pt x="204" y="54"/>
                    </a:lnTo>
                    <a:lnTo>
                      <a:pt x="205" y="54"/>
                    </a:lnTo>
                    <a:lnTo>
                      <a:pt x="205" y="55"/>
                    </a:lnTo>
                    <a:lnTo>
                      <a:pt x="205" y="56"/>
                    </a:lnTo>
                    <a:lnTo>
                      <a:pt x="204" y="57"/>
                    </a:lnTo>
                    <a:lnTo>
                      <a:pt x="204" y="58"/>
                    </a:lnTo>
                    <a:lnTo>
                      <a:pt x="205" y="58"/>
                    </a:lnTo>
                    <a:lnTo>
                      <a:pt x="206" y="58"/>
                    </a:lnTo>
                    <a:lnTo>
                      <a:pt x="206" y="59"/>
                    </a:lnTo>
                    <a:lnTo>
                      <a:pt x="207" y="59"/>
                    </a:lnTo>
                    <a:lnTo>
                      <a:pt x="207" y="60"/>
                    </a:lnTo>
                    <a:lnTo>
                      <a:pt x="206" y="60"/>
                    </a:lnTo>
                    <a:lnTo>
                      <a:pt x="207" y="60"/>
                    </a:lnTo>
                    <a:lnTo>
                      <a:pt x="208" y="60"/>
                    </a:lnTo>
                    <a:lnTo>
                      <a:pt x="208" y="62"/>
                    </a:lnTo>
                    <a:lnTo>
                      <a:pt x="209" y="62"/>
                    </a:lnTo>
                    <a:lnTo>
                      <a:pt x="211" y="62"/>
                    </a:lnTo>
                    <a:lnTo>
                      <a:pt x="211" y="63"/>
                    </a:lnTo>
                    <a:lnTo>
                      <a:pt x="212" y="63"/>
                    </a:lnTo>
                    <a:lnTo>
                      <a:pt x="212" y="64"/>
                    </a:lnTo>
                    <a:lnTo>
                      <a:pt x="213" y="65"/>
                    </a:lnTo>
                    <a:lnTo>
                      <a:pt x="213" y="66"/>
                    </a:lnTo>
                    <a:lnTo>
                      <a:pt x="214" y="66"/>
                    </a:lnTo>
                    <a:lnTo>
                      <a:pt x="214" y="67"/>
                    </a:lnTo>
                    <a:lnTo>
                      <a:pt x="214" y="68"/>
                    </a:lnTo>
                    <a:lnTo>
                      <a:pt x="213" y="69"/>
                    </a:lnTo>
                    <a:lnTo>
                      <a:pt x="213" y="70"/>
                    </a:lnTo>
                    <a:lnTo>
                      <a:pt x="214" y="70"/>
                    </a:lnTo>
                    <a:lnTo>
                      <a:pt x="215" y="70"/>
                    </a:lnTo>
                    <a:lnTo>
                      <a:pt x="215" y="71"/>
                    </a:lnTo>
                    <a:lnTo>
                      <a:pt x="216" y="71"/>
                    </a:lnTo>
                    <a:lnTo>
                      <a:pt x="217" y="70"/>
                    </a:lnTo>
                    <a:lnTo>
                      <a:pt x="218" y="69"/>
                    </a:lnTo>
                    <a:lnTo>
                      <a:pt x="219" y="69"/>
                    </a:lnTo>
                    <a:lnTo>
                      <a:pt x="219" y="68"/>
                    </a:lnTo>
                    <a:lnTo>
                      <a:pt x="220" y="68"/>
                    </a:lnTo>
                    <a:lnTo>
                      <a:pt x="221" y="67"/>
                    </a:lnTo>
                    <a:lnTo>
                      <a:pt x="221" y="68"/>
                    </a:lnTo>
                    <a:lnTo>
                      <a:pt x="223" y="68"/>
                    </a:lnTo>
                    <a:lnTo>
                      <a:pt x="224" y="67"/>
                    </a:lnTo>
                    <a:lnTo>
                      <a:pt x="224" y="68"/>
                    </a:lnTo>
                    <a:lnTo>
                      <a:pt x="225" y="68"/>
                    </a:lnTo>
                    <a:lnTo>
                      <a:pt x="225" y="69"/>
                    </a:lnTo>
                    <a:lnTo>
                      <a:pt x="226" y="69"/>
                    </a:lnTo>
                    <a:lnTo>
                      <a:pt x="226" y="70"/>
                    </a:lnTo>
                    <a:lnTo>
                      <a:pt x="225" y="70"/>
                    </a:lnTo>
                    <a:lnTo>
                      <a:pt x="225" y="71"/>
                    </a:lnTo>
                    <a:lnTo>
                      <a:pt x="225" y="72"/>
                    </a:lnTo>
                    <a:lnTo>
                      <a:pt x="226" y="73"/>
                    </a:lnTo>
                    <a:lnTo>
                      <a:pt x="227" y="73"/>
                    </a:lnTo>
                    <a:lnTo>
                      <a:pt x="228" y="73"/>
                    </a:lnTo>
                    <a:lnTo>
                      <a:pt x="229" y="73"/>
                    </a:lnTo>
                    <a:lnTo>
                      <a:pt x="230" y="73"/>
                    </a:lnTo>
                    <a:lnTo>
                      <a:pt x="231" y="75"/>
                    </a:lnTo>
                    <a:lnTo>
                      <a:pt x="230" y="75"/>
                    </a:lnTo>
                    <a:lnTo>
                      <a:pt x="230" y="76"/>
                    </a:lnTo>
                    <a:lnTo>
                      <a:pt x="229" y="76"/>
                    </a:lnTo>
                    <a:lnTo>
                      <a:pt x="229" y="77"/>
                    </a:lnTo>
                    <a:lnTo>
                      <a:pt x="230" y="78"/>
                    </a:lnTo>
                    <a:lnTo>
                      <a:pt x="229" y="79"/>
                    </a:lnTo>
                    <a:lnTo>
                      <a:pt x="229" y="80"/>
                    </a:lnTo>
                    <a:lnTo>
                      <a:pt x="229" y="81"/>
                    </a:lnTo>
                    <a:lnTo>
                      <a:pt x="230" y="82"/>
                    </a:lnTo>
                    <a:lnTo>
                      <a:pt x="230" y="83"/>
                    </a:lnTo>
                    <a:lnTo>
                      <a:pt x="228" y="83"/>
                    </a:lnTo>
                    <a:lnTo>
                      <a:pt x="227" y="83"/>
                    </a:lnTo>
                    <a:lnTo>
                      <a:pt x="226" y="82"/>
                    </a:lnTo>
                    <a:lnTo>
                      <a:pt x="225" y="82"/>
                    </a:lnTo>
                    <a:lnTo>
                      <a:pt x="224" y="82"/>
                    </a:lnTo>
                    <a:lnTo>
                      <a:pt x="224" y="83"/>
                    </a:lnTo>
                    <a:lnTo>
                      <a:pt x="223" y="83"/>
                    </a:lnTo>
                    <a:lnTo>
                      <a:pt x="223" y="84"/>
                    </a:lnTo>
                    <a:lnTo>
                      <a:pt x="224" y="84"/>
                    </a:lnTo>
                    <a:lnTo>
                      <a:pt x="224" y="85"/>
                    </a:lnTo>
                    <a:lnTo>
                      <a:pt x="223" y="85"/>
                    </a:lnTo>
                    <a:lnTo>
                      <a:pt x="224" y="85"/>
                    </a:lnTo>
                    <a:lnTo>
                      <a:pt x="224" y="86"/>
                    </a:lnTo>
                    <a:lnTo>
                      <a:pt x="224" y="88"/>
                    </a:lnTo>
                    <a:lnTo>
                      <a:pt x="224" y="89"/>
                    </a:lnTo>
                    <a:lnTo>
                      <a:pt x="225" y="89"/>
                    </a:lnTo>
                    <a:lnTo>
                      <a:pt x="225" y="90"/>
                    </a:lnTo>
                    <a:lnTo>
                      <a:pt x="225" y="91"/>
                    </a:lnTo>
                    <a:lnTo>
                      <a:pt x="225" y="92"/>
                    </a:lnTo>
                    <a:lnTo>
                      <a:pt x="224" y="93"/>
                    </a:lnTo>
                    <a:lnTo>
                      <a:pt x="224" y="94"/>
                    </a:lnTo>
                    <a:lnTo>
                      <a:pt x="225" y="94"/>
                    </a:lnTo>
                    <a:lnTo>
                      <a:pt x="225" y="93"/>
                    </a:lnTo>
                    <a:lnTo>
                      <a:pt x="226" y="94"/>
                    </a:lnTo>
                    <a:lnTo>
                      <a:pt x="226" y="95"/>
                    </a:lnTo>
                    <a:lnTo>
                      <a:pt x="226" y="96"/>
                    </a:lnTo>
                    <a:lnTo>
                      <a:pt x="226" y="97"/>
                    </a:lnTo>
                    <a:lnTo>
                      <a:pt x="227" y="97"/>
                    </a:lnTo>
                    <a:lnTo>
                      <a:pt x="228" y="97"/>
                    </a:lnTo>
                    <a:lnTo>
                      <a:pt x="228" y="98"/>
                    </a:lnTo>
                    <a:lnTo>
                      <a:pt x="229" y="98"/>
                    </a:lnTo>
                    <a:lnTo>
                      <a:pt x="230" y="98"/>
                    </a:lnTo>
                    <a:lnTo>
                      <a:pt x="230" y="100"/>
                    </a:lnTo>
                    <a:lnTo>
                      <a:pt x="231" y="101"/>
                    </a:lnTo>
                    <a:lnTo>
                      <a:pt x="232" y="102"/>
                    </a:lnTo>
                    <a:lnTo>
                      <a:pt x="233" y="103"/>
                    </a:lnTo>
                    <a:lnTo>
                      <a:pt x="233" y="104"/>
                    </a:lnTo>
                    <a:lnTo>
                      <a:pt x="233" y="105"/>
                    </a:lnTo>
                    <a:lnTo>
                      <a:pt x="233" y="107"/>
                    </a:lnTo>
                    <a:lnTo>
                      <a:pt x="233" y="108"/>
                    </a:lnTo>
                    <a:lnTo>
                      <a:pt x="233" y="109"/>
                    </a:lnTo>
                    <a:lnTo>
                      <a:pt x="234" y="110"/>
                    </a:lnTo>
                    <a:lnTo>
                      <a:pt x="236" y="110"/>
                    </a:lnTo>
                    <a:lnTo>
                      <a:pt x="239" y="109"/>
                    </a:lnTo>
                    <a:lnTo>
                      <a:pt x="241" y="109"/>
                    </a:lnTo>
                    <a:lnTo>
                      <a:pt x="242" y="108"/>
                    </a:lnTo>
                    <a:lnTo>
                      <a:pt x="243" y="109"/>
                    </a:lnTo>
                    <a:lnTo>
                      <a:pt x="243" y="110"/>
                    </a:lnTo>
                    <a:lnTo>
                      <a:pt x="244" y="110"/>
                    </a:lnTo>
                    <a:lnTo>
                      <a:pt x="244" y="111"/>
                    </a:lnTo>
                    <a:lnTo>
                      <a:pt x="243" y="111"/>
                    </a:lnTo>
                    <a:lnTo>
                      <a:pt x="242" y="111"/>
                    </a:lnTo>
                    <a:lnTo>
                      <a:pt x="241" y="111"/>
                    </a:lnTo>
                    <a:lnTo>
                      <a:pt x="240" y="111"/>
                    </a:lnTo>
                    <a:lnTo>
                      <a:pt x="240" y="113"/>
                    </a:lnTo>
                    <a:lnTo>
                      <a:pt x="239" y="113"/>
                    </a:lnTo>
                    <a:lnTo>
                      <a:pt x="239" y="114"/>
                    </a:lnTo>
                    <a:lnTo>
                      <a:pt x="239" y="115"/>
                    </a:lnTo>
                    <a:lnTo>
                      <a:pt x="239" y="116"/>
                    </a:lnTo>
                    <a:lnTo>
                      <a:pt x="240" y="117"/>
                    </a:lnTo>
                    <a:lnTo>
                      <a:pt x="240" y="116"/>
                    </a:lnTo>
                    <a:lnTo>
                      <a:pt x="241" y="116"/>
                    </a:lnTo>
                    <a:lnTo>
                      <a:pt x="241" y="117"/>
                    </a:lnTo>
                    <a:lnTo>
                      <a:pt x="241" y="118"/>
                    </a:lnTo>
                    <a:lnTo>
                      <a:pt x="242" y="118"/>
                    </a:lnTo>
                    <a:lnTo>
                      <a:pt x="242" y="119"/>
                    </a:lnTo>
                    <a:lnTo>
                      <a:pt x="241" y="119"/>
                    </a:lnTo>
                    <a:lnTo>
                      <a:pt x="241" y="120"/>
                    </a:lnTo>
                    <a:lnTo>
                      <a:pt x="240" y="120"/>
                    </a:lnTo>
                    <a:lnTo>
                      <a:pt x="240" y="121"/>
                    </a:lnTo>
                    <a:lnTo>
                      <a:pt x="240" y="122"/>
                    </a:lnTo>
                    <a:lnTo>
                      <a:pt x="239" y="122"/>
                    </a:lnTo>
                    <a:lnTo>
                      <a:pt x="239" y="121"/>
                    </a:lnTo>
                    <a:lnTo>
                      <a:pt x="238" y="121"/>
                    </a:lnTo>
                    <a:lnTo>
                      <a:pt x="238" y="122"/>
                    </a:lnTo>
                    <a:lnTo>
                      <a:pt x="237" y="122"/>
                    </a:lnTo>
                    <a:lnTo>
                      <a:pt x="236" y="123"/>
                    </a:lnTo>
                    <a:lnTo>
                      <a:pt x="236" y="122"/>
                    </a:lnTo>
                    <a:lnTo>
                      <a:pt x="234" y="122"/>
                    </a:lnTo>
                    <a:lnTo>
                      <a:pt x="233" y="123"/>
                    </a:lnTo>
                    <a:lnTo>
                      <a:pt x="232" y="124"/>
                    </a:lnTo>
                    <a:lnTo>
                      <a:pt x="232" y="126"/>
                    </a:lnTo>
                    <a:lnTo>
                      <a:pt x="232" y="127"/>
                    </a:lnTo>
                    <a:lnTo>
                      <a:pt x="233" y="127"/>
                    </a:lnTo>
                    <a:lnTo>
                      <a:pt x="233" y="128"/>
                    </a:lnTo>
                    <a:lnTo>
                      <a:pt x="233" y="129"/>
                    </a:lnTo>
                    <a:lnTo>
                      <a:pt x="234" y="129"/>
                    </a:lnTo>
                    <a:lnTo>
                      <a:pt x="234" y="130"/>
                    </a:lnTo>
                    <a:lnTo>
                      <a:pt x="236" y="131"/>
                    </a:lnTo>
                    <a:lnTo>
                      <a:pt x="237" y="132"/>
                    </a:lnTo>
                    <a:lnTo>
                      <a:pt x="237" y="133"/>
                    </a:lnTo>
                    <a:lnTo>
                      <a:pt x="238" y="133"/>
                    </a:lnTo>
                    <a:lnTo>
                      <a:pt x="238" y="134"/>
                    </a:lnTo>
                    <a:lnTo>
                      <a:pt x="239" y="134"/>
                    </a:lnTo>
                    <a:lnTo>
                      <a:pt x="239" y="135"/>
                    </a:lnTo>
                    <a:lnTo>
                      <a:pt x="239" y="136"/>
                    </a:lnTo>
                    <a:lnTo>
                      <a:pt x="240" y="136"/>
                    </a:lnTo>
                    <a:lnTo>
                      <a:pt x="240" y="137"/>
                    </a:lnTo>
                    <a:lnTo>
                      <a:pt x="239" y="136"/>
                    </a:lnTo>
                    <a:lnTo>
                      <a:pt x="238" y="137"/>
                    </a:lnTo>
                    <a:lnTo>
                      <a:pt x="237" y="137"/>
                    </a:lnTo>
                    <a:lnTo>
                      <a:pt x="237" y="139"/>
                    </a:lnTo>
                    <a:lnTo>
                      <a:pt x="237" y="140"/>
                    </a:lnTo>
                    <a:lnTo>
                      <a:pt x="238" y="140"/>
                    </a:lnTo>
                    <a:lnTo>
                      <a:pt x="239" y="140"/>
                    </a:lnTo>
                    <a:lnTo>
                      <a:pt x="239" y="141"/>
                    </a:lnTo>
                    <a:lnTo>
                      <a:pt x="240" y="142"/>
                    </a:lnTo>
                    <a:lnTo>
                      <a:pt x="240" y="143"/>
                    </a:lnTo>
                    <a:lnTo>
                      <a:pt x="240" y="144"/>
                    </a:lnTo>
                    <a:lnTo>
                      <a:pt x="239" y="144"/>
                    </a:lnTo>
                    <a:lnTo>
                      <a:pt x="238" y="145"/>
                    </a:lnTo>
                    <a:lnTo>
                      <a:pt x="238" y="146"/>
                    </a:lnTo>
                    <a:lnTo>
                      <a:pt x="237" y="146"/>
                    </a:lnTo>
                    <a:lnTo>
                      <a:pt x="237" y="147"/>
                    </a:lnTo>
                    <a:lnTo>
                      <a:pt x="236" y="147"/>
                    </a:lnTo>
                    <a:lnTo>
                      <a:pt x="236" y="148"/>
                    </a:lnTo>
                    <a:lnTo>
                      <a:pt x="237" y="148"/>
                    </a:lnTo>
                    <a:lnTo>
                      <a:pt x="237" y="149"/>
                    </a:lnTo>
                    <a:lnTo>
                      <a:pt x="236" y="150"/>
                    </a:lnTo>
                    <a:lnTo>
                      <a:pt x="237" y="150"/>
                    </a:lnTo>
                    <a:lnTo>
                      <a:pt x="237" y="152"/>
                    </a:lnTo>
                    <a:lnTo>
                      <a:pt x="236" y="153"/>
                    </a:lnTo>
                    <a:lnTo>
                      <a:pt x="237" y="153"/>
                    </a:lnTo>
                    <a:lnTo>
                      <a:pt x="237" y="154"/>
                    </a:lnTo>
                    <a:lnTo>
                      <a:pt x="236" y="154"/>
                    </a:lnTo>
                    <a:lnTo>
                      <a:pt x="236" y="155"/>
                    </a:lnTo>
                    <a:lnTo>
                      <a:pt x="237" y="155"/>
                    </a:lnTo>
                    <a:lnTo>
                      <a:pt x="237" y="156"/>
                    </a:lnTo>
                    <a:lnTo>
                      <a:pt x="237" y="157"/>
                    </a:lnTo>
                    <a:lnTo>
                      <a:pt x="236" y="157"/>
                    </a:lnTo>
                    <a:lnTo>
                      <a:pt x="236" y="159"/>
                    </a:lnTo>
                    <a:lnTo>
                      <a:pt x="234" y="159"/>
                    </a:lnTo>
                    <a:lnTo>
                      <a:pt x="234" y="160"/>
                    </a:lnTo>
                    <a:lnTo>
                      <a:pt x="234" y="161"/>
                    </a:lnTo>
                    <a:lnTo>
                      <a:pt x="234" y="162"/>
                    </a:lnTo>
                    <a:lnTo>
                      <a:pt x="233" y="162"/>
                    </a:lnTo>
                    <a:lnTo>
                      <a:pt x="233" y="163"/>
                    </a:lnTo>
                    <a:lnTo>
                      <a:pt x="232" y="163"/>
                    </a:lnTo>
                    <a:lnTo>
                      <a:pt x="231" y="163"/>
                    </a:lnTo>
                    <a:lnTo>
                      <a:pt x="231" y="165"/>
                    </a:lnTo>
                    <a:lnTo>
                      <a:pt x="230" y="165"/>
                    </a:lnTo>
                    <a:lnTo>
                      <a:pt x="230" y="166"/>
                    </a:lnTo>
                    <a:lnTo>
                      <a:pt x="229" y="167"/>
                    </a:lnTo>
                    <a:lnTo>
                      <a:pt x="229" y="168"/>
                    </a:lnTo>
                    <a:lnTo>
                      <a:pt x="228" y="168"/>
                    </a:lnTo>
                    <a:lnTo>
                      <a:pt x="228" y="169"/>
                    </a:lnTo>
                    <a:lnTo>
                      <a:pt x="228" y="170"/>
                    </a:lnTo>
                    <a:lnTo>
                      <a:pt x="228" y="171"/>
                    </a:lnTo>
                    <a:lnTo>
                      <a:pt x="228" y="172"/>
                    </a:lnTo>
                    <a:lnTo>
                      <a:pt x="229" y="172"/>
                    </a:lnTo>
                    <a:lnTo>
                      <a:pt x="230" y="172"/>
                    </a:lnTo>
                    <a:lnTo>
                      <a:pt x="230" y="173"/>
                    </a:lnTo>
                    <a:lnTo>
                      <a:pt x="229" y="173"/>
                    </a:lnTo>
                    <a:lnTo>
                      <a:pt x="229" y="174"/>
                    </a:lnTo>
                    <a:lnTo>
                      <a:pt x="230" y="174"/>
                    </a:lnTo>
                    <a:lnTo>
                      <a:pt x="230" y="175"/>
                    </a:lnTo>
                    <a:lnTo>
                      <a:pt x="231" y="176"/>
                    </a:lnTo>
                    <a:lnTo>
                      <a:pt x="231" y="178"/>
                    </a:lnTo>
                    <a:lnTo>
                      <a:pt x="232" y="178"/>
                    </a:lnTo>
                    <a:lnTo>
                      <a:pt x="232" y="179"/>
                    </a:lnTo>
                    <a:lnTo>
                      <a:pt x="231" y="179"/>
                    </a:lnTo>
                    <a:lnTo>
                      <a:pt x="232" y="179"/>
                    </a:lnTo>
                    <a:lnTo>
                      <a:pt x="232" y="180"/>
                    </a:lnTo>
                    <a:lnTo>
                      <a:pt x="233" y="180"/>
                    </a:lnTo>
                    <a:lnTo>
                      <a:pt x="233" y="181"/>
                    </a:lnTo>
                    <a:lnTo>
                      <a:pt x="232" y="182"/>
                    </a:lnTo>
                    <a:lnTo>
                      <a:pt x="232" y="183"/>
                    </a:lnTo>
                    <a:lnTo>
                      <a:pt x="231" y="183"/>
                    </a:lnTo>
                    <a:lnTo>
                      <a:pt x="232" y="184"/>
                    </a:lnTo>
                    <a:lnTo>
                      <a:pt x="231" y="184"/>
                    </a:lnTo>
                    <a:lnTo>
                      <a:pt x="230" y="184"/>
                    </a:lnTo>
                    <a:lnTo>
                      <a:pt x="230" y="185"/>
                    </a:lnTo>
                    <a:lnTo>
                      <a:pt x="231" y="185"/>
                    </a:lnTo>
                    <a:lnTo>
                      <a:pt x="231" y="186"/>
                    </a:lnTo>
                    <a:lnTo>
                      <a:pt x="231" y="187"/>
                    </a:lnTo>
                    <a:lnTo>
                      <a:pt x="230" y="187"/>
                    </a:lnTo>
                    <a:lnTo>
                      <a:pt x="240" y="188"/>
                    </a:lnTo>
                    <a:lnTo>
                      <a:pt x="246" y="188"/>
                    </a:lnTo>
                    <a:lnTo>
                      <a:pt x="245" y="197"/>
                    </a:lnTo>
                    <a:lnTo>
                      <a:pt x="245" y="223"/>
                    </a:lnTo>
                    <a:lnTo>
                      <a:pt x="245" y="230"/>
                    </a:lnTo>
                    <a:lnTo>
                      <a:pt x="245" y="273"/>
                    </a:lnTo>
                    <a:lnTo>
                      <a:pt x="245" y="287"/>
                    </a:lnTo>
                    <a:lnTo>
                      <a:pt x="245" y="294"/>
                    </a:lnTo>
                    <a:lnTo>
                      <a:pt x="245" y="313"/>
                    </a:lnTo>
                    <a:lnTo>
                      <a:pt x="245" y="319"/>
                    </a:lnTo>
                    <a:lnTo>
                      <a:pt x="245" y="322"/>
                    </a:lnTo>
                    <a:lnTo>
                      <a:pt x="245" y="326"/>
                    </a:lnTo>
                    <a:lnTo>
                      <a:pt x="245" y="332"/>
                    </a:lnTo>
                    <a:lnTo>
                      <a:pt x="245" y="333"/>
                    </a:lnTo>
                    <a:lnTo>
                      <a:pt x="245" y="338"/>
                    </a:lnTo>
                    <a:lnTo>
                      <a:pt x="245" y="349"/>
                    </a:lnTo>
                    <a:lnTo>
                      <a:pt x="245" y="352"/>
                    </a:lnTo>
                    <a:lnTo>
                      <a:pt x="245" y="374"/>
                    </a:lnTo>
                    <a:lnTo>
                      <a:pt x="245" y="378"/>
                    </a:lnTo>
                    <a:lnTo>
                      <a:pt x="245" y="379"/>
                    </a:lnTo>
                    <a:lnTo>
                      <a:pt x="249" y="379"/>
                    </a:lnTo>
                    <a:lnTo>
                      <a:pt x="249" y="423"/>
                    </a:lnTo>
                    <a:lnTo>
                      <a:pt x="249" y="443"/>
                    </a:lnTo>
                    <a:lnTo>
                      <a:pt x="251" y="443"/>
                    </a:lnTo>
                    <a:lnTo>
                      <a:pt x="252" y="443"/>
                    </a:lnTo>
                    <a:lnTo>
                      <a:pt x="253" y="443"/>
                    </a:lnTo>
                    <a:lnTo>
                      <a:pt x="266" y="443"/>
                    </a:lnTo>
                    <a:lnTo>
                      <a:pt x="273" y="443"/>
                    </a:lnTo>
                    <a:lnTo>
                      <a:pt x="279" y="443"/>
                    </a:lnTo>
                    <a:lnTo>
                      <a:pt x="283" y="443"/>
                    </a:lnTo>
                    <a:lnTo>
                      <a:pt x="290" y="443"/>
                    </a:lnTo>
                    <a:lnTo>
                      <a:pt x="289" y="444"/>
                    </a:lnTo>
                    <a:lnTo>
                      <a:pt x="288" y="445"/>
                    </a:lnTo>
                    <a:lnTo>
                      <a:pt x="285" y="447"/>
                    </a:lnTo>
                    <a:lnTo>
                      <a:pt x="284" y="448"/>
                    </a:lnTo>
                    <a:lnTo>
                      <a:pt x="283" y="449"/>
                    </a:lnTo>
                    <a:lnTo>
                      <a:pt x="282" y="452"/>
                    </a:lnTo>
                    <a:lnTo>
                      <a:pt x="280" y="453"/>
                    </a:lnTo>
                    <a:lnTo>
                      <a:pt x="279" y="454"/>
                    </a:lnTo>
                    <a:lnTo>
                      <a:pt x="278" y="454"/>
                    </a:lnTo>
                    <a:lnTo>
                      <a:pt x="276" y="454"/>
                    </a:lnTo>
                    <a:lnTo>
                      <a:pt x="275" y="454"/>
                    </a:lnTo>
                    <a:lnTo>
                      <a:pt x="273" y="453"/>
                    </a:lnTo>
                    <a:lnTo>
                      <a:pt x="269" y="451"/>
                    </a:lnTo>
                    <a:lnTo>
                      <a:pt x="267" y="451"/>
                    </a:lnTo>
                    <a:lnTo>
                      <a:pt x="266" y="450"/>
                    </a:lnTo>
                    <a:lnTo>
                      <a:pt x="264" y="450"/>
                    </a:lnTo>
                    <a:lnTo>
                      <a:pt x="263" y="450"/>
                    </a:lnTo>
                    <a:lnTo>
                      <a:pt x="262" y="450"/>
                    </a:lnTo>
                    <a:lnTo>
                      <a:pt x="260" y="451"/>
                    </a:lnTo>
                    <a:lnTo>
                      <a:pt x="259" y="452"/>
                    </a:lnTo>
                    <a:lnTo>
                      <a:pt x="257" y="454"/>
                    </a:lnTo>
                    <a:lnTo>
                      <a:pt x="256" y="456"/>
                    </a:lnTo>
                    <a:lnTo>
                      <a:pt x="256" y="458"/>
                    </a:lnTo>
                    <a:lnTo>
                      <a:pt x="256" y="462"/>
                    </a:lnTo>
                    <a:lnTo>
                      <a:pt x="256" y="463"/>
                    </a:lnTo>
                    <a:lnTo>
                      <a:pt x="256" y="464"/>
                    </a:lnTo>
                    <a:lnTo>
                      <a:pt x="257" y="465"/>
                    </a:lnTo>
                    <a:lnTo>
                      <a:pt x="258" y="467"/>
                    </a:lnTo>
                    <a:lnTo>
                      <a:pt x="259" y="468"/>
                    </a:lnTo>
                    <a:lnTo>
                      <a:pt x="260" y="469"/>
                    </a:lnTo>
                    <a:lnTo>
                      <a:pt x="262" y="469"/>
                    </a:lnTo>
                    <a:lnTo>
                      <a:pt x="263" y="470"/>
                    </a:lnTo>
                    <a:lnTo>
                      <a:pt x="265" y="470"/>
                    </a:lnTo>
                    <a:lnTo>
                      <a:pt x="269" y="471"/>
                    </a:lnTo>
                    <a:lnTo>
                      <a:pt x="270" y="473"/>
                    </a:lnTo>
                    <a:lnTo>
                      <a:pt x="271" y="474"/>
                    </a:lnTo>
                    <a:lnTo>
                      <a:pt x="272" y="474"/>
                    </a:lnTo>
                    <a:lnTo>
                      <a:pt x="272" y="475"/>
                    </a:lnTo>
                    <a:lnTo>
                      <a:pt x="273" y="476"/>
                    </a:lnTo>
                    <a:lnTo>
                      <a:pt x="273" y="477"/>
                    </a:lnTo>
                    <a:lnTo>
                      <a:pt x="273" y="478"/>
                    </a:lnTo>
                    <a:lnTo>
                      <a:pt x="273" y="479"/>
                    </a:lnTo>
                    <a:lnTo>
                      <a:pt x="273" y="480"/>
                    </a:lnTo>
                    <a:lnTo>
                      <a:pt x="272" y="481"/>
                    </a:lnTo>
                    <a:lnTo>
                      <a:pt x="272" y="482"/>
                    </a:lnTo>
                    <a:lnTo>
                      <a:pt x="271" y="484"/>
                    </a:lnTo>
                    <a:lnTo>
                      <a:pt x="269" y="486"/>
                    </a:lnTo>
                    <a:lnTo>
                      <a:pt x="269" y="487"/>
                    </a:lnTo>
                    <a:lnTo>
                      <a:pt x="268" y="488"/>
                    </a:lnTo>
                    <a:lnTo>
                      <a:pt x="267" y="490"/>
                    </a:lnTo>
                    <a:lnTo>
                      <a:pt x="267" y="491"/>
                    </a:lnTo>
                    <a:lnTo>
                      <a:pt x="266" y="493"/>
                    </a:lnTo>
                    <a:lnTo>
                      <a:pt x="266" y="495"/>
                    </a:lnTo>
                    <a:lnTo>
                      <a:pt x="265" y="499"/>
                    </a:lnTo>
                    <a:lnTo>
                      <a:pt x="264" y="500"/>
                    </a:lnTo>
                    <a:lnTo>
                      <a:pt x="264" y="503"/>
                    </a:lnTo>
                    <a:lnTo>
                      <a:pt x="264" y="505"/>
                    </a:lnTo>
                    <a:lnTo>
                      <a:pt x="263" y="506"/>
                    </a:lnTo>
                    <a:lnTo>
                      <a:pt x="263" y="507"/>
                    </a:lnTo>
                    <a:lnTo>
                      <a:pt x="262" y="508"/>
                    </a:lnTo>
                    <a:lnTo>
                      <a:pt x="260" y="508"/>
                    </a:lnTo>
                    <a:lnTo>
                      <a:pt x="260" y="509"/>
                    </a:lnTo>
                    <a:lnTo>
                      <a:pt x="262" y="509"/>
                    </a:lnTo>
                    <a:lnTo>
                      <a:pt x="262" y="510"/>
                    </a:lnTo>
                    <a:lnTo>
                      <a:pt x="260" y="510"/>
                    </a:lnTo>
                    <a:lnTo>
                      <a:pt x="259" y="510"/>
                    </a:lnTo>
                    <a:lnTo>
                      <a:pt x="259" y="512"/>
                    </a:lnTo>
                    <a:lnTo>
                      <a:pt x="259" y="513"/>
                    </a:lnTo>
                    <a:lnTo>
                      <a:pt x="259" y="514"/>
                    </a:lnTo>
                    <a:lnTo>
                      <a:pt x="259" y="515"/>
                    </a:lnTo>
                    <a:lnTo>
                      <a:pt x="258" y="516"/>
                    </a:lnTo>
                    <a:lnTo>
                      <a:pt x="257" y="516"/>
                    </a:lnTo>
                    <a:lnTo>
                      <a:pt x="257" y="517"/>
                    </a:lnTo>
                    <a:lnTo>
                      <a:pt x="257" y="518"/>
                    </a:lnTo>
                    <a:lnTo>
                      <a:pt x="258" y="518"/>
                    </a:lnTo>
                    <a:lnTo>
                      <a:pt x="258" y="519"/>
                    </a:lnTo>
                    <a:lnTo>
                      <a:pt x="257" y="519"/>
                    </a:lnTo>
                    <a:lnTo>
                      <a:pt x="257" y="520"/>
                    </a:lnTo>
                    <a:lnTo>
                      <a:pt x="257" y="521"/>
                    </a:lnTo>
                    <a:lnTo>
                      <a:pt x="258" y="521"/>
                    </a:lnTo>
                    <a:lnTo>
                      <a:pt x="258" y="522"/>
                    </a:lnTo>
                    <a:lnTo>
                      <a:pt x="259" y="521"/>
                    </a:lnTo>
                    <a:lnTo>
                      <a:pt x="260" y="521"/>
                    </a:lnTo>
                    <a:lnTo>
                      <a:pt x="259" y="522"/>
                    </a:lnTo>
                    <a:lnTo>
                      <a:pt x="258" y="522"/>
                    </a:lnTo>
                    <a:lnTo>
                      <a:pt x="258" y="524"/>
                    </a:lnTo>
                    <a:lnTo>
                      <a:pt x="258" y="525"/>
                    </a:lnTo>
                    <a:lnTo>
                      <a:pt x="259" y="525"/>
                    </a:lnTo>
                    <a:lnTo>
                      <a:pt x="260" y="525"/>
                    </a:lnTo>
                    <a:lnTo>
                      <a:pt x="260" y="526"/>
                    </a:lnTo>
                    <a:lnTo>
                      <a:pt x="262" y="526"/>
                    </a:lnTo>
                    <a:lnTo>
                      <a:pt x="263" y="526"/>
                    </a:lnTo>
                    <a:lnTo>
                      <a:pt x="263" y="527"/>
                    </a:lnTo>
                    <a:lnTo>
                      <a:pt x="262" y="527"/>
                    </a:lnTo>
                    <a:lnTo>
                      <a:pt x="262" y="528"/>
                    </a:lnTo>
                    <a:lnTo>
                      <a:pt x="260" y="528"/>
                    </a:lnTo>
                    <a:lnTo>
                      <a:pt x="260" y="529"/>
                    </a:lnTo>
                    <a:lnTo>
                      <a:pt x="262" y="530"/>
                    </a:lnTo>
                    <a:lnTo>
                      <a:pt x="262" y="532"/>
                    </a:lnTo>
                    <a:lnTo>
                      <a:pt x="262" y="534"/>
                    </a:lnTo>
                    <a:lnTo>
                      <a:pt x="263" y="534"/>
                    </a:lnTo>
                    <a:lnTo>
                      <a:pt x="264" y="533"/>
                    </a:lnTo>
                    <a:lnTo>
                      <a:pt x="265" y="533"/>
                    </a:lnTo>
                    <a:lnTo>
                      <a:pt x="266" y="532"/>
                    </a:lnTo>
                    <a:lnTo>
                      <a:pt x="267" y="533"/>
                    </a:lnTo>
                    <a:lnTo>
                      <a:pt x="268" y="533"/>
                    </a:lnTo>
                    <a:lnTo>
                      <a:pt x="269" y="534"/>
                    </a:lnTo>
                    <a:lnTo>
                      <a:pt x="269" y="535"/>
                    </a:lnTo>
                    <a:lnTo>
                      <a:pt x="269" y="537"/>
                    </a:lnTo>
                    <a:lnTo>
                      <a:pt x="270" y="538"/>
                    </a:lnTo>
                    <a:lnTo>
                      <a:pt x="270" y="539"/>
                    </a:lnTo>
                    <a:lnTo>
                      <a:pt x="270" y="540"/>
                    </a:lnTo>
                    <a:lnTo>
                      <a:pt x="269" y="540"/>
                    </a:lnTo>
                    <a:lnTo>
                      <a:pt x="268" y="540"/>
                    </a:lnTo>
                    <a:lnTo>
                      <a:pt x="268" y="541"/>
                    </a:lnTo>
                    <a:lnTo>
                      <a:pt x="268" y="543"/>
                    </a:lnTo>
                    <a:lnTo>
                      <a:pt x="267" y="543"/>
                    </a:lnTo>
                    <a:lnTo>
                      <a:pt x="267" y="544"/>
                    </a:lnTo>
                    <a:lnTo>
                      <a:pt x="267" y="545"/>
                    </a:lnTo>
                    <a:lnTo>
                      <a:pt x="268" y="545"/>
                    </a:lnTo>
                    <a:lnTo>
                      <a:pt x="268" y="546"/>
                    </a:lnTo>
                    <a:lnTo>
                      <a:pt x="269" y="546"/>
                    </a:lnTo>
                    <a:lnTo>
                      <a:pt x="270" y="546"/>
                    </a:lnTo>
                    <a:lnTo>
                      <a:pt x="270" y="547"/>
                    </a:lnTo>
                    <a:lnTo>
                      <a:pt x="269" y="547"/>
                    </a:lnTo>
                    <a:lnTo>
                      <a:pt x="268" y="548"/>
                    </a:lnTo>
                    <a:lnTo>
                      <a:pt x="269" y="550"/>
                    </a:lnTo>
                    <a:lnTo>
                      <a:pt x="269" y="551"/>
                    </a:lnTo>
                    <a:lnTo>
                      <a:pt x="268" y="552"/>
                    </a:lnTo>
                    <a:lnTo>
                      <a:pt x="269" y="553"/>
                    </a:lnTo>
                    <a:lnTo>
                      <a:pt x="269" y="554"/>
                    </a:lnTo>
                    <a:lnTo>
                      <a:pt x="269" y="555"/>
                    </a:lnTo>
                    <a:lnTo>
                      <a:pt x="268" y="555"/>
                    </a:lnTo>
                    <a:lnTo>
                      <a:pt x="267" y="555"/>
                    </a:lnTo>
                    <a:lnTo>
                      <a:pt x="267" y="556"/>
                    </a:lnTo>
                    <a:lnTo>
                      <a:pt x="267" y="557"/>
                    </a:lnTo>
                    <a:lnTo>
                      <a:pt x="268" y="558"/>
                    </a:lnTo>
                    <a:lnTo>
                      <a:pt x="268" y="559"/>
                    </a:lnTo>
                    <a:lnTo>
                      <a:pt x="268" y="560"/>
                    </a:lnTo>
                    <a:lnTo>
                      <a:pt x="267" y="560"/>
                    </a:lnTo>
                    <a:lnTo>
                      <a:pt x="267" y="561"/>
                    </a:lnTo>
                    <a:lnTo>
                      <a:pt x="266" y="561"/>
                    </a:lnTo>
                    <a:lnTo>
                      <a:pt x="265" y="563"/>
                    </a:lnTo>
                    <a:lnTo>
                      <a:pt x="264" y="563"/>
                    </a:lnTo>
                    <a:lnTo>
                      <a:pt x="264" y="564"/>
                    </a:lnTo>
                    <a:lnTo>
                      <a:pt x="263" y="564"/>
                    </a:lnTo>
                    <a:lnTo>
                      <a:pt x="263" y="566"/>
                    </a:lnTo>
                    <a:lnTo>
                      <a:pt x="262" y="567"/>
                    </a:lnTo>
                    <a:lnTo>
                      <a:pt x="260" y="568"/>
                    </a:lnTo>
                    <a:lnTo>
                      <a:pt x="259" y="567"/>
                    </a:lnTo>
                    <a:lnTo>
                      <a:pt x="258" y="567"/>
                    </a:lnTo>
                    <a:lnTo>
                      <a:pt x="257" y="567"/>
                    </a:lnTo>
                    <a:lnTo>
                      <a:pt x="257" y="568"/>
                    </a:lnTo>
                    <a:lnTo>
                      <a:pt x="256" y="568"/>
                    </a:lnTo>
                    <a:lnTo>
                      <a:pt x="256" y="569"/>
                    </a:lnTo>
                    <a:lnTo>
                      <a:pt x="253" y="569"/>
                    </a:lnTo>
                    <a:lnTo>
                      <a:pt x="252" y="569"/>
                    </a:lnTo>
                    <a:lnTo>
                      <a:pt x="239" y="569"/>
                    </a:lnTo>
                    <a:lnTo>
                      <a:pt x="238" y="569"/>
                    </a:lnTo>
                    <a:lnTo>
                      <a:pt x="236" y="569"/>
                    </a:lnTo>
                    <a:lnTo>
                      <a:pt x="234" y="568"/>
                    </a:lnTo>
                    <a:lnTo>
                      <a:pt x="230" y="568"/>
                    </a:lnTo>
                    <a:lnTo>
                      <a:pt x="229" y="568"/>
                    </a:lnTo>
                    <a:lnTo>
                      <a:pt x="229" y="567"/>
                    </a:lnTo>
                    <a:lnTo>
                      <a:pt x="228" y="567"/>
                    </a:lnTo>
                    <a:lnTo>
                      <a:pt x="228" y="566"/>
                    </a:lnTo>
                    <a:lnTo>
                      <a:pt x="229" y="566"/>
                    </a:lnTo>
                    <a:lnTo>
                      <a:pt x="229" y="565"/>
                    </a:lnTo>
                    <a:lnTo>
                      <a:pt x="230" y="564"/>
                    </a:lnTo>
                    <a:lnTo>
                      <a:pt x="231" y="563"/>
                    </a:lnTo>
                    <a:lnTo>
                      <a:pt x="232" y="563"/>
                    </a:lnTo>
                    <a:lnTo>
                      <a:pt x="233" y="563"/>
                    </a:lnTo>
                    <a:lnTo>
                      <a:pt x="234" y="563"/>
                    </a:lnTo>
                    <a:lnTo>
                      <a:pt x="234" y="561"/>
                    </a:lnTo>
                    <a:lnTo>
                      <a:pt x="236" y="561"/>
                    </a:lnTo>
                    <a:lnTo>
                      <a:pt x="236" y="560"/>
                    </a:lnTo>
                    <a:lnTo>
                      <a:pt x="236" y="559"/>
                    </a:lnTo>
                    <a:lnTo>
                      <a:pt x="236" y="558"/>
                    </a:lnTo>
                    <a:lnTo>
                      <a:pt x="234" y="558"/>
                    </a:lnTo>
                    <a:lnTo>
                      <a:pt x="233" y="559"/>
                    </a:lnTo>
                    <a:lnTo>
                      <a:pt x="231" y="560"/>
                    </a:lnTo>
                    <a:lnTo>
                      <a:pt x="230" y="560"/>
                    </a:lnTo>
                    <a:lnTo>
                      <a:pt x="229" y="560"/>
                    </a:lnTo>
                    <a:lnTo>
                      <a:pt x="228" y="559"/>
                    </a:lnTo>
                    <a:lnTo>
                      <a:pt x="227" y="559"/>
                    </a:lnTo>
                    <a:lnTo>
                      <a:pt x="227" y="558"/>
                    </a:lnTo>
                    <a:lnTo>
                      <a:pt x="226" y="557"/>
                    </a:lnTo>
                    <a:lnTo>
                      <a:pt x="226" y="556"/>
                    </a:lnTo>
                    <a:lnTo>
                      <a:pt x="225" y="555"/>
                    </a:lnTo>
                    <a:lnTo>
                      <a:pt x="224" y="555"/>
                    </a:lnTo>
                    <a:lnTo>
                      <a:pt x="223" y="554"/>
                    </a:lnTo>
                    <a:lnTo>
                      <a:pt x="220" y="554"/>
                    </a:lnTo>
                    <a:lnTo>
                      <a:pt x="220" y="555"/>
                    </a:lnTo>
                    <a:lnTo>
                      <a:pt x="220" y="556"/>
                    </a:lnTo>
                    <a:lnTo>
                      <a:pt x="220" y="557"/>
                    </a:lnTo>
                    <a:lnTo>
                      <a:pt x="221" y="558"/>
                    </a:lnTo>
                    <a:lnTo>
                      <a:pt x="221" y="559"/>
                    </a:lnTo>
                    <a:lnTo>
                      <a:pt x="223" y="560"/>
                    </a:lnTo>
                    <a:lnTo>
                      <a:pt x="224" y="560"/>
                    </a:lnTo>
                    <a:lnTo>
                      <a:pt x="225" y="561"/>
                    </a:lnTo>
                    <a:lnTo>
                      <a:pt x="225" y="563"/>
                    </a:lnTo>
                    <a:lnTo>
                      <a:pt x="226" y="564"/>
                    </a:lnTo>
                    <a:lnTo>
                      <a:pt x="226" y="565"/>
                    </a:lnTo>
                    <a:lnTo>
                      <a:pt x="225" y="565"/>
                    </a:lnTo>
                    <a:lnTo>
                      <a:pt x="224" y="565"/>
                    </a:lnTo>
                    <a:lnTo>
                      <a:pt x="223" y="565"/>
                    </a:lnTo>
                    <a:lnTo>
                      <a:pt x="220" y="564"/>
                    </a:lnTo>
                    <a:lnTo>
                      <a:pt x="219" y="564"/>
                    </a:lnTo>
                    <a:lnTo>
                      <a:pt x="218" y="564"/>
                    </a:lnTo>
                    <a:lnTo>
                      <a:pt x="218" y="563"/>
                    </a:lnTo>
                    <a:lnTo>
                      <a:pt x="218" y="560"/>
                    </a:lnTo>
                    <a:lnTo>
                      <a:pt x="218" y="559"/>
                    </a:lnTo>
                    <a:lnTo>
                      <a:pt x="217" y="556"/>
                    </a:lnTo>
                    <a:lnTo>
                      <a:pt x="216" y="554"/>
                    </a:lnTo>
                    <a:lnTo>
                      <a:pt x="216" y="553"/>
                    </a:lnTo>
                    <a:lnTo>
                      <a:pt x="217" y="553"/>
                    </a:lnTo>
                    <a:lnTo>
                      <a:pt x="217" y="551"/>
                    </a:lnTo>
                    <a:lnTo>
                      <a:pt x="217" y="548"/>
                    </a:lnTo>
                    <a:lnTo>
                      <a:pt x="213" y="546"/>
                    </a:lnTo>
                    <a:lnTo>
                      <a:pt x="212" y="545"/>
                    </a:lnTo>
                    <a:lnTo>
                      <a:pt x="211" y="544"/>
                    </a:lnTo>
                    <a:lnTo>
                      <a:pt x="207" y="544"/>
                    </a:lnTo>
                    <a:lnTo>
                      <a:pt x="206" y="543"/>
                    </a:lnTo>
                    <a:lnTo>
                      <a:pt x="205" y="542"/>
                    </a:lnTo>
                    <a:lnTo>
                      <a:pt x="205" y="541"/>
                    </a:lnTo>
                    <a:lnTo>
                      <a:pt x="206" y="540"/>
                    </a:lnTo>
                    <a:lnTo>
                      <a:pt x="207" y="539"/>
                    </a:lnTo>
                    <a:lnTo>
                      <a:pt x="207" y="538"/>
                    </a:lnTo>
                    <a:lnTo>
                      <a:pt x="208" y="538"/>
                    </a:lnTo>
                    <a:lnTo>
                      <a:pt x="209" y="537"/>
                    </a:lnTo>
                    <a:lnTo>
                      <a:pt x="211" y="537"/>
                    </a:lnTo>
                    <a:lnTo>
                      <a:pt x="212" y="535"/>
                    </a:lnTo>
                    <a:lnTo>
                      <a:pt x="212" y="534"/>
                    </a:lnTo>
                    <a:lnTo>
                      <a:pt x="212" y="533"/>
                    </a:lnTo>
                    <a:lnTo>
                      <a:pt x="211" y="533"/>
                    </a:lnTo>
                    <a:lnTo>
                      <a:pt x="209" y="533"/>
                    </a:lnTo>
                    <a:lnTo>
                      <a:pt x="209" y="534"/>
                    </a:lnTo>
                    <a:lnTo>
                      <a:pt x="208" y="535"/>
                    </a:lnTo>
                    <a:lnTo>
                      <a:pt x="207" y="537"/>
                    </a:lnTo>
                    <a:lnTo>
                      <a:pt x="206" y="538"/>
                    </a:lnTo>
                    <a:lnTo>
                      <a:pt x="205" y="539"/>
                    </a:lnTo>
                    <a:lnTo>
                      <a:pt x="204" y="540"/>
                    </a:lnTo>
                    <a:lnTo>
                      <a:pt x="203" y="540"/>
                    </a:lnTo>
                    <a:lnTo>
                      <a:pt x="201" y="542"/>
                    </a:lnTo>
                    <a:lnTo>
                      <a:pt x="201" y="543"/>
                    </a:lnTo>
                    <a:lnTo>
                      <a:pt x="200" y="543"/>
                    </a:lnTo>
                    <a:lnTo>
                      <a:pt x="199" y="543"/>
                    </a:lnTo>
                    <a:lnTo>
                      <a:pt x="198" y="543"/>
                    </a:lnTo>
                    <a:lnTo>
                      <a:pt x="196" y="542"/>
                    </a:lnTo>
                    <a:lnTo>
                      <a:pt x="198" y="540"/>
                    </a:lnTo>
                    <a:lnTo>
                      <a:pt x="198" y="539"/>
                    </a:lnTo>
                    <a:lnTo>
                      <a:pt x="199" y="539"/>
                    </a:lnTo>
                    <a:lnTo>
                      <a:pt x="199" y="538"/>
                    </a:lnTo>
                    <a:lnTo>
                      <a:pt x="200" y="537"/>
                    </a:lnTo>
                    <a:lnTo>
                      <a:pt x="200" y="535"/>
                    </a:lnTo>
                    <a:lnTo>
                      <a:pt x="201" y="535"/>
                    </a:lnTo>
                    <a:lnTo>
                      <a:pt x="201" y="534"/>
                    </a:lnTo>
                    <a:lnTo>
                      <a:pt x="202" y="533"/>
                    </a:lnTo>
                    <a:lnTo>
                      <a:pt x="203" y="532"/>
                    </a:lnTo>
                    <a:lnTo>
                      <a:pt x="203" y="531"/>
                    </a:lnTo>
                    <a:lnTo>
                      <a:pt x="203" y="530"/>
                    </a:lnTo>
                    <a:lnTo>
                      <a:pt x="203" y="529"/>
                    </a:lnTo>
                    <a:lnTo>
                      <a:pt x="203" y="528"/>
                    </a:lnTo>
                    <a:lnTo>
                      <a:pt x="203" y="527"/>
                    </a:lnTo>
                    <a:lnTo>
                      <a:pt x="203" y="526"/>
                    </a:lnTo>
                    <a:lnTo>
                      <a:pt x="203" y="525"/>
                    </a:lnTo>
                    <a:lnTo>
                      <a:pt x="202" y="525"/>
                    </a:lnTo>
                    <a:lnTo>
                      <a:pt x="202" y="524"/>
                    </a:lnTo>
                    <a:lnTo>
                      <a:pt x="201" y="524"/>
                    </a:lnTo>
                    <a:lnTo>
                      <a:pt x="200" y="524"/>
                    </a:lnTo>
                    <a:lnTo>
                      <a:pt x="196" y="525"/>
                    </a:lnTo>
                    <a:lnTo>
                      <a:pt x="195" y="525"/>
                    </a:lnTo>
                    <a:lnTo>
                      <a:pt x="195" y="526"/>
                    </a:lnTo>
                    <a:lnTo>
                      <a:pt x="194" y="526"/>
                    </a:lnTo>
                    <a:lnTo>
                      <a:pt x="193" y="526"/>
                    </a:lnTo>
                    <a:lnTo>
                      <a:pt x="193" y="527"/>
                    </a:lnTo>
                    <a:lnTo>
                      <a:pt x="192" y="528"/>
                    </a:lnTo>
                    <a:lnTo>
                      <a:pt x="191" y="529"/>
                    </a:lnTo>
                    <a:lnTo>
                      <a:pt x="191" y="530"/>
                    </a:lnTo>
                    <a:lnTo>
                      <a:pt x="190" y="530"/>
                    </a:lnTo>
                    <a:lnTo>
                      <a:pt x="189" y="530"/>
                    </a:lnTo>
                    <a:lnTo>
                      <a:pt x="188" y="530"/>
                    </a:lnTo>
                    <a:lnTo>
                      <a:pt x="183" y="530"/>
                    </a:lnTo>
                    <a:lnTo>
                      <a:pt x="181" y="529"/>
                    </a:lnTo>
                    <a:lnTo>
                      <a:pt x="180" y="528"/>
                    </a:lnTo>
                    <a:lnTo>
                      <a:pt x="179" y="528"/>
                    </a:lnTo>
                    <a:lnTo>
                      <a:pt x="179" y="527"/>
                    </a:lnTo>
                    <a:lnTo>
                      <a:pt x="179" y="526"/>
                    </a:lnTo>
                    <a:lnTo>
                      <a:pt x="180" y="526"/>
                    </a:lnTo>
                    <a:lnTo>
                      <a:pt x="181" y="526"/>
                    </a:lnTo>
                    <a:lnTo>
                      <a:pt x="182" y="527"/>
                    </a:lnTo>
                    <a:lnTo>
                      <a:pt x="183" y="527"/>
                    </a:lnTo>
                    <a:lnTo>
                      <a:pt x="185" y="527"/>
                    </a:lnTo>
                    <a:lnTo>
                      <a:pt x="186" y="527"/>
                    </a:lnTo>
                    <a:lnTo>
                      <a:pt x="188" y="527"/>
                    </a:lnTo>
                    <a:lnTo>
                      <a:pt x="189" y="527"/>
                    </a:lnTo>
                    <a:lnTo>
                      <a:pt x="189" y="526"/>
                    </a:lnTo>
                    <a:lnTo>
                      <a:pt x="189" y="525"/>
                    </a:lnTo>
                    <a:lnTo>
                      <a:pt x="189" y="524"/>
                    </a:lnTo>
                    <a:lnTo>
                      <a:pt x="188" y="522"/>
                    </a:lnTo>
                    <a:lnTo>
                      <a:pt x="188" y="521"/>
                    </a:lnTo>
                    <a:lnTo>
                      <a:pt x="189" y="520"/>
                    </a:lnTo>
                    <a:lnTo>
                      <a:pt x="189" y="519"/>
                    </a:lnTo>
                    <a:lnTo>
                      <a:pt x="190" y="519"/>
                    </a:lnTo>
                    <a:lnTo>
                      <a:pt x="191" y="519"/>
                    </a:lnTo>
                    <a:lnTo>
                      <a:pt x="192" y="519"/>
                    </a:lnTo>
                    <a:lnTo>
                      <a:pt x="193" y="518"/>
                    </a:lnTo>
                    <a:lnTo>
                      <a:pt x="194" y="517"/>
                    </a:lnTo>
                    <a:lnTo>
                      <a:pt x="195" y="516"/>
                    </a:lnTo>
                    <a:lnTo>
                      <a:pt x="195" y="515"/>
                    </a:lnTo>
                    <a:lnTo>
                      <a:pt x="195" y="514"/>
                    </a:lnTo>
                    <a:lnTo>
                      <a:pt x="194" y="514"/>
                    </a:lnTo>
                    <a:lnTo>
                      <a:pt x="194" y="513"/>
                    </a:lnTo>
                    <a:lnTo>
                      <a:pt x="193" y="513"/>
                    </a:lnTo>
                    <a:lnTo>
                      <a:pt x="193" y="512"/>
                    </a:lnTo>
                    <a:lnTo>
                      <a:pt x="192" y="512"/>
                    </a:lnTo>
                    <a:lnTo>
                      <a:pt x="191" y="512"/>
                    </a:lnTo>
                    <a:lnTo>
                      <a:pt x="191" y="510"/>
                    </a:lnTo>
                    <a:lnTo>
                      <a:pt x="190" y="510"/>
                    </a:lnTo>
                    <a:lnTo>
                      <a:pt x="189" y="509"/>
                    </a:lnTo>
                    <a:lnTo>
                      <a:pt x="188" y="509"/>
                    </a:lnTo>
                    <a:lnTo>
                      <a:pt x="187" y="510"/>
                    </a:lnTo>
                    <a:lnTo>
                      <a:pt x="187" y="512"/>
                    </a:lnTo>
                    <a:lnTo>
                      <a:pt x="187" y="513"/>
                    </a:lnTo>
                    <a:lnTo>
                      <a:pt x="187" y="514"/>
                    </a:lnTo>
                    <a:lnTo>
                      <a:pt x="187" y="515"/>
                    </a:lnTo>
                    <a:lnTo>
                      <a:pt x="187" y="516"/>
                    </a:lnTo>
                    <a:lnTo>
                      <a:pt x="187" y="517"/>
                    </a:lnTo>
                    <a:lnTo>
                      <a:pt x="186" y="517"/>
                    </a:lnTo>
                    <a:lnTo>
                      <a:pt x="186" y="518"/>
                    </a:lnTo>
                    <a:lnTo>
                      <a:pt x="185" y="518"/>
                    </a:lnTo>
                    <a:lnTo>
                      <a:pt x="183" y="518"/>
                    </a:lnTo>
                    <a:lnTo>
                      <a:pt x="183" y="517"/>
                    </a:lnTo>
                    <a:lnTo>
                      <a:pt x="183" y="516"/>
                    </a:lnTo>
                    <a:lnTo>
                      <a:pt x="183" y="515"/>
                    </a:lnTo>
                    <a:lnTo>
                      <a:pt x="183" y="514"/>
                    </a:lnTo>
                    <a:lnTo>
                      <a:pt x="183" y="513"/>
                    </a:lnTo>
                    <a:lnTo>
                      <a:pt x="182" y="512"/>
                    </a:lnTo>
                    <a:lnTo>
                      <a:pt x="182" y="510"/>
                    </a:lnTo>
                    <a:lnTo>
                      <a:pt x="181" y="509"/>
                    </a:lnTo>
                    <a:lnTo>
                      <a:pt x="181" y="508"/>
                    </a:lnTo>
                    <a:lnTo>
                      <a:pt x="180" y="508"/>
                    </a:lnTo>
                    <a:lnTo>
                      <a:pt x="179" y="508"/>
                    </a:lnTo>
                    <a:lnTo>
                      <a:pt x="178" y="508"/>
                    </a:lnTo>
                    <a:lnTo>
                      <a:pt x="177" y="508"/>
                    </a:lnTo>
                    <a:lnTo>
                      <a:pt x="176" y="508"/>
                    </a:lnTo>
                    <a:lnTo>
                      <a:pt x="175" y="508"/>
                    </a:lnTo>
                    <a:lnTo>
                      <a:pt x="174" y="508"/>
                    </a:lnTo>
                    <a:lnTo>
                      <a:pt x="173" y="507"/>
                    </a:lnTo>
                    <a:lnTo>
                      <a:pt x="173" y="506"/>
                    </a:lnTo>
                    <a:lnTo>
                      <a:pt x="173" y="505"/>
                    </a:lnTo>
                    <a:lnTo>
                      <a:pt x="174" y="504"/>
                    </a:lnTo>
                    <a:lnTo>
                      <a:pt x="175" y="504"/>
                    </a:lnTo>
                    <a:lnTo>
                      <a:pt x="176" y="504"/>
                    </a:lnTo>
                    <a:lnTo>
                      <a:pt x="177" y="504"/>
                    </a:lnTo>
                    <a:lnTo>
                      <a:pt x="180" y="507"/>
                    </a:lnTo>
                    <a:lnTo>
                      <a:pt x="181" y="507"/>
                    </a:lnTo>
                    <a:lnTo>
                      <a:pt x="182" y="507"/>
                    </a:lnTo>
                    <a:lnTo>
                      <a:pt x="183" y="507"/>
                    </a:lnTo>
                    <a:lnTo>
                      <a:pt x="183" y="506"/>
                    </a:lnTo>
                    <a:lnTo>
                      <a:pt x="185" y="505"/>
                    </a:lnTo>
                    <a:lnTo>
                      <a:pt x="185" y="504"/>
                    </a:lnTo>
                    <a:lnTo>
                      <a:pt x="185" y="503"/>
                    </a:lnTo>
                    <a:lnTo>
                      <a:pt x="183" y="503"/>
                    </a:lnTo>
                    <a:lnTo>
                      <a:pt x="182" y="503"/>
                    </a:lnTo>
                    <a:lnTo>
                      <a:pt x="181" y="503"/>
                    </a:lnTo>
                    <a:lnTo>
                      <a:pt x="180" y="502"/>
                    </a:lnTo>
                    <a:lnTo>
                      <a:pt x="179" y="502"/>
                    </a:lnTo>
                    <a:lnTo>
                      <a:pt x="179" y="501"/>
                    </a:lnTo>
                    <a:lnTo>
                      <a:pt x="178" y="501"/>
                    </a:lnTo>
                    <a:lnTo>
                      <a:pt x="178" y="500"/>
                    </a:lnTo>
                    <a:lnTo>
                      <a:pt x="178" y="499"/>
                    </a:lnTo>
                    <a:lnTo>
                      <a:pt x="178" y="497"/>
                    </a:lnTo>
                    <a:lnTo>
                      <a:pt x="177" y="497"/>
                    </a:lnTo>
                    <a:lnTo>
                      <a:pt x="177" y="496"/>
                    </a:lnTo>
                    <a:lnTo>
                      <a:pt x="177" y="495"/>
                    </a:lnTo>
                    <a:lnTo>
                      <a:pt x="178" y="494"/>
                    </a:lnTo>
                    <a:lnTo>
                      <a:pt x="178" y="493"/>
                    </a:lnTo>
                    <a:lnTo>
                      <a:pt x="178" y="491"/>
                    </a:lnTo>
                    <a:lnTo>
                      <a:pt x="178" y="490"/>
                    </a:lnTo>
                    <a:lnTo>
                      <a:pt x="177" y="490"/>
                    </a:lnTo>
                    <a:lnTo>
                      <a:pt x="176" y="490"/>
                    </a:lnTo>
                    <a:lnTo>
                      <a:pt x="175" y="491"/>
                    </a:lnTo>
                    <a:lnTo>
                      <a:pt x="174" y="491"/>
                    </a:lnTo>
                    <a:lnTo>
                      <a:pt x="174" y="492"/>
                    </a:lnTo>
                    <a:lnTo>
                      <a:pt x="174" y="494"/>
                    </a:lnTo>
                    <a:lnTo>
                      <a:pt x="174" y="496"/>
                    </a:lnTo>
                    <a:lnTo>
                      <a:pt x="174" y="497"/>
                    </a:lnTo>
                    <a:lnTo>
                      <a:pt x="174" y="499"/>
                    </a:lnTo>
                    <a:lnTo>
                      <a:pt x="174" y="500"/>
                    </a:lnTo>
                    <a:lnTo>
                      <a:pt x="173" y="500"/>
                    </a:lnTo>
                    <a:lnTo>
                      <a:pt x="172" y="501"/>
                    </a:lnTo>
                    <a:lnTo>
                      <a:pt x="170" y="501"/>
                    </a:lnTo>
                    <a:lnTo>
                      <a:pt x="169" y="501"/>
                    </a:lnTo>
                    <a:lnTo>
                      <a:pt x="168" y="501"/>
                    </a:lnTo>
                    <a:lnTo>
                      <a:pt x="166" y="502"/>
                    </a:lnTo>
                    <a:lnTo>
                      <a:pt x="166" y="503"/>
                    </a:lnTo>
                    <a:lnTo>
                      <a:pt x="165" y="503"/>
                    </a:lnTo>
                    <a:lnTo>
                      <a:pt x="164" y="503"/>
                    </a:lnTo>
                    <a:lnTo>
                      <a:pt x="163" y="503"/>
                    </a:lnTo>
                    <a:lnTo>
                      <a:pt x="162" y="503"/>
                    </a:lnTo>
                    <a:lnTo>
                      <a:pt x="162" y="502"/>
                    </a:lnTo>
                    <a:lnTo>
                      <a:pt x="161" y="502"/>
                    </a:lnTo>
                    <a:lnTo>
                      <a:pt x="161" y="501"/>
                    </a:lnTo>
                    <a:lnTo>
                      <a:pt x="161" y="500"/>
                    </a:lnTo>
                    <a:lnTo>
                      <a:pt x="163" y="499"/>
                    </a:lnTo>
                    <a:lnTo>
                      <a:pt x="163" y="497"/>
                    </a:lnTo>
                    <a:lnTo>
                      <a:pt x="164" y="497"/>
                    </a:lnTo>
                    <a:lnTo>
                      <a:pt x="166" y="496"/>
                    </a:lnTo>
                    <a:lnTo>
                      <a:pt x="167" y="495"/>
                    </a:lnTo>
                    <a:lnTo>
                      <a:pt x="167" y="494"/>
                    </a:lnTo>
                    <a:lnTo>
                      <a:pt x="167" y="493"/>
                    </a:lnTo>
                    <a:lnTo>
                      <a:pt x="166" y="493"/>
                    </a:lnTo>
                    <a:lnTo>
                      <a:pt x="165" y="493"/>
                    </a:lnTo>
                    <a:lnTo>
                      <a:pt x="165" y="494"/>
                    </a:lnTo>
                    <a:lnTo>
                      <a:pt x="163" y="495"/>
                    </a:lnTo>
                    <a:lnTo>
                      <a:pt x="162" y="496"/>
                    </a:lnTo>
                    <a:lnTo>
                      <a:pt x="161" y="497"/>
                    </a:lnTo>
                    <a:lnTo>
                      <a:pt x="160" y="497"/>
                    </a:lnTo>
                    <a:lnTo>
                      <a:pt x="160" y="496"/>
                    </a:lnTo>
                    <a:lnTo>
                      <a:pt x="160" y="495"/>
                    </a:lnTo>
                    <a:lnTo>
                      <a:pt x="161" y="494"/>
                    </a:lnTo>
                    <a:lnTo>
                      <a:pt x="162" y="493"/>
                    </a:lnTo>
                    <a:lnTo>
                      <a:pt x="162" y="492"/>
                    </a:lnTo>
                    <a:lnTo>
                      <a:pt x="162" y="491"/>
                    </a:lnTo>
                    <a:lnTo>
                      <a:pt x="162" y="490"/>
                    </a:lnTo>
                    <a:lnTo>
                      <a:pt x="161" y="489"/>
                    </a:lnTo>
                    <a:lnTo>
                      <a:pt x="160" y="488"/>
                    </a:lnTo>
                    <a:lnTo>
                      <a:pt x="159" y="488"/>
                    </a:lnTo>
                    <a:lnTo>
                      <a:pt x="157" y="488"/>
                    </a:lnTo>
                    <a:lnTo>
                      <a:pt x="156" y="488"/>
                    </a:lnTo>
                    <a:lnTo>
                      <a:pt x="155" y="488"/>
                    </a:lnTo>
                    <a:lnTo>
                      <a:pt x="154" y="488"/>
                    </a:lnTo>
                    <a:lnTo>
                      <a:pt x="153" y="488"/>
                    </a:lnTo>
                    <a:lnTo>
                      <a:pt x="151" y="488"/>
                    </a:lnTo>
                    <a:lnTo>
                      <a:pt x="150" y="488"/>
                    </a:lnTo>
                    <a:lnTo>
                      <a:pt x="149" y="488"/>
                    </a:lnTo>
                    <a:lnTo>
                      <a:pt x="148" y="488"/>
                    </a:lnTo>
                    <a:lnTo>
                      <a:pt x="147" y="487"/>
                    </a:lnTo>
                    <a:lnTo>
                      <a:pt x="146" y="488"/>
                    </a:lnTo>
                    <a:lnTo>
                      <a:pt x="144" y="488"/>
                    </a:lnTo>
                    <a:lnTo>
                      <a:pt x="141" y="488"/>
                    </a:lnTo>
                    <a:lnTo>
                      <a:pt x="139" y="488"/>
                    </a:lnTo>
                    <a:lnTo>
                      <a:pt x="138" y="487"/>
                    </a:lnTo>
                    <a:lnTo>
                      <a:pt x="138" y="486"/>
                    </a:lnTo>
                    <a:lnTo>
                      <a:pt x="138" y="484"/>
                    </a:lnTo>
                    <a:lnTo>
                      <a:pt x="137" y="484"/>
                    </a:lnTo>
                    <a:lnTo>
                      <a:pt x="137" y="483"/>
                    </a:lnTo>
                    <a:lnTo>
                      <a:pt x="138" y="483"/>
                    </a:lnTo>
                    <a:lnTo>
                      <a:pt x="138" y="482"/>
                    </a:lnTo>
                    <a:lnTo>
                      <a:pt x="139" y="482"/>
                    </a:lnTo>
                    <a:lnTo>
                      <a:pt x="139" y="483"/>
                    </a:lnTo>
                    <a:lnTo>
                      <a:pt x="141" y="483"/>
                    </a:lnTo>
                    <a:lnTo>
                      <a:pt x="142" y="482"/>
                    </a:lnTo>
                    <a:lnTo>
                      <a:pt x="142" y="481"/>
                    </a:lnTo>
                    <a:lnTo>
                      <a:pt x="142" y="480"/>
                    </a:lnTo>
                    <a:lnTo>
                      <a:pt x="142" y="479"/>
                    </a:lnTo>
                    <a:lnTo>
                      <a:pt x="143" y="478"/>
                    </a:lnTo>
                    <a:lnTo>
                      <a:pt x="143" y="477"/>
                    </a:lnTo>
                    <a:lnTo>
                      <a:pt x="144" y="477"/>
                    </a:lnTo>
                    <a:lnTo>
                      <a:pt x="144" y="474"/>
                    </a:lnTo>
                    <a:lnTo>
                      <a:pt x="146" y="473"/>
                    </a:lnTo>
                    <a:lnTo>
                      <a:pt x="146" y="471"/>
                    </a:lnTo>
                    <a:lnTo>
                      <a:pt x="147" y="471"/>
                    </a:lnTo>
                    <a:lnTo>
                      <a:pt x="148" y="470"/>
                    </a:lnTo>
                    <a:lnTo>
                      <a:pt x="149" y="468"/>
                    </a:lnTo>
                    <a:lnTo>
                      <a:pt x="149" y="467"/>
                    </a:lnTo>
                    <a:lnTo>
                      <a:pt x="149" y="466"/>
                    </a:lnTo>
                    <a:lnTo>
                      <a:pt x="148" y="465"/>
                    </a:lnTo>
                    <a:lnTo>
                      <a:pt x="147" y="465"/>
                    </a:lnTo>
                    <a:lnTo>
                      <a:pt x="147" y="466"/>
                    </a:lnTo>
                    <a:lnTo>
                      <a:pt x="146" y="466"/>
                    </a:lnTo>
                    <a:lnTo>
                      <a:pt x="144" y="467"/>
                    </a:lnTo>
                    <a:lnTo>
                      <a:pt x="143" y="468"/>
                    </a:lnTo>
                    <a:lnTo>
                      <a:pt x="143" y="469"/>
                    </a:lnTo>
                    <a:lnTo>
                      <a:pt x="142" y="469"/>
                    </a:lnTo>
                    <a:lnTo>
                      <a:pt x="142" y="470"/>
                    </a:lnTo>
                    <a:lnTo>
                      <a:pt x="142" y="471"/>
                    </a:lnTo>
                    <a:lnTo>
                      <a:pt x="142" y="473"/>
                    </a:lnTo>
                    <a:lnTo>
                      <a:pt x="141" y="475"/>
                    </a:lnTo>
                    <a:lnTo>
                      <a:pt x="141" y="476"/>
                    </a:lnTo>
                    <a:lnTo>
                      <a:pt x="140" y="477"/>
                    </a:lnTo>
                    <a:lnTo>
                      <a:pt x="139" y="477"/>
                    </a:lnTo>
                    <a:lnTo>
                      <a:pt x="138" y="478"/>
                    </a:lnTo>
                    <a:lnTo>
                      <a:pt x="137" y="478"/>
                    </a:lnTo>
                    <a:lnTo>
                      <a:pt x="136" y="478"/>
                    </a:lnTo>
                    <a:lnTo>
                      <a:pt x="135" y="478"/>
                    </a:lnTo>
                    <a:lnTo>
                      <a:pt x="135" y="477"/>
                    </a:lnTo>
                    <a:lnTo>
                      <a:pt x="134" y="476"/>
                    </a:lnTo>
                    <a:lnTo>
                      <a:pt x="134" y="475"/>
                    </a:lnTo>
                    <a:lnTo>
                      <a:pt x="133" y="474"/>
                    </a:lnTo>
                    <a:lnTo>
                      <a:pt x="133" y="473"/>
                    </a:lnTo>
                    <a:lnTo>
                      <a:pt x="133" y="471"/>
                    </a:lnTo>
                    <a:lnTo>
                      <a:pt x="133" y="470"/>
                    </a:lnTo>
                    <a:lnTo>
                      <a:pt x="131" y="468"/>
                    </a:lnTo>
                    <a:lnTo>
                      <a:pt x="131" y="465"/>
                    </a:lnTo>
                    <a:lnTo>
                      <a:pt x="131" y="462"/>
                    </a:lnTo>
                    <a:lnTo>
                      <a:pt x="131" y="461"/>
                    </a:lnTo>
                    <a:lnTo>
                      <a:pt x="133" y="460"/>
                    </a:lnTo>
                    <a:lnTo>
                      <a:pt x="133" y="458"/>
                    </a:lnTo>
                    <a:lnTo>
                      <a:pt x="134" y="457"/>
                    </a:lnTo>
                    <a:lnTo>
                      <a:pt x="135" y="456"/>
                    </a:lnTo>
                    <a:lnTo>
                      <a:pt x="135" y="455"/>
                    </a:lnTo>
                    <a:lnTo>
                      <a:pt x="136" y="454"/>
                    </a:lnTo>
                    <a:lnTo>
                      <a:pt x="136" y="453"/>
                    </a:lnTo>
                    <a:lnTo>
                      <a:pt x="136" y="452"/>
                    </a:lnTo>
                    <a:lnTo>
                      <a:pt x="135" y="451"/>
                    </a:lnTo>
                    <a:lnTo>
                      <a:pt x="134" y="451"/>
                    </a:lnTo>
                    <a:lnTo>
                      <a:pt x="133" y="451"/>
                    </a:lnTo>
                    <a:lnTo>
                      <a:pt x="131" y="451"/>
                    </a:lnTo>
                    <a:lnTo>
                      <a:pt x="130" y="452"/>
                    </a:lnTo>
                    <a:lnTo>
                      <a:pt x="130" y="454"/>
                    </a:lnTo>
                    <a:lnTo>
                      <a:pt x="130" y="455"/>
                    </a:lnTo>
                    <a:lnTo>
                      <a:pt x="129" y="455"/>
                    </a:lnTo>
                    <a:lnTo>
                      <a:pt x="128" y="456"/>
                    </a:lnTo>
                    <a:lnTo>
                      <a:pt x="128" y="457"/>
                    </a:lnTo>
                    <a:lnTo>
                      <a:pt x="127" y="458"/>
                    </a:lnTo>
                    <a:lnTo>
                      <a:pt x="127" y="460"/>
                    </a:lnTo>
                    <a:lnTo>
                      <a:pt x="125" y="463"/>
                    </a:lnTo>
                    <a:lnTo>
                      <a:pt x="124" y="464"/>
                    </a:lnTo>
                    <a:lnTo>
                      <a:pt x="123" y="465"/>
                    </a:lnTo>
                    <a:lnTo>
                      <a:pt x="122" y="466"/>
                    </a:lnTo>
                    <a:lnTo>
                      <a:pt x="121" y="467"/>
                    </a:lnTo>
                    <a:lnTo>
                      <a:pt x="121" y="466"/>
                    </a:lnTo>
                    <a:lnTo>
                      <a:pt x="120" y="466"/>
                    </a:lnTo>
                    <a:lnTo>
                      <a:pt x="120" y="465"/>
                    </a:lnTo>
                    <a:lnTo>
                      <a:pt x="121" y="465"/>
                    </a:lnTo>
                    <a:lnTo>
                      <a:pt x="121" y="464"/>
                    </a:lnTo>
                    <a:lnTo>
                      <a:pt x="121" y="463"/>
                    </a:lnTo>
                    <a:lnTo>
                      <a:pt x="121" y="461"/>
                    </a:lnTo>
                    <a:lnTo>
                      <a:pt x="121" y="460"/>
                    </a:lnTo>
                    <a:lnTo>
                      <a:pt x="122" y="458"/>
                    </a:lnTo>
                    <a:lnTo>
                      <a:pt x="123" y="457"/>
                    </a:lnTo>
                    <a:lnTo>
                      <a:pt x="124" y="456"/>
                    </a:lnTo>
                    <a:lnTo>
                      <a:pt x="125" y="456"/>
                    </a:lnTo>
                    <a:lnTo>
                      <a:pt x="126" y="456"/>
                    </a:lnTo>
                    <a:lnTo>
                      <a:pt x="127" y="455"/>
                    </a:lnTo>
                    <a:lnTo>
                      <a:pt x="128" y="455"/>
                    </a:lnTo>
                    <a:lnTo>
                      <a:pt x="129" y="454"/>
                    </a:lnTo>
                    <a:lnTo>
                      <a:pt x="129" y="453"/>
                    </a:lnTo>
                    <a:lnTo>
                      <a:pt x="128" y="453"/>
                    </a:lnTo>
                    <a:lnTo>
                      <a:pt x="126" y="453"/>
                    </a:lnTo>
                    <a:lnTo>
                      <a:pt x="124" y="452"/>
                    </a:lnTo>
                    <a:lnTo>
                      <a:pt x="124" y="451"/>
                    </a:lnTo>
                    <a:lnTo>
                      <a:pt x="123" y="450"/>
                    </a:lnTo>
                    <a:lnTo>
                      <a:pt x="122" y="449"/>
                    </a:lnTo>
                    <a:lnTo>
                      <a:pt x="121" y="448"/>
                    </a:lnTo>
                    <a:lnTo>
                      <a:pt x="120" y="448"/>
                    </a:lnTo>
                    <a:lnTo>
                      <a:pt x="118" y="447"/>
                    </a:lnTo>
                    <a:lnTo>
                      <a:pt x="117" y="447"/>
                    </a:lnTo>
                    <a:lnTo>
                      <a:pt x="116" y="447"/>
                    </a:lnTo>
                    <a:lnTo>
                      <a:pt x="115" y="447"/>
                    </a:lnTo>
                    <a:lnTo>
                      <a:pt x="112" y="445"/>
                    </a:lnTo>
                    <a:lnTo>
                      <a:pt x="112" y="447"/>
                    </a:lnTo>
                    <a:lnTo>
                      <a:pt x="111" y="447"/>
                    </a:lnTo>
                    <a:lnTo>
                      <a:pt x="110" y="447"/>
                    </a:lnTo>
                    <a:lnTo>
                      <a:pt x="110" y="448"/>
                    </a:lnTo>
                    <a:lnTo>
                      <a:pt x="109" y="448"/>
                    </a:lnTo>
                    <a:lnTo>
                      <a:pt x="109" y="449"/>
                    </a:lnTo>
                    <a:lnTo>
                      <a:pt x="109" y="450"/>
                    </a:lnTo>
                    <a:lnTo>
                      <a:pt x="109" y="451"/>
                    </a:lnTo>
                    <a:lnTo>
                      <a:pt x="110" y="452"/>
                    </a:lnTo>
                    <a:lnTo>
                      <a:pt x="111" y="453"/>
                    </a:lnTo>
                    <a:lnTo>
                      <a:pt x="112" y="454"/>
                    </a:lnTo>
                    <a:lnTo>
                      <a:pt x="113" y="455"/>
                    </a:lnTo>
                    <a:lnTo>
                      <a:pt x="113" y="456"/>
                    </a:lnTo>
                    <a:lnTo>
                      <a:pt x="113" y="457"/>
                    </a:lnTo>
                    <a:lnTo>
                      <a:pt x="113" y="458"/>
                    </a:lnTo>
                    <a:lnTo>
                      <a:pt x="113" y="460"/>
                    </a:lnTo>
                    <a:lnTo>
                      <a:pt x="112" y="460"/>
                    </a:lnTo>
                    <a:lnTo>
                      <a:pt x="111" y="460"/>
                    </a:lnTo>
                    <a:lnTo>
                      <a:pt x="109" y="460"/>
                    </a:lnTo>
                    <a:lnTo>
                      <a:pt x="108" y="458"/>
                    </a:lnTo>
                    <a:lnTo>
                      <a:pt x="107" y="458"/>
                    </a:lnTo>
                    <a:lnTo>
                      <a:pt x="105" y="458"/>
                    </a:lnTo>
                    <a:lnTo>
                      <a:pt x="104" y="457"/>
                    </a:lnTo>
                    <a:lnTo>
                      <a:pt x="102" y="457"/>
                    </a:lnTo>
                    <a:lnTo>
                      <a:pt x="101" y="456"/>
                    </a:lnTo>
                    <a:lnTo>
                      <a:pt x="100" y="455"/>
                    </a:lnTo>
                    <a:lnTo>
                      <a:pt x="99" y="454"/>
                    </a:lnTo>
                    <a:lnTo>
                      <a:pt x="98" y="452"/>
                    </a:lnTo>
                    <a:lnTo>
                      <a:pt x="97" y="450"/>
                    </a:lnTo>
                    <a:lnTo>
                      <a:pt x="97" y="448"/>
                    </a:lnTo>
                    <a:lnTo>
                      <a:pt x="98" y="445"/>
                    </a:lnTo>
                    <a:lnTo>
                      <a:pt x="99" y="444"/>
                    </a:lnTo>
                    <a:lnTo>
                      <a:pt x="100" y="442"/>
                    </a:lnTo>
                    <a:lnTo>
                      <a:pt x="102" y="441"/>
                    </a:lnTo>
                    <a:lnTo>
                      <a:pt x="104" y="441"/>
                    </a:lnTo>
                    <a:lnTo>
                      <a:pt x="105" y="441"/>
                    </a:lnTo>
                    <a:lnTo>
                      <a:pt x="107" y="441"/>
                    </a:lnTo>
                    <a:lnTo>
                      <a:pt x="108" y="440"/>
                    </a:lnTo>
                    <a:lnTo>
                      <a:pt x="110" y="440"/>
                    </a:lnTo>
                    <a:lnTo>
                      <a:pt x="111" y="440"/>
                    </a:lnTo>
                    <a:lnTo>
                      <a:pt x="113" y="440"/>
                    </a:lnTo>
                    <a:lnTo>
                      <a:pt x="114" y="440"/>
                    </a:lnTo>
                    <a:lnTo>
                      <a:pt x="114" y="439"/>
                    </a:lnTo>
                    <a:lnTo>
                      <a:pt x="113" y="438"/>
                    </a:lnTo>
                    <a:lnTo>
                      <a:pt x="112" y="438"/>
                    </a:lnTo>
                    <a:lnTo>
                      <a:pt x="111" y="438"/>
                    </a:lnTo>
                    <a:lnTo>
                      <a:pt x="110" y="438"/>
                    </a:lnTo>
                    <a:lnTo>
                      <a:pt x="108" y="439"/>
                    </a:lnTo>
                    <a:lnTo>
                      <a:pt x="105" y="439"/>
                    </a:lnTo>
                    <a:lnTo>
                      <a:pt x="104" y="438"/>
                    </a:lnTo>
                    <a:lnTo>
                      <a:pt x="103" y="438"/>
                    </a:lnTo>
                    <a:lnTo>
                      <a:pt x="100" y="438"/>
                    </a:lnTo>
                    <a:lnTo>
                      <a:pt x="99" y="438"/>
                    </a:lnTo>
                    <a:lnTo>
                      <a:pt x="98" y="437"/>
                    </a:lnTo>
                    <a:lnTo>
                      <a:pt x="97" y="436"/>
                    </a:lnTo>
                    <a:lnTo>
                      <a:pt x="96" y="436"/>
                    </a:lnTo>
                    <a:lnTo>
                      <a:pt x="95" y="435"/>
                    </a:lnTo>
                    <a:lnTo>
                      <a:pt x="95" y="433"/>
                    </a:lnTo>
                    <a:lnTo>
                      <a:pt x="96" y="433"/>
                    </a:lnTo>
                    <a:lnTo>
                      <a:pt x="98" y="432"/>
                    </a:lnTo>
                    <a:lnTo>
                      <a:pt x="99" y="431"/>
                    </a:lnTo>
                    <a:lnTo>
                      <a:pt x="100" y="431"/>
                    </a:lnTo>
                    <a:lnTo>
                      <a:pt x="100" y="430"/>
                    </a:lnTo>
                    <a:lnTo>
                      <a:pt x="100" y="429"/>
                    </a:lnTo>
                    <a:lnTo>
                      <a:pt x="101" y="428"/>
                    </a:lnTo>
                    <a:lnTo>
                      <a:pt x="102" y="426"/>
                    </a:lnTo>
                    <a:lnTo>
                      <a:pt x="103" y="427"/>
                    </a:lnTo>
                    <a:lnTo>
                      <a:pt x="104" y="427"/>
                    </a:lnTo>
                    <a:lnTo>
                      <a:pt x="105" y="428"/>
                    </a:lnTo>
                    <a:lnTo>
                      <a:pt x="104" y="430"/>
                    </a:lnTo>
                    <a:lnTo>
                      <a:pt x="104" y="432"/>
                    </a:lnTo>
                    <a:lnTo>
                      <a:pt x="104" y="433"/>
                    </a:lnTo>
                    <a:lnTo>
                      <a:pt x="104" y="435"/>
                    </a:lnTo>
                    <a:lnTo>
                      <a:pt x="105" y="435"/>
                    </a:lnTo>
                    <a:lnTo>
                      <a:pt x="105" y="436"/>
                    </a:lnTo>
                    <a:lnTo>
                      <a:pt x="108" y="435"/>
                    </a:lnTo>
                    <a:lnTo>
                      <a:pt x="110" y="435"/>
                    </a:lnTo>
                    <a:lnTo>
                      <a:pt x="111" y="433"/>
                    </a:lnTo>
                    <a:lnTo>
                      <a:pt x="112" y="432"/>
                    </a:lnTo>
                    <a:lnTo>
                      <a:pt x="113" y="431"/>
                    </a:lnTo>
                    <a:lnTo>
                      <a:pt x="113" y="430"/>
                    </a:lnTo>
                    <a:lnTo>
                      <a:pt x="113" y="429"/>
                    </a:lnTo>
                    <a:lnTo>
                      <a:pt x="112" y="428"/>
                    </a:lnTo>
                    <a:lnTo>
                      <a:pt x="109" y="427"/>
                    </a:lnTo>
                    <a:lnTo>
                      <a:pt x="108" y="426"/>
                    </a:lnTo>
                    <a:lnTo>
                      <a:pt x="107" y="424"/>
                    </a:lnTo>
                    <a:lnTo>
                      <a:pt x="107" y="423"/>
                    </a:lnTo>
                    <a:lnTo>
                      <a:pt x="105" y="422"/>
                    </a:lnTo>
                    <a:lnTo>
                      <a:pt x="105" y="420"/>
                    </a:lnTo>
                    <a:lnTo>
                      <a:pt x="104" y="420"/>
                    </a:lnTo>
                    <a:lnTo>
                      <a:pt x="102" y="420"/>
                    </a:lnTo>
                    <a:lnTo>
                      <a:pt x="101" y="419"/>
                    </a:lnTo>
                    <a:lnTo>
                      <a:pt x="100" y="419"/>
                    </a:lnTo>
                    <a:lnTo>
                      <a:pt x="99" y="419"/>
                    </a:lnTo>
                    <a:lnTo>
                      <a:pt x="98" y="419"/>
                    </a:lnTo>
                    <a:lnTo>
                      <a:pt x="97" y="418"/>
                    </a:lnTo>
                    <a:lnTo>
                      <a:pt x="95" y="415"/>
                    </a:lnTo>
                    <a:lnTo>
                      <a:pt x="95" y="413"/>
                    </a:lnTo>
                    <a:lnTo>
                      <a:pt x="97" y="412"/>
                    </a:lnTo>
                    <a:lnTo>
                      <a:pt x="100" y="407"/>
                    </a:lnTo>
                    <a:lnTo>
                      <a:pt x="100" y="406"/>
                    </a:lnTo>
                    <a:lnTo>
                      <a:pt x="102" y="405"/>
                    </a:lnTo>
                    <a:lnTo>
                      <a:pt x="100" y="403"/>
                    </a:lnTo>
                    <a:lnTo>
                      <a:pt x="99" y="403"/>
                    </a:lnTo>
                    <a:lnTo>
                      <a:pt x="97" y="404"/>
                    </a:lnTo>
                    <a:lnTo>
                      <a:pt x="96" y="404"/>
                    </a:lnTo>
                    <a:lnTo>
                      <a:pt x="96" y="403"/>
                    </a:lnTo>
                    <a:lnTo>
                      <a:pt x="96" y="402"/>
                    </a:lnTo>
                    <a:lnTo>
                      <a:pt x="96" y="401"/>
                    </a:lnTo>
                    <a:lnTo>
                      <a:pt x="96" y="400"/>
                    </a:lnTo>
                    <a:lnTo>
                      <a:pt x="96" y="399"/>
                    </a:lnTo>
                    <a:lnTo>
                      <a:pt x="95" y="398"/>
                    </a:lnTo>
                    <a:lnTo>
                      <a:pt x="92" y="397"/>
                    </a:lnTo>
                    <a:lnTo>
                      <a:pt x="91" y="396"/>
                    </a:lnTo>
                    <a:lnTo>
                      <a:pt x="90" y="394"/>
                    </a:lnTo>
                    <a:lnTo>
                      <a:pt x="89" y="393"/>
                    </a:lnTo>
                    <a:lnTo>
                      <a:pt x="89" y="392"/>
                    </a:lnTo>
                    <a:lnTo>
                      <a:pt x="89" y="391"/>
                    </a:lnTo>
                    <a:lnTo>
                      <a:pt x="90" y="389"/>
                    </a:lnTo>
                    <a:lnTo>
                      <a:pt x="91" y="389"/>
                    </a:lnTo>
                    <a:lnTo>
                      <a:pt x="91" y="387"/>
                    </a:lnTo>
                    <a:lnTo>
                      <a:pt x="91" y="386"/>
                    </a:lnTo>
                    <a:lnTo>
                      <a:pt x="91" y="385"/>
                    </a:lnTo>
                    <a:lnTo>
                      <a:pt x="91" y="384"/>
                    </a:lnTo>
                    <a:lnTo>
                      <a:pt x="91" y="383"/>
                    </a:lnTo>
                    <a:lnTo>
                      <a:pt x="91" y="380"/>
                    </a:lnTo>
                    <a:lnTo>
                      <a:pt x="90" y="379"/>
                    </a:lnTo>
                    <a:lnTo>
                      <a:pt x="89" y="380"/>
                    </a:lnTo>
                    <a:lnTo>
                      <a:pt x="88" y="381"/>
                    </a:lnTo>
                    <a:lnTo>
                      <a:pt x="86" y="383"/>
                    </a:lnTo>
                    <a:lnTo>
                      <a:pt x="83" y="386"/>
                    </a:lnTo>
                    <a:lnTo>
                      <a:pt x="82" y="386"/>
                    </a:lnTo>
                    <a:lnTo>
                      <a:pt x="82" y="387"/>
                    </a:lnTo>
                    <a:lnTo>
                      <a:pt x="81" y="387"/>
                    </a:lnTo>
                    <a:lnTo>
                      <a:pt x="79" y="387"/>
                    </a:lnTo>
                    <a:lnTo>
                      <a:pt x="78" y="387"/>
                    </a:lnTo>
                    <a:lnTo>
                      <a:pt x="78" y="386"/>
                    </a:lnTo>
                    <a:lnTo>
                      <a:pt x="78" y="384"/>
                    </a:lnTo>
                    <a:lnTo>
                      <a:pt x="81" y="383"/>
                    </a:lnTo>
                    <a:lnTo>
                      <a:pt x="82" y="383"/>
                    </a:lnTo>
                    <a:lnTo>
                      <a:pt x="83" y="381"/>
                    </a:lnTo>
                    <a:lnTo>
                      <a:pt x="84" y="381"/>
                    </a:lnTo>
                    <a:lnTo>
                      <a:pt x="86" y="380"/>
                    </a:lnTo>
                    <a:lnTo>
                      <a:pt x="87" y="380"/>
                    </a:lnTo>
                    <a:lnTo>
                      <a:pt x="87" y="379"/>
                    </a:lnTo>
                    <a:lnTo>
                      <a:pt x="86" y="379"/>
                    </a:lnTo>
                    <a:lnTo>
                      <a:pt x="85" y="378"/>
                    </a:lnTo>
                    <a:lnTo>
                      <a:pt x="85" y="377"/>
                    </a:lnTo>
                    <a:lnTo>
                      <a:pt x="81" y="375"/>
                    </a:lnTo>
                    <a:lnTo>
                      <a:pt x="81" y="374"/>
                    </a:lnTo>
                    <a:lnTo>
                      <a:pt x="76" y="372"/>
                    </a:lnTo>
                    <a:lnTo>
                      <a:pt x="74" y="372"/>
                    </a:lnTo>
                    <a:lnTo>
                      <a:pt x="73" y="371"/>
                    </a:lnTo>
                    <a:lnTo>
                      <a:pt x="70" y="370"/>
                    </a:lnTo>
                    <a:lnTo>
                      <a:pt x="67" y="368"/>
                    </a:lnTo>
                    <a:lnTo>
                      <a:pt x="66" y="368"/>
                    </a:lnTo>
                    <a:lnTo>
                      <a:pt x="65" y="367"/>
                    </a:lnTo>
                    <a:lnTo>
                      <a:pt x="64" y="367"/>
                    </a:lnTo>
                    <a:lnTo>
                      <a:pt x="63" y="367"/>
                    </a:lnTo>
                    <a:lnTo>
                      <a:pt x="62" y="367"/>
                    </a:lnTo>
                    <a:lnTo>
                      <a:pt x="62" y="366"/>
                    </a:lnTo>
                    <a:lnTo>
                      <a:pt x="62" y="364"/>
                    </a:lnTo>
                    <a:lnTo>
                      <a:pt x="62" y="363"/>
                    </a:lnTo>
                    <a:lnTo>
                      <a:pt x="63" y="357"/>
                    </a:lnTo>
                    <a:lnTo>
                      <a:pt x="62" y="355"/>
                    </a:lnTo>
                    <a:lnTo>
                      <a:pt x="62" y="354"/>
                    </a:lnTo>
                    <a:lnTo>
                      <a:pt x="61" y="354"/>
                    </a:lnTo>
                    <a:lnTo>
                      <a:pt x="61" y="353"/>
                    </a:lnTo>
                    <a:lnTo>
                      <a:pt x="60" y="353"/>
                    </a:lnTo>
                    <a:lnTo>
                      <a:pt x="60" y="354"/>
                    </a:lnTo>
                    <a:lnTo>
                      <a:pt x="59" y="354"/>
                    </a:lnTo>
                    <a:lnTo>
                      <a:pt x="59" y="355"/>
                    </a:lnTo>
                    <a:lnTo>
                      <a:pt x="58" y="357"/>
                    </a:lnTo>
                    <a:lnTo>
                      <a:pt x="58" y="358"/>
                    </a:lnTo>
                    <a:lnTo>
                      <a:pt x="57" y="357"/>
                    </a:lnTo>
                    <a:lnTo>
                      <a:pt x="56" y="355"/>
                    </a:lnTo>
                    <a:lnTo>
                      <a:pt x="54" y="355"/>
                    </a:lnTo>
                    <a:lnTo>
                      <a:pt x="53" y="354"/>
                    </a:lnTo>
                    <a:lnTo>
                      <a:pt x="51" y="353"/>
                    </a:lnTo>
                    <a:lnTo>
                      <a:pt x="50" y="352"/>
                    </a:lnTo>
                    <a:lnTo>
                      <a:pt x="48" y="350"/>
                    </a:lnTo>
                    <a:lnTo>
                      <a:pt x="48" y="348"/>
                    </a:lnTo>
                    <a:lnTo>
                      <a:pt x="49" y="348"/>
                    </a:lnTo>
                    <a:lnTo>
                      <a:pt x="50" y="348"/>
                    </a:lnTo>
                    <a:lnTo>
                      <a:pt x="51" y="348"/>
                    </a:lnTo>
                    <a:lnTo>
                      <a:pt x="52" y="349"/>
                    </a:lnTo>
                    <a:lnTo>
                      <a:pt x="53" y="350"/>
                    </a:lnTo>
                    <a:lnTo>
                      <a:pt x="54" y="351"/>
                    </a:lnTo>
                    <a:lnTo>
                      <a:pt x="56" y="351"/>
                    </a:lnTo>
                    <a:lnTo>
                      <a:pt x="56" y="350"/>
                    </a:lnTo>
                    <a:lnTo>
                      <a:pt x="57" y="349"/>
                    </a:lnTo>
                    <a:lnTo>
                      <a:pt x="58" y="349"/>
                    </a:lnTo>
                    <a:lnTo>
                      <a:pt x="58" y="348"/>
                    </a:lnTo>
                    <a:lnTo>
                      <a:pt x="59" y="347"/>
                    </a:lnTo>
                    <a:lnTo>
                      <a:pt x="59" y="346"/>
                    </a:lnTo>
                    <a:lnTo>
                      <a:pt x="60" y="343"/>
                    </a:lnTo>
                    <a:lnTo>
                      <a:pt x="62" y="345"/>
                    </a:lnTo>
                    <a:lnTo>
                      <a:pt x="63" y="345"/>
                    </a:lnTo>
                    <a:lnTo>
                      <a:pt x="64" y="345"/>
                    </a:lnTo>
                    <a:lnTo>
                      <a:pt x="64" y="346"/>
                    </a:lnTo>
                    <a:lnTo>
                      <a:pt x="65" y="347"/>
                    </a:lnTo>
                    <a:lnTo>
                      <a:pt x="65" y="350"/>
                    </a:lnTo>
                    <a:lnTo>
                      <a:pt x="65" y="351"/>
                    </a:lnTo>
                    <a:lnTo>
                      <a:pt x="65" y="352"/>
                    </a:lnTo>
                    <a:lnTo>
                      <a:pt x="66" y="353"/>
                    </a:lnTo>
                    <a:lnTo>
                      <a:pt x="66" y="354"/>
                    </a:lnTo>
                    <a:lnTo>
                      <a:pt x="67" y="354"/>
                    </a:lnTo>
                    <a:lnTo>
                      <a:pt x="70" y="354"/>
                    </a:lnTo>
                    <a:lnTo>
                      <a:pt x="72" y="353"/>
                    </a:lnTo>
                    <a:lnTo>
                      <a:pt x="72" y="352"/>
                    </a:lnTo>
                    <a:lnTo>
                      <a:pt x="71" y="351"/>
                    </a:lnTo>
                    <a:lnTo>
                      <a:pt x="70" y="350"/>
                    </a:lnTo>
                    <a:lnTo>
                      <a:pt x="69" y="348"/>
                    </a:lnTo>
                    <a:lnTo>
                      <a:pt x="67" y="345"/>
                    </a:lnTo>
                    <a:lnTo>
                      <a:pt x="66" y="342"/>
                    </a:lnTo>
                    <a:lnTo>
                      <a:pt x="65" y="341"/>
                    </a:lnTo>
                    <a:lnTo>
                      <a:pt x="65" y="340"/>
                    </a:lnTo>
                    <a:lnTo>
                      <a:pt x="65" y="339"/>
                    </a:lnTo>
                    <a:lnTo>
                      <a:pt x="65" y="338"/>
                    </a:lnTo>
                    <a:lnTo>
                      <a:pt x="64" y="337"/>
                    </a:lnTo>
                    <a:lnTo>
                      <a:pt x="63" y="335"/>
                    </a:lnTo>
                    <a:lnTo>
                      <a:pt x="62" y="335"/>
                    </a:lnTo>
                    <a:lnTo>
                      <a:pt x="61" y="336"/>
                    </a:lnTo>
                    <a:lnTo>
                      <a:pt x="60" y="336"/>
                    </a:lnTo>
                    <a:lnTo>
                      <a:pt x="59" y="337"/>
                    </a:lnTo>
                    <a:lnTo>
                      <a:pt x="58" y="337"/>
                    </a:lnTo>
                    <a:lnTo>
                      <a:pt x="57" y="337"/>
                    </a:lnTo>
                    <a:lnTo>
                      <a:pt x="57" y="336"/>
                    </a:lnTo>
                    <a:lnTo>
                      <a:pt x="57" y="335"/>
                    </a:lnTo>
                    <a:lnTo>
                      <a:pt x="57" y="333"/>
                    </a:lnTo>
                    <a:lnTo>
                      <a:pt x="57" y="332"/>
                    </a:lnTo>
                    <a:lnTo>
                      <a:pt x="57" y="330"/>
                    </a:lnTo>
                    <a:lnTo>
                      <a:pt x="58" y="330"/>
                    </a:lnTo>
                    <a:lnTo>
                      <a:pt x="60" y="329"/>
                    </a:lnTo>
                    <a:lnTo>
                      <a:pt x="61" y="328"/>
                    </a:lnTo>
                    <a:lnTo>
                      <a:pt x="62" y="328"/>
                    </a:lnTo>
                    <a:lnTo>
                      <a:pt x="63" y="327"/>
                    </a:lnTo>
                    <a:lnTo>
                      <a:pt x="64" y="326"/>
                    </a:lnTo>
                    <a:lnTo>
                      <a:pt x="64" y="325"/>
                    </a:lnTo>
                    <a:lnTo>
                      <a:pt x="66" y="322"/>
                    </a:lnTo>
                    <a:lnTo>
                      <a:pt x="67" y="320"/>
                    </a:lnTo>
                    <a:lnTo>
                      <a:pt x="67" y="317"/>
                    </a:lnTo>
                    <a:lnTo>
                      <a:pt x="67" y="315"/>
                    </a:lnTo>
                    <a:lnTo>
                      <a:pt x="67" y="314"/>
                    </a:lnTo>
                    <a:lnTo>
                      <a:pt x="66" y="313"/>
                    </a:lnTo>
                    <a:lnTo>
                      <a:pt x="65" y="312"/>
                    </a:lnTo>
                    <a:lnTo>
                      <a:pt x="64" y="312"/>
                    </a:lnTo>
                    <a:lnTo>
                      <a:pt x="63" y="311"/>
                    </a:lnTo>
                    <a:lnTo>
                      <a:pt x="62" y="311"/>
                    </a:lnTo>
                    <a:lnTo>
                      <a:pt x="61" y="311"/>
                    </a:lnTo>
                    <a:lnTo>
                      <a:pt x="60" y="311"/>
                    </a:lnTo>
                    <a:lnTo>
                      <a:pt x="59" y="312"/>
                    </a:lnTo>
                    <a:lnTo>
                      <a:pt x="58" y="312"/>
                    </a:lnTo>
                    <a:lnTo>
                      <a:pt x="58" y="313"/>
                    </a:lnTo>
                    <a:lnTo>
                      <a:pt x="57" y="313"/>
                    </a:lnTo>
                    <a:lnTo>
                      <a:pt x="57" y="314"/>
                    </a:lnTo>
                    <a:lnTo>
                      <a:pt x="56" y="314"/>
                    </a:lnTo>
                    <a:lnTo>
                      <a:pt x="54" y="314"/>
                    </a:lnTo>
                    <a:lnTo>
                      <a:pt x="52" y="313"/>
                    </a:lnTo>
                    <a:lnTo>
                      <a:pt x="50" y="313"/>
                    </a:lnTo>
                    <a:lnTo>
                      <a:pt x="48" y="312"/>
                    </a:lnTo>
                    <a:lnTo>
                      <a:pt x="47" y="311"/>
                    </a:lnTo>
                    <a:lnTo>
                      <a:pt x="47" y="310"/>
                    </a:lnTo>
                    <a:lnTo>
                      <a:pt x="47" y="309"/>
                    </a:lnTo>
                    <a:lnTo>
                      <a:pt x="49" y="308"/>
                    </a:lnTo>
                    <a:lnTo>
                      <a:pt x="50" y="308"/>
                    </a:lnTo>
                    <a:lnTo>
                      <a:pt x="52" y="308"/>
                    </a:lnTo>
                    <a:lnTo>
                      <a:pt x="53" y="308"/>
                    </a:lnTo>
                    <a:lnTo>
                      <a:pt x="54" y="307"/>
                    </a:lnTo>
                    <a:lnTo>
                      <a:pt x="57" y="306"/>
                    </a:lnTo>
                    <a:lnTo>
                      <a:pt x="61" y="308"/>
                    </a:lnTo>
                    <a:lnTo>
                      <a:pt x="61" y="309"/>
                    </a:lnTo>
                    <a:lnTo>
                      <a:pt x="62" y="309"/>
                    </a:lnTo>
                    <a:lnTo>
                      <a:pt x="64" y="308"/>
                    </a:lnTo>
                    <a:lnTo>
                      <a:pt x="65" y="308"/>
                    </a:lnTo>
                    <a:lnTo>
                      <a:pt x="65" y="307"/>
                    </a:lnTo>
                    <a:lnTo>
                      <a:pt x="65" y="306"/>
                    </a:lnTo>
                    <a:lnTo>
                      <a:pt x="64" y="304"/>
                    </a:lnTo>
                    <a:lnTo>
                      <a:pt x="63" y="303"/>
                    </a:lnTo>
                    <a:lnTo>
                      <a:pt x="62" y="303"/>
                    </a:lnTo>
                    <a:lnTo>
                      <a:pt x="61" y="302"/>
                    </a:lnTo>
                    <a:lnTo>
                      <a:pt x="57" y="302"/>
                    </a:lnTo>
                    <a:lnTo>
                      <a:pt x="54" y="302"/>
                    </a:lnTo>
                    <a:lnTo>
                      <a:pt x="53" y="301"/>
                    </a:lnTo>
                    <a:lnTo>
                      <a:pt x="53" y="300"/>
                    </a:lnTo>
                    <a:lnTo>
                      <a:pt x="53" y="299"/>
                    </a:lnTo>
                    <a:lnTo>
                      <a:pt x="56" y="296"/>
                    </a:lnTo>
                    <a:lnTo>
                      <a:pt x="57" y="295"/>
                    </a:lnTo>
                    <a:lnTo>
                      <a:pt x="57" y="293"/>
                    </a:lnTo>
                    <a:lnTo>
                      <a:pt x="58" y="290"/>
                    </a:lnTo>
                    <a:lnTo>
                      <a:pt x="58" y="288"/>
                    </a:lnTo>
                    <a:lnTo>
                      <a:pt x="58" y="287"/>
                    </a:lnTo>
                    <a:lnTo>
                      <a:pt x="58" y="285"/>
                    </a:lnTo>
                    <a:lnTo>
                      <a:pt x="57" y="283"/>
                    </a:lnTo>
                    <a:lnTo>
                      <a:pt x="56" y="281"/>
                    </a:lnTo>
                    <a:lnTo>
                      <a:pt x="54" y="278"/>
                    </a:lnTo>
                    <a:lnTo>
                      <a:pt x="52" y="276"/>
                    </a:lnTo>
                    <a:lnTo>
                      <a:pt x="51" y="275"/>
                    </a:lnTo>
                    <a:lnTo>
                      <a:pt x="50" y="275"/>
                    </a:lnTo>
                    <a:lnTo>
                      <a:pt x="49" y="276"/>
                    </a:lnTo>
                    <a:lnTo>
                      <a:pt x="48" y="277"/>
                    </a:lnTo>
                    <a:lnTo>
                      <a:pt x="48" y="278"/>
                    </a:lnTo>
                    <a:lnTo>
                      <a:pt x="46" y="278"/>
                    </a:lnTo>
                    <a:lnTo>
                      <a:pt x="44" y="278"/>
                    </a:lnTo>
                    <a:lnTo>
                      <a:pt x="43" y="278"/>
                    </a:lnTo>
                    <a:lnTo>
                      <a:pt x="41" y="278"/>
                    </a:lnTo>
                    <a:lnTo>
                      <a:pt x="39" y="277"/>
                    </a:lnTo>
                    <a:lnTo>
                      <a:pt x="38" y="276"/>
                    </a:lnTo>
                    <a:lnTo>
                      <a:pt x="37" y="275"/>
                    </a:lnTo>
                    <a:lnTo>
                      <a:pt x="37" y="273"/>
                    </a:lnTo>
                    <a:lnTo>
                      <a:pt x="38" y="272"/>
                    </a:lnTo>
                    <a:lnTo>
                      <a:pt x="39" y="271"/>
                    </a:lnTo>
                    <a:lnTo>
                      <a:pt x="40" y="270"/>
                    </a:lnTo>
                    <a:lnTo>
                      <a:pt x="40" y="269"/>
                    </a:lnTo>
                    <a:lnTo>
                      <a:pt x="41" y="269"/>
                    </a:lnTo>
                    <a:lnTo>
                      <a:pt x="44" y="270"/>
                    </a:lnTo>
                    <a:lnTo>
                      <a:pt x="46" y="270"/>
                    </a:lnTo>
                    <a:lnTo>
                      <a:pt x="47" y="270"/>
                    </a:lnTo>
                    <a:lnTo>
                      <a:pt x="48" y="269"/>
                    </a:lnTo>
                    <a:lnTo>
                      <a:pt x="49" y="267"/>
                    </a:lnTo>
                    <a:lnTo>
                      <a:pt x="49" y="265"/>
                    </a:lnTo>
                    <a:lnTo>
                      <a:pt x="47" y="263"/>
                    </a:lnTo>
                    <a:lnTo>
                      <a:pt x="46" y="262"/>
                    </a:lnTo>
                    <a:lnTo>
                      <a:pt x="46" y="261"/>
                    </a:lnTo>
                    <a:lnTo>
                      <a:pt x="45" y="260"/>
                    </a:lnTo>
                    <a:lnTo>
                      <a:pt x="44" y="258"/>
                    </a:lnTo>
                    <a:lnTo>
                      <a:pt x="43" y="257"/>
                    </a:lnTo>
                    <a:lnTo>
                      <a:pt x="43" y="256"/>
                    </a:lnTo>
                    <a:lnTo>
                      <a:pt x="44" y="253"/>
                    </a:lnTo>
                    <a:lnTo>
                      <a:pt x="44" y="252"/>
                    </a:lnTo>
                    <a:lnTo>
                      <a:pt x="44" y="251"/>
                    </a:lnTo>
                    <a:lnTo>
                      <a:pt x="43" y="251"/>
                    </a:lnTo>
                    <a:lnTo>
                      <a:pt x="40" y="252"/>
                    </a:lnTo>
                    <a:lnTo>
                      <a:pt x="40" y="253"/>
                    </a:lnTo>
                    <a:lnTo>
                      <a:pt x="38" y="255"/>
                    </a:lnTo>
                    <a:lnTo>
                      <a:pt x="37" y="256"/>
                    </a:lnTo>
                    <a:lnTo>
                      <a:pt x="36" y="256"/>
                    </a:lnTo>
                    <a:lnTo>
                      <a:pt x="36" y="255"/>
                    </a:lnTo>
                    <a:lnTo>
                      <a:pt x="35" y="252"/>
                    </a:lnTo>
                    <a:lnTo>
                      <a:pt x="36" y="248"/>
                    </a:lnTo>
                    <a:lnTo>
                      <a:pt x="36" y="242"/>
                    </a:lnTo>
                    <a:lnTo>
                      <a:pt x="37" y="240"/>
                    </a:lnTo>
                    <a:lnTo>
                      <a:pt x="38" y="231"/>
                    </a:lnTo>
                    <a:lnTo>
                      <a:pt x="39" y="227"/>
                    </a:lnTo>
                    <a:lnTo>
                      <a:pt x="39" y="223"/>
                    </a:lnTo>
                    <a:lnTo>
                      <a:pt x="39" y="219"/>
                    </a:lnTo>
                    <a:lnTo>
                      <a:pt x="38" y="218"/>
                    </a:lnTo>
                    <a:lnTo>
                      <a:pt x="38" y="217"/>
                    </a:lnTo>
                    <a:lnTo>
                      <a:pt x="37" y="216"/>
                    </a:lnTo>
                    <a:lnTo>
                      <a:pt x="36" y="214"/>
                    </a:lnTo>
                    <a:lnTo>
                      <a:pt x="35" y="214"/>
                    </a:lnTo>
                    <a:lnTo>
                      <a:pt x="33" y="213"/>
                    </a:lnTo>
                    <a:lnTo>
                      <a:pt x="31" y="213"/>
                    </a:lnTo>
                    <a:lnTo>
                      <a:pt x="30" y="213"/>
                    </a:lnTo>
                    <a:lnTo>
                      <a:pt x="28" y="213"/>
                    </a:lnTo>
                    <a:lnTo>
                      <a:pt x="26" y="213"/>
                    </a:lnTo>
                    <a:lnTo>
                      <a:pt x="25" y="214"/>
                    </a:lnTo>
                    <a:lnTo>
                      <a:pt x="24" y="216"/>
                    </a:lnTo>
                    <a:lnTo>
                      <a:pt x="22" y="218"/>
                    </a:lnTo>
                    <a:lnTo>
                      <a:pt x="21" y="219"/>
                    </a:lnTo>
                    <a:lnTo>
                      <a:pt x="20" y="221"/>
                    </a:lnTo>
                    <a:lnTo>
                      <a:pt x="20" y="222"/>
                    </a:lnTo>
                    <a:lnTo>
                      <a:pt x="19" y="223"/>
                    </a:lnTo>
                    <a:lnTo>
                      <a:pt x="19" y="224"/>
                    </a:lnTo>
                    <a:lnTo>
                      <a:pt x="18" y="224"/>
                    </a:lnTo>
                    <a:lnTo>
                      <a:pt x="17" y="224"/>
                    </a:lnTo>
                    <a:lnTo>
                      <a:pt x="15" y="224"/>
                    </a:lnTo>
                    <a:lnTo>
                      <a:pt x="13" y="223"/>
                    </a:lnTo>
                    <a:lnTo>
                      <a:pt x="12" y="220"/>
                    </a:lnTo>
                    <a:lnTo>
                      <a:pt x="12" y="219"/>
                    </a:lnTo>
                    <a:lnTo>
                      <a:pt x="13" y="217"/>
                    </a:lnTo>
                    <a:lnTo>
                      <a:pt x="14" y="216"/>
                    </a:lnTo>
                    <a:lnTo>
                      <a:pt x="14" y="214"/>
                    </a:lnTo>
                    <a:lnTo>
                      <a:pt x="15" y="212"/>
                    </a:lnTo>
                    <a:lnTo>
                      <a:pt x="15" y="210"/>
                    </a:lnTo>
                    <a:lnTo>
                      <a:pt x="15" y="209"/>
                    </a:lnTo>
                    <a:lnTo>
                      <a:pt x="17" y="206"/>
                    </a:lnTo>
                    <a:lnTo>
                      <a:pt x="18" y="205"/>
                    </a:lnTo>
                    <a:lnTo>
                      <a:pt x="19" y="204"/>
                    </a:lnTo>
                    <a:lnTo>
                      <a:pt x="20" y="203"/>
                    </a:lnTo>
                    <a:lnTo>
                      <a:pt x="20" y="201"/>
                    </a:lnTo>
                    <a:lnTo>
                      <a:pt x="23" y="199"/>
                    </a:lnTo>
                    <a:lnTo>
                      <a:pt x="25" y="197"/>
                    </a:lnTo>
                    <a:lnTo>
                      <a:pt x="26" y="196"/>
                    </a:lnTo>
                    <a:lnTo>
                      <a:pt x="27" y="195"/>
                    </a:lnTo>
                    <a:lnTo>
                      <a:pt x="30" y="194"/>
                    </a:lnTo>
                    <a:lnTo>
                      <a:pt x="32" y="192"/>
                    </a:lnTo>
                    <a:lnTo>
                      <a:pt x="33" y="191"/>
                    </a:lnTo>
                    <a:lnTo>
                      <a:pt x="34" y="190"/>
                    </a:lnTo>
                    <a:lnTo>
                      <a:pt x="35" y="187"/>
                    </a:lnTo>
                    <a:lnTo>
                      <a:pt x="35" y="186"/>
                    </a:lnTo>
                    <a:lnTo>
                      <a:pt x="36" y="186"/>
                    </a:lnTo>
                    <a:lnTo>
                      <a:pt x="36" y="185"/>
                    </a:lnTo>
                    <a:lnTo>
                      <a:pt x="36" y="184"/>
                    </a:lnTo>
                    <a:lnTo>
                      <a:pt x="37" y="183"/>
                    </a:lnTo>
                    <a:lnTo>
                      <a:pt x="37" y="182"/>
                    </a:lnTo>
                    <a:lnTo>
                      <a:pt x="38" y="180"/>
                    </a:lnTo>
                    <a:lnTo>
                      <a:pt x="38" y="179"/>
                    </a:lnTo>
                    <a:lnTo>
                      <a:pt x="38" y="178"/>
                    </a:lnTo>
                    <a:lnTo>
                      <a:pt x="38" y="176"/>
                    </a:lnTo>
                    <a:lnTo>
                      <a:pt x="38" y="175"/>
                    </a:lnTo>
                    <a:lnTo>
                      <a:pt x="38" y="174"/>
                    </a:lnTo>
                    <a:lnTo>
                      <a:pt x="38" y="173"/>
                    </a:lnTo>
                    <a:lnTo>
                      <a:pt x="38" y="172"/>
                    </a:lnTo>
                    <a:lnTo>
                      <a:pt x="38" y="171"/>
                    </a:lnTo>
                    <a:lnTo>
                      <a:pt x="38" y="170"/>
                    </a:lnTo>
                    <a:lnTo>
                      <a:pt x="38" y="169"/>
                    </a:lnTo>
                    <a:lnTo>
                      <a:pt x="38" y="168"/>
                    </a:lnTo>
                    <a:lnTo>
                      <a:pt x="37" y="167"/>
                    </a:lnTo>
                    <a:lnTo>
                      <a:pt x="36" y="165"/>
                    </a:lnTo>
                    <a:lnTo>
                      <a:pt x="36" y="163"/>
                    </a:lnTo>
                    <a:lnTo>
                      <a:pt x="36" y="162"/>
                    </a:lnTo>
                    <a:lnTo>
                      <a:pt x="35" y="161"/>
                    </a:lnTo>
                    <a:lnTo>
                      <a:pt x="34" y="161"/>
                    </a:lnTo>
                    <a:lnTo>
                      <a:pt x="33" y="160"/>
                    </a:lnTo>
                    <a:lnTo>
                      <a:pt x="32" y="160"/>
                    </a:lnTo>
                    <a:lnTo>
                      <a:pt x="31" y="160"/>
                    </a:lnTo>
                    <a:lnTo>
                      <a:pt x="30" y="160"/>
                    </a:lnTo>
                    <a:lnTo>
                      <a:pt x="28" y="160"/>
                    </a:lnTo>
                    <a:lnTo>
                      <a:pt x="27" y="160"/>
                    </a:lnTo>
                    <a:lnTo>
                      <a:pt x="26" y="161"/>
                    </a:lnTo>
                    <a:lnTo>
                      <a:pt x="26" y="162"/>
                    </a:lnTo>
                    <a:lnTo>
                      <a:pt x="24" y="165"/>
                    </a:lnTo>
                    <a:lnTo>
                      <a:pt x="23" y="167"/>
                    </a:lnTo>
                    <a:lnTo>
                      <a:pt x="22" y="167"/>
                    </a:lnTo>
                    <a:lnTo>
                      <a:pt x="22" y="168"/>
                    </a:lnTo>
                    <a:lnTo>
                      <a:pt x="21" y="170"/>
                    </a:lnTo>
                    <a:lnTo>
                      <a:pt x="20" y="171"/>
                    </a:lnTo>
                    <a:lnTo>
                      <a:pt x="20" y="172"/>
                    </a:lnTo>
                    <a:lnTo>
                      <a:pt x="19" y="172"/>
                    </a:lnTo>
                    <a:lnTo>
                      <a:pt x="18" y="172"/>
                    </a:lnTo>
                    <a:lnTo>
                      <a:pt x="17" y="172"/>
                    </a:lnTo>
                    <a:lnTo>
                      <a:pt x="15" y="172"/>
                    </a:lnTo>
                    <a:lnTo>
                      <a:pt x="14" y="171"/>
                    </a:lnTo>
                    <a:lnTo>
                      <a:pt x="14" y="170"/>
                    </a:lnTo>
                    <a:lnTo>
                      <a:pt x="13" y="169"/>
                    </a:lnTo>
                    <a:lnTo>
                      <a:pt x="13" y="168"/>
                    </a:lnTo>
                    <a:lnTo>
                      <a:pt x="13" y="167"/>
                    </a:lnTo>
                    <a:lnTo>
                      <a:pt x="13" y="166"/>
                    </a:lnTo>
                    <a:lnTo>
                      <a:pt x="14" y="163"/>
                    </a:lnTo>
                    <a:lnTo>
                      <a:pt x="14" y="162"/>
                    </a:lnTo>
                    <a:lnTo>
                      <a:pt x="14" y="161"/>
                    </a:lnTo>
                    <a:lnTo>
                      <a:pt x="15" y="161"/>
                    </a:lnTo>
                    <a:lnTo>
                      <a:pt x="17" y="160"/>
                    </a:lnTo>
                    <a:lnTo>
                      <a:pt x="17" y="159"/>
                    </a:lnTo>
                    <a:lnTo>
                      <a:pt x="18" y="159"/>
                    </a:lnTo>
                    <a:lnTo>
                      <a:pt x="20" y="158"/>
                    </a:lnTo>
                    <a:lnTo>
                      <a:pt x="24" y="156"/>
                    </a:lnTo>
                    <a:lnTo>
                      <a:pt x="25" y="156"/>
                    </a:lnTo>
                    <a:lnTo>
                      <a:pt x="26" y="156"/>
                    </a:lnTo>
                    <a:lnTo>
                      <a:pt x="27" y="155"/>
                    </a:lnTo>
                    <a:lnTo>
                      <a:pt x="28" y="155"/>
                    </a:lnTo>
                    <a:lnTo>
                      <a:pt x="30" y="154"/>
                    </a:lnTo>
                    <a:lnTo>
                      <a:pt x="31" y="152"/>
                    </a:lnTo>
                    <a:lnTo>
                      <a:pt x="32" y="150"/>
                    </a:lnTo>
                    <a:lnTo>
                      <a:pt x="33" y="149"/>
                    </a:lnTo>
                    <a:lnTo>
                      <a:pt x="33" y="148"/>
                    </a:lnTo>
                    <a:lnTo>
                      <a:pt x="33" y="147"/>
                    </a:lnTo>
                    <a:lnTo>
                      <a:pt x="34" y="147"/>
                    </a:lnTo>
                    <a:lnTo>
                      <a:pt x="34" y="146"/>
                    </a:lnTo>
                    <a:lnTo>
                      <a:pt x="34" y="145"/>
                    </a:lnTo>
                    <a:lnTo>
                      <a:pt x="35" y="144"/>
                    </a:lnTo>
                    <a:lnTo>
                      <a:pt x="35" y="142"/>
                    </a:lnTo>
                    <a:lnTo>
                      <a:pt x="36" y="137"/>
                    </a:lnTo>
                    <a:lnTo>
                      <a:pt x="36" y="135"/>
                    </a:lnTo>
                    <a:lnTo>
                      <a:pt x="37" y="133"/>
                    </a:lnTo>
                    <a:lnTo>
                      <a:pt x="37" y="131"/>
                    </a:lnTo>
                    <a:lnTo>
                      <a:pt x="37" y="129"/>
                    </a:lnTo>
                    <a:lnTo>
                      <a:pt x="37" y="128"/>
                    </a:lnTo>
                    <a:lnTo>
                      <a:pt x="37" y="127"/>
                    </a:lnTo>
                    <a:lnTo>
                      <a:pt x="37" y="126"/>
                    </a:lnTo>
                    <a:lnTo>
                      <a:pt x="37" y="123"/>
                    </a:lnTo>
                    <a:lnTo>
                      <a:pt x="37" y="122"/>
                    </a:lnTo>
                    <a:lnTo>
                      <a:pt x="37" y="121"/>
                    </a:lnTo>
                    <a:lnTo>
                      <a:pt x="37" y="120"/>
                    </a:lnTo>
                    <a:lnTo>
                      <a:pt x="37" y="119"/>
                    </a:lnTo>
                    <a:lnTo>
                      <a:pt x="37" y="118"/>
                    </a:lnTo>
                    <a:lnTo>
                      <a:pt x="37" y="117"/>
                    </a:lnTo>
                    <a:lnTo>
                      <a:pt x="37" y="116"/>
                    </a:lnTo>
                    <a:lnTo>
                      <a:pt x="36" y="115"/>
                    </a:lnTo>
                    <a:lnTo>
                      <a:pt x="35" y="115"/>
                    </a:lnTo>
                    <a:lnTo>
                      <a:pt x="34" y="116"/>
                    </a:lnTo>
                    <a:lnTo>
                      <a:pt x="33" y="117"/>
                    </a:lnTo>
                    <a:lnTo>
                      <a:pt x="31" y="121"/>
                    </a:lnTo>
                    <a:lnTo>
                      <a:pt x="30" y="124"/>
                    </a:lnTo>
                    <a:lnTo>
                      <a:pt x="28" y="126"/>
                    </a:lnTo>
                    <a:lnTo>
                      <a:pt x="27" y="126"/>
                    </a:lnTo>
                    <a:lnTo>
                      <a:pt x="25" y="124"/>
                    </a:lnTo>
                    <a:lnTo>
                      <a:pt x="24" y="124"/>
                    </a:lnTo>
                    <a:lnTo>
                      <a:pt x="23" y="124"/>
                    </a:lnTo>
                    <a:lnTo>
                      <a:pt x="21" y="123"/>
                    </a:lnTo>
                    <a:lnTo>
                      <a:pt x="20" y="122"/>
                    </a:lnTo>
                    <a:lnTo>
                      <a:pt x="19" y="121"/>
                    </a:lnTo>
                    <a:lnTo>
                      <a:pt x="20" y="121"/>
                    </a:lnTo>
                    <a:lnTo>
                      <a:pt x="20" y="120"/>
                    </a:lnTo>
                    <a:lnTo>
                      <a:pt x="21" y="119"/>
                    </a:lnTo>
                    <a:lnTo>
                      <a:pt x="23" y="118"/>
                    </a:lnTo>
                    <a:lnTo>
                      <a:pt x="24" y="118"/>
                    </a:lnTo>
                    <a:lnTo>
                      <a:pt x="24" y="117"/>
                    </a:lnTo>
                    <a:lnTo>
                      <a:pt x="25" y="117"/>
                    </a:lnTo>
                    <a:lnTo>
                      <a:pt x="26" y="116"/>
                    </a:lnTo>
                    <a:lnTo>
                      <a:pt x="27" y="116"/>
                    </a:lnTo>
                    <a:lnTo>
                      <a:pt x="27" y="115"/>
                    </a:lnTo>
                    <a:lnTo>
                      <a:pt x="27" y="114"/>
                    </a:lnTo>
                    <a:lnTo>
                      <a:pt x="28" y="113"/>
                    </a:lnTo>
                    <a:lnTo>
                      <a:pt x="28" y="111"/>
                    </a:lnTo>
                    <a:lnTo>
                      <a:pt x="28" y="110"/>
                    </a:lnTo>
                    <a:lnTo>
                      <a:pt x="28" y="109"/>
                    </a:lnTo>
                    <a:lnTo>
                      <a:pt x="28" y="108"/>
                    </a:lnTo>
                    <a:lnTo>
                      <a:pt x="27" y="107"/>
                    </a:lnTo>
                    <a:lnTo>
                      <a:pt x="25" y="106"/>
                    </a:lnTo>
                    <a:lnTo>
                      <a:pt x="24" y="105"/>
                    </a:lnTo>
                    <a:lnTo>
                      <a:pt x="23" y="105"/>
                    </a:lnTo>
                    <a:lnTo>
                      <a:pt x="22" y="105"/>
                    </a:lnTo>
                    <a:lnTo>
                      <a:pt x="21" y="105"/>
                    </a:lnTo>
                    <a:lnTo>
                      <a:pt x="20" y="105"/>
                    </a:lnTo>
                    <a:lnTo>
                      <a:pt x="19" y="103"/>
                    </a:lnTo>
                    <a:lnTo>
                      <a:pt x="18" y="102"/>
                    </a:lnTo>
                    <a:lnTo>
                      <a:pt x="17" y="101"/>
                    </a:lnTo>
                    <a:lnTo>
                      <a:pt x="15" y="98"/>
                    </a:lnTo>
                    <a:lnTo>
                      <a:pt x="15" y="96"/>
                    </a:lnTo>
                    <a:lnTo>
                      <a:pt x="15" y="94"/>
                    </a:lnTo>
                    <a:lnTo>
                      <a:pt x="15" y="92"/>
                    </a:lnTo>
                    <a:lnTo>
                      <a:pt x="15" y="90"/>
                    </a:lnTo>
                    <a:lnTo>
                      <a:pt x="15" y="89"/>
                    </a:lnTo>
                    <a:lnTo>
                      <a:pt x="15" y="86"/>
                    </a:lnTo>
                    <a:lnTo>
                      <a:pt x="15" y="85"/>
                    </a:lnTo>
                    <a:lnTo>
                      <a:pt x="17" y="84"/>
                    </a:lnTo>
                    <a:lnTo>
                      <a:pt x="18" y="82"/>
                    </a:lnTo>
                    <a:lnTo>
                      <a:pt x="18" y="81"/>
                    </a:lnTo>
                    <a:lnTo>
                      <a:pt x="19" y="79"/>
                    </a:lnTo>
                    <a:lnTo>
                      <a:pt x="20" y="78"/>
                    </a:lnTo>
                    <a:lnTo>
                      <a:pt x="20" y="77"/>
                    </a:lnTo>
                    <a:lnTo>
                      <a:pt x="21" y="75"/>
                    </a:lnTo>
                    <a:lnTo>
                      <a:pt x="22" y="72"/>
                    </a:lnTo>
                    <a:lnTo>
                      <a:pt x="23" y="70"/>
                    </a:lnTo>
                    <a:lnTo>
                      <a:pt x="24" y="69"/>
                    </a:lnTo>
                    <a:lnTo>
                      <a:pt x="25" y="68"/>
                    </a:lnTo>
                    <a:lnTo>
                      <a:pt x="26" y="67"/>
                    </a:lnTo>
                    <a:lnTo>
                      <a:pt x="26" y="66"/>
                    </a:lnTo>
                    <a:lnTo>
                      <a:pt x="27" y="66"/>
                    </a:lnTo>
                    <a:lnTo>
                      <a:pt x="27" y="65"/>
                    </a:lnTo>
                    <a:lnTo>
                      <a:pt x="27" y="64"/>
                    </a:lnTo>
                    <a:lnTo>
                      <a:pt x="27" y="63"/>
                    </a:lnTo>
                    <a:lnTo>
                      <a:pt x="26" y="62"/>
                    </a:lnTo>
                    <a:lnTo>
                      <a:pt x="26" y="60"/>
                    </a:lnTo>
                    <a:lnTo>
                      <a:pt x="25" y="59"/>
                    </a:lnTo>
                    <a:lnTo>
                      <a:pt x="24" y="58"/>
                    </a:lnTo>
                    <a:lnTo>
                      <a:pt x="22" y="57"/>
                    </a:lnTo>
                    <a:lnTo>
                      <a:pt x="21" y="57"/>
                    </a:lnTo>
                    <a:lnTo>
                      <a:pt x="20" y="56"/>
                    </a:lnTo>
                    <a:lnTo>
                      <a:pt x="19" y="55"/>
                    </a:lnTo>
                    <a:lnTo>
                      <a:pt x="17" y="54"/>
                    </a:lnTo>
                    <a:lnTo>
                      <a:pt x="14" y="53"/>
                    </a:lnTo>
                    <a:lnTo>
                      <a:pt x="13" y="53"/>
                    </a:lnTo>
                    <a:lnTo>
                      <a:pt x="11" y="53"/>
                    </a:lnTo>
                    <a:lnTo>
                      <a:pt x="7" y="53"/>
                    </a:lnTo>
                    <a:lnTo>
                      <a:pt x="5" y="53"/>
                    </a:lnTo>
                    <a:lnTo>
                      <a:pt x="4" y="53"/>
                    </a:lnTo>
                    <a:lnTo>
                      <a:pt x="2" y="53"/>
                    </a:lnTo>
                    <a:lnTo>
                      <a:pt x="1" y="51"/>
                    </a:lnTo>
                    <a:lnTo>
                      <a:pt x="0" y="50"/>
                    </a:lnTo>
                    <a:lnTo>
                      <a:pt x="1" y="50"/>
                    </a:lnTo>
                    <a:lnTo>
                      <a:pt x="1" y="49"/>
                    </a:lnTo>
                    <a:lnTo>
                      <a:pt x="2" y="47"/>
                    </a:lnTo>
                    <a:lnTo>
                      <a:pt x="4" y="47"/>
                    </a:lnTo>
                    <a:lnTo>
                      <a:pt x="7" y="46"/>
                    </a:lnTo>
                    <a:lnTo>
                      <a:pt x="8" y="46"/>
                    </a:lnTo>
                    <a:lnTo>
                      <a:pt x="9" y="46"/>
                    </a:lnTo>
                    <a:lnTo>
                      <a:pt x="9" y="45"/>
                    </a:lnTo>
                    <a:lnTo>
                      <a:pt x="9" y="44"/>
                    </a:lnTo>
                    <a:lnTo>
                      <a:pt x="10" y="42"/>
                    </a:lnTo>
                    <a:lnTo>
                      <a:pt x="11" y="41"/>
                    </a:lnTo>
                    <a:lnTo>
                      <a:pt x="11" y="40"/>
                    </a:lnTo>
                    <a:lnTo>
                      <a:pt x="12" y="40"/>
                    </a:lnTo>
                    <a:lnTo>
                      <a:pt x="13" y="39"/>
                    </a:lnTo>
                    <a:lnTo>
                      <a:pt x="13" y="38"/>
                    </a:lnTo>
                    <a:lnTo>
                      <a:pt x="14" y="39"/>
                    </a:lnTo>
                    <a:lnTo>
                      <a:pt x="15" y="39"/>
                    </a:lnTo>
                    <a:lnTo>
                      <a:pt x="17" y="39"/>
                    </a:lnTo>
                    <a:lnTo>
                      <a:pt x="18" y="40"/>
                    </a:lnTo>
                    <a:lnTo>
                      <a:pt x="19" y="40"/>
                    </a:lnTo>
                    <a:lnTo>
                      <a:pt x="21" y="41"/>
                    </a:lnTo>
                    <a:lnTo>
                      <a:pt x="22" y="42"/>
                    </a:lnTo>
                    <a:lnTo>
                      <a:pt x="23" y="42"/>
                    </a:lnTo>
                    <a:lnTo>
                      <a:pt x="24" y="42"/>
                    </a:lnTo>
                    <a:lnTo>
                      <a:pt x="25" y="42"/>
                    </a:lnTo>
                    <a:lnTo>
                      <a:pt x="26" y="41"/>
                    </a:lnTo>
                    <a:lnTo>
                      <a:pt x="27" y="40"/>
                    </a:lnTo>
                    <a:lnTo>
                      <a:pt x="27" y="39"/>
                    </a:lnTo>
                    <a:lnTo>
                      <a:pt x="28" y="38"/>
                    </a:lnTo>
                    <a:lnTo>
                      <a:pt x="28" y="37"/>
                    </a:lnTo>
                    <a:lnTo>
                      <a:pt x="28" y="36"/>
                    </a:lnTo>
                    <a:lnTo>
                      <a:pt x="27" y="33"/>
                    </a:lnTo>
                    <a:lnTo>
                      <a:pt x="26" y="33"/>
                    </a:lnTo>
                    <a:lnTo>
                      <a:pt x="25" y="32"/>
                    </a:lnTo>
                    <a:lnTo>
                      <a:pt x="25" y="33"/>
                    </a:lnTo>
                    <a:lnTo>
                      <a:pt x="24" y="33"/>
                    </a:lnTo>
                    <a:lnTo>
                      <a:pt x="23" y="34"/>
                    </a:lnTo>
                    <a:lnTo>
                      <a:pt x="22" y="36"/>
                    </a:lnTo>
                    <a:lnTo>
                      <a:pt x="21" y="36"/>
                    </a:lnTo>
                    <a:lnTo>
                      <a:pt x="20" y="37"/>
                    </a:lnTo>
                    <a:lnTo>
                      <a:pt x="18" y="38"/>
                    </a:lnTo>
                    <a:lnTo>
                      <a:pt x="17" y="38"/>
                    </a:lnTo>
                    <a:lnTo>
                      <a:pt x="15" y="38"/>
                    </a:lnTo>
                    <a:lnTo>
                      <a:pt x="14" y="38"/>
                    </a:lnTo>
                    <a:lnTo>
                      <a:pt x="14" y="37"/>
                    </a:lnTo>
                    <a:lnTo>
                      <a:pt x="15" y="36"/>
                    </a:lnTo>
                    <a:lnTo>
                      <a:pt x="17" y="33"/>
                    </a:lnTo>
                    <a:lnTo>
                      <a:pt x="18" y="32"/>
                    </a:lnTo>
                    <a:lnTo>
                      <a:pt x="18" y="31"/>
                    </a:lnTo>
                    <a:lnTo>
                      <a:pt x="18" y="30"/>
                    </a:lnTo>
                    <a:lnTo>
                      <a:pt x="18" y="29"/>
                    </a:lnTo>
                    <a:lnTo>
                      <a:pt x="18" y="28"/>
                    </a:lnTo>
                    <a:lnTo>
                      <a:pt x="17" y="27"/>
                    </a:lnTo>
                    <a:lnTo>
                      <a:pt x="17" y="26"/>
                    </a:lnTo>
                    <a:lnTo>
                      <a:pt x="17" y="24"/>
                    </a:lnTo>
                    <a:lnTo>
                      <a:pt x="15" y="21"/>
                    </a:lnTo>
                    <a:lnTo>
                      <a:pt x="15" y="20"/>
                    </a:lnTo>
                    <a:lnTo>
                      <a:pt x="14" y="19"/>
                    </a:lnTo>
                    <a:lnTo>
                      <a:pt x="13" y="17"/>
                    </a:lnTo>
                    <a:lnTo>
                      <a:pt x="13" y="16"/>
                    </a:lnTo>
                    <a:lnTo>
                      <a:pt x="13" y="15"/>
                    </a:lnTo>
                    <a:lnTo>
                      <a:pt x="13" y="14"/>
                    </a:lnTo>
                    <a:lnTo>
                      <a:pt x="13" y="13"/>
                    </a:lnTo>
                    <a:lnTo>
                      <a:pt x="13" y="11"/>
                    </a:lnTo>
                    <a:lnTo>
                      <a:pt x="12" y="8"/>
                    </a:lnTo>
                    <a:lnTo>
                      <a:pt x="12" y="6"/>
                    </a:lnTo>
                    <a:lnTo>
                      <a:pt x="12" y="5"/>
                    </a:lnTo>
                    <a:lnTo>
                      <a:pt x="13" y="4"/>
                    </a:lnTo>
                    <a:lnTo>
                      <a:pt x="14" y="4"/>
                    </a:lnTo>
                    <a:lnTo>
                      <a:pt x="15" y="4"/>
                    </a:lnTo>
                    <a:lnTo>
                      <a:pt x="17" y="3"/>
                    </a:lnTo>
                    <a:lnTo>
                      <a:pt x="18" y="2"/>
                    </a:lnTo>
                    <a:lnTo>
                      <a:pt x="19" y="2"/>
                    </a:lnTo>
                    <a:lnTo>
                      <a:pt x="20" y="0"/>
                    </a:lnTo>
                    <a:lnTo>
                      <a:pt x="24" y="0"/>
                    </a:lnTo>
                    <a:lnTo>
                      <a:pt x="25" y="0"/>
                    </a:lnTo>
                    <a:lnTo>
                      <a:pt x="26" y="0"/>
                    </a:lnTo>
                    <a:lnTo>
                      <a:pt x="59" y="0"/>
                    </a:lnTo>
                    <a:lnTo>
                      <a:pt x="62" y="0"/>
                    </a:lnTo>
                    <a:lnTo>
                      <a:pt x="104" y="0"/>
                    </a:lnTo>
                    <a:lnTo>
                      <a:pt x="126" y="0"/>
                    </a:lnTo>
                    <a:lnTo>
                      <a:pt x="136" y="0"/>
                    </a:lnTo>
                    <a:lnTo>
                      <a:pt x="185" y="0"/>
                    </a:lnTo>
                    <a:lnTo>
                      <a:pt x="200" y="0"/>
                    </a:lnTo>
                    <a:close/>
                  </a:path>
                </a:pathLst>
              </a:custGeom>
              <a:solidFill>
                <a:srgbClr val="1455A2"/>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5" name="Freeform 65">
                <a:extLst>
                  <a:ext uri="{FF2B5EF4-FFF2-40B4-BE49-F238E27FC236}">
                    <a16:creationId xmlns:a16="http://schemas.microsoft.com/office/drawing/2014/main" id="{ED039B8F-5467-04A8-92AE-07DE3A2E0522}"/>
                  </a:ext>
                </a:extLst>
              </p:cNvPr>
              <p:cNvSpPr>
                <a:spLocks/>
              </p:cNvSpPr>
              <p:nvPr/>
            </p:nvSpPr>
            <p:spPr bwMode="auto">
              <a:xfrm>
                <a:off x="1144588" y="1128713"/>
                <a:ext cx="566738" cy="949325"/>
              </a:xfrm>
              <a:custGeom>
                <a:avLst/>
                <a:gdLst>
                  <a:gd name="T0" fmla="*/ 139 w 357"/>
                  <a:gd name="T1" fmla="*/ 29 h 598"/>
                  <a:gd name="T2" fmla="*/ 148 w 357"/>
                  <a:gd name="T3" fmla="*/ 40 h 598"/>
                  <a:gd name="T4" fmla="*/ 123 w 357"/>
                  <a:gd name="T5" fmla="*/ 47 h 598"/>
                  <a:gd name="T6" fmla="*/ 148 w 357"/>
                  <a:gd name="T7" fmla="*/ 66 h 598"/>
                  <a:gd name="T8" fmla="*/ 140 w 357"/>
                  <a:gd name="T9" fmla="*/ 103 h 598"/>
                  <a:gd name="T10" fmla="*/ 140 w 357"/>
                  <a:gd name="T11" fmla="*/ 121 h 598"/>
                  <a:gd name="T12" fmla="*/ 158 w 357"/>
                  <a:gd name="T13" fmla="*/ 128 h 598"/>
                  <a:gd name="T14" fmla="*/ 138 w 357"/>
                  <a:gd name="T15" fmla="*/ 159 h 598"/>
                  <a:gd name="T16" fmla="*/ 147 w 357"/>
                  <a:gd name="T17" fmla="*/ 161 h 598"/>
                  <a:gd name="T18" fmla="*/ 159 w 357"/>
                  <a:gd name="T19" fmla="*/ 180 h 598"/>
                  <a:gd name="T20" fmla="*/ 135 w 357"/>
                  <a:gd name="T21" fmla="*/ 214 h 598"/>
                  <a:gd name="T22" fmla="*/ 158 w 357"/>
                  <a:gd name="T23" fmla="*/ 216 h 598"/>
                  <a:gd name="T24" fmla="*/ 166 w 357"/>
                  <a:gd name="T25" fmla="*/ 260 h 598"/>
                  <a:gd name="T26" fmla="*/ 169 w 357"/>
                  <a:gd name="T27" fmla="*/ 277 h 598"/>
                  <a:gd name="T28" fmla="*/ 186 w 357"/>
                  <a:gd name="T29" fmla="*/ 306 h 598"/>
                  <a:gd name="T30" fmla="*/ 179 w 357"/>
                  <a:gd name="T31" fmla="*/ 312 h 598"/>
                  <a:gd name="T32" fmla="*/ 178 w 357"/>
                  <a:gd name="T33" fmla="*/ 335 h 598"/>
                  <a:gd name="T34" fmla="*/ 187 w 357"/>
                  <a:gd name="T35" fmla="*/ 353 h 598"/>
                  <a:gd name="T36" fmla="*/ 169 w 357"/>
                  <a:gd name="T37" fmla="*/ 350 h 598"/>
                  <a:gd name="T38" fmla="*/ 186 w 357"/>
                  <a:gd name="T39" fmla="*/ 367 h 598"/>
                  <a:gd name="T40" fmla="*/ 203 w 357"/>
                  <a:gd name="T41" fmla="*/ 387 h 598"/>
                  <a:gd name="T42" fmla="*/ 217 w 357"/>
                  <a:gd name="T43" fmla="*/ 401 h 598"/>
                  <a:gd name="T44" fmla="*/ 229 w 357"/>
                  <a:gd name="T45" fmla="*/ 426 h 598"/>
                  <a:gd name="T46" fmla="*/ 220 w 357"/>
                  <a:gd name="T47" fmla="*/ 431 h 598"/>
                  <a:gd name="T48" fmla="*/ 228 w 357"/>
                  <a:gd name="T49" fmla="*/ 441 h 598"/>
                  <a:gd name="T50" fmla="*/ 234 w 357"/>
                  <a:gd name="T51" fmla="*/ 456 h 598"/>
                  <a:gd name="T52" fmla="*/ 247 w 357"/>
                  <a:gd name="T53" fmla="*/ 453 h 598"/>
                  <a:gd name="T54" fmla="*/ 248 w 357"/>
                  <a:gd name="T55" fmla="*/ 460 h 598"/>
                  <a:gd name="T56" fmla="*/ 254 w 357"/>
                  <a:gd name="T57" fmla="*/ 470 h 598"/>
                  <a:gd name="T58" fmla="*/ 268 w 357"/>
                  <a:gd name="T59" fmla="*/ 465 h 598"/>
                  <a:gd name="T60" fmla="*/ 259 w 357"/>
                  <a:gd name="T61" fmla="*/ 484 h 598"/>
                  <a:gd name="T62" fmla="*/ 282 w 357"/>
                  <a:gd name="T63" fmla="*/ 494 h 598"/>
                  <a:gd name="T64" fmla="*/ 286 w 357"/>
                  <a:gd name="T65" fmla="*/ 503 h 598"/>
                  <a:gd name="T66" fmla="*/ 298 w 357"/>
                  <a:gd name="T67" fmla="*/ 497 h 598"/>
                  <a:gd name="T68" fmla="*/ 294 w 357"/>
                  <a:gd name="T69" fmla="*/ 506 h 598"/>
                  <a:gd name="T70" fmla="*/ 308 w 357"/>
                  <a:gd name="T71" fmla="*/ 515 h 598"/>
                  <a:gd name="T72" fmla="*/ 310 w 357"/>
                  <a:gd name="T73" fmla="*/ 520 h 598"/>
                  <a:gd name="T74" fmla="*/ 312 w 357"/>
                  <a:gd name="T75" fmla="*/ 529 h 598"/>
                  <a:gd name="T76" fmla="*/ 321 w 357"/>
                  <a:gd name="T77" fmla="*/ 537 h 598"/>
                  <a:gd name="T78" fmla="*/ 330 w 357"/>
                  <a:gd name="T79" fmla="*/ 537 h 598"/>
                  <a:gd name="T80" fmla="*/ 344 w 357"/>
                  <a:gd name="T81" fmla="*/ 565 h 598"/>
                  <a:gd name="T82" fmla="*/ 351 w 357"/>
                  <a:gd name="T83" fmla="*/ 560 h 598"/>
                  <a:gd name="T84" fmla="*/ 333 w 357"/>
                  <a:gd name="T85" fmla="*/ 568 h 598"/>
                  <a:gd name="T86" fmla="*/ 263 w 357"/>
                  <a:gd name="T87" fmla="*/ 544 h 598"/>
                  <a:gd name="T88" fmla="*/ 250 w 357"/>
                  <a:gd name="T89" fmla="*/ 530 h 598"/>
                  <a:gd name="T90" fmla="*/ 235 w 357"/>
                  <a:gd name="T91" fmla="*/ 513 h 598"/>
                  <a:gd name="T92" fmla="*/ 211 w 357"/>
                  <a:gd name="T93" fmla="*/ 505 h 598"/>
                  <a:gd name="T94" fmla="*/ 191 w 357"/>
                  <a:gd name="T95" fmla="*/ 504 h 598"/>
                  <a:gd name="T96" fmla="*/ 177 w 357"/>
                  <a:gd name="T97" fmla="*/ 491 h 598"/>
                  <a:gd name="T98" fmla="*/ 160 w 357"/>
                  <a:gd name="T99" fmla="*/ 492 h 598"/>
                  <a:gd name="T100" fmla="*/ 144 w 357"/>
                  <a:gd name="T101" fmla="*/ 506 h 598"/>
                  <a:gd name="T102" fmla="*/ 135 w 357"/>
                  <a:gd name="T103" fmla="*/ 519 h 598"/>
                  <a:gd name="T104" fmla="*/ 120 w 357"/>
                  <a:gd name="T105" fmla="*/ 530 h 598"/>
                  <a:gd name="T106" fmla="*/ 114 w 357"/>
                  <a:gd name="T107" fmla="*/ 544 h 598"/>
                  <a:gd name="T108" fmla="*/ 103 w 357"/>
                  <a:gd name="T109" fmla="*/ 563 h 598"/>
                  <a:gd name="T110" fmla="*/ 88 w 357"/>
                  <a:gd name="T111" fmla="*/ 577 h 598"/>
                  <a:gd name="T112" fmla="*/ 33 w 357"/>
                  <a:gd name="T113" fmla="*/ 598 h 598"/>
                  <a:gd name="T114" fmla="*/ 1 w 357"/>
                  <a:gd name="T115" fmla="*/ 406 h 598"/>
                  <a:gd name="T116" fmla="*/ 1 w 357"/>
                  <a:gd name="T117" fmla="*/ 329 h 598"/>
                  <a:gd name="T118" fmla="*/ 1 w 357"/>
                  <a:gd name="T119" fmla="*/ 192 h 598"/>
                  <a:gd name="T120" fmla="*/ 1 w 357"/>
                  <a:gd name="T121" fmla="*/ 123 h 598"/>
                  <a:gd name="T122" fmla="*/ 13 w 357"/>
                  <a:gd name="T123"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7" h="598">
                    <a:moveTo>
                      <a:pt x="141" y="0"/>
                    </a:moveTo>
                    <a:lnTo>
                      <a:pt x="140" y="2"/>
                    </a:lnTo>
                    <a:lnTo>
                      <a:pt x="139" y="2"/>
                    </a:lnTo>
                    <a:lnTo>
                      <a:pt x="138" y="3"/>
                    </a:lnTo>
                    <a:lnTo>
                      <a:pt x="136" y="4"/>
                    </a:lnTo>
                    <a:lnTo>
                      <a:pt x="135" y="4"/>
                    </a:lnTo>
                    <a:lnTo>
                      <a:pt x="134" y="4"/>
                    </a:lnTo>
                    <a:lnTo>
                      <a:pt x="133" y="5"/>
                    </a:lnTo>
                    <a:lnTo>
                      <a:pt x="133" y="6"/>
                    </a:lnTo>
                    <a:lnTo>
                      <a:pt x="133" y="8"/>
                    </a:lnTo>
                    <a:lnTo>
                      <a:pt x="134" y="11"/>
                    </a:lnTo>
                    <a:lnTo>
                      <a:pt x="134" y="13"/>
                    </a:lnTo>
                    <a:lnTo>
                      <a:pt x="134" y="14"/>
                    </a:lnTo>
                    <a:lnTo>
                      <a:pt x="134" y="15"/>
                    </a:lnTo>
                    <a:lnTo>
                      <a:pt x="134" y="16"/>
                    </a:lnTo>
                    <a:lnTo>
                      <a:pt x="134" y="17"/>
                    </a:lnTo>
                    <a:lnTo>
                      <a:pt x="135" y="19"/>
                    </a:lnTo>
                    <a:lnTo>
                      <a:pt x="136" y="20"/>
                    </a:lnTo>
                    <a:lnTo>
                      <a:pt x="136" y="21"/>
                    </a:lnTo>
                    <a:lnTo>
                      <a:pt x="138" y="24"/>
                    </a:lnTo>
                    <a:lnTo>
                      <a:pt x="138" y="26"/>
                    </a:lnTo>
                    <a:lnTo>
                      <a:pt x="138" y="27"/>
                    </a:lnTo>
                    <a:lnTo>
                      <a:pt x="139" y="28"/>
                    </a:lnTo>
                    <a:lnTo>
                      <a:pt x="139" y="29"/>
                    </a:lnTo>
                    <a:lnTo>
                      <a:pt x="139" y="30"/>
                    </a:lnTo>
                    <a:lnTo>
                      <a:pt x="139" y="31"/>
                    </a:lnTo>
                    <a:lnTo>
                      <a:pt x="139" y="32"/>
                    </a:lnTo>
                    <a:lnTo>
                      <a:pt x="138" y="33"/>
                    </a:lnTo>
                    <a:lnTo>
                      <a:pt x="136" y="36"/>
                    </a:lnTo>
                    <a:lnTo>
                      <a:pt x="135" y="37"/>
                    </a:lnTo>
                    <a:lnTo>
                      <a:pt x="135" y="38"/>
                    </a:lnTo>
                    <a:lnTo>
                      <a:pt x="136" y="38"/>
                    </a:lnTo>
                    <a:lnTo>
                      <a:pt x="138" y="38"/>
                    </a:lnTo>
                    <a:lnTo>
                      <a:pt x="139" y="38"/>
                    </a:lnTo>
                    <a:lnTo>
                      <a:pt x="141" y="37"/>
                    </a:lnTo>
                    <a:lnTo>
                      <a:pt x="142" y="36"/>
                    </a:lnTo>
                    <a:lnTo>
                      <a:pt x="143" y="36"/>
                    </a:lnTo>
                    <a:lnTo>
                      <a:pt x="144" y="34"/>
                    </a:lnTo>
                    <a:lnTo>
                      <a:pt x="145" y="33"/>
                    </a:lnTo>
                    <a:lnTo>
                      <a:pt x="146" y="33"/>
                    </a:lnTo>
                    <a:lnTo>
                      <a:pt x="146" y="32"/>
                    </a:lnTo>
                    <a:lnTo>
                      <a:pt x="147" y="33"/>
                    </a:lnTo>
                    <a:lnTo>
                      <a:pt x="148" y="33"/>
                    </a:lnTo>
                    <a:lnTo>
                      <a:pt x="149" y="36"/>
                    </a:lnTo>
                    <a:lnTo>
                      <a:pt x="149" y="37"/>
                    </a:lnTo>
                    <a:lnTo>
                      <a:pt x="149" y="38"/>
                    </a:lnTo>
                    <a:lnTo>
                      <a:pt x="148" y="39"/>
                    </a:lnTo>
                    <a:lnTo>
                      <a:pt x="148" y="40"/>
                    </a:lnTo>
                    <a:lnTo>
                      <a:pt x="147" y="41"/>
                    </a:lnTo>
                    <a:lnTo>
                      <a:pt x="146" y="42"/>
                    </a:lnTo>
                    <a:lnTo>
                      <a:pt x="145" y="42"/>
                    </a:lnTo>
                    <a:lnTo>
                      <a:pt x="144" y="42"/>
                    </a:lnTo>
                    <a:lnTo>
                      <a:pt x="143" y="42"/>
                    </a:lnTo>
                    <a:lnTo>
                      <a:pt x="142" y="41"/>
                    </a:lnTo>
                    <a:lnTo>
                      <a:pt x="140" y="40"/>
                    </a:lnTo>
                    <a:lnTo>
                      <a:pt x="139" y="40"/>
                    </a:lnTo>
                    <a:lnTo>
                      <a:pt x="138" y="39"/>
                    </a:lnTo>
                    <a:lnTo>
                      <a:pt x="136" y="39"/>
                    </a:lnTo>
                    <a:lnTo>
                      <a:pt x="135" y="39"/>
                    </a:lnTo>
                    <a:lnTo>
                      <a:pt x="134" y="38"/>
                    </a:lnTo>
                    <a:lnTo>
                      <a:pt x="134" y="39"/>
                    </a:lnTo>
                    <a:lnTo>
                      <a:pt x="133" y="40"/>
                    </a:lnTo>
                    <a:lnTo>
                      <a:pt x="132" y="40"/>
                    </a:lnTo>
                    <a:lnTo>
                      <a:pt x="132" y="41"/>
                    </a:lnTo>
                    <a:lnTo>
                      <a:pt x="131" y="42"/>
                    </a:lnTo>
                    <a:lnTo>
                      <a:pt x="130" y="44"/>
                    </a:lnTo>
                    <a:lnTo>
                      <a:pt x="130" y="45"/>
                    </a:lnTo>
                    <a:lnTo>
                      <a:pt x="130" y="46"/>
                    </a:lnTo>
                    <a:lnTo>
                      <a:pt x="129" y="46"/>
                    </a:lnTo>
                    <a:lnTo>
                      <a:pt x="128" y="46"/>
                    </a:lnTo>
                    <a:lnTo>
                      <a:pt x="125" y="47"/>
                    </a:lnTo>
                    <a:lnTo>
                      <a:pt x="123" y="47"/>
                    </a:lnTo>
                    <a:lnTo>
                      <a:pt x="122" y="49"/>
                    </a:lnTo>
                    <a:lnTo>
                      <a:pt x="122" y="50"/>
                    </a:lnTo>
                    <a:lnTo>
                      <a:pt x="121" y="50"/>
                    </a:lnTo>
                    <a:lnTo>
                      <a:pt x="122" y="51"/>
                    </a:lnTo>
                    <a:lnTo>
                      <a:pt x="123" y="53"/>
                    </a:lnTo>
                    <a:lnTo>
                      <a:pt x="125" y="53"/>
                    </a:lnTo>
                    <a:lnTo>
                      <a:pt x="126" y="53"/>
                    </a:lnTo>
                    <a:lnTo>
                      <a:pt x="128" y="53"/>
                    </a:lnTo>
                    <a:lnTo>
                      <a:pt x="132" y="53"/>
                    </a:lnTo>
                    <a:lnTo>
                      <a:pt x="134" y="53"/>
                    </a:lnTo>
                    <a:lnTo>
                      <a:pt x="135" y="53"/>
                    </a:lnTo>
                    <a:lnTo>
                      <a:pt x="138" y="54"/>
                    </a:lnTo>
                    <a:lnTo>
                      <a:pt x="140" y="55"/>
                    </a:lnTo>
                    <a:lnTo>
                      <a:pt x="141" y="56"/>
                    </a:lnTo>
                    <a:lnTo>
                      <a:pt x="142" y="57"/>
                    </a:lnTo>
                    <a:lnTo>
                      <a:pt x="143" y="57"/>
                    </a:lnTo>
                    <a:lnTo>
                      <a:pt x="145" y="58"/>
                    </a:lnTo>
                    <a:lnTo>
                      <a:pt x="146" y="59"/>
                    </a:lnTo>
                    <a:lnTo>
                      <a:pt x="147" y="60"/>
                    </a:lnTo>
                    <a:lnTo>
                      <a:pt x="147" y="62"/>
                    </a:lnTo>
                    <a:lnTo>
                      <a:pt x="148" y="63"/>
                    </a:lnTo>
                    <a:lnTo>
                      <a:pt x="148" y="64"/>
                    </a:lnTo>
                    <a:lnTo>
                      <a:pt x="148" y="65"/>
                    </a:lnTo>
                    <a:lnTo>
                      <a:pt x="148" y="66"/>
                    </a:lnTo>
                    <a:lnTo>
                      <a:pt x="147" y="66"/>
                    </a:lnTo>
                    <a:lnTo>
                      <a:pt x="147" y="67"/>
                    </a:lnTo>
                    <a:lnTo>
                      <a:pt x="146" y="68"/>
                    </a:lnTo>
                    <a:lnTo>
                      <a:pt x="145" y="69"/>
                    </a:lnTo>
                    <a:lnTo>
                      <a:pt x="144" y="70"/>
                    </a:lnTo>
                    <a:lnTo>
                      <a:pt x="143" y="72"/>
                    </a:lnTo>
                    <a:lnTo>
                      <a:pt x="142" y="75"/>
                    </a:lnTo>
                    <a:lnTo>
                      <a:pt x="141" y="77"/>
                    </a:lnTo>
                    <a:lnTo>
                      <a:pt x="141" y="78"/>
                    </a:lnTo>
                    <a:lnTo>
                      <a:pt x="140" y="79"/>
                    </a:lnTo>
                    <a:lnTo>
                      <a:pt x="139" y="81"/>
                    </a:lnTo>
                    <a:lnTo>
                      <a:pt x="139" y="82"/>
                    </a:lnTo>
                    <a:lnTo>
                      <a:pt x="138" y="84"/>
                    </a:lnTo>
                    <a:lnTo>
                      <a:pt x="136" y="85"/>
                    </a:lnTo>
                    <a:lnTo>
                      <a:pt x="136" y="86"/>
                    </a:lnTo>
                    <a:lnTo>
                      <a:pt x="136" y="89"/>
                    </a:lnTo>
                    <a:lnTo>
                      <a:pt x="136" y="90"/>
                    </a:lnTo>
                    <a:lnTo>
                      <a:pt x="136" y="92"/>
                    </a:lnTo>
                    <a:lnTo>
                      <a:pt x="136" y="94"/>
                    </a:lnTo>
                    <a:lnTo>
                      <a:pt x="136" y="96"/>
                    </a:lnTo>
                    <a:lnTo>
                      <a:pt x="136" y="98"/>
                    </a:lnTo>
                    <a:lnTo>
                      <a:pt x="138" y="101"/>
                    </a:lnTo>
                    <a:lnTo>
                      <a:pt x="139" y="102"/>
                    </a:lnTo>
                    <a:lnTo>
                      <a:pt x="140" y="103"/>
                    </a:lnTo>
                    <a:lnTo>
                      <a:pt x="141" y="105"/>
                    </a:lnTo>
                    <a:lnTo>
                      <a:pt x="142" y="105"/>
                    </a:lnTo>
                    <a:lnTo>
                      <a:pt x="143" y="105"/>
                    </a:lnTo>
                    <a:lnTo>
                      <a:pt x="144" y="105"/>
                    </a:lnTo>
                    <a:lnTo>
                      <a:pt x="145" y="105"/>
                    </a:lnTo>
                    <a:lnTo>
                      <a:pt x="146" y="106"/>
                    </a:lnTo>
                    <a:lnTo>
                      <a:pt x="148" y="107"/>
                    </a:lnTo>
                    <a:lnTo>
                      <a:pt x="149" y="108"/>
                    </a:lnTo>
                    <a:lnTo>
                      <a:pt x="149" y="109"/>
                    </a:lnTo>
                    <a:lnTo>
                      <a:pt x="149" y="110"/>
                    </a:lnTo>
                    <a:lnTo>
                      <a:pt x="149" y="111"/>
                    </a:lnTo>
                    <a:lnTo>
                      <a:pt x="149" y="113"/>
                    </a:lnTo>
                    <a:lnTo>
                      <a:pt x="148" y="114"/>
                    </a:lnTo>
                    <a:lnTo>
                      <a:pt x="148" y="115"/>
                    </a:lnTo>
                    <a:lnTo>
                      <a:pt x="148" y="116"/>
                    </a:lnTo>
                    <a:lnTo>
                      <a:pt x="147" y="116"/>
                    </a:lnTo>
                    <a:lnTo>
                      <a:pt x="146" y="117"/>
                    </a:lnTo>
                    <a:lnTo>
                      <a:pt x="145" y="117"/>
                    </a:lnTo>
                    <a:lnTo>
                      <a:pt x="145" y="118"/>
                    </a:lnTo>
                    <a:lnTo>
                      <a:pt x="144" y="118"/>
                    </a:lnTo>
                    <a:lnTo>
                      <a:pt x="142" y="119"/>
                    </a:lnTo>
                    <a:lnTo>
                      <a:pt x="141" y="120"/>
                    </a:lnTo>
                    <a:lnTo>
                      <a:pt x="141" y="121"/>
                    </a:lnTo>
                    <a:lnTo>
                      <a:pt x="140" y="121"/>
                    </a:lnTo>
                    <a:lnTo>
                      <a:pt x="141" y="122"/>
                    </a:lnTo>
                    <a:lnTo>
                      <a:pt x="142" y="123"/>
                    </a:lnTo>
                    <a:lnTo>
                      <a:pt x="144" y="124"/>
                    </a:lnTo>
                    <a:lnTo>
                      <a:pt x="145" y="124"/>
                    </a:lnTo>
                    <a:lnTo>
                      <a:pt x="146" y="124"/>
                    </a:lnTo>
                    <a:lnTo>
                      <a:pt x="148" y="126"/>
                    </a:lnTo>
                    <a:lnTo>
                      <a:pt x="149" y="126"/>
                    </a:lnTo>
                    <a:lnTo>
                      <a:pt x="151" y="124"/>
                    </a:lnTo>
                    <a:lnTo>
                      <a:pt x="152" y="121"/>
                    </a:lnTo>
                    <a:lnTo>
                      <a:pt x="154" y="117"/>
                    </a:lnTo>
                    <a:lnTo>
                      <a:pt x="155" y="116"/>
                    </a:lnTo>
                    <a:lnTo>
                      <a:pt x="156" y="115"/>
                    </a:lnTo>
                    <a:lnTo>
                      <a:pt x="157" y="115"/>
                    </a:lnTo>
                    <a:lnTo>
                      <a:pt x="158" y="116"/>
                    </a:lnTo>
                    <a:lnTo>
                      <a:pt x="158" y="117"/>
                    </a:lnTo>
                    <a:lnTo>
                      <a:pt x="158" y="118"/>
                    </a:lnTo>
                    <a:lnTo>
                      <a:pt x="158" y="119"/>
                    </a:lnTo>
                    <a:lnTo>
                      <a:pt x="158" y="120"/>
                    </a:lnTo>
                    <a:lnTo>
                      <a:pt x="158" y="121"/>
                    </a:lnTo>
                    <a:lnTo>
                      <a:pt x="158" y="122"/>
                    </a:lnTo>
                    <a:lnTo>
                      <a:pt x="158" y="123"/>
                    </a:lnTo>
                    <a:lnTo>
                      <a:pt x="158" y="126"/>
                    </a:lnTo>
                    <a:lnTo>
                      <a:pt x="158" y="127"/>
                    </a:lnTo>
                    <a:lnTo>
                      <a:pt x="158" y="128"/>
                    </a:lnTo>
                    <a:lnTo>
                      <a:pt x="158" y="129"/>
                    </a:lnTo>
                    <a:lnTo>
                      <a:pt x="158" y="131"/>
                    </a:lnTo>
                    <a:lnTo>
                      <a:pt x="158" y="133"/>
                    </a:lnTo>
                    <a:lnTo>
                      <a:pt x="157" y="135"/>
                    </a:lnTo>
                    <a:lnTo>
                      <a:pt x="157" y="137"/>
                    </a:lnTo>
                    <a:lnTo>
                      <a:pt x="156" y="142"/>
                    </a:lnTo>
                    <a:lnTo>
                      <a:pt x="156" y="144"/>
                    </a:lnTo>
                    <a:lnTo>
                      <a:pt x="155" y="145"/>
                    </a:lnTo>
                    <a:lnTo>
                      <a:pt x="155" y="146"/>
                    </a:lnTo>
                    <a:lnTo>
                      <a:pt x="155" y="147"/>
                    </a:lnTo>
                    <a:lnTo>
                      <a:pt x="154" y="147"/>
                    </a:lnTo>
                    <a:lnTo>
                      <a:pt x="154" y="148"/>
                    </a:lnTo>
                    <a:lnTo>
                      <a:pt x="154" y="149"/>
                    </a:lnTo>
                    <a:lnTo>
                      <a:pt x="153" y="150"/>
                    </a:lnTo>
                    <a:lnTo>
                      <a:pt x="152" y="152"/>
                    </a:lnTo>
                    <a:lnTo>
                      <a:pt x="151" y="154"/>
                    </a:lnTo>
                    <a:lnTo>
                      <a:pt x="149" y="155"/>
                    </a:lnTo>
                    <a:lnTo>
                      <a:pt x="148" y="155"/>
                    </a:lnTo>
                    <a:lnTo>
                      <a:pt x="147" y="156"/>
                    </a:lnTo>
                    <a:lnTo>
                      <a:pt x="146" y="156"/>
                    </a:lnTo>
                    <a:lnTo>
                      <a:pt x="145" y="156"/>
                    </a:lnTo>
                    <a:lnTo>
                      <a:pt x="141" y="158"/>
                    </a:lnTo>
                    <a:lnTo>
                      <a:pt x="139" y="159"/>
                    </a:lnTo>
                    <a:lnTo>
                      <a:pt x="138" y="159"/>
                    </a:lnTo>
                    <a:lnTo>
                      <a:pt x="138" y="160"/>
                    </a:lnTo>
                    <a:lnTo>
                      <a:pt x="136" y="161"/>
                    </a:lnTo>
                    <a:lnTo>
                      <a:pt x="135" y="161"/>
                    </a:lnTo>
                    <a:lnTo>
                      <a:pt x="135" y="162"/>
                    </a:lnTo>
                    <a:lnTo>
                      <a:pt x="135" y="163"/>
                    </a:lnTo>
                    <a:lnTo>
                      <a:pt x="134" y="166"/>
                    </a:lnTo>
                    <a:lnTo>
                      <a:pt x="134" y="167"/>
                    </a:lnTo>
                    <a:lnTo>
                      <a:pt x="134" y="168"/>
                    </a:lnTo>
                    <a:lnTo>
                      <a:pt x="134" y="169"/>
                    </a:lnTo>
                    <a:lnTo>
                      <a:pt x="135" y="170"/>
                    </a:lnTo>
                    <a:lnTo>
                      <a:pt x="135" y="171"/>
                    </a:lnTo>
                    <a:lnTo>
                      <a:pt x="136" y="172"/>
                    </a:lnTo>
                    <a:lnTo>
                      <a:pt x="138" y="172"/>
                    </a:lnTo>
                    <a:lnTo>
                      <a:pt x="139" y="172"/>
                    </a:lnTo>
                    <a:lnTo>
                      <a:pt x="140" y="172"/>
                    </a:lnTo>
                    <a:lnTo>
                      <a:pt x="141" y="172"/>
                    </a:lnTo>
                    <a:lnTo>
                      <a:pt x="141" y="171"/>
                    </a:lnTo>
                    <a:lnTo>
                      <a:pt x="142" y="170"/>
                    </a:lnTo>
                    <a:lnTo>
                      <a:pt x="143" y="168"/>
                    </a:lnTo>
                    <a:lnTo>
                      <a:pt x="143" y="167"/>
                    </a:lnTo>
                    <a:lnTo>
                      <a:pt x="144" y="167"/>
                    </a:lnTo>
                    <a:lnTo>
                      <a:pt x="145" y="165"/>
                    </a:lnTo>
                    <a:lnTo>
                      <a:pt x="147" y="162"/>
                    </a:lnTo>
                    <a:lnTo>
                      <a:pt x="147" y="161"/>
                    </a:lnTo>
                    <a:lnTo>
                      <a:pt x="148" y="160"/>
                    </a:lnTo>
                    <a:lnTo>
                      <a:pt x="149" y="160"/>
                    </a:lnTo>
                    <a:lnTo>
                      <a:pt x="151" y="160"/>
                    </a:lnTo>
                    <a:lnTo>
                      <a:pt x="152" y="160"/>
                    </a:lnTo>
                    <a:lnTo>
                      <a:pt x="153" y="160"/>
                    </a:lnTo>
                    <a:lnTo>
                      <a:pt x="154" y="160"/>
                    </a:lnTo>
                    <a:lnTo>
                      <a:pt x="155" y="161"/>
                    </a:lnTo>
                    <a:lnTo>
                      <a:pt x="156" y="161"/>
                    </a:lnTo>
                    <a:lnTo>
                      <a:pt x="157" y="162"/>
                    </a:lnTo>
                    <a:lnTo>
                      <a:pt x="157" y="163"/>
                    </a:lnTo>
                    <a:lnTo>
                      <a:pt x="157" y="165"/>
                    </a:lnTo>
                    <a:lnTo>
                      <a:pt x="158" y="167"/>
                    </a:lnTo>
                    <a:lnTo>
                      <a:pt x="159" y="168"/>
                    </a:lnTo>
                    <a:lnTo>
                      <a:pt x="159" y="169"/>
                    </a:lnTo>
                    <a:lnTo>
                      <a:pt x="159" y="170"/>
                    </a:lnTo>
                    <a:lnTo>
                      <a:pt x="159" y="171"/>
                    </a:lnTo>
                    <a:lnTo>
                      <a:pt x="159" y="172"/>
                    </a:lnTo>
                    <a:lnTo>
                      <a:pt x="159" y="173"/>
                    </a:lnTo>
                    <a:lnTo>
                      <a:pt x="159" y="174"/>
                    </a:lnTo>
                    <a:lnTo>
                      <a:pt x="159" y="175"/>
                    </a:lnTo>
                    <a:lnTo>
                      <a:pt x="159" y="176"/>
                    </a:lnTo>
                    <a:lnTo>
                      <a:pt x="159" y="178"/>
                    </a:lnTo>
                    <a:lnTo>
                      <a:pt x="159" y="179"/>
                    </a:lnTo>
                    <a:lnTo>
                      <a:pt x="159" y="180"/>
                    </a:lnTo>
                    <a:lnTo>
                      <a:pt x="158" y="182"/>
                    </a:lnTo>
                    <a:lnTo>
                      <a:pt x="158" y="183"/>
                    </a:lnTo>
                    <a:lnTo>
                      <a:pt x="157" y="184"/>
                    </a:lnTo>
                    <a:lnTo>
                      <a:pt x="157" y="185"/>
                    </a:lnTo>
                    <a:lnTo>
                      <a:pt x="157" y="186"/>
                    </a:lnTo>
                    <a:lnTo>
                      <a:pt x="156" y="186"/>
                    </a:lnTo>
                    <a:lnTo>
                      <a:pt x="156" y="187"/>
                    </a:lnTo>
                    <a:lnTo>
                      <a:pt x="155" y="190"/>
                    </a:lnTo>
                    <a:lnTo>
                      <a:pt x="154" y="191"/>
                    </a:lnTo>
                    <a:lnTo>
                      <a:pt x="153" y="192"/>
                    </a:lnTo>
                    <a:lnTo>
                      <a:pt x="151" y="194"/>
                    </a:lnTo>
                    <a:lnTo>
                      <a:pt x="148" y="195"/>
                    </a:lnTo>
                    <a:lnTo>
                      <a:pt x="147" y="196"/>
                    </a:lnTo>
                    <a:lnTo>
                      <a:pt x="146" y="197"/>
                    </a:lnTo>
                    <a:lnTo>
                      <a:pt x="144" y="199"/>
                    </a:lnTo>
                    <a:lnTo>
                      <a:pt x="141" y="201"/>
                    </a:lnTo>
                    <a:lnTo>
                      <a:pt x="141" y="203"/>
                    </a:lnTo>
                    <a:lnTo>
                      <a:pt x="140" y="204"/>
                    </a:lnTo>
                    <a:lnTo>
                      <a:pt x="139" y="205"/>
                    </a:lnTo>
                    <a:lnTo>
                      <a:pt x="138" y="206"/>
                    </a:lnTo>
                    <a:lnTo>
                      <a:pt x="136" y="209"/>
                    </a:lnTo>
                    <a:lnTo>
                      <a:pt x="136" y="210"/>
                    </a:lnTo>
                    <a:lnTo>
                      <a:pt x="136" y="212"/>
                    </a:lnTo>
                    <a:lnTo>
                      <a:pt x="135" y="214"/>
                    </a:lnTo>
                    <a:lnTo>
                      <a:pt x="135" y="216"/>
                    </a:lnTo>
                    <a:lnTo>
                      <a:pt x="134" y="217"/>
                    </a:lnTo>
                    <a:lnTo>
                      <a:pt x="133" y="219"/>
                    </a:lnTo>
                    <a:lnTo>
                      <a:pt x="133" y="220"/>
                    </a:lnTo>
                    <a:lnTo>
                      <a:pt x="134" y="223"/>
                    </a:lnTo>
                    <a:lnTo>
                      <a:pt x="136" y="224"/>
                    </a:lnTo>
                    <a:lnTo>
                      <a:pt x="138" y="224"/>
                    </a:lnTo>
                    <a:lnTo>
                      <a:pt x="139" y="224"/>
                    </a:lnTo>
                    <a:lnTo>
                      <a:pt x="140" y="224"/>
                    </a:lnTo>
                    <a:lnTo>
                      <a:pt x="140" y="223"/>
                    </a:lnTo>
                    <a:lnTo>
                      <a:pt x="141" y="222"/>
                    </a:lnTo>
                    <a:lnTo>
                      <a:pt x="141" y="221"/>
                    </a:lnTo>
                    <a:lnTo>
                      <a:pt x="142" y="219"/>
                    </a:lnTo>
                    <a:lnTo>
                      <a:pt x="143" y="218"/>
                    </a:lnTo>
                    <a:lnTo>
                      <a:pt x="145" y="216"/>
                    </a:lnTo>
                    <a:lnTo>
                      <a:pt x="146" y="214"/>
                    </a:lnTo>
                    <a:lnTo>
                      <a:pt x="147" y="213"/>
                    </a:lnTo>
                    <a:lnTo>
                      <a:pt x="149" y="213"/>
                    </a:lnTo>
                    <a:lnTo>
                      <a:pt x="151" y="213"/>
                    </a:lnTo>
                    <a:lnTo>
                      <a:pt x="152" y="213"/>
                    </a:lnTo>
                    <a:lnTo>
                      <a:pt x="154" y="213"/>
                    </a:lnTo>
                    <a:lnTo>
                      <a:pt x="156" y="214"/>
                    </a:lnTo>
                    <a:lnTo>
                      <a:pt x="157" y="214"/>
                    </a:lnTo>
                    <a:lnTo>
                      <a:pt x="158" y="216"/>
                    </a:lnTo>
                    <a:lnTo>
                      <a:pt x="159" y="217"/>
                    </a:lnTo>
                    <a:lnTo>
                      <a:pt x="159" y="218"/>
                    </a:lnTo>
                    <a:lnTo>
                      <a:pt x="160" y="219"/>
                    </a:lnTo>
                    <a:lnTo>
                      <a:pt x="160" y="223"/>
                    </a:lnTo>
                    <a:lnTo>
                      <a:pt x="160" y="227"/>
                    </a:lnTo>
                    <a:lnTo>
                      <a:pt x="159" y="231"/>
                    </a:lnTo>
                    <a:lnTo>
                      <a:pt x="158" y="240"/>
                    </a:lnTo>
                    <a:lnTo>
                      <a:pt x="157" y="242"/>
                    </a:lnTo>
                    <a:lnTo>
                      <a:pt x="157" y="248"/>
                    </a:lnTo>
                    <a:lnTo>
                      <a:pt x="156" y="252"/>
                    </a:lnTo>
                    <a:lnTo>
                      <a:pt x="157" y="255"/>
                    </a:lnTo>
                    <a:lnTo>
                      <a:pt x="157" y="256"/>
                    </a:lnTo>
                    <a:lnTo>
                      <a:pt x="158" y="256"/>
                    </a:lnTo>
                    <a:lnTo>
                      <a:pt x="159" y="255"/>
                    </a:lnTo>
                    <a:lnTo>
                      <a:pt x="161" y="253"/>
                    </a:lnTo>
                    <a:lnTo>
                      <a:pt x="161" y="252"/>
                    </a:lnTo>
                    <a:lnTo>
                      <a:pt x="164" y="251"/>
                    </a:lnTo>
                    <a:lnTo>
                      <a:pt x="165" y="251"/>
                    </a:lnTo>
                    <a:lnTo>
                      <a:pt x="165" y="252"/>
                    </a:lnTo>
                    <a:lnTo>
                      <a:pt x="165" y="253"/>
                    </a:lnTo>
                    <a:lnTo>
                      <a:pt x="164" y="256"/>
                    </a:lnTo>
                    <a:lnTo>
                      <a:pt x="164" y="257"/>
                    </a:lnTo>
                    <a:lnTo>
                      <a:pt x="165" y="258"/>
                    </a:lnTo>
                    <a:lnTo>
                      <a:pt x="166" y="260"/>
                    </a:lnTo>
                    <a:lnTo>
                      <a:pt x="167" y="261"/>
                    </a:lnTo>
                    <a:lnTo>
                      <a:pt x="167" y="262"/>
                    </a:lnTo>
                    <a:lnTo>
                      <a:pt x="168" y="263"/>
                    </a:lnTo>
                    <a:lnTo>
                      <a:pt x="170" y="265"/>
                    </a:lnTo>
                    <a:lnTo>
                      <a:pt x="170" y="267"/>
                    </a:lnTo>
                    <a:lnTo>
                      <a:pt x="169" y="269"/>
                    </a:lnTo>
                    <a:lnTo>
                      <a:pt x="168" y="270"/>
                    </a:lnTo>
                    <a:lnTo>
                      <a:pt x="167" y="270"/>
                    </a:lnTo>
                    <a:lnTo>
                      <a:pt x="165" y="270"/>
                    </a:lnTo>
                    <a:lnTo>
                      <a:pt x="162" y="269"/>
                    </a:lnTo>
                    <a:lnTo>
                      <a:pt x="161" y="269"/>
                    </a:lnTo>
                    <a:lnTo>
                      <a:pt x="161" y="270"/>
                    </a:lnTo>
                    <a:lnTo>
                      <a:pt x="160" y="271"/>
                    </a:lnTo>
                    <a:lnTo>
                      <a:pt x="159" y="272"/>
                    </a:lnTo>
                    <a:lnTo>
                      <a:pt x="158" y="273"/>
                    </a:lnTo>
                    <a:lnTo>
                      <a:pt x="158" y="275"/>
                    </a:lnTo>
                    <a:lnTo>
                      <a:pt x="159" y="276"/>
                    </a:lnTo>
                    <a:lnTo>
                      <a:pt x="160" y="277"/>
                    </a:lnTo>
                    <a:lnTo>
                      <a:pt x="162" y="278"/>
                    </a:lnTo>
                    <a:lnTo>
                      <a:pt x="164" y="278"/>
                    </a:lnTo>
                    <a:lnTo>
                      <a:pt x="165" y="278"/>
                    </a:lnTo>
                    <a:lnTo>
                      <a:pt x="167" y="278"/>
                    </a:lnTo>
                    <a:lnTo>
                      <a:pt x="169" y="278"/>
                    </a:lnTo>
                    <a:lnTo>
                      <a:pt x="169" y="277"/>
                    </a:lnTo>
                    <a:lnTo>
                      <a:pt x="170" y="276"/>
                    </a:lnTo>
                    <a:lnTo>
                      <a:pt x="171" y="275"/>
                    </a:lnTo>
                    <a:lnTo>
                      <a:pt x="172" y="275"/>
                    </a:lnTo>
                    <a:lnTo>
                      <a:pt x="173" y="276"/>
                    </a:lnTo>
                    <a:lnTo>
                      <a:pt x="175" y="278"/>
                    </a:lnTo>
                    <a:lnTo>
                      <a:pt x="177" y="281"/>
                    </a:lnTo>
                    <a:lnTo>
                      <a:pt x="178" y="283"/>
                    </a:lnTo>
                    <a:lnTo>
                      <a:pt x="179" y="285"/>
                    </a:lnTo>
                    <a:lnTo>
                      <a:pt x="179" y="287"/>
                    </a:lnTo>
                    <a:lnTo>
                      <a:pt x="179" y="288"/>
                    </a:lnTo>
                    <a:lnTo>
                      <a:pt x="179" y="290"/>
                    </a:lnTo>
                    <a:lnTo>
                      <a:pt x="178" y="293"/>
                    </a:lnTo>
                    <a:lnTo>
                      <a:pt x="178" y="295"/>
                    </a:lnTo>
                    <a:lnTo>
                      <a:pt x="177" y="296"/>
                    </a:lnTo>
                    <a:lnTo>
                      <a:pt x="174" y="299"/>
                    </a:lnTo>
                    <a:lnTo>
                      <a:pt x="174" y="300"/>
                    </a:lnTo>
                    <a:lnTo>
                      <a:pt x="174" y="301"/>
                    </a:lnTo>
                    <a:lnTo>
                      <a:pt x="175" y="302"/>
                    </a:lnTo>
                    <a:lnTo>
                      <a:pt x="178" y="302"/>
                    </a:lnTo>
                    <a:lnTo>
                      <a:pt x="182" y="302"/>
                    </a:lnTo>
                    <a:lnTo>
                      <a:pt x="183" y="303"/>
                    </a:lnTo>
                    <a:lnTo>
                      <a:pt x="184" y="303"/>
                    </a:lnTo>
                    <a:lnTo>
                      <a:pt x="185" y="304"/>
                    </a:lnTo>
                    <a:lnTo>
                      <a:pt x="186" y="306"/>
                    </a:lnTo>
                    <a:lnTo>
                      <a:pt x="186" y="307"/>
                    </a:lnTo>
                    <a:lnTo>
                      <a:pt x="186" y="308"/>
                    </a:lnTo>
                    <a:lnTo>
                      <a:pt x="185" y="308"/>
                    </a:lnTo>
                    <a:lnTo>
                      <a:pt x="183" y="309"/>
                    </a:lnTo>
                    <a:lnTo>
                      <a:pt x="182" y="309"/>
                    </a:lnTo>
                    <a:lnTo>
                      <a:pt x="182" y="308"/>
                    </a:lnTo>
                    <a:lnTo>
                      <a:pt x="178" y="306"/>
                    </a:lnTo>
                    <a:lnTo>
                      <a:pt x="175" y="307"/>
                    </a:lnTo>
                    <a:lnTo>
                      <a:pt x="174" y="308"/>
                    </a:lnTo>
                    <a:lnTo>
                      <a:pt x="173" y="308"/>
                    </a:lnTo>
                    <a:lnTo>
                      <a:pt x="171" y="308"/>
                    </a:lnTo>
                    <a:lnTo>
                      <a:pt x="170" y="308"/>
                    </a:lnTo>
                    <a:lnTo>
                      <a:pt x="168" y="309"/>
                    </a:lnTo>
                    <a:lnTo>
                      <a:pt x="168" y="310"/>
                    </a:lnTo>
                    <a:lnTo>
                      <a:pt x="168" y="311"/>
                    </a:lnTo>
                    <a:lnTo>
                      <a:pt x="169" y="312"/>
                    </a:lnTo>
                    <a:lnTo>
                      <a:pt x="171" y="313"/>
                    </a:lnTo>
                    <a:lnTo>
                      <a:pt x="173" y="313"/>
                    </a:lnTo>
                    <a:lnTo>
                      <a:pt x="175" y="314"/>
                    </a:lnTo>
                    <a:lnTo>
                      <a:pt x="177" y="314"/>
                    </a:lnTo>
                    <a:lnTo>
                      <a:pt x="178" y="314"/>
                    </a:lnTo>
                    <a:lnTo>
                      <a:pt x="178" y="313"/>
                    </a:lnTo>
                    <a:lnTo>
                      <a:pt x="179" y="313"/>
                    </a:lnTo>
                    <a:lnTo>
                      <a:pt x="179" y="312"/>
                    </a:lnTo>
                    <a:lnTo>
                      <a:pt x="180" y="312"/>
                    </a:lnTo>
                    <a:lnTo>
                      <a:pt x="181" y="311"/>
                    </a:lnTo>
                    <a:lnTo>
                      <a:pt x="182" y="311"/>
                    </a:lnTo>
                    <a:lnTo>
                      <a:pt x="183" y="311"/>
                    </a:lnTo>
                    <a:lnTo>
                      <a:pt x="184" y="311"/>
                    </a:lnTo>
                    <a:lnTo>
                      <a:pt x="185" y="312"/>
                    </a:lnTo>
                    <a:lnTo>
                      <a:pt x="186" y="312"/>
                    </a:lnTo>
                    <a:lnTo>
                      <a:pt x="187" y="313"/>
                    </a:lnTo>
                    <a:lnTo>
                      <a:pt x="188" y="314"/>
                    </a:lnTo>
                    <a:lnTo>
                      <a:pt x="188" y="315"/>
                    </a:lnTo>
                    <a:lnTo>
                      <a:pt x="188" y="317"/>
                    </a:lnTo>
                    <a:lnTo>
                      <a:pt x="188" y="320"/>
                    </a:lnTo>
                    <a:lnTo>
                      <a:pt x="187" y="322"/>
                    </a:lnTo>
                    <a:lnTo>
                      <a:pt x="185" y="325"/>
                    </a:lnTo>
                    <a:lnTo>
                      <a:pt x="185" y="326"/>
                    </a:lnTo>
                    <a:lnTo>
                      <a:pt x="184" y="327"/>
                    </a:lnTo>
                    <a:lnTo>
                      <a:pt x="183" y="328"/>
                    </a:lnTo>
                    <a:lnTo>
                      <a:pt x="182" y="328"/>
                    </a:lnTo>
                    <a:lnTo>
                      <a:pt x="181" y="329"/>
                    </a:lnTo>
                    <a:lnTo>
                      <a:pt x="179" y="330"/>
                    </a:lnTo>
                    <a:lnTo>
                      <a:pt x="178" y="330"/>
                    </a:lnTo>
                    <a:lnTo>
                      <a:pt x="178" y="332"/>
                    </a:lnTo>
                    <a:lnTo>
                      <a:pt x="178" y="333"/>
                    </a:lnTo>
                    <a:lnTo>
                      <a:pt x="178" y="335"/>
                    </a:lnTo>
                    <a:lnTo>
                      <a:pt x="178" y="336"/>
                    </a:lnTo>
                    <a:lnTo>
                      <a:pt x="178" y="337"/>
                    </a:lnTo>
                    <a:lnTo>
                      <a:pt x="179" y="337"/>
                    </a:lnTo>
                    <a:lnTo>
                      <a:pt x="180" y="337"/>
                    </a:lnTo>
                    <a:lnTo>
                      <a:pt x="181" y="336"/>
                    </a:lnTo>
                    <a:lnTo>
                      <a:pt x="182" y="336"/>
                    </a:lnTo>
                    <a:lnTo>
                      <a:pt x="183" y="335"/>
                    </a:lnTo>
                    <a:lnTo>
                      <a:pt x="184" y="335"/>
                    </a:lnTo>
                    <a:lnTo>
                      <a:pt x="185" y="337"/>
                    </a:lnTo>
                    <a:lnTo>
                      <a:pt x="186" y="338"/>
                    </a:lnTo>
                    <a:lnTo>
                      <a:pt x="186" y="339"/>
                    </a:lnTo>
                    <a:lnTo>
                      <a:pt x="186" y="340"/>
                    </a:lnTo>
                    <a:lnTo>
                      <a:pt x="186" y="341"/>
                    </a:lnTo>
                    <a:lnTo>
                      <a:pt x="187" y="342"/>
                    </a:lnTo>
                    <a:lnTo>
                      <a:pt x="188" y="345"/>
                    </a:lnTo>
                    <a:lnTo>
                      <a:pt x="190" y="348"/>
                    </a:lnTo>
                    <a:lnTo>
                      <a:pt x="191" y="350"/>
                    </a:lnTo>
                    <a:lnTo>
                      <a:pt x="192" y="351"/>
                    </a:lnTo>
                    <a:lnTo>
                      <a:pt x="193" y="352"/>
                    </a:lnTo>
                    <a:lnTo>
                      <a:pt x="193" y="353"/>
                    </a:lnTo>
                    <a:lnTo>
                      <a:pt x="191" y="354"/>
                    </a:lnTo>
                    <a:lnTo>
                      <a:pt x="188" y="354"/>
                    </a:lnTo>
                    <a:lnTo>
                      <a:pt x="187" y="354"/>
                    </a:lnTo>
                    <a:lnTo>
                      <a:pt x="187" y="353"/>
                    </a:lnTo>
                    <a:lnTo>
                      <a:pt x="186" y="352"/>
                    </a:lnTo>
                    <a:lnTo>
                      <a:pt x="186" y="351"/>
                    </a:lnTo>
                    <a:lnTo>
                      <a:pt x="186" y="350"/>
                    </a:lnTo>
                    <a:lnTo>
                      <a:pt x="186" y="347"/>
                    </a:lnTo>
                    <a:lnTo>
                      <a:pt x="185" y="346"/>
                    </a:lnTo>
                    <a:lnTo>
                      <a:pt x="185" y="345"/>
                    </a:lnTo>
                    <a:lnTo>
                      <a:pt x="184" y="345"/>
                    </a:lnTo>
                    <a:lnTo>
                      <a:pt x="183" y="345"/>
                    </a:lnTo>
                    <a:lnTo>
                      <a:pt x="181" y="343"/>
                    </a:lnTo>
                    <a:lnTo>
                      <a:pt x="180" y="346"/>
                    </a:lnTo>
                    <a:lnTo>
                      <a:pt x="180" y="347"/>
                    </a:lnTo>
                    <a:lnTo>
                      <a:pt x="179" y="348"/>
                    </a:lnTo>
                    <a:lnTo>
                      <a:pt x="179" y="349"/>
                    </a:lnTo>
                    <a:lnTo>
                      <a:pt x="178" y="349"/>
                    </a:lnTo>
                    <a:lnTo>
                      <a:pt x="177" y="350"/>
                    </a:lnTo>
                    <a:lnTo>
                      <a:pt x="177" y="351"/>
                    </a:lnTo>
                    <a:lnTo>
                      <a:pt x="175" y="351"/>
                    </a:lnTo>
                    <a:lnTo>
                      <a:pt x="174" y="350"/>
                    </a:lnTo>
                    <a:lnTo>
                      <a:pt x="173" y="349"/>
                    </a:lnTo>
                    <a:lnTo>
                      <a:pt x="172" y="348"/>
                    </a:lnTo>
                    <a:lnTo>
                      <a:pt x="171" y="348"/>
                    </a:lnTo>
                    <a:lnTo>
                      <a:pt x="170" y="348"/>
                    </a:lnTo>
                    <a:lnTo>
                      <a:pt x="169" y="348"/>
                    </a:lnTo>
                    <a:lnTo>
                      <a:pt x="169" y="350"/>
                    </a:lnTo>
                    <a:lnTo>
                      <a:pt x="171" y="352"/>
                    </a:lnTo>
                    <a:lnTo>
                      <a:pt x="172" y="353"/>
                    </a:lnTo>
                    <a:lnTo>
                      <a:pt x="174" y="354"/>
                    </a:lnTo>
                    <a:lnTo>
                      <a:pt x="175" y="355"/>
                    </a:lnTo>
                    <a:lnTo>
                      <a:pt x="177" y="355"/>
                    </a:lnTo>
                    <a:lnTo>
                      <a:pt x="178" y="357"/>
                    </a:lnTo>
                    <a:lnTo>
                      <a:pt x="179" y="358"/>
                    </a:lnTo>
                    <a:lnTo>
                      <a:pt x="179" y="357"/>
                    </a:lnTo>
                    <a:lnTo>
                      <a:pt x="180" y="355"/>
                    </a:lnTo>
                    <a:lnTo>
                      <a:pt x="180" y="354"/>
                    </a:lnTo>
                    <a:lnTo>
                      <a:pt x="181" y="354"/>
                    </a:lnTo>
                    <a:lnTo>
                      <a:pt x="181" y="353"/>
                    </a:lnTo>
                    <a:lnTo>
                      <a:pt x="182" y="353"/>
                    </a:lnTo>
                    <a:lnTo>
                      <a:pt x="182" y="354"/>
                    </a:lnTo>
                    <a:lnTo>
                      <a:pt x="183" y="354"/>
                    </a:lnTo>
                    <a:lnTo>
                      <a:pt x="183" y="355"/>
                    </a:lnTo>
                    <a:lnTo>
                      <a:pt x="184" y="357"/>
                    </a:lnTo>
                    <a:lnTo>
                      <a:pt x="183" y="363"/>
                    </a:lnTo>
                    <a:lnTo>
                      <a:pt x="183" y="364"/>
                    </a:lnTo>
                    <a:lnTo>
                      <a:pt x="183" y="366"/>
                    </a:lnTo>
                    <a:lnTo>
                      <a:pt x="183" y="367"/>
                    </a:lnTo>
                    <a:lnTo>
                      <a:pt x="184" y="367"/>
                    </a:lnTo>
                    <a:lnTo>
                      <a:pt x="185" y="367"/>
                    </a:lnTo>
                    <a:lnTo>
                      <a:pt x="186" y="367"/>
                    </a:lnTo>
                    <a:lnTo>
                      <a:pt x="187" y="368"/>
                    </a:lnTo>
                    <a:lnTo>
                      <a:pt x="188" y="368"/>
                    </a:lnTo>
                    <a:lnTo>
                      <a:pt x="191" y="370"/>
                    </a:lnTo>
                    <a:lnTo>
                      <a:pt x="194" y="371"/>
                    </a:lnTo>
                    <a:lnTo>
                      <a:pt x="195" y="372"/>
                    </a:lnTo>
                    <a:lnTo>
                      <a:pt x="197" y="372"/>
                    </a:lnTo>
                    <a:lnTo>
                      <a:pt x="202" y="374"/>
                    </a:lnTo>
                    <a:lnTo>
                      <a:pt x="202" y="375"/>
                    </a:lnTo>
                    <a:lnTo>
                      <a:pt x="206" y="377"/>
                    </a:lnTo>
                    <a:lnTo>
                      <a:pt x="206" y="378"/>
                    </a:lnTo>
                    <a:lnTo>
                      <a:pt x="207" y="379"/>
                    </a:lnTo>
                    <a:lnTo>
                      <a:pt x="208" y="379"/>
                    </a:lnTo>
                    <a:lnTo>
                      <a:pt x="208" y="380"/>
                    </a:lnTo>
                    <a:lnTo>
                      <a:pt x="207" y="380"/>
                    </a:lnTo>
                    <a:lnTo>
                      <a:pt x="205" y="381"/>
                    </a:lnTo>
                    <a:lnTo>
                      <a:pt x="204" y="381"/>
                    </a:lnTo>
                    <a:lnTo>
                      <a:pt x="203" y="383"/>
                    </a:lnTo>
                    <a:lnTo>
                      <a:pt x="202" y="383"/>
                    </a:lnTo>
                    <a:lnTo>
                      <a:pt x="199" y="384"/>
                    </a:lnTo>
                    <a:lnTo>
                      <a:pt x="199" y="386"/>
                    </a:lnTo>
                    <a:lnTo>
                      <a:pt x="199" y="387"/>
                    </a:lnTo>
                    <a:lnTo>
                      <a:pt x="200" y="387"/>
                    </a:lnTo>
                    <a:lnTo>
                      <a:pt x="202" y="387"/>
                    </a:lnTo>
                    <a:lnTo>
                      <a:pt x="203" y="387"/>
                    </a:lnTo>
                    <a:lnTo>
                      <a:pt x="203" y="386"/>
                    </a:lnTo>
                    <a:lnTo>
                      <a:pt x="204" y="386"/>
                    </a:lnTo>
                    <a:lnTo>
                      <a:pt x="207" y="383"/>
                    </a:lnTo>
                    <a:lnTo>
                      <a:pt x="209" y="381"/>
                    </a:lnTo>
                    <a:lnTo>
                      <a:pt x="210" y="380"/>
                    </a:lnTo>
                    <a:lnTo>
                      <a:pt x="211" y="379"/>
                    </a:lnTo>
                    <a:lnTo>
                      <a:pt x="212" y="380"/>
                    </a:lnTo>
                    <a:lnTo>
                      <a:pt x="212" y="383"/>
                    </a:lnTo>
                    <a:lnTo>
                      <a:pt x="212" y="384"/>
                    </a:lnTo>
                    <a:lnTo>
                      <a:pt x="212" y="385"/>
                    </a:lnTo>
                    <a:lnTo>
                      <a:pt x="212" y="386"/>
                    </a:lnTo>
                    <a:lnTo>
                      <a:pt x="212" y="387"/>
                    </a:lnTo>
                    <a:lnTo>
                      <a:pt x="212" y="389"/>
                    </a:lnTo>
                    <a:lnTo>
                      <a:pt x="211" y="389"/>
                    </a:lnTo>
                    <a:lnTo>
                      <a:pt x="210" y="391"/>
                    </a:lnTo>
                    <a:lnTo>
                      <a:pt x="210" y="392"/>
                    </a:lnTo>
                    <a:lnTo>
                      <a:pt x="210" y="393"/>
                    </a:lnTo>
                    <a:lnTo>
                      <a:pt x="211" y="394"/>
                    </a:lnTo>
                    <a:lnTo>
                      <a:pt x="212" y="396"/>
                    </a:lnTo>
                    <a:lnTo>
                      <a:pt x="213" y="397"/>
                    </a:lnTo>
                    <a:lnTo>
                      <a:pt x="216" y="398"/>
                    </a:lnTo>
                    <a:lnTo>
                      <a:pt x="217" y="399"/>
                    </a:lnTo>
                    <a:lnTo>
                      <a:pt x="217" y="400"/>
                    </a:lnTo>
                    <a:lnTo>
                      <a:pt x="217" y="401"/>
                    </a:lnTo>
                    <a:lnTo>
                      <a:pt x="217" y="402"/>
                    </a:lnTo>
                    <a:lnTo>
                      <a:pt x="217" y="403"/>
                    </a:lnTo>
                    <a:lnTo>
                      <a:pt x="217" y="404"/>
                    </a:lnTo>
                    <a:lnTo>
                      <a:pt x="218" y="404"/>
                    </a:lnTo>
                    <a:lnTo>
                      <a:pt x="220" y="403"/>
                    </a:lnTo>
                    <a:lnTo>
                      <a:pt x="221" y="403"/>
                    </a:lnTo>
                    <a:lnTo>
                      <a:pt x="223" y="405"/>
                    </a:lnTo>
                    <a:lnTo>
                      <a:pt x="221" y="406"/>
                    </a:lnTo>
                    <a:lnTo>
                      <a:pt x="221" y="407"/>
                    </a:lnTo>
                    <a:lnTo>
                      <a:pt x="218" y="412"/>
                    </a:lnTo>
                    <a:lnTo>
                      <a:pt x="216" y="413"/>
                    </a:lnTo>
                    <a:lnTo>
                      <a:pt x="216" y="415"/>
                    </a:lnTo>
                    <a:lnTo>
                      <a:pt x="218" y="418"/>
                    </a:lnTo>
                    <a:lnTo>
                      <a:pt x="219" y="419"/>
                    </a:lnTo>
                    <a:lnTo>
                      <a:pt x="220" y="419"/>
                    </a:lnTo>
                    <a:lnTo>
                      <a:pt x="221" y="419"/>
                    </a:lnTo>
                    <a:lnTo>
                      <a:pt x="222" y="419"/>
                    </a:lnTo>
                    <a:lnTo>
                      <a:pt x="223" y="420"/>
                    </a:lnTo>
                    <a:lnTo>
                      <a:pt x="225" y="420"/>
                    </a:lnTo>
                    <a:lnTo>
                      <a:pt x="226" y="420"/>
                    </a:lnTo>
                    <a:lnTo>
                      <a:pt x="226" y="422"/>
                    </a:lnTo>
                    <a:lnTo>
                      <a:pt x="228" y="423"/>
                    </a:lnTo>
                    <a:lnTo>
                      <a:pt x="228" y="424"/>
                    </a:lnTo>
                    <a:lnTo>
                      <a:pt x="229" y="426"/>
                    </a:lnTo>
                    <a:lnTo>
                      <a:pt x="230" y="427"/>
                    </a:lnTo>
                    <a:lnTo>
                      <a:pt x="233" y="428"/>
                    </a:lnTo>
                    <a:lnTo>
                      <a:pt x="234" y="429"/>
                    </a:lnTo>
                    <a:lnTo>
                      <a:pt x="234" y="430"/>
                    </a:lnTo>
                    <a:lnTo>
                      <a:pt x="234" y="431"/>
                    </a:lnTo>
                    <a:lnTo>
                      <a:pt x="233" y="432"/>
                    </a:lnTo>
                    <a:lnTo>
                      <a:pt x="232" y="433"/>
                    </a:lnTo>
                    <a:lnTo>
                      <a:pt x="231" y="435"/>
                    </a:lnTo>
                    <a:lnTo>
                      <a:pt x="229" y="435"/>
                    </a:lnTo>
                    <a:lnTo>
                      <a:pt x="226" y="436"/>
                    </a:lnTo>
                    <a:lnTo>
                      <a:pt x="226" y="435"/>
                    </a:lnTo>
                    <a:lnTo>
                      <a:pt x="225" y="435"/>
                    </a:lnTo>
                    <a:lnTo>
                      <a:pt x="225" y="433"/>
                    </a:lnTo>
                    <a:lnTo>
                      <a:pt x="225" y="432"/>
                    </a:lnTo>
                    <a:lnTo>
                      <a:pt x="225" y="430"/>
                    </a:lnTo>
                    <a:lnTo>
                      <a:pt x="226" y="428"/>
                    </a:lnTo>
                    <a:lnTo>
                      <a:pt x="225" y="427"/>
                    </a:lnTo>
                    <a:lnTo>
                      <a:pt x="224" y="427"/>
                    </a:lnTo>
                    <a:lnTo>
                      <a:pt x="223" y="426"/>
                    </a:lnTo>
                    <a:lnTo>
                      <a:pt x="222" y="428"/>
                    </a:lnTo>
                    <a:lnTo>
                      <a:pt x="221" y="429"/>
                    </a:lnTo>
                    <a:lnTo>
                      <a:pt x="221" y="430"/>
                    </a:lnTo>
                    <a:lnTo>
                      <a:pt x="221" y="431"/>
                    </a:lnTo>
                    <a:lnTo>
                      <a:pt x="220" y="431"/>
                    </a:lnTo>
                    <a:lnTo>
                      <a:pt x="219" y="432"/>
                    </a:lnTo>
                    <a:lnTo>
                      <a:pt x="217" y="433"/>
                    </a:lnTo>
                    <a:lnTo>
                      <a:pt x="216" y="433"/>
                    </a:lnTo>
                    <a:lnTo>
                      <a:pt x="216" y="435"/>
                    </a:lnTo>
                    <a:lnTo>
                      <a:pt x="217" y="436"/>
                    </a:lnTo>
                    <a:lnTo>
                      <a:pt x="218" y="436"/>
                    </a:lnTo>
                    <a:lnTo>
                      <a:pt x="219" y="437"/>
                    </a:lnTo>
                    <a:lnTo>
                      <a:pt x="220" y="438"/>
                    </a:lnTo>
                    <a:lnTo>
                      <a:pt x="221" y="438"/>
                    </a:lnTo>
                    <a:lnTo>
                      <a:pt x="224" y="438"/>
                    </a:lnTo>
                    <a:lnTo>
                      <a:pt x="225" y="438"/>
                    </a:lnTo>
                    <a:lnTo>
                      <a:pt x="226" y="439"/>
                    </a:lnTo>
                    <a:lnTo>
                      <a:pt x="229" y="439"/>
                    </a:lnTo>
                    <a:lnTo>
                      <a:pt x="231" y="438"/>
                    </a:lnTo>
                    <a:lnTo>
                      <a:pt x="232" y="438"/>
                    </a:lnTo>
                    <a:lnTo>
                      <a:pt x="233" y="438"/>
                    </a:lnTo>
                    <a:lnTo>
                      <a:pt x="234" y="438"/>
                    </a:lnTo>
                    <a:lnTo>
                      <a:pt x="235" y="439"/>
                    </a:lnTo>
                    <a:lnTo>
                      <a:pt x="235" y="440"/>
                    </a:lnTo>
                    <a:lnTo>
                      <a:pt x="234" y="440"/>
                    </a:lnTo>
                    <a:lnTo>
                      <a:pt x="232" y="440"/>
                    </a:lnTo>
                    <a:lnTo>
                      <a:pt x="231" y="440"/>
                    </a:lnTo>
                    <a:lnTo>
                      <a:pt x="229" y="440"/>
                    </a:lnTo>
                    <a:lnTo>
                      <a:pt x="228" y="441"/>
                    </a:lnTo>
                    <a:lnTo>
                      <a:pt x="226" y="441"/>
                    </a:lnTo>
                    <a:lnTo>
                      <a:pt x="225" y="441"/>
                    </a:lnTo>
                    <a:lnTo>
                      <a:pt x="223" y="441"/>
                    </a:lnTo>
                    <a:lnTo>
                      <a:pt x="221" y="442"/>
                    </a:lnTo>
                    <a:lnTo>
                      <a:pt x="220" y="444"/>
                    </a:lnTo>
                    <a:lnTo>
                      <a:pt x="219" y="445"/>
                    </a:lnTo>
                    <a:lnTo>
                      <a:pt x="218" y="448"/>
                    </a:lnTo>
                    <a:lnTo>
                      <a:pt x="218" y="450"/>
                    </a:lnTo>
                    <a:lnTo>
                      <a:pt x="219" y="452"/>
                    </a:lnTo>
                    <a:lnTo>
                      <a:pt x="220" y="454"/>
                    </a:lnTo>
                    <a:lnTo>
                      <a:pt x="221" y="455"/>
                    </a:lnTo>
                    <a:lnTo>
                      <a:pt x="222" y="456"/>
                    </a:lnTo>
                    <a:lnTo>
                      <a:pt x="223" y="457"/>
                    </a:lnTo>
                    <a:lnTo>
                      <a:pt x="225" y="457"/>
                    </a:lnTo>
                    <a:lnTo>
                      <a:pt x="226" y="458"/>
                    </a:lnTo>
                    <a:lnTo>
                      <a:pt x="228" y="458"/>
                    </a:lnTo>
                    <a:lnTo>
                      <a:pt x="229" y="458"/>
                    </a:lnTo>
                    <a:lnTo>
                      <a:pt x="230" y="460"/>
                    </a:lnTo>
                    <a:lnTo>
                      <a:pt x="232" y="460"/>
                    </a:lnTo>
                    <a:lnTo>
                      <a:pt x="233" y="460"/>
                    </a:lnTo>
                    <a:lnTo>
                      <a:pt x="234" y="460"/>
                    </a:lnTo>
                    <a:lnTo>
                      <a:pt x="234" y="458"/>
                    </a:lnTo>
                    <a:lnTo>
                      <a:pt x="234" y="457"/>
                    </a:lnTo>
                    <a:lnTo>
                      <a:pt x="234" y="456"/>
                    </a:lnTo>
                    <a:lnTo>
                      <a:pt x="234" y="455"/>
                    </a:lnTo>
                    <a:lnTo>
                      <a:pt x="233" y="454"/>
                    </a:lnTo>
                    <a:lnTo>
                      <a:pt x="232" y="453"/>
                    </a:lnTo>
                    <a:lnTo>
                      <a:pt x="231" y="452"/>
                    </a:lnTo>
                    <a:lnTo>
                      <a:pt x="230" y="451"/>
                    </a:lnTo>
                    <a:lnTo>
                      <a:pt x="230" y="450"/>
                    </a:lnTo>
                    <a:lnTo>
                      <a:pt x="230" y="449"/>
                    </a:lnTo>
                    <a:lnTo>
                      <a:pt x="230" y="448"/>
                    </a:lnTo>
                    <a:lnTo>
                      <a:pt x="231" y="448"/>
                    </a:lnTo>
                    <a:lnTo>
                      <a:pt x="231" y="447"/>
                    </a:lnTo>
                    <a:lnTo>
                      <a:pt x="232" y="447"/>
                    </a:lnTo>
                    <a:lnTo>
                      <a:pt x="233" y="447"/>
                    </a:lnTo>
                    <a:lnTo>
                      <a:pt x="233" y="445"/>
                    </a:lnTo>
                    <a:lnTo>
                      <a:pt x="236" y="447"/>
                    </a:lnTo>
                    <a:lnTo>
                      <a:pt x="237" y="447"/>
                    </a:lnTo>
                    <a:lnTo>
                      <a:pt x="238" y="447"/>
                    </a:lnTo>
                    <a:lnTo>
                      <a:pt x="239" y="447"/>
                    </a:lnTo>
                    <a:lnTo>
                      <a:pt x="241" y="448"/>
                    </a:lnTo>
                    <a:lnTo>
                      <a:pt x="242" y="448"/>
                    </a:lnTo>
                    <a:lnTo>
                      <a:pt x="243" y="449"/>
                    </a:lnTo>
                    <a:lnTo>
                      <a:pt x="244" y="450"/>
                    </a:lnTo>
                    <a:lnTo>
                      <a:pt x="245" y="451"/>
                    </a:lnTo>
                    <a:lnTo>
                      <a:pt x="245" y="452"/>
                    </a:lnTo>
                    <a:lnTo>
                      <a:pt x="247" y="453"/>
                    </a:lnTo>
                    <a:lnTo>
                      <a:pt x="249" y="453"/>
                    </a:lnTo>
                    <a:lnTo>
                      <a:pt x="250" y="453"/>
                    </a:lnTo>
                    <a:lnTo>
                      <a:pt x="250" y="454"/>
                    </a:lnTo>
                    <a:lnTo>
                      <a:pt x="249" y="455"/>
                    </a:lnTo>
                    <a:lnTo>
                      <a:pt x="248" y="455"/>
                    </a:lnTo>
                    <a:lnTo>
                      <a:pt x="247" y="456"/>
                    </a:lnTo>
                    <a:lnTo>
                      <a:pt x="246" y="456"/>
                    </a:lnTo>
                    <a:lnTo>
                      <a:pt x="245" y="456"/>
                    </a:lnTo>
                    <a:lnTo>
                      <a:pt x="244" y="457"/>
                    </a:lnTo>
                    <a:lnTo>
                      <a:pt x="243" y="458"/>
                    </a:lnTo>
                    <a:lnTo>
                      <a:pt x="242" y="460"/>
                    </a:lnTo>
                    <a:lnTo>
                      <a:pt x="242" y="461"/>
                    </a:lnTo>
                    <a:lnTo>
                      <a:pt x="242" y="463"/>
                    </a:lnTo>
                    <a:lnTo>
                      <a:pt x="242" y="464"/>
                    </a:lnTo>
                    <a:lnTo>
                      <a:pt x="242" y="465"/>
                    </a:lnTo>
                    <a:lnTo>
                      <a:pt x="241" y="465"/>
                    </a:lnTo>
                    <a:lnTo>
                      <a:pt x="241" y="466"/>
                    </a:lnTo>
                    <a:lnTo>
                      <a:pt x="242" y="466"/>
                    </a:lnTo>
                    <a:lnTo>
                      <a:pt x="242" y="467"/>
                    </a:lnTo>
                    <a:lnTo>
                      <a:pt x="243" y="466"/>
                    </a:lnTo>
                    <a:lnTo>
                      <a:pt x="244" y="465"/>
                    </a:lnTo>
                    <a:lnTo>
                      <a:pt x="245" y="464"/>
                    </a:lnTo>
                    <a:lnTo>
                      <a:pt x="246" y="463"/>
                    </a:lnTo>
                    <a:lnTo>
                      <a:pt x="248" y="460"/>
                    </a:lnTo>
                    <a:lnTo>
                      <a:pt x="248" y="458"/>
                    </a:lnTo>
                    <a:lnTo>
                      <a:pt x="249" y="457"/>
                    </a:lnTo>
                    <a:lnTo>
                      <a:pt x="249" y="456"/>
                    </a:lnTo>
                    <a:lnTo>
                      <a:pt x="250" y="455"/>
                    </a:lnTo>
                    <a:lnTo>
                      <a:pt x="251" y="455"/>
                    </a:lnTo>
                    <a:lnTo>
                      <a:pt x="251" y="454"/>
                    </a:lnTo>
                    <a:lnTo>
                      <a:pt x="251" y="452"/>
                    </a:lnTo>
                    <a:lnTo>
                      <a:pt x="252" y="451"/>
                    </a:lnTo>
                    <a:lnTo>
                      <a:pt x="254" y="451"/>
                    </a:lnTo>
                    <a:lnTo>
                      <a:pt x="255" y="451"/>
                    </a:lnTo>
                    <a:lnTo>
                      <a:pt x="256" y="451"/>
                    </a:lnTo>
                    <a:lnTo>
                      <a:pt x="257" y="452"/>
                    </a:lnTo>
                    <a:lnTo>
                      <a:pt x="257" y="453"/>
                    </a:lnTo>
                    <a:lnTo>
                      <a:pt x="257" y="454"/>
                    </a:lnTo>
                    <a:lnTo>
                      <a:pt x="256" y="455"/>
                    </a:lnTo>
                    <a:lnTo>
                      <a:pt x="256" y="456"/>
                    </a:lnTo>
                    <a:lnTo>
                      <a:pt x="255" y="457"/>
                    </a:lnTo>
                    <a:lnTo>
                      <a:pt x="254" y="458"/>
                    </a:lnTo>
                    <a:lnTo>
                      <a:pt x="254" y="460"/>
                    </a:lnTo>
                    <a:lnTo>
                      <a:pt x="252" y="461"/>
                    </a:lnTo>
                    <a:lnTo>
                      <a:pt x="252" y="462"/>
                    </a:lnTo>
                    <a:lnTo>
                      <a:pt x="252" y="465"/>
                    </a:lnTo>
                    <a:lnTo>
                      <a:pt x="252" y="468"/>
                    </a:lnTo>
                    <a:lnTo>
                      <a:pt x="254" y="470"/>
                    </a:lnTo>
                    <a:lnTo>
                      <a:pt x="254" y="471"/>
                    </a:lnTo>
                    <a:lnTo>
                      <a:pt x="254" y="473"/>
                    </a:lnTo>
                    <a:lnTo>
                      <a:pt x="254" y="474"/>
                    </a:lnTo>
                    <a:lnTo>
                      <a:pt x="255" y="475"/>
                    </a:lnTo>
                    <a:lnTo>
                      <a:pt x="255" y="476"/>
                    </a:lnTo>
                    <a:lnTo>
                      <a:pt x="256" y="477"/>
                    </a:lnTo>
                    <a:lnTo>
                      <a:pt x="256" y="478"/>
                    </a:lnTo>
                    <a:lnTo>
                      <a:pt x="257" y="478"/>
                    </a:lnTo>
                    <a:lnTo>
                      <a:pt x="258" y="478"/>
                    </a:lnTo>
                    <a:lnTo>
                      <a:pt x="259" y="478"/>
                    </a:lnTo>
                    <a:lnTo>
                      <a:pt x="260" y="477"/>
                    </a:lnTo>
                    <a:lnTo>
                      <a:pt x="261" y="477"/>
                    </a:lnTo>
                    <a:lnTo>
                      <a:pt x="262" y="476"/>
                    </a:lnTo>
                    <a:lnTo>
                      <a:pt x="262" y="475"/>
                    </a:lnTo>
                    <a:lnTo>
                      <a:pt x="263" y="473"/>
                    </a:lnTo>
                    <a:lnTo>
                      <a:pt x="263" y="471"/>
                    </a:lnTo>
                    <a:lnTo>
                      <a:pt x="263" y="470"/>
                    </a:lnTo>
                    <a:lnTo>
                      <a:pt x="263" y="469"/>
                    </a:lnTo>
                    <a:lnTo>
                      <a:pt x="264" y="469"/>
                    </a:lnTo>
                    <a:lnTo>
                      <a:pt x="264" y="468"/>
                    </a:lnTo>
                    <a:lnTo>
                      <a:pt x="265" y="467"/>
                    </a:lnTo>
                    <a:lnTo>
                      <a:pt x="267" y="466"/>
                    </a:lnTo>
                    <a:lnTo>
                      <a:pt x="268" y="466"/>
                    </a:lnTo>
                    <a:lnTo>
                      <a:pt x="268" y="465"/>
                    </a:lnTo>
                    <a:lnTo>
                      <a:pt x="269" y="465"/>
                    </a:lnTo>
                    <a:lnTo>
                      <a:pt x="270" y="466"/>
                    </a:lnTo>
                    <a:lnTo>
                      <a:pt x="270" y="467"/>
                    </a:lnTo>
                    <a:lnTo>
                      <a:pt x="270" y="468"/>
                    </a:lnTo>
                    <a:lnTo>
                      <a:pt x="269" y="470"/>
                    </a:lnTo>
                    <a:lnTo>
                      <a:pt x="268" y="471"/>
                    </a:lnTo>
                    <a:lnTo>
                      <a:pt x="267" y="471"/>
                    </a:lnTo>
                    <a:lnTo>
                      <a:pt x="267" y="473"/>
                    </a:lnTo>
                    <a:lnTo>
                      <a:pt x="265" y="474"/>
                    </a:lnTo>
                    <a:lnTo>
                      <a:pt x="265" y="477"/>
                    </a:lnTo>
                    <a:lnTo>
                      <a:pt x="264" y="477"/>
                    </a:lnTo>
                    <a:lnTo>
                      <a:pt x="264" y="478"/>
                    </a:lnTo>
                    <a:lnTo>
                      <a:pt x="263" y="479"/>
                    </a:lnTo>
                    <a:lnTo>
                      <a:pt x="263" y="480"/>
                    </a:lnTo>
                    <a:lnTo>
                      <a:pt x="263" y="481"/>
                    </a:lnTo>
                    <a:lnTo>
                      <a:pt x="263" y="482"/>
                    </a:lnTo>
                    <a:lnTo>
                      <a:pt x="262" y="483"/>
                    </a:lnTo>
                    <a:lnTo>
                      <a:pt x="260" y="483"/>
                    </a:lnTo>
                    <a:lnTo>
                      <a:pt x="260" y="482"/>
                    </a:lnTo>
                    <a:lnTo>
                      <a:pt x="259" y="482"/>
                    </a:lnTo>
                    <a:lnTo>
                      <a:pt x="259" y="483"/>
                    </a:lnTo>
                    <a:lnTo>
                      <a:pt x="258" y="483"/>
                    </a:lnTo>
                    <a:lnTo>
                      <a:pt x="258" y="484"/>
                    </a:lnTo>
                    <a:lnTo>
                      <a:pt x="259" y="484"/>
                    </a:lnTo>
                    <a:lnTo>
                      <a:pt x="259" y="486"/>
                    </a:lnTo>
                    <a:lnTo>
                      <a:pt x="259" y="487"/>
                    </a:lnTo>
                    <a:lnTo>
                      <a:pt x="260" y="488"/>
                    </a:lnTo>
                    <a:lnTo>
                      <a:pt x="262" y="488"/>
                    </a:lnTo>
                    <a:lnTo>
                      <a:pt x="265" y="488"/>
                    </a:lnTo>
                    <a:lnTo>
                      <a:pt x="267" y="488"/>
                    </a:lnTo>
                    <a:lnTo>
                      <a:pt x="268" y="487"/>
                    </a:lnTo>
                    <a:lnTo>
                      <a:pt x="269" y="488"/>
                    </a:lnTo>
                    <a:lnTo>
                      <a:pt x="270" y="488"/>
                    </a:lnTo>
                    <a:lnTo>
                      <a:pt x="271" y="488"/>
                    </a:lnTo>
                    <a:lnTo>
                      <a:pt x="272" y="488"/>
                    </a:lnTo>
                    <a:lnTo>
                      <a:pt x="274" y="488"/>
                    </a:lnTo>
                    <a:lnTo>
                      <a:pt x="275" y="488"/>
                    </a:lnTo>
                    <a:lnTo>
                      <a:pt x="276" y="488"/>
                    </a:lnTo>
                    <a:lnTo>
                      <a:pt x="277" y="488"/>
                    </a:lnTo>
                    <a:lnTo>
                      <a:pt x="278" y="488"/>
                    </a:lnTo>
                    <a:lnTo>
                      <a:pt x="280" y="488"/>
                    </a:lnTo>
                    <a:lnTo>
                      <a:pt x="281" y="488"/>
                    </a:lnTo>
                    <a:lnTo>
                      <a:pt x="282" y="489"/>
                    </a:lnTo>
                    <a:lnTo>
                      <a:pt x="283" y="490"/>
                    </a:lnTo>
                    <a:lnTo>
                      <a:pt x="283" y="491"/>
                    </a:lnTo>
                    <a:lnTo>
                      <a:pt x="283" y="492"/>
                    </a:lnTo>
                    <a:lnTo>
                      <a:pt x="283" y="493"/>
                    </a:lnTo>
                    <a:lnTo>
                      <a:pt x="282" y="494"/>
                    </a:lnTo>
                    <a:lnTo>
                      <a:pt x="281" y="495"/>
                    </a:lnTo>
                    <a:lnTo>
                      <a:pt x="281" y="496"/>
                    </a:lnTo>
                    <a:lnTo>
                      <a:pt x="281" y="497"/>
                    </a:lnTo>
                    <a:lnTo>
                      <a:pt x="282" y="497"/>
                    </a:lnTo>
                    <a:lnTo>
                      <a:pt x="283" y="496"/>
                    </a:lnTo>
                    <a:lnTo>
                      <a:pt x="284" y="495"/>
                    </a:lnTo>
                    <a:lnTo>
                      <a:pt x="286" y="494"/>
                    </a:lnTo>
                    <a:lnTo>
                      <a:pt x="286" y="493"/>
                    </a:lnTo>
                    <a:lnTo>
                      <a:pt x="287" y="493"/>
                    </a:lnTo>
                    <a:lnTo>
                      <a:pt x="288" y="493"/>
                    </a:lnTo>
                    <a:lnTo>
                      <a:pt x="288" y="494"/>
                    </a:lnTo>
                    <a:lnTo>
                      <a:pt x="288" y="495"/>
                    </a:lnTo>
                    <a:lnTo>
                      <a:pt x="287" y="496"/>
                    </a:lnTo>
                    <a:lnTo>
                      <a:pt x="285" y="497"/>
                    </a:lnTo>
                    <a:lnTo>
                      <a:pt x="284" y="497"/>
                    </a:lnTo>
                    <a:lnTo>
                      <a:pt x="284" y="499"/>
                    </a:lnTo>
                    <a:lnTo>
                      <a:pt x="282" y="500"/>
                    </a:lnTo>
                    <a:lnTo>
                      <a:pt x="282" y="501"/>
                    </a:lnTo>
                    <a:lnTo>
                      <a:pt x="282" y="502"/>
                    </a:lnTo>
                    <a:lnTo>
                      <a:pt x="283" y="502"/>
                    </a:lnTo>
                    <a:lnTo>
                      <a:pt x="283" y="503"/>
                    </a:lnTo>
                    <a:lnTo>
                      <a:pt x="284" y="503"/>
                    </a:lnTo>
                    <a:lnTo>
                      <a:pt x="285" y="503"/>
                    </a:lnTo>
                    <a:lnTo>
                      <a:pt x="286" y="503"/>
                    </a:lnTo>
                    <a:lnTo>
                      <a:pt x="287" y="503"/>
                    </a:lnTo>
                    <a:lnTo>
                      <a:pt x="287" y="502"/>
                    </a:lnTo>
                    <a:lnTo>
                      <a:pt x="289" y="501"/>
                    </a:lnTo>
                    <a:lnTo>
                      <a:pt x="290" y="501"/>
                    </a:lnTo>
                    <a:lnTo>
                      <a:pt x="291" y="501"/>
                    </a:lnTo>
                    <a:lnTo>
                      <a:pt x="293" y="501"/>
                    </a:lnTo>
                    <a:lnTo>
                      <a:pt x="294" y="500"/>
                    </a:lnTo>
                    <a:lnTo>
                      <a:pt x="295" y="500"/>
                    </a:lnTo>
                    <a:lnTo>
                      <a:pt x="295" y="499"/>
                    </a:lnTo>
                    <a:lnTo>
                      <a:pt x="295" y="497"/>
                    </a:lnTo>
                    <a:lnTo>
                      <a:pt x="295" y="496"/>
                    </a:lnTo>
                    <a:lnTo>
                      <a:pt x="295" y="494"/>
                    </a:lnTo>
                    <a:lnTo>
                      <a:pt x="295" y="492"/>
                    </a:lnTo>
                    <a:lnTo>
                      <a:pt x="295" y="491"/>
                    </a:lnTo>
                    <a:lnTo>
                      <a:pt x="296" y="491"/>
                    </a:lnTo>
                    <a:lnTo>
                      <a:pt x="297" y="490"/>
                    </a:lnTo>
                    <a:lnTo>
                      <a:pt x="298" y="490"/>
                    </a:lnTo>
                    <a:lnTo>
                      <a:pt x="299" y="490"/>
                    </a:lnTo>
                    <a:lnTo>
                      <a:pt x="299" y="491"/>
                    </a:lnTo>
                    <a:lnTo>
                      <a:pt x="299" y="493"/>
                    </a:lnTo>
                    <a:lnTo>
                      <a:pt x="299" y="494"/>
                    </a:lnTo>
                    <a:lnTo>
                      <a:pt x="298" y="495"/>
                    </a:lnTo>
                    <a:lnTo>
                      <a:pt x="298" y="496"/>
                    </a:lnTo>
                    <a:lnTo>
                      <a:pt x="298" y="497"/>
                    </a:lnTo>
                    <a:lnTo>
                      <a:pt x="299" y="497"/>
                    </a:lnTo>
                    <a:lnTo>
                      <a:pt x="299" y="499"/>
                    </a:lnTo>
                    <a:lnTo>
                      <a:pt x="299" y="500"/>
                    </a:lnTo>
                    <a:lnTo>
                      <a:pt x="299" y="501"/>
                    </a:lnTo>
                    <a:lnTo>
                      <a:pt x="300" y="501"/>
                    </a:lnTo>
                    <a:lnTo>
                      <a:pt x="300" y="502"/>
                    </a:lnTo>
                    <a:lnTo>
                      <a:pt x="301" y="502"/>
                    </a:lnTo>
                    <a:lnTo>
                      <a:pt x="302" y="503"/>
                    </a:lnTo>
                    <a:lnTo>
                      <a:pt x="303" y="503"/>
                    </a:lnTo>
                    <a:lnTo>
                      <a:pt x="304" y="503"/>
                    </a:lnTo>
                    <a:lnTo>
                      <a:pt x="306" y="503"/>
                    </a:lnTo>
                    <a:lnTo>
                      <a:pt x="306" y="504"/>
                    </a:lnTo>
                    <a:lnTo>
                      <a:pt x="306" y="505"/>
                    </a:lnTo>
                    <a:lnTo>
                      <a:pt x="304" y="506"/>
                    </a:lnTo>
                    <a:lnTo>
                      <a:pt x="304" y="507"/>
                    </a:lnTo>
                    <a:lnTo>
                      <a:pt x="303" y="507"/>
                    </a:lnTo>
                    <a:lnTo>
                      <a:pt x="302" y="507"/>
                    </a:lnTo>
                    <a:lnTo>
                      <a:pt x="301" y="507"/>
                    </a:lnTo>
                    <a:lnTo>
                      <a:pt x="298" y="504"/>
                    </a:lnTo>
                    <a:lnTo>
                      <a:pt x="297" y="504"/>
                    </a:lnTo>
                    <a:lnTo>
                      <a:pt x="296" y="504"/>
                    </a:lnTo>
                    <a:lnTo>
                      <a:pt x="295" y="504"/>
                    </a:lnTo>
                    <a:lnTo>
                      <a:pt x="294" y="505"/>
                    </a:lnTo>
                    <a:lnTo>
                      <a:pt x="294" y="506"/>
                    </a:lnTo>
                    <a:lnTo>
                      <a:pt x="294" y="507"/>
                    </a:lnTo>
                    <a:lnTo>
                      <a:pt x="295" y="508"/>
                    </a:lnTo>
                    <a:lnTo>
                      <a:pt x="296" y="508"/>
                    </a:lnTo>
                    <a:lnTo>
                      <a:pt x="297" y="508"/>
                    </a:lnTo>
                    <a:lnTo>
                      <a:pt x="298" y="508"/>
                    </a:lnTo>
                    <a:lnTo>
                      <a:pt x="299" y="508"/>
                    </a:lnTo>
                    <a:lnTo>
                      <a:pt x="300" y="508"/>
                    </a:lnTo>
                    <a:lnTo>
                      <a:pt x="301" y="508"/>
                    </a:lnTo>
                    <a:lnTo>
                      <a:pt x="302" y="508"/>
                    </a:lnTo>
                    <a:lnTo>
                      <a:pt x="302" y="509"/>
                    </a:lnTo>
                    <a:lnTo>
                      <a:pt x="303" y="510"/>
                    </a:lnTo>
                    <a:lnTo>
                      <a:pt x="303" y="512"/>
                    </a:lnTo>
                    <a:lnTo>
                      <a:pt x="304" y="513"/>
                    </a:lnTo>
                    <a:lnTo>
                      <a:pt x="304" y="514"/>
                    </a:lnTo>
                    <a:lnTo>
                      <a:pt x="304" y="515"/>
                    </a:lnTo>
                    <a:lnTo>
                      <a:pt x="304" y="516"/>
                    </a:lnTo>
                    <a:lnTo>
                      <a:pt x="304" y="517"/>
                    </a:lnTo>
                    <a:lnTo>
                      <a:pt x="304" y="518"/>
                    </a:lnTo>
                    <a:lnTo>
                      <a:pt x="306" y="518"/>
                    </a:lnTo>
                    <a:lnTo>
                      <a:pt x="307" y="518"/>
                    </a:lnTo>
                    <a:lnTo>
                      <a:pt x="307" y="517"/>
                    </a:lnTo>
                    <a:lnTo>
                      <a:pt x="308" y="517"/>
                    </a:lnTo>
                    <a:lnTo>
                      <a:pt x="308" y="516"/>
                    </a:lnTo>
                    <a:lnTo>
                      <a:pt x="308" y="515"/>
                    </a:lnTo>
                    <a:lnTo>
                      <a:pt x="308" y="514"/>
                    </a:lnTo>
                    <a:lnTo>
                      <a:pt x="308" y="513"/>
                    </a:lnTo>
                    <a:lnTo>
                      <a:pt x="308" y="512"/>
                    </a:lnTo>
                    <a:lnTo>
                      <a:pt x="308" y="510"/>
                    </a:lnTo>
                    <a:lnTo>
                      <a:pt x="309" y="509"/>
                    </a:lnTo>
                    <a:lnTo>
                      <a:pt x="310" y="509"/>
                    </a:lnTo>
                    <a:lnTo>
                      <a:pt x="311" y="510"/>
                    </a:lnTo>
                    <a:lnTo>
                      <a:pt x="312" y="510"/>
                    </a:lnTo>
                    <a:lnTo>
                      <a:pt x="312" y="512"/>
                    </a:lnTo>
                    <a:lnTo>
                      <a:pt x="313" y="512"/>
                    </a:lnTo>
                    <a:lnTo>
                      <a:pt x="314" y="512"/>
                    </a:lnTo>
                    <a:lnTo>
                      <a:pt x="314" y="513"/>
                    </a:lnTo>
                    <a:lnTo>
                      <a:pt x="315" y="513"/>
                    </a:lnTo>
                    <a:lnTo>
                      <a:pt x="315" y="514"/>
                    </a:lnTo>
                    <a:lnTo>
                      <a:pt x="316" y="514"/>
                    </a:lnTo>
                    <a:lnTo>
                      <a:pt x="316" y="515"/>
                    </a:lnTo>
                    <a:lnTo>
                      <a:pt x="316" y="516"/>
                    </a:lnTo>
                    <a:lnTo>
                      <a:pt x="315" y="517"/>
                    </a:lnTo>
                    <a:lnTo>
                      <a:pt x="314" y="518"/>
                    </a:lnTo>
                    <a:lnTo>
                      <a:pt x="313" y="519"/>
                    </a:lnTo>
                    <a:lnTo>
                      <a:pt x="312" y="519"/>
                    </a:lnTo>
                    <a:lnTo>
                      <a:pt x="311" y="519"/>
                    </a:lnTo>
                    <a:lnTo>
                      <a:pt x="310" y="519"/>
                    </a:lnTo>
                    <a:lnTo>
                      <a:pt x="310" y="520"/>
                    </a:lnTo>
                    <a:lnTo>
                      <a:pt x="309" y="521"/>
                    </a:lnTo>
                    <a:lnTo>
                      <a:pt x="309" y="522"/>
                    </a:lnTo>
                    <a:lnTo>
                      <a:pt x="310" y="524"/>
                    </a:lnTo>
                    <a:lnTo>
                      <a:pt x="310" y="525"/>
                    </a:lnTo>
                    <a:lnTo>
                      <a:pt x="310" y="526"/>
                    </a:lnTo>
                    <a:lnTo>
                      <a:pt x="310" y="527"/>
                    </a:lnTo>
                    <a:lnTo>
                      <a:pt x="309" y="527"/>
                    </a:lnTo>
                    <a:lnTo>
                      <a:pt x="307" y="527"/>
                    </a:lnTo>
                    <a:lnTo>
                      <a:pt x="306" y="527"/>
                    </a:lnTo>
                    <a:lnTo>
                      <a:pt x="304" y="527"/>
                    </a:lnTo>
                    <a:lnTo>
                      <a:pt x="303" y="527"/>
                    </a:lnTo>
                    <a:lnTo>
                      <a:pt x="302" y="526"/>
                    </a:lnTo>
                    <a:lnTo>
                      <a:pt x="301" y="526"/>
                    </a:lnTo>
                    <a:lnTo>
                      <a:pt x="300" y="526"/>
                    </a:lnTo>
                    <a:lnTo>
                      <a:pt x="300" y="527"/>
                    </a:lnTo>
                    <a:lnTo>
                      <a:pt x="300" y="528"/>
                    </a:lnTo>
                    <a:lnTo>
                      <a:pt x="301" y="528"/>
                    </a:lnTo>
                    <a:lnTo>
                      <a:pt x="302" y="529"/>
                    </a:lnTo>
                    <a:lnTo>
                      <a:pt x="304" y="530"/>
                    </a:lnTo>
                    <a:lnTo>
                      <a:pt x="309" y="530"/>
                    </a:lnTo>
                    <a:lnTo>
                      <a:pt x="310" y="530"/>
                    </a:lnTo>
                    <a:lnTo>
                      <a:pt x="311" y="530"/>
                    </a:lnTo>
                    <a:lnTo>
                      <a:pt x="312" y="530"/>
                    </a:lnTo>
                    <a:lnTo>
                      <a:pt x="312" y="529"/>
                    </a:lnTo>
                    <a:lnTo>
                      <a:pt x="313" y="528"/>
                    </a:lnTo>
                    <a:lnTo>
                      <a:pt x="314" y="527"/>
                    </a:lnTo>
                    <a:lnTo>
                      <a:pt x="314" y="526"/>
                    </a:lnTo>
                    <a:lnTo>
                      <a:pt x="315" y="526"/>
                    </a:lnTo>
                    <a:lnTo>
                      <a:pt x="316" y="526"/>
                    </a:lnTo>
                    <a:lnTo>
                      <a:pt x="316" y="525"/>
                    </a:lnTo>
                    <a:lnTo>
                      <a:pt x="317" y="525"/>
                    </a:lnTo>
                    <a:lnTo>
                      <a:pt x="321" y="524"/>
                    </a:lnTo>
                    <a:lnTo>
                      <a:pt x="322" y="524"/>
                    </a:lnTo>
                    <a:lnTo>
                      <a:pt x="323" y="524"/>
                    </a:lnTo>
                    <a:lnTo>
                      <a:pt x="323" y="525"/>
                    </a:lnTo>
                    <a:lnTo>
                      <a:pt x="324" y="525"/>
                    </a:lnTo>
                    <a:lnTo>
                      <a:pt x="324" y="526"/>
                    </a:lnTo>
                    <a:lnTo>
                      <a:pt x="324" y="527"/>
                    </a:lnTo>
                    <a:lnTo>
                      <a:pt x="324" y="528"/>
                    </a:lnTo>
                    <a:lnTo>
                      <a:pt x="324" y="529"/>
                    </a:lnTo>
                    <a:lnTo>
                      <a:pt x="324" y="530"/>
                    </a:lnTo>
                    <a:lnTo>
                      <a:pt x="324" y="531"/>
                    </a:lnTo>
                    <a:lnTo>
                      <a:pt x="324" y="532"/>
                    </a:lnTo>
                    <a:lnTo>
                      <a:pt x="323" y="533"/>
                    </a:lnTo>
                    <a:lnTo>
                      <a:pt x="322" y="534"/>
                    </a:lnTo>
                    <a:lnTo>
                      <a:pt x="322" y="535"/>
                    </a:lnTo>
                    <a:lnTo>
                      <a:pt x="321" y="535"/>
                    </a:lnTo>
                    <a:lnTo>
                      <a:pt x="321" y="537"/>
                    </a:lnTo>
                    <a:lnTo>
                      <a:pt x="320" y="538"/>
                    </a:lnTo>
                    <a:lnTo>
                      <a:pt x="320" y="539"/>
                    </a:lnTo>
                    <a:lnTo>
                      <a:pt x="319" y="539"/>
                    </a:lnTo>
                    <a:lnTo>
                      <a:pt x="319" y="540"/>
                    </a:lnTo>
                    <a:lnTo>
                      <a:pt x="317" y="542"/>
                    </a:lnTo>
                    <a:lnTo>
                      <a:pt x="319" y="543"/>
                    </a:lnTo>
                    <a:lnTo>
                      <a:pt x="320" y="543"/>
                    </a:lnTo>
                    <a:lnTo>
                      <a:pt x="321" y="543"/>
                    </a:lnTo>
                    <a:lnTo>
                      <a:pt x="322" y="543"/>
                    </a:lnTo>
                    <a:lnTo>
                      <a:pt x="322" y="542"/>
                    </a:lnTo>
                    <a:lnTo>
                      <a:pt x="324" y="540"/>
                    </a:lnTo>
                    <a:lnTo>
                      <a:pt x="325" y="540"/>
                    </a:lnTo>
                    <a:lnTo>
                      <a:pt x="326" y="539"/>
                    </a:lnTo>
                    <a:lnTo>
                      <a:pt x="327" y="538"/>
                    </a:lnTo>
                    <a:lnTo>
                      <a:pt x="328" y="537"/>
                    </a:lnTo>
                    <a:lnTo>
                      <a:pt x="329" y="535"/>
                    </a:lnTo>
                    <a:lnTo>
                      <a:pt x="330" y="534"/>
                    </a:lnTo>
                    <a:lnTo>
                      <a:pt x="330" y="533"/>
                    </a:lnTo>
                    <a:lnTo>
                      <a:pt x="332" y="533"/>
                    </a:lnTo>
                    <a:lnTo>
                      <a:pt x="333" y="533"/>
                    </a:lnTo>
                    <a:lnTo>
                      <a:pt x="333" y="534"/>
                    </a:lnTo>
                    <a:lnTo>
                      <a:pt x="333" y="535"/>
                    </a:lnTo>
                    <a:lnTo>
                      <a:pt x="332" y="537"/>
                    </a:lnTo>
                    <a:lnTo>
                      <a:pt x="330" y="537"/>
                    </a:lnTo>
                    <a:lnTo>
                      <a:pt x="329" y="538"/>
                    </a:lnTo>
                    <a:lnTo>
                      <a:pt x="328" y="538"/>
                    </a:lnTo>
                    <a:lnTo>
                      <a:pt x="328" y="539"/>
                    </a:lnTo>
                    <a:lnTo>
                      <a:pt x="327" y="540"/>
                    </a:lnTo>
                    <a:lnTo>
                      <a:pt x="326" y="541"/>
                    </a:lnTo>
                    <a:lnTo>
                      <a:pt x="326" y="542"/>
                    </a:lnTo>
                    <a:lnTo>
                      <a:pt x="327" y="543"/>
                    </a:lnTo>
                    <a:lnTo>
                      <a:pt x="328" y="544"/>
                    </a:lnTo>
                    <a:lnTo>
                      <a:pt x="332" y="544"/>
                    </a:lnTo>
                    <a:lnTo>
                      <a:pt x="333" y="545"/>
                    </a:lnTo>
                    <a:lnTo>
                      <a:pt x="334" y="546"/>
                    </a:lnTo>
                    <a:lnTo>
                      <a:pt x="338" y="548"/>
                    </a:lnTo>
                    <a:lnTo>
                      <a:pt x="338" y="551"/>
                    </a:lnTo>
                    <a:lnTo>
                      <a:pt x="338" y="553"/>
                    </a:lnTo>
                    <a:lnTo>
                      <a:pt x="337" y="553"/>
                    </a:lnTo>
                    <a:lnTo>
                      <a:pt x="337" y="554"/>
                    </a:lnTo>
                    <a:lnTo>
                      <a:pt x="338" y="556"/>
                    </a:lnTo>
                    <a:lnTo>
                      <a:pt x="339" y="559"/>
                    </a:lnTo>
                    <a:lnTo>
                      <a:pt x="339" y="560"/>
                    </a:lnTo>
                    <a:lnTo>
                      <a:pt x="339" y="563"/>
                    </a:lnTo>
                    <a:lnTo>
                      <a:pt x="339" y="564"/>
                    </a:lnTo>
                    <a:lnTo>
                      <a:pt x="340" y="564"/>
                    </a:lnTo>
                    <a:lnTo>
                      <a:pt x="341" y="564"/>
                    </a:lnTo>
                    <a:lnTo>
                      <a:pt x="344" y="565"/>
                    </a:lnTo>
                    <a:lnTo>
                      <a:pt x="345" y="565"/>
                    </a:lnTo>
                    <a:lnTo>
                      <a:pt x="346" y="565"/>
                    </a:lnTo>
                    <a:lnTo>
                      <a:pt x="347" y="565"/>
                    </a:lnTo>
                    <a:lnTo>
                      <a:pt x="347" y="564"/>
                    </a:lnTo>
                    <a:lnTo>
                      <a:pt x="346" y="563"/>
                    </a:lnTo>
                    <a:lnTo>
                      <a:pt x="346" y="561"/>
                    </a:lnTo>
                    <a:lnTo>
                      <a:pt x="345" y="560"/>
                    </a:lnTo>
                    <a:lnTo>
                      <a:pt x="344" y="560"/>
                    </a:lnTo>
                    <a:lnTo>
                      <a:pt x="342" y="559"/>
                    </a:lnTo>
                    <a:lnTo>
                      <a:pt x="342" y="558"/>
                    </a:lnTo>
                    <a:lnTo>
                      <a:pt x="341" y="557"/>
                    </a:lnTo>
                    <a:lnTo>
                      <a:pt x="341" y="556"/>
                    </a:lnTo>
                    <a:lnTo>
                      <a:pt x="341" y="555"/>
                    </a:lnTo>
                    <a:lnTo>
                      <a:pt x="341" y="554"/>
                    </a:lnTo>
                    <a:lnTo>
                      <a:pt x="344" y="554"/>
                    </a:lnTo>
                    <a:lnTo>
                      <a:pt x="345" y="555"/>
                    </a:lnTo>
                    <a:lnTo>
                      <a:pt x="346" y="555"/>
                    </a:lnTo>
                    <a:lnTo>
                      <a:pt x="347" y="556"/>
                    </a:lnTo>
                    <a:lnTo>
                      <a:pt x="347" y="557"/>
                    </a:lnTo>
                    <a:lnTo>
                      <a:pt x="348" y="558"/>
                    </a:lnTo>
                    <a:lnTo>
                      <a:pt x="348" y="559"/>
                    </a:lnTo>
                    <a:lnTo>
                      <a:pt x="349" y="559"/>
                    </a:lnTo>
                    <a:lnTo>
                      <a:pt x="350" y="560"/>
                    </a:lnTo>
                    <a:lnTo>
                      <a:pt x="351" y="560"/>
                    </a:lnTo>
                    <a:lnTo>
                      <a:pt x="352" y="560"/>
                    </a:lnTo>
                    <a:lnTo>
                      <a:pt x="354" y="559"/>
                    </a:lnTo>
                    <a:lnTo>
                      <a:pt x="355" y="558"/>
                    </a:lnTo>
                    <a:lnTo>
                      <a:pt x="357" y="558"/>
                    </a:lnTo>
                    <a:lnTo>
                      <a:pt x="357" y="559"/>
                    </a:lnTo>
                    <a:lnTo>
                      <a:pt x="357" y="560"/>
                    </a:lnTo>
                    <a:lnTo>
                      <a:pt x="357" y="561"/>
                    </a:lnTo>
                    <a:lnTo>
                      <a:pt x="355" y="561"/>
                    </a:lnTo>
                    <a:lnTo>
                      <a:pt x="355" y="563"/>
                    </a:lnTo>
                    <a:lnTo>
                      <a:pt x="354" y="563"/>
                    </a:lnTo>
                    <a:lnTo>
                      <a:pt x="353" y="563"/>
                    </a:lnTo>
                    <a:lnTo>
                      <a:pt x="352" y="563"/>
                    </a:lnTo>
                    <a:lnTo>
                      <a:pt x="351" y="564"/>
                    </a:lnTo>
                    <a:lnTo>
                      <a:pt x="350" y="565"/>
                    </a:lnTo>
                    <a:lnTo>
                      <a:pt x="350" y="566"/>
                    </a:lnTo>
                    <a:lnTo>
                      <a:pt x="349" y="566"/>
                    </a:lnTo>
                    <a:lnTo>
                      <a:pt x="349" y="567"/>
                    </a:lnTo>
                    <a:lnTo>
                      <a:pt x="350" y="567"/>
                    </a:lnTo>
                    <a:lnTo>
                      <a:pt x="350" y="568"/>
                    </a:lnTo>
                    <a:lnTo>
                      <a:pt x="351" y="568"/>
                    </a:lnTo>
                    <a:lnTo>
                      <a:pt x="341" y="568"/>
                    </a:lnTo>
                    <a:lnTo>
                      <a:pt x="340" y="568"/>
                    </a:lnTo>
                    <a:lnTo>
                      <a:pt x="336" y="568"/>
                    </a:lnTo>
                    <a:lnTo>
                      <a:pt x="333" y="568"/>
                    </a:lnTo>
                    <a:lnTo>
                      <a:pt x="287" y="568"/>
                    </a:lnTo>
                    <a:lnTo>
                      <a:pt x="286" y="568"/>
                    </a:lnTo>
                    <a:lnTo>
                      <a:pt x="263" y="568"/>
                    </a:lnTo>
                    <a:lnTo>
                      <a:pt x="262" y="566"/>
                    </a:lnTo>
                    <a:lnTo>
                      <a:pt x="262" y="565"/>
                    </a:lnTo>
                    <a:lnTo>
                      <a:pt x="262" y="564"/>
                    </a:lnTo>
                    <a:lnTo>
                      <a:pt x="262" y="563"/>
                    </a:lnTo>
                    <a:lnTo>
                      <a:pt x="262" y="561"/>
                    </a:lnTo>
                    <a:lnTo>
                      <a:pt x="262" y="560"/>
                    </a:lnTo>
                    <a:lnTo>
                      <a:pt x="261" y="559"/>
                    </a:lnTo>
                    <a:lnTo>
                      <a:pt x="261" y="558"/>
                    </a:lnTo>
                    <a:lnTo>
                      <a:pt x="261" y="557"/>
                    </a:lnTo>
                    <a:lnTo>
                      <a:pt x="260" y="556"/>
                    </a:lnTo>
                    <a:lnTo>
                      <a:pt x="261" y="556"/>
                    </a:lnTo>
                    <a:lnTo>
                      <a:pt x="261" y="555"/>
                    </a:lnTo>
                    <a:lnTo>
                      <a:pt x="261" y="552"/>
                    </a:lnTo>
                    <a:lnTo>
                      <a:pt x="262" y="551"/>
                    </a:lnTo>
                    <a:lnTo>
                      <a:pt x="262" y="550"/>
                    </a:lnTo>
                    <a:lnTo>
                      <a:pt x="263" y="548"/>
                    </a:lnTo>
                    <a:lnTo>
                      <a:pt x="263" y="547"/>
                    </a:lnTo>
                    <a:lnTo>
                      <a:pt x="263" y="546"/>
                    </a:lnTo>
                    <a:lnTo>
                      <a:pt x="262" y="546"/>
                    </a:lnTo>
                    <a:lnTo>
                      <a:pt x="263" y="545"/>
                    </a:lnTo>
                    <a:lnTo>
                      <a:pt x="263" y="544"/>
                    </a:lnTo>
                    <a:lnTo>
                      <a:pt x="262" y="544"/>
                    </a:lnTo>
                    <a:lnTo>
                      <a:pt x="262" y="543"/>
                    </a:lnTo>
                    <a:lnTo>
                      <a:pt x="262" y="542"/>
                    </a:lnTo>
                    <a:lnTo>
                      <a:pt x="261" y="542"/>
                    </a:lnTo>
                    <a:lnTo>
                      <a:pt x="260" y="542"/>
                    </a:lnTo>
                    <a:lnTo>
                      <a:pt x="261" y="541"/>
                    </a:lnTo>
                    <a:lnTo>
                      <a:pt x="260" y="541"/>
                    </a:lnTo>
                    <a:lnTo>
                      <a:pt x="260" y="540"/>
                    </a:lnTo>
                    <a:lnTo>
                      <a:pt x="259" y="540"/>
                    </a:lnTo>
                    <a:lnTo>
                      <a:pt x="259" y="539"/>
                    </a:lnTo>
                    <a:lnTo>
                      <a:pt x="259" y="538"/>
                    </a:lnTo>
                    <a:lnTo>
                      <a:pt x="258" y="538"/>
                    </a:lnTo>
                    <a:lnTo>
                      <a:pt x="258" y="537"/>
                    </a:lnTo>
                    <a:lnTo>
                      <a:pt x="258" y="535"/>
                    </a:lnTo>
                    <a:lnTo>
                      <a:pt x="257" y="534"/>
                    </a:lnTo>
                    <a:lnTo>
                      <a:pt x="256" y="534"/>
                    </a:lnTo>
                    <a:lnTo>
                      <a:pt x="255" y="533"/>
                    </a:lnTo>
                    <a:lnTo>
                      <a:pt x="254" y="533"/>
                    </a:lnTo>
                    <a:lnTo>
                      <a:pt x="252" y="533"/>
                    </a:lnTo>
                    <a:lnTo>
                      <a:pt x="252" y="532"/>
                    </a:lnTo>
                    <a:lnTo>
                      <a:pt x="251" y="532"/>
                    </a:lnTo>
                    <a:lnTo>
                      <a:pt x="251" y="531"/>
                    </a:lnTo>
                    <a:lnTo>
                      <a:pt x="250" y="531"/>
                    </a:lnTo>
                    <a:lnTo>
                      <a:pt x="250" y="530"/>
                    </a:lnTo>
                    <a:lnTo>
                      <a:pt x="249" y="530"/>
                    </a:lnTo>
                    <a:lnTo>
                      <a:pt x="248" y="530"/>
                    </a:lnTo>
                    <a:lnTo>
                      <a:pt x="248" y="528"/>
                    </a:lnTo>
                    <a:lnTo>
                      <a:pt x="248" y="527"/>
                    </a:lnTo>
                    <a:lnTo>
                      <a:pt x="247" y="526"/>
                    </a:lnTo>
                    <a:lnTo>
                      <a:pt x="247" y="525"/>
                    </a:lnTo>
                    <a:lnTo>
                      <a:pt x="246" y="525"/>
                    </a:lnTo>
                    <a:lnTo>
                      <a:pt x="246" y="524"/>
                    </a:lnTo>
                    <a:lnTo>
                      <a:pt x="245" y="524"/>
                    </a:lnTo>
                    <a:lnTo>
                      <a:pt x="244" y="522"/>
                    </a:lnTo>
                    <a:lnTo>
                      <a:pt x="244" y="521"/>
                    </a:lnTo>
                    <a:lnTo>
                      <a:pt x="244" y="520"/>
                    </a:lnTo>
                    <a:lnTo>
                      <a:pt x="243" y="519"/>
                    </a:lnTo>
                    <a:lnTo>
                      <a:pt x="242" y="519"/>
                    </a:lnTo>
                    <a:lnTo>
                      <a:pt x="242" y="518"/>
                    </a:lnTo>
                    <a:lnTo>
                      <a:pt x="241" y="518"/>
                    </a:lnTo>
                    <a:lnTo>
                      <a:pt x="239" y="517"/>
                    </a:lnTo>
                    <a:lnTo>
                      <a:pt x="238" y="517"/>
                    </a:lnTo>
                    <a:lnTo>
                      <a:pt x="238" y="516"/>
                    </a:lnTo>
                    <a:lnTo>
                      <a:pt x="237" y="516"/>
                    </a:lnTo>
                    <a:lnTo>
                      <a:pt x="236" y="515"/>
                    </a:lnTo>
                    <a:lnTo>
                      <a:pt x="235" y="515"/>
                    </a:lnTo>
                    <a:lnTo>
                      <a:pt x="235" y="514"/>
                    </a:lnTo>
                    <a:lnTo>
                      <a:pt x="235" y="513"/>
                    </a:lnTo>
                    <a:lnTo>
                      <a:pt x="234" y="513"/>
                    </a:lnTo>
                    <a:lnTo>
                      <a:pt x="234" y="512"/>
                    </a:lnTo>
                    <a:lnTo>
                      <a:pt x="233" y="512"/>
                    </a:lnTo>
                    <a:lnTo>
                      <a:pt x="232" y="512"/>
                    </a:lnTo>
                    <a:lnTo>
                      <a:pt x="232" y="510"/>
                    </a:lnTo>
                    <a:lnTo>
                      <a:pt x="231" y="510"/>
                    </a:lnTo>
                    <a:lnTo>
                      <a:pt x="229" y="510"/>
                    </a:lnTo>
                    <a:lnTo>
                      <a:pt x="228" y="510"/>
                    </a:lnTo>
                    <a:lnTo>
                      <a:pt x="226" y="510"/>
                    </a:lnTo>
                    <a:lnTo>
                      <a:pt x="225" y="509"/>
                    </a:lnTo>
                    <a:lnTo>
                      <a:pt x="224" y="509"/>
                    </a:lnTo>
                    <a:lnTo>
                      <a:pt x="223" y="509"/>
                    </a:lnTo>
                    <a:lnTo>
                      <a:pt x="222" y="510"/>
                    </a:lnTo>
                    <a:lnTo>
                      <a:pt x="221" y="510"/>
                    </a:lnTo>
                    <a:lnTo>
                      <a:pt x="220" y="510"/>
                    </a:lnTo>
                    <a:lnTo>
                      <a:pt x="219" y="510"/>
                    </a:lnTo>
                    <a:lnTo>
                      <a:pt x="218" y="510"/>
                    </a:lnTo>
                    <a:lnTo>
                      <a:pt x="217" y="509"/>
                    </a:lnTo>
                    <a:lnTo>
                      <a:pt x="216" y="508"/>
                    </a:lnTo>
                    <a:lnTo>
                      <a:pt x="215" y="507"/>
                    </a:lnTo>
                    <a:lnTo>
                      <a:pt x="213" y="506"/>
                    </a:lnTo>
                    <a:lnTo>
                      <a:pt x="213" y="505"/>
                    </a:lnTo>
                    <a:lnTo>
                      <a:pt x="212" y="505"/>
                    </a:lnTo>
                    <a:lnTo>
                      <a:pt x="211" y="505"/>
                    </a:lnTo>
                    <a:lnTo>
                      <a:pt x="210" y="506"/>
                    </a:lnTo>
                    <a:lnTo>
                      <a:pt x="210" y="507"/>
                    </a:lnTo>
                    <a:lnTo>
                      <a:pt x="211" y="508"/>
                    </a:lnTo>
                    <a:lnTo>
                      <a:pt x="210" y="509"/>
                    </a:lnTo>
                    <a:lnTo>
                      <a:pt x="209" y="509"/>
                    </a:lnTo>
                    <a:lnTo>
                      <a:pt x="208" y="509"/>
                    </a:lnTo>
                    <a:lnTo>
                      <a:pt x="207" y="509"/>
                    </a:lnTo>
                    <a:lnTo>
                      <a:pt x="206" y="510"/>
                    </a:lnTo>
                    <a:lnTo>
                      <a:pt x="205" y="512"/>
                    </a:lnTo>
                    <a:lnTo>
                      <a:pt x="202" y="512"/>
                    </a:lnTo>
                    <a:lnTo>
                      <a:pt x="200" y="510"/>
                    </a:lnTo>
                    <a:lnTo>
                      <a:pt x="199" y="509"/>
                    </a:lnTo>
                    <a:lnTo>
                      <a:pt x="199" y="508"/>
                    </a:lnTo>
                    <a:lnTo>
                      <a:pt x="199" y="507"/>
                    </a:lnTo>
                    <a:lnTo>
                      <a:pt x="198" y="506"/>
                    </a:lnTo>
                    <a:lnTo>
                      <a:pt x="197" y="505"/>
                    </a:lnTo>
                    <a:lnTo>
                      <a:pt x="196" y="505"/>
                    </a:lnTo>
                    <a:lnTo>
                      <a:pt x="196" y="504"/>
                    </a:lnTo>
                    <a:lnTo>
                      <a:pt x="195" y="502"/>
                    </a:lnTo>
                    <a:lnTo>
                      <a:pt x="194" y="502"/>
                    </a:lnTo>
                    <a:lnTo>
                      <a:pt x="193" y="503"/>
                    </a:lnTo>
                    <a:lnTo>
                      <a:pt x="193" y="504"/>
                    </a:lnTo>
                    <a:lnTo>
                      <a:pt x="192" y="504"/>
                    </a:lnTo>
                    <a:lnTo>
                      <a:pt x="191" y="504"/>
                    </a:lnTo>
                    <a:lnTo>
                      <a:pt x="190" y="504"/>
                    </a:lnTo>
                    <a:lnTo>
                      <a:pt x="188" y="504"/>
                    </a:lnTo>
                    <a:lnTo>
                      <a:pt x="187" y="504"/>
                    </a:lnTo>
                    <a:lnTo>
                      <a:pt x="187" y="503"/>
                    </a:lnTo>
                    <a:lnTo>
                      <a:pt x="186" y="503"/>
                    </a:lnTo>
                    <a:lnTo>
                      <a:pt x="186" y="502"/>
                    </a:lnTo>
                    <a:lnTo>
                      <a:pt x="185" y="501"/>
                    </a:lnTo>
                    <a:lnTo>
                      <a:pt x="185" y="500"/>
                    </a:lnTo>
                    <a:lnTo>
                      <a:pt x="185" y="499"/>
                    </a:lnTo>
                    <a:lnTo>
                      <a:pt x="184" y="500"/>
                    </a:lnTo>
                    <a:lnTo>
                      <a:pt x="184" y="499"/>
                    </a:lnTo>
                    <a:lnTo>
                      <a:pt x="183" y="497"/>
                    </a:lnTo>
                    <a:lnTo>
                      <a:pt x="183" y="496"/>
                    </a:lnTo>
                    <a:lnTo>
                      <a:pt x="184" y="495"/>
                    </a:lnTo>
                    <a:lnTo>
                      <a:pt x="183" y="495"/>
                    </a:lnTo>
                    <a:lnTo>
                      <a:pt x="183" y="494"/>
                    </a:lnTo>
                    <a:lnTo>
                      <a:pt x="181" y="493"/>
                    </a:lnTo>
                    <a:lnTo>
                      <a:pt x="180" y="494"/>
                    </a:lnTo>
                    <a:lnTo>
                      <a:pt x="179" y="494"/>
                    </a:lnTo>
                    <a:lnTo>
                      <a:pt x="178" y="494"/>
                    </a:lnTo>
                    <a:lnTo>
                      <a:pt x="179" y="493"/>
                    </a:lnTo>
                    <a:lnTo>
                      <a:pt x="179" y="492"/>
                    </a:lnTo>
                    <a:lnTo>
                      <a:pt x="178" y="492"/>
                    </a:lnTo>
                    <a:lnTo>
                      <a:pt x="177" y="491"/>
                    </a:lnTo>
                    <a:lnTo>
                      <a:pt x="175" y="491"/>
                    </a:lnTo>
                    <a:lnTo>
                      <a:pt x="174" y="491"/>
                    </a:lnTo>
                    <a:lnTo>
                      <a:pt x="173" y="491"/>
                    </a:lnTo>
                    <a:lnTo>
                      <a:pt x="172" y="491"/>
                    </a:lnTo>
                    <a:lnTo>
                      <a:pt x="172" y="492"/>
                    </a:lnTo>
                    <a:lnTo>
                      <a:pt x="171" y="491"/>
                    </a:lnTo>
                    <a:lnTo>
                      <a:pt x="172" y="491"/>
                    </a:lnTo>
                    <a:lnTo>
                      <a:pt x="171" y="491"/>
                    </a:lnTo>
                    <a:lnTo>
                      <a:pt x="171" y="490"/>
                    </a:lnTo>
                    <a:lnTo>
                      <a:pt x="170" y="491"/>
                    </a:lnTo>
                    <a:lnTo>
                      <a:pt x="169" y="491"/>
                    </a:lnTo>
                    <a:lnTo>
                      <a:pt x="168" y="491"/>
                    </a:lnTo>
                    <a:lnTo>
                      <a:pt x="166" y="492"/>
                    </a:lnTo>
                    <a:lnTo>
                      <a:pt x="167" y="492"/>
                    </a:lnTo>
                    <a:lnTo>
                      <a:pt x="167" y="493"/>
                    </a:lnTo>
                    <a:lnTo>
                      <a:pt x="166" y="493"/>
                    </a:lnTo>
                    <a:lnTo>
                      <a:pt x="165" y="493"/>
                    </a:lnTo>
                    <a:lnTo>
                      <a:pt x="165" y="494"/>
                    </a:lnTo>
                    <a:lnTo>
                      <a:pt x="164" y="494"/>
                    </a:lnTo>
                    <a:lnTo>
                      <a:pt x="164" y="493"/>
                    </a:lnTo>
                    <a:lnTo>
                      <a:pt x="162" y="493"/>
                    </a:lnTo>
                    <a:lnTo>
                      <a:pt x="162" y="492"/>
                    </a:lnTo>
                    <a:lnTo>
                      <a:pt x="161" y="492"/>
                    </a:lnTo>
                    <a:lnTo>
                      <a:pt x="160" y="492"/>
                    </a:lnTo>
                    <a:lnTo>
                      <a:pt x="159" y="492"/>
                    </a:lnTo>
                    <a:lnTo>
                      <a:pt x="158" y="493"/>
                    </a:lnTo>
                    <a:lnTo>
                      <a:pt x="157" y="493"/>
                    </a:lnTo>
                    <a:lnTo>
                      <a:pt x="156" y="494"/>
                    </a:lnTo>
                    <a:lnTo>
                      <a:pt x="155" y="494"/>
                    </a:lnTo>
                    <a:lnTo>
                      <a:pt x="156" y="495"/>
                    </a:lnTo>
                    <a:lnTo>
                      <a:pt x="155" y="495"/>
                    </a:lnTo>
                    <a:lnTo>
                      <a:pt x="154" y="495"/>
                    </a:lnTo>
                    <a:lnTo>
                      <a:pt x="153" y="496"/>
                    </a:lnTo>
                    <a:lnTo>
                      <a:pt x="152" y="496"/>
                    </a:lnTo>
                    <a:lnTo>
                      <a:pt x="151" y="496"/>
                    </a:lnTo>
                    <a:lnTo>
                      <a:pt x="151" y="497"/>
                    </a:lnTo>
                    <a:lnTo>
                      <a:pt x="149" y="499"/>
                    </a:lnTo>
                    <a:lnTo>
                      <a:pt x="151" y="499"/>
                    </a:lnTo>
                    <a:lnTo>
                      <a:pt x="149" y="499"/>
                    </a:lnTo>
                    <a:lnTo>
                      <a:pt x="148" y="499"/>
                    </a:lnTo>
                    <a:lnTo>
                      <a:pt x="148" y="500"/>
                    </a:lnTo>
                    <a:lnTo>
                      <a:pt x="147" y="500"/>
                    </a:lnTo>
                    <a:lnTo>
                      <a:pt x="146" y="501"/>
                    </a:lnTo>
                    <a:lnTo>
                      <a:pt x="146" y="502"/>
                    </a:lnTo>
                    <a:lnTo>
                      <a:pt x="145" y="503"/>
                    </a:lnTo>
                    <a:lnTo>
                      <a:pt x="145" y="504"/>
                    </a:lnTo>
                    <a:lnTo>
                      <a:pt x="145" y="505"/>
                    </a:lnTo>
                    <a:lnTo>
                      <a:pt x="144" y="506"/>
                    </a:lnTo>
                    <a:lnTo>
                      <a:pt x="144" y="507"/>
                    </a:lnTo>
                    <a:lnTo>
                      <a:pt x="145" y="507"/>
                    </a:lnTo>
                    <a:lnTo>
                      <a:pt x="145" y="508"/>
                    </a:lnTo>
                    <a:lnTo>
                      <a:pt x="145" y="509"/>
                    </a:lnTo>
                    <a:lnTo>
                      <a:pt x="144" y="509"/>
                    </a:lnTo>
                    <a:lnTo>
                      <a:pt x="145" y="510"/>
                    </a:lnTo>
                    <a:lnTo>
                      <a:pt x="144" y="510"/>
                    </a:lnTo>
                    <a:lnTo>
                      <a:pt x="145" y="512"/>
                    </a:lnTo>
                    <a:lnTo>
                      <a:pt x="145" y="513"/>
                    </a:lnTo>
                    <a:lnTo>
                      <a:pt x="145" y="514"/>
                    </a:lnTo>
                    <a:lnTo>
                      <a:pt x="144" y="515"/>
                    </a:lnTo>
                    <a:lnTo>
                      <a:pt x="143" y="515"/>
                    </a:lnTo>
                    <a:lnTo>
                      <a:pt x="143" y="516"/>
                    </a:lnTo>
                    <a:lnTo>
                      <a:pt x="142" y="516"/>
                    </a:lnTo>
                    <a:lnTo>
                      <a:pt x="142" y="517"/>
                    </a:lnTo>
                    <a:lnTo>
                      <a:pt x="141" y="517"/>
                    </a:lnTo>
                    <a:lnTo>
                      <a:pt x="140" y="517"/>
                    </a:lnTo>
                    <a:lnTo>
                      <a:pt x="139" y="517"/>
                    </a:lnTo>
                    <a:lnTo>
                      <a:pt x="138" y="517"/>
                    </a:lnTo>
                    <a:lnTo>
                      <a:pt x="138" y="518"/>
                    </a:lnTo>
                    <a:lnTo>
                      <a:pt x="136" y="518"/>
                    </a:lnTo>
                    <a:lnTo>
                      <a:pt x="136" y="519"/>
                    </a:lnTo>
                    <a:lnTo>
                      <a:pt x="136" y="518"/>
                    </a:lnTo>
                    <a:lnTo>
                      <a:pt x="135" y="519"/>
                    </a:lnTo>
                    <a:lnTo>
                      <a:pt x="136" y="519"/>
                    </a:lnTo>
                    <a:lnTo>
                      <a:pt x="135" y="520"/>
                    </a:lnTo>
                    <a:lnTo>
                      <a:pt x="135" y="521"/>
                    </a:lnTo>
                    <a:lnTo>
                      <a:pt x="134" y="521"/>
                    </a:lnTo>
                    <a:lnTo>
                      <a:pt x="133" y="521"/>
                    </a:lnTo>
                    <a:lnTo>
                      <a:pt x="132" y="521"/>
                    </a:lnTo>
                    <a:lnTo>
                      <a:pt x="131" y="521"/>
                    </a:lnTo>
                    <a:lnTo>
                      <a:pt x="130" y="522"/>
                    </a:lnTo>
                    <a:lnTo>
                      <a:pt x="130" y="524"/>
                    </a:lnTo>
                    <a:lnTo>
                      <a:pt x="129" y="524"/>
                    </a:lnTo>
                    <a:lnTo>
                      <a:pt x="128" y="524"/>
                    </a:lnTo>
                    <a:lnTo>
                      <a:pt x="128" y="525"/>
                    </a:lnTo>
                    <a:lnTo>
                      <a:pt x="127" y="525"/>
                    </a:lnTo>
                    <a:lnTo>
                      <a:pt x="127" y="526"/>
                    </a:lnTo>
                    <a:lnTo>
                      <a:pt x="126" y="526"/>
                    </a:lnTo>
                    <a:lnTo>
                      <a:pt x="126" y="527"/>
                    </a:lnTo>
                    <a:lnTo>
                      <a:pt x="125" y="526"/>
                    </a:lnTo>
                    <a:lnTo>
                      <a:pt x="125" y="527"/>
                    </a:lnTo>
                    <a:lnTo>
                      <a:pt x="123" y="528"/>
                    </a:lnTo>
                    <a:lnTo>
                      <a:pt x="123" y="529"/>
                    </a:lnTo>
                    <a:lnTo>
                      <a:pt x="122" y="529"/>
                    </a:lnTo>
                    <a:lnTo>
                      <a:pt x="121" y="529"/>
                    </a:lnTo>
                    <a:lnTo>
                      <a:pt x="120" y="529"/>
                    </a:lnTo>
                    <a:lnTo>
                      <a:pt x="120" y="530"/>
                    </a:lnTo>
                    <a:lnTo>
                      <a:pt x="119" y="529"/>
                    </a:lnTo>
                    <a:lnTo>
                      <a:pt x="119" y="530"/>
                    </a:lnTo>
                    <a:lnTo>
                      <a:pt x="118" y="531"/>
                    </a:lnTo>
                    <a:lnTo>
                      <a:pt x="118" y="530"/>
                    </a:lnTo>
                    <a:lnTo>
                      <a:pt x="117" y="531"/>
                    </a:lnTo>
                    <a:lnTo>
                      <a:pt x="118" y="531"/>
                    </a:lnTo>
                    <a:lnTo>
                      <a:pt x="118" y="532"/>
                    </a:lnTo>
                    <a:lnTo>
                      <a:pt x="118" y="533"/>
                    </a:lnTo>
                    <a:lnTo>
                      <a:pt x="117" y="533"/>
                    </a:lnTo>
                    <a:lnTo>
                      <a:pt x="117" y="534"/>
                    </a:lnTo>
                    <a:lnTo>
                      <a:pt x="117" y="533"/>
                    </a:lnTo>
                    <a:lnTo>
                      <a:pt x="117" y="534"/>
                    </a:lnTo>
                    <a:lnTo>
                      <a:pt x="116" y="534"/>
                    </a:lnTo>
                    <a:lnTo>
                      <a:pt x="116" y="535"/>
                    </a:lnTo>
                    <a:lnTo>
                      <a:pt x="115" y="537"/>
                    </a:lnTo>
                    <a:lnTo>
                      <a:pt x="115" y="538"/>
                    </a:lnTo>
                    <a:lnTo>
                      <a:pt x="115" y="539"/>
                    </a:lnTo>
                    <a:lnTo>
                      <a:pt x="116" y="539"/>
                    </a:lnTo>
                    <a:lnTo>
                      <a:pt x="116" y="540"/>
                    </a:lnTo>
                    <a:lnTo>
                      <a:pt x="115" y="540"/>
                    </a:lnTo>
                    <a:lnTo>
                      <a:pt x="115" y="541"/>
                    </a:lnTo>
                    <a:lnTo>
                      <a:pt x="115" y="542"/>
                    </a:lnTo>
                    <a:lnTo>
                      <a:pt x="115" y="543"/>
                    </a:lnTo>
                    <a:lnTo>
                      <a:pt x="114" y="544"/>
                    </a:lnTo>
                    <a:lnTo>
                      <a:pt x="114" y="545"/>
                    </a:lnTo>
                    <a:lnTo>
                      <a:pt x="114" y="546"/>
                    </a:lnTo>
                    <a:lnTo>
                      <a:pt x="114" y="547"/>
                    </a:lnTo>
                    <a:lnTo>
                      <a:pt x="114" y="548"/>
                    </a:lnTo>
                    <a:lnTo>
                      <a:pt x="115" y="551"/>
                    </a:lnTo>
                    <a:lnTo>
                      <a:pt x="114" y="551"/>
                    </a:lnTo>
                    <a:lnTo>
                      <a:pt x="114" y="552"/>
                    </a:lnTo>
                    <a:lnTo>
                      <a:pt x="114" y="553"/>
                    </a:lnTo>
                    <a:lnTo>
                      <a:pt x="114" y="554"/>
                    </a:lnTo>
                    <a:lnTo>
                      <a:pt x="113" y="554"/>
                    </a:lnTo>
                    <a:lnTo>
                      <a:pt x="113" y="555"/>
                    </a:lnTo>
                    <a:lnTo>
                      <a:pt x="113" y="556"/>
                    </a:lnTo>
                    <a:lnTo>
                      <a:pt x="113" y="557"/>
                    </a:lnTo>
                    <a:lnTo>
                      <a:pt x="112" y="557"/>
                    </a:lnTo>
                    <a:lnTo>
                      <a:pt x="112" y="558"/>
                    </a:lnTo>
                    <a:lnTo>
                      <a:pt x="110" y="558"/>
                    </a:lnTo>
                    <a:lnTo>
                      <a:pt x="109" y="559"/>
                    </a:lnTo>
                    <a:lnTo>
                      <a:pt x="108" y="559"/>
                    </a:lnTo>
                    <a:lnTo>
                      <a:pt x="108" y="560"/>
                    </a:lnTo>
                    <a:lnTo>
                      <a:pt x="107" y="560"/>
                    </a:lnTo>
                    <a:lnTo>
                      <a:pt x="106" y="560"/>
                    </a:lnTo>
                    <a:lnTo>
                      <a:pt x="105" y="561"/>
                    </a:lnTo>
                    <a:lnTo>
                      <a:pt x="104" y="563"/>
                    </a:lnTo>
                    <a:lnTo>
                      <a:pt x="103" y="563"/>
                    </a:lnTo>
                    <a:lnTo>
                      <a:pt x="104" y="564"/>
                    </a:lnTo>
                    <a:lnTo>
                      <a:pt x="104" y="565"/>
                    </a:lnTo>
                    <a:lnTo>
                      <a:pt x="103" y="566"/>
                    </a:lnTo>
                    <a:lnTo>
                      <a:pt x="102" y="566"/>
                    </a:lnTo>
                    <a:lnTo>
                      <a:pt x="101" y="567"/>
                    </a:lnTo>
                    <a:lnTo>
                      <a:pt x="101" y="568"/>
                    </a:lnTo>
                    <a:lnTo>
                      <a:pt x="100" y="568"/>
                    </a:lnTo>
                    <a:lnTo>
                      <a:pt x="99" y="568"/>
                    </a:lnTo>
                    <a:lnTo>
                      <a:pt x="99" y="569"/>
                    </a:lnTo>
                    <a:lnTo>
                      <a:pt x="97" y="569"/>
                    </a:lnTo>
                    <a:lnTo>
                      <a:pt x="96" y="570"/>
                    </a:lnTo>
                    <a:lnTo>
                      <a:pt x="96" y="571"/>
                    </a:lnTo>
                    <a:lnTo>
                      <a:pt x="95" y="571"/>
                    </a:lnTo>
                    <a:lnTo>
                      <a:pt x="95" y="572"/>
                    </a:lnTo>
                    <a:lnTo>
                      <a:pt x="94" y="572"/>
                    </a:lnTo>
                    <a:lnTo>
                      <a:pt x="93" y="573"/>
                    </a:lnTo>
                    <a:lnTo>
                      <a:pt x="92" y="573"/>
                    </a:lnTo>
                    <a:lnTo>
                      <a:pt x="92" y="574"/>
                    </a:lnTo>
                    <a:lnTo>
                      <a:pt x="91" y="574"/>
                    </a:lnTo>
                    <a:lnTo>
                      <a:pt x="91" y="576"/>
                    </a:lnTo>
                    <a:lnTo>
                      <a:pt x="90" y="576"/>
                    </a:lnTo>
                    <a:lnTo>
                      <a:pt x="89" y="576"/>
                    </a:lnTo>
                    <a:lnTo>
                      <a:pt x="88" y="576"/>
                    </a:lnTo>
                    <a:lnTo>
                      <a:pt x="88" y="577"/>
                    </a:lnTo>
                    <a:lnTo>
                      <a:pt x="87" y="577"/>
                    </a:lnTo>
                    <a:lnTo>
                      <a:pt x="86" y="578"/>
                    </a:lnTo>
                    <a:lnTo>
                      <a:pt x="86" y="580"/>
                    </a:lnTo>
                    <a:lnTo>
                      <a:pt x="84" y="580"/>
                    </a:lnTo>
                    <a:lnTo>
                      <a:pt x="83" y="580"/>
                    </a:lnTo>
                    <a:lnTo>
                      <a:pt x="82" y="581"/>
                    </a:lnTo>
                    <a:lnTo>
                      <a:pt x="81" y="581"/>
                    </a:lnTo>
                    <a:lnTo>
                      <a:pt x="80" y="581"/>
                    </a:lnTo>
                    <a:lnTo>
                      <a:pt x="80" y="582"/>
                    </a:lnTo>
                    <a:lnTo>
                      <a:pt x="79" y="582"/>
                    </a:lnTo>
                    <a:lnTo>
                      <a:pt x="78" y="583"/>
                    </a:lnTo>
                    <a:lnTo>
                      <a:pt x="77" y="584"/>
                    </a:lnTo>
                    <a:lnTo>
                      <a:pt x="76" y="584"/>
                    </a:lnTo>
                    <a:lnTo>
                      <a:pt x="75" y="585"/>
                    </a:lnTo>
                    <a:lnTo>
                      <a:pt x="75" y="586"/>
                    </a:lnTo>
                    <a:lnTo>
                      <a:pt x="74" y="586"/>
                    </a:lnTo>
                    <a:lnTo>
                      <a:pt x="73" y="586"/>
                    </a:lnTo>
                    <a:lnTo>
                      <a:pt x="73" y="587"/>
                    </a:lnTo>
                    <a:lnTo>
                      <a:pt x="71" y="587"/>
                    </a:lnTo>
                    <a:lnTo>
                      <a:pt x="65" y="592"/>
                    </a:lnTo>
                    <a:lnTo>
                      <a:pt x="57" y="598"/>
                    </a:lnTo>
                    <a:lnTo>
                      <a:pt x="52" y="598"/>
                    </a:lnTo>
                    <a:lnTo>
                      <a:pt x="46" y="598"/>
                    </a:lnTo>
                    <a:lnTo>
                      <a:pt x="33" y="598"/>
                    </a:lnTo>
                    <a:lnTo>
                      <a:pt x="27" y="598"/>
                    </a:lnTo>
                    <a:lnTo>
                      <a:pt x="1" y="598"/>
                    </a:lnTo>
                    <a:lnTo>
                      <a:pt x="1" y="578"/>
                    </a:lnTo>
                    <a:lnTo>
                      <a:pt x="1" y="559"/>
                    </a:lnTo>
                    <a:lnTo>
                      <a:pt x="1" y="550"/>
                    </a:lnTo>
                    <a:lnTo>
                      <a:pt x="1" y="540"/>
                    </a:lnTo>
                    <a:lnTo>
                      <a:pt x="1" y="539"/>
                    </a:lnTo>
                    <a:lnTo>
                      <a:pt x="1" y="534"/>
                    </a:lnTo>
                    <a:lnTo>
                      <a:pt x="1" y="530"/>
                    </a:lnTo>
                    <a:lnTo>
                      <a:pt x="1" y="526"/>
                    </a:lnTo>
                    <a:lnTo>
                      <a:pt x="1" y="499"/>
                    </a:lnTo>
                    <a:lnTo>
                      <a:pt x="1" y="493"/>
                    </a:lnTo>
                    <a:lnTo>
                      <a:pt x="1" y="491"/>
                    </a:lnTo>
                    <a:lnTo>
                      <a:pt x="1" y="488"/>
                    </a:lnTo>
                    <a:lnTo>
                      <a:pt x="1" y="482"/>
                    </a:lnTo>
                    <a:lnTo>
                      <a:pt x="1" y="477"/>
                    </a:lnTo>
                    <a:lnTo>
                      <a:pt x="1" y="473"/>
                    </a:lnTo>
                    <a:lnTo>
                      <a:pt x="1" y="469"/>
                    </a:lnTo>
                    <a:lnTo>
                      <a:pt x="1" y="468"/>
                    </a:lnTo>
                    <a:lnTo>
                      <a:pt x="1" y="456"/>
                    </a:lnTo>
                    <a:lnTo>
                      <a:pt x="1" y="425"/>
                    </a:lnTo>
                    <a:lnTo>
                      <a:pt x="1" y="422"/>
                    </a:lnTo>
                    <a:lnTo>
                      <a:pt x="1" y="410"/>
                    </a:lnTo>
                    <a:lnTo>
                      <a:pt x="1" y="406"/>
                    </a:lnTo>
                    <a:lnTo>
                      <a:pt x="1" y="405"/>
                    </a:lnTo>
                    <a:lnTo>
                      <a:pt x="1" y="400"/>
                    </a:lnTo>
                    <a:lnTo>
                      <a:pt x="1" y="399"/>
                    </a:lnTo>
                    <a:lnTo>
                      <a:pt x="1" y="394"/>
                    </a:lnTo>
                    <a:lnTo>
                      <a:pt x="1" y="393"/>
                    </a:lnTo>
                    <a:lnTo>
                      <a:pt x="1" y="391"/>
                    </a:lnTo>
                    <a:lnTo>
                      <a:pt x="1" y="389"/>
                    </a:lnTo>
                    <a:lnTo>
                      <a:pt x="1" y="384"/>
                    </a:lnTo>
                    <a:lnTo>
                      <a:pt x="1" y="383"/>
                    </a:lnTo>
                    <a:lnTo>
                      <a:pt x="1" y="378"/>
                    </a:lnTo>
                    <a:lnTo>
                      <a:pt x="1" y="375"/>
                    </a:lnTo>
                    <a:lnTo>
                      <a:pt x="1" y="374"/>
                    </a:lnTo>
                    <a:lnTo>
                      <a:pt x="1" y="371"/>
                    </a:lnTo>
                    <a:lnTo>
                      <a:pt x="1" y="368"/>
                    </a:lnTo>
                    <a:lnTo>
                      <a:pt x="1" y="367"/>
                    </a:lnTo>
                    <a:lnTo>
                      <a:pt x="1" y="366"/>
                    </a:lnTo>
                    <a:lnTo>
                      <a:pt x="1" y="365"/>
                    </a:lnTo>
                    <a:lnTo>
                      <a:pt x="0" y="362"/>
                    </a:lnTo>
                    <a:lnTo>
                      <a:pt x="1" y="349"/>
                    </a:lnTo>
                    <a:lnTo>
                      <a:pt x="1" y="343"/>
                    </a:lnTo>
                    <a:lnTo>
                      <a:pt x="1" y="340"/>
                    </a:lnTo>
                    <a:lnTo>
                      <a:pt x="1" y="336"/>
                    </a:lnTo>
                    <a:lnTo>
                      <a:pt x="1" y="335"/>
                    </a:lnTo>
                    <a:lnTo>
                      <a:pt x="1" y="329"/>
                    </a:lnTo>
                    <a:lnTo>
                      <a:pt x="1" y="323"/>
                    </a:lnTo>
                    <a:lnTo>
                      <a:pt x="1" y="312"/>
                    </a:lnTo>
                    <a:lnTo>
                      <a:pt x="1" y="302"/>
                    </a:lnTo>
                    <a:lnTo>
                      <a:pt x="1" y="298"/>
                    </a:lnTo>
                    <a:lnTo>
                      <a:pt x="1" y="297"/>
                    </a:lnTo>
                    <a:lnTo>
                      <a:pt x="1" y="291"/>
                    </a:lnTo>
                    <a:lnTo>
                      <a:pt x="1" y="289"/>
                    </a:lnTo>
                    <a:lnTo>
                      <a:pt x="1" y="286"/>
                    </a:lnTo>
                    <a:lnTo>
                      <a:pt x="1" y="278"/>
                    </a:lnTo>
                    <a:lnTo>
                      <a:pt x="1" y="277"/>
                    </a:lnTo>
                    <a:lnTo>
                      <a:pt x="1" y="276"/>
                    </a:lnTo>
                    <a:lnTo>
                      <a:pt x="1" y="274"/>
                    </a:lnTo>
                    <a:lnTo>
                      <a:pt x="1" y="265"/>
                    </a:lnTo>
                    <a:lnTo>
                      <a:pt x="1" y="262"/>
                    </a:lnTo>
                    <a:lnTo>
                      <a:pt x="1" y="255"/>
                    </a:lnTo>
                    <a:lnTo>
                      <a:pt x="1" y="240"/>
                    </a:lnTo>
                    <a:lnTo>
                      <a:pt x="1" y="237"/>
                    </a:lnTo>
                    <a:lnTo>
                      <a:pt x="1" y="234"/>
                    </a:lnTo>
                    <a:lnTo>
                      <a:pt x="1" y="222"/>
                    </a:lnTo>
                    <a:lnTo>
                      <a:pt x="1" y="216"/>
                    </a:lnTo>
                    <a:lnTo>
                      <a:pt x="1" y="214"/>
                    </a:lnTo>
                    <a:lnTo>
                      <a:pt x="1" y="201"/>
                    </a:lnTo>
                    <a:lnTo>
                      <a:pt x="1" y="193"/>
                    </a:lnTo>
                    <a:lnTo>
                      <a:pt x="1" y="192"/>
                    </a:lnTo>
                    <a:lnTo>
                      <a:pt x="1" y="188"/>
                    </a:lnTo>
                    <a:lnTo>
                      <a:pt x="1" y="184"/>
                    </a:lnTo>
                    <a:lnTo>
                      <a:pt x="1" y="183"/>
                    </a:lnTo>
                    <a:lnTo>
                      <a:pt x="1" y="182"/>
                    </a:lnTo>
                    <a:lnTo>
                      <a:pt x="1" y="181"/>
                    </a:lnTo>
                    <a:lnTo>
                      <a:pt x="1" y="180"/>
                    </a:lnTo>
                    <a:lnTo>
                      <a:pt x="1" y="179"/>
                    </a:lnTo>
                    <a:lnTo>
                      <a:pt x="1" y="176"/>
                    </a:lnTo>
                    <a:lnTo>
                      <a:pt x="1" y="174"/>
                    </a:lnTo>
                    <a:lnTo>
                      <a:pt x="1" y="171"/>
                    </a:lnTo>
                    <a:lnTo>
                      <a:pt x="1" y="169"/>
                    </a:lnTo>
                    <a:lnTo>
                      <a:pt x="1" y="168"/>
                    </a:lnTo>
                    <a:lnTo>
                      <a:pt x="1" y="167"/>
                    </a:lnTo>
                    <a:lnTo>
                      <a:pt x="1" y="166"/>
                    </a:lnTo>
                    <a:lnTo>
                      <a:pt x="1" y="165"/>
                    </a:lnTo>
                    <a:lnTo>
                      <a:pt x="1" y="161"/>
                    </a:lnTo>
                    <a:lnTo>
                      <a:pt x="1" y="156"/>
                    </a:lnTo>
                    <a:lnTo>
                      <a:pt x="1" y="154"/>
                    </a:lnTo>
                    <a:lnTo>
                      <a:pt x="1" y="152"/>
                    </a:lnTo>
                    <a:lnTo>
                      <a:pt x="1" y="139"/>
                    </a:lnTo>
                    <a:lnTo>
                      <a:pt x="1" y="137"/>
                    </a:lnTo>
                    <a:lnTo>
                      <a:pt x="1" y="129"/>
                    </a:lnTo>
                    <a:lnTo>
                      <a:pt x="1" y="124"/>
                    </a:lnTo>
                    <a:lnTo>
                      <a:pt x="1" y="123"/>
                    </a:lnTo>
                    <a:lnTo>
                      <a:pt x="1" y="121"/>
                    </a:lnTo>
                    <a:lnTo>
                      <a:pt x="1" y="113"/>
                    </a:lnTo>
                    <a:lnTo>
                      <a:pt x="1" y="111"/>
                    </a:lnTo>
                    <a:lnTo>
                      <a:pt x="1" y="110"/>
                    </a:lnTo>
                    <a:lnTo>
                      <a:pt x="1" y="109"/>
                    </a:lnTo>
                    <a:lnTo>
                      <a:pt x="1" y="106"/>
                    </a:lnTo>
                    <a:lnTo>
                      <a:pt x="1" y="104"/>
                    </a:lnTo>
                    <a:lnTo>
                      <a:pt x="1" y="101"/>
                    </a:lnTo>
                    <a:lnTo>
                      <a:pt x="1" y="92"/>
                    </a:lnTo>
                    <a:lnTo>
                      <a:pt x="1" y="88"/>
                    </a:lnTo>
                    <a:lnTo>
                      <a:pt x="1" y="80"/>
                    </a:lnTo>
                    <a:lnTo>
                      <a:pt x="1" y="79"/>
                    </a:lnTo>
                    <a:lnTo>
                      <a:pt x="1" y="59"/>
                    </a:lnTo>
                    <a:lnTo>
                      <a:pt x="1" y="58"/>
                    </a:lnTo>
                    <a:lnTo>
                      <a:pt x="1" y="51"/>
                    </a:lnTo>
                    <a:lnTo>
                      <a:pt x="1" y="49"/>
                    </a:lnTo>
                    <a:lnTo>
                      <a:pt x="1" y="46"/>
                    </a:lnTo>
                    <a:lnTo>
                      <a:pt x="1" y="41"/>
                    </a:lnTo>
                    <a:lnTo>
                      <a:pt x="1" y="8"/>
                    </a:lnTo>
                    <a:lnTo>
                      <a:pt x="1" y="0"/>
                    </a:lnTo>
                    <a:lnTo>
                      <a:pt x="3" y="0"/>
                    </a:lnTo>
                    <a:lnTo>
                      <a:pt x="6" y="0"/>
                    </a:lnTo>
                    <a:lnTo>
                      <a:pt x="12" y="0"/>
                    </a:lnTo>
                    <a:lnTo>
                      <a:pt x="13" y="0"/>
                    </a:lnTo>
                    <a:lnTo>
                      <a:pt x="14" y="0"/>
                    </a:lnTo>
                    <a:lnTo>
                      <a:pt x="27" y="0"/>
                    </a:lnTo>
                    <a:lnTo>
                      <a:pt x="28" y="0"/>
                    </a:lnTo>
                    <a:lnTo>
                      <a:pt x="44" y="0"/>
                    </a:lnTo>
                    <a:lnTo>
                      <a:pt x="76" y="0"/>
                    </a:lnTo>
                    <a:lnTo>
                      <a:pt x="88" y="0"/>
                    </a:lnTo>
                    <a:lnTo>
                      <a:pt x="93" y="0"/>
                    </a:lnTo>
                    <a:lnTo>
                      <a:pt x="141" y="0"/>
                    </a:lnTo>
                    <a:close/>
                  </a:path>
                </a:pathLst>
              </a:custGeom>
              <a:solidFill>
                <a:srgbClr val="03336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6" name="Freeform 66">
                <a:extLst>
                  <a:ext uri="{FF2B5EF4-FFF2-40B4-BE49-F238E27FC236}">
                    <a16:creationId xmlns:a16="http://schemas.microsoft.com/office/drawing/2014/main" id="{FABF5AA7-EB54-E585-AF10-2E3739E28E88}"/>
                  </a:ext>
                </a:extLst>
              </p:cNvPr>
              <p:cNvSpPr>
                <a:spLocks noEditPoints="1"/>
              </p:cNvSpPr>
              <p:nvPr/>
            </p:nvSpPr>
            <p:spPr bwMode="auto">
              <a:xfrm>
                <a:off x="4827588" y="3770313"/>
                <a:ext cx="704850" cy="633413"/>
              </a:xfrm>
              <a:custGeom>
                <a:avLst/>
                <a:gdLst>
                  <a:gd name="T0" fmla="*/ 254 w 444"/>
                  <a:gd name="T1" fmla="*/ 43 h 399"/>
                  <a:gd name="T2" fmla="*/ 264 w 444"/>
                  <a:gd name="T3" fmla="*/ 50 h 399"/>
                  <a:gd name="T4" fmla="*/ 260 w 444"/>
                  <a:gd name="T5" fmla="*/ 66 h 399"/>
                  <a:gd name="T6" fmla="*/ 267 w 444"/>
                  <a:gd name="T7" fmla="*/ 76 h 399"/>
                  <a:gd name="T8" fmla="*/ 272 w 444"/>
                  <a:gd name="T9" fmla="*/ 89 h 399"/>
                  <a:gd name="T10" fmla="*/ 274 w 444"/>
                  <a:gd name="T11" fmla="*/ 102 h 399"/>
                  <a:gd name="T12" fmla="*/ 286 w 444"/>
                  <a:gd name="T13" fmla="*/ 104 h 399"/>
                  <a:gd name="T14" fmla="*/ 283 w 444"/>
                  <a:gd name="T15" fmla="*/ 116 h 399"/>
                  <a:gd name="T16" fmla="*/ 292 w 444"/>
                  <a:gd name="T17" fmla="*/ 122 h 399"/>
                  <a:gd name="T18" fmla="*/ 296 w 444"/>
                  <a:gd name="T19" fmla="*/ 136 h 399"/>
                  <a:gd name="T20" fmla="*/ 303 w 444"/>
                  <a:gd name="T21" fmla="*/ 142 h 399"/>
                  <a:gd name="T22" fmla="*/ 305 w 444"/>
                  <a:gd name="T23" fmla="*/ 151 h 399"/>
                  <a:gd name="T24" fmla="*/ 312 w 444"/>
                  <a:gd name="T25" fmla="*/ 154 h 399"/>
                  <a:gd name="T26" fmla="*/ 323 w 444"/>
                  <a:gd name="T27" fmla="*/ 156 h 399"/>
                  <a:gd name="T28" fmla="*/ 335 w 444"/>
                  <a:gd name="T29" fmla="*/ 171 h 399"/>
                  <a:gd name="T30" fmla="*/ 346 w 444"/>
                  <a:gd name="T31" fmla="*/ 185 h 399"/>
                  <a:gd name="T32" fmla="*/ 352 w 444"/>
                  <a:gd name="T33" fmla="*/ 198 h 399"/>
                  <a:gd name="T34" fmla="*/ 350 w 444"/>
                  <a:gd name="T35" fmla="*/ 213 h 399"/>
                  <a:gd name="T36" fmla="*/ 357 w 444"/>
                  <a:gd name="T37" fmla="*/ 231 h 399"/>
                  <a:gd name="T38" fmla="*/ 365 w 444"/>
                  <a:gd name="T39" fmla="*/ 249 h 399"/>
                  <a:gd name="T40" fmla="*/ 377 w 444"/>
                  <a:gd name="T41" fmla="*/ 259 h 399"/>
                  <a:gd name="T42" fmla="*/ 380 w 444"/>
                  <a:gd name="T43" fmla="*/ 277 h 399"/>
                  <a:gd name="T44" fmla="*/ 374 w 444"/>
                  <a:gd name="T45" fmla="*/ 298 h 399"/>
                  <a:gd name="T46" fmla="*/ 381 w 444"/>
                  <a:gd name="T47" fmla="*/ 322 h 399"/>
                  <a:gd name="T48" fmla="*/ 399 w 444"/>
                  <a:gd name="T49" fmla="*/ 352 h 399"/>
                  <a:gd name="T50" fmla="*/ 403 w 444"/>
                  <a:gd name="T51" fmla="*/ 375 h 399"/>
                  <a:gd name="T52" fmla="*/ 393 w 444"/>
                  <a:gd name="T53" fmla="*/ 383 h 399"/>
                  <a:gd name="T54" fmla="*/ 371 w 444"/>
                  <a:gd name="T55" fmla="*/ 391 h 399"/>
                  <a:gd name="T56" fmla="*/ 355 w 444"/>
                  <a:gd name="T57" fmla="*/ 382 h 399"/>
                  <a:gd name="T58" fmla="*/ 328 w 444"/>
                  <a:gd name="T59" fmla="*/ 386 h 399"/>
                  <a:gd name="T60" fmla="*/ 312 w 444"/>
                  <a:gd name="T61" fmla="*/ 377 h 399"/>
                  <a:gd name="T62" fmla="*/ 292 w 444"/>
                  <a:gd name="T63" fmla="*/ 361 h 399"/>
                  <a:gd name="T64" fmla="*/ 267 w 444"/>
                  <a:gd name="T65" fmla="*/ 352 h 399"/>
                  <a:gd name="T66" fmla="*/ 246 w 444"/>
                  <a:gd name="T67" fmla="*/ 342 h 399"/>
                  <a:gd name="T68" fmla="*/ 227 w 444"/>
                  <a:gd name="T69" fmla="*/ 326 h 399"/>
                  <a:gd name="T70" fmla="*/ 206 w 444"/>
                  <a:gd name="T71" fmla="*/ 328 h 399"/>
                  <a:gd name="T72" fmla="*/ 185 w 444"/>
                  <a:gd name="T73" fmla="*/ 320 h 399"/>
                  <a:gd name="T74" fmla="*/ 164 w 444"/>
                  <a:gd name="T75" fmla="*/ 315 h 399"/>
                  <a:gd name="T76" fmla="*/ 156 w 444"/>
                  <a:gd name="T77" fmla="*/ 285 h 399"/>
                  <a:gd name="T78" fmla="*/ 131 w 444"/>
                  <a:gd name="T79" fmla="*/ 275 h 399"/>
                  <a:gd name="T80" fmla="*/ 120 w 444"/>
                  <a:gd name="T81" fmla="*/ 257 h 399"/>
                  <a:gd name="T82" fmla="*/ 104 w 444"/>
                  <a:gd name="T83" fmla="*/ 248 h 399"/>
                  <a:gd name="T84" fmla="*/ 90 w 444"/>
                  <a:gd name="T85" fmla="*/ 245 h 399"/>
                  <a:gd name="T86" fmla="*/ 72 w 444"/>
                  <a:gd name="T87" fmla="*/ 241 h 399"/>
                  <a:gd name="T88" fmla="*/ 59 w 444"/>
                  <a:gd name="T89" fmla="*/ 235 h 399"/>
                  <a:gd name="T90" fmla="*/ 45 w 444"/>
                  <a:gd name="T91" fmla="*/ 236 h 399"/>
                  <a:gd name="T92" fmla="*/ 22 w 444"/>
                  <a:gd name="T93" fmla="*/ 236 h 399"/>
                  <a:gd name="T94" fmla="*/ 6 w 444"/>
                  <a:gd name="T95" fmla="*/ 216 h 399"/>
                  <a:gd name="T96" fmla="*/ 7 w 444"/>
                  <a:gd name="T97" fmla="*/ 107 h 399"/>
                  <a:gd name="T98" fmla="*/ 7 w 444"/>
                  <a:gd name="T99" fmla="*/ 85 h 399"/>
                  <a:gd name="T100" fmla="*/ 5 w 444"/>
                  <a:gd name="T101" fmla="*/ 72 h 399"/>
                  <a:gd name="T102" fmla="*/ 2 w 444"/>
                  <a:gd name="T103" fmla="*/ 63 h 399"/>
                  <a:gd name="T104" fmla="*/ 6 w 444"/>
                  <a:gd name="T105" fmla="*/ 50 h 399"/>
                  <a:gd name="T106" fmla="*/ 3 w 444"/>
                  <a:gd name="T107" fmla="*/ 40 h 399"/>
                  <a:gd name="T108" fmla="*/ 5 w 444"/>
                  <a:gd name="T109" fmla="*/ 24 h 399"/>
                  <a:gd name="T110" fmla="*/ 2 w 444"/>
                  <a:gd name="T111" fmla="*/ 9 h 399"/>
                  <a:gd name="T112" fmla="*/ 57 w 444"/>
                  <a:gd name="T113" fmla="*/ 11 h 399"/>
                  <a:gd name="T114" fmla="*/ 167 w 444"/>
                  <a:gd name="T115" fmla="*/ 33 h 399"/>
                  <a:gd name="T116" fmla="*/ 439 w 444"/>
                  <a:gd name="T117" fmla="*/ 377 h 399"/>
                  <a:gd name="T118" fmla="*/ 394 w 444"/>
                  <a:gd name="T119" fmla="*/ 395 h 399"/>
                  <a:gd name="T120" fmla="*/ 402 w 444"/>
                  <a:gd name="T121" fmla="*/ 392 h 399"/>
                  <a:gd name="T122" fmla="*/ 410 w 444"/>
                  <a:gd name="T123" fmla="*/ 3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4" h="399">
                    <a:moveTo>
                      <a:pt x="252" y="33"/>
                    </a:moveTo>
                    <a:lnTo>
                      <a:pt x="252" y="34"/>
                    </a:lnTo>
                    <a:lnTo>
                      <a:pt x="252" y="35"/>
                    </a:lnTo>
                    <a:lnTo>
                      <a:pt x="251" y="35"/>
                    </a:lnTo>
                    <a:lnTo>
                      <a:pt x="250" y="35"/>
                    </a:lnTo>
                    <a:lnTo>
                      <a:pt x="249" y="34"/>
                    </a:lnTo>
                    <a:lnTo>
                      <a:pt x="249" y="33"/>
                    </a:lnTo>
                    <a:lnTo>
                      <a:pt x="248" y="33"/>
                    </a:lnTo>
                    <a:lnTo>
                      <a:pt x="247" y="34"/>
                    </a:lnTo>
                    <a:lnTo>
                      <a:pt x="247" y="35"/>
                    </a:lnTo>
                    <a:lnTo>
                      <a:pt x="247" y="36"/>
                    </a:lnTo>
                    <a:lnTo>
                      <a:pt x="248" y="36"/>
                    </a:lnTo>
                    <a:lnTo>
                      <a:pt x="249" y="36"/>
                    </a:lnTo>
                    <a:lnTo>
                      <a:pt x="249" y="37"/>
                    </a:lnTo>
                    <a:lnTo>
                      <a:pt x="250" y="37"/>
                    </a:lnTo>
                    <a:lnTo>
                      <a:pt x="251" y="37"/>
                    </a:lnTo>
                    <a:lnTo>
                      <a:pt x="252" y="36"/>
                    </a:lnTo>
                    <a:lnTo>
                      <a:pt x="253" y="36"/>
                    </a:lnTo>
                    <a:lnTo>
                      <a:pt x="253" y="37"/>
                    </a:lnTo>
                    <a:lnTo>
                      <a:pt x="253" y="38"/>
                    </a:lnTo>
                    <a:lnTo>
                      <a:pt x="253" y="39"/>
                    </a:lnTo>
                    <a:lnTo>
                      <a:pt x="253" y="40"/>
                    </a:lnTo>
                    <a:lnTo>
                      <a:pt x="253" y="41"/>
                    </a:lnTo>
                    <a:lnTo>
                      <a:pt x="253" y="43"/>
                    </a:lnTo>
                    <a:lnTo>
                      <a:pt x="254" y="43"/>
                    </a:lnTo>
                    <a:lnTo>
                      <a:pt x="255" y="41"/>
                    </a:lnTo>
                    <a:lnTo>
                      <a:pt x="255" y="40"/>
                    </a:lnTo>
                    <a:lnTo>
                      <a:pt x="255" y="39"/>
                    </a:lnTo>
                    <a:lnTo>
                      <a:pt x="257" y="39"/>
                    </a:lnTo>
                    <a:lnTo>
                      <a:pt x="257" y="38"/>
                    </a:lnTo>
                    <a:lnTo>
                      <a:pt x="258" y="38"/>
                    </a:lnTo>
                    <a:lnTo>
                      <a:pt x="259" y="39"/>
                    </a:lnTo>
                    <a:lnTo>
                      <a:pt x="259" y="40"/>
                    </a:lnTo>
                    <a:lnTo>
                      <a:pt x="260" y="41"/>
                    </a:lnTo>
                    <a:lnTo>
                      <a:pt x="260" y="43"/>
                    </a:lnTo>
                    <a:lnTo>
                      <a:pt x="260" y="44"/>
                    </a:lnTo>
                    <a:lnTo>
                      <a:pt x="261" y="44"/>
                    </a:lnTo>
                    <a:lnTo>
                      <a:pt x="262" y="44"/>
                    </a:lnTo>
                    <a:lnTo>
                      <a:pt x="263" y="44"/>
                    </a:lnTo>
                    <a:lnTo>
                      <a:pt x="263" y="45"/>
                    </a:lnTo>
                    <a:lnTo>
                      <a:pt x="263" y="46"/>
                    </a:lnTo>
                    <a:lnTo>
                      <a:pt x="263" y="47"/>
                    </a:lnTo>
                    <a:lnTo>
                      <a:pt x="263" y="48"/>
                    </a:lnTo>
                    <a:lnTo>
                      <a:pt x="264" y="47"/>
                    </a:lnTo>
                    <a:lnTo>
                      <a:pt x="265" y="47"/>
                    </a:lnTo>
                    <a:lnTo>
                      <a:pt x="266" y="47"/>
                    </a:lnTo>
                    <a:lnTo>
                      <a:pt x="266" y="48"/>
                    </a:lnTo>
                    <a:lnTo>
                      <a:pt x="265" y="48"/>
                    </a:lnTo>
                    <a:lnTo>
                      <a:pt x="264" y="49"/>
                    </a:lnTo>
                    <a:lnTo>
                      <a:pt x="264" y="50"/>
                    </a:lnTo>
                    <a:lnTo>
                      <a:pt x="264" y="51"/>
                    </a:lnTo>
                    <a:lnTo>
                      <a:pt x="265" y="52"/>
                    </a:lnTo>
                    <a:lnTo>
                      <a:pt x="266" y="52"/>
                    </a:lnTo>
                    <a:lnTo>
                      <a:pt x="267" y="52"/>
                    </a:lnTo>
                    <a:lnTo>
                      <a:pt x="268" y="51"/>
                    </a:lnTo>
                    <a:lnTo>
                      <a:pt x="270" y="52"/>
                    </a:lnTo>
                    <a:lnTo>
                      <a:pt x="270" y="53"/>
                    </a:lnTo>
                    <a:lnTo>
                      <a:pt x="268" y="55"/>
                    </a:lnTo>
                    <a:lnTo>
                      <a:pt x="266" y="56"/>
                    </a:lnTo>
                    <a:lnTo>
                      <a:pt x="266" y="57"/>
                    </a:lnTo>
                    <a:lnTo>
                      <a:pt x="266" y="58"/>
                    </a:lnTo>
                    <a:lnTo>
                      <a:pt x="266" y="59"/>
                    </a:lnTo>
                    <a:lnTo>
                      <a:pt x="266" y="60"/>
                    </a:lnTo>
                    <a:lnTo>
                      <a:pt x="265" y="60"/>
                    </a:lnTo>
                    <a:lnTo>
                      <a:pt x="265" y="61"/>
                    </a:lnTo>
                    <a:lnTo>
                      <a:pt x="264" y="62"/>
                    </a:lnTo>
                    <a:lnTo>
                      <a:pt x="264" y="63"/>
                    </a:lnTo>
                    <a:lnTo>
                      <a:pt x="264" y="64"/>
                    </a:lnTo>
                    <a:lnTo>
                      <a:pt x="263" y="64"/>
                    </a:lnTo>
                    <a:lnTo>
                      <a:pt x="262" y="64"/>
                    </a:lnTo>
                    <a:lnTo>
                      <a:pt x="261" y="64"/>
                    </a:lnTo>
                    <a:lnTo>
                      <a:pt x="261" y="63"/>
                    </a:lnTo>
                    <a:lnTo>
                      <a:pt x="260" y="64"/>
                    </a:lnTo>
                    <a:lnTo>
                      <a:pt x="260" y="65"/>
                    </a:lnTo>
                    <a:lnTo>
                      <a:pt x="260" y="66"/>
                    </a:lnTo>
                    <a:lnTo>
                      <a:pt x="260" y="68"/>
                    </a:lnTo>
                    <a:lnTo>
                      <a:pt x="261" y="68"/>
                    </a:lnTo>
                    <a:lnTo>
                      <a:pt x="261" y="66"/>
                    </a:lnTo>
                    <a:lnTo>
                      <a:pt x="262" y="66"/>
                    </a:lnTo>
                    <a:lnTo>
                      <a:pt x="263" y="66"/>
                    </a:lnTo>
                    <a:lnTo>
                      <a:pt x="264" y="66"/>
                    </a:lnTo>
                    <a:lnTo>
                      <a:pt x="265" y="65"/>
                    </a:lnTo>
                    <a:lnTo>
                      <a:pt x="265" y="66"/>
                    </a:lnTo>
                    <a:lnTo>
                      <a:pt x="265" y="68"/>
                    </a:lnTo>
                    <a:lnTo>
                      <a:pt x="265" y="69"/>
                    </a:lnTo>
                    <a:lnTo>
                      <a:pt x="265" y="70"/>
                    </a:lnTo>
                    <a:lnTo>
                      <a:pt x="265" y="71"/>
                    </a:lnTo>
                    <a:lnTo>
                      <a:pt x="265" y="72"/>
                    </a:lnTo>
                    <a:lnTo>
                      <a:pt x="264" y="73"/>
                    </a:lnTo>
                    <a:lnTo>
                      <a:pt x="264" y="74"/>
                    </a:lnTo>
                    <a:lnTo>
                      <a:pt x="265" y="74"/>
                    </a:lnTo>
                    <a:lnTo>
                      <a:pt x="265" y="75"/>
                    </a:lnTo>
                    <a:lnTo>
                      <a:pt x="265" y="74"/>
                    </a:lnTo>
                    <a:lnTo>
                      <a:pt x="266" y="74"/>
                    </a:lnTo>
                    <a:lnTo>
                      <a:pt x="268" y="73"/>
                    </a:lnTo>
                    <a:lnTo>
                      <a:pt x="270" y="74"/>
                    </a:lnTo>
                    <a:lnTo>
                      <a:pt x="270" y="75"/>
                    </a:lnTo>
                    <a:lnTo>
                      <a:pt x="268" y="75"/>
                    </a:lnTo>
                    <a:lnTo>
                      <a:pt x="268" y="76"/>
                    </a:lnTo>
                    <a:lnTo>
                      <a:pt x="267" y="76"/>
                    </a:lnTo>
                    <a:lnTo>
                      <a:pt x="266" y="76"/>
                    </a:lnTo>
                    <a:lnTo>
                      <a:pt x="266" y="75"/>
                    </a:lnTo>
                    <a:lnTo>
                      <a:pt x="265" y="75"/>
                    </a:lnTo>
                    <a:lnTo>
                      <a:pt x="264" y="76"/>
                    </a:lnTo>
                    <a:lnTo>
                      <a:pt x="265" y="76"/>
                    </a:lnTo>
                    <a:lnTo>
                      <a:pt x="265" y="77"/>
                    </a:lnTo>
                    <a:lnTo>
                      <a:pt x="266" y="77"/>
                    </a:lnTo>
                    <a:lnTo>
                      <a:pt x="266" y="78"/>
                    </a:lnTo>
                    <a:lnTo>
                      <a:pt x="268" y="79"/>
                    </a:lnTo>
                    <a:lnTo>
                      <a:pt x="270" y="81"/>
                    </a:lnTo>
                    <a:lnTo>
                      <a:pt x="270" y="82"/>
                    </a:lnTo>
                    <a:lnTo>
                      <a:pt x="270" y="83"/>
                    </a:lnTo>
                    <a:lnTo>
                      <a:pt x="268" y="82"/>
                    </a:lnTo>
                    <a:lnTo>
                      <a:pt x="267" y="82"/>
                    </a:lnTo>
                    <a:lnTo>
                      <a:pt x="266" y="82"/>
                    </a:lnTo>
                    <a:lnTo>
                      <a:pt x="266" y="83"/>
                    </a:lnTo>
                    <a:lnTo>
                      <a:pt x="266" y="84"/>
                    </a:lnTo>
                    <a:lnTo>
                      <a:pt x="267" y="85"/>
                    </a:lnTo>
                    <a:lnTo>
                      <a:pt x="268" y="86"/>
                    </a:lnTo>
                    <a:lnTo>
                      <a:pt x="270" y="86"/>
                    </a:lnTo>
                    <a:lnTo>
                      <a:pt x="271" y="85"/>
                    </a:lnTo>
                    <a:lnTo>
                      <a:pt x="271" y="86"/>
                    </a:lnTo>
                    <a:lnTo>
                      <a:pt x="272" y="87"/>
                    </a:lnTo>
                    <a:lnTo>
                      <a:pt x="272" y="88"/>
                    </a:lnTo>
                    <a:lnTo>
                      <a:pt x="272" y="89"/>
                    </a:lnTo>
                    <a:lnTo>
                      <a:pt x="273" y="88"/>
                    </a:lnTo>
                    <a:lnTo>
                      <a:pt x="274" y="88"/>
                    </a:lnTo>
                    <a:lnTo>
                      <a:pt x="274" y="89"/>
                    </a:lnTo>
                    <a:lnTo>
                      <a:pt x="274" y="90"/>
                    </a:lnTo>
                    <a:lnTo>
                      <a:pt x="273" y="90"/>
                    </a:lnTo>
                    <a:lnTo>
                      <a:pt x="272" y="90"/>
                    </a:lnTo>
                    <a:lnTo>
                      <a:pt x="271" y="90"/>
                    </a:lnTo>
                    <a:lnTo>
                      <a:pt x="271" y="89"/>
                    </a:lnTo>
                    <a:lnTo>
                      <a:pt x="270" y="89"/>
                    </a:lnTo>
                    <a:lnTo>
                      <a:pt x="268" y="89"/>
                    </a:lnTo>
                    <a:lnTo>
                      <a:pt x="268" y="90"/>
                    </a:lnTo>
                    <a:lnTo>
                      <a:pt x="270" y="90"/>
                    </a:lnTo>
                    <a:lnTo>
                      <a:pt x="270" y="91"/>
                    </a:lnTo>
                    <a:lnTo>
                      <a:pt x="271" y="92"/>
                    </a:lnTo>
                    <a:lnTo>
                      <a:pt x="271" y="94"/>
                    </a:lnTo>
                    <a:lnTo>
                      <a:pt x="272" y="94"/>
                    </a:lnTo>
                    <a:lnTo>
                      <a:pt x="273" y="94"/>
                    </a:lnTo>
                    <a:lnTo>
                      <a:pt x="273" y="95"/>
                    </a:lnTo>
                    <a:lnTo>
                      <a:pt x="273" y="96"/>
                    </a:lnTo>
                    <a:lnTo>
                      <a:pt x="273" y="97"/>
                    </a:lnTo>
                    <a:lnTo>
                      <a:pt x="274" y="98"/>
                    </a:lnTo>
                    <a:lnTo>
                      <a:pt x="274" y="99"/>
                    </a:lnTo>
                    <a:lnTo>
                      <a:pt x="274" y="100"/>
                    </a:lnTo>
                    <a:lnTo>
                      <a:pt x="274" y="101"/>
                    </a:lnTo>
                    <a:lnTo>
                      <a:pt x="274" y="102"/>
                    </a:lnTo>
                    <a:lnTo>
                      <a:pt x="274" y="103"/>
                    </a:lnTo>
                    <a:lnTo>
                      <a:pt x="275" y="103"/>
                    </a:lnTo>
                    <a:lnTo>
                      <a:pt x="275" y="102"/>
                    </a:lnTo>
                    <a:lnTo>
                      <a:pt x="276" y="102"/>
                    </a:lnTo>
                    <a:lnTo>
                      <a:pt x="278" y="101"/>
                    </a:lnTo>
                    <a:lnTo>
                      <a:pt x="279" y="101"/>
                    </a:lnTo>
                    <a:lnTo>
                      <a:pt x="280" y="101"/>
                    </a:lnTo>
                    <a:lnTo>
                      <a:pt x="281" y="101"/>
                    </a:lnTo>
                    <a:lnTo>
                      <a:pt x="283" y="101"/>
                    </a:lnTo>
                    <a:lnTo>
                      <a:pt x="283" y="102"/>
                    </a:lnTo>
                    <a:lnTo>
                      <a:pt x="283" y="103"/>
                    </a:lnTo>
                    <a:lnTo>
                      <a:pt x="281" y="103"/>
                    </a:lnTo>
                    <a:lnTo>
                      <a:pt x="281" y="104"/>
                    </a:lnTo>
                    <a:lnTo>
                      <a:pt x="283" y="105"/>
                    </a:lnTo>
                    <a:lnTo>
                      <a:pt x="284" y="104"/>
                    </a:lnTo>
                    <a:lnTo>
                      <a:pt x="284" y="103"/>
                    </a:lnTo>
                    <a:lnTo>
                      <a:pt x="284" y="102"/>
                    </a:lnTo>
                    <a:lnTo>
                      <a:pt x="284" y="101"/>
                    </a:lnTo>
                    <a:lnTo>
                      <a:pt x="285" y="101"/>
                    </a:lnTo>
                    <a:lnTo>
                      <a:pt x="286" y="101"/>
                    </a:lnTo>
                    <a:lnTo>
                      <a:pt x="287" y="101"/>
                    </a:lnTo>
                    <a:lnTo>
                      <a:pt x="287" y="102"/>
                    </a:lnTo>
                    <a:lnTo>
                      <a:pt x="287" y="103"/>
                    </a:lnTo>
                    <a:lnTo>
                      <a:pt x="286" y="103"/>
                    </a:lnTo>
                    <a:lnTo>
                      <a:pt x="286" y="104"/>
                    </a:lnTo>
                    <a:lnTo>
                      <a:pt x="285" y="104"/>
                    </a:lnTo>
                    <a:lnTo>
                      <a:pt x="285" y="105"/>
                    </a:lnTo>
                    <a:lnTo>
                      <a:pt x="284" y="107"/>
                    </a:lnTo>
                    <a:lnTo>
                      <a:pt x="283" y="107"/>
                    </a:lnTo>
                    <a:lnTo>
                      <a:pt x="281" y="107"/>
                    </a:lnTo>
                    <a:lnTo>
                      <a:pt x="280" y="107"/>
                    </a:lnTo>
                    <a:lnTo>
                      <a:pt x="279" y="107"/>
                    </a:lnTo>
                    <a:lnTo>
                      <a:pt x="278" y="105"/>
                    </a:lnTo>
                    <a:lnTo>
                      <a:pt x="277" y="105"/>
                    </a:lnTo>
                    <a:lnTo>
                      <a:pt x="276" y="107"/>
                    </a:lnTo>
                    <a:lnTo>
                      <a:pt x="276" y="108"/>
                    </a:lnTo>
                    <a:lnTo>
                      <a:pt x="276" y="109"/>
                    </a:lnTo>
                    <a:lnTo>
                      <a:pt x="276" y="110"/>
                    </a:lnTo>
                    <a:lnTo>
                      <a:pt x="277" y="110"/>
                    </a:lnTo>
                    <a:lnTo>
                      <a:pt x="278" y="110"/>
                    </a:lnTo>
                    <a:lnTo>
                      <a:pt x="279" y="110"/>
                    </a:lnTo>
                    <a:lnTo>
                      <a:pt x="280" y="110"/>
                    </a:lnTo>
                    <a:lnTo>
                      <a:pt x="281" y="110"/>
                    </a:lnTo>
                    <a:lnTo>
                      <a:pt x="281" y="111"/>
                    </a:lnTo>
                    <a:lnTo>
                      <a:pt x="283" y="112"/>
                    </a:lnTo>
                    <a:lnTo>
                      <a:pt x="284" y="113"/>
                    </a:lnTo>
                    <a:lnTo>
                      <a:pt x="284" y="114"/>
                    </a:lnTo>
                    <a:lnTo>
                      <a:pt x="284" y="115"/>
                    </a:lnTo>
                    <a:lnTo>
                      <a:pt x="284" y="116"/>
                    </a:lnTo>
                    <a:lnTo>
                      <a:pt x="283" y="116"/>
                    </a:lnTo>
                    <a:lnTo>
                      <a:pt x="281" y="116"/>
                    </a:lnTo>
                    <a:lnTo>
                      <a:pt x="280" y="115"/>
                    </a:lnTo>
                    <a:lnTo>
                      <a:pt x="279" y="116"/>
                    </a:lnTo>
                    <a:lnTo>
                      <a:pt x="278" y="116"/>
                    </a:lnTo>
                    <a:lnTo>
                      <a:pt x="278" y="115"/>
                    </a:lnTo>
                    <a:lnTo>
                      <a:pt x="277" y="114"/>
                    </a:lnTo>
                    <a:lnTo>
                      <a:pt x="276" y="114"/>
                    </a:lnTo>
                    <a:lnTo>
                      <a:pt x="276" y="115"/>
                    </a:lnTo>
                    <a:lnTo>
                      <a:pt x="277" y="116"/>
                    </a:lnTo>
                    <a:lnTo>
                      <a:pt x="278" y="116"/>
                    </a:lnTo>
                    <a:lnTo>
                      <a:pt x="278" y="117"/>
                    </a:lnTo>
                    <a:lnTo>
                      <a:pt x="279" y="117"/>
                    </a:lnTo>
                    <a:lnTo>
                      <a:pt x="280" y="117"/>
                    </a:lnTo>
                    <a:lnTo>
                      <a:pt x="283" y="118"/>
                    </a:lnTo>
                    <a:lnTo>
                      <a:pt x="284" y="118"/>
                    </a:lnTo>
                    <a:lnTo>
                      <a:pt x="285" y="118"/>
                    </a:lnTo>
                    <a:lnTo>
                      <a:pt x="286" y="120"/>
                    </a:lnTo>
                    <a:lnTo>
                      <a:pt x="287" y="120"/>
                    </a:lnTo>
                    <a:lnTo>
                      <a:pt x="288" y="120"/>
                    </a:lnTo>
                    <a:lnTo>
                      <a:pt x="289" y="120"/>
                    </a:lnTo>
                    <a:lnTo>
                      <a:pt x="290" y="118"/>
                    </a:lnTo>
                    <a:lnTo>
                      <a:pt x="291" y="120"/>
                    </a:lnTo>
                    <a:lnTo>
                      <a:pt x="291" y="121"/>
                    </a:lnTo>
                    <a:lnTo>
                      <a:pt x="292" y="121"/>
                    </a:lnTo>
                    <a:lnTo>
                      <a:pt x="292" y="122"/>
                    </a:lnTo>
                    <a:lnTo>
                      <a:pt x="292" y="123"/>
                    </a:lnTo>
                    <a:lnTo>
                      <a:pt x="293" y="123"/>
                    </a:lnTo>
                    <a:lnTo>
                      <a:pt x="294" y="123"/>
                    </a:lnTo>
                    <a:lnTo>
                      <a:pt x="294" y="124"/>
                    </a:lnTo>
                    <a:lnTo>
                      <a:pt x="294" y="125"/>
                    </a:lnTo>
                    <a:lnTo>
                      <a:pt x="293" y="125"/>
                    </a:lnTo>
                    <a:lnTo>
                      <a:pt x="292" y="126"/>
                    </a:lnTo>
                    <a:lnTo>
                      <a:pt x="292" y="127"/>
                    </a:lnTo>
                    <a:lnTo>
                      <a:pt x="293" y="127"/>
                    </a:lnTo>
                    <a:lnTo>
                      <a:pt x="294" y="127"/>
                    </a:lnTo>
                    <a:lnTo>
                      <a:pt x="294" y="128"/>
                    </a:lnTo>
                    <a:lnTo>
                      <a:pt x="294" y="129"/>
                    </a:lnTo>
                    <a:lnTo>
                      <a:pt x="296" y="129"/>
                    </a:lnTo>
                    <a:lnTo>
                      <a:pt x="297" y="129"/>
                    </a:lnTo>
                    <a:lnTo>
                      <a:pt x="298" y="129"/>
                    </a:lnTo>
                    <a:lnTo>
                      <a:pt x="298" y="130"/>
                    </a:lnTo>
                    <a:lnTo>
                      <a:pt x="297" y="130"/>
                    </a:lnTo>
                    <a:lnTo>
                      <a:pt x="297" y="131"/>
                    </a:lnTo>
                    <a:lnTo>
                      <a:pt x="296" y="131"/>
                    </a:lnTo>
                    <a:lnTo>
                      <a:pt x="296" y="133"/>
                    </a:lnTo>
                    <a:lnTo>
                      <a:pt x="297" y="133"/>
                    </a:lnTo>
                    <a:lnTo>
                      <a:pt x="297" y="134"/>
                    </a:lnTo>
                    <a:lnTo>
                      <a:pt x="297" y="135"/>
                    </a:lnTo>
                    <a:lnTo>
                      <a:pt x="297" y="136"/>
                    </a:lnTo>
                    <a:lnTo>
                      <a:pt x="296" y="136"/>
                    </a:lnTo>
                    <a:lnTo>
                      <a:pt x="294" y="136"/>
                    </a:lnTo>
                    <a:lnTo>
                      <a:pt x="296" y="136"/>
                    </a:lnTo>
                    <a:lnTo>
                      <a:pt x="296" y="137"/>
                    </a:lnTo>
                    <a:lnTo>
                      <a:pt x="297" y="137"/>
                    </a:lnTo>
                    <a:lnTo>
                      <a:pt x="298" y="137"/>
                    </a:lnTo>
                    <a:lnTo>
                      <a:pt x="298" y="138"/>
                    </a:lnTo>
                    <a:lnTo>
                      <a:pt x="298" y="139"/>
                    </a:lnTo>
                    <a:lnTo>
                      <a:pt x="298" y="140"/>
                    </a:lnTo>
                    <a:lnTo>
                      <a:pt x="298" y="141"/>
                    </a:lnTo>
                    <a:lnTo>
                      <a:pt x="299" y="141"/>
                    </a:lnTo>
                    <a:lnTo>
                      <a:pt x="300" y="140"/>
                    </a:lnTo>
                    <a:lnTo>
                      <a:pt x="301" y="139"/>
                    </a:lnTo>
                    <a:lnTo>
                      <a:pt x="302" y="139"/>
                    </a:lnTo>
                    <a:lnTo>
                      <a:pt x="302" y="140"/>
                    </a:lnTo>
                    <a:lnTo>
                      <a:pt x="303" y="140"/>
                    </a:lnTo>
                    <a:lnTo>
                      <a:pt x="303" y="139"/>
                    </a:lnTo>
                    <a:lnTo>
                      <a:pt x="303" y="138"/>
                    </a:lnTo>
                    <a:lnTo>
                      <a:pt x="304" y="137"/>
                    </a:lnTo>
                    <a:lnTo>
                      <a:pt x="304" y="138"/>
                    </a:lnTo>
                    <a:lnTo>
                      <a:pt x="304" y="139"/>
                    </a:lnTo>
                    <a:lnTo>
                      <a:pt x="303" y="140"/>
                    </a:lnTo>
                    <a:lnTo>
                      <a:pt x="304" y="140"/>
                    </a:lnTo>
                    <a:lnTo>
                      <a:pt x="304" y="141"/>
                    </a:lnTo>
                    <a:lnTo>
                      <a:pt x="303" y="141"/>
                    </a:lnTo>
                    <a:lnTo>
                      <a:pt x="303" y="142"/>
                    </a:lnTo>
                    <a:lnTo>
                      <a:pt x="302" y="142"/>
                    </a:lnTo>
                    <a:lnTo>
                      <a:pt x="303" y="142"/>
                    </a:lnTo>
                    <a:lnTo>
                      <a:pt x="303" y="143"/>
                    </a:lnTo>
                    <a:lnTo>
                      <a:pt x="304" y="143"/>
                    </a:lnTo>
                    <a:lnTo>
                      <a:pt x="304" y="145"/>
                    </a:lnTo>
                    <a:lnTo>
                      <a:pt x="305" y="145"/>
                    </a:lnTo>
                    <a:lnTo>
                      <a:pt x="305" y="143"/>
                    </a:lnTo>
                    <a:lnTo>
                      <a:pt x="306" y="143"/>
                    </a:lnTo>
                    <a:lnTo>
                      <a:pt x="306" y="145"/>
                    </a:lnTo>
                    <a:lnTo>
                      <a:pt x="305" y="146"/>
                    </a:lnTo>
                    <a:lnTo>
                      <a:pt x="304" y="146"/>
                    </a:lnTo>
                    <a:lnTo>
                      <a:pt x="304" y="147"/>
                    </a:lnTo>
                    <a:lnTo>
                      <a:pt x="305" y="147"/>
                    </a:lnTo>
                    <a:lnTo>
                      <a:pt x="306" y="147"/>
                    </a:lnTo>
                    <a:lnTo>
                      <a:pt x="306" y="146"/>
                    </a:lnTo>
                    <a:lnTo>
                      <a:pt x="307" y="146"/>
                    </a:lnTo>
                    <a:lnTo>
                      <a:pt x="307" y="147"/>
                    </a:lnTo>
                    <a:lnTo>
                      <a:pt x="306" y="148"/>
                    </a:lnTo>
                    <a:lnTo>
                      <a:pt x="307" y="149"/>
                    </a:lnTo>
                    <a:lnTo>
                      <a:pt x="307" y="150"/>
                    </a:lnTo>
                    <a:lnTo>
                      <a:pt x="306" y="150"/>
                    </a:lnTo>
                    <a:lnTo>
                      <a:pt x="305" y="149"/>
                    </a:lnTo>
                    <a:lnTo>
                      <a:pt x="304" y="150"/>
                    </a:lnTo>
                    <a:lnTo>
                      <a:pt x="304" y="151"/>
                    </a:lnTo>
                    <a:lnTo>
                      <a:pt x="305" y="151"/>
                    </a:lnTo>
                    <a:lnTo>
                      <a:pt x="306" y="151"/>
                    </a:lnTo>
                    <a:lnTo>
                      <a:pt x="307" y="151"/>
                    </a:lnTo>
                    <a:lnTo>
                      <a:pt x="307" y="150"/>
                    </a:lnTo>
                    <a:lnTo>
                      <a:pt x="309" y="150"/>
                    </a:lnTo>
                    <a:lnTo>
                      <a:pt x="309" y="149"/>
                    </a:lnTo>
                    <a:lnTo>
                      <a:pt x="310" y="149"/>
                    </a:lnTo>
                    <a:lnTo>
                      <a:pt x="310" y="150"/>
                    </a:lnTo>
                    <a:lnTo>
                      <a:pt x="311" y="150"/>
                    </a:lnTo>
                    <a:lnTo>
                      <a:pt x="311" y="149"/>
                    </a:lnTo>
                    <a:lnTo>
                      <a:pt x="312" y="149"/>
                    </a:lnTo>
                    <a:lnTo>
                      <a:pt x="311" y="150"/>
                    </a:lnTo>
                    <a:lnTo>
                      <a:pt x="311" y="151"/>
                    </a:lnTo>
                    <a:lnTo>
                      <a:pt x="312" y="151"/>
                    </a:lnTo>
                    <a:lnTo>
                      <a:pt x="312" y="152"/>
                    </a:lnTo>
                    <a:lnTo>
                      <a:pt x="313" y="152"/>
                    </a:lnTo>
                    <a:lnTo>
                      <a:pt x="313" y="151"/>
                    </a:lnTo>
                    <a:lnTo>
                      <a:pt x="314" y="152"/>
                    </a:lnTo>
                    <a:lnTo>
                      <a:pt x="313" y="152"/>
                    </a:lnTo>
                    <a:lnTo>
                      <a:pt x="314" y="152"/>
                    </a:lnTo>
                    <a:lnTo>
                      <a:pt x="314" y="153"/>
                    </a:lnTo>
                    <a:lnTo>
                      <a:pt x="313" y="153"/>
                    </a:lnTo>
                    <a:lnTo>
                      <a:pt x="314" y="153"/>
                    </a:lnTo>
                    <a:lnTo>
                      <a:pt x="314" y="154"/>
                    </a:lnTo>
                    <a:lnTo>
                      <a:pt x="313" y="154"/>
                    </a:lnTo>
                    <a:lnTo>
                      <a:pt x="312" y="154"/>
                    </a:lnTo>
                    <a:lnTo>
                      <a:pt x="311" y="154"/>
                    </a:lnTo>
                    <a:lnTo>
                      <a:pt x="311" y="155"/>
                    </a:lnTo>
                    <a:lnTo>
                      <a:pt x="312" y="156"/>
                    </a:lnTo>
                    <a:lnTo>
                      <a:pt x="313" y="156"/>
                    </a:lnTo>
                    <a:lnTo>
                      <a:pt x="313" y="155"/>
                    </a:lnTo>
                    <a:lnTo>
                      <a:pt x="314" y="155"/>
                    </a:lnTo>
                    <a:lnTo>
                      <a:pt x="314" y="154"/>
                    </a:lnTo>
                    <a:lnTo>
                      <a:pt x="315" y="154"/>
                    </a:lnTo>
                    <a:lnTo>
                      <a:pt x="316" y="153"/>
                    </a:lnTo>
                    <a:lnTo>
                      <a:pt x="316" y="154"/>
                    </a:lnTo>
                    <a:lnTo>
                      <a:pt x="316" y="153"/>
                    </a:lnTo>
                    <a:lnTo>
                      <a:pt x="316" y="154"/>
                    </a:lnTo>
                    <a:lnTo>
                      <a:pt x="317" y="154"/>
                    </a:lnTo>
                    <a:lnTo>
                      <a:pt x="318" y="154"/>
                    </a:lnTo>
                    <a:lnTo>
                      <a:pt x="319" y="154"/>
                    </a:lnTo>
                    <a:lnTo>
                      <a:pt x="319" y="153"/>
                    </a:lnTo>
                    <a:lnTo>
                      <a:pt x="319" y="154"/>
                    </a:lnTo>
                    <a:lnTo>
                      <a:pt x="319" y="155"/>
                    </a:lnTo>
                    <a:lnTo>
                      <a:pt x="319" y="156"/>
                    </a:lnTo>
                    <a:lnTo>
                      <a:pt x="319" y="155"/>
                    </a:lnTo>
                    <a:lnTo>
                      <a:pt x="320" y="156"/>
                    </a:lnTo>
                    <a:lnTo>
                      <a:pt x="322" y="156"/>
                    </a:lnTo>
                    <a:lnTo>
                      <a:pt x="322" y="158"/>
                    </a:lnTo>
                    <a:lnTo>
                      <a:pt x="323" y="158"/>
                    </a:lnTo>
                    <a:lnTo>
                      <a:pt x="323" y="156"/>
                    </a:lnTo>
                    <a:lnTo>
                      <a:pt x="324" y="156"/>
                    </a:lnTo>
                    <a:lnTo>
                      <a:pt x="324" y="155"/>
                    </a:lnTo>
                    <a:lnTo>
                      <a:pt x="325" y="156"/>
                    </a:lnTo>
                    <a:lnTo>
                      <a:pt x="325" y="158"/>
                    </a:lnTo>
                    <a:lnTo>
                      <a:pt x="326" y="158"/>
                    </a:lnTo>
                    <a:lnTo>
                      <a:pt x="326" y="159"/>
                    </a:lnTo>
                    <a:lnTo>
                      <a:pt x="327" y="159"/>
                    </a:lnTo>
                    <a:lnTo>
                      <a:pt x="327" y="160"/>
                    </a:lnTo>
                    <a:lnTo>
                      <a:pt x="326" y="162"/>
                    </a:lnTo>
                    <a:lnTo>
                      <a:pt x="325" y="163"/>
                    </a:lnTo>
                    <a:lnTo>
                      <a:pt x="326" y="164"/>
                    </a:lnTo>
                    <a:lnTo>
                      <a:pt x="327" y="163"/>
                    </a:lnTo>
                    <a:lnTo>
                      <a:pt x="328" y="163"/>
                    </a:lnTo>
                    <a:lnTo>
                      <a:pt x="328" y="164"/>
                    </a:lnTo>
                    <a:lnTo>
                      <a:pt x="329" y="164"/>
                    </a:lnTo>
                    <a:lnTo>
                      <a:pt x="329" y="165"/>
                    </a:lnTo>
                    <a:lnTo>
                      <a:pt x="330" y="166"/>
                    </a:lnTo>
                    <a:lnTo>
                      <a:pt x="331" y="166"/>
                    </a:lnTo>
                    <a:lnTo>
                      <a:pt x="332" y="166"/>
                    </a:lnTo>
                    <a:lnTo>
                      <a:pt x="333" y="166"/>
                    </a:lnTo>
                    <a:lnTo>
                      <a:pt x="333" y="167"/>
                    </a:lnTo>
                    <a:lnTo>
                      <a:pt x="335" y="167"/>
                    </a:lnTo>
                    <a:lnTo>
                      <a:pt x="335" y="168"/>
                    </a:lnTo>
                    <a:lnTo>
                      <a:pt x="335" y="169"/>
                    </a:lnTo>
                    <a:lnTo>
                      <a:pt x="335" y="171"/>
                    </a:lnTo>
                    <a:lnTo>
                      <a:pt x="336" y="169"/>
                    </a:lnTo>
                    <a:lnTo>
                      <a:pt x="336" y="171"/>
                    </a:lnTo>
                    <a:lnTo>
                      <a:pt x="337" y="171"/>
                    </a:lnTo>
                    <a:lnTo>
                      <a:pt x="337" y="172"/>
                    </a:lnTo>
                    <a:lnTo>
                      <a:pt x="337" y="174"/>
                    </a:lnTo>
                    <a:lnTo>
                      <a:pt x="337" y="175"/>
                    </a:lnTo>
                    <a:lnTo>
                      <a:pt x="336" y="175"/>
                    </a:lnTo>
                    <a:lnTo>
                      <a:pt x="336" y="176"/>
                    </a:lnTo>
                    <a:lnTo>
                      <a:pt x="337" y="176"/>
                    </a:lnTo>
                    <a:lnTo>
                      <a:pt x="338" y="176"/>
                    </a:lnTo>
                    <a:lnTo>
                      <a:pt x="339" y="176"/>
                    </a:lnTo>
                    <a:lnTo>
                      <a:pt x="339" y="175"/>
                    </a:lnTo>
                    <a:lnTo>
                      <a:pt x="340" y="176"/>
                    </a:lnTo>
                    <a:lnTo>
                      <a:pt x="341" y="177"/>
                    </a:lnTo>
                    <a:lnTo>
                      <a:pt x="342" y="177"/>
                    </a:lnTo>
                    <a:lnTo>
                      <a:pt x="343" y="177"/>
                    </a:lnTo>
                    <a:lnTo>
                      <a:pt x="343" y="178"/>
                    </a:lnTo>
                    <a:lnTo>
                      <a:pt x="344" y="179"/>
                    </a:lnTo>
                    <a:lnTo>
                      <a:pt x="345" y="179"/>
                    </a:lnTo>
                    <a:lnTo>
                      <a:pt x="345" y="180"/>
                    </a:lnTo>
                    <a:lnTo>
                      <a:pt x="345" y="181"/>
                    </a:lnTo>
                    <a:lnTo>
                      <a:pt x="346" y="181"/>
                    </a:lnTo>
                    <a:lnTo>
                      <a:pt x="346" y="182"/>
                    </a:lnTo>
                    <a:lnTo>
                      <a:pt x="345" y="184"/>
                    </a:lnTo>
                    <a:lnTo>
                      <a:pt x="346" y="185"/>
                    </a:lnTo>
                    <a:lnTo>
                      <a:pt x="346" y="184"/>
                    </a:lnTo>
                    <a:lnTo>
                      <a:pt x="348" y="184"/>
                    </a:lnTo>
                    <a:lnTo>
                      <a:pt x="348" y="182"/>
                    </a:lnTo>
                    <a:lnTo>
                      <a:pt x="349" y="182"/>
                    </a:lnTo>
                    <a:lnTo>
                      <a:pt x="349" y="184"/>
                    </a:lnTo>
                    <a:lnTo>
                      <a:pt x="349" y="185"/>
                    </a:lnTo>
                    <a:lnTo>
                      <a:pt x="350" y="185"/>
                    </a:lnTo>
                    <a:lnTo>
                      <a:pt x="350" y="186"/>
                    </a:lnTo>
                    <a:lnTo>
                      <a:pt x="350" y="187"/>
                    </a:lnTo>
                    <a:lnTo>
                      <a:pt x="350" y="188"/>
                    </a:lnTo>
                    <a:lnTo>
                      <a:pt x="349" y="189"/>
                    </a:lnTo>
                    <a:lnTo>
                      <a:pt x="350" y="189"/>
                    </a:lnTo>
                    <a:lnTo>
                      <a:pt x="351" y="189"/>
                    </a:lnTo>
                    <a:lnTo>
                      <a:pt x="351" y="190"/>
                    </a:lnTo>
                    <a:lnTo>
                      <a:pt x="350" y="190"/>
                    </a:lnTo>
                    <a:lnTo>
                      <a:pt x="351" y="191"/>
                    </a:lnTo>
                    <a:lnTo>
                      <a:pt x="350" y="192"/>
                    </a:lnTo>
                    <a:lnTo>
                      <a:pt x="349" y="192"/>
                    </a:lnTo>
                    <a:lnTo>
                      <a:pt x="349" y="193"/>
                    </a:lnTo>
                    <a:lnTo>
                      <a:pt x="349" y="194"/>
                    </a:lnTo>
                    <a:lnTo>
                      <a:pt x="350" y="195"/>
                    </a:lnTo>
                    <a:lnTo>
                      <a:pt x="350" y="197"/>
                    </a:lnTo>
                    <a:lnTo>
                      <a:pt x="350" y="198"/>
                    </a:lnTo>
                    <a:lnTo>
                      <a:pt x="351" y="198"/>
                    </a:lnTo>
                    <a:lnTo>
                      <a:pt x="352" y="198"/>
                    </a:lnTo>
                    <a:lnTo>
                      <a:pt x="352" y="199"/>
                    </a:lnTo>
                    <a:lnTo>
                      <a:pt x="352" y="200"/>
                    </a:lnTo>
                    <a:lnTo>
                      <a:pt x="352" y="201"/>
                    </a:lnTo>
                    <a:lnTo>
                      <a:pt x="351" y="202"/>
                    </a:lnTo>
                    <a:lnTo>
                      <a:pt x="352" y="202"/>
                    </a:lnTo>
                    <a:lnTo>
                      <a:pt x="352" y="203"/>
                    </a:lnTo>
                    <a:lnTo>
                      <a:pt x="353" y="203"/>
                    </a:lnTo>
                    <a:lnTo>
                      <a:pt x="352" y="204"/>
                    </a:lnTo>
                    <a:lnTo>
                      <a:pt x="351" y="204"/>
                    </a:lnTo>
                    <a:lnTo>
                      <a:pt x="351" y="205"/>
                    </a:lnTo>
                    <a:lnTo>
                      <a:pt x="352" y="205"/>
                    </a:lnTo>
                    <a:lnTo>
                      <a:pt x="352" y="206"/>
                    </a:lnTo>
                    <a:lnTo>
                      <a:pt x="352" y="207"/>
                    </a:lnTo>
                    <a:lnTo>
                      <a:pt x="352" y="208"/>
                    </a:lnTo>
                    <a:lnTo>
                      <a:pt x="353" y="208"/>
                    </a:lnTo>
                    <a:lnTo>
                      <a:pt x="353" y="210"/>
                    </a:lnTo>
                    <a:lnTo>
                      <a:pt x="352" y="210"/>
                    </a:lnTo>
                    <a:lnTo>
                      <a:pt x="352" y="211"/>
                    </a:lnTo>
                    <a:lnTo>
                      <a:pt x="353" y="212"/>
                    </a:lnTo>
                    <a:lnTo>
                      <a:pt x="353" y="213"/>
                    </a:lnTo>
                    <a:lnTo>
                      <a:pt x="352" y="213"/>
                    </a:lnTo>
                    <a:lnTo>
                      <a:pt x="352" y="214"/>
                    </a:lnTo>
                    <a:lnTo>
                      <a:pt x="351" y="214"/>
                    </a:lnTo>
                    <a:lnTo>
                      <a:pt x="351" y="213"/>
                    </a:lnTo>
                    <a:lnTo>
                      <a:pt x="350" y="213"/>
                    </a:lnTo>
                    <a:lnTo>
                      <a:pt x="349" y="213"/>
                    </a:lnTo>
                    <a:lnTo>
                      <a:pt x="350" y="213"/>
                    </a:lnTo>
                    <a:lnTo>
                      <a:pt x="350" y="214"/>
                    </a:lnTo>
                    <a:lnTo>
                      <a:pt x="350" y="215"/>
                    </a:lnTo>
                    <a:lnTo>
                      <a:pt x="350" y="216"/>
                    </a:lnTo>
                    <a:lnTo>
                      <a:pt x="350" y="217"/>
                    </a:lnTo>
                    <a:lnTo>
                      <a:pt x="350" y="218"/>
                    </a:lnTo>
                    <a:lnTo>
                      <a:pt x="351" y="218"/>
                    </a:lnTo>
                    <a:lnTo>
                      <a:pt x="351" y="219"/>
                    </a:lnTo>
                    <a:lnTo>
                      <a:pt x="351" y="220"/>
                    </a:lnTo>
                    <a:lnTo>
                      <a:pt x="352" y="220"/>
                    </a:lnTo>
                    <a:lnTo>
                      <a:pt x="353" y="220"/>
                    </a:lnTo>
                    <a:lnTo>
                      <a:pt x="352" y="221"/>
                    </a:lnTo>
                    <a:lnTo>
                      <a:pt x="353" y="223"/>
                    </a:lnTo>
                    <a:lnTo>
                      <a:pt x="353" y="224"/>
                    </a:lnTo>
                    <a:lnTo>
                      <a:pt x="354" y="224"/>
                    </a:lnTo>
                    <a:lnTo>
                      <a:pt x="353" y="225"/>
                    </a:lnTo>
                    <a:lnTo>
                      <a:pt x="354" y="226"/>
                    </a:lnTo>
                    <a:lnTo>
                      <a:pt x="354" y="227"/>
                    </a:lnTo>
                    <a:lnTo>
                      <a:pt x="355" y="227"/>
                    </a:lnTo>
                    <a:lnTo>
                      <a:pt x="356" y="227"/>
                    </a:lnTo>
                    <a:lnTo>
                      <a:pt x="356" y="228"/>
                    </a:lnTo>
                    <a:lnTo>
                      <a:pt x="356" y="229"/>
                    </a:lnTo>
                    <a:lnTo>
                      <a:pt x="357" y="230"/>
                    </a:lnTo>
                    <a:lnTo>
                      <a:pt x="357" y="231"/>
                    </a:lnTo>
                    <a:lnTo>
                      <a:pt x="357" y="232"/>
                    </a:lnTo>
                    <a:lnTo>
                      <a:pt x="357" y="233"/>
                    </a:lnTo>
                    <a:lnTo>
                      <a:pt x="357" y="235"/>
                    </a:lnTo>
                    <a:lnTo>
                      <a:pt x="358" y="235"/>
                    </a:lnTo>
                    <a:lnTo>
                      <a:pt x="358" y="236"/>
                    </a:lnTo>
                    <a:lnTo>
                      <a:pt x="359" y="236"/>
                    </a:lnTo>
                    <a:lnTo>
                      <a:pt x="362" y="237"/>
                    </a:lnTo>
                    <a:lnTo>
                      <a:pt x="361" y="238"/>
                    </a:lnTo>
                    <a:lnTo>
                      <a:pt x="362" y="238"/>
                    </a:lnTo>
                    <a:lnTo>
                      <a:pt x="362" y="239"/>
                    </a:lnTo>
                    <a:lnTo>
                      <a:pt x="362" y="240"/>
                    </a:lnTo>
                    <a:lnTo>
                      <a:pt x="363" y="240"/>
                    </a:lnTo>
                    <a:lnTo>
                      <a:pt x="364" y="240"/>
                    </a:lnTo>
                    <a:lnTo>
                      <a:pt x="364" y="241"/>
                    </a:lnTo>
                    <a:lnTo>
                      <a:pt x="363" y="241"/>
                    </a:lnTo>
                    <a:lnTo>
                      <a:pt x="363" y="242"/>
                    </a:lnTo>
                    <a:lnTo>
                      <a:pt x="364" y="242"/>
                    </a:lnTo>
                    <a:lnTo>
                      <a:pt x="364" y="243"/>
                    </a:lnTo>
                    <a:lnTo>
                      <a:pt x="365" y="243"/>
                    </a:lnTo>
                    <a:lnTo>
                      <a:pt x="365" y="244"/>
                    </a:lnTo>
                    <a:lnTo>
                      <a:pt x="365" y="245"/>
                    </a:lnTo>
                    <a:lnTo>
                      <a:pt x="364" y="246"/>
                    </a:lnTo>
                    <a:lnTo>
                      <a:pt x="364" y="248"/>
                    </a:lnTo>
                    <a:lnTo>
                      <a:pt x="365" y="248"/>
                    </a:lnTo>
                    <a:lnTo>
                      <a:pt x="365" y="249"/>
                    </a:lnTo>
                    <a:lnTo>
                      <a:pt x="365" y="250"/>
                    </a:lnTo>
                    <a:lnTo>
                      <a:pt x="365" y="251"/>
                    </a:lnTo>
                    <a:lnTo>
                      <a:pt x="366" y="251"/>
                    </a:lnTo>
                    <a:lnTo>
                      <a:pt x="366" y="252"/>
                    </a:lnTo>
                    <a:lnTo>
                      <a:pt x="366" y="253"/>
                    </a:lnTo>
                    <a:lnTo>
                      <a:pt x="367" y="253"/>
                    </a:lnTo>
                    <a:lnTo>
                      <a:pt x="368" y="254"/>
                    </a:lnTo>
                    <a:lnTo>
                      <a:pt x="369" y="254"/>
                    </a:lnTo>
                    <a:lnTo>
                      <a:pt x="368" y="253"/>
                    </a:lnTo>
                    <a:lnTo>
                      <a:pt x="369" y="253"/>
                    </a:lnTo>
                    <a:lnTo>
                      <a:pt x="369" y="254"/>
                    </a:lnTo>
                    <a:lnTo>
                      <a:pt x="370" y="254"/>
                    </a:lnTo>
                    <a:lnTo>
                      <a:pt x="371" y="255"/>
                    </a:lnTo>
                    <a:lnTo>
                      <a:pt x="372" y="255"/>
                    </a:lnTo>
                    <a:lnTo>
                      <a:pt x="372" y="256"/>
                    </a:lnTo>
                    <a:lnTo>
                      <a:pt x="374" y="257"/>
                    </a:lnTo>
                    <a:lnTo>
                      <a:pt x="372" y="257"/>
                    </a:lnTo>
                    <a:lnTo>
                      <a:pt x="372" y="258"/>
                    </a:lnTo>
                    <a:lnTo>
                      <a:pt x="374" y="258"/>
                    </a:lnTo>
                    <a:lnTo>
                      <a:pt x="375" y="258"/>
                    </a:lnTo>
                    <a:lnTo>
                      <a:pt x="376" y="258"/>
                    </a:lnTo>
                    <a:lnTo>
                      <a:pt x="375" y="259"/>
                    </a:lnTo>
                    <a:lnTo>
                      <a:pt x="376" y="259"/>
                    </a:lnTo>
                    <a:lnTo>
                      <a:pt x="376" y="261"/>
                    </a:lnTo>
                    <a:lnTo>
                      <a:pt x="377" y="259"/>
                    </a:lnTo>
                    <a:lnTo>
                      <a:pt x="378" y="259"/>
                    </a:lnTo>
                    <a:lnTo>
                      <a:pt x="379" y="259"/>
                    </a:lnTo>
                    <a:lnTo>
                      <a:pt x="379" y="261"/>
                    </a:lnTo>
                    <a:lnTo>
                      <a:pt x="379" y="262"/>
                    </a:lnTo>
                    <a:lnTo>
                      <a:pt x="380" y="263"/>
                    </a:lnTo>
                    <a:lnTo>
                      <a:pt x="380" y="264"/>
                    </a:lnTo>
                    <a:lnTo>
                      <a:pt x="381" y="265"/>
                    </a:lnTo>
                    <a:lnTo>
                      <a:pt x="382" y="265"/>
                    </a:lnTo>
                    <a:lnTo>
                      <a:pt x="382" y="266"/>
                    </a:lnTo>
                    <a:lnTo>
                      <a:pt x="382" y="267"/>
                    </a:lnTo>
                    <a:lnTo>
                      <a:pt x="382" y="268"/>
                    </a:lnTo>
                    <a:lnTo>
                      <a:pt x="382" y="269"/>
                    </a:lnTo>
                    <a:lnTo>
                      <a:pt x="382" y="270"/>
                    </a:lnTo>
                    <a:lnTo>
                      <a:pt x="381" y="271"/>
                    </a:lnTo>
                    <a:lnTo>
                      <a:pt x="381" y="272"/>
                    </a:lnTo>
                    <a:lnTo>
                      <a:pt x="381" y="274"/>
                    </a:lnTo>
                    <a:lnTo>
                      <a:pt x="382" y="274"/>
                    </a:lnTo>
                    <a:lnTo>
                      <a:pt x="383" y="274"/>
                    </a:lnTo>
                    <a:lnTo>
                      <a:pt x="383" y="275"/>
                    </a:lnTo>
                    <a:lnTo>
                      <a:pt x="382" y="275"/>
                    </a:lnTo>
                    <a:lnTo>
                      <a:pt x="382" y="276"/>
                    </a:lnTo>
                    <a:lnTo>
                      <a:pt x="382" y="277"/>
                    </a:lnTo>
                    <a:lnTo>
                      <a:pt x="382" y="278"/>
                    </a:lnTo>
                    <a:lnTo>
                      <a:pt x="381" y="277"/>
                    </a:lnTo>
                    <a:lnTo>
                      <a:pt x="380" y="277"/>
                    </a:lnTo>
                    <a:lnTo>
                      <a:pt x="380" y="278"/>
                    </a:lnTo>
                    <a:lnTo>
                      <a:pt x="381" y="278"/>
                    </a:lnTo>
                    <a:lnTo>
                      <a:pt x="381" y="279"/>
                    </a:lnTo>
                    <a:lnTo>
                      <a:pt x="382" y="279"/>
                    </a:lnTo>
                    <a:lnTo>
                      <a:pt x="382" y="280"/>
                    </a:lnTo>
                    <a:lnTo>
                      <a:pt x="383" y="280"/>
                    </a:lnTo>
                    <a:lnTo>
                      <a:pt x="384" y="282"/>
                    </a:lnTo>
                    <a:lnTo>
                      <a:pt x="384" y="283"/>
                    </a:lnTo>
                    <a:lnTo>
                      <a:pt x="383" y="283"/>
                    </a:lnTo>
                    <a:lnTo>
                      <a:pt x="383" y="284"/>
                    </a:lnTo>
                    <a:lnTo>
                      <a:pt x="382" y="285"/>
                    </a:lnTo>
                    <a:lnTo>
                      <a:pt x="381" y="287"/>
                    </a:lnTo>
                    <a:lnTo>
                      <a:pt x="380" y="285"/>
                    </a:lnTo>
                    <a:lnTo>
                      <a:pt x="380" y="287"/>
                    </a:lnTo>
                    <a:lnTo>
                      <a:pt x="377" y="288"/>
                    </a:lnTo>
                    <a:lnTo>
                      <a:pt x="376" y="288"/>
                    </a:lnTo>
                    <a:lnTo>
                      <a:pt x="376" y="289"/>
                    </a:lnTo>
                    <a:lnTo>
                      <a:pt x="376" y="290"/>
                    </a:lnTo>
                    <a:lnTo>
                      <a:pt x="376" y="291"/>
                    </a:lnTo>
                    <a:lnTo>
                      <a:pt x="376" y="292"/>
                    </a:lnTo>
                    <a:lnTo>
                      <a:pt x="376" y="293"/>
                    </a:lnTo>
                    <a:lnTo>
                      <a:pt x="376" y="294"/>
                    </a:lnTo>
                    <a:lnTo>
                      <a:pt x="376" y="296"/>
                    </a:lnTo>
                    <a:lnTo>
                      <a:pt x="375" y="297"/>
                    </a:lnTo>
                    <a:lnTo>
                      <a:pt x="374" y="298"/>
                    </a:lnTo>
                    <a:lnTo>
                      <a:pt x="372" y="298"/>
                    </a:lnTo>
                    <a:lnTo>
                      <a:pt x="371" y="298"/>
                    </a:lnTo>
                    <a:lnTo>
                      <a:pt x="371" y="300"/>
                    </a:lnTo>
                    <a:lnTo>
                      <a:pt x="372" y="301"/>
                    </a:lnTo>
                    <a:lnTo>
                      <a:pt x="375" y="302"/>
                    </a:lnTo>
                    <a:lnTo>
                      <a:pt x="377" y="301"/>
                    </a:lnTo>
                    <a:lnTo>
                      <a:pt x="378" y="302"/>
                    </a:lnTo>
                    <a:lnTo>
                      <a:pt x="378" y="303"/>
                    </a:lnTo>
                    <a:lnTo>
                      <a:pt x="380" y="305"/>
                    </a:lnTo>
                    <a:lnTo>
                      <a:pt x="381" y="306"/>
                    </a:lnTo>
                    <a:lnTo>
                      <a:pt x="382" y="307"/>
                    </a:lnTo>
                    <a:lnTo>
                      <a:pt x="382" y="309"/>
                    </a:lnTo>
                    <a:lnTo>
                      <a:pt x="381" y="312"/>
                    </a:lnTo>
                    <a:lnTo>
                      <a:pt x="381" y="313"/>
                    </a:lnTo>
                    <a:lnTo>
                      <a:pt x="381" y="315"/>
                    </a:lnTo>
                    <a:lnTo>
                      <a:pt x="382" y="316"/>
                    </a:lnTo>
                    <a:lnTo>
                      <a:pt x="386" y="317"/>
                    </a:lnTo>
                    <a:lnTo>
                      <a:pt x="386" y="318"/>
                    </a:lnTo>
                    <a:lnTo>
                      <a:pt x="386" y="319"/>
                    </a:lnTo>
                    <a:lnTo>
                      <a:pt x="384" y="319"/>
                    </a:lnTo>
                    <a:lnTo>
                      <a:pt x="383" y="319"/>
                    </a:lnTo>
                    <a:lnTo>
                      <a:pt x="382" y="319"/>
                    </a:lnTo>
                    <a:lnTo>
                      <a:pt x="382" y="320"/>
                    </a:lnTo>
                    <a:lnTo>
                      <a:pt x="381" y="321"/>
                    </a:lnTo>
                    <a:lnTo>
                      <a:pt x="381" y="322"/>
                    </a:lnTo>
                    <a:lnTo>
                      <a:pt x="381" y="323"/>
                    </a:lnTo>
                    <a:lnTo>
                      <a:pt x="382" y="325"/>
                    </a:lnTo>
                    <a:lnTo>
                      <a:pt x="383" y="326"/>
                    </a:lnTo>
                    <a:lnTo>
                      <a:pt x="384" y="327"/>
                    </a:lnTo>
                    <a:lnTo>
                      <a:pt x="387" y="328"/>
                    </a:lnTo>
                    <a:lnTo>
                      <a:pt x="387" y="329"/>
                    </a:lnTo>
                    <a:lnTo>
                      <a:pt x="388" y="329"/>
                    </a:lnTo>
                    <a:lnTo>
                      <a:pt x="390" y="329"/>
                    </a:lnTo>
                    <a:lnTo>
                      <a:pt x="391" y="330"/>
                    </a:lnTo>
                    <a:lnTo>
                      <a:pt x="392" y="330"/>
                    </a:lnTo>
                    <a:lnTo>
                      <a:pt x="392" y="332"/>
                    </a:lnTo>
                    <a:lnTo>
                      <a:pt x="392" y="333"/>
                    </a:lnTo>
                    <a:lnTo>
                      <a:pt x="392" y="334"/>
                    </a:lnTo>
                    <a:lnTo>
                      <a:pt x="392" y="336"/>
                    </a:lnTo>
                    <a:lnTo>
                      <a:pt x="391" y="339"/>
                    </a:lnTo>
                    <a:lnTo>
                      <a:pt x="391" y="342"/>
                    </a:lnTo>
                    <a:lnTo>
                      <a:pt x="391" y="344"/>
                    </a:lnTo>
                    <a:lnTo>
                      <a:pt x="391" y="345"/>
                    </a:lnTo>
                    <a:lnTo>
                      <a:pt x="391" y="347"/>
                    </a:lnTo>
                    <a:lnTo>
                      <a:pt x="392" y="348"/>
                    </a:lnTo>
                    <a:lnTo>
                      <a:pt x="393" y="349"/>
                    </a:lnTo>
                    <a:lnTo>
                      <a:pt x="394" y="351"/>
                    </a:lnTo>
                    <a:lnTo>
                      <a:pt x="396" y="352"/>
                    </a:lnTo>
                    <a:lnTo>
                      <a:pt x="397" y="352"/>
                    </a:lnTo>
                    <a:lnTo>
                      <a:pt x="399" y="352"/>
                    </a:lnTo>
                    <a:lnTo>
                      <a:pt x="400" y="352"/>
                    </a:lnTo>
                    <a:lnTo>
                      <a:pt x="401" y="352"/>
                    </a:lnTo>
                    <a:lnTo>
                      <a:pt x="401" y="353"/>
                    </a:lnTo>
                    <a:lnTo>
                      <a:pt x="402" y="353"/>
                    </a:lnTo>
                    <a:lnTo>
                      <a:pt x="403" y="355"/>
                    </a:lnTo>
                    <a:lnTo>
                      <a:pt x="404" y="356"/>
                    </a:lnTo>
                    <a:lnTo>
                      <a:pt x="404" y="357"/>
                    </a:lnTo>
                    <a:lnTo>
                      <a:pt x="405" y="359"/>
                    </a:lnTo>
                    <a:lnTo>
                      <a:pt x="407" y="362"/>
                    </a:lnTo>
                    <a:lnTo>
                      <a:pt x="408" y="364"/>
                    </a:lnTo>
                    <a:lnTo>
                      <a:pt x="408" y="367"/>
                    </a:lnTo>
                    <a:lnTo>
                      <a:pt x="409" y="368"/>
                    </a:lnTo>
                    <a:lnTo>
                      <a:pt x="409" y="369"/>
                    </a:lnTo>
                    <a:lnTo>
                      <a:pt x="410" y="370"/>
                    </a:lnTo>
                    <a:lnTo>
                      <a:pt x="412" y="371"/>
                    </a:lnTo>
                    <a:lnTo>
                      <a:pt x="413" y="373"/>
                    </a:lnTo>
                    <a:lnTo>
                      <a:pt x="414" y="373"/>
                    </a:lnTo>
                    <a:lnTo>
                      <a:pt x="413" y="374"/>
                    </a:lnTo>
                    <a:lnTo>
                      <a:pt x="412" y="374"/>
                    </a:lnTo>
                    <a:lnTo>
                      <a:pt x="410" y="374"/>
                    </a:lnTo>
                    <a:lnTo>
                      <a:pt x="409" y="375"/>
                    </a:lnTo>
                    <a:lnTo>
                      <a:pt x="406" y="377"/>
                    </a:lnTo>
                    <a:lnTo>
                      <a:pt x="405" y="375"/>
                    </a:lnTo>
                    <a:lnTo>
                      <a:pt x="404" y="375"/>
                    </a:lnTo>
                    <a:lnTo>
                      <a:pt x="403" y="375"/>
                    </a:lnTo>
                    <a:lnTo>
                      <a:pt x="403" y="377"/>
                    </a:lnTo>
                    <a:lnTo>
                      <a:pt x="402" y="375"/>
                    </a:lnTo>
                    <a:lnTo>
                      <a:pt x="401" y="375"/>
                    </a:lnTo>
                    <a:lnTo>
                      <a:pt x="400" y="377"/>
                    </a:lnTo>
                    <a:lnTo>
                      <a:pt x="399" y="377"/>
                    </a:lnTo>
                    <a:lnTo>
                      <a:pt x="397" y="377"/>
                    </a:lnTo>
                    <a:lnTo>
                      <a:pt x="394" y="377"/>
                    </a:lnTo>
                    <a:lnTo>
                      <a:pt x="393" y="377"/>
                    </a:lnTo>
                    <a:lnTo>
                      <a:pt x="392" y="378"/>
                    </a:lnTo>
                    <a:lnTo>
                      <a:pt x="391" y="378"/>
                    </a:lnTo>
                    <a:lnTo>
                      <a:pt x="391" y="379"/>
                    </a:lnTo>
                    <a:lnTo>
                      <a:pt x="390" y="380"/>
                    </a:lnTo>
                    <a:lnTo>
                      <a:pt x="389" y="380"/>
                    </a:lnTo>
                    <a:lnTo>
                      <a:pt x="389" y="383"/>
                    </a:lnTo>
                    <a:lnTo>
                      <a:pt x="390" y="382"/>
                    </a:lnTo>
                    <a:lnTo>
                      <a:pt x="391" y="381"/>
                    </a:lnTo>
                    <a:lnTo>
                      <a:pt x="391" y="380"/>
                    </a:lnTo>
                    <a:lnTo>
                      <a:pt x="392" y="380"/>
                    </a:lnTo>
                    <a:lnTo>
                      <a:pt x="393" y="380"/>
                    </a:lnTo>
                    <a:lnTo>
                      <a:pt x="394" y="381"/>
                    </a:lnTo>
                    <a:lnTo>
                      <a:pt x="395" y="381"/>
                    </a:lnTo>
                    <a:lnTo>
                      <a:pt x="395" y="382"/>
                    </a:lnTo>
                    <a:lnTo>
                      <a:pt x="394" y="382"/>
                    </a:lnTo>
                    <a:lnTo>
                      <a:pt x="394" y="383"/>
                    </a:lnTo>
                    <a:lnTo>
                      <a:pt x="393" y="383"/>
                    </a:lnTo>
                    <a:lnTo>
                      <a:pt x="393" y="384"/>
                    </a:lnTo>
                    <a:lnTo>
                      <a:pt x="392" y="384"/>
                    </a:lnTo>
                    <a:lnTo>
                      <a:pt x="391" y="384"/>
                    </a:lnTo>
                    <a:lnTo>
                      <a:pt x="390" y="384"/>
                    </a:lnTo>
                    <a:lnTo>
                      <a:pt x="389" y="385"/>
                    </a:lnTo>
                    <a:lnTo>
                      <a:pt x="388" y="385"/>
                    </a:lnTo>
                    <a:lnTo>
                      <a:pt x="388" y="386"/>
                    </a:lnTo>
                    <a:lnTo>
                      <a:pt x="387" y="387"/>
                    </a:lnTo>
                    <a:lnTo>
                      <a:pt x="386" y="387"/>
                    </a:lnTo>
                    <a:lnTo>
                      <a:pt x="386" y="388"/>
                    </a:lnTo>
                    <a:lnTo>
                      <a:pt x="386" y="390"/>
                    </a:lnTo>
                    <a:lnTo>
                      <a:pt x="384" y="390"/>
                    </a:lnTo>
                    <a:lnTo>
                      <a:pt x="383" y="390"/>
                    </a:lnTo>
                    <a:lnTo>
                      <a:pt x="383" y="391"/>
                    </a:lnTo>
                    <a:lnTo>
                      <a:pt x="383" y="392"/>
                    </a:lnTo>
                    <a:lnTo>
                      <a:pt x="382" y="392"/>
                    </a:lnTo>
                    <a:lnTo>
                      <a:pt x="381" y="392"/>
                    </a:lnTo>
                    <a:lnTo>
                      <a:pt x="380" y="392"/>
                    </a:lnTo>
                    <a:lnTo>
                      <a:pt x="380" y="391"/>
                    </a:lnTo>
                    <a:lnTo>
                      <a:pt x="379" y="391"/>
                    </a:lnTo>
                    <a:lnTo>
                      <a:pt x="378" y="391"/>
                    </a:lnTo>
                    <a:lnTo>
                      <a:pt x="376" y="391"/>
                    </a:lnTo>
                    <a:lnTo>
                      <a:pt x="375" y="391"/>
                    </a:lnTo>
                    <a:lnTo>
                      <a:pt x="374" y="391"/>
                    </a:lnTo>
                    <a:lnTo>
                      <a:pt x="371" y="391"/>
                    </a:lnTo>
                    <a:lnTo>
                      <a:pt x="370" y="390"/>
                    </a:lnTo>
                    <a:lnTo>
                      <a:pt x="369" y="391"/>
                    </a:lnTo>
                    <a:lnTo>
                      <a:pt x="368" y="391"/>
                    </a:lnTo>
                    <a:lnTo>
                      <a:pt x="368" y="390"/>
                    </a:lnTo>
                    <a:lnTo>
                      <a:pt x="367" y="390"/>
                    </a:lnTo>
                    <a:lnTo>
                      <a:pt x="367" y="388"/>
                    </a:lnTo>
                    <a:lnTo>
                      <a:pt x="366" y="388"/>
                    </a:lnTo>
                    <a:lnTo>
                      <a:pt x="366" y="387"/>
                    </a:lnTo>
                    <a:lnTo>
                      <a:pt x="365" y="387"/>
                    </a:lnTo>
                    <a:lnTo>
                      <a:pt x="365" y="386"/>
                    </a:lnTo>
                    <a:lnTo>
                      <a:pt x="364" y="386"/>
                    </a:lnTo>
                    <a:lnTo>
                      <a:pt x="364" y="385"/>
                    </a:lnTo>
                    <a:lnTo>
                      <a:pt x="363" y="385"/>
                    </a:lnTo>
                    <a:lnTo>
                      <a:pt x="362" y="385"/>
                    </a:lnTo>
                    <a:lnTo>
                      <a:pt x="362" y="384"/>
                    </a:lnTo>
                    <a:lnTo>
                      <a:pt x="362" y="385"/>
                    </a:lnTo>
                    <a:lnTo>
                      <a:pt x="362" y="384"/>
                    </a:lnTo>
                    <a:lnTo>
                      <a:pt x="361" y="384"/>
                    </a:lnTo>
                    <a:lnTo>
                      <a:pt x="357" y="383"/>
                    </a:lnTo>
                    <a:lnTo>
                      <a:pt x="356" y="383"/>
                    </a:lnTo>
                    <a:lnTo>
                      <a:pt x="357" y="383"/>
                    </a:lnTo>
                    <a:lnTo>
                      <a:pt x="357" y="382"/>
                    </a:lnTo>
                    <a:lnTo>
                      <a:pt x="356" y="382"/>
                    </a:lnTo>
                    <a:lnTo>
                      <a:pt x="356" y="383"/>
                    </a:lnTo>
                    <a:lnTo>
                      <a:pt x="355" y="382"/>
                    </a:lnTo>
                    <a:lnTo>
                      <a:pt x="354" y="381"/>
                    </a:lnTo>
                    <a:lnTo>
                      <a:pt x="353" y="381"/>
                    </a:lnTo>
                    <a:lnTo>
                      <a:pt x="352" y="380"/>
                    </a:lnTo>
                    <a:lnTo>
                      <a:pt x="351" y="380"/>
                    </a:lnTo>
                    <a:lnTo>
                      <a:pt x="349" y="379"/>
                    </a:lnTo>
                    <a:lnTo>
                      <a:pt x="349" y="378"/>
                    </a:lnTo>
                    <a:lnTo>
                      <a:pt x="348" y="378"/>
                    </a:lnTo>
                    <a:lnTo>
                      <a:pt x="348" y="379"/>
                    </a:lnTo>
                    <a:lnTo>
                      <a:pt x="346" y="380"/>
                    </a:lnTo>
                    <a:lnTo>
                      <a:pt x="343" y="380"/>
                    </a:lnTo>
                    <a:lnTo>
                      <a:pt x="341" y="381"/>
                    </a:lnTo>
                    <a:lnTo>
                      <a:pt x="340" y="382"/>
                    </a:lnTo>
                    <a:lnTo>
                      <a:pt x="339" y="382"/>
                    </a:lnTo>
                    <a:lnTo>
                      <a:pt x="339" y="383"/>
                    </a:lnTo>
                    <a:lnTo>
                      <a:pt x="338" y="383"/>
                    </a:lnTo>
                    <a:lnTo>
                      <a:pt x="337" y="384"/>
                    </a:lnTo>
                    <a:lnTo>
                      <a:pt x="336" y="384"/>
                    </a:lnTo>
                    <a:lnTo>
                      <a:pt x="336" y="385"/>
                    </a:lnTo>
                    <a:lnTo>
                      <a:pt x="335" y="385"/>
                    </a:lnTo>
                    <a:lnTo>
                      <a:pt x="332" y="386"/>
                    </a:lnTo>
                    <a:lnTo>
                      <a:pt x="330" y="386"/>
                    </a:lnTo>
                    <a:lnTo>
                      <a:pt x="330" y="387"/>
                    </a:lnTo>
                    <a:lnTo>
                      <a:pt x="329" y="387"/>
                    </a:lnTo>
                    <a:lnTo>
                      <a:pt x="329" y="386"/>
                    </a:lnTo>
                    <a:lnTo>
                      <a:pt x="328" y="386"/>
                    </a:lnTo>
                    <a:lnTo>
                      <a:pt x="328" y="385"/>
                    </a:lnTo>
                    <a:lnTo>
                      <a:pt x="327" y="385"/>
                    </a:lnTo>
                    <a:lnTo>
                      <a:pt x="326" y="385"/>
                    </a:lnTo>
                    <a:lnTo>
                      <a:pt x="326" y="384"/>
                    </a:lnTo>
                    <a:lnTo>
                      <a:pt x="325" y="384"/>
                    </a:lnTo>
                    <a:lnTo>
                      <a:pt x="325" y="383"/>
                    </a:lnTo>
                    <a:lnTo>
                      <a:pt x="324" y="383"/>
                    </a:lnTo>
                    <a:lnTo>
                      <a:pt x="324" y="382"/>
                    </a:lnTo>
                    <a:lnTo>
                      <a:pt x="324" y="383"/>
                    </a:lnTo>
                    <a:lnTo>
                      <a:pt x="324" y="382"/>
                    </a:lnTo>
                    <a:lnTo>
                      <a:pt x="323" y="382"/>
                    </a:lnTo>
                    <a:lnTo>
                      <a:pt x="322" y="382"/>
                    </a:lnTo>
                    <a:lnTo>
                      <a:pt x="322" y="381"/>
                    </a:lnTo>
                    <a:lnTo>
                      <a:pt x="320" y="381"/>
                    </a:lnTo>
                    <a:lnTo>
                      <a:pt x="320" y="380"/>
                    </a:lnTo>
                    <a:lnTo>
                      <a:pt x="319" y="380"/>
                    </a:lnTo>
                    <a:lnTo>
                      <a:pt x="319" y="379"/>
                    </a:lnTo>
                    <a:lnTo>
                      <a:pt x="318" y="379"/>
                    </a:lnTo>
                    <a:lnTo>
                      <a:pt x="317" y="379"/>
                    </a:lnTo>
                    <a:lnTo>
                      <a:pt x="316" y="379"/>
                    </a:lnTo>
                    <a:lnTo>
                      <a:pt x="316" y="378"/>
                    </a:lnTo>
                    <a:lnTo>
                      <a:pt x="315" y="378"/>
                    </a:lnTo>
                    <a:lnTo>
                      <a:pt x="314" y="378"/>
                    </a:lnTo>
                    <a:lnTo>
                      <a:pt x="313" y="377"/>
                    </a:lnTo>
                    <a:lnTo>
                      <a:pt x="312" y="377"/>
                    </a:lnTo>
                    <a:lnTo>
                      <a:pt x="311" y="377"/>
                    </a:lnTo>
                    <a:lnTo>
                      <a:pt x="311" y="378"/>
                    </a:lnTo>
                    <a:lnTo>
                      <a:pt x="310" y="377"/>
                    </a:lnTo>
                    <a:lnTo>
                      <a:pt x="309" y="378"/>
                    </a:lnTo>
                    <a:lnTo>
                      <a:pt x="307" y="378"/>
                    </a:lnTo>
                    <a:lnTo>
                      <a:pt x="307" y="379"/>
                    </a:lnTo>
                    <a:lnTo>
                      <a:pt x="307" y="380"/>
                    </a:lnTo>
                    <a:lnTo>
                      <a:pt x="306" y="379"/>
                    </a:lnTo>
                    <a:lnTo>
                      <a:pt x="305" y="375"/>
                    </a:lnTo>
                    <a:lnTo>
                      <a:pt x="304" y="374"/>
                    </a:lnTo>
                    <a:lnTo>
                      <a:pt x="304" y="373"/>
                    </a:lnTo>
                    <a:lnTo>
                      <a:pt x="303" y="372"/>
                    </a:lnTo>
                    <a:lnTo>
                      <a:pt x="303" y="371"/>
                    </a:lnTo>
                    <a:lnTo>
                      <a:pt x="302" y="371"/>
                    </a:lnTo>
                    <a:lnTo>
                      <a:pt x="302" y="370"/>
                    </a:lnTo>
                    <a:lnTo>
                      <a:pt x="302" y="369"/>
                    </a:lnTo>
                    <a:lnTo>
                      <a:pt x="301" y="368"/>
                    </a:lnTo>
                    <a:lnTo>
                      <a:pt x="300" y="366"/>
                    </a:lnTo>
                    <a:lnTo>
                      <a:pt x="299" y="366"/>
                    </a:lnTo>
                    <a:lnTo>
                      <a:pt x="298" y="365"/>
                    </a:lnTo>
                    <a:lnTo>
                      <a:pt x="297" y="365"/>
                    </a:lnTo>
                    <a:lnTo>
                      <a:pt x="297" y="364"/>
                    </a:lnTo>
                    <a:lnTo>
                      <a:pt x="296" y="364"/>
                    </a:lnTo>
                    <a:lnTo>
                      <a:pt x="294" y="362"/>
                    </a:lnTo>
                    <a:lnTo>
                      <a:pt x="292" y="361"/>
                    </a:lnTo>
                    <a:lnTo>
                      <a:pt x="291" y="360"/>
                    </a:lnTo>
                    <a:lnTo>
                      <a:pt x="290" y="359"/>
                    </a:lnTo>
                    <a:lnTo>
                      <a:pt x="289" y="359"/>
                    </a:lnTo>
                    <a:lnTo>
                      <a:pt x="288" y="358"/>
                    </a:lnTo>
                    <a:lnTo>
                      <a:pt x="286" y="357"/>
                    </a:lnTo>
                    <a:lnTo>
                      <a:pt x="285" y="357"/>
                    </a:lnTo>
                    <a:lnTo>
                      <a:pt x="286" y="357"/>
                    </a:lnTo>
                    <a:lnTo>
                      <a:pt x="285" y="356"/>
                    </a:lnTo>
                    <a:lnTo>
                      <a:pt x="284" y="357"/>
                    </a:lnTo>
                    <a:lnTo>
                      <a:pt x="283" y="356"/>
                    </a:lnTo>
                    <a:lnTo>
                      <a:pt x="281" y="356"/>
                    </a:lnTo>
                    <a:lnTo>
                      <a:pt x="279" y="354"/>
                    </a:lnTo>
                    <a:lnTo>
                      <a:pt x="278" y="354"/>
                    </a:lnTo>
                    <a:lnTo>
                      <a:pt x="277" y="354"/>
                    </a:lnTo>
                    <a:lnTo>
                      <a:pt x="276" y="354"/>
                    </a:lnTo>
                    <a:lnTo>
                      <a:pt x="276" y="353"/>
                    </a:lnTo>
                    <a:lnTo>
                      <a:pt x="275" y="353"/>
                    </a:lnTo>
                    <a:lnTo>
                      <a:pt x="274" y="353"/>
                    </a:lnTo>
                    <a:lnTo>
                      <a:pt x="274" y="352"/>
                    </a:lnTo>
                    <a:lnTo>
                      <a:pt x="273" y="352"/>
                    </a:lnTo>
                    <a:lnTo>
                      <a:pt x="272" y="352"/>
                    </a:lnTo>
                    <a:lnTo>
                      <a:pt x="271" y="352"/>
                    </a:lnTo>
                    <a:lnTo>
                      <a:pt x="270" y="352"/>
                    </a:lnTo>
                    <a:lnTo>
                      <a:pt x="268" y="352"/>
                    </a:lnTo>
                    <a:lnTo>
                      <a:pt x="267" y="352"/>
                    </a:lnTo>
                    <a:lnTo>
                      <a:pt x="266" y="352"/>
                    </a:lnTo>
                    <a:lnTo>
                      <a:pt x="265" y="352"/>
                    </a:lnTo>
                    <a:lnTo>
                      <a:pt x="265" y="351"/>
                    </a:lnTo>
                    <a:lnTo>
                      <a:pt x="264" y="351"/>
                    </a:lnTo>
                    <a:lnTo>
                      <a:pt x="265" y="352"/>
                    </a:lnTo>
                    <a:lnTo>
                      <a:pt x="264" y="352"/>
                    </a:lnTo>
                    <a:lnTo>
                      <a:pt x="263" y="352"/>
                    </a:lnTo>
                    <a:lnTo>
                      <a:pt x="263" y="351"/>
                    </a:lnTo>
                    <a:lnTo>
                      <a:pt x="264" y="351"/>
                    </a:lnTo>
                    <a:lnTo>
                      <a:pt x="263" y="351"/>
                    </a:lnTo>
                    <a:lnTo>
                      <a:pt x="263" y="349"/>
                    </a:lnTo>
                    <a:lnTo>
                      <a:pt x="262" y="348"/>
                    </a:lnTo>
                    <a:lnTo>
                      <a:pt x="261" y="348"/>
                    </a:lnTo>
                    <a:lnTo>
                      <a:pt x="261" y="347"/>
                    </a:lnTo>
                    <a:lnTo>
                      <a:pt x="260" y="347"/>
                    </a:lnTo>
                    <a:lnTo>
                      <a:pt x="255" y="347"/>
                    </a:lnTo>
                    <a:lnTo>
                      <a:pt x="250" y="346"/>
                    </a:lnTo>
                    <a:lnTo>
                      <a:pt x="249" y="346"/>
                    </a:lnTo>
                    <a:lnTo>
                      <a:pt x="248" y="346"/>
                    </a:lnTo>
                    <a:lnTo>
                      <a:pt x="248" y="345"/>
                    </a:lnTo>
                    <a:lnTo>
                      <a:pt x="247" y="345"/>
                    </a:lnTo>
                    <a:lnTo>
                      <a:pt x="247" y="344"/>
                    </a:lnTo>
                    <a:lnTo>
                      <a:pt x="247" y="343"/>
                    </a:lnTo>
                    <a:lnTo>
                      <a:pt x="246" y="343"/>
                    </a:lnTo>
                    <a:lnTo>
                      <a:pt x="246" y="342"/>
                    </a:lnTo>
                    <a:lnTo>
                      <a:pt x="246" y="341"/>
                    </a:lnTo>
                    <a:lnTo>
                      <a:pt x="245" y="341"/>
                    </a:lnTo>
                    <a:lnTo>
                      <a:pt x="245" y="340"/>
                    </a:lnTo>
                    <a:lnTo>
                      <a:pt x="245" y="339"/>
                    </a:lnTo>
                    <a:lnTo>
                      <a:pt x="243" y="339"/>
                    </a:lnTo>
                    <a:lnTo>
                      <a:pt x="242" y="336"/>
                    </a:lnTo>
                    <a:lnTo>
                      <a:pt x="242" y="335"/>
                    </a:lnTo>
                    <a:lnTo>
                      <a:pt x="241" y="334"/>
                    </a:lnTo>
                    <a:lnTo>
                      <a:pt x="241" y="333"/>
                    </a:lnTo>
                    <a:lnTo>
                      <a:pt x="240" y="331"/>
                    </a:lnTo>
                    <a:lnTo>
                      <a:pt x="239" y="330"/>
                    </a:lnTo>
                    <a:lnTo>
                      <a:pt x="239" y="329"/>
                    </a:lnTo>
                    <a:lnTo>
                      <a:pt x="238" y="329"/>
                    </a:lnTo>
                    <a:lnTo>
                      <a:pt x="237" y="328"/>
                    </a:lnTo>
                    <a:lnTo>
                      <a:pt x="236" y="328"/>
                    </a:lnTo>
                    <a:lnTo>
                      <a:pt x="235" y="328"/>
                    </a:lnTo>
                    <a:lnTo>
                      <a:pt x="234" y="328"/>
                    </a:lnTo>
                    <a:lnTo>
                      <a:pt x="233" y="328"/>
                    </a:lnTo>
                    <a:lnTo>
                      <a:pt x="232" y="328"/>
                    </a:lnTo>
                    <a:lnTo>
                      <a:pt x="230" y="328"/>
                    </a:lnTo>
                    <a:lnTo>
                      <a:pt x="229" y="328"/>
                    </a:lnTo>
                    <a:lnTo>
                      <a:pt x="229" y="327"/>
                    </a:lnTo>
                    <a:lnTo>
                      <a:pt x="228" y="327"/>
                    </a:lnTo>
                    <a:lnTo>
                      <a:pt x="228" y="326"/>
                    </a:lnTo>
                    <a:lnTo>
                      <a:pt x="227" y="326"/>
                    </a:lnTo>
                    <a:lnTo>
                      <a:pt x="226" y="326"/>
                    </a:lnTo>
                    <a:lnTo>
                      <a:pt x="225" y="325"/>
                    </a:lnTo>
                    <a:lnTo>
                      <a:pt x="224" y="325"/>
                    </a:lnTo>
                    <a:lnTo>
                      <a:pt x="223" y="323"/>
                    </a:lnTo>
                    <a:lnTo>
                      <a:pt x="222" y="323"/>
                    </a:lnTo>
                    <a:lnTo>
                      <a:pt x="221" y="323"/>
                    </a:lnTo>
                    <a:lnTo>
                      <a:pt x="220" y="323"/>
                    </a:lnTo>
                    <a:lnTo>
                      <a:pt x="219" y="323"/>
                    </a:lnTo>
                    <a:lnTo>
                      <a:pt x="217" y="323"/>
                    </a:lnTo>
                    <a:lnTo>
                      <a:pt x="216" y="323"/>
                    </a:lnTo>
                    <a:lnTo>
                      <a:pt x="215" y="325"/>
                    </a:lnTo>
                    <a:lnTo>
                      <a:pt x="214" y="325"/>
                    </a:lnTo>
                    <a:lnTo>
                      <a:pt x="213" y="326"/>
                    </a:lnTo>
                    <a:lnTo>
                      <a:pt x="214" y="325"/>
                    </a:lnTo>
                    <a:lnTo>
                      <a:pt x="213" y="325"/>
                    </a:lnTo>
                    <a:lnTo>
                      <a:pt x="212" y="325"/>
                    </a:lnTo>
                    <a:lnTo>
                      <a:pt x="211" y="325"/>
                    </a:lnTo>
                    <a:lnTo>
                      <a:pt x="210" y="325"/>
                    </a:lnTo>
                    <a:lnTo>
                      <a:pt x="211" y="325"/>
                    </a:lnTo>
                    <a:lnTo>
                      <a:pt x="211" y="326"/>
                    </a:lnTo>
                    <a:lnTo>
                      <a:pt x="210" y="327"/>
                    </a:lnTo>
                    <a:lnTo>
                      <a:pt x="209" y="327"/>
                    </a:lnTo>
                    <a:lnTo>
                      <a:pt x="208" y="327"/>
                    </a:lnTo>
                    <a:lnTo>
                      <a:pt x="207" y="328"/>
                    </a:lnTo>
                    <a:lnTo>
                      <a:pt x="206" y="328"/>
                    </a:lnTo>
                    <a:lnTo>
                      <a:pt x="204" y="328"/>
                    </a:lnTo>
                    <a:lnTo>
                      <a:pt x="203" y="328"/>
                    </a:lnTo>
                    <a:lnTo>
                      <a:pt x="202" y="328"/>
                    </a:lnTo>
                    <a:lnTo>
                      <a:pt x="201" y="328"/>
                    </a:lnTo>
                    <a:lnTo>
                      <a:pt x="200" y="329"/>
                    </a:lnTo>
                    <a:lnTo>
                      <a:pt x="200" y="328"/>
                    </a:lnTo>
                    <a:lnTo>
                      <a:pt x="199" y="329"/>
                    </a:lnTo>
                    <a:lnTo>
                      <a:pt x="198" y="329"/>
                    </a:lnTo>
                    <a:lnTo>
                      <a:pt x="198" y="328"/>
                    </a:lnTo>
                    <a:lnTo>
                      <a:pt x="197" y="328"/>
                    </a:lnTo>
                    <a:lnTo>
                      <a:pt x="197" y="327"/>
                    </a:lnTo>
                    <a:lnTo>
                      <a:pt x="196" y="327"/>
                    </a:lnTo>
                    <a:lnTo>
                      <a:pt x="196" y="326"/>
                    </a:lnTo>
                    <a:lnTo>
                      <a:pt x="195" y="326"/>
                    </a:lnTo>
                    <a:lnTo>
                      <a:pt x="194" y="325"/>
                    </a:lnTo>
                    <a:lnTo>
                      <a:pt x="194" y="323"/>
                    </a:lnTo>
                    <a:lnTo>
                      <a:pt x="193" y="323"/>
                    </a:lnTo>
                    <a:lnTo>
                      <a:pt x="191" y="323"/>
                    </a:lnTo>
                    <a:lnTo>
                      <a:pt x="190" y="322"/>
                    </a:lnTo>
                    <a:lnTo>
                      <a:pt x="189" y="322"/>
                    </a:lnTo>
                    <a:lnTo>
                      <a:pt x="188" y="322"/>
                    </a:lnTo>
                    <a:lnTo>
                      <a:pt x="187" y="321"/>
                    </a:lnTo>
                    <a:lnTo>
                      <a:pt x="186" y="321"/>
                    </a:lnTo>
                    <a:lnTo>
                      <a:pt x="185" y="321"/>
                    </a:lnTo>
                    <a:lnTo>
                      <a:pt x="185" y="320"/>
                    </a:lnTo>
                    <a:lnTo>
                      <a:pt x="184" y="320"/>
                    </a:lnTo>
                    <a:lnTo>
                      <a:pt x="183" y="320"/>
                    </a:lnTo>
                    <a:lnTo>
                      <a:pt x="182" y="320"/>
                    </a:lnTo>
                    <a:lnTo>
                      <a:pt x="181" y="320"/>
                    </a:lnTo>
                    <a:lnTo>
                      <a:pt x="180" y="320"/>
                    </a:lnTo>
                    <a:lnTo>
                      <a:pt x="178" y="320"/>
                    </a:lnTo>
                    <a:lnTo>
                      <a:pt x="175" y="321"/>
                    </a:lnTo>
                    <a:lnTo>
                      <a:pt x="174" y="321"/>
                    </a:lnTo>
                    <a:lnTo>
                      <a:pt x="173" y="321"/>
                    </a:lnTo>
                    <a:lnTo>
                      <a:pt x="172" y="321"/>
                    </a:lnTo>
                    <a:lnTo>
                      <a:pt x="172" y="322"/>
                    </a:lnTo>
                    <a:lnTo>
                      <a:pt x="171" y="322"/>
                    </a:lnTo>
                    <a:lnTo>
                      <a:pt x="170" y="322"/>
                    </a:lnTo>
                    <a:lnTo>
                      <a:pt x="169" y="322"/>
                    </a:lnTo>
                    <a:lnTo>
                      <a:pt x="168" y="322"/>
                    </a:lnTo>
                    <a:lnTo>
                      <a:pt x="167" y="321"/>
                    </a:lnTo>
                    <a:lnTo>
                      <a:pt x="165" y="320"/>
                    </a:lnTo>
                    <a:lnTo>
                      <a:pt x="165" y="319"/>
                    </a:lnTo>
                    <a:lnTo>
                      <a:pt x="164" y="319"/>
                    </a:lnTo>
                    <a:lnTo>
                      <a:pt x="165" y="320"/>
                    </a:lnTo>
                    <a:lnTo>
                      <a:pt x="164" y="320"/>
                    </a:lnTo>
                    <a:lnTo>
                      <a:pt x="164" y="319"/>
                    </a:lnTo>
                    <a:lnTo>
                      <a:pt x="163" y="318"/>
                    </a:lnTo>
                    <a:lnTo>
                      <a:pt x="163" y="317"/>
                    </a:lnTo>
                    <a:lnTo>
                      <a:pt x="164" y="315"/>
                    </a:lnTo>
                    <a:lnTo>
                      <a:pt x="164" y="314"/>
                    </a:lnTo>
                    <a:lnTo>
                      <a:pt x="164" y="313"/>
                    </a:lnTo>
                    <a:lnTo>
                      <a:pt x="164" y="312"/>
                    </a:lnTo>
                    <a:lnTo>
                      <a:pt x="164" y="310"/>
                    </a:lnTo>
                    <a:lnTo>
                      <a:pt x="164" y="309"/>
                    </a:lnTo>
                    <a:lnTo>
                      <a:pt x="165" y="308"/>
                    </a:lnTo>
                    <a:lnTo>
                      <a:pt x="165" y="307"/>
                    </a:lnTo>
                    <a:lnTo>
                      <a:pt x="165" y="306"/>
                    </a:lnTo>
                    <a:lnTo>
                      <a:pt x="165" y="305"/>
                    </a:lnTo>
                    <a:lnTo>
                      <a:pt x="164" y="303"/>
                    </a:lnTo>
                    <a:lnTo>
                      <a:pt x="164" y="301"/>
                    </a:lnTo>
                    <a:lnTo>
                      <a:pt x="164" y="300"/>
                    </a:lnTo>
                    <a:lnTo>
                      <a:pt x="163" y="298"/>
                    </a:lnTo>
                    <a:lnTo>
                      <a:pt x="163" y="297"/>
                    </a:lnTo>
                    <a:lnTo>
                      <a:pt x="163" y="296"/>
                    </a:lnTo>
                    <a:lnTo>
                      <a:pt x="162" y="295"/>
                    </a:lnTo>
                    <a:lnTo>
                      <a:pt x="162" y="294"/>
                    </a:lnTo>
                    <a:lnTo>
                      <a:pt x="161" y="293"/>
                    </a:lnTo>
                    <a:lnTo>
                      <a:pt x="161" y="292"/>
                    </a:lnTo>
                    <a:lnTo>
                      <a:pt x="160" y="291"/>
                    </a:lnTo>
                    <a:lnTo>
                      <a:pt x="160" y="290"/>
                    </a:lnTo>
                    <a:lnTo>
                      <a:pt x="159" y="289"/>
                    </a:lnTo>
                    <a:lnTo>
                      <a:pt x="158" y="288"/>
                    </a:lnTo>
                    <a:lnTo>
                      <a:pt x="158" y="287"/>
                    </a:lnTo>
                    <a:lnTo>
                      <a:pt x="156" y="285"/>
                    </a:lnTo>
                    <a:lnTo>
                      <a:pt x="156" y="284"/>
                    </a:lnTo>
                    <a:lnTo>
                      <a:pt x="155" y="284"/>
                    </a:lnTo>
                    <a:lnTo>
                      <a:pt x="154" y="283"/>
                    </a:lnTo>
                    <a:lnTo>
                      <a:pt x="152" y="283"/>
                    </a:lnTo>
                    <a:lnTo>
                      <a:pt x="152" y="282"/>
                    </a:lnTo>
                    <a:lnTo>
                      <a:pt x="151" y="282"/>
                    </a:lnTo>
                    <a:lnTo>
                      <a:pt x="151" y="281"/>
                    </a:lnTo>
                    <a:lnTo>
                      <a:pt x="150" y="281"/>
                    </a:lnTo>
                    <a:lnTo>
                      <a:pt x="149" y="281"/>
                    </a:lnTo>
                    <a:lnTo>
                      <a:pt x="148" y="280"/>
                    </a:lnTo>
                    <a:lnTo>
                      <a:pt x="147" y="279"/>
                    </a:lnTo>
                    <a:lnTo>
                      <a:pt x="146" y="279"/>
                    </a:lnTo>
                    <a:lnTo>
                      <a:pt x="145" y="279"/>
                    </a:lnTo>
                    <a:lnTo>
                      <a:pt x="145" y="278"/>
                    </a:lnTo>
                    <a:lnTo>
                      <a:pt x="144" y="278"/>
                    </a:lnTo>
                    <a:lnTo>
                      <a:pt x="143" y="278"/>
                    </a:lnTo>
                    <a:lnTo>
                      <a:pt x="138" y="277"/>
                    </a:lnTo>
                    <a:lnTo>
                      <a:pt x="137" y="276"/>
                    </a:lnTo>
                    <a:lnTo>
                      <a:pt x="136" y="276"/>
                    </a:lnTo>
                    <a:lnTo>
                      <a:pt x="135" y="276"/>
                    </a:lnTo>
                    <a:lnTo>
                      <a:pt x="134" y="276"/>
                    </a:lnTo>
                    <a:lnTo>
                      <a:pt x="133" y="276"/>
                    </a:lnTo>
                    <a:lnTo>
                      <a:pt x="132" y="276"/>
                    </a:lnTo>
                    <a:lnTo>
                      <a:pt x="132" y="275"/>
                    </a:lnTo>
                    <a:lnTo>
                      <a:pt x="131" y="275"/>
                    </a:lnTo>
                    <a:lnTo>
                      <a:pt x="131" y="274"/>
                    </a:lnTo>
                    <a:lnTo>
                      <a:pt x="131" y="272"/>
                    </a:lnTo>
                    <a:lnTo>
                      <a:pt x="130" y="272"/>
                    </a:lnTo>
                    <a:lnTo>
                      <a:pt x="130" y="271"/>
                    </a:lnTo>
                    <a:lnTo>
                      <a:pt x="130" y="270"/>
                    </a:lnTo>
                    <a:lnTo>
                      <a:pt x="130" y="269"/>
                    </a:lnTo>
                    <a:lnTo>
                      <a:pt x="129" y="269"/>
                    </a:lnTo>
                    <a:lnTo>
                      <a:pt x="129" y="268"/>
                    </a:lnTo>
                    <a:lnTo>
                      <a:pt x="128" y="267"/>
                    </a:lnTo>
                    <a:lnTo>
                      <a:pt x="128" y="266"/>
                    </a:lnTo>
                    <a:lnTo>
                      <a:pt x="126" y="266"/>
                    </a:lnTo>
                    <a:lnTo>
                      <a:pt x="126" y="265"/>
                    </a:lnTo>
                    <a:lnTo>
                      <a:pt x="125" y="265"/>
                    </a:lnTo>
                    <a:lnTo>
                      <a:pt x="125" y="264"/>
                    </a:lnTo>
                    <a:lnTo>
                      <a:pt x="124" y="264"/>
                    </a:lnTo>
                    <a:lnTo>
                      <a:pt x="124" y="263"/>
                    </a:lnTo>
                    <a:lnTo>
                      <a:pt x="124" y="262"/>
                    </a:lnTo>
                    <a:lnTo>
                      <a:pt x="123" y="262"/>
                    </a:lnTo>
                    <a:lnTo>
                      <a:pt x="123" y="261"/>
                    </a:lnTo>
                    <a:lnTo>
                      <a:pt x="122" y="261"/>
                    </a:lnTo>
                    <a:lnTo>
                      <a:pt x="121" y="261"/>
                    </a:lnTo>
                    <a:lnTo>
                      <a:pt x="121" y="259"/>
                    </a:lnTo>
                    <a:lnTo>
                      <a:pt x="120" y="259"/>
                    </a:lnTo>
                    <a:lnTo>
                      <a:pt x="120" y="258"/>
                    </a:lnTo>
                    <a:lnTo>
                      <a:pt x="120" y="257"/>
                    </a:lnTo>
                    <a:lnTo>
                      <a:pt x="120" y="258"/>
                    </a:lnTo>
                    <a:lnTo>
                      <a:pt x="119" y="258"/>
                    </a:lnTo>
                    <a:lnTo>
                      <a:pt x="118" y="258"/>
                    </a:lnTo>
                    <a:lnTo>
                      <a:pt x="118" y="257"/>
                    </a:lnTo>
                    <a:lnTo>
                      <a:pt x="117" y="257"/>
                    </a:lnTo>
                    <a:lnTo>
                      <a:pt x="112" y="255"/>
                    </a:lnTo>
                    <a:lnTo>
                      <a:pt x="111" y="254"/>
                    </a:lnTo>
                    <a:lnTo>
                      <a:pt x="109" y="253"/>
                    </a:lnTo>
                    <a:lnTo>
                      <a:pt x="108" y="252"/>
                    </a:lnTo>
                    <a:lnTo>
                      <a:pt x="107" y="252"/>
                    </a:lnTo>
                    <a:lnTo>
                      <a:pt x="107" y="251"/>
                    </a:lnTo>
                    <a:lnTo>
                      <a:pt x="106" y="251"/>
                    </a:lnTo>
                    <a:lnTo>
                      <a:pt x="105" y="251"/>
                    </a:lnTo>
                    <a:lnTo>
                      <a:pt x="106" y="250"/>
                    </a:lnTo>
                    <a:lnTo>
                      <a:pt x="105" y="250"/>
                    </a:lnTo>
                    <a:lnTo>
                      <a:pt x="105" y="249"/>
                    </a:lnTo>
                    <a:lnTo>
                      <a:pt x="104" y="249"/>
                    </a:lnTo>
                    <a:lnTo>
                      <a:pt x="104" y="250"/>
                    </a:lnTo>
                    <a:lnTo>
                      <a:pt x="103" y="250"/>
                    </a:lnTo>
                    <a:lnTo>
                      <a:pt x="101" y="250"/>
                    </a:lnTo>
                    <a:lnTo>
                      <a:pt x="101" y="249"/>
                    </a:lnTo>
                    <a:lnTo>
                      <a:pt x="104" y="250"/>
                    </a:lnTo>
                    <a:lnTo>
                      <a:pt x="104" y="249"/>
                    </a:lnTo>
                    <a:lnTo>
                      <a:pt x="103" y="249"/>
                    </a:lnTo>
                    <a:lnTo>
                      <a:pt x="104" y="248"/>
                    </a:lnTo>
                    <a:lnTo>
                      <a:pt x="104" y="249"/>
                    </a:lnTo>
                    <a:lnTo>
                      <a:pt x="105" y="248"/>
                    </a:lnTo>
                    <a:lnTo>
                      <a:pt x="104" y="248"/>
                    </a:lnTo>
                    <a:lnTo>
                      <a:pt x="103" y="249"/>
                    </a:lnTo>
                    <a:lnTo>
                      <a:pt x="103" y="248"/>
                    </a:lnTo>
                    <a:lnTo>
                      <a:pt x="103" y="249"/>
                    </a:lnTo>
                    <a:lnTo>
                      <a:pt x="101" y="249"/>
                    </a:lnTo>
                    <a:lnTo>
                      <a:pt x="101" y="248"/>
                    </a:lnTo>
                    <a:lnTo>
                      <a:pt x="100" y="248"/>
                    </a:lnTo>
                    <a:lnTo>
                      <a:pt x="100" y="246"/>
                    </a:lnTo>
                    <a:lnTo>
                      <a:pt x="100" y="245"/>
                    </a:lnTo>
                    <a:lnTo>
                      <a:pt x="99" y="245"/>
                    </a:lnTo>
                    <a:lnTo>
                      <a:pt x="99" y="246"/>
                    </a:lnTo>
                    <a:lnTo>
                      <a:pt x="99" y="248"/>
                    </a:lnTo>
                    <a:lnTo>
                      <a:pt x="98" y="248"/>
                    </a:lnTo>
                    <a:lnTo>
                      <a:pt x="98" y="246"/>
                    </a:lnTo>
                    <a:lnTo>
                      <a:pt x="97" y="246"/>
                    </a:lnTo>
                    <a:lnTo>
                      <a:pt x="96" y="246"/>
                    </a:lnTo>
                    <a:lnTo>
                      <a:pt x="95" y="246"/>
                    </a:lnTo>
                    <a:lnTo>
                      <a:pt x="94" y="246"/>
                    </a:lnTo>
                    <a:lnTo>
                      <a:pt x="93" y="246"/>
                    </a:lnTo>
                    <a:lnTo>
                      <a:pt x="92" y="246"/>
                    </a:lnTo>
                    <a:lnTo>
                      <a:pt x="91" y="246"/>
                    </a:lnTo>
                    <a:lnTo>
                      <a:pt x="90" y="246"/>
                    </a:lnTo>
                    <a:lnTo>
                      <a:pt x="90" y="245"/>
                    </a:lnTo>
                    <a:lnTo>
                      <a:pt x="88" y="245"/>
                    </a:lnTo>
                    <a:lnTo>
                      <a:pt x="87" y="245"/>
                    </a:lnTo>
                    <a:lnTo>
                      <a:pt x="86" y="245"/>
                    </a:lnTo>
                    <a:lnTo>
                      <a:pt x="85" y="245"/>
                    </a:lnTo>
                    <a:lnTo>
                      <a:pt x="84" y="245"/>
                    </a:lnTo>
                    <a:lnTo>
                      <a:pt x="83" y="245"/>
                    </a:lnTo>
                    <a:lnTo>
                      <a:pt x="83" y="244"/>
                    </a:lnTo>
                    <a:lnTo>
                      <a:pt x="82" y="244"/>
                    </a:lnTo>
                    <a:lnTo>
                      <a:pt x="81" y="244"/>
                    </a:lnTo>
                    <a:lnTo>
                      <a:pt x="81" y="245"/>
                    </a:lnTo>
                    <a:lnTo>
                      <a:pt x="80" y="244"/>
                    </a:lnTo>
                    <a:lnTo>
                      <a:pt x="80" y="243"/>
                    </a:lnTo>
                    <a:lnTo>
                      <a:pt x="79" y="243"/>
                    </a:lnTo>
                    <a:lnTo>
                      <a:pt x="79" y="244"/>
                    </a:lnTo>
                    <a:lnTo>
                      <a:pt x="79" y="243"/>
                    </a:lnTo>
                    <a:lnTo>
                      <a:pt x="79" y="244"/>
                    </a:lnTo>
                    <a:lnTo>
                      <a:pt x="78" y="244"/>
                    </a:lnTo>
                    <a:lnTo>
                      <a:pt x="78" y="243"/>
                    </a:lnTo>
                    <a:lnTo>
                      <a:pt x="77" y="243"/>
                    </a:lnTo>
                    <a:lnTo>
                      <a:pt x="75" y="243"/>
                    </a:lnTo>
                    <a:lnTo>
                      <a:pt x="74" y="243"/>
                    </a:lnTo>
                    <a:lnTo>
                      <a:pt x="74" y="242"/>
                    </a:lnTo>
                    <a:lnTo>
                      <a:pt x="73" y="242"/>
                    </a:lnTo>
                    <a:lnTo>
                      <a:pt x="73" y="241"/>
                    </a:lnTo>
                    <a:lnTo>
                      <a:pt x="72" y="241"/>
                    </a:lnTo>
                    <a:lnTo>
                      <a:pt x="71" y="241"/>
                    </a:lnTo>
                    <a:lnTo>
                      <a:pt x="70" y="241"/>
                    </a:lnTo>
                    <a:lnTo>
                      <a:pt x="70" y="240"/>
                    </a:lnTo>
                    <a:lnTo>
                      <a:pt x="69" y="240"/>
                    </a:lnTo>
                    <a:lnTo>
                      <a:pt x="68" y="240"/>
                    </a:lnTo>
                    <a:lnTo>
                      <a:pt x="67" y="240"/>
                    </a:lnTo>
                    <a:lnTo>
                      <a:pt x="66" y="240"/>
                    </a:lnTo>
                    <a:lnTo>
                      <a:pt x="65" y="240"/>
                    </a:lnTo>
                    <a:lnTo>
                      <a:pt x="64" y="240"/>
                    </a:lnTo>
                    <a:lnTo>
                      <a:pt x="64" y="239"/>
                    </a:lnTo>
                    <a:lnTo>
                      <a:pt x="64" y="240"/>
                    </a:lnTo>
                    <a:lnTo>
                      <a:pt x="62" y="239"/>
                    </a:lnTo>
                    <a:lnTo>
                      <a:pt x="62" y="240"/>
                    </a:lnTo>
                    <a:lnTo>
                      <a:pt x="62" y="239"/>
                    </a:lnTo>
                    <a:lnTo>
                      <a:pt x="61" y="239"/>
                    </a:lnTo>
                    <a:lnTo>
                      <a:pt x="60" y="239"/>
                    </a:lnTo>
                    <a:lnTo>
                      <a:pt x="59" y="239"/>
                    </a:lnTo>
                    <a:lnTo>
                      <a:pt x="58" y="239"/>
                    </a:lnTo>
                    <a:lnTo>
                      <a:pt x="58" y="238"/>
                    </a:lnTo>
                    <a:lnTo>
                      <a:pt x="59" y="238"/>
                    </a:lnTo>
                    <a:lnTo>
                      <a:pt x="59" y="237"/>
                    </a:lnTo>
                    <a:lnTo>
                      <a:pt x="60" y="237"/>
                    </a:lnTo>
                    <a:lnTo>
                      <a:pt x="60" y="236"/>
                    </a:lnTo>
                    <a:lnTo>
                      <a:pt x="60" y="235"/>
                    </a:lnTo>
                    <a:lnTo>
                      <a:pt x="59" y="235"/>
                    </a:lnTo>
                    <a:lnTo>
                      <a:pt x="58" y="235"/>
                    </a:lnTo>
                    <a:lnTo>
                      <a:pt x="58" y="236"/>
                    </a:lnTo>
                    <a:lnTo>
                      <a:pt x="58" y="237"/>
                    </a:lnTo>
                    <a:lnTo>
                      <a:pt x="57" y="238"/>
                    </a:lnTo>
                    <a:lnTo>
                      <a:pt x="56" y="238"/>
                    </a:lnTo>
                    <a:lnTo>
                      <a:pt x="56" y="237"/>
                    </a:lnTo>
                    <a:lnTo>
                      <a:pt x="56" y="236"/>
                    </a:lnTo>
                    <a:lnTo>
                      <a:pt x="55" y="236"/>
                    </a:lnTo>
                    <a:lnTo>
                      <a:pt x="55" y="235"/>
                    </a:lnTo>
                    <a:lnTo>
                      <a:pt x="54" y="235"/>
                    </a:lnTo>
                    <a:lnTo>
                      <a:pt x="53" y="235"/>
                    </a:lnTo>
                    <a:lnTo>
                      <a:pt x="53" y="236"/>
                    </a:lnTo>
                    <a:lnTo>
                      <a:pt x="53" y="237"/>
                    </a:lnTo>
                    <a:lnTo>
                      <a:pt x="53" y="236"/>
                    </a:lnTo>
                    <a:lnTo>
                      <a:pt x="53" y="235"/>
                    </a:lnTo>
                    <a:lnTo>
                      <a:pt x="52" y="235"/>
                    </a:lnTo>
                    <a:lnTo>
                      <a:pt x="51" y="235"/>
                    </a:lnTo>
                    <a:lnTo>
                      <a:pt x="49" y="235"/>
                    </a:lnTo>
                    <a:lnTo>
                      <a:pt x="48" y="235"/>
                    </a:lnTo>
                    <a:lnTo>
                      <a:pt x="47" y="235"/>
                    </a:lnTo>
                    <a:lnTo>
                      <a:pt x="46" y="235"/>
                    </a:lnTo>
                    <a:lnTo>
                      <a:pt x="45" y="235"/>
                    </a:lnTo>
                    <a:lnTo>
                      <a:pt x="45" y="236"/>
                    </a:lnTo>
                    <a:lnTo>
                      <a:pt x="45" y="235"/>
                    </a:lnTo>
                    <a:lnTo>
                      <a:pt x="45" y="236"/>
                    </a:lnTo>
                    <a:lnTo>
                      <a:pt x="45" y="235"/>
                    </a:lnTo>
                    <a:lnTo>
                      <a:pt x="44" y="235"/>
                    </a:lnTo>
                    <a:lnTo>
                      <a:pt x="43" y="235"/>
                    </a:lnTo>
                    <a:lnTo>
                      <a:pt x="43" y="233"/>
                    </a:lnTo>
                    <a:lnTo>
                      <a:pt x="43" y="232"/>
                    </a:lnTo>
                    <a:lnTo>
                      <a:pt x="42" y="232"/>
                    </a:lnTo>
                    <a:lnTo>
                      <a:pt x="42" y="231"/>
                    </a:lnTo>
                    <a:lnTo>
                      <a:pt x="41" y="231"/>
                    </a:lnTo>
                    <a:lnTo>
                      <a:pt x="40" y="230"/>
                    </a:lnTo>
                    <a:lnTo>
                      <a:pt x="39" y="230"/>
                    </a:lnTo>
                    <a:lnTo>
                      <a:pt x="38" y="230"/>
                    </a:lnTo>
                    <a:lnTo>
                      <a:pt x="36" y="230"/>
                    </a:lnTo>
                    <a:lnTo>
                      <a:pt x="33" y="230"/>
                    </a:lnTo>
                    <a:lnTo>
                      <a:pt x="30" y="231"/>
                    </a:lnTo>
                    <a:lnTo>
                      <a:pt x="29" y="231"/>
                    </a:lnTo>
                    <a:lnTo>
                      <a:pt x="28" y="231"/>
                    </a:lnTo>
                    <a:lnTo>
                      <a:pt x="27" y="231"/>
                    </a:lnTo>
                    <a:lnTo>
                      <a:pt x="27" y="232"/>
                    </a:lnTo>
                    <a:lnTo>
                      <a:pt x="26" y="232"/>
                    </a:lnTo>
                    <a:lnTo>
                      <a:pt x="26" y="233"/>
                    </a:lnTo>
                    <a:lnTo>
                      <a:pt x="25" y="233"/>
                    </a:lnTo>
                    <a:lnTo>
                      <a:pt x="23" y="233"/>
                    </a:lnTo>
                    <a:lnTo>
                      <a:pt x="23" y="235"/>
                    </a:lnTo>
                    <a:lnTo>
                      <a:pt x="22" y="235"/>
                    </a:lnTo>
                    <a:lnTo>
                      <a:pt x="22" y="236"/>
                    </a:lnTo>
                    <a:lnTo>
                      <a:pt x="21" y="236"/>
                    </a:lnTo>
                    <a:lnTo>
                      <a:pt x="20" y="237"/>
                    </a:lnTo>
                    <a:lnTo>
                      <a:pt x="19" y="238"/>
                    </a:lnTo>
                    <a:lnTo>
                      <a:pt x="18" y="238"/>
                    </a:lnTo>
                    <a:lnTo>
                      <a:pt x="18" y="239"/>
                    </a:lnTo>
                    <a:lnTo>
                      <a:pt x="17" y="239"/>
                    </a:lnTo>
                    <a:lnTo>
                      <a:pt x="16" y="240"/>
                    </a:lnTo>
                    <a:lnTo>
                      <a:pt x="15" y="241"/>
                    </a:lnTo>
                    <a:lnTo>
                      <a:pt x="14" y="242"/>
                    </a:lnTo>
                    <a:lnTo>
                      <a:pt x="13" y="243"/>
                    </a:lnTo>
                    <a:lnTo>
                      <a:pt x="12" y="243"/>
                    </a:lnTo>
                    <a:lnTo>
                      <a:pt x="10" y="243"/>
                    </a:lnTo>
                    <a:lnTo>
                      <a:pt x="10" y="244"/>
                    </a:lnTo>
                    <a:lnTo>
                      <a:pt x="9" y="245"/>
                    </a:lnTo>
                    <a:lnTo>
                      <a:pt x="8" y="245"/>
                    </a:lnTo>
                    <a:lnTo>
                      <a:pt x="8" y="246"/>
                    </a:lnTo>
                    <a:lnTo>
                      <a:pt x="7" y="246"/>
                    </a:lnTo>
                    <a:lnTo>
                      <a:pt x="7" y="248"/>
                    </a:lnTo>
                    <a:lnTo>
                      <a:pt x="7" y="239"/>
                    </a:lnTo>
                    <a:lnTo>
                      <a:pt x="7" y="226"/>
                    </a:lnTo>
                    <a:lnTo>
                      <a:pt x="7" y="225"/>
                    </a:lnTo>
                    <a:lnTo>
                      <a:pt x="6" y="225"/>
                    </a:lnTo>
                    <a:lnTo>
                      <a:pt x="7" y="225"/>
                    </a:lnTo>
                    <a:lnTo>
                      <a:pt x="7" y="224"/>
                    </a:lnTo>
                    <a:lnTo>
                      <a:pt x="6" y="216"/>
                    </a:lnTo>
                    <a:lnTo>
                      <a:pt x="6" y="211"/>
                    </a:lnTo>
                    <a:lnTo>
                      <a:pt x="6" y="197"/>
                    </a:lnTo>
                    <a:lnTo>
                      <a:pt x="6" y="195"/>
                    </a:lnTo>
                    <a:lnTo>
                      <a:pt x="6" y="191"/>
                    </a:lnTo>
                    <a:lnTo>
                      <a:pt x="6" y="180"/>
                    </a:lnTo>
                    <a:lnTo>
                      <a:pt x="6" y="174"/>
                    </a:lnTo>
                    <a:lnTo>
                      <a:pt x="6" y="169"/>
                    </a:lnTo>
                    <a:lnTo>
                      <a:pt x="6" y="165"/>
                    </a:lnTo>
                    <a:lnTo>
                      <a:pt x="6" y="161"/>
                    </a:lnTo>
                    <a:lnTo>
                      <a:pt x="6" y="158"/>
                    </a:lnTo>
                    <a:lnTo>
                      <a:pt x="6" y="153"/>
                    </a:lnTo>
                    <a:lnTo>
                      <a:pt x="6" y="152"/>
                    </a:lnTo>
                    <a:lnTo>
                      <a:pt x="6" y="151"/>
                    </a:lnTo>
                    <a:lnTo>
                      <a:pt x="6" y="148"/>
                    </a:lnTo>
                    <a:lnTo>
                      <a:pt x="6" y="147"/>
                    </a:lnTo>
                    <a:lnTo>
                      <a:pt x="6" y="146"/>
                    </a:lnTo>
                    <a:lnTo>
                      <a:pt x="7" y="146"/>
                    </a:lnTo>
                    <a:lnTo>
                      <a:pt x="6" y="145"/>
                    </a:lnTo>
                    <a:lnTo>
                      <a:pt x="6" y="143"/>
                    </a:lnTo>
                    <a:lnTo>
                      <a:pt x="6" y="130"/>
                    </a:lnTo>
                    <a:lnTo>
                      <a:pt x="6" y="129"/>
                    </a:lnTo>
                    <a:lnTo>
                      <a:pt x="6" y="123"/>
                    </a:lnTo>
                    <a:lnTo>
                      <a:pt x="6" y="116"/>
                    </a:lnTo>
                    <a:lnTo>
                      <a:pt x="6" y="112"/>
                    </a:lnTo>
                    <a:lnTo>
                      <a:pt x="7" y="107"/>
                    </a:lnTo>
                    <a:lnTo>
                      <a:pt x="6" y="105"/>
                    </a:lnTo>
                    <a:lnTo>
                      <a:pt x="6" y="104"/>
                    </a:lnTo>
                    <a:lnTo>
                      <a:pt x="6" y="103"/>
                    </a:lnTo>
                    <a:lnTo>
                      <a:pt x="6" y="102"/>
                    </a:lnTo>
                    <a:lnTo>
                      <a:pt x="6" y="100"/>
                    </a:lnTo>
                    <a:lnTo>
                      <a:pt x="6" y="97"/>
                    </a:lnTo>
                    <a:lnTo>
                      <a:pt x="6" y="94"/>
                    </a:lnTo>
                    <a:lnTo>
                      <a:pt x="5" y="92"/>
                    </a:lnTo>
                    <a:lnTo>
                      <a:pt x="5" y="91"/>
                    </a:lnTo>
                    <a:lnTo>
                      <a:pt x="5" y="90"/>
                    </a:lnTo>
                    <a:lnTo>
                      <a:pt x="4" y="90"/>
                    </a:lnTo>
                    <a:lnTo>
                      <a:pt x="5" y="90"/>
                    </a:lnTo>
                    <a:lnTo>
                      <a:pt x="5" y="89"/>
                    </a:lnTo>
                    <a:lnTo>
                      <a:pt x="4" y="89"/>
                    </a:lnTo>
                    <a:lnTo>
                      <a:pt x="4" y="88"/>
                    </a:lnTo>
                    <a:lnTo>
                      <a:pt x="5" y="88"/>
                    </a:lnTo>
                    <a:lnTo>
                      <a:pt x="4" y="88"/>
                    </a:lnTo>
                    <a:lnTo>
                      <a:pt x="5" y="88"/>
                    </a:lnTo>
                    <a:lnTo>
                      <a:pt x="5" y="87"/>
                    </a:lnTo>
                    <a:lnTo>
                      <a:pt x="6" y="87"/>
                    </a:lnTo>
                    <a:lnTo>
                      <a:pt x="6" y="86"/>
                    </a:lnTo>
                    <a:lnTo>
                      <a:pt x="6" y="85"/>
                    </a:lnTo>
                    <a:lnTo>
                      <a:pt x="6" y="86"/>
                    </a:lnTo>
                    <a:lnTo>
                      <a:pt x="6" y="85"/>
                    </a:lnTo>
                    <a:lnTo>
                      <a:pt x="7" y="85"/>
                    </a:lnTo>
                    <a:lnTo>
                      <a:pt x="7" y="84"/>
                    </a:lnTo>
                    <a:lnTo>
                      <a:pt x="7" y="83"/>
                    </a:lnTo>
                    <a:lnTo>
                      <a:pt x="7" y="82"/>
                    </a:lnTo>
                    <a:lnTo>
                      <a:pt x="6" y="82"/>
                    </a:lnTo>
                    <a:lnTo>
                      <a:pt x="6" y="81"/>
                    </a:lnTo>
                    <a:lnTo>
                      <a:pt x="6" y="79"/>
                    </a:lnTo>
                    <a:lnTo>
                      <a:pt x="5" y="79"/>
                    </a:lnTo>
                    <a:lnTo>
                      <a:pt x="5" y="78"/>
                    </a:lnTo>
                    <a:lnTo>
                      <a:pt x="4" y="78"/>
                    </a:lnTo>
                    <a:lnTo>
                      <a:pt x="4" y="77"/>
                    </a:lnTo>
                    <a:lnTo>
                      <a:pt x="4" y="76"/>
                    </a:lnTo>
                    <a:lnTo>
                      <a:pt x="4" y="75"/>
                    </a:lnTo>
                    <a:lnTo>
                      <a:pt x="4" y="76"/>
                    </a:lnTo>
                    <a:lnTo>
                      <a:pt x="4" y="75"/>
                    </a:lnTo>
                    <a:lnTo>
                      <a:pt x="5" y="75"/>
                    </a:lnTo>
                    <a:lnTo>
                      <a:pt x="4" y="74"/>
                    </a:lnTo>
                    <a:lnTo>
                      <a:pt x="5" y="74"/>
                    </a:lnTo>
                    <a:lnTo>
                      <a:pt x="4" y="74"/>
                    </a:lnTo>
                    <a:lnTo>
                      <a:pt x="4" y="73"/>
                    </a:lnTo>
                    <a:lnTo>
                      <a:pt x="5" y="73"/>
                    </a:lnTo>
                    <a:lnTo>
                      <a:pt x="4" y="73"/>
                    </a:lnTo>
                    <a:lnTo>
                      <a:pt x="5" y="73"/>
                    </a:lnTo>
                    <a:lnTo>
                      <a:pt x="4" y="73"/>
                    </a:lnTo>
                    <a:lnTo>
                      <a:pt x="5" y="73"/>
                    </a:lnTo>
                    <a:lnTo>
                      <a:pt x="5" y="72"/>
                    </a:lnTo>
                    <a:lnTo>
                      <a:pt x="4" y="72"/>
                    </a:lnTo>
                    <a:lnTo>
                      <a:pt x="5" y="72"/>
                    </a:lnTo>
                    <a:lnTo>
                      <a:pt x="4" y="72"/>
                    </a:lnTo>
                    <a:lnTo>
                      <a:pt x="4" y="71"/>
                    </a:lnTo>
                    <a:lnTo>
                      <a:pt x="5" y="71"/>
                    </a:lnTo>
                    <a:lnTo>
                      <a:pt x="4" y="71"/>
                    </a:lnTo>
                    <a:lnTo>
                      <a:pt x="5" y="71"/>
                    </a:lnTo>
                    <a:lnTo>
                      <a:pt x="4" y="71"/>
                    </a:lnTo>
                    <a:lnTo>
                      <a:pt x="3" y="71"/>
                    </a:lnTo>
                    <a:lnTo>
                      <a:pt x="3" y="70"/>
                    </a:lnTo>
                    <a:lnTo>
                      <a:pt x="3" y="69"/>
                    </a:lnTo>
                    <a:lnTo>
                      <a:pt x="4" y="69"/>
                    </a:lnTo>
                    <a:lnTo>
                      <a:pt x="4" y="68"/>
                    </a:lnTo>
                    <a:lnTo>
                      <a:pt x="3" y="68"/>
                    </a:lnTo>
                    <a:lnTo>
                      <a:pt x="4" y="68"/>
                    </a:lnTo>
                    <a:lnTo>
                      <a:pt x="3" y="68"/>
                    </a:lnTo>
                    <a:lnTo>
                      <a:pt x="3" y="66"/>
                    </a:lnTo>
                    <a:lnTo>
                      <a:pt x="4" y="65"/>
                    </a:lnTo>
                    <a:lnTo>
                      <a:pt x="3" y="65"/>
                    </a:lnTo>
                    <a:lnTo>
                      <a:pt x="4" y="65"/>
                    </a:lnTo>
                    <a:lnTo>
                      <a:pt x="3" y="65"/>
                    </a:lnTo>
                    <a:lnTo>
                      <a:pt x="4" y="64"/>
                    </a:lnTo>
                    <a:lnTo>
                      <a:pt x="3" y="64"/>
                    </a:lnTo>
                    <a:lnTo>
                      <a:pt x="3" y="63"/>
                    </a:lnTo>
                    <a:lnTo>
                      <a:pt x="2" y="63"/>
                    </a:lnTo>
                    <a:lnTo>
                      <a:pt x="3" y="62"/>
                    </a:lnTo>
                    <a:lnTo>
                      <a:pt x="3" y="61"/>
                    </a:lnTo>
                    <a:lnTo>
                      <a:pt x="2" y="61"/>
                    </a:lnTo>
                    <a:lnTo>
                      <a:pt x="3" y="61"/>
                    </a:lnTo>
                    <a:lnTo>
                      <a:pt x="4" y="61"/>
                    </a:lnTo>
                    <a:lnTo>
                      <a:pt x="4" y="60"/>
                    </a:lnTo>
                    <a:lnTo>
                      <a:pt x="5" y="60"/>
                    </a:lnTo>
                    <a:lnTo>
                      <a:pt x="4" y="60"/>
                    </a:lnTo>
                    <a:lnTo>
                      <a:pt x="4" y="59"/>
                    </a:lnTo>
                    <a:lnTo>
                      <a:pt x="5" y="59"/>
                    </a:lnTo>
                    <a:lnTo>
                      <a:pt x="5" y="58"/>
                    </a:lnTo>
                    <a:lnTo>
                      <a:pt x="6" y="58"/>
                    </a:lnTo>
                    <a:lnTo>
                      <a:pt x="5" y="58"/>
                    </a:lnTo>
                    <a:lnTo>
                      <a:pt x="5" y="57"/>
                    </a:lnTo>
                    <a:lnTo>
                      <a:pt x="5" y="56"/>
                    </a:lnTo>
                    <a:lnTo>
                      <a:pt x="5" y="55"/>
                    </a:lnTo>
                    <a:lnTo>
                      <a:pt x="5" y="53"/>
                    </a:lnTo>
                    <a:lnTo>
                      <a:pt x="6" y="53"/>
                    </a:lnTo>
                    <a:lnTo>
                      <a:pt x="5" y="53"/>
                    </a:lnTo>
                    <a:lnTo>
                      <a:pt x="5" y="52"/>
                    </a:lnTo>
                    <a:lnTo>
                      <a:pt x="6" y="52"/>
                    </a:lnTo>
                    <a:lnTo>
                      <a:pt x="5" y="52"/>
                    </a:lnTo>
                    <a:lnTo>
                      <a:pt x="6" y="52"/>
                    </a:lnTo>
                    <a:lnTo>
                      <a:pt x="6" y="51"/>
                    </a:lnTo>
                    <a:lnTo>
                      <a:pt x="6" y="50"/>
                    </a:lnTo>
                    <a:lnTo>
                      <a:pt x="6" y="49"/>
                    </a:lnTo>
                    <a:lnTo>
                      <a:pt x="5" y="49"/>
                    </a:lnTo>
                    <a:lnTo>
                      <a:pt x="6" y="49"/>
                    </a:lnTo>
                    <a:lnTo>
                      <a:pt x="6" y="48"/>
                    </a:lnTo>
                    <a:lnTo>
                      <a:pt x="7" y="48"/>
                    </a:lnTo>
                    <a:lnTo>
                      <a:pt x="7" y="47"/>
                    </a:lnTo>
                    <a:lnTo>
                      <a:pt x="6" y="48"/>
                    </a:lnTo>
                    <a:lnTo>
                      <a:pt x="6" y="47"/>
                    </a:lnTo>
                    <a:lnTo>
                      <a:pt x="7" y="47"/>
                    </a:lnTo>
                    <a:lnTo>
                      <a:pt x="6" y="47"/>
                    </a:lnTo>
                    <a:lnTo>
                      <a:pt x="7" y="46"/>
                    </a:lnTo>
                    <a:lnTo>
                      <a:pt x="6" y="46"/>
                    </a:lnTo>
                    <a:lnTo>
                      <a:pt x="5" y="45"/>
                    </a:lnTo>
                    <a:lnTo>
                      <a:pt x="4" y="45"/>
                    </a:lnTo>
                    <a:lnTo>
                      <a:pt x="5" y="45"/>
                    </a:lnTo>
                    <a:lnTo>
                      <a:pt x="5" y="44"/>
                    </a:lnTo>
                    <a:lnTo>
                      <a:pt x="4" y="44"/>
                    </a:lnTo>
                    <a:lnTo>
                      <a:pt x="4" y="43"/>
                    </a:lnTo>
                    <a:lnTo>
                      <a:pt x="3" y="43"/>
                    </a:lnTo>
                    <a:lnTo>
                      <a:pt x="3" y="44"/>
                    </a:lnTo>
                    <a:lnTo>
                      <a:pt x="3" y="43"/>
                    </a:lnTo>
                    <a:lnTo>
                      <a:pt x="3" y="41"/>
                    </a:lnTo>
                    <a:lnTo>
                      <a:pt x="3" y="43"/>
                    </a:lnTo>
                    <a:lnTo>
                      <a:pt x="3" y="41"/>
                    </a:lnTo>
                    <a:lnTo>
                      <a:pt x="3" y="40"/>
                    </a:lnTo>
                    <a:lnTo>
                      <a:pt x="4" y="40"/>
                    </a:lnTo>
                    <a:lnTo>
                      <a:pt x="3" y="40"/>
                    </a:lnTo>
                    <a:lnTo>
                      <a:pt x="4" y="39"/>
                    </a:lnTo>
                    <a:lnTo>
                      <a:pt x="3" y="38"/>
                    </a:lnTo>
                    <a:lnTo>
                      <a:pt x="3" y="37"/>
                    </a:lnTo>
                    <a:lnTo>
                      <a:pt x="4" y="37"/>
                    </a:lnTo>
                    <a:lnTo>
                      <a:pt x="4" y="36"/>
                    </a:lnTo>
                    <a:lnTo>
                      <a:pt x="3" y="36"/>
                    </a:lnTo>
                    <a:lnTo>
                      <a:pt x="3" y="35"/>
                    </a:lnTo>
                    <a:lnTo>
                      <a:pt x="2" y="35"/>
                    </a:lnTo>
                    <a:lnTo>
                      <a:pt x="2" y="34"/>
                    </a:lnTo>
                    <a:lnTo>
                      <a:pt x="2" y="33"/>
                    </a:lnTo>
                    <a:lnTo>
                      <a:pt x="3" y="31"/>
                    </a:lnTo>
                    <a:lnTo>
                      <a:pt x="3" y="30"/>
                    </a:lnTo>
                    <a:lnTo>
                      <a:pt x="3" y="28"/>
                    </a:lnTo>
                    <a:lnTo>
                      <a:pt x="3" y="27"/>
                    </a:lnTo>
                    <a:lnTo>
                      <a:pt x="2" y="27"/>
                    </a:lnTo>
                    <a:lnTo>
                      <a:pt x="3" y="27"/>
                    </a:lnTo>
                    <a:lnTo>
                      <a:pt x="3" y="26"/>
                    </a:lnTo>
                    <a:lnTo>
                      <a:pt x="2" y="26"/>
                    </a:lnTo>
                    <a:lnTo>
                      <a:pt x="3" y="26"/>
                    </a:lnTo>
                    <a:lnTo>
                      <a:pt x="3" y="25"/>
                    </a:lnTo>
                    <a:lnTo>
                      <a:pt x="3" y="24"/>
                    </a:lnTo>
                    <a:lnTo>
                      <a:pt x="4" y="24"/>
                    </a:lnTo>
                    <a:lnTo>
                      <a:pt x="5" y="24"/>
                    </a:lnTo>
                    <a:lnTo>
                      <a:pt x="5" y="23"/>
                    </a:lnTo>
                    <a:lnTo>
                      <a:pt x="5" y="22"/>
                    </a:lnTo>
                    <a:lnTo>
                      <a:pt x="5" y="21"/>
                    </a:lnTo>
                    <a:lnTo>
                      <a:pt x="4" y="21"/>
                    </a:lnTo>
                    <a:lnTo>
                      <a:pt x="4" y="20"/>
                    </a:lnTo>
                    <a:lnTo>
                      <a:pt x="3" y="20"/>
                    </a:lnTo>
                    <a:lnTo>
                      <a:pt x="3" y="19"/>
                    </a:lnTo>
                    <a:lnTo>
                      <a:pt x="3" y="18"/>
                    </a:lnTo>
                    <a:lnTo>
                      <a:pt x="3" y="19"/>
                    </a:lnTo>
                    <a:lnTo>
                      <a:pt x="3" y="18"/>
                    </a:lnTo>
                    <a:lnTo>
                      <a:pt x="2" y="18"/>
                    </a:lnTo>
                    <a:lnTo>
                      <a:pt x="2" y="17"/>
                    </a:lnTo>
                    <a:lnTo>
                      <a:pt x="2" y="15"/>
                    </a:lnTo>
                    <a:lnTo>
                      <a:pt x="2" y="14"/>
                    </a:lnTo>
                    <a:lnTo>
                      <a:pt x="3" y="14"/>
                    </a:lnTo>
                    <a:lnTo>
                      <a:pt x="2" y="14"/>
                    </a:lnTo>
                    <a:lnTo>
                      <a:pt x="3" y="13"/>
                    </a:lnTo>
                    <a:lnTo>
                      <a:pt x="2" y="13"/>
                    </a:lnTo>
                    <a:lnTo>
                      <a:pt x="3" y="12"/>
                    </a:lnTo>
                    <a:lnTo>
                      <a:pt x="3" y="11"/>
                    </a:lnTo>
                    <a:lnTo>
                      <a:pt x="2" y="11"/>
                    </a:lnTo>
                    <a:lnTo>
                      <a:pt x="2" y="10"/>
                    </a:lnTo>
                    <a:lnTo>
                      <a:pt x="1" y="10"/>
                    </a:lnTo>
                    <a:lnTo>
                      <a:pt x="2" y="10"/>
                    </a:lnTo>
                    <a:lnTo>
                      <a:pt x="2" y="9"/>
                    </a:lnTo>
                    <a:lnTo>
                      <a:pt x="2" y="8"/>
                    </a:lnTo>
                    <a:lnTo>
                      <a:pt x="1" y="8"/>
                    </a:lnTo>
                    <a:lnTo>
                      <a:pt x="1" y="7"/>
                    </a:lnTo>
                    <a:lnTo>
                      <a:pt x="0" y="7"/>
                    </a:lnTo>
                    <a:lnTo>
                      <a:pt x="0" y="8"/>
                    </a:lnTo>
                    <a:lnTo>
                      <a:pt x="0" y="7"/>
                    </a:lnTo>
                    <a:lnTo>
                      <a:pt x="0" y="6"/>
                    </a:lnTo>
                    <a:lnTo>
                      <a:pt x="1" y="5"/>
                    </a:lnTo>
                    <a:lnTo>
                      <a:pt x="0" y="4"/>
                    </a:lnTo>
                    <a:lnTo>
                      <a:pt x="0" y="2"/>
                    </a:lnTo>
                    <a:lnTo>
                      <a:pt x="0" y="1"/>
                    </a:lnTo>
                    <a:lnTo>
                      <a:pt x="0" y="0"/>
                    </a:lnTo>
                    <a:lnTo>
                      <a:pt x="7" y="1"/>
                    </a:lnTo>
                    <a:lnTo>
                      <a:pt x="18" y="4"/>
                    </a:lnTo>
                    <a:lnTo>
                      <a:pt x="20" y="4"/>
                    </a:lnTo>
                    <a:lnTo>
                      <a:pt x="23" y="5"/>
                    </a:lnTo>
                    <a:lnTo>
                      <a:pt x="25" y="5"/>
                    </a:lnTo>
                    <a:lnTo>
                      <a:pt x="32" y="7"/>
                    </a:lnTo>
                    <a:lnTo>
                      <a:pt x="44" y="9"/>
                    </a:lnTo>
                    <a:lnTo>
                      <a:pt x="49" y="10"/>
                    </a:lnTo>
                    <a:lnTo>
                      <a:pt x="53" y="10"/>
                    </a:lnTo>
                    <a:lnTo>
                      <a:pt x="53" y="11"/>
                    </a:lnTo>
                    <a:lnTo>
                      <a:pt x="55" y="11"/>
                    </a:lnTo>
                    <a:lnTo>
                      <a:pt x="56" y="11"/>
                    </a:lnTo>
                    <a:lnTo>
                      <a:pt x="57" y="11"/>
                    </a:lnTo>
                    <a:lnTo>
                      <a:pt x="71" y="14"/>
                    </a:lnTo>
                    <a:lnTo>
                      <a:pt x="72" y="14"/>
                    </a:lnTo>
                    <a:lnTo>
                      <a:pt x="77" y="15"/>
                    </a:lnTo>
                    <a:lnTo>
                      <a:pt x="81" y="17"/>
                    </a:lnTo>
                    <a:lnTo>
                      <a:pt x="83" y="18"/>
                    </a:lnTo>
                    <a:lnTo>
                      <a:pt x="84" y="18"/>
                    </a:lnTo>
                    <a:lnTo>
                      <a:pt x="87" y="19"/>
                    </a:lnTo>
                    <a:lnTo>
                      <a:pt x="97" y="20"/>
                    </a:lnTo>
                    <a:lnTo>
                      <a:pt x="107" y="22"/>
                    </a:lnTo>
                    <a:lnTo>
                      <a:pt x="115" y="24"/>
                    </a:lnTo>
                    <a:lnTo>
                      <a:pt x="117" y="24"/>
                    </a:lnTo>
                    <a:lnTo>
                      <a:pt x="123" y="25"/>
                    </a:lnTo>
                    <a:lnTo>
                      <a:pt x="129" y="26"/>
                    </a:lnTo>
                    <a:lnTo>
                      <a:pt x="131" y="27"/>
                    </a:lnTo>
                    <a:lnTo>
                      <a:pt x="143" y="30"/>
                    </a:lnTo>
                    <a:lnTo>
                      <a:pt x="150" y="31"/>
                    </a:lnTo>
                    <a:lnTo>
                      <a:pt x="155" y="32"/>
                    </a:lnTo>
                    <a:lnTo>
                      <a:pt x="156" y="32"/>
                    </a:lnTo>
                    <a:lnTo>
                      <a:pt x="158" y="33"/>
                    </a:lnTo>
                    <a:lnTo>
                      <a:pt x="159" y="33"/>
                    </a:lnTo>
                    <a:lnTo>
                      <a:pt x="160" y="33"/>
                    </a:lnTo>
                    <a:lnTo>
                      <a:pt x="161" y="33"/>
                    </a:lnTo>
                    <a:lnTo>
                      <a:pt x="163" y="33"/>
                    </a:lnTo>
                    <a:lnTo>
                      <a:pt x="164" y="33"/>
                    </a:lnTo>
                    <a:lnTo>
                      <a:pt x="167" y="33"/>
                    </a:lnTo>
                    <a:lnTo>
                      <a:pt x="168" y="33"/>
                    </a:lnTo>
                    <a:lnTo>
                      <a:pt x="170" y="33"/>
                    </a:lnTo>
                    <a:lnTo>
                      <a:pt x="178" y="33"/>
                    </a:lnTo>
                    <a:lnTo>
                      <a:pt x="181" y="33"/>
                    </a:lnTo>
                    <a:lnTo>
                      <a:pt x="188" y="33"/>
                    </a:lnTo>
                    <a:lnTo>
                      <a:pt x="189" y="33"/>
                    </a:lnTo>
                    <a:lnTo>
                      <a:pt x="194" y="33"/>
                    </a:lnTo>
                    <a:lnTo>
                      <a:pt x="197" y="33"/>
                    </a:lnTo>
                    <a:lnTo>
                      <a:pt x="202" y="33"/>
                    </a:lnTo>
                    <a:lnTo>
                      <a:pt x="212" y="33"/>
                    </a:lnTo>
                    <a:lnTo>
                      <a:pt x="215" y="33"/>
                    </a:lnTo>
                    <a:lnTo>
                      <a:pt x="219" y="33"/>
                    </a:lnTo>
                    <a:lnTo>
                      <a:pt x="233" y="33"/>
                    </a:lnTo>
                    <a:lnTo>
                      <a:pt x="235" y="33"/>
                    </a:lnTo>
                    <a:lnTo>
                      <a:pt x="236" y="33"/>
                    </a:lnTo>
                    <a:lnTo>
                      <a:pt x="239" y="33"/>
                    </a:lnTo>
                    <a:lnTo>
                      <a:pt x="240" y="33"/>
                    </a:lnTo>
                    <a:lnTo>
                      <a:pt x="241" y="33"/>
                    </a:lnTo>
                    <a:lnTo>
                      <a:pt x="252" y="33"/>
                    </a:lnTo>
                    <a:close/>
                    <a:moveTo>
                      <a:pt x="443" y="375"/>
                    </a:moveTo>
                    <a:lnTo>
                      <a:pt x="443" y="377"/>
                    </a:lnTo>
                    <a:lnTo>
                      <a:pt x="443" y="380"/>
                    </a:lnTo>
                    <a:lnTo>
                      <a:pt x="440" y="378"/>
                    </a:lnTo>
                    <a:lnTo>
                      <a:pt x="440" y="377"/>
                    </a:lnTo>
                    <a:lnTo>
                      <a:pt x="439" y="377"/>
                    </a:lnTo>
                    <a:lnTo>
                      <a:pt x="436" y="377"/>
                    </a:lnTo>
                    <a:lnTo>
                      <a:pt x="428" y="378"/>
                    </a:lnTo>
                    <a:lnTo>
                      <a:pt x="426" y="379"/>
                    </a:lnTo>
                    <a:lnTo>
                      <a:pt x="420" y="382"/>
                    </a:lnTo>
                    <a:lnTo>
                      <a:pt x="418" y="384"/>
                    </a:lnTo>
                    <a:lnTo>
                      <a:pt x="417" y="386"/>
                    </a:lnTo>
                    <a:lnTo>
                      <a:pt x="417" y="387"/>
                    </a:lnTo>
                    <a:lnTo>
                      <a:pt x="417" y="390"/>
                    </a:lnTo>
                    <a:lnTo>
                      <a:pt x="417" y="391"/>
                    </a:lnTo>
                    <a:lnTo>
                      <a:pt x="418" y="392"/>
                    </a:lnTo>
                    <a:lnTo>
                      <a:pt x="417" y="393"/>
                    </a:lnTo>
                    <a:lnTo>
                      <a:pt x="416" y="394"/>
                    </a:lnTo>
                    <a:lnTo>
                      <a:pt x="414" y="395"/>
                    </a:lnTo>
                    <a:lnTo>
                      <a:pt x="412" y="397"/>
                    </a:lnTo>
                    <a:lnTo>
                      <a:pt x="410" y="397"/>
                    </a:lnTo>
                    <a:lnTo>
                      <a:pt x="409" y="398"/>
                    </a:lnTo>
                    <a:lnTo>
                      <a:pt x="408" y="398"/>
                    </a:lnTo>
                    <a:lnTo>
                      <a:pt x="407" y="398"/>
                    </a:lnTo>
                    <a:lnTo>
                      <a:pt x="406" y="398"/>
                    </a:lnTo>
                    <a:lnTo>
                      <a:pt x="404" y="399"/>
                    </a:lnTo>
                    <a:lnTo>
                      <a:pt x="402" y="397"/>
                    </a:lnTo>
                    <a:lnTo>
                      <a:pt x="401" y="396"/>
                    </a:lnTo>
                    <a:lnTo>
                      <a:pt x="400" y="396"/>
                    </a:lnTo>
                    <a:lnTo>
                      <a:pt x="397" y="396"/>
                    </a:lnTo>
                    <a:lnTo>
                      <a:pt x="394" y="395"/>
                    </a:lnTo>
                    <a:lnTo>
                      <a:pt x="393" y="395"/>
                    </a:lnTo>
                    <a:lnTo>
                      <a:pt x="392" y="395"/>
                    </a:lnTo>
                    <a:lnTo>
                      <a:pt x="392" y="394"/>
                    </a:lnTo>
                    <a:lnTo>
                      <a:pt x="387" y="394"/>
                    </a:lnTo>
                    <a:lnTo>
                      <a:pt x="387" y="393"/>
                    </a:lnTo>
                    <a:lnTo>
                      <a:pt x="387" y="392"/>
                    </a:lnTo>
                    <a:lnTo>
                      <a:pt x="387" y="391"/>
                    </a:lnTo>
                    <a:lnTo>
                      <a:pt x="388" y="390"/>
                    </a:lnTo>
                    <a:lnTo>
                      <a:pt x="388" y="391"/>
                    </a:lnTo>
                    <a:lnTo>
                      <a:pt x="389" y="391"/>
                    </a:lnTo>
                    <a:lnTo>
                      <a:pt x="390" y="391"/>
                    </a:lnTo>
                    <a:lnTo>
                      <a:pt x="391" y="391"/>
                    </a:lnTo>
                    <a:lnTo>
                      <a:pt x="392" y="391"/>
                    </a:lnTo>
                    <a:lnTo>
                      <a:pt x="393" y="392"/>
                    </a:lnTo>
                    <a:lnTo>
                      <a:pt x="394" y="393"/>
                    </a:lnTo>
                    <a:lnTo>
                      <a:pt x="395" y="393"/>
                    </a:lnTo>
                    <a:lnTo>
                      <a:pt x="397" y="393"/>
                    </a:lnTo>
                    <a:lnTo>
                      <a:pt x="399" y="393"/>
                    </a:lnTo>
                    <a:lnTo>
                      <a:pt x="399" y="392"/>
                    </a:lnTo>
                    <a:lnTo>
                      <a:pt x="400" y="391"/>
                    </a:lnTo>
                    <a:lnTo>
                      <a:pt x="400" y="392"/>
                    </a:lnTo>
                    <a:lnTo>
                      <a:pt x="401" y="392"/>
                    </a:lnTo>
                    <a:lnTo>
                      <a:pt x="401" y="393"/>
                    </a:lnTo>
                    <a:lnTo>
                      <a:pt x="402" y="393"/>
                    </a:lnTo>
                    <a:lnTo>
                      <a:pt x="402" y="392"/>
                    </a:lnTo>
                    <a:lnTo>
                      <a:pt x="403" y="392"/>
                    </a:lnTo>
                    <a:lnTo>
                      <a:pt x="404" y="391"/>
                    </a:lnTo>
                    <a:lnTo>
                      <a:pt x="405" y="390"/>
                    </a:lnTo>
                    <a:lnTo>
                      <a:pt x="405" y="388"/>
                    </a:lnTo>
                    <a:lnTo>
                      <a:pt x="406" y="388"/>
                    </a:lnTo>
                    <a:lnTo>
                      <a:pt x="407" y="388"/>
                    </a:lnTo>
                    <a:lnTo>
                      <a:pt x="408" y="388"/>
                    </a:lnTo>
                    <a:lnTo>
                      <a:pt x="408" y="387"/>
                    </a:lnTo>
                    <a:lnTo>
                      <a:pt x="409" y="387"/>
                    </a:lnTo>
                    <a:lnTo>
                      <a:pt x="410" y="386"/>
                    </a:lnTo>
                    <a:lnTo>
                      <a:pt x="412" y="386"/>
                    </a:lnTo>
                    <a:lnTo>
                      <a:pt x="413" y="385"/>
                    </a:lnTo>
                    <a:lnTo>
                      <a:pt x="413" y="384"/>
                    </a:lnTo>
                    <a:lnTo>
                      <a:pt x="413" y="383"/>
                    </a:lnTo>
                    <a:lnTo>
                      <a:pt x="413" y="382"/>
                    </a:lnTo>
                    <a:lnTo>
                      <a:pt x="412" y="381"/>
                    </a:lnTo>
                    <a:lnTo>
                      <a:pt x="410" y="380"/>
                    </a:lnTo>
                    <a:lnTo>
                      <a:pt x="409" y="379"/>
                    </a:lnTo>
                    <a:lnTo>
                      <a:pt x="408" y="379"/>
                    </a:lnTo>
                    <a:lnTo>
                      <a:pt x="407" y="379"/>
                    </a:lnTo>
                    <a:lnTo>
                      <a:pt x="406" y="380"/>
                    </a:lnTo>
                    <a:lnTo>
                      <a:pt x="406" y="379"/>
                    </a:lnTo>
                    <a:lnTo>
                      <a:pt x="407" y="378"/>
                    </a:lnTo>
                    <a:lnTo>
                      <a:pt x="409" y="378"/>
                    </a:lnTo>
                    <a:lnTo>
                      <a:pt x="410" y="377"/>
                    </a:lnTo>
                    <a:lnTo>
                      <a:pt x="413" y="378"/>
                    </a:lnTo>
                    <a:lnTo>
                      <a:pt x="416" y="379"/>
                    </a:lnTo>
                    <a:lnTo>
                      <a:pt x="417" y="379"/>
                    </a:lnTo>
                    <a:lnTo>
                      <a:pt x="419" y="379"/>
                    </a:lnTo>
                    <a:lnTo>
                      <a:pt x="420" y="379"/>
                    </a:lnTo>
                    <a:lnTo>
                      <a:pt x="422" y="378"/>
                    </a:lnTo>
                    <a:lnTo>
                      <a:pt x="426" y="377"/>
                    </a:lnTo>
                    <a:lnTo>
                      <a:pt x="427" y="375"/>
                    </a:lnTo>
                    <a:lnTo>
                      <a:pt x="428" y="375"/>
                    </a:lnTo>
                    <a:lnTo>
                      <a:pt x="429" y="374"/>
                    </a:lnTo>
                    <a:lnTo>
                      <a:pt x="430" y="373"/>
                    </a:lnTo>
                    <a:lnTo>
                      <a:pt x="432" y="372"/>
                    </a:lnTo>
                    <a:lnTo>
                      <a:pt x="434" y="369"/>
                    </a:lnTo>
                    <a:lnTo>
                      <a:pt x="435" y="368"/>
                    </a:lnTo>
                    <a:lnTo>
                      <a:pt x="438" y="368"/>
                    </a:lnTo>
                    <a:lnTo>
                      <a:pt x="439" y="368"/>
                    </a:lnTo>
                    <a:lnTo>
                      <a:pt x="440" y="368"/>
                    </a:lnTo>
                    <a:lnTo>
                      <a:pt x="442" y="369"/>
                    </a:lnTo>
                    <a:lnTo>
                      <a:pt x="444" y="372"/>
                    </a:lnTo>
                    <a:lnTo>
                      <a:pt x="444" y="373"/>
                    </a:lnTo>
                    <a:lnTo>
                      <a:pt x="443" y="375"/>
                    </a:lnTo>
                    <a:close/>
                  </a:path>
                </a:pathLst>
              </a:custGeom>
              <a:solidFill>
                <a:srgbClr val="093F7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7" name="Freeform 67">
                <a:extLst>
                  <a:ext uri="{FF2B5EF4-FFF2-40B4-BE49-F238E27FC236}">
                    <a16:creationId xmlns:a16="http://schemas.microsoft.com/office/drawing/2014/main" id="{4FA0A542-DF59-2AF1-E39E-0DEF78DB2B08}"/>
                  </a:ext>
                </a:extLst>
              </p:cNvPr>
              <p:cNvSpPr>
                <a:spLocks noEditPoints="1"/>
              </p:cNvSpPr>
              <p:nvPr/>
            </p:nvSpPr>
            <p:spPr bwMode="auto">
              <a:xfrm>
                <a:off x="4938713" y="4376738"/>
                <a:ext cx="496888" cy="346075"/>
              </a:xfrm>
              <a:custGeom>
                <a:avLst/>
                <a:gdLst>
                  <a:gd name="T0" fmla="*/ 164 w 313"/>
                  <a:gd name="T1" fmla="*/ 130 h 218"/>
                  <a:gd name="T2" fmla="*/ 147 w 313"/>
                  <a:gd name="T3" fmla="*/ 123 h 218"/>
                  <a:gd name="T4" fmla="*/ 129 w 313"/>
                  <a:gd name="T5" fmla="*/ 132 h 218"/>
                  <a:gd name="T6" fmla="*/ 112 w 313"/>
                  <a:gd name="T7" fmla="*/ 133 h 218"/>
                  <a:gd name="T8" fmla="*/ 92 w 313"/>
                  <a:gd name="T9" fmla="*/ 132 h 218"/>
                  <a:gd name="T10" fmla="*/ 87 w 313"/>
                  <a:gd name="T11" fmla="*/ 167 h 218"/>
                  <a:gd name="T12" fmla="*/ 142 w 313"/>
                  <a:gd name="T13" fmla="*/ 196 h 218"/>
                  <a:gd name="T14" fmla="*/ 126 w 313"/>
                  <a:gd name="T15" fmla="*/ 198 h 218"/>
                  <a:gd name="T16" fmla="*/ 85 w 313"/>
                  <a:gd name="T17" fmla="*/ 200 h 218"/>
                  <a:gd name="T18" fmla="*/ 47 w 313"/>
                  <a:gd name="T19" fmla="*/ 176 h 218"/>
                  <a:gd name="T20" fmla="*/ 10 w 313"/>
                  <a:gd name="T21" fmla="*/ 141 h 218"/>
                  <a:gd name="T22" fmla="*/ 15 w 313"/>
                  <a:gd name="T23" fmla="*/ 103 h 218"/>
                  <a:gd name="T24" fmla="*/ 31 w 313"/>
                  <a:gd name="T25" fmla="*/ 103 h 218"/>
                  <a:gd name="T26" fmla="*/ 49 w 313"/>
                  <a:gd name="T27" fmla="*/ 100 h 218"/>
                  <a:gd name="T28" fmla="*/ 67 w 313"/>
                  <a:gd name="T29" fmla="*/ 86 h 218"/>
                  <a:gd name="T30" fmla="*/ 78 w 313"/>
                  <a:gd name="T31" fmla="*/ 93 h 218"/>
                  <a:gd name="T32" fmla="*/ 115 w 313"/>
                  <a:gd name="T33" fmla="*/ 73 h 218"/>
                  <a:gd name="T34" fmla="*/ 163 w 313"/>
                  <a:gd name="T35" fmla="*/ 20 h 218"/>
                  <a:gd name="T36" fmla="*/ 165 w 313"/>
                  <a:gd name="T37" fmla="*/ 27 h 218"/>
                  <a:gd name="T38" fmla="*/ 175 w 313"/>
                  <a:gd name="T39" fmla="*/ 13 h 218"/>
                  <a:gd name="T40" fmla="*/ 172 w 313"/>
                  <a:gd name="T41" fmla="*/ 31 h 218"/>
                  <a:gd name="T42" fmla="*/ 180 w 313"/>
                  <a:gd name="T43" fmla="*/ 46 h 218"/>
                  <a:gd name="T44" fmla="*/ 181 w 313"/>
                  <a:gd name="T45" fmla="*/ 51 h 218"/>
                  <a:gd name="T46" fmla="*/ 187 w 313"/>
                  <a:gd name="T47" fmla="*/ 56 h 218"/>
                  <a:gd name="T48" fmla="*/ 201 w 313"/>
                  <a:gd name="T49" fmla="*/ 57 h 218"/>
                  <a:gd name="T50" fmla="*/ 208 w 313"/>
                  <a:gd name="T51" fmla="*/ 69 h 218"/>
                  <a:gd name="T52" fmla="*/ 210 w 313"/>
                  <a:gd name="T53" fmla="*/ 55 h 218"/>
                  <a:gd name="T54" fmla="*/ 217 w 313"/>
                  <a:gd name="T55" fmla="*/ 47 h 218"/>
                  <a:gd name="T56" fmla="*/ 228 w 313"/>
                  <a:gd name="T57" fmla="*/ 33 h 218"/>
                  <a:gd name="T58" fmla="*/ 240 w 313"/>
                  <a:gd name="T59" fmla="*/ 22 h 218"/>
                  <a:gd name="T60" fmla="*/ 242 w 313"/>
                  <a:gd name="T61" fmla="*/ 6 h 218"/>
                  <a:gd name="T62" fmla="*/ 244 w 313"/>
                  <a:gd name="T63" fmla="*/ 1 h 218"/>
                  <a:gd name="T64" fmla="*/ 247 w 313"/>
                  <a:gd name="T65" fmla="*/ 11 h 218"/>
                  <a:gd name="T66" fmla="*/ 244 w 313"/>
                  <a:gd name="T67" fmla="*/ 20 h 218"/>
                  <a:gd name="T68" fmla="*/ 234 w 313"/>
                  <a:gd name="T69" fmla="*/ 36 h 218"/>
                  <a:gd name="T70" fmla="*/ 230 w 313"/>
                  <a:gd name="T71" fmla="*/ 55 h 218"/>
                  <a:gd name="T72" fmla="*/ 243 w 313"/>
                  <a:gd name="T73" fmla="*/ 53 h 218"/>
                  <a:gd name="T74" fmla="*/ 246 w 313"/>
                  <a:gd name="T75" fmla="*/ 50 h 218"/>
                  <a:gd name="T76" fmla="*/ 252 w 313"/>
                  <a:gd name="T77" fmla="*/ 43 h 218"/>
                  <a:gd name="T78" fmla="*/ 259 w 313"/>
                  <a:gd name="T79" fmla="*/ 38 h 218"/>
                  <a:gd name="T80" fmla="*/ 269 w 313"/>
                  <a:gd name="T81" fmla="*/ 36 h 218"/>
                  <a:gd name="T82" fmla="*/ 272 w 313"/>
                  <a:gd name="T83" fmla="*/ 36 h 218"/>
                  <a:gd name="T84" fmla="*/ 274 w 313"/>
                  <a:gd name="T85" fmla="*/ 23 h 218"/>
                  <a:gd name="T86" fmla="*/ 266 w 313"/>
                  <a:gd name="T87" fmla="*/ 18 h 218"/>
                  <a:gd name="T88" fmla="*/ 260 w 313"/>
                  <a:gd name="T89" fmla="*/ 24 h 218"/>
                  <a:gd name="T90" fmla="*/ 261 w 313"/>
                  <a:gd name="T91" fmla="*/ 13 h 218"/>
                  <a:gd name="T92" fmla="*/ 281 w 313"/>
                  <a:gd name="T93" fmla="*/ 2 h 218"/>
                  <a:gd name="T94" fmla="*/ 297 w 313"/>
                  <a:gd name="T95" fmla="*/ 13 h 218"/>
                  <a:gd name="T96" fmla="*/ 304 w 313"/>
                  <a:gd name="T97" fmla="*/ 17 h 218"/>
                  <a:gd name="T98" fmla="*/ 312 w 313"/>
                  <a:gd name="T99" fmla="*/ 16 h 218"/>
                  <a:gd name="T100" fmla="*/ 296 w 313"/>
                  <a:gd name="T101" fmla="*/ 39 h 218"/>
                  <a:gd name="T102" fmla="*/ 282 w 313"/>
                  <a:gd name="T103" fmla="*/ 51 h 218"/>
                  <a:gd name="T104" fmla="*/ 273 w 313"/>
                  <a:gd name="T105" fmla="*/ 72 h 218"/>
                  <a:gd name="T106" fmla="*/ 253 w 313"/>
                  <a:gd name="T107" fmla="*/ 79 h 218"/>
                  <a:gd name="T108" fmla="*/ 256 w 313"/>
                  <a:gd name="T109" fmla="*/ 98 h 218"/>
                  <a:gd name="T110" fmla="*/ 246 w 313"/>
                  <a:gd name="T111" fmla="*/ 104 h 218"/>
                  <a:gd name="T112" fmla="*/ 228 w 313"/>
                  <a:gd name="T113" fmla="*/ 91 h 218"/>
                  <a:gd name="T114" fmla="*/ 213 w 313"/>
                  <a:gd name="T115" fmla="*/ 90 h 218"/>
                  <a:gd name="T116" fmla="*/ 190 w 313"/>
                  <a:gd name="T117" fmla="*/ 98 h 218"/>
                  <a:gd name="T118" fmla="*/ 176 w 313"/>
                  <a:gd name="T119" fmla="*/ 116 h 218"/>
                  <a:gd name="T120" fmla="*/ 249 w 313"/>
                  <a:gd name="T121" fmla="*/ 16 h 218"/>
                  <a:gd name="T122" fmla="*/ 248 w 313"/>
                  <a:gd name="T123" fmla="*/ 1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218">
                    <a:moveTo>
                      <a:pt x="170" y="124"/>
                    </a:moveTo>
                    <a:lnTo>
                      <a:pt x="169" y="125"/>
                    </a:lnTo>
                    <a:lnTo>
                      <a:pt x="168" y="125"/>
                    </a:lnTo>
                    <a:lnTo>
                      <a:pt x="168" y="126"/>
                    </a:lnTo>
                    <a:lnTo>
                      <a:pt x="169" y="126"/>
                    </a:lnTo>
                    <a:lnTo>
                      <a:pt x="169" y="127"/>
                    </a:lnTo>
                    <a:lnTo>
                      <a:pt x="171" y="128"/>
                    </a:lnTo>
                    <a:lnTo>
                      <a:pt x="172" y="128"/>
                    </a:lnTo>
                    <a:lnTo>
                      <a:pt x="172" y="129"/>
                    </a:lnTo>
                    <a:lnTo>
                      <a:pt x="172" y="130"/>
                    </a:lnTo>
                    <a:lnTo>
                      <a:pt x="171" y="130"/>
                    </a:lnTo>
                    <a:lnTo>
                      <a:pt x="171" y="131"/>
                    </a:lnTo>
                    <a:lnTo>
                      <a:pt x="170" y="131"/>
                    </a:lnTo>
                    <a:lnTo>
                      <a:pt x="170" y="132"/>
                    </a:lnTo>
                    <a:lnTo>
                      <a:pt x="169" y="132"/>
                    </a:lnTo>
                    <a:lnTo>
                      <a:pt x="168" y="132"/>
                    </a:lnTo>
                    <a:lnTo>
                      <a:pt x="168" y="131"/>
                    </a:lnTo>
                    <a:lnTo>
                      <a:pt x="167" y="131"/>
                    </a:lnTo>
                    <a:lnTo>
                      <a:pt x="167" y="130"/>
                    </a:lnTo>
                    <a:lnTo>
                      <a:pt x="167" y="129"/>
                    </a:lnTo>
                    <a:lnTo>
                      <a:pt x="166" y="128"/>
                    </a:lnTo>
                    <a:lnTo>
                      <a:pt x="165" y="128"/>
                    </a:lnTo>
                    <a:lnTo>
                      <a:pt x="165" y="129"/>
                    </a:lnTo>
                    <a:lnTo>
                      <a:pt x="164" y="129"/>
                    </a:lnTo>
                    <a:lnTo>
                      <a:pt x="164" y="130"/>
                    </a:lnTo>
                    <a:lnTo>
                      <a:pt x="163" y="131"/>
                    </a:lnTo>
                    <a:lnTo>
                      <a:pt x="163" y="132"/>
                    </a:lnTo>
                    <a:lnTo>
                      <a:pt x="162" y="132"/>
                    </a:lnTo>
                    <a:lnTo>
                      <a:pt x="160" y="133"/>
                    </a:lnTo>
                    <a:lnTo>
                      <a:pt x="159" y="133"/>
                    </a:lnTo>
                    <a:lnTo>
                      <a:pt x="158" y="133"/>
                    </a:lnTo>
                    <a:lnTo>
                      <a:pt x="158" y="132"/>
                    </a:lnTo>
                    <a:lnTo>
                      <a:pt x="157" y="131"/>
                    </a:lnTo>
                    <a:lnTo>
                      <a:pt x="156" y="130"/>
                    </a:lnTo>
                    <a:lnTo>
                      <a:pt x="156" y="129"/>
                    </a:lnTo>
                    <a:lnTo>
                      <a:pt x="156" y="128"/>
                    </a:lnTo>
                    <a:lnTo>
                      <a:pt x="157" y="128"/>
                    </a:lnTo>
                    <a:lnTo>
                      <a:pt x="156" y="128"/>
                    </a:lnTo>
                    <a:lnTo>
                      <a:pt x="156" y="127"/>
                    </a:lnTo>
                    <a:lnTo>
                      <a:pt x="156" y="126"/>
                    </a:lnTo>
                    <a:lnTo>
                      <a:pt x="155" y="126"/>
                    </a:lnTo>
                    <a:lnTo>
                      <a:pt x="154" y="125"/>
                    </a:lnTo>
                    <a:lnTo>
                      <a:pt x="154" y="124"/>
                    </a:lnTo>
                    <a:lnTo>
                      <a:pt x="153" y="124"/>
                    </a:lnTo>
                    <a:lnTo>
                      <a:pt x="152" y="123"/>
                    </a:lnTo>
                    <a:lnTo>
                      <a:pt x="151" y="121"/>
                    </a:lnTo>
                    <a:lnTo>
                      <a:pt x="150" y="121"/>
                    </a:lnTo>
                    <a:lnTo>
                      <a:pt x="150" y="123"/>
                    </a:lnTo>
                    <a:lnTo>
                      <a:pt x="149" y="123"/>
                    </a:lnTo>
                    <a:lnTo>
                      <a:pt x="147" y="123"/>
                    </a:lnTo>
                    <a:lnTo>
                      <a:pt x="145" y="121"/>
                    </a:lnTo>
                    <a:lnTo>
                      <a:pt x="144" y="121"/>
                    </a:lnTo>
                    <a:lnTo>
                      <a:pt x="144" y="123"/>
                    </a:lnTo>
                    <a:lnTo>
                      <a:pt x="143" y="123"/>
                    </a:lnTo>
                    <a:lnTo>
                      <a:pt x="142" y="123"/>
                    </a:lnTo>
                    <a:lnTo>
                      <a:pt x="141" y="123"/>
                    </a:lnTo>
                    <a:lnTo>
                      <a:pt x="140" y="124"/>
                    </a:lnTo>
                    <a:lnTo>
                      <a:pt x="139" y="124"/>
                    </a:lnTo>
                    <a:lnTo>
                      <a:pt x="138" y="124"/>
                    </a:lnTo>
                    <a:lnTo>
                      <a:pt x="138" y="125"/>
                    </a:lnTo>
                    <a:lnTo>
                      <a:pt x="138" y="126"/>
                    </a:lnTo>
                    <a:lnTo>
                      <a:pt x="137" y="126"/>
                    </a:lnTo>
                    <a:lnTo>
                      <a:pt x="136" y="127"/>
                    </a:lnTo>
                    <a:lnTo>
                      <a:pt x="136" y="128"/>
                    </a:lnTo>
                    <a:lnTo>
                      <a:pt x="134" y="128"/>
                    </a:lnTo>
                    <a:lnTo>
                      <a:pt x="133" y="129"/>
                    </a:lnTo>
                    <a:lnTo>
                      <a:pt x="132" y="129"/>
                    </a:lnTo>
                    <a:lnTo>
                      <a:pt x="132" y="130"/>
                    </a:lnTo>
                    <a:lnTo>
                      <a:pt x="132" y="131"/>
                    </a:lnTo>
                    <a:lnTo>
                      <a:pt x="132" y="130"/>
                    </a:lnTo>
                    <a:lnTo>
                      <a:pt x="132" y="131"/>
                    </a:lnTo>
                    <a:lnTo>
                      <a:pt x="131" y="130"/>
                    </a:lnTo>
                    <a:lnTo>
                      <a:pt x="131" y="131"/>
                    </a:lnTo>
                    <a:lnTo>
                      <a:pt x="130" y="132"/>
                    </a:lnTo>
                    <a:lnTo>
                      <a:pt x="129" y="132"/>
                    </a:lnTo>
                    <a:lnTo>
                      <a:pt x="128" y="132"/>
                    </a:lnTo>
                    <a:lnTo>
                      <a:pt x="127" y="132"/>
                    </a:lnTo>
                    <a:lnTo>
                      <a:pt x="126" y="132"/>
                    </a:lnTo>
                    <a:lnTo>
                      <a:pt x="126" y="133"/>
                    </a:lnTo>
                    <a:lnTo>
                      <a:pt x="125" y="133"/>
                    </a:lnTo>
                    <a:lnTo>
                      <a:pt x="125" y="134"/>
                    </a:lnTo>
                    <a:lnTo>
                      <a:pt x="124" y="134"/>
                    </a:lnTo>
                    <a:lnTo>
                      <a:pt x="124" y="136"/>
                    </a:lnTo>
                    <a:lnTo>
                      <a:pt x="124" y="137"/>
                    </a:lnTo>
                    <a:lnTo>
                      <a:pt x="123" y="138"/>
                    </a:lnTo>
                    <a:lnTo>
                      <a:pt x="120" y="137"/>
                    </a:lnTo>
                    <a:lnTo>
                      <a:pt x="120" y="136"/>
                    </a:lnTo>
                    <a:lnTo>
                      <a:pt x="119" y="136"/>
                    </a:lnTo>
                    <a:lnTo>
                      <a:pt x="118" y="136"/>
                    </a:lnTo>
                    <a:lnTo>
                      <a:pt x="118" y="137"/>
                    </a:lnTo>
                    <a:lnTo>
                      <a:pt x="117" y="137"/>
                    </a:lnTo>
                    <a:lnTo>
                      <a:pt x="116" y="137"/>
                    </a:lnTo>
                    <a:lnTo>
                      <a:pt x="115" y="137"/>
                    </a:lnTo>
                    <a:lnTo>
                      <a:pt x="114" y="137"/>
                    </a:lnTo>
                    <a:lnTo>
                      <a:pt x="114" y="136"/>
                    </a:lnTo>
                    <a:lnTo>
                      <a:pt x="113" y="134"/>
                    </a:lnTo>
                    <a:lnTo>
                      <a:pt x="113" y="133"/>
                    </a:lnTo>
                    <a:lnTo>
                      <a:pt x="113" y="132"/>
                    </a:lnTo>
                    <a:lnTo>
                      <a:pt x="112" y="132"/>
                    </a:lnTo>
                    <a:lnTo>
                      <a:pt x="112" y="133"/>
                    </a:lnTo>
                    <a:lnTo>
                      <a:pt x="111" y="133"/>
                    </a:lnTo>
                    <a:lnTo>
                      <a:pt x="110" y="133"/>
                    </a:lnTo>
                    <a:lnTo>
                      <a:pt x="108" y="132"/>
                    </a:lnTo>
                    <a:lnTo>
                      <a:pt x="108" y="131"/>
                    </a:lnTo>
                    <a:lnTo>
                      <a:pt x="107" y="130"/>
                    </a:lnTo>
                    <a:lnTo>
                      <a:pt x="106" y="130"/>
                    </a:lnTo>
                    <a:lnTo>
                      <a:pt x="105" y="130"/>
                    </a:lnTo>
                    <a:lnTo>
                      <a:pt x="104" y="129"/>
                    </a:lnTo>
                    <a:lnTo>
                      <a:pt x="104" y="128"/>
                    </a:lnTo>
                    <a:lnTo>
                      <a:pt x="103" y="127"/>
                    </a:lnTo>
                    <a:lnTo>
                      <a:pt x="102" y="127"/>
                    </a:lnTo>
                    <a:lnTo>
                      <a:pt x="101" y="127"/>
                    </a:lnTo>
                    <a:lnTo>
                      <a:pt x="101" y="128"/>
                    </a:lnTo>
                    <a:lnTo>
                      <a:pt x="100" y="128"/>
                    </a:lnTo>
                    <a:lnTo>
                      <a:pt x="100" y="129"/>
                    </a:lnTo>
                    <a:lnTo>
                      <a:pt x="99" y="130"/>
                    </a:lnTo>
                    <a:lnTo>
                      <a:pt x="98" y="131"/>
                    </a:lnTo>
                    <a:lnTo>
                      <a:pt x="98" y="132"/>
                    </a:lnTo>
                    <a:lnTo>
                      <a:pt x="97" y="132"/>
                    </a:lnTo>
                    <a:lnTo>
                      <a:pt x="95" y="132"/>
                    </a:lnTo>
                    <a:lnTo>
                      <a:pt x="94" y="131"/>
                    </a:lnTo>
                    <a:lnTo>
                      <a:pt x="93" y="131"/>
                    </a:lnTo>
                    <a:lnTo>
                      <a:pt x="92" y="130"/>
                    </a:lnTo>
                    <a:lnTo>
                      <a:pt x="92" y="131"/>
                    </a:lnTo>
                    <a:lnTo>
                      <a:pt x="92" y="132"/>
                    </a:lnTo>
                    <a:lnTo>
                      <a:pt x="91" y="133"/>
                    </a:lnTo>
                    <a:lnTo>
                      <a:pt x="91" y="134"/>
                    </a:lnTo>
                    <a:lnTo>
                      <a:pt x="89" y="140"/>
                    </a:lnTo>
                    <a:lnTo>
                      <a:pt x="88" y="140"/>
                    </a:lnTo>
                    <a:lnTo>
                      <a:pt x="89" y="137"/>
                    </a:lnTo>
                    <a:lnTo>
                      <a:pt x="88" y="137"/>
                    </a:lnTo>
                    <a:lnTo>
                      <a:pt x="87" y="138"/>
                    </a:lnTo>
                    <a:lnTo>
                      <a:pt x="86" y="138"/>
                    </a:lnTo>
                    <a:lnTo>
                      <a:pt x="86" y="139"/>
                    </a:lnTo>
                    <a:lnTo>
                      <a:pt x="87" y="139"/>
                    </a:lnTo>
                    <a:lnTo>
                      <a:pt x="88" y="140"/>
                    </a:lnTo>
                    <a:lnTo>
                      <a:pt x="87" y="141"/>
                    </a:lnTo>
                    <a:lnTo>
                      <a:pt x="87" y="142"/>
                    </a:lnTo>
                    <a:lnTo>
                      <a:pt x="86" y="143"/>
                    </a:lnTo>
                    <a:lnTo>
                      <a:pt x="84" y="150"/>
                    </a:lnTo>
                    <a:lnTo>
                      <a:pt x="82" y="153"/>
                    </a:lnTo>
                    <a:lnTo>
                      <a:pt x="81" y="153"/>
                    </a:lnTo>
                    <a:lnTo>
                      <a:pt x="81" y="154"/>
                    </a:lnTo>
                    <a:lnTo>
                      <a:pt x="80" y="156"/>
                    </a:lnTo>
                    <a:lnTo>
                      <a:pt x="79" y="159"/>
                    </a:lnTo>
                    <a:lnTo>
                      <a:pt x="78" y="162"/>
                    </a:lnTo>
                    <a:lnTo>
                      <a:pt x="79" y="162"/>
                    </a:lnTo>
                    <a:lnTo>
                      <a:pt x="81" y="163"/>
                    </a:lnTo>
                    <a:lnTo>
                      <a:pt x="82" y="164"/>
                    </a:lnTo>
                    <a:lnTo>
                      <a:pt x="87" y="167"/>
                    </a:lnTo>
                    <a:lnTo>
                      <a:pt x="88" y="168"/>
                    </a:lnTo>
                    <a:lnTo>
                      <a:pt x="90" y="170"/>
                    </a:lnTo>
                    <a:lnTo>
                      <a:pt x="93" y="171"/>
                    </a:lnTo>
                    <a:lnTo>
                      <a:pt x="95" y="172"/>
                    </a:lnTo>
                    <a:lnTo>
                      <a:pt x="98" y="173"/>
                    </a:lnTo>
                    <a:lnTo>
                      <a:pt x="104" y="177"/>
                    </a:lnTo>
                    <a:lnTo>
                      <a:pt x="110" y="177"/>
                    </a:lnTo>
                    <a:lnTo>
                      <a:pt x="112" y="177"/>
                    </a:lnTo>
                    <a:lnTo>
                      <a:pt x="116" y="177"/>
                    </a:lnTo>
                    <a:lnTo>
                      <a:pt x="120" y="177"/>
                    </a:lnTo>
                    <a:lnTo>
                      <a:pt x="124" y="177"/>
                    </a:lnTo>
                    <a:lnTo>
                      <a:pt x="125" y="177"/>
                    </a:lnTo>
                    <a:lnTo>
                      <a:pt x="127" y="178"/>
                    </a:lnTo>
                    <a:lnTo>
                      <a:pt x="128" y="178"/>
                    </a:lnTo>
                    <a:lnTo>
                      <a:pt x="129" y="179"/>
                    </a:lnTo>
                    <a:lnTo>
                      <a:pt x="131" y="179"/>
                    </a:lnTo>
                    <a:lnTo>
                      <a:pt x="132" y="181"/>
                    </a:lnTo>
                    <a:lnTo>
                      <a:pt x="134" y="183"/>
                    </a:lnTo>
                    <a:lnTo>
                      <a:pt x="136" y="184"/>
                    </a:lnTo>
                    <a:lnTo>
                      <a:pt x="138" y="188"/>
                    </a:lnTo>
                    <a:lnTo>
                      <a:pt x="140" y="191"/>
                    </a:lnTo>
                    <a:lnTo>
                      <a:pt x="141" y="193"/>
                    </a:lnTo>
                    <a:lnTo>
                      <a:pt x="142" y="194"/>
                    </a:lnTo>
                    <a:lnTo>
                      <a:pt x="142" y="195"/>
                    </a:lnTo>
                    <a:lnTo>
                      <a:pt x="142" y="196"/>
                    </a:lnTo>
                    <a:lnTo>
                      <a:pt x="143" y="198"/>
                    </a:lnTo>
                    <a:lnTo>
                      <a:pt x="145" y="203"/>
                    </a:lnTo>
                    <a:lnTo>
                      <a:pt x="145" y="204"/>
                    </a:lnTo>
                    <a:lnTo>
                      <a:pt x="145" y="205"/>
                    </a:lnTo>
                    <a:lnTo>
                      <a:pt x="145" y="206"/>
                    </a:lnTo>
                    <a:lnTo>
                      <a:pt x="145" y="207"/>
                    </a:lnTo>
                    <a:lnTo>
                      <a:pt x="145" y="209"/>
                    </a:lnTo>
                    <a:lnTo>
                      <a:pt x="145" y="210"/>
                    </a:lnTo>
                    <a:lnTo>
                      <a:pt x="145" y="211"/>
                    </a:lnTo>
                    <a:lnTo>
                      <a:pt x="144" y="213"/>
                    </a:lnTo>
                    <a:lnTo>
                      <a:pt x="144" y="214"/>
                    </a:lnTo>
                    <a:lnTo>
                      <a:pt x="143" y="215"/>
                    </a:lnTo>
                    <a:lnTo>
                      <a:pt x="142" y="216"/>
                    </a:lnTo>
                    <a:lnTo>
                      <a:pt x="141" y="216"/>
                    </a:lnTo>
                    <a:lnTo>
                      <a:pt x="139" y="217"/>
                    </a:lnTo>
                    <a:lnTo>
                      <a:pt x="138" y="217"/>
                    </a:lnTo>
                    <a:lnTo>
                      <a:pt x="137" y="218"/>
                    </a:lnTo>
                    <a:lnTo>
                      <a:pt x="136" y="217"/>
                    </a:lnTo>
                    <a:lnTo>
                      <a:pt x="134" y="215"/>
                    </a:lnTo>
                    <a:lnTo>
                      <a:pt x="133" y="211"/>
                    </a:lnTo>
                    <a:lnTo>
                      <a:pt x="129" y="205"/>
                    </a:lnTo>
                    <a:lnTo>
                      <a:pt x="129" y="204"/>
                    </a:lnTo>
                    <a:lnTo>
                      <a:pt x="127" y="202"/>
                    </a:lnTo>
                    <a:lnTo>
                      <a:pt x="126" y="200"/>
                    </a:lnTo>
                    <a:lnTo>
                      <a:pt x="126" y="198"/>
                    </a:lnTo>
                    <a:lnTo>
                      <a:pt x="125" y="198"/>
                    </a:lnTo>
                    <a:lnTo>
                      <a:pt x="117" y="195"/>
                    </a:lnTo>
                    <a:lnTo>
                      <a:pt x="116" y="194"/>
                    </a:lnTo>
                    <a:lnTo>
                      <a:pt x="115" y="194"/>
                    </a:lnTo>
                    <a:lnTo>
                      <a:pt x="111" y="192"/>
                    </a:lnTo>
                    <a:lnTo>
                      <a:pt x="104" y="191"/>
                    </a:lnTo>
                    <a:lnTo>
                      <a:pt x="103" y="191"/>
                    </a:lnTo>
                    <a:lnTo>
                      <a:pt x="102" y="191"/>
                    </a:lnTo>
                    <a:lnTo>
                      <a:pt x="100" y="192"/>
                    </a:lnTo>
                    <a:lnTo>
                      <a:pt x="100" y="193"/>
                    </a:lnTo>
                    <a:lnTo>
                      <a:pt x="99" y="193"/>
                    </a:lnTo>
                    <a:lnTo>
                      <a:pt x="99" y="192"/>
                    </a:lnTo>
                    <a:lnTo>
                      <a:pt x="97" y="191"/>
                    </a:lnTo>
                    <a:lnTo>
                      <a:pt x="95" y="191"/>
                    </a:lnTo>
                    <a:lnTo>
                      <a:pt x="94" y="191"/>
                    </a:lnTo>
                    <a:lnTo>
                      <a:pt x="93" y="191"/>
                    </a:lnTo>
                    <a:lnTo>
                      <a:pt x="93" y="195"/>
                    </a:lnTo>
                    <a:lnTo>
                      <a:pt x="93" y="196"/>
                    </a:lnTo>
                    <a:lnTo>
                      <a:pt x="92" y="202"/>
                    </a:lnTo>
                    <a:lnTo>
                      <a:pt x="90" y="200"/>
                    </a:lnTo>
                    <a:lnTo>
                      <a:pt x="89" y="200"/>
                    </a:lnTo>
                    <a:lnTo>
                      <a:pt x="89" y="198"/>
                    </a:lnTo>
                    <a:lnTo>
                      <a:pt x="88" y="198"/>
                    </a:lnTo>
                    <a:lnTo>
                      <a:pt x="85" y="195"/>
                    </a:lnTo>
                    <a:lnTo>
                      <a:pt x="85" y="200"/>
                    </a:lnTo>
                    <a:lnTo>
                      <a:pt x="81" y="197"/>
                    </a:lnTo>
                    <a:lnTo>
                      <a:pt x="81" y="196"/>
                    </a:lnTo>
                    <a:lnTo>
                      <a:pt x="79" y="195"/>
                    </a:lnTo>
                    <a:lnTo>
                      <a:pt x="78" y="192"/>
                    </a:lnTo>
                    <a:lnTo>
                      <a:pt x="77" y="192"/>
                    </a:lnTo>
                    <a:lnTo>
                      <a:pt x="76" y="191"/>
                    </a:lnTo>
                    <a:lnTo>
                      <a:pt x="75" y="189"/>
                    </a:lnTo>
                    <a:lnTo>
                      <a:pt x="64" y="177"/>
                    </a:lnTo>
                    <a:lnTo>
                      <a:pt x="62" y="175"/>
                    </a:lnTo>
                    <a:lnTo>
                      <a:pt x="60" y="172"/>
                    </a:lnTo>
                    <a:lnTo>
                      <a:pt x="59" y="171"/>
                    </a:lnTo>
                    <a:lnTo>
                      <a:pt x="58" y="170"/>
                    </a:lnTo>
                    <a:lnTo>
                      <a:pt x="56" y="169"/>
                    </a:lnTo>
                    <a:lnTo>
                      <a:pt x="55" y="168"/>
                    </a:lnTo>
                    <a:lnTo>
                      <a:pt x="55" y="167"/>
                    </a:lnTo>
                    <a:lnTo>
                      <a:pt x="54" y="167"/>
                    </a:lnTo>
                    <a:lnTo>
                      <a:pt x="54" y="166"/>
                    </a:lnTo>
                    <a:lnTo>
                      <a:pt x="53" y="166"/>
                    </a:lnTo>
                    <a:lnTo>
                      <a:pt x="53" y="165"/>
                    </a:lnTo>
                    <a:lnTo>
                      <a:pt x="50" y="162"/>
                    </a:lnTo>
                    <a:lnTo>
                      <a:pt x="51" y="167"/>
                    </a:lnTo>
                    <a:lnTo>
                      <a:pt x="50" y="167"/>
                    </a:lnTo>
                    <a:lnTo>
                      <a:pt x="50" y="172"/>
                    </a:lnTo>
                    <a:lnTo>
                      <a:pt x="48" y="176"/>
                    </a:lnTo>
                    <a:lnTo>
                      <a:pt x="47" y="176"/>
                    </a:lnTo>
                    <a:lnTo>
                      <a:pt x="45" y="179"/>
                    </a:lnTo>
                    <a:lnTo>
                      <a:pt x="42" y="180"/>
                    </a:lnTo>
                    <a:lnTo>
                      <a:pt x="41" y="180"/>
                    </a:lnTo>
                    <a:lnTo>
                      <a:pt x="34" y="183"/>
                    </a:lnTo>
                    <a:lnTo>
                      <a:pt x="33" y="184"/>
                    </a:lnTo>
                    <a:lnTo>
                      <a:pt x="30" y="185"/>
                    </a:lnTo>
                    <a:lnTo>
                      <a:pt x="28" y="185"/>
                    </a:lnTo>
                    <a:lnTo>
                      <a:pt x="24" y="187"/>
                    </a:lnTo>
                    <a:lnTo>
                      <a:pt x="14" y="188"/>
                    </a:lnTo>
                    <a:lnTo>
                      <a:pt x="9" y="187"/>
                    </a:lnTo>
                    <a:lnTo>
                      <a:pt x="8" y="187"/>
                    </a:lnTo>
                    <a:lnTo>
                      <a:pt x="4" y="184"/>
                    </a:lnTo>
                    <a:lnTo>
                      <a:pt x="1" y="181"/>
                    </a:lnTo>
                    <a:lnTo>
                      <a:pt x="1" y="177"/>
                    </a:lnTo>
                    <a:lnTo>
                      <a:pt x="1" y="167"/>
                    </a:lnTo>
                    <a:lnTo>
                      <a:pt x="0" y="160"/>
                    </a:lnTo>
                    <a:lnTo>
                      <a:pt x="2" y="157"/>
                    </a:lnTo>
                    <a:lnTo>
                      <a:pt x="2" y="156"/>
                    </a:lnTo>
                    <a:lnTo>
                      <a:pt x="5" y="149"/>
                    </a:lnTo>
                    <a:lnTo>
                      <a:pt x="7" y="149"/>
                    </a:lnTo>
                    <a:lnTo>
                      <a:pt x="8" y="146"/>
                    </a:lnTo>
                    <a:lnTo>
                      <a:pt x="9" y="144"/>
                    </a:lnTo>
                    <a:lnTo>
                      <a:pt x="9" y="143"/>
                    </a:lnTo>
                    <a:lnTo>
                      <a:pt x="10" y="142"/>
                    </a:lnTo>
                    <a:lnTo>
                      <a:pt x="10" y="141"/>
                    </a:lnTo>
                    <a:lnTo>
                      <a:pt x="10" y="140"/>
                    </a:lnTo>
                    <a:lnTo>
                      <a:pt x="10" y="138"/>
                    </a:lnTo>
                    <a:lnTo>
                      <a:pt x="10" y="133"/>
                    </a:lnTo>
                    <a:lnTo>
                      <a:pt x="10" y="132"/>
                    </a:lnTo>
                    <a:lnTo>
                      <a:pt x="10" y="131"/>
                    </a:lnTo>
                    <a:lnTo>
                      <a:pt x="11" y="126"/>
                    </a:lnTo>
                    <a:lnTo>
                      <a:pt x="11" y="124"/>
                    </a:lnTo>
                    <a:lnTo>
                      <a:pt x="12" y="110"/>
                    </a:lnTo>
                    <a:lnTo>
                      <a:pt x="12" y="106"/>
                    </a:lnTo>
                    <a:lnTo>
                      <a:pt x="12" y="105"/>
                    </a:lnTo>
                    <a:lnTo>
                      <a:pt x="12" y="103"/>
                    </a:lnTo>
                    <a:lnTo>
                      <a:pt x="13" y="102"/>
                    </a:lnTo>
                    <a:lnTo>
                      <a:pt x="14" y="102"/>
                    </a:lnTo>
                    <a:lnTo>
                      <a:pt x="15" y="103"/>
                    </a:lnTo>
                    <a:lnTo>
                      <a:pt x="16" y="103"/>
                    </a:lnTo>
                    <a:lnTo>
                      <a:pt x="17" y="103"/>
                    </a:lnTo>
                    <a:lnTo>
                      <a:pt x="16" y="103"/>
                    </a:lnTo>
                    <a:lnTo>
                      <a:pt x="15" y="103"/>
                    </a:lnTo>
                    <a:lnTo>
                      <a:pt x="13" y="103"/>
                    </a:lnTo>
                    <a:lnTo>
                      <a:pt x="13" y="104"/>
                    </a:lnTo>
                    <a:lnTo>
                      <a:pt x="13" y="105"/>
                    </a:lnTo>
                    <a:lnTo>
                      <a:pt x="16" y="105"/>
                    </a:lnTo>
                    <a:lnTo>
                      <a:pt x="16" y="104"/>
                    </a:lnTo>
                    <a:lnTo>
                      <a:pt x="15" y="104"/>
                    </a:lnTo>
                    <a:lnTo>
                      <a:pt x="15" y="103"/>
                    </a:lnTo>
                    <a:lnTo>
                      <a:pt x="16" y="103"/>
                    </a:lnTo>
                    <a:lnTo>
                      <a:pt x="16" y="104"/>
                    </a:lnTo>
                    <a:lnTo>
                      <a:pt x="16" y="106"/>
                    </a:lnTo>
                    <a:lnTo>
                      <a:pt x="15" y="106"/>
                    </a:lnTo>
                    <a:lnTo>
                      <a:pt x="13" y="106"/>
                    </a:lnTo>
                    <a:lnTo>
                      <a:pt x="13" y="107"/>
                    </a:lnTo>
                    <a:lnTo>
                      <a:pt x="15" y="107"/>
                    </a:lnTo>
                    <a:lnTo>
                      <a:pt x="15" y="106"/>
                    </a:lnTo>
                    <a:lnTo>
                      <a:pt x="16" y="106"/>
                    </a:lnTo>
                    <a:lnTo>
                      <a:pt x="16" y="108"/>
                    </a:lnTo>
                    <a:lnTo>
                      <a:pt x="16" y="105"/>
                    </a:lnTo>
                    <a:lnTo>
                      <a:pt x="16" y="104"/>
                    </a:lnTo>
                    <a:lnTo>
                      <a:pt x="17" y="104"/>
                    </a:lnTo>
                    <a:lnTo>
                      <a:pt x="20" y="103"/>
                    </a:lnTo>
                    <a:lnTo>
                      <a:pt x="22" y="104"/>
                    </a:lnTo>
                    <a:lnTo>
                      <a:pt x="23" y="104"/>
                    </a:lnTo>
                    <a:lnTo>
                      <a:pt x="24" y="103"/>
                    </a:lnTo>
                    <a:lnTo>
                      <a:pt x="25" y="103"/>
                    </a:lnTo>
                    <a:lnTo>
                      <a:pt x="26" y="103"/>
                    </a:lnTo>
                    <a:lnTo>
                      <a:pt x="27" y="103"/>
                    </a:lnTo>
                    <a:lnTo>
                      <a:pt x="28" y="103"/>
                    </a:lnTo>
                    <a:lnTo>
                      <a:pt x="29" y="102"/>
                    </a:lnTo>
                    <a:lnTo>
                      <a:pt x="30" y="102"/>
                    </a:lnTo>
                    <a:lnTo>
                      <a:pt x="31" y="102"/>
                    </a:lnTo>
                    <a:lnTo>
                      <a:pt x="31" y="103"/>
                    </a:lnTo>
                    <a:lnTo>
                      <a:pt x="31" y="104"/>
                    </a:lnTo>
                    <a:lnTo>
                      <a:pt x="33" y="104"/>
                    </a:lnTo>
                    <a:lnTo>
                      <a:pt x="35" y="104"/>
                    </a:lnTo>
                    <a:lnTo>
                      <a:pt x="35" y="105"/>
                    </a:lnTo>
                    <a:lnTo>
                      <a:pt x="36" y="105"/>
                    </a:lnTo>
                    <a:lnTo>
                      <a:pt x="36" y="104"/>
                    </a:lnTo>
                    <a:lnTo>
                      <a:pt x="36" y="103"/>
                    </a:lnTo>
                    <a:lnTo>
                      <a:pt x="37" y="103"/>
                    </a:lnTo>
                    <a:lnTo>
                      <a:pt x="37" y="102"/>
                    </a:lnTo>
                    <a:lnTo>
                      <a:pt x="38" y="101"/>
                    </a:lnTo>
                    <a:lnTo>
                      <a:pt x="39" y="101"/>
                    </a:lnTo>
                    <a:lnTo>
                      <a:pt x="40" y="101"/>
                    </a:lnTo>
                    <a:lnTo>
                      <a:pt x="41" y="101"/>
                    </a:lnTo>
                    <a:lnTo>
                      <a:pt x="41" y="100"/>
                    </a:lnTo>
                    <a:lnTo>
                      <a:pt x="42" y="101"/>
                    </a:lnTo>
                    <a:lnTo>
                      <a:pt x="42" y="100"/>
                    </a:lnTo>
                    <a:lnTo>
                      <a:pt x="43" y="100"/>
                    </a:lnTo>
                    <a:lnTo>
                      <a:pt x="45" y="100"/>
                    </a:lnTo>
                    <a:lnTo>
                      <a:pt x="46" y="100"/>
                    </a:lnTo>
                    <a:lnTo>
                      <a:pt x="47" y="99"/>
                    </a:lnTo>
                    <a:lnTo>
                      <a:pt x="47" y="100"/>
                    </a:lnTo>
                    <a:lnTo>
                      <a:pt x="47" y="99"/>
                    </a:lnTo>
                    <a:lnTo>
                      <a:pt x="47" y="100"/>
                    </a:lnTo>
                    <a:lnTo>
                      <a:pt x="48" y="100"/>
                    </a:lnTo>
                    <a:lnTo>
                      <a:pt x="49" y="100"/>
                    </a:lnTo>
                    <a:lnTo>
                      <a:pt x="49" y="99"/>
                    </a:lnTo>
                    <a:lnTo>
                      <a:pt x="49" y="100"/>
                    </a:lnTo>
                    <a:lnTo>
                      <a:pt x="50" y="100"/>
                    </a:lnTo>
                    <a:lnTo>
                      <a:pt x="50" y="99"/>
                    </a:lnTo>
                    <a:lnTo>
                      <a:pt x="50" y="100"/>
                    </a:lnTo>
                    <a:lnTo>
                      <a:pt x="51" y="100"/>
                    </a:lnTo>
                    <a:lnTo>
                      <a:pt x="51" y="99"/>
                    </a:lnTo>
                    <a:lnTo>
                      <a:pt x="52" y="99"/>
                    </a:lnTo>
                    <a:lnTo>
                      <a:pt x="53" y="99"/>
                    </a:lnTo>
                    <a:lnTo>
                      <a:pt x="54" y="99"/>
                    </a:lnTo>
                    <a:lnTo>
                      <a:pt x="56" y="99"/>
                    </a:lnTo>
                    <a:lnTo>
                      <a:pt x="58" y="99"/>
                    </a:lnTo>
                    <a:lnTo>
                      <a:pt x="59" y="98"/>
                    </a:lnTo>
                    <a:lnTo>
                      <a:pt x="60" y="99"/>
                    </a:lnTo>
                    <a:lnTo>
                      <a:pt x="61" y="99"/>
                    </a:lnTo>
                    <a:lnTo>
                      <a:pt x="62" y="100"/>
                    </a:lnTo>
                    <a:lnTo>
                      <a:pt x="63" y="101"/>
                    </a:lnTo>
                    <a:lnTo>
                      <a:pt x="64" y="101"/>
                    </a:lnTo>
                    <a:lnTo>
                      <a:pt x="65" y="101"/>
                    </a:lnTo>
                    <a:lnTo>
                      <a:pt x="65" y="100"/>
                    </a:lnTo>
                    <a:lnTo>
                      <a:pt x="66" y="100"/>
                    </a:lnTo>
                    <a:lnTo>
                      <a:pt x="66" y="99"/>
                    </a:lnTo>
                    <a:lnTo>
                      <a:pt x="66" y="93"/>
                    </a:lnTo>
                    <a:lnTo>
                      <a:pt x="67" y="92"/>
                    </a:lnTo>
                    <a:lnTo>
                      <a:pt x="67" y="86"/>
                    </a:lnTo>
                    <a:lnTo>
                      <a:pt x="68" y="86"/>
                    </a:lnTo>
                    <a:lnTo>
                      <a:pt x="68" y="87"/>
                    </a:lnTo>
                    <a:lnTo>
                      <a:pt x="69" y="87"/>
                    </a:lnTo>
                    <a:lnTo>
                      <a:pt x="71" y="88"/>
                    </a:lnTo>
                    <a:lnTo>
                      <a:pt x="71" y="89"/>
                    </a:lnTo>
                    <a:lnTo>
                      <a:pt x="72" y="89"/>
                    </a:lnTo>
                    <a:lnTo>
                      <a:pt x="71" y="89"/>
                    </a:lnTo>
                    <a:lnTo>
                      <a:pt x="71" y="90"/>
                    </a:lnTo>
                    <a:lnTo>
                      <a:pt x="72" y="90"/>
                    </a:lnTo>
                    <a:lnTo>
                      <a:pt x="72" y="92"/>
                    </a:lnTo>
                    <a:lnTo>
                      <a:pt x="74" y="94"/>
                    </a:lnTo>
                    <a:lnTo>
                      <a:pt x="74" y="93"/>
                    </a:lnTo>
                    <a:lnTo>
                      <a:pt x="76" y="93"/>
                    </a:lnTo>
                    <a:lnTo>
                      <a:pt x="76" y="92"/>
                    </a:lnTo>
                    <a:lnTo>
                      <a:pt x="77" y="91"/>
                    </a:lnTo>
                    <a:lnTo>
                      <a:pt x="77" y="92"/>
                    </a:lnTo>
                    <a:lnTo>
                      <a:pt x="76" y="94"/>
                    </a:lnTo>
                    <a:lnTo>
                      <a:pt x="75" y="94"/>
                    </a:lnTo>
                    <a:lnTo>
                      <a:pt x="74" y="94"/>
                    </a:lnTo>
                    <a:lnTo>
                      <a:pt x="75" y="95"/>
                    </a:lnTo>
                    <a:lnTo>
                      <a:pt x="76" y="97"/>
                    </a:lnTo>
                    <a:lnTo>
                      <a:pt x="77" y="97"/>
                    </a:lnTo>
                    <a:lnTo>
                      <a:pt x="76" y="97"/>
                    </a:lnTo>
                    <a:lnTo>
                      <a:pt x="78" y="94"/>
                    </a:lnTo>
                    <a:lnTo>
                      <a:pt x="78" y="93"/>
                    </a:lnTo>
                    <a:lnTo>
                      <a:pt x="78" y="95"/>
                    </a:lnTo>
                    <a:lnTo>
                      <a:pt x="78" y="97"/>
                    </a:lnTo>
                    <a:lnTo>
                      <a:pt x="81" y="95"/>
                    </a:lnTo>
                    <a:lnTo>
                      <a:pt x="81" y="94"/>
                    </a:lnTo>
                    <a:lnTo>
                      <a:pt x="82" y="94"/>
                    </a:lnTo>
                    <a:lnTo>
                      <a:pt x="84" y="94"/>
                    </a:lnTo>
                    <a:lnTo>
                      <a:pt x="85" y="93"/>
                    </a:lnTo>
                    <a:lnTo>
                      <a:pt x="86" y="93"/>
                    </a:lnTo>
                    <a:lnTo>
                      <a:pt x="87" y="92"/>
                    </a:lnTo>
                    <a:lnTo>
                      <a:pt x="90" y="91"/>
                    </a:lnTo>
                    <a:lnTo>
                      <a:pt x="95" y="88"/>
                    </a:lnTo>
                    <a:lnTo>
                      <a:pt x="98" y="87"/>
                    </a:lnTo>
                    <a:lnTo>
                      <a:pt x="99" y="86"/>
                    </a:lnTo>
                    <a:lnTo>
                      <a:pt x="100" y="86"/>
                    </a:lnTo>
                    <a:lnTo>
                      <a:pt x="100" y="85"/>
                    </a:lnTo>
                    <a:lnTo>
                      <a:pt x="101" y="85"/>
                    </a:lnTo>
                    <a:lnTo>
                      <a:pt x="102" y="83"/>
                    </a:lnTo>
                    <a:lnTo>
                      <a:pt x="104" y="82"/>
                    </a:lnTo>
                    <a:lnTo>
                      <a:pt x="106" y="81"/>
                    </a:lnTo>
                    <a:lnTo>
                      <a:pt x="110" y="79"/>
                    </a:lnTo>
                    <a:lnTo>
                      <a:pt x="112" y="77"/>
                    </a:lnTo>
                    <a:lnTo>
                      <a:pt x="113" y="76"/>
                    </a:lnTo>
                    <a:lnTo>
                      <a:pt x="114" y="75"/>
                    </a:lnTo>
                    <a:lnTo>
                      <a:pt x="114" y="74"/>
                    </a:lnTo>
                    <a:lnTo>
                      <a:pt x="115" y="73"/>
                    </a:lnTo>
                    <a:lnTo>
                      <a:pt x="116" y="73"/>
                    </a:lnTo>
                    <a:lnTo>
                      <a:pt x="119" y="70"/>
                    </a:lnTo>
                    <a:lnTo>
                      <a:pt x="119" y="69"/>
                    </a:lnTo>
                    <a:lnTo>
                      <a:pt x="120" y="69"/>
                    </a:lnTo>
                    <a:lnTo>
                      <a:pt x="121" y="68"/>
                    </a:lnTo>
                    <a:lnTo>
                      <a:pt x="123" y="67"/>
                    </a:lnTo>
                    <a:lnTo>
                      <a:pt x="123" y="66"/>
                    </a:lnTo>
                    <a:lnTo>
                      <a:pt x="124" y="66"/>
                    </a:lnTo>
                    <a:lnTo>
                      <a:pt x="125" y="65"/>
                    </a:lnTo>
                    <a:lnTo>
                      <a:pt x="125" y="64"/>
                    </a:lnTo>
                    <a:lnTo>
                      <a:pt x="127" y="63"/>
                    </a:lnTo>
                    <a:lnTo>
                      <a:pt x="130" y="60"/>
                    </a:lnTo>
                    <a:lnTo>
                      <a:pt x="132" y="56"/>
                    </a:lnTo>
                    <a:lnTo>
                      <a:pt x="133" y="55"/>
                    </a:lnTo>
                    <a:lnTo>
                      <a:pt x="136" y="52"/>
                    </a:lnTo>
                    <a:lnTo>
                      <a:pt x="139" y="49"/>
                    </a:lnTo>
                    <a:lnTo>
                      <a:pt x="158" y="21"/>
                    </a:lnTo>
                    <a:lnTo>
                      <a:pt x="158" y="20"/>
                    </a:lnTo>
                    <a:lnTo>
                      <a:pt x="159" y="18"/>
                    </a:lnTo>
                    <a:lnTo>
                      <a:pt x="159" y="20"/>
                    </a:lnTo>
                    <a:lnTo>
                      <a:pt x="160" y="20"/>
                    </a:lnTo>
                    <a:lnTo>
                      <a:pt x="162" y="20"/>
                    </a:lnTo>
                    <a:lnTo>
                      <a:pt x="162" y="18"/>
                    </a:lnTo>
                    <a:lnTo>
                      <a:pt x="163" y="18"/>
                    </a:lnTo>
                    <a:lnTo>
                      <a:pt x="163" y="20"/>
                    </a:lnTo>
                    <a:lnTo>
                      <a:pt x="164" y="20"/>
                    </a:lnTo>
                    <a:lnTo>
                      <a:pt x="165" y="20"/>
                    </a:lnTo>
                    <a:lnTo>
                      <a:pt x="166" y="20"/>
                    </a:lnTo>
                    <a:lnTo>
                      <a:pt x="166" y="21"/>
                    </a:lnTo>
                    <a:lnTo>
                      <a:pt x="165" y="21"/>
                    </a:lnTo>
                    <a:lnTo>
                      <a:pt x="163" y="21"/>
                    </a:lnTo>
                    <a:lnTo>
                      <a:pt x="163" y="22"/>
                    </a:lnTo>
                    <a:lnTo>
                      <a:pt x="162" y="22"/>
                    </a:lnTo>
                    <a:lnTo>
                      <a:pt x="162" y="23"/>
                    </a:lnTo>
                    <a:lnTo>
                      <a:pt x="162" y="24"/>
                    </a:lnTo>
                    <a:lnTo>
                      <a:pt x="163" y="25"/>
                    </a:lnTo>
                    <a:lnTo>
                      <a:pt x="164" y="25"/>
                    </a:lnTo>
                    <a:lnTo>
                      <a:pt x="164" y="26"/>
                    </a:lnTo>
                    <a:lnTo>
                      <a:pt x="163" y="26"/>
                    </a:lnTo>
                    <a:lnTo>
                      <a:pt x="163" y="27"/>
                    </a:lnTo>
                    <a:lnTo>
                      <a:pt x="164" y="26"/>
                    </a:lnTo>
                    <a:lnTo>
                      <a:pt x="165" y="26"/>
                    </a:lnTo>
                    <a:lnTo>
                      <a:pt x="165" y="27"/>
                    </a:lnTo>
                    <a:lnTo>
                      <a:pt x="165" y="28"/>
                    </a:lnTo>
                    <a:lnTo>
                      <a:pt x="166" y="30"/>
                    </a:lnTo>
                    <a:lnTo>
                      <a:pt x="167" y="30"/>
                    </a:lnTo>
                    <a:lnTo>
                      <a:pt x="167" y="29"/>
                    </a:lnTo>
                    <a:lnTo>
                      <a:pt x="167" y="28"/>
                    </a:lnTo>
                    <a:lnTo>
                      <a:pt x="166" y="27"/>
                    </a:lnTo>
                    <a:lnTo>
                      <a:pt x="165" y="27"/>
                    </a:lnTo>
                    <a:lnTo>
                      <a:pt x="165" y="26"/>
                    </a:lnTo>
                    <a:lnTo>
                      <a:pt x="165" y="25"/>
                    </a:lnTo>
                    <a:lnTo>
                      <a:pt x="165" y="24"/>
                    </a:lnTo>
                    <a:lnTo>
                      <a:pt x="166" y="24"/>
                    </a:lnTo>
                    <a:lnTo>
                      <a:pt x="166" y="23"/>
                    </a:lnTo>
                    <a:lnTo>
                      <a:pt x="167" y="23"/>
                    </a:lnTo>
                    <a:lnTo>
                      <a:pt x="168" y="22"/>
                    </a:lnTo>
                    <a:lnTo>
                      <a:pt x="167" y="22"/>
                    </a:lnTo>
                    <a:lnTo>
                      <a:pt x="167" y="21"/>
                    </a:lnTo>
                    <a:lnTo>
                      <a:pt x="167" y="20"/>
                    </a:lnTo>
                    <a:lnTo>
                      <a:pt x="168" y="20"/>
                    </a:lnTo>
                    <a:lnTo>
                      <a:pt x="168" y="18"/>
                    </a:lnTo>
                    <a:lnTo>
                      <a:pt x="168" y="17"/>
                    </a:lnTo>
                    <a:lnTo>
                      <a:pt x="168" y="18"/>
                    </a:lnTo>
                    <a:lnTo>
                      <a:pt x="167" y="18"/>
                    </a:lnTo>
                    <a:lnTo>
                      <a:pt x="167" y="17"/>
                    </a:lnTo>
                    <a:lnTo>
                      <a:pt x="168" y="17"/>
                    </a:lnTo>
                    <a:lnTo>
                      <a:pt x="169" y="16"/>
                    </a:lnTo>
                    <a:lnTo>
                      <a:pt x="169" y="15"/>
                    </a:lnTo>
                    <a:lnTo>
                      <a:pt x="170" y="15"/>
                    </a:lnTo>
                    <a:lnTo>
                      <a:pt x="171" y="15"/>
                    </a:lnTo>
                    <a:lnTo>
                      <a:pt x="172" y="15"/>
                    </a:lnTo>
                    <a:lnTo>
                      <a:pt x="172" y="14"/>
                    </a:lnTo>
                    <a:lnTo>
                      <a:pt x="173" y="14"/>
                    </a:lnTo>
                    <a:lnTo>
                      <a:pt x="175" y="13"/>
                    </a:lnTo>
                    <a:lnTo>
                      <a:pt x="175" y="14"/>
                    </a:lnTo>
                    <a:lnTo>
                      <a:pt x="175" y="15"/>
                    </a:lnTo>
                    <a:lnTo>
                      <a:pt x="175" y="16"/>
                    </a:lnTo>
                    <a:lnTo>
                      <a:pt x="175" y="17"/>
                    </a:lnTo>
                    <a:lnTo>
                      <a:pt x="175" y="18"/>
                    </a:lnTo>
                    <a:lnTo>
                      <a:pt x="173" y="18"/>
                    </a:lnTo>
                    <a:lnTo>
                      <a:pt x="173" y="20"/>
                    </a:lnTo>
                    <a:lnTo>
                      <a:pt x="173" y="21"/>
                    </a:lnTo>
                    <a:lnTo>
                      <a:pt x="173" y="20"/>
                    </a:lnTo>
                    <a:lnTo>
                      <a:pt x="173" y="21"/>
                    </a:lnTo>
                    <a:lnTo>
                      <a:pt x="173" y="22"/>
                    </a:lnTo>
                    <a:lnTo>
                      <a:pt x="173" y="23"/>
                    </a:lnTo>
                    <a:lnTo>
                      <a:pt x="172" y="23"/>
                    </a:lnTo>
                    <a:lnTo>
                      <a:pt x="172" y="22"/>
                    </a:lnTo>
                    <a:lnTo>
                      <a:pt x="171" y="22"/>
                    </a:lnTo>
                    <a:lnTo>
                      <a:pt x="170" y="23"/>
                    </a:lnTo>
                    <a:lnTo>
                      <a:pt x="171" y="23"/>
                    </a:lnTo>
                    <a:lnTo>
                      <a:pt x="171" y="24"/>
                    </a:lnTo>
                    <a:lnTo>
                      <a:pt x="171" y="25"/>
                    </a:lnTo>
                    <a:lnTo>
                      <a:pt x="171" y="26"/>
                    </a:lnTo>
                    <a:lnTo>
                      <a:pt x="171" y="27"/>
                    </a:lnTo>
                    <a:lnTo>
                      <a:pt x="171" y="28"/>
                    </a:lnTo>
                    <a:lnTo>
                      <a:pt x="171" y="29"/>
                    </a:lnTo>
                    <a:lnTo>
                      <a:pt x="172" y="30"/>
                    </a:lnTo>
                    <a:lnTo>
                      <a:pt x="172" y="31"/>
                    </a:lnTo>
                    <a:lnTo>
                      <a:pt x="173" y="33"/>
                    </a:lnTo>
                    <a:lnTo>
                      <a:pt x="173" y="34"/>
                    </a:lnTo>
                    <a:lnTo>
                      <a:pt x="175" y="34"/>
                    </a:lnTo>
                    <a:lnTo>
                      <a:pt x="175" y="35"/>
                    </a:lnTo>
                    <a:lnTo>
                      <a:pt x="175" y="36"/>
                    </a:lnTo>
                    <a:lnTo>
                      <a:pt x="175" y="37"/>
                    </a:lnTo>
                    <a:lnTo>
                      <a:pt x="176" y="37"/>
                    </a:lnTo>
                    <a:lnTo>
                      <a:pt x="176" y="38"/>
                    </a:lnTo>
                    <a:lnTo>
                      <a:pt x="176" y="39"/>
                    </a:lnTo>
                    <a:lnTo>
                      <a:pt x="177" y="39"/>
                    </a:lnTo>
                    <a:lnTo>
                      <a:pt x="177" y="40"/>
                    </a:lnTo>
                    <a:lnTo>
                      <a:pt x="177" y="39"/>
                    </a:lnTo>
                    <a:lnTo>
                      <a:pt x="177" y="40"/>
                    </a:lnTo>
                    <a:lnTo>
                      <a:pt x="176" y="40"/>
                    </a:lnTo>
                    <a:lnTo>
                      <a:pt x="176" y="41"/>
                    </a:lnTo>
                    <a:lnTo>
                      <a:pt x="177" y="41"/>
                    </a:lnTo>
                    <a:lnTo>
                      <a:pt x="178" y="41"/>
                    </a:lnTo>
                    <a:lnTo>
                      <a:pt x="178" y="42"/>
                    </a:lnTo>
                    <a:lnTo>
                      <a:pt x="179" y="42"/>
                    </a:lnTo>
                    <a:lnTo>
                      <a:pt x="179" y="43"/>
                    </a:lnTo>
                    <a:lnTo>
                      <a:pt x="178" y="43"/>
                    </a:lnTo>
                    <a:lnTo>
                      <a:pt x="179" y="43"/>
                    </a:lnTo>
                    <a:lnTo>
                      <a:pt x="179" y="44"/>
                    </a:lnTo>
                    <a:lnTo>
                      <a:pt x="179" y="46"/>
                    </a:lnTo>
                    <a:lnTo>
                      <a:pt x="180" y="46"/>
                    </a:lnTo>
                    <a:lnTo>
                      <a:pt x="180" y="47"/>
                    </a:lnTo>
                    <a:lnTo>
                      <a:pt x="179" y="47"/>
                    </a:lnTo>
                    <a:lnTo>
                      <a:pt x="179" y="46"/>
                    </a:lnTo>
                    <a:lnTo>
                      <a:pt x="178" y="46"/>
                    </a:lnTo>
                    <a:lnTo>
                      <a:pt x="178" y="47"/>
                    </a:lnTo>
                    <a:lnTo>
                      <a:pt x="177" y="47"/>
                    </a:lnTo>
                    <a:lnTo>
                      <a:pt x="177" y="48"/>
                    </a:lnTo>
                    <a:lnTo>
                      <a:pt x="176" y="48"/>
                    </a:lnTo>
                    <a:lnTo>
                      <a:pt x="175" y="48"/>
                    </a:lnTo>
                    <a:lnTo>
                      <a:pt x="176" y="48"/>
                    </a:lnTo>
                    <a:lnTo>
                      <a:pt x="176" y="49"/>
                    </a:lnTo>
                    <a:lnTo>
                      <a:pt x="177" y="50"/>
                    </a:lnTo>
                    <a:lnTo>
                      <a:pt x="178" y="50"/>
                    </a:lnTo>
                    <a:lnTo>
                      <a:pt x="179" y="50"/>
                    </a:lnTo>
                    <a:lnTo>
                      <a:pt x="179" y="49"/>
                    </a:lnTo>
                    <a:lnTo>
                      <a:pt x="180" y="49"/>
                    </a:lnTo>
                    <a:lnTo>
                      <a:pt x="180" y="50"/>
                    </a:lnTo>
                    <a:lnTo>
                      <a:pt x="179" y="51"/>
                    </a:lnTo>
                    <a:lnTo>
                      <a:pt x="178" y="52"/>
                    </a:lnTo>
                    <a:lnTo>
                      <a:pt x="179" y="52"/>
                    </a:lnTo>
                    <a:lnTo>
                      <a:pt x="180" y="52"/>
                    </a:lnTo>
                    <a:lnTo>
                      <a:pt x="181" y="52"/>
                    </a:lnTo>
                    <a:lnTo>
                      <a:pt x="182" y="52"/>
                    </a:lnTo>
                    <a:lnTo>
                      <a:pt x="182" y="51"/>
                    </a:lnTo>
                    <a:lnTo>
                      <a:pt x="181" y="51"/>
                    </a:lnTo>
                    <a:lnTo>
                      <a:pt x="180" y="52"/>
                    </a:lnTo>
                    <a:lnTo>
                      <a:pt x="180" y="51"/>
                    </a:lnTo>
                    <a:lnTo>
                      <a:pt x="179" y="51"/>
                    </a:lnTo>
                    <a:lnTo>
                      <a:pt x="179" y="50"/>
                    </a:lnTo>
                    <a:lnTo>
                      <a:pt x="180" y="50"/>
                    </a:lnTo>
                    <a:lnTo>
                      <a:pt x="181" y="50"/>
                    </a:lnTo>
                    <a:lnTo>
                      <a:pt x="182" y="50"/>
                    </a:lnTo>
                    <a:lnTo>
                      <a:pt x="182" y="51"/>
                    </a:lnTo>
                    <a:lnTo>
                      <a:pt x="183" y="51"/>
                    </a:lnTo>
                    <a:lnTo>
                      <a:pt x="183" y="50"/>
                    </a:lnTo>
                    <a:lnTo>
                      <a:pt x="184" y="51"/>
                    </a:lnTo>
                    <a:lnTo>
                      <a:pt x="185" y="52"/>
                    </a:lnTo>
                    <a:lnTo>
                      <a:pt x="184" y="52"/>
                    </a:lnTo>
                    <a:lnTo>
                      <a:pt x="184" y="53"/>
                    </a:lnTo>
                    <a:lnTo>
                      <a:pt x="184" y="54"/>
                    </a:lnTo>
                    <a:lnTo>
                      <a:pt x="185" y="53"/>
                    </a:lnTo>
                    <a:lnTo>
                      <a:pt x="185" y="54"/>
                    </a:lnTo>
                    <a:lnTo>
                      <a:pt x="184" y="54"/>
                    </a:lnTo>
                    <a:lnTo>
                      <a:pt x="185" y="54"/>
                    </a:lnTo>
                    <a:lnTo>
                      <a:pt x="187" y="54"/>
                    </a:lnTo>
                    <a:lnTo>
                      <a:pt x="187" y="53"/>
                    </a:lnTo>
                    <a:lnTo>
                      <a:pt x="187" y="54"/>
                    </a:lnTo>
                    <a:lnTo>
                      <a:pt x="188" y="55"/>
                    </a:lnTo>
                    <a:lnTo>
                      <a:pt x="188" y="56"/>
                    </a:lnTo>
                    <a:lnTo>
                      <a:pt x="187" y="56"/>
                    </a:lnTo>
                    <a:lnTo>
                      <a:pt x="187" y="55"/>
                    </a:lnTo>
                    <a:lnTo>
                      <a:pt x="187" y="56"/>
                    </a:lnTo>
                    <a:lnTo>
                      <a:pt x="188" y="56"/>
                    </a:lnTo>
                    <a:lnTo>
                      <a:pt x="188" y="55"/>
                    </a:lnTo>
                    <a:lnTo>
                      <a:pt x="189" y="55"/>
                    </a:lnTo>
                    <a:lnTo>
                      <a:pt x="190" y="55"/>
                    </a:lnTo>
                    <a:lnTo>
                      <a:pt x="191" y="55"/>
                    </a:lnTo>
                    <a:lnTo>
                      <a:pt x="191" y="56"/>
                    </a:lnTo>
                    <a:lnTo>
                      <a:pt x="191" y="55"/>
                    </a:lnTo>
                    <a:lnTo>
                      <a:pt x="192" y="56"/>
                    </a:lnTo>
                    <a:lnTo>
                      <a:pt x="192" y="55"/>
                    </a:lnTo>
                    <a:lnTo>
                      <a:pt x="193" y="55"/>
                    </a:lnTo>
                    <a:lnTo>
                      <a:pt x="193" y="56"/>
                    </a:lnTo>
                    <a:lnTo>
                      <a:pt x="194" y="56"/>
                    </a:lnTo>
                    <a:lnTo>
                      <a:pt x="195" y="55"/>
                    </a:lnTo>
                    <a:lnTo>
                      <a:pt x="194" y="55"/>
                    </a:lnTo>
                    <a:lnTo>
                      <a:pt x="195" y="55"/>
                    </a:lnTo>
                    <a:lnTo>
                      <a:pt x="195" y="54"/>
                    </a:lnTo>
                    <a:lnTo>
                      <a:pt x="195" y="53"/>
                    </a:lnTo>
                    <a:lnTo>
                      <a:pt x="196" y="53"/>
                    </a:lnTo>
                    <a:lnTo>
                      <a:pt x="196" y="54"/>
                    </a:lnTo>
                    <a:lnTo>
                      <a:pt x="197" y="55"/>
                    </a:lnTo>
                    <a:lnTo>
                      <a:pt x="198" y="56"/>
                    </a:lnTo>
                    <a:lnTo>
                      <a:pt x="198" y="57"/>
                    </a:lnTo>
                    <a:lnTo>
                      <a:pt x="201" y="57"/>
                    </a:lnTo>
                    <a:lnTo>
                      <a:pt x="202" y="57"/>
                    </a:lnTo>
                    <a:lnTo>
                      <a:pt x="204" y="57"/>
                    </a:lnTo>
                    <a:lnTo>
                      <a:pt x="206" y="57"/>
                    </a:lnTo>
                    <a:lnTo>
                      <a:pt x="209" y="57"/>
                    </a:lnTo>
                    <a:lnTo>
                      <a:pt x="210" y="57"/>
                    </a:lnTo>
                    <a:lnTo>
                      <a:pt x="209" y="59"/>
                    </a:lnTo>
                    <a:lnTo>
                      <a:pt x="208" y="59"/>
                    </a:lnTo>
                    <a:lnTo>
                      <a:pt x="207" y="60"/>
                    </a:lnTo>
                    <a:lnTo>
                      <a:pt x="208" y="61"/>
                    </a:lnTo>
                    <a:lnTo>
                      <a:pt x="208" y="62"/>
                    </a:lnTo>
                    <a:lnTo>
                      <a:pt x="209" y="62"/>
                    </a:lnTo>
                    <a:lnTo>
                      <a:pt x="210" y="62"/>
                    </a:lnTo>
                    <a:lnTo>
                      <a:pt x="211" y="61"/>
                    </a:lnTo>
                    <a:lnTo>
                      <a:pt x="211" y="60"/>
                    </a:lnTo>
                    <a:lnTo>
                      <a:pt x="211" y="59"/>
                    </a:lnTo>
                    <a:lnTo>
                      <a:pt x="211" y="57"/>
                    </a:lnTo>
                    <a:lnTo>
                      <a:pt x="213" y="59"/>
                    </a:lnTo>
                    <a:lnTo>
                      <a:pt x="215" y="59"/>
                    </a:lnTo>
                    <a:lnTo>
                      <a:pt x="215" y="60"/>
                    </a:lnTo>
                    <a:lnTo>
                      <a:pt x="214" y="61"/>
                    </a:lnTo>
                    <a:lnTo>
                      <a:pt x="213" y="63"/>
                    </a:lnTo>
                    <a:lnTo>
                      <a:pt x="211" y="65"/>
                    </a:lnTo>
                    <a:lnTo>
                      <a:pt x="210" y="68"/>
                    </a:lnTo>
                    <a:lnTo>
                      <a:pt x="209" y="69"/>
                    </a:lnTo>
                    <a:lnTo>
                      <a:pt x="208" y="69"/>
                    </a:lnTo>
                    <a:lnTo>
                      <a:pt x="207" y="70"/>
                    </a:lnTo>
                    <a:lnTo>
                      <a:pt x="205" y="70"/>
                    </a:lnTo>
                    <a:lnTo>
                      <a:pt x="204" y="70"/>
                    </a:lnTo>
                    <a:lnTo>
                      <a:pt x="204" y="72"/>
                    </a:lnTo>
                    <a:lnTo>
                      <a:pt x="203" y="73"/>
                    </a:lnTo>
                    <a:lnTo>
                      <a:pt x="205" y="73"/>
                    </a:lnTo>
                    <a:lnTo>
                      <a:pt x="206" y="73"/>
                    </a:lnTo>
                    <a:lnTo>
                      <a:pt x="207" y="73"/>
                    </a:lnTo>
                    <a:lnTo>
                      <a:pt x="208" y="72"/>
                    </a:lnTo>
                    <a:lnTo>
                      <a:pt x="209" y="72"/>
                    </a:lnTo>
                    <a:lnTo>
                      <a:pt x="210" y="70"/>
                    </a:lnTo>
                    <a:lnTo>
                      <a:pt x="211" y="68"/>
                    </a:lnTo>
                    <a:lnTo>
                      <a:pt x="213" y="67"/>
                    </a:lnTo>
                    <a:lnTo>
                      <a:pt x="213" y="66"/>
                    </a:lnTo>
                    <a:lnTo>
                      <a:pt x="214" y="64"/>
                    </a:lnTo>
                    <a:lnTo>
                      <a:pt x="214" y="63"/>
                    </a:lnTo>
                    <a:lnTo>
                      <a:pt x="216" y="62"/>
                    </a:lnTo>
                    <a:lnTo>
                      <a:pt x="216" y="61"/>
                    </a:lnTo>
                    <a:lnTo>
                      <a:pt x="216" y="60"/>
                    </a:lnTo>
                    <a:lnTo>
                      <a:pt x="217" y="60"/>
                    </a:lnTo>
                    <a:lnTo>
                      <a:pt x="216" y="59"/>
                    </a:lnTo>
                    <a:lnTo>
                      <a:pt x="216" y="57"/>
                    </a:lnTo>
                    <a:lnTo>
                      <a:pt x="214" y="55"/>
                    </a:lnTo>
                    <a:lnTo>
                      <a:pt x="211" y="55"/>
                    </a:lnTo>
                    <a:lnTo>
                      <a:pt x="210" y="55"/>
                    </a:lnTo>
                    <a:lnTo>
                      <a:pt x="207" y="55"/>
                    </a:lnTo>
                    <a:lnTo>
                      <a:pt x="204" y="54"/>
                    </a:lnTo>
                    <a:lnTo>
                      <a:pt x="203" y="54"/>
                    </a:lnTo>
                    <a:lnTo>
                      <a:pt x="201" y="54"/>
                    </a:lnTo>
                    <a:lnTo>
                      <a:pt x="201" y="53"/>
                    </a:lnTo>
                    <a:lnTo>
                      <a:pt x="203" y="53"/>
                    </a:lnTo>
                    <a:lnTo>
                      <a:pt x="204" y="53"/>
                    </a:lnTo>
                    <a:lnTo>
                      <a:pt x="205" y="53"/>
                    </a:lnTo>
                    <a:lnTo>
                      <a:pt x="206" y="53"/>
                    </a:lnTo>
                    <a:lnTo>
                      <a:pt x="206" y="52"/>
                    </a:lnTo>
                    <a:lnTo>
                      <a:pt x="207" y="52"/>
                    </a:lnTo>
                    <a:lnTo>
                      <a:pt x="208" y="52"/>
                    </a:lnTo>
                    <a:lnTo>
                      <a:pt x="209" y="51"/>
                    </a:lnTo>
                    <a:lnTo>
                      <a:pt x="210" y="51"/>
                    </a:lnTo>
                    <a:lnTo>
                      <a:pt x="211" y="50"/>
                    </a:lnTo>
                    <a:lnTo>
                      <a:pt x="213" y="50"/>
                    </a:lnTo>
                    <a:lnTo>
                      <a:pt x="214" y="50"/>
                    </a:lnTo>
                    <a:lnTo>
                      <a:pt x="214" y="49"/>
                    </a:lnTo>
                    <a:lnTo>
                      <a:pt x="215" y="49"/>
                    </a:lnTo>
                    <a:lnTo>
                      <a:pt x="214" y="49"/>
                    </a:lnTo>
                    <a:lnTo>
                      <a:pt x="215" y="49"/>
                    </a:lnTo>
                    <a:lnTo>
                      <a:pt x="215" y="48"/>
                    </a:lnTo>
                    <a:lnTo>
                      <a:pt x="216" y="48"/>
                    </a:lnTo>
                    <a:lnTo>
                      <a:pt x="216" y="47"/>
                    </a:lnTo>
                    <a:lnTo>
                      <a:pt x="217" y="47"/>
                    </a:lnTo>
                    <a:lnTo>
                      <a:pt x="216" y="47"/>
                    </a:lnTo>
                    <a:lnTo>
                      <a:pt x="216" y="46"/>
                    </a:lnTo>
                    <a:lnTo>
                      <a:pt x="216" y="44"/>
                    </a:lnTo>
                    <a:lnTo>
                      <a:pt x="216" y="43"/>
                    </a:lnTo>
                    <a:lnTo>
                      <a:pt x="217" y="43"/>
                    </a:lnTo>
                    <a:lnTo>
                      <a:pt x="217" y="42"/>
                    </a:lnTo>
                    <a:lnTo>
                      <a:pt x="218" y="42"/>
                    </a:lnTo>
                    <a:lnTo>
                      <a:pt x="218" y="41"/>
                    </a:lnTo>
                    <a:lnTo>
                      <a:pt x="219" y="41"/>
                    </a:lnTo>
                    <a:lnTo>
                      <a:pt x="219" y="40"/>
                    </a:lnTo>
                    <a:lnTo>
                      <a:pt x="219" y="41"/>
                    </a:lnTo>
                    <a:lnTo>
                      <a:pt x="220" y="40"/>
                    </a:lnTo>
                    <a:lnTo>
                      <a:pt x="220" y="39"/>
                    </a:lnTo>
                    <a:lnTo>
                      <a:pt x="221" y="39"/>
                    </a:lnTo>
                    <a:lnTo>
                      <a:pt x="221" y="38"/>
                    </a:lnTo>
                    <a:lnTo>
                      <a:pt x="222" y="38"/>
                    </a:lnTo>
                    <a:lnTo>
                      <a:pt x="222" y="37"/>
                    </a:lnTo>
                    <a:lnTo>
                      <a:pt x="223" y="37"/>
                    </a:lnTo>
                    <a:lnTo>
                      <a:pt x="224" y="36"/>
                    </a:lnTo>
                    <a:lnTo>
                      <a:pt x="224" y="35"/>
                    </a:lnTo>
                    <a:lnTo>
                      <a:pt x="226" y="35"/>
                    </a:lnTo>
                    <a:lnTo>
                      <a:pt x="226" y="34"/>
                    </a:lnTo>
                    <a:lnTo>
                      <a:pt x="227" y="34"/>
                    </a:lnTo>
                    <a:lnTo>
                      <a:pt x="228" y="34"/>
                    </a:lnTo>
                    <a:lnTo>
                      <a:pt x="228" y="33"/>
                    </a:lnTo>
                    <a:lnTo>
                      <a:pt x="229" y="31"/>
                    </a:lnTo>
                    <a:lnTo>
                      <a:pt x="229" y="33"/>
                    </a:lnTo>
                    <a:lnTo>
                      <a:pt x="230" y="31"/>
                    </a:lnTo>
                    <a:lnTo>
                      <a:pt x="230" y="30"/>
                    </a:lnTo>
                    <a:lnTo>
                      <a:pt x="231" y="30"/>
                    </a:lnTo>
                    <a:lnTo>
                      <a:pt x="231" y="29"/>
                    </a:lnTo>
                    <a:lnTo>
                      <a:pt x="232" y="29"/>
                    </a:lnTo>
                    <a:lnTo>
                      <a:pt x="231" y="29"/>
                    </a:lnTo>
                    <a:lnTo>
                      <a:pt x="232" y="29"/>
                    </a:lnTo>
                    <a:lnTo>
                      <a:pt x="232" y="28"/>
                    </a:lnTo>
                    <a:lnTo>
                      <a:pt x="232" y="27"/>
                    </a:lnTo>
                    <a:lnTo>
                      <a:pt x="233" y="27"/>
                    </a:lnTo>
                    <a:lnTo>
                      <a:pt x="233" y="26"/>
                    </a:lnTo>
                    <a:lnTo>
                      <a:pt x="234" y="26"/>
                    </a:lnTo>
                    <a:lnTo>
                      <a:pt x="235" y="25"/>
                    </a:lnTo>
                    <a:lnTo>
                      <a:pt x="235" y="24"/>
                    </a:lnTo>
                    <a:lnTo>
                      <a:pt x="236" y="25"/>
                    </a:lnTo>
                    <a:lnTo>
                      <a:pt x="235" y="24"/>
                    </a:lnTo>
                    <a:lnTo>
                      <a:pt x="236" y="24"/>
                    </a:lnTo>
                    <a:lnTo>
                      <a:pt x="237" y="24"/>
                    </a:lnTo>
                    <a:lnTo>
                      <a:pt x="236" y="23"/>
                    </a:lnTo>
                    <a:lnTo>
                      <a:pt x="237" y="23"/>
                    </a:lnTo>
                    <a:lnTo>
                      <a:pt x="239" y="23"/>
                    </a:lnTo>
                    <a:lnTo>
                      <a:pt x="239" y="22"/>
                    </a:lnTo>
                    <a:lnTo>
                      <a:pt x="240" y="22"/>
                    </a:lnTo>
                    <a:lnTo>
                      <a:pt x="240" y="21"/>
                    </a:lnTo>
                    <a:lnTo>
                      <a:pt x="240" y="20"/>
                    </a:lnTo>
                    <a:lnTo>
                      <a:pt x="240" y="21"/>
                    </a:lnTo>
                    <a:lnTo>
                      <a:pt x="240" y="20"/>
                    </a:lnTo>
                    <a:lnTo>
                      <a:pt x="240" y="18"/>
                    </a:lnTo>
                    <a:lnTo>
                      <a:pt x="241" y="18"/>
                    </a:lnTo>
                    <a:lnTo>
                      <a:pt x="241" y="17"/>
                    </a:lnTo>
                    <a:lnTo>
                      <a:pt x="242" y="16"/>
                    </a:lnTo>
                    <a:lnTo>
                      <a:pt x="242" y="15"/>
                    </a:lnTo>
                    <a:lnTo>
                      <a:pt x="242" y="14"/>
                    </a:lnTo>
                    <a:lnTo>
                      <a:pt x="243" y="14"/>
                    </a:lnTo>
                    <a:lnTo>
                      <a:pt x="243" y="15"/>
                    </a:lnTo>
                    <a:lnTo>
                      <a:pt x="243" y="14"/>
                    </a:lnTo>
                    <a:lnTo>
                      <a:pt x="243" y="13"/>
                    </a:lnTo>
                    <a:lnTo>
                      <a:pt x="243" y="12"/>
                    </a:lnTo>
                    <a:lnTo>
                      <a:pt x="243" y="11"/>
                    </a:lnTo>
                    <a:lnTo>
                      <a:pt x="243" y="10"/>
                    </a:lnTo>
                    <a:lnTo>
                      <a:pt x="243" y="9"/>
                    </a:lnTo>
                    <a:lnTo>
                      <a:pt x="242" y="9"/>
                    </a:lnTo>
                    <a:lnTo>
                      <a:pt x="242" y="8"/>
                    </a:lnTo>
                    <a:lnTo>
                      <a:pt x="241" y="8"/>
                    </a:lnTo>
                    <a:lnTo>
                      <a:pt x="242" y="8"/>
                    </a:lnTo>
                    <a:lnTo>
                      <a:pt x="242" y="6"/>
                    </a:lnTo>
                    <a:lnTo>
                      <a:pt x="241" y="6"/>
                    </a:lnTo>
                    <a:lnTo>
                      <a:pt x="242" y="6"/>
                    </a:lnTo>
                    <a:lnTo>
                      <a:pt x="242" y="8"/>
                    </a:lnTo>
                    <a:lnTo>
                      <a:pt x="242" y="6"/>
                    </a:lnTo>
                    <a:lnTo>
                      <a:pt x="243" y="6"/>
                    </a:lnTo>
                    <a:lnTo>
                      <a:pt x="244" y="6"/>
                    </a:lnTo>
                    <a:lnTo>
                      <a:pt x="245" y="8"/>
                    </a:lnTo>
                    <a:lnTo>
                      <a:pt x="244" y="8"/>
                    </a:lnTo>
                    <a:lnTo>
                      <a:pt x="245" y="8"/>
                    </a:lnTo>
                    <a:lnTo>
                      <a:pt x="245" y="6"/>
                    </a:lnTo>
                    <a:lnTo>
                      <a:pt x="244" y="6"/>
                    </a:lnTo>
                    <a:lnTo>
                      <a:pt x="244" y="5"/>
                    </a:lnTo>
                    <a:lnTo>
                      <a:pt x="243" y="6"/>
                    </a:lnTo>
                    <a:lnTo>
                      <a:pt x="242" y="6"/>
                    </a:lnTo>
                    <a:lnTo>
                      <a:pt x="241" y="6"/>
                    </a:lnTo>
                    <a:lnTo>
                      <a:pt x="242" y="6"/>
                    </a:lnTo>
                    <a:lnTo>
                      <a:pt x="242" y="5"/>
                    </a:lnTo>
                    <a:lnTo>
                      <a:pt x="242" y="4"/>
                    </a:lnTo>
                    <a:lnTo>
                      <a:pt x="242" y="5"/>
                    </a:lnTo>
                    <a:lnTo>
                      <a:pt x="242" y="4"/>
                    </a:lnTo>
                    <a:lnTo>
                      <a:pt x="242" y="3"/>
                    </a:lnTo>
                    <a:lnTo>
                      <a:pt x="242" y="2"/>
                    </a:lnTo>
                    <a:lnTo>
                      <a:pt x="242" y="1"/>
                    </a:lnTo>
                    <a:lnTo>
                      <a:pt x="242" y="0"/>
                    </a:lnTo>
                    <a:lnTo>
                      <a:pt x="243" y="0"/>
                    </a:lnTo>
                    <a:lnTo>
                      <a:pt x="244" y="0"/>
                    </a:lnTo>
                    <a:lnTo>
                      <a:pt x="244" y="1"/>
                    </a:lnTo>
                    <a:lnTo>
                      <a:pt x="244" y="2"/>
                    </a:lnTo>
                    <a:lnTo>
                      <a:pt x="244" y="4"/>
                    </a:lnTo>
                    <a:lnTo>
                      <a:pt x="245" y="6"/>
                    </a:lnTo>
                    <a:lnTo>
                      <a:pt x="245" y="5"/>
                    </a:lnTo>
                    <a:lnTo>
                      <a:pt x="246" y="4"/>
                    </a:lnTo>
                    <a:lnTo>
                      <a:pt x="247" y="4"/>
                    </a:lnTo>
                    <a:lnTo>
                      <a:pt x="247" y="5"/>
                    </a:lnTo>
                    <a:lnTo>
                      <a:pt x="247" y="6"/>
                    </a:lnTo>
                    <a:lnTo>
                      <a:pt x="247" y="5"/>
                    </a:lnTo>
                    <a:lnTo>
                      <a:pt x="247" y="6"/>
                    </a:lnTo>
                    <a:lnTo>
                      <a:pt x="246" y="6"/>
                    </a:lnTo>
                    <a:lnTo>
                      <a:pt x="246" y="8"/>
                    </a:lnTo>
                    <a:lnTo>
                      <a:pt x="245" y="8"/>
                    </a:lnTo>
                    <a:lnTo>
                      <a:pt x="246" y="8"/>
                    </a:lnTo>
                    <a:lnTo>
                      <a:pt x="246" y="9"/>
                    </a:lnTo>
                    <a:lnTo>
                      <a:pt x="245" y="9"/>
                    </a:lnTo>
                    <a:lnTo>
                      <a:pt x="246" y="9"/>
                    </a:lnTo>
                    <a:lnTo>
                      <a:pt x="246" y="10"/>
                    </a:lnTo>
                    <a:lnTo>
                      <a:pt x="245" y="9"/>
                    </a:lnTo>
                    <a:lnTo>
                      <a:pt x="245" y="10"/>
                    </a:lnTo>
                    <a:lnTo>
                      <a:pt x="246" y="10"/>
                    </a:lnTo>
                    <a:lnTo>
                      <a:pt x="247" y="10"/>
                    </a:lnTo>
                    <a:lnTo>
                      <a:pt x="247" y="11"/>
                    </a:lnTo>
                    <a:lnTo>
                      <a:pt x="246" y="11"/>
                    </a:lnTo>
                    <a:lnTo>
                      <a:pt x="247" y="11"/>
                    </a:lnTo>
                    <a:lnTo>
                      <a:pt x="246" y="11"/>
                    </a:lnTo>
                    <a:lnTo>
                      <a:pt x="247" y="11"/>
                    </a:lnTo>
                    <a:lnTo>
                      <a:pt x="247" y="12"/>
                    </a:lnTo>
                    <a:lnTo>
                      <a:pt x="246" y="12"/>
                    </a:lnTo>
                    <a:lnTo>
                      <a:pt x="247" y="12"/>
                    </a:lnTo>
                    <a:lnTo>
                      <a:pt x="247" y="13"/>
                    </a:lnTo>
                    <a:lnTo>
                      <a:pt x="246" y="13"/>
                    </a:lnTo>
                    <a:lnTo>
                      <a:pt x="247" y="13"/>
                    </a:lnTo>
                    <a:lnTo>
                      <a:pt x="246" y="13"/>
                    </a:lnTo>
                    <a:lnTo>
                      <a:pt x="247" y="13"/>
                    </a:lnTo>
                    <a:lnTo>
                      <a:pt x="247" y="14"/>
                    </a:lnTo>
                    <a:lnTo>
                      <a:pt x="247" y="15"/>
                    </a:lnTo>
                    <a:lnTo>
                      <a:pt x="247" y="16"/>
                    </a:lnTo>
                    <a:lnTo>
                      <a:pt x="246" y="17"/>
                    </a:lnTo>
                    <a:lnTo>
                      <a:pt x="245" y="16"/>
                    </a:lnTo>
                    <a:lnTo>
                      <a:pt x="245" y="17"/>
                    </a:lnTo>
                    <a:lnTo>
                      <a:pt x="246" y="17"/>
                    </a:lnTo>
                    <a:lnTo>
                      <a:pt x="245" y="17"/>
                    </a:lnTo>
                    <a:lnTo>
                      <a:pt x="245" y="18"/>
                    </a:lnTo>
                    <a:lnTo>
                      <a:pt x="245" y="17"/>
                    </a:lnTo>
                    <a:lnTo>
                      <a:pt x="245" y="18"/>
                    </a:lnTo>
                    <a:lnTo>
                      <a:pt x="244" y="18"/>
                    </a:lnTo>
                    <a:lnTo>
                      <a:pt x="244" y="20"/>
                    </a:lnTo>
                    <a:lnTo>
                      <a:pt x="244" y="18"/>
                    </a:lnTo>
                    <a:lnTo>
                      <a:pt x="244" y="20"/>
                    </a:lnTo>
                    <a:lnTo>
                      <a:pt x="244" y="18"/>
                    </a:lnTo>
                    <a:lnTo>
                      <a:pt x="243" y="18"/>
                    </a:lnTo>
                    <a:lnTo>
                      <a:pt x="244" y="20"/>
                    </a:lnTo>
                    <a:lnTo>
                      <a:pt x="243" y="20"/>
                    </a:lnTo>
                    <a:lnTo>
                      <a:pt x="242" y="22"/>
                    </a:lnTo>
                    <a:lnTo>
                      <a:pt x="241" y="22"/>
                    </a:lnTo>
                    <a:lnTo>
                      <a:pt x="240" y="23"/>
                    </a:lnTo>
                    <a:lnTo>
                      <a:pt x="239" y="24"/>
                    </a:lnTo>
                    <a:lnTo>
                      <a:pt x="239" y="25"/>
                    </a:lnTo>
                    <a:lnTo>
                      <a:pt x="237" y="24"/>
                    </a:lnTo>
                    <a:lnTo>
                      <a:pt x="237" y="25"/>
                    </a:lnTo>
                    <a:lnTo>
                      <a:pt x="236" y="26"/>
                    </a:lnTo>
                    <a:lnTo>
                      <a:pt x="235" y="27"/>
                    </a:lnTo>
                    <a:lnTo>
                      <a:pt x="235" y="28"/>
                    </a:lnTo>
                    <a:lnTo>
                      <a:pt x="234" y="29"/>
                    </a:lnTo>
                    <a:lnTo>
                      <a:pt x="234" y="30"/>
                    </a:lnTo>
                    <a:lnTo>
                      <a:pt x="234" y="31"/>
                    </a:lnTo>
                    <a:lnTo>
                      <a:pt x="233" y="31"/>
                    </a:lnTo>
                    <a:lnTo>
                      <a:pt x="233" y="33"/>
                    </a:lnTo>
                    <a:lnTo>
                      <a:pt x="234" y="33"/>
                    </a:lnTo>
                    <a:lnTo>
                      <a:pt x="233" y="33"/>
                    </a:lnTo>
                    <a:lnTo>
                      <a:pt x="233" y="34"/>
                    </a:lnTo>
                    <a:lnTo>
                      <a:pt x="233" y="35"/>
                    </a:lnTo>
                    <a:lnTo>
                      <a:pt x="234" y="35"/>
                    </a:lnTo>
                    <a:lnTo>
                      <a:pt x="234" y="36"/>
                    </a:lnTo>
                    <a:lnTo>
                      <a:pt x="233" y="36"/>
                    </a:lnTo>
                    <a:lnTo>
                      <a:pt x="233" y="37"/>
                    </a:lnTo>
                    <a:lnTo>
                      <a:pt x="232" y="37"/>
                    </a:lnTo>
                    <a:lnTo>
                      <a:pt x="232" y="38"/>
                    </a:lnTo>
                    <a:lnTo>
                      <a:pt x="232" y="39"/>
                    </a:lnTo>
                    <a:lnTo>
                      <a:pt x="233" y="39"/>
                    </a:lnTo>
                    <a:lnTo>
                      <a:pt x="233" y="40"/>
                    </a:lnTo>
                    <a:lnTo>
                      <a:pt x="232" y="40"/>
                    </a:lnTo>
                    <a:lnTo>
                      <a:pt x="232" y="41"/>
                    </a:lnTo>
                    <a:lnTo>
                      <a:pt x="232" y="42"/>
                    </a:lnTo>
                    <a:lnTo>
                      <a:pt x="232" y="43"/>
                    </a:lnTo>
                    <a:lnTo>
                      <a:pt x="232" y="44"/>
                    </a:lnTo>
                    <a:lnTo>
                      <a:pt x="233" y="44"/>
                    </a:lnTo>
                    <a:lnTo>
                      <a:pt x="233" y="46"/>
                    </a:lnTo>
                    <a:lnTo>
                      <a:pt x="233" y="47"/>
                    </a:lnTo>
                    <a:lnTo>
                      <a:pt x="234" y="48"/>
                    </a:lnTo>
                    <a:lnTo>
                      <a:pt x="234" y="49"/>
                    </a:lnTo>
                    <a:lnTo>
                      <a:pt x="234" y="50"/>
                    </a:lnTo>
                    <a:lnTo>
                      <a:pt x="233" y="50"/>
                    </a:lnTo>
                    <a:lnTo>
                      <a:pt x="232" y="50"/>
                    </a:lnTo>
                    <a:lnTo>
                      <a:pt x="232" y="51"/>
                    </a:lnTo>
                    <a:lnTo>
                      <a:pt x="232" y="52"/>
                    </a:lnTo>
                    <a:lnTo>
                      <a:pt x="231" y="52"/>
                    </a:lnTo>
                    <a:lnTo>
                      <a:pt x="231" y="53"/>
                    </a:lnTo>
                    <a:lnTo>
                      <a:pt x="230" y="55"/>
                    </a:lnTo>
                    <a:lnTo>
                      <a:pt x="231" y="56"/>
                    </a:lnTo>
                    <a:lnTo>
                      <a:pt x="231" y="55"/>
                    </a:lnTo>
                    <a:lnTo>
                      <a:pt x="231" y="56"/>
                    </a:lnTo>
                    <a:lnTo>
                      <a:pt x="231" y="57"/>
                    </a:lnTo>
                    <a:lnTo>
                      <a:pt x="232" y="57"/>
                    </a:lnTo>
                    <a:lnTo>
                      <a:pt x="232" y="59"/>
                    </a:lnTo>
                    <a:lnTo>
                      <a:pt x="233" y="59"/>
                    </a:lnTo>
                    <a:lnTo>
                      <a:pt x="233" y="60"/>
                    </a:lnTo>
                    <a:lnTo>
                      <a:pt x="234" y="60"/>
                    </a:lnTo>
                    <a:lnTo>
                      <a:pt x="235" y="60"/>
                    </a:lnTo>
                    <a:lnTo>
                      <a:pt x="236" y="60"/>
                    </a:lnTo>
                    <a:lnTo>
                      <a:pt x="237" y="59"/>
                    </a:lnTo>
                    <a:lnTo>
                      <a:pt x="239" y="59"/>
                    </a:lnTo>
                    <a:lnTo>
                      <a:pt x="240" y="59"/>
                    </a:lnTo>
                    <a:lnTo>
                      <a:pt x="240" y="60"/>
                    </a:lnTo>
                    <a:lnTo>
                      <a:pt x="241" y="60"/>
                    </a:lnTo>
                    <a:lnTo>
                      <a:pt x="242" y="60"/>
                    </a:lnTo>
                    <a:lnTo>
                      <a:pt x="242" y="59"/>
                    </a:lnTo>
                    <a:lnTo>
                      <a:pt x="242" y="57"/>
                    </a:lnTo>
                    <a:lnTo>
                      <a:pt x="243" y="57"/>
                    </a:lnTo>
                    <a:lnTo>
                      <a:pt x="242" y="56"/>
                    </a:lnTo>
                    <a:lnTo>
                      <a:pt x="243" y="56"/>
                    </a:lnTo>
                    <a:lnTo>
                      <a:pt x="243" y="55"/>
                    </a:lnTo>
                    <a:lnTo>
                      <a:pt x="243" y="54"/>
                    </a:lnTo>
                    <a:lnTo>
                      <a:pt x="243" y="53"/>
                    </a:lnTo>
                    <a:lnTo>
                      <a:pt x="243" y="52"/>
                    </a:lnTo>
                    <a:lnTo>
                      <a:pt x="244" y="52"/>
                    </a:lnTo>
                    <a:lnTo>
                      <a:pt x="244" y="51"/>
                    </a:lnTo>
                    <a:lnTo>
                      <a:pt x="245" y="51"/>
                    </a:lnTo>
                    <a:lnTo>
                      <a:pt x="245" y="50"/>
                    </a:lnTo>
                    <a:lnTo>
                      <a:pt x="245" y="49"/>
                    </a:lnTo>
                    <a:lnTo>
                      <a:pt x="244" y="49"/>
                    </a:lnTo>
                    <a:lnTo>
                      <a:pt x="244" y="48"/>
                    </a:lnTo>
                    <a:lnTo>
                      <a:pt x="245" y="48"/>
                    </a:lnTo>
                    <a:lnTo>
                      <a:pt x="245" y="49"/>
                    </a:lnTo>
                    <a:lnTo>
                      <a:pt x="245" y="50"/>
                    </a:lnTo>
                    <a:lnTo>
                      <a:pt x="246" y="50"/>
                    </a:lnTo>
                    <a:lnTo>
                      <a:pt x="247" y="51"/>
                    </a:lnTo>
                    <a:lnTo>
                      <a:pt x="248" y="51"/>
                    </a:lnTo>
                    <a:lnTo>
                      <a:pt x="247" y="51"/>
                    </a:lnTo>
                    <a:lnTo>
                      <a:pt x="248" y="51"/>
                    </a:lnTo>
                    <a:lnTo>
                      <a:pt x="249" y="51"/>
                    </a:lnTo>
                    <a:lnTo>
                      <a:pt x="248" y="50"/>
                    </a:lnTo>
                    <a:lnTo>
                      <a:pt x="248" y="51"/>
                    </a:lnTo>
                    <a:lnTo>
                      <a:pt x="247" y="51"/>
                    </a:lnTo>
                    <a:lnTo>
                      <a:pt x="246" y="50"/>
                    </a:lnTo>
                    <a:lnTo>
                      <a:pt x="245" y="49"/>
                    </a:lnTo>
                    <a:lnTo>
                      <a:pt x="246" y="49"/>
                    </a:lnTo>
                    <a:lnTo>
                      <a:pt x="247" y="49"/>
                    </a:lnTo>
                    <a:lnTo>
                      <a:pt x="246" y="50"/>
                    </a:lnTo>
                    <a:lnTo>
                      <a:pt x="247" y="50"/>
                    </a:lnTo>
                    <a:lnTo>
                      <a:pt x="247" y="49"/>
                    </a:lnTo>
                    <a:lnTo>
                      <a:pt x="248" y="49"/>
                    </a:lnTo>
                    <a:lnTo>
                      <a:pt x="248" y="50"/>
                    </a:lnTo>
                    <a:lnTo>
                      <a:pt x="250" y="50"/>
                    </a:lnTo>
                    <a:lnTo>
                      <a:pt x="253" y="49"/>
                    </a:lnTo>
                    <a:lnTo>
                      <a:pt x="254" y="49"/>
                    </a:lnTo>
                    <a:lnTo>
                      <a:pt x="255" y="49"/>
                    </a:lnTo>
                    <a:lnTo>
                      <a:pt x="254" y="48"/>
                    </a:lnTo>
                    <a:lnTo>
                      <a:pt x="253" y="48"/>
                    </a:lnTo>
                    <a:lnTo>
                      <a:pt x="253" y="49"/>
                    </a:lnTo>
                    <a:lnTo>
                      <a:pt x="252" y="49"/>
                    </a:lnTo>
                    <a:lnTo>
                      <a:pt x="250" y="49"/>
                    </a:lnTo>
                    <a:lnTo>
                      <a:pt x="249" y="49"/>
                    </a:lnTo>
                    <a:lnTo>
                      <a:pt x="248" y="49"/>
                    </a:lnTo>
                    <a:lnTo>
                      <a:pt x="248" y="48"/>
                    </a:lnTo>
                    <a:lnTo>
                      <a:pt x="249" y="48"/>
                    </a:lnTo>
                    <a:lnTo>
                      <a:pt x="249" y="47"/>
                    </a:lnTo>
                    <a:lnTo>
                      <a:pt x="249" y="46"/>
                    </a:lnTo>
                    <a:lnTo>
                      <a:pt x="249" y="44"/>
                    </a:lnTo>
                    <a:lnTo>
                      <a:pt x="250" y="44"/>
                    </a:lnTo>
                    <a:lnTo>
                      <a:pt x="250" y="43"/>
                    </a:lnTo>
                    <a:lnTo>
                      <a:pt x="250" y="42"/>
                    </a:lnTo>
                    <a:lnTo>
                      <a:pt x="252" y="42"/>
                    </a:lnTo>
                    <a:lnTo>
                      <a:pt x="252" y="43"/>
                    </a:lnTo>
                    <a:lnTo>
                      <a:pt x="252" y="42"/>
                    </a:lnTo>
                    <a:lnTo>
                      <a:pt x="253" y="42"/>
                    </a:lnTo>
                    <a:lnTo>
                      <a:pt x="253" y="41"/>
                    </a:lnTo>
                    <a:lnTo>
                      <a:pt x="253" y="40"/>
                    </a:lnTo>
                    <a:lnTo>
                      <a:pt x="252" y="40"/>
                    </a:lnTo>
                    <a:lnTo>
                      <a:pt x="250" y="39"/>
                    </a:lnTo>
                    <a:lnTo>
                      <a:pt x="250" y="40"/>
                    </a:lnTo>
                    <a:lnTo>
                      <a:pt x="250" y="39"/>
                    </a:lnTo>
                    <a:lnTo>
                      <a:pt x="252" y="38"/>
                    </a:lnTo>
                    <a:lnTo>
                      <a:pt x="253" y="38"/>
                    </a:lnTo>
                    <a:lnTo>
                      <a:pt x="253" y="39"/>
                    </a:lnTo>
                    <a:lnTo>
                      <a:pt x="254" y="39"/>
                    </a:lnTo>
                    <a:lnTo>
                      <a:pt x="255" y="39"/>
                    </a:lnTo>
                    <a:lnTo>
                      <a:pt x="256" y="38"/>
                    </a:lnTo>
                    <a:lnTo>
                      <a:pt x="257" y="37"/>
                    </a:lnTo>
                    <a:lnTo>
                      <a:pt x="258" y="37"/>
                    </a:lnTo>
                    <a:lnTo>
                      <a:pt x="259" y="37"/>
                    </a:lnTo>
                    <a:lnTo>
                      <a:pt x="259" y="38"/>
                    </a:lnTo>
                    <a:lnTo>
                      <a:pt x="259" y="37"/>
                    </a:lnTo>
                    <a:lnTo>
                      <a:pt x="260" y="37"/>
                    </a:lnTo>
                    <a:lnTo>
                      <a:pt x="261" y="37"/>
                    </a:lnTo>
                    <a:lnTo>
                      <a:pt x="261" y="38"/>
                    </a:lnTo>
                    <a:lnTo>
                      <a:pt x="260" y="38"/>
                    </a:lnTo>
                    <a:lnTo>
                      <a:pt x="260" y="37"/>
                    </a:lnTo>
                    <a:lnTo>
                      <a:pt x="259" y="38"/>
                    </a:lnTo>
                    <a:lnTo>
                      <a:pt x="260" y="38"/>
                    </a:lnTo>
                    <a:lnTo>
                      <a:pt x="261" y="38"/>
                    </a:lnTo>
                    <a:lnTo>
                      <a:pt x="262" y="38"/>
                    </a:lnTo>
                    <a:lnTo>
                      <a:pt x="262" y="37"/>
                    </a:lnTo>
                    <a:lnTo>
                      <a:pt x="263" y="37"/>
                    </a:lnTo>
                    <a:lnTo>
                      <a:pt x="263" y="38"/>
                    </a:lnTo>
                    <a:lnTo>
                      <a:pt x="263" y="37"/>
                    </a:lnTo>
                    <a:lnTo>
                      <a:pt x="265" y="37"/>
                    </a:lnTo>
                    <a:lnTo>
                      <a:pt x="265" y="36"/>
                    </a:lnTo>
                    <a:lnTo>
                      <a:pt x="265" y="37"/>
                    </a:lnTo>
                    <a:lnTo>
                      <a:pt x="265" y="36"/>
                    </a:lnTo>
                    <a:lnTo>
                      <a:pt x="266" y="36"/>
                    </a:lnTo>
                    <a:lnTo>
                      <a:pt x="267" y="36"/>
                    </a:lnTo>
                    <a:lnTo>
                      <a:pt x="268" y="36"/>
                    </a:lnTo>
                    <a:lnTo>
                      <a:pt x="268" y="35"/>
                    </a:lnTo>
                    <a:lnTo>
                      <a:pt x="269" y="35"/>
                    </a:lnTo>
                    <a:lnTo>
                      <a:pt x="269" y="36"/>
                    </a:lnTo>
                    <a:lnTo>
                      <a:pt x="269" y="37"/>
                    </a:lnTo>
                    <a:lnTo>
                      <a:pt x="270" y="37"/>
                    </a:lnTo>
                    <a:lnTo>
                      <a:pt x="271" y="37"/>
                    </a:lnTo>
                    <a:lnTo>
                      <a:pt x="271" y="38"/>
                    </a:lnTo>
                    <a:lnTo>
                      <a:pt x="271" y="37"/>
                    </a:lnTo>
                    <a:lnTo>
                      <a:pt x="270" y="37"/>
                    </a:lnTo>
                    <a:lnTo>
                      <a:pt x="270" y="36"/>
                    </a:lnTo>
                    <a:lnTo>
                      <a:pt x="269" y="36"/>
                    </a:lnTo>
                    <a:lnTo>
                      <a:pt x="269" y="35"/>
                    </a:lnTo>
                    <a:lnTo>
                      <a:pt x="270" y="35"/>
                    </a:lnTo>
                    <a:lnTo>
                      <a:pt x="271" y="35"/>
                    </a:lnTo>
                    <a:lnTo>
                      <a:pt x="271" y="34"/>
                    </a:lnTo>
                    <a:lnTo>
                      <a:pt x="271" y="35"/>
                    </a:lnTo>
                    <a:lnTo>
                      <a:pt x="271" y="36"/>
                    </a:lnTo>
                    <a:lnTo>
                      <a:pt x="272" y="36"/>
                    </a:lnTo>
                    <a:lnTo>
                      <a:pt x="273" y="36"/>
                    </a:lnTo>
                    <a:lnTo>
                      <a:pt x="273" y="37"/>
                    </a:lnTo>
                    <a:lnTo>
                      <a:pt x="273" y="36"/>
                    </a:lnTo>
                    <a:lnTo>
                      <a:pt x="272" y="36"/>
                    </a:lnTo>
                    <a:lnTo>
                      <a:pt x="273" y="36"/>
                    </a:lnTo>
                    <a:lnTo>
                      <a:pt x="273" y="35"/>
                    </a:lnTo>
                    <a:lnTo>
                      <a:pt x="273" y="36"/>
                    </a:lnTo>
                    <a:lnTo>
                      <a:pt x="274" y="36"/>
                    </a:lnTo>
                    <a:lnTo>
                      <a:pt x="274" y="35"/>
                    </a:lnTo>
                    <a:lnTo>
                      <a:pt x="274" y="36"/>
                    </a:lnTo>
                    <a:lnTo>
                      <a:pt x="274" y="35"/>
                    </a:lnTo>
                    <a:lnTo>
                      <a:pt x="273" y="35"/>
                    </a:lnTo>
                    <a:lnTo>
                      <a:pt x="273" y="36"/>
                    </a:lnTo>
                    <a:lnTo>
                      <a:pt x="273" y="35"/>
                    </a:lnTo>
                    <a:lnTo>
                      <a:pt x="272" y="35"/>
                    </a:lnTo>
                    <a:lnTo>
                      <a:pt x="272" y="36"/>
                    </a:lnTo>
                    <a:lnTo>
                      <a:pt x="273" y="36"/>
                    </a:lnTo>
                    <a:lnTo>
                      <a:pt x="272" y="36"/>
                    </a:lnTo>
                    <a:lnTo>
                      <a:pt x="272" y="35"/>
                    </a:lnTo>
                    <a:lnTo>
                      <a:pt x="271" y="35"/>
                    </a:lnTo>
                    <a:lnTo>
                      <a:pt x="271" y="34"/>
                    </a:lnTo>
                    <a:lnTo>
                      <a:pt x="272" y="34"/>
                    </a:lnTo>
                    <a:lnTo>
                      <a:pt x="273" y="34"/>
                    </a:lnTo>
                    <a:lnTo>
                      <a:pt x="274" y="34"/>
                    </a:lnTo>
                    <a:lnTo>
                      <a:pt x="275" y="33"/>
                    </a:lnTo>
                    <a:lnTo>
                      <a:pt x="276" y="33"/>
                    </a:lnTo>
                    <a:lnTo>
                      <a:pt x="276" y="31"/>
                    </a:lnTo>
                    <a:lnTo>
                      <a:pt x="275" y="31"/>
                    </a:lnTo>
                    <a:lnTo>
                      <a:pt x="276" y="31"/>
                    </a:lnTo>
                    <a:lnTo>
                      <a:pt x="275" y="31"/>
                    </a:lnTo>
                    <a:lnTo>
                      <a:pt x="275" y="30"/>
                    </a:lnTo>
                    <a:lnTo>
                      <a:pt x="274" y="30"/>
                    </a:lnTo>
                    <a:lnTo>
                      <a:pt x="274" y="29"/>
                    </a:lnTo>
                    <a:lnTo>
                      <a:pt x="273" y="29"/>
                    </a:lnTo>
                    <a:lnTo>
                      <a:pt x="273" y="28"/>
                    </a:lnTo>
                    <a:lnTo>
                      <a:pt x="273" y="27"/>
                    </a:lnTo>
                    <a:lnTo>
                      <a:pt x="273" y="26"/>
                    </a:lnTo>
                    <a:lnTo>
                      <a:pt x="274" y="26"/>
                    </a:lnTo>
                    <a:lnTo>
                      <a:pt x="275" y="26"/>
                    </a:lnTo>
                    <a:lnTo>
                      <a:pt x="275" y="25"/>
                    </a:lnTo>
                    <a:lnTo>
                      <a:pt x="275" y="24"/>
                    </a:lnTo>
                    <a:lnTo>
                      <a:pt x="274" y="24"/>
                    </a:lnTo>
                    <a:lnTo>
                      <a:pt x="274" y="23"/>
                    </a:lnTo>
                    <a:lnTo>
                      <a:pt x="275" y="23"/>
                    </a:lnTo>
                    <a:lnTo>
                      <a:pt x="276" y="23"/>
                    </a:lnTo>
                    <a:lnTo>
                      <a:pt x="276" y="24"/>
                    </a:lnTo>
                    <a:lnTo>
                      <a:pt x="278" y="23"/>
                    </a:lnTo>
                    <a:lnTo>
                      <a:pt x="278" y="22"/>
                    </a:lnTo>
                    <a:lnTo>
                      <a:pt x="278" y="21"/>
                    </a:lnTo>
                    <a:lnTo>
                      <a:pt x="278" y="20"/>
                    </a:lnTo>
                    <a:lnTo>
                      <a:pt x="278" y="18"/>
                    </a:lnTo>
                    <a:lnTo>
                      <a:pt x="276" y="18"/>
                    </a:lnTo>
                    <a:lnTo>
                      <a:pt x="275" y="18"/>
                    </a:lnTo>
                    <a:lnTo>
                      <a:pt x="275" y="17"/>
                    </a:lnTo>
                    <a:lnTo>
                      <a:pt x="274" y="17"/>
                    </a:lnTo>
                    <a:lnTo>
                      <a:pt x="273" y="17"/>
                    </a:lnTo>
                    <a:lnTo>
                      <a:pt x="273" y="16"/>
                    </a:lnTo>
                    <a:lnTo>
                      <a:pt x="272" y="16"/>
                    </a:lnTo>
                    <a:lnTo>
                      <a:pt x="271" y="16"/>
                    </a:lnTo>
                    <a:lnTo>
                      <a:pt x="270" y="16"/>
                    </a:lnTo>
                    <a:lnTo>
                      <a:pt x="269" y="16"/>
                    </a:lnTo>
                    <a:lnTo>
                      <a:pt x="268" y="16"/>
                    </a:lnTo>
                    <a:lnTo>
                      <a:pt x="268" y="17"/>
                    </a:lnTo>
                    <a:lnTo>
                      <a:pt x="268" y="18"/>
                    </a:lnTo>
                    <a:lnTo>
                      <a:pt x="268" y="20"/>
                    </a:lnTo>
                    <a:lnTo>
                      <a:pt x="267" y="21"/>
                    </a:lnTo>
                    <a:lnTo>
                      <a:pt x="267" y="20"/>
                    </a:lnTo>
                    <a:lnTo>
                      <a:pt x="266" y="18"/>
                    </a:lnTo>
                    <a:lnTo>
                      <a:pt x="267" y="18"/>
                    </a:lnTo>
                    <a:lnTo>
                      <a:pt x="267" y="17"/>
                    </a:lnTo>
                    <a:lnTo>
                      <a:pt x="267" y="16"/>
                    </a:lnTo>
                    <a:lnTo>
                      <a:pt x="267" y="15"/>
                    </a:lnTo>
                    <a:lnTo>
                      <a:pt x="267" y="14"/>
                    </a:lnTo>
                    <a:lnTo>
                      <a:pt x="266" y="14"/>
                    </a:lnTo>
                    <a:lnTo>
                      <a:pt x="265" y="14"/>
                    </a:lnTo>
                    <a:lnTo>
                      <a:pt x="265" y="15"/>
                    </a:lnTo>
                    <a:lnTo>
                      <a:pt x="265" y="16"/>
                    </a:lnTo>
                    <a:lnTo>
                      <a:pt x="265" y="17"/>
                    </a:lnTo>
                    <a:lnTo>
                      <a:pt x="265" y="18"/>
                    </a:lnTo>
                    <a:lnTo>
                      <a:pt x="263" y="18"/>
                    </a:lnTo>
                    <a:lnTo>
                      <a:pt x="263" y="20"/>
                    </a:lnTo>
                    <a:lnTo>
                      <a:pt x="262" y="22"/>
                    </a:lnTo>
                    <a:lnTo>
                      <a:pt x="262" y="23"/>
                    </a:lnTo>
                    <a:lnTo>
                      <a:pt x="262" y="24"/>
                    </a:lnTo>
                    <a:lnTo>
                      <a:pt x="262" y="25"/>
                    </a:lnTo>
                    <a:lnTo>
                      <a:pt x="261" y="26"/>
                    </a:lnTo>
                    <a:lnTo>
                      <a:pt x="261" y="25"/>
                    </a:lnTo>
                    <a:lnTo>
                      <a:pt x="260" y="25"/>
                    </a:lnTo>
                    <a:lnTo>
                      <a:pt x="260" y="24"/>
                    </a:lnTo>
                    <a:lnTo>
                      <a:pt x="261" y="24"/>
                    </a:lnTo>
                    <a:lnTo>
                      <a:pt x="261" y="23"/>
                    </a:lnTo>
                    <a:lnTo>
                      <a:pt x="260" y="23"/>
                    </a:lnTo>
                    <a:lnTo>
                      <a:pt x="260" y="24"/>
                    </a:lnTo>
                    <a:lnTo>
                      <a:pt x="259" y="24"/>
                    </a:lnTo>
                    <a:lnTo>
                      <a:pt x="259" y="23"/>
                    </a:lnTo>
                    <a:lnTo>
                      <a:pt x="258" y="22"/>
                    </a:lnTo>
                    <a:lnTo>
                      <a:pt x="258" y="21"/>
                    </a:lnTo>
                    <a:lnTo>
                      <a:pt x="258" y="22"/>
                    </a:lnTo>
                    <a:lnTo>
                      <a:pt x="257" y="22"/>
                    </a:lnTo>
                    <a:lnTo>
                      <a:pt x="257" y="21"/>
                    </a:lnTo>
                    <a:lnTo>
                      <a:pt x="257" y="20"/>
                    </a:lnTo>
                    <a:lnTo>
                      <a:pt x="256" y="20"/>
                    </a:lnTo>
                    <a:lnTo>
                      <a:pt x="256" y="18"/>
                    </a:lnTo>
                    <a:lnTo>
                      <a:pt x="255" y="17"/>
                    </a:lnTo>
                    <a:lnTo>
                      <a:pt x="254" y="17"/>
                    </a:lnTo>
                    <a:lnTo>
                      <a:pt x="253" y="16"/>
                    </a:lnTo>
                    <a:lnTo>
                      <a:pt x="254" y="16"/>
                    </a:lnTo>
                    <a:lnTo>
                      <a:pt x="254" y="15"/>
                    </a:lnTo>
                    <a:lnTo>
                      <a:pt x="254" y="14"/>
                    </a:lnTo>
                    <a:lnTo>
                      <a:pt x="255" y="14"/>
                    </a:lnTo>
                    <a:lnTo>
                      <a:pt x="255" y="13"/>
                    </a:lnTo>
                    <a:lnTo>
                      <a:pt x="256" y="13"/>
                    </a:lnTo>
                    <a:lnTo>
                      <a:pt x="257" y="14"/>
                    </a:lnTo>
                    <a:lnTo>
                      <a:pt x="258" y="14"/>
                    </a:lnTo>
                    <a:lnTo>
                      <a:pt x="259" y="14"/>
                    </a:lnTo>
                    <a:lnTo>
                      <a:pt x="260" y="14"/>
                    </a:lnTo>
                    <a:lnTo>
                      <a:pt x="261" y="14"/>
                    </a:lnTo>
                    <a:lnTo>
                      <a:pt x="261" y="13"/>
                    </a:lnTo>
                    <a:lnTo>
                      <a:pt x="262" y="13"/>
                    </a:lnTo>
                    <a:lnTo>
                      <a:pt x="263" y="13"/>
                    </a:lnTo>
                    <a:lnTo>
                      <a:pt x="265" y="12"/>
                    </a:lnTo>
                    <a:lnTo>
                      <a:pt x="266" y="12"/>
                    </a:lnTo>
                    <a:lnTo>
                      <a:pt x="267" y="11"/>
                    </a:lnTo>
                    <a:lnTo>
                      <a:pt x="268" y="11"/>
                    </a:lnTo>
                    <a:lnTo>
                      <a:pt x="269" y="11"/>
                    </a:lnTo>
                    <a:lnTo>
                      <a:pt x="269" y="10"/>
                    </a:lnTo>
                    <a:lnTo>
                      <a:pt x="270" y="10"/>
                    </a:lnTo>
                    <a:lnTo>
                      <a:pt x="270" y="9"/>
                    </a:lnTo>
                    <a:lnTo>
                      <a:pt x="271" y="9"/>
                    </a:lnTo>
                    <a:lnTo>
                      <a:pt x="272" y="8"/>
                    </a:lnTo>
                    <a:lnTo>
                      <a:pt x="273" y="8"/>
                    </a:lnTo>
                    <a:lnTo>
                      <a:pt x="273" y="6"/>
                    </a:lnTo>
                    <a:lnTo>
                      <a:pt x="274" y="6"/>
                    </a:lnTo>
                    <a:lnTo>
                      <a:pt x="274" y="5"/>
                    </a:lnTo>
                    <a:lnTo>
                      <a:pt x="275" y="5"/>
                    </a:lnTo>
                    <a:lnTo>
                      <a:pt x="275" y="3"/>
                    </a:lnTo>
                    <a:lnTo>
                      <a:pt x="275" y="2"/>
                    </a:lnTo>
                    <a:lnTo>
                      <a:pt x="275" y="1"/>
                    </a:lnTo>
                    <a:lnTo>
                      <a:pt x="276" y="1"/>
                    </a:lnTo>
                    <a:lnTo>
                      <a:pt x="278" y="1"/>
                    </a:lnTo>
                    <a:lnTo>
                      <a:pt x="279" y="1"/>
                    </a:lnTo>
                    <a:lnTo>
                      <a:pt x="280" y="2"/>
                    </a:lnTo>
                    <a:lnTo>
                      <a:pt x="281" y="2"/>
                    </a:lnTo>
                    <a:lnTo>
                      <a:pt x="282" y="2"/>
                    </a:lnTo>
                    <a:lnTo>
                      <a:pt x="282" y="3"/>
                    </a:lnTo>
                    <a:lnTo>
                      <a:pt x="283" y="3"/>
                    </a:lnTo>
                    <a:lnTo>
                      <a:pt x="284" y="3"/>
                    </a:lnTo>
                    <a:lnTo>
                      <a:pt x="284" y="4"/>
                    </a:lnTo>
                    <a:lnTo>
                      <a:pt x="285" y="4"/>
                    </a:lnTo>
                    <a:lnTo>
                      <a:pt x="286" y="5"/>
                    </a:lnTo>
                    <a:lnTo>
                      <a:pt x="287" y="5"/>
                    </a:lnTo>
                    <a:lnTo>
                      <a:pt x="287" y="6"/>
                    </a:lnTo>
                    <a:lnTo>
                      <a:pt x="288" y="6"/>
                    </a:lnTo>
                    <a:lnTo>
                      <a:pt x="289" y="8"/>
                    </a:lnTo>
                    <a:lnTo>
                      <a:pt x="291" y="8"/>
                    </a:lnTo>
                    <a:lnTo>
                      <a:pt x="292" y="9"/>
                    </a:lnTo>
                    <a:lnTo>
                      <a:pt x="293" y="9"/>
                    </a:lnTo>
                    <a:lnTo>
                      <a:pt x="293" y="10"/>
                    </a:lnTo>
                    <a:lnTo>
                      <a:pt x="293" y="11"/>
                    </a:lnTo>
                    <a:lnTo>
                      <a:pt x="294" y="11"/>
                    </a:lnTo>
                    <a:lnTo>
                      <a:pt x="293" y="11"/>
                    </a:lnTo>
                    <a:lnTo>
                      <a:pt x="294" y="11"/>
                    </a:lnTo>
                    <a:lnTo>
                      <a:pt x="293" y="11"/>
                    </a:lnTo>
                    <a:lnTo>
                      <a:pt x="294" y="11"/>
                    </a:lnTo>
                    <a:lnTo>
                      <a:pt x="294" y="12"/>
                    </a:lnTo>
                    <a:lnTo>
                      <a:pt x="294" y="13"/>
                    </a:lnTo>
                    <a:lnTo>
                      <a:pt x="296" y="13"/>
                    </a:lnTo>
                    <a:lnTo>
                      <a:pt x="297" y="13"/>
                    </a:lnTo>
                    <a:lnTo>
                      <a:pt x="298" y="13"/>
                    </a:lnTo>
                    <a:lnTo>
                      <a:pt x="298" y="14"/>
                    </a:lnTo>
                    <a:lnTo>
                      <a:pt x="299" y="14"/>
                    </a:lnTo>
                    <a:lnTo>
                      <a:pt x="300" y="14"/>
                    </a:lnTo>
                    <a:lnTo>
                      <a:pt x="300" y="15"/>
                    </a:lnTo>
                    <a:lnTo>
                      <a:pt x="299" y="15"/>
                    </a:lnTo>
                    <a:lnTo>
                      <a:pt x="299" y="16"/>
                    </a:lnTo>
                    <a:lnTo>
                      <a:pt x="298" y="15"/>
                    </a:lnTo>
                    <a:lnTo>
                      <a:pt x="298" y="16"/>
                    </a:lnTo>
                    <a:lnTo>
                      <a:pt x="298" y="15"/>
                    </a:lnTo>
                    <a:lnTo>
                      <a:pt x="298" y="16"/>
                    </a:lnTo>
                    <a:lnTo>
                      <a:pt x="297" y="16"/>
                    </a:lnTo>
                    <a:lnTo>
                      <a:pt x="298" y="16"/>
                    </a:lnTo>
                    <a:lnTo>
                      <a:pt x="297" y="16"/>
                    </a:lnTo>
                    <a:lnTo>
                      <a:pt x="298" y="16"/>
                    </a:lnTo>
                    <a:lnTo>
                      <a:pt x="298" y="17"/>
                    </a:lnTo>
                    <a:lnTo>
                      <a:pt x="299" y="17"/>
                    </a:lnTo>
                    <a:lnTo>
                      <a:pt x="299" y="16"/>
                    </a:lnTo>
                    <a:lnTo>
                      <a:pt x="299" y="17"/>
                    </a:lnTo>
                    <a:lnTo>
                      <a:pt x="300" y="17"/>
                    </a:lnTo>
                    <a:lnTo>
                      <a:pt x="300" y="16"/>
                    </a:lnTo>
                    <a:lnTo>
                      <a:pt x="301" y="17"/>
                    </a:lnTo>
                    <a:lnTo>
                      <a:pt x="302" y="18"/>
                    </a:lnTo>
                    <a:lnTo>
                      <a:pt x="302" y="17"/>
                    </a:lnTo>
                    <a:lnTo>
                      <a:pt x="304" y="17"/>
                    </a:lnTo>
                    <a:lnTo>
                      <a:pt x="302" y="17"/>
                    </a:lnTo>
                    <a:lnTo>
                      <a:pt x="302" y="16"/>
                    </a:lnTo>
                    <a:lnTo>
                      <a:pt x="304" y="16"/>
                    </a:lnTo>
                    <a:lnTo>
                      <a:pt x="302" y="16"/>
                    </a:lnTo>
                    <a:lnTo>
                      <a:pt x="302" y="15"/>
                    </a:lnTo>
                    <a:lnTo>
                      <a:pt x="302" y="14"/>
                    </a:lnTo>
                    <a:lnTo>
                      <a:pt x="301" y="14"/>
                    </a:lnTo>
                    <a:lnTo>
                      <a:pt x="301" y="15"/>
                    </a:lnTo>
                    <a:lnTo>
                      <a:pt x="300" y="15"/>
                    </a:lnTo>
                    <a:lnTo>
                      <a:pt x="300" y="14"/>
                    </a:lnTo>
                    <a:lnTo>
                      <a:pt x="301" y="14"/>
                    </a:lnTo>
                    <a:lnTo>
                      <a:pt x="302" y="14"/>
                    </a:lnTo>
                    <a:lnTo>
                      <a:pt x="304" y="14"/>
                    </a:lnTo>
                    <a:lnTo>
                      <a:pt x="305" y="14"/>
                    </a:lnTo>
                    <a:lnTo>
                      <a:pt x="306" y="14"/>
                    </a:lnTo>
                    <a:lnTo>
                      <a:pt x="307" y="14"/>
                    </a:lnTo>
                    <a:lnTo>
                      <a:pt x="308" y="14"/>
                    </a:lnTo>
                    <a:lnTo>
                      <a:pt x="308" y="15"/>
                    </a:lnTo>
                    <a:lnTo>
                      <a:pt x="309" y="15"/>
                    </a:lnTo>
                    <a:lnTo>
                      <a:pt x="310" y="15"/>
                    </a:lnTo>
                    <a:lnTo>
                      <a:pt x="309" y="15"/>
                    </a:lnTo>
                    <a:lnTo>
                      <a:pt x="310" y="15"/>
                    </a:lnTo>
                    <a:lnTo>
                      <a:pt x="310" y="16"/>
                    </a:lnTo>
                    <a:lnTo>
                      <a:pt x="311" y="16"/>
                    </a:lnTo>
                    <a:lnTo>
                      <a:pt x="312" y="16"/>
                    </a:lnTo>
                    <a:lnTo>
                      <a:pt x="313" y="17"/>
                    </a:lnTo>
                    <a:lnTo>
                      <a:pt x="313" y="18"/>
                    </a:lnTo>
                    <a:lnTo>
                      <a:pt x="312" y="18"/>
                    </a:lnTo>
                    <a:lnTo>
                      <a:pt x="311" y="20"/>
                    </a:lnTo>
                    <a:lnTo>
                      <a:pt x="310" y="20"/>
                    </a:lnTo>
                    <a:lnTo>
                      <a:pt x="307" y="22"/>
                    </a:lnTo>
                    <a:lnTo>
                      <a:pt x="306" y="23"/>
                    </a:lnTo>
                    <a:lnTo>
                      <a:pt x="306" y="24"/>
                    </a:lnTo>
                    <a:lnTo>
                      <a:pt x="306" y="26"/>
                    </a:lnTo>
                    <a:lnTo>
                      <a:pt x="305" y="26"/>
                    </a:lnTo>
                    <a:lnTo>
                      <a:pt x="305" y="27"/>
                    </a:lnTo>
                    <a:lnTo>
                      <a:pt x="304" y="28"/>
                    </a:lnTo>
                    <a:lnTo>
                      <a:pt x="302" y="29"/>
                    </a:lnTo>
                    <a:lnTo>
                      <a:pt x="301" y="30"/>
                    </a:lnTo>
                    <a:lnTo>
                      <a:pt x="300" y="30"/>
                    </a:lnTo>
                    <a:lnTo>
                      <a:pt x="300" y="31"/>
                    </a:lnTo>
                    <a:lnTo>
                      <a:pt x="300" y="33"/>
                    </a:lnTo>
                    <a:lnTo>
                      <a:pt x="299" y="34"/>
                    </a:lnTo>
                    <a:lnTo>
                      <a:pt x="299" y="35"/>
                    </a:lnTo>
                    <a:lnTo>
                      <a:pt x="299" y="36"/>
                    </a:lnTo>
                    <a:lnTo>
                      <a:pt x="298" y="36"/>
                    </a:lnTo>
                    <a:lnTo>
                      <a:pt x="298" y="37"/>
                    </a:lnTo>
                    <a:lnTo>
                      <a:pt x="297" y="38"/>
                    </a:lnTo>
                    <a:lnTo>
                      <a:pt x="297" y="39"/>
                    </a:lnTo>
                    <a:lnTo>
                      <a:pt x="296" y="39"/>
                    </a:lnTo>
                    <a:lnTo>
                      <a:pt x="295" y="40"/>
                    </a:lnTo>
                    <a:lnTo>
                      <a:pt x="294" y="40"/>
                    </a:lnTo>
                    <a:lnTo>
                      <a:pt x="294" y="41"/>
                    </a:lnTo>
                    <a:lnTo>
                      <a:pt x="293" y="41"/>
                    </a:lnTo>
                    <a:lnTo>
                      <a:pt x="292" y="42"/>
                    </a:lnTo>
                    <a:lnTo>
                      <a:pt x="291" y="42"/>
                    </a:lnTo>
                    <a:lnTo>
                      <a:pt x="291" y="43"/>
                    </a:lnTo>
                    <a:lnTo>
                      <a:pt x="289" y="43"/>
                    </a:lnTo>
                    <a:lnTo>
                      <a:pt x="289" y="44"/>
                    </a:lnTo>
                    <a:lnTo>
                      <a:pt x="288" y="44"/>
                    </a:lnTo>
                    <a:lnTo>
                      <a:pt x="288" y="46"/>
                    </a:lnTo>
                    <a:lnTo>
                      <a:pt x="287" y="46"/>
                    </a:lnTo>
                    <a:lnTo>
                      <a:pt x="286" y="46"/>
                    </a:lnTo>
                    <a:lnTo>
                      <a:pt x="286" y="44"/>
                    </a:lnTo>
                    <a:lnTo>
                      <a:pt x="286" y="46"/>
                    </a:lnTo>
                    <a:lnTo>
                      <a:pt x="285" y="44"/>
                    </a:lnTo>
                    <a:lnTo>
                      <a:pt x="285" y="46"/>
                    </a:lnTo>
                    <a:lnTo>
                      <a:pt x="284" y="46"/>
                    </a:lnTo>
                    <a:lnTo>
                      <a:pt x="283" y="46"/>
                    </a:lnTo>
                    <a:lnTo>
                      <a:pt x="283" y="47"/>
                    </a:lnTo>
                    <a:lnTo>
                      <a:pt x="283" y="48"/>
                    </a:lnTo>
                    <a:lnTo>
                      <a:pt x="282" y="48"/>
                    </a:lnTo>
                    <a:lnTo>
                      <a:pt x="282" y="49"/>
                    </a:lnTo>
                    <a:lnTo>
                      <a:pt x="282" y="50"/>
                    </a:lnTo>
                    <a:lnTo>
                      <a:pt x="282" y="51"/>
                    </a:lnTo>
                    <a:lnTo>
                      <a:pt x="282" y="52"/>
                    </a:lnTo>
                    <a:lnTo>
                      <a:pt x="282" y="53"/>
                    </a:lnTo>
                    <a:lnTo>
                      <a:pt x="281" y="54"/>
                    </a:lnTo>
                    <a:lnTo>
                      <a:pt x="281" y="55"/>
                    </a:lnTo>
                    <a:lnTo>
                      <a:pt x="281" y="56"/>
                    </a:lnTo>
                    <a:lnTo>
                      <a:pt x="281" y="57"/>
                    </a:lnTo>
                    <a:lnTo>
                      <a:pt x="280" y="57"/>
                    </a:lnTo>
                    <a:lnTo>
                      <a:pt x="280" y="59"/>
                    </a:lnTo>
                    <a:lnTo>
                      <a:pt x="280" y="60"/>
                    </a:lnTo>
                    <a:lnTo>
                      <a:pt x="280" y="61"/>
                    </a:lnTo>
                    <a:lnTo>
                      <a:pt x="280" y="62"/>
                    </a:lnTo>
                    <a:lnTo>
                      <a:pt x="280" y="63"/>
                    </a:lnTo>
                    <a:lnTo>
                      <a:pt x="280" y="64"/>
                    </a:lnTo>
                    <a:lnTo>
                      <a:pt x="280" y="65"/>
                    </a:lnTo>
                    <a:lnTo>
                      <a:pt x="280" y="66"/>
                    </a:lnTo>
                    <a:lnTo>
                      <a:pt x="280" y="67"/>
                    </a:lnTo>
                    <a:lnTo>
                      <a:pt x="280" y="68"/>
                    </a:lnTo>
                    <a:lnTo>
                      <a:pt x="280" y="69"/>
                    </a:lnTo>
                    <a:lnTo>
                      <a:pt x="279" y="69"/>
                    </a:lnTo>
                    <a:lnTo>
                      <a:pt x="279" y="70"/>
                    </a:lnTo>
                    <a:lnTo>
                      <a:pt x="278" y="70"/>
                    </a:lnTo>
                    <a:lnTo>
                      <a:pt x="276" y="70"/>
                    </a:lnTo>
                    <a:lnTo>
                      <a:pt x="275" y="72"/>
                    </a:lnTo>
                    <a:lnTo>
                      <a:pt x="274" y="72"/>
                    </a:lnTo>
                    <a:lnTo>
                      <a:pt x="273" y="72"/>
                    </a:lnTo>
                    <a:lnTo>
                      <a:pt x="273" y="73"/>
                    </a:lnTo>
                    <a:lnTo>
                      <a:pt x="272" y="73"/>
                    </a:lnTo>
                    <a:lnTo>
                      <a:pt x="271" y="73"/>
                    </a:lnTo>
                    <a:lnTo>
                      <a:pt x="270" y="73"/>
                    </a:lnTo>
                    <a:lnTo>
                      <a:pt x="269" y="73"/>
                    </a:lnTo>
                    <a:lnTo>
                      <a:pt x="268" y="73"/>
                    </a:lnTo>
                    <a:lnTo>
                      <a:pt x="267" y="73"/>
                    </a:lnTo>
                    <a:lnTo>
                      <a:pt x="267" y="74"/>
                    </a:lnTo>
                    <a:lnTo>
                      <a:pt x="266" y="74"/>
                    </a:lnTo>
                    <a:lnTo>
                      <a:pt x="265" y="74"/>
                    </a:lnTo>
                    <a:lnTo>
                      <a:pt x="263" y="74"/>
                    </a:lnTo>
                    <a:lnTo>
                      <a:pt x="262" y="74"/>
                    </a:lnTo>
                    <a:lnTo>
                      <a:pt x="261" y="74"/>
                    </a:lnTo>
                    <a:lnTo>
                      <a:pt x="261" y="75"/>
                    </a:lnTo>
                    <a:lnTo>
                      <a:pt x="260" y="75"/>
                    </a:lnTo>
                    <a:lnTo>
                      <a:pt x="259" y="75"/>
                    </a:lnTo>
                    <a:lnTo>
                      <a:pt x="258" y="75"/>
                    </a:lnTo>
                    <a:lnTo>
                      <a:pt x="258" y="76"/>
                    </a:lnTo>
                    <a:lnTo>
                      <a:pt x="257" y="76"/>
                    </a:lnTo>
                    <a:lnTo>
                      <a:pt x="256" y="76"/>
                    </a:lnTo>
                    <a:lnTo>
                      <a:pt x="256" y="77"/>
                    </a:lnTo>
                    <a:lnTo>
                      <a:pt x="255" y="77"/>
                    </a:lnTo>
                    <a:lnTo>
                      <a:pt x="255" y="78"/>
                    </a:lnTo>
                    <a:lnTo>
                      <a:pt x="254" y="78"/>
                    </a:lnTo>
                    <a:lnTo>
                      <a:pt x="253" y="79"/>
                    </a:lnTo>
                    <a:lnTo>
                      <a:pt x="252" y="80"/>
                    </a:lnTo>
                    <a:lnTo>
                      <a:pt x="252" y="81"/>
                    </a:lnTo>
                    <a:lnTo>
                      <a:pt x="250" y="81"/>
                    </a:lnTo>
                    <a:lnTo>
                      <a:pt x="250" y="82"/>
                    </a:lnTo>
                    <a:lnTo>
                      <a:pt x="252" y="82"/>
                    </a:lnTo>
                    <a:lnTo>
                      <a:pt x="252" y="83"/>
                    </a:lnTo>
                    <a:lnTo>
                      <a:pt x="250" y="83"/>
                    </a:lnTo>
                    <a:lnTo>
                      <a:pt x="250" y="85"/>
                    </a:lnTo>
                    <a:lnTo>
                      <a:pt x="250" y="86"/>
                    </a:lnTo>
                    <a:lnTo>
                      <a:pt x="250" y="87"/>
                    </a:lnTo>
                    <a:lnTo>
                      <a:pt x="250" y="88"/>
                    </a:lnTo>
                    <a:lnTo>
                      <a:pt x="250" y="89"/>
                    </a:lnTo>
                    <a:lnTo>
                      <a:pt x="250" y="90"/>
                    </a:lnTo>
                    <a:lnTo>
                      <a:pt x="252" y="90"/>
                    </a:lnTo>
                    <a:lnTo>
                      <a:pt x="252" y="91"/>
                    </a:lnTo>
                    <a:lnTo>
                      <a:pt x="252" y="92"/>
                    </a:lnTo>
                    <a:lnTo>
                      <a:pt x="253" y="92"/>
                    </a:lnTo>
                    <a:lnTo>
                      <a:pt x="253" y="93"/>
                    </a:lnTo>
                    <a:lnTo>
                      <a:pt x="254" y="93"/>
                    </a:lnTo>
                    <a:lnTo>
                      <a:pt x="254" y="94"/>
                    </a:lnTo>
                    <a:lnTo>
                      <a:pt x="254" y="95"/>
                    </a:lnTo>
                    <a:lnTo>
                      <a:pt x="255" y="95"/>
                    </a:lnTo>
                    <a:lnTo>
                      <a:pt x="255" y="97"/>
                    </a:lnTo>
                    <a:lnTo>
                      <a:pt x="256" y="97"/>
                    </a:lnTo>
                    <a:lnTo>
                      <a:pt x="256" y="98"/>
                    </a:lnTo>
                    <a:lnTo>
                      <a:pt x="256" y="99"/>
                    </a:lnTo>
                    <a:lnTo>
                      <a:pt x="257" y="99"/>
                    </a:lnTo>
                    <a:lnTo>
                      <a:pt x="257" y="100"/>
                    </a:lnTo>
                    <a:lnTo>
                      <a:pt x="257" y="101"/>
                    </a:lnTo>
                    <a:lnTo>
                      <a:pt x="258" y="101"/>
                    </a:lnTo>
                    <a:lnTo>
                      <a:pt x="258" y="102"/>
                    </a:lnTo>
                    <a:lnTo>
                      <a:pt x="259" y="102"/>
                    </a:lnTo>
                    <a:lnTo>
                      <a:pt x="259" y="103"/>
                    </a:lnTo>
                    <a:lnTo>
                      <a:pt x="259" y="104"/>
                    </a:lnTo>
                    <a:lnTo>
                      <a:pt x="259" y="105"/>
                    </a:lnTo>
                    <a:lnTo>
                      <a:pt x="258" y="106"/>
                    </a:lnTo>
                    <a:lnTo>
                      <a:pt x="257" y="106"/>
                    </a:lnTo>
                    <a:lnTo>
                      <a:pt x="256" y="107"/>
                    </a:lnTo>
                    <a:lnTo>
                      <a:pt x="255" y="107"/>
                    </a:lnTo>
                    <a:lnTo>
                      <a:pt x="254" y="107"/>
                    </a:lnTo>
                    <a:lnTo>
                      <a:pt x="253" y="107"/>
                    </a:lnTo>
                    <a:lnTo>
                      <a:pt x="252" y="107"/>
                    </a:lnTo>
                    <a:lnTo>
                      <a:pt x="250" y="107"/>
                    </a:lnTo>
                    <a:lnTo>
                      <a:pt x="249" y="107"/>
                    </a:lnTo>
                    <a:lnTo>
                      <a:pt x="248" y="107"/>
                    </a:lnTo>
                    <a:lnTo>
                      <a:pt x="248" y="106"/>
                    </a:lnTo>
                    <a:lnTo>
                      <a:pt x="247" y="106"/>
                    </a:lnTo>
                    <a:lnTo>
                      <a:pt x="247" y="105"/>
                    </a:lnTo>
                    <a:lnTo>
                      <a:pt x="246" y="105"/>
                    </a:lnTo>
                    <a:lnTo>
                      <a:pt x="246" y="104"/>
                    </a:lnTo>
                    <a:lnTo>
                      <a:pt x="245" y="104"/>
                    </a:lnTo>
                    <a:lnTo>
                      <a:pt x="245" y="103"/>
                    </a:lnTo>
                    <a:lnTo>
                      <a:pt x="244" y="103"/>
                    </a:lnTo>
                    <a:lnTo>
                      <a:pt x="243" y="103"/>
                    </a:lnTo>
                    <a:lnTo>
                      <a:pt x="243" y="102"/>
                    </a:lnTo>
                    <a:lnTo>
                      <a:pt x="242" y="102"/>
                    </a:lnTo>
                    <a:lnTo>
                      <a:pt x="242" y="101"/>
                    </a:lnTo>
                    <a:lnTo>
                      <a:pt x="241" y="100"/>
                    </a:lnTo>
                    <a:lnTo>
                      <a:pt x="241" y="99"/>
                    </a:lnTo>
                    <a:lnTo>
                      <a:pt x="240" y="99"/>
                    </a:lnTo>
                    <a:lnTo>
                      <a:pt x="240" y="98"/>
                    </a:lnTo>
                    <a:lnTo>
                      <a:pt x="239" y="98"/>
                    </a:lnTo>
                    <a:lnTo>
                      <a:pt x="239" y="97"/>
                    </a:lnTo>
                    <a:lnTo>
                      <a:pt x="237" y="95"/>
                    </a:lnTo>
                    <a:lnTo>
                      <a:pt x="237" y="97"/>
                    </a:lnTo>
                    <a:lnTo>
                      <a:pt x="236" y="95"/>
                    </a:lnTo>
                    <a:lnTo>
                      <a:pt x="235" y="95"/>
                    </a:lnTo>
                    <a:lnTo>
                      <a:pt x="235" y="94"/>
                    </a:lnTo>
                    <a:lnTo>
                      <a:pt x="234" y="94"/>
                    </a:lnTo>
                    <a:lnTo>
                      <a:pt x="233" y="94"/>
                    </a:lnTo>
                    <a:lnTo>
                      <a:pt x="232" y="93"/>
                    </a:lnTo>
                    <a:lnTo>
                      <a:pt x="231" y="92"/>
                    </a:lnTo>
                    <a:lnTo>
                      <a:pt x="230" y="91"/>
                    </a:lnTo>
                    <a:lnTo>
                      <a:pt x="229" y="91"/>
                    </a:lnTo>
                    <a:lnTo>
                      <a:pt x="228" y="91"/>
                    </a:lnTo>
                    <a:lnTo>
                      <a:pt x="228" y="90"/>
                    </a:lnTo>
                    <a:lnTo>
                      <a:pt x="227" y="90"/>
                    </a:lnTo>
                    <a:lnTo>
                      <a:pt x="227" y="89"/>
                    </a:lnTo>
                    <a:lnTo>
                      <a:pt x="226" y="89"/>
                    </a:lnTo>
                    <a:lnTo>
                      <a:pt x="226" y="88"/>
                    </a:lnTo>
                    <a:lnTo>
                      <a:pt x="224" y="87"/>
                    </a:lnTo>
                    <a:lnTo>
                      <a:pt x="224" y="86"/>
                    </a:lnTo>
                    <a:lnTo>
                      <a:pt x="222" y="87"/>
                    </a:lnTo>
                    <a:lnTo>
                      <a:pt x="222" y="88"/>
                    </a:lnTo>
                    <a:lnTo>
                      <a:pt x="223" y="89"/>
                    </a:lnTo>
                    <a:lnTo>
                      <a:pt x="223" y="90"/>
                    </a:lnTo>
                    <a:lnTo>
                      <a:pt x="224" y="90"/>
                    </a:lnTo>
                    <a:lnTo>
                      <a:pt x="224" y="91"/>
                    </a:lnTo>
                    <a:lnTo>
                      <a:pt x="224" y="92"/>
                    </a:lnTo>
                    <a:lnTo>
                      <a:pt x="224" y="91"/>
                    </a:lnTo>
                    <a:lnTo>
                      <a:pt x="223" y="91"/>
                    </a:lnTo>
                    <a:lnTo>
                      <a:pt x="222" y="91"/>
                    </a:lnTo>
                    <a:lnTo>
                      <a:pt x="221" y="91"/>
                    </a:lnTo>
                    <a:lnTo>
                      <a:pt x="220" y="90"/>
                    </a:lnTo>
                    <a:lnTo>
                      <a:pt x="218" y="90"/>
                    </a:lnTo>
                    <a:lnTo>
                      <a:pt x="217" y="90"/>
                    </a:lnTo>
                    <a:lnTo>
                      <a:pt x="216" y="90"/>
                    </a:lnTo>
                    <a:lnTo>
                      <a:pt x="215" y="90"/>
                    </a:lnTo>
                    <a:lnTo>
                      <a:pt x="214" y="90"/>
                    </a:lnTo>
                    <a:lnTo>
                      <a:pt x="213" y="90"/>
                    </a:lnTo>
                    <a:lnTo>
                      <a:pt x="210" y="90"/>
                    </a:lnTo>
                    <a:lnTo>
                      <a:pt x="209" y="90"/>
                    </a:lnTo>
                    <a:lnTo>
                      <a:pt x="208" y="90"/>
                    </a:lnTo>
                    <a:lnTo>
                      <a:pt x="207" y="90"/>
                    </a:lnTo>
                    <a:lnTo>
                      <a:pt x="206" y="90"/>
                    </a:lnTo>
                    <a:lnTo>
                      <a:pt x="205" y="90"/>
                    </a:lnTo>
                    <a:lnTo>
                      <a:pt x="204" y="90"/>
                    </a:lnTo>
                    <a:lnTo>
                      <a:pt x="203" y="91"/>
                    </a:lnTo>
                    <a:lnTo>
                      <a:pt x="202" y="91"/>
                    </a:lnTo>
                    <a:lnTo>
                      <a:pt x="201" y="91"/>
                    </a:lnTo>
                    <a:lnTo>
                      <a:pt x="200" y="91"/>
                    </a:lnTo>
                    <a:lnTo>
                      <a:pt x="198" y="91"/>
                    </a:lnTo>
                    <a:lnTo>
                      <a:pt x="197" y="91"/>
                    </a:lnTo>
                    <a:lnTo>
                      <a:pt x="196" y="91"/>
                    </a:lnTo>
                    <a:lnTo>
                      <a:pt x="196" y="92"/>
                    </a:lnTo>
                    <a:lnTo>
                      <a:pt x="196" y="93"/>
                    </a:lnTo>
                    <a:lnTo>
                      <a:pt x="195" y="93"/>
                    </a:lnTo>
                    <a:lnTo>
                      <a:pt x="195" y="94"/>
                    </a:lnTo>
                    <a:lnTo>
                      <a:pt x="194" y="94"/>
                    </a:lnTo>
                    <a:lnTo>
                      <a:pt x="194" y="95"/>
                    </a:lnTo>
                    <a:lnTo>
                      <a:pt x="193" y="95"/>
                    </a:lnTo>
                    <a:lnTo>
                      <a:pt x="193" y="97"/>
                    </a:lnTo>
                    <a:lnTo>
                      <a:pt x="192" y="98"/>
                    </a:lnTo>
                    <a:lnTo>
                      <a:pt x="191" y="98"/>
                    </a:lnTo>
                    <a:lnTo>
                      <a:pt x="190" y="98"/>
                    </a:lnTo>
                    <a:lnTo>
                      <a:pt x="190" y="99"/>
                    </a:lnTo>
                    <a:lnTo>
                      <a:pt x="189" y="99"/>
                    </a:lnTo>
                    <a:lnTo>
                      <a:pt x="189" y="100"/>
                    </a:lnTo>
                    <a:lnTo>
                      <a:pt x="188" y="101"/>
                    </a:lnTo>
                    <a:lnTo>
                      <a:pt x="187" y="102"/>
                    </a:lnTo>
                    <a:lnTo>
                      <a:pt x="185" y="103"/>
                    </a:lnTo>
                    <a:lnTo>
                      <a:pt x="184" y="103"/>
                    </a:lnTo>
                    <a:lnTo>
                      <a:pt x="184" y="104"/>
                    </a:lnTo>
                    <a:lnTo>
                      <a:pt x="183" y="104"/>
                    </a:lnTo>
                    <a:lnTo>
                      <a:pt x="183" y="105"/>
                    </a:lnTo>
                    <a:lnTo>
                      <a:pt x="183" y="106"/>
                    </a:lnTo>
                    <a:lnTo>
                      <a:pt x="182" y="106"/>
                    </a:lnTo>
                    <a:lnTo>
                      <a:pt x="182" y="107"/>
                    </a:lnTo>
                    <a:lnTo>
                      <a:pt x="181" y="107"/>
                    </a:lnTo>
                    <a:lnTo>
                      <a:pt x="181" y="108"/>
                    </a:lnTo>
                    <a:lnTo>
                      <a:pt x="181" y="110"/>
                    </a:lnTo>
                    <a:lnTo>
                      <a:pt x="180" y="110"/>
                    </a:lnTo>
                    <a:lnTo>
                      <a:pt x="180" y="111"/>
                    </a:lnTo>
                    <a:lnTo>
                      <a:pt x="179" y="112"/>
                    </a:lnTo>
                    <a:lnTo>
                      <a:pt x="179" y="113"/>
                    </a:lnTo>
                    <a:lnTo>
                      <a:pt x="178" y="114"/>
                    </a:lnTo>
                    <a:lnTo>
                      <a:pt x="178" y="115"/>
                    </a:lnTo>
                    <a:lnTo>
                      <a:pt x="177" y="115"/>
                    </a:lnTo>
                    <a:lnTo>
                      <a:pt x="177" y="116"/>
                    </a:lnTo>
                    <a:lnTo>
                      <a:pt x="176" y="116"/>
                    </a:lnTo>
                    <a:lnTo>
                      <a:pt x="176" y="117"/>
                    </a:lnTo>
                    <a:lnTo>
                      <a:pt x="175" y="117"/>
                    </a:lnTo>
                    <a:lnTo>
                      <a:pt x="173" y="117"/>
                    </a:lnTo>
                    <a:lnTo>
                      <a:pt x="173" y="118"/>
                    </a:lnTo>
                    <a:lnTo>
                      <a:pt x="172" y="119"/>
                    </a:lnTo>
                    <a:lnTo>
                      <a:pt x="172" y="121"/>
                    </a:lnTo>
                    <a:lnTo>
                      <a:pt x="171" y="123"/>
                    </a:lnTo>
                    <a:lnTo>
                      <a:pt x="170" y="124"/>
                    </a:lnTo>
                    <a:close/>
                    <a:moveTo>
                      <a:pt x="247" y="8"/>
                    </a:moveTo>
                    <a:lnTo>
                      <a:pt x="248" y="8"/>
                    </a:lnTo>
                    <a:lnTo>
                      <a:pt x="248" y="9"/>
                    </a:lnTo>
                    <a:lnTo>
                      <a:pt x="249" y="9"/>
                    </a:lnTo>
                    <a:lnTo>
                      <a:pt x="249" y="10"/>
                    </a:lnTo>
                    <a:lnTo>
                      <a:pt x="249" y="11"/>
                    </a:lnTo>
                    <a:lnTo>
                      <a:pt x="250" y="11"/>
                    </a:lnTo>
                    <a:lnTo>
                      <a:pt x="249" y="11"/>
                    </a:lnTo>
                    <a:lnTo>
                      <a:pt x="250" y="12"/>
                    </a:lnTo>
                    <a:lnTo>
                      <a:pt x="249" y="13"/>
                    </a:lnTo>
                    <a:lnTo>
                      <a:pt x="250" y="13"/>
                    </a:lnTo>
                    <a:lnTo>
                      <a:pt x="249" y="13"/>
                    </a:lnTo>
                    <a:lnTo>
                      <a:pt x="250" y="13"/>
                    </a:lnTo>
                    <a:lnTo>
                      <a:pt x="250" y="14"/>
                    </a:lnTo>
                    <a:lnTo>
                      <a:pt x="250" y="15"/>
                    </a:lnTo>
                    <a:lnTo>
                      <a:pt x="249" y="15"/>
                    </a:lnTo>
                    <a:lnTo>
                      <a:pt x="249" y="16"/>
                    </a:lnTo>
                    <a:lnTo>
                      <a:pt x="248" y="16"/>
                    </a:lnTo>
                    <a:lnTo>
                      <a:pt x="249" y="16"/>
                    </a:lnTo>
                    <a:lnTo>
                      <a:pt x="248" y="16"/>
                    </a:lnTo>
                    <a:lnTo>
                      <a:pt x="248" y="17"/>
                    </a:lnTo>
                    <a:lnTo>
                      <a:pt x="248" y="18"/>
                    </a:lnTo>
                    <a:lnTo>
                      <a:pt x="247" y="18"/>
                    </a:lnTo>
                    <a:lnTo>
                      <a:pt x="246" y="18"/>
                    </a:lnTo>
                    <a:lnTo>
                      <a:pt x="246" y="20"/>
                    </a:lnTo>
                    <a:lnTo>
                      <a:pt x="246" y="18"/>
                    </a:lnTo>
                    <a:lnTo>
                      <a:pt x="246" y="20"/>
                    </a:lnTo>
                    <a:lnTo>
                      <a:pt x="245" y="20"/>
                    </a:lnTo>
                    <a:lnTo>
                      <a:pt x="244" y="20"/>
                    </a:lnTo>
                    <a:lnTo>
                      <a:pt x="244" y="21"/>
                    </a:lnTo>
                    <a:lnTo>
                      <a:pt x="244" y="20"/>
                    </a:lnTo>
                    <a:lnTo>
                      <a:pt x="245" y="18"/>
                    </a:lnTo>
                    <a:lnTo>
                      <a:pt x="246" y="17"/>
                    </a:lnTo>
                    <a:lnTo>
                      <a:pt x="247" y="16"/>
                    </a:lnTo>
                    <a:lnTo>
                      <a:pt x="247" y="15"/>
                    </a:lnTo>
                    <a:lnTo>
                      <a:pt x="248" y="15"/>
                    </a:lnTo>
                    <a:lnTo>
                      <a:pt x="248" y="14"/>
                    </a:lnTo>
                    <a:lnTo>
                      <a:pt x="248" y="13"/>
                    </a:lnTo>
                    <a:lnTo>
                      <a:pt x="247" y="12"/>
                    </a:lnTo>
                    <a:lnTo>
                      <a:pt x="247" y="11"/>
                    </a:lnTo>
                    <a:lnTo>
                      <a:pt x="248" y="11"/>
                    </a:lnTo>
                    <a:lnTo>
                      <a:pt x="248" y="10"/>
                    </a:lnTo>
                    <a:lnTo>
                      <a:pt x="247" y="11"/>
                    </a:lnTo>
                    <a:lnTo>
                      <a:pt x="247" y="10"/>
                    </a:lnTo>
                    <a:lnTo>
                      <a:pt x="247" y="9"/>
                    </a:lnTo>
                    <a:lnTo>
                      <a:pt x="247" y="8"/>
                    </a:lnTo>
                    <a:close/>
                    <a:moveTo>
                      <a:pt x="245" y="4"/>
                    </a:moveTo>
                    <a:lnTo>
                      <a:pt x="245" y="5"/>
                    </a:lnTo>
                    <a:lnTo>
                      <a:pt x="245" y="4"/>
                    </a:lnTo>
                    <a:lnTo>
                      <a:pt x="244" y="2"/>
                    </a:lnTo>
                    <a:lnTo>
                      <a:pt x="244" y="1"/>
                    </a:lnTo>
                    <a:lnTo>
                      <a:pt x="245" y="1"/>
                    </a:lnTo>
                    <a:lnTo>
                      <a:pt x="245" y="2"/>
                    </a:lnTo>
                    <a:lnTo>
                      <a:pt x="245" y="3"/>
                    </a:lnTo>
                    <a:lnTo>
                      <a:pt x="246" y="3"/>
                    </a:lnTo>
                    <a:lnTo>
                      <a:pt x="246" y="4"/>
                    </a:lnTo>
                    <a:lnTo>
                      <a:pt x="245" y="4"/>
                    </a:lnTo>
                    <a:close/>
                    <a:moveTo>
                      <a:pt x="215" y="48"/>
                    </a:moveTo>
                    <a:lnTo>
                      <a:pt x="215" y="49"/>
                    </a:lnTo>
                    <a:lnTo>
                      <a:pt x="215" y="48"/>
                    </a:lnTo>
                    <a:close/>
                  </a:path>
                </a:pathLst>
              </a:custGeom>
              <a:solidFill>
                <a:srgbClr val="013066"/>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8" name="Freeform 68">
                <a:extLst>
                  <a:ext uri="{FF2B5EF4-FFF2-40B4-BE49-F238E27FC236}">
                    <a16:creationId xmlns:a16="http://schemas.microsoft.com/office/drawing/2014/main" id="{12621C17-4975-819B-C6D9-11B29A0D33B1}"/>
                  </a:ext>
                </a:extLst>
              </p:cNvPr>
              <p:cNvSpPr>
                <a:spLocks noEditPoints="1"/>
              </p:cNvSpPr>
              <p:nvPr/>
            </p:nvSpPr>
            <p:spPr bwMode="auto">
              <a:xfrm>
                <a:off x="5062538" y="4394200"/>
                <a:ext cx="1160463" cy="595313"/>
              </a:xfrm>
              <a:custGeom>
                <a:avLst/>
                <a:gdLst>
                  <a:gd name="T0" fmla="*/ 89 w 731"/>
                  <a:gd name="T1" fmla="*/ 258 h 375"/>
                  <a:gd name="T2" fmla="*/ 58 w 731"/>
                  <a:gd name="T3" fmla="*/ 116 h 375"/>
                  <a:gd name="T4" fmla="*/ 156 w 731"/>
                  <a:gd name="T5" fmla="*/ 153 h 375"/>
                  <a:gd name="T6" fmla="*/ 235 w 731"/>
                  <a:gd name="T7" fmla="*/ 208 h 375"/>
                  <a:gd name="T8" fmla="*/ 279 w 731"/>
                  <a:gd name="T9" fmla="*/ 113 h 375"/>
                  <a:gd name="T10" fmla="*/ 355 w 731"/>
                  <a:gd name="T11" fmla="*/ 75 h 375"/>
                  <a:gd name="T12" fmla="*/ 334 w 731"/>
                  <a:gd name="T13" fmla="*/ 121 h 375"/>
                  <a:gd name="T14" fmla="*/ 378 w 731"/>
                  <a:gd name="T15" fmla="*/ 140 h 375"/>
                  <a:gd name="T16" fmla="*/ 400 w 731"/>
                  <a:gd name="T17" fmla="*/ 190 h 375"/>
                  <a:gd name="T18" fmla="*/ 366 w 731"/>
                  <a:gd name="T19" fmla="*/ 245 h 375"/>
                  <a:gd name="T20" fmla="*/ 429 w 731"/>
                  <a:gd name="T21" fmla="*/ 272 h 375"/>
                  <a:gd name="T22" fmla="*/ 358 w 731"/>
                  <a:gd name="T23" fmla="*/ 268 h 375"/>
                  <a:gd name="T24" fmla="*/ 324 w 731"/>
                  <a:gd name="T25" fmla="*/ 233 h 375"/>
                  <a:gd name="T26" fmla="*/ 296 w 731"/>
                  <a:gd name="T27" fmla="*/ 235 h 375"/>
                  <a:gd name="T28" fmla="*/ 316 w 731"/>
                  <a:gd name="T29" fmla="*/ 245 h 375"/>
                  <a:gd name="T30" fmla="*/ 335 w 731"/>
                  <a:gd name="T31" fmla="*/ 262 h 375"/>
                  <a:gd name="T32" fmla="*/ 329 w 731"/>
                  <a:gd name="T33" fmla="*/ 274 h 375"/>
                  <a:gd name="T34" fmla="*/ 318 w 731"/>
                  <a:gd name="T35" fmla="*/ 269 h 375"/>
                  <a:gd name="T36" fmla="*/ 287 w 731"/>
                  <a:gd name="T37" fmla="*/ 258 h 375"/>
                  <a:gd name="T38" fmla="*/ 348 w 731"/>
                  <a:gd name="T39" fmla="*/ 335 h 375"/>
                  <a:gd name="T40" fmla="*/ 293 w 731"/>
                  <a:gd name="T41" fmla="*/ 293 h 375"/>
                  <a:gd name="T42" fmla="*/ 224 w 731"/>
                  <a:gd name="T43" fmla="*/ 318 h 375"/>
                  <a:gd name="T44" fmla="*/ 238 w 731"/>
                  <a:gd name="T45" fmla="*/ 336 h 375"/>
                  <a:gd name="T46" fmla="*/ 288 w 731"/>
                  <a:gd name="T47" fmla="*/ 338 h 375"/>
                  <a:gd name="T48" fmla="*/ 458 w 731"/>
                  <a:gd name="T49" fmla="*/ 68 h 375"/>
                  <a:gd name="T50" fmla="*/ 446 w 731"/>
                  <a:gd name="T51" fmla="*/ 65 h 375"/>
                  <a:gd name="T52" fmla="*/ 456 w 731"/>
                  <a:gd name="T53" fmla="*/ 41 h 375"/>
                  <a:gd name="T54" fmla="*/ 482 w 731"/>
                  <a:gd name="T55" fmla="*/ 80 h 375"/>
                  <a:gd name="T56" fmla="*/ 453 w 731"/>
                  <a:gd name="T57" fmla="*/ 154 h 375"/>
                  <a:gd name="T58" fmla="*/ 386 w 731"/>
                  <a:gd name="T59" fmla="*/ 242 h 375"/>
                  <a:gd name="T60" fmla="*/ 476 w 731"/>
                  <a:gd name="T61" fmla="*/ 48 h 375"/>
                  <a:gd name="T62" fmla="*/ 303 w 731"/>
                  <a:gd name="T63" fmla="*/ 331 h 375"/>
                  <a:gd name="T64" fmla="*/ 384 w 731"/>
                  <a:gd name="T65" fmla="*/ 79 h 375"/>
                  <a:gd name="T66" fmla="*/ 433 w 731"/>
                  <a:gd name="T67" fmla="*/ 71 h 375"/>
                  <a:gd name="T68" fmla="*/ 482 w 731"/>
                  <a:gd name="T69" fmla="*/ 83 h 375"/>
                  <a:gd name="T70" fmla="*/ 415 w 731"/>
                  <a:gd name="T71" fmla="*/ 210 h 375"/>
                  <a:gd name="T72" fmla="*/ 307 w 731"/>
                  <a:gd name="T73" fmla="*/ 264 h 375"/>
                  <a:gd name="T74" fmla="*/ 342 w 731"/>
                  <a:gd name="T75" fmla="*/ 345 h 375"/>
                  <a:gd name="T76" fmla="*/ 460 w 731"/>
                  <a:gd name="T77" fmla="*/ 126 h 375"/>
                  <a:gd name="T78" fmla="*/ 310 w 731"/>
                  <a:gd name="T79" fmla="*/ 234 h 375"/>
                  <a:gd name="T80" fmla="*/ 473 w 731"/>
                  <a:gd name="T81" fmla="*/ 193 h 375"/>
                  <a:gd name="T82" fmla="*/ 371 w 731"/>
                  <a:gd name="T83" fmla="*/ 101 h 375"/>
                  <a:gd name="T84" fmla="*/ 449 w 731"/>
                  <a:gd name="T85" fmla="*/ 203 h 375"/>
                  <a:gd name="T86" fmla="*/ 488 w 731"/>
                  <a:gd name="T87" fmla="*/ 115 h 375"/>
                  <a:gd name="T88" fmla="*/ 471 w 731"/>
                  <a:gd name="T89" fmla="*/ 141 h 375"/>
                  <a:gd name="T90" fmla="*/ 345 w 731"/>
                  <a:gd name="T91" fmla="*/ 341 h 375"/>
                  <a:gd name="T92" fmla="*/ 430 w 731"/>
                  <a:gd name="T93" fmla="*/ 81 h 375"/>
                  <a:gd name="T94" fmla="*/ 433 w 731"/>
                  <a:gd name="T95" fmla="*/ 197 h 375"/>
                  <a:gd name="T96" fmla="*/ 255 w 731"/>
                  <a:gd name="T97" fmla="*/ 305 h 375"/>
                  <a:gd name="T98" fmla="*/ 727 w 731"/>
                  <a:gd name="T99" fmla="*/ 144 h 375"/>
                  <a:gd name="T100" fmla="*/ 453 w 731"/>
                  <a:gd name="T101" fmla="*/ 118 h 375"/>
                  <a:gd name="T102" fmla="*/ 313 w 731"/>
                  <a:gd name="T103" fmla="*/ 273 h 375"/>
                  <a:gd name="T104" fmla="*/ 403 w 731"/>
                  <a:gd name="T105" fmla="*/ 174 h 375"/>
                  <a:gd name="T106" fmla="*/ 436 w 731"/>
                  <a:gd name="T107" fmla="*/ 225 h 375"/>
                  <a:gd name="T108" fmla="*/ 332 w 731"/>
                  <a:gd name="T109" fmla="*/ 242 h 375"/>
                  <a:gd name="T110" fmla="*/ 464 w 731"/>
                  <a:gd name="T111" fmla="*/ 134 h 375"/>
                  <a:gd name="T112" fmla="*/ 311 w 731"/>
                  <a:gd name="T113" fmla="*/ 303 h 375"/>
                  <a:gd name="T114" fmla="*/ 429 w 731"/>
                  <a:gd name="T115" fmla="*/ 76 h 375"/>
                  <a:gd name="T116" fmla="*/ 316 w 731"/>
                  <a:gd name="T117" fmla="*/ 244 h 375"/>
                  <a:gd name="T118" fmla="*/ 481 w 731"/>
                  <a:gd name="T119" fmla="*/ 134 h 375"/>
                  <a:gd name="T120" fmla="*/ 449 w 731"/>
                  <a:gd name="T121" fmla="*/ 143 h 375"/>
                  <a:gd name="T122" fmla="*/ 485 w 731"/>
                  <a:gd name="T123" fmla="*/ 89 h 375"/>
                  <a:gd name="T124" fmla="*/ 465 w 731"/>
                  <a:gd name="T125" fmla="*/ 15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1" h="375">
                    <a:moveTo>
                      <a:pt x="306" y="364"/>
                    </a:moveTo>
                    <a:lnTo>
                      <a:pt x="305" y="363"/>
                    </a:lnTo>
                    <a:lnTo>
                      <a:pt x="305" y="362"/>
                    </a:lnTo>
                    <a:lnTo>
                      <a:pt x="304" y="361"/>
                    </a:lnTo>
                    <a:lnTo>
                      <a:pt x="303" y="360"/>
                    </a:lnTo>
                    <a:lnTo>
                      <a:pt x="301" y="359"/>
                    </a:lnTo>
                    <a:lnTo>
                      <a:pt x="300" y="359"/>
                    </a:lnTo>
                    <a:lnTo>
                      <a:pt x="298" y="359"/>
                    </a:lnTo>
                    <a:lnTo>
                      <a:pt x="298" y="358"/>
                    </a:lnTo>
                    <a:lnTo>
                      <a:pt x="297" y="358"/>
                    </a:lnTo>
                    <a:lnTo>
                      <a:pt x="296" y="358"/>
                    </a:lnTo>
                    <a:lnTo>
                      <a:pt x="295" y="359"/>
                    </a:lnTo>
                    <a:lnTo>
                      <a:pt x="294" y="358"/>
                    </a:lnTo>
                    <a:lnTo>
                      <a:pt x="293" y="358"/>
                    </a:lnTo>
                    <a:lnTo>
                      <a:pt x="292" y="358"/>
                    </a:lnTo>
                    <a:lnTo>
                      <a:pt x="290" y="358"/>
                    </a:lnTo>
                    <a:lnTo>
                      <a:pt x="287" y="358"/>
                    </a:lnTo>
                    <a:lnTo>
                      <a:pt x="285" y="357"/>
                    </a:lnTo>
                    <a:lnTo>
                      <a:pt x="283" y="354"/>
                    </a:lnTo>
                    <a:lnTo>
                      <a:pt x="280" y="352"/>
                    </a:lnTo>
                    <a:lnTo>
                      <a:pt x="279" y="352"/>
                    </a:lnTo>
                    <a:lnTo>
                      <a:pt x="275" y="352"/>
                    </a:lnTo>
                    <a:lnTo>
                      <a:pt x="274" y="352"/>
                    </a:lnTo>
                    <a:lnTo>
                      <a:pt x="273" y="351"/>
                    </a:lnTo>
                    <a:lnTo>
                      <a:pt x="271" y="349"/>
                    </a:lnTo>
                    <a:lnTo>
                      <a:pt x="270" y="348"/>
                    </a:lnTo>
                    <a:lnTo>
                      <a:pt x="269" y="348"/>
                    </a:lnTo>
                    <a:lnTo>
                      <a:pt x="268" y="348"/>
                    </a:lnTo>
                    <a:lnTo>
                      <a:pt x="267" y="348"/>
                    </a:lnTo>
                    <a:lnTo>
                      <a:pt x="266" y="348"/>
                    </a:lnTo>
                    <a:lnTo>
                      <a:pt x="265" y="348"/>
                    </a:lnTo>
                    <a:lnTo>
                      <a:pt x="264" y="348"/>
                    </a:lnTo>
                    <a:lnTo>
                      <a:pt x="261" y="347"/>
                    </a:lnTo>
                    <a:lnTo>
                      <a:pt x="260" y="347"/>
                    </a:lnTo>
                    <a:lnTo>
                      <a:pt x="259" y="346"/>
                    </a:lnTo>
                    <a:lnTo>
                      <a:pt x="258" y="345"/>
                    </a:lnTo>
                    <a:lnTo>
                      <a:pt x="257" y="344"/>
                    </a:lnTo>
                    <a:lnTo>
                      <a:pt x="256" y="344"/>
                    </a:lnTo>
                    <a:lnTo>
                      <a:pt x="254" y="343"/>
                    </a:lnTo>
                    <a:lnTo>
                      <a:pt x="253" y="341"/>
                    </a:lnTo>
                    <a:lnTo>
                      <a:pt x="252" y="341"/>
                    </a:lnTo>
                    <a:lnTo>
                      <a:pt x="249" y="341"/>
                    </a:lnTo>
                    <a:lnTo>
                      <a:pt x="248" y="341"/>
                    </a:lnTo>
                    <a:lnTo>
                      <a:pt x="246" y="341"/>
                    </a:lnTo>
                    <a:lnTo>
                      <a:pt x="241" y="340"/>
                    </a:lnTo>
                    <a:lnTo>
                      <a:pt x="239" y="339"/>
                    </a:lnTo>
                    <a:lnTo>
                      <a:pt x="238" y="339"/>
                    </a:lnTo>
                    <a:lnTo>
                      <a:pt x="236" y="338"/>
                    </a:lnTo>
                    <a:lnTo>
                      <a:pt x="235" y="338"/>
                    </a:lnTo>
                    <a:lnTo>
                      <a:pt x="234" y="337"/>
                    </a:lnTo>
                    <a:lnTo>
                      <a:pt x="234" y="336"/>
                    </a:lnTo>
                    <a:lnTo>
                      <a:pt x="233" y="335"/>
                    </a:lnTo>
                    <a:lnTo>
                      <a:pt x="232" y="334"/>
                    </a:lnTo>
                    <a:lnTo>
                      <a:pt x="232" y="333"/>
                    </a:lnTo>
                    <a:lnTo>
                      <a:pt x="230" y="332"/>
                    </a:lnTo>
                    <a:lnTo>
                      <a:pt x="229" y="329"/>
                    </a:lnTo>
                    <a:lnTo>
                      <a:pt x="227" y="328"/>
                    </a:lnTo>
                    <a:lnTo>
                      <a:pt x="227" y="327"/>
                    </a:lnTo>
                    <a:lnTo>
                      <a:pt x="226" y="327"/>
                    </a:lnTo>
                    <a:lnTo>
                      <a:pt x="226" y="326"/>
                    </a:lnTo>
                    <a:lnTo>
                      <a:pt x="224" y="325"/>
                    </a:lnTo>
                    <a:lnTo>
                      <a:pt x="224" y="324"/>
                    </a:lnTo>
                    <a:lnTo>
                      <a:pt x="223" y="323"/>
                    </a:lnTo>
                    <a:lnTo>
                      <a:pt x="222" y="323"/>
                    </a:lnTo>
                    <a:lnTo>
                      <a:pt x="220" y="321"/>
                    </a:lnTo>
                    <a:lnTo>
                      <a:pt x="218" y="320"/>
                    </a:lnTo>
                    <a:lnTo>
                      <a:pt x="216" y="318"/>
                    </a:lnTo>
                    <a:lnTo>
                      <a:pt x="215" y="316"/>
                    </a:lnTo>
                    <a:lnTo>
                      <a:pt x="214" y="316"/>
                    </a:lnTo>
                    <a:lnTo>
                      <a:pt x="213" y="316"/>
                    </a:lnTo>
                    <a:lnTo>
                      <a:pt x="210" y="316"/>
                    </a:lnTo>
                    <a:lnTo>
                      <a:pt x="209" y="316"/>
                    </a:lnTo>
                    <a:lnTo>
                      <a:pt x="206" y="315"/>
                    </a:lnTo>
                    <a:lnTo>
                      <a:pt x="206" y="314"/>
                    </a:lnTo>
                    <a:lnTo>
                      <a:pt x="205" y="314"/>
                    </a:lnTo>
                    <a:lnTo>
                      <a:pt x="204" y="314"/>
                    </a:lnTo>
                    <a:lnTo>
                      <a:pt x="203" y="313"/>
                    </a:lnTo>
                    <a:lnTo>
                      <a:pt x="202" y="313"/>
                    </a:lnTo>
                    <a:lnTo>
                      <a:pt x="201" y="312"/>
                    </a:lnTo>
                    <a:lnTo>
                      <a:pt x="201" y="311"/>
                    </a:lnTo>
                    <a:lnTo>
                      <a:pt x="200" y="310"/>
                    </a:lnTo>
                    <a:lnTo>
                      <a:pt x="200" y="309"/>
                    </a:lnTo>
                    <a:lnTo>
                      <a:pt x="200" y="308"/>
                    </a:lnTo>
                    <a:lnTo>
                      <a:pt x="198" y="307"/>
                    </a:lnTo>
                    <a:lnTo>
                      <a:pt x="198" y="306"/>
                    </a:lnTo>
                    <a:lnTo>
                      <a:pt x="198" y="305"/>
                    </a:lnTo>
                    <a:lnTo>
                      <a:pt x="198" y="303"/>
                    </a:lnTo>
                    <a:lnTo>
                      <a:pt x="197" y="300"/>
                    </a:lnTo>
                    <a:lnTo>
                      <a:pt x="197" y="299"/>
                    </a:lnTo>
                    <a:lnTo>
                      <a:pt x="196" y="297"/>
                    </a:lnTo>
                    <a:lnTo>
                      <a:pt x="193" y="294"/>
                    </a:lnTo>
                    <a:lnTo>
                      <a:pt x="192" y="293"/>
                    </a:lnTo>
                    <a:lnTo>
                      <a:pt x="191" y="290"/>
                    </a:lnTo>
                    <a:lnTo>
                      <a:pt x="190" y="289"/>
                    </a:lnTo>
                    <a:lnTo>
                      <a:pt x="190" y="287"/>
                    </a:lnTo>
                    <a:lnTo>
                      <a:pt x="189" y="287"/>
                    </a:lnTo>
                    <a:lnTo>
                      <a:pt x="188" y="286"/>
                    </a:lnTo>
                    <a:lnTo>
                      <a:pt x="187" y="286"/>
                    </a:lnTo>
                    <a:lnTo>
                      <a:pt x="185" y="286"/>
                    </a:lnTo>
                    <a:lnTo>
                      <a:pt x="183" y="285"/>
                    </a:lnTo>
                    <a:lnTo>
                      <a:pt x="181" y="284"/>
                    </a:lnTo>
                    <a:lnTo>
                      <a:pt x="180" y="284"/>
                    </a:lnTo>
                    <a:lnTo>
                      <a:pt x="179" y="283"/>
                    </a:lnTo>
                    <a:lnTo>
                      <a:pt x="176" y="284"/>
                    </a:lnTo>
                    <a:lnTo>
                      <a:pt x="175" y="283"/>
                    </a:lnTo>
                    <a:lnTo>
                      <a:pt x="174" y="283"/>
                    </a:lnTo>
                    <a:lnTo>
                      <a:pt x="171" y="283"/>
                    </a:lnTo>
                    <a:lnTo>
                      <a:pt x="170" y="283"/>
                    </a:lnTo>
                    <a:lnTo>
                      <a:pt x="168" y="283"/>
                    </a:lnTo>
                    <a:lnTo>
                      <a:pt x="167" y="283"/>
                    </a:lnTo>
                    <a:lnTo>
                      <a:pt x="166" y="283"/>
                    </a:lnTo>
                    <a:lnTo>
                      <a:pt x="165" y="284"/>
                    </a:lnTo>
                    <a:lnTo>
                      <a:pt x="164" y="284"/>
                    </a:lnTo>
                    <a:lnTo>
                      <a:pt x="162" y="284"/>
                    </a:lnTo>
                    <a:lnTo>
                      <a:pt x="161" y="284"/>
                    </a:lnTo>
                    <a:lnTo>
                      <a:pt x="159" y="283"/>
                    </a:lnTo>
                    <a:lnTo>
                      <a:pt x="158" y="283"/>
                    </a:lnTo>
                    <a:lnTo>
                      <a:pt x="157" y="283"/>
                    </a:lnTo>
                    <a:lnTo>
                      <a:pt x="156" y="283"/>
                    </a:lnTo>
                    <a:lnTo>
                      <a:pt x="155" y="283"/>
                    </a:lnTo>
                    <a:lnTo>
                      <a:pt x="154" y="284"/>
                    </a:lnTo>
                    <a:lnTo>
                      <a:pt x="153" y="284"/>
                    </a:lnTo>
                    <a:lnTo>
                      <a:pt x="152" y="285"/>
                    </a:lnTo>
                    <a:lnTo>
                      <a:pt x="150" y="285"/>
                    </a:lnTo>
                    <a:lnTo>
                      <a:pt x="149" y="285"/>
                    </a:lnTo>
                    <a:lnTo>
                      <a:pt x="146" y="285"/>
                    </a:lnTo>
                    <a:lnTo>
                      <a:pt x="145" y="285"/>
                    </a:lnTo>
                    <a:lnTo>
                      <a:pt x="144" y="285"/>
                    </a:lnTo>
                    <a:lnTo>
                      <a:pt x="143" y="285"/>
                    </a:lnTo>
                    <a:lnTo>
                      <a:pt x="142" y="284"/>
                    </a:lnTo>
                    <a:lnTo>
                      <a:pt x="141" y="284"/>
                    </a:lnTo>
                    <a:lnTo>
                      <a:pt x="140" y="283"/>
                    </a:lnTo>
                    <a:lnTo>
                      <a:pt x="138" y="282"/>
                    </a:lnTo>
                    <a:lnTo>
                      <a:pt x="136" y="281"/>
                    </a:lnTo>
                    <a:lnTo>
                      <a:pt x="136" y="280"/>
                    </a:lnTo>
                    <a:lnTo>
                      <a:pt x="136" y="279"/>
                    </a:lnTo>
                    <a:lnTo>
                      <a:pt x="136" y="277"/>
                    </a:lnTo>
                    <a:lnTo>
                      <a:pt x="136" y="276"/>
                    </a:lnTo>
                    <a:lnTo>
                      <a:pt x="137" y="275"/>
                    </a:lnTo>
                    <a:lnTo>
                      <a:pt x="138" y="274"/>
                    </a:lnTo>
                    <a:lnTo>
                      <a:pt x="139" y="273"/>
                    </a:lnTo>
                    <a:lnTo>
                      <a:pt x="139" y="272"/>
                    </a:lnTo>
                    <a:lnTo>
                      <a:pt x="137" y="271"/>
                    </a:lnTo>
                    <a:lnTo>
                      <a:pt x="137" y="270"/>
                    </a:lnTo>
                    <a:lnTo>
                      <a:pt x="136" y="269"/>
                    </a:lnTo>
                    <a:lnTo>
                      <a:pt x="136" y="268"/>
                    </a:lnTo>
                    <a:lnTo>
                      <a:pt x="135" y="267"/>
                    </a:lnTo>
                    <a:lnTo>
                      <a:pt x="133" y="267"/>
                    </a:lnTo>
                    <a:lnTo>
                      <a:pt x="133" y="266"/>
                    </a:lnTo>
                    <a:lnTo>
                      <a:pt x="129" y="260"/>
                    </a:lnTo>
                    <a:lnTo>
                      <a:pt x="129" y="259"/>
                    </a:lnTo>
                    <a:lnTo>
                      <a:pt x="128" y="258"/>
                    </a:lnTo>
                    <a:lnTo>
                      <a:pt x="126" y="256"/>
                    </a:lnTo>
                    <a:lnTo>
                      <a:pt x="125" y="255"/>
                    </a:lnTo>
                    <a:lnTo>
                      <a:pt x="123" y="254"/>
                    </a:lnTo>
                    <a:lnTo>
                      <a:pt x="122" y="254"/>
                    </a:lnTo>
                    <a:lnTo>
                      <a:pt x="120" y="252"/>
                    </a:lnTo>
                    <a:lnTo>
                      <a:pt x="118" y="252"/>
                    </a:lnTo>
                    <a:lnTo>
                      <a:pt x="117" y="252"/>
                    </a:lnTo>
                    <a:lnTo>
                      <a:pt x="115" y="252"/>
                    </a:lnTo>
                    <a:lnTo>
                      <a:pt x="114" y="252"/>
                    </a:lnTo>
                    <a:lnTo>
                      <a:pt x="112" y="252"/>
                    </a:lnTo>
                    <a:lnTo>
                      <a:pt x="100" y="257"/>
                    </a:lnTo>
                    <a:lnTo>
                      <a:pt x="93" y="258"/>
                    </a:lnTo>
                    <a:lnTo>
                      <a:pt x="92" y="259"/>
                    </a:lnTo>
                    <a:lnTo>
                      <a:pt x="91" y="259"/>
                    </a:lnTo>
                    <a:lnTo>
                      <a:pt x="90" y="258"/>
                    </a:lnTo>
                    <a:lnTo>
                      <a:pt x="89" y="258"/>
                    </a:lnTo>
                    <a:lnTo>
                      <a:pt x="88" y="257"/>
                    </a:lnTo>
                    <a:lnTo>
                      <a:pt x="87" y="256"/>
                    </a:lnTo>
                    <a:lnTo>
                      <a:pt x="87" y="255"/>
                    </a:lnTo>
                    <a:lnTo>
                      <a:pt x="86" y="252"/>
                    </a:lnTo>
                    <a:lnTo>
                      <a:pt x="85" y="252"/>
                    </a:lnTo>
                    <a:lnTo>
                      <a:pt x="85" y="251"/>
                    </a:lnTo>
                    <a:lnTo>
                      <a:pt x="85" y="250"/>
                    </a:lnTo>
                    <a:lnTo>
                      <a:pt x="85" y="249"/>
                    </a:lnTo>
                    <a:lnTo>
                      <a:pt x="84" y="249"/>
                    </a:lnTo>
                    <a:lnTo>
                      <a:pt x="82" y="248"/>
                    </a:lnTo>
                    <a:lnTo>
                      <a:pt x="81" y="248"/>
                    </a:lnTo>
                    <a:lnTo>
                      <a:pt x="81" y="247"/>
                    </a:lnTo>
                    <a:lnTo>
                      <a:pt x="81" y="246"/>
                    </a:lnTo>
                    <a:lnTo>
                      <a:pt x="81" y="245"/>
                    </a:lnTo>
                    <a:lnTo>
                      <a:pt x="81" y="244"/>
                    </a:lnTo>
                    <a:lnTo>
                      <a:pt x="82" y="243"/>
                    </a:lnTo>
                    <a:lnTo>
                      <a:pt x="80" y="239"/>
                    </a:lnTo>
                    <a:lnTo>
                      <a:pt x="78" y="238"/>
                    </a:lnTo>
                    <a:lnTo>
                      <a:pt x="78" y="237"/>
                    </a:lnTo>
                    <a:lnTo>
                      <a:pt x="77" y="237"/>
                    </a:lnTo>
                    <a:lnTo>
                      <a:pt x="77" y="236"/>
                    </a:lnTo>
                    <a:lnTo>
                      <a:pt x="76" y="235"/>
                    </a:lnTo>
                    <a:lnTo>
                      <a:pt x="72" y="230"/>
                    </a:lnTo>
                    <a:lnTo>
                      <a:pt x="69" y="224"/>
                    </a:lnTo>
                    <a:lnTo>
                      <a:pt x="69" y="223"/>
                    </a:lnTo>
                    <a:lnTo>
                      <a:pt x="68" y="223"/>
                    </a:lnTo>
                    <a:lnTo>
                      <a:pt x="69" y="223"/>
                    </a:lnTo>
                    <a:lnTo>
                      <a:pt x="67" y="219"/>
                    </a:lnTo>
                    <a:lnTo>
                      <a:pt x="67" y="218"/>
                    </a:lnTo>
                    <a:lnTo>
                      <a:pt x="67" y="217"/>
                    </a:lnTo>
                    <a:lnTo>
                      <a:pt x="66" y="216"/>
                    </a:lnTo>
                    <a:lnTo>
                      <a:pt x="66" y="215"/>
                    </a:lnTo>
                    <a:lnTo>
                      <a:pt x="66" y="213"/>
                    </a:lnTo>
                    <a:lnTo>
                      <a:pt x="65" y="213"/>
                    </a:lnTo>
                    <a:lnTo>
                      <a:pt x="65" y="212"/>
                    </a:lnTo>
                    <a:lnTo>
                      <a:pt x="65" y="211"/>
                    </a:lnTo>
                    <a:lnTo>
                      <a:pt x="64" y="210"/>
                    </a:lnTo>
                    <a:lnTo>
                      <a:pt x="65" y="210"/>
                    </a:lnTo>
                    <a:lnTo>
                      <a:pt x="64" y="210"/>
                    </a:lnTo>
                    <a:lnTo>
                      <a:pt x="64" y="209"/>
                    </a:lnTo>
                    <a:lnTo>
                      <a:pt x="64" y="208"/>
                    </a:lnTo>
                    <a:lnTo>
                      <a:pt x="63" y="205"/>
                    </a:lnTo>
                    <a:lnTo>
                      <a:pt x="64" y="205"/>
                    </a:lnTo>
                    <a:lnTo>
                      <a:pt x="65" y="204"/>
                    </a:lnTo>
                    <a:lnTo>
                      <a:pt x="66" y="203"/>
                    </a:lnTo>
                    <a:lnTo>
                      <a:pt x="66" y="202"/>
                    </a:lnTo>
                    <a:lnTo>
                      <a:pt x="67" y="200"/>
                    </a:lnTo>
                    <a:lnTo>
                      <a:pt x="67" y="199"/>
                    </a:lnTo>
                    <a:lnTo>
                      <a:pt x="67" y="198"/>
                    </a:lnTo>
                    <a:lnTo>
                      <a:pt x="67" y="196"/>
                    </a:lnTo>
                    <a:lnTo>
                      <a:pt x="67" y="195"/>
                    </a:lnTo>
                    <a:lnTo>
                      <a:pt x="67" y="194"/>
                    </a:lnTo>
                    <a:lnTo>
                      <a:pt x="67" y="193"/>
                    </a:lnTo>
                    <a:lnTo>
                      <a:pt x="67" y="192"/>
                    </a:lnTo>
                    <a:lnTo>
                      <a:pt x="65" y="187"/>
                    </a:lnTo>
                    <a:lnTo>
                      <a:pt x="64" y="185"/>
                    </a:lnTo>
                    <a:lnTo>
                      <a:pt x="64" y="184"/>
                    </a:lnTo>
                    <a:lnTo>
                      <a:pt x="64" y="183"/>
                    </a:lnTo>
                    <a:lnTo>
                      <a:pt x="63" y="182"/>
                    </a:lnTo>
                    <a:lnTo>
                      <a:pt x="62" y="180"/>
                    </a:lnTo>
                    <a:lnTo>
                      <a:pt x="60" y="177"/>
                    </a:lnTo>
                    <a:lnTo>
                      <a:pt x="58" y="173"/>
                    </a:lnTo>
                    <a:lnTo>
                      <a:pt x="56" y="172"/>
                    </a:lnTo>
                    <a:lnTo>
                      <a:pt x="54" y="170"/>
                    </a:lnTo>
                    <a:lnTo>
                      <a:pt x="53" y="168"/>
                    </a:lnTo>
                    <a:lnTo>
                      <a:pt x="51" y="168"/>
                    </a:lnTo>
                    <a:lnTo>
                      <a:pt x="50" y="167"/>
                    </a:lnTo>
                    <a:lnTo>
                      <a:pt x="49" y="167"/>
                    </a:lnTo>
                    <a:lnTo>
                      <a:pt x="47" y="166"/>
                    </a:lnTo>
                    <a:lnTo>
                      <a:pt x="46" y="166"/>
                    </a:lnTo>
                    <a:lnTo>
                      <a:pt x="42" y="166"/>
                    </a:lnTo>
                    <a:lnTo>
                      <a:pt x="38" y="166"/>
                    </a:lnTo>
                    <a:lnTo>
                      <a:pt x="34" y="166"/>
                    </a:lnTo>
                    <a:lnTo>
                      <a:pt x="32" y="166"/>
                    </a:lnTo>
                    <a:lnTo>
                      <a:pt x="26" y="166"/>
                    </a:lnTo>
                    <a:lnTo>
                      <a:pt x="20" y="162"/>
                    </a:lnTo>
                    <a:lnTo>
                      <a:pt x="17" y="161"/>
                    </a:lnTo>
                    <a:lnTo>
                      <a:pt x="15" y="160"/>
                    </a:lnTo>
                    <a:lnTo>
                      <a:pt x="12" y="159"/>
                    </a:lnTo>
                    <a:lnTo>
                      <a:pt x="10" y="157"/>
                    </a:lnTo>
                    <a:lnTo>
                      <a:pt x="9" y="156"/>
                    </a:lnTo>
                    <a:lnTo>
                      <a:pt x="4" y="153"/>
                    </a:lnTo>
                    <a:lnTo>
                      <a:pt x="3" y="152"/>
                    </a:lnTo>
                    <a:lnTo>
                      <a:pt x="1" y="151"/>
                    </a:lnTo>
                    <a:lnTo>
                      <a:pt x="0" y="151"/>
                    </a:lnTo>
                    <a:lnTo>
                      <a:pt x="1" y="148"/>
                    </a:lnTo>
                    <a:lnTo>
                      <a:pt x="2" y="145"/>
                    </a:lnTo>
                    <a:lnTo>
                      <a:pt x="3" y="143"/>
                    </a:lnTo>
                    <a:lnTo>
                      <a:pt x="3" y="142"/>
                    </a:lnTo>
                    <a:lnTo>
                      <a:pt x="4" y="142"/>
                    </a:lnTo>
                    <a:lnTo>
                      <a:pt x="6" y="139"/>
                    </a:lnTo>
                    <a:lnTo>
                      <a:pt x="8" y="132"/>
                    </a:lnTo>
                    <a:lnTo>
                      <a:pt x="9" y="131"/>
                    </a:lnTo>
                    <a:lnTo>
                      <a:pt x="9" y="130"/>
                    </a:lnTo>
                    <a:lnTo>
                      <a:pt x="10" y="129"/>
                    </a:lnTo>
                    <a:lnTo>
                      <a:pt x="9" y="128"/>
                    </a:lnTo>
                    <a:lnTo>
                      <a:pt x="8" y="128"/>
                    </a:lnTo>
                    <a:lnTo>
                      <a:pt x="8" y="127"/>
                    </a:lnTo>
                    <a:lnTo>
                      <a:pt x="9" y="127"/>
                    </a:lnTo>
                    <a:lnTo>
                      <a:pt x="10" y="126"/>
                    </a:lnTo>
                    <a:lnTo>
                      <a:pt x="11" y="126"/>
                    </a:lnTo>
                    <a:lnTo>
                      <a:pt x="10" y="129"/>
                    </a:lnTo>
                    <a:lnTo>
                      <a:pt x="11" y="129"/>
                    </a:lnTo>
                    <a:lnTo>
                      <a:pt x="13" y="123"/>
                    </a:lnTo>
                    <a:lnTo>
                      <a:pt x="13" y="122"/>
                    </a:lnTo>
                    <a:lnTo>
                      <a:pt x="14" y="121"/>
                    </a:lnTo>
                    <a:lnTo>
                      <a:pt x="14" y="120"/>
                    </a:lnTo>
                    <a:lnTo>
                      <a:pt x="14" y="119"/>
                    </a:lnTo>
                    <a:lnTo>
                      <a:pt x="15" y="120"/>
                    </a:lnTo>
                    <a:lnTo>
                      <a:pt x="16" y="120"/>
                    </a:lnTo>
                    <a:lnTo>
                      <a:pt x="17" y="121"/>
                    </a:lnTo>
                    <a:lnTo>
                      <a:pt x="19" y="121"/>
                    </a:lnTo>
                    <a:lnTo>
                      <a:pt x="20" y="121"/>
                    </a:lnTo>
                    <a:lnTo>
                      <a:pt x="20" y="120"/>
                    </a:lnTo>
                    <a:lnTo>
                      <a:pt x="21" y="119"/>
                    </a:lnTo>
                    <a:lnTo>
                      <a:pt x="22" y="118"/>
                    </a:lnTo>
                    <a:lnTo>
                      <a:pt x="22" y="117"/>
                    </a:lnTo>
                    <a:lnTo>
                      <a:pt x="23" y="117"/>
                    </a:lnTo>
                    <a:lnTo>
                      <a:pt x="23" y="116"/>
                    </a:lnTo>
                    <a:lnTo>
                      <a:pt x="24" y="116"/>
                    </a:lnTo>
                    <a:lnTo>
                      <a:pt x="25" y="116"/>
                    </a:lnTo>
                    <a:lnTo>
                      <a:pt x="26" y="117"/>
                    </a:lnTo>
                    <a:lnTo>
                      <a:pt x="26" y="118"/>
                    </a:lnTo>
                    <a:lnTo>
                      <a:pt x="27" y="119"/>
                    </a:lnTo>
                    <a:lnTo>
                      <a:pt x="28" y="119"/>
                    </a:lnTo>
                    <a:lnTo>
                      <a:pt x="29" y="119"/>
                    </a:lnTo>
                    <a:lnTo>
                      <a:pt x="30" y="120"/>
                    </a:lnTo>
                    <a:lnTo>
                      <a:pt x="30" y="121"/>
                    </a:lnTo>
                    <a:lnTo>
                      <a:pt x="32" y="122"/>
                    </a:lnTo>
                    <a:lnTo>
                      <a:pt x="33" y="122"/>
                    </a:lnTo>
                    <a:lnTo>
                      <a:pt x="34" y="122"/>
                    </a:lnTo>
                    <a:lnTo>
                      <a:pt x="34" y="121"/>
                    </a:lnTo>
                    <a:lnTo>
                      <a:pt x="35" y="121"/>
                    </a:lnTo>
                    <a:lnTo>
                      <a:pt x="35" y="122"/>
                    </a:lnTo>
                    <a:lnTo>
                      <a:pt x="35" y="123"/>
                    </a:lnTo>
                    <a:lnTo>
                      <a:pt x="36" y="125"/>
                    </a:lnTo>
                    <a:lnTo>
                      <a:pt x="36" y="126"/>
                    </a:lnTo>
                    <a:lnTo>
                      <a:pt x="37" y="126"/>
                    </a:lnTo>
                    <a:lnTo>
                      <a:pt x="38" y="126"/>
                    </a:lnTo>
                    <a:lnTo>
                      <a:pt x="39" y="126"/>
                    </a:lnTo>
                    <a:lnTo>
                      <a:pt x="40" y="126"/>
                    </a:lnTo>
                    <a:lnTo>
                      <a:pt x="40" y="125"/>
                    </a:lnTo>
                    <a:lnTo>
                      <a:pt x="41" y="125"/>
                    </a:lnTo>
                    <a:lnTo>
                      <a:pt x="42" y="125"/>
                    </a:lnTo>
                    <a:lnTo>
                      <a:pt x="42" y="126"/>
                    </a:lnTo>
                    <a:lnTo>
                      <a:pt x="45" y="127"/>
                    </a:lnTo>
                    <a:lnTo>
                      <a:pt x="46" y="126"/>
                    </a:lnTo>
                    <a:lnTo>
                      <a:pt x="46" y="125"/>
                    </a:lnTo>
                    <a:lnTo>
                      <a:pt x="46" y="123"/>
                    </a:lnTo>
                    <a:lnTo>
                      <a:pt x="47" y="123"/>
                    </a:lnTo>
                    <a:lnTo>
                      <a:pt x="47" y="122"/>
                    </a:lnTo>
                    <a:lnTo>
                      <a:pt x="48" y="122"/>
                    </a:lnTo>
                    <a:lnTo>
                      <a:pt x="48" y="121"/>
                    </a:lnTo>
                    <a:lnTo>
                      <a:pt x="49" y="121"/>
                    </a:lnTo>
                    <a:lnTo>
                      <a:pt x="50" y="121"/>
                    </a:lnTo>
                    <a:lnTo>
                      <a:pt x="51" y="121"/>
                    </a:lnTo>
                    <a:lnTo>
                      <a:pt x="52" y="121"/>
                    </a:lnTo>
                    <a:lnTo>
                      <a:pt x="53" y="120"/>
                    </a:lnTo>
                    <a:lnTo>
                      <a:pt x="53" y="119"/>
                    </a:lnTo>
                    <a:lnTo>
                      <a:pt x="54" y="120"/>
                    </a:lnTo>
                    <a:lnTo>
                      <a:pt x="54" y="119"/>
                    </a:lnTo>
                    <a:lnTo>
                      <a:pt x="54" y="120"/>
                    </a:lnTo>
                    <a:lnTo>
                      <a:pt x="54" y="119"/>
                    </a:lnTo>
                    <a:lnTo>
                      <a:pt x="54" y="118"/>
                    </a:lnTo>
                    <a:lnTo>
                      <a:pt x="55" y="118"/>
                    </a:lnTo>
                    <a:lnTo>
                      <a:pt x="56" y="117"/>
                    </a:lnTo>
                    <a:lnTo>
                      <a:pt x="58" y="117"/>
                    </a:lnTo>
                    <a:lnTo>
                      <a:pt x="58" y="116"/>
                    </a:lnTo>
                    <a:lnTo>
                      <a:pt x="59" y="115"/>
                    </a:lnTo>
                    <a:lnTo>
                      <a:pt x="60" y="115"/>
                    </a:lnTo>
                    <a:lnTo>
                      <a:pt x="60" y="114"/>
                    </a:lnTo>
                    <a:lnTo>
                      <a:pt x="60" y="113"/>
                    </a:lnTo>
                    <a:lnTo>
                      <a:pt x="61" y="113"/>
                    </a:lnTo>
                    <a:lnTo>
                      <a:pt x="62" y="113"/>
                    </a:lnTo>
                    <a:lnTo>
                      <a:pt x="63" y="112"/>
                    </a:lnTo>
                    <a:lnTo>
                      <a:pt x="64" y="112"/>
                    </a:lnTo>
                    <a:lnTo>
                      <a:pt x="65" y="112"/>
                    </a:lnTo>
                    <a:lnTo>
                      <a:pt x="66" y="112"/>
                    </a:lnTo>
                    <a:lnTo>
                      <a:pt x="66" y="110"/>
                    </a:lnTo>
                    <a:lnTo>
                      <a:pt x="67" y="110"/>
                    </a:lnTo>
                    <a:lnTo>
                      <a:pt x="69" y="112"/>
                    </a:lnTo>
                    <a:lnTo>
                      <a:pt x="71" y="112"/>
                    </a:lnTo>
                    <a:lnTo>
                      <a:pt x="72" y="112"/>
                    </a:lnTo>
                    <a:lnTo>
                      <a:pt x="72" y="110"/>
                    </a:lnTo>
                    <a:lnTo>
                      <a:pt x="73" y="110"/>
                    </a:lnTo>
                    <a:lnTo>
                      <a:pt x="74" y="112"/>
                    </a:lnTo>
                    <a:lnTo>
                      <a:pt x="75" y="113"/>
                    </a:lnTo>
                    <a:lnTo>
                      <a:pt x="76" y="113"/>
                    </a:lnTo>
                    <a:lnTo>
                      <a:pt x="76" y="114"/>
                    </a:lnTo>
                    <a:lnTo>
                      <a:pt x="77" y="115"/>
                    </a:lnTo>
                    <a:lnTo>
                      <a:pt x="78" y="115"/>
                    </a:lnTo>
                    <a:lnTo>
                      <a:pt x="78" y="116"/>
                    </a:lnTo>
                    <a:lnTo>
                      <a:pt x="78" y="117"/>
                    </a:lnTo>
                    <a:lnTo>
                      <a:pt x="79" y="117"/>
                    </a:lnTo>
                    <a:lnTo>
                      <a:pt x="78" y="117"/>
                    </a:lnTo>
                    <a:lnTo>
                      <a:pt x="78" y="118"/>
                    </a:lnTo>
                    <a:lnTo>
                      <a:pt x="78" y="119"/>
                    </a:lnTo>
                    <a:lnTo>
                      <a:pt x="79" y="120"/>
                    </a:lnTo>
                    <a:lnTo>
                      <a:pt x="80" y="121"/>
                    </a:lnTo>
                    <a:lnTo>
                      <a:pt x="80" y="122"/>
                    </a:lnTo>
                    <a:lnTo>
                      <a:pt x="81" y="122"/>
                    </a:lnTo>
                    <a:lnTo>
                      <a:pt x="82" y="122"/>
                    </a:lnTo>
                    <a:lnTo>
                      <a:pt x="84" y="121"/>
                    </a:lnTo>
                    <a:lnTo>
                      <a:pt x="85" y="121"/>
                    </a:lnTo>
                    <a:lnTo>
                      <a:pt x="85" y="120"/>
                    </a:lnTo>
                    <a:lnTo>
                      <a:pt x="86" y="119"/>
                    </a:lnTo>
                    <a:lnTo>
                      <a:pt x="86" y="118"/>
                    </a:lnTo>
                    <a:lnTo>
                      <a:pt x="87" y="118"/>
                    </a:lnTo>
                    <a:lnTo>
                      <a:pt x="87" y="117"/>
                    </a:lnTo>
                    <a:lnTo>
                      <a:pt x="88" y="117"/>
                    </a:lnTo>
                    <a:lnTo>
                      <a:pt x="89" y="118"/>
                    </a:lnTo>
                    <a:lnTo>
                      <a:pt x="89" y="119"/>
                    </a:lnTo>
                    <a:lnTo>
                      <a:pt x="89" y="120"/>
                    </a:lnTo>
                    <a:lnTo>
                      <a:pt x="90" y="120"/>
                    </a:lnTo>
                    <a:lnTo>
                      <a:pt x="90" y="121"/>
                    </a:lnTo>
                    <a:lnTo>
                      <a:pt x="91" y="121"/>
                    </a:lnTo>
                    <a:lnTo>
                      <a:pt x="92" y="121"/>
                    </a:lnTo>
                    <a:lnTo>
                      <a:pt x="92" y="120"/>
                    </a:lnTo>
                    <a:lnTo>
                      <a:pt x="93" y="120"/>
                    </a:lnTo>
                    <a:lnTo>
                      <a:pt x="93" y="119"/>
                    </a:lnTo>
                    <a:lnTo>
                      <a:pt x="94" y="119"/>
                    </a:lnTo>
                    <a:lnTo>
                      <a:pt x="94" y="118"/>
                    </a:lnTo>
                    <a:lnTo>
                      <a:pt x="94" y="117"/>
                    </a:lnTo>
                    <a:lnTo>
                      <a:pt x="93" y="117"/>
                    </a:lnTo>
                    <a:lnTo>
                      <a:pt x="91" y="116"/>
                    </a:lnTo>
                    <a:lnTo>
                      <a:pt x="91" y="115"/>
                    </a:lnTo>
                    <a:lnTo>
                      <a:pt x="90" y="115"/>
                    </a:lnTo>
                    <a:lnTo>
                      <a:pt x="90" y="114"/>
                    </a:lnTo>
                    <a:lnTo>
                      <a:pt x="91" y="114"/>
                    </a:lnTo>
                    <a:lnTo>
                      <a:pt x="92" y="113"/>
                    </a:lnTo>
                    <a:lnTo>
                      <a:pt x="93" y="113"/>
                    </a:lnTo>
                    <a:lnTo>
                      <a:pt x="94" y="112"/>
                    </a:lnTo>
                    <a:lnTo>
                      <a:pt x="95" y="112"/>
                    </a:lnTo>
                    <a:lnTo>
                      <a:pt x="95" y="110"/>
                    </a:lnTo>
                    <a:lnTo>
                      <a:pt x="95" y="112"/>
                    </a:lnTo>
                    <a:lnTo>
                      <a:pt x="95" y="113"/>
                    </a:lnTo>
                    <a:lnTo>
                      <a:pt x="97" y="114"/>
                    </a:lnTo>
                    <a:lnTo>
                      <a:pt x="97" y="115"/>
                    </a:lnTo>
                    <a:lnTo>
                      <a:pt x="97" y="116"/>
                    </a:lnTo>
                    <a:lnTo>
                      <a:pt x="98" y="117"/>
                    </a:lnTo>
                    <a:lnTo>
                      <a:pt x="98" y="118"/>
                    </a:lnTo>
                    <a:lnTo>
                      <a:pt x="98" y="119"/>
                    </a:lnTo>
                    <a:lnTo>
                      <a:pt x="98" y="120"/>
                    </a:lnTo>
                    <a:lnTo>
                      <a:pt x="98" y="121"/>
                    </a:lnTo>
                    <a:lnTo>
                      <a:pt x="98" y="122"/>
                    </a:lnTo>
                    <a:lnTo>
                      <a:pt x="98" y="123"/>
                    </a:lnTo>
                    <a:lnTo>
                      <a:pt x="98" y="125"/>
                    </a:lnTo>
                    <a:lnTo>
                      <a:pt x="98" y="126"/>
                    </a:lnTo>
                    <a:lnTo>
                      <a:pt x="98" y="127"/>
                    </a:lnTo>
                    <a:lnTo>
                      <a:pt x="99" y="128"/>
                    </a:lnTo>
                    <a:lnTo>
                      <a:pt x="99" y="129"/>
                    </a:lnTo>
                    <a:lnTo>
                      <a:pt x="99" y="130"/>
                    </a:lnTo>
                    <a:lnTo>
                      <a:pt x="100" y="132"/>
                    </a:lnTo>
                    <a:lnTo>
                      <a:pt x="100" y="133"/>
                    </a:lnTo>
                    <a:lnTo>
                      <a:pt x="101" y="134"/>
                    </a:lnTo>
                    <a:lnTo>
                      <a:pt x="101" y="135"/>
                    </a:lnTo>
                    <a:lnTo>
                      <a:pt x="101" y="136"/>
                    </a:lnTo>
                    <a:lnTo>
                      <a:pt x="102" y="136"/>
                    </a:lnTo>
                    <a:lnTo>
                      <a:pt x="102" y="138"/>
                    </a:lnTo>
                    <a:lnTo>
                      <a:pt x="102" y="139"/>
                    </a:lnTo>
                    <a:lnTo>
                      <a:pt x="102" y="140"/>
                    </a:lnTo>
                    <a:lnTo>
                      <a:pt x="102" y="141"/>
                    </a:lnTo>
                    <a:lnTo>
                      <a:pt x="102" y="142"/>
                    </a:lnTo>
                    <a:lnTo>
                      <a:pt x="103" y="143"/>
                    </a:lnTo>
                    <a:lnTo>
                      <a:pt x="103" y="144"/>
                    </a:lnTo>
                    <a:lnTo>
                      <a:pt x="104" y="145"/>
                    </a:lnTo>
                    <a:lnTo>
                      <a:pt x="104" y="146"/>
                    </a:lnTo>
                    <a:lnTo>
                      <a:pt x="105" y="146"/>
                    </a:lnTo>
                    <a:lnTo>
                      <a:pt x="105" y="147"/>
                    </a:lnTo>
                    <a:lnTo>
                      <a:pt x="105" y="148"/>
                    </a:lnTo>
                    <a:lnTo>
                      <a:pt x="106" y="148"/>
                    </a:lnTo>
                    <a:lnTo>
                      <a:pt x="106" y="149"/>
                    </a:lnTo>
                    <a:lnTo>
                      <a:pt x="106" y="151"/>
                    </a:lnTo>
                    <a:lnTo>
                      <a:pt x="107" y="151"/>
                    </a:lnTo>
                    <a:lnTo>
                      <a:pt x="106" y="152"/>
                    </a:lnTo>
                    <a:lnTo>
                      <a:pt x="106" y="153"/>
                    </a:lnTo>
                    <a:lnTo>
                      <a:pt x="107" y="153"/>
                    </a:lnTo>
                    <a:lnTo>
                      <a:pt x="109" y="152"/>
                    </a:lnTo>
                    <a:lnTo>
                      <a:pt x="109" y="153"/>
                    </a:lnTo>
                    <a:lnTo>
                      <a:pt x="110" y="153"/>
                    </a:lnTo>
                    <a:lnTo>
                      <a:pt x="111" y="153"/>
                    </a:lnTo>
                    <a:lnTo>
                      <a:pt x="111" y="154"/>
                    </a:lnTo>
                    <a:lnTo>
                      <a:pt x="112" y="154"/>
                    </a:lnTo>
                    <a:lnTo>
                      <a:pt x="112" y="155"/>
                    </a:lnTo>
                    <a:lnTo>
                      <a:pt x="113" y="155"/>
                    </a:lnTo>
                    <a:lnTo>
                      <a:pt x="113" y="156"/>
                    </a:lnTo>
                    <a:lnTo>
                      <a:pt x="114" y="156"/>
                    </a:lnTo>
                    <a:lnTo>
                      <a:pt x="115" y="156"/>
                    </a:lnTo>
                    <a:lnTo>
                      <a:pt x="115" y="157"/>
                    </a:lnTo>
                    <a:lnTo>
                      <a:pt x="116" y="157"/>
                    </a:lnTo>
                    <a:lnTo>
                      <a:pt x="117" y="158"/>
                    </a:lnTo>
                    <a:lnTo>
                      <a:pt x="118" y="158"/>
                    </a:lnTo>
                    <a:lnTo>
                      <a:pt x="118" y="159"/>
                    </a:lnTo>
                    <a:lnTo>
                      <a:pt x="119" y="159"/>
                    </a:lnTo>
                    <a:lnTo>
                      <a:pt x="120" y="159"/>
                    </a:lnTo>
                    <a:lnTo>
                      <a:pt x="122" y="159"/>
                    </a:lnTo>
                    <a:lnTo>
                      <a:pt x="123" y="159"/>
                    </a:lnTo>
                    <a:lnTo>
                      <a:pt x="124" y="159"/>
                    </a:lnTo>
                    <a:lnTo>
                      <a:pt x="125" y="159"/>
                    </a:lnTo>
                    <a:lnTo>
                      <a:pt x="125" y="160"/>
                    </a:lnTo>
                    <a:lnTo>
                      <a:pt x="125" y="159"/>
                    </a:lnTo>
                    <a:lnTo>
                      <a:pt x="125" y="160"/>
                    </a:lnTo>
                    <a:lnTo>
                      <a:pt x="126" y="160"/>
                    </a:lnTo>
                    <a:lnTo>
                      <a:pt x="126" y="159"/>
                    </a:lnTo>
                    <a:lnTo>
                      <a:pt x="126" y="160"/>
                    </a:lnTo>
                    <a:lnTo>
                      <a:pt x="127" y="160"/>
                    </a:lnTo>
                    <a:lnTo>
                      <a:pt x="128" y="160"/>
                    </a:lnTo>
                    <a:lnTo>
                      <a:pt x="129" y="160"/>
                    </a:lnTo>
                    <a:lnTo>
                      <a:pt x="130" y="160"/>
                    </a:lnTo>
                    <a:lnTo>
                      <a:pt x="131" y="160"/>
                    </a:lnTo>
                    <a:lnTo>
                      <a:pt x="132" y="160"/>
                    </a:lnTo>
                    <a:lnTo>
                      <a:pt x="133" y="160"/>
                    </a:lnTo>
                    <a:lnTo>
                      <a:pt x="135" y="160"/>
                    </a:lnTo>
                    <a:lnTo>
                      <a:pt x="136" y="159"/>
                    </a:lnTo>
                    <a:lnTo>
                      <a:pt x="137" y="159"/>
                    </a:lnTo>
                    <a:lnTo>
                      <a:pt x="138" y="159"/>
                    </a:lnTo>
                    <a:lnTo>
                      <a:pt x="138" y="158"/>
                    </a:lnTo>
                    <a:lnTo>
                      <a:pt x="139" y="158"/>
                    </a:lnTo>
                    <a:lnTo>
                      <a:pt x="140" y="158"/>
                    </a:lnTo>
                    <a:lnTo>
                      <a:pt x="141" y="158"/>
                    </a:lnTo>
                    <a:lnTo>
                      <a:pt x="142" y="158"/>
                    </a:lnTo>
                    <a:lnTo>
                      <a:pt x="143" y="158"/>
                    </a:lnTo>
                    <a:lnTo>
                      <a:pt x="144" y="157"/>
                    </a:lnTo>
                    <a:lnTo>
                      <a:pt x="145" y="157"/>
                    </a:lnTo>
                    <a:lnTo>
                      <a:pt x="146" y="157"/>
                    </a:lnTo>
                    <a:lnTo>
                      <a:pt x="146" y="156"/>
                    </a:lnTo>
                    <a:lnTo>
                      <a:pt x="148" y="156"/>
                    </a:lnTo>
                    <a:lnTo>
                      <a:pt x="149" y="156"/>
                    </a:lnTo>
                    <a:lnTo>
                      <a:pt x="150" y="156"/>
                    </a:lnTo>
                    <a:lnTo>
                      <a:pt x="151" y="155"/>
                    </a:lnTo>
                    <a:lnTo>
                      <a:pt x="152" y="155"/>
                    </a:lnTo>
                    <a:lnTo>
                      <a:pt x="153" y="154"/>
                    </a:lnTo>
                    <a:lnTo>
                      <a:pt x="154" y="154"/>
                    </a:lnTo>
                    <a:lnTo>
                      <a:pt x="155" y="154"/>
                    </a:lnTo>
                    <a:lnTo>
                      <a:pt x="155" y="153"/>
                    </a:lnTo>
                    <a:lnTo>
                      <a:pt x="156" y="153"/>
                    </a:lnTo>
                    <a:lnTo>
                      <a:pt x="157" y="153"/>
                    </a:lnTo>
                    <a:lnTo>
                      <a:pt x="158" y="152"/>
                    </a:lnTo>
                    <a:lnTo>
                      <a:pt x="159" y="152"/>
                    </a:lnTo>
                    <a:lnTo>
                      <a:pt x="161" y="152"/>
                    </a:lnTo>
                    <a:lnTo>
                      <a:pt x="161" y="151"/>
                    </a:lnTo>
                    <a:lnTo>
                      <a:pt x="162" y="152"/>
                    </a:lnTo>
                    <a:lnTo>
                      <a:pt x="163" y="151"/>
                    </a:lnTo>
                    <a:lnTo>
                      <a:pt x="164" y="151"/>
                    </a:lnTo>
                    <a:lnTo>
                      <a:pt x="165" y="149"/>
                    </a:lnTo>
                    <a:lnTo>
                      <a:pt x="165" y="148"/>
                    </a:lnTo>
                    <a:lnTo>
                      <a:pt x="166" y="148"/>
                    </a:lnTo>
                    <a:lnTo>
                      <a:pt x="167" y="147"/>
                    </a:lnTo>
                    <a:lnTo>
                      <a:pt x="167" y="146"/>
                    </a:lnTo>
                    <a:lnTo>
                      <a:pt x="168" y="146"/>
                    </a:lnTo>
                    <a:lnTo>
                      <a:pt x="169" y="145"/>
                    </a:lnTo>
                    <a:lnTo>
                      <a:pt x="171" y="143"/>
                    </a:lnTo>
                    <a:lnTo>
                      <a:pt x="172" y="143"/>
                    </a:lnTo>
                    <a:lnTo>
                      <a:pt x="174" y="142"/>
                    </a:lnTo>
                    <a:lnTo>
                      <a:pt x="175" y="142"/>
                    </a:lnTo>
                    <a:lnTo>
                      <a:pt x="175" y="143"/>
                    </a:lnTo>
                    <a:lnTo>
                      <a:pt x="176" y="143"/>
                    </a:lnTo>
                    <a:lnTo>
                      <a:pt x="177" y="144"/>
                    </a:lnTo>
                    <a:lnTo>
                      <a:pt x="178" y="144"/>
                    </a:lnTo>
                    <a:lnTo>
                      <a:pt x="179" y="145"/>
                    </a:lnTo>
                    <a:lnTo>
                      <a:pt x="180" y="146"/>
                    </a:lnTo>
                    <a:lnTo>
                      <a:pt x="181" y="147"/>
                    </a:lnTo>
                    <a:lnTo>
                      <a:pt x="181" y="148"/>
                    </a:lnTo>
                    <a:lnTo>
                      <a:pt x="182" y="148"/>
                    </a:lnTo>
                    <a:lnTo>
                      <a:pt x="182" y="149"/>
                    </a:lnTo>
                    <a:lnTo>
                      <a:pt x="183" y="151"/>
                    </a:lnTo>
                    <a:lnTo>
                      <a:pt x="182" y="151"/>
                    </a:lnTo>
                    <a:lnTo>
                      <a:pt x="179" y="152"/>
                    </a:lnTo>
                    <a:lnTo>
                      <a:pt x="176" y="153"/>
                    </a:lnTo>
                    <a:lnTo>
                      <a:pt x="175" y="154"/>
                    </a:lnTo>
                    <a:lnTo>
                      <a:pt x="174" y="154"/>
                    </a:lnTo>
                    <a:lnTo>
                      <a:pt x="174" y="155"/>
                    </a:lnTo>
                    <a:lnTo>
                      <a:pt x="172" y="155"/>
                    </a:lnTo>
                    <a:lnTo>
                      <a:pt x="171" y="156"/>
                    </a:lnTo>
                    <a:lnTo>
                      <a:pt x="170" y="156"/>
                    </a:lnTo>
                    <a:lnTo>
                      <a:pt x="169" y="157"/>
                    </a:lnTo>
                    <a:lnTo>
                      <a:pt x="168" y="157"/>
                    </a:lnTo>
                    <a:lnTo>
                      <a:pt x="167" y="157"/>
                    </a:lnTo>
                    <a:lnTo>
                      <a:pt x="166" y="157"/>
                    </a:lnTo>
                    <a:lnTo>
                      <a:pt x="165" y="157"/>
                    </a:lnTo>
                    <a:lnTo>
                      <a:pt x="165" y="158"/>
                    </a:lnTo>
                    <a:lnTo>
                      <a:pt x="164" y="159"/>
                    </a:lnTo>
                    <a:lnTo>
                      <a:pt x="164" y="160"/>
                    </a:lnTo>
                    <a:lnTo>
                      <a:pt x="164" y="161"/>
                    </a:lnTo>
                    <a:lnTo>
                      <a:pt x="163" y="161"/>
                    </a:lnTo>
                    <a:lnTo>
                      <a:pt x="163" y="162"/>
                    </a:lnTo>
                    <a:lnTo>
                      <a:pt x="162" y="162"/>
                    </a:lnTo>
                    <a:lnTo>
                      <a:pt x="162" y="164"/>
                    </a:lnTo>
                    <a:lnTo>
                      <a:pt x="163" y="164"/>
                    </a:lnTo>
                    <a:lnTo>
                      <a:pt x="163" y="165"/>
                    </a:lnTo>
                    <a:lnTo>
                      <a:pt x="163" y="166"/>
                    </a:lnTo>
                    <a:lnTo>
                      <a:pt x="163" y="167"/>
                    </a:lnTo>
                    <a:lnTo>
                      <a:pt x="163" y="168"/>
                    </a:lnTo>
                    <a:lnTo>
                      <a:pt x="163" y="169"/>
                    </a:lnTo>
                    <a:lnTo>
                      <a:pt x="163" y="170"/>
                    </a:lnTo>
                    <a:lnTo>
                      <a:pt x="163" y="171"/>
                    </a:lnTo>
                    <a:lnTo>
                      <a:pt x="164" y="171"/>
                    </a:lnTo>
                    <a:lnTo>
                      <a:pt x="163" y="171"/>
                    </a:lnTo>
                    <a:lnTo>
                      <a:pt x="164" y="171"/>
                    </a:lnTo>
                    <a:lnTo>
                      <a:pt x="164" y="172"/>
                    </a:lnTo>
                    <a:lnTo>
                      <a:pt x="164" y="173"/>
                    </a:lnTo>
                    <a:lnTo>
                      <a:pt x="164" y="174"/>
                    </a:lnTo>
                    <a:lnTo>
                      <a:pt x="164" y="176"/>
                    </a:lnTo>
                    <a:lnTo>
                      <a:pt x="164" y="177"/>
                    </a:lnTo>
                    <a:lnTo>
                      <a:pt x="164" y="178"/>
                    </a:lnTo>
                    <a:lnTo>
                      <a:pt x="165" y="178"/>
                    </a:lnTo>
                    <a:lnTo>
                      <a:pt x="165" y="179"/>
                    </a:lnTo>
                    <a:lnTo>
                      <a:pt x="166" y="179"/>
                    </a:lnTo>
                    <a:lnTo>
                      <a:pt x="166" y="180"/>
                    </a:lnTo>
                    <a:lnTo>
                      <a:pt x="167" y="180"/>
                    </a:lnTo>
                    <a:lnTo>
                      <a:pt x="167" y="181"/>
                    </a:lnTo>
                    <a:lnTo>
                      <a:pt x="168" y="181"/>
                    </a:lnTo>
                    <a:lnTo>
                      <a:pt x="168" y="182"/>
                    </a:lnTo>
                    <a:lnTo>
                      <a:pt x="169" y="182"/>
                    </a:lnTo>
                    <a:lnTo>
                      <a:pt x="170" y="183"/>
                    </a:lnTo>
                    <a:lnTo>
                      <a:pt x="171" y="184"/>
                    </a:lnTo>
                    <a:lnTo>
                      <a:pt x="172" y="184"/>
                    </a:lnTo>
                    <a:lnTo>
                      <a:pt x="172" y="185"/>
                    </a:lnTo>
                    <a:lnTo>
                      <a:pt x="174" y="185"/>
                    </a:lnTo>
                    <a:lnTo>
                      <a:pt x="175" y="186"/>
                    </a:lnTo>
                    <a:lnTo>
                      <a:pt x="176" y="186"/>
                    </a:lnTo>
                    <a:lnTo>
                      <a:pt x="176" y="187"/>
                    </a:lnTo>
                    <a:lnTo>
                      <a:pt x="177" y="187"/>
                    </a:lnTo>
                    <a:lnTo>
                      <a:pt x="177" y="189"/>
                    </a:lnTo>
                    <a:lnTo>
                      <a:pt x="178" y="189"/>
                    </a:lnTo>
                    <a:lnTo>
                      <a:pt x="178" y="190"/>
                    </a:lnTo>
                    <a:lnTo>
                      <a:pt x="178" y="191"/>
                    </a:lnTo>
                    <a:lnTo>
                      <a:pt x="177" y="191"/>
                    </a:lnTo>
                    <a:lnTo>
                      <a:pt x="178" y="191"/>
                    </a:lnTo>
                    <a:lnTo>
                      <a:pt x="178" y="190"/>
                    </a:lnTo>
                    <a:lnTo>
                      <a:pt x="179" y="190"/>
                    </a:lnTo>
                    <a:lnTo>
                      <a:pt x="180" y="191"/>
                    </a:lnTo>
                    <a:lnTo>
                      <a:pt x="180" y="192"/>
                    </a:lnTo>
                    <a:lnTo>
                      <a:pt x="181" y="192"/>
                    </a:lnTo>
                    <a:lnTo>
                      <a:pt x="181" y="193"/>
                    </a:lnTo>
                    <a:lnTo>
                      <a:pt x="182" y="194"/>
                    </a:lnTo>
                    <a:lnTo>
                      <a:pt x="182" y="195"/>
                    </a:lnTo>
                    <a:lnTo>
                      <a:pt x="182" y="196"/>
                    </a:lnTo>
                    <a:lnTo>
                      <a:pt x="183" y="197"/>
                    </a:lnTo>
                    <a:lnTo>
                      <a:pt x="184" y="197"/>
                    </a:lnTo>
                    <a:lnTo>
                      <a:pt x="184" y="198"/>
                    </a:lnTo>
                    <a:lnTo>
                      <a:pt x="185" y="198"/>
                    </a:lnTo>
                    <a:lnTo>
                      <a:pt x="187" y="199"/>
                    </a:lnTo>
                    <a:lnTo>
                      <a:pt x="188" y="199"/>
                    </a:lnTo>
                    <a:lnTo>
                      <a:pt x="188" y="200"/>
                    </a:lnTo>
                    <a:lnTo>
                      <a:pt x="189" y="202"/>
                    </a:lnTo>
                    <a:lnTo>
                      <a:pt x="190" y="202"/>
                    </a:lnTo>
                    <a:lnTo>
                      <a:pt x="191" y="203"/>
                    </a:lnTo>
                    <a:lnTo>
                      <a:pt x="192" y="203"/>
                    </a:lnTo>
                    <a:lnTo>
                      <a:pt x="193" y="204"/>
                    </a:lnTo>
                    <a:lnTo>
                      <a:pt x="194" y="204"/>
                    </a:lnTo>
                    <a:lnTo>
                      <a:pt x="195" y="205"/>
                    </a:lnTo>
                    <a:lnTo>
                      <a:pt x="196" y="205"/>
                    </a:lnTo>
                    <a:lnTo>
                      <a:pt x="196" y="206"/>
                    </a:lnTo>
                    <a:lnTo>
                      <a:pt x="197" y="205"/>
                    </a:lnTo>
                    <a:lnTo>
                      <a:pt x="197" y="206"/>
                    </a:lnTo>
                    <a:lnTo>
                      <a:pt x="198" y="206"/>
                    </a:lnTo>
                    <a:lnTo>
                      <a:pt x="200" y="206"/>
                    </a:lnTo>
                    <a:lnTo>
                      <a:pt x="201" y="206"/>
                    </a:lnTo>
                    <a:lnTo>
                      <a:pt x="202" y="206"/>
                    </a:lnTo>
                    <a:lnTo>
                      <a:pt x="202" y="207"/>
                    </a:lnTo>
                    <a:lnTo>
                      <a:pt x="203" y="207"/>
                    </a:lnTo>
                    <a:lnTo>
                      <a:pt x="204" y="207"/>
                    </a:lnTo>
                    <a:lnTo>
                      <a:pt x="205" y="207"/>
                    </a:lnTo>
                    <a:lnTo>
                      <a:pt x="205" y="206"/>
                    </a:lnTo>
                    <a:lnTo>
                      <a:pt x="205" y="207"/>
                    </a:lnTo>
                    <a:lnTo>
                      <a:pt x="206" y="207"/>
                    </a:lnTo>
                    <a:lnTo>
                      <a:pt x="207" y="207"/>
                    </a:lnTo>
                    <a:lnTo>
                      <a:pt x="207" y="206"/>
                    </a:lnTo>
                    <a:lnTo>
                      <a:pt x="208" y="206"/>
                    </a:lnTo>
                    <a:lnTo>
                      <a:pt x="209" y="206"/>
                    </a:lnTo>
                    <a:lnTo>
                      <a:pt x="209" y="207"/>
                    </a:lnTo>
                    <a:lnTo>
                      <a:pt x="209" y="208"/>
                    </a:lnTo>
                    <a:lnTo>
                      <a:pt x="210" y="208"/>
                    </a:lnTo>
                    <a:lnTo>
                      <a:pt x="211" y="208"/>
                    </a:lnTo>
                    <a:lnTo>
                      <a:pt x="211" y="209"/>
                    </a:lnTo>
                    <a:lnTo>
                      <a:pt x="213" y="209"/>
                    </a:lnTo>
                    <a:lnTo>
                      <a:pt x="214" y="209"/>
                    </a:lnTo>
                    <a:lnTo>
                      <a:pt x="215" y="209"/>
                    </a:lnTo>
                    <a:lnTo>
                      <a:pt x="216" y="209"/>
                    </a:lnTo>
                    <a:lnTo>
                      <a:pt x="216" y="210"/>
                    </a:lnTo>
                    <a:lnTo>
                      <a:pt x="217" y="210"/>
                    </a:lnTo>
                    <a:lnTo>
                      <a:pt x="218" y="210"/>
                    </a:lnTo>
                    <a:lnTo>
                      <a:pt x="219" y="210"/>
                    </a:lnTo>
                    <a:lnTo>
                      <a:pt x="220" y="210"/>
                    </a:lnTo>
                    <a:lnTo>
                      <a:pt x="221" y="210"/>
                    </a:lnTo>
                    <a:lnTo>
                      <a:pt x="221" y="209"/>
                    </a:lnTo>
                    <a:lnTo>
                      <a:pt x="222" y="209"/>
                    </a:lnTo>
                    <a:lnTo>
                      <a:pt x="222" y="210"/>
                    </a:lnTo>
                    <a:lnTo>
                      <a:pt x="223" y="210"/>
                    </a:lnTo>
                    <a:lnTo>
                      <a:pt x="224" y="210"/>
                    </a:lnTo>
                    <a:lnTo>
                      <a:pt x="224" y="209"/>
                    </a:lnTo>
                    <a:lnTo>
                      <a:pt x="226" y="209"/>
                    </a:lnTo>
                    <a:lnTo>
                      <a:pt x="226" y="210"/>
                    </a:lnTo>
                    <a:lnTo>
                      <a:pt x="227" y="209"/>
                    </a:lnTo>
                    <a:lnTo>
                      <a:pt x="228" y="209"/>
                    </a:lnTo>
                    <a:lnTo>
                      <a:pt x="229" y="209"/>
                    </a:lnTo>
                    <a:lnTo>
                      <a:pt x="230" y="209"/>
                    </a:lnTo>
                    <a:lnTo>
                      <a:pt x="231" y="209"/>
                    </a:lnTo>
                    <a:lnTo>
                      <a:pt x="232" y="209"/>
                    </a:lnTo>
                    <a:lnTo>
                      <a:pt x="232" y="208"/>
                    </a:lnTo>
                    <a:lnTo>
                      <a:pt x="233" y="208"/>
                    </a:lnTo>
                    <a:lnTo>
                      <a:pt x="234" y="208"/>
                    </a:lnTo>
                    <a:lnTo>
                      <a:pt x="235" y="208"/>
                    </a:lnTo>
                    <a:lnTo>
                      <a:pt x="236" y="207"/>
                    </a:lnTo>
                    <a:lnTo>
                      <a:pt x="238" y="207"/>
                    </a:lnTo>
                    <a:lnTo>
                      <a:pt x="239" y="207"/>
                    </a:lnTo>
                    <a:lnTo>
                      <a:pt x="240" y="206"/>
                    </a:lnTo>
                    <a:lnTo>
                      <a:pt x="241" y="206"/>
                    </a:lnTo>
                    <a:lnTo>
                      <a:pt x="242" y="206"/>
                    </a:lnTo>
                    <a:lnTo>
                      <a:pt x="243" y="205"/>
                    </a:lnTo>
                    <a:lnTo>
                      <a:pt x="244" y="205"/>
                    </a:lnTo>
                    <a:lnTo>
                      <a:pt x="244" y="204"/>
                    </a:lnTo>
                    <a:lnTo>
                      <a:pt x="245" y="204"/>
                    </a:lnTo>
                    <a:lnTo>
                      <a:pt x="246" y="204"/>
                    </a:lnTo>
                    <a:lnTo>
                      <a:pt x="247" y="203"/>
                    </a:lnTo>
                    <a:lnTo>
                      <a:pt x="248" y="203"/>
                    </a:lnTo>
                    <a:lnTo>
                      <a:pt x="248" y="202"/>
                    </a:lnTo>
                    <a:lnTo>
                      <a:pt x="249" y="202"/>
                    </a:lnTo>
                    <a:lnTo>
                      <a:pt x="251" y="202"/>
                    </a:lnTo>
                    <a:lnTo>
                      <a:pt x="251" y="200"/>
                    </a:lnTo>
                    <a:lnTo>
                      <a:pt x="252" y="199"/>
                    </a:lnTo>
                    <a:lnTo>
                      <a:pt x="253" y="199"/>
                    </a:lnTo>
                    <a:lnTo>
                      <a:pt x="253" y="198"/>
                    </a:lnTo>
                    <a:lnTo>
                      <a:pt x="254" y="198"/>
                    </a:lnTo>
                    <a:lnTo>
                      <a:pt x="255" y="197"/>
                    </a:lnTo>
                    <a:lnTo>
                      <a:pt x="256" y="197"/>
                    </a:lnTo>
                    <a:lnTo>
                      <a:pt x="256" y="196"/>
                    </a:lnTo>
                    <a:lnTo>
                      <a:pt x="257" y="195"/>
                    </a:lnTo>
                    <a:lnTo>
                      <a:pt x="257" y="194"/>
                    </a:lnTo>
                    <a:lnTo>
                      <a:pt x="257" y="193"/>
                    </a:lnTo>
                    <a:lnTo>
                      <a:pt x="258" y="193"/>
                    </a:lnTo>
                    <a:lnTo>
                      <a:pt x="258" y="192"/>
                    </a:lnTo>
                    <a:lnTo>
                      <a:pt x="258" y="191"/>
                    </a:lnTo>
                    <a:lnTo>
                      <a:pt x="258" y="190"/>
                    </a:lnTo>
                    <a:lnTo>
                      <a:pt x="259" y="190"/>
                    </a:lnTo>
                    <a:lnTo>
                      <a:pt x="259" y="189"/>
                    </a:lnTo>
                    <a:lnTo>
                      <a:pt x="259" y="187"/>
                    </a:lnTo>
                    <a:lnTo>
                      <a:pt x="259" y="186"/>
                    </a:lnTo>
                    <a:lnTo>
                      <a:pt x="258" y="186"/>
                    </a:lnTo>
                    <a:lnTo>
                      <a:pt x="258" y="185"/>
                    </a:lnTo>
                    <a:lnTo>
                      <a:pt x="258" y="184"/>
                    </a:lnTo>
                    <a:lnTo>
                      <a:pt x="258" y="183"/>
                    </a:lnTo>
                    <a:lnTo>
                      <a:pt x="258" y="182"/>
                    </a:lnTo>
                    <a:lnTo>
                      <a:pt x="258" y="181"/>
                    </a:lnTo>
                    <a:lnTo>
                      <a:pt x="258" y="180"/>
                    </a:lnTo>
                    <a:lnTo>
                      <a:pt x="258" y="179"/>
                    </a:lnTo>
                    <a:lnTo>
                      <a:pt x="258" y="178"/>
                    </a:lnTo>
                    <a:lnTo>
                      <a:pt x="258" y="177"/>
                    </a:lnTo>
                    <a:lnTo>
                      <a:pt x="258" y="176"/>
                    </a:lnTo>
                    <a:lnTo>
                      <a:pt x="259" y="176"/>
                    </a:lnTo>
                    <a:lnTo>
                      <a:pt x="258" y="176"/>
                    </a:lnTo>
                    <a:lnTo>
                      <a:pt x="258" y="177"/>
                    </a:lnTo>
                    <a:lnTo>
                      <a:pt x="258" y="176"/>
                    </a:lnTo>
                    <a:lnTo>
                      <a:pt x="258" y="174"/>
                    </a:lnTo>
                    <a:lnTo>
                      <a:pt x="257" y="174"/>
                    </a:lnTo>
                    <a:lnTo>
                      <a:pt x="258" y="173"/>
                    </a:lnTo>
                    <a:lnTo>
                      <a:pt x="257" y="173"/>
                    </a:lnTo>
                    <a:lnTo>
                      <a:pt x="257" y="172"/>
                    </a:lnTo>
                    <a:lnTo>
                      <a:pt x="257" y="171"/>
                    </a:lnTo>
                    <a:lnTo>
                      <a:pt x="257" y="170"/>
                    </a:lnTo>
                    <a:lnTo>
                      <a:pt x="258" y="170"/>
                    </a:lnTo>
                    <a:lnTo>
                      <a:pt x="259" y="169"/>
                    </a:lnTo>
                    <a:lnTo>
                      <a:pt x="259" y="168"/>
                    </a:lnTo>
                    <a:lnTo>
                      <a:pt x="260" y="168"/>
                    </a:lnTo>
                    <a:lnTo>
                      <a:pt x="260" y="167"/>
                    </a:lnTo>
                    <a:lnTo>
                      <a:pt x="261" y="166"/>
                    </a:lnTo>
                    <a:lnTo>
                      <a:pt x="261" y="165"/>
                    </a:lnTo>
                    <a:lnTo>
                      <a:pt x="262" y="165"/>
                    </a:lnTo>
                    <a:lnTo>
                      <a:pt x="262" y="164"/>
                    </a:lnTo>
                    <a:lnTo>
                      <a:pt x="264" y="164"/>
                    </a:lnTo>
                    <a:lnTo>
                      <a:pt x="264" y="162"/>
                    </a:lnTo>
                    <a:lnTo>
                      <a:pt x="264" y="161"/>
                    </a:lnTo>
                    <a:lnTo>
                      <a:pt x="265" y="161"/>
                    </a:lnTo>
                    <a:lnTo>
                      <a:pt x="265" y="160"/>
                    </a:lnTo>
                    <a:lnTo>
                      <a:pt x="266" y="159"/>
                    </a:lnTo>
                    <a:lnTo>
                      <a:pt x="265" y="160"/>
                    </a:lnTo>
                    <a:lnTo>
                      <a:pt x="265" y="159"/>
                    </a:lnTo>
                    <a:lnTo>
                      <a:pt x="265" y="158"/>
                    </a:lnTo>
                    <a:lnTo>
                      <a:pt x="266" y="158"/>
                    </a:lnTo>
                    <a:lnTo>
                      <a:pt x="266" y="157"/>
                    </a:lnTo>
                    <a:lnTo>
                      <a:pt x="266" y="156"/>
                    </a:lnTo>
                    <a:lnTo>
                      <a:pt x="265" y="156"/>
                    </a:lnTo>
                    <a:lnTo>
                      <a:pt x="266" y="155"/>
                    </a:lnTo>
                    <a:lnTo>
                      <a:pt x="266" y="154"/>
                    </a:lnTo>
                    <a:lnTo>
                      <a:pt x="265" y="154"/>
                    </a:lnTo>
                    <a:lnTo>
                      <a:pt x="266" y="154"/>
                    </a:lnTo>
                    <a:lnTo>
                      <a:pt x="265" y="153"/>
                    </a:lnTo>
                    <a:lnTo>
                      <a:pt x="266" y="153"/>
                    </a:lnTo>
                    <a:lnTo>
                      <a:pt x="266" y="152"/>
                    </a:lnTo>
                    <a:lnTo>
                      <a:pt x="265" y="152"/>
                    </a:lnTo>
                    <a:lnTo>
                      <a:pt x="265" y="151"/>
                    </a:lnTo>
                    <a:lnTo>
                      <a:pt x="265" y="152"/>
                    </a:lnTo>
                    <a:lnTo>
                      <a:pt x="264" y="152"/>
                    </a:lnTo>
                    <a:lnTo>
                      <a:pt x="264" y="151"/>
                    </a:lnTo>
                    <a:lnTo>
                      <a:pt x="265" y="149"/>
                    </a:lnTo>
                    <a:lnTo>
                      <a:pt x="265" y="148"/>
                    </a:lnTo>
                    <a:lnTo>
                      <a:pt x="266" y="148"/>
                    </a:lnTo>
                    <a:lnTo>
                      <a:pt x="266" y="147"/>
                    </a:lnTo>
                    <a:lnTo>
                      <a:pt x="266" y="146"/>
                    </a:lnTo>
                    <a:lnTo>
                      <a:pt x="266" y="145"/>
                    </a:lnTo>
                    <a:lnTo>
                      <a:pt x="267" y="145"/>
                    </a:lnTo>
                    <a:lnTo>
                      <a:pt x="267" y="144"/>
                    </a:lnTo>
                    <a:lnTo>
                      <a:pt x="268" y="144"/>
                    </a:lnTo>
                    <a:lnTo>
                      <a:pt x="268" y="143"/>
                    </a:lnTo>
                    <a:lnTo>
                      <a:pt x="268" y="144"/>
                    </a:lnTo>
                    <a:lnTo>
                      <a:pt x="268" y="143"/>
                    </a:lnTo>
                    <a:lnTo>
                      <a:pt x="269" y="142"/>
                    </a:lnTo>
                    <a:lnTo>
                      <a:pt x="269" y="141"/>
                    </a:lnTo>
                    <a:lnTo>
                      <a:pt x="270" y="141"/>
                    </a:lnTo>
                    <a:lnTo>
                      <a:pt x="270" y="140"/>
                    </a:lnTo>
                    <a:lnTo>
                      <a:pt x="270" y="141"/>
                    </a:lnTo>
                    <a:lnTo>
                      <a:pt x="270" y="140"/>
                    </a:lnTo>
                    <a:lnTo>
                      <a:pt x="271" y="140"/>
                    </a:lnTo>
                    <a:lnTo>
                      <a:pt x="271" y="139"/>
                    </a:lnTo>
                    <a:lnTo>
                      <a:pt x="272" y="138"/>
                    </a:lnTo>
                    <a:lnTo>
                      <a:pt x="271" y="138"/>
                    </a:lnTo>
                    <a:lnTo>
                      <a:pt x="271" y="136"/>
                    </a:lnTo>
                    <a:lnTo>
                      <a:pt x="271" y="135"/>
                    </a:lnTo>
                    <a:lnTo>
                      <a:pt x="270" y="135"/>
                    </a:lnTo>
                    <a:lnTo>
                      <a:pt x="270" y="134"/>
                    </a:lnTo>
                    <a:lnTo>
                      <a:pt x="271" y="134"/>
                    </a:lnTo>
                    <a:lnTo>
                      <a:pt x="270" y="133"/>
                    </a:lnTo>
                    <a:lnTo>
                      <a:pt x="270" y="132"/>
                    </a:lnTo>
                    <a:lnTo>
                      <a:pt x="270" y="131"/>
                    </a:lnTo>
                    <a:lnTo>
                      <a:pt x="271" y="131"/>
                    </a:lnTo>
                    <a:lnTo>
                      <a:pt x="271" y="130"/>
                    </a:lnTo>
                    <a:lnTo>
                      <a:pt x="270" y="130"/>
                    </a:lnTo>
                    <a:lnTo>
                      <a:pt x="271" y="130"/>
                    </a:lnTo>
                    <a:lnTo>
                      <a:pt x="271" y="129"/>
                    </a:lnTo>
                    <a:lnTo>
                      <a:pt x="270" y="128"/>
                    </a:lnTo>
                    <a:lnTo>
                      <a:pt x="270" y="127"/>
                    </a:lnTo>
                    <a:lnTo>
                      <a:pt x="270" y="126"/>
                    </a:lnTo>
                    <a:lnTo>
                      <a:pt x="269" y="126"/>
                    </a:lnTo>
                    <a:lnTo>
                      <a:pt x="269" y="125"/>
                    </a:lnTo>
                    <a:lnTo>
                      <a:pt x="269" y="123"/>
                    </a:lnTo>
                    <a:lnTo>
                      <a:pt x="268" y="123"/>
                    </a:lnTo>
                    <a:lnTo>
                      <a:pt x="268" y="122"/>
                    </a:lnTo>
                    <a:lnTo>
                      <a:pt x="267" y="121"/>
                    </a:lnTo>
                    <a:lnTo>
                      <a:pt x="266" y="120"/>
                    </a:lnTo>
                    <a:lnTo>
                      <a:pt x="265" y="120"/>
                    </a:lnTo>
                    <a:lnTo>
                      <a:pt x="265" y="119"/>
                    </a:lnTo>
                    <a:lnTo>
                      <a:pt x="265" y="118"/>
                    </a:lnTo>
                    <a:lnTo>
                      <a:pt x="266" y="118"/>
                    </a:lnTo>
                    <a:lnTo>
                      <a:pt x="266" y="117"/>
                    </a:lnTo>
                    <a:lnTo>
                      <a:pt x="267" y="117"/>
                    </a:lnTo>
                    <a:lnTo>
                      <a:pt x="267" y="116"/>
                    </a:lnTo>
                    <a:lnTo>
                      <a:pt x="268" y="116"/>
                    </a:lnTo>
                    <a:lnTo>
                      <a:pt x="268" y="115"/>
                    </a:lnTo>
                    <a:lnTo>
                      <a:pt x="268" y="114"/>
                    </a:lnTo>
                    <a:lnTo>
                      <a:pt x="268" y="115"/>
                    </a:lnTo>
                    <a:lnTo>
                      <a:pt x="269" y="115"/>
                    </a:lnTo>
                    <a:lnTo>
                      <a:pt x="270" y="115"/>
                    </a:lnTo>
                    <a:lnTo>
                      <a:pt x="269" y="115"/>
                    </a:lnTo>
                    <a:lnTo>
                      <a:pt x="270" y="115"/>
                    </a:lnTo>
                    <a:lnTo>
                      <a:pt x="271" y="115"/>
                    </a:lnTo>
                    <a:lnTo>
                      <a:pt x="271" y="116"/>
                    </a:lnTo>
                    <a:lnTo>
                      <a:pt x="272" y="116"/>
                    </a:lnTo>
                    <a:lnTo>
                      <a:pt x="272" y="115"/>
                    </a:lnTo>
                    <a:lnTo>
                      <a:pt x="273" y="115"/>
                    </a:lnTo>
                    <a:lnTo>
                      <a:pt x="273" y="114"/>
                    </a:lnTo>
                    <a:lnTo>
                      <a:pt x="274" y="114"/>
                    </a:lnTo>
                    <a:lnTo>
                      <a:pt x="274" y="115"/>
                    </a:lnTo>
                    <a:lnTo>
                      <a:pt x="275" y="114"/>
                    </a:lnTo>
                    <a:lnTo>
                      <a:pt x="275" y="115"/>
                    </a:lnTo>
                    <a:lnTo>
                      <a:pt x="275" y="114"/>
                    </a:lnTo>
                    <a:lnTo>
                      <a:pt x="277" y="114"/>
                    </a:lnTo>
                    <a:lnTo>
                      <a:pt x="277" y="115"/>
                    </a:lnTo>
                    <a:lnTo>
                      <a:pt x="277" y="114"/>
                    </a:lnTo>
                    <a:lnTo>
                      <a:pt x="277" y="113"/>
                    </a:lnTo>
                    <a:lnTo>
                      <a:pt x="278" y="113"/>
                    </a:lnTo>
                    <a:lnTo>
                      <a:pt x="279" y="113"/>
                    </a:lnTo>
                    <a:lnTo>
                      <a:pt x="279" y="114"/>
                    </a:lnTo>
                    <a:lnTo>
                      <a:pt x="280" y="114"/>
                    </a:lnTo>
                    <a:lnTo>
                      <a:pt x="280" y="113"/>
                    </a:lnTo>
                    <a:lnTo>
                      <a:pt x="280" y="112"/>
                    </a:lnTo>
                    <a:lnTo>
                      <a:pt x="281" y="112"/>
                    </a:lnTo>
                    <a:lnTo>
                      <a:pt x="281" y="110"/>
                    </a:lnTo>
                    <a:lnTo>
                      <a:pt x="281" y="109"/>
                    </a:lnTo>
                    <a:lnTo>
                      <a:pt x="282" y="109"/>
                    </a:lnTo>
                    <a:lnTo>
                      <a:pt x="282" y="108"/>
                    </a:lnTo>
                    <a:lnTo>
                      <a:pt x="283" y="108"/>
                    </a:lnTo>
                    <a:lnTo>
                      <a:pt x="284" y="107"/>
                    </a:lnTo>
                    <a:lnTo>
                      <a:pt x="285" y="107"/>
                    </a:lnTo>
                    <a:lnTo>
                      <a:pt x="286" y="107"/>
                    </a:lnTo>
                    <a:lnTo>
                      <a:pt x="286" y="106"/>
                    </a:lnTo>
                    <a:lnTo>
                      <a:pt x="287" y="106"/>
                    </a:lnTo>
                    <a:lnTo>
                      <a:pt x="287" y="105"/>
                    </a:lnTo>
                    <a:lnTo>
                      <a:pt x="287" y="106"/>
                    </a:lnTo>
                    <a:lnTo>
                      <a:pt x="288" y="105"/>
                    </a:lnTo>
                    <a:lnTo>
                      <a:pt x="288" y="104"/>
                    </a:lnTo>
                    <a:lnTo>
                      <a:pt x="290" y="104"/>
                    </a:lnTo>
                    <a:lnTo>
                      <a:pt x="291" y="104"/>
                    </a:lnTo>
                    <a:lnTo>
                      <a:pt x="292" y="103"/>
                    </a:lnTo>
                    <a:lnTo>
                      <a:pt x="293" y="103"/>
                    </a:lnTo>
                    <a:lnTo>
                      <a:pt x="294" y="103"/>
                    </a:lnTo>
                    <a:lnTo>
                      <a:pt x="293" y="102"/>
                    </a:lnTo>
                    <a:lnTo>
                      <a:pt x="293" y="101"/>
                    </a:lnTo>
                    <a:lnTo>
                      <a:pt x="294" y="101"/>
                    </a:lnTo>
                    <a:lnTo>
                      <a:pt x="295" y="101"/>
                    </a:lnTo>
                    <a:lnTo>
                      <a:pt x="296" y="101"/>
                    </a:lnTo>
                    <a:lnTo>
                      <a:pt x="296" y="100"/>
                    </a:lnTo>
                    <a:lnTo>
                      <a:pt x="297" y="100"/>
                    </a:lnTo>
                    <a:lnTo>
                      <a:pt x="298" y="100"/>
                    </a:lnTo>
                    <a:lnTo>
                      <a:pt x="298" y="99"/>
                    </a:lnTo>
                    <a:lnTo>
                      <a:pt x="299" y="99"/>
                    </a:lnTo>
                    <a:lnTo>
                      <a:pt x="299" y="97"/>
                    </a:lnTo>
                    <a:lnTo>
                      <a:pt x="300" y="97"/>
                    </a:lnTo>
                    <a:lnTo>
                      <a:pt x="301" y="97"/>
                    </a:lnTo>
                    <a:lnTo>
                      <a:pt x="301" y="96"/>
                    </a:lnTo>
                    <a:lnTo>
                      <a:pt x="303" y="96"/>
                    </a:lnTo>
                    <a:lnTo>
                      <a:pt x="304" y="96"/>
                    </a:lnTo>
                    <a:lnTo>
                      <a:pt x="304" y="95"/>
                    </a:lnTo>
                    <a:lnTo>
                      <a:pt x="305" y="95"/>
                    </a:lnTo>
                    <a:lnTo>
                      <a:pt x="305" y="94"/>
                    </a:lnTo>
                    <a:lnTo>
                      <a:pt x="306" y="94"/>
                    </a:lnTo>
                    <a:lnTo>
                      <a:pt x="306" y="95"/>
                    </a:lnTo>
                    <a:lnTo>
                      <a:pt x="306" y="94"/>
                    </a:lnTo>
                    <a:lnTo>
                      <a:pt x="307" y="94"/>
                    </a:lnTo>
                    <a:lnTo>
                      <a:pt x="307" y="93"/>
                    </a:lnTo>
                    <a:lnTo>
                      <a:pt x="308" y="94"/>
                    </a:lnTo>
                    <a:lnTo>
                      <a:pt x="308" y="93"/>
                    </a:lnTo>
                    <a:lnTo>
                      <a:pt x="309" y="93"/>
                    </a:lnTo>
                    <a:lnTo>
                      <a:pt x="309" y="92"/>
                    </a:lnTo>
                    <a:lnTo>
                      <a:pt x="310" y="93"/>
                    </a:lnTo>
                    <a:lnTo>
                      <a:pt x="310" y="92"/>
                    </a:lnTo>
                    <a:lnTo>
                      <a:pt x="310" y="91"/>
                    </a:lnTo>
                    <a:lnTo>
                      <a:pt x="311" y="91"/>
                    </a:lnTo>
                    <a:lnTo>
                      <a:pt x="311" y="90"/>
                    </a:lnTo>
                    <a:lnTo>
                      <a:pt x="312" y="90"/>
                    </a:lnTo>
                    <a:lnTo>
                      <a:pt x="312" y="89"/>
                    </a:lnTo>
                    <a:lnTo>
                      <a:pt x="313" y="90"/>
                    </a:lnTo>
                    <a:lnTo>
                      <a:pt x="313" y="89"/>
                    </a:lnTo>
                    <a:lnTo>
                      <a:pt x="313" y="88"/>
                    </a:lnTo>
                    <a:lnTo>
                      <a:pt x="314" y="88"/>
                    </a:lnTo>
                    <a:lnTo>
                      <a:pt x="316" y="88"/>
                    </a:lnTo>
                    <a:lnTo>
                      <a:pt x="316" y="87"/>
                    </a:lnTo>
                    <a:lnTo>
                      <a:pt x="317" y="87"/>
                    </a:lnTo>
                    <a:lnTo>
                      <a:pt x="318" y="87"/>
                    </a:lnTo>
                    <a:lnTo>
                      <a:pt x="319" y="86"/>
                    </a:lnTo>
                    <a:lnTo>
                      <a:pt x="320" y="86"/>
                    </a:lnTo>
                    <a:lnTo>
                      <a:pt x="320" y="87"/>
                    </a:lnTo>
                    <a:lnTo>
                      <a:pt x="320" y="86"/>
                    </a:lnTo>
                    <a:lnTo>
                      <a:pt x="320" y="84"/>
                    </a:lnTo>
                    <a:lnTo>
                      <a:pt x="321" y="83"/>
                    </a:lnTo>
                    <a:lnTo>
                      <a:pt x="322" y="83"/>
                    </a:lnTo>
                    <a:lnTo>
                      <a:pt x="322" y="82"/>
                    </a:lnTo>
                    <a:lnTo>
                      <a:pt x="321" y="83"/>
                    </a:lnTo>
                    <a:lnTo>
                      <a:pt x="321" y="82"/>
                    </a:lnTo>
                    <a:lnTo>
                      <a:pt x="320" y="82"/>
                    </a:lnTo>
                    <a:lnTo>
                      <a:pt x="321" y="82"/>
                    </a:lnTo>
                    <a:lnTo>
                      <a:pt x="321" y="81"/>
                    </a:lnTo>
                    <a:lnTo>
                      <a:pt x="320" y="81"/>
                    </a:lnTo>
                    <a:lnTo>
                      <a:pt x="320" y="80"/>
                    </a:lnTo>
                    <a:lnTo>
                      <a:pt x="319" y="80"/>
                    </a:lnTo>
                    <a:lnTo>
                      <a:pt x="319" y="79"/>
                    </a:lnTo>
                    <a:lnTo>
                      <a:pt x="318" y="78"/>
                    </a:lnTo>
                    <a:lnTo>
                      <a:pt x="318" y="77"/>
                    </a:lnTo>
                    <a:lnTo>
                      <a:pt x="319" y="76"/>
                    </a:lnTo>
                    <a:lnTo>
                      <a:pt x="318" y="76"/>
                    </a:lnTo>
                    <a:lnTo>
                      <a:pt x="318" y="75"/>
                    </a:lnTo>
                    <a:lnTo>
                      <a:pt x="318" y="74"/>
                    </a:lnTo>
                    <a:lnTo>
                      <a:pt x="317" y="72"/>
                    </a:lnTo>
                    <a:lnTo>
                      <a:pt x="318" y="72"/>
                    </a:lnTo>
                    <a:lnTo>
                      <a:pt x="317" y="72"/>
                    </a:lnTo>
                    <a:lnTo>
                      <a:pt x="317" y="71"/>
                    </a:lnTo>
                    <a:lnTo>
                      <a:pt x="317" y="70"/>
                    </a:lnTo>
                    <a:lnTo>
                      <a:pt x="316" y="69"/>
                    </a:lnTo>
                    <a:lnTo>
                      <a:pt x="317" y="69"/>
                    </a:lnTo>
                    <a:lnTo>
                      <a:pt x="318" y="68"/>
                    </a:lnTo>
                    <a:lnTo>
                      <a:pt x="318" y="67"/>
                    </a:lnTo>
                    <a:lnTo>
                      <a:pt x="319" y="65"/>
                    </a:lnTo>
                    <a:lnTo>
                      <a:pt x="319" y="64"/>
                    </a:lnTo>
                    <a:lnTo>
                      <a:pt x="320" y="64"/>
                    </a:lnTo>
                    <a:lnTo>
                      <a:pt x="319" y="63"/>
                    </a:lnTo>
                    <a:lnTo>
                      <a:pt x="319" y="62"/>
                    </a:lnTo>
                    <a:lnTo>
                      <a:pt x="320" y="61"/>
                    </a:lnTo>
                    <a:lnTo>
                      <a:pt x="321" y="61"/>
                    </a:lnTo>
                    <a:lnTo>
                      <a:pt x="321" y="59"/>
                    </a:lnTo>
                    <a:lnTo>
                      <a:pt x="321" y="61"/>
                    </a:lnTo>
                    <a:lnTo>
                      <a:pt x="322" y="61"/>
                    </a:lnTo>
                    <a:lnTo>
                      <a:pt x="322" y="59"/>
                    </a:lnTo>
                    <a:lnTo>
                      <a:pt x="322" y="61"/>
                    </a:lnTo>
                    <a:lnTo>
                      <a:pt x="322" y="59"/>
                    </a:lnTo>
                    <a:lnTo>
                      <a:pt x="323" y="58"/>
                    </a:lnTo>
                    <a:lnTo>
                      <a:pt x="322" y="58"/>
                    </a:lnTo>
                    <a:lnTo>
                      <a:pt x="323" y="58"/>
                    </a:lnTo>
                    <a:lnTo>
                      <a:pt x="323" y="57"/>
                    </a:lnTo>
                    <a:lnTo>
                      <a:pt x="323" y="56"/>
                    </a:lnTo>
                    <a:lnTo>
                      <a:pt x="324" y="56"/>
                    </a:lnTo>
                    <a:lnTo>
                      <a:pt x="324" y="57"/>
                    </a:lnTo>
                    <a:lnTo>
                      <a:pt x="325" y="57"/>
                    </a:lnTo>
                    <a:lnTo>
                      <a:pt x="324" y="57"/>
                    </a:lnTo>
                    <a:lnTo>
                      <a:pt x="324" y="58"/>
                    </a:lnTo>
                    <a:lnTo>
                      <a:pt x="325" y="58"/>
                    </a:lnTo>
                    <a:lnTo>
                      <a:pt x="326" y="59"/>
                    </a:lnTo>
                    <a:lnTo>
                      <a:pt x="326" y="61"/>
                    </a:lnTo>
                    <a:lnTo>
                      <a:pt x="327" y="61"/>
                    </a:lnTo>
                    <a:lnTo>
                      <a:pt x="327" y="62"/>
                    </a:lnTo>
                    <a:lnTo>
                      <a:pt x="329" y="62"/>
                    </a:lnTo>
                    <a:lnTo>
                      <a:pt x="330" y="62"/>
                    </a:lnTo>
                    <a:lnTo>
                      <a:pt x="331" y="62"/>
                    </a:lnTo>
                    <a:lnTo>
                      <a:pt x="332" y="63"/>
                    </a:lnTo>
                    <a:lnTo>
                      <a:pt x="333" y="64"/>
                    </a:lnTo>
                    <a:lnTo>
                      <a:pt x="334" y="64"/>
                    </a:lnTo>
                    <a:lnTo>
                      <a:pt x="335" y="65"/>
                    </a:lnTo>
                    <a:lnTo>
                      <a:pt x="336" y="65"/>
                    </a:lnTo>
                    <a:lnTo>
                      <a:pt x="336" y="66"/>
                    </a:lnTo>
                    <a:lnTo>
                      <a:pt x="337" y="66"/>
                    </a:lnTo>
                    <a:lnTo>
                      <a:pt x="338" y="67"/>
                    </a:lnTo>
                    <a:lnTo>
                      <a:pt x="338" y="68"/>
                    </a:lnTo>
                    <a:lnTo>
                      <a:pt x="339" y="68"/>
                    </a:lnTo>
                    <a:lnTo>
                      <a:pt x="339" y="69"/>
                    </a:lnTo>
                    <a:lnTo>
                      <a:pt x="340" y="69"/>
                    </a:lnTo>
                    <a:lnTo>
                      <a:pt x="340" y="70"/>
                    </a:lnTo>
                    <a:lnTo>
                      <a:pt x="342" y="70"/>
                    </a:lnTo>
                    <a:lnTo>
                      <a:pt x="342" y="71"/>
                    </a:lnTo>
                    <a:lnTo>
                      <a:pt x="342" y="70"/>
                    </a:lnTo>
                    <a:lnTo>
                      <a:pt x="343" y="69"/>
                    </a:lnTo>
                    <a:lnTo>
                      <a:pt x="344" y="69"/>
                    </a:lnTo>
                    <a:lnTo>
                      <a:pt x="345" y="69"/>
                    </a:lnTo>
                    <a:lnTo>
                      <a:pt x="346" y="69"/>
                    </a:lnTo>
                    <a:lnTo>
                      <a:pt x="347" y="69"/>
                    </a:lnTo>
                    <a:lnTo>
                      <a:pt x="348" y="69"/>
                    </a:lnTo>
                    <a:lnTo>
                      <a:pt x="348" y="70"/>
                    </a:lnTo>
                    <a:lnTo>
                      <a:pt x="349" y="70"/>
                    </a:lnTo>
                    <a:lnTo>
                      <a:pt x="350" y="71"/>
                    </a:lnTo>
                    <a:lnTo>
                      <a:pt x="351" y="72"/>
                    </a:lnTo>
                    <a:lnTo>
                      <a:pt x="352" y="74"/>
                    </a:lnTo>
                    <a:lnTo>
                      <a:pt x="351" y="74"/>
                    </a:lnTo>
                    <a:lnTo>
                      <a:pt x="350" y="74"/>
                    </a:lnTo>
                    <a:lnTo>
                      <a:pt x="351" y="74"/>
                    </a:lnTo>
                    <a:lnTo>
                      <a:pt x="350" y="75"/>
                    </a:lnTo>
                    <a:lnTo>
                      <a:pt x="350" y="76"/>
                    </a:lnTo>
                    <a:lnTo>
                      <a:pt x="351" y="76"/>
                    </a:lnTo>
                    <a:lnTo>
                      <a:pt x="352" y="76"/>
                    </a:lnTo>
                    <a:lnTo>
                      <a:pt x="353" y="76"/>
                    </a:lnTo>
                    <a:lnTo>
                      <a:pt x="353" y="75"/>
                    </a:lnTo>
                    <a:lnTo>
                      <a:pt x="353" y="74"/>
                    </a:lnTo>
                    <a:lnTo>
                      <a:pt x="355" y="75"/>
                    </a:lnTo>
                    <a:lnTo>
                      <a:pt x="356" y="75"/>
                    </a:lnTo>
                    <a:lnTo>
                      <a:pt x="356" y="76"/>
                    </a:lnTo>
                    <a:lnTo>
                      <a:pt x="357" y="76"/>
                    </a:lnTo>
                    <a:lnTo>
                      <a:pt x="356" y="76"/>
                    </a:lnTo>
                    <a:lnTo>
                      <a:pt x="355" y="76"/>
                    </a:lnTo>
                    <a:lnTo>
                      <a:pt x="353" y="77"/>
                    </a:lnTo>
                    <a:lnTo>
                      <a:pt x="352" y="77"/>
                    </a:lnTo>
                    <a:lnTo>
                      <a:pt x="352" y="78"/>
                    </a:lnTo>
                    <a:lnTo>
                      <a:pt x="351" y="78"/>
                    </a:lnTo>
                    <a:lnTo>
                      <a:pt x="351" y="79"/>
                    </a:lnTo>
                    <a:lnTo>
                      <a:pt x="350" y="79"/>
                    </a:lnTo>
                    <a:lnTo>
                      <a:pt x="349" y="79"/>
                    </a:lnTo>
                    <a:lnTo>
                      <a:pt x="349" y="80"/>
                    </a:lnTo>
                    <a:lnTo>
                      <a:pt x="349" y="81"/>
                    </a:lnTo>
                    <a:lnTo>
                      <a:pt x="349" y="82"/>
                    </a:lnTo>
                    <a:lnTo>
                      <a:pt x="349" y="83"/>
                    </a:lnTo>
                    <a:lnTo>
                      <a:pt x="350" y="83"/>
                    </a:lnTo>
                    <a:lnTo>
                      <a:pt x="350" y="84"/>
                    </a:lnTo>
                    <a:lnTo>
                      <a:pt x="350" y="86"/>
                    </a:lnTo>
                    <a:lnTo>
                      <a:pt x="351" y="86"/>
                    </a:lnTo>
                    <a:lnTo>
                      <a:pt x="353" y="87"/>
                    </a:lnTo>
                    <a:lnTo>
                      <a:pt x="353" y="88"/>
                    </a:lnTo>
                    <a:lnTo>
                      <a:pt x="353" y="89"/>
                    </a:lnTo>
                    <a:lnTo>
                      <a:pt x="355" y="89"/>
                    </a:lnTo>
                    <a:lnTo>
                      <a:pt x="355" y="88"/>
                    </a:lnTo>
                    <a:lnTo>
                      <a:pt x="355" y="89"/>
                    </a:lnTo>
                    <a:lnTo>
                      <a:pt x="356" y="89"/>
                    </a:lnTo>
                    <a:lnTo>
                      <a:pt x="357" y="89"/>
                    </a:lnTo>
                    <a:lnTo>
                      <a:pt x="358" y="89"/>
                    </a:lnTo>
                    <a:lnTo>
                      <a:pt x="359" y="89"/>
                    </a:lnTo>
                    <a:lnTo>
                      <a:pt x="359" y="88"/>
                    </a:lnTo>
                    <a:lnTo>
                      <a:pt x="360" y="88"/>
                    </a:lnTo>
                    <a:lnTo>
                      <a:pt x="361" y="87"/>
                    </a:lnTo>
                    <a:lnTo>
                      <a:pt x="361" y="88"/>
                    </a:lnTo>
                    <a:lnTo>
                      <a:pt x="362" y="88"/>
                    </a:lnTo>
                    <a:lnTo>
                      <a:pt x="362" y="89"/>
                    </a:lnTo>
                    <a:lnTo>
                      <a:pt x="363" y="89"/>
                    </a:lnTo>
                    <a:lnTo>
                      <a:pt x="363" y="90"/>
                    </a:lnTo>
                    <a:lnTo>
                      <a:pt x="364" y="91"/>
                    </a:lnTo>
                    <a:lnTo>
                      <a:pt x="364" y="92"/>
                    </a:lnTo>
                    <a:lnTo>
                      <a:pt x="363" y="92"/>
                    </a:lnTo>
                    <a:lnTo>
                      <a:pt x="362" y="92"/>
                    </a:lnTo>
                    <a:lnTo>
                      <a:pt x="362" y="93"/>
                    </a:lnTo>
                    <a:lnTo>
                      <a:pt x="362" y="94"/>
                    </a:lnTo>
                    <a:lnTo>
                      <a:pt x="361" y="94"/>
                    </a:lnTo>
                    <a:lnTo>
                      <a:pt x="361" y="95"/>
                    </a:lnTo>
                    <a:lnTo>
                      <a:pt x="361" y="96"/>
                    </a:lnTo>
                    <a:lnTo>
                      <a:pt x="361" y="97"/>
                    </a:lnTo>
                    <a:lnTo>
                      <a:pt x="361" y="96"/>
                    </a:lnTo>
                    <a:lnTo>
                      <a:pt x="361" y="95"/>
                    </a:lnTo>
                    <a:lnTo>
                      <a:pt x="360" y="95"/>
                    </a:lnTo>
                    <a:lnTo>
                      <a:pt x="360" y="94"/>
                    </a:lnTo>
                    <a:lnTo>
                      <a:pt x="360" y="93"/>
                    </a:lnTo>
                    <a:lnTo>
                      <a:pt x="359" y="93"/>
                    </a:lnTo>
                    <a:lnTo>
                      <a:pt x="359" y="92"/>
                    </a:lnTo>
                    <a:lnTo>
                      <a:pt x="358" y="92"/>
                    </a:lnTo>
                    <a:lnTo>
                      <a:pt x="357" y="92"/>
                    </a:lnTo>
                    <a:lnTo>
                      <a:pt x="356" y="92"/>
                    </a:lnTo>
                    <a:lnTo>
                      <a:pt x="353" y="92"/>
                    </a:lnTo>
                    <a:lnTo>
                      <a:pt x="353" y="93"/>
                    </a:lnTo>
                    <a:lnTo>
                      <a:pt x="352" y="93"/>
                    </a:lnTo>
                    <a:lnTo>
                      <a:pt x="352" y="94"/>
                    </a:lnTo>
                    <a:lnTo>
                      <a:pt x="351" y="94"/>
                    </a:lnTo>
                    <a:lnTo>
                      <a:pt x="350" y="95"/>
                    </a:lnTo>
                    <a:lnTo>
                      <a:pt x="349" y="95"/>
                    </a:lnTo>
                    <a:lnTo>
                      <a:pt x="348" y="95"/>
                    </a:lnTo>
                    <a:lnTo>
                      <a:pt x="348" y="96"/>
                    </a:lnTo>
                    <a:lnTo>
                      <a:pt x="347" y="96"/>
                    </a:lnTo>
                    <a:lnTo>
                      <a:pt x="346" y="96"/>
                    </a:lnTo>
                    <a:lnTo>
                      <a:pt x="346" y="97"/>
                    </a:lnTo>
                    <a:lnTo>
                      <a:pt x="346" y="99"/>
                    </a:lnTo>
                    <a:lnTo>
                      <a:pt x="345" y="99"/>
                    </a:lnTo>
                    <a:lnTo>
                      <a:pt x="345" y="100"/>
                    </a:lnTo>
                    <a:lnTo>
                      <a:pt x="346" y="101"/>
                    </a:lnTo>
                    <a:lnTo>
                      <a:pt x="346" y="102"/>
                    </a:lnTo>
                    <a:lnTo>
                      <a:pt x="346" y="103"/>
                    </a:lnTo>
                    <a:lnTo>
                      <a:pt x="346" y="102"/>
                    </a:lnTo>
                    <a:lnTo>
                      <a:pt x="345" y="102"/>
                    </a:lnTo>
                    <a:lnTo>
                      <a:pt x="345" y="103"/>
                    </a:lnTo>
                    <a:lnTo>
                      <a:pt x="346" y="103"/>
                    </a:lnTo>
                    <a:lnTo>
                      <a:pt x="346" y="104"/>
                    </a:lnTo>
                    <a:lnTo>
                      <a:pt x="345" y="104"/>
                    </a:lnTo>
                    <a:lnTo>
                      <a:pt x="344" y="104"/>
                    </a:lnTo>
                    <a:lnTo>
                      <a:pt x="343" y="105"/>
                    </a:lnTo>
                    <a:lnTo>
                      <a:pt x="343" y="106"/>
                    </a:lnTo>
                    <a:lnTo>
                      <a:pt x="343" y="107"/>
                    </a:lnTo>
                    <a:lnTo>
                      <a:pt x="342" y="107"/>
                    </a:lnTo>
                    <a:lnTo>
                      <a:pt x="340" y="108"/>
                    </a:lnTo>
                    <a:lnTo>
                      <a:pt x="339" y="109"/>
                    </a:lnTo>
                    <a:lnTo>
                      <a:pt x="339" y="110"/>
                    </a:lnTo>
                    <a:lnTo>
                      <a:pt x="339" y="112"/>
                    </a:lnTo>
                    <a:lnTo>
                      <a:pt x="339" y="113"/>
                    </a:lnTo>
                    <a:lnTo>
                      <a:pt x="340" y="114"/>
                    </a:lnTo>
                    <a:lnTo>
                      <a:pt x="340" y="115"/>
                    </a:lnTo>
                    <a:lnTo>
                      <a:pt x="340" y="116"/>
                    </a:lnTo>
                    <a:lnTo>
                      <a:pt x="338" y="116"/>
                    </a:lnTo>
                    <a:lnTo>
                      <a:pt x="337" y="116"/>
                    </a:lnTo>
                    <a:lnTo>
                      <a:pt x="335" y="115"/>
                    </a:lnTo>
                    <a:lnTo>
                      <a:pt x="334" y="116"/>
                    </a:lnTo>
                    <a:lnTo>
                      <a:pt x="334" y="117"/>
                    </a:lnTo>
                    <a:lnTo>
                      <a:pt x="334" y="118"/>
                    </a:lnTo>
                    <a:lnTo>
                      <a:pt x="335" y="118"/>
                    </a:lnTo>
                    <a:lnTo>
                      <a:pt x="335" y="117"/>
                    </a:lnTo>
                    <a:lnTo>
                      <a:pt x="335" y="118"/>
                    </a:lnTo>
                    <a:lnTo>
                      <a:pt x="336" y="118"/>
                    </a:lnTo>
                    <a:lnTo>
                      <a:pt x="336" y="119"/>
                    </a:lnTo>
                    <a:lnTo>
                      <a:pt x="337" y="119"/>
                    </a:lnTo>
                    <a:lnTo>
                      <a:pt x="338" y="120"/>
                    </a:lnTo>
                    <a:lnTo>
                      <a:pt x="339" y="120"/>
                    </a:lnTo>
                    <a:lnTo>
                      <a:pt x="340" y="120"/>
                    </a:lnTo>
                    <a:lnTo>
                      <a:pt x="340" y="119"/>
                    </a:lnTo>
                    <a:lnTo>
                      <a:pt x="342" y="118"/>
                    </a:lnTo>
                    <a:lnTo>
                      <a:pt x="343" y="118"/>
                    </a:lnTo>
                    <a:lnTo>
                      <a:pt x="343" y="117"/>
                    </a:lnTo>
                    <a:lnTo>
                      <a:pt x="344" y="118"/>
                    </a:lnTo>
                    <a:lnTo>
                      <a:pt x="345" y="118"/>
                    </a:lnTo>
                    <a:lnTo>
                      <a:pt x="346" y="118"/>
                    </a:lnTo>
                    <a:lnTo>
                      <a:pt x="347" y="117"/>
                    </a:lnTo>
                    <a:lnTo>
                      <a:pt x="347" y="116"/>
                    </a:lnTo>
                    <a:lnTo>
                      <a:pt x="348" y="116"/>
                    </a:lnTo>
                    <a:lnTo>
                      <a:pt x="348" y="115"/>
                    </a:lnTo>
                    <a:lnTo>
                      <a:pt x="349" y="115"/>
                    </a:lnTo>
                    <a:lnTo>
                      <a:pt x="348" y="114"/>
                    </a:lnTo>
                    <a:lnTo>
                      <a:pt x="349" y="114"/>
                    </a:lnTo>
                    <a:lnTo>
                      <a:pt x="349" y="115"/>
                    </a:lnTo>
                    <a:lnTo>
                      <a:pt x="351" y="116"/>
                    </a:lnTo>
                    <a:lnTo>
                      <a:pt x="351" y="117"/>
                    </a:lnTo>
                    <a:lnTo>
                      <a:pt x="352" y="117"/>
                    </a:lnTo>
                    <a:lnTo>
                      <a:pt x="353" y="118"/>
                    </a:lnTo>
                    <a:lnTo>
                      <a:pt x="352" y="117"/>
                    </a:lnTo>
                    <a:lnTo>
                      <a:pt x="351" y="117"/>
                    </a:lnTo>
                    <a:lnTo>
                      <a:pt x="350" y="117"/>
                    </a:lnTo>
                    <a:lnTo>
                      <a:pt x="350" y="116"/>
                    </a:lnTo>
                    <a:lnTo>
                      <a:pt x="350" y="117"/>
                    </a:lnTo>
                    <a:lnTo>
                      <a:pt x="349" y="117"/>
                    </a:lnTo>
                    <a:lnTo>
                      <a:pt x="349" y="118"/>
                    </a:lnTo>
                    <a:lnTo>
                      <a:pt x="349" y="119"/>
                    </a:lnTo>
                    <a:lnTo>
                      <a:pt x="348" y="120"/>
                    </a:lnTo>
                    <a:lnTo>
                      <a:pt x="349" y="121"/>
                    </a:lnTo>
                    <a:lnTo>
                      <a:pt x="350" y="122"/>
                    </a:lnTo>
                    <a:lnTo>
                      <a:pt x="352" y="122"/>
                    </a:lnTo>
                    <a:lnTo>
                      <a:pt x="353" y="122"/>
                    </a:lnTo>
                    <a:lnTo>
                      <a:pt x="353" y="123"/>
                    </a:lnTo>
                    <a:lnTo>
                      <a:pt x="352" y="125"/>
                    </a:lnTo>
                    <a:lnTo>
                      <a:pt x="351" y="125"/>
                    </a:lnTo>
                    <a:lnTo>
                      <a:pt x="350" y="123"/>
                    </a:lnTo>
                    <a:lnTo>
                      <a:pt x="349" y="123"/>
                    </a:lnTo>
                    <a:lnTo>
                      <a:pt x="348" y="123"/>
                    </a:lnTo>
                    <a:lnTo>
                      <a:pt x="347" y="123"/>
                    </a:lnTo>
                    <a:lnTo>
                      <a:pt x="345" y="125"/>
                    </a:lnTo>
                    <a:lnTo>
                      <a:pt x="344" y="125"/>
                    </a:lnTo>
                    <a:lnTo>
                      <a:pt x="343" y="126"/>
                    </a:lnTo>
                    <a:lnTo>
                      <a:pt x="342" y="127"/>
                    </a:lnTo>
                    <a:lnTo>
                      <a:pt x="342" y="128"/>
                    </a:lnTo>
                    <a:lnTo>
                      <a:pt x="340" y="127"/>
                    </a:lnTo>
                    <a:lnTo>
                      <a:pt x="340" y="126"/>
                    </a:lnTo>
                    <a:lnTo>
                      <a:pt x="339" y="125"/>
                    </a:lnTo>
                    <a:lnTo>
                      <a:pt x="339" y="126"/>
                    </a:lnTo>
                    <a:lnTo>
                      <a:pt x="338" y="125"/>
                    </a:lnTo>
                    <a:lnTo>
                      <a:pt x="338" y="126"/>
                    </a:lnTo>
                    <a:lnTo>
                      <a:pt x="338" y="125"/>
                    </a:lnTo>
                    <a:lnTo>
                      <a:pt x="337" y="125"/>
                    </a:lnTo>
                    <a:lnTo>
                      <a:pt x="337" y="123"/>
                    </a:lnTo>
                    <a:lnTo>
                      <a:pt x="336" y="123"/>
                    </a:lnTo>
                    <a:lnTo>
                      <a:pt x="336" y="122"/>
                    </a:lnTo>
                    <a:lnTo>
                      <a:pt x="335" y="122"/>
                    </a:lnTo>
                    <a:lnTo>
                      <a:pt x="334" y="122"/>
                    </a:lnTo>
                    <a:lnTo>
                      <a:pt x="334" y="121"/>
                    </a:lnTo>
                    <a:lnTo>
                      <a:pt x="334" y="120"/>
                    </a:lnTo>
                    <a:lnTo>
                      <a:pt x="333" y="119"/>
                    </a:lnTo>
                    <a:lnTo>
                      <a:pt x="332" y="119"/>
                    </a:lnTo>
                    <a:lnTo>
                      <a:pt x="332" y="120"/>
                    </a:lnTo>
                    <a:lnTo>
                      <a:pt x="331" y="120"/>
                    </a:lnTo>
                    <a:lnTo>
                      <a:pt x="330" y="120"/>
                    </a:lnTo>
                    <a:lnTo>
                      <a:pt x="329" y="121"/>
                    </a:lnTo>
                    <a:lnTo>
                      <a:pt x="329" y="122"/>
                    </a:lnTo>
                    <a:lnTo>
                      <a:pt x="330" y="122"/>
                    </a:lnTo>
                    <a:lnTo>
                      <a:pt x="330" y="123"/>
                    </a:lnTo>
                    <a:lnTo>
                      <a:pt x="331" y="123"/>
                    </a:lnTo>
                    <a:lnTo>
                      <a:pt x="330" y="125"/>
                    </a:lnTo>
                    <a:lnTo>
                      <a:pt x="330" y="126"/>
                    </a:lnTo>
                    <a:lnTo>
                      <a:pt x="330" y="127"/>
                    </a:lnTo>
                    <a:lnTo>
                      <a:pt x="330" y="128"/>
                    </a:lnTo>
                    <a:lnTo>
                      <a:pt x="331" y="129"/>
                    </a:lnTo>
                    <a:lnTo>
                      <a:pt x="330" y="130"/>
                    </a:lnTo>
                    <a:lnTo>
                      <a:pt x="330" y="131"/>
                    </a:lnTo>
                    <a:lnTo>
                      <a:pt x="331" y="131"/>
                    </a:lnTo>
                    <a:lnTo>
                      <a:pt x="331" y="132"/>
                    </a:lnTo>
                    <a:lnTo>
                      <a:pt x="331" y="133"/>
                    </a:lnTo>
                    <a:lnTo>
                      <a:pt x="333" y="133"/>
                    </a:lnTo>
                    <a:lnTo>
                      <a:pt x="334" y="134"/>
                    </a:lnTo>
                    <a:lnTo>
                      <a:pt x="334" y="135"/>
                    </a:lnTo>
                    <a:lnTo>
                      <a:pt x="335" y="136"/>
                    </a:lnTo>
                    <a:lnTo>
                      <a:pt x="336" y="138"/>
                    </a:lnTo>
                    <a:lnTo>
                      <a:pt x="337" y="138"/>
                    </a:lnTo>
                    <a:lnTo>
                      <a:pt x="336" y="139"/>
                    </a:lnTo>
                    <a:lnTo>
                      <a:pt x="335" y="139"/>
                    </a:lnTo>
                    <a:lnTo>
                      <a:pt x="334" y="140"/>
                    </a:lnTo>
                    <a:lnTo>
                      <a:pt x="333" y="140"/>
                    </a:lnTo>
                    <a:lnTo>
                      <a:pt x="332" y="141"/>
                    </a:lnTo>
                    <a:lnTo>
                      <a:pt x="331" y="141"/>
                    </a:lnTo>
                    <a:lnTo>
                      <a:pt x="331" y="142"/>
                    </a:lnTo>
                    <a:lnTo>
                      <a:pt x="330" y="142"/>
                    </a:lnTo>
                    <a:lnTo>
                      <a:pt x="330" y="141"/>
                    </a:lnTo>
                    <a:lnTo>
                      <a:pt x="329" y="140"/>
                    </a:lnTo>
                    <a:lnTo>
                      <a:pt x="327" y="139"/>
                    </a:lnTo>
                    <a:lnTo>
                      <a:pt x="326" y="139"/>
                    </a:lnTo>
                    <a:lnTo>
                      <a:pt x="326" y="140"/>
                    </a:lnTo>
                    <a:lnTo>
                      <a:pt x="325" y="140"/>
                    </a:lnTo>
                    <a:lnTo>
                      <a:pt x="325" y="141"/>
                    </a:lnTo>
                    <a:lnTo>
                      <a:pt x="325" y="142"/>
                    </a:lnTo>
                    <a:lnTo>
                      <a:pt x="326" y="142"/>
                    </a:lnTo>
                    <a:lnTo>
                      <a:pt x="327" y="142"/>
                    </a:lnTo>
                    <a:lnTo>
                      <a:pt x="327" y="143"/>
                    </a:lnTo>
                    <a:lnTo>
                      <a:pt x="326" y="144"/>
                    </a:lnTo>
                    <a:lnTo>
                      <a:pt x="326" y="145"/>
                    </a:lnTo>
                    <a:lnTo>
                      <a:pt x="327" y="145"/>
                    </a:lnTo>
                    <a:lnTo>
                      <a:pt x="329" y="144"/>
                    </a:lnTo>
                    <a:lnTo>
                      <a:pt x="330" y="144"/>
                    </a:lnTo>
                    <a:lnTo>
                      <a:pt x="331" y="144"/>
                    </a:lnTo>
                    <a:lnTo>
                      <a:pt x="332" y="145"/>
                    </a:lnTo>
                    <a:lnTo>
                      <a:pt x="333" y="144"/>
                    </a:lnTo>
                    <a:lnTo>
                      <a:pt x="334" y="143"/>
                    </a:lnTo>
                    <a:lnTo>
                      <a:pt x="335" y="143"/>
                    </a:lnTo>
                    <a:lnTo>
                      <a:pt x="336" y="143"/>
                    </a:lnTo>
                    <a:lnTo>
                      <a:pt x="337" y="144"/>
                    </a:lnTo>
                    <a:lnTo>
                      <a:pt x="338" y="144"/>
                    </a:lnTo>
                    <a:lnTo>
                      <a:pt x="339" y="143"/>
                    </a:lnTo>
                    <a:lnTo>
                      <a:pt x="340" y="143"/>
                    </a:lnTo>
                    <a:lnTo>
                      <a:pt x="340" y="142"/>
                    </a:lnTo>
                    <a:lnTo>
                      <a:pt x="340" y="141"/>
                    </a:lnTo>
                    <a:lnTo>
                      <a:pt x="339" y="141"/>
                    </a:lnTo>
                    <a:lnTo>
                      <a:pt x="337" y="141"/>
                    </a:lnTo>
                    <a:lnTo>
                      <a:pt x="337" y="140"/>
                    </a:lnTo>
                    <a:lnTo>
                      <a:pt x="338" y="140"/>
                    </a:lnTo>
                    <a:lnTo>
                      <a:pt x="339" y="140"/>
                    </a:lnTo>
                    <a:lnTo>
                      <a:pt x="340" y="139"/>
                    </a:lnTo>
                    <a:lnTo>
                      <a:pt x="340" y="138"/>
                    </a:lnTo>
                    <a:lnTo>
                      <a:pt x="340" y="136"/>
                    </a:lnTo>
                    <a:lnTo>
                      <a:pt x="340" y="135"/>
                    </a:lnTo>
                    <a:lnTo>
                      <a:pt x="339" y="134"/>
                    </a:lnTo>
                    <a:lnTo>
                      <a:pt x="339" y="133"/>
                    </a:lnTo>
                    <a:lnTo>
                      <a:pt x="340" y="133"/>
                    </a:lnTo>
                    <a:lnTo>
                      <a:pt x="342" y="133"/>
                    </a:lnTo>
                    <a:lnTo>
                      <a:pt x="342" y="134"/>
                    </a:lnTo>
                    <a:lnTo>
                      <a:pt x="343" y="134"/>
                    </a:lnTo>
                    <a:lnTo>
                      <a:pt x="345" y="135"/>
                    </a:lnTo>
                    <a:lnTo>
                      <a:pt x="345" y="136"/>
                    </a:lnTo>
                    <a:lnTo>
                      <a:pt x="343" y="139"/>
                    </a:lnTo>
                    <a:lnTo>
                      <a:pt x="343" y="140"/>
                    </a:lnTo>
                    <a:lnTo>
                      <a:pt x="343" y="141"/>
                    </a:lnTo>
                    <a:lnTo>
                      <a:pt x="343" y="143"/>
                    </a:lnTo>
                    <a:lnTo>
                      <a:pt x="344" y="144"/>
                    </a:lnTo>
                    <a:lnTo>
                      <a:pt x="344" y="145"/>
                    </a:lnTo>
                    <a:lnTo>
                      <a:pt x="343" y="146"/>
                    </a:lnTo>
                    <a:lnTo>
                      <a:pt x="344" y="147"/>
                    </a:lnTo>
                    <a:lnTo>
                      <a:pt x="345" y="147"/>
                    </a:lnTo>
                    <a:lnTo>
                      <a:pt x="347" y="145"/>
                    </a:lnTo>
                    <a:lnTo>
                      <a:pt x="348" y="144"/>
                    </a:lnTo>
                    <a:lnTo>
                      <a:pt x="348" y="142"/>
                    </a:lnTo>
                    <a:lnTo>
                      <a:pt x="349" y="142"/>
                    </a:lnTo>
                    <a:lnTo>
                      <a:pt x="349" y="141"/>
                    </a:lnTo>
                    <a:lnTo>
                      <a:pt x="350" y="141"/>
                    </a:lnTo>
                    <a:lnTo>
                      <a:pt x="351" y="140"/>
                    </a:lnTo>
                    <a:lnTo>
                      <a:pt x="351" y="139"/>
                    </a:lnTo>
                    <a:lnTo>
                      <a:pt x="352" y="139"/>
                    </a:lnTo>
                    <a:lnTo>
                      <a:pt x="352" y="138"/>
                    </a:lnTo>
                    <a:lnTo>
                      <a:pt x="352" y="136"/>
                    </a:lnTo>
                    <a:lnTo>
                      <a:pt x="353" y="136"/>
                    </a:lnTo>
                    <a:lnTo>
                      <a:pt x="353" y="135"/>
                    </a:lnTo>
                    <a:lnTo>
                      <a:pt x="355" y="135"/>
                    </a:lnTo>
                    <a:lnTo>
                      <a:pt x="355" y="134"/>
                    </a:lnTo>
                    <a:lnTo>
                      <a:pt x="355" y="133"/>
                    </a:lnTo>
                    <a:lnTo>
                      <a:pt x="355" y="132"/>
                    </a:lnTo>
                    <a:lnTo>
                      <a:pt x="353" y="132"/>
                    </a:lnTo>
                    <a:lnTo>
                      <a:pt x="355" y="131"/>
                    </a:lnTo>
                    <a:lnTo>
                      <a:pt x="356" y="131"/>
                    </a:lnTo>
                    <a:lnTo>
                      <a:pt x="357" y="132"/>
                    </a:lnTo>
                    <a:lnTo>
                      <a:pt x="359" y="132"/>
                    </a:lnTo>
                    <a:lnTo>
                      <a:pt x="361" y="133"/>
                    </a:lnTo>
                    <a:lnTo>
                      <a:pt x="361" y="132"/>
                    </a:lnTo>
                    <a:lnTo>
                      <a:pt x="362" y="132"/>
                    </a:lnTo>
                    <a:lnTo>
                      <a:pt x="363" y="132"/>
                    </a:lnTo>
                    <a:lnTo>
                      <a:pt x="363" y="133"/>
                    </a:lnTo>
                    <a:lnTo>
                      <a:pt x="362" y="133"/>
                    </a:lnTo>
                    <a:lnTo>
                      <a:pt x="361" y="133"/>
                    </a:lnTo>
                    <a:lnTo>
                      <a:pt x="361" y="134"/>
                    </a:lnTo>
                    <a:lnTo>
                      <a:pt x="360" y="134"/>
                    </a:lnTo>
                    <a:lnTo>
                      <a:pt x="360" y="135"/>
                    </a:lnTo>
                    <a:lnTo>
                      <a:pt x="360" y="136"/>
                    </a:lnTo>
                    <a:lnTo>
                      <a:pt x="361" y="136"/>
                    </a:lnTo>
                    <a:lnTo>
                      <a:pt x="361" y="138"/>
                    </a:lnTo>
                    <a:lnTo>
                      <a:pt x="360" y="138"/>
                    </a:lnTo>
                    <a:lnTo>
                      <a:pt x="360" y="139"/>
                    </a:lnTo>
                    <a:lnTo>
                      <a:pt x="359" y="139"/>
                    </a:lnTo>
                    <a:lnTo>
                      <a:pt x="360" y="139"/>
                    </a:lnTo>
                    <a:lnTo>
                      <a:pt x="360" y="140"/>
                    </a:lnTo>
                    <a:lnTo>
                      <a:pt x="359" y="140"/>
                    </a:lnTo>
                    <a:lnTo>
                      <a:pt x="359" y="141"/>
                    </a:lnTo>
                    <a:lnTo>
                      <a:pt x="359" y="142"/>
                    </a:lnTo>
                    <a:lnTo>
                      <a:pt x="359" y="143"/>
                    </a:lnTo>
                    <a:lnTo>
                      <a:pt x="360" y="143"/>
                    </a:lnTo>
                    <a:lnTo>
                      <a:pt x="360" y="142"/>
                    </a:lnTo>
                    <a:lnTo>
                      <a:pt x="361" y="142"/>
                    </a:lnTo>
                    <a:lnTo>
                      <a:pt x="361" y="141"/>
                    </a:lnTo>
                    <a:lnTo>
                      <a:pt x="362" y="141"/>
                    </a:lnTo>
                    <a:lnTo>
                      <a:pt x="362" y="140"/>
                    </a:lnTo>
                    <a:lnTo>
                      <a:pt x="361" y="139"/>
                    </a:lnTo>
                    <a:lnTo>
                      <a:pt x="362" y="139"/>
                    </a:lnTo>
                    <a:lnTo>
                      <a:pt x="362" y="140"/>
                    </a:lnTo>
                    <a:lnTo>
                      <a:pt x="363" y="140"/>
                    </a:lnTo>
                    <a:lnTo>
                      <a:pt x="364" y="140"/>
                    </a:lnTo>
                    <a:lnTo>
                      <a:pt x="365" y="140"/>
                    </a:lnTo>
                    <a:lnTo>
                      <a:pt x="365" y="141"/>
                    </a:lnTo>
                    <a:lnTo>
                      <a:pt x="366" y="141"/>
                    </a:lnTo>
                    <a:lnTo>
                      <a:pt x="366" y="140"/>
                    </a:lnTo>
                    <a:lnTo>
                      <a:pt x="368" y="140"/>
                    </a:lnTo>
                    <a:lnTo>
                      <a:pt x="368" y="139"/>
                    </a:lnTo>
                    <a:lnTo>
                      <a:pt x="368" y="138"/>
                    </a:lnTo>
                    <a:lnTo>
                      <a:pt x="369" y="138"/>
                    </a:lnTo>
                    <a:lnTo>
                      <a:pt x="370" y="138"/>
                    </a:lnTo>
                    <a:lnTo>
                      <a:pt x="369" y="139"/>
                    </a:lnTo>
                    <a:lnTo>
                      <a:pt x="370" y="139"/>
                    </a:lnTo>
                    <a:lnTo>
                      <a:pt x="371" y="139"/>
                    </a:lnTo>
                    <a:lnTo>
                      <a:pt x="372" y="139"/>
                    </a:lnTo>
                    <a:lnTo>
                      <a:pt x="372" y="140"/>
                    </a:lnTo>
                    <a:lnTo>
                      <a:pt x="373" y="140"/>
                    </a:lnTo>
                    <a:lnTo>
                      <a:pt x="374" y="140"/>
                    </a:lnTo>
                    <a:lnTo>
                      <a:pt x="374" y="139"/>
                    </a:lnTo>
                    <a:lnTo>
                      <a:pt x="374" y="138"/>
                    </a:lnTo>
                    <a:lnTo>
                      <a:pt x="375" y="138"/>
                    </a:lnTo>
                    <a:lnTo>
                      <a:pt x="376" y="138"/>
                    </a:lnTo>
                    <a:lnTo>
                      <a:pt x="377" y="138"/>
                    </a:lnTo>
                    <a:lnTo>
                      <a:pt x="378" y="138"/>
                    </a:lnTo>
                    <a:lnTo>
                      <a:pt x="378" y="139"/>
                    </a:lnTo>
                    <a:lnTo>
                      <a:pt x="378" y="140"/>
                    </a:lnTo>
                    <a:lnTo>
                      <a:pt x="380" y="141"/>
                    </a:lnTo>
                    <a:lnTo>
                      <a:pt x="380" y="142"/>
                    </a:lnTo>
                    <a:lnTo>
                      <a:pt x="378" y="142"/>
                    </a:lnTo>
                    <a:lnTo>
                      <a:pt x="378" y="141"/>
                    </a:lnTo>
                    <a:lnTo>
                      <a:pt x="377" y="141"/>
                    </a:lnTo>
                    <a:lnTo>
                      <a:pt x="376" y="142"/>
                    </a:lnTo>
                    <a:lnTo>
                      <a:pt x="376" y="143"/>
                    </a:lnTo>
                    <a:lnTo>
                      <a:pt x="376" y="144"/>
                    </a:lnTo>
                    <a:lnTo>
                      <a:pt x="377" y="145"/>
                    </a:lnTo>
                    <a:lnTo>
                      <a:pt x="378" y="146"/>
                    </a:lnTo>
                    <a:lnTo>
                      <a:pt x="378" y="147"/>
                    </a:lnTo>
                    <a:lnTo>
                      <a:pt x="380" y="147"/>
                    </a:lnTo>
                    <a:lnTo>
                      <a:pt x="381" y="148"/>
                    </a:lnTo>
                    <a:lnTo>
                      <a:pt x="381" y="149"/>
                    </a:lnTo>
                    <a:lnTo>
                      <a:pt x="382" y="151"/>
                    </a:lnTo>
                    <a:lnTo>
                      <a:pt x="383" y="152"/>
                    </a:lnTo>
                    <a:lnTo>
                      <a:pt x="384" y="152"/>
                    </a:lnTo>
                    <a:lnTo>
                      <a:pt x="385" y="153"/>
                    </a:lnTo>
                    <a:lnTo>
                      <a:pt x="386" y="153"/>
                    </a:lnTo>
                    <a:lnTo>
                      <a:pt x="387" y="154"/>
                    </a:lnTo>
                    <a:lnTo>
                      <a:pt x="387" y="155"/>
                    </a:lnTo>
                    <a:lnTo>
                      <a:pt x="387" y="156"/>
                    </a:lnTo>
                    <a:lnTo>
                      <a:pt x="387" y="155"/>
                    </a:lnTo>
                    <a:lnTo>
                      <a:pt x="387" y="156"/>
                    </a:lnTo>
                    <a:lnTo>
                      <a:pt x="386" y="155"/>
                    </a:lnTo>
                    <a:lnTo>
                      <a:pt x="385" y="155"/>
                    </a:lnTo>
                    <a:lnTo>
                      <a:pt x="385" y="154"/>
                    </a:lnTo>
                    <a:lnTo>
                      <a:pt x="386" y="154"/>
                    </a:lnTo>
                    <a:lnTo>
                      <a:pt x="385" y="154"/>
                    </a:lnTo>
                    <a:lnTo>
                      <a:pt x="385" y="155"/>
                    </a:lnTo>
                    <a:lnTo>
                      <a:pt x="384" y="155"/>
                    </a:lnTo>
                    <a:lnTo>
                      <a:pt x="384" y="156"/>
                    </a:lnTo>
                    <a:lnTo>
                      <a:pt x="384" y="155"/>
                    </a:lnTo>
                    <a:lnTo>
                      <a:pt x="384" y="154"/>
                    </a:lnTo>
                    <a:lnTo>
                      <a:pt x="383" y="154"/>
                    </a:lnTo>
                    <a:lnTo>
                      <a:pt x="383" y="153"/>
                    </a:lnTo>
                    <a:lnTo>
                      <a:pt x="383" y="154"/>
                    </a:lnTo>
                    <a:lnTo>
                      <a:pt x="383" y="153"/>
                    </a:lnTo>
                    <a:lnTo>
                      <a:pt x="382" y="153"/>
                    </a:lnTo>
                    <a:lnTo>
                      <a:pt x="383" y="153"/>
                    </a:lnTo>
                    <a:lnTo>
                      <a:pt x="382" y="153"/>
                    </a:lnTo>
                    <a:lnTo>
                      <a:pt x="382" y="152"/>
                    </a:lnTo>
                    <a:lnTo>
                      <a:pt x="381" y="152"/>
                    </a:lnTo>
                    <a:lnTo>
                      <a:pt x="381" y="153"/>
                    </a:lnTo>
                    <a:lnTo>
                      <a:pt x="381" y="154"/>
                    </a:lnTo>
                    <a:lnTo>
                      <a:pt x="380" y="153"/>
                    </a:lnTo>
                    <a:lnTo>
                      <a:pt x="378" y="153"/>
                    </a:lnTo>
                    <a:lnTo>
                      <a:pt x="378" y="154"/>
                    </a:lnTo>
                    <a:lnTo>
                      <a:pt x="377" y="155"/>
                    </a:lnTo>
                    <a:lnTo>
                      <a:pt x="378" y="155"/>
                    </a:lnTo>
                    <a:lnTo>
                      <a:pt x="378" y="156"/>
                    </a:lnTo>
                    <a:lnTo>
                      <a:pt x="378" y="157"/>
                    </a:lnTo>
                    <a:lnTo>
                      <a:pt x="378" y="158"/>
                    </a:lnTo>
                    <a:lnTo>
                      <a:pt x="380" y="158"/>
                    </a:lnTo>
                    <a:lnTo>
                      <a:pt x="381" y="158"/>
                    </a:lnTo>
                    <a:lnTo>
                      <a:pt x="381" y="157"/>
                    </a:lnTo>
                    <a:lnTo>
                      <a:pt x="381" y="158"/>
                    </a:lnTo>
                    <a:lnTo>
                      <a:pt x="382" y="158"/>
                    </a:lnTo>
                    <a:lnTo>
                      <a:pt x="382" y="157"/>
                    </a:lnTo>
                    <a:lnTo>
                      <a:pt x="383" y="157"/>
                    </a:lnTo>
                    <a:lnTo>
                      <a:pt x="384" y="157"/>
                    </a:lnTo>
                    <a:lnTo>
                      <a:pt x="384" y="156"/>
                    </a:lnTo>
                    <a:lnTo>
                      <a:pt x="385" y="156"/>
                    </a:lnTo>
                    <a:lnTo>
                      <a:pt x="386" y="156"/>
                    </a:lnTo>
                    <a:lnTo>
                      <a:pt x="387" y="156"/>
                    </a:lnTo>
                    <a:lnTo>
                      <a:pt x="387" y="157"/>
                    </a:lnTo>
                    <a:lnTo>
                      <a:pt x="387" y="158"/>
                    </a:lnTo>
                    <a:lnTo>
                      <a:pt x="387" y="159"/>
                    </a:lnTo>
                    <a:lnTo>
                      <a:pt x="387" y="160"/>
                    </a:lnTo>
                    <a:lnTo>
                      <a:pt x="387" y="161"/>
                    </a:lnTo>
                    <a:lnTo>
                      <a:pt x="387" y="160"/>
                    </a:lnTo>
                    <a:lnTo>
                      <a:pt x="386" y="160"/>
                    </a:lnTo>
                    <a:lnTo>
                      <a:pt x="386" y="161"/>
                    </a:lnTo>
                    <a:lnTo>
                      <a:pt x="385" y="161"/>
                    </a:lnTo>
                    <a:lnTo>
                      <a:pt x="384" y="161"/>
                    </a:lnTo>
                    <a:lnTo>
                      <a:pt x="384" y="162"/>
                    </a:lnTo>
                    <a:lnTo>
                      <a:pt x="385" y="162"/>
                    </a:lnTo>
                    <a:lnTo>
                      <a:pt x="386" y="162"/>
                    </a:lnTo>
                    <a:lnTo>
                      <a:pt x="386" y="161"/>
                    </a:lnTo>
                    <a:lnTo>
                      <a:pt x="386" y="160"/>
                    </a:lnTo>
                    <a:lnTo>
                      <a:pt x="387" y="161"/>
                    </a:lnTo>
                    <a:lnTo>
                      <a:pt x="387" y="162"/>
                    </a:lnTo>
                    <a:lnTo>
                      <a:pt x="388" y="162"/>
                    </a:lnTo>
                    <a:lnTo>
                      <a:pt x="387" y="164"/>
                    </a:lnTo>
                    <a:lnTo>
                      <a:pt x="387" y="165"/>
                    </a:lnTo>
                    <a:lnTo>
                      <a:pt x="388" y="165"/>
                    </a:lnTo>
                    <a:lnTo>
                      <a:pt x="388" y="166"/>
                    </a:lnTo>
                    <a:lnTo>
                      <a:pt x="387" y="166"/>
                    </a:lnTo>
                    <a:lnTo>
                      <a:pt x="386" y="165"/>
                    </a:lnTo>
                    <a:lnTo>
                      <a:pt x="385" y="165"/>
                    </a:lnTo>
                    <a:lnTo>
                      <a:pt x="385" y="166"/>
                    </a:lnTo>
                    <a:lnTo>
                      <a:pt x="385" y="167"/>
                    </a:lnTo>
                    <a:lnTo>
                      <a:pt x="384" y="167"/>
                    </a:lnTo>
                    <a:lnTo>
                      <a:pt x="384" y="166"/>
                    </a:lnTo>
                    <a:lnTo>
                      <a:pt x="383" y="165"/>
                    </a:lnTo>
                    <a:lnTo>
                      <a:pt x="382" y="165"/>
                    </a:lnTo>
                    <a:lnTo>
                      <a:pt x="381" y="165"/>
                    </a:lnTo>
                    <a:lnTo>
                      <a:pt x="381" y="166"/>
                    </a:lnTo>
                    <a:lnTo>
                      <a:pt x="380" y="167"/>
                    </a:lnTo>
                    <a:lnTo>
                      <a:pt x="380" y="168"/>
                    </a:lnTo>
                    <a:lnTo>
                      <a:pt x="381" y="168"/>
                    </a:lnTo>
                    <a:lnTo>
                      <a:pt x="380" y="169"/>
                    </a:lnTo>
                    <a:lnTo>
                      <a:pt x="380" y="168"/>
                    </a:lnTo>
                    <a:lnTo>
                      <a:pt x="380" y="167"/>
                    </a:lnTo>
                    <a:lnTo>
                      <a:pt x="378" y="167"/>
                    </a:lnTo>
                    <a:lnTo>
                      <a:pt x="378" y="166"/>
                    </a:lnTo>
                    <a:lnTo>
                      <a:pt x="377" y="166"/>
                    </a:lnTo>
                    <a:lnTo>
                      <a:pt x="376" y="166"/>
                    </a:lnTo>
                    <a:lnTo>
                      <a:pt x="377" y="167"/>
                    </a:lnTo>
                    <a:lnTo>
                      <a:pt x="377" y="168"/>
                    </a:lnTo>
                    <a:lnTo>
                      <a:pt x="376" y="168"/>
                    </a:lnTo>
                    <a:lnTo>
                      <a:pt x="376" y="169"/>
                    </a:lnTo>
                    <a:lnTo>
                      <a:pt x="377" y="170"/>
                    </a:lnTo>
                    <a:lnTo>
                      <a:pt x="378" y="170"/>
                    </a:lnTo>
                    <a:lnTo>
                      <a:pt x="380" y="170"/>
                    </a:lnTo>
                    <a:lnTo>
                      <a:pt x="380" y="171"/>
                    </a:lnTo>
                    <a:lnTo>
                      <a:pt x="380" y="172"/>
                    </a:lnTo>
                    <a:lnTo>
                      <a:pt x="380" y="173"/>
                    </a:lnTo>
                    <a:lnTo>
                      <a:pt x="381" y="174"/>
                    </a:lnTo>
                    <a:lnTo>
                      <a:pt x="382" y="174"/>
                    </a:lnTo>
                    <a:lnTo>
                      <a:pt x="383" y="174"/>
                    </a:lnTo>
                    <a:lnTo>
                      <a:pt x="384" y="173"/>
                    </a:lnTo>
                    <a:lnTo>
                      <a:pt x="384" y="172"/>
                    </a:lnTo>
                    <a:lnTo>
                      <a:pt x="385" y="172"/>
                    </a:lnTo>
                    <a:lnTo>
                      <a:pt x="386" y="172"/>
                    </a:lnTo>
                    <a:lnTo>
                      <a:pt x="386" y="171"/>
                    </a:lnTo>
                    <a:lnTo>
                      <a:pt x="386" y="172"/>
                    </a:lnTo>
                    <a:lnTo>
                      <a:pt x="386" y="171"/>
                    </a:lnTo>
                    <a:lnTo>
                      <a:pt x="387" y="171"/>
                    </a:lnTo>
                    <a:lnTo>
                      <a:pt x="388" y="171"/>
                    </a:lnTo>
                    <a:lnTo>
                      <a:pt x="388" y="172"/>
                    </a:lnTo>
                    <a:lnTo>
                      <a:pt x="389" y="173"/>
                    </a:lnTo>
                    <a:lnTo>
                      <a:pt x="388" y="174"/>
                    </a:lnTo>
                    <a:lnTo>
                      <a:pt x="388" y="176"/>
                    </a:lnTo>
                    <a:lnTo>
                      <a:pt x="389" y="177"/>
                    </a:lnTo>
                    <a:lnTo>
                      <a:pt x="389" y="178"/>
                    </a:lnTo>
                    <a:lnTo>
                      <a:pt x="390" y="179"/>
                    </a:lnTo>
                    <a:lnTo>
                      <a:pt x="390" y="180"/>
                    </a:lnTo>
                    <a:lnTo>
                      <a:pt x="390" y="181"/>
                    </a:lnTo>
                    <a:lnTo>
                      <a:pt x="391" y="182"/>
                    </a:lnTo>
                    <a:lnTo>
                      <a:pt x="393" y="182"/>
                    </a:lnTo>
                    <a:lnTo>
                      <a:pt x="393" y="183"/>
                    </a:lnTo>
                    <a:lnTo>
                      <a:pt x="393" y="184"/>
                    </a:lnTo>
                    <a:lnTo>
                      <a:pt x="393" y="185"/>
                    </a:lnTo>
                    <a:lnTo>
                      <a:pt x="393" y="186"/>
                    </a:lnTo>
                    <a:lnTo>
                      <a:pt x="393" y="187"/>
                    </a:lnTo>
                    <a:lnTo>
                      <a:pt x="393" y="186"/>
                    </a:lnTo>
                    <a:lnTo>
                      <a:pt x="394" y="187"/>
                    </a:lnTo>
                    <a:lnTo>
                      <a:pt x="394" y="189"/>
                    </a:lnTo>
                    <a:lnTo>
                      <a:pt x="395" y="189"/>
                    </a:lnTo>
                    <a:lnTo>
                      <a:pt x="394" y="189"/>
                    </a:lnTo>
                    <a:lnTo>
                      <a:pt x="394" y="190"/>
                    </a:lnTo>
                    <a:lnTo>
                      <a:pt x="393" y="190"/>
                    </a:lnTo>
                    <a:lnTo>
                      <a:pt x="393" y="191"/>
                    </a:lnTo>
                    <a:lnTo>
                      <a:pt x="391" y="191"/>
                    </a:lnTo>
                    <a:lnTo>
                      <a:pt x="391" y="192"/>
                    </a:lnTo>
                    <a:lnTo>
                      <a:pt x="393" y="192"/>
                    </a:lnTo>
                    <a:lnTo>
                      <a:pt x="394" y="193"/>
                    </a:lnTo>
                    <a:lnTo>
                      <a:pt x="395" y="192"/>
                    </a:lnTo>
                    <a:lnTo>
                      <a:pt x="396" y="192"/>
                    </a:lnTo>
                    <a:lnTo>
                      <a:pt x="397" y="192"/>
                    </a:lnTo>
                    <a:lnTo>
                      <a:pt x="397" y="191"/>
                    </a:lnTo>
                    <a:lnTo>
                      <a:pt x="396" y="191"/>
                    </a:lnTo>
                    <a:lnTo>
                      <a:pt x="396" y="190"/>
                    </a:lnTo>
                    <a:lnTo>
                      <a:pt x="397" y="190"/>
                    </a:lnTo>
                    <a:lnTo>
                      <a:pt x="398" y="190"/>
                    </a:lnTo>
                    <a:lnTo>
                      <a:pt x="399" y="190"/>
                    </a:lnTo>
                    <a:lnTo>
                      <a:pt x="400" y="190"/>
                    </a:lnTo>
                    <a:lnTo>
                      <a:pt x="400" y="191"/>
                    </a:lnTo>
                    <a:lnTo>
                      <a:pt x="399" y="191"/>
                    </a:lnTo>
                    <a:lnTo>
                      <a:pt x="399" y="192"/>
                    </a:lnTo>
                    <a:lnTo>
                      <a:pt x="400" y="193"/>
                    </a:lnTo>
                    <a:lnTo>
                      <a:pt x="400" y="194"/>
                    </a:lnTo>
                    <a:lnTo>
                      <a:pt x="399" y="194"/>
                    </a:lnTo>
                    <a:lnTo>
                      <a:pt x="398" y="194"/>
                    </a:lnTo>
                    <a:lnTo>
                      <a:pt x="398" y="195"/>
                    </a:lnTo>
                    <a:lnTo>
                      <a:pt x="398" y="197"/>
                    </a:lnTo>
                    <a:lnTo>
                      <a:pt x="398" y="198"/>
                    </a:lnTo>
                    <a:lnTo>
                      <a:pt x="397" y="199"/>
                    </a:lnTo>
                    <a:lnTo>
                      <a:pt x="397" y="200"/>
                    </a:lnTo>
                    <a:lnTo>
                      <a:pt x="397" y="202"/>
                    </a:lnTo>
                    <a:lnTo>
                      <a:pt x="398" y="202"/>
                    </a:lnTo>
                    <a:lnTo>
                      <a:pt x="399" y="202"/>
                    </a:lnTo>
                    <a:lnTo>
                      <a:pt x="400" y="202"/>
                    </a:lnTo>
                    <a:lnTo>
                      <a:pt x="401" y="202"/>
                    </a:lnTo>
                    <a:lnTo>
                      <a:pt x="402" y="202"/>
                    </a:lnTo>
                    <a:lnTo>
                      <a:pt x="402" y="200"/>
                    </a:lnTo>
                    <a:lnTo>
                      <a:pt x="401" y="200"/>
                    </a:lnTo>
                    <a:lnTo>
                      <a:pt x="402" y="200"/>
                    </a:lnTo>
                    <a:lnTo>
                      <a:pt x="402" y="199"/>
                    </a:lnTo>
                    <a:lnTo>
                      <a:pt x="402" y="198"/>
                    </a:lnTo>
                    <a:lnTo>
                      <a:pt x="403" y="198"/>
                    </a:lnTo>
                    <a:lnTo>
                      <a:pt x="403" y="199"/>
                    </a:lnTo>
                    <a:lnTo>
                      <a:pt x="404" y="199"/>
                    </a:lnTo>
                    <a:lnTo>
                      <a:pt x="406" y="200"/>
                    </a:lnTo>
                    <a:lnTo>
                      <a:pt x="407" y="200"/>
                    </a:lnTo>
                    <a:lnTo>
                      <a:pt x="407" y="199"/>
                    </a:lnTo>
                    <a:lnTo>
                      <a:pt x="408" y="199"/>
                    </a:lnTo>
                    <a:lnTo>
                      <a:pt x="407" y="198"/>
                    </a:lnTo>
                    <a:lnTo>
                      <a:pt x="408" y="198"/>
                    </a:lnTo>
                    <a:lnTo>
                      <a:pt x="409" y="198"/>
                    </a:lnTo>
                    <a:lnTo>
                      <a:pt x="410" y="198"/>
                    </a:lnTo>
                    <a:lnTo>
                      <a:pt x="410" y="197"/>
                    </a:lnTo>
                    <a:lnTo>
                      <a:pt x="411" y="197"/>
                    </a:lnTo>
                    <a:lnTo>
                      <a:pt x="410" y="197"/>
                    </a:lnTo>
                    <a:lnTo>
                      <a:pt x="409" y="197"/>
                    </a:lnTo>
                    <a:lnTo>
                      <a:pt x="410" y="197"/>
                    </a:lnTo>
                    <a:lnTo>
                      <a:pt x="410" y="196"/>
                    </a:lnTo>
                    <a:lnTo>
                      <a:pt x="410" y="195"/>
                    </a:lnTo>
                    <a:lnTo>
                      <a:pt x="411" y="195"/>
                    </a:lnTo>
                    <a:lnTo>
                      <a:pt x="411" y="196"/>
                    </a:lnTo>
                    <a:lnTo>
                      <a:pt x="411" y="197"/>
                    </a:lnTo>
                    <a:lnTo>
                      <a:pt x="411" y="198"/>
                    </a:lnTo>
                    <a:lnTo>
                      <a:pt x="412" y="198"/>
                    </a:lnTo>
                    <a:lnTo>
                      <a:pt x="411" y="199"/>
                    </a:lnTo>
                    <a:lnTo>
                      <a:pt x="411" y="200"/>
                    </a:lnTo>
                    <a:lnTo>
                      <a:pt x="411" y="202"/>
                    </a:lnTo>
                    <a:lnTo>
                      <a:pt x="410" y="202"/>
                    </a:lnTo>
                    <a:lnTo>
                      <a:pt x="410" y="203"/>
                    </a:lnTo>
                    <a:lnTo>
                      <a:pt x="409" y="203"/>
                    </a:lnTo>
                    <a:lnTo>
                      <a:pt x="409" y="204"/>
                    </a:lnTo>
                    <a:lnTo>
                      <a:pt x="408" y="204"/>
                    </a:lnTo>
                    <a:lnTo>
                      <a:pt x="408" y="203"/>
                    </a:lnTo>
                    <a:lnTo>
                      <a:pt x="408" y="204"/>
                    </a:lnTo>
                    <a:lnTo>
                      <a:pt x="409" y="203"/>
                    </a:lnTo>
                    <a:lnTo>
                      <a:pt x="409" y="202"/>
                    </a:lnTo>
                    <a:lnTo>
                      <a:pt x="408" y="202"/>
                    </a:lnTo>
                    <a:lnTo>
                      <a:pt x="407" y="202"/>
                    </a:lnTo>
                    <a:lnTo>
                      <a:pt x="406" y="202"/>
                    </a:lnTo>
                    <a:lnTo>
                      <a:pt x="404" y="202"/>
                    </a:lnTo>
                    <a:lnTo>
                      <a:pt x="403" y="202"/>
                    </a:lnTo>
                    <a:lnTo>
                      <a:pt x="402" y="203"/>
                    </a:lnTo>
                    <a:lnTo>
                      <a:pt x="401" y="203"/>
                    </a:lnTo>
                    <a:lnTo>
                      <a:pt x="401" y="204"/>
                    </a:lnTo>
                    <a:lnTo>
                      <a:pt x="401" y="205"/>
                    </a:lnTo>
                    <a:lnTo>
                      <a:pt x="401" y="206"/>
                    </a:lnTo>
                    <a:lnTo>
                      <a:pt x="401" y="207"/>
                    </a:lnTo>
                    <a:lnTo>
                      <a:pt x="401" y="208"/>
                    </a:lnTo>
                    <a:lnTo>
                      <a:pt x="402" y="210"/>
                    </a:lnTo>
                    <a:lnTo>
                      <a:pt x="401" y="211"/>
                    </a:lnTo>
                    <a:lnTo>
                      <a:pt x="401" y="212"/>
                    </a:lnTo>
                    <a:lnTo>
                      <a:pt x="401" y="213"/>
                    </a:lnTo>
                    <a:lnTo>
                      <a:pt x="400" y="213"/>
                    </a:lnTo>
                    <a:lnTo>
                      <a:pt x="400" y="215"/>
                    </a:lnTo>
                    <a:lnTo>
                      <a:pt x="401" y="215"/>
                    </a:lnTo>
                    <a:lnTo>
                      <a:pt x="400" y="216"/>
                    </a:lnTo>
                    <a:lnTo>
                      <a:pt x="401" y="216"/>
                    </a:lnTo>
                    <a:lnTo>
                      <a:pt x="400" y="216"/>
                    </a:lnTo>
                    <a:lnTo>
                      <a:pt x="400" y="217"/>
                    </a:lnTo>
                    <a:lnTo>
                      <a:pt x="401" y="218"/>
                    </a:lnTo>
                    <a:lnTo>
                      <a:pt x="402" y="218"/>
                    </a:lnTo>
                    <a:lnTo>
                      <a:pt x="402" y="219"/>
                    </a:lnTo>
                    <a:lnTo>
                      <a:pt x="401" y="220"/>
                    </a:lnTo>
                    <a:lnTo>
                      <a:pt x="400" y="221"/>
                    </a:lnTo>
                    <a:lnTo>
                      <a:pt x="399" y="221"/>
                    </a:lnTo>
                    <a:lnTo>
                      <a:pt x="397" y="221"/>
                    </a:lnTo>
                    <a:lnTo>
                      <a:pt x="396" y="222"/>
                    </a:lnTo>
                    <a:lnTo>
                      <a:pt x="394" y="222"/>
                    </a:lnTo>
                    <a:lnTo>
                      <a:pt x="393" y="222"/>
                    </a:lnTo>
                    <a:lnTo>
                      <a:pt x="391" y="223"/>
                    </a:lnTo>
                    <a:lnTo>
                      <a:pt x="390" y="223"/>
                    </a:lnTo>
                    <a:lnTo>
                      <a:pt x="390" y="224"/>
                    </a:lnTo>
                    <a:lnTo>
                      <a:pt x="389" y="224"/>
                    </a:lnTo>
                    <a:lnTo>
                      <a:pt x="388" y="224"/>
                    </a:lnTo>
                    <a:lnTo>
                      <a:pt x="387" y="224"/>
                    </a:lnTo>
                    <a:lnTo>
                      <a:pt x="386" y="224"/>
                    </a:lnTo>
                    <a:lnTo>
                      <a:pt x="385" y="225"/>
                    </a:lnTo>
                    <a:lnTo>
                      <a:pt x="384" y="226"/>
                    </a:lnTo>
                    <a:lnTo>
                      <a:pt x="383" y="226"/>
                    </a:lnTo>
                    <a:lnTo>
                      <a:pt x="382" y="226"/>
                    </a:lnTo>
                    <a:lnTo>
                      <a:pt x="381" y="226"/>
                    </a:lnTo>
                    <a:lnTo>
                      <a:pt x="380" y="226"/>
                    </a:lnTo>
                    <a:lnTo>
                      <a:pt x="380" y="228"/>
                    </a:lnTo>
                    <a:lnTo>
                      <a:pt x="381" y="228"/>
                    </a:lnTo>
                    <a:lnTo>
                      <a:pt x="382" y="228"/>
                    </a:lnTo>
                    <a:lnTo>
                      <a:pt x="382" y="229"/>
                    </a:lnTo>
                    <a:lnTo>
                      <a:pt x="383" y="229"/>
                    </a:lnTo>
                    <a:lnTo>
                      <a:pt x="384" y="229"/>
                    </a:lnTo>
                    <a:lnTo>
                      <a:pt x="384" y="230"/>
                    </a:lnTo>
                    <a:lnTo>
                      <a:pt x="385" y="231"/>
                    </a:lnTo>
                    <a:lnTo>
                      <a:pt x="385" y="232"/>
                    </a:lnTo>
                    <a:lnTo>
                      <a:pt x="386" y="233"/>
                    </a:lnTo>
                    <a:lnTo>
                      <a:pt x="385" y="233"/>
                    </a:lnTo>
                    <a:lnTo>
                      <a:pt x="385" y="234"/>
                    </a:lnTo>
                    <a:lnTo>
                      <a:pt x="384" y="234"/>
                    </a:lnTo>
                    <a:lnTo>
                      <a:pt x="384" y="235"/>
                    </a:lnTo>
                    <a:lnTo>
                      <a:pt x="383" y="235"/>
                    </a:lnTo>
                    <a:lnTo>
                      <a:pt x="383" y="234"/>
                    </a:lnTo>
                    <a:lnTo>
                      <a:pt x="383" y="233"/>
                    </a:lnTo>
                    <a:lnTo>
                      <a:pt x="382" y="233"/>
                    </a:lnTo>
                    <a:lnTo>
                      <a:pt x="381" y="233"/>
                    </a:lnTo>
                    <a:lnTo>
                      <a:pt x="381" y="232"/>
                    </a:lnTo>
                    <a:lnTo>
                      <a:pt x="382" y="232"/>
                    </a:lnTo>
                    <a:lnTo>
                      <a:pt x="381" y="232"/>
                    </a:lnTo>
                    <a:lnTo>
                      <a:pt x="380" y="232"/>
                    </a:lnTo>
                    <a:lnTo>
                      <a:pt x="378" y="232"/>
                    </a:lnTo>
                    <a:lnTo>
                      <a:pt x="377" y="232"/>
                    </a:lnTo>
                    <a:lnTo>
                      <a:pt x="377" y="233"/>
                    </a:lnTo>
                    <a:lnTo>
                      <a:pt x="376" y="233"/>
                    </a:lnTo>
                    <a:lnTo>
                      <a:pt x="376" y="234"/>
                    </a:lnTo>
                    <a:lnTo>
                      <a:pt x="375" y="234"/>
                    </a:lnTo>
                    <a:lnTo>
                      <a:pt x="374" y="234"/>
                    </a:lnTo>
                    <a:lnTo>
                      <a:pt x="373" y="234"/>
                    </a:lnTo>
                    <a:lnTo>
                      <a:pt x="373" y="235"/>
                    </a:lnTo>
                    <a:lnTo>
                      <a:pt x="372" y="234"/>
                    </a:lnTo>
                    <a:lnTo>
                      <a:pt x="371" y="234"/>
                    </a:lnTo>
                    <a:lnTo>
                      <a:pt x="371" y="235"/>
                    </a:lnTo>
                    <a:lnTo>
                      <a:pt x="370" y="235"/>
                    </a:lnTo>
                    <a:lnTo>
                      <a:pt x="370" y="234"/>
                    </a:lnTo>
                    <a:lnTo>
                      <a:pt x="369" y="233"/>
                    </a:lnTo>
                    <a:lnTo>
                      <a:pt x="369" y="234"/>
                    </a:lnTo>
                    <a:lnTo>
                      <a:pt x="368" y="234"/>
                    </a:lnTo>
                    <a:lnTo>
                      <a:pt x="368" y="235"/>
                    </a:lnTo>
                    <a:lnTo>
                      <a:pt x="369" y="235"/>
                    </a:lnTo>
                    <a:lnTo>
                      <a:pt x="368" y="235"/>
                    </a:lnTo>
                    <a:lnTo>
                      <a:pt x="366" y="236"/>
                    </a:lnTo>
                    <a:lnTo>
                      <a:pt x="365" y="236"/>
                    </a:lnTo>
                    <a:lnTo>
                      <a:pt x="364" y="236"/>
                    </a:lnTo>
                    <a:lnTo>
                      <a:pt x="362" y="236"/>
                    </a:lnTo>
                    <a:lnTo>
                      <a:pt x="363" y="237"/>
                    </a:lnTo>
                    <a:lnTo>
                      <a:pt x="364" y="238"/>
                    </a:lnTo>
                    <a:lnTo>
                      <a:pt x="365" y="238"/>
                    </a:lnTo>
                    <a:lnTo>
                      <a:pt x="365" y="239"/>
                    </a:lnTo>
                    <a:lnTo>
                      <a:pt x="365" y="241"/>
                    </a:lnTo>
                    <a:lnTo>
                      <a:pt x="364" y="241"/>
                    </a:lnTo>
                    <a:lnTo>
                      <a:pt x="364" y="242"/>
                    </a:lnTo>
                    <a:lnTo>
                      <a:pt x="363" y="242"/>
                    </a:lnTo>
                    <a:lnTo>
                      <a:pt x="363" y="243"/>
                    </a:lnTo>
                    <a:lnTo>
                      <a:pt x="363" y="242"/>
                    </a:lnTo>
                    <a:lnTo>
                      <a:pt x="362" y="242"/>
                    </a:lnTo>
                    <a:lnTo>
                      <a:pt x="362" y="243"/>
                    </a:lnTo>
                    <a:lnTo>
                      <a:pt x="362" y="244"/>
                    </a:lnTo>
                    <a:lnTo>
                      <a:pt x="364" y="244"/>
                    </a:lnTo>
                    <a:lnTo>
                      <a:pt x="364" y="245"/>
                    </a:lnTo>
                    <a:lnTo>
                      <a:pt x="365" y="244"/>
                    </a:lnTo>
                    <a:lnTo>
                      <a:pt x="366" y="245"/>
                    </a:lnTo>
                    <a:lnTo>
                      <a:pt x="368" y="245"/>
                    </a:lnTo>
                    <a:lnTo>
                      <a:pt x="369" y="245"/>
                    </a:lnTo>
                    <a:lnTo>
                      <a:pt x="370" y="245"/>
                    </a:lnTo>
                    <a:lnTo>
                      <a:pt x="370" y="246"/>
                    </a:lnTo>
                    <a:lnTo>
                      <a:pt x="371" y="246"/>
                    </a:lnTo>
                    <a:lnTo>
                      <a:pt x="370" y="247"/>
                    </a:lnTo>
                    <a:lnTo>
                      <a:pt x="371" y="247"/>
                    </a:lnTo>
                    <a:lnTo>
                      <a:pt x="373" y="247"/>
                    </a:lnTo>
                    <a:lnTo>
                      <a:pt x="373" y="246"/>
                    </a:lnTo>
                    <a:lnTo>
                      <a:pt x="374" y="246"/>
                    </a:lnTo>
                    <a:lnTo>
                      <a:pt x="374" y="247"/>
                    </a:lnTo>
                    <a:lnTo>
                      <a:pt x="375" y="247"/>
                    </a:lnTo>
                    <a:lnTo>
                      <a:pt x="375" y="246"/>
                    </a:lnTo>
                    <a:lnTo>
                      <a:pt x="376" y="246"/>
                    </a:lnTo>
                    <a:lnTo>
                      <a:pt x="377" y="246"/>
                    </a:lnTo>
                    <a:lnTo>
                      <a:pt x="378" y="246"/>
                    </a:lnTo>
                    <a:lnTo>
                      <a:pt x="380" y="245"/>
                    </a:lnTo>
                    <a:lnTo>
                      <a:pt x="381" y="245"/>
                    </a:lnTo>
                    <a:lnTo>
                      <a:pt x="381" y="246"/>
                    </a:lnTo>
                    <a:lnTo>
                      <a:pt x="381" y="247"/>
                    </a:lnTo>
                    <a:lnTo>
                      <a:pt x="381" y="246"/>
                    </a:lnTo>
                    <a:lnTo>
                      <a:pt x="382" y="246"/>
                    </a:lnTo>
                    <a:lnTo>
                      <a:pt x="382" y="247"/>
                    </a:lnTo>
                    <a:lnTo>
                      <a:pt x="383" y="247"/>
                    </a:lnTo>
                    <a:lnTo>
                      <a:pt x="384" y="247"/>
                    </a:lnTo>
                    <a:lnTo>
                      <a:pt x="384" y="248"/>
                    </a:lnTo>
                    <a:lnTo>
                      <a:pt x="385" y="249"/>
                    </a:lnTo>
                    <a:lnTo>
                      <a:pt x="386" y="249"/>
                    </a:lnTo>
                    <a:lnTo>
                      <a:pt x="387" y="249"/>
                    </a:lnTo>
                    <a:lnTo>
                      <a:pt x="388" y="250"/>
                    </a:lnTo>
                    <a:lnTo>
                      <a:pt x="388" y="251"/>
                    </a:lnTo>
                    <a:lnTo>
                      <a:pt x="388" y="252"/>
                    </a:lnTo>
                    <a:lnTo>
                      <a:pt x="389" y="252"/>
                    </a:lnTo>
                    <a:lnTo>
                      <a:pt x="390" y="252"/>
                    </a:lnTo>
                    <a:lnTo>
                      <a:pt x="391" y="252"/>
                    </a:lnTo>
                    <a:lnTo>
                      <a:pt x="393" y="252"/>
                    </a:lnTo>
                    <a:lnTo>
                      <a:pt x="394" y="252"/>
                    </a:lnTo>
                    <a:lnTo>
                      <a:pt x="394" y="251"/>
                    </a:lnTo>
                    <a:lnTo>
                      <a:pt x="394" y="252"/>
                    </a:lnTo>
                    <a:lnTo>
                      <a:pt x="395" y="254"/>
                    </a:lnTo>
                    <a:lnTo>
                      <a:pt x="396" y="254"/>
                    </a:lnTo>
                    <a:lnTo>
                      <a:pt x="396" y="255"/>
                    </a:lnTo>
                    <a:lnTo>
                      <a:pt x="397" y="255"/>
                    </a:lnTo>
                    <a:lnTo>
                      <a:pt x="398" y="255"/>
                    </a:lnTo>
                    <a:lnTo>
                      <a:pt x="398" y="254"/>
                    </a:lnTo>
                    <a:lnTo>
                      <a:pt x="399" y="255"/>
                    </a:lnTo>
                    <a:lnTo>
                      <a:pt x="400" y="255"/>
                    </a:lnTo>
                    <a:lnTo>
                      <a:pt x="401" y="254"/>
                    </a:lnTo>
                    <a:lnTo>
                      <a:pt x="402" y="254"/>
                    </a:lnTo>
                    <a:lnTo>
                      <a:pt x="402" y="255"/>
                    </a:lnTo>
                    <a:lnTo>
                      <a:pt x="403" y="255"/>
                    </a:lnTo>
                    <a:lnTo>
                      <a:pt x="403" y="256"/>
                    </a:lnTo>
                    <a:lnTo>
                      <a:pt x="404" y="256"/>
                    </a:lnTo>
                    <a:lnTo>
                      <a:pt x="406" y="255"/>
                    </a:lnTo>
                    <a:lnTo>
                      <a:pt x="407" y="255"/>
                    </a:lnTo>
                    <a:lnTo>
                      <a:pt x="407" y="256"/>
                    </a:lnTo>
                    <a:lnTo>
                      <a:pt x="408" y="256"/>
                    </a:lnTo>
                    <a:lnTo>
                      <a:pt x="408" y="255"/>
                    </a:lnTo>
                    <a:lnTo>
                      <a:pt x="409" y="255"/>
                    </a:lnTo>
                    <a:lnTo>
                      <a:pt x="409" y="256"/>
                    </a:lnTo>
                    <a:lnTo>
                      <a:pt x="409" y="257"/>
                    </a:lnTo>
                    <a:lnTo>
                      <a:pt x="409" y="258"/>
                    </a:lnTo>
                    <a:lnTo>
                      <a:pt x="411" y="258"/>
                    </a:lnTo>
                    <a:lnTo>
                      <a:pt x="411" y="259"/>
                    </a:lnTo>
                    <a:lnTo>
                      <a:pt x="412" y="259"/>
                    </a:lnTo>
                    <a:lnTo>
                      <a:pt x="411" y="259"/>
                    </a:lnTo>
                    <a:lnTo>
                      <a:pt x="411" y="260"/>
                    </a:lnTo>
                    <a:lnTo>
                      <a:pt x="411" y="261"/>
                    </a:lnTo>
                    <a:lnTo>
                      <a:pt x="412" y="262"/>
                    </a:lnTo>
                    <a:lnTo>
                      <a:pt x="412" y="263"/>
                    </a:lnTo>
                    <a:lnTo>
                      <a:pt x="413" y="264"/>
                    </a:lnTo>
                    <a:lnTo>
                      <a:pt x="414" y="264"/>
                    </a:lnTo>
                    <a:lnTo>
                      <a:pt x="415" y="266"/>
                    </a:lnTo>
                    <a:lnTo>
                      <a:pt x="416" y="266"/>
                    </a:lnTo>
                    <a:lnTo>
                      <a:pt x="417" y="266"/>
                    </a:lnTo>
                    <a:lnTo>
                      <a:pt x="419" y="266"/>
                    </a:lnTo>
                    <a:lnTo>
                      <a:pt x="420" y="266"/>
                    </a:lnTo>
                    <a:lnTo>
                      <a:pt x="421" y="266"/>
                    </a:lnTo>
                    <a:lnTo>
                      <a:pt x="422" y="266"/>
                    </a:lnTo>
                    <a:lnTo>
                      <a:pt x="423" y="264"/>
                    </a:lnTo>
                    <a:lnTo>
                      <a:pt x="424" y="266"/>
                    </a:lnTo>
                    <a:lnTo>
                      <a:pt x="426" y="264"/>
                    </a:lnTo>
                    <a:lnTo>
                      <a:pt x="427" y="264"/>
                    </a:lnTo>
                    <a:lnTo>
                      <a:pt x="429" y="263"/>
                    </a:lnTo>
                    <a:lnTo>
                      <a:pt x="430" y="262"/>
                    </a:lnTo>
                    <a:lnTo>
                      <a:pt x="432" y="261"/>
                    </a:lnTo>
                    <a:lnTo>
                      <a:pt x="434" y="261"/>
                    </a:lnTo>
                    <a:lnTo>
                      <a:pt x="435" y="261"/>
                    </a:lnTo>
                    <a:lnTo>
                      <a:pt x="435" y="260"/>
                    </a:lnTo>
                    <a:lnTo>
                      <a:pt x="435" y="259"/>
                    </a:lnTo>
                    <a:lnTo>
                      <a:pt x="434" y="258"/>
                    </a:lnTo>
                    <a:lnTo>
                      <a:pt x="433" y="257"/>
                    </a:lnTo>
                    <a:lnTo>
                      <a:pt x="434" y="256"/>
                    </a:lnTo>
                    <a:lnTo>
                      <a:pt x="435" y="256"/>
                    </a:lnTo>
                    <a:lnTo>
                      <a:pt x="436" y="255"/>
                    </a:lnTo>
                    <a:lnTo>
                      <a:pt x="437" y="255"/>
                    </a:lnTo>
                    <a:lnTo>
                      <a:pt x="438" y="255"/>
                    </a:lnTo>
                    <a:lnTo>
                      <a:pt x="439" y="255"/>
                    </a:lnTo>
                    <a:lnTo>
                      <a:pt x="440" y="255"/>
                    </a:lnTo>
                    <a:lnTo>
                      <a:pt x="441" y="255"/>
                    </a:lnTo>
                    <a:lnTo>
                      <a:pt x="440" y="255"/>
                    </a:lnTo>
                    <a:lnTo>
                      <a:pt x="440" y="256"/>
                    </a:lnTo>
                    <a:lnTo>
                      <a:pt x="439" y="256"/>
                    </a:lnTo>
                    <a:lnTo>
                      <a:pt x="439" y="257"/>
                    </a:lnTo>
                    <a:lnTo>
                      <a:pt x="438" y="257"/>
                    </a:lnTo>
                    <a:lnTo>
                      <a:pt x="439" y="257"/>
                    </a:lnTo>
                    <a:lnTo>
                      <a:pt x="438" y="257"/>
                    </a:lnTo>
                    <a:lnTo>
                      <a:pt x="438" y="259"/>
                    </a:lnTo>
                    <a:lnTo>
                      <a:pt x="438" y="260"/>
                    </a:lnTo>
                    <a:lnTo>
                      <a:pt x="438" y="261"/>
                    </a:lnTo>
                    <a:lnTo>
                      <a:pt x="438" y="262"/>
                    </a:lnTo>
                    <a:lnTo>
                      <a:pt x="437" y="262"/>
                    </a:lnTo>
                    <a:lnTo>
                      <a:pt x="437" y="263"/>
                    </a:lnTo>
                    <a:lnTo>
                      <a:pt x="437" y="264"/>
                    </a:lnTo>
                    <a:lnTo>
                      <a:pt x="438" y="264"/>
                    </a:lnTo>
                    <a:lnTo>
                      <a:pt x="439" y="264"/>
                    </a:lnTo>
                    <a:lnTo>
                      <a:pt x="440" y="264"/>
                    </a:lnTo>
                    <a:lnTo>
                      <a:pt x="441" y="263"/>
                    </a:lnTo>
                    <a:lnTo>
                      <a:pt x="442" y="263"/>
                    </a:lnTo>
                    <a:lnTo>
                      <a:pt x="442" y="264"/>
                    </a:lnTo>
                    <a:lnTo>
                      <a:pt x="441" y="264"/>
                    </a:lnTo>
                    <a:lnTo>
                      <a:pt x="442" y="264"/>
                    </a:lnTo>
                    <a:lnTo>
                      <a:pt x="441" y="266"/>
                    </a:lnTo>
                    <a:lnTo>
                      <a:pt x="441" y="267"/>
                    </a:lnTo>
                    <a:lnTo>
                      <a:pt x="441" y="268"/>
                    </a:lnTo>
                    <a:lnTo>
                      <a:pt x="440" y="269"/>
                    </a:lnTo>
                    <a:lnTo>
                      <a:pt x="441" y="269"/>
                    </a:lnTo>
                    <a:lnTo>
                      <a:pt x="440" y="270"/>
                    </a:lnTo>
                    <a:lnTo>
                      <a:pt x="441" y="271"/>
                    </a:lnTo>
                    <a:lnTo>
                      <a:pt x="440" y="272"/>
                    </a:lnTo>
                    <a:lnTo>
                      <a:pt x="440" y="273"/>
                    </a:lnTo>
                    <a:lnTo>
                      <a:pt x="440" y="274"/>
                    </a:lnTo>
                    <a:lnTo>
                      <a:pt x="440" y="275"/>
                    </a:lnTo>
                    <a:lnTo>
                      <a:pt x="441" y="275"/>
                    </a:lnTo>
                    <a:lnTo>
                      <a:pt x="441" y="276"/>
                    </a:lnTo>
                    <a:lnTo>
                      <a:pt x="442" y="277"/>
                    </a:lnTo>
                    <a:lnTo>
                      <a:pt x="441" y="277"/>
                    </a:lnTo>
                    <a:lnTo>
                      <a:pt x="442" y="277"/>
                    </a:lnTo>
                    <a:lnTo>
                      <a:pt x="443" y="277"/>
                    </a:lnTo>
                    <a:lnTo>
                      <a:pt x="443" y="279"/>
                    </a:lnTo>
                    <a:lnTo>
                      <a:pt x="445" y="279"/>
                    </a:lnTo>
                    <a:lnTo>
                      <a:pt x="446" y="280"/>
                    </a:lnTo>
                    <a:lnTo>
                      <a:pt x="445" y="280"/>
                    </a:lnTo>
                    <a:lnTo>
                      <a:pt x="443" y="281"/>
                    </a:lnTo>
                    <a:lnTo>
                      <a:pt x="442" y="281"/>
                    </a:lnTo>
                    <a:lnTo>
                      <a:pt x="441" y="281"/>
                    </a:lnTo>
                    <a:lnTo>
                      <a:pt x="440" y="280"/>
                    </a:lnTo>
                    <a:lnTo>
                      <a:pt x="439" y="280"/>
                    </a:lnTo>
                    <a:lnTo>
                      <a:pt x="439" y="279"/>
                    </a:lnTo>
                    <a:lnTo>
                      <a:pt x="438" y="279"/>
                    </a:lnTo>
                    <a:lnTo>
                      <a:pt x="436" y="279"/>
                    </a:lnTo>
                    <a:lnTo>
                      <a:pt x="435" y="277"/>
                    </a:lnTo>
                    <a:lnTo>
                      <a:pt x="436" y="277"/>
                    </a:lnTo>
                    <a:lnTo>
                      <a:pt x="436" y="276"/>
                    </a:lnTo>
                    <a:lnTo>
                      <a:pt x="435" y="276"/>
                    </a:lnTo>
                    <a:lnTo>
                      <a:pt x="434" y="277"/>
                    </a:lnTo>
                    <a:lnTo>
                      <a:pt x="434" y="276"/>
                    </a:lnTo>
                    <a:lnTo>
                      <a:pt x="433" y="277"/>
                    </a:lnTo>
                    <a:lnTo>
                      <a:pt x="433" y="276"/>
                    </a:lnTo>
                    <a:lnTo>
                      <a:pt x="434" y="275"/>
                    </a:lnTo>
                    <a:lnTo>
                      <a:pt x="435" y="275"/>
                    </a:lnTo>
                    <a:lnTo>
                      <a:pt x="436" y="274"/>
                    </a:lnTo>
                    <a:lnTo>
                      <a:pt x="435" y="274"/>
                    </a:lnTo>
                    <a:lnTo>
                      <a:pt x="436" y="273"/>
                    </a:lnTo>
                    <a:lnTo>
                      <a:pt x="435" y="273"/>
                    </a:lnTo>
                    <a:lnTo>
                      <a:pt x="434" y="273"/>
                    </a:lnTo>
                    <a:lnTo>
                      <a:pt x="433" y="273"/>
                    </a:lnTo>
                    <a:lnTo>
                      <a:pt x="429" y="272"/>
                    </a:lnTo>
                    <a:lnTo>
                      <a:pt x="428" y="272"/>
                    </a:lnTo>
                    <a:lnTo>
                      <a:pt x="427" y="272"/>
                    </a:lnTo>
                    <a:lnTo>
                      <a:pt x="426" y="272"/>
                    </a:lnTo>
                    <a:lnTo>
                      <a:pt x="427" y="272"/>
                    </a:lnTo>
                    <a:lnTo>
                      <a:pt x="427" y="273"/>
                    </a:lnTo>
                    <a:lnTo>
                      <a:pt x="428" y="273"/>
                    </a:lnTo>
                    <a:lnTo>
                      <a:pt x="429" y="274"/>
                    </a:lnTo>
                    <a:lnTo>
                      <a:pt x="429" y="275"/>
                    </a:lnTo>
                    <a:lnTo>
                      <a:pt x="430" y="275"/>
                    </a:lnTo>
                    <a:lnTo>
                      <a:pt x="432" y="275"/>
                    </a:lnTo>
                    <a:lnTo>
                      <a:pt x="432" y="276"/>
                    </a:lnTo>
                    <a:lnTo>
                      <a:pt x="430" y="276"/>
                    </a:lnTo>
                    <a:lnTo>
                      <a:pt x="430" y="275"/>
                    </a:lnTo>
                    <a:lnTo>
                      <a:pt x="429" y="275"/>
                    </a:lnTo>
                    <a:lnTo>
                      <a:pt x="428" y="275"/>
                    </a:lnTo>
                    <a:lnTo>
                      <a:pt x="427" y="275"/>
                    </a:lnTo>
                    <a:lnTo>
                      <a:pt x="426" y="274"/>
                    </a:lnTo>
                    <a:lnTo>
                      <a:pt x="425" y="274"/>
                    </a:lnTo>
                    <a:lnTo>
                      <a:pt x="424" y="273"/>
                    </a:lnTo>
                    <a:lnTo>
                      <a:pt x="423" y="273"/>
                    </a:lnTo>
                    <a:lnTo>
                      <a:pt x="422" y="272"/>
                    </a:lnTo>
                    <a:lnTo>
                      <a:pt x="422" y="271"/>
                    </a:lnTo>
                    <a:lnTo>
                      <a:pt x="421" y="270"/>
                    </a:lnTo>
                    <a:lnTo>
                      <a:pt x="416" y="268"/>
                    </a:lnTo>
                    <a:lnTo>
                      <a:pt x="415" y="268"/>
                    </a:lnTo>
                    <a:lnTo>
                      <a:pt x="414" y="267"/>
                    </a:lnTo>
                    <a:lnTo>
                      <a:pt x="413" y="266"/>
                    </a:lnTo>
                    <a:lnTo>
                      <a:pt x="412" y="266"/>
                    </a:lnTo>
                    <a:lnTo>
                      <a:pt x="411" y="266"/>
                    </a:lnTo>
                    <a:lnTo>
                      <a:pt x="410" y="267"/>
                    </a:lnTo>
                    <a:lnTo>
                      <a:pt x="409" y="266"/>
                    </a:lnTo>
                    <a:lnTo>
                      <a:pt x="407" y="266"/>
                    </a:lnTo>
                    <a:lnTo>
                      <a:pt x="406" y="266"/>
                    </a:lnTo>
                    <a:lnTo>
                      <a:pt x="404" y="266"/>
                    </a:lnTo>
                    <a:lnTo>
                      <a:pt x="403" y="266"/>
                    </a:lnTo>
                    <a:lnTo>
                      <a:pt x="402" y="266"/>
                    </a:lnTo>
                    <a:lnTo>
                      <a:pt x="401" y="266"/>
                    </a:lnTo>
                    <a:lnTo>
                      <a:pt x="401" y="267"/>
                    </a:lnTo>
                    <a:lnTo>
                      <a:pt x="400" y="267"/>
                    </a:lnTo>
                    <a:lnTo>
                      <a:pt x="399" y="267"/>
                    </a:lnTo>
                    <a:lnTo>
                      <a:pt x="398" y="267"/>
                    </a:lnTo>
                    <a:lnTo>
                      <a:pt x="397" y="267"/>
                    </a:lnTo>
                    <a:lnTo>
                      <a:pt x="396" y="268"/>
                    </a:lnTo>
                    <a:lnTo>
                      <a:pt x="396" y="269"/>
                    </a:lnTo>
                    <a:lnTo>
                      <a:pt x="396" y="270"/>
                    </a:lnTo>
                    <a:lnTo>
                      <a:pt x="395" y="269"/>
                    </a:lnTo>
                    <a:lnTo>
                      <a:pt x="395" y="268"/>
                    </a:lnTo>
                    <a:lnTo>
                      <a:pt x="394" y="267"/>
                    </a:lnTo>
                    <a:lnTo>
                      <a:pt x="393" y="266"/>
                    </a:lnTo>
                    <a:lnTo>
                      <a:pt x="394" y="264"/>
                    </a:lnTo>
                    <a:lnTo>
                      <a:pt x="395" y="264"/>
                    </a:lnTo>
                    <a:lnTo>
                      <a:pt x="395" y="263"/>
                    </a:lnTo>
                    <a:lnTo>
                      <a:pt x="395" y="264"/>
                    </a:lnTo>
                    <a:lnTo>
                      <a:pt x="395" y="266"/>
                    </a:lnTo>
                    <a:lnTo>
                      <a:pt x="395" y="264"/>
                    </a:lnTo>
                    <a:lnTo>
                      <a:pt x="395" y="263"/>
                    </a:lnTo>
                    <a:lnTo>
                      <a:pt x="397" y="262"/>
                    </a:lnTo>
                    <a:lnTo>
                      <a:pt x="395" y="263"/>
                    </a:lnTo>
                    <a:lnTo>
                      <a:pt x="394" y="264"/>
                    </a:lnTo>
                    <a:lnTo>
                      <a:pt x="393" y="264"/>
                    </a:lnTo>
                    <a:lnTo>
                      <a:pt x="393" y="266"/>
                    </a:lnTo>
                    <a:lnTo>
                      <a:pt x="391" y="266"/>
                    </a:lnTo>
                    <a:lnTo>
                      <a:pt x="391" y="264"/>
                    </a:lnTo>
                    <a:lnTo>
                      <a:pt x="390" y="264"/>
                    </a:lnTo>
                    <a:lnTo>
                      <a:pt x="391" y="264"/>
                    </a:lnTo>
                    <a:lnTo>
                      <a:pt x="391" y="263"/>
                    </a:lnTo>
                    <a:lnTo>
                      <a:pt x="391" y="262"/>
                    </a:lnTo>
                    <a:lnTo>
                      <a:pt x="390" y="262"/>
                    </a:lnTo>
                    <a:lnTo>
                      <a:pt x="389" y="262"/>
                    </a:lnTo>
                    <a:lnTo>
                      <a:pt x="389" y="261"/>
                    </a:lnTo>
                    <a:lnTo>
                      <a:pt x="390" y="261"/>
                    </a:lnTo>
                    <a:lnTo>
                      <a:pt x="391" y="260"/>
                    </a:lnTo>
                    <a:lnTo>
                      <a:pt x="390" y="260"/>
                    </a:lnTo>
                    <a:lnTo>
                      <a:pt x="389" y="260"/>
                    </a:lnTo>
                    <a:lnTo>
                      <a:pt x="388" y="260"/>
                    </a:lnTo>
                    <a:lnTo>
                      <a:pt x="388" y="259"/>
                    </a:lnTo>
                    <a:lnTo>
                      <a:pt x="387" y="259"/>
                    </a:lnTo>
                    <a:lnTo>
                      <a:pt x="386" y="260"/>
                    </a:lnTo>
                    <a:lnTo>
                      <a:pt x="385" y="260"/>
                    </a:lnTo>
                    <a:lnTo>
                      <a:pt x="384" y="260"/>
                    </a:lnTo>
                    <a:lnTo>
                      <a:pt x="384" y="259"/>
                    </a:lnTo>
                    <a:lnTo>
                      <a:pt x="383" y="259"/>
                    </a:lnTo>
                    <a:lnTo>
                      <a:pt x="382" y="259"/>
                    </a:lnTo>
                    <a:lnTo>
                      <a:pt x="381" y="260"/>
                    </a:lnTo>
                    <a:lnTo>
                      <a:pt x="378" y="260"/>
                    </a:lnTo>
                    <a:lnTo>
                      <a:pt x="377" y="261"/>
                    </a:lnTo>
                    <a:lnTo>
                      <a:pt x="376" y="261"/>
                    </a:lnTo>
                    <a:lnTo>
                      <a:pt x="375" y="262"/>
                    </a:lnTo>
                    <a:lnTo>
                      <a:pt x="375" y="263"/>
                    </a:lnTo>
                    <a:lnTo>
                      <a:pt x="374" y="266"/>
                    </a:lnTo>
                    <a:lnTo>
                      <a:pt x="373" y="266"/>
                    </a:lnTo>
                    <a:lnTo>
                      <a:pt x="374" y="267"/>
                    </a:lnTo>
                    <a:lnTo>
                      <a:pt x="374" y="268"/>
                    </a:lnTo>
                    <a:lnTo>
                      <a:pt x="374" y="269"/>
                    </a:lnTo>
                    <a:lnTo>
                      <a:pt x="373" y="269"/>
                    </a:lnTo>
                    <a:lnTo>
                      <a:pt x="372" y="270"/>
                    </a:lnTo>
                    <a:lnTo>
                      <a:pt x="372" y="271"/>
                    </a:lnTo>
                    <a:lnTo>
                      <a:pt x="371" y="272"/>
                    </a:lnTo>
                    <a:lnTo>
                      <a:pt x="372" y="273"/>
                    </a:lnTo>
                    <a:lnTo>
                      <a:pt x="372" y="274"/>
                    </a:lnTo>
                    <a:lnTo>
                      <a:pt x="373" y="274"/>
                    </a:lnTo>
                    <a:lnTo>
                      <a:pt x="373" y="275"/>
                    </a:lnTo>
                    <a:lnTo>
                      <a:pt x="372" y="275"/>
                    </a:lnTo>
                    <a:lnTo>
                      <a:pt x="372" y="274"/>
                    </a:lnTo>
                    <a:lnTo>
                      <a:pt x="371" y="275"/>
                    </a:lnTo>
                    <a:lnTo>
                      <a:pt x="370" y="275"/>
                    </a:lnTo>
                    <a:lnTo>
                      <a:pt x="369" y="276"/>
                    </a:lnTo>
                    <a:lnTo>
                      <a:pt x="369" y="277"/>
                    </a:lnTo>
                    <a:lnTo>
                      <a:pt x="368" y="277"/>
                    </a:lnTo>
                    <a:lnTo>
                      <a:pt x="368" y="279"/>
                    </a:lnTo>
                    <a:lnTo>
                      <a:pt x="368" y="280"/>
                    </a:lnTo>
                    <a:lnTo>
                      <a:pt x="368" y="281"/>
                    </a:lnTo>
                    <a:lnTo>
                      <a:pt x="368" y="282"/>
                    </a:lnTo>
                    <a:lnTo>
                      <a:pt x="368" y="283"/>
                    </a:lnTo>
                    <a:lnTo>
                      <a:pt x="366" y="283"/>
                    </a:lnTo>
                    <a:lnTo>
                      <a:pt x="365" y="284"/>
                    </a:lnTo>
                    <a:lnTo>
                      <a:pt x="364" y="284"/>
                    </a:lnTo>
                    <a:lnTo>
                      <a:pt x="364" y="285"/>
                    </a:lnTo>
                    <a:lnTo>
                      <a:pt x="365" y="285"/>
                    </a:lnTo>
                    <a:lnTo>
                      <a:pt x="364" y="285"/>
                    </a:lnTo>
                    <a:lnTo>
                      <a:pt x="365" y="286"/>
                    </a:lnTo>
                    <a:lnTo>
                      <a:pt x="365" y="287"/>
                    </a:lnTo>
                    <a:lnTo>
                      <a:pt x="364" y="287"/>
                    </a:lnTo>
                    <a:lnTo>
                      <a:pt x="364" y="286"/>
                    </a:lnTo>
                    <a:lnTo>
                      <a:pt x="364" y="285"/>
                    </a:lnTo>
                    <a:lnTo>
                      <a:pt x="364" y="284"/>
                    </a:lnTo>
                    <a:lnTo>
                      <a:pt x="364" y="281"/>
                    </a:lnTo>
                    <a:lnTo>
                      <a:pt x="364" y="280"/>
                    </a:lnTo>
                    <a:lnTo>
                      <a:pt x="364" y="281"/>
                    </a:lnTo>
                    <a:lnTo>
                      <a:pt x="365" y="280"/>
                    </a:lnTo>
                    <a:lnTo>
                      <a:pt x="365" y="279"/>
                    </a:lnTo>
                    <a:lnTo>
                      <a:pt x="365" y="277"/>
                    </a:lnTo>
                    <a:lnTo>
                      <a:pt x="366" y="276"/>
                    </a:lnTo>
                    <a:lnTo>
                      <a:pt x="365" y="274"/>
                    </a:lnTo>
                    <a:lnTo>
                      <a:pt x="366" y="271"/>
                    </a:lnTo>
                    <a:lnTo>
                      <a:pt x="365" y="270"/>
                    </a:lnTo>
                    <a:lnTo>
                      <a:pt x="364" y="269"/>
                    </a:lnTo>
                    <a:lnTo>
                      <a:pt x="363" y="268"/>
                    </a:lnTo>
                    <a:lnTo>
                      <a:pt x="361" y="268"/>
                    </a:lnTo>
                    <a:lnTo>
                      <a:pt x="361" y="267"/>
                    </a:lnTo>
                    <a:lnTo>
                      <a:pt x="361" y="266"/>
                    </a:lnTo>
                    <a:lnTo>
                      <a:pt x="362" y="266"/>
                    </a:lnTo>
                    <a:lnTo>
                      <a:pt x="363" y="264"/>
                    </a:lnTo>
                    <a:lnTo>
                      <a:pt x="362" y="264"/>
                    </a:lnTo>
                    <a:lnTo>
                      <a:pt x="363" y="263"/>
                    </a:lnTo>
                    <a:lnTo>
                      <a:pt x="364" y="263"/>
                    </a:lnTo>
                    <a:lnTo>
                      <a:pt x="366" y="264"/>
                    </a:lnTo>
                    <a:lnTo>
                      <a:pt x="368" y="264"/>
                    </a:lnTo>
                    <a:lnTo>
                      <a:pt x="368" y="263"/>
                    </a:lnTo>
                    <a:lnTo>
                      <a:pt x="368" y="262"/>
                    </a:lnTo>
                    <a:lnTo>
                      <a:pt x="366" y="262"/>
                    </a:lnTo>
                    <a:lnTo>
                      <a:pt x="365" y="262"/>
                    </a:lnTo>
                    <a:lnTo>
                      <a:pt x="364" y="262"/>
                    </a:lnTo>
                    <a:lnTo>
                      <a:pt x="363" y="262"/>
                    </a:lnTo>
                    <a:lnTo>
                      <a:pt x="362" y="262"/>
                    </a:lnTo>
                    <a:lnTo>
                      <a:pt x="361" y="262"/>
                    </a:lnTo>
                    <a:lnTo>
                      <a:pt x="360" y="262"/>
                    </a:lnTo>
                    <a:lnTo>
                      <a:pt x="360" y="261"/>
                    </a:lnTo>
                    <a:lnTo>
                      <a:pt x="360" y="262"/>
                    </a:lnTo>
                    <a:lnTo>
                      <a:pt x="359" y="262"/>
                    </a:lnTo>
                    <a:lnTo>
                      <a:pt x="359" y="263"/>
                    </a:lnTo>
                    <a:lnTo>
                      <a:pt x="359" y="264"/>
                    </a:lnTo>
                    <a:lnTo>
                      <a:pt x="359" y="266"/>
                    </a:lnTo>
                    <a:lnTo>
                      <a:pt x="359" y="267"/>
                    </a:lnTo>
                    <a:lnTo>
                      <a:pt x="359" y="268"/>
                    </a:lnTo>
                    <a:lnTo>
                      <a:pt x="359" y="269"/>
                    </a:lnTo>
                    <a:lnTo>
                      <a:pt x="358" y="269"/>
                    </a:lnTo>
                    <a:lnTo>
                      <a:pt x="358" y="268"/>
                    </a:lnTo>
                    <a:lnTo>
                      <a:pt x="357" y="268"/>
                    </a:lnTo>
                    <a:lnTo>
                      <a:pt x="357" y="267"/>
                    </a:lnTo>
                    <a:lnTo>
                      <a:pt x="356" y="267"/>
                    </a:lnTo>
                    <a:lnTo>
                      <a:pt x="355" y="267"/>
                    </a:lnTo>
                    <a:lnTo>
                      <a:pt x="356" y="267"/>
                    </a:lnTo>
                    <a:lnTo>
                      <a:pt x="356" y="266"/>
                    </a:lnTo>
                    <a:lnTo>
                      <a:pt x="355" y="264"/>
                    </a:lnTo>
                    <a:lnTo>
                      <a:pt x="355" y="266"/>
                    </a:lnTo>
                    <a:lnTo>
                      <a:pt x="353" y="266"/>
                    </a:lnTo>
                    <a:lnTo>
                      <a:pt x="353" y="264"/>
                    </a:lnTo>
                    <a:lnTo>
                      <a:pt x="352" y="264"/>
                    </a:lnTo>
                    <a:lnTo>
                      <a:pt x="352" y="263"/>
                    </a:lnTo>
                    <a:lnTo>
                      <a:pt x="351" y="263"/>
                    </a:lnTo>
                    <a:lnTo>
                      <a:pt x="351" y="262"/>
                    </a:lnTo>
                    <a:lnTo>
                      <a:pt x="350" y="262"/>
                    </a:lnTo>
                    <a:lnTo>
                      <a:pt x="350" y="261"/>
                    </a:lnTo>
                    <a:lnTo>
                      <a:pt x="351" y="261"/>
                    </a:lnTo>
                    <a:lnTo>
                      <a:pt x="351" y="262"/>
                    </a:lnTo>
                    <a:lnTo>
                      <a:pt x="351" y="261"/>
                    </a:lnTo>
                    <a:lnTo>
                      <a:pt x="352" y="261"/>
                    </a:lnTo>
                    <a:lnTo>
                      <a:pt x="352" y="260"/>
                    </a:lnTo>
                    <a:lnTo>
                      <a:pt x="352" y="259"/>
                    </a:lnTo>
                    <a:lnTo>
                      <a:pt x="353" y="259"/>
                    </a:lnTo>
                    <a:lnTo>
                      <a:pt x="353" y="258"/>
                    </a:lnTo>
                    <a:lnTo>
                      <a:pt x="353" y="257"/>
                    </a:lnTo>
                    <a:lnTo>
                      <a:pt x="355" y="257"/>
                    </a:lnTo>
                    <a:lnTo>
                      <a:pt x="355" y="256"/>
                    </a:lnTo>
                    <a:lnTo>
                      <a:pt x="355" y="255"/>
                    </a:lnTo>
                    <a:lnTo>
                      <a:pt x="355" y="254"/>
                    </a:lnTo>
                    <a:lnTo>
                      <a:pt x="355" y="252"/>
                    </a:lnTo>
                    <a:lnTo>
                      <a:pt x="353" y="252"/>
                    </a:lnTo>
                    <a:lnTo>
                      <a:pt x="353" y="251"/>
                    </a:lnTo>
                    <a:lnTo>
                      <a:pt x="353" y="252"/>
                    </a:lnTo>
                    <a:lnTo>
                      <a:pt x="352" y="252"/>
                    </a:lnTo>
                    <a:lnTo>
                      <a:pt x="353" y="251"/>
                    </a:lnTo>
                    <a:lnTo>
                      <a:pt x="352" y="251"/>
                    </a:lnTo>
                    <a:lnTo>
                      <a:pt x="352" y="252"/>
                    </a:lnTo>
                    <a:lnTo>
                      <a:pt x="351" y="252"/>
                    </a:lnTo>
                    <a:lnTo>
                      <a:pt x="350" y="252"/>
                    </a:lnTo>
                    <a:lnTo>
                      <a:pt x="349" y="251"/>
                    </a:lnTo>
                    <a:lnTo>
                      <a:pt x="348" y="252"/>
                    </a:lnTo>
                    <a:lnTo>
                      <a:pt x="348" y="251"/>
                    </a:lnTo>
                    <a:lnTo>
                      <a:pt x="347" y="250"/>
                    </a:lnTo>
                    <a:lnTo>
                      <a:pt x="347" y="249"/>
                    </a:lnTo>
                    <a:lnTo>
                      <a:pt x="347" y="250"/>
                    </a:lnTo>
                    <a:lnTo>
                      <a:pt x="348" y="250"/>
                    </a:lnTo>
                    <a:lnTo>
                      <a:pt x="348" y="251"/>
                    </a:lnTo>
                    <a:lnTo>
                      <a:pt x="348" y="250"/>
                    </a:lnTo>
                    <a:lnTo>
                      <a:pt x="349" y="250"/>
                    </a:lnTo>
                    <a:lnTo>
                      <a:pt x="349" y="251"/>
                    </a:lnTo>
                    <a:lnTo>
                      <a:pt x="350" y="251"/>
                    </a:lnTo>
                    <a:lnTo>
                      <a:pt x="350" y="250"/>
                    </a:lnTo>
                    <a:lnTo>
                      <a:pt x="349" y="250"/>
                    </a:lnTo>
                    <a:lnTo>
                      <a:pt x="348" y="250"/>
                    </a:lnTo>
                    <a:lnTo>
                      <a:pt x="348" y="249"/>
                    </a:lnTo>
                    <a:lnTo>
                      <a:pt x="347" y="249"/>
                    </a:lnTo>
                    <a:lnTo>
                      <a:pt x="347" y="248"/>
                    </a:lnTo>
                    <a:lnTo>
                      <a:pt x="347" y="247"/>
                    </a:lnTo>
                    <a:lnTo>
                      <a:pt x="348" y="247"/>
                    </a:lnTo>
                    <a:lnTo>
                      <a:pt x="348" y="246"/>
                    </a:lnTo>
                    <a:lnTo>
                      <a:pt x="348" y="247"/>
                    </a:lnTo>
                    <a:lnTo>
                      <a:pt x="347" y="247"/>
                    </a:lnTo>
                    <a:lnTo>
                      <a:pt x="346" y="247"/>
                    </a:lnTo>
                    <a:lnTo>
                      <a:pt x="346" y="248"/>
                    </a:lnTo>
                    <a:lnTo>
                      <a:pt x="346" y="247"/>
                    </a:lnTo>
                    <a:lnTo>
                      <a:pt x="345" y="247"/>
                    </a:lnTo>
                    <a:lnTo>
                      <a:pt x="344" y="246"/>
                    </a:lnTo>
                    <a:lnTo>
                      <a:pt x="344" y="245"/>
                    </a:lnTo>
                    <a:lnTo>
                      <a:pt x="343" y="244"/>
                    </a:lnTo>
                    <a:lnTo>
                      <a:pt x="344" y="244"/>
                    </a:lnTo>
                    <a:lnTo>
                      <a:pt x="345" y="244"/>
                    </a:lnTo>
                    <a:lnTo>
                      <a:pt x="344" y="244"/>
                    </a:lnTo>
                    <a:lnTo>
                      <a:pt x="343" y="244"/>
                    </a:lnTo>
                    <a:lnTo>
                      <a:pt x="343" y="243"/>
                    </a:lnTo>
                    <a:lnTo>
                      <a:pt x="343" y="242"/>
                    </a:lnTo>
                    <a:lnTo>
                      <a:pt x="344" y="242"/>
                    </a:lnTo>
                    <a:lnTo>
                      <a:pt x="343" y="242"/>
                    </a:lnTo>
                    <a:lnTo>
                      <a:pt x="342" y="242"/>
                    </a:lnTo>
                    <a:lnTo>
                      <a:pt x="343" y="242"/>
                    </a:lnTo>
                    <a:lnTo>
                      <a:pt x="342" y="242"/>
                    </a:lnTo>
                    <a:lnTo>
                      <a:pt x="342" y="243"/>
                    </a:lnTo>
                    <a:lnTo>
                      <a:pt x="343" y="243"/>
                    </a:lnTo>
                    <a:lnTo>
                      <a:pt x="343" y="244"/>
                    </a:lnTo>
                    <a:lnTo>
                      <a:pt x="343" y="245"/>
                    </a:lnTo>
                    <a:lnTo>
                      <a:pt x="342" y="244"/>
                    </a:lnTo>
                    <a:lnTo>
                      <a:pt x="340" y="244"/>
                    </a:lnTo>
                    <a:lnTo>
                      <a:pt x="340" y="243"/>
                    </a:lnTo>
                    <a:lnTo>
                      <a:pt x="339" y="243"/>
                    </a:lnTo>
                    <a:lnTo>
                      <a:pt x="339" y="244"/>
                    </a:lnTo>
                    <a:lnTo>
                      <a:pt x="338" y="245"/>
                    </a:lnTo>
                    <a:lnTo>
                      <a:pt x="338" y="244"/>
                    </a:lnTo>
                    <a:lnTo>
                      <a:pt x="337" y="244"/>
                    </a:lnTo>
                    <a:lnTo>
                      <a:pt x="337" y="243"/>
                    </a:lnTo>
                    <a:lnTo>
                      <a:pt x="336" y="243"/>
                    </a:lnTo>
                    <a:lnTo>
                      <a:pt x="337" y="243"/>
                    </a:lnTo>
                    <a:lnTo>
                      <a:pt x="338" y="243"/>
                    </a:lnTo>
                    <a:lnTo>
                      <a:pt x="338" y="242"/>
                    </a:lnTo>
                    <a:lnTo>
                      <a:pt x="338" y="241"/>
                    </a:lnTo>
                    <a:lnTo>
                      <a:pt x="338" y="239"/>
                    </a:lnTo>
                    <a:lnTo>
                      <a:pt x="339" y="239"/>
                    </a:lnTo>
                    <a:lnTo>
                      <a:pt x="339" y="238"/>
                    </a:lnTo>
                    <a:lnTo>
                      <a:pt x="340" y="238"/>
                    </a:lnTo>
                    <a:lnTo>
                      <a:pt x="340" y="239"/>
                    </a:lnTo>
                    <a:lnTo>
                      <a:pt x="340" y="238"/>
                    </a:lnTo>
                    <a:lnTo>
                      <a:pt x="339" y="238"/>
                    </a:lnTo>
                    <a:lnTo>
                      <a:pt x="339" y="239"/>
                    </a:lnTo>
                    <a:lnTo>
                      <a:pt x="339" y="238"/>
                    </a:lnTo>
                    <a:lnTo>
                      <a:pt x="340" y="237"/>
                    </a:lnTo>
                    <a:lnTo>
                      <a:pt x="339" y="237"/>
                    </a:lnTo>
                    <a:lnTo>
                      <a:pt x="339" y="238"/>
                    </a:lnTo>
                    <a:lnTo>
                      <a:pt x="338" y="238"/>
                    </a:lnTo>
                    <a:lnTo>
                      <a:pt x="338" y="239"/>
                    </a:lnTo>
                    <a:lnTo>
                      <a:pt x="338" y="238"/>
                    </a:lnTo>
                    <a:lnTo>
                      <a:pt x="338" y="237"/>
                    </a:lnTo>
                    <a:lnTo>
                      <a:pt x="337" y="237"/>
                    </a:lnTo>
                    <a:lnTo>
                      <a:pt x="336" y="236"/>
                    </a:lnTo>
                    <a:lnTo>
                      <a:pt x="335" y="236"/>
                    </a:lnTo>
                    <a:lnTo>
                      <a:pt x="335" y="235"/>
                    </a:lnTo>
                    <a:lnTo>
                      <a:pt x="335" y="234"/>
                    </a:lnTo>
                    <a:lnTo>
                      <a:pt x="334" y="234"/>
                    </a:lnTo>
                    <a:lnTo>
                      <a:pt x="334" y="235"/>
                    </a:lnTo>
                    <a:lnTo>
                      <a:pt x="334" y="236"/>
                    </a:lnTo>
                    <a:lnTo>
                      <a:pt x="334" y="237"/>
                    </a:lnTo>
                    <a:lnTo>
                      <a:pt x="333" y="237"/>
                    </a:lnTo>
                    <a:lnTo>
                      <a:pt x="333" y="236"/>
                    </a:lnTo>
                    <a:lnTo>
                      <a:pt x="332" y="235"/>
                    </a:lnTo>
                    <a:lnTo>
                      <a:pt x="332" y="236"/>
                    </a:lnTo>
                    <a:lnTo>
                      <a:pt x="331" y="236"/>
                    </a:lnTo>
                    <a:lnTo>
                      <a:pt x="332" y="236"/>
                    </a:lnTo>
                    <a:lnTo>
                      <a:pt x="331" y="236"/>
                    </a:lnTo>
                    <a:lnTo>
                      <a:pt x="330" y="236"/>
                    </a:lnTo>
                    <a:lnTo>
                      <a:pt x="330" y="235"/>
                    </a:lnTo>
                    <a:lnTo>
                      <a:pt x="331" y="235"/>
                    </a:lnTo>
                    <a:lnTo>
                      <a:pt x="332" y="235"/>
                    </a:lnTo>
                    <a:lnTo>
                      <a:pt x="332" y="234"/>
                    </a:lnTo>
                    <a:lnTo>
                      <a:pt x="331" y="234"/>
                    </a:lnTo>
                    <a:lnTo>
                      <a:pt x="331" y="235"/>
                    </a:lnTo>
                    <a:lnTo>
                      <a:pt x="330" y="235"/>
                    </a:lnTo>
                    <a:lnTo>
                      <a:pt x="330" y="234"/>
                    </a:lnTo>
                    <a:lnTo>
                      <a:pt x="329" y="234"/>
                    </a:lnTo>
                    <a:lnTo>
                      <a:pt x="329" y="235"/>
                    </a:lnTo>
                    <a:lnTo>
                      <a:pt x="330" y="235"/>
                    </a:lnTo>
                    <a:lnTo>
                      <a:pt x="329" y="235"/>
                    </a:lnTo>
                    <a:lnTo>
                      <a:pt x="327" y="235"/>
                    </a:lnTo>
                    <a:lnTo>
                      <a:pt x="326" y="235"/>
                    </a:lnTo>
                    <a:lnTo>
                      <a:pt x="327" y="235"/>
                    </a:lnTo>
                    <a:lnTo>
                      <a:pt x="326" y="235"/>
                    </a:lnTo>
                    <a:lnTo>
                      <a:pt x="325" y="235"/>
                    </a:lnTo>
                    <a:lnTo>
                      <a:pt x="324" y="235"/>
                    </a:lnTo>
                    <a:lnTo>
                      <a:pt x="324" y="236"/>
                    </a:lnTo>
                    <a:lnTo>
                      <a:pt x="323" y="236"/>
                    </a:lnTo>
                    <a:lnTo>
                      <a:pt x="323" y="237"/>
                    </a:lnTo>
                    <a:lnTo>
                      <a:pt x="323" y="236"/>
                    </a:lnTo>
                    <a:lnTo>
                      <a:pt x="322" y="236"/>
                    </a:lnTo>
                    <a:lnTo>
                      <a:pt x="322" y="235"/>
                    </a:lnTo>
                    <a:lnTo>
                      <a:pt x="322" y="234"/>
                    </a:lnTo>
                    <a:lnTo>
                      <a:pt x="321" y="234"/>
                    </a:lnTo>
                    <a:lnTo>
                      <a:pt x="322" y="234"/>
                    </a:lnTo>
                    <a:lnTo>
                      <a:pt x="323" y="235"/>
                    </a:lnTo>
                    <a:lnTo>
                      <a:pt x="323" y="234"/>
                    </a:lnTo>
                    <a:lnTo>
                      <a:pt x="323" y="235"/>
                    </a:lnTo>
                    <a:lnTo>
                      <a:pt x="324" y="235"/>
                    </a:lnTo>
                    <a:lnTo>
                      <a:pt x="323" y="235"/>
                    </a:lnTo>
                    <a:lnTo>
                      <a:pt x="324" y="235"/>
                    </a:lnTo>
                    <a:lnTo>
                      <a:pt x="324" y="234"/>
                    </a:lnTo>
                    <a:lnTo>
                      <a:pt x="323" y="234"/>
                    </a:lnTo>
                    <a:lnTo>
                      <a:pt x="323" y="233"/>
                    </a:lnTo>
                    <a:lnTo>
                      <a:pt x="324" y="233"/>
                    </a:lnTo>
                    <a:lnTo>
                      <a:pt x="325" y="233"/>
                    </a:lnTo>
                    <a:lnTo>
                      <a:pt x="325" y="234"/>
                    </a:lnTo>
                    <a:lnTo>
                      <a:pt x="325" y="233"/>
                    </a:lnTo>
                    <a:lnTo>
                      <a:pt x="324" y="233"/>
                    </a:lnTo>
                    <a:lnTo>
                      <a:pt x="323" y="233"/>
                    </a:lnTo>
                    <a:lnTo>
                      <a:pt x="323" y="232"/>
                    </a:lnTo>
                    <a:lnTo>
                      <a:pt x="322" y="232"/>
                    </a:lnTo>
                    <a:lnTo>
                      <a:pt x="321" y="232"/>
                    </a:lnTo>
                    <a:lnTo>
                      <a:pt x="321" y="233"/>
                    </a:lnTo>
                    <a:lnTo>
                      <a:pt x="321" y="234"/>
                    </a:lnTo>
                    <a:lnTo>
                      <a:pt x="321" y="235"/>
                    </a:lnTo>
                    <a:lnTo>
                      <a:pt x="322" y="235"/>
                    </a:lnTo>
                    <a:lnTo>
                      <a:pt x="321" y="235"/>
                    </a:lnTo>
                    <a:lnTo>
                      <a:pt x="321" y="236"/>
                    </a:lnTo>
                    <a:lnTo>
                      <a:pt x="321" y="235"/>
                    </a:lnTo>
                    <a:lnTo>
                      <a:pt x="320" y="235"/>
                    </a:lnTo>
                    <a:lnTo>
                      <a:pt x="320" y="234"/>
                    </a:lnTo>
                    <a:lnTo>
                      <a:pt x="319" y="234"/>
                    </a:lnTo>
                    <a:lnTo>
                      <a:pt x="318" y="234"/>
                    </a:lnTo>
                    <a:lnTo>
                      <a:pt x="318" y="233"/>
                    </a:lnTo>
                    <a:lnTo>
                      <a:pt x="317" y="233"/>
                    </a:lnTo>
                    <a:lnTo>
                      <a:pt x="317" y="232"/>
                    </a:lnTo>
                    <a:lnTo>
                      <a:pt x="317" y="231"/>
                    </a:lnTo>
                    <a:lnTo>
                      <a:pt x="316" y="231"/>
                    </a:lnTo>
                    <a:lnTo>
                      <a:pt x="314" y="231"/>
                    </a:lnTo>
                    <a:lnTo>
                      <a:pt x="314" y="230"/>
                    </a:lnTo>
                    <a:lnTo>
                      <a:pt x="313" y="229"/>
                    </a:lnTo>
                    <a:lnTo>
                      <a:pt x="313" y="228"/>
                    </a:lnTo>
                    <a:lnTo>
                      <a:pt x="313" y="226"/>
                    </a:lnTo>
                    <a:lnTo>
                      <a:pt x="313" y="225"/>
                    </a:lnTo>
                    <a:lnTo>
                      <a:pt x="313" y="224"/>
                    </a:lnTo>
                    <a:lnTo>
                      <a:pt x="312" y="224"/>
                    </a:lnTo>
                    <a:lnTo>
                      <a:pt x="312" y="223"/>
                    </a:lnTo>
                    <a:lnTo>
                      <a:pt x="313" y="222"/>
                    </a:lnTo>
                    <a:lnTo>
                      <a:pt x="313" y="221"/>
                    </a:lnTo>
                    <a:lnTo>
                      <a:pt x="312" y="220"/>
                    </a:lnTo>
                    <a:lnTo>
                      <a:pt x="312" y="219"/>
                    </a:lnTo>
                    <a:lnTo>
                      <a:pt x="313" y="219"/>
                    </a:lnTo>
                    <a:lnTo>
                      <a:pt x="313" y="218"/>
                    </a:lnTo>
                    <a:lnTo>
                      <a:pt x="314" y="218"/>
                    </a:lnTo>
                    <a:lnTo>
                      <a:pt x="314" y="217"/>
                    </a:lnTo>
                    <a:lnTo>
                      <a:pt x="316" y="217"/>
                    </a:lnTo>
                    <a:lnTo>
                      <a:pt x="314" y="217"/>
                    </a:lnTo>
                    <a:lnTo>
                      <a:pt x="314" y="218"/>
                    </a:lnTo>
                    <a:lnTo>
                      <a:pt x="313" y="218"/>
                    </a:lnTo>
                    <a:lnTo>
                      <a:pt x="312" y="218"/>
                    </a:lnTo>
                    <a:lnTo>
                      <a:pt x="312" y="219"/>
                    </a:lnTo>
                    <a:lnTo>
                      <a:pt x="311" y="219"/>
                    </a:lnTo>
                    <a:lnTo>
                      <a:pt x="311" y="220"/>
                    </a:lnTo>
                    <a:lnTo>
                      <a:pt x="311" y="221"/>
                    </a:lnTo>
                    <a:lnTo>
                      <a:pt x="311" y="222"/>
                    </a:lnTo>
                    <a:lnTo>
                      <a:pt x="312" y="222"/>
                    </a:lnTo>
                    <a:lnTo>
                      <a:pt x="312" y="223"/>
                    </a:lnTo>
                    <a:lnTo>
                      <a:pt x="312" y="224"/>
                    </a:lnTo>
                    <a:lnTo>
                      <a:pt x="313" y="225"/>
                    </a:lnTo>
                    <a:lnTo>
                      <a:pt x="313" y="226"/>
                    </a:lnTo>
                    <a:lnTo>
                      <a:pt x="312" y="226"/>
                    </a:lnTo>
                    <a:lnTo>
                      <a:pt x="312" y="228"/>
                    </a:lnTo>
                    <a:lnTo>
                      <a:pt x="312" y="229"/>
                    </a:lnTo>
                    <a:lnTo>
                      <a:pt x="313" y="230"/>
                    </a:lnTo>
                    <a:lnTo>
                      <a:pt x="313" y="231"/>
                    </a:lnTo>
                    <a:lnTo>
                      <a:pt x="314" y="232"/>
                    </a:lnTo>
                    <a:lnTo>
                      <a:pt x="313" y="232"/>
                    </a:lnTo>
                    <a:lnTo>
                      <a:pt x="314" y="232"/>
                    </a:lnTo>
                    <a:lnTo>
                      <a:pt x="316" y="233"/>
                    </a:lnTo>
                    <a:lnTo>
                      <a:pt x="314" y="233"/>
                    </a:lnTo>
                    <a:lnTo>
                      <a:pt x="312" y="232"/>
                    </a:lnTo>
                    <a:lnTo>
                      <a:pt x="310" y="232"/>
                    </a:lnTo>
                    <a:lnTo>
                      <a:pt x="309" y="232"/>
                    </a:lnTo>
                    <a:lnTo>
                      <a:pt x="309" y="233"/>
                    </a:lnTo>
                    <a:lnTo>
                      <a:pt x="308" y="233"/>
                    </a:lnTo>
                    <a:lnTo>
                      <a:pt x="308" y="234"/>
                    </a:lnTo>
                    <a:lnTo>
                      <a:pt x="307" y="234"/>
                    </a:lnTo>
                    <a:lnTo>
                      <a:pt x="307" y="235"/>
                    </a:lnTo>
                    <a:lnTo>
                      <a:pt x="308" y="235"/>
                    </a:lnTo>
                    <a:lnTo>
                      <a:pt x="308" y="236"/>
                    </a:lnTo>
                    <a:lnTo>
                      <a:pt x="307" y="236"/>
                    </a:lnTo>
                    <a:lnTo>
                      <a:pt x="307" y="235"/>
                    </a:lnTo>
                    <a:lnTo>
                      <a:pt x="306" y="235"/>
                    </a:lnTo>
                    <a:lnTo>
                      <a:pt x="307" y="235"/>
                    </a:lnTo>
                    <a:lnTo>
                      <a:pt x="307" y="236"/>
                    </a:lnTo>
                    <a:lnTo>
                      <a:pt x="306" y="236"/>
                    </a:lnTo>
                    <a:lnTo>
                      <a:pt x="306" y="235"/>
                    </a:lnTo>
                    <a:lnTo>
                      <a:pt x="307" y="235"/>
                    </a:lnTo>
                    <a:lnTo>
                      <a:pt x="306" y="235"/>
                    </a:lnTo>
                    <a:lnTo>
                      <a:pt x="306" y="234"/>
                    </a:lnTo>
                    <a:lnTo>
                      <a:pt x="306" y="233"/>
                    </a:lnTo>
                    <a:lnTo>
                      <a:pt x="306" y="232"/>
                    </a:lnTo>
                    <a:lnTo>
                      <a:pt x="306" y="231"/>
                    </a:lnTo>
                    <a:lnTo>
                      <a:pt x="306" y="230"/>
                    </a:lnTo>
                    <a:lnTo>
                      <a:pt x="306" y="229"/>
                    </a:lnTo>
                    <a:lnTo>
                      <a:pt x="305" y="229"/>
                    </a:lnTo>
                    <a:lnTo>
                      <a:pt x="305" y="228"/>
                    </a:lnTo>
                    <a:lnTo>
                      <a:pt x="304" y="228"/>
                    </a:lnTo>
                    <a:lnTo>
                      <a:pt x="304" y="226"/>
                    </a:lnTo>
                    <a:lnTo>
                      <a:pt x="304" y="225"/>
                    </a:lnTo>
                    <a:lnTo>
                      <a:pt x="303" y="225"/>
                    </a:lnTo>
                    <a:lnTo>
                      <a:pt x="303" y="224"/>
                    </a:lnTo>
                    <a:lnTo>
                      <a:pt x="303" y="223"/>
                    </a:lnTo>
                    <a:lnTo>
                      <a:pt x="301" y="223"/>
                    </a:lnTo>
                    <a:lnTo>
                      <a:pt x="303" y="223"/>
                    </a:lnTo>
                    <a:lnTo>
                      <a:pt x="303" y="224"/>
                    </a:lnTo>
                    <a:lnTo>
                      <a:pt x="304" y="224"/>
                    </a:lnTo>
                    <a:lnTo>
                      <a:pt x="304" y="223"/>
                    </a:lnTo>
                    <a:lnTo>
                      <a:pt x="304" y="224"/>
                    </a:lnTo>
                    <a:lnTo>
                      <a:pt x="305" y="224"/>
                    </a:lnTo>
                    <a:lnTo>
                      <a:pt x="305" y="225"/>
                    </a:lnTo>
                    <a:lnTo>
                      <a:pt x="306" y="226"/>
                    </a:lnTo>
                    <a:lnTo>
                      <a:pt x="307" y="226"/>
                    </a:lnTo>
                    <a:lnTo>
                      <a:pt x="307" y="228"/>
                    </a:lnTo>
                    <a:lnTo>
                      <a:pt x="307" y="226"/>
                    </a:lnTo>
                    <a:lnTo>
                      <a:pt x="307" y="225"/>
                    </a:lnTo>
                    <a:lnTo>
                      <a:pt x="307" y="224"/>
                    </a:lnTo>
                    <a:lnTo>
                      <a:pt x="307" y="223"/>
                    </a:lnTo>
                    <a:lnTo>
                      <a:pt x="306" y="223"/>
                    </a:lnTo>
                    <a:lnTo>
                      <a:pt x="306" y="222"/>
                    </a:lnTo>
                    <a:lnTo>
                      <a:pt x="305" y="221"/>
                    </a:lnTo>
                    <a:lnTo>
                      <a:pt x="305" y="220"/>
                    </a:lnTo>
                    <a:lnTo>
                      <a:pt x="305" y="219"/>
                    </a:lnTo>
                    <a:lnTo>
                      <a:pt x="304" y="219"/>
                    </a:lnTo>
                    <a:lnTo>
                      <a:pt x="305" y="217"/>
                    </a:lnTo>
                    <a:lnTo>
                      <a:pt x="304" y="217"/>
                    </a:lnTo>
                    <a:lnTo>
                      <a:pt x="304" y="218"/>
                    </a:lnTo>
                    <a:lnTo>
                      <a:pt x="303" y="218"/>
                    </a:lnTo>
                    <a:lnTo>
                      <a:pt x="303" y="219"/>
                    </a:lnTo>
                    <a:lnTo>
                      <a:pt x="304" y="219"/>
                    </a:lnTo>
                    <a:lnTo>
                      <a:pt x="304" y="220"/>
                    </a:lnTo>
                    <a:lnTo>
                      <a:pt x="304" y="221"/>
                    </a:lnTo>
                    <a:lnTo>
                      <a:pt x="305" y="222"/>
                    </a:lnTo>
                    <a:lnTo>
                      <a:pt x="305" y="223"/>
                    </a:lnTo>
                    <a:lnTo>
                      <a:pt x="304" y="223"/>
                    </a:lnTo>
                    <a:lnTo>
                      <a:pt x="303" y="222"/>
                    </a:lnTo>
                    <a:lnTo>
                      <a:pt x="301" y="222"/>
                    </a:lnTo>
                    <a:lnTo>
                      <a:pt x="301" y="223"/>
                    </a:lnTo>
                    <a:lnTo>
                      <a:pt x="301" y="224"/>
                    </a:lnTo>
                    <a:lnTo>
                      <a:pt x="301" y="225"/>
                    </a:lnTo>
                    <a:lnTo>
                      <a:pt x="303" y="225"/>
                    </a:lnTo>
                    <a:lnTo>
                      <a:pt x="300" y="226"/>
                    </a:lnTo>
                    <a:lnTo>
                      <a:pt x="299" y="228"/>
                    </a:lnTo>
                    <a:lnTo>
                      <a:pt x="300" y="229"/>
                    </a:lnTo>
                    <a:lnTo>
                      <a:pt x="301" y="229"/>
                    </a:lnTo>
                    <a:lnTo>
                      <a:pt x="301" y="230"/>
                    </a:lnTo>
                    <a:lnTo>
                      <a:pt x="301" y="229"/>
                    </a:lnTo>
                    <a:lnTo>
                      <a:pt x="301" y="230"/>
                    </a:lnTo>
                    <a:lnTo>
                      <a:pt x="301" y="231"/>
                    </a:lnTo>
                    <a:lnTo>
                      <a:pt x="303" y="231"/>
                    </a:lnTo>
                    <a:lnTo>
                      <a:pt x="301" y="232"/>
                    </a:lnTo>
                    <a:lnTo>
                      <a:pt x="301" y="233"/>
                    </a:lnTo>
                    <a:lnTo>
                      <a:pt x="300" y="232"/>
                    </a:lnTo>
                    <a:lnTo>
                      <a:pt x="299" y="232"/>
                    </a:lnTo>
                    <a:lnTo>
                      <a:pt x="298" y="232"/>
                    </a:lnTo>
                    <a:lnTo>
                      <a:pt x="299" y="232"/>
                    </a:lnTo>
                    <a:lnTo>
                      <a:pt x="299" y="233"/>
                    </a:lnTo>
                    <a:lnTo>
                      <a:pt x="300" y="234"/>
                    </a:lnTo>
                    <a:lnTo>
                      <a:pt x="300" y="235"/>
                    </a:lnTo>
                    <a:lnTo>
                      <a:pt x="300" y="236"/>
                    </a:lnTo>
                    <a:lnTo>
                      <a:pt x="301" y="236"/>
                    </a:lnTo>
                    <a:lnTo>
                      <a:pt x="300" y="236"/>
                    </a:lnTo>
                    <a:lnTo>
                      <a:pt x="299" y="236"/>
                    </a:lnTo>
                    <a:lnTo>
                      <a:pt x="299" y="235"/>
                    </a:lnTo>
                    <a:lnTo>
                      <a:pt x="298" y="235"/>
                    </a:lnTo>
                    <a:lnTo>
                      <a:pt x="297" y="234"/>
                    </a:lnTo>
                    <a:lnTo>
                      <a:pt x="296" y="234"/>
                    </a:lnTo>
                    <a:lnTo>
                      <a:pt x="295" y="234"/>
                    </a:lnTo>
                    <a:lnTo>
                      <a:pt x="294" y="234"/>
                    </a:lnTo>
                    <a:lnTo>
                      <a:pt x="295" y="234"/>
                    </a:lnTo>
                    <a:lnTo>
                      <a:pt x="296" y="234"/>
                    </a:lnTo>
                    <a:lnTo>
                      <a:pt x="296" y="235"/>
                    </a:lnTo>
                    <a:lnTo>
                      <a:pt x="296" y="236"/>
                    </a:lnTo>
                    <a:lnTo>
                      <a:pt x="297" y="237"/>
                    </a:lnTo>
                    <a:lnTo>
                      <a:pt x="298" y="237"/>
                    </a:lnTo>
                    <a:lnTo>
                      <a:pt x="298" y="238"/>
                    </a:lnTo>
                    <a:lnTo>
                      <a:pt x="299" y="238"/>
                    </a:lnTo>
                    <a:lnTo>
                      <a:pt x="299" y="239"/>
                    </a:lnTo>
                    <a:lnTo>
                      <a:pt x="300" y="239"/>
                    </a:lnTo>
                    <a:lnTo>
                      <a:pt x="300" y="241"/>
                    </a:lnTo>
                    <a:lnTo>
                      <a:pt x="300" y="242"/>
                    </a:lnTo>
                    <a:lnTo>
                      <a:pt x="300" y="241"/>
                    </a:lnTo>
                    <a:lnTo>
                      <a:pt x="299" y="241"/>
                    </a:lnTo>
                    <a:lnTo>
                      <a:pt x="299" y="239"/>
                    </a:lnTo>
                    <a:lnTo>
                      <a:pt x="298" y="241"/>
                    </a:lnTo>
                    <a:lnTo>
                      <a:pt x="297" y="241"/>
                    </a:lnTo>
                    <a:lnTo>
                      <a:pt x="297" y="239"/>
                    </a:lnTo>
                    <a:lnTo>
                      <a:pt x="296" y="239"/>
                    </a:lnTo>
                    <a:lnTo>
                      <a:pt x="295" y="239"/>
                    </a:lnTo>
                    <a:lnTo>
                      <a:pt x="295" y="241"/>
                    </a:lnTo>
                    <a:lnTo>
                      <a:pt x="296" y="242"/>
                    </a:lnTo>
                    <a:lnTo>
                      <a:pt x="297" y="242"/>
                    </a:lnTo>
                    <a:lnTo>
                      <a:pt x="297" y="243"/>
                    </a:lnTo>
                    <a:lnTo>
                      <a:pt x="298" y="243"/>
                    </a:lnTo>
                    <a:lnTo>
                      <a:pt x="298" y="244"/>
                    </a:lnTo>
                    <a:lnTo>
                      <a:pt x="297" y="243"/>
                    </a:lnTo>
                    <a:lnTo>
                      <a:pt x="296" y="243"/>
                    </a:lnTo>
                    <a:lnTo>
                      <a:pt x="297" y="244"/>
                    </a:lnTo>
                    <a:lnTo>
                      <a:pt x="297" y="245"/>
                    </a:lnTo>
                    <a:lnTo>
                      <a:pt x="297" y="246"/>
                    </a:lnTo>
                    <a:lnTo>
                      <a:pt x="297" y="247"/>
                    </a:lnTo>
                    <a:lnTo>
                      <a:pt x="297" y="248"/>
                    </a:lnTo>
                    <a:lnTo>
                      <a:pt x="296" y="248"/>
                    </a:lnTo>
                    <a:lnTo>
                      <a:pt x="295" y="248"/>
                    </a:lnTo>
                    <a:lnTo>
                      <a:pt x="294" y="248"/>
                    </a:lnTo>
                    <a:lnTo>
                      <a:pt x="295" y="248"/>
                    </a:lnTo>
                    <a:lnTo>
                      <a:pt x="295" y="249"/>
                    </a:lnTo>
                    <a:lnTo>
                      <a:pt x="296" y="249"/>
                    </a:lnTo>
                    <a:lnTo>
                      <a:pt x="295" y="249"/>
                    </a:lnTo>
                    <a:lnTo>
                      <a:pt x="295" y="250"/>
                    </a:lnTo>
                    <a:lnTo>
                      <a:pt x="295" y="249"/>
                    </a:lnTo>
                    <a:lnTo>
                      <a:pt x="294" y="249"/>
                    </a:lnTo>
                    <a:lnTo>
                      <a:pt x="293" y="249"/>
                    </a:lnTo>
                    <a:lnTo>
                      <a:pt x="293" y="248"/>
                    </a:lnTo>
                    <a:lnTo>
                      <a:pt x="292" y="248"/>
                    </a:lnTo>
                    <a:lnTo>
                      <a:pt x="292" y="247"/>
                    </a:lnTo>
                    <a:lnTo>
                      <a:pt x="291" y="247"/>
                    </a:lnTo>
                    <a:lnTo>
                      <a:pt x="291" y="246"/>
                    </a:lnTo>
                    <a:lnTo>
                      <a:pt x="291" y="245"/>
                    </a:lnTo>
                    <a:lnTo>
                      <a:pt x="290" y="245"/>
                    </a:lnTo>
                    <a:lnTo>
                      <a:pt x="291" y="245"/>
                    </a:lnTo>
                    <a:lnTo>
                      <a:pt x="292" y="244"/>
                    </a:lnTo>
                    <a:lnTo>
                      <a:pt x="292" y="245"/>
                    </a:lnTo>
                    <a:lnTo>
                      <a:pt x="293" y="244"/>
                    </a:lnTo>
                    <a:lnTo>
                      <a:pt x="294" y="244"/>
                    </a:lnTo>
                    <a:lnTo>
                      <a:pt x="294" y="243"/>
                    </a:lnTo>
                    <a:lnTo>
                      <a:pt x="293" y="243"/>
                    </a:lnTo>
                    <a:lnTo>
                      <a:pt x="292" y="243"/>
                    </a:lnTo>
                    <a:lnTo>
                      <a:pt x="292" y="244"/>
                    </a:lnTo>
                    <a:lnTo>
                      <a:pt x="291" y="244"/>
                    </a:lnTo>
                    <a:lnTo>
                      <a:pt x="290" y="244"/>
                    </a:lnTo>
                    <a:lnTo>
                      <a:pt x="288" y="243"/>
                    </a:lnTo>
                    <a:lnTo>
                      <a:pt x="288" y="244"/>
                    </a:lnTo>
                    <a:lnTo>
                      <a:pt x="290" y="244"/>
                    </a:lnTo>
                    <a:lnTo>
                      <a:pt x="290" y="245"/>
                    </a:lnTo>
                    <a:lnTo>
                      <a:pt x="290" y="246"/>
                    </a:lnTo>
                    <a:lnTo>
                      <a:pt x="290" y="247"/>
                    </a:lnTo>
                    <a:lnTo>
                      <a:pt x="288" y="247"/>
                    </a:lnTo>
                    <a:lnTo>
                      <a:pt x="290" y="247"/>
                    </a:lnTo>
                    <a:lnTo>
                      <a:pt x="288" y="248"/>
                    </a:lnTo>
                    <a:lnTo>
                      <a:pt x="287" y="248"/>
                    </a:lnTo>
                    <a:lnTo>
                      <a:pt x="287" y="247"/>
                    </a:lnTo>
                    <a:lnTo>
                      <a:pt x="286" y="247"/>
                    </a:lnTo>
                    <a:lnTo>
                      <a:pt x="286" y="248"/>
                    </a:lnTo>
                    <a:lnTo>
                      <a:pt x="287" y="248"/>
                    </a:lnTo>
                    <a:lnTo>
                      <a:pt x="287" y="249"/>
                    </a:lnTo>
                    <a:lnTo>
                      <a:pt x="288" y="249"/>
                    </a:lnTo>
                    <a:lnTo>
                      <a:pt x="288" y="250"/>
                    </a:lnTo>
                    <a:lnTo>
                      <a:pt x="287" y="251"/>
                    </a:lnTo>
                    <a:lnTo>
                      <a:pt x="286" y="251"/>
                    </a:lnTo>
                    <a:lnTo>
                      <a:pt x="287" y="252"/>
                    </a:lnTo>
                    <a:lnTo>
                      <a:pt x="288" y="252"/>
                    </a:lnTo>
                    <a:lnTo>
                      <a:pt x="288" y="251"/>
                    </a:lnTo>
                    <a:lnTo>
                      <a:pt x="288" y="250"/>
                    </a:lnTo>
                    <a:lnTo>
                      <a:pt x="290" y="250"/>
                    </a:lnTo>
                    <a:lnTo>
                      <a:pt x="290" y="251"/>
                    </a:lnTo>
                    <a:lnTo>
                      <a:pt x="291" y="251"/>
                    </a:lnTo>
                    <a:lnTo>
                      <a:pt x="292" y="251"/>
                    </a:lnTo>
                    <a:lnTo>
                      <a:pt x="293" y="251"/>
                    </a:lnTo>
                    <a:lnTo>
                      <a:pt x="293" y="250"/>
                    </a:lnTo>
                    <a:lnTo>
                      <a:pt x="294" y="250"/>
                    </a:lnTo>
                    <a:lnTo>
                      <a:pt x="294" y="251"/>
                    </a:lnTo>
                    <a:lnTo>
                      <a:pt x="294" y="250"/>
                    </a:lnTo>
                    <a:lnTo>
                      <a:pt x="295" y="250"/>
                    </a:lnTo>
                    <a:lnTo>
                      <a:pt x="296" y="250"/>
                    </a:lnTo>
                    <a:lnTo>
                      <a:pt x="297" y="251"/>
                    </a:lnTo>
                    <a:lnTo>
                      <a:pt x="297" y="250"/>
                    </a:lnTo>
                    <a:lnTo>
                      <a:pt x="297" y="249"/>
                    </a:lnTo>
                    <a:lnTo>
                      <a:pt x="298" y="249"/>
                    </a:lnTo>
                    <a:lnTo>
                      <a:pt x="297" y="250"/>
                    </a:lnTo>
                    <a:lnTo>
                      <a:pt x="298" y="250"/>
                    </a:lnTo>
                    <a:lnTo>
                      <a:pt x="298" y="251"/>
                    </a:lnTo>
                    <a:lnTo>
                      <a:pt x="299" y="251"/>
                    </a:lnTo>
                    <a:lnTo>
                      <a:pt x="299" y="252"/>
                    </a:lnTo>
                    <a:lnTo>
                      <a:pt x="299" y="251"/>
                    </a:lnTo>
                    <a:lnTo>
                      <a:pt x="299" y="250"/>
                    </a:lnTo>
                    <a:lnTo>
                      <a:pt x="298" y="250"/>
                    </a:lnTo>
                    <a:lnTo>
                      <a:pt x="298" y="251"/>
                    </a:lnTo>
                    <a:lnTo>
                      <a:pt x="298" y="250"/>
                    </a:lnTo>
                    <a:lnTo>
                      <a:pt x="298" y="249"/>
                    </a:lnTo>
                    <a:lnTo>
                      <a:pt x="297" y="249"/>
                    </a:lnTo>
                    <a:lnTo>
                      <a:pt x="296" y="248"/>
                    </a:lnTo>
                    <a:lnTo>
                      <a:pt x="297" y="248"/>
                    </a:lnTo>
                    <a:lnTo>
                      <a:pt x="298" y="248"/>
                    </a:lnTo>
                    <a:lnTo>
                      <a:pt x="298" y="247"/>
                    </a:lnTo>
                    <a:lnTo>
                      <a:pt x="297" y="247"/>
                    </a:lnTo>
                    <a:lnTo>
                      <a:pt x="298" y="247"/>
                    </a:lnTo>
                    <a:lnTo>
                      <a:pt x="299" y="247"/>
                    </a:lnTo>
                    <a:lnTo>
                      <a:pt x="300" y="247"/>
                    </a:lnTo>
                    <a:lnTo>
                      <a:pt x="301" y="247"/>
                    </a:lnTo>
                    <a:lnTo>
                      <a:pt x="301" y="248"/>
                    </a:lnTo>
                    <a:lnTo>
                      <a:pt x="303" y="249"/>
                    </a:lnTo>
                    <a:lnTo>
                      <a:pt x="301" y="249"/>
                    </a:lnTo>
                    <a:lnTo>
                      <a:pt x="300" y="249"/>
                    </a:lnTo>
                    <a:lnTo>
                      <a:pt x="300" y="248"/>
                    </a:lnTo>
                    <a:lnTo>
                      <a:pt x="299" y="248"/>
                    </a:lnTo>
                    <a:lnTo>
                      <a:pt x="299" y="249"/>
                    </a:lnTo>
                    <a:lnTo>
                      <a:pt x="300" y="249"/>
                    </a:lnTo>
                    <a:lnTo>
                      <a:pt x="301" y="249"/>
                    </a:lnTo>
                    <a:lnTo>
                      <a:pt x="303" y="249"/>
                    </a:lnTo>
                    <a:lnTo>
                      <a:pt x="304" y="249"/>
                    </a:lnTo>
                    <a:lnTo>
                      <a:pt x="304" y="250"/>
                    </a:lnTo>
                    <a:lnTo>
                      <a:pt x="305" y="250"/>
                    </a:lnTo>
                    <a:lnTo>
                      <a:pt x="305" y="251"/>
                    </a:lnTo>
                    <a:lnTo>
                      <a:pt x="306" y="251"/>
                    </a:lnTo>
                    <a:lnTo>
                      <a:pt x="306" y="250"/>
                    </a:lnTo>
                    <a:lnTo>
                      <a:pt x="305" y="250"/>
                    </a:lnTo>
                    <a:lnTo>
                      <a:pt x="304" y="250"/>
                    </a:lnTo>
                    <a:lnTo>
                      <a:pt x="304" y="249"/>
                    </a:lnTo>
                    <a:lnTo>
                      <a:pt x="305" y="249"/>
                    </a:lnTo>
                    <a:lnTo>
                      <a:pt x="306" y="249"/>
                    </a:lnTo>
                    <a:lnTo>
                      <a:pt x="306" y="248"/>
                    </a:lnTo>
                    <a:lnTo>
                      <a:pt x="307" y="249"/>
                    </a:lnTo>
                    <a:lnTo>
                      <a:pt x="308" y="249"/>
                    </a:lnTo>
                    <a:lnTo>
                      <a:pt x="308" y="250"/>
                    </a:lnTo>
                    <a:lnTo>
                      <a:pt x="308" y="249"/>
                    </a:lnTo>
                    <a:lnTo>
                      <a:pt x="309" y="250"/>
                    </a:lnTo>
                    <a:lnTo>
                      <a:pt x="309" y="249"/>
                    </a:lnTo>
                    <a:lnTo>
                      <a:pt x="310" y="249"/>
                    </a:lnTo>
                    <a:lnTo>
                      <a:pt x="311" y="250"/>
                    </a:lnTo>
                    <a:lnTo>
                      <a:pt x="312" y="250"/>
                    </a:lnTo>
                    <a:lnTo>
                      <a:pt x="312" y="251"/>
                    </a:lnTo>
                    <a:lnTo>
                      <a:pt x="313" y="251"/>
                    </a:lnTo>
                    <a:lnTo>
                      <a:pt x="313" y="250"/>
                    </a:lnTo>
                    <a:lnTo>
                      <a:pt x="313" y="251"/>
                    </a:lnTo>
                    <a:lnTo>
                      <a:pt x="313" y="252"/>
                    </a:lnTo>
                    <a:lnTo>
                      <a:pt x="312" y="252"/>
                    </a:lnTo>
                    <a:lnTo>
                      <a:pt x="313" y="252"/>
                    </a:lnTo>
                    <a:lnTo>
                      <a:pt x="313" y="251"/>
                    </a:lnTo>
                    <a:lnTo>
                      <a:pt x="314" y="251"/>
                    </a:lnTo>
                    <a:lnTo>
                      <a:pt x="314" y="250"/>
                    </a:lnTo>
                    <a:lnTo>
                      <a:pt x="313" y="250"/>
                    </a:lnTo>
                    <a:lnTo>
                      <a:pt x="312" y="250"/>
                    </a:lnTo>
                    <a:lnTo>
                      <a:pt x="313" y="249"/>
                    </a:lnTo>
                    <a:lnTo>
                      <a:pt x="313" y="248"/>
                    </a:lnTo>
                    <a:lnTo>
                      <a:pt x="313" y="247"/>
                    </a:lnTo>
                    <a:lnTo>
                      <a:pt x="314" y="247"/>
                    </a:lnTo>
                    <a:lnTo>
                      <a:pt x="314" y="246"/>
                    </a:lnTo>
                    <a:lnTo>
                      <a:pt x="316" y="246"/>
                    </a:lnTo>
                    <a:lnTo>
                      <a:pt x="316" y="245"/>
                    </a:lnTo>
                    <a:lnTo>
                      <a:pt x="317" y="245"/>
                    </a:lnTo>
                    <a:lnTo>
                      <a:pt x="318" y="245"/>
                    </a:lnTo>
                    <a:lnTo>
                      <a:pt x="317" y="245"/>
                    </a:lnTo>
                    <a:lnTo>
                      <a:pt x="317" y="246"/>
                    </a:lnTo>
                    <a:lnTo>
                      <a:pt x="318" y="246"/>
                    </a:lnTo>
                    <a:lnTo>
                      <a:pt x="317" y="247"/>
                    </a:lnTo>
                    <a:lnTo>
                      <a:pt x="318" y="247"/>
                    </a:lnTo>
                    <a:lnTo>
                      <a:pt x="318" y="248"/>
                    </a:lnTo>
                    <a:lnTo>
                      <a:pt x="318" y="249"/>
                    </a:lnTo>
                    <a:lnTo>
                      <a:pt x="318" y="250"/>
                    </a:lnTo>
                    <a:lnTo>
                      <a:pt x="319" y="251"/>
                    </a:lnTo>
                    <a:lnTo>
                      <a:pt x="319" y="250"/>
                    </a:lnTo>
                    <a:lnTo>
                      <a:pt x="318" y="250"/>
                    </a:lnTo>
                    <a:lnTo>
                      <a:pt x="319" y="249"/>
                    </a:lnTo>
                    <a:lnTo>
                      <a:pt x="318" y="249"/>
                    </a:lnTo>
                    <a:lnTo>
                      <a:pt x="318" y="248"/>
                    </a:lnTo>
                    <a:lnTo>
                      <a:pt x="318" y="247"/>
                    </a:lnTo>
                    <a:lnTo>
                      <a:pt x="318" y="246"/>
                    </a:lnTo>
                    <a:lnTo>
                      <a:pt x="317" y="246"/>
                    </a:lnTo>
                    <a:lnTo>
                      <a:pt x="317" y="245"/>
                    </a:lnTo>
                    <a:lnTo>
                      <a:pt x="317" y="246"/>
                    </a:lnTo>
                    <a:lnTo>
                      <a:pt x="318" y="246"/>
                    </a:lnTo>
                    <a:lnTo>
                      <a:pt x="318" y="245"/>
                    </a:lnTo>
                    <a:lnTo>
                      <a:pt x="318" y="244"/>
                    </a:lnTo>
                    <a:lnTo>
                      <a:pt x="317" y="244"/>
                    </a:lnTo>
                    <a:lnTo>
                      <a:pt x="316" y="244"/>
                    </a:lnTo>
                    <a:lnTo>
                      <a:pt x="316" y="243"/>
                    </a:lnTo>
                    <a:lnTo>
                      <a:pt x="316" y="242"/>
                    </a:lnTo>
                    <a:lnTo>
                      <a:pt x="317" y="242"/>
                    </a:lnTo>
                    <a:lnTo>
                      <a:pt x="318" y="242"/>
                    </a:lnTo>
                    <a:lnTo>
                      <a:pt x="317" y="241"/>
                    </a:lnTo>
                    <a:lnTo>
                      <a:pt x="318" y="241"/>
                    </a:lnTo>
                    <a:lnTo>
                      <a:pt x="319" y="241"/>
                    </a:lnTo>
                    <a:lnTo>
                      <a:pt x="320" y="241"/>
                    </a:lnTo>
                    <a:lnTo>
                      <a:pt x="319" y="241"/>
                    </a:lnTo>
                    <a:lnTo>
                      <a:pt x="319" y="242"/>
                    </a:lnTo>
                    <a:lnTo>
                      <a:pt x="320" y="242"/>
                    </a:lnTo>
                    <a:lnTo>
                      <a:pt x="321" y="242"/>
                    </a:lnTo>
                    <a:lnTo>
                      <a:pt x="321" y="241"/>
                    </a:lnTo>
                    <a:lnTo>
                      <a:pt x="321" y="242"/>
                    </a:lnTo>
                    <a:lnTo>
                      <a:pt x="321" y="243"/>
                    </a:lnTo>
                    <a:lnTo>
                      <a:pt x="322" y="243"/>
                    </a:lnTo>
                    <a:lnTo>
                      <a:pt x="322" y="244"/>
                    </a:lnTo>
                    <a:lnTo>
                      <a:pt x="322" y="245"/>
                    </a:lnTo>
                    <a:lnTo>
                      <a:pt x="321" y="244"/>
                    </a:lnTo>
                    <a:lnTo>
                      <a:pt x="321" y="245"/>
                    </a:lnTo>
                    <a:lnTo>
                      <a:pt x="321" y="244"/>
                    </a:lnTo>
                    <a:lnTo>
                      <a:pt x="320" y="244"/>
                    </a:lnTo>
                    <a:lnTo>
                      <a:pt x="319" y="244"/>
                    </a:lnTo>
                    <a:lnTo>
                      <a:pt x="319" y="243"/>
                    </a:lnTo>
                    <a:lnTo>
                      <a:pt x="318" y="243"/>
                    </a:lnTo>
                    <a:lnTo>
                      <a:pt x="319" y="244"/>
                    </a:lnTo>
                    <a:lnTo>
                      <a:pt x="320" y="244"/>
                    </a:lnTo>
                    <a:lnTo>
                      <a:pt x="320" y="245"/>
                    </a:lnTo>
                    <a:lnTo>
                      <a:pt x="321" y="245"/>
                    </a:lnTo>
                    <a:lnTo>
                      <a:pt x="320" y="245"/>
                    </a:lnTo>
                    <a:lnTo>
                      <a:pt x="320" y="246"/>
                    </a:lnTo>
                    <a:lnTo>
                      <a:pt x="321" y="246"/>
                    </a:lnTo>
                    <a:lnTo>
                      <a:pt x="322" y="247"/>
                    </a:lnTo>
                    <a:lnTo>
                      <a:pt x="323" y="247"/>
                    </a:lnTo>
                    <a:lnTo>
                      <a:pt x="324" y="247"/>
                    </a:lnTo>
                    <a:lnTo>
                      <a:pt x="323" y="247"/>
                    </a:lnTo>
                    <a:lnTo>
                      <a:pt x="323" y="246"/>
                    </a:lnTo>
                    <a:lnTo>
                      <a:pt x="323" y="247"/>
                    </a:lnTo>
                    <a:lnTo>
                      <a:pt x="322" y="247"/>
                    </a:lnTo>
                    <a:lnTo>
                      <a:pt x="322" y="246"/>
                    </a:lnTo>
                    <a:lnTo>
                      <a:pt x="321" y="246"/>
                    </a:lnTo>
                    <a:lnTo>
                      <a:pt x="321" y="245"/>
                    </a:lnTo>
                    <a:lnTo>
                      <a:pt x="322" y="245"/>
                    </a:lnTo>
                    <a:lnTo>
                      <a:pt x="322" y="244"/>
                    </a:lnTo>
                    <a:lnTo>
                      <a:pt x="323" y="243"/>
                    </a:lnTo>
                    <a:lnTo>
                      <a:pt x="324" y="243"/>
                    </a:lnTo>
                    <a:lnTo>
                      <a:pt x="324" y="244"/>
                    </a:lnTo>
                    <a:lnTo>
                      <a:pt x="325" y="244"/>
                    </a:lnTo>
                    <a:lnTo>
                      <a:pt x="324" y="245"/>
                    </a:lnTo>
                    <a:lnTo>
                      <a:pt x="324" y="244"/>
                    </a:lnTo>
                    <a:lnTo>
                      <a:pt x="324" y="245"/>
                    </a:lnTo>
                    <a:lnTo>
                      <a:pt x="325" y="245"/>
                    </a:lnTo>
                    <a:lnTo>
                      <a:pt x="325" y="244"/>
                    </a:lnTo>
                    <a:lnTo>
                      <a:pt x="326" y="244"/>
                    </a:lnTo>
                    <a:lnTo>
                      <a:pt x="326" y="245"/>
                    </a:lnTo>
                    <a:lnTo>
                      <a:pt x="327" y="245"/>
                    </a:lnTo>
                    <a:lnTo>
                      <a:pt x="329" y="245"/>
                    </a:lnTo>
                    <a:lnTo>
                      <a:pt x="329" y="246"/>
                    </a:lnTo>
                    <a:lnTo>
                      <a:pt x="329" y="245"/>
                    </a:lnTo>
                    <a:lnTo>
                      <a:pt x="330" y="245"/>
                    </a:lnTo>
                    <a:lnTo>
                      <a:pt x="330" y="244"/>
                    </a:lnTo>
                    <a:lnTo>
                      <a:pt x="330" y="245"/>
                    </a:lnTo>
                    <a:lnTo>
                      <a:pt x="330" y="244"/>
                    </a:lnTo>
                    <a:lnTo>
                      <a:pt x="331" y="244"/>
                    </a:lnTo>
                    <a:lnTo>
                      <a:pt x="331" y="245"/>
                    </a:lnTo>
                    <a:lnTo>
                      <a:pt x="332" y="245"/>
                    </a:lnTo>
                    <a:lnTo>
                      <a:pt x="332" y="246"/>
                    </a:lnTo>
                    <a:lnTo>
                      <a:pt x="331" y="246"/>
                    </a:lnTo>
                    <a:lnTo>
                      <a:pt x="332" y="246"/>
                    </a:lnTo>
                    <a:lnTo>
                      <a:pt x="332" y="247"/>
                    </a:lnTo>
                    <a:lnTo>
                      <a:pt x="333" y="247"/>
                    </a:lnTo>
                    <a:lnTo>
                      <a:pt x="334" y="247"/>
                    </a:lnTo>
                    <a:lnTo>
                      <a:pt x="335" y="246"/>
                    </a:lnTo>
                    <a:lnTo>
                      <a:pt x="335" y="247"/>
                    </a:lnTo>
                    <a:lnTo>
                      <a:pt x="336" y="247"/>
                    </a:lnTo>
                    <a:lnTo>
                      <a:pt x="337" y="248"/>
                    </a:lnTo>
                    <a:lnTo>
                      <a:pt x="338" y="248"/>
                    </a:lnTo>
                    <a:lnTo>
                      <a:pt x="338" y="249"/>
                    </a:lnTo>
                    <a:lnTo>
                      <a:pt x="337" y="249"/>
                    </a:lnTo>
                    <a:lnTo>
                      <a:pt x="336" y="249"/>
                    </a:lnTo>
                    <a:lnTo>
                      <a:pt x="335" y="250"/>
                    </a:lnTo>
                    <a:lnTo>
                      <a:pt x="335" y="249"/>
                    </a:lnTo>
                    <a:lnTo>
                      <a:pt x="335" y="250"/>
                    </a:lnTo>
                    <a:lnTo>
                      <a:pt x="335" y="251"/>
                    </a:lnTo>
                    <a:lnTo>
                      <a:pt x="335" y="252"/>
                    </a:lnTo>
                    <a:lnTo>
                      <a:pt x="335" y="254"/>
                    </a:lnTo>
                    <a:lnTo>
                      <a:pt x="335" y="252"/>
                    </a:lnTo>
                    <a:lnTo>
                      <a:pt x="334" y="252"/>
                    </a:lnTo>
                    <a:lnTo>
                      <a:pt x="333" y="251"/>
                    </a:lnTo>
                    <a:lnTo>
                      <a:pt x="332" y="251"/>
                    </a:lnTo>
                    <a:lnTo>
                      <a:pt x="331" y="250"/>
                    </a:lnTo>
                    <a:lnTo>
                      <a:pt x="330" y="249"/>
                    </a:lnTo>
                    <a:lnTo>
                      <a:pt x="330" y="250"/>
                    </a:lnTo>
                    <a:lnTo>
                      <a:pt x="329" y="251"/>
                    </a:lnTo>
                    <a:lnTo>
                      <a:pt x="330" y="251"/>
                    </a:lnTo>
                    <a:lnTo>
                      <a:pt x="330" y="252"/>
                    </a:lnTo>
                    <a:lnTo>
                      <a:pt x="331" y="252"/>
                    </a:lnTo>
                    <a:lnTo>
                      <a:pt x="332" y="254"/>
                    </a:lnTo>
                    <a:lnTo>
                      <a:pt x="332" y="255"/>
                    </a:lnTo>
                    <a:lnTo>
                      <a:pt x="332" y="256"/>
                    </a:lnTo>
                    <a:lnTo>
                      <a:pt x="331" y="256"/>
                    </a:lnTo>
                    <a:lnTo>
                      <a:pt x="330" y="256"/>
                    </a:lnTo>
                    <a:lnTo>
                      <a:pt x="330" y="255"/>
                    </a:lnTo>
                    <a:lnTo>
                      <a:pt x="329" y="255"/>
                    </a:lnTo>
                    <a:lnTo>
                      <a:pt x="327" y="255"/>
                    </a:lnTo>
                    <a:lnTo>
                      <a:pt x="327" y="254"/>
                    </a:lnTo>
                    <a:lnTo>
                      <a:pt x="329" y="252"/>
                    </a:lnTo>
                    <a:lnTo>
                      <a:pt x="329" y="251"/>
                    </a:lnTo>
                    <a:lnTo>
                      <a:pt x="327" y="251"/>
                    </a:lnTo>
                    <a:lnTo>
                      <a:pt x="326" y="250"/>
                    </a:lnTo>
                    <a:lnTo>
                      <a:pt x="325" y="250"/>
                    </a:lnTo>
                    <a:lnTo>
                      <a:pt x="324" y="249"/>
                    </a:lnTo>
                    <a:lnTo>
                      <a:pt x="323" y="249"/>
                    </a:lnTo>
                    <a:lnTo>
                      <a:pt x="323" y="250"/>
                    </a:lnTo>
                    <a:lnTo>
                      <a:pt x="322" y="250"/>
                    </a:lnTo>
                    <a:lnTo>
                      <a:pt x="322" y="249"/>
                    </a:lnTo>
                    <a:lnTo>
                      <a:pt x="321" y="249"/>
                    </a:lnTo>
                    <a:lnTo>
                      <a:pt x="322" y="249"/>
                    </a:lnTo>
                    <a:lnTo>
                      <a:pt x="322" y="250"/>
                    </a:lnTo>
                    <a:lnTo>
                      <a:pt x="323" y="250"/>
                    </a:lnTo>
                    <a:lnTo>
                      <a:pt x="323" y="251"/>
                    </a:lnTo>
                    <a:lnTo>
                      <a:pt x="324" y="251"/>
                    </a:lnTo>
                    <a:lnTo>
                      <a:pt x="324" y="252"/>
                    </a:lnTo>
                    <a:lnTo>
                      <a:pt x="325" y="252"/>
                    </a:lnTo>
                    <a:lnTo>
                      <a:pt x="326" y="252"/>
                    </a:lnTo>
                    <a:lnTo>
                      <a:pt x="327" y="252"/>
                    </a:lnTo>
                    <a:lnTo>
                      <a:pt x="327" y="254"/>
                    </a:lnTo>
                    <a:lnTo>
                      <a:pt x="327" y="255"/>
                    </a:lnTo>
                    <a:lnTo>
                      <a:pt x="329" y="255"/>
                    </a:lnTo>
                    <a:lnTo>
                      <a:pt x="329" y="256"/>
                    </a:lnTo>
                    <a:lnTo>
                      <a:pt x="330" y="256"/>
                    </a:lnTo>
                    <a:lnTo>
                      <a:pt x="330" y="257"/>
                    </a:lnTo>
                    <a:lnTo>
                      <a:pt x="331" y="257"/>
                    </a:lnTo>
                    <a:lnTo>
                      <a:pt x="331" y="258"/>
                    </a:lnTo>
                    <a:lnTo>
                      <a:pt x="332" y="258"/>
                    </a:lnTo>
                    <a:lnTo>
                      <a:pt x="332" y="259"/>
                    </a:lnTo>
                    <a:lnTo>
                      <a:pt x="333" y="259"/>
                    </a:lnTo>
                    <a:lnTo>
                      <a:pt x="333" y="260"/>
                    </a:lnTo>
                    <a:lnTo>
                      <a:pt x="334" y="260"/>
                    </a:lnTo>
                    <a:lnTo>
                      <a:pt x="334" y="261"/>
                    </a:lnTo>
                    <a:lnTo>
                      <a:pt x="335" y="261"/>
                    </a:lnTo>
                    <a:lnTo>
                      <a:pt x="335" y="262"/>
                    </a:lnTo>
                    <a:lnTo>
                      <a:pt x="336" y="262"/>
                    </a:lnTo>
                    <a:lnTo>
                      <a:pt x="337" y="262"/>
                    </a:lnTo>
                    <a:lnTo>
                      <a:pt x="337" y="263"/>
                    </a:lnTo>
                    <a:lnTo>
                      <a:pt x="336" y="263"/>
                    </a:lnTo>
                    <a:lnTo>
                      <a:pt x="336" y="264"/>
                    </a:lnTo>
                    <a:lnTo>
                      <a:pt x="337" y="264"/>
                    </a:lnTo>
                    <a:lnTo>
                      <a:pt x="337" y="263"/>
                    </a:lnTo>
                    <a:lnTo>
                      <a:pt x="338" y="263"/>
                    </a:lnTo>
                    <a:lnTo>
                      <a:pt x="339" y="263"/>
                    </a:lnTo>
                    <a:lnTo>
                      <a:pt x="340" y="266"/>
                    </a:lnTo>
                    <a:lnTo>
                      <a:pt x="342" y="266"/>
                    </a:lnTo>
                    <a:lnTo>
                      <a:pt x="343" y="266"/>
                    </a:lnTo>
                    <a:lnTo>
                      <a:pt x="343" y="267"/>
                    </a:lnTo>
                    <a:lnTo>
                      <a:pt x="343" y="268"/>
                    </a:lnTo>
                    <a:lnTo>
                      <a:pt x="344" y="269"/>
                    </a:lnTo>
                    <a:lnTo>
                      <a:pt x="343" y="269"/>
                    </a:lnTo>
                    <a:lnTo>
                      <a:pt x="344" y="269"/>
                    </a:lnTo>
                    <a:lnTo>
                      <a:pt x="344" y="270"/>
                    </a:lnTo>
                    <a:lnTo>
                      <a:pt x="344" y="271"/>
                    </a:lnTo>
                    <a:lnTo>
                      <a:pt x="344" y="272"/>
                    </a:lnTo>
                    <a:lnTo>
                      <a:pt x="344" y="273"/>
                    </a:lnTo>
                    <a:lnTo>
                      <a:pt x="344" y="274"/>
                    </a:lnTo>
                    <a:lnTo>
                      <a:pt x="345" y="275"/>
                    </a:lnTo>
                    <a:lnTo>
                      <a:pt x="346" y="276"/>
                    </a:lnTo>
                    <a:lnTo>
                      <a:pt x="347" y="276"/>
                    </a:lnTo>
                    <a:lnTo>
                      <a:pt x="349" y="276"/>
                    </a:lnTo>
                    <a:lnTo>
                      <a:pt x="349" y="277"/>
                    </a:lnTo>
                    <a:lnTo>
                      <a:pt x="350" y="277"/>
                    </a:lnTo>
                    <a:lnTo>
                      <a:pt x="350" y="276"/>
                    </a:lnTo>
                    <a:lnTo>
                      <a:pt x="351" y="277"/>
                    </a:lnTo>
                    <a:lnTo>
                      <a:pt x="351" y="279"/>
                    </a:lnTo>
                    <a:lnTo>
                      <a:pt x="350" y="279"/>
                    </a:lnTo>
                    <a:lnTo>
                      <a:pt x="350" y="280"/>
                    </a:lnTo>
                    <a:lnTo>
                      <a:pt x="350" y="279"/>
                    </a:lnTo>
                    <a:lnTo>
                      <a:pt x="350" y="280"/>
                    </a:lnTo>
                    <a:lnTo>
                      <a:pt x="350" y="281"/>
                    </a:lnTo>
                    <a:lnTo>
                      <a:pt x="349" y="281"/>
                    </a:lnTo>
                    <a:lnTo>
                      <a:pt x="348" y="281"/>
                    </a:lnTo>
                    <a:lnTo>
                      <a:pt x="349" y="281"/>
                    </a:lnTo>
                    <a:lnTo>
                      <a:pt x="348" y="282"/>
                    </a:lnTo>
                    <a:lnTo>
                      <a:pt x="349" y="282"/>
                    </a:lnTo>
                    <a:lnTo>
                      <a:pt x="349" y="283"/>
                    </a:lnTo>
                    <a:lnTo>
                      <a:pt x="350" y="284"/>
                    </a:lnTo>
                    <a:lnTo>
                      <a:pt x="350" y="285"/>
                    </a:lnTo>
                    <a:lnTo>
                      <a:pt x="349" y="285"/>
                    </a:lnTo>
                    <a:lnTo>
                      <a:pt x="349" y="286"/>
                    </a:lnTo>
                    <a:lnTo>
                      <a:pt x="349" y="287"/>
                    </a:lnTo>
                    <a:lnTo>
                      <a:pt x="348" y="288"/>
                    </a:lnTo>
                    <a:lnTo>
                      <a:pt x="347" y="288"/>
                    </a:lnTo>
                    <a:lnTo>
                      <a:pt x="346" y="288"/>
                    </a:lnTo>
                    <a:lnTo>
                      <a:pt x="345" y="287"/>
                    </a:lnTo>
                    <a:lnTo>
                      <a:pt x="346" y="287"/>
                    </a:lnTo>
                    <a:lnTo>
                      <a:pt x="346" y="288"/>
                    </a:lnTo>
                    <a:lnTo>
                      <a:pt x="347" y="288"/>
                    </a:lnTo>
                    <a:lnTo>
                      <a:pt x="348" y="288"/>
                    </a:lnTo>
                    <a:lnTo>
                      <a:pt x="348" y="287"/>
                    </a:lnTo>
                    <a:lnTo>
                      <a:pt x="349" y="286"/>
                    </a:lnTo>
                    <a:lnTo>
                      <a:pt x="348" y="286"/>
                    </a:lnTo>
                    <a:lnTo>
                      <a:pt x="348" y="285"/>
                    </a:lnTo>
                    <a:lnTo>
                      <a:pt x="348" y="284"/>
                    </a:lnTo>
                    <a:lnTo>
                      <a:pt x="347" y="283"/>
                    </a:lnTo>
                    <a:lnTo>
                      <a:pt x="347" y="284"/>
                    </a:lnTo>
                    <a:lnTo>
                      <a:pt x="347" y="285"/>
                    </a:lnTo>
                    <a:lnTo>
                      <a:pt x="348" y="285"/>
                    </a:lnTo>
                    <a:lnTo>
                      <a:pt x="348" y="286"/>
                    </a:lnTo>
                    <a:lnTo>
                      <a:pt x="347" y="286"/>
                    </a:lnTo>
                    <a:lnTo>
                      <a:pt x="346" y="286"/>
                    </a:lnTo>
                    <a:lnTo>
                      <a:pt x="345" y="286"/>
                    </a:lnTo>
                    <a:lnTo>
                      <a:pt x="345" y="285"/>
                    </a:lnTo>
                    <a:lnTo>
                      <a:pt x="344" y="284"/>
                    </a:lnTo>
                    <a:lnTo>
                      <a:pt x="344" y="283"/>
                    </a:lnTo>
                    <a:lnTo>
                      <a:pt x="343" y="283"/>
                    </a:lnTo>
                    <a:lnTo>
                      <a:pt x="343" y="282"/>
                    </a:lnTo>
                    <a:lnTo>
                      <a:pt x="344" y="282"/>
                    </a:lnTo>
                    <a:lnTo>
                      <a:pt x="343" y="282"/>
                    </a:lnTo>
                    <a:lnTo>
                      <a:pt x="343" y="281"/>
                    </a:lnTo>
                    <a:lnTo>
                      <a:pt x="344" y="281"/>
                    </a:lnTo>
                    <a:lnTo>
                      <a:pt x="345" y="281"/>
                    </a:lnTo>
                    <a:lnTo>
                      <a:pt x="344" y="281"/>
                    </a:lnTo>
                    <a:lnTo>
                      <a:pt x="343" y="281"/>
                    </a:lnTo>
                    <a:lnTo>
                      <a:pt x="342" y="281"/>
                    </a:lnTo>
                    <a:lnTo>
                      <a:pt x="340" y="281"/>
                    </a:lnTo>
                    <a:lnTo>
                      <a:pt x="340" y="280"/>
                    </a:lnTo>
                    <a:lnTo>
                      <a:pt x="342" y="280"/>
                    </a:lnTo>
                    <a:lnTo>
                      <a:pt x="342" y="279"/>
                    </a:lnTo>
                    <a:lnTo>
                      <a:pt x="340" y="279"/>
                    </a:lnTo>
                    <a:lnTo>
                      <a:pt x="340" y="280"/>
                    </a:lnTo>
                    <a:lnTo>
                      <a:pt x="339" y="280"/>
                    </a:lnTo>
                    <a:lnTo>
                      <a:pt x="338" y="280"/>
                    </a:lnTo>
                    <a:lnTo>
                      <a:pt x="338" y="281"/>
                    </a:lnTo>
                    <a:lnTo>
                      <a:pt x="337" y="280"/>
                    </a:lnTo>
                    <a:lnTo>
                      <a:pt x="336" y="281"/>
                    </a:lnTo>
                    <a:lnTo>
                      <a:pt x="336" y="280"/>
                    </a:lnTo>
                    <a:lnTo>
                      <a:pt x="335" y="280"/>
                    </a:lnTo>
                    <a:lnTo>
                      <a:pt x="334" y="279"/>
                    </a:lnTo>
                    <a:lnTo>
                      <a:pt x="333" y="277"/>
                    </a:lnTo>
                    <a:lnTo>
                      <a:pt x="332" y="277"/>
                    </a:lnTo>
                    <a:lnTo>
                      <a:pt x="332" y="276"/>
                    </a:lnTo>
                    <a:lnTo>
                      <a:pt x="332" y="275"/>
                    </a:lnTo>
                    <a:lnTo>
                      <a:pt x="333" y="275"/>
                    </a:lnTo>
                    <a:lnTo>
                      <a:pt x="332" y="274"/>
                    </a:lnTo>
                    <a:lnTo>
                      <a:pt x="332" y="273"/>
                    </a:lnTo>
                    <a:lnTo>
                      <a:pt x="333" y="273"/>
                    </a:lnTo>
                    <a:lnTo>
                      <a:pt x="334" y="273"/>
                    </a:lnTo>
                    <a:lnTo>
                      <a:pt x="335" y="273"/>
                    </a:lnTo>
                    <a:lnTo>
                      <a:pt x="335" y="274"/>
                    </a:lnTo>
                    <a:lnTo>
                      <a:pt x="336" y="274"/>
                    </a:lnTo>
                    <a:lnTo>
                      <a:pt x="337" y="274"/>
                    </a:lnTo>
                    <a:lnTo>
                      <a:pt x="337" y="273"/>
                    </a:lnTo>
                    <a:lnTo>
                      <a:pt x="336" y="273"/>
                    </a:lnTo>
                    <a:lnTo>
                      <a:pt x="335" y="273"/>
                    </a:lnTo>
                    <a:lnTo>
                      <a:pt x="334" y="273"/>
                    </a:lnTo>
                    <a:lnTo>
                      <a:pt x="333" y="273"/>
                    </a:lnTo>
                    <a:lnTo>
                      <a:pt x="333" y="272"/>
                    </a:lnTo>
                    <a:lnTo>
                      <a:pt x="333" y="273"/>
                    </a:lnTo>
                    <a:lnTo>
                      <a:pt x="333" y="272"/>
                    </a:lnTo>
                    <a:lnTo>
                      <a:pt x="332" y="272"/>
                    </a:lnTo>
                    <a:lnTo>
                      <a:pt x="332" y="273"/>
                    </a:lnTo>
                    <a:lnTo>
                      <a:pt x="331" y="273"/>
                    </a:lnTo>
                    <a:lnTo>
                      <a:pt x="330" y="273"/>
                    </a:lnTo>
                    <a:lnTo>
                      <a:pt x="329" y="273"/>
                    </a:lnTo>
                    <a:lnTo>
                      <a:pt x="330" y="273"/>
                    </a:lnTo>
                    <a:lnTo>
                      <a:pt x="330" y="272"/>
                    </a:lnTo>
                    <a:lnTo>
                      <a:pt x="329" y="272"/>
                    </a:lnTo>
                    <a:lnTo>
                      <a:pt x="330" y="272"/>
                    </a:lnTo>
                    <a:lnTo>
                      <a:pt x="329" y="272"/>
                    </a:lnTo>
                    <a:lnTo>
                      <a:pt x="330" y="271"/>
                    </a:lnTo>
                    <a:lnTo>
                      <a:pt x="331" y="271"/>
                    </a:lnTo>
                    <a:lnTo>
                      <a:pt x="332" y="272"/>
                    </a:lnTo>
                    <a:lnTo>
                      <a:pt x="332" y="271"/>
                    </a:lnTo>
                    <a:lnTo>
                      <a:pt x="333" y="271"/>
                    </a:lnTo>
                    <a:lnTo>
                      <a:pt x="334" y="271"/>
                    </a:lnTo>
                    <a:lnTo>
                      <a:pt x="334" y="270"/>
                    </a:lnTo>
                    <a:lnTo>
                      <a:pt x="335" y="270"/>
                    </a:lnTo>
                    <a:lnTo>
                      <a:pt x="335" y="269"/>
                    </a:lnTo>
                    <a:lnTo>
                      <a:pt x="335" y="270"/>
                    </a:lnTo>
                    <a:lnTo>
                      <a:pt x="336" y="270"/>
                    </a:lnTo>
                    <a:lnTo>
                      <a:pt x="336" y="271"/>
                    </a:lnTo>
                    <a:lnTo>
                      <a:pt x="337" y="271"/>
                    </a:lnTo>
                    <a:lnTo>
                      <a:pt x="337" y="270"/>
                    </a:lnTo>
                    <a:lnTo>
                      <a:pt x="337" y="269"/>
                    </a:lnTo>
                    <a:lnTo>
                      <a:pt x="336" y="269"/>
                    </a:lnTo>
                    <a:lnTo>
                      <a:pt x="335" y="269"/>
                    </a:lnTo>
                    <a:lnTo>
                      <a:pt x="335" y="268"/>
                    </a:lnTo>
                    <a:lnTo>
                      <a:pt x="334" y="268"/>
                    </a:lnTo>
                    <a:lnTo>
                      <a:pt x="333" y="267"/>
                    </a:lnTo>
                    <a:lnTo>
                      <a:pt x="332" y="267"/>
                    </a:lnTo>
                    <a:lnTo>
                      <a:pt x="332" y="266"/>
                    </a:lnTo>
                    <a:lnTo>
                      <a:pt x="331" y="264"/>
                    </a:lnTo>
                    <a:lnTo>
                      <a:pt x="331" y="266"/>
                    </a:lnTo>
                    <a:lnTo>
                      <a:pt x="331" y="264"/>
                    </a:lnTo>
                    <a:lnTo>
                      <a:pt x="331" y="266"/>
                    </a:lnTo>
                    <a:lnTo>
                      <a:pt x="332" y="266"/>
                    </a:lnTo>
                    <a:lnTo>
                      <a:pt x="332" y="267"/>
                    </a:lnTo>
                    <a:lnTo>
                      <a:pt x="332" y="268"/>
                    </a:lnTo>
                    <a:lnTo>
                      <a:pt x="331" y="268"/>
                    </a:lnTo>
                    <a:lnTo>
                      <a:pt x="330" y="268"/>
                    </a:lnTo>
                    <a:lnTo>
                      <a:pt x="330" y="269"/>
                    </a:lnTo>
                    <a:lnTo>
                      <a:pt x="329" y="269"/>
                    </a:lnTo>
                    <a:lnTo>
                      <a:pt x="329" y="270"/>
                    </a:lnTo>
                    <a:lnTo>
                      <a:pt x="329" y="271"/>
                    </a:lnTo>
                    <a:lnTo>
                      <a:pt x="329" y="272"/>
                    </a:lnTo>
                    <a:lnTo>
                      <a:pt x="327" y="272"/>
                    </a:lnTo>
                    <a:lnTo>
                      <a:pt x="327" y="271"/>
                    </a:lnTo>
                    <a:lnTo>
                      <a:pt x="327" y="272"/>
                    </a:lnTo>
                    <a:lnTo>
                      <a:pt x="329" y="272"/>
                    </a:lnTo>
                    <a:lnTo>
                      <a:pt x="329" y="273"/>
                    </a:lnTo>
                    <a:lnTo>
                      <a:pt x="329" y="274"/>
                    </a:lnTo>
                    <a:lnTo>
                      <a:pt x="330" y="274"/>
                    </a:lnTo>
                    <a:lnTo>
                      <a:pt x="330" y="273"/>
                    </a:lnTo>
                    <a:lnTo>
                      <a:pt x="331" y="273"/>
                    </a:lnTo>
                    <a:lnTo>
                      <a:pt x="331" y="274"/>
                    </a:lnTo>
                    <a:lnTo>
                      <a:pt x="330" y="274"/>
                    </a:lnTo>
                    <a:lnTo>
                      <a:pt x="330" y="275"/>
                    </a:lnTo>
                    <a:lnTo>
                      <a:pt x="330" y="276"/>
                    </a:lnTo>
                    <a:lnTo>
                      <a:pt x="331" y="276"/>
                    </a:lnTo>
                    <a:lnTo>
                      <a:pt x="331" y="277"/>
                    </a:lnTo>
                    <a:lnTo>
                      <a:pt x="332" y="277"/>
                    </a:lnTo>
                    <a:lnTo>
                      <a:pt x="331" y="277"/>
                    </a:lnTo>
                    <a:lnTo>
                      <a:pt x="330" y="277"/>
                    </a:lnTo>
                    <a:lnTo>
                      <a:pt x="329" y="276"/>
                    </a:lnTo>
                    <a:lnTo>
                      <a:pt x="327" y="276"/>
                    </a:lnTo>
                    <a:lnTo>
                      <a:pt x="327" y="277"/>
                    </a:lnTo>
                    <a:lnTo>
                      <a:pt x="327" y="279"/>
                    </a:lnTo>
                    <a:lnTo>
                      <a:pt x="327" y="280"/>
                    </a:lnTo>
                    <a:lnTo>
                      <a:pt x="329" y="280"/>
                    </a:lnTo>
                    <a:lnTo>
                      <a:pt x="329" y="281"/>
                    </a:lnTo>
                    <a:lnTo>
                      <a:pt x="330" y="281"/>
                    </a:lnTo>
                    <a:lnTo>
                      <a:pt x="329" y="282"/>
                    </a:lnTo>
                    <a:lnTo>
                      <a:pt x="327" y="283"/>
                    </a:lnTo>
                    <a:lnTo>
                      <a:pt x="326" y="284"/>
                    </a:lnTo>
                    <a:lnTo>
                      <a:pt x="326" y="285"/>
                    </a:lnTo>
                    <a:lnTo>
                      <a:pt x="326" y="286"/>
                    </a:lnTo>
                    <a:lnTo>
                      <a:pt x="327" y="286"/>
                    </a:lnTo>
                    <a:lnTo>
                      <a:pt x="327" y="287"/>
                    </a:lnTo>
                    <a:lnTo>
                      <a:pt x="329" y="288"/>
                    </a:lnTo>
                    <a:lnTo>
                      <a:pt x="330" y="288"/>
                    </a:lnTo>
                    <a:lnTo>
                      <a:pt x="331" y="289"/>
                    </a:lnTo>
                    <a:lnTo>
                      <a:pt x="332" y="289"/>
                    </a:lnTo>
                    <a:lnTo>
                      <a:pt x="331" y="289"/>
                    </a:lnTo>
                    <a:lnTo>
                      <a:pt x="331" y="290"/>
                    </a:lnTo>
                    <a:lnTo>
                      <a:pt x="331" y="292"/>
                    </a:lnTo>
                    <a:lnTo>
                      <a:pt x="331" y="290"/>
                    </a:lnTo>
                    <a:lnTo>
                      <a:pt x="330" y="290"/>
                    </a:lnTo>
                    <a:lnTo>
                      <a:pt x="330" y="289"/>
                    </a:lnTo>
                    <a:lnTo>
                      <a:pt x="329" y="289"/>
                    </a:lnTo>
                    <a:lnTo>
                      <a:pt x="329" y="290"/>
                    </a:lnTo>
                    <a:lnTo>
                      <a:pt x="329" y="292"/>
                    </a:lnTo>
                    <a:lnTo>
                      <a:pt x="330" y="292"/>
                    </a:lnTo>
                    <a:lnTo>
                      <a:pt x="331" y="290"/>
                    </a:lnTo>
                    <a:lnTo>
                      <a:pt x="330" y="292"/>
                    </a:lnTo>
                    <a:lnTo>
                      <a:pt x="331" y="292"/>
                    </a:lnTo>
                    <a:lnTo>
                      <a:pt x="332" y="292"/>
                    </a:lnTo>
                    <a:lnTo>
                      <a:pt x="332" y="290"/>
                    </a:lnTo>
                    <a:lnTo>
                      <a:pt x="332" y="289"/>
                    </a:lnTo>
                    <a:lnTo>
                      <a:pt x="333" y="289"/>
                    </a:lnTo>
                    <a:lnTo>
                      <a:pt x="333" y="288"/>
                    </a:lnTo>
                    <a:lnTo>
                      <a:pt x="334" y="288"/>
                    </a:lnTo>
                    <a:lnTo>
                      <a:pt x="333" y="288"/>
                    </a:lnTo>
                    <a:lnTo>
                      <a:pt x="333" y="289"/>
                    </a:lnTo>
                    <a:lnTo>
                      <a:pt x="333" y="288"/>
                    </a:lnTo>
                    <a:lnTo>
                      <a:pt x="332" y="288"/>
                    </a:lnTo>
                    <a:lnTo>
                      <a:pt x="332" y="289"/>
                    </a:lnTo>
                    <a:lnTo>
                      <a:pt x="332" y="288"/>
                    </a:lnTo>
                    <a:lnTo>
                      <a:pt x="333" y="288"/>
                    </a:lnTo>
                    <a:lnTo>
                      <a:pt x="334" y="287"/>
                    </a:lnTo>
                    <a:lnTo>
                      <a:pt x="334" y="288"/>
                    </a:lnTo>
                    <a:lnTo>
                      <a:pt x="335" y="288"/>
                    </a:lnTo>
                    <a:lnTo>
                      <a:pt x="335" y="287"/>
                    </a:lnTo>
                    <a:lnTo>
                      <a:pt x="336" y="287"/>
                    </a:lnTo>
                    <a:lnTo>
                      <a:pt x="336" y="288"/>
                    </a:lnTo>
                    <a:lnTo>
                      <a:pt x="337" y="288"/>
                    </a:lnTo>
                    <a:lnTo>
                      <a:pt x="337" y="289"/>
                    </a:lnTo>
                    <a:lnTo>
                      <a:pt x="335" y="290"/>
                    </a:lnTo>
                    <a:lnTo>
                      <a:pt x="334" y="292"/>
                    </a:lnTo>
                    <a:lnTo>
                      <a:pt x="333" y="294"/>
                    </a:lnTo>
                    <a:lnTo>
                      <a:pt x="333" y="295"/>
                    </a:lnTo>
                    <a:lnTo>
                      <a:pt x="332" y="295"/>
                    </a:lnTo>
                    <a:lnTo>
                      <a:pt x="332" y="296"/>
                    </a:lnTo>
                    <a:lnTo>
                      <a:pt x="332" y="297"/>
                    </a:lnTo>
                    <a:lnTo>
                      <a:pt x="331" y="297"/>
                    </a:lnTo>
                    <a:lnTo>
                      <a:pt x="331" y="296"/>
                    </a:lnTo>
                    <a:lnTo>
                      <a:pt x="330" y="296"/>
                    </a:lnTo>
                    <a:lnTo>
                      <a:pt x="330" y="295"/>
                    </a:lnTo>
                    <a:lnTo>
                      <a:pt x="329" y="295"/>
                    </a:lnTo>
                    <a:lnTo>
                      <a:pt x="329" y="294"/>
                    </a:lnTo>
                    <a:lnTo>
                      <a:pt x="330" y="294"/>
                    </a:lnTo>
                    <a:lnTo>
                      <a:pt x="329" y="294"/>
                    </a:lnTo>
                    <a:lnTo>
                      <a:pt x="327" y="294"/>
                    </a:lnTo>
                    <a:lnTo>
                      <a:pt x="327" y="293"/>
                    </a:lnTo>
                    <a:lnTo>
                      <a:pt x="326" y="293"/>
                    </a:lnTo>
                    <a:lnTo>
                      <a:pt x="325" y="293"/>
                    </a:lnTo>
                    <a:lnTo>
                      <a:pt x="325" y="292"/>
                    </a:lnTo>
                    <a:lnTo>
                      <a:pt x="326" y="292"/>
                    </a:lnTo>
                    <a:lnTo>
                      <a:pt x="326" y="293"/>
                    </a:lnTo>
                    <a:lnTo>
                      <a:pt x="327" y="293"/>
                    </a:lnTo>
                    <a:lnTo>
                      <a:pt x="327" y="292"/>
                    </a:lnTo>
                    <a:lnTo>
                      <a:pt x="326" y="292"/>
                    </a:lnTo>
                    <a:lnTo>
                      <a:pt x="326" y="290"/>
                    </a:lnTo>
                    <a:lnTo>
                      <a:pt x="326" y="289"/>
                    </a:lnTo>
                    <a:lnTo>
                      <a:pt x="326" y="288"/>
                    </a:lnTo>
                    <a:lnTo>
                      <a:pt x="325" y="288"/>
                    </a:lnTo>
                    <a:lnTo>
                      <a:pt x="324" y="288"/>
                    </a:lnTo>
                    <a:lnTo>
                      <a:pt x="323" y="289"/>
                    </a:lnTo>
                    <a:lnTo>
                      <a:pt x="323" y="290"/>
                    </a:lnTo>
                    <a:lnTo>
                      <a:pt x="322" y="290"/>
                    </a:lnTo>
                    <a:lnTo>
                      <a:pt x="322" y="289"/>
                    </a:lnTo>
                    <a:lnTo>
                      <a:pt x="323" y="288"/>
                    </a:lnTo>
                    <a:lnTo>
                      <a:pt x="324" y="287"/>
                    </a:lnTo>
                    <a:lnTo>
                      <a:pt x="323" y="287"/>
                    </a:lnTo>
                    <a:lnTo>
                      <a:pt x="323" y="286"/>
                    </a:lnTo>
                    <a:lnTo>
                      <a:pt x="322" y="286"/>
                    </a:lnTo>
                    <a:lnTo>
                      <a:pt x="322" y="285"/>
                    </a:lnTo>
                    <a:lnTo>
                      <a:pt x="321" y="285"/>
                    </a:lnTo>
                    <a:lnTo>
                      <a:pt x="321" y="284"/>
                    </a:lnTo>
                    <a:lnTo>
                      <a:pt x="320" y="283"/>
                    </a:lnTo>
                    <a:lnTo>
                      <a:pt x="320" y="282"/>
                    </a:lnTo>
                    <a:lnTo>
                      <a:pt x="319" y="282"/>
                    </a:lnTo>
                    <a:lnTo>
                      <a:pt x="319" y="283"/>
                    </a:lnTo>
                    <a:lnTo>
                      <a:pt x="318" y="283"/>
                    </a:lnTo>
                    <a:lnTo>
                      <a:pt x="317" y="283"/>
                    </a:lnTo>
                    <a:lnTo>
                      <a:pt x="316" y="283"/>
                    </a:lnTo>
                    <a:lnTo>
                      <a:pt x="316" y="282"/>
                    </a:lnTo>
                    <a:lnTo>
                      <a:pt x="317" y="282"/>
                    </a:lnTo>
                    <a:lnTo>
                      <a:pt x="317" y="281"/>
                    </a:lnTo>
                    <a:lnTo>
                      <a:pt x="317" y="280"/>
                    </a:lnTo>
                    <a:lnTo>
                      <a:pt x="318" y="280"/>
                    </a:lnTo>
                    <a:lnTo>
                      <a:pt x="319" y="280"/>
                    </a:lnTo>
                    <a:lnTo>
                      <a:pt x="318" y="279"/>
                    </a:lnTo>
                    <a:lnTo>
                      <a:pt x="319" y="279"/>
                    </a:lnTo>
                    <a:lnTo>
                      <a:pt x="320" y="279"/>
                    </a:lnTo>
                    <a:lnTo>
                      <a:pt x="320" y="277"/>
                    </a:lnTo>
                    <a:lnTo>
                      <a:pt x="320" y="276"/>
                    </a:lnTo>
                    <a:lnTo>
                      <a:pt x="320" y="275"/>
                    </a:lnTo>
                    <a:lnTo>
                      <a:pt x="319" y="275"/>
                    </a:lnTo>
                    <a:lnTo>
                      <a:pt x="319" y="276"/>
                    </a:lnTo>
                    <a:lnTo>
                      <a:pt x="318" y="276"/>
                    </a:lnTo>
                    <a:lnTo>
                      <a:pt x="319" y="276"/>
                    </a:lnTo>
                    <a:lnTo>
                      <a:pt x="318" y="277"/>
                    </a:lnTo>
                    <a:lnTo>
                      <a:pt x="318" y="276"/>
                    </a:lnTo>
                    <a:lnTo>
                      <a:pt x="317" y="276"/>
                    </a:lnTo>
                    <a:lnTo>
                      <a:pt x="318" y="275"/>
                    </a:lnTo>
                    <a:lnTo>
                      <a:pt x="317" y="275"/>
                    </a:lnTo>
                    <a:lnTo>
                      <a:pt x="317" y="274"/>
                    </a:lnTo>
                    <a:lnTo>
                      <a:pt x="316" y="273"/>
                    </a:lnTo>
                    <a:lnTo>
                      <a:pt x="317" y="273"/>
                    </a:lnTo>
                    <a:lnTo>
                      <a:pt x="316" y="273"/>
                    </a:lnTo>
                    <a:lnTo>
                      <a:pt x="316" y="272"/>
                    </a:lnTo>
                    <a:lnTo>
                      <a:pt x="314" y="273"/>
                    </a:lnTo>
                    <a:lnTo>
                      <a:pt x="314" y="272"/>
                    </a:lnTo>
                    <a:lnTo>
                      <a:pt x="313" y="272"/>
                    </a:lnTo>
                    <a:lnTo>
                      <a:pt x="313" y="271"/>
                    </a:lnTo>
                    <a:lnTo>
                      <a:pt x="313" y="270"/>
                    </a:lnTo>
                    <a:lnTo>
                      <a:pt x="313" y="269"/>
                    </a:lnTo>
                    <a:lnTo>
                      <a:pt x="314" y="269"/>
                    </a:lnTo>
                    <a:lnTo>
                      <a:pt x="314" y="270"/>
                    </a:lnTo>
                    <a:lnTo>
                      <a:pt x="316" y="270"/>
                    </a:lnTo>
                    <a:lnTo>
                      <a:pt x="316" y="269"/>
                    </a:lnTo>
                    <a:lnTo>
                      <a:pt x="314" y="269"/>
                    </a:lnTo>
                    <a:lnTo>
                      <a:pt x="314" y="268"/>
                    </a:lnTo>
                    <a:lnTo>
                      <a:pt x="314" y="267"/>
                    </a:lnTo>
                    <a:lnTo>
                      <a:pt x="313" y="267"/>
                    </a:lnTo>
                    <a:lnTo>
                      <a:pt x="313" y="266"/>
                    </a:lnTo>
                    <a:lnTo>
                      <a:pt x="314" y="266"/>
                    </a:lnTo>
                    <a:lnTo>
                      <a:pt x="314" y="267"/>
                    </a:lnTo>
                    <a:lnTo>
                      <a:pt x="314" y="266"/>
                    </a:lnTo>
                    <a:lnTo>
                      <a:pt x="313" y="266"/>
                    </a:lnTo>
                    <a:lnTo>
                      <a:pt x="314" y="266"/>
                    </a:lnTo>
                    <a:lnTo>
                      <a:pt x="314" y="264"/>
                    </a:lnTo>
                    <a:lnTo>
                      <a:pt x="316" y="264"/>
                    </a:lnTo>
                    <a:lnTo>
                      <a:pt x="316" y="266"/>
                    </a:lnTo>
                    <a:lnTo>
                      <a:pt x="317" y="266"/>
                    </a:lnTo>
                    <a:lnTo>
                      <a:pt x="317" y="267"/>
                    </a:lnTo>
                    <a:lnTo>
                      <a:pt x="317" y="268"/>
                    </a:lnTo>
                    <a:lnTo>
                      <a:pt x="318" y="268"/>
                    </a:lnTo>
                    <a:lnTo>
                      <a:pt x="318" y="269"/>
                    </a:lnTo>
                    <a:lnTo>
                      <a:pt x="318" y="268"/>
                    </a:lnTo>
                    <a:lnTo>
                      <a:pt x="319" y="268"/>
                    </a:lnTo>
                    <a:lnTo>
                      <a:pt x="318" y="267"/>
                    </a:lnTo>
                    <a:lnTo>
                      <a:pt x="318" y="266"/>
                    </a:lnTo>
                    <a:lnTo>
                      <a:pt x="317" y="266"/>
                    </a:lnTo>
                    <a:lnTo>
                      <a:pt x="317" y="267"/>
                    </a:lnTo>
                    <a:lnTo>
                      <a:pt x="317" y="266"/>
                    </a:lnTo>
                    <a:lnTo>
                      <a:pt x="317" y="264"/>
                    </a:lnTo>
                    <a:lnTo>
                      <a:pt x="317" y="263"/>
                    </a:lnTo>
                    <a:lnTo>
                      <a:pt x="318" y="263"/>
                    </a:lnTo>
                    <a:lnTo>
                      <a:pt x="318" y="262"/>
                    </a:lnTo>
                    <a:lnTo>
                      <a:pt x="317" y="262"/>
                    </a:lnTo>
                    <a:lnTo>
                      <a:pt x="318" y="262"/>
                    </a:lnTo>
                    <a:lnTo>
                      <a:pt x="318" y="263"/>
                    </a:lnTo>
                    <a:lnTo>
                      <a:pt x="319" y="263"/>
                    </a:lnTo>
                    <a:lnTo>
                      <a:pt x="319" y="264"/>
                    </a:lnTo>
                    <a:lnTo>
                      <a:pt x="319" y="266"/>
                    </a:lnTo>
                    <a:lnTo>
                      <a:pt x="319" y="264"/>
                    </a:lnTo>
                    <a:lnTo>
                      <a:pt x="319" y="266"/>
                    </a:lnTo>
                    <a:lnTo>
                      <a:pt x="320" y="267"/>
                    </a:lnTo>
                    <a:lnTo>
                      <a:pt x="320" y="266"/>
                    </a:lnTo>
                    <a:lnTo>
                      <a:pt x="319" y="266"/>
                    </a:lnTo>
                    <a:lnTo>
                      <a:pt x="320" y="266"/>
                    </a:lnTo>
                    <a:lnTo>
                      <a:pt x="320" y="264"/>
                    </a:lnTo>
                    <a:lnTo>
                      <a:pt x="320" y="266"/>
                    </a:lnTo>
                    <a:lnTo>
                      <a:pt x="321" y="266"/>
                    </a:lnTo>
                    <a:lnTo>
                      <a:pt x="322" y="266"/>
                    </a:lnTo>
                    <a:lnTo>
                      <a:pt x="322" y="264"/>
                    </a:lnTo>
                    <a:lnTo>
                      <a:pt x="321" y="264"/>
                    </a:lnTo>
                    <a:lnTo>
                      <a:pt x="321" y="263"/>
                    </a:lnTo>
                    <a:lnTo>
                      <a:pt x="320" y="263"/>
                    </a:lnTo>
                    <a:lnTo>
                      <a:pt x="320" y="262"/>
                    </a:lnTo>
                    <a:lnTo>
                      <a:pt x="319" y="262"/>
                    </a:lnTo>
                    <a:lnTo>
                      <a:pt x="319" y="261"/>
                    </a:lnTo>
                    <a:lnTo>
                      <a:pt x="318" y="261"/>
                    </a:lnTo>
                    <a:lnTo>
                      <a:pt x="317" y="261"/>
                    </a:lnTo>
                    <a:lnTo>
                      <a:pt x="317" y="262"/>
                    </a:lnTo>
                    <a:lnTo>
                      <a:pt x="316" y="262"/>
                    </a:lnTo>
                    <a:lnTo>
                      <a:pt x="316" y="261"/>
                    </a:lnTo>
                    <a:lnTo>
                      <a:pt x="316" y="260"/>
                    </a:lnTo>
                    <a:lnTo>
                      <a:pt x="314" y="260"/>
                    </a:lnTo>
                    <a:lnTo>
                      <a:pt x="316" y="259"/>
                    </a:lnTo>
                    <a:lnTo>
                      <a:pt x="314" y="259"/>
                    </a:lnTo>
                    <a:lnTo>
                      <a:pt x="313" y="259"/>
                    </a:lnTo>
                    <a:lnTo>
                      <a:pt x="313" y="260"/>
                    </a:lnTo>
                    <a:lnTo>
                      <a:pt x="314" y="260"/>
                    </a:lnTo>
                    <a:lnTo>
                      <a:pt x="314" y="259"/>
                    </a:lnTo>
                    <a:lnTo>
                      <a:pt x="314" y="260"/>
                    </a:lnTo>
                    <a:lnTo>
                      <a:pt x="313" y="260"/>
                    </a:lnTo>
                    <a:lnTo>
                      <a:pt x="312" y="260"/>
                    </a:lnTo>
                    <a:lnTo>
                      <a:pt x="312" y="259"/>
                    </a:lnTo>
                    <a:lnTo>
                      <a:pt x="312" y="258"/>
                    </a:lnTo>
                    <a:lnTo>
                      <a:pt x="313" y="258"/>
                    </a:lnTo>
                    <a:lnTo>
                      <a:pt x="314" y="258"/>
                    </a:lnTo>
                    <a:lnTo>
                      <a:pt x="313" y="258"/>
                    </a:lnTo>
                    <a:lnTo>
                      <a:pt x="313" y="257"/>
                    </a:lnTo>
                    <a:lnTo>
                      <a:pt x="313" y="256"/>
                    </a:lnTo>
                    <a:lnTo>
                      <a:pt x="312" y="256"/>
                    </a:lnTo>
                    <a:lnTo>
                      <a:pt x="313" y="255"/>
                    </a:lnTo>
                    <a:lnTo>
                      <a:pt x="312" y="255"/>
                    </a:lnTo>
                    <a:lnTo>
                      <a:pt x="311" y="255"/>
                    </a:lnTo>
                    <a:lnTo>
                      <a:pt x="311" y="256"/>
                    </a:lnTo>
                    <a:lnTo>
                      <a:pt x="310" y="256"/>
                    </a:lnTo>
                    <a:lnTo>
                      <a:pt x="309" y="256"/>
                    </a:lnTo>
                    <a:lnTo>
                      <a:pt x="310" y="255"/>
                    </a:lnTo>
                    <a:lnTo>
                      <a:pt x="309" y="255"/>
                    </a:lnTo>
                    <a:lnTo>
                      <a:pt x="309" y="256"/>
                    </a:lnTo>
                    <a:lnTo>
                      <a:pt x="308" y="256"/>
                    </a:lnTo>
                    <a:lnTo>
                      <a:pt x="308" y="255"/>
                    </a:lnTo>
                    <a:lnTo>
                      <a:pt x="308" y="256"/>
                    </a:lnTo>
                    <a:lnTo>
                      <a:pt x="309" y="256"/>
                    </a:lnTo>
                    <a:lnTo>
                      <a:pt x="310" y="256"/>
                    </a:lnTo>
                    <a:lnTo>
                      <a:pt x="310" y="257"/>
                    </a:lnTo>
                    <a:lnTo>
                      <a:pt x="309" y="257"/>
                    </a:lnTo>
                    <a:lnTo>
                      <a:pt x="308" y="257"/>
                    </a:lnTo>
                    <a:lnTo>
                      <a:pt x="309" y="257"/>
                    </a:lnTo>
                    <a:lnTo>
                      <a:pt x="310" y="257"/>
                    </a:lnTo>
                    <a:lnTo>
                      <a:pt x="310" y="258"/>
                    </a:lnTo>
                    <a:lnTo>
                      <a:pt x="310" y="259"/>
                    </a:lnTo>
                    <a:lnTo>
                      <a:pt x="311" y="260"/>
                    </a:lnTo>
                    <a:lnTo>
                      <a:pt x="311" y="261"/>
                    </a:lnTo>
                    <a:lnTo>
                      <a:pt x="312" y="261"/>
                    </a:lnTo>
                    <a:lnTo>
                      <a:pt x="312" y="262"/>
                    </a:lnTo>
                    <a:lnTo>
                      <a:pt x="313" y="262"/>
                    </a:lnTo>
                    <a:lnTo>
                      <a:pt x="313" y="263"/>
                    </a:lnTo>
                    <a:lnTo>
                      <a:pt x="312" y="263"/>
                    </a:lnTo>
                    <a:lnTo>
                      <a:pt x="311" y="263"/>
                    </a:lnTo>
                    <a:lnTo>
                      <a:pt x="310" y="263"/>
                    </a:lnTo>
                    <a:lnTo>
                      <a:pt x="310" y="262"/>
                    </a:lnTo>
                    <a:lnTo>
                      <a:pt x="309" y="262"/>
                    </a:lnTo>
                    <a:lnTo>
                      <a:pt x="308" y="262"/>
                    </a:lnTo>
                    <a:lnTo>
                      <a:pt x="308" y="263"/>
                    </a:lnTo>
                    <a:lnTo>
                      <a:pt x="309" y="263"/>
                    </a:lnTo>
                    <a:lnTo>
                      <a:pt x="309" y="264"/>
                    </a:lnTo>
                    <a:lnTo>
                      <a:pt x="308" y="266"/>
                    </a:lnTo>
                    <a:lnTo>
                      <a:pt x="308" y="264"/>
                    </a:lnTo>
                    <a:lnTo>
                      <a:pt x="307" y="264"/>
                    </a:lnTo>
                    <a:lnTo>
                      <a:pt x="307" y="263"/>
                    </a:lnTo>
                    <a:lnTo>
                      <a:pt x="307" y="262"/>
                    </a:lnTo>
                    <a:lnTo>
                      <a:pt x="306" y="261"/>
                    </a:lnTo>
                    <a:lnTo>
                      <a:pt x="306" y="262"/>
                    </a:lnTo>
                    <a:lnTo>
                      <a:pt x="307" y="262"/>
                    </a:lnTo>
                    <a:lnTo>
                      <a:pt x="307" y="263"/>
                    </a:lnTo>
                    <a:lnTo>
                      <a:pt x="307" y="264"/>
                    </a:lnTo>
                    <a:lnTo>
                      <a:pt x="306" y="264"/>
                    </a:lnTo>
                    <a:lnTo>
                      <a:pt x="306" y="266"/>
                    </a:lnTo>
                    <a:lnTo>
                      <a:pt x="305" y="266"/>
                    </a:lnTo>
                    <a:lnTo>
                      <a:pt x="305" y="267"/>
                    </a:lnTo>
                    <a:lnTo>
                      <a:pt x="305" y="266"/>
                    </a:lnTo>
                    <a:lnTo>
                      <a:pt x="304" y="266"/>
                    </a:lnTo>
                    <a:lnTo>
                      <a:pt x="304" y="264"/>
                    </a:lnTo>
                    <a:lnTo>
                      <a:pt x="303" y="264"/>
                    </a:lnTo>
                    <a:lnTo>
                      <a:pt x="303" y="263"/>
                    </a:lnTo>
                    <a:lnTo>
                      <a:pt x="304" y="263"/>
                    </a:lnTo>
                    <a:lnTo>
                      <a:pt x="304" y="262"/>
                    </a:lnTo>
                    <a:lnTo>
                      <a:pt x="303" y="261"/>
                    </a:lnTo>
                    <a:lnTo>
                      <a:pt x="303" y="260"/>
                    </a:lnTo>
                    <a:lnTo>
                      <a:pt x="303" y="261"/>
                    </a:lnTo>
                    <a:lnTo>
                      <a:pt x="301" y="261"/>
                    </a:lnTo>
                    <a:lnTo>
                      <a:pt x="300" y="261"/>
                    </a:lnTo>
                    <a:lnTo>
                      <a:pt x="299" y="261"/>
                    </a:lnTo>
                    <a:lnTo>
                      <a:pt x="298" y="261"/>
                    </a:lnTo>
                    <a:lnTo>
                      <a:pt x="298" y="262"/>
                    </a:lnTo>
                    <a:lnTo>
                      <a:pt x="297" y="261"/>
                    </a:lnTo>
                    <a:lnTo>
                      <a:pt x="297" y="262"/>
                    </a:lnTo>
                    <a:lnTo>
                      <a:pt x="296" y="262"/>
                    </a:lnTo>
                    <a:lnTo>
                      <a:pt x="297" y="262"/>
                    </a:lnTo>
                    <a:lnTo>
                      <a:pt x="298" y="262"/>
                    </a:lnTo>
                    <a:lnTo>
                      <a:pt x="297" y="263"/>
                    </a:lnTo>
                    <a:lnTo>
                      <a:pt x="296" y="263"/>
                    </a:lnTo>
                    <a:lnTo>
                      <a:pt x="297" y="263"/>
                    </a:lnTo>
                    <a:lnTo>
                      <a:pt x="297" y="262"/>
                    </a:lnTo>
                    <a:lnTo>
                      <a:pt x="296" y="262"/>
                    </a:lnTo>
                    <a:lnTo>
                      <a:pt x="295" y="262"/>
                    </a:lnTo>
                    <a:lnTo>
                      <a:pt x="295" y="261"/>
                    </a:lnTo>
                    <a:lnTo>
                      <a:pt x="294" y="261"/>
                    </a:lnTo>
                    <a:lnTo>
                      <a:pt x="293" y="261"/>
                    </a:lnTo>
                    <a:lnTo>
                      <a:pt x="292" y="261"/>
                    </a:lnTo>
                    <a:lnTo>
                      <a:pt x="292" y="260"/>
                    </a:lnTo>
                    <a:lnTo>
                      <a:pt x="291" y="260"/>
                    </a:lnTo>
                    <a:lnTo>
                      <a:pt x="291" y="259"/>
                    </a:lnTo>
                    <a:lnTo>
                      <a:pt x="291" y="258"/>
                    </a:lnTo>
                    <a:lnTo>
                      <a:pt x="292" y="258"/>
                    </a:lnTo>
                    <a:lnTo>
                      <a:pt x="293" y="258"/>
                    </a:lnTo>
                    <a:lnTo>
                      <a:pt x="293" y="257"/>
                    </a:lnTo>
                    <a:lnTo>
                      <a:pt x="292" y="257"/>
                    </a:lnTo>
                    <a:lnTo>
                      <a:pt x="292" y="256"/>
                    </a:lnTo>
                    <a:lnTo>
                      <a:pt x="292" y="255"/>
                    </a:lnTo>
                    <a:lnTo>
                      <a:pt x="293" y="255"/>
                    </a:lnTo>
                    <a:lnTo>
                      <a:pt x="294" y="255"/>
                    </a:lnTo>
                    <a:lnTo>
                      <a:pt x="295" y="256"/>
                    </a:lnTo>
                    <a:lnTo>
                      <a:pt x="295" y="255"/>
                    </a:lnTo>
                    <a:lnTo>
                      <a:pt x="296" y="255"/>
                    </a:lnTo>
                    <a:lnTo>
                      <a:pt x="295" y="255"/>
                    </a:lnTo>
                    <a:lnTo>
                      <a:pt x="294" y="255"/>
                    </a:lnTo>
                    <a:lnTo>
                      <a:pt x="293" y="255"/>
                    </a:lnTo>
                    <a:lnTo>
                      <a:pt x="292" y="255"/>
                    </a:lnTo>
                    <a:lnTo>
                      <a:pt x="291" y="255"/>
                    </a:lnTo>
                    <a:lnTo>
                      <a:pt x="291" y="256"/>
                    </a:lnTo>
                    <a:lnTo>
                      <a:pt x="291" y="257"/>
                    </a:lnTo>
                    <a:lnTo>
                      <a:pt x="292" y="257"/>
                    </a:lnTo>
                    <a:lnTo>
                      <a:pt x="291" y="257"/>
                    </a:lnTo>
                    <a:lnTo>
                      <a:pt x="291" y="258"/>
                    </a:lnTo>
                    <a:lnTo>
                      <a:pt x="290" y="258"/>
                    </a:lnTo>
                    <a:lnTo>
                      <a:pt x="290" y="257"/>
                    </a:lnTo>
                    <a:lnTo>
                      <a:pt x="288" y="257"/>
                    </a:lnTo>
                    <a:lnTo>
                      <a:pt x="287" y="257"/>
                    </a:lnTo>
                    <a:lnTo>
                      <a:pt x="287" y="258"/>
                    </a:lnTo>
                    <a:lnTo>
                      <a:pt x="288" y="258"/>
                    </a:lnTo>
                    <a:lnTo>
                      <a:pt x="287" y="259"/>
                    </a:lnTo>
                    <a:lnTo>
                      <a:pt x="288" y="259"/>
                    </a:lnTo>
                    <a:lnTo>
                      <a:pt x="287" y="259"/>
                    </a:lnTo>
                    <a:lnTo>
                      <a:pt x="288" y="259"/>
                    </a:lnTo>
                    <a:lnTo>
                      <a:pt x="288" y="258"/>
                    </a:lnTo>
                    <a:lnTo>
                      <a:pt x="290" y="258"/>
                    </a:lnTo>
                    <a:lnTo>
                      <a:pt x="291" y="258"/>
                    </a:lnTo>
                    <a:lnTo>
                      <a:pt x="291" y="259"/>
                    </a:lnTo>
                    <a:lnTo>
                      <a:pt x="290" y="259"/>
                    </a:lnTo>
                    <a:lnTo>
                      <a:pt x="290" y="260"/>
                    </a:lnTo>
                    <a:lnTo>
                      <a:pt x="290" y="261"/>
                    </a:lnTo>
                    <a:lnTo>
                      <a:pt x="291" y="261"/>
                    </a:lnTo>
                    <a:lnTo>
                      <a:pt x="292" y="262"/>
                    </a:lnTo>
                    <a:lnTo>
                      <a:pt x="292" y="261"/>
                    </a:lnTo>
                    <a:lnTo>
                      <a:pt x="293" y="261"/>
                    </a:lnTo>
                    <a:lnTo>
                      <a:pt x="294" y="261"/>
                    </a:lnTo>
                    <a:lnTo>
                      <a:pt x="294" y="262"/>
                    </a:lnTo>
                    <a:lnTo>
                      <a:pt x="294" y="263"/>
                    </a:lnTo>
                    <a:lnTo>
                      <a:pt x="293" y="264"/>
                    </a:lnTo>
                    <a:lnTo>
                      <a:pt x="293" y="266"/>
                    </a:lnTo>
                    <a:lnTo>
                      <a:pt x="290" y="268"/>
                    </a:lnTo>
                    <a:lnTo>
                      <a:pt x="291" y="268"/>
                    </a:lnTo>
                    <a:lnTo>
                      <a:pt x="292" y="269"/>
                    </a:lnTo>
                    <a:lnTo>
                      <a:pt x="293" y="270"/>
                    </a:lnTo>
                    <a:lnTo>
                      <a:pt x="294" y="270"/>
                    </a:lnTo>
                    <a:lnTo>
                      <a:pt x="295" y="271"/>
                    </a:lnTo>
                    <a:lnTo>
                      <a:pt x="295" y="272"/>
                    </a:lnTo>
                    <a:lnTo>
                      <a:pt x="296" y="272"/>
                    </a:lnTo>
                    <a:lnTo>
                      <a:pt x="297" y="273"/>
                    </a:lnTo>
                    <a:lnTo>
                      <a:pt x="298" y="273"/>
                    </a:lnTo>
                    <a:lnTo>
                      <a:pt x="298" y="274"/>
                    </a:lnTo>
                    <a:lnTo>
                      <a:pt x="299" y="274"/>
                    </a:lnTo>
                    <a:lnTo>
                      <a:pt x="299" y="275"/>
                    </a:lnTo>
                    <a:lnTo>
                      <a:pt x="300" y="275"/>
                    </a:lnTo>
                    <a:lnTo>
                      <a:pt x="301" y="276"/>
                    </a:lnTo>
                    <a:lnTo>
                      <a:pt x="303" y="277"/>
                    </a:lnTo>
                    <a:lnTo>
                      <a:pt x="304" y="277"/>
                    </a:lnTo>
                    <a:lnTo>
                      <a:pt x="304" y="279"/>
                    </a:lnTo>
                    <a:lnTo>
                      <a:pt x="305" y="279"/>
                    </a:lnTo>
                    <a:lnTo>
                      <a:pt x="305" y="280"/>
                    </a:lnTo>
                    <a:lnTo>
                      <a:pt x="306" y="280"/>
                    </a:lnTo>
                    <a:lnTo>
                      <a:pt x="307" y="281"/>
                    </a:lnTo>
                    <a:lnTo>
                      <a:pt x="308" y="281"/>
                    </a:lnTo>
                    <a:lnTo>
                      <a:pt x="308" y="282"/>
                    </a:lnTo>
                    <a:lnTo>
                      <a:pt x="309" y="283"/>
                    </a:lnTo>
                    <a:lnTo>
                      <a:pt x="310" y="284"/>
                    </a:lnTo>
                    <a:lnTo>
                      <a:pt x="311" y="284"/>
                    </a:lnTo>
                    <a:lnTo>
                      <a:pt x="311" y="285"/>
                    </a:lnTo>
                    <a:lnTo>
                      <a:pt x="312" y="285"/>
                    </a:lnTo>
                    <a:lnTo>
                      <a:pt x="314" y="287"/>
                    </a:lnTo>
                    <a:lnTo>
                      <a:pt x="316" y="288"/>
                    </a:lnTo>
                    <a:lnTo>
                      <a:pt x="317" y="288"/>
                    </a:lnTo>
                    <a:lnTo>
                      <a:pt x="317" y="289"/>
                    </a:lnTo>
                    <a:lnTo>
                      <a:pt x="318" y="289"/>
                    </a:lnTo>
                    <a:lnTo>
                      <a:pt x="319" y="289"/>
                    </a:lnTo>
                    <a:lnTo>
                      <a:pt x="319" y="290"/>
                    </a:lnTo>
                    <a:lnTo>
                      <a:pt x="319" y="292"/>
                    </a:lnTo>
                    <a:lnTo>
                      <a:pt x="320" y="292"/>
                    </a:lnTo>
                    <a:lnTo>
                      <a:pt x="320" y="290"/>
                    </a:lnTo>
                    <a:lnTo>
                      <a:pt x="320" y="292"/>
                    </a:lnTo>
                    <a:lnTo>
                      <a:pt x="320" y="290"/>
                    </a:lnTo>
                    <a:lnTo>
                      <a:pt x="321" y="292"/>
                    </a:lnTo>
                    <a:lnTo>
                      <a:pt x="322" y="293"/>
                    </a:lnTo>
                    <a:lnTo>
                      <a:pt x="322" y="294"/>
                    </a:lnTo>
                    <a:lnTo>
                      <a:pt x="323" y="294"/>
                    </a:lnTo>
                    <a:lnTo>
                      <a:pt x="324" y="295"/>
                    </a:lnTo>
                    <a:lnTo>
                      <a:pt x="325" y="295"/>
                    </a:lnTo>
                    <a:lnTo>
                      <a:pt x="325" y="296"/>
                    </a:lnTo>
                    <a:lnTo>
                      <a:pt x="326" y="296"/>
                    </a:lnTo>
                    <a:lnTo>
                      <a:pt x="326" y="297"/>
                    </a:lnTo>
                    <a:lnTo>
                      <a:pt x="327" y="297"/>
                    </a:lnTo>
                    <a:lnTo>
                      <a:pt x="329" y="298"/>
                    </a:lnTo>
                    <a:lnTo>
                      <a:pt x="329" y="299"/>
                    </a:lnTo>
                    <a:lnTo>
                      <a:pt x="329" y="300"/>
                    </a:lnTo>
                    <a:lnTo>
                      <a:pt x="330" y="300"/>
                    </a:lnTo>
                    <a:lnTo>
                      <a:pt x="331" y="301"/>
                    </a:lnTo>
                    <a:lnTo>
                      <a:pt x="332" y="301"/>
                    </a:lnTo>
                    <a:lnTo>
                      <a:pt x="333" y="302"/>
                    </a:lnTo>
                    <a:lnTo>
                      <a:pt x="335" y="303"/>
                    </a:lnTo>
                    <a:lnTo>
                      <a:pt x="339" y="308"/>
                    </a:lnTo>
                    <a:lnTo>
                      <a:pt x="340" y="308"/>
                    </a:lnTo>
                    <a:lnTo>
                      <a:pt x="343" y="310"/>
                    </a:lnTo>
                    <a:lnTo>
                      <a:pt x="344" y="311"/>
                    </a:lnTo>
                    <a:lnTo>
                      <a:pt x="345" y="312"/>
                    </a:lnTo>
                    <a:lnTo>
                      <a:pt x="346" y="312"/>
                    </a:lnTo>
                    <a:lnTo>
                      <a:pt x="350" y="315"/>
                    </a:lnTo>
                    <a:lnTo>
                      <a:pt x="350" y="318"/>
                    </a:lnTo>
                    <a:lnTo>
                      <a:pt x="349" y="318"/>
                    </a:lnTo>
                    <a:lnTo>
                      <a:pt x="349" y="319"/>
                    </a:lnTo>
                    <a:lnTo>
                      <a:pt x="349" y="320"/>
                    </a:lnTo>
                    <a:lnTo>
                      <a:pt x="350" y="321"/>
                    </a:lnTo>
                    <a:lnTo>
                      <a:pt x="350" y="320"/>
                    </a:lnTo>
                    <a:lnTo>
                      <a:pt x="351" y="320"/>
                    </a:lnTo>
                    <a:lnTo>
                      <a:pt x="350" y="320"/>
                    </a:lnTo>
                    <a:lnTo>
                      <a:pt x="351" y="319"/>
                    </a:lnTo>
                    <a:lnTo>
                      <a:pt x="352" y="319"/>
                    </a:lnTo>
                    <a:lnTo>
                      <a:pt x="353" y="320"/>
                    </a:lnTo>
                    <a:lnTo>
                      <a:pt x="355" y="320"/>
                    </a:lnTo>
                    <a:lnTo>
                      <a:pt x="356" y="320"/>
                    </a:lnTo>
                    <a:lnTo>
                      <a:pt x="357" y="321"/>
                    </a:lnTo>
                    <a:lnTo>
                      <a:pt x="358" y="321"/>
                    </a:lnTo>
                    <a:lnTo>
                      <a:pt x="376" y="336"/>
                    </a:lnTo>
                    <a:lnTo>
                      <a:pt x="375" y="336"/>
                    </a:lnTo>
                    <a:lnTo>
                      <a:pt x="374" y="336"/>
                    </a:lnTo>
                    <a:lnTo>
                      <a:pt x="373" y="336"/>
                    </a:lnTo>
                    <a:lnTo>
                      <a:pt x="371" y="335"/>
                    </a:lnTo>
                    <a:lnTo>
                      <a:pt x="370" y="335"/>
                    </a:lnTo>
                    <a:lnTo>
                      <a:pt x="370" y="334"/>
                    </a:lnTo>
                    <a:lnTo>
                      <a:pt x="369" y="334"/>
                    </a:lnTo>
                    <a:lnTo>
                      <a:pt x="368" y="333"/>
                    </a:lnTo>
                    <a:lnTo>
                      <a:pt x="368" y="332"/>
                    </a:lnTo>
                    <a:lnTo>
                      <a:pt x="368" y="331"/>
                    </a:lnTo>
                    <a:lnTo>
                      <a:pt x="366" y="329"/>
                    </a:lnTo>
                    <a:lnTo>
                      <a:pt x="366" y="328"/>
                    </a:lnTo>
                    <a:lnTo>
                      <a:pt x="365" y="328"/>
                    </a:lnTo>
                    <a:lnTo>
                      <a:pt x="364" y="327"/>
                    </a:lnTo>
                    <a:lnTo>
                      <a:pt x="362" y="326"/>
                    </a:lnTo>
                    <a:lnTo>
                      <a:pt x="361" y="326"/>
                    </a:lnTo>
                    <a:lnTo>
                      <a:pt x="361" y="325"/>
                    </a:lnTo>
                    <a:lnTo>
                      <a:pt x="360" y="325"/>
                    </a:lnTo>
                    <a:lnTo>
                      <a:pt x="359" y="325"/>
                    </a:lnTo>
                    <a:lnTo>
                      <a:pt x="359" y="324"/>
                    </a:lnTo>
                    <a:lnTo>
                      <a:pt x="358" y="324"/>
                    </a:lnTo>
                    <a:lnTo>
                      <a:pt x="357" y="324"/>
                    </a:lnTo>
                    <a:lnTo>
                      <a:pt x="357" y="323"/>
                    </a:lnTo>
                    <a:lnTo>
                      <a:pt x="356" y="323"/>
                    </a:lnTo>
                    <a:lnTo>
                      <a:pt x="356" y="324"/>
                    </a:lnTo>
                    <a:lnTo>
                      <a:pt x="355" y="324"/>
                    </a:lnTo>
                    <a:lnTo>
                      <a:pt x="355" y="325"/>
                    </a:lnTo>
                    <a:lnTo>
                      <a:pt x="355" y="326"/>
                    </a:lnTo>
                    <a:lnTo>
                      <a:pt x="355" y="327"/>
                    </a:lnTo>
                    <a:lnTo>
                      <a:pt x="355" y="328"/>
                    </a:lnTo>
                    <a:lnTo>
                      <a:pt x="355" y="329"/>
                    </a:lnTo>
                    <a:lnTo>
                      <a:pt x="355" y="331"/>
                    </a:lnTo>
                    <a:lnTo>
                      <a:pt x="355" y="332"/>
                    </a:lnTo>
                    <a:lnTo>
                      <a:pt x="355" y="331"/>
                    </a:lnTo>
                    <a:lnTo>
                      <a:pt x="356" y="331"/>
                    </a:lnTo>
                    <a:lnTo>
                      <a:pt x="356" y="332"/>
                    </a:lnTo>
                    <a:lnTo>
                      <a:pt x="356" y="333"/>
                    </a:lnTo>
                    <a:lnTo>
                      <a:pt x="355" y="333"/>
                    </a:lnTo>
                    <a:lnTo>
                      <a:pt x="355" y="334"/>
                    </a:lnTo>
                    <a:lnTo>
                      <a:pt x="355" y="335"/>
                    </a:lnTo>
                    <a:lnTo>
                      <a:pt x="355" y="336"/>
                    </a:lnTo>
                    <a:lnTo>
                      <a:pt x="356" y="337"/>
                    </a:lnTo>
                    <a:lnTo>
                      <a:pt x="357" y="337"/>
                    </a:lnTo>
                    <a:lnTo>
                      <a:pt x="357" y="338"/>
                    </a:lnTo>
                    <a:lnTo>
                      <a:pt x="358" y="338"/>
                    </a:lnTo>
                    <a:lnTo>
                      <a:pt x="358" y="339"/>
                    </a:lnTo>
                    <a:lnTo>
                      <a:pt x="357" y="339"/>
                    </a:lnTo>
                    <a:lnTo>
                      <a:pt x="358" y="339"/>
                    </a:lnTo>
                    <a:lnTo>
                      <a:pt x="359" y="339"/>
                    </a:lnTo>
                    <a:lnTo>
                      <a:pt x="358" y="340"/>
                    </a:lnTo>
                    <a:lnTo>
                      <a:pt x="358" y="339"/>
                    </a:lnTo>
                    <a:lnTo>
                      <a:pt x="357" y="339"/>
                    </a:lnTo>
                    <a:lnTo>
                      <a:pt x="356" y="339"/>
                    </a:lnTo>
                    <a:lnTo>
                      <a:pt x="356" y="338"/>
                    </a:lnTo>
                    <a:lnTo>
                      <a:pt x="355" y="337"/>
                    </a:lnTo>
                    <a:lnTo>
                      <a:pt x="353" y="337"/>
                    </a:lnTo>
                    <a:lnTo>
                      <a:pt x="353" y="336"/>
                    </a:lnTo>
                    <a:lnTo>
                      <a:pt x="352" y="336"/>
                    </a:lnTo>
                    <a:lnTo>
                      <a:pt x="351" y="336"/>
                    </a:lnTo>
                    <a:lnTo>
                      <a:pt x="350" y="337"/>
                    </a:lnTo>
                    <a:lnTo>
                      <a:pt x="349" y="336"/>
                    </a:lnTo>
                    <a:lnTo>
                      <a:pt x="348" y="336"/>
                    </a:lnTo>
                    <a:lnTo>
                      <a:pt x="348" y="335"/>
                    </a:lnTo>
                    <a:lnTo>
                      <a:pt x="348" y="336"/>
                    </a:lnTo>
                    <a:lnTo>
                      <a:pt x="348" y="335"/>
                    </a:lnTo>
                    <a:lnTo>
                      <a:pt x="347" y="335"/>
                    </a:lnTo>
                    <a:lnTo>
                      <a:pt x="347" y="336"/>
                    </a:lnTo>
                    <a:lnTo>
                      <a:pt x="346" y="336"/>
                    </a:lnTo>
                    <a:lnTo>
                      <a:pt x="346" y="335"/>
                    </a:lnTo>
                    <a:lnTo>
                      <a:pt x="347" y="334"/>
                    </a:lnTo>
                    <a:lnTo>
                      <a:pt x="347" y="333"/>
                    </a:lnTo>
                    <a:lnTo>
                      <a:pt x="346" y="333"/>
                    </a:lnTo>
                    <a:lnTo>
                      <a:pt x="345" y="333"/>
                    </a:lnTo>
                    <a:lnTo>
                      <a:pt x="345" y="334"/>
                    </a:lnTo>
                    <a:lnTo>
                      <a:pt x="345" y="335"/>
                    </a:lnTo>
                    <a:lnTo>
                      <a:pt x="345" y="334"/>
                    </a:lnTo>
                    <a:lnTo>
                      <a:pt x="344" y="334"/>
                    </a:lnTo>
                    <a:lnTo>
                      <a:pt x="343" y="334"/>
                    </a:lnTo>
                    <a:lnTo>
                      <a:pt x="343" y="335"/>
                    </a:lnTo>
                    <a:lnTo>
                      <a:pt x="342" y="335"/>
                    </a:lnTo>
                    <a:lnTo>
                      <a:pt x="340" y="334"/>
                    </a:lnTo>
                    <a:lnTo>
                      <a:pt x="337" y="334"/>
                    </a:lnTo>
                    <a:lnTo>
                      <a:pt x="336" y="334"/>
                    </a:lnTo>
                    <a:lnTo>
                      <a:pt x="335" y="334"/>
                    </a:lnTo>
                    <a:lnTo>
                      <a:pt x="335" y="333"/>
                    </a:lnTo>
                    <a:lnTo>
                      <a:pt x="336" y="333"/>
                    </a:lnTo>
                    <a:lnTo>
                      <a:pt x="337" y="333"/>
                    </a:lnTo>
                    <a:lnTo>
                      <a:pt x="338" y="333"/>
                    </a:lnTo>
                    <a:lnTo>
                      <a:pt x="338" y="334"/>
                    </a:lnTo>
                    <a:lnTo>
                      <a:pt x="339" y="334"/>
                    </a:lnTo>
                    <a:lnTo>
                      <a:pt x="340" y="334"/>
                    </a:lnTo>
                    <a:lnTo>
                      <a:pt x="340" y="333"/>
                    </a:lnTo>
                    <a:lnTo>
                      <a:pt x="340" y="332"/>
                    </a:lnTo>
                    <a:lnTo>
                      <a:pt x="340" y="333"/>
                    </a:lnTo>
                    <a:lnTo>
                      <a:pt x="342" y="332"/>
                    </a:lnTo>
                    <a:lnTo>
                      <a:pt x="342" y="333"/>
                    </a:lnTo>
                    <a:lnTo>
                      <a:pt x="340" y="333"/>
                    </a:lnTo>
                    <a:lnTo>
                      <a:pt x="340" y="334"/>
                    </a:lnTo>
                    <a:lnTo>
                      <a:pt x="342" y="334"/>
                    </a:lnTo>
                    <a:lnTo>
                      <a:pt x="342" y="333"/>
                    </a:lnTo>
                    <a:lnTo>
                      <a:pt x="340" y="333"/>
                    </a:lnTo>
                    <a:lnTo>
                      <a:pt x="342" y="333"/>
                    </a:lnTo>
                    <a:lnTo>
                      <a:pt x="343" y="333"/>
                    </a:lnTo>
                    <a:lnTo>
                      <a:pt x="344" y="333"/>
                    </a:lnTo>
                    <a:lnTo>
                      <a:pt x="343" y="332"/>
                    </a:lnTo>
                    <a:lnTo>
                      <a:pt x="344" y="332"/>
                    </a:lnTo>
                    <a:lnTo>
                      <a:pt x="344" y="331"/>
                    </a:lnTo>
                    <a:lnTo>
                      <a:pt x="343" y="331"/>
                    </a:lnTo>
                    <a:lnTo>
                      <a:pt x="342" y="331"/>
                    </a:lnTo>
                    <a:lnTo>
                      <a:pt x="343" y="331"/>
                    </a:lnTo>
                    <a:lnTo>
                      <a:pt x="343" y="332"/>
                    </a:lnTo>
                    <a:lnTo>
                      <a:pt x="342" y="332"/>
                    </a:lnTo>
                    <a:lnTo>
                      <a:pt x="340" y="332"/>
                    </a:lnTo>
                    <a:lnTo>
                      <a:pt x="340" y="331"/>
                    </a:lnTo>
                    <a:lnTo>
                      <a:pt x="342" y="331"/>
                    </a:lnTo>
                    <a:lnTo>
                      <a:pt x="342" y="329"/>
                    </a:lnTo>
                    <a:lnTo>
                      <a:pt x="340" y="329"/>
                    </a:lnTo>
                    <a:lnTo>
                      <a:pt x="340" y="328"/>
                    </a:lnTo>
                    <a:lnTo>
                      <a:pt x="339" y="328"/>
                    </a:lnTo>
                    <a:lnTo>
                      <a:pt x="338" y="328"/>
                    </a:lnTo>
                    <a:lnTo>
                      <a:pt x="338" y="327"/>
                    </a:lnTo>
                    <a:lnTo>
                      <a:pt x="338" y="326"/>
                    </a:lnTo>
                    <a:lnTo>
                      <a:pt x="338" y="325"/>
                    </a:lnTo>
                    <a:lnTo>
                      <a:pt x="338" y="324"/>
                    </a:lnTo>
                    <a:lnTo>
                      <a:pt x="338" y="323"/>
                    </a:lnTo>
                    <a:lnTo>
                      <a:pt x="337" y="323"/>
                    </a:lnTo>
                    <a:lnTo>
                      <a:pt x="337" y="322"/>
                    </a:lnTo>
                    <a:lnTo>
                      <a:pt x="336" y="322"/>
                    </a:lnTo>
                    <a:lnTo>
                      <a:pt x="335" y="322"/>
                    </a:lnTo>
                    <a:lnTo>
                      <a:pt x="335" y="321"/>
                    </a:lnTo>
                    <a:lnTo>
                      <a:pt x="335" y="322"/>
                    </a:lnTo>
                    <a:lnTo>
                      <a:pt x="334" y="322"/>
                    </a:lnTo>
                    <a:lnTo>
                      <a:pt x="334" y="321"/>
                    </a:lnTo>
                    <a:lnTo>
                      <a:pt x="333" y="321"/>
                    </a:lnTo>
                    <a:lnTo>
                      <a:pt x="334" y="320"/>
                    </a:lnTo>
                    <a:lnTo>
                      <a:pt x="333" y="320"/>
                    </a:lnTo>
                    <a:lnTo>
                      <a:pt x="332" y="320"/>
                    </a:lnTo>
                    <a:lnTo>
                      <a:pt x="332" y="319"/>
                    </a:lnTo>
                    <a:lnTo>
                      <a:pt x="331" y="319"/>
                    </a:lnTo>
                    <a:lnTo>
                      <a:pt x="330" y="318"/>
                    </a:lnTo>
                    <a:lnTo>
                      <a:pt x="329" y="318"/>
                    </a:lnTo>
                    <a:lnTo>
                      <a:pt x="329" y="316"/>
                    </a:lnTo>
                    <a:lnTo>
                      <a:pt x="327" y="316"/>
                    </a:lnTo>
                    <a:lnTo>
                      <a:pt x="327" y="315"/>
                    </a:lnTo>
                    <a:lnTo>
                      <a:pt x="326" y="314"/>
                    </a:lnTo>
                    <a:lnTo>
                      <a:pt x="326" y="313"/>
                    </a:lnTo>
                    <a:lnTo>
                      <a:pt x="326" y="312"/>
                    </a:lnTo>
                    <a:lnTo>
                      <a:pt x="326" y="313"/>
                    </a:lnTo>
                    <a:lnTo>
                      <a:pt x="329" y="312"/>
                    </a:lnTo>
                    <a:lnTo>
                      <a:pt x="329" y="313"/>
                    </a:lnTo>
                    <a:lnTo>
                      <a:pt x="330" y="313"/>
                    </a:lnTo>
                    <a:lnTo>
                      <a:pt x="331" y="313"/>
                    </a:lnTo>
                    <a:lnTo>
                      <a:pt x="332" y="312"/>
                    </a:lnTo>
                    <a:lnTo>
                      <a:pt x="332" y="313"/>
                    </a:lnTo>
                    <a:lnTo>
                      <a:pt x="332" y="312"/>
                    </a:lnTo>
                    <a:lnTo>
                      <a:pt x="332" y="311"/>
                    </a:lnTo>
                    <a:lnTo>
                      <a:pt x="333" y="311"/>
                    </a:lnTo>
                    <a:lnTo>
                      <a:pt x="331" y="310"/>
                    </a:lnTo>
                    <a:lnTo>
                      <a:pt x="332" y="310"/>
                    </a:lnTo>
                    <a:lnTo>
                      <a:pt x="333" y="310"/>
                    </a:lnTo>
                    <a:lnTo>
                      <a:pt x="333" y="309"/>
                    </a:lnTo>
                    <a:lnTo>
                      <a:pt x="333" y="308"/>
                    </a:lnTo>
                    <a:lnTo>
                      <a:pt x="332" y="307"/>
                    </a:lnTo>
                    <a:lnTo>
                      <a:pt x="331" y="305"/>
                    </a:lnTo>
                    <a:lnTo>
                      <a:pt x="330" y="303"/>
                    </a:lnTo>
                    <a:lnTo>
                      <a:pt x="327" y="302"/>
                    </a:lnTo>
                    <a:lnTo>
                      <a:pt x="326" y="301"/>
                    </a:lnTo>
                    <a:lnTo>
                      <a:pt x="325" y="301"/>
                    </a:lnTo>
                    <a:lnTo>
                      <a:pt x="324" y="301"/>
                    </a:lnTo>
                    <a:lnTo>
                      <a:pt x="323" y="301"/>
                    </a:lnTo>
                    <a:lnTo>
                      <a:pt x="322" y="301"/>
                    </a:lnTo>
                    <a:lnTo>
                      <a:pt x="322" y="300"/>
                    </a:lnTo>
                    <a:lnTo>
                      <a:pt x="321" y="300"/>
                    </a:lnTo>
                    <a:lnTo>
                      <a:pt x="320" y="300"/>
                    </a:lnTo>
                    <a:lnTo>
                      <a:pt x="319" y="300"/>
                    </a:lnTo>
                    <a:lnTo>
                      <a:pt x="319" y="299"/>
                    </a:lnTo>
                    <a:lnTo>
                      <a:pt x="318" y="299"/>
                    </a:lnTo>
                    <a:lnTo>
                      <a:pt x="318" y="298"/>
                    </a:lnTo>
                    <a:lnTo>
                      <a:pt x="318" y="299"/>
                    </a:lnTo>
                    <a:lnTo>
                      <a:pt x="318" y="300"/>
                    </a:lnTo>
                    <a:lnTo>
                      <a:pt x="319" y="301"/>
                    </a:lnTo>
                    <a:lnTo>
                      <a:pt x="318" y="300"/>
                    </a:lnTo>
                    <a:lnTo>
                      <a:pt x="316" y="298"/>
                    </a:lnTo>
                    <a:lnTo>
                      <a:pt x="316" y="297"/>
                    </a:lnTo>
                    <a:lnTo>
                      <a:pt x="316" y="296"/>
                    </a:lnTo>
                    <a:lnTo>
                      <a:pt x="316" y="295"/>
                    </a:lnTo>
                    <a:lnTo>
                      <a:pt x="316" y="296"/>
                    </a:lnTo>
                    <a:lnTo>
                      <a:pt x="314" y="297"/>
                    </a:lnTo>
                    <a:lnTo>
                      <a:pt x="314" y="298"/>
                    </a:lnTo>
                    <a:lnTo>
                      <a:pt x="316" y="298"/>
                    </a:lnTo>
                    <a:lnTo>
                      <a:pt x="318" y="301"/>
                    </a:lnTo>
                    <a:lnTo>
                      <a:pt x="318" y="300"/>
                    </a:lnTo>
                    <a:lnTo>
                      <a:pt x="317" y="300"/>
                    </a:lnTo>
                    <a:lnTo>
                      <a:pt x="317" y="301"/>
                    </a:lnTo>
                    <a:lnTo>
                      <a:pt x="318" y="301"/>
                    </a:lnTo>
                    <a:lnTo>
                      <a:pt x="318" y="302"/>
                    </a:lnTo>
                    <a:lnTo>
                      <a:pt x="318" y="303"/>
                    </a:lnTo>
                    <a:lnTo>
                      <a:pt x="317" y="303"/>
                    </a:lnTo>
                    <a:lnTo>
                      <a:pt x="318" y="303"/>
                    </a:lnTo>
                    <a:lnTo>
                      <a:pt x="318" y="305"/>
                    </a:lnTo>
                    <a:lnTo>
                      <a:pt x="317" y="303"/>
                    </a:lnTo>
                    <a:lnTo>
                      <a:pt x="316" y="303"/>
                    </a:lnTo>
                    <a:lnTo>
                      <a:pt x="314" y="303"/>
                    </a:lnTo>
                    <a:lnTo>
                      <a:pt x="313" y="305"/>
                    </a:lnTo>
                    <a:lnTo>
                      <a:pt x="313" y="303"/>
                    </a:lnTo>
                    <a:lnTo>
                      <a:pt x="313" y="305"/>
                    </a:lnTo>
                    <a:lnTo>
                      <a:pt x="313" y="303"/>
                    </a:lnTo>
                    <a:lnTo>
                      <a:pt x="313" y="302"/>
                    </a:lnTo>
                    <a:lnTo>
                      <a:pt x="312" y="302"/>
                    </a:lnTo>
                    <a:lnTo>
                      <a:pt x="312" y="301"/>
                    </a:lnTo>
                    <a:lnTo>
                      <a:pt x="311" y="301"/>
                    </a:lnTo>
                    <a:lnTo>
                      <a:pt x="310" y="301"/>
                    </a:lnTo>
                    <a:lnTo>
                      <a:pt x="310" y="300"/>
                    </a:lnTo>
                    <a:lnTo>
                      <a:pt x="309" y="300"/>
                    </a:lnTo>
                    <a:lnTo>
                      <a:pt x="308" y="300"/>
                    </a:lnTo>
                    <a:lnTo>
                      <a:pt x="307" y="300"/>
                    </a:lnTo>
                    <a:lnTo>
                      <a:pt x="307" y="299"/>
                    </a:lnTo>
                    <a:lnTo>
                      <a:pt x="306" y="299"/>
                    </a:lnTo>
                    <a:lnTo>
                      <a:pt x="306" y="298"/>
                    </a:lnTo>
                    <a:lnTo>
                      <a:pt x="305" y="298"/>
                    </a:lnTo>
                    <a:lnTo>
                      <a:pt x="304" y="298"/>
                    </a:lnTo>
                    <a:lnTo>
                      <a:pt x="303" y="298"/>
                    </a:lnTo>
                    <a:lnTo>
                      <a:pt x="303" y="297"/>
                    </a:lnTo>
                    <a:lnTo>
                      <a:pt x="301" y="297"/>
                    </a:lnTo>
                    <a:lnTo>
                      <a:pt x="300" y="297"/>
                    </a:lnTo>
                    <a:lnTo>
                      <a:pt x="300" y="296"/>
                    </a:lnTo>
                    <a:lnTo>
                      <a:pt x="298" y="294"/>
                    </a:lnTo>
                    <a:lnTo>
                      <a:pt x="297" y="294"/>
                    </a:lnTo>
                    <a:lnTo>
                      <a:pt x="296" y="294"/>
                    </a:lnTo>
                    <a:lnTo>
                      <a:pt x="296" y="293"/>
                    </a:lnTo>
                    <a:lnTo>
                      <a:pt x="295" y="293"/>
                    </a:lnTo>
                    <a:lnTo>
                      <a:pt x="294" y="293"/>
                    </a:lnTo>
                    <a:lnTo>
                      <a:pt x="293" y="293"/>
                    </a:lnTo>
                    <a:lnTo>
                      <a:pt x="292" y="293"/>
                    </a:lnTo>
                    <a:lnTo>
                      <a:pt x="291" y="293"/>
                    </a:lnTo>
                    <a:lnTo>
                      <a:pt x="291" y="292"/>
                    </a:lnTo>
                    <a:lnTo>
                      <a:pt x="291" y="293"/>
                    </a:lnTo>
                    <a:lnTo>
                      <a:pt x="290" y="293"/>
                    </a:lnTo>
                    <a:lnTo>
                      <a:pt x="290" y="294"/>
                    </a:lnTo>
                    <a:lnTo>
                      <a:pt x="288" y="294"/>
                    </a:lnTo>
                    <a:lnTo>
                      <a:pt x="288" y="293"/>
                    </a:lnTo>
                    <a:lnTo>
                      <a:pt x="288" y="294"/>
                    </a:lnTo>
                    <a:lnTo>
                      <a:pt x="287" y="294"/>
                    </a:lnTo>
                    <a:lnTo>
                      <a:pt x="286" y="294"/>
                    </a:lnTo>
                    <a:lnTo>
                      <a:pt x="285" y="294"/>
                    </a:lnTo>
                    <a:lnTo>
                      <a:pt x="284" y="295"/>
                    </a:lnTo>
                    <a:lnTo>
                      <a:pt x="283" y="295"/>
                    </a:lnTo>
                    <a:lnTo>
                      <a:pt x="282" y="295"/>
                    </a:lnTo>
                    <a:lnTo>
                      <a:pt x="283" y="296"/>
                    </a:lnTo>
                    <a:lnTo>
                      <a:pt x="282" y="296"/>
                    </a:lnTo>
                    <a:lnTo>
                      <a:pt x="281" y="296"/>
                    </a:lnTo>
                    <a:lnTo>
                      <a:pt x="280" y="297"/>
                    </a:lnTo>
                    <a:lnTo>
                      <a:pt x="279" y="297"/>
                    </a:lnTo>
                    <a:lnTo>
                      <a:pt x="278" y="298"/>
                    </a:lnTo>
                    <a:lnTo>
                      <a:pt x="277" y="298"/>
                    </a:lnTo>
                    <a:lnTo>
                      <a:pt x="277" y="297"/>
                    </a:lnTo>
                    <a:lnTo>
                      <a:pt x="277" y="296"/>
                    </a:lnTo>
                    <a:lnTo>
                      <a:pt x="275" y="296"/>
                    </a:lnTo>
                    <a:lnTo>
                      <a:pt x="275" y="295"/>
                    </a:lnTo>
                    <a:lnTo>
                      <a:pt x="274" y="295"/>
                    </a:lnTo>
                    <a:lnTo>
                      <a:pt x="273" y="295"/>
                    </a:lnTo>
                    <a:lnTo>
                      <a:pt x="274" y="294"/>
                    </a:lnTo>
                    <a:lnTo>
                      <a:pt x="273" y="294"/>
                    </a:lnTo>
                    <a:lnTo>
                      <a:pt x="273" y="293"/>
                    </a:lnTo>
                    <a:lnTo>
                      <a:pt x="272" y="293"/>
                    </a:lnTo>
                    <a:lnTo>
                      <a:pt x="272" y="292"/>
                    </a:lnTo>
                    <a:lnTo>
                      <a:pt x="271" y="290"/>
                    </a:lnTo>
                    <a:lnTo>
                      <a:pt x="270" y="290"/>
                    </a:lnTo>
                    <a:lnTo>
                      <a:pt x="270" y="289"/>
                    </a:lnTo>
                    <a:lnTo>
                      <a:pt x="269" y="289"/>
                    </a:lnTo>
                    <a:lnTo>
                      <a:pt x="269" y="288"/>
                    </a:lnTo>
                    <a:lnTo>
                      <a:pt x="268" y="288"/>
                    </a:lnTo>
                    <a:lnTo>
                      <a:pt x="268" y="286"/>
                    </a:lnTo>
                    <a:lnTo>
                      <a:pt x="267" y="285"/>
                    </a:lnTo>
                    <a:lnTo>
                      <a:pt x="266" y="285"/>
                    </a:lnTo>
                    <a:lnTo>
                      <a:pt x="265" y="285"/>
                    </a:lnTo>
                    <a:lnTo>
                      <a:pt x="265" y="284"/>
                    </a:lnTo>
                    <a:lnTo>
                      <a:pt x="264" y="284"/>
                    </a:lnTo>
                    <a:lnTo>
                      <a:pt x="262" y="284"/>
                    </a:lnTo>
                    <a:lnTo>
                      <a:pt x="262" y="285"/>
                    </a:lnTo>
                    <a:lnTo>
                      <a:pt x="261" y="285"/>
                    </a:lnTo>
                    <a:lnTo>
                      <a:pt x="261" y="284"/>
                    </a:lnTo>
                    <a:lnTo>
                      <a:pt x="261" y="285"/>
                    </a:lnTo>
                    <a:lnTo>
                      <a:pt x="261" y="286"/>
                    </a:lnTo>
                    <a:lnTo>
                      <a:pt x="262" y="286"/>
                    </a:lnTo>
                    <a:lnTo>
                      <a:pt x="261" y="287"/>
                    </a:lnTo>
                    <a:lnTo>
                      <a:pt x="260" y="288"/>
                    </a:lnTo>
                    <a:lnTo>
                      <a:pt x="260" y="289"/>
                    </a:lnTo>
                    <a:lnTo>
                      <a:pt x="261" y="289"/>
                    </a:lnTo>
                    <a:lnTo>
                      <a:pt x="262" y="288"/>
                    </a:lnTo>
                    <a:lnTo>
                      <a:pt x="262" y="289"/>
                    </a:lnTo>
                    <a:lnTo>
                      <a:pt x="261" y="289"/>
                    </a:lnTo>
                    <a:lnTo>
                      <a:pt x="260" y="289"/>
                    </a:lnTo>
                    <a:lnTo>
                      <a:pt x="259" y="289"/>
                    </a:lnTo>
                    <a:lnTo>
                      <a:pt x="258" y="289"/>
                    </a:lnTo>
                    <a:lnTo>
                      <a:pt x="258" y="290"/>
                    </a:lnTo>
                    <a:lnTo>
                      <a:pt x="257" y="290"/>
                    </a:lnTo>
                    <a:lnTo>
                      <a:pt x="257" y="289"/>
                    </a:lnTo>
                    <a:lnTo>
                      <a:pt x="256" y="289"/>
                    </a:lnTo>
                    <a:lnTo>
                      <a:pt x="255" y="289"/>
                    </a:lnTo>
                    <a:lnTo>
                      <a:pt x="254" y="289"/>
                    </a:lnTo>
                    <a:lnTo>
                      <a:pt x="253" y="289"/>
                    </a:lnTo>
                    <a:lnTo>
                      <a:pt x="253" y="290"/>
                    </a:lnTo>
                    <a:lnTo>
                      <a:pt x="252" y="290"/>
                    </a:lnTo>
                    <a:lnTo>
                      <a:pt x="252" y="292"/>
                    </a:lnTo>
                    <a:lnTo>
                      <a:pt x="251" y="293"/>
                    </a:lnTo>
                    <a:lnTo>
                      <a:pt x="251" y="294"/>
                    </a:lnTo>
                    <a:lnTo>
                      <a:pt x="251" y="295"/>
                    </a:lnTo>
                    <a:lnTo>
                      <a:pt x="251" y="296"/>
                    </a:lnTo>
                    <a:lnTo>
                      <a:pt x="251" y="297"/>
                    </a:lnTo>
                    <a:lnTo>
                      <a:pt x="251" y="298"/>
                    </a:lnTo>
                    <a:lnTo>
                      <a:pt x="252" y="298"/>
                    </a:lnTo>
                    <a:lnTo>
                      <a:pt x="251" y="298"/>
                    </a:lnTo>
                    <a:lnTo>
                      <a:pt x="251" y="299"/>
                    </a:lnTo>
                    <a:lnTo>
                      <a:pt x="249" y="299"/>
                    </a:lnTo>
                    <a:lnTo>
                      <a:pt x="249" y="300"/>
                    </a:lnTo>
                    <a:lnTo>
                      <a:pt x="248" y="301"/>
                    </a:lnTo>
                    <a:lnTo>
                      <a:pt x="248" y="302"/>
                    </a:lnTo>
                    <a:lnTo>
                      <a:pt x="247" y="301"/>
                    </a:lnTo>
                    <a:lnTo>
                      <a:pt x="247" y="300"/>
                    </a:lnTo>
                    <a:lnTo>
                      <a:pt x="248" y="300"/>
                    </a:lnTo>
                    <a:lnTo>
                      <a:pt x="247" y="298"/>
                    </a:lnTo>
                    <a:lnTo>
                      <a:pt x="247" y="296"/>
                    </a:lnTo>
                    <a:lnTo>
                      <a:pt x="247" y="295"/>
                    </a:lnTo>
                    <a:lnTo>
                      <a:pt x="246" y="294"/>
                    </a:lnTo>
                    <a:lnTo>
                      <a:pt x="245" y="293"/>
                    </a:lnTo>
                    <a:lnTo>
                      <a:pt x="245" y="292"/>
                    </a:lnTo>
                    <a:lnTo>
                      <a:pt x="244" y="290"/>
                    </a:lnTo>
                    <a:lnTo>
                      <a:pt x="244" y="289"/>
                    </a:lnTo>
                    <a:lnTo>
                      <a:pt x="243" y="289"/>
                    </a:lnTo>
                    <a:lnTo>
                      <a:pt x="243" y="288"/>
                    </a:lnTo>
                    <a:lnTo>
                      <a:pt x="243" y="287"/>
                    </a:lnTo>
                    <a:lnTo>
                      <a:pt x="243" y="286"/>
                    </a:lnTo>
                    <a:lnTo>
                      <a:pt x="242" y="286"/>
                    </a:lnTo>
                    <a:lnTo>
                      <a:pt x="241" y="286"/>
                    </a:lnTo>
                    <a:lnTo>
                      <a:pt x="241" y="287"/>
                    </a:lnTo>
                    <a:lnTo>
                      <a:pt x="241" y="288"/>
                    </a:lnTo>
                    <a:lnTo>
                      <a:pt x="240" y="287"/>
                    </a:lnTo>
                    <a:lnTo>
                      <a:pt x="239" y="287"/>
                    </a:lnTo>
                    <a:lnTo>
                      <a:pt x="238" y="287"/>
                    </a:lnTo>
                    <a:lnTo>
                      <a:pt x="236" y="286"/>
                    </a:lnTo>
                    <a:lnTo>
                      <a:pt x="235" y="286"/>
                    </a:lnTo>
                    <a:lnTo>
                      <a:pt x="234" y="285"/>
                    </a:lnTo>
                    <a:lnTo>
                      <a:pt x="234" y="284"/>
                    </a:lnTo>
                    <a:lnTo>
                      <a:pt x="233" y="283"/>
                    </a:lnTo>
                    <a:lnTo>
                      <a:pt x="233" y="282"/>
                    </a:lnTo>
                    <a:lnTo>
                      <a:pt x="233" y="281"/>
                    </a:lnTo>
                    <a:lnTo>
                      <a:pt x="232" y="281"/>
                    </a:lnTo>
                    <a:lnTo>
                      <a:pt x="231" y="282"/>
                    </a:lnTo>
                    <a:lnTo>
                      <a:pt x="231" y="283"/>
                    </a:lnTo>
                    <a:lnTo>
                      <a:pt x="231" y="284"/>
                    </a:lnTo>
                    <a:lnTo>
                      <a:pt x="230" y="283"/>
                    </a:lnTo>
                    <a:lnTo>
                      <a:pt x="230" y="284"/>
                    </a:lnTo>
                    <a:lnTo>
                      <a:pt x="230" y="285"/>
                    </a:lnTo>
                    <a:lnTo>
                      <a:pt x="227" y="285"/>
                    </a:lnTo>
                    <a:lnTo>
                      <a:pt x="226" y="286"/>
                    </a:lnTo>
                    <a:lnTo>
                      <a:pt x="226" y="287"/>
                    </a:lnTo>
                    <a:lnTo>
                      <a:pt x="224" y="287"/>
                    </a:lnTo>
                    <a:lnTo>
                      <a:pt x="224" y="288"/>
                    </a:lnTo>
                    <a:lnTo>
                      <a:pt x="223" y="287"/>
                    </a:lnTo>
                    <a:lnTo>
                      <a:pt x="222" y="287"/>
                    </a:lnTo>
                    <a:lnTo>
                      <a:pt x="221" y="288"/>
                    </a:lnTo>
                    <a:lnTo>
                      <a:pt x="220" y="289"/>
                    </a:lnTo>
                    <a:lnTo>
                      <a:pt x="220" y="290"/>
                    </a:lnTo>
                    <a:lnTo>
                      <a:pt x="220" y="293"/>
                    </a:lnTo>
                    <a:lnTo>
                      <a:pt x="220" y="294"/>
                    </a:lnTo>
                    <a:lnTo>
                      <a:pt x="221" y="295"/>
                    </a:lnTo>
                    <a:lnTo>
                      <a:pt x="221" y="296"/>
                    </a:lnTo>
                    <a:lnTo>
                      <a:pt x="220" y="296"/>
                    </a:lnTo>
                    <a:lnTo>
                      <a:pt x="220" y="297"/>
                    </a:lnTo>
                    <a:lnTo>
                      <a:pt x="219" y="297"/>
                    </a:lnTo>
                    <a:lnTo>
                      <a:pt x="220" y="298"/>
                    </a:lnTo>
                    <a:lnTo>
                      <a:pt x="221" y="299"/>
                    </a:lnTo>
                    <a:lnTo>
                      <a:pt x="222" y="299"/>
                    </a:lnTo>
                    <a:lnTo>
                      <a:pt x="222" y="300"/>
                    </a:lnTo>
                    <a:lnTo>
                      <a:pt x="223" y="301"/>
                    </a:lnTo>
                    <a:lnTo>
                      <a:pt x="224" y="301"/>
                    </a:lnTo>
                    <a:lnTo>
                      <a:pt x="223" y="301"/>
                    </a:lnTo>
                    <a:lnTo>
                      <a:pt x="222" y="302"/>
                    </a:lnTo>
                    <a:lnTo>
                      <a:pt x="222" y="303"/>
                    </a:lnTo>
                    <a:lnTo>
                      <a:pt x="221" y="305"/>
                    </a:lnTo>
                    <a:lnTo>
                      <a:pt x="221" y="306"/>
                    </a:lnTo>
                    <a:lnTo>
                      <a:pt x="221" y="305"/>
                    </a:lnTo>
                    <a:lnTo>
                      <a:pt x="220" y="305"/>
                    </a:lnTo>
                    <a:lnTo>
                      <a:pt x="218" y="305"/>
                    </a:lnTo>
                    <a:lnTo>
                      <a:pt x="218" y="306"/>
                    </a:lnTo>
                    <a:lnTo>
                      <a:pt x="217" y="305"/>
                    </a:lnTo>
                    <a:lnTo>
                      <a:pt x="217" y="306"/>
                    </a:lnTo>
                    <a:lnTo>
                      <a:pt x="218" y="307"/>
                    </a:lnTo>
                    <a:lnTo>
                      <a:pt x="219" y="307"/>
                    </a:lnTo>
                    <a:lnTo>
                      <a:pt x="220" y="307"/>
                    </a:lnTo>
                    <a:lnTo>
                      <a:pt x="221" y="307"/>
                    </a:lnTo>
                    <a:lnTo>
                      <a:pt x="222" y="307"/>
                    </a:lnTo>
                    <a:lnTo>
                      <a:pt x="222" y="308"/>
                    </a:lnTo>
                    <a:lnTo>
                      <a:pt x="222" y="309"/>
                    </a:lnTo>
                    <a:lnTo>
                      <a:pt x="223" y="310"/>
                    </a:lnTo>
                    <a:lnTo>
                      <a:pt x="222" y="311"/>
                    </a:lnTo>
                    <a:lnTo>
                      <a:pt x="221" y="312"/>
                    </a:lnTo>
                    <a:lnTo>
                      <a:pt x="222" y="314"/>
                    </a:lnTo>
                    <a:lnTo>
                      <a:pt x="223" y="316"/>
                    </a:lnTo>
                    <a:lnTo>
                      <a:pt x="224" y="318"/>
                    </a:lnTo>
                    <a:lnTo>
                      <a:pt x="227" y="318"/>
                    </a:lnTo>
                    <a:lnTo>
                      <a:pt x="229" y="319"/>
                    </a:lnTo>
                    <a:lnTo>
                      <a:pt x="229" y="320"/>
                    </a:lnTo>
                    <a:lnTo>
                      <a:pt x="231" y="320"/>
                    </a:lnTo>
                    <a:lnTo>
                      <a:pt x="232" y="320"/>
                    </a:lnTo>
                    <a:lnTo>
                      <a:pt x="233" y="320"/>
                    </a:lnTo>
                    <a:lnTo>
                      <a:pt x="234" y="320"/>
                    </a:lnTo>
                    <a:lnTo>
                      <a:pt x="235" y="319"/>
                    </a:lnTo>
                    <a:lnTo>
                      <a:pt x="234" y="315"/>
                    </a:lnTo>
                    <a:lnTo>
                      <a:pt x="235" y="316"/>
                    </a:lnTo>
                    <a:lnTo>
                      <a:pt x="236" y="316"/>
                    </a:lnTo>
                    <a:lnTo>
                      <a:pt x="235" y="318"/>
                    </a:lnTo>
                    <a:lnTo>
                      <a:pt x="236" y="319"/>
                    </a:lnTo>
                    <a:lnTo>
                      <a:pt x="238" y="319"/>
                    </a:lnTo>
                    <a:lnTo>
                      <a:pt x="236" y="319"/>
                    </a:lnTo>
                    <a:lnTo>
                      <a:pt x="236" y="320"/>
                    </a:lnTo>
                    <a:lnTo>
                      <a:pt x="238" y="320"/>
                    </a:lnTo>
                    <a:lnTo>
                      <a:pt x="238" y="321"/>
                    </a:lnTo>
                    <a:lnTo>
                      <a:pt x="238" y="322"/>
                    </a:lnTo>
                    <a:lnTo>
                      <a:pt x="239" y="323"/>
                    </a:lnTo>
                    <a:lnTo>
                      <a:pt x="240" y="324"/>
                    </a:lnTo>
                    <a:lnTo>
                      <a:pt x="241" y="324"/>
                    </a:lnTo>
                    <a:lnTo>
                      <a:pt x="242" y="324"/>
                    </a:lnTo>
                    <a:lnTo>
                      <a:pt x="245" y="323"/>
                    </a:lnTo>
                    <a:lnTo>
                      <a:pt x="245" y="322"/>
                    </a:lnTo>
                    <a:lnTo>
                      <a:pt x="246" y="322"/>
                    </a:lnTo>
                    <a:lnTo>
                      <a:pt x="246" y="321"/>
                    </a:lnTo>
                    <a:lnTo>
                      <a:pt x="247" y="321"/>
                    </a:lnTo>
                    <a:lnTo>
                      <a:pt x="247" y="322"/>
                    </a:lnTo>
                    <a:lnTo>
                      <a:pt x="247" y="323"/>
                    </a:lnTo>
                    <a:lnTo>
                      <a:pt x="248" y="322"/>
                    </a:lnTo>
                    <a:lnTo>
                      <a:pt x="248" y="323"/>
                    </a:lnTo>
                    <a:lnTo>
                      <a:pt x="249" y="323"/>
                    </a:lnTo>
                    <a:lnTo>
                      <a:pt x="251" y="323"/>
                    </a:lnTo>
                    <a:lnTo>
                      <a:pt x="252" y="323"/>
                    </a:lnTo>
                    <a:lnTo>
                      <a:pt x="252" y="322"/>
                    </a:lnTo>
                    <a:lnTo>
                      <a:pt x="253" y="323"/>
                    </a:lnTo>
                    <a:lnTo>
                      <a:pt x="253" y="322"/>
                    </a:lnTo>
                    <a:lnTo>
                      <a:pt x="254" y="322"/>
                    </a:lnTo>
                    <a:lnTo>
                      <a:pt x="254" y="321"/>
                    </a:lnTo>
                    <a:lnTo>
                      <a:pt x="255" y="321"/>
                    </a:lnTo>
                    <a:lnTo>
                      <a:pt x="255" y="322"/>
                    </a:lnTo>
                    <a:lnTo>
                      <a:pt x="256" y="322"/>
                    </a:lnTo>
                    <a:lnTo>
                      <a:pt x="257" y="323"/>
                    </a:lnTo>
                    <a:lnTo>
                      <a:pt x="256" y="323"/>
                    </a:lnTo>
                    <a:lnTo>
                      <a:pt x="255" y="324"/>
                    </a:lnTo>
                    <a:lnTo>
                      <a:pt x="256" y="325"/>
                    </a:lnTo>
                    <a:lnTo>
                      <a:pt x="255" y="326"/>
                    </a:lnTo>
                    <a:lnTo>
                      <a:pt x="254" y="327"/>
                    </a:lnTo>
                    <a:lnTo>
                      <a:pt x="253" y="327"/>
                    </a:lnTo>
                    <a:lnTo>
                      <a:pt x="252" y="327"/>
                    </a:lnTo>
                    <a:lnTo>
                      <a:pt x="252" y="326"/>
                    </a:lnTo>
                    <a:lnTo>
                      <a:pt x="251" y="326"/>
                    </a:lnTo>
                    <a:lnTo>
                      <a:pt x="252" y="325"/>
                    </a:lnTo>
                    <a:lnTo>
                      <a:pt x="252" y="326"/>
                    </a:lnTo>
                    <a:lnTo>
                      <a:pt x="253" y="326"/>
                    </a:lnTo>
                    <a:lnTo>
                      <a:pt x="253" y="327"/>
                    </a:lnTo>
                    <a:lnTo>
                      <a:pt x="253" y="326"/>
                    </a:lnTo>
                    <a:lnTo>
                      <a:pt x="254" y="326"/>
                    </a:lnTo>
                    <a:lnTo>
                      <a:pt x="253" y="326"/>
                    </a:lnTo>
                    <a:lnTo>
                      <a:pt x="253" y="325"/>
                    </a:lnTo>
                    <a:lnTo>
                      <a:pt x="253" y="324"/>
                    </a:lnTo>
                    <a:lnTo>
                      <a:pt x="252" y="324"/>
                    </a:lnTo>
                    <a:lnTo>
                      <a:pt x="252" y="325"/>
                    </a:lnTo>
                    <a:lnTo>
                      <a:pt x="253" y="325"/>
                    </a:lnTo>
                    <a:lnTo>
                      <a:pt x="252" y="325"/>
                    </a:lnTo>
                    <a:lnTo>
                      <a:pt x="252" y="324"/>
                    </a:lnTo>
                    <a:lnTo>
                      <a:pt x="251" y="325"/>
                    </a:lnTo>
                    <a:lnTo>
                      <a:pt x="249" y="325"/>
                    </a:lnTo>
                    <a:lnTo>
                      <a:pt x="249" y="326"/>
                    </a:lnTo>
                    <a:lnTo>
                      <a:pt x="251" y="326"/>
                    </a:lnTo>
                    <a:lnTo>
                      <a:pt x="249" y="326"/>
                    </a:lnTo>
                    <a:lnTo>
                      <a:pt x="251" y="326"/>
                    </a:lnTo>
                    <a:lnTo>
                      <a:pt x="251" y="327"/>
                    </a:lnTo>
                    <a:lnTo>
                      <a:pt x="251" y="326"/>
                    </a:lnTo>
                    <a:lnTo>
                      <a:pt x="251" y="327"/>
                    </a:lnTo>
                    <a:lnTo>
                      <a:pt x="252" y="327"/>
                    </a:lnTo>
                    <a:lnTo>
                      <a:pt x="252" y="328"/>
                    </a:lnTo>
                    <a:lnTo>
                      <a:pt x="251" y="328"/>
                    </a:lnTo>
                    <a:lnTo>
                      <a:pt x="251" y="327"/>
                    </a:lnTo>
                    <a:lnTo>
                      <a:pt x="249" y="327"/>
                    </a:lnTo>
                    <a:lnTo>
                      <a:pt x="248" y="327"/>
                    </a:lnTo>
                    <a:lnTo>
                      <a:pt x="248" y="326"/>
                    </a:lnTo>
                    <a:lnTo>
                      <a:pt x="249" y="326"/>
                    </a:lnTo>
                    <a:lnTo>
                      <a:pt x="248" y="326"/>
                    </a:lnTo>
                    <a:lnTo>
                      <a:pt x="248" y="325"/>
                    </a:lnTo>
                    <a:lnTo>
                      <a:pt x="247" y="325"/>
                    </a:lnTo>
                    <a:lnTo>
                      <a:pt x="247" y="326"/>
                    </a:lnTo>
                    <a:lnTo>
                      <a:pt x="246" y="326"/>
                    </a:lnTo>
                    <a:lnTo>
                      <a:pt x="246" y="327"/>
                    </a:lnTo>
                    <a:lnTo>
                      <a:pt x="245" y="327"/>
                    </a:lnTo>
                    <a:lnTo>
                      <a:pt x="245" y="328"/>
                    </a:lnTo>
                    <a:lnTo>
                      <a:pt x="245" y="329"/>
                    </a:lnTo>
                    <a:lnTo>
                      <a:pt x="246" y="329"/>
                    </a:lnTo>
                    <a:lnTo>
                      <a:pt x="245" y="329"/>
                    </a:lnTo>
                    <a:lnTo>
                      <a:pt x="245" y="331"/>
                    </a:lnTo>
                    <a:lnTo>
                      <a:pt x="245" y="329"/>
                    </a:lnTo>
                    <a:lnTo>
                      <a:pt x="244" y="329"/>
                    </a:lnTo>
                    <a:lnTo>
                      <a:pt x="244" y="331"/>
                    </a:lnTo>
                    <a:lnTo>
                      <a:pt x="245" y="331"/>
                    </a:lnTo>
                    <a:lnTo>
                      <a:pt x="246" y="331"/>
                    </a:lnTo>
                    <a:lnTo>
                      <a:pt x="246" y="332"/>
                    </a:lnTo>
                    <a:lnTo>
                      <a:pt x="247" y="332"/>
                    </a:lnTo>
                    <a:lnTo>
                      <a:pt x="247" y="331"/>
                    </a:lnTo>
                    <a:lnTo>
                      <a:pt x="246" y="331"/>
                    </a:lnTo>
                    <a:lnTo>
                      <a:pt x="245" y="331"/>
                    </a:lnTo>
                    <a:lnTo>
                      <a:pt x="245" y="329"/>
                    </a:lnTo>
                    <a:lnTo>
                      <a:pt x="246" y="329"/>
                    </a:lnTo>
                    <a:lnTo>
                      <a:pt x="246" y="331"/>
                    </a:lnTo>
                    <a:lnTo>
                      <a:pt x="247" y="331"/>
                    </a:lnTo>
                    <a:lnTo>
                      <a:pt x="248" y="331"/>
                    </a:lnTo>
                    <a:lnTo>
                      <a:pt x="247" y="331"/>
                    </a:lnTo>
                    <a:lnTo>
                      <a:pt x="247" y="329"/>
                    </a:lnTo>
                    <a:lnTo>
                      <a:pt x="248" y="329"/>
                    </a:lnTo>
                    <a:lnTo>
                      <a:pt x="249" y="329"/>
                    </a:lnTo>
                    <a:lnTo>
                      <a:pt x="251" y="328"/>
                    </a:lnTo>
                    <a:lnTo>
                      <a:pt x="252" y="328"/>
                    </a:lnTo>
                    <a:lnTo>
                      <a:pt x="251" y="329"/>
                    </a:lnTo>
                    <a:lnTo>
                      <a:pt x="252" y="329"/>
                    </a:lnTo>
                    <a:lnTo>
                      <a:pt x="252" y="331"/>
                    </a:lnTo>
                    <a:lnTo>
                      <a:pt x="252" y="332"/>
                    </a:lnTo>
                    <a:lnTo>
                      <a:pt x="252" y="333"/>
                    </a:lnTo>
                    <a:lnTo>
                      <a:pt x="251" y="333"/>
                    </a:lnTo>
                    <a:lnTo>
                      <a:pt x="252" y="333"/>
                    </a:lnTo>
                    <a:lnTo>
                      <a:pt x="252" y="334"/>
                    </a:lnTo>
                    <a:lnTo>
                      <a:pt x="253" y="334"/>
                    </a:lnTo>
                    <a:lnTo>
                      <a:pt x="253" y="335"/>
                    </a:lnTo>
                    <a:lnTo>
                      <a:pt x="252" y="335"/>
                    </a:lnTo>
                    <a:lnTo>
                      <a:pt x="251" y="335"/>
                    </a:lnTo>
                    <a:lnTo>
                      <a:pt x="249" y="335"/>
                    </a:lnTo>
                    <a:lnTo>
                      <a:pt x="248" y="335"/>
                    </a:lnTo>
                    <a:lnTo>
                      <a:pt x="247" y="335"/>
                    </a:lnTo>
                    <a:lnTo>
                      <a:pt x="246" y="334"/>
                    </a:lnTo>
                    <a:lnTo>
                      <a:pt x="245" y="333"/>
                    </a:lnTo>
                    <a:lnTo>
                      <a:pt x="245" y="332"/>
                    </a:lnTo>
                    <a:lnTo>
                      <a:pt x="244" y="332"/>
                    </a:lnTo>
                    <a:lnTo>
                      <a:pt x="243" y="332"/>
                    </a:lnTo>
                    <a:lnTo>
                      <a:pt x="243" y="333"/>
                    </a:lnTo>
                    <a:lnTo>
                      <a:pt x="243" y="334"/>
                    </a:lnTo>
                    <a:lnTo>
                      <a:pt x="242" y="335"/>
                    </a:lnTo>
                    <a:lnTo>
                      <a:pt x="241" y="335"/>
                    </a:lnTo>
                    <a:lnTo>
                      <a:pt x="240" y="335"/>
                    </a:lnTo>
                    <a:lnTo>
                      <a:pt x="239" y="334"/>
                    </a:lnTo>
                    <a:lnTo>
                      <a:pt x="239" y="333"/>
                    </a:lnTo>
                    <a:lnTo>
                      <a:pt x="238" y="333"/>
                    </a:lnTo>
                    <a:lnTo>
                      <a:pt x="236" y="333"/>
                    </a:lnTo>
                    <a:lnTo>
                      <a:pt x="235" y="333"/>
                    </a:lnTo>
                    <a:lnTo>
                      <a:pt x="235" y="332"/>
                    </a:lnTo>
                    <a:lnTo>
                      <a:pt x="234" y="332"/>
                    </a:lnTo>
                    <a:lnTo>
                      <a:pt x="234" y="331"/>
                    </a:lnTo>
                    <a:lnTo>
                      <a:pt x="233" y="331"/>
                    </a:lnTo>
                    <a:lnTo>
                      <a:pt x="233" y="332"/>
                    </a:lnTo>
                    <a:lnTo>
                      <a:pt x="234" y="332"/>
                    </a:lnTo>
                    <a:lnTo>
                      <a:pt x="234" y="333"/>
                    </a:lnTo>
                    <a:lnTo>
                      <a:pt x="234" y="332"/>
                    </a:lnTo>
                    <a:lnTo>
                      <a:pt x="234" y="333"/>
                    </a:lnTo>
                    <a:lnTo>
                      <a:pt x="234" y="334"/>
                    </a:lnTo>
                    <a:lnTo>
                      <a:pt x="235" y="334"/>
                    </a:lnTo>
                    <a:lnTo>
                      <a:pt x="235" y="335"/>
                    </a:lnTo>
                    <a:lnTo>
                      <a:pt x="236" y="335"/>
                    </a:lnTo>
                    <a:lnTo>
                      <a:pt x="238" y="335"/>
                    </a:lnTo>
                    <a:lnTo>
                      <a:pt x="239" y="335"/>
                    </a:lnTo>
                    <a:lnTo>
                      <a:pt x="238" y="335"/>
                    </a:lnTo>
                    <a:lnTo>
                      <a:pt x="238" y="336"/>
                    </a:lnTo>
                    <a:lnTo>
                      <a:pt x="239" y="336"/>
                    </a:lnTo>
                    <a:lnTo>
                      <a:pt x="239" y="337"/>
                    </a:lnTo>
                    <a:lnTo>
                      <a:pt x="239" y="336"/>
                    </a:lnTo>
                    <a:lnTo>
                      <a:pt x="238" y="336"/>
                    </a:lnTo>
                    <a:lnTo>
                      <a:pt x="239" y="337"/>
                    </a:lnTo>
                    <a:lnTo>
                      <a:pt x="240" y="337"/>
                    </a:lnTo>
                    <a:lnTo>
                      <a:pt x="239" y="336"/>
                    </a:lnTo>
                    <a:lnTo>
                      <a:pt x="240" y="336"/>
                    </a:lnTo>
                    <a:lnTo>
                      <a:pt x="241" y="337"/>
                    </a:lnTo>
                    <a:lnTo>
                      <a:pt x="241" y="336"/>
                    </a:lnTo>
                    <a:lnTo>
                      <a:pt x="241" y="337"/>
                    </a:lnTo>
                    <a:lnTo>
                      <a:pt x="241" y="338"/>
                    </a:lnTo>
                    <a:lnTo>
                      <a:pt x="241" y="339"/>
                    </a:lnTo>
                    <a:lnTo>
                      <a:pt x="242" y="339"/>
                    </a:lnTo>
                    <a:lnTo>
                      <a:pt x="243" y="338"/>
                    </a:lnTo>
                    <a:lnTo>
                      <a:pt x="243" y="339"/>
                    </a:lnTo>
                    <a:lnTo>
                      <a:pt x="244" y="339"/>
                    </a:lnTo>
                    <a:lnTo>
                      <a:pt x="245" y="339"/>
                    </a:lnTo>
                    <a:lnTo>
                      <a:pt x="246" y="340"/>
                    </a:lnTo>
                    <a:lnTo>
                      <a:pt x="247" y="340"/>
                    </a:lnTo>
                    <a:lnTo>
                      <a:pt x="247" y="339"/>
                    </a:lnTo>
                    <a:lnTo>
                      <a:pt x="247" y="340"/>
                    </a:lnTo>
                    <a:lnTo>
                      <a:pt x="248" y="340"/>
                    </a:lnTo>
                    <a:lnTo>
                      <a:pt x="249" y="340"/>
                    </a:lnTo>
                    <a:lnTo>
                      <a:pt x="249" y="339"/>
                    </a:lnTo>
                    <a:lnTo>
                      <a:pt x="251" y="339"/>
                    </a:lnTo>
                    <a:lnTo>
                      <a:pt x="252" y="339"/>
                    </a:lnTo>
                    <a:lnTo>
                      <a:pt x="252" y="338"/>
                    </a:lnTo>
                    <a:lnTo>
                      <a:pt x="253" y="338"/>
                    </a:lnTo>
                    <a:lnTo>
                      <a:pt x="253" y="339"/>
                    </a:lnTo>
                    <a:lnTo>
                      <a:pt x="253" y="338"/>
                    </a:lnTo>
                    <a:lnTo>
                      <a:pt x="253" y="337"/>
                    </a:lnTo>
                    <a:lnTo>
                      <a:pt x="254" y="337"/>
                    </a:lnTo>
                    <a:lnTo>
                      <a:pt x="254" y="338"/>
                    </a:lnTo>
                    <a:lnTo>
                      <a:pt x="255" y="338"/>
                    </a:lnTo>
                    <a:lnTo>
                      <a:pt x="255" y="337"/>
                    </a:lnTo>
                    <a:lnTo>
                      <a:pt x="256" y="338"/>
                    </a:lnTo>
                    <a:lnTo>
                      <a:pt x="257" y="338"/>
                    </a:lnTo>
                    <a:lnTo>
                      <a:pt x="257" y="337"/>
                    </a:lnTo>
                    <a:lnTo>
                      <a:pt x="257" y="338"/>
                    </a:lnTo>
                    <a:lnTo>
                      <a:pt x="258" y="338"/>
                    </a:lnTo>
                    <a:lnTo>
                      <a:pt x="258" y="337"/>
                    </a:lnTo>
                    <a:lnTo>
                      <a:pt x="258" y="338"/>
                    </a:lnTo>
                    <a:lnTo>
                      <a:pt x="259" y="338"/>
                    </a:lnTo>
                    <a:lnTo>
                      <a:pt x="259" y="339"/>
                    </a:lnTo>
                    <a:lnTo>
                      <a:pt x="260" y="339"/>
                    </a:lnTo>
                    <a:lnTo>
                      <a:pt x="261" y="339"/>
                    </a:lnTo>
                    <a:lnTo>
                      <a:pt x="261" y="340"/>
                    </a:lnTo>
                    <a:lnTo>
                      <a:pt x="261" y="341"/>
                    </a:lnTo>
                    <a:lnTo>
                      <a:pt x="262" y="341"/>
                    </a:lnTo>
                    <a:lnTo>
                      <a:pt x="262" y="343"/>
                    </a:lnTo>
                    <a:lnTo>
                      <a:pt x="262" y="341"/>
                    </a:lnTo>
                    <a:lnTo>
                      <a:pt x="264" y="341"/>
                    </a:lnTo>
                    <a:lnTo>
                      <a:pt x="264" y="343"/>
                    </a:lnTo>
                    <a:lnTo>
                      <a:pt x="265" y="343"/>
                    </a:lnTo>
                    <a:lnTo>
                      <a:pt x="266" y="343"/>
                    </a:lnTo>
                    <a:lnTo>
                      <a:pt x="267" y="343"/>
                    </a:lnTo>
                    <a:lnTo>
                      <a:pt x="268" y="343"/>
                    </a:lnTo>
                    <a:lnTo>
                      <a:pt x="268" y="344"/>
                    </a:lnTo>
                    <a:lnTo>
                      <a:pt x="269" y="344"/>
                    </a:lnTo>
                    <a:lnTo>
                      <a:pt x="269" y="345"/>
                    </a:lnTo>
                    <a:lnTo>
                      <a:pt x="269" y="346"/>
                    </a:lnTo>
                    <a:lnTo>
                      <a:pt x="270" y="346"/>
                    </a:lnTo>
                    <a:lnTo>
                      <a:pt x="271" y="347"/>
                    </a:lnTo>
                    <a:lnTo>
                      <a:pt x="272" y="347"/>
                    </a:lnTo>
                    <a:lnTo>
                      <a:pt x="273" y="348"/>
                    </a:lnTo>
                    <a:lnTo>
                      <a:pt x="275" y="348"/>
                    </a:lnTo>
                    <a:lnTo>
                      <a:pt x="277" y="347"/>
                    </a:lnTo>
                    <a:lnTo>
                      <a:pt x="278" y="347"/>
                    </a:lnTo>
                    <a:lnTo>
                      <a:pt x="279" y="347"/>
                    </a:lnTo>
                    <a:lnTo>
                      <a:pt x="279" y="346"/>
                    </a:lnTo>
                    <a:lnTo>
                      <a:pt x="280" y="346"/>
                    </a:lnTo>
                    <a:lnTo>
                      <a:pt x="280" y="345"/>
                    </a:lnTo>
                    <a:lnTo>
                      <a:pt x="279" y="346"/>
                    </a:lnTo>
                    <a:lnTo>
                      <a:pt x="279" y="345"/>
                    </a:lnTo>
                    <a:lnTo>
                      <a:pt x="279" y="344"/>
                    </a:lnTo>
                    <a:lnTo>
                      <a:pt x="278" y="343"/>
                    </a:lnTo>
                    <a:lnTo>
                      <a:pt x="279" y="343"/>
                    </a:lnTo>
                    <a:lnTo>
                      <a:pt x="279" y="341"/>
                    </a:lnTo>
                    <a:lnTo>
                      <a:pt x="280" y="341"/>
                    </a:lnTo>
                    <a:lnTo>
                      <a:pt x="281" y="341"/>
                    </a:lnTo>
                    <a:lnTo>
                      <a:pt x="280" y="341"/>
                    </a:lnTo>
                    <a:lnTo>
                      <a:pt x="279" y="341"/>
                    </a:lnTo>
                    <a:lnTo>
                      <a:pt x="279" y="340"/>
                    </a:lnTo>
                    <a:lnTo>
                      <a:pt x="278" y="340"/>
                    </a:lnTo>
                    <a:lnTo>
                      <a:pt x="277" y="340"/>
                    </a:lnTo>
                    <a:lnTo>
                      <a:pt x="278" y="340"/>
                    </a:lnTo>
                    <a:lnTo>
                      <a:pt x="279" y="340"/>
                    </a:lnTo>
                    <a:lnTo>
                      <a:pt x="280" y="340"/>
                    </a:lnTo>
                    <a:lnTo>
                      <a:pt x="279" y="340"/>
                    </a:lnTo>
                    <a:lnTo>
                      <a:pt x="279" y="339"/>
                    </a:lnTo>
                    <a:lnTo>
                      <a:pt x="280" y="339"/>
                    </a:lnTo>
                    <a:lnTo>
                      <a:pt x="281" y="339"/>
                    </a:lnTo>
                    <a:lnTo>
                      <a:pt x="282" y="339"/>
                    </a:lnTo>
                    <a:lnTo>
                      <a:pt x="282" y="340"/>
                    </a:lnTo>
                    <a:lnTo>
                      <a:pt x="283" y="341"/>
                    </a:lnTo>
                    <a:lnTo>
                      <a:pt x="283" y="343"/>
                    </a:lnTo>
                    <a:lnTo>
                      <a:pt x="283" y="341"/>
                    </a:lnTo>
                    <a:lnTo>
                      <a:pt x="282" y="341"/>
                    </a:lnTo>
                    <a:lnTo>
                      <a:pt x="282" y="343"/>
                    </a:lnTo>
                    <a:lnTo>
                      <a:pt x="283" y="343"/>
                    </a:lnTo>
                    <a:lnTo>
                      <a:pt x="282" y="343"/>
                    </a:lnTo>
                    <a:lnTo>
                      <a:pt x="281" y="343"/>
                    </a:lnTo>
                    <a:lnTo>
                      <a:pt x="280" y="343"/>
                    </a:lnTo>
                    <a:lnTo>
                      <a:pt x="280" y="344"/>
                    </a:lnTo>
                    <a:lnTo>
                      <a:pt x="280" y="345"/>
                    </a:lnTo>
                    <a:lnTo>
                      <a:pt x="281" y="346"/>
                    </a:lnTo>
                    <a:lnTo>
                      <a:pt x="282" y="347"/>
                    </a:lnTo>
                    <a:lnTo>
                      <a:pt x="282" y="348"/>
                    </a:lnTo>
                    <a:lnTo>
                      <a:pt x="281" y="348"/>
                    </a:lnTo>
                    <a:lnTo>
                      <a:pt x="280" y="348"/>
                    </a:lnTo>
                    <a:lnTo>
                      <a:pt x="281" y="348"/>
                    </a:lnTo>
                    <a:lnTo>
                      <a:pt x="282" y="348"/>
                    </a:lnTo>
                    <a:lnTo>
                      <a:pt x="282" y="349"/>
                    </a:lnTo>
                    <a:lnTo>
                      <a:pt x="282" y="350"/>
                    </a:lnTo>
                    <a:lnTo>
                      <a:pt x="284" y="349"/>
                    </a:lnTo>
                    <a:lnTo>
                      <a:pt x="285" y="349"/>
                    </a:lnTo>
                    <a:lnTo>
                      <a:pt x="286" y="349"/>
                    </a:lnTo>
                    <a:lnTo>
                      <a:pt x="287" y="349"/>
                    </a:lnTo>
                    <a:lnTo>
                      <a:pt x="287" y="348"/>
                    </a:lnTo>
                    <a:lnTo>
                      <a:pt x="288" y="348"/>
                    </a:lnTo>
                    <a:lnTo>
                      <a:pt x="288" y="349"/>
                    </a:lnTo>
                    <a:lnTo>
                      <a:pt x="290" y="348"/>
                    </a:lnTo>
                    <a:lnTo>
                      <a:pt x="290" y="347"/>
                    </a:lnTo>
                    <a:lnTo>
                      <a:pt x="290" y="346"/>
                    </a:lnTo>
                    <a:lnTo>
                      <a:pt x="290" y="345"/>
                    </a:lnTo>
                    <a:lnTo>
                      <a:pt x="291" y="345"/>
                    </a:lnTo>
                    <a:lnTo>
                      <a:pt x="290" y="345"/>
                    </a:lnTo>
                    <a:lnTo>
                      <a:pt x="290" y="344"/>
                    </a:lnTo>
                    <a:lnTo>
                      <a:pt x="290" y="345"/>
                    </a:lnTo>
                    <a:lnTo>
                      <a:pt x="288" y="345"/>
                    </a:lnTo>
                    <a:lnTo>
                      <a:pt x="287" y="345"/>
                    </a:lnTo>
                    <a:lnTo>
                      <a:pt x="287" y="344"/>
                    </a:lnTo>
                    <a:lnTo>
                      <a:pt x="286" y="344"/>
                    </a:lnTo>
                    <a:lnTo>
                      <a:pt x="286" y="343"/>
                    </a:lnTo>
                    <a:lnTo>
                      <a:pt x="285" y="343"/>
                    </a:lnTo>
                    <a:lnTo>
                      <a:pt x="284" y="343"/>
                    </a:lnTo>
                    <a:lnTo>
                      <a:pt x="284" y="341"/>
                    </a:lnTo>
                    <a:lnTo>
                      <a:pt x="284" y="340"/>
                    </a:lnTo>
                    <a:lnTo>
                      <a:pt x="284" y="339"/>
                    </a:lnTo>
                    <a:lnTo>
                      <a:pt x="285" y="339"/>
                    </a:lnTo>
                    <a:lnTo>
                      <a:pt x="285" y="338"/>
                    </a:lnTo>
                    <a:lnTo>
                      <a:pt x="286" y="338"/>
                    </a:lnTo>
                    <a:lnTo>
                      <a:pt x="285" y="338"/>
                    </a:lnTo>
                    <a:lnTo>
                      <a:pt x="286" y="338"/>
                    </a:lnTo>
                    <a:lnTo>
                      <a:pt x="286" y="339"/>
                    </a:lnTo>
                    <a:lnTo>
                      <a:pt x="286" y="338"/>
                    </a:lnTo>
                    <a:lnTo>
                      <a:pt x="285" y="338"/>
                    </a:lnTo>
                    <a:lnTo>
                      <a:pt x="285" y="337"/>
                    </a:lnTo>
                    <a:lnTo>
                      <a:pt x="284" y="337"/>
                    </a:lnTo>
                    <a:lnTo>
                      <a:pt x="283" y="337"/>
                    </a:lnTo>
                    <a:lnTo>
                      <a:pt x="282" y="338"/>
                    </a:lnTo>
                    <a:lnTo>
                      <a:pt x="281" y="338"/>
                    </a:lnTo>
                    <a:lnTo>
                      <a:pt x="281" y="337"/>
                    </a:lnTo>
                    <a:lnTo>
                      <a:pt x="282" y="337"/>
                    </a:lnTo>
                    <a:lnTo>
                      <a:pt x="282" y="336"/>
                    </a:lnTo>
                    <a:lnTo>
                      <a:pt x="283" y="336"/>
                    </a:lnTo>
                    <a:lnTo>
                      <a:pt x="283" y="337"/>
                    </a:lnTo>
                    <a:lnTo>
                      <a:pt x="284" y="337"/>
                    </a:lnTo>
                    <a:lnTo>
                      <a:pt x="284" y="336"/>
                    </a:lnTo>
                    <a:lnTo>
                      <a:pt x="283" y="336"/>
                    </a:lnTo>
                    <a:lnTo>
                      <a:pt x="282" y="336"/>
                    </a:lnTo>
                    <a:lnTo>
                      <a:pt x="283" y="336"/>
                    </a:lnTo>
                    <a:lnTo>
                      <a:pt x="284" y="336"/>
                    </a:lnTo>
                    <a:lnTo>
                      <a:pt x="285" y="336"/>
                    </a:lnTo>
                    <a:lnTo>
                      <a:pt x="286" y="336"/>
                    </a:lnTo>
                    <a:lnTo>
                      <a:pt x="286" y="337"/>
                    </a:lnTo>
                    <a:lnTo>
                      <a:pt x="287" y="337"/>
                    </a:lnTo>
                    <a:lnTo>
                      <a:pt x="287" y="336"/>
                    </a:lnTo>
                    <a:lnTo>
                      <a:pt x="287" y="337"/>
                    </a:lnTo>
                    <a:lnTo>
                      <a:pt x="288" y="337"/>
                    </a:lnTo>
                    <a:lnTo>
                      <a:pt x="288" y="338"/>
                    </a:lnTo>
                    <a:lnTo>
                      <a:pt x="287" y="338"/>
                    </a:lnTo>
                    <a:lnTo>
                      <a:pt x="287" y="337"/>
                    </a:lnTo>
                    <a:lnTo>
                      <a:pt x="287" y="338"/>
                    </a:lnTo>
                    <a:lnTo>
                      <a:pt x="288" y="338"/>
                    </a:lnTo>
                    <a:lnTo>
                      <a:pt x="290" y="338"/>
                    </a:lnTo>
                    <a:lnTo>
                      <a:pt x="291" y="338"/>
                    </a:lnTo>
                    <a:lnTo>
                      <a:pt x="292" y="338"/>
                    </a:lnTo>
                    <a:lnTo>
                      <a:pt x="291" y="338"/>
                    </a:lnTo>
                    <a:lnTo>
                      <a:pt x="292" y="338"/>
                    </a:lnTo>
                    <a:lnTo>
                      <a:pt x="291" y="337"/>
                    </a:lnTo>
                    <a:lnTo>
                      <a:pt x="292" y="337"/>
                    </a:lnTo>
                    <a:lnTo>
                      <a:pt x="293" y="337"/>
                    </a:lnTo>
                    <a:lnTo>
                      <a:pt x="294" y="337"/>
                    </a:lnTo>
                    <a:lnTo>
                      <a:pt x="295" y="337"/>
                    </a:lnTo>
                    <a:lnTo>
                      <a:pt x="295" y="336"/>
                    </a:lnTo>
                    <a:lnTo>
                      <a:pt x="296" y="336"/>
                    </a:lnTo>
                    <a:lnTo>
                      <a:pt x="296" y="335"/>
                    </a:lnTo>
                    <a:lnTo>
                      <a:pt x="297" y="336"/>
                    </a:lnTo>
                    <a:lnTo>
                      <a:pt x="297" y="335"/>
                    </a:lnTo>
                    <a:lnTo>
                      <a:pt x="298" y="335"/>
                    </a:lnTo>
                    <a:lnTo>
                      <a:pt x="299" y="335"/>
                    </a:lnTo>
                    <a:lnTo>
                      <a:pt x="299" y="336"/>
                    </a:lnTo>
                    <a:lnTo>
                      <a:pt x="298" y="336"/>
                    </a:lnTo>
                    <a:lnTo>
                      <a:pt x="297" y="337"/>
                    </a:lnTo>
                    <a:lnTo>
                      <a:pt x="296" y="337"/>
                    </a:lnTo>
                    <a:lnTo>
                      <a:pt x="296" y="338"/>
                    </a:lnTo>
                    <a:lnTo>
                      <a:pt x="296" y="339"/>
                    </a:lnTo>
                    <a:lnTo>
                      <a:pt x="296" y="340"/>
                    </a:lnTo>
                    <a:lnTo>
                      <a:pt x="297" y="340"/>
                    </a:lnTo>
                    <a:lnTo>
                      <a:pt x="297" y="343"/>
                    </a:lnTo>
                    <a:lnTo>
                      <a:pt x="296" y="343"/>
                    </a:lnTo>
                    <a:lnTo>
                      <a:pt x="295" y="343"/>
                    </a:lnTo>
                    <a:lnTo>
                      <a:pt x="295" y="344"/>
                    </a:lnTo>
                    <a:lnTo>
                      <a:pt x="294" y="344"/>
                    </a:lnTo>
                    <a:lnTo>
                      <a:pt x="293" y="344"/>
                    </a:lnTo>
                    <a:lnTo>
                      <a:pt x="293" y="345"/>
                    </a:lnTo>
                    <a:lnTo>
                      <a:pt x="293" y="346"/>
                    </a:lnTo>
                    <a:lnTo>
                      <a:pt x="293" y="347"/>
                    </a:lnTo>
                    <a:lnTo>
                      <a:pt x="294" y="348"/>
                    </a:lnTo>
                    <a:lnTo>
                      <a:pt x="295" y="348"/>
                    </a:lnTo>
                    <a:lnTo>
                      <a:pt x="295" y="349"/>
                    </a:lnTo>
                    <a:lnTo>
                      <a:pt x="296" y="349"/>
                    </a:lnTo>
                    <a:lnTo>
                      <a:pt x="296" y="350"/>
                    </a:lnTo>
                    <a:lnTo>
                      <a:pt x="297" y="351"/>
                    </a:lnTo>
                    <a:lnTo>
                      <a:pt x="297" y="352"/>
                    </a:lnTo>
                    <a:lnTo>
                      <a:pt x="297" y="351"/>
                    </a:lnTo>
                    <a:lnTo>
                      <a:pt x="298" y="352"/>
                    </a:lnTo>
                    <a:lnTo>
                      <a:pt x="299" y="352"/>
                    </a:lnTo>
                    <a:lnTo>
                      <a:pt x="300" y="352"/>
                    </a:lnTo>
                    <a:lnTo>
                      <a:pt x="300" y="353"/>
                    </a:lnTo>
                    <a:lnTo>
                      <a:pt x="301" y="353"/>
                    </a:lnTo>
                    <a:lnTo>
                      <a:pt x="300" y="353"/>
                    </a:lnTo>
                    <a:lnTo>
                      <a:pt x="299" y="353"/>
                    </a:lnTo>
                    <a:lnTo>
                      <a:pt x="298" y="354"/>
                    </a:lnTo>
                    <a:lnTo>
                      <a:pt x="297" y="354"/>
                    </a:lnTo>
                    <a:lnTo>
                      <a:pt x="296" y="353"/>
                    </a:lnTo>
                    <a:lnTo>
                      <a:pt x="297" y="354"/>
                    </a:lnTo>
                    <a:lnTo>
                      <a:pt x="298" y="354"/>
                    </a:lnTo>
                    <a:lnTo>
                      <a:pt x="299" y="354"/>
                    </a:lnTo>
                    <a:lnTo>
                      <a:pt x="299" y="356"/>
                    </a:lnTo>
                    <a:lnTo>
                      <a:pt x="300" y="356"/>
                    </a:lnTo>
                    <a:lnTo>
                      <a:pt x="301" y="357"/>
                    </a:lnTo>
                    <a:lnTo>
                      <a:pt x="303" y="357"/>
                    </a:lnTo>
                    <a:lnTo>
                      <a:pt x="304" y="358"/>
                    </a:lnTo>
                    <a:lnTo>
                      <a:pt x="305" y="358"/>
                    </a:lnTo>
                    <a:lnTo>
                      <a:pt x="306" y="359"/>
                    </a:lnTo>
                    <a:lnTo>
                      <a:pt x="307" y="359"/>
                    </a:lnTo>
                    <a:lnTo>
                      <a:pt x="307" y="360"/>
                    </a:lnTo>
                    <a:lnTo>
                      <a:pt x="308" y="360"/>
                    </a:lnTo>
                    <a:lnTo>
                      <a:pt x="309" y="360"/>
                    </a:lnTo>
                    <a:lnTo>
                      <a:pt x="309" y="361"/>
                    </a:lnTo>
                    <a:lnTo>
                      <a:pt x="310" y="361"/>
                    </a:lnTo>
                    <a:lnTo>
                      <a:pt x="310" y="362"/>
                    </a:lnTo>
                    <a:lnTo>
                      <a:pt x="310" y="363"/>
                    </a:lnTo>
                    <a:lnTo>
                      <a:pt x="310" y="364"/>
                    </a:lnTo>
                    <a:lnTo>
                      <a:pt x="312" y="365"/>
                    </a:lnTo>
                    <a:lnTo>
                      <a:pt x="312" y="366"/>
                    </a:lnTo>
                    <a:lnTo>
                      <a:pt x="313" y="366"/>
                    </a:lnTo>
                    <a:lnTo>
                      <a:pt x="313" y="367"/>
                    </a:lnTo>
                    <a:lnTo>
                      <a:pt x="313" y="369"/>
                    </a:lnTo>
                    <a:lnTo>
                      <a:pt x="314" y="369"/>
                    </a:lnTo>
                    <a:lnTo>
                      <a:pt x="314" y="370"/>
                    </a:lnTo>
                    <a:lnTo>
                      <a:pt x="314" y="371"/>
                    </a:lnTo>
                    <a:lnTo>
                      <a:pt x="316" y="371"/>
                    </a:lnTo>
                    <a:lnTo>
                      <a:pt x="317" y="372"/>
                    </a:lnTo>
                    <a:lnTo>
                      <a:pt x="318" y="372"/>
                    </a:lnTo>
                    <a:lnTo>
                      <a:pt x="319" y="373"/>
                    </a:lnTo>
                    <a:lnTo>
                      <a:pt x="320" y="373"/>
                    </a:lnTo>
                    <a:lnTo>
                      <a:pt x="320" y="374"/>
                    </a:lnTo>
                    <a:lnTo>
                      <a:pt x="320" y="375"/>
                    </a:lnTo>
                    <a:lnTo>
                      <a:pt x="319" y="374"/>
                    </a:lnTo>
                    <a:lnTo>
                      <a:pt x="319" y="373"/>
                    </a:lnTo>
                    <a:lnTo>
                      <a:pt x="318" y="373"/>
                    </a:lnTo>
                    <a:lnTo>
                      <a:pt x="317" y="373"/>
                    </a:lnTo>
                    <a:lnTo>
                      <a:pt x="317" y="372"/>
                    </a:lnTo>
                    <a:lnTo>
                      <a:pt x="316" y="372"/>
                    </a:lnTo>
                    <a:lnTo>
                      <a:pt x="314" y="372"/>
                    </a:lnTo>
                    <a:lnTo>
                      <a:pt x="314" y="371"/>
                    </a:lnTo>
                    <a:lnTo>
                      <a:pt x="313" y="371"/>
                    </a:lnTo>
                    <a:lnTo>
                      <a:pt x="312" y="371"/>
                    </a:lnTo>
                    <a:lnTo>
                      <a:pt x="312" y="370"/>
                    </a:lnTo>
                    <a:lnTo>
                      <a:pt x="312" y="371"/>
                    </a:lnTo>
                    <a:lnTo>
                      <a:pt x="311" y="370"/>
                    </a:lnTo>
                    <a:lnTo>
                      <a:pt x="311" y="369"/>
                    </a:lnTo>
                    <a:lnTo>
                      <a:pt x="310" y="369"/>
                    </a:lnTo>
                    <a:lnTo>
                      <a:pt x="310" y="367"/>
                    </a:lnTo>
                    <a:lnTo>
                      <a:pt x="310" y="366"/>
                    </a:lnTo>
                    <a:lnTo>
                      <a:pt x="309" y="366"/>
                    </a:lnTo>
                    <a:lnTo>
                      <a:pt x="309" y="365"/>
                    </a:lnTo>
                    <a:lnTo>
                      <a:pt x="309" y="366"/>
                    </a:lnTo>
                    <a:lnTo>
                      <a:pt x="308" y="365"/>
                    </a:lnTo>
                    <a:lnTo>
                      <a:pt x="307" y="365"/>
                    </a:lnTo>
                    <a:lnTo>
                      <a:pt x="307" y="364"/>
                    </a:lnTo>
                    <a:lnTo>
                      <a:pt x="306" y="364"/>
                    </a:lnTo>
                    <a:close/>
                    <a:moveTo>
                      <a:pt x="471" y="30"/>
                    </a:moveTo>
                    <a:lnTo>
                      <a:pt x="469" y="30"/>
                    </a:lnTo>
                    <a:lnTo>
                      <a:pt x="469" y="31"/>
                    </a:lnTo>
                    <a:lnTo>
                      <a:pt x="469" y="32"/>
                    </a:lnTo>
                    <a:lnTo>
                      <a:pt x="469" y="33"/>
                    </a:lnTo>
                    <a:lnTo>
                      <a:pt x="468" y="33"/>
                    </a:lnTo>
                    <a:lnTo>
                      <a:pt x="468" y="35"/>
                    </a:lnTo>
                    <a:lnTo>
                      <a:pt x="468" y="36"/>
                    </a:lnTo>
                    <a:lnTo>
                      <a:pt x="467" y="37"/>
                    </a:lnTo>
                    <a:lnTo>
                      <a:pt x="467" y="39"/>
                    </a:lnTo>
                    <a:lnTo>
                      <a:pt x="468" y="39"/>
                    </a:lnTo>
                    <a:lnTo>
                      <a:pt x="468" y="40"/>
                    </a:lnTo>
                    <a:lnTo>
                      <a:pt x="469" y="40"/>
                    </a:lnTo>
                    <a:lnTo>
                      <a:pt x="469" y="41"/>
                    </a:lnTo>
                    <a:lnTo>
                      <a:pt x="469" y="42"/>
                    </a:lnTo>
                    <a:lnTo>
                      <a:pt x="468" y="41"/>
                    </a:lnTo>
                    <a:lnTo>
                      <a:pt x="467" y="41"/>
                    </a:lnTo>
                    <a:lnTo>
                      <a:pt x="466" y="42"/>
                    </a:lnTo>
                    <a:lnTo>
                      <a:pt x="466" y="43"/>
                    </a:lnTo>
                    <a:lnTo>
                      <a:pt x="465" y="43"/>
                    </a:lnTo>
                    <a:lnTo>
                      <a:pt x="465" y="44"/>
                    </a:lnTo>
                    <a:lnTo>
                      <a:pt x="465" y="45"/>
                    </a:lnTo>
                    <a:lnTo>
                      <a:pt x="466" y="45"/>
                    </a:lnTo>
                    <a:lnTo>
                      <a:pt x="466" y="46"/>
                    </a:lnTo>
                    <a:lnTo>
                      <a:pt x="466" y="48"/>
                    </a:lnTo>
                    <a:lnTo>
                      <a:pt x="465" y="48"/>
                    </a:lnTo>
                    <a:lnTo>
                      <a:pt x="464" y="48"/>
                    </a:lnTo>
                    <a:lnTo>
                      <a:pt x="463" y="48"/>
                    </a:lnTo>
                    <a:lnTo>
                      <a:pt x="462" y="48"/>
                    </a:lnTo>
                    <a:lnTo>
                      <a:pt x="461" y="49"/>
                    </a:lnTo>
                    <a:lnTo>
                      <a:pt x="460" y="50"/>
                    </a:lnTo>
                    <a:lnTo>
                      <a:pt x="460" y="51"/>
                    </a:lnTo>
                    <a:lnTo>
                      <a:pt x="459" y="51"/>
                    </a:lnTo>
                    <a:lnTo>
                      <a:pt x="459" y="52"/>
                    </a:lnTo>
                    <a:lnTo>
                      <a:pt x="460" y="53"/>
                    </a:lnTo>
                    <a:lnTo>
                      <a:pt x="461" y="53"/>
                    </a:lnTo>
                    <a:lnTo>
                      <a:pt x="461" y="54"/>
                    </a:lnTo>
                    <a:lnTo>
                      <a:pt x="461" y="55"/>
                    </a:lnTo>
                    <a:lnTo>
                      <a:pt x="460" y="54"/>
                    </a:lnTo>
                    <a:lnTo>
                      <a:pt x="459" y="54"/>
                    </a:lnTo>
                    <a:lnTo>
                      <a:pt x="459" y="55"/>
                    </a:lnTo>
                    <a:lnTo>
                      <a:pt x="458" y="55"/>
                    </a:lnTo>
                    <a:lnTo>
                      <a:pt x="458" y="57"/>
                    </a:lnTo>
                    <a:lnTo>
                      <a:pt x="456" y="58"/>
                    </a:lnTo>
                    <a:lnTo>
                      <a:pt x="456" y="59"/>
                    </a:lnTo>
                    <a:lnTo>
                      <a:pt x="456" y="61"/>
                    </a:lnTo>
                    <a:lnTo>
                      <a:pt x="455" y="61"/>
                    </a:lnTo>
                    <a:lnTo>
                      <a:pt x="455" y="63"/>
                    </a:lnTo>
                    <a:lnTo>
                      <a:pt x="455" y="64"/>
                    </a:lnTo>
                    <a:lnTo>
                      <a:pt x="456" y="65"/>
                    </a:lnTo>
                    <a:lnTo>
                      <a:pt x="456" y="66"/>
                    </a:lnTo>
                    <a:lnTo>
                      <a:pt x="456" y="67"/>
                    </a:lnTo>
                    <a:lnTo>
                      <a:pt x="458" y="67"/>
                    </a:lnTo>
                    <a:lnTo>
                      <a:pt x="458" y="68"/>
                    </a:lnTo>
                    <a:lnTo>
                      <a:pt x="458" y="69"/>
                    </a:lnTo>
                    <a:lnTo>
                      <a:pt x="456" y="69"/>
                    </a:lnTo>
                    <a:lnTo>
                      <a:pt x="456" y="68"/>
                    </a:lnTo>
                    <a:lnTo>
                      <a:pt x="455" y="67"/>
                    </a:lnTo>
                    <a:lnTo>
                      <a:pt x="455" y="66"/>
                    </a:lnTo>
                    <a:lnTo>
                      <a:pt x="454" y="66"/>
                    </a:lnTo>
                    <a:lnTo>
                      <a:pt x="453" y="66"/>
                    </a:lnTo>
                    <a:lnTo>
                      <a:pt x="453" y="65"/>
                    </a:lnTo>
                    <a:lnTo>
                      <a:pt x="452" y="66"/>
                    </a:lnTo>
                    <a:lnTo>
                      <a:pt x="452" y="67"/>
                    </a:lnTo>
                    <a:lnTo>
                      <a:pt x="451" y="67"/>
                    </a:lnTo>
                    <a:lnTo>
                      <a:pt x="449" y="68"/>
                    </a:lnTo>
                    <a:lnTo>
                      <a:pt x="449" y="69"/>
                    </a:lnTo>
                    <a:lnTo>
                      <a:pt x="449" y="68"/>
                    </a:lnTo>
                    <a:lnTo>
                      <a:pt x="448" y="68"/>
                    </a:lnTo>
                    <a:lnTo>
                      <a:pt x="448" y="69"/>
                    </a:lnTo>
                    <a:lnTo>
                      <a:pt x="447" y="69"/>
                    </a:lnTo>
                    <a:lnTo>
                      <a:pt x="447" y="70"/>
                    </a:lnTo>
                    <a:lnTo>
                      <a:pt x="446" y="70"/>
                    </a:lnTo>
                    <a:lnTo>
                      <a:pt x="446" y="71"/>
                    </a:lnTo>
                    <a:lnTo>
                      <a:pt x="445" y="72"/>
                    </a:lnTo>
                    <a:lnTo>
                      <a:pt x="445" y="74"/>
                    </a:lnTo>
                    <a:lnTo>
                      <a:pt x="443" y="74"/>
                    </a:lnTo>
                    <a:lnTo>
                      <a:pt x="443" y="72"/>
                    </a:lnTo>
                    <a:lnTo>
                      <a:pt x="443" y="71"/>
                    </a:lnTo>
                    <a:lnTo>
                      <a:pt x="445" y="71"/>
                    </a:lnTo>
                    <a:lnTo>
                      <a:pt x="445" y="70"/>
                    </a:lnTo>
                    <a:lnTo>
                      <a:pt x="446" y="70"/>
                    </a:lnTo>
                    <a:lnTo>
                      <a:pt x="446" y="69"/>
                    </a:lnTo>
                    <a:lnTo>
                      <a:pt x="445" y="68"/>
                    </a:lnTo>
                    <a:lnTo>
                      <a:pt x="445" y="67"/>
                    </a:lnTo>
                    <a:lnTo>
                      <a:pt x="446" y="67"/>
                    </a:lnTo>
                    <a:lnTo>
                      <a:pt x="447" y="67"/>
                    </a:lnTo>
                    <a:lnTo>
                      <a:pt x="447" y="66"/>
                    </a:lnTo>
                    <a:lnTo>
                      <a:pt x="446" y="66"/>
                    </a:lnTo>
                    <a:lnTo>
                      <a:pt x="446" y="67"/>
                    </a:lnTo>
                    <a:lnTo>
                      <a:pt x="446" y="66"/>
                    </a:lnTo>
                    <a:lnTo>
                      <a:pt x="445" y="67"/>
                    </a:lnTo>
                    <a:lnTo>
                      <a:pt x="445" y="68"/>
                    </a:lnTo>
                    <a:lnTo>
                      <a:pt x="443" y="68"/>
                    </a:lnTo>
                    <a:lnTo>
                      <a:pt x="443" y="67"/>
                    </a:lnTo>
                    <a:lnTo>
                      <a:pt x="442" y="67"/>
                    </a:lnTo>
                    <a:lnTo>
                      <a:pt x="441" y="67"/>
                    </a:lnTo>
                    <a:lnTo>
                      <a:pt x="440" y="67"/>
                    </a:lnTo>
                    <a:lnTo>
                      <a:pt x="439" y="67"/>
                    </a:lnTo>
                    <a:lnTo>
                      <a:pt x="438" y="67"/>
                    </a:lnTo>
                    <a:lnTo>
                      <a:pt x="437" y="68"/>
                    </a:lnTo>
                    <a:lnTo>
                      <a:pt x="436" y="69"/>
                    </a:lnTo>
                    <a:lnTo>
                      <a:pt x="436" y="70"/>
                    </a:lnTo>
                    <a:lnTo>
                      <a:pt x="435" y="71"/>
                    </a:lnTo>
                    <a:lnTo>
                      <a:pt x="435" y="72"/>
                    </a:lnTo>
                    <a:lnTo>
                      <a:pt x="434" y="72"/>
                    </a:lnTo>
                    <a:lnTo>
                      <a:pt x="434" y="71"/>
                    </a:lnTo>
                    <a:lnTo>
                      <a:pt x="434" y="70"/>
                    </a:lnTo>
                    <a:lnTo>
                      <a:pt x="434" y="69"/>
                    </a:lnTo>
                    <a:lnTo>
                      <a:pt x="434" y="68"/>
                    </a:lnTo>
                    <a:lnTo>
                      <a:pt x="433" y="68"/>
                    </a:lnTo>
                    <a:lnTo>
                      <a:pt x="433" y="67"/>
                    </a:lnTo>
                    <a:lnTo>
                      <a:pt x="432" y="66"/>
                    </a:lnTo>
                    <a:lnTo>
                      <a:pt x="430" y="66"/>
                    </a:lnTo>
                    <a:lnTo>
                      <a:pt x="429" y="66"/>
                    </a:lnTo>
                    <a:lnTo>
                      <a:pt x="429" y="67"/>
                    </a:lnTo>
                    <a:lnTo>
                      <a:pt x="428" y="68"/>
                    </a:lnTo>
                    <a:lnTo>
                      <a:pt x="428" y="69"/>
                    </a:lnTo>
                    <a:lnTo>
                      <a:pt x="428" y="70"/>
                    </a:lnTo>
                    <a:lnTo>
                      <a:pt x="427" y="70"/>
                    </a:lnTo>
                    <a:lnTo>
                      <a:pt x="426" y="70"/>
                    </a:lnTo>
                    <a:lnTo>
                      <a:pt x="426" y="69"/>
                    </a:lnTo>
                    <a:lnTo>
                      <a:pt x="425" y="69"/>
                    </a:lnTo>
                    <a:lnTo>
                      <a:pt x="425" y="68"/>
                    </a:lnTo>
                    <a:lnTo>
                      <a:pt x="424" y="68"/>
                    </a:lnTo>
                    <a:lnTo>
                      <a:pt x="424" y="67"/>
                    </a:lnTo>
                    <a:lnTo>
                      <a:pt x="425" y="66"/>
                    </a:lnTo>
                    <a:lnTo>
                      <a:pt x="426" y="66"/>
                    </a:lnTo>
                    <a:lnTo>
                      <a:pt x="426" y="65"/>
                    </a:lnTo>
                    <a:lnTo>
                      <a:pt x="427" y="65"/>
                    </a:lnTo>
                    <a:lnTo>
                      <a:pt x="427" y="64"/>
                    </a:lnTo>
                    <a:lnTo>
                      <a:pt x="427" y="63"/>
                    </a:lnTo>
                    <a:lnTo>
                      <a:pt x="428" y="63"/>
                    </a:lnTo>
                    <a:lnTo>
                      <a:pt x="428" y="62"/>
                    </a:lnTo>
                    <a:lnTo>
                      <a:pt x="429" y="62"/>
                    </a:lnTo>
                    <a:lnTo>
                      <a:pt x="429" y="61"/>
                    </a:lnTo>
                    <a:lnTo>
                      <a:pt x="430" y="62"/>
                    </a:lnTo>
                    <a:lnTo>
                      <a:pt x="432" y="62"/>
                    </a:lnTo>
                    <a:lnTo>
                      <a:pt x="433" y="62"/>
                    </a:lnTo>
                    <a:lnTo>
                      <a:pt x="433" y="61"/>
                    </a:lnTo>
                    <a:lnTo>
                      <a:pt x="434" y="61"/>
                    </a:lnTo>
                    <a:lnTo>
                      <a:pt x="434" y="59"/>
                    </a:lnTo>
                    <a:lnTo>
                      <a:pt x="434" y="58"/>
                    </a:lnTo>
                    <a:lnTo>
                      <a:pt x="434" y="57"/>
                    </a:lnTo>
                    <a:lnTo>
                      <a:pt x="434" y="56"/>
                    </a:lnTo>
                    <a:lnTo>
                      <a:pt x="434" y="55"/>
                    </a:lnTo>
                    <a:lnTo>
                      <a:pt x="434" y="54"/>
                    </a:lnTo>
                    <a:lnTo>
                      <a:pt x="435" y="54"/>
                    </a:lnTo>
                    <a:lnTo>
                      <a:pt x="435" y="53"/>
                    </a:lnTo>
                    <a:lnTo>
                      <a:pt x="435" y="52"/>
                    </a:lnTo>
                    <a:lnTo>
                      <a:pt x="436" y="52"/>
                    </a:lnTo>
                    <a:lnTo>
                      <a:pt x="435" y="53"/>
                    </a:lnTo>
                    <a:lnTo>
                      <a:pt x="435" y="54"/>
                    </a:lnTo>
                    <a:lnTo>
                      <a:pt x="436" y="54"/>
                    </a:lnTo>
                    <a:lnTo>
                      <a:pt x="436" y="55"/>
                    </a:lnTo>
                    <a:lnTo>
                      <a:pt x="436" y="56"/>
                    </a:lnTo>
                    <a:lnTo>
                      <a:pt x="436" y="57"/>
                    </a:lnTo>
                    <a:lnTo>
                      <a:pt x="435" y="57"/>
                    </a:lnTo>
                    <a:lnTo>
                      <a:pt x="435" y="58"/>
                    </a:lnTo>
                    <a:lnTo>
                      <a:pt x="436" y="59"/>
                    </a:lnTo>
                    <a:lnTo>
                      <a:pt x="436" y="61"/>
                    </a:lnTo>
                    <a:lnTo>
                      <a:pt x="436" y="62"/>
                    </a:lnTo>
                    <a:lnTo>
                      <a:pt x="437" y="62"/>
                    </a:lnTo>
                    <a:lnTo>
                      <a:pt x="436" y="63"/>
                    </a:lnTo>
                    <a:lnTo>
                      <a:pt x="437" y="63"/>
                    </a:lnTo>
                    <a:lnTo>
                      <a:pt x="438" y="63"/>
                    </a:lnTo>
                    <a:lnTo>
                      <a:pt x="438" y="62"/>
                    </a:lnTo>
                    <a:lnTo>
                      <a:pt x="437" y="62"/>
                    </a:lnTo>
                    <a:lnTo>
                      <a:pt x="438" y="62"/>
                    </a:lnTo>
                    <a:lnTo>
                      <a:pt x="438" y="61"/>
                    </a:lnTo>
                    <a:lnTo>
                      <a:pt x="437" y="59"/>
                    </a:lnTo>
                    <a:lnTo>
                      <a:pt x="436" y="59"/>
                    </a:lnTo>
                    <a:lnTo>
                      <a:pt x="436" y="58"/>
                    </a:lnTo>
                    <a:lnTo>
                      <a:pt x="436" y="57"/>
                    </a:lnTo>
                    <a:lnTo>
                      <a:pt x="437" y="58"/>
                    </a:lnTo>
                    <a:lnTo>
                      <a:pt x="437" y="57"/>
                    </a:lnTo>
                    <a:lnTo>
                      <a:pt x="437" y="58"/>
                    </a:lnTo>
                    <a:lnTo>
                      <a:pt x="438" y="58"/>
                    </a:lnTo>
                    <a:lnTo>
                      <a:pt x="438" y="59"/>
                    </a:lnTo>
                    <a:lnTo>
                      <a:pt x="439" y="59"/>
                    </a:lnTo>
                    <a:lnTo>
                      <a:pt x="440" y="59"/>
                    </a:lnTo>
                    <a:lnTo>
                      <a:pt x="441" y="59"/>
                    </a:lnTo>
                    <a:lnTo>
                      <a:pt x="441" y="61"/>
                    </a:lnTo>
                    <a:lnTo>
                      <a:pt x="440" y="61"/>
                    </a:lnTo>
                    <a:lnTo>
                      <a:pt x="440" y="59"/>
                    </a:lnTo>
                    <a:lnTo>
                      <a:pt x="440" y="61"/>
                    </a:lnTo>
                    <a:lnTo>
                      <a:pt x="439" y="61"/>
                    </a:lnTo>
                    <a:lnTo>
                      <a:pt x="439" y="62"/>
                    </a:lnTo>
                    <a:lnTo>
                      <a:pt x="439" y="63"/>
                    </a:lnTo>
                    <a:lnTo>
                      <a:pt x="440" y="63"/>
                    </a:lnTo>
                    <a:lnTo>
                      <a:pt x="441" y="63"/>
                    </a:lnTo>
                    <a:lnTo>
                      <a:pt x="441" y="62"/>
                    </a:lnTo>
                    <a:lnTo>
                      <a:pt x="441" y="61"/>
                    </a:lnTo>
                    <a:lnTo>
                      <a:pt x="442" y="61"/>
                    </a:lnTo>
                    <a:lnTo>
                      <a:pt x="442" y="59"/>
                    </a:lnTo>
                    <a:lnTo>
                      <a:pt x="443" y="61"/>
                    </a:lnTo>
                    <a:lnTo>
                      <a:pt x="445" y="61"/>
                    </a:lnTo>
                    <a:lnTo>
                      <a:pt x="445" y="62"/>
                    </a:lnTo>
                    <a:lnTo>
                      <a:pt x="443" y="62"/>
                    </a:lnTo>
                    <a:lnTo>
                      <a:pt x="443" y="61"/>
                    </a:lnTo>
                    <a:lnTo>
                      <a:pt x="442" y="61"/>
                    </a:lnTo>
                    <a:lnTo>
                      <a:pt x="443" y="62"/>
                    </a:lnTo>
                    <a:lnTo>
                      <a:pt x="443" y="63"/>
                    </a:lnTo>
                    <a:lnTo>
                      <a:pt x="445" y="63"/>
                    </a:lnTo>
                    <a:lnTo>
                      <a:pt x="446" y="64"/>
                    </a:lnTo>
                    <a:lnTo>
                      <a:pt x="446" y="65"/>
                    </a:lnTo>
                    <a:lnTo>
                      <a:pt x="445" y="65"/>
                    </a:lnTo>
                    <a:lnTo>
                      <a:pt x="445" y="64"/>
                    </a:lnTo>
                    <a:lnTo>
                      <a:pt x="443" y="64"/>
                    </a:lnTo>
                    <a:lnTo>
                      <a:pt x="442" y="64"/>
                    </a:lnTo>
                    <a:lnTo>
                      <a:pt x="441" y="64"/>
                    </a:lnTo>
                    <a:lnTo>
                      <a:pt x="440" y="65"/>
                    </a:lnTo>
                    <a:lnTo>
                      <a:pt x="439" y="65"/>
                    </a:lnTo>
                    <a:lnTo>
                      <a:pt x="440" y="65"/>
                    </a:lnTo>
                    <a:lnTo>
                      <a:pt x="441" y="65"/>
                    </a:lnTo>
                    <a:lnTo>
                      <a:pt x="442" y="65"/>
                    </a:lnTo>
                    <a:lnTo>
                      <a:pt x="441" y="66"/>
                    </a:lnTo>
                    <a:lnTo>
                      <a:pt x="442" y="66"/>
                    </a:lnTo>
                    <a:lnTo>
                      <a:pt x="442" y="65"/>
                    </a:lnTo>
                    <a:lnTo>
                      <a:pt x="443" y="65"/>
                    </a:lnTo>
                    <a:lnTo>
                      <a:pt x="445" y="65"/>
                    </a:lnTo>
                    <a:lnTo>
                      <a:pt x="446" y="65"/>
                    </a:lnTo>
                    <a:lnTo>
                      <a:pt x="447" y="65"/>
                    </a:lnTo>
                    <a:lnTo>
                      <a:pt x="448" y="66"/>
                    </a:lnTo>
                    <a:lnTo>
                      <a:pt x="449" y="66"/>
                    </a:lnTo>
                    <a:lnTo>
                      <a:pt x="449" y="65"/>
                    </a:lnTo>
                    <a:lnTo>
                      <a:pt x="450" y="65"/>
                    </a:lnTo>
                    <a:lnTo>
                      <a:pt x="450" y="64"/>
                    </a:lnTo>
                    <a:lnTo>
                      <a:pt x="449" y="64"/>
                    </a:lnTo>
                    <a:lnTo>
                      <a:pt x="449" y="63"/>
                    </a:lnTo>
                    <a:lnTo>
                      <a:pt x="448" y="63"/>
                    </a:lnTo>
                    <a:lnTo>
                      <a:pt x="447" y="63"/>
                    </a:lnTo>
                    <a:lnTo>
                      <a:pt x="446" y="63"/>
                    </a:lnTo>
                    <a:lnTo>
                      <a:pt x="445" y="63"/>
                    </a:lnTo>
                    <a:lnTo>
                      <a:pt x="445" y="62"/>
                    </a:lnTo>
                    <a:lnTo>
                      <a:pt x="446" y="62"/>
                    </a:lnTo>
                    <a:lnTo>
                      <a:pt x="446" y="61"/>
                    </a:lnTo>
                    <a:lnTo>
                      <a:pt x="447" y="61"/>
                    </a:lnTo>
                    <a:lnTo>
                      <a:pt x="446" y="61"/>
                    </a:lnTo>
                    <a:lnTo>
                      <a:pt x="446" y="59"/>
                    </a:lnTo>
                    <a:lnTo>
                      <a:pt x="446" y="58"/>
                    </a:lnTo>
                    <a:lnTo>
                      <a:pt x="447" y="58"/>
                    </a:lnTo>
                    <a:lnTo>
                      <a:pt x="447" y="57"/>
                    </a:lnTo>
                    <a:lnTo>
                      <a:pt x="446" y="57"/>
                    </a:lnTo>
                    <a:lnTo>
                      <a:pt x="447" y="57"/>
                    </a:lnTo>
                    <a:lnTo>
                      <a:pt x="447" y="56"/>
                    </a:lnTo>
                    <a:lnTo>
                      <a:pt x="447" y="55"/>
                    </a:lnTo>
                    <a:lnTo>
                      <a:pt x="446" y="55"/>
                    </a:lnTo>
                    <a:lnTo>
                      <a:pt x="447" y="55"/>
                    </a:lnTo>
                    <a:lnTo>
                      <a:pt x="446" y="55"/>
                    </a:lnTo>
                    <a:lnTo>
                      <a:pt x="445" y="55"/>
                    </a:lnTo>
                    <a:lnTo>
                      <a:pt x="445" y="54"/>
                    </a:lnTo>
                    <a:lnTo>
                      <a:pt x="443" y="54"/>
                    </a:lnTo>
                    <a:lnTo>
                      <a:pt x="443" y="53"/>
                    </a:lnTo>
                    <a:lnTo>
                      <a:pt x="443" y="52"/>
                    </a:lnTo>
                    <a:lnTo>
                      <a:pt x="443" y="53"/>
                    </a:lnTo>
                    <a:lnTo>
                      <a:pt x="443" y="52"/>
                    </a:lnTo>
                    <a:lnTo>
                      <a:pt x="442" y="52"/>
                    </a:lnTo>
                    <a:lnTo>
                      <a:pt x="442" y="53"/>
                    </a:lnTo>
                    <a:lnTo>
                      <a:pt x="443" y="53"/>
                    </a:lnTo>
                    <a:lnTo>
                      <a:pt x="442" y="53"/>
                    </a:lnTo>
                    <a:lnTo>
                      <a:pt x="442" y="54"/>
                    </a:lnTo>
                    <a:lnTo>
                      <a:pt x="443" y="54"/>
                    </a:lnTo>
                    <a:lnTo>
                      <a:pt x="442" y="54"/>
                    </a:lnTo>
                    <a:lnTo>
                      <a:pt x="441" y="54"/>
                    </a:lnTo>
                    <a:lnTo>
                      <a:pt x="442" y="54"/>
                    </a:lnTo>
                    <a:lnTo>
                      <a:pt x="442" y="53"/>
                    </a:lnTo>
                    <a:lnTo>
                      <a:pt x="441" y="53"/>
                    </a:lnTo>
                    <a:lnTo>
                      <a:pt x="441" y="52"/>
                    </a:lnTo>
                    <a:lnTo>
                      <a:pt x="442" y="51"/>
                    </a:lnTo>
                    <a:lnTo>
                      <a:pt x="442" y="50"/>
                    </a:lnTo>
                    <a:lnTo>
                      <a:pt x="443" y="51"/>
                    </a:lnTo>
                    <a:lnTo>
                      <a:pt x="445" y="51"/>
                    </a:lnTo>
                    <a:lnTo>
                      <a:pt x="445" y="52"/>
                    </a:lnTo>
                    <a:lnTo>
                      <a:pt x="446" y="52"/>
                    </a:lnTo>
                    <a:lnTo>
                      <a:pt x="446" y="53"/>
                    </a:lnTo>
                    <a:lnTo>
                      <a:pt x="446" y="52"/>
                    </a:lnTo>
                    <a:lnTo>
                      <a:pt x="445" y="52"/>
                    </a:lnTo>
                    <a:lnTo>
                      <a:pt x="445" y="53"/>
                    </a:lnTo>
                    <a:lnTo>
                      <a:pt x="446" y="53"/>
                    </a:lnTo>
                    <a:lnTo>
                      <a:pt x="447" y="53"/>
                    </a:lnTo>
                    <a:lnTo>
                      <a:pt x="446" y="53"/>
                    </a:lnTo>
                    <a:lnTo>
                      <a:pt x="446" y="54"/>
                    </a:lnTo>
                    <a:lnTo>
                      <a:pt x="447" y="54"/>
                    </a:lnTo>
                    <a:lnTo>
                      <a:pt x="447" y="53"/>
                    </a:lnTo>
                    <a:lnTo>
                      <a:pt x="447" y="54"/>
                    </a:lnTo>
                    <a:lnTo>
                      <a:pt x="448" y="54"/>
                    </a:lnTo>
                    <a:lnTo>
                      <a:pt x="448" y="55"/>
                    </a:lnTo>
                    <a:lnTo>
                      <a:pt x="449" y="55"/>
                    </a:lnTo>
                    <a:lnTo>
                      <a:pt x="449" y="56"/>
                    </a:lnTo>
                    <a:lnTo>
                      <a:pt x="449" y="57"/>
                    </a:lnTo>
                    <a:lnTo>
                      <a:pt x="450" y="57"/>
                    </a:lnTo>
                    <a:lnTo>
                      <a:pt x="449" y="57"/>
                    </a:lnTo>
                    <a:lnTo>
                      <a:pt x="450" y="57"/>
                    </a:lnTo>
                    <a:lnTo>
                      <a:pt x="450" y="56"/>
                    </a:lnTo>
                    <a:lnTo>
                      <a:pt x="450" y="57"/>
                    </a:lnTo>
                    <a:lnTo>
                      <a:pt x="450" y="56"/>
                    </a:lnTo>
                    <a:lnTo>
                      <a:pt x="451" y="56"/>
                    </a:lnTo>
                    <a:lnTo>
                      <a:pt x="451" y="55"/>
                    </a:lnTo>
                    <a:lnTo>
                      <a:pt x="451" y="54"/>
                    </a:lnTo>
                    <a:lnTo>
                      <a:pt x="451" y="53"/>
                    </a:lnTo>
                    <a:lnTo>
                      <a:pt x="450" y="52"/>
                    </a:lnTo>
                    <a:lnTo>
                      <a:pt x="451" y="52"/>
                    </a:lnTo>
                    <a:lnTo>
                      <a:pt x="451" y="53"/>
                    </a:lnTo>
                    <a:lnTo>
                      <a:pt x="451" y="54"/>
                    </a:lnTo>
                    <a:lnTo>
                      <a:pt x="452" y="54"/>
                    </a:lnTo>
                    <a:lnTo>
                      <a:pt x="451" y="54"/>
                    </a:lnTo>
                    <a:lnTo>
                      <a:pt x="452" y="54"/>
                    </a:lnTo>
                    <a:lnTo>
                      <a:pt x="452" y="53"/>
                    </a:lnTo>
                    <a:lnTo>
                      <a:pt x="451" y="53"/>
                    </a:lnTo>
                    <a:lnTo>
                      <a:pt x="452" y="53"/>
                    </a:lnTo>
                    <a:lnTo>
                      <a:pt x="451" y="53"/>
                    </a:lnTo>
                    <a:lnTo>
                      <a:pt x="452" y="53"/>
                    </a:lnTo>
                    <a:lnTo>
                      <a:pt x="452" y="52"/>
                    </a:lnTo>
                    <a:lnTo>
                      <a:pt x="452" y="53"/>
                    </a:lnTo>
                    <a:lnTo>
                      <a:pt x="453" y="53"/>
                    </a:lnTo>
                    <a:lnTo>
                      <a:pt x="452" y="53"/>
                    </a:lnTo>
                    <a:lnTo>
                      <a:pt x="453" y="53"/>
                    </a:lnTo>
                    <a:lnTo>
                      <a:pt x="453" y="52"/>
                    </a:lnTo>
                    <a:lnTo>
                      <a:pt x="452" y="52"/>
                    </a:lnTo>
                    <a:lnTo>
                      <a:pt x="453" y="52"/>
                    </a:lnTo>
                    <a:lnTo>
                      <a:pt x="452" y="52"/>
                    </a:lnTo>
                    <a:lnTo>
                      <a:pt x="453" y="52"/>
                    </a:lnTo>
                    <a:lnTo>
                      <a:pt x="452" y="52"/>
                    </a:lnTo>
                    <a:lnTo>
                      <a:pt x="452" y="51"/>
                    </a:lnTo>
                    <a:lnTo>
                      <a:pt x="451" y="51"/>
                    </a:lnTo>
                    <a:lnTo>
                      <a:pt x="451" y="50"/>
                    </a:lnTo>
                    <a:lnTo>
                      <a:pt x="450" y="49"/>
                    </a:lnTo>
                    <a:lnTo>
                      <a:pt x="449" y="49"/>
                    </a:lnTo>
                    <a:lnTo>
                      <a:pt x="449" y="48"/>
                    </a:lnTo>
                    <a:lnTo>
                      <a:pt x="448" y="49"/>
                    </a:lnTo>
                    <a:lnTo>
                      <a:pt x="447" y="49"/>
                    </a:lnTo>
                    <a:lnTo>
                      <a:pt x="447" y="48"/>
                    </a:lnTo>
                    <a:lnTo>
                      <a:pt x="446" y="48"/>
                    </a:lnTo>
                    <a:lnTo>
                      <a:pt x="445" y="46"/>
                    </a:lnTo>
                    <a:lnTo>
                      <a:pt x="445" y="45"/>
                    </a:lnTo>
                    <a:lnTo>
                      <a:pt x="443" y="45"/>
                    </a:lnTo>
                    <a:lnTo>
                      <a:pt x="442" y="45"/>
                    </a:lnTo>
                    <a:lnTo>
                      <a:pt x="441" y="44"/>
                    </a:lnTo>
                    <a:lnTo>
                      <a:pt x="442" y="44"/>
                    </a:lnTo>
                    <a:lnTo>
                      <a:pt x="443" y="44"/>
                    </a:lnTo>
                    <a:lnTo>
                      <a:pt x="445" y="44"/>
                    </a:lnTo>
                    <a:lnTo>
                      <a:pt x="445" y="43"/>
                    </a:lnTo>
                    <a:lnTo>
                      <a:pt x="445" y="42"/>
                    </a:lnTo>
                    <a:lnTo>
                      <a:pt x="446" y="42"/>
                    </a:lnTo>
                    <a:lnTo>
                      <a:pt x="447" y="43"/>
                    </a:lnTo>
                    <a:lnTo>
                      <a:pt x="448" y="43"/>
                    </a:lnTo>
                    <a:lnTo>
                      <a:pt x="447" y="42"/>
                    </a:lnTo>
                    <a:lnTo>
                      <a:pt x="447" y="41"/>
                    </a:lnTo>
                    <a:lnTo>
                      <a:pt x="447" y="40"/>
                    </a:lnTo>
                    <a:lnTo>
                      <a:pt x="448" y="40"/>
                    </a:lnTo>
                    <a:lnTo>
                      <a:pt x="448" y="41"/>
                    </a:lnTo>
                    <a:lnTo>
                      <a:pt x="448" y="40"/>
                    </a:lnTo>
                    <a:lnTo>
                      <a:pt x="449" y="40"/>
                    </a:lnTo>
                    <a:lnTo>
                      <a:pt x="449" y="41"/>
                    </a:lnTo>
                    <a:lnTo>
                      <a:pt x="449" y="42"/>
                    </a:lnTo>
                    <a:lnTo>
                      <a:pt x="449" y="43"/>
                    </a:lnTo>
                    <a:lnTo>
                      <a:pt x="450" y="43"/>
                    </a:lnTo>
                    <a:lnTo>
                      <a:pt x="450" y="44"/>
                    </a:lnTo>
                    <a:lnTo>
                      <a:pt x="451" y="44"/>
                    </a:lnTo>
                    <a:lnTo>
                      <a:pt x="452" y="44"/>
                    </a:lnTo>
                    <a:lnTo>
                      <a:pt x="451" y="44"/>
                    </a:lnTo>
                    <a:lnTo>
                      <a:pt x="452" y="44"/>
                    </a:lnTo>
                    <a:lnTo>
                      <a:pt x="452" y="43"/>
                    </a:lnTo>
                    <a:lnTo>
                      <a:pt x="453" y="43"/>
                    </a:lnTo>
                    <a:lnTo>
                      <a:pt x="453" y="42"/>
                    </a:lnTo>
                    <a:lnTo>
                      <a:pt x="453" y="43"/>
                    </a:lnTo>
                    <a:lnTo>
                      <a:pt x="453" y="42"/>
                    </a:lnTo>
                    <a:lnTo>
                      <a:pt x="452" y="42"/>
                    </a:lnTo>
                    <a:lnTo>
                      <a:pt x="453" y="42"/>
                    </a:lnTo>
                    <a:lnTo>
                      <a:pt x="452" y="42"/>
                    </a:lnTo>
                    <a:lnTo>
                      <a:pt x="453" y="42"/>
                    </a:lnTo>
                    <a:lnTo>
                      <a:pt x="453" y="41"/>
                    </a:lnTo>
                    <a:lnTo>
                      <a:pt x="452" y="41"/>
                    </a:lnTo>
                    <a:lnTo>
                      <a:pt x="452" y="40"/>
                    </a:lnTo>
                    <a:lnTo>
                      <a:pt x="451" y="40"/>
                    </a:lnTo>
                    <a:lnTo>
                      <a:pt x="451" y="39"/>
                    </a:lnTo>
                    <a:lnTo>
                      <a:pt x="452" y="39"/>
                    </a:lnTo>
                    <a:lnTo>
                      <a:pt x="452" y="40"/>
                    </a:lnTo>
                    <a:lnTo>
                      <a:pt x="453" y="40"/>
                    </a:lnTo>
                    <a:lnTo>
                      <a:pt x="453" y="39"/>
                    </a:lnTo>
                    <a:lnTo>
                      <a:pt x="453" y="38"/>
                    </a:lnTo>
                    <a:lnTo>
                      <a:pt x="454" y="38"/>
                    </a:lnTo>
                    <a:lnTo>
                      <a:pt x="454" y="39"/>
                    </a:lnTo>
                    <a:lnTo>
                      <a:pt x="454" y="40"/>
                    </a:lnTo>
                    <a:lnTo>
                      <a:pt x="454" y="41"/>
                    </a:lnTo>
                    <a:lnTo>
                      <a:pt x="454" y="40"/>
                    </a:lnTo>
                    <a:lnTo>
                      <a:pt x="455" y="40"/>
                    </a:lnTo>
                    <a:lnTo>
                      <a:pt x="456" y="40"/>
                    </a:lnTo>
                    <a:lnTo>
                      <a:pt x="456" y="41"/>
                    </a:lnTo>
                    <a:lnTo>
                      <a:pt x="456" y="40"/>
                    </a:lnTo>
                    <a:lnTo>
                      <a:pt x="458" y="40"/>
                    </a:lnTo>
                    <a:lnTo>
                      <a:pt x="458" y="41"/>
                    </a:lnTo>
                    <a:lnTo>
                      <a:pt x="459" y="41"/>
                    </a:lnTo>
                    <a:lnTo>
                      <a:pt x="459" y="40"/>
                    </a:lnTo>
                    <a:lnTo>
                      <a:pt x="459" y="39"/>
                    </a:lnTo>
                    <a:lnTo>
                      <a:pt x="459" y="38"/>
                    </a:lnTo>
                    <a:lnTo>
                      <a:pt x="458" y="38"/>
                    </a:lnTo>
                    <a:lnTo>
                      <a:pt x="458" y="37"/>
                    </a:lnTo>
                    <a:lnTo>
                      <a:pt x="459" y="37"/>
                    </a:lnTo>
                    <a:lnTo>
                      <a:pt x="460" y="37"/>
                    </a:lnTo>
                    <a:lnTo>
                      <a:pt x="459" y="36"/>
                    </a:lnTo>
                    <a:lnTo>
                      <a:pt x="459" y="35"/>
                    </a:lnTo>
                    <a:lnTo>
                      <a:pt x="460" y="35"/>
                    </a:lnTo>
                    <a:lnTo>
                      <a:pt x="460" y="33"/>
                    </a:lnTo>
                    <a:lnTo>
                      <a:pt x="461" y="33"/>
                    </a:lnTo>
                    <a:lnTo>
                      <a:pt x="462" y="33"/>
                    </a:lnTo>
                    <a:lnTo>
                      <a:pt x="462" y="32"/>
                    </a:lnTo>
                    <a:lnTo>
                      <a:pt x="463" y="32"/>
                    </a:lnTo>
                    <a:lnTo>
                      <a:pt x="463" y="31"/>
                    </a:lnTo>
                    <a:lnTo>
                      <a:pt x="464" y="31"/>
                    </a:lnTo>
                    <a:lnTo>
                      <a:pt x="465" y="31"/>
                    </a:lnTo>
                    <a:lnTo>
                      <a:pt x="465" y="30"/>
                    </a:lnTo>
                    <a:lnTo>
                      <a:pt x="466" y="30"/>
                    </a:lnTo>
                    <a:lnTo>
                      <a:pt x="467" y="30"/>
                    </a:lnTo>
                    <a:lnTo>
                      <a:pt x="467" y="29"/>
                    </a:lnTo>
                    <a:lnTo>
                      <a:pt x="468" y="29"/>
                    </a:lnTo>
                    <a:lnTo>
                      <a:pt x="468" y="28"/>
                    </a:lnTo>
                    <a:lnTo>
                      <a:pt x="469" y="28"/>
                    </a:lnTo>
                    <a:lnTo>
                      <a:pt x="469" y="27"/>
                    </a:lnTo>
                    <a:lnTo>
                      <a:pt x="471" y="27"/>
                    </a:lnTo>
                    <a:lnTo>
                      <a:pt x="469" y="28"/>
                    </a:lnTo>
                    <a:lnTo>
                      <a:pt x="469" y="29"/>
                    </a:lnTo>
                    <a:lnTo>
                      <a:pt x="471" y="29"/>
                    </a:lnTo>
                    <a:lnTo>
                      <a:pt x="471" y="30"/>
                    </a:lnTo>
                    <a:close/>
                    <a:moveTo>
                      <a:pt x="489" y="71"/>
                    </a:moveTo>
                    <a:lnTo>
                      <a:pt x="489" y="72"/>
                    </a:lnTo>
                    <a:lnTo>
                      <a:pt x="490" y="72"/>
                    </a:lnTo>
                    <a:lnTo>
                      <a:pt x="490" y="74"/>
                    </a:lnTo>
                    <a:lnTo>
                      <a:pt x="491" y="74"/>
                    </a:lnTo>
                    <a:lnTo>
                      <a:pt x="491" y="72"/>
                    </a:lnTo>
                    <a:lnTo>
                      <a:pt x="491" y="74"/>
                    </a:lnTo>
                    <a:lnTo>
                      <a:pt x="491" y="75"/>
                    </a:lnTo>
                    <a:lnTo>
                      <a:pt x="490" y="75"/>
                    </a:lnTo>
                    <a:lnTo>
                      <a:pt x="489" y="75"/>
                    </a:lnTo>
                    <a:lnTo>
                      <a:pt x="489" y="76"/>
                    </a:lnTo>
                    <a:lnTo>
                      <a:pt x="489" y="77"/>
                    </a:lnTo>
                    <a:lnTo>
                      <a:pt x="490" y="77"/>
                    </a:lnTo>
                    <a:lnTo>
                      <a:pt x="491" y="77"/>
                    </a:lnTo>
                    <a:lnTo>
                      <a:pt x="492" y="77"/>
                    </a:lnTo>
                    <a:lnTo>
                      <a:pt x="492" y="78"/>
                    </a:lnTo>
                    <a:lnTo>
                      <a:pt x="493" y="78"/>
                    </a:lnTo>
                    <a:lnTo>
                      <a:pt x="494" y="78"/>
                    </a:lnTo>
                    <a:lnTo>
                      <a:pt x="494" y="77"/>
                    </a:lnTo>
                    <a:lnTo>
                      <a:pt x="493" y="76"/>
                    </a:lnTo>
                    <a:lnTo>
                      <a:pt x="492" y="76"/>
                    </a:lnTo>
                    <a:lnTo>
                      <a:pt x="492" y="75"/>
                    </a:lnTo>
                    <a:lnTo>
                      <a:pt x="493" y="75"/>
                    </a:lnTo>
                    <a:lnTo>
                      <a:pt x="493" y="74"/>
                    </a:lnTo>
                    <a:lnTo>
                      <a:pt x="493" y="72"/>
                    </a:lnTo>
                    <a:lnTo>
                      <a:pt x="492" y="72"/>
                    </a:lnTo>
                    <a:lnTo>
                      <a:pt x="492" y="71"/>
                    </a:lnTo>
                    <a:lnTo>
                      <a:pt x="491" y="71"/>
                    </a:lnTo>
                    <a:lnTo>
                      <a:pt x="491" y="72"/>
                    </a:lnTo>
                    <a:lnTo>
                      <a:pt x="490" y="72"/>
                    </a:lnTo>
                    <a:lnTo>
                      <a:pt x="489" y="72"/>
                    </a:lnTo>
                    <a:lnTo>
                      <a:pt x="489" y="71"/>
                    </a:lnTo>
                    <a:lnTo>
                      <a:pt x="489" y="70"/>
                    </a:lnTo>
                    <a:lnTo>
                      <a:pt x="490" y="70"/>
                    </a:lnTo>
                    <a:lnTo>
                      <a:pt x="491" y="70"/>
                    </a:lnTo>
                    <a:lnTo>
                      <a:pt x="492" y="70"/>
                    </a:lnTo>
                    <a:lnTo>
                      <a:pt x="492" y="69"/>
                    </a:lnTo>
                    <a:lnTo>
                      <a:pt x="492" y="68"/>
                    </a:lnTo>
                    <a:lnTo>
                      <a:pt x="492" y="69"/>
                    </a:lnTo>
                    <a:lnTo>
                      <a:pt x="493" y="69"/>
                    </a:lnTo>
                    <a:lnTo>
                      <a:pt x="493" y="70"/>
                    </a:lnTo>
                    <a:lnTo>
                      <a:pt x="493" y="71"/>
                    </a:lnTo>
                    <a:lnTo>
                      <a:pt x="494" y="71"/>
                    </a:lnTo>
                    <a:lnTo>
                      <a:pt x="494" y="72"/>
                    </a:lnTo>
                    <a:lnTo>
                      <a:pt x="495" y="72"/>
                    </a:lnTo>
                    <a:lnTo>
                      <a:pt x="495" y="71"/>
                    </a:lnTo>
                    <a:lnTo>
                      <a:pt x="495" y="70"/>
                    </a:lnTo>
                    <a:lnTo>
                      <a:pt x="495" y="69"/>
                    </a:lnTo>
                    <a:lnTo>
                      <a:pt x="497" y="69"/>
                    </a:lnTo>
                    <a:lnTo>
                      <a:pt x="498" y="70"/>
                    </a:lnTo>
                    <a:lnTo>
                      <a:pt x="499" y="70"/>
                    </a:lnTo>
                    <a:lnTo>
                      <a:pt x="498" y="70"/>
                    </a:lnTo>
                    <a:lnTo>
                      <a:pt x="499" y="70"/>
                    </a:lnTo>
                    <a:lnTo>
                      <a:pt x="499" y="71"/>
                    </a:lnTo>
                    <a:lnTo>
                      <a:pt x="499" y="72"/>
                    </a:lnTo>
                    <a:lnTo>
                      <a:pt x="500" y="74"/>
                    </a:lnTo>
                    <a:lnTo>
                      <a:pt x="501" y="75"/>
                    </a:lnTo>
                    <a:lnTo>
                      <a:pt x="501" y="74"/>
                    </a:lnTo>
                    <a:lnTo>
                      <a:pt x="501" y="75"/>
                    </a:lnTo>
                    <a:lnTo>
                      <a:pt x="502" y="75"/>
                    </a:lnTo>
                    <a:lnTo>
                      <a:pt x="503" y="75"/>
                    </a:lnTo>
                    <a:lnTo>
                      <a:pt x="502" y="76"/>
                    </a:lnTo>
                    <a:lnTo>
                      <a:pt x="502" y="77"/>
                    </a:lnTo>
                    <a:lnTo>
                      <a:pt x="501" y="77"/>
                    </a:lnTo>
                    <a:lnTo>
                      <a:pt x="501" y="78"/>
                    </a:lnTo>
                    <a:lnTo>
                      <a:pt x="500" y="78"/>
                    </a:lnTo>
                    <a:lnTo>
                      <a:pt x="500" y="79"/>
                    </a:lnTo>
                    <a:lnTo>
                      <a:pt x="500" y="80"/>
                    </a:lnTo>
                    <a:lnTo>
                      <a:pt x="500" y="81"/>
                    </a:lnTo>
                    <a:lnTo>
                      <a:pt x="500" y="82"/>
                    </a:lnTo>
                    <a:lnTo>
                      <a:pt x="499" y="82"/>
                    </a:lnTo>
                    <a:lnTo>
                      <a:pt x="499" y="83"/>
                    </a:lnTo>
                    <a:lnTo>
                      <a:pt x="498" y="83"/>
                    </a:lnTo>
                    <a:lnTo>
                      <a:pt x="498" y="84"/>
                    </a:lnTo>
                    <a:lnTo>
                      <a:pt x="497" y="84"/>
                    </a:lnTo>
                    <a:lnTo>
                      <a:pt x="497" y="86"/>
                    </a:lnTo>
                    <a:lnTo>
                      <a:pt x="497" y="87"/>
                    </a:lnTo>
                    <a:lnTo>
                      <a:pt x="497" y="88"/>
                    </a:lnTo>
                    <a:lnTo>
                      <a:pt x="495" y="88"/>
                    </a:lnTo>
                    <a:lnTo>
                      <a:pt x="494" y="88"/>
                    </a:lnTo>
                    <a:lnTo>
                      <a:pt x="494" y="89"/>
                    </a:lnTo>
                    <a:lnTo>
                      <a:pt x="493" y="89"/>
                    </a:lnTo>
                    <a:lnTo>
                      <a:pt x="492" y="90"/>
                    </a:lnTo>
                    <a:lnTo>
                      <a:pt x="491" y="90"/>
                    </a:lnTo>
                    <a:lnTo>
                      <a:pt x="492" y="90"/>
                    </a:lnTo>
                    <a:lnTo>
                      <a:pt x="492" y="89"/>
                    </a:lnTo>
                    <a:lnTo>
                      <a:pt x="493" y="89"/>
                    </a:lnTo>
                    <a:lnTo>
                      <a:pt x="493" y="88"/>
                    </a:lnTo>
                    <a:lnTo>
                      <a:pt x="494" y="87"/>
                    </a:lnTo>
                    <a:lnTo>
                      <a:pt x="494" y="86"/>
                    </a:lnTo>
                    <a:lnTo>
                      <a:pt x="493" y="86"/>
                    </a:lnTo>
                    <a:lnTo>
                      <a:pt x="492" y="86"/>
                    </a:lnTo>
                    <a:lnTo>
                      <a:pt x="492" y="87"/>
                    </a:lnTo>
                    <a:lnTo>
                      <a:pt x="491" y="87"/>
                    </a:lnTo>
                    <a:lnTo>
                      <a:pt x="491" y="88"/>
                    </a:lnTo>
                    <a:lnTo>
                      <a:pt x="490" y="88"/>
                    </a:lnTo>
                    <a:lnTo>
                      <a:pt x="491" y="88"/>
                    </a:lnTo>
                    <a:lnTo>
                      <a:pt x="491" y="87"/>
                    </a:lnTo>
                    <a:lnTo>
                      <a:pt x="491" y="86"/>
                    </a:lnTo>
                    <a:lnTo>
                      <a:pt x="492" y="86"/>
                    </a:lnTo>
                    <a:lnTo>
                      <a:pt x="493" y="86"/>
                    </a:lnTo>
                    <a:lnTo>
                      <a:pt x="493" y="84"/>
                    </a:lnTo>
                    <a:lnTo>
                      <a:pt x="493" y="83"/>
                    </a:lnTo>
                    <a:lnTo>
                      <a:pt x="493" y="84"/>
                    </a:lnTo>
                    <a:lnTo>
                      <a:pt x="492" y="84"/>
                    </a:lnTo>
                    <a:lnTo>
                      <a:pt x="491" y="86"/>
                    </a:lnTo>
                    <a:lnTo>
                      <a:pt x="490" y="86"/>
                    </a:lnTo>
                    <a:lnTo>
                      <a:pt x="489" y="86"/>
                    </a:lnTo>
                    <a:lnTo>
                      <a:pt x="490" y="86"/>
                    </a:lnTo>
                    <a:lnTo>
                      <a:pt x="491" y="86"/>
                    </a:lnTo>
                    <a:lnTo>
                      <a:pt x="491" y="84"/>
                    </a:lnTo>
                    <a:lnTo>
                      <a:pt x="491" y="83"/>
                    </a:lnTo>
                    <a:lnTo>
                      <a:pt x="491" y="82"/>
                    </a:lnTo>
                    <a:lnTo>
                      <a:pt x="491" y="81"/>
                    </a:lnTo>
                    <a:lnTo>
                      <a:pt x="490" y="81"/>
                    </a:lnTo>
                    <a:lnTo>
                      <a:pt x="489" y="80"/>
                    </a:lnTo>
                    <a:lnTo>
                      <a:pt x="489" y="79"/>
                    </a:lnTo>
                    <a:lnTo>
                      <a:pt x="489" y="78"/>
                    </a:lnTo>
                    <a:lnTo>
                      <a:pt x="488" y="78"/>
                    </a:lnTo>
                    <a:lnTo>
                      <a:pt x="488" y="79"/>
                    </a:lnTo>
                    <a:lnTo>
                      <a:pt x="488" y="80"/>
                    </a:lnTo>
                    <a:lnTo>
                      <a:pt x="488" y="81"/>
                    </a:lnTo>
                    <a:lnTo>
                      <a:pt x="487" y="81"/>
                    </a:lnTo>
                    <a:lnTo>
                      <a:pt x="487" y="82"/>
                    </a:lnTo>
                    <a:lnTo>
                      <a:pt x="487" y="83"/>
                    </a:lnTo>
                    <a:lnTo>
                      <a:pt x="486" y="83"/>
                    </a:lnTo>
                    <a:lnTo>
                      <a:pt x="485" y="83"/>
                    </a:lnTo>
                    <a:lnTo>
                      <a:pt x="485" y="84"/>
                    </a:lnTo>
                    <a:lnTo>
                      <a:pt x="485" y="83"/>
                    </a:lnTo>
                    <a:lnTo>
                      <a:pt x="484" y="82"/>
                    </a:lnTo>
                    <a:lnTo>
                      <a:pt x="482" y="82"/>
                    </a:lnTo>
                    <a:lnTo>
                      <a:pt x="482" y="81"/>
                    </a:lnTo>
                    <a:lnTo>
                      <a:pt x="482" y="80"/>
                    </a:lnTo>
                    <a:lnTo>
                      <a:pt x="484" y="80"/>
                    </a:lnTo>
                    <a:lnTo>
                      <a:pt x="484" y="79"/>
                    </a:lnTo>
                    <a:lnTo>
                      <a:pt x="484" y="78"/>
                    </a:lnTo>
                    <a:lnTo>
                      <a:pt x="484" y="77"/>
                    </a:lnTo>
                    <a:lnTo>
                      <a:pt x="484" y="78"/>
                    </a:lnTo>
                    <a:lnTo>
                      <a:pt x="485" y="78"/>
                    </a:lnTo>
                    <a:lnTo>
                      <a:pt x="485" y="77"/>
                    </a:lnTo>
                    <a:lnTo>
                      <a:pt x="486" y="77"/>
                    </a:lnTo>
                    <a:lnTo>
                      <a:pt x="485" y="77"/>
                    </a:lnTo>
                    <a:lnTo>
                      <a:pt x="485" y="76"/>
                    </a:lnTo>
                    <a:lnTo>
                      <a:pt x="485" y="75"/>
                    </a:lnTo>
                    <a:lnTo>
                      <a:pt x="486" y="75"/>
                    </a:lnTo>
                    <a:lnTo>
                      <a:pt x="486" y="74"/>
                    </a:lnTo>
                    <a:lnTo>
                      <a:pt x="486" y="75"/>
                    </a:lnTo>
                    <a:lnTo>
                      <a:pt x="487" y="75"/>
                    </a:lnTo>
                    <a:lnTo>
                      <a:pt x="488" y="75"/>
                    </a:lnTo>
                    <a:lnTo>
                      <a:pt x="488" y="74"/>
                    </a:lnTo>
                    <a:lnTo>
                      <a:pt x="489" y="74"/>
                    </a:lnTo>
                    <a:lnTo>
                      <a:pt x="488" y="74"/>
                    </a:lnTo>
                    <a:lnTo>
                      <a:pt x="488" y="72"/>
                    </a:lnTo>
                    <a:lnTo>
                      <a:pt x="487" y="74"/>
                    </a:lnTo>
                    <a:lnTo>
                      <a:pt x="487" y="72"/>
                    </a:lnTo>
                    <a:lnTo>
                      <a:pt x="488" y="72"/>
                    </a:lnTo>
                    <a:lnTo>
                      <a:pt x="488" y="71"/>
                    </a:lnTo>
                    <a:lnTo>
                      <a:pt x="488" y="70"/>
                    </a:lnTo>
                    <a:lnTo>
                      <a:pt x="488" y="69"/>
                    </a:lnTo>
                    <a:lnTo>
                      <a:pt x="489" y="68"/>
                    </a:lnTo>
                    <a:lnTo>
                      <a:pt x="489" y="67"/>
                    </a:lnTo>
                    <a:lnTo>
                      <a:pt x="490" y="67"/>
                    </a:lnTo>
                    <a:lnTo>
                      <a:pt x="490" y="68"/>
                    </a:lnTo>
                    <a:lnTo>
                      <a:pt x="489" y="68"/>
                    </a:lnTo>
                    <a:lnTo>
                      <a:pt x="489" y="69"/>
                    </a:lnTo>
                    <a:lnTo>
                      <a:pt x="488" y="69"/>
                    </a:lnTo>
                    <a:lnTo>
                      <a:pt x="489" y="70"/>
                    </a:lnTo>
                    <a:lnTo>
                      <a:pt x="488" y="71"/>
                    </a:lnTo>
                    <a:lnTo>
                      <a:pt x="489" y="71"/>
                    </a:lnTo>
                    <a:close/>
                    <a:moveTo>
                      <a:pt x="468" y="148"/>
                    </a:moveTo>
                    <a:lnTo>
                      <a:pt x="469" y="149"/>
                    </a:lnTo>
                    <a:lnTo>
                      <a:pt x="471" y="149"/>
                    </a:lnTo>
                    <a:lnTo>
                      <a:pt x="471" y="151"/>
                    </a:lnTo>
                    <a:lnTo>
                      <a:pt x="472" y="151"/>
                    </a:lnTo>
                    <a:lnTo>
                      <a:pt x="472" y="149"/>
                    </a:lnTo>
                    <a:lnTo>
                      <a:pt x="473" y="149"/>
                    </a:lnTo>
                    <a:lnTo>
                      <a:pt x="473" y="151"/>
                    </a:lnTo>
                    <a:lnTo>
                      <a:pt x="474" y="151"/>
                    </a:lnTo>
                    <a:lnTo>
                      <a:pt x="475" y="151"/>
                    </a:lnTo>
                    <a:lnTo>
                      <a:pt x="474" y="151"/>
                    </a:lnTo>
                    <a:lnTo>
                      <a:pt x="474" y="149"/>
                    </a:lnTo>
                    <a:lnTo>
                      <a:pt x="473" y="149"/>
                    </a:lnTo>
                    <a:lnTo>
                      <a:pt x="474" y="149"/>
                    </a:lnTo>
                    <a:lnTo>
                      <a:pt x="475" y="149"/>
                    </a:lnTo>
                    <a:lnTo>
                      <a:pt x="476" y="149"/>
                    </a:lnTo>
                    <a:lnTo>
                      <a:pt x="476" y="151"/>
                    </a:lnTo>
                    <a:lnTo>
                      <a:pt x="475" y="151"/>
                    </a:lnTo>
                    <a:lnTo>
                      <a:pt x="474" y="152"/>
                    </a:lnTo>
                    <a:lnTo>
                      <a:pt x="474" y="153"/>
                    </a:lnTo>
                    <a:lnTo>
                      <a:pt x="474" y="154"/>
                    </a:lnTo>
                    <a:lnTo>
                      <a:pt x="474" y="155"/>
                    </a:lnTo>
                    <a:lnTo>
                      <a:pt x="474" y="156"/>
                    </a:lnTo>
                    <a:lnTo>
                      <a:pt x="474" y="157"/>
                    </a:lnTo>
                    <a:lnTo>
                      <a:pt x="475" y="157"/>
                    </a:lnTo>
                    <a:lnTo>
                      <a:pt x="474" y="158"/>
                    </a:lnTo>
                    <a:lnTo>
                      <a:pt x="474" y="159"/>
                    </a:lnTo>
                    <a:lnTo>
                      <a:pt x="473" y="159"/>
                    </a:lnTo>
                    <a:lnTo>
                      <a:pt x="474" y="159"/>
                    </a:lnTo>
                    <a:lnTo>
                      <a:pt x="475" y="159"/>
                    </a:lnTo>
                    <a:lnTo>
                      <a:pt x="475" y="158"/>
                    </a:lnTo>
                    <a:lnTo>
                      <a:pt x="475" y="159"/>
                    </a:lnTo>
                    <a:lnTo>
                      <a:pt x="476" y="159"/>
                    </a:lnTo>
                    <a:lnTo>
                      <a:pt x="476" y="160"/>
                    </a:lnTo>
                    <a:lnTo>
                      <a:pt x="477" y="160"/>
                    </a:lnTo>
                    <a:lnTo>
                      <a:pt x="478" y="160"/>
                    </a:lnTo>
                    <a:lnTo>
                      <a:pt x="478" y="161"/>
                    </a:lnTo>
                    <a:lnTo>
                      <a:pt x="477" y="160"/>
                    </a:lnTo>
                    <a:lnTo>
                      <a:pt x="476" y="160"/>
                    </a:lnTo>
                    <a:lnTo>
                      <a:pt x="475" y="160"/>
                    </a:lnTo>
                    <a:lnTo>
                      <a:pt x="474" y="160"/>
                    </a:lnTo>
                    <a:lnTo>
                      <a:pt x="473" y="160"/>
                    </a:lnTo>
                    <a:lnTo>
                      <a:pt x="472" y="161"/>
                    </a:lnTo>
                    <a:lnTo>
                      <a:pt x="472" y="160"/>
                    </a:lnTo>
                    <a:lnTo>
                      <a:pt x="471" y="160"/>
                    </a:lnTo>
                    <a:lnTo>
                      <a:pt x="469" y="160"/>
                    </a:lnTo>
                    <a:lnTo>
                      <a:pt x="468" y="160"/>
                    </a:lnTo>
                    <a:lnTo>
                      <a:pt x="467" y="160"/>
                    </a:lnTo>
                    <a:lnTo>
                      <a:pt x="466" y="160"/>
                    </a:lnTo>
                    <a:lnTo>
                      <a:pt x="465" y="160"/>
                    </a:lnTo>
                    <a:lnTo>
                      <a:pt x="464" y="160"/>
                    </a:lnTo>
                    <a:lnTo>
                      <a:pt x="464" y="161"/>
                    </a:lnTo>
                    <a:lnTo>
                      <a:pt x="463" y="161"/>
                    </a:lnTo>
                    <a:lnTo>
                      <a:pt x="461" y="161"/>
                    </a:lnTo>
                    <a:lnTo>
                      <a:pt x="460" y="161"/>
                    </a:lnTo>
                    <a:lnTo>
                      <a:pt x="459" y="161"/>
                    </a:lnTo>
                    <a:lnTo>
                      <a:pt x="458" y="160"/>
                    </a:lnTo>
                    <a:lnTo>
                      <a:pt x="456" y="160"/>
                    </a:lnTo>
                    <a:lnTo>
                      <a:pt x="455" y="160"/>
                    </a:lnTo>
                    <a:lnTo>
                      <a:pt x="454" y="160"/>
                    </a:lnTo>
                    <a:lnTo>
                      <a:pt x="454" y="159"/>
                    </a:lnTo>
                    <a:lnTo>
                      <a:pt x="453" y="158"/>
                    </a:lnTo>
                    <a:lnTo>
                      <a:pt x="453" y="159"/>
                    </a:lnTo>
                    <a:lnTo>
                      <a:pt x="453" y="160"/>
                    </a:lnTo>
                    <a:lnTo>
                      <a:pt x="452" y="160"/>
                    </a:lnTo>
                    <a:lnTo>
                      <a:pt x="452" y="161"/>
                    </a:lnTo>
                    <a:lnTo>
                      <a:pt x="451" y="161"/>
                    </a:lnTo>
                    <a:lnTo>
                      <a:pt x="450" y="162"/>
                    </a:lnTo>
                    <a:lnTo>
                      <a:pt x="449" y="162"/>
                    </a:lnTo>
                    <a:lnTo>
                      <a:pt x="448" y="164"/>
                    </a:lnTo>
                    <a:lnTo>
                      <a:pt x="447" y="165"/>
                    </a:lnTo>
                    <a:lnTo>
                      <a:pt x="446" y="165"/>
                    </a:lnTo>
                    <a:lnTo>
                      <a:pt x="446" y="166"/>
                    </a:lnTo>
                    <a:lnTo>
                      <a:pt x="445" y="166"/>
                    </a:lnTo>
                    <a:lnTo>
                      <a:pt x="446" y="166"/>
                    </a:lnTo>
                    <a:lnTo>
                      <a:pt x="446" y="167"/>
                    </a:lnTo>
                    <a:lnTo>
                      <a:pt x="445" y="167"/>
                    </a:lnTo>
                    <a:lnTo>
                      <a:pt x="445" y="168"/>
                    </a:lnTo>
                    <a:lnTo>
                      <a:pt x="445" y="167"/>
                    </a:lnTo>
                    <a:lnTo>
                      <a:pt x="443" y="167"/>
                    </a:lnTo>
                    <a:lnTo>
                      <a:pt x="442" y="168"/>
                    </a:lnTo>
                    <a:lnTo>
                      <a:pt x="441" y="168"/>
                    </a:lnTo>
                    <a:lnTo>
                      <a:pt x="440" y="169"/>
                    </a:lnTo>
                    <a:lnTo>
                      <a:pt x="439" y="169"/>
                    </a:lnTo>
                    <a:lnTo>
                      <a:pt x="439" y="170"/>
                    </a:lnTo>
                    <a:lnTo>
                      <a:pt x="438" y="170"/>
                    </a:lnTo>
                    <a:lnTo>
                      <a:pt x="437" y="171"/>
                    </a:lnTo>
                    <a:lnTo>
                      <a:pt x="436" y="172"/>
                    </a:lnTo>
                    <a:lnTo>
                      <a:pt x="436" y="173"/>
                    </a:lnTo>
                    <a:lnTo>
                      <a:pt x="435" y="173"/>
                    </a:lnTo>
                    <a:lnTo>
                      <a:pt x="434" y="172"/>
                    </a:lnTo>
                    <a:lnTo>
                      <a:pt x="435" y="172"/>
                    </a:lnTo>
                    <a:lnTo>
                      <a:pt x="435" y="171"/>
                    </a:lnTo>
                    <a:lnTo>
                      <a:pt x="435" y="170"/>
                    </a:lnTo>
                    <a:lnTo>
                      <a:pt x="436" y="170"/>
                    </a:lnTo>
                    <a:lnTo>
                      <a:pt x="437" y="170"/>
                    </a:lnTo>
                    <a:lnTo>
                      <a:pt x="438" y="169"/>
                    </a:lnTo>
                    <a:lnTo>
                      <a:pt x="438" y="168"/>
                    </a:lnTo>
                    <a:lnTo>
                      <a:pt x="439" y="168"/>
                    </a:lnTo>
                    <a:lnTo>
                      <a:pt x="439" y="167"/>
                    </a:lnTo>
                    <a:lnTo>
                      <a:pt x="440" y="167"/>
                    </a:lnTo>
                    <a:lnTo>
                      <a:pt x="441" y="167"/>
                    </a:lnTo>
                    <a:lnTo>
                      <a:pt x="442" y="167"/>
                    </a:lnTo>
                    <a:lnTo>
                      <a:pt x="442" y="166"/>
                    </a:lnTo>
                    <a:lnTo>
                      <a:pt x="443" y="166"/>
                    </a:lnTo>
                    <a:lnTo>
                      <a:pt x="443" y="165"/>
                    </a:lnTo>
                    <a:lnTo>
                      <a:pt x="445" y="165"/>
                    </a:lnTo>
                    <a:lnTo>
                      <a:pt x="445" y="164"/>
                    </a:lnTo>
                    <a:lnTo>
                      <a:pt x="445" y="162"/>
                    </a:lnTo>
                    <a:lnTo>
                      <a:pt x="445" y="164"/>
                    </a:lnTo>
                    <a:lnTo>
                      <a:pt x="445" y="162"/>
                    </a:lnTo>
                    <a:lnTo>
                      <a:pt x="445" y="161"/>
                    </a:lnTo>
                    <a:lnTo>
                      <a:pt x="445" y="160"/>
                    </a:lnTo>
                    <a:lnTo>
                      <a:pt x="446" y="160"/>
                    </a:lnTo>
                    <a:lnTo>
                      <a:pt x="447" y="160"/>
                    </a:lnTo>
                    <a:lnTo>
                      <a:pt x="447" y="159"/>
                    </a:lnTo>
                    <a:lnTo>
                      <a:pt x="448" y="159"/>
                    </a:lnTo>
                    <a:lnTo>
                      <a:pt x="448" y="158"/>
                    </a:lnTo>
                    <a:lnTo>
                      <a:pt x="449" y="158"/>
                    </a:lnTo>
                    <a:lnTo>
                      <a:pt x="449" y="159"/>
                    </a:lnTo>
                    <a:lnTo>
                      <a:pt x="449" y="160"/>
                    </a:lnTo>
                    <a:lnTo>
                      <a:pt x="450" y="160"/>
                    </a:lnTo>
                    <a:lnTo>
                      <a:pt x="451" y="160"/>
                    </a:lnTo>
                    <a:lnTo>
                      <a:pt x="451" y="159"/>
                    </a:lnTo>
                    <a:lnTo>
                      <a:pt x="451" y="158"/>
                    </a:lnTo>
                    <a:lnTo>
                      <a:pt x="452" y="158"/>
                    </a:lnTo>
                    <a:lnTo>
                      <a:pt x="451" y="157"/>
                    </a:lnTo>
                    <a:lnTo>
                      <a:pt x="451" y="156"/>
                    </a:lnTo>
                    <a:lnTo>
                      <a:pt x="452" y="156"/>
                    </a:lnTo>
                    <a:lnTo>
                      <a:pt x="452" y="155"/>
                    </a:lnTo>
                    <a:lnTo>
                      <a:pt x="453" y="155"/>
                    </a:lnTo>
                    <a:lnTo>
                      <a:pt x="453" y="154"/>
                    </a:lnTo>
                    <a:lnTo>
                      <a:pt x="454" y="154"/>
                    </a:lnTo>
                    <a:lnTo>
                      <a:pt x="454" y="153"/>
                    </a:lnTo>
                    <a:lnTo>
                      <a:pt x="455" y="153"/>
                    </a:lnTo>
                    <a:lnTo>
                      <a:pt x="455" y="154"/>
                    </a:lnTo>
                    <a:lnTo>
                      <a:pt x="454" y="155"/>
                    </a:lnTo>
                    <a:lnTo>
                      <a:pt x="454" y="156"/>
                    </a:lnTo>
                    <a:lnTo>
                      <a:pt x="455" y="156"/>
                    </a:lnTo>
                    <a:lnTo>
                      <a:pt x="454" y="156"/>
                    </a:lnTo>
                    <a:lnTo>
                      <a:pt x="454" y="157"/>
                    </a:lnTo>
                    <a:lnTo>
                      <a:pt x="455" y="157"/>
                    </a:lnTo>
                    <a:lnTo>
                      <a:pt x="456" y="156"/>
                    </a:lnTo>
                    <a:lnTo>
                      <a:pt x="455" y="156"/>
                    </a:lnTo>
                    <a:lnTo>
                      <a:pt x="456" y="156"/>
                    </a:lnTo>
                    <a:lnTo>
                      <a:pt x="458" y="156"/>
                    </a:lnTo>
                    <a:lnTo>
                      <a:pt x="458" y="157"/>
                    </a:lnTo>
                    <a:lnTo>
                      <a:pt x="458" y="156"/>
                    </a:lnTo>
                    <a:lnTo>
                      <a:pt x="458" y="157"/>
                    </a:lnTo>
                    <a:lnTo>
                      <a:pt x="459" y="157"/>
                    </a:lnTo>
                    <a:lnTo>
                      <a:pt x="459" y="158"/>
                    </a:lnTo>
                    <a:lnTo>
                      <a:pt x="460" y="158"/>
                    </a:lnTo>
                    <a:lnTo>
                      <a:pt x="461" y="158"/>
                    </a:lnTo>
                    <a:lnTo>
                      <a:pt x="461" y="159"/>
                    </a:lnTo>
                    <a:lnTo>
                      <a:pt x="462" y="159"/>
                    </a:lnTo>
                    <a:lnTo>
                      <a:pt x="463" y="159"/>
                    </a:lnTo>
                    <a:lnTo>
                      <a:pt x="464" y="160"/>
                    </a:lnTo>
                    <a:lnTo>
                      <a:pt x="464" y="159"/>
                    </a:lnTo>
                    <a:lnTo>
                      <a:pt x="465" y="159"/>
                    </a:lnTo>
                    <a:lnTo>
                      <a:pt x="465" y="160"/>
                    </a:lnTo>
                    <a:lnTo>
                      <a:pt x="466" y="160"/>
                    </a:lnTo>
                    <a:lnTo>
                      <a:pt x="466" y="159"/>
                    </a:lnTo>
                    <a:lnTo>
                      <a:pt x="467" y="159"/>
                    </a:lnTo>
                    <a:lnTo>
                      <a:pt x="467" y="158"/>
                    </a:lnTo>
                    <a:lnTo>
                      <a:pt x="468" y="158"/>
                    </a:lnTo>
                    <a:lnTo>
                      <a:pt x="467" y="159"/>
                    </a:lnTo>
                    <a:lnTo>
                      <a:pt x="466" y="159"/>
                    </a:lnTo>
                    <a:lnTo>
                      <a:pt x="467" y="159"/>
                    </a:lnTo>
                    <a:lnTo>
                      <a:pt x="468" y="159"/>
                    </a:lnTo>
                    <a:lnTo>
                      <a:pt x="468" y="158"/>
                    </a:lnTo>
                    <a:lnTo>
                      <a:pt x="467" y="158"/>
                    </a:lnTo>
                    <a:lnTo>
                      <a:pt x="468" y="158"/>
                    </a:lnTo>
                    <a:lnTo>
                      <a:pt x="468" y="157"/>
                    </a:lnTo>
                    <a:lnTo>
                      <a:pt x="469" y="157"/>
                    </a:lnTo>
                    <a:lnTo>
                      <a:pt x="469" y="156"/>
                    </a:lnTo>
                    <a:lnTo>
                      <a:pt x="469" y="155"/>
                    </a:lnTo>
                    <a:lnTo>
                      <a:pt x="468" y="155"/>
                    </a:lnTo>
                    <a:lnTo>
                      <a:pt x="468" y="154"/>
                    </a:lnTo>
                    <a:lnTo>
                      <a:pt x="468" y="153"/>
                    </a:lnTo>
                    <a:lnTo>
                      <a:pt x="468" y="154"/>
                    </a:lnTo>
                    <a:lnTo>
                      <a:pt x="469" y="154"/>
                    </a:lnTo>
                    <a:lnTo>
                      <a:pt x="469" y="155"/>
                    </a:lnTo>
                    <a:lnTo>
                      <a:pt x="471" y="155"/>
                    </a:lnTo>
                    <a:lnTo>
                      <a:pt x="471" y="154"/>
                    </a:lnTo>
                    <a:lnTo>
                      <a:pt x="472" y="154"/>
                    </a:lnTo>
                    <a:lnTo>
                      <a:pt x="472" y="153"/>
                    </a:lnTo>
                    <a:lnTo>
                      <a:pt x="473" y="153"/>
                    </a:lnTo>
                    <a:lnTo>
                      <a:pt x="473" y="152"/>
                    </a:lnTo>
                    <a:lnTo>
                      <a:pt x="473" y="151"/>
                    </a:lnTo>
                    <a:lnTo>
                      <a:pt x="472" y="152"/>
                    </a:lnTo>
                    <a:lnTo>
                      <a:pt x="472" y="151"/>
                    </a:lnTo>
                    <a:lnTo>
                      <a:pt x="471" y="151"/>
                    </a:lnTo>
                    <a:lnTo>
                      <a:pt x="471" y="149"/>
                    </a:lnTo>
                    <a:lnTo>
                      <a:pt x="469" y="149"/>
                    </a:lnTo>
                    <a:lnTo>
                      <a:pt x="468" y="149"/>
                    </a:lnTo>
                    <a:lnTo>
                      <a:pt x="468" y="148"/>
                    </a:lnTo>
                    <a:lnTo>
                      <a:pt x="467" y="148"/>
                    </a:lnTo>
                    <a:lnTo>
                      <a:pt x="468" y="148"/>
                    </a:lnTo>
                    <a:close/>
                    <a:moveTo>
                      <a:pt x="397" y="235"/>
                    </a:moveTo>
                    <a:lnTo>
                      <a:pt x="398" y="235"/>
                    </a:lnTo>
                    <a:lnTo>
                      <a:pt x="399" y="235"/>
                    </a:lnTo>
                    <a:lnTo>
                      <a:pt x="398" y="235"/>
                    </a:lnTo>
                    <a:lnTo>
                      <a:pt x="399" y="236"/>
                    </a:lnTo>
                    <a:lnTo>
                      <a:pt x="399" y="237"/>
                    </a:lnTo>
                    <a:lnTo>
                      <a:pt x="400" y="238"/>
                    </a:lnTo>
                    <a:lnTo>
                      <a:pt x="401" y="239"/>
                    </a:lnTo>
                    <a:lnTo>
                      <a:pt x="402" y="239"/>
                    </a:lnTo>
                    <a:lnTo>
                      <a:pt x="403" y="239"/>
                    </a:lnTo>
                    <a:lnTo>
                      <a:pt x="404" y="239"/>
                    </a:lnTo>
                    <a:lnTo>
                      <a:pt x="406" y="239"/>
                    </a:lnTo>
                    <a:lnTo>
                      <a:pt x="407" y="239"/>
                    </a:lnTo>
                    <a:lnTo>
                      <a:pt x="407" y="241"/>
                    </a:lnTo>
                    <a:lnTo>
                      <a:pt x="408" y="241"/>
                    </a:lnTo>
                    <a:lnTo>
                      <a:pt x="408" y="242"/>
                    </a:lnTo>
                    <a:lnTo>
                      <a:pt x="409" y="242"/>
                    </a:lnTo>
                    <a:lnTo>
                      <a:pt x="409" y="243"/>
                    </a:lnTo>
                    <a:lnTo>
                      <a:pt x="409" y="244"/>
                    </a:lnTo>
                    <a:lnTo>
                      <a:pt x="408" y="244"/>
                    </a:lnTo>
                    <a:lnTo>
                      <a:pt x="409" y="243"/>
                    </a:lnTo>
                    <a:lnTo>
                      <a:pt x="408" y="243"/>
                    </a:lnTo>
                    <a:lnTo>
                      <a:pt x="408" y="242"/>
                    </a:lnTo>
                    <a:lnTo>
                      <a:pt x="407" y="242"/>
                    </a:lnTo>
                    <a:lnTo>
                      <a:pt x="406" y="243"/>
                    </a:lnTo>
                    <a:lnTo>
                      <a:pt x="404" y="243"/>
                    </a:lnTo>
                    <a:lnTo>
                      <a:pt x="403" y="244"/>
                    </a:lnTo>
                    <a:lnTo>
                      <a:pt x="402" y="244"/>
                    </a:lnTo>
                    <a:lnTo>
                      <a:pt x="402" y="245"/>
                    </a:lnTo>
                    <a:lnTo>
                      <a:pt x="402" y="246"/>
                    </a:lnTo>
                    <a:lnTo>
                      <a:pt x="401" y="246"/>
                    </a:lnTo>
                    <a:lnTo>
                      <a:pt x="400" y="247"/>
                    </a:lnTo>
                    <a:lnTo>
                      <a:pt x="400" y="246"/>
                    </a:lnTo>
                    <a:lnTo>
                      <a:pt x="399" y="245"/>
                    </a:lnTo>
                    <a:lnTo>
                      <a:pt x="398" y="245"/>
                    </a:lnTo>
                    <a:lnTo>
                      <a:pt x="396" y="245"/>
                    </a:lnTo>
                    <a:lnTo>
                      <a:pt x="395" y="245"/>
                    </a:lnTo>
                    <a:lnTo>
                      <a:pt x="394" y="245"/>
                    </a:lnTo>
                    <a:lnTo>
                      <a:pt x="393" y="246"/>
                    </a:lnTo>
                    <a:lnTo>
                      <a:pt x="391" y="246"/>
                    </a:lnTo>
                    <a:lnTo>
                      <a:pt x="391" y="245"/>
                    </a:lnTo>
                    <a:lnTo>
                      <a:pt x="390" y="245"/>
                    </a:lnTo>
                    <a:lnTo>
                      <a:pt x="389" y="244"/>
                    </a:lnTo>
                    <a:lnTo>
                      <a:pt x="389" y="245"/>
                    </a:lnTo>
                    <a:lnTo>
                      <a:pt x="389" y="244"/>
                    </a:lnTo>
                    <a:lnTo>
                      <a:pt x="388" y="244"/>
                    </a:lnTo>
                    <a:lnTo>
                      <a:pt x="383" y="239"/>
                    </a:lnTo>
                    <a:lnTo>
                      <a:pt x="382" y="239"/>
                    </a:lnTo>
                    <a:lnTo>
                      <a:pt x="388" y="244"/>
                    </a:lnTo>
                    <a:lnTo>
                      <a:pt x="388" y="245"/>
                    </a:lnTo>
                    <a:lnTo>
                      <a:pt x="389" y="245"/>
                    </a:lnTo>
                    <a:lnTo>
                      <a:pt x="390" y="246"/>
                    </a:lnTo>
                    <a:lnTo>
                      <a:pt x="391" y="246"/>
                    </a:lnTo>
                    <a:lnTo>
                      <a:pt x="393" y="246"/>
                    </a:lnTo>
                    <a:lnTo>
                      <a:pt x="391" y="246"/>
                    </a:lnTo>
                    <a:lnTo>
                      <a:pt x="393" y="247"/>
                    </a:lnTo>
                    <a:lnTo>
                      <a:pt x="391" y="246"/>
                    </a:lnTo>
                    <a:lnTo>
                      <a:pt x="390" y="247"/>
                    </a:lnTo>
                    <a:lnTo>
                      <a:pt x="390" y="246"/>
                    </a:lnTo>
                    <a:lnTo>
                      <a:pt x="389" y="246"/>
                    </a:lnTo>
                    <a:lnTo>
                      <a:pt x="388" y="246"/>
                    </a:lnTo>
                    <a:lnTo>
                      <a:pt x="387" y="246"/>
                    </a:lnTo>
                    <a:lnTo>
                      <a:pt x="388" y="246"/>
                    </a:lnTo>
                    <a:lnTo>
                      <a:pt x="388" y="245"/>
                    </a:lnTo>
                    <a:lnTo>
                      <a:pt x="388" y="244"/>
                    </a:lnTo>
                    <a:lnTo>
                      <a:pt x="387" y="244"/>
                    </a:lnTo>
                    <a:lnTo>
                      <a:pt x="386" y="244"/>
                    </a:lnTo>
                    <a:lnTo>
                      <a:pt x="387" y="244"/>
                    </a:lnTo>
                    <a:lnTo>
                      <a:pt x="386" y="244"/>
                    </a:lnTo>
                    <a:lnTo>
                      <a:pt x="386" y="243"/>
                    </a:lnTo>
                    <a:lnTo>
                      <a:pt x="385" y="243"/>
                    </a:lnTo>
                    <a:lnTo>
                      <a:pt x="385" y="244"/>
                    </a:lnTo>
                    <a:lnTo>
                      <a:pt x="384" y="243"/>
                    </a:lnTo>
                    <a:lnTo>
                      <a:pt x="383" y="243"/>
                    </a:lnTo>
                    <a:lnTo>
                      <a:pt x="382" y="243"/>
                    </a:lnTo>
                    <a:lnTo>
                      <a:pt x="381" y="242"/>
                    </a:lnTo>
                    <a:lnTo>
                      <a:pt x="381" y="241"/>
                    </a:lnTo>
                    <a:lnTo>
                      <a:pt x="382" y="242"/>
                    </a:lnTo>
                    <a:lnTo>
                      <a:pt x="382" y="241"/>
                    </a:lnTo>
                    <a:lnTo>
                      <a:pt x="381" y="241"/>
                    </a:lnTo>
                    <a:lnTo>
                      <a:pt x="382" y="241"/>
                    </a:lnTo>
                    <a:lnTo>
                      <a:pt x="381" y="241"/>
                    </a:lnTo>
                    <a:lnTo>
                      <a:pt x="381" y="239"/>
                    </a:lnTo>
                    <a:lnTo>
                      <a:pt x="380" y="239"/>
                    </a:lnTo>
                    <a:lnTo>
                      <a:pt x="378" y="239"/>
                    </a:lnTo>
                    <a:lnTo>
                      <a:pt x="377" y="239"/>
                    </a:lnTo>
                    <a:lnTo>
                      <a:pt x="376" y="241"/>
                    </a:lnTo>
                    <a:lnTo>
                      <a:pt x="375" y="241"/>
                    </a:lnTo>
                    <a:lnTo>
                      <a:pt x="375" y="239"/>
                    </a:lnTo>
                    <a:lnTo>
                      <a:pt x="376" y="239"/>
                    </a:lnTo>
                    <a:lnTo>
                      <a:pt x="377" y="239"/>
                    </a:lnTo>
                    <a:lnTo>
                      <a:pt x="378" y="239"/>
                    </a:lnTo>
                    <a:lnTo>
                      <a:pt x="380" y="239"/>
                    </a:lnTo>
                    <a:lnTo>
                      <a:pt x="381" y="238"/>
                    </a:lnTo>
                    <a:lnTo>
                      <a:pt x="382" y="238"/>
                    </a:lnTo>
                    <a:lnTo>
                      <a:pt x="383" y="238"/>
                    </a:lnTo>
                    <a:lnTo>
                      <a:pt x="384" y="238"/>
                    </a:lnTo>
                    <a:lnTo>
                      <a:pt x="385" y="239"/>
                    </a:lnTo>
                    <a:lnTo>
                      <a:pt x="385" y="241"/>
                    </a:lnTo>
                    <a:lnTo>
                      <a:pt x="386" y="239"/>
                    </a:lnTo>
                    <a:lnTo>
                      <a:pt x="386" y="241"/>
                    </a:lnTo>
                    <a:lnTo>
                      <a:pt x="386" y="242"/>
                    </a:lnTo>
                    <a:lnTo>
                      <a:pt x="387" y="243"/>
                    </a:lnTo>
                    <a:lnTo>
                      <a:pt x="388" y="243"/>
                    </a:lnTo>
                    <a:lnTo>
                      <a:pt x="389" y="243"/>
                    </a:lnTo>
                    <a:lnTo>
                      <a:pt x="390" y="243"/>
                    </a:lnTo>
                    <a:lnTo>
                      <a:pt x="391" y="243"/>
                    </a:lnTo>
                    <a:lnTo>
                      <a:pt x="391" y="244"/>
                    </a:lnTo>
                    <a:lnTo>
                      <a:pt x="393" y="244"/>
                    </a:lnTo>
                    <a:lnTo>
                      <a:pt x="393" y="243"/>
                    </a:lnTo>
                    <a:lnTo>
                      <a:pt x="394" y="243"/>
                    </a:lnTo>
                    <a:lnTo>
                      <a:pt x="394" y="242"/>
                    </a:lnTo>
                    <a:lnTo>
                      <a:pt x="395" y="242"/>
                    </a:lnTo>
                    <a:lnTo>
                      <a:pt x="395" y="243"/>
                    </a:lnTo>
                    <a:lnTo>
                      <a:pt x="395" y="244"/>
                    </a:lnTo>
                    <a:lnTo>
                      <a:pt x="396" y="244"/>
                    </a:lnTo>
                    <a:lnTo>
                      <a:pt x="397" y="243"/>
                    </a:lnTo>
                    <a:lnTo>
                      <a:pt x="397" y="242"/>
                    </a:lnTo>
                    <a:lnTo>
                      <a:pt x="398" y="242"/>
                    </a:lnTo>
                    <a:lnTo>
                      <a:pt x="398" y="241"/>
                    </a:lnTo>
                    <a:lnTo>
                      <a:pt x="399" y="241"/>
                    </a:lnTo>
                    <a:lnTo>
                      <a:pt x="398" y="241"/>
                    </a:lnTo>
                    <a:lnTo>
                      <a:pt x="398" y="242"/>
                    </a:lnTo>
                    <a:lnTo>
                      <a:pt x="398" y="243"/>
                    </a:lnTo>
                    <a:lnTo>
                      <a:pt x="399" y="243"/>
                    </a:lnTo>
                    <a:lnTo>
                      <a:pt x="400" y="243"/>
                    </a:lnTo>
                    <a:lnTo>
                      <a:pt x="400" y="242"/>
                    </a:lnTo>
                    <a:lnTo>
                      <a:pt x="400" y="241"/>
                    </a:lnTo>
                    <a:lnTo>
                      <a:pt x="399" y="241"/>
                    </a:lnTo>
                    <a:lnTo>
                      <a:pt x="399" y="239"/>
                    </a:lnTo>
                    <a:lnTo>
                      <a:pt x="398" y="239"/>
                    </a:lnTo>
                    <a:lnTo>
                      <a:pt x="398" y="241"/>
                    </a:lnTo>
                    <a:lnTo>
                      <a:pt x="398" y="239"/>
                    </a:lnTo>
                    <a:lnTo>
                      <a:pt x="397" y="239"/>
                    </a:lnTo>
                    <a:lnTo>
                      <a:pt x="397" y="241"/>
                    </a:lnTo>
                    <a:lnTo>
                      <a:pt x="396" y="239"/>
                    </a:lnTo>
                    <a:lnTo>
                      <a:pt x="395" y="238"/>
                    </a:lnTo>
                    <a:lnTo>
                      <a:pt x="395" y="239"/>
                    </a:lnTo>
                    <a:lnTo>
                      <a:pt x="395" y="238"/>
                    </a:lnTo>
                    <a:lnTo>
                      <a:pt x="394" y="237"/>
                    </a:lnTo>
                    <a:lnTo>
                      <a:pt x="395" y="237"/>
                    </a:lnTo>
                    <a:lnTo>
                      <a:pt x="395" y="236"/>
                    </a:lnTo>
                    <a:lnTo>
                      <a:pt x="394" y="237"/>
                    </a:lnTo>
                    <a:lnTo>
                      <a:pt x="394" y="238"/>
                    </a:lnTo>
                    <a:lnTo>
                      <a:pt x="393" y="239"/>
                    </a:lnTo>
                    <a:lnTo>
                      <a:pt x="393" y="238"/>
                    </a:lnTo>
                    <a:lnTo>
                      <a:pt x="393" y="237"/>
                    </a:lnTo>
                    <a:lnTo>
                      <a:pt x="391" y="237"/>
                    </a:lnTo>
                    <a:lnTo>
                      <a:pt x="391" y="238"/>
                    </a:lnTo>
                    <a:lnTo>
                      <a:pt x="393" y="239"/>
                    </a:lnTo>
                    <a:lnTo>
                      <a:pt x="394" y="239"/>
                    </a:lnTo>
                    <a:lnTo>
                      <a:pt x="395" y="239"/>
                    </a:lnTo>
                    <a:lnTo>
                      <a:pt x="396" y="239"/>
                    </a:lnTo>
                    <a:lnTo>
                      <a:pt x="396" y="241"/>
                    </a:lnTo>
                    <a:lnTo>
                      <a:pt x="396" y="242"/>
                    </a:lnTo>
                    <a:lnTo>
                      <a:pt x="396" y="243"/>
                    </a:lnTo>
                    <a:lnTo>
                      <a:pt x="396" y="242"/>
                    </a:lnTo>
                    <a:lnTo>
                      <a:pt x="395" y="242"/>
                    </a:lnTo>
                    <a:lnTo>
                      <a:pt x="395" y="241"/>
                    </a:lnTo>
                    <a:lnTo>
                      <a:pt x="394" y="241"/>
                    </a:lnTo>
                    <a:lnTo>
                      <a:pt x="393" y="241"/>
                    </a:lnTo>
                    <a:lnTo>
                      <a:pt x="393" y="242"/>
                    </a:lnTo>
                    <a:lnTo>
                      <a:pt x="393" y="241"/>
                    </a:lnTo>
                    <a:lnTo>
                      <a:pt x="391" y="241"/>
                    </a:lnTo>
                    <a:lnTo>
                      <a:pt x="390" y="241"/>
                    </a:lnTo>
                    <a:lnTo>
                      <a:pt x="389" y="239"/>
                    </a:lnTo>
                    <a:lnTo>
                      <a:pt x="390" y="239"/>
                    </a:lnTo>
                    <a:lnTo>
                      <a:pt x="390" y="238"/>
                    </a:lnTo>
                    <a:lnTo>
                      <a:pt x="389" y="238"/>
                    </a:lnTo>
                    <a:lnTo>
                      <a:pt x="390" y="239"/>
                    </a:lnTo>
                    <a:lnTo>
                      <a:pt x="389" y="239"/>
                    </a:lnTo>
                    <a:lnTo>
                      <a:pt x="388" y="239"/>
                    </a:lnTo>
                    <a:lnTo>
                      <a:pt x="388" y="238"/>
                    </a:lnTo>
                    <a:lnTo>
                      <a:pt x="387" y="238"/>
                    </a:lnTo>
                    <a:lnTo>
                      <a:pt x="388" y="238"/>
                    </a:lnTo>
                    <a:lnTo>
                      <a:pt x="389" y="238"/>
                    </a:lnTo>
                    <a:lnTo>
                      <a:pt x="389" y="237"/>
                    </a:lnTo>
                    <a:lnTo>
                      <a:pt x="390" y="237"/>
                    </a:lnTo>
                    <a:lnTo>
                      <a:pt x="391" y="237"/>
                    </a:lnTo>
                    <a:lnTo>
                      <a:pt x="393" y="237"/>
                    </a:lnTo>
                    <a:lnTo>
                      <a:pt x="393" y="236"/>
                    </a:lnTo>
                    <a:lnTo>
                      <a:pt x="395" y="235"/>
                    </a:lnTo>
                    <a:lnTo>
                      <a:pt x="396" y="235"/>
                    </a:lnTo>
                    <a:lnTo>
                      <a:pt x="397" y="235"/>
                    </a:lnTo>
                    <a:close/>
                    <a:moveTo>
                      <a:pt x="358" y="7"/>
                    </a:moveTo>
                    <a:lnTo>
                      <a:pt x="359" y="7"/>
                    </a:lnTo>
                    <a:lnTo>
                      <a:pt x="360" y="7"/>
                    </a:lnTo>
                    <a:lnTo>
                      <a:pt x="360" y="9"/>
                    </a:lnTo>
                    <a:lnTo>
                      <a:pt x="361" y="9"/>
                    </a:lnTo>
                    <a:lnTo>
                      <a:pt x="361" y="10"/>
                    </a:lnTo>
                    <a:lnTo>
                      <a:pt x="362" y="10"/>
                    </a:lnTo>
                    <a:lnTo>
                      <a:pt x="363" y="11"/>
                    </a:lnTo>
                    <a:lnTo>
                      <a:pt x="363" y="12"/>
                    </a:lnTo>
                    <a:lnTo>
                      <a:pt x="363" y="13"/>
                    </a:lnTo>
                    <a:lnTo>
                      <a:pt x="362" y="14"/>
                    </a:lnTo>
                    <a:lnTo>
                      <a:pt x="362" y="15"/>
                    </a:lnTo>
                    <a:lnTo>
                      <a:pt x="361" y="17"/>
                    </a:lnTo>
                    <a:lnTo>
                      <a:pt x="361" y="18"/>
                    </a:lnTo>
                    <a:lnTo>
                      <a:pt x="360" y="19"/>
                    </a:lnTo>
                    <a:lnTo>
                      <a:pt x="359" y="19"/>
                    </a:lnTo>
                    <a:lnTo>
                      <a:pt x="359" y="20"/>
                    </a:lnTo>
                    <a:lnTo>
                      <a:pt x="358" y="20"/>
                    </a:lnTo>
                    <a:lnTo>
                      <a:pt x="357" y="20"/>
                    </a:lnTo>
                    <a:lnTo>
                      <a:pt x="356" y="22"/>
                    </a:lnTo>
                    <a:lnTo>
                      <a:pt x="355" y="22"/>
                    </a:lnTo>
                    <a:lnTo>
                      <a:pt x="353" y="22"/>
                    </a:lnTo>
                    <a:lnTo>
                      <a:pt x="352" y="22"/>
                    </a:lnTo>
                    <a:lnTo>
                      <a:pt x="351" y="22"/>
                    </a:lnTo>
                    <a:lnTo>
                      <a:pt x="350" y="22"/>
                    </a:lnTo>
                    <a:lnTo>
                      <a:pt x="349" y="20"/>
                    </a:lnTo>
                    <a:lnTo>
                      <a:pt x="348" y="20"/>
                    </a:lnTo>
                    <a:lnTo>
                      <a:pt x="347" y="19"/>
                    </a:lnTo>
                    <a:lnTo>
                      <a:pt x="348" y="19"/>
                    </a:lnTo>
                    <a:lnTo>
                      <a:pt x="349" y="18"/>
                    </a:lnTo>
                    <a:lnTo>
                      <a:pt x="350" y="18"/>
                    </a:lnTo>
                    <a:lnTo>
                      <a:pt x="350" y="17"/>
                    </a:lnTo>
                    <a:lnTo>
                      <a:pt x="350" y="18"/>
                    </a:lnTo>
                    <a:lnTo>
                      <a:pt x="351" y="17"/>
                    </a:lnTo>
                    <a:lnTo>
                      <a:pt x="350" y="18"/>
                    </a:lnTo>
                    <a:lnTo>
                      <a:pt x="350" y="17"/>
                    </a:lnTo>
                    <a:lnTo>
                      <a:pt x="350" y="16"/>
                    </a:lnTo>
                    <a:lnTo>
                      <a:pt x="350" y="15"/>
                    </a:lnTo>
                    <a:lnTo>
                      <a:pt x="350" y="14"/>
                    </a:lnTo>
                    <a:lnTo>
                      <a:pt x="350" y="12"/>
                    </a:lnTo>
                    <a:lnTo>
                      <a:pt x="350" y="11"/>
                    </a:lnTo>
                    <a:lnTo>
                      <a:pt x="350" y="10"/>
                    </a:lnTo>
                    <a:lnTo>
                      <a:pt x="351" y="10"/>
                    </a:lnTo>
                    <a:lnTo>
                      <a:pt x="352" y="11"/>
                    </a:lnTo>
                    <a:lnTo>
                      <a:pt x="353" y="11"/>
                    </a:lnTo>
                    <a:lnTo>
                      <a:pt x="353" y="12"/>
                    </a:lnTo>
                    <a:lnTo>
                      <a:pt x="355" y="12"/>
                    </a:lnTo>
                    <a:lnTo>
                      <a:pt x="355" y="13"/>
                    </a:lnTo>
                    <a:lnTo>
                      <a:pt x="356" y="13"/>
                    </a:lnTo>
                    <a:lnTo>
                      <a:pt x="356" y="14"/>
                    </a:lnTo>
                    <a:lnTo>
                      <a:pt x="356" y="15"/>
                    </a:lnTo>
                    <a:lnTo>
                      <a:pt x="356" y="14"/>
                    </a:lnTo>
                    <a:lnTo>
                      <a:pt x="357" y="14"/>
                    </a:lnTo>
                    <a:lnTo>
                      <a:pt x="357" y="15"/>
                    </a:lnTo>
                    <a:lnTo>
                      <a:pt x="358" y="15"/>
                    </a:lnTo>
                    <a:lnTo>
                      <a:pt x="359" y="14"/>
                    </a:lnTo>
                    <a:lnTo>
                      <a:pt x="359" y="15"/>
                    </a:lnTo>
                    <a:lnTo>
                      <a:pt x="359" y="16"/>
                    </a:lnTo>
                    <a:lnTo>
                      <a:pt x="360" y="16"/>
                    </a:lnTo>
                    <a:lnTo>
                      <a:pt x="360" y="15"/>
                    </a:lnTo>
                    <a:lnTo>
                      <a:pt x="359" y="15"/>
                    </a:lnTo>
                    <a:lnTo>
                      <a:pt x="359" y="14"/>
                    </a:lnTo>
                    <a:lnTo>
                      <a:pt x="358" y="14"/>
                    </a:lnTo>
                    <a:lnTo>
                      <a:pt x="357" y="14"/>
                    </a:lnTo>
                    <a:lnTo>
                      <a:pt x="357" y="13"/>
                    </a:lnTo>
                    <a:lnTo>
                      <a:pt x="357" y="12"/>
                    </a:lnTo>
                    <a:lnTo>
                      <a:pt x="357" y="11"/>
                    </a:lnTo>
                    <a:lnTo>
                      <a:pt x="357" y="10"/>
                    </a:lnTo>
                    <a:lnTo>
                      <a:pt x="358" y="10"/>
                    </a:lnTo>
                    <a:lnTo>
                      <a:pt x="358" y="9"/>
                    </a:lnTo>
                    <a:lnTo>
                      <a:pt x="358" y="7"/>
                    </a:lnTo>
                    <a:close/>
                    <a:moveTo>
                      <a:pt x="473" y="42"/>
                    </a:moveTo>
                    <a:lnTo>
                      <a:pt x="473" y="43"/>
                    </a:lnTo>
                    <a:lnTo>
                      <a:pt x="474" y="44"/>
                    </a:lnTo>
                    <a:lnTo>
                      <a:pt x="474" y="45"/>
                    </a:lnTo>
                    <a:lnTo>
                      <a:pt x="475" y="45"/>
                    </a:lnTo>
                    <a:lnTo>
                      <a:pt x="476" y="45"/>
                    </a:lnTo>
                    <a:lnTo>
                      <a:pt x="476" y="46"/>
                    </a:lnTo>
                    <a:lnTo>
                      <a:pt x="475" y="46"/>
                    </a:lnTo>
                    <a:lnTo>
                      <a:pt x="475" y="48"/>
                    </a:lnTo>
                    <a:lnTo>
                      <a:pt x="475" y="46"/>
                    </a:lnTo>
                    <a:lnTo>
                      <a:pt x="475" y="48"/>
                    </a:lnTo>
                    <a:lnTo>
                      <a:pt x="476" y="48"/>
                    </a:lnTo>
                    <a:lnTo>
                      <a:pt x="475" y="48"/>
                    </a:lnTo>
                    <a:lnTo>
                      <a:pt x="475" y="46"/>
                    </a:lnTo>
                    <a:lnTo>
                      <a:pt x="476" y="48"/>
                    </a:lnTo>
                    <a:lnTo>
                      <a:pt x="476" y="46"/>
                    </a:lnTo>
                    <a:lnTo>
                      <a:pt x="476" y="48"/>
                    </a:lnTo>
                    <a:lnTo>
                      <a:pt x="476" y="49"/>
                    </a:lnTo>
                    <a:lnTo>
                      <a:pt x="476" y="48"/>
                    </a:lnTo>
                    <a:lnTo>
                      <a:pt x="476" y="49"/>
                    </a:lnTo>
                    <a:lnTo>
                      <a:pt x="476" y="48"/>
                    </a:lnTo>
                    <a:lnTo>
                      <a:pt x="477" y="48"/>
                    </a:lnTo>
                    <a:lnTo>
                      <a:pt x="476" y="48"/>
                    </a:lnTo>
                    <a:lnTo>
                      <a:pt x="476" y="46"/>
                    </a:lnTo>
                    <a:lnTo>
                      <a:pt x="477" y="46"/>
                    </a:lnTo>
                    <a:lnTo>
                      <a:pt x="477" y="45"/>
                    </a:lnTo>
                    <a:lnTo>
                      <a:pt x="476" y="45"/>
                    </a:lnTo>
                    <a:lnTo>
                      <a:pt x="476" y="44"/>
                    </a:lnTo>
                    <a:lnTo>
                      <a:pt x="477" y="44"/>
                    </a:lnTo>
                    <a:lnTo>
                      <a:pt x="478" y="44"/>
                    </a:lnTo>
                    <a:lnTo>
                      <a:pt x="478" y="43"/>
                    </a:lnTo>
                    <a:lnTo>
                      <a:pt x="479" y="43"/>
                    </a:lnTo>
                    <a:lnTo>
                      <a:pt x="479" y="42"/>
                    </a:lnTo>
                    <a:lnTo>
                      <a:pt x="479" y="43"/>
                    </a:lnTo>
                    <a:lnTo>
                      <a:pt x="480" y="44"/>
                    </a:lnTo>
                    <a:lnTo>
                      <a:pt x="480" y="45"/>
                    </a:lnTo>
                    <a:lnTo>
                      <a:pt x="480" y="46"/>
                    </a:lnTo>
                    <a:lnTo>
                      <a:pt x="480" y="48"/>
                    </a:lnTo>
                    <a:lnTo>
                      <a:pt x="480" y="49"/>
                    </a:lnTo>
                    <a:lnTo>
                      <a:pt x="480" y="50"/>
                    </a:lnTo>
                    <a:lnTo>
                      <a:pt x="479" y="51"/>
                    </a:lnTo>
                    <a:lnTo>
                      <a:pt x="479" y="50"/>
                    </a:lnTo>
                    <a:lnTo>
                      <a:pt x="478" y="50"/>
                    </a:lnTo>
                    <a:lnTo>
                      <a:pt x="478" y="51"/>
                    </a:lnTo>
                    <a:lnTo>
                      <a:pt x="477" y="51"/>
                    </a:lnTo>
                    <a:lnTo>
                      <a:pt x="477" y="50"/>
                    </a:lnTo>
                    <a:lnTo>
                      <a:pt x="477" y="51"/>
                    </a:lnTo>
                    <a:lnTo>
                      <a:pt x="476" y="51"/>
                    </a:lnTo>
                    <a:lnTo>
                      <a:pt x="476" y="50"/>
                    </a:lnTo>
                    <a:lnTo>
                      <a:pt x="475" y="49"/>
                    </a:lnTo>
                    <a:lnTo>
                      <a:pt x="476" y="49"/>
                    </a:lnTo>
                    <a:lnTo>
                      <a:pt x="475" y="49"/>
                    </a:lnTo>
                    <a:lnTo>
                      <a:pt x="474" y="50"/>
                    </a:lnTo>
                    <a:lnTo>
                      <a:pt x="473" y="50"/>
                    </a:lnTo>
                    <a:lnTo>
                      <a:pt x="473" y="51"/>
                    </a:lnTo>
                    <a:lnTo>
                      <a:pt x="473" y="52"/>
                    </a:lnTo>
                    <a:lnTo>
                      <a:pt x="474" y="52"/>
                    </a:lnTo>
                    <a:lnTo>
                      <a:pt x="474" y="53"/>
                    </a:lnTo>
                    <a:lnTo>
                      <a:pt x="474" y="54"/>
                    </a:lnTo>
                    <a:lnTo>
                      <a:pt x="475" y="55"/>
                    </a:lnTo>
                    <a:lnTo>
                      <a:pt x="476" y="55"/>
                    </a:lnTo>
                    <a:lnTo>
                      <a:pt x="476" y="54"/>
                    </a:lnTo>
                    <a:lnTo>
                      <a:pt x="477" y="55"/>
                    </a:lnTo>
                    <a:lnTo>
                      <a:pt x="478" y="55"/>
                    </a:lnTo>
                    <a:lnTo>
                      <a:pt x="477" y="55"/>
                    </a:lnTo>
                    <a:lnTo>
                      <a:pt x="477" y="56"/>
                    </a:lnTo>
                    <a:lnTo>
                      <a:pt x="477" y="57"/>
                    </a:lnTo>
                    <a:lnTo>
                      <a:pt x="477" y="58"/>
                    </a:lnTo>
                    <a:lnTo>
                      <a:pt x="477" y="59"/>
                    </a:lnTo>
                    <a:lnTo>
                      <a:pt x="477" y="58"/>
                    </a:lnTo>
                    <a:lnTo>
                      <a:pt x="476" y="58"/>
                    </a:lnTo>
                    <a:lnTo>
                      <a:pt x="476" y="57"/>
                    </a:lnTo>
                    <a:lnTo>
                      <a:pt x="475" y="56"/>
                    </a:lnTo>
                    <a:lnTo>
                      <a:pt x="474" y="56"/>
                    </a:lnTo>
                    <a:lnTo>
                      <a:pt x="474" y="57"/>
                    </a:lnTo>
                    <a:lnTo>
                      <a:pt x="474" y="58"/>
                    </a:lnTo>
                    <a:lnTo>
                      <a:pt x="473" y="58"/>
                    </a:lnTo>
                    <a:lnTo>
                      <a:pt x="473" y="59"/>
                    </a:lnTo>
                    <a:lnTo>
                      <a:pt x="472" y="59"/>
                    </a:lnTo>
                    <a:lnTo>
                      <a:pt x="472" y="61"/>
                    </a:lnTo>
                    <a:lnTo>
                      <a:pt x="471" y="61"/>
                    </a:lnTo>
                    <a:lnTo>
                      <a:pt x="469" y="62"/>
                    </a:lnTo>
                    <a:lnTo>
                      <a:pt x="469" y="61"/>
                    </a:lnTo>
                    <a:lnTo>
                      <a:pt x="469" y="59"/>
                    </a:lnTo>
                    <a:lnTo>
                      <a:pt x="471" y="59"/>
                    </a:lnTo>
                    <a:lnTo>
                      <a:pt x="472" y="59"/>
                    </a:lnTo>
                    <a:lnTo>
                      <a:pt x="472" y="58"/>
                    </a:lnTo>
                    <a:lnTo>
                      <a:pt x="471" y="58"/>
                    </a:lnTo>
                    <a:lnTo>
                      <a:pt x="472" y="58"/>
                    </a:lnTo>
                    <a:lnTo>
                      <a:pt x="471" y="57"/>
                    </a:lnTo>
                    <a:lnTo>
                      <a:pt x="469" y="57"/>
                    </a:lnTo>
                    <a:lnTo>
                      <a:pt x="468" y="57"/>
                    </a:lnTo>
                    <a:lnTo>
                      <a:pt x="467" y="57"/>
                    </a:lnTo>
                    <a:lnTo>
                      <a:pt x="467" y="56"/>
                    </a:lnTo>
                    <a:lnTo>
                      <a:pt x="467" y="55"/>
                    </a:lnTo>
                    <a:lnTo>
                      <a:pt x="467" y="54"/>
                    </a:lnTo>
                    <a:lnTo>
                      <a:pt x="467" y="53"/>
                    </a:lnTo>
                    <a:lnTo>
                      <a:pt x="467" y="52"/>
                    </a:lnTo>
                    <a:lnTo>
                      <a:pt x="467" y="51"/>
                    </a:lnTo>
                    <a:lnTo>
                      <a:pt x="468" y="51"/>
                    </a:lnTo>
                    <a:lnTo>
                      <a:pt x="468" y="50"/>
                    </a:lnTo>
                    <a:lnTo>
                      <a:pt x="469" y="51"/>
                    </a:lnTo>
                    <a:lnTo>
                      <a:pt x="468" y="51"/>
                    </a:lnTo>
                    <a:lnTo>
                      <a:pt x="469" y="52"/>
                    </a:lnTo>
                    <a:lnTo>
                      <a:pt x="469" y="53"/>
                    </a:lnTo>
                    <a:lnTo>
                      <a:pt x="469" y="54"/>
                    </a:lnTo>
                    <a:lnTo>
                      <a:pt x="471" y="54"/>
                    </a:lnTo>
                    <a:lnTo>
                      <a:pt x="471" y="53"/>
                    </a:lnTo>
                    <a:lnTo>
                      <a:pt x="471" y="52"/>
                    </a:lnTo>
                    <a:lnTo>
                      <a:pt x="469" y="52"/>
                    </a:lnTo>
                    <a:lnTo>
                      <a:pt x="469" y="51"/>
                    </a:lnTo>
                    <a:lnTo>
                      <a:pt x="469" y="50"/>
                    </a:lnTo>
                    <a:lnTo>
                      <a:pt x="469" y="49"/>
                    </a:lnTo>
                    <a:lnTo>
                      <a:pt x="468" y="49"/>
                    </a:lnTo>
                    <a:lnTo>
                      <a:pt x="468" y="48"/>
                    </a:lnTo>
                    <a:lnTo>
                      <a:pt x="468" y="49"/>
                    </a:lnTo>
                    <a:lnTo>
                      <a:pt x="467" y="49"/>
                    </a:lnTo>
                    <a:lnTo>
                      <a:pt x="468" y="49"/>
                    </a:lnTo>
                    <a:lnTo>
                      <a:pt x="469" y="50"/>
                    </a:lnTo>
                    <a:lnTo>
                      <a:pt x="468" y="50"/>
                    </a:lnTo>
                    <a:lnTo>
                      <a:pt x="467" y="51"/>
                    </a:lnTo>
                    <a:lnTo>
                      <a:pt x="467" y="50"/>
                    </a:lnTo>
                    <a:lnTo>
                      <a:pt x="466" y="50"/>
                    </a:lnTo>
                    <a:lnTo>
                      <a:pt x="466" y="49"/>
                    </a:lnTo>
                    <a:lnTo>
                      <a:pt x="467" y="49"/>
                    </a:lnTo>
                    <a:lnTo>
                      <a:pt x="467" y="48"/>
                    </a:lnTo>
                    <a:lnTo>
                      <a:pt x="468" y="48"/>
                    </a:lnTo>
                    <a:lnTo>
                      <a:pt x="468" y="46"/>
                    </a:lnTo>
                    <a:lnTo>
                      <a:pt x="467" y="46"/>
                    </a:lnTo>
                    <a:lnTo>
                      <a:pt x="467" y="48"/>
                    </a:lnTo>
                    <a:lnTo>
                      <a:pt x="467" y="46"/>
                    </a:lnTo>
                    <a:lnTo>
                      <a:pt x="468" y="46"/>
                    </a:lnTo>
                    <a:lnTo>
                      <a:pt x="469" y="46"/>
                    </a:lnTo>
                    <a:lnTo>
                      <a:pt x="471" y="45"/>
                    </a:lnTo>
                    <a:lnTo>
                      <a:pt x="471" y="44"/>
                    </a:lnTo>
                    <a:lnTo>
                      <a:pt x="471" y="43"/>
                    </a:lnTo>
                    <a:lnTo>
                      <a:pt x="469" y="43"/>
                    </a:lnTo>
                    <a:lnTo>
                      <a:pt x="469" y="42"/>
                    </a:lnTo>
                    <a:lnTo>
                      <a:pt x="471" y="42"/>
                    </a:lnTo>
                    <a:lnTo>
                      <a:pt x="471" y="43"/>
                    </a:lnTo>
                    <a:lnTo>
                      <a:pt x="472" y="43"/>
                    </a:lnTo>
                    <a:lnTo>
                      <a:pt x="472" y="42"/>
                    </a:lnTo>
                    <a:lnTo>
                      <a:pt x="471" y="42"/>
                    </a:lnTo>
                    <a:lnTo>
                      <a:pt x="472" y="42"/>
                    </a:lnTo>
                    <a:lnTo>
                      <a:pt x="472" y="41"/>
                    </a:lnTo>
                    <a:lnTo>
                      <a:pt x="472" y="42"/>
                    </a:lnTo>
                    <a:lnTo>
                      <a:pt x="473" y="42"/>
                    </a:lnTo>
                    <a:close/>
                    <a:moveTo>
                      <a:pt x="299" y="316"/>
                    </a:moveTo>
                    <a:lnTo>
                      <a:pt x="300" y="318"/>
                    </a:lnTo>
                    <a:lnTo>
                      <a:pt x="300" y="316"/>
                    </a:lnTo>
                    <a:lnTo>
                      <a:pt x="300" y="318"/>
                    </a:lnTo>
                    <a:lnTo>
                      <a:pt x="300" y="319"/>
                    </a:lnTo>
                    <a:lnTo>
                      <a:pt x="301" y="319"/>
                    </a:lnTo>
                    <a:lnTo>
                      <a:pt x="301" y="320"/>
                    </a:lnTo>
                    <a:lnTo>
                      <a:pt x="301" y="321"/>
                    </a:lnTo>
                    <a:lnTo>
                      <a:pt x="301" y="322"/>
                    </a:lnTo>
                    <a:lnTo>
                      <a:pt x="303" y="323"/>
                    </a:lnTo>
                    <a:lnTo>
                      <a:pt x="303" y="324"/>
                    </a:lnTo>
                    <a:lnTo>
                      <a:pt x="303" y="325"/>
                    </a:lnTo>
                    <a:lnTo>
                      <a:pt x="303" y="326"/>
                    </a:lnTo>
                    <a:lnTo>
                      <a:pt x="304" y="325"/>
                    </a:lnTo>
                    <a:lnTo>
                      <a:pt x="305" y="326"/>
                    </a:lnTo>
                    <a:lnTo>
                      <a:pt x="306" y="326"/>
                    </a:lnTo>
                    <a:lnTo>
                      <a:pt x="306" y="327"/>
                    </a:lnTo>
                    <a:lnTo>
                      <a:pt x="305" y="327"/>
                    </a:lnTo>
                    <a:lnTo>
                      <a:pt x="305" y="328"/>
                    </a:lnTo>
                    <a:lnTo>
                      <a:pt x="306" y="328"/>
                    </a:lnTo>
                    <a:lnTo>
                      <a:pt x="307" y="327"/>
                    </a:lnTo>
                    <a:lnTo>
                      <a:pt x="306" y="327"/>
                    </a:lnTo>
                    <a:lnTo>
                      <a:pt x="306" y="326"/>
                    </a:lnTo>
                    <a:lnTo>
                      <a:pt x="307" y="326"/>
                    </a:lnTo>
                    <a:lnTo>
                      <a:pt x="307" y="325"/>
                    </a:lnTo>
                    <a:lnTo>
                      <a:pt x="307" y="326"/>
                    </a:lnTo>
                    <a:lnTo>
                      <a:pt x="308" y="327"/>
                    </a:lnTo>
                    <a:lnTo>
                      <a:pt x="308" y="328"/>
                    </a:lnTo>
                    <a:lnTo>
                      <a:pt x="309" y="328"/>
                    </a:lnTo>
                    <a:lnTo>
                      <a:pt x="308" y="329"/>
                    </a:lnTo>
                    <a:lnTo>
                      <a:pt x="307" y="328"/>
                    </a:lnTo>
                    <a:lnTo>
                      <a:pt x="307" y="329"/>
                    </a:lnTo>
                    <a:lnTo>
                      <a:pt x="306" y="329"/>
                    </a:lnTo>
                    <a:lnTo>
                      <a:pt x="305" y="331"/>
                    </a:lnTo>
                    <a:lnTo>
                      <a:pt x="304" y="331"/>
                    </a:lnTo>
                    <a:lnTo>
                      <a:pt x="303" y="331"/>
                    </a:lnTo>
                    <a:lnTo>
                      <a:pt x="301" y="329"/>
                    </a:lnTo>
                    <a:lnTo>
                      <a:pt x="301" y="328"/>
                    </a:lnTo>
                    <a:lnTo>
                      <a:pt x="300" y="328"/>
                    </a:lnTo>
                    <a:lnTo>
                      <a:pt x="299" y="328"/>
                    </a:lnTo>
                    <a:lnTo>
                      <a:pt x="299" y="329"/>
                    </a:lnTo>
                    <a:lnTo>
                      <a:pt x="299" y="331"/>
                    </a:lnTo>
                    <a:lnTo>
                      <a:pt x="299" y="332"/>
                    </a:lnTo>
                    <a:lnTo>
                      <a:pt x="300" y="332"/>
                    </a:lnTo>
                    <a:lnTo>
                      <a:pt x="300" y="333"/>
                    </a:lnTo>
                    <a:lnTo>
                      <a:pt x="299" y="333"/>
                    </a:lnTo>
                    <a:lnTo>
                      <a:pt x="298" y="333"/>
                    </a:lnTo>
                    <a:lnTo>
                      <a:pt x="298" y="334"/>
                    </a:lnTo>
                    <a:lnTo>
                      <a:pt x="297" y="334"/>
                    </a:lnTo>
                    <a:lnTo>
                      <a:pt x="295" y="334"/>
                    </a:lnTo>
                    <a:lnTo>
                      <a:pt x="295" y="333"/>
                    </a:lnTo>
                    <a:lnTo>
                      <a:pt x="296" y="333"/>
                    </a:lnTo>
                    <a:lnTo>
                      <a:pt x="297" y="333"/>
                    </a:lnTo>
                    <a:lnTo>
                      <a:pt x="297" y="332"/>
                    </a:lnTo>
                    <a:lnTo>
                      <a:pt x="297" y="331"/>
                    </a:lnTo>
                    <a:lnTo>
                      <a:pt x="297" y="329"/>
                    </a:lnTo>
                    <a:lnTo>
                      <a:pt x="297" y="328"/>
                    </a:lnTo>
                    <a:lnTo>
                      <a:pt x="296" y="328"/>
                    </a:lnTo>
                    <a:lnTo>
                      <a:pt x="295" y="328"/>
                    </a:lnTo>
                    <a:lnTo>
                      <a:pt x="294" y="328"/>
                    </a:lnTo>
                    <a:lnTo>
                      <a:pt x="294" y="327"/>
                    </a:lnTo>
                    <a:lnTo>
                      <a:pt x="293" y="327"/>
                    </a:lnTo>
                    <a:lnTo>
                      <a:pt x="294" y="326"/>
                    </a:lnTo>
                    <a:lnTo>
                      <a:pt x="293" y="327"/>
                    </a:lnTo>
                    <a:lnTo>
                      <a:pt x="294" y="327"/>
                    </a:lnTo>
                    <a:lnTo>
                      <a:pt x="294" y="326"/>
                    </a:lnTo>
                    <a:lnTo>
                      <a:pt x="294" y="327"/>
                    </a:lnTo>
                    <a:lnTo>
                      <a:pt x="295" y="327"/>
                    </a:lnTo>
                    <a:lnTo>
                      <a:pt x="296" y="327"/>
                    </a:lnTo>
                    <a:lnTo>
                      <a:pt x="296" y="326"/>
                    </a:lnTo>
                    <a:lnTo>
                      <a:pt x="296" y="325"/>
                    </a:lnTo>
                    <a:lnTo>
                      <a:pt x="297" y="325"/>
                    </a:lnTo>
                    <a:lnTo>
                      <a:pt x="297" y="326"/>
                    </a:lnTo>
                    <a:lnTo>
                      <a:pt x="298" y="326"/>
                    </a:lnTo>
                    <a:lnTo>
                      <a:pt x="298" y="325"/>
                    </a:lnTo>
                    <a:lnTo>
                      <a:pt x="298" y="326"/>
                    </a:lnTo>
                    <a:lnTo>
                      <a:pt x="297" y="326"/>
                    </a:lnTo>
                    <a:lnTo>
                      <a:pt x="298" y="325"/>
                    </a:lnTo>
                    <a:lnTo>
                      <a:pt x="297" y="325"/>
                    </a:lnTo>
                    <a:lnTo>
                      <a:pt x="296" y="325"/>
                    </a:lnTo>
                    <a:lnTo>
                      <a:pt x="295" y="325"/>
                    </a:lnTo>
                    <a:lnTo>
                      <a:pt x="296" y="325"/>
                    </a:lnTo>
                    <a:lnTo>
                      <a:pt x="295" y="324"/>
                    </a:lnTo>
                    <a:lnTo>
                      <a:pt x="295" y="325"/>
                    </a:lnTo>
                    <a:lnTo>
                      <a:pt x="294" y="325"/>
                    </a:lnTo>
                    <a:lnTo>
                      <a:pt x="294" y="324"/>
                    </a:lnTo>
                    <a:lnTo>
                      <a:pt x="294" y="323"/>
                    </a:lnTo>
                    <a:lnTo>
                      <a:pt x="293" y="323"/>
                    </a:lnTo>
                    <a:lnTo>
                      <a:pt x="292" y="322"/>
                    </a:lnTo>
                    <a:lnTo>
                      <a:pt x="293" y="322"/>
                    </a:lnTo>
                    <a:lnTo>
                      <a:pt x="293" y="321"/>
                    </a:lnTo>
                    <a:lnTo>
                      <a:pt x="292" y="321"/>
                    </a:lnTo>
                    <a:lnTo>
                      <a:pt x="292" y="322"/>
                    </a:lnTo>
                    <a:lnTo>
                      <a:pt x="292" y="321"/>
                    </a:lnTo>
                    <a:lnTo>
                      <a:pt x="293" y="321"/>
                    </a:lnTo>
                    <a:lnTo>
                      <a:pt x="293" y="320"/>
                    </a:lnTo>
                    <a:lnTo>
                      <a:pt x="294" y="320"/>
                    </a:lnTo>
                    <a:lnTo>
                      <a:pt x="295" y="320"/>
                    </a:lnTo>
                    <a:lnTo>
                      <a:pt x="295" y="319"/>
                    </a:lnTo>
                    <a:lnTo>
                      <a:pt x="296" y="319"/>
                    </a:lnTo>
                    <a:lnTo>
                      <a:pt x="296" y="320"/>
                    </a:lnTo>
                    <a:lnTo>
                      <a:pt x="297" y="320"/>
                    </a:lnTo>
                    <a:lnTo>
                      <a:pt x="297" y="319"/>
                    </a:lnTo>
                    <a:lnTo>
                      <a:pt x="297" y="320"/>
                    </a:lnTo>
                    <a:lnTo>
                      <a:pt x="297" y="319"/>
                    </a:lnTo>
                    <a:lnTo>
                      <a:pt x="297" y="318"/>
                    </a:lnTo>
                    <a:lnTo>
                      <a:pt x="297" y="316"/>
                    </a:lnTo>
                    <a:lnTo>
                      <a:pt x="298" y="316"/>
                    </a:lnTo>
                    <a:lnTo>
                      <a:pt x="299" y="316"/>
                    </a:lnTo>
                    <a:close/>
                    <a:moveTo>
                      <a:pt x="387" y="75"/>
                    </a:moveTo>
                    <a:lnTo>
                      <a:pt x="387" y="76"/>
                    </a:lnTo>
                    <a:lnTo>
                      <a:pt x="387" y="77"/>
                    </a:lnTo>
                    <a:lnTo>
                      <a:pt x="388" y="77"/>
                    </a:lnTo>
                    <a:lnTo>
                      <a:pt x="389" y="77"/>
                    </a:lnTo>
                    <a:lnTo>
                      <a:pt x="390" y="77"/>
                    </a:lnTo>
                    <a:lnTo>
                      <a:pt x="391" y="77"/>
                    </a:lnTo>
                    <a:lnTo>
                      <a:pt x="393" y="77"/>
                    </a:lnTo>
                    <a:lnTo>
                      <a:pt x="391" y="77"/>
                    </a:lnTo>
                    <a:lnTo>
                      <a:pt x="390" y="78"/>
                    </a:lnTo>
                    <a:lnTo>
                      <a:pt x="389" y="78"/>
                    </a:lnTo>
                    <a:lnTo>
                      <a:pt x="389" y="79"/>
                    </a:lnTo>
                    <a:lnTo>
                      <a:pt x="388" y="80"/>
                    </a:lnTo>
                    <a:lnTo>
                      <a:pt x="387" y="81"/>
                    </a:lnTo>
                    <a:lnTo>
                      <a:pt x="387" y="82"/>
                    </a:lnTo>
                    <a:lnTo>
                      <a:pt x="387" y="83"/>
                    </a:lnTo>
                    <a:lnTo>
                      <a:pt x="387" y="84"/>
                    </a:lnTo>
                    <a:lnTo>
                      <a:pt x="388" y="84"/>
                    </a:lnTo>
                    <a:lnTo>
                      <a:pt x="389" y="84"/>
                    </a:lnTo>
                    <a:lnTo>
                      <a:pt x="390" y="86"/>
                    </a:lnTo>
                    <a:lnTo>
                      <a:pt x="391" y="87"/>
                    </a:lnTo>
                    <a:lnTo>
                      <a:pt x="391" y="88"/>
                    </a:lnTo>
                    <a:lnTo>
                      <a:pt x="391" y="89"/>
                    </a:lnTo>
                    <a:lnTo>
                      <a:pt x="390" y="89"/>
                    </a:lnTo>
                    <a:lnTo>
                      <a:pt x="389" y="89"/>
                    </a:lnTo>
                    <a:lnTo>
                      <a:pt x="389" y="88"/>
                    </a:lnTo>
                    <a:lnTo>
                      <a:pt x="387" y="88"/>
                    </a:lnTo>
                    <a:lnTo>
                      <a:pt x="386" y="88"/>
                    </a:lnTo>
                    <a:lnTo>
                      <a:pt x="385" y="88"/>
                    </a:lnTo>
                    <a:lnTo>
                      <a:pt x="384" y="88"/>
                    </a:lnTo>
                    <a:lnTo>
                      <a:pt x="383" y="88"/>
                    </a:lnTo>
                    <a:lnTo>
                      <a:pt x="382" y="89"/>
                    </a:lnTo>
                    <a:lnTo>
                      <a:pt x="382" y="88"/>
                    </a:lnTo>
                    <a:lnTo>
                      <a:pt x="382" y="87"/>
                    </a:lnTo>
                    <a:lnTo>
                      <a:pt x="382" y="86"/>
                    </a:lnTo>
                    <a:lnTo>
                      <a:pt x="382" y="84"/>
                    </a:lnTo>
                    <a:lnTo>
                      <a:pt x="381" y="84"/>
                    </a:lnTo>
                    <a:lnTo>
                      <a:pt x="382" y="84"/>
                    </a:lnTo>
                    <a:lnTo>
                      <a:pt x="382" y="83"/>
                    </a:lnTo>
                    <a:lnTo>
                      <a:pt x="382" y="82"/>
                    </a:lnTo>
                    <a:lnTo>
                      <a:pt x="383" y="82"/>
                    </a:lnTo>
                    <a:lnTo>
                      <a:pt x="383" y="81"/>
                    </a:lnTo>
                    <a:lnTo>
                      <a:pt x="383" y="82"/>
                    </a:lnTo>
                    <a:lnTo>
                      <a:pt x="382" y="81"/>
                    </a:lnTo>
                    <a:lnTo>
                      <a:pt x="382" y="80"/>
                    </a:lnTo>
                    <a:lnTo>
                      <a:pt x="381" y="80"/>
                    </a:lnTo>
                    <a:lnTo>
                      <a:pt x="381" y="79"/>
                    </a:lnTo>
                    <a:lnTo>
                      <a:pt x="381" y="78"/>
                    </a:lnTo>
                    <a:lnTo>
                      <a:pt x="381" y="77"/>
                    </a:lnTo>
                    <a:lnTo>
                      <a:pt x="380" y="77"/>
                    </a:lnTo>
                    <a:lnTo>
                      <a:pt x="381" y="78"/>
                    </a:lnTo>
                    <a:lnTo>
                      <a:pt x="380" y="78"/>
                    </a:lnTo>
                    <a:lnTo>
                      <a:pt x="381" y="78"/>
                    </a:lnTo>
                    <a:lnTo>
                      <a:pt x="381" y="79"/>
                    </a:lnTo>
                    <a:lnTo>
                      <a:pt x="381" y="78"/>
                    </a:lnTo>
                    <a:lnTo>
                      <a:pt x="380" y="79"/>
                    </a:lnTo>
                    <a:lnTo>
                      <a:pt x="380" y="80"/>
                    </a:lnTo>
                    <a:lnTo>
                      <a:pt x="378" y="80"/>
                    </a:lnTo>
                    <a:lnTo>
                      <a:pt x="378" y="81"/>
                    </a:lnTo>
                    <a:lnTo>
                      <a:pt x="378" y="80"/>
                    </a:lnTo>
                    <a:lnTo>
                      <a:pt x="377" y="80"/>
                    </a:lnTo>
                    <a:lnTo>
                      <a:pt x="377" y="81"/>
                    </a:lnTo>
                    <a:lnTo>
                      <a:pt x="376" y="81"/>
                    </a:lnTo>
                    <a:lnTo>
                      <a:pt x="375" y="81"/>
                    </a:lnTo>
                    <a:lnTo>
                      <a:pt x="375" y="82"/>
                    </a:lnTo>
                    <a:lnTo>
                      <a:pt x="374" y="82"/>
                    </a:lnTo>
                    <a:lnTo>
                      <a:pt x="374" y="81"/>
                    </a:lnTo>
                    <a:lnTo>
                      <a:pt x="373" y="81"/>
                    </a:lnTo>
                    <a:lnTo>
                      <a:pt x="372" y="81"/>
                    </a:lnTo>
                    <a:lnTo>
                      <a:pt x="372" y="80"/>
                    </a:lnTo>
                    <a:lnTo>
                      <a:pt x="371" y="79"/>
                    </a:lnTo>
                    <a:lnTo>
                      <a:pt x="372" y="79"/>
                    </a:lnTo>
                    <a:lnTo>
                      <a:pt x="372" y="78"/>
                    </a:lnTo>
                    <a:lnTo>
                      <a:pt x="373" y="78"/>
                    </a:lnTo>
                    <a:lnTo>
                      <a:pt x="374" y="78"/>
                    </a:lnTo>
                    <a:lnTo>
                      <a:pt x="375" y="78"/>
                    </a:lnTo>
                    <a:lnTo>
                      <a:pt x="376" y="78"/>
                    </a:lnTo>
                    <a:lnTo>
                      <a:pt x="377" y="78"/>
                    </a:lnTo>
                    <a:lnTo>
                      <a:pt x="378" y="78"/>
                    </a:lnTo>
                    <a:lnTo>
                      <a:pt x="380" y="78"/>
                    </a:lnTo>
                    <a:lnTo>
                      <a:pt x="380" y="77"/>
                    </a:lnTo>
                    <a:lnTo>
                      <a:pt x="380" y="76"/>
                    </a:lnTo>
                    <a:lnTo>
                      <a:pt x="381" y="76"/>
                    </a:lnTo>
                    <a:lnTo>
                      <a:pt x="382" y="76"/>
                    </a:lnTo>
                    <a:lnTo>
                      <a:pt x="381" y="77"/>
                    </a:lnTo>
                    <a:lnTo>
                      <a:pt x="382" y="78"/>
                    </a:lnTo>
                    <a:lnTo>
                      <a:pt x="383" y="79"/>
                    </a:lnTo>
                    <a:lnTo>
                      <a:pt x="382" y="78"/>
                    </a:lnTo>
                    <a:lnTo>
                      <a:pt x="381" y="77"/>
                    </a:lnTo>
                    <a:lnTo>
                      <a:pt x="382" y="76"/>
                    </a:lnTo>
                    <a:lnTo>
                      <a:pt x="383" y="76"/>
                    </a:lnTo>
                    <a:lnTo>
                      <a:pt x="383" y="77"/>
                    </a:lnTo>
                    <a:lnTo>
                      <a:pt x="383" y="78"/>
                    </a:lnTo>
                    <a:lnTo>
                      <a:pt x="384" y="78"/>
                    </a:lnTo>
                    <a:lnTo>
                      <a:pt x="384" y="79"/>
                    </a:lnTo>
                    <a:lnTo>
                      <a:pt x="384" y="78"/>
                    </a:lnTo>
                    <a:lnTo>
                      <a:pt x="384" y="77"/>
                    </a:lnTo>
                    <a:lnTo>
                      <a:pt x="385" y="77"/>
                    </a:lnTo>
                    <a:lnTo>
                      <a:pt x="385" y="76"/>
                    </a:lnTo>
                    <a:lnTo>
                      <a:pt x="384" y="76"/>
                    </a:lnTo>
                    <a:lnTo>
                      <a:pt x="385" y="76"/>
                    </a:lnTo>
                    <a:lnTo>
                      <a:pt x="386" y="76"/>
                    </a:lnTo>
                    <a:lnTo>
                      <a:pt x="386" y="75"/>
                    </a:lnTo>
                    <a:lnTo>
                      <a:pt x="387" y="75"/>
                    </a:lnTo>
                    <a:close/>
                    <a:moveTo>
                      <a:pt x="442" y="206"/>
                    </a:moveTo>
                    <a:lnTo>
                      <a:pt x="445" y="206"/>
                    </a:lnTo>
                    <a:lnTo>
                      <a:pt x="445" y="207"/>
                    </a:lnTo>
                    <a:lnTo>
                      <a:pt x="445" y="208"/>
                    </a:lnTo>
                    <a:lnTo>
                      <a:pt x="445" y="207"/>
                    </a:lnTo>
                    <a:lnTo>
                      <a:pt x="446" y="207"/>
                    </a:lnTo>
                    <a:lnTo>
                      <a:pt x="446" y="206"/>
                    </a:lnTo>
                    <a:lnTo>
                      <a:pt x="446" y="207"/>
                    </a:lnTo>
                    <a:lnTo>
                      <a:pt x="447" y="207"/>
                    </a:lnTo>
                    <a:lnTo>
                      <a:pt x="447" y="206"/>
                    </a:lnTo>
                    <a:lnTo>
                      <a:pt x="447" y="207"/>
                    </a:lnTo>
                    <a:lnTo>
                      <a:pt x="448" y="207"/>
                    </a:lnTo>
                    <a:lnTo>
                      <a:pt x="448" y="205"/>
                    </a:lnTo>
                    <a:lnTo>
                      <a:pt x="449" y="204"/>
                    </a:lnTo>
                    <a:lnTo>
                      <a:pt x="450" y="204"/>
                    </a:lnTo>
                    <a:lnTo>
                      <a:pt x="451" y="204"/>
                    </a:lnTo>
                    <a:lnTo>
                      <a:pt x="452" y="204"/>
                    </a:lnTo>
                    <a:lnTo>
                      <a:pt x="453" y="205"/>
                    </a:lnTo>
                    <a:lnTo>
                      <a:pt x="453" y="204"/>
                    </a:lnTo>
                    <a:lnTo>
                      <a:pt x="453" y="205"/>
                    </a:lnTo>
                    <a:lnTo>
                      <a:pt x="453" y="206"/>
                    </a:lnTo>
                    <a:lnTo>
                      <a:pt x="453" y="207"/>
                    </a:lnTo>
                    <a:lnTo>
                      <a:pt x="453" y="208"/>
                    </a:lnTo>
                    <a:lnTo>
                      <a:pt x="453" y="209"/>
                    </a:lnTo>
                    <a:lnTo>
                      <a:pt x="453" y="210"/>
                    </a:lnTo>
                    <a:lnTo>
                      <a:pt x="453" y="209"/>
                    </a:lnTo>
                    <a:lnTo>
                      <a:pt x="453" y="208"/>
                    </a:lnTo>
                    <a:lnTo>
                      <a:pt x="452" y="208"/>
                    </a:lnTo>
                    <a:lnTo>
                      <a:pt x="451" y="208"/>
                    </a:lnTo>
                    <a:lnTo>
                      <a:pt x="450" y="208"/>
                    </a:lnTo>
                    <a:lnTo>
                      <a:pt x="449" y="209"/>
                    </a:lnTo>
                    <a:lnTo>
                      <a:pt x="448" y="209"/>
                    </a:lnTo>
                    <a:lnTo>
                      <a:pt x="448" y="210"/>
                    </a:lnTo>
                    <a:lnTo>
                      <a:pt x="449" y="210"/>
                    </a:lnTo>
                    <a:lnTo>
                      <a:pt x="450" y="210"/>
                    </a:lnTo>
                    <a:lnTo>
                      <a:pt x="450" y="209"/>
                    </a:lnTo>
                    <a:lnTo>
                      <a:pt x="449" y="209"/>
                    </a:lnTo>
                    <a:lnTo>
                      <a:pt x="450" y="209"/>
                    </a:lnTo>
                    <a:lnTo>
                      <a:pt x="450" y="208"/>
                    </a:lnTo>
                    <a:lnTo>
                      <a:pt x="451" y="208"/>
                    </a:lnTo>
                    <a:lnTo>
                      <a:pt x="452" y="208"/>
                    </a:lnTo>
                    <a:lnTo>
                      <a:pt x="452" y="209"/>
                    </a:lnTo>
                    <a:lnTo>
                      <a:pt x="452" y="208"/>
                    </a:lnTo>
                    <a:lnTo>
                      <a:pt x="452" y="209"/>
                    </a:lnTo>
                    <a:lnTo>
                      <a:pt x="453" y="209"/>
                    </a:lnTo>
                    <a:lnTo>
                      <a:pt x="452" y="209"/>
                    </a:lnTo>
                    <a:lnTo>
                      <a:pt x="453" y="210"/>
                    </a:lnTo>
                    <a:lnTo>
                      <a:pt x="453" y="211"/>
                    </a:lnTo>
                    <a:lnTo>
                      <a:pt x="453" y="212"/>
                    </a:lnTo>
                    <a:lnTo>
                      <a:pt x="454" y="212"/>
                    </a:lnTo>
                    <a:lnTo>
                      <a:pt x="454" y="213"/>
                    </a:lnTo>
                    <a:lnTo>
                      <a:pt x="454" y="215"/>
                    </a:lnTo>
                    <a:lnTo>
                      <a:pt x="454" y="216"/>
                    </a:lnTo>
                    <a:lnTo>
                      <a:pt x="454" y="217"/>
                    </a:lnTo>
                    <a:lnTo>
                      <a:pt x="453" y="218"/>
                    </a:lnTo>
                    <a:lnTo>
                      <a:pt x="452" y="219"/>
                    </a:lnTo>
                    <a:lnTo>
                      <a:pt x="451" y="219"/>
                    </a:lnTo>
                    <a:lnTo>
                      <a:pt x="450" y="218"/>
                    </a:lnTo>
                    <a:lnTo>
                      <a:pt x="449" y="217"/>
                    </a:lnTo>
                    <a:lnTo>
                      <a:pt x="449" y="218"/>
                    </a:lnTo>
                    <a:lnTo>
                      <a:pt x="449" y="217"/>
                    </a:lnTo>
                    <a:lnTo>
                      <a:pt x="448" y="217"/>
                    </a:lnTo>
                    <a:lnTo>
                      <a:pt x="447" y="217"/>
                    </a:lnTo>
                    <a:lnTo>
                      <a:pt x="446" y="218"/>
                    </a:lnTo>
                    <a:lnTo>
                      <a:pt x="445" y="218"/>
                    </a:lnTo>
                    <a:lnTo>
                      <a:pt x="445" y="217"/>
                    </a:lnTo>
                    <a:lnTo>
                      <a:pt x="446" y="217"/>
                    </a:lnTo>
                    <a:lnTo>
                      <a:pt x="446" y="216"/>
                    </a:lnTo>
                    <a:lnTo>
                      <a:pt x="446" y="217"/>
                    </a:lnTo>
                    <a:lnTo>
                      <a:pt x="447" y="217"/>
                    </a:lnTo>
                    <a:lnTo>
                      <a:pt x="448" y="217"/>
                    </a:lnTo>
                    <a:lnTo>
                      <a:pt x="449" y="217"/>
                    </a:lnTo>
                    <a:lnTo>
                      <a:pt x="449" y="216"/>
                    </a:lnTo>
                    <a:lnTo>
                      <a:pt x="448" y="216"/>
                    </a:lnTo>
                    <a:lnTo>
                      <a:pt x="449" y="215"/>
                    </a:lnTo>
                    <a:lnTo>
                      <a:pt x="450" y="216"/>
                    </a:lnTo>
                    <a:lnTo>
                      <a:pt x="450" y="217"/>
                    </a:lnTo>
                    <a:lnTo>
                      <a:pt x="450" y="218"/>
                    </a:lnTo>
                    <a:lnTo>
                      <a:pt x="451" y="218"/>
                    </a:lnTo>
                    <a:lnTo>
                      <a:pt x="451" y="219"/>
                    </a:lnTo>
                    <a:lnTo>
                      <a:pt x="452" y="219"/>
                    </a:lnTo>
                    <a:lnTo>
                      <a:pt x="453" y="218"/>
                    </a:lnTo>
                    <a:lnTo>
                      <a:pt x="453" y="217"/>
                    </a:lnTo>
                    <a:lnTo>
                      <a:pt x="453" y="216"/>
                    </a:lnTo>
                    <a:lnTo>
                      <a:pt x="452" y="216"/>
                    </a:lnTo>
                    <a:lnTo>
                      <a:pt x="451" y="216"/>
                    </a:lnTo>
                    <a:lnTo>
                      <a:pt x="450" y="215"/>
                    </a:lnTo>
                    <a:lnTo>
                      <a:pt x="450" y="213"/>
                    </a:lnTo>
                    <a:lnTo>
                      <a:pt x="449" y="213"/>
                    </a:lnTo>
                    <a:lnTo>
                      <a:pt x="448" y="213"/>
                    </a:lnTo>
                    <a:lnTo>
                      <a:pt x="447" y="213"/>
                    </a:lnTo>
                    <a:lnTo>
                      <a:pt x="447" y="212"/>
                    </a:lnTo>
                    <a:lnTo>
                      <a:pt x="446" y="212"/>
                    </a:lnTo>
                    <a:lnTo>
                      <a:pt x="445" y="212"/>
                    </a:lnTo>
                    <a:lnTo>
                      <a:pt x="443" y="212"/>
                    </a:lnTo>
                    <a:lnTo>
                      <a:pt x="443" y="211"/>
                    </a:lnTo>
                    <a:lnTo>
                      <a:pt x="442" y="211"/>
                    </a:lnTo>
                    <a:lnTo>
                      <a:pt x="441" y="211"/>
                    </a:lnTo>
                    <a:lnTo>
                      <a:pt x="442" y="211"/>
                    </a:lnTo>
                    <a:lnTo>
                      <a:pt x="442" y="210"/>
                    </a:lnTo>
                    <a:lnTo>
                      <a:pt x="443" y="211"/>
                    </a:lnTo>
                    <a:lnTo>
                      <a:pt x="443" y="210"/>
                    </a:lnTo>
                    <a:lnTo>
                      <a:pt x="445" y="210"/>
                    </a:lnTo>
                    <a:lnTo>
                      <a:pt x="446" y="210"/>
                    </a:lnTo>
                    <a:lnTo>
                      <a:pt x="446" y="209"/>
                    </a:lnTo>
                    <a:lnTo>
                      <a:pt x="445" y="208"/>
                    </a:lnTo>
                    <a:lnTo>
                      <a:pt x="443" y="208"/>
                    </a:lnTo>
                    <a:lnTo>
                      <a:pt x="442" y="209"/>
                    </a:lnTo>
                    <a:lnTo>
                      <a:pt x="442" y="208"/>
                    </a:lnTo>
                    <a:lnTo>
                      <a:pt x="442" y="209"/>
                    </a:lnTo>
                    <a:lnTo>
                      <a:pt x="441" y="209"/>
                    </a:lnTo>
                    <a:lnTo>
                      <a:pt x="440" y="208"/>
                    </a:lnTo>
                    <a:lnTo>
                      <a:pt x="441" y="208"/>
                    </a:lnTo>
                    <a:lnTo>
                      <a:pt x="442" y="208"/>
                    </a:lnTo>
                    <a:lnTo>
                      <a:pt x="442" y="207"/>
                    </a:lnTo>
                    <a:lnTo>
                      <a:pt x="441" y="206"/>
                    </a:lnTo>
                    <a:lnTo>
                      <a:pt x="440" y="206"/>
                    </a:lnTo>
                    <a:lnTo>
                      <a:pt x="439" y="207"/>
                    </a:lnTo>
                    <a:lnTo>
                      <a:pt x="438" y="207"/>
                    </a:lnTo>
                    <a:lnTo>
                      <a:pt x="437" y="207"/>
                    </a:lnTo>
                    <a:lnTo>
                      <a:pt x="436" y="207"/>
                    </a:lnTo>
                    <a:lnTo>
                      <a:pt x="435" y="207"/>
                    </a:lnTo>
                    <a:lnTo>
                      <a:pt x="434" y="206"/>
                    </a:lnTo>
                    <a:lnTo>
                      <a:pt x="433" y="206"/>
                    </a:lnTo>
                    <a:lnTo>
                      <a:pt x="433" y="207"/>
                    </a:lnTo>
                    <a:lnTo>
                      <a:pt x="433" y="206"/>
                    </a:lnTo>
                    <a:lnTo>
                      <a:pt x="432" y="205"/>
                    </a:lnTo>
                    <a:lnTo>
                      <a:pt x="433" y="205"/>
                    </a:lnTo>
                    <a:lnTo>
                      <a:pt x="433" y="206"/>
                    </a:lnTo>
                    <a:lnTo>
                      <a:pt x="434" y="206"/>
                    </a:lnTo>
                    <a:lnTo>
                      <a:pt x="435" y="206"/>
                    </a:lnTo>
                    <a:lnTo>
                      <a:pt x="436" y="206"/>
                    </a:lnTo>
                    <a:lnTo>
                      <a:pt x="437" y="207"/>
                    </a:lnTo>
                    <a:lnTo>
                      <a:pt x="437" y="206"/>
                    </a:lnTo>
                    <a:lnTo>
                      <a:pt x="437" y="205"/>
                    </a:lnTo>
                    <a:lnTo>
                      <a:pt x="438" y="205"/>
                    </a:lnTo>
                    <a:lnTo>
                      <a:pt x="438" y="204"/>
                    </a:lnTo>
                    <a:lnTo>
                      <a:pt x="437" y="204"/>
                    </a:lnTo>
                    <a:lnTo>
                      <a:pt x="437" y="203"/>
                    </a:lnTo>
                    <a:lnTo>
                      <a:pt x="438" y="203"/>
                    </a:lnTo>
                    <a:lnTo>
                      <a:pt x="439" y="203"/>
                    </a:lnTo>
                    <a:lnTo>
                      <a:pt x="440" y="204"/>
                    </a:lnTo>
                    <a:lnTo>
                      <a:pt x="441" y="205"/>
                    </a:lnTo>
                    <a:lnTo>
                      <a:pt x="442" y="206"/>
                    </a:lnTo>
                    <a:close/>
                    <a:moveTo>
                      <a:pt x="424" y="69"/>
                    </a:moveTo>
                    <a:lnTo>
                      <a:pt x="425" y="70"/>
                    </a:lnTo>
                    <a:lnTo>
                      <a:pt x="426" y="70"/>
                    </a:lnTo>
                    <a:lnTo>
                      <a:pt x="426" y="71"/>
                    </a:lnTo>
                    <a:lnTo>
                      <a:pt x="427" y="71"/>
                    </a:lnTo>
                    <a:lnTo>
                      <a:pt x="428" y="71"/>
                    </a:lnTo>
                    <a:lnTo>
                      <a:pt x="429" y="71"/>
                    </a:lnTo>
                    <a:lnTo>
                      <a:pt x="429" y="70"/>
                    </a:lnTo>
                    <a:lnTo>
                      <a:pt x="430" y="70"/>
                    </a:lnTo>
                    <a:lnTo>
                      <a:pt x="430" y="69"/>
                    </a:lnTo>
                    <a:lnTo>
                      <a:pt x="430" y="68"/>
                    </a:lnTo>
                    <a:lnTo>
                      <a:pt x="432" y="68"/>
                    </a:lnTo>
                    <a:lnTo>
                      <a:pt x="432" y="69"/>
                    </a:lnTo>
                    <a:lnTo>
                      <a:pt x="432" y="70"/>
                    </a:lnTo>
                    <a:lnTo>
                      <a:pt x="433" y="71"/>
                    </a:lnTo>
                    <a:lnTo>
                      <a:pt x="433" y="72"/>
                    </a:lnTo>
                    <a:lnTo>
                      <a:pt x="432" y="72"/>
                    </a:lnTo>
                    <a:lnTo>
                      <a:pt x="432" y="74"/>
                    </a:lnTo>
                    <a:lnTo>
                      <a:pt x="430" y="74"/>
                    </a:lnTo>
                    <a:lnTo>
                      <a:pt x="429" y="75"/>
                    </a:lnTo>
                    <a:lnTo>
                      <a:pt x="429" y="76"/>
                    </a:lnTo>
                    <a:lnTo>
                      <a:pt x="429" y="75"/>
                    </a:lnTo>
                    <a:lnTo>
                      <a:pt x="429" y="74"/>
                    </a:lnTo>
                    <a:lnTo>
                      <a:pt x="429" y="72"/>
                    </a:lnTo>
                    <a:lnTo>
                      <a:pt x="429" y="71"/>
                    </a:lnTo>
                    <a:lnTo>
                      <a:pt x="428" y="71"/>
                    </a:lnTo>
                    <a:lnTo>
                      <a:pt x="427" y="71"/>
                    </a:lnTo>
                    <a:lnTo>
                      <a:pt x="427" y="72"/>
                    </a:lnTo>
                    <a:lnTo>
                      <a:pt x="426" y="72"/>
                    </a:lnTo>
                    <a:lnTo>
                      <a:pt x="425" y="72"/>
                    </a:lnTo>
                    <a:lnTo>
                      <a:pt x="425" y="71"/>
                    </a:lnTo>
                    <a:lnTo>
                      <a:pt x="426" y="71"/>
                    </a:lnTo>
                    <a:lnTo>
                      <a:pt x="425" y="71"/>
                    </a:lnTo>
                    <a:lnTo>
                      <a:pt x="424" y="72"/>
                    </a:lnTo>
                    <a:lnTo>
                      <a:pt x="424" y="74"/>
                    </a:lnTo>
                    <a:lnTo>
                      <a:pt x="423" y="72"/>
                    </a:lnTo>
                    <a:lnTo>
                      <a:pt x="422" y="72"/>
                    </a:lnTo>
                    <a:lnTo>
                      <a:pt x="422" y="74"/>
                    </a:lnTo>
                    <a:lnTo>
                      <a:pt x="421" y="74"/>
                    </a:lnTo>
                    <a:lnTo>
                      <a:pt x="420" y="74"/>
                    </a:lnTo>
                    <a:lnTo>
                      <a:pt x="420" y="75"/>
                    </a:lnTo>
                    <a:lnTo>
                      <a:pt x="419" y="75"/>
                    </a:lnTo>
                    <a:lnTo>
                      <a:pt x="419" y="76"/>
                    </a:lnTo>
                    <a:lnTo>
                      <a:pt x="419" y="77"/>
                    </a:lnTo>
                    <a:lnTo>
                      <a:pt x="419" y="78"/>
                    </a:lnTo>
                    <a:lnTo>
                      <a:pt x="417" y="78"/>
                    </a:lnTo>
                    <a:lnTo>
                      <a:pt x="417" y="79"/>
                    </a:lnTo>
                    <a:lnTo>
                      <a:pt x="417" y="80"/>
                    </a:lnTo>
                    <a:lnTo>
                      <a:pt x="417" y="81"/>
                    </a:lnTo>
                    <a:lnTo>
                      <a:pt x="419" y="82"/>
                    </a:lnTo>
                    <a:lnTo>
                      <a:pt x="417" y="82"/>
                    </a:lnTo>
                    <a:lnTo>
                      <a:pt x="417" y="83"/>
                    </a:lnTo>
                    <a:lnTo>
                      <a:pt x="417" y="84"/>
                    </a:lnTo>
                    <a:lnTo>
                      <a:pt x="419" y="84"/>
                    </a:lnTo>
                    <a:lnTo>
                      <a:pt x="419" y="86"/>
                    </a:lnTo>
                    <a:lnTo>
                      <a:pt x="420" y="86"/>
                    </a:lnTo>
                    <a:lnTo>
                      <a:pt x="419" y="86"/>
                    </a:lnTo>
                    <a:lnTo>
                      <a:pt x="417" y="86"/>
                    </a:lnTo>
                    <a:lnTo>
                      <a:pt x="417" y="87"/>
                    </a:lnTo>
                    <a:lnTo>
                      <a:pt x="416" y="87"/>
                    </a:lnTo>
                    <a:lnTo>
                      <a:pt x="416" y="86"/>
                    </a:lnTo>
                    <a:lnTo>
                      <a:pt x="415" y="86"/>
                    </a:lnTo>
                    <a:lnTo>
                      <a:pt x="415" y="84"/>
                    </a:lnTo>
                    <a:lnTo>
                      <a:pt x="416" y="84"/>
                    </a:lnTo>
                    <a:lnTo>
                      <a:pt x="415" y="84"/>
                    </a:lnTo>
                    <a:lnTo>
                      <a:pt x="415" y="83"/>
                    </a:lnTo>
                    <a:lnTo>
                      <a:pt x="414" y="83"/>
                    </a:lnTo>
                    <a:lnTo>
                      <a:pt x="414" y="82"/>
                    </a:lnTo>
                    <a:lnTo>
                      <a:pt x="413" y="82"/>
                    </a:lnTo>
                    <a:lnTo>
                      <a:pt x="413" y="81"/>
                    </a:lnTo>
                    <a:lnTo>
                      <a:pt x="412" y="80"/>
                    </a:lnTo>
                    <a:lnTo>
                      <a:pt x="413" y="80"/>
                    </a:lnTo>
                    <a:lnTo>
                      <a:pt x="414" y="80"/>
                    </a:lnTo>
                    <a:lnTo>
                      <a:pt x="414" y="81"/>
                    </a:lnTo>
                    <a:lnTo>
                      <a:pt x="415" y="81"/>
                    </a:lnTo>
                    <a:lnTo>
                      <a:pt x="415" y="80"/>
                    </a:lnTo>
                    <a:lnTo>
                      <a:pt x="415" y="79"/>
                    </a:lnTo>
                    <a:lnTo>
                      <a:pt x="414" y="79"/>
                    </a:lnTo>
                    <a:lnTo>
                      <a:pt x="415" y="79"/>
                    </a:lnTo>
                    <a:lnTo>
                      <a:pt x="414" y="79"/>
                    </a:lnTo>
                    <a:lnTo>
                      <a:pt x="414" y="78"/>
                    </a:lnTo>
                    <a:lnTo>
                      <a:pt x="414" y="77"/>
                    </a:lnTo>
                    <a:lnTo>
                      <a:pt x="414" y="76"/>
                    </a:lnTo>
                    <a:lnTo>
                      <a:pt x="415" y="76"/>
                    </a:lnTo>
                    <a:lnTo>
                      <a:pt x="415" y="75"/>
                    </a:lnTo>
                    <a:lnTo>
                      <a:pt x="415" y="74"/>
                    </a:lnTo>
                    <a:lnTo>
                      <a:pt x="416" y="74"/>
                    </a:lnTo>
                    <a:lnTo>
                      <a:pt x="415" y="72"/>
                    </a:lnTo>
                    <a:lnTo>
                      <a:pt x="416" y="71"/>
                    </a:lnTo>
                    <a:lnTo>
                      <a:pt x="415" y="71"/>
                    </a:lnTo>
                    <a:lnTo>
                      <a:pt x="415" y="70"/>
                    </a:lnTo>
                    <a:lnTo>
                      <a:pt x="416" y="69"/>
                    </a:lnTo>
                    <a:lnTo>
                      <a:pt x="417" y="69"/>
                    </a:lnTo>
                    <a:lnTo>
                      <a:pt x="419" y="69"/>
                    </a:lnTo>
                    <a:lnTo>
                      <a:pt x="420" y="69"/>
                    </a:lnTo>
                    <a:lnTo>
                      <a:pt x="420" y="68"/>
                    </a:lnTo>
                    <a:lnTo>
                      <a:pt x="421" y="68"/>
                    </a:lnTo>
                    <a:lnTo>
                      <a:pt x="421" y="67"/>
                    </a:lnTo>
                    <a:lnTo>
                      <a:pt x="422" y="67"/>
                    </a:lnTo>
                    <a:lnTo>
                      <a:pt x="422" y="66"/>
                    </a:lnTo>
                    <a:lnTo>
                      <a:pt x="422" y="67"/>
                    </a:lnTo>
                    <a:lnTo>
                      <a:pt x="423" y="67"/>
                    </a:lnTo>
                    <a:lnTo>
                      <a:pt x="423" y="68"/>
                    </a:lnTo>
                    <a:lnTo>
                      <a:pt x="424" y="69"/>
                    </a:lnTo>
                    <a:close/>
                    <a:moveTo>
                      <a:pt x="369" y="84"/>
                    </a:moveTo>
                    <a:lnTo>
                      <a:pt x="369" y="86"/>
                    </a:lnTo>
                    <a:lnTo>
                      <a:pt x="369" y="84"/>
                    </a:lnTo>
                    <a:lnTo>
                      <a:pt x="369" y="86"/>
                    </a:lnTo>
                    <a:lnTo>
                      <a:pt x="370" y="86"/>
                    </a:lnTo>
                    <a:lnTo>
                      <a:pt x="370" y="87"/>
                    </a:lnTo>
                    <a:lnTo>
                      <a:pt x="371" y="87"/>
                    </a:lnTo>
                    <a:lnTo>
                      <a:pt x="372" y="87"/>
                    </a:lnTo>
                    <a:lnTo>
                      <a:pt x="373" y="87"/>
                    </a:lnTo>
                    <a:lnTo>
                      <a:pt x="374" y="87"/>
                    </a:lnTo>
                    <a:lnTo>
                      <a:pt x="375" y="87"/>
                    </a:lnTo>
                    <a:lnTo>
                      <a:pt x="376" y="87"/>
                    </a:lnTo>
                    <a:lnTo>
                      <a:pt x="377" y="88"/>
                    </a:lnTo>
                    <a:lnTo>
                      <a:pt x="378" y="88"/>
                    </a:lnTo>
                    <a:lnTo>
                      <a:pt x="378" y="87"/>
                    </a:lnTo>
                    <a:lnTo>
                      <a:pt x="380" y="87"/>
                    </a:lnTo>
                    <a:lnTo>
                      <a:pt x="380" y="88"/>
                    </a:lnTo>
                    <a:lnTo>
                      <a:pt x="380" y="89"/>
                    </a:lnTo>
                    <a:lnTo>
                      <a:pt x="380" y="88"/>
                    </a:lnTo>
                    <a:lnTo>
                      <a:pt x="381" y="89"/>
                    </a:lnTo>
                    <a:lnTo>
                      <a:pt x="382" y="89"/>
                    </a:lnTo>
                    <a:lnTo>
                      <a:pt x="383" y="89"/>
                    </a:lnTo>
                    <a:lnTo>
                      <a:pt x="383" y="90"/>
                    </a:lnTo>
                    <a:lnTo>
                      <a:pt x="382" y="90"/>
                    </a:lnTo>
                    <a:lnTo>
                      <a:pt x="383" y="90"/>
                    </a:lnTo>
                    <a:lnTo>
                      <a:pt x="383" y="89"/>
                    </a:lnTo>
                    <a:lnTo>
                      <a:pt x="384" y="89"/>
                    </a:lnTo>
                    <a:lnTo>
                      <a:pt x="383" y="90"/>
                    </a:lnTo>
                    <a:lnTo>
                      <a:pt x="382" y="91"/>
                    </a:lnTo>
                    <a:lnTo>
                      <a:pt x="381" y="91"/>
                    </a:lnTo>
                    <a:lnTo>
                      <a:pt x="380" y="90"/>
                    </a:lnTo>
                    <a:lnTo>
                      <a:pt x="378" y="91"/>
                    </a:lnTo>
                    <a:lnTo>
                      <a:pt x="377" y="91"/>
                    </a:lnTo>
                    <a:lnTo>
                      <a:pt x="375" y="91"/>
                    </a:lnTo>
                    <a:lnTo>
                      <a:pt x="374" y="91"/>
                    </a:lnTo>
                    <a:lnTo>
                      <a:pt x="372" y="92"/>
                    </a:lnTo>
                    <a:lnTo>
                      <a:pt x="372" y="93"/>
                    </a:lnTo>
                    <a:lnTo>
                      <a:pt x="371" y="93"/>
                    </a:lnTo>
                    <a:lnTo>
                      <a:pt x="371" y="94"/>
                    </a:lnTo>
                    <a:lnTo>
                      <a:pt x="370" y="94"/>
                    </a:lnTo>
                    <a:lnTo>
                      <a:pt x="370" y="95"/>
                    </a:lnTo>
                    <a:lnTo>
                      <a:pt x="369" y="94"/>
                    </a:lnTo>
                    <a:lnTo>
                      <a:pt x="369" y="93"/>
                    </a:lnTo>
                    <a:lnTo>
                      <a:pt x="370" y="92"/>
                    </a:lnTo>
                    <a:lnTo>
                      <a:pt x="370" y="91"/>
                    </a:lnTo>
                    <a:lnTo>
                      <a:pt x="369" y="90"/>
                    </a:lnTo>
                    <a:lnTo>
                      <a:pt x="370" y="90"/>
                    </a:lnTo>
                    <a:lnTo>
                      <a:pt x="370" y="89"/>
                    </a:lnTo>
                    <a:lnTo>
                      <a:pt x="370" y="90"/>
                    </a:lnTo>
                    <a:lnTo>
                      <a:pt x="369" y="90"/>
                    </a:lnTo>
                    <a:lnTo>
                      <a:pt x="368" y="90"/>
                    </a:lnTo>
                    <a:lnTo>
                      <a:pt x="366" y="90"/>
                    </a:lnTo>
                    <a:lnTo>
                      <a:pt x="366" y="91"/>
                    </a:lnTo>
                    <a:lnTo>
                      <a:pt x="366" y="90"/>
                    </a:lnTo>
                    <a:lnTo>
                      <a:pt x="366" y="89"/>
                    </a:lnTo>
                    <a:lnTo>
                      <a:pt x="365" y="89"/>
                    </a:lnTo>
                    <a:lnTo>
                      <a:pt x="365" y="88"/>
                    </a:lnTo>
                    <a:lnTo>
                      <a:pt x="364" y="88"/>
                    </a:lnTo>
                    <a:lnTo>
                      <a:pt x="364" y="87"/>
                    </a:lnTo>
                    <a:lnTo>
                      <a:pt x="363" y="87"/>
                    </a:lnTo>
                    <a:lnTo>
                      <a:pt x="363" y="86"/>
                    </a:lnTo>
                    <a:lnTo>
                      <a:pt x="363" y="84"/>
                    </a:lnTo>
                    <a:lnTo>
                      <a:pt x="364" y="84"/>
                    </a:lnTo>
                    <a:lnTo>
                      <a:pt x="364" y="83"/>
                    </a:lnTo>
                    <a:lnTo>
                      <a:pt x="364" y="82"/>
                    </a:lnTo>
                    <a:lnTo>
                      <a:pt x="365" y="82"/>
                    </a:lnTo>
                    <a:lnTo>
                      <a:pt x="365" y="81"/>
                    </a:lnTo>
                    <a:lnTo>
                      <a:pt x="365" y="82"/>
                    </a:lnTo>
                    <a:lnTo>
                      <a:pt x="366" y="82"/>
                    </a:lnTo>
                    <a:lnTo>
                      <a:pt x="366" y="83"/>
                    </a:lnTo>
                    <a:lnTo>
                      <a:pt x="368" y="84"/>
                    </a:lnTo>
                    <a:lnTo>
                      <a:pt x="369" y="84"/>
                    </a:lnTo>
                    <a:close/>
                    <a:moveTo>
                      <a:pt x="482" y="79"/>
                    </a:moveTo>
                    <a:lnTo>
                      <a:pt x="484" y="79"/>
                    </a:lnTo>
                    <a:lnTo>
                      <a:pt x="484" y="80"/>
                    </a:lnTo>
                    <a:lnTo>
                      <a:pt x="482" y="80"/>
                    </a:lnTo>
                    <a:lnTo>
                      <a:pt x="482" y="81"/>
                    </a:lnTo>
                    <a:lnTo>
                      <a:pt x="482" y="82"/>
                    </a:lnTo>
                    <a:lnTo>
                      <a:pt x="482" y="83"/>
                    </a:lnTo>
                    <a:lnTo>
                      <a:pt x="481" y="84"/>
                    </a:lnTo>
                    <a:lnTo>
                      <a:pt x="480" y="84"/>
                    </a:lnTo>
                    <a:lnTo>
                      <a:pt x="479" y="84"/>
                    </a:lnTo>
                    <a:lnTo>
                      <a:pt x="479" y="86"/>
                    </a:lnTo>
                    <a:lnTo>
                      <a:pt x="479" y="87"/>
                    </a:lnTo>
                    <a:lnTo>
                      <a:pt x="479" y="88"/>
                    </a:lnTo>
                    <a:lnTo>
                      <a:pt x="478" y="88"/>
                    </a:lnTo>
                    <a:lnTo>
                      <a:pt x="478" y="90"/>
                    </a:lnTo>
                    <a:lnTo>
                      <a:pt x="478" y="91"/>
                    </a:lnTo>
                    <a:lnTo>
                      <a:pt x="478" y="92"/>
                    </a:lnTo>
                    <a:lnTo>
                      <a:pt x="479" y="92"/>
                    </a:lnTo>
                    <a:lnTo>
                      <a:pt x="480" y="92"/>
                    </a:lnTo>
                    <a:lnTo>
                      <a:pt x="480" y="93"/>
                    </a:lnTo>
                    <a:lnTo>
                      <a:pt x="481" y="93"/>
                    </a:lnTo>
                    <a:lnTo>
                      <a:pt x="482" y="93"/>
                    </a:lnTo>
                    <a:lnTo>
                      <a:pt x="481" y="93"/>
                    </a:lnTo>
                    <a:lnTo>
                      <a:pt x="481" y="94"/>
                    </a:lnTo>
                    <a:lnTo>
                      <a:pt x="481" y="95"/>
                    </a:lnTo>
                    <a:lnTo>
                      <a:pt x="481" y="96"/>
                    </a:lnTo>
                    <a:lnTo>
                      <a:pt x="481" y="95"/>
                    </a:lnTo>
                    <a:lnTo>
                      <a:pt x="480" y="94"/>
                    </a:lnTo>
                    <a:lnTo>
                      <a:pt x="479" y="93"/>
                    </a:lnTo>
                    <a:lnTo>
                      <a:pt x="479" y="92"/>
                    </a:lnTo>
                    <a:lnTo>
                      <a:pt x="478" y="92"/>
                    </a:lnTo>
                    <a:lnTo>
                      <a:pt x="478" y="91"/>
                    </a:lnTo>
                    <a:lnTo>
                      <a:pt x="477" y="91"/>
                    </a:lnTo>
                    <a:lnTo>
                      <a:pt x="476" y="90"/>
                    </a:lnTo>
                    <a:lnTo>
                      <a:pt x="476" y="89"/>
                    </a:lnTo>
                    <a:lnTo>
                      <a:pt x="477" y="89"/>
                    </a:lnTo>
                    <a:lnTo>
                      <a:pt x="477" y="88"/>
                    </a:lnTo>
                    <a:lnTo>
                      <a:pt x="478" y="87"/>
                    </a:lnTo>
                    <a:lnTo>
                      <a:pt x="478" y="86"/>
                    </a:lnTo>
                    <a:lnTo>
                      <a:pt x="478" y="84"/>
                    </a:lnTo>
                    <a:lnTo>
                      <a:pt x="478" y="86"/>
                    </a:lnTo>
                    <a:lnTo>
                      <a:pt x="477" y="87"/>
                    </a:lnTo>
                    <a:lnTo>
                      <a:pt x="477" y="88"/>
                    </a:lnTo>
                    <a:lnTo>
                      <a:pt x="476" y="89"/>
                    </a:lnTo>
                    <a:lnTo>
                      <a:pt x="475" y="89"/>
                    </a:lnTo>
                    <a:lnTo>
                      <a:pt x="476" y="90"/>
                    </a:lnTo>
                    <a:lnTo>
                      <a:pt x="475" y="90"/>
                    </a:lnTo>
                    <a:lnTo>
                      <a:pt x="475" y="89"/>
                    </a:lnTo>
                    <a:lnTo>
                      <a:pt x="475" y="88"/>
                    </a:lnTo>
                    <a:lnTo>
                      <a:pt x="476" y="88"/>
                    </a:lnTo>
                    <a:lnTo>
                      <a:pt x="476" y="87"/>
                    </a:lnTo>
                    <a:lnTo>
                      <a:pt x="476" y="86"/>
                    </a:lnTo>
                    <a:lnTo>
                      <a:pt x="476" y="84"/>
                    </a:lnTo>
                    <a:lnTo>
                      <a:pt x="476" y="83"/>
                    </a:lnTo>
                    <a:lnTo>
                      <a:pt x="476" y="82"/>
                    </a:lnTo>
                    <a:lnTo>
                      <a:pt x="475" y="81"/>
                    </a:lnTo>
                    <a:lnTo>
                      <a:pt x="474" y="81"/>
                    </a:lnTo>
                    <a:lnTo>
                      <a:pt x="475" y="81"/>
                    </a:lnTo>
                    <a:lnTo>
                      <a:pt x="475" y="80"/>
                    </a:lnTo>
                    <a:lnTo>
                      <a:pt x="475" y="79"/>
                    </a:lnTo>
                    <a:lnTo>
                      <a:pt x="474" y="79"/>
                    </a:lnTo>
                    <a:lnTo>
                      <a:pt x="473" y="80"/>
                    </a:lnTo>
                    <a:lnTo>
                      <a:pt x="473" y="79"/>
                    </a:lnTo>
                    <a:lnTo>
                      <a:pt x="474" y="79"/>
                    </a:lnTo>
                    <a:lnTo>
                      <a:pt x="475" y="79"/>
                    </a:lnTo>
                    <a:lnTo>
                      <a:pt x="475" y="78"/>
                    </a:lnTo>
                    <a:lnTo>
                      <a:pt x="475" y="77"/>
                    </a:lnTo>
                    <a:lnTo>
                      <a:pt x="475" y="76"/>
                    </a:lnTo>
                    <a:lnTo>
                      <a:pt x="474" y="76"/>
                    </a:lnTo>
                    <a:lnTo>
                      <a:pt x="475" y="76"/>
                    </a:lnTo>
                    <a:lnTo>
                      <a:pt x="476" y="76"/>
                    </a:lnTo>
                    <a:lnTo>
                      <a:pt x="477" y="77"/>
                    </a:lnTo>
                    <a:lnTo>
                      <a:pt x="476" y="77"/>
                    </a:lnTo>
                    <a:lnTo>
                      <a:pt x="476" y="78"/>
                    </a:lnTo>
                    <a:lnTo>
                      <a:pt x="476" y="79"/>
                    </a:lnTo>
                    <a:lnTo>
                      <a:pt x="477" y="79"/>
                    </a:lnTo>
                    <a:lnTo>
                      <a:pt x="478" y="79"/>
                    </a:lnTo>
                    <a:lnTo>
                      <a:pt x="479" y="79"/>
                    </a:lnTo>
                    <a:lnTo>
                      <a:pt x="479" y="78"/>
                    </a:lnTo>
                    <a:lnTo>
                      <a:pt x="479" y="77"/>
                    </a:lnTo>
                    <a:lnTo>
                      <a:pt x="478" y="76"/>
                    </a:lnTo>
                    <a:lnTo>
                      <a:pt x="478" y="75"/>
                    </a:lnTo>
                    <a:lnTo>
                      <a:pt x="479" y="75"/>
                    </a:lnTo>
                    <a:lnTo>
                      <a:pt x="480" y="76"/>
                    </a:lnTo>
                    <a:lnTo>
                      <a:pt x="481" y="76"/>
                    </a:lnTo>
                    <a:lnTo>
                      <a:pt x="482" y="76"/>
                    </a:lnTo>
                    <a:lnTo>
                      <a:pt x="482" y="77"/>
                    </a:lnTo>
                    <a:lnTo>
                      <a:pt x="484" y="77"/>
                    </a:lnTo>
                    <a:lnTo>
                      <a:pt x="484" y="78"/>
                    </a:lnTo>
                    <a:lnTo>
                      <a:pt x="484" y="79"/>
                    </a:lnTo>
                    <a:lnTo>
                      <a:pt x="482" y="79"/>
                    </a:lnTo>
                    <a:close/>
                    <a:moveTo>
                      <a:pt x="421" y="204"/>
                    </a:moveTo>
                    <a:lnTo>
                      <a:pt x="421" y="205"/>
                    </a:lnTo>
                    <a:lnTo>
                      <a:pt x="420" y="205"/>
                    </a:lnTo>
                    <a:lnTo>
                      <a:pt x="420" y="206"/>
                    </a:lnTo>
                    <a:lnTo>
                      <a:pt x="419" y="206"/>
                    </a:lnTo>
                    <a:lnTo>
                      <a:pt x="419" y="207"/>
                    </a:lnTo>
                    <a:lnTo>
                      <a:pt x="417" y="208"/>
                    </a:lnTo>
                    <a:lnTo>
                      <a:pt x="417" y="209"/>
                    </a:lnTo>
                    <a:lnTo>
                      <a:pt x="417" y="210"/>
                    </a:lnTo>
                    <a:lnTo>
                      <a:pt x="419" y="210"/>
                    </a:lnTo>
                    <a:lnTo>
                      <a:pt x="420" y="210"/>
                    </a:lnTo>
                    <a:lnTo>
                      <a:pt x="421" y="210"/>
                    </a:lnTo>
                    <a:lnTo>
                      <a:pt x="421" y="209"/>
                    </a:lnTo>
                    <a:lnTo>
                      <a:pt x="422" y="208"/>
                    </a:lnTo>
                    <a:lnTo>
                      <a:pt x="423" y="208"/>
                    </a:lnTo>
                    <a:lnTo>
                      <a:pt x="424" y="208"/>
                    </a:lnTo>
                    <a:lnTo>
                      <a:pt x="425" y="208"/>
                    </a:lnTo>
                    <a:lnTo>
                      <a:pt x="425" y="207"/>
                    </a:lnTo>
                    <a:lnTo>
                      <a:pt x="426" y="207"/>
                    </a:lnTo>
                    <a:lnTo>
                      <a:pt x="427" y="207"/>
                    </a:lnTo>
                    <a:lnTo>
                      <a:pt x="426" y="208"/>
                    </a:lnTo>
                    <a:lnTo>
                      <a:pt x="425" y="208"/>
                    </a:lnTo>
                    <a:lnTo>
                      <a:pt x="425" y="209"/>
                    </a:lnTo>
                    <a:lnTo>
                      <a:pt x="424" y="209"/>
                    </a:lnTo>
                    <a:lnTo>
                      <a:pt x="424" y="210"/>
                    </a:lnTo>
                    <a:lnTo>
                      <a:pt x="424" y="211"/>
                    </a:lnTo>
                    <a:lnTo>
                      <a:pt x="425" y="211"/>
                    </a:lnTo>
                    <a:lnTo>
                      <a:pt x="426" y="211"/>
                    </a:lnTo>
                    <a:lnTo>
                      <a:pt x="427" y="211"/>
                    </a:lnTo>
                    <a:lnTo>
                      <a:pt x="427" y="210"/>
                    </a:lnTo>
                    <a:lnTo>
                      <a:pt x="426" y="210"/>
                    </a:lnTo>
                    <a:lnTo>
                      <a:pt x="426" y="209"/>
                    </a:lnTo>
                    <a:lnTo>
                      <a:pt x="427" y="209"/>
                    </a:lnTo>
                    <a:lnTo>
                      <a:pt x="428" y="209"/>
                    </a:lnTo>
                    <a:lnTo>
                      <a:pt x="428" y="208"/>
                    </a:lnTo>
                    <a:lnTo>
                      <a:pt x="429" y="208"/>
                    </a:lnTo>
                    <a:lnTo>
                      <a:pt x="429" y="209"/>
                    </a:lnTo>
                    <a:lnTo>
                      <a:pt x="428" y="209"/>
                    </a:lnTo>
                    <a:lnTo>
                      <a:pt x="428" y="210"/>
                    </a:lnTo>
                    <a:lnTo>
                      <a:pt x="429" y="210"/>
                    </a:lnTo>
                    <a:lnTo>
                      <a:pt x="429" y="209"/>
                    </a:lnTo>
                    <a:lnTo>
                      <a:pt x="430" y="209"/>
                    </a:lnTo>
                    <a:lnTo>
                      <a:pt x="430" y="210"/>
                    </a:lnTo>
                    <a:lnTo>
                      <a:pt x="432" y="210"/>
                    </a:lnTo>
                    <a:lnTo>
                      <a:pt x="433" y="210"/>
                    </a:lnTo>
                    <a:lnTo>
                      <a:pt x="432" y="210"/>
                    </a:lnTo>
                    <a:lnTo>
                      <a:pt x="432" y="211"/>
                    </a:lnTo>
                    <a:lnTo>
                      <a:pt x="432" y="212"/>
                    </a:lnTo>
                    <a:lnTo>
                      <a:pt x="433" y="212"/>
                    </a:lnTo>
                    <a:lnTo>
                      <a:pt x="432" y="212"/>
                    </a:lnTo>
                    <a:lnTo>
                      <a:pt x="430" y="212"/>
                    </a:lnTo>
                    <a:lnTo>
                      <a:pt x="429" y="212"/>
                    </a:lnTo>
                    <a:lnTo>
                      <a:pt x="428" y="212"/>
                    </a:lnTo>
                    <a:lnTo>
                      <a:pt x="428" y="213"/>
                    </a:lnTo>
                    <a:lnTo>
                      <a:pt x="429" y="213"/>
                    </a:lnTo>
                    <a:lnTo>
                      <a:pt x="428" y="215"/>
                    </a:lnTo>
                    <a:lnTo>
                      <a:pt x="427" y="215"/>
                    </a:lnTo>
                    <a:lnTo>
                      <a:pt x="428" y="215"/>
                    </a:lnTo>
                    <a:lnTo>
                      <a:pt x="427" y="216"/>
                    </a:lnTo>
                    <a:lnTo>
                      <a:pt x="427" y="217"/>
                    </a:lnTo>
                    <a:lnTo>
                      <a:pt x="426" y="216"/>
                    </a:lnTo>
                    <a:lnTo>
                      <a:pt x="425" y="216"/>
                    </a:lnTo>
                    <a:lnTo>
                      <a:pt x="425" y="215"/>
                    </a:lnTo>
                    <a:lnTo>
                      <a:pt x="425" y="213"/>
                    </a:lnTo>
                    <a:lnTo>
                      <a:pt x="425" y="215"/>
                    </a:lnTo>
                    <a:lnTo>
                      <a:pt x="426" y="215"/>
                    </a:lnTo>
                    <a:lnTo>
                      <a:pt x="425" y="213"/>
                    </a:lnTo>
                    <a:lnTo>
                      <a:pt x="426" y="213"/>
                    </a:lnTo>
                    <a:lnTo>
                      <a:pt x="426" y="212"/>
                    </a:lnTo>
                    <a:lnTo>
                      <a:pt x="425" y="213"/>
                    </a:lnTo>
                    <a:lnTo>
                      <a:pt x="425" y="212"/>
                    </a:lnTo>
                    <a:lnTo>
                      <a:pt x="424" y="211"/>
                    </a:lnTo>
                    <a:lnTo>
                      <a:pt x="423" y="211"/>
                    </a:lnTo>
                    <a:lnTo>
                      <a:pt x="422" y="210"/>
                    </a:lnTo>
                    <a:lnTo>
                      <a:pt x="422" y="211"/>
                    </a:lnTo>
                    <a:lnTo>
                      <a:pt x="421" y="211"/>
                    </a:lnTo>
                    <a:lnTo>
                      <a:pt x="420" y="211"/>
                    </a:lnTo>
                    <a:lnTo>
                      <a:pt x="420" y="212"/>
                    </a:lnTo>
                    <a:lnTo>
                      <a:pt x="419" y="212"/>
                    </a:lnTo>
                    <a:lnTo>
                      <a:pt x="419" y="211"/>
                    </a:lnTo>
                    <a:lnTo>
                      <a:pt x="417" y="211"/>
                    </a:lnTo>
                    <a:lnTo>
                      <a:pt x="416" y="211"/>
                    </a:lnTo>
                    <a:lnTo>
                      <a:pt x="415" y="211"/>
                    </a:lnTo>
                    <a:lnTo>
                      <a:pt x="415" y="210"/>
                    </a:lnTo>
                    <a:lnTo>
                      <a:pt x="414" y="210"/>
                    </a:lnTo>
                    <a:lnTo>
                      <a:pt x="414" y="209"/>
                    </a:lnTo>
                    <a:lnTo>
                      <a:pt x="413" y="209"/>
                    </a:lnTo>
                    <a:lnTo>
                      <a:pt x="412" y="209"/>
                    </a:lnTo>
                    <a:lnTo>
                      <a:pt x="412" y="208"/>
                    </a:lnTo>
                    <a:lnTo>
                      <a:pt x="412" y="207"/>
                    </a:lnTo>
                    <a:lnTo>
                      <a:pt x="411" y="206"/>
                    </a:lnTo>
                    <a:lnTo>
                      <a:pt x="412" y="206"/>
                    </a:lnTo>
                    <a:lnTo>
                      <a:pt x="413" y="206"/>
                    </a:lnTo>
                    <a:lnTo>
                      <a:pt x="414" y="206"/>
                    </a:lnTo>
                    <a:lnTo>
                      <a:pt x="416" y="205"/>
                    </a:lnTo>
                    <a:lnTo>
                      <a:pt x="417" y="205"/>
                    </a:lnTo>
                    <a:lnTo>
                      <a:pt x="419" y="205"/>
                    </a:lnTo>
                    <a:lnTo>
                      <a:pt x="420" y="205"/>
                    </a:lnTo>
                    <a:lnTo>
                      <a:pt x="419" y="205"/>
                    </a:lnTo>
                    <a:lnTo>
                      <a:pt x="420" y="205"/>
                    </a:lnTo>
                    <a:lnTo>
                      <a:pt x="421" y="205"/>
                    </a:lnTo>
                    <a:lnTo>
                      <a:pt x="421" y="204"/>
                    </a:lnTo>
                    <a:lnTo>
                      <a:pt x="422" y="204"/>
                    </a:lnTo>
                    <a:lnTo>
                      <a:pt x="421" y="204"/>
                    </a:lnTo>
                    <a:close/>
                    <a:moveTo>
                      <a:pt x="409" y="177"/>
                    </a:moveTo>
                    <a:lnTo>
                      <a:pt x="410" y="177"/>
                    </a:lnTo>
                    <a:lnTo>
                      <a:pt x="410" y="178"/>
                    </a:lnTo>
                    <a:lnTo>
                      <a:pt x="410" y="179"/>
                    </a:lnTo>
                    <a:lnTo>
                      <a:pt x="409" y="179"/>
                    </a:lnTo>
                    <a:lnTo>
                      <a:pt x="409" y="180"/>
                    </a:lnTo>
                    <a:lnTo>
                      <a:pt x="409" y="181"/>
                    </a:lnTo>
                    <a:lnTo>
                      <a:pt x="408" y="182"/>
                    </a:lnTo>
                    <a:lnTo>
                      <a:pt x="407" y="182"/>
                    </a:lnTo>
                    <a:lnTo>
                      <a:pt x="406" y="183"/>
                    </a:lnTo>
                    <a:lnTo>
                      <a:pt x="404" y="184"/>
                    </a:lnTo>
                    <a:lnTo>
                      <a:pt x="404" y="186"/>
                    </a:lnTo>
                    <a:lnTo>
                      <a:pt x="404" y="187"/>
                    </a:lnTo>
                    <a:lnTo>
                      <a:pt x="404" y="186"/>
                    </a:lnTo>
                    <a:lnTo>
                      <a:pt x="406" y="186"/>
                    </a:lnTo>
                    <a:lnTo>
                      <a:pt x="406" y="187"/>
                    </a:lnTo>
                    <a:lnTo>
                      <a:pt x="406" y="189"/>
                    </a:lnTo>
                    <a:lnTo>
                      <a:pt x="404" y="189"/>
                    </a:lnTo>
                    <a:lnTo>
                      <a:pt x="403" y="190"/>
                    </a:lnTo>
                    <a:lnTo>
                      <a:pt x="403" y="189"/>
                    </a:lnTo>
                    <a:lnTo>
                      <a:pt x="403" y="190"/>
                    </a:lnTo>
                    <a:lnTo>
                      <a:pt x="404" y="189"/>
                    </a:lnTo>
                    <a:lnTo>
                      <a:pt x="406" y="189"/>
                    </a:lnTo>
                    <a:lnTo>
                      <a:pt x="406" y="187"/>
                    </a:lnTo>
                    <a:lnTo>
                      <a:pt x="406" y="186"/>
                    </a:lnTo>
                    <a:lnTo>
                      <a:pt x="407" y="186"/>
                    </a:lnTo>
                    <a:lnTo>
                      <a:pt x="407" y="187"/>
                    </a:lnTo>
                    <a:lnTo>
                      <a:pt x="408" y="187"/>
                    </a:lnTo>
                    <a:lnTo>
                      <a:pt x="408" y="189"/>
                    </a:lnTo>
                    <a:lnTo>
                      <a:pt x="409" y="189"/>
                    </a:lnTo>
                    <a:lnTo>
                      <a:pt x="410" y="189"/>
                    </a:lnTo>
                    <a:lnTo>
                      <a:pt x="410" y="190"/>
                    </a:lnTo>
                    <a:lnTo>
                      <a:pt x="410" y="191"/>
                    </a:lnTo>
                    <a:lnTo>
                      <a:pt x="409" y="191"/>
                    </a:lnTo>
                    <a:lnTo>
                      <a:pt x="408" y="191"/>
                    </a:lnTo>
                    <a:lnTo>
                      <a:pt x="408" y="192"/>
                    </a:lnTo>
                    <a:lnTo>
                      <a:pt x="407" y="192"/>
                    </a:lnTo>
                    <a:lnTo>
                      <a:pt x="406" y="192"/>
                    </a:lnTo>
                    <a:lnTo>
                      <a:pt x="404" y="192"/>
                    </a:lnTo>
                    <a:lnTo>
                      <a:pt x="404" y="193"/>
                    </a:lnTo>
                    <a:lnTo>
                      <a:pt x="404" y="194"/>
                    </a:lnTo>
                    <a:lnTo>
                      <a:pt x="403" y="194"/>
                    </a:lnTo>
                    <a:lnTo>
                      <a:pt x="403" y="195"/>
                    </a:lnTo>
                    <a:lnTo>
                      <a:pt x="403" y="196"/>
                    </a:lnTo>
                    <a:lnTo>
                      <a:pt x="404" y="197"/>
                    </a:lnTo>
                    <a:lnTo>
                      <a:pt x="404" y="198"/>
                    </a:lnTo>
                    <a:lnTo>
                      <a:pt x="403" y="197"/>
                    </a:lnTo>
                    <a:lnTo>
                      <a:pt x="402" y="197"/>
                    </a:lnTo>
                    <a:lnTo>
                      <a:pt x="401" y="197"/>
                    </a:lnTo>
                    <a:lnTo>
                      <a:pt x="401" y="196"/>
                    </a:lnTo>
                    <a:lnTo>
                      <a:pt x="400" y="196"/>
                    </a:lnTo>
                    <a:lnTo>
                      <a:pt x="400" y="197"/>
                    </a:lnTo>
                    <a:lnTo>
                      <a:pt x="399" y="197"/>
                    </a:lnTo>
                    <a:lnTo>
                      <a:pt x="398" y="197"/>
                    </a:lnTo>
                    <a:lnTo>
                      <a:pt x="398" y="196"/>
                    </a:lnTo>
                    <a:lnTo>
                      <a:pt x="398" y="195"/>
                    </a:lnTo>
                    <a:lnTo>
                      <a:pt x="399" y="195"/>
                    </a:lnTo>
                    <a:lnTo>
                      <a:pt x="400" y="195"/>
                    </a:lnTo>
                    <a:lnTo>
                      <a:pt x="400" y="194"/>
                    </a:lnTo>
                    <a:lnTo>
                      <a:pt x="400" y="193"/>
                    </a:lnTo>
                    <a:lnTo>
                      <a:pt x="401" y="193"/>
                    </a:lnTo>
                    <a:lnTo>
                      <a:pt x="401" y="192"/>
                    </a:lnTo>
                    <a:lnTo>
                      <a:pt x="402" y="192"/>
                    </a:lnTo>
                    <a:lnTo>
                      <a:pt x="402" y="191"/>
                    </a:lnTo>
                    <a:lnTo>
                      <a:pt x="401" y="192"/>
                    </a:lnTo>
                    <a:lnTo>
                      <a:pt x="402" y="192"/>
                    </a:lnTo>
                    <a:lnTo>
                      <a:pt x="401" y="192"/>
                    </a:lnTo>
                    <a:lnTo>
                      <a:pt x="401" y="193"/>
                    </a:lnTo>
                    <a:lnTo>
                      <a:pt x="400" y="193"/>
                    </a:lnTo>
                    <a:lnTo>
                      <a:pt x="400" y="192"/>
                    </a:lnTo>
                    <a:lnTo>
                      <a:pt x="400" y="191"/>
                    </a:lnTo>
                    <a:lnTo>
                      <a:pt x="401" y="191"/>
                    </a:lnTo>
                    <a:lnTo>
                      <a:pt x="402" y="191"/>
                    </a:lnTo>
                    <a:lnTo>
                      <a:pt x="402" y="190"/>
                    </a:lnTo>
                    <a:lnTo>
                      <a:pt x="402" y="189"/>
                    </a:lnTo>
                    <a:lnTo>
                      <a:pt x="402" y="187"/>
                    </a:lnTo>
                    <a:lnTo>
                      <a:pt x="402" y="186"/>
                    </a:lnTo>
                    <a:lnTo>
                      <a:pt x="402" y="185"/>
                    </a:lnTo>
                    <a:lnTo>
                      <a:pt x="403" y="185"/>
                    </a:lnTo>
                    <a:lnTo>
                      <a:pt x="403" y="184"/>
                    </a:lnTo>
                    <a:lnTo>
                      <a:pt x="403" y="183"/>
                    </a:lnTo>
                    <a:lnTo>
                      <a:pt x="404" y="183"/>
                    </a:lnTo>
                    <a:lnTo>
                      <a:pt x="404" y="182"/>
                    </a:lnTo>
                    <a:lnTo>
                      <a:pt x="406" y="182"/>
                    </a:lnTo>
                    <a:lnTo>
                      <a:pt x="406" y="181"/>
                    </a:lnTo>
                    <a:lnTo>
                      <a:pt x="406" y="180"/>
                    </a:lnTo>
                    <a:lnTo>
                      <a:pt x="404" y="180"/>
                    </a:lnTo>
                    <a:lnTo>
                      <a:pt x="404" y="179"/>
                    </a:lnTo>
                    <a:lnTo>
                      <a:pt x="406" y="179"/>
                    </a:lnTo>
                    <a:lnTo>
                      <a:pt x="407" y="179"/>
                    </a:lnTo>
                    <a:lnTo>
                      <a:pt x="408" y="179"/>
                    </a:lnTo>
                    <a:lnTo>
                      <a:pt x="409" y="179"/>
                    </a:lnTo>
                    <a:lnTo>
                      <a:pt x="409" y="178"/>
                    </a:lnTo>
                    <a:lnTo>
                      <a:pt x="409" y="177"/>
                    </a:lnTo>
                    <a:close/>
                    <a:moveTo>
                      <a:pt x="308" y="266"/>
                    </a:moveTo>
                    <a:lnTo>
                      <a:pt x="309" y="267"/>
                    </a:lnTo>
                    <a:lnTo>
                      <a:pt x="309" y="268"/>
                    </a:lnTo>
                    <a:lnTo>
                      <a:pt x="308" y="268"/>
                    </a:lnTo>
                    <a:lnTo>
                      <a:pt x="308" y="269"/>
                    </a:lnTo>
                    <a:lnTo>
                      <a:pt x="308" y="270"/>
                    </a:lnTo>
                    <a:lnTo>
                      <a:pt x="309" y="270"/>
                    </a:lnTo>
                    <a:lnTo>
                      <a:pt x="309" y="271"/>
                    </a:lnTo>
                    <a:lnTo>
                      <a:pt x="309" y="272"/>
                    </a:lnTo>
                    <a:lnTo>
                      <a:pt x="310" y="272"/>
                    </a:lnTo>
                    <a:lnTo>
                      <a:pt x="309" y="272"/>
                    </a:lnTo>
                    <a:lnTo>
                      <a:pt x="308" y="272"/>
                    </a:lnTo>
                    <a:lnTo>
                      <a:pt x="308" y="273"/>
                    </a:lnTo>
                    <a:lnTo>
                      <a:pt x="308" y="274"/>
                    </a:lnTo>
                    <a:lnTo>
                      <a:pt x="308" y="275"/>
                    </a:lnTo>
                    <a:lnTo>
                      <a:pt x="309" y="275"/>
                    </a:lnTo>
                    <a:lnTo>
                      <a:pt x="308" y="276"/>
                    </a:lnTo>
                    <a:lnTo>
                      <a:pt x="308" y="275"/>
                    </a:lnTo>
                    <a:lnTo>
                      <a:pt x="307" y="275"/>
                    </a:lnTo>
                    <a:lnTo>
                      <a:pt x="307" y="276"/>
                    </a:lnTo>
                    <a:lnTo>
                      <a:pt x="308" y="276"/>
                    </a:lnTo>
                    <a:lnTo>
                      <a:pt x="307" y="276"/>
                    </a:lnTo>
                    <a:lnTo>
                      <a:pt x="306" y="276"/>
                    </a:lnTo>
                    <a:lnTo>
                      <a:pt x="306" y="275"/>
                    </a:lnTo>
                    <a:lnTo>
                      <a:pt x="305" y="275"/>
                    </a:lnTo>
                    <a:lnTo>
                      <a:pt x="305" y="274"/>
                    </a:lnTo>
                    <a:lnTo>
                      <a:pt x="304" y="274"/>
                    </a:lnTo>
                    <a:lnTo>
                      <a:pt x="303" y="273"/>
                    </a:lnTo>
                    <a:lnTo>
                      <a:pt x="301" y="272"/>
                    </a:lnTo>
                    <a:lnTo>
                      <a:pt x="301" y="271"/>
                    </a:lnTo>
                    <a:lnTo>
                      <a:pt x="300" y="271"/>
                    </a:lnTo>
                    <a:lnTo>
                      <a:pt x="300" y="272"/>
                    </a:lnTo>
                    <a:lnTo>
                      <a:pt x="300" y="271"/>
                    </a:lnTo>
                    <a:lnTo>
                      <a:pt x="300" y="270"/>
                    </a:lnTo>
                    <a:lnTo>
                      <a:pt x="299" y="270"/>
                    </a:lnTo>
                    <a:lnTo>
                      <a:pt x="299" y="269"/>
                    </a:lnTo>
                    <a:lnTo>
                      <a:pt x="299" y="268"/>
                    </a:lnTo>
                    <a:lnTo>
                      <a:pt x="298" y="268"/>
                    </a:lnTo>
                    <a:lnTo>
                      <a:pt x="298" y="267"/>
                    </a:lnTo>
                    <a:lnTo>
                      <a:pt x="299" y="266"/>
                    </a:lnTo>
                    <a:lnTo>
                      <a:pt x="300" y="266"/>
                    </a:lnTo>
                    <a:lnTo>
                      <a:pt x="301" y="267"/>
                    </a:lnTo>
                    <a:lnTo>
                      <a:pt x="303" y="267"/>
                    </a:lnTo>
                    <a:lnTo>
                      <a:pt x="303" y="266"/>
                    </a:lnTo>
                    <a:lnTo>
                      <a:pt x="303" y="264"/>
                    </a:lnTo>
                    <a:lnTo>
                      <a:pt x="303" y="266"/>
                    </a:lnTo>
                    <a:lnTo>
                      <a:pt x="304" y="266"/>
                    </a:lnTo>
                    <a:lnTo>
                      <a:pt x="304" y="267"/>
                    </a:lnTo>
                    <a:lnTo>
                      <a:pt x="305" y="267"/>
                    </a:lnTo>
                    <a:lnTo>
                      <a:pt x="305" y="266"/>
                    </a:lnTo>
                    <a:lnTo>
                      <a:pt x="306" y="266"/>
                    </a:lnTo>
                    <a:lnTo>
                      <a:pt x="306" y="267"/>
                    </a:lnTo>
                    <a:lnTo>
                      <a:pt x="306" y="266"/>
                    </a:lnTo>
                    <a:lnTo>
                      <a:pt x="307" y="264"/>
                    </a:lnTo>
                    <a:lnTo>
                      <a:pt x="307" y="266"/>
                    </a:lnTo>
                    <a:lnTo>
                      <a:pt x="308" y="266"/>
                    </a:lnTo>
                    <a:close/>
                    <a:moveTo>
                      <a:pt x="398" y="127"/>
                    </a:moveTo>
                    <a:lnTo>
                      <a:pt x="399" y="127"/>
                    </a:lnTo>
                    <a:lnTo>
                      <a:pt x="400" y="127"/>
                    </a:lnTo>
                    <a:lnTo>
                      <a:pt x="400" y="128"/>
                    </a:lnTo>
                    <a:lnTo>
                      <a:pt x="400" y="129"/>
                    </a:lnTo>
                    <a:lnTo>
                      <a:pt x="401" y="129"/>
                    </a:lnTo>
                    <a:lnTo>
                      <a:pt x="402" y="130"/>
                    </a:lnTo>
                    <a:lnTo>
                      <a:pt x="403" y="130"/>
                    </a:lnTo>
                    <a:lnTo>
                      <a:pt x="403" y="131"/>
                    </a:lnTo>
                    <a:lnTo>
                      <a:pt x="404" y="131"/>
                    </a:lnTo>
                    <a:lnTo>
                      <a:pt x="406" y="131"/>
                    </a:lnTo>
                    <a:lnTo>
                      <a:pt x="406" y="132"/>
                    </a:lnTo>
                    <a:lnTo>
                      <a:pt x="404" y="132"/>
                    </a:lnTo>
                    <a:lnTo>
                      <a:pt x="404" y="131"/>
                    </a:lnTo>
                    <a:lnTo>
                      <a:pt x="403" y="131"/>
                    </a:lnTo>
                    <a:lnTo>
                      <a:pt x="402" y="131"/>
                    </a:lnTo>
                    <a:lnTo>
                      <a:pt x="401" y="131"/>
                    </a:lnTo>
                    <a:lnTo>
                      <a:pt x="400" y="131"/>
                    </a:lnTo>
                    <a:lnTo>
                      <a:pt x="399" y="131"/>
                    </a:lnTo>
                    <a:lnTo>
                      <a:pt x="398" y="131"/>
                    </a:lnTo>
                    <a:lnTo>
                      <a:pt x="397" y="132"/>
                    </a:lnTo>
                    <a:lnTo>
                      <a:pt x="398" y="132"/>
                    </a:lnTo>
                    <a:lnTo>
                      <a:pt x="397" y="132"/>
                    </a:lnTo>
                    <a:lnTo>
                      <a:pt x="398" y="132"/>
                    </a:lnTo>
                    <a:lnTo>
                      <a:pt x="398" y="133"/>
                    </a:lnTo>
                    <a:lnTo>
                      <a:pt x="398" y="134"/>
                    </a:lnTo>
                    <a:lnTo>
                      <a:pt x="399" y="134"/>
                    </a:lnTo>
                    <a:lnTo>
                      <a:pt x="399" y="135"/>
                    </a:lnTo>
                    <a:lnTo>
                      <a:pt x="399" y="136"/>
                    </a:lnTo>
                    <a:lnTo>
                      <a:pt x="400" y="138"/>
                    </a:lnTo>
                    <a:lnTo>
                      <a:pt x="401" y="138"/>
                    </a:lnTo>
                    <a:lnTo>
                      <a:pt x="401" y="139"/>
                    </a:lnTo>
                    <a:lnTo>
                      <a:pt x="402" y="139"/>
                    </a:lnTo>
                    <a:lnTo>
                      <a:pt x="403" y="139"/>
                    </a:lnTo>
                    <a:lnTo>
                      <a:pt x="404" y="139"/>
                    </a:lnTo>
                    <a:lnTo>
                      <a:pt x="404" y="140"/>
                    </a:lnTo>
                    <a:lnTo>
                      <a:pt x="404" y="141"/>
                    </a:lnTo>
                    <a:lnTo>
                      <a:pt x="403" y="141"/>
                    </a:lnTo>
                    <a:lnTo>
                      <a:pt x="403" y="142"/>
                    </a:lnTo>
                    <a:lnTo>
                      <a:pt x="403" y="143"/>
                    </a:lnTo>
                    <a:lnTo>
                      <a:pt x="402" y="143"/>
                    </a:lnTo>
                    <a:lnTo>
                      <a:pt x="401" y="143"/>
                    </a:lnTo>
                    <a:lnTo>
                      <a:pt x="401" y="142"/>
                    </a:lnTo>
                    <a:lnTo>
                      <a:pt x="400" y="142"/>
                    </a:lnTo>
                    <a:lnTo>
                      <a:pt x="400" y="143"/>
                    </a:lnTo>
                    <a:lnTo>
                      <a:pt x="401" y="144"/>
                    </a:lnTo>
                    <a:lnTo>
                      <a:pt x="400" y="144"/>
                    </a:lnTo>
                    <a:lnTo>
                      <a:pt x="400" y="145"/>
                    </a:lnTo>
                    <a:lnTo>
                      <a:pt x="399" y="145"/>
                    </a:lnTo>
                    <a:lnTo>
                      <a:pt x="399" y="144"/>
                    </a:lnTo>
                    <a:lnTo>
                      <a:pt x="398" y="144"/>
                    </a:lnTo>
                    <a:lnTo>
                      <a:pt x="398" y="145"/>
                    </a:lnTo>
                    <a:lnTo>
                      <a:pt x="399" y="146"/>
                    </a:lnTo>
                    <a:lnTo>
                      <a:pt x="398" y="146"/>
                    </a:lnTo>
                    <a:lnTo>
                      <a:pt x="397" y="147"/>
                    </a:lnTo>
                    <a:lnTo>
                      <a:pt x="396" y="147"/>
                    </a:lnTo>
                    <a:lnTo>
                      <a:pt x="396" y="146"/>
                    </a:lnTo>
                    <a:lnTo>
                      <a:pt x="395" y="146"/>
                    </a:lnTo>
                    <a:lnTo>
                      <a:pt x="395" y="145"/>
                    </a:lnTo>
                    <a:lnTo>
                      <a:pt x="396" y="145"/>
                    </a:lnTo>
                    <a:lnTo>
                      <a:pt x="397" y="144"/>
                    </a:lnTo>
                    <a:lnTo>
                      <a:pt x="398" y="144"/>
                    </a:lnTo>
                    <a:lnTo>
                      <a:pt x="398" y="143"/>
                    </a:lnTo>
                    <a:lnTo>
                      <a:pt x="398" y="142"/>
                    </a:lnTo>
                    <a:lnTo>
                      <a:pt x="398" y="141"/>
                    </a:lnTo>
                    <a:lnTo>
                      <a:pt x="399" y="141"/>
                    </a:lnTo>
                    <a:lnTo>
                      <a:pt x="399" y="140"/>
                    </a:lnTo>
                    <a:lnTo>
                      <a:pt x="399" y="139"/>
                    </a:lnTo>
                    <a:lnTo>
                      <a:pt x="399" y="140"/>
                    </a:lnTo>
                    <a:lnTo>
                      <a:pt x="400" y="140"/>
                    </a:lnTo>
                    <a:lnTo>
                      <a:pt x="400" y="139"/>
                    </a:lnTo>
                    <a:lnTo>
                      <a:pt x="399" y="139"/>
                    </a:lnTo>
                    <a:lnTo>
                      <a:pt x="399" y="138"/>
                    </a:lnTo>
                    <a:lnTo>
                      <a:pt x="398" y="136"/>
                    </a:lnTo>
                    <a:lnTo>
                      <a:pt x="398" y="135"/>
                    </a:lnTo>
                    <a:lnTo>
                      <a:pt x="397" y="135"/>
                    </a:lnTo>
                    <a:lnTo>
                      <a:pt x="397" y="134"/>
                    </a:lnTo>
                    <a:lnTo>
                      <a:pt x="397" y="133"/>
                    </a:lnTo>
                    <a:lnTo>
                      <a:pt x="396" y="132"/>
                    </a:lnTo>
                    <a:lnTo>
                      <a:pt x="397" y="132"/>
                    </a:lnTo>
                    <a:lnTo>
                      <a:pt x="397" y="131"/>
                    </a:lnTo>
                    <a:lnTo>
                      <a:pt x="397" y="130"/>
                    </a:lnTo>
                    <a:lnTo>
                      <a:pt x="396" y="129"/>
                    </a:lnTo>
                    <a:lnTo>
                      <a:pt x="396" y="128"/>
                    </a:lnTo>
                    <a:lnTo>
                      <a:pt x="397" y="128"/>
                    </a:lnTo>
                    <a:lnTo>
                      <a:pt x="397" y="127"/>
                    </a:lnTo>
                    <a:lnTo>
                      <a:pt x="398" y="127"/>
                    </a:lnTo>
                    <a:close/>
                    <a:moveTo>
                      <a:pt x="421" y="220"/>
                    </a:moveTo>
                    <a:lnTo>
                      <a:pt x="421" y="221"/>
                    </a:lnTo>
                    <a:lnTo>
                      <a:pt x="422" y="221"/>
                    </a:lnTo>
                    <a:lnTo>
                      <a:pt x="423" y="220"/>
                    </a:lnTo>
                    <a:lnTo>
                      <a:pt x="423" y="221"/>
                    </a:lnTo>
                    <a:lnTo>
                      <a:pt x="422" y="221"/>
                    </a:lnTo>
                    <a:lnTo>
                      <a:pt x="422" y="222"/>
                    </a:lnTo>
                    <a:lnTo>
                      <a:pt x="422" y="223"/>
                    </a:lnTo>
                    <a:lnTo>
                      <a:pt x="422" y="224"/>
                    </a:lnTo>
                    <a:lnTo>
                      <a:pt x="422" y="225"/>
                    </a:lnTo>
                    <a:lnTo>
                      <a:pt x="421" y="225"/>
                    </a:lnTo>
                    <a:lnTo>
                      <a:pt x="421" y="226"/>
                    </a:lnTo>
                    <a:lnTo>
                      <a:pt x="421" y="228"/>
                    </a:lnTo>
                    <a:lnTo>
                      <a:pt x="421" y="226"/>
                    </a:lnTo>
                    <a:lnTo>
                      <a:pt x="420" y="228"/>
                    </a:lnTo>
                    <a:lnTo>
                      <a:pt x="420" y="229"/>
                    </a:lnTo>
                    <a:lnTo>
                      <a:pt x="421" y="229"/>
                    </a:lnTo>
                    <a:lnTo>
                      <a:pt x="421" y="230"/>
                    </a:lnTo>
                    <a:lnTo>
                      <a:pt x="422" y="230"/>
                    </a:lnTo>
                    <a:lnTo>
                      <a:pt x="422" y="231"/>
                    </a:lnTo>
                    <a:lnTo>
                      <a:pt x="421" y="231"/>
                    </a:lnTo>
                    <a:lnTo>
                      <a:pt x="421" y="232"/>
                    </a:lnTo>
                    <a:lnTo>
                      <a:pt x="421" y="233"/>
                    </a:lnTo>
                    <a:lnTo>
                      <a:pt x="422" y="233"/>
                    </a:lnTo>
                    <a:lnTo>
                      <a:pt x="422" y="234"/>
                    </a:lnTo>
                    <a:lnTo>
                      <a:pt x="422" y="235"/>
                    </a:lnTo>
                    <a:lnTo>
                      <a:pt x="421" y="236"/>
                    </a:lnTo>
                    <a:lnTo>
                      <a:pt x="420" y="236"/>
                    </a:lnTo>
                    <a:lnTo>
                      <a:pt x="420" y="235"/>
                    </a:lnTo>
                    <a:lnTo>
                      <a:pt x="419" y="234"/>
                    </a:lnTo>
                    <a:lnTo>
                      <a:pt x="417" y="234"/>
                    </a:lnTo>
                    <a:lnTo>
                      <a:pt x="417" y="233"/>
                    </a:lnTo>
                    <a:lnTo>
                      <a:pt x="416" y="233"/>
                    </a:lnTo>
                    <a:lnTo>
                      <a:pt x="416" y="232"/>
                    </a:lnTo>
                    <a:lnTo>
                      <a:pt x="416" y="231"/>
                    </a:lnTo>
                    <a:lnTo>
                      <a:pt x="415" y="231"/>
                    </a:lnTo>
                    <a:lnTo>
                      <a:pt x="415" y="230"/>
                    </a:lnTo>
                    <a:lnTo>
                      <a:pt x="415" y="229"/>
                    </a:lnTo>
                    <a:lnTo>
                      <a:pt x="415" y="228"/>
                    </a:lnTo>
                    <a:lnTo>
                      <a:pt x="414" y="228"/>
                    </a:lnTo>
                    <a:lnTo>
                      <a:pt x="413" y="228"/>
                    </a:lnTo>
                    <a:lnTo>
                      <a:pt x="412" y="228"/>
                    </a:lnTo>
                    <a:lnTo>
                      <a:pt x="411" y="226"/>
                    </a:lnTo>
                    <a:lnTo>
                      <a:pt x="412" y="226"/>
                    </a:lnTo>
                    <a:lnTo>
                      <a:pt x="413" y="226"/>
                    </a:lnTo>
                    <a:lnTo>
                      <a:pt x="414" y="226"/>
                    </a:lnTo>
                    <a:lnTo>
                      <a:pt x="415" y="226"/>
                    </a:lnTo>
                    <a:lnTo>
                      <a:pt x="416" y="226"/>
                    </a:lnTo>
                    <a:lnTo>
                      <a:pt x="417" y="225"/>
                    </a:lnTo>
                    <a:lnTo>
                      <a:pt x="419" y="225"/>
                    </a:lnTo>
                    <a:lnTo>
                      <a:pt x="419" y="224"/>
                    </a:lnTo>
                    <a:lnTo>
                      <a:pt x="419" y="223"/>
                    </a:lnTo>
                    <a:lnTo>
                      <a:pt x="419" y="222"/>
                    </a:lnTo>
                    <a:lnTo>
                      <a:pt x="417" y="222"/>
                    </a:lnTo>
                    <a:lnTo>
                      <a:pt x="417" y="221"/>
                    </a:lnTo>
                    <a:lnTo>
                      <a:pt x="419" y="221"/>
                    </a:lnTo>
                    <a:lnTo>
                      <a:pt x="420" y="221"/>
                    </a:lnTo>
                    <a:lnTo>
                      <a:pt x="420" y="220"/>
                    </a:lnTo>
                    <a:lnTo>
                      <a:pt x="421" y="220"/>
                    </a:lnTo>
                    <a:close/>
                    <a:moveTo>
                      <a:pt x="337" y="335"/>
                    </a:moveTo>
                    <a:lnTo>
                      <a:pt x="338" y="335"/>
                    </a:lnTo>
                    <a:lnTo>
                      <a:pt x="338" y="336"/>
                    </a:lnTo>
                    <a:lnTo>
                      <a:pt x="339" y="336"/>
                    </a:lnTo>
                    <a:lnTo>
                      <a:pt x="342" y="336"/>
                    </a:lnTo>
                    <a:lnTo>
                      <a:pt x="342" y="337"/>
                    </a:lnTo>
                    <a:lnTo>
                      <a:pt x="343" y="337"/>
                    </a:lnTo>
                    <a:lnTo>
                      <a:pt x="343" y="338"/>
                    </a:lnTo>
                    <a:lnTo>
                      <a:pt x="342" y="338"/>
                    </a:lnTo>
                    <a:lnTo>
                      <a:pt x="343" y="338"/>
                    </a:lnTo>
                    <a:lnTo>
                      <a:pt x="343" y="339"/>
                    </a:lnTo>
                    <a:lnTo>
                      <a:pt x="342" y="339"/>
                    </a:lnTo>
                    <a:lnTo>
                      <a:pt x="342" y="340"/>
                    </a:lnTo>
                    <a:lnTo>
                      <a:pt x="343" y="341"/>
                    </a:lnTo>
                    <a:lnTo>
                      <a:pt x="343" y="343"/>
                    </a:lnTo>
                    <a:lnTo>
                      <a:pt x="344" y="343"/>
                    </a:lnTo>
                    <a:lnTo>
                      <a:pt x="343" y="343"/>
                    </a:lnTo>
                    <a:lnTo>
                      <a:pt x="342" y="343"/>
                    </a:lnTo>
                    <a:lnTo>
                      <a:pt x="342" y="344"/>
                    </a:lnTo>
                    <a:lnTo>
                      <a:pt x="342" y="345"/>
                    </a:lnTo>
                    <a:lnTo>
                      <a:pt x="342" y="346"/>
                    </a:lnTo>
                    <a:lnTo>
                      <a:pt x="342" y="347"/>
                    </a:lnTo>
                    <a:lnTo>
                      <a:pt x="342" y="348"/>
                    </a:lnTo>
                    <a:lnTo>
                      <a:pt x="343" y="348"/>
                    </a:lnTo>
                    <a:lnTo>
                      <a:pt x="342" y="348"/>
                    </a:lnTo>
                    <a:lnTo>
                      <a:pt x="342" y="349"/>
                    </a:lnTo>
                    <a:lnTo>
                      <a:pt x="340" y="349"/>
                    </a:lnTo>
                    <a:lnTo>
                      <a:pt x="340" y="350"/>
                    </a:lnTo>
                    <a:lnTo>
                      <a:pt x="339" y="350"/>
                    </a:lnTo>
                    <a:lnTo>
                      <a:pt x="339" y="349"/>
                    </a:lnTo>
                    <a:lnTo>
                      <a:pt x="338" y="349"/>
                    </a:lnTo>
                    <a:lnTo>
                      <a:pt x="338" y="348"/>
                    </a:lnTo>
                    <a:lnTo>
                      <a:pt x="337" y="348"/>
                    </a:lnTo>
                    <a:lnTo>
                      <a:pt x="337" y="349"/>
                    </a:lnTo>
                    <a:lnTo>
                      <a:pt x="336" y="349"/>
                    </a:lnTo>
                    <a:lnTo>
                      <a:pt x="336" y="350"/>
                    </a:lnTo>
                    <a:lnTo>
                      <a:pt x="337" y="350"/>
                    </a:lnTo>
                    <a:lnTo>
                      <a:pt x="337" y="351"/>
                    </a:lnTo>
                    <a:lnTo>
                      <a:pt x="336" y="351"/>
                    </a:lnTo>
                    <a:lnTo>
                      <a:pt x="336" y="350"/>
                    </a:lnTo>
                    <a:lnTo>
                      <a:pt x="336" y="349"/>
                    </a:lnTo>
                    <a:lnTo>
                      <a:pt x="337" y="348"/>
                    </a:lnTo>
                    <a:lnTo>
                      <a:pt x="336" y="348"/>
                    </a:lnTo>
                    <a:lnTo>
                      <a:pt x="336" y="347"/>
                    </a:lnTo>
                    <a:lnTo>
                      <a:pt x="336" y="346"/>
                    </a:lnTo>
                    <a:lnTo>
                      <a:pt x="337" y="346"/>
                    </a:lnTo>
                    <a:lnTo>
                      <a:pt x="337" y="345"/>
                    </a:lnTo>
                    <a:lnTo>
                      <a:pt x="337" y="344"/>
                    </a:lnTo>
                    <a:lnTo>
                      <a:pt x="337" y="343"/>
                    </a:lnTo>
                    <a:lnTo>
                      <a:pt x="338" y="343"/>
                    </a:lnTo>
                    <a:lnTo>
                      <a:pt x="338" y="341"/>
                    </a:lnTo>
                    <a:lnTo>
                      <a:pt x="338" y="340"/>
                    </a:lnTo>
                    <a:lnTo>
                      <a:pt x="338" y="339"/>
                    </a:lnTo>
                    <a:lnTo>
                      <a:pt x="337" y="338"/>
                    </a:lnTo>
                    <a:lnTo>
                      <a:pt x="337" y="337"/>
                    </a:lnTo>
                    <a:lnTo>
                      <a:pt x="337" y="336"/>
                    </a:lnTo>
                    <a:lnTo>
                      <a:pt x="336" y="336"/>
                    </a:lnTo>
                    <a:lnTo>
                      <a:pt x="336" y="335"/>
                    </a:lnTo>
                    <a:lnTo>
                      <a:pt x="337" y="335"/>
                    </a:lnTo>
                    <a:close/>
                    <a:moveTo>
                      <a:pt x="482" y="53"/>
                    </a:moveTo>
                    <a:lnTo>
                      <a:pt x="482" y="54"/>
                    </a:lnTo>
                    <a:lnTo>
                      <a:pt x="482" y="55"/>
                    </a:lnTo>
                    <a:lnTo>
                      <a:pt x="484" y="55"/>
                    </a:lnTo>
                    <a:lnTo>
                      <a:pt x="484" y="56"/>
                    </a:lnTo>
                    <a:lnTo>
                      <a:pt x="484" y="57"/>
                    </a:lnTo>
                    <a:lnTo>
                      <a:pt x="484" y="58"/>
                    </a:lnTo>
                    <a:lnTo>
                      <a:pt x="484" y="59"/>
                    </a:lnTo>
                    <a:lnTo>
                      <a:pt x="485" y="59"/>
                    </a:lnTo>
                    <a:lnTo>
                      <a:pt x="484" y="59"/>
                    </a:lnTo>
                    <a:lnTo>
                      <a:pt x="484" y="61"/>
                    </a:lnTo>
                    <a:lnTo>
                      <a:pt x="485" y="61"/>
                    </a:lnTo>
                    <a:lnTo>
                      <a:pt x="485" y="62"/>
                    </a:lnTo>
                    <a:lnTo>
                      <a:pt x="484" y="62"/>
                    </a:lnTo>
                    <a:lnTo>
                      <a:pt x="484" y="63"/>
                    </a:lnTo>
                    <a:lnTo>
                      <a:pt x="482" y="63"/>
                    </a:lnTo>
                    <a:lnTo>
                      <a:pt x="482" y="64"/>
                    </a:lnTo>
                    <a:lnTo>
                      <a:pt x="482" y="65"/>
                    </a:lnTo>
                    <a:lnTo>
                      <a:pt x="481" y="65"/>
                    </a:lnTo>
                    <a:lnTo>
                      <a:pt x="482" y="65"/>
                    </a:lnTo>
                    <a:lnTo>
                      <a:pt x="481" y="66"/>
                    </a:lnTo>
                    <a:lnTo>
                      <a:pt x="482" y="66"/>
                    </a:lnTo>
                    <a:lnTo>
                      <a:pt x="481" y="66"/>
                    </a:lnTo>
                    <a:lnTo>
                      <a:pt x="482" y="67"/>
                    </a:lnTo>
                    <a:lnTo>
                      <a:pt x="481" y="67"/>
                    </a:lnTo>
                    <a:lnTo>
                      <a:pt x="481" y="68"/>
                    </a:lnTo>
                    <a:lnTo>
                      <a:pt x="481" y="69"/>
                    </a:lnTo>
                    <a:lnTo>
                      <a:pt x="481" y="70"/>
                    </a:lnTo>
                    <a:lnTo>
                      <a:pt x="482" y="70"/>
                    </a:lnTo>
                    <a:lnTo>
                      <a:pt x="482" y="69"/>
                    </a:lnTo>
                    <a:lnTo>
                      <a:pt x="484" y="68"/>
                    </a:lnTo>
                    <a:lnTo>
                      <a:pt x="484" y="69"/>
                    </a:lnTo>
                    <a:lnTo>
                      <a:pt x="482" y="69"/>
                    </a:lnTo>
                    <a:lnTo>
                      <a:pt x="482" y="70"/>
                    </a:lnTo>
                    <a:lnTo>
                      <a:pt x="482" y="71"/>
                    </a:lnTo>
                    <a:lnTo>
                      <a:pt x="482" y="72"/>
                    </a:lnTo>
                    <a:lnTo>
                      <a:pt x="482" y="74"/>
                    </a:lnTo>
                    <a:lnTo>
                      <a:pt x="481" y="74"/>
                    </a:lnTo>
                    <a:lnTo>
                      <a:pt x="482" y="74"/>
                    </a:lnTo>
                    <a:lnTo>
                      <a:pt x="482" y="75"/>
                    </a:lnTo>
                    <a:lnTo>
                      <a:pt x="481" y="75"/>
                    </a:lnTo>
                    <a:lnTo>
                      <a:pt x="480" y="75"/>
                    </a:lnTo>
                    <a:lnTo>
                      <a:pt x="479" y="75"/>
                    </a:lnTo>
                    <a:lnTo>
                      <a:pt x="479" y="74"/>
                    </a:lnTo>
                    <a:lnTo>
                      <a:pt x="480" y="74"/>
                    </a:lnTo>
                    <a:lnTo>
                      <a:pt x="479" y="72"/>
                    </a:lnTo>
                    <a:lnTo>
                      <a:pt x="478" y="71"/>
                    </a:lnTo>
                    <a:lnTo>
                      <a:pt x="478" y="70"/>
                    </a:lnTo>
                    <a:lnTo>
                      <a:pt x="478" y="68"/>
                    </a:lnTo>
                    <a:lnTo>
                      <a:pt x="479" y="67"/>
                    </a:lnTo>
                    <a:lnTo>
                      <a:pt x="480" y="67"/>
                    </a:lnTo>
                    <a:lnTo>
                      <a:pt x="480" y="66"/>
                    </a:lnTo>
                    <a:lnTo>
                      <a:pt x="480" y="65"/>
                    </a:lnTo>
                    <a:lnTo>
                      <a:pt x="479" y="63"/>
                    </a:lnTo>
                    <a:lnTo>
                      <a:pt x="479" y="62"/>
                    </a:lnTo>
                    <a:lnTo>
                      <a:pt x="480" y="61"/>
                    </a:lnTo>
                    <a:lnTo>
                      <a:pt x="481" y="61"/>
                    </a:lnTo>
                    <a:lnTo>
                      <a:pt x="482" y="61"/>
                    </a:lnTo>
                    <a:lnTo>
                      <a:pt x="484" y="61"/>
                    </a:lnTo>
                    <a:lnTo>
                      <a:pt x="484" y="59"/>
                    </a:lnTo>
                    <a:lnTo>
                      <a:pt x="482" y="59"/>
                    </a:lnTo>
                    <a:lnTo>
                      <a:pt x="482" y="61"/>
                    </a:lnTo>
                    <a:lnTo>
                      <a:pt x="481" y="61"/>
                    </a:lnTo>
                    <a:lnTo>
                      <a:pt x="481" y="59"/>
                    </a:lnTo>
                    <a:lnTo>
                      <a:pt x="481" y="58"/>
                    </a:lnTo>
                    <a:lnTo>
                      <a:pt x="481" y="57"/>
                    </a:lnTo>
                    <a:lnTo>
                      <a:pt x="481" y="56"/>
                    </a:lnTo>
                    <a:lnTo>
                      <a:pt x="480" y="56"/>
                    </a:lnTo>
                    <a:lnTo>
                      <a:pt x="480" y="55"/>
                    </a:lnTo>
                    <a:lnTo>
                      <a:pt x="479" y="55"/>
                    </a:lnTo>
                    <a:lnTo>
                      <a:pt x="480" y="55"/>
                    </a:lnTo>
                    <a:lnTo>
                      <a:pt x="481" y="55"/>
                    </a:lnTo>
                    <a:lnTo>
                      <a:pt x="480" y="55"/>
                    </a:lnTo>
                    <a:lnTo>
                      <a:pt x="480" y="54"/>
                    </a:lnTo>
                    <a:lnTo>
                      <a:pt x="480" y="53"/>
                    </a:lnTo>
                    <a:lnTo>
                      <a:pt x="481" y="54"/>
                    </a:lnTo>
                    <a:lnTo>
                      <a:pt x="481" y="53"/>
                    </a:lnTo>
                    <a:lnTo>
                      <a:pt x="482" y="53"/>
                    </a:lnTo>
                    <a:close/>
                    <a:moveTo>
                      <a:pt x="467" y="117"/>
                    </a:moveTo>
                    <a:lnTo>
                      <a:pt x="468" y="117"/>
                    </a:lnTo>
                    <a:lnTo>
                      <a:pt x="469" y="117"/>
                    </a:lnTo>
                    <a:lnTo>
                      <a:pt x="468" y="118"/>
                    </a:lnTo>
                    <a:lnTo>
                      <a:pt x="469" y="118"/>
                    </a:lnTo>
                    <a:lnTo>
                      <a:pt x="468" y="118"/>
                    </a:lnTo>
                    <a:lnTo>
                      <a:pt x="468" y="119"/>
                    </a:lnTo>
                    <a:lnTo>
                      <a:pt x="467" y="119"/>
                    </a:lnTo>
                    <a:lnTo>
                      <a:pt x="467" y="120"/>
                    </a:lnTo>
                    <a:lnTo>
                      <a:pt x="467" y="121"/>
                    </a:lnTo>
                    <a:lnTo>
                      <a:pt x="467" y="122"/>
                    </a:lnTo>
                    <a:lnTo>
                      <a:pt x="467" y="123"/>
                    </a:lnTo>
                    <a:lnTo>
                      <a:pt x="466" y="125"/>
                    </a:lnTo>
                    <a:lnTo>
                      <a:pt x="466" y="126"/>
                    </a:lnTo>
                    <a:lnTo>
                      <a:pt x="466" y="127"/>
                    </a:lnTo>
                    <a:lnTo>
                      <a:pt x="466" y="128"/>
                    </a:lnTo>
                    <a:lnTo>
                      <a:pt x="465" y="128"/>
                    </a:lnTo>
                    <a:lnTo>
                      <a:pt x="465" y="129"/>
                    </a:lnTo>
                    <a:lnTo>
                      <a:pt x="465" y="130"/>
                    </a:lnTo>
                    <a:lnTo>
                      <a:pt x="465" y="131"/>
                    </a:lnTo>
                    <a:lnTo>
                      <a:pt x="464" y="132"/>
                    </a:lnTo>
                    <a:lnTo>
                      <a:pt x="463" y="133"/>
                    </a:lnTo>
                    <a:lnTo>
                      <a:pt x="462" y="133"/>
                    </a:lnTo>
                    <a:lnTo>
                      <a:pt x="462" y="132"/>
                    </a:lnTo>
                    <a:lnTo>
                      <a:pt x="462" y="133"/>
                    </a:lnTo>
                    <a:lnTo>
                      <a:pt x="462" y="132"/>
                    </a:lnTo>
                    <a:lnTo>
                      <a:pt x="462" y="131"/>
                    </a:lnTo>
                    <a:lnTo>
                      <a:pt x="463" y="130"/>
                    </a:lnTo>
                    <a:lnTo>
                      <a:pt x="463" y="129"/>
                    </a:lnTo>
                    <a:lnTo>
                      <a:pt x="463" y="130"/>
                    </a:lnTo>
                    <a:lnTo>
                      <a:pt x="463" y="129"/>
                    </a:lnTo>
                    <a:lnTo>
                      <a:pt x="464" y="129"/>
                    </a:lnTo>
                    <a:lnTo>
                      <a:pt x="464" y="128"/>
                    </a:lnTo>
                    <a:lnTo>
                      <a:pt x="463" y="128"/>
                    </a:lnTo>
                    <a:lnTo>
                      <a:pt x="463" y="129"/>
                    </a:lnTo>
                    <a:lnTo>
                      <a:pt x="463" y="128"/>
                    </a:lnTo>
                    <a:lnTo>
                      <a:pt x="462" y="128"/>
                    </a:lnTo>
                    <a:lnTo>
                      <a:pt x="461" y="128"/>
                    </a:lnTo>
                    <a:lnTo>
                      <a:pt x="461" y="127"/>
                    </a:lnTo>
                    <a:lnTo>
                      <a:pt x="460" y="127"/>
                    </a:lnTo>
                    <a:lnTo>
                      <a:pt x="459" y="127"/>
                    </a:lnTo>
                    <a:lnTo>
                      <a:pt x="460" y="127"/>
                    </a:lnTo>
                    <a:lnTo>
                      <a:pt x="459" y="127"/>
                    </a:lnTo>
                    <a:lnTo>
                      <a:pt x="459" y="126"/>
                    </a:lnTo>
                    <a:lnTo>
                      <a:pt x="458" y="127"/>
                    </a:lnTo>
                    <a:lnTo>
                      <a:pt x="459" y="127"/>
                    </a:lnTo>
                    <a:lnTo>
                      <a:pt x="458" y="127"/>
                    </a:lnTo>
                    <a:lnTo>
                      <a:pt x="456" y="127"/>
                    </a:lnTo>
                    <a:lnTo>
                      <a:pt x="458" y="126"/>
                    </a:lnTo>
                    <a:lnTo>
                      <a:pt x="459" y="126"/>
                    </a:lnTo>
                    <a:lnTo>
                      <a:pt x="460" y="126"/>
                    </a:lnTo>
                    <a:lnTo>
                      <a:pt x="460" y="125"/>
                    </a:lnTo>
                    <a:lnTo>
                      <a:pt x="460" y="123"/>
                    </a:lnTo>
                    <a:lnTo>
                      <a:pt x="461" y="123"/>
                    </a:lnTo>
                    <a:lnTo>
                      <a:pt x="462" y="122"/>
                    </a:lnTo>
                    <a:lnTo>
                      <a:pt x="462" y="123"/>
                    </a:lnTo>
                    <a:lnTo>
                      <a:pt x="461" y="123"/>
                    </a:lnTo>
                    <a:lnTo>
                      <a:pt x="461" y="125"/>
                    </a:lnTo>
                    <a:lnTo>
                      <a:pt x="460" y="125"/>
                    </a:lnTo>
                    <a:lnTo>
                      <a:pt x="460" y="126"/>
                    </a:lnTo>
                    <a:lnTo>
                      <a:pt x="461" y="126"/>
                    </a:lnTo>
                    <a:lnTo>
                      <a:pt x="461" y="127"/>
                    </a:lnTo>
                    <a:lnTo>
                      <a:pt x="461" y="126"/>
                    </a:lnTo>
                    <a:lnTo>
                      <a:pt x="461" y="127"/>
                    </a:lnTo>
                    <a:lnTo>
                      <a:pt x="462" y="127"/>
                    </a:lnTo>
                    <a:lnTo>
                      <a:pt x="462" y="126"/>
                    </a:lnTo>
                    <a:lnTo>
                      <a:pt x="463" y="126"/>
                    </a:lnTo>
                    <a:lnTo>
                      <a:pt x="464" y="126"/>
                    </a:lnTo>
                    <a:lnTo>
                      <a:pt x="463" y="126"/>
                    </a:lnTo>
                    <a:lnTo>
                      <a:pt x="463" y="125"/>
                    </a:lnTo>
                    <a:lnTo>
                      <a:pt x="464" y="125"/>
                    </a:lnTo>
                    <a:lnTo>
                      <a:pt x="464" y="126"/>
                    </a:lnTo>
                    <a:lnTo>
                      <a:pt x="464" y="125"/>
                    </a:lnTo>
                    <a:lnTo>
                      <a:pt x="464" y="123"/>
                    </a:lnTo>
                    <a:lnTo>
                      <a:pt x="464" y="125"/>
                    </a:lnTo>
                    <a:lnTo>
                      <a:pt x="463" y="125"/>
                    </a:lnTo>
                    <a:lnTo>
                      <a:pt x="463" y="126"/>
                    </a:lnTo>
                    <a:lnTo>
                      <a:pt x="462" y="126"/>
                    </a:lnTo>
                    <a:lnTo>
                      <a:pt x="462" y="125"/>
                    </a:lnTo>
                    <a:lnTo>
                      <a:pt x="463" y="125"/>
                    </a:lnTo>
                    <a:lnTo>
                      <a:pt x="463" y="123"/>
                    </a:lnTo>
                    <a:lnTo>
                      <a:pt x="462" y="123"/>
                    </a:lnTo>
                    <a:lnTo>
                      <a:pt x="463" y="123"/>
                    </a:lnTo>
                    <a:lnTo>
                      <a:pt x="463" y="122"/>
                    </a:lnTo>
                    <a:lnTo>
                      <a:pt x="464" y="122"/>
                    </a:lnTo>
                    <a:lnTo>
                      <a:pt x="464" y="121"/>
                    </a:lnTo>
                    <a:lnTo>
                      <a:pt x="464" y="120"/>
                    </a:lnTo>
                    <a:lnTo>
                      <a:pt x="463" y="120"/>
                    </a:lnTo>
                    <a:lnTo>
                      <a:pt x="463" y="119"/>
                    </a:lnTo>
                    <a:lnTo>
                      <a:pt x="464" y="119"/>
                    </a:lnTo>
                    <a:lnTo>
                      <a:pt x="464" y="118"/>
                    </a:lnTo>
                    <a:lnTo>
                      <a:pt x="465" y="118"/>
                    </a:lnTo>
                    <a:lnTo>
                      <a:pt x="465" y="117"/>
                    </a:lnTo>
                    <a:lnTo>
                      <a:pt x="466" y="117"/>
                    </a:lnTo>
                    <a:lnTo>
                      <a:pt x="467" y="116"/>
                    </a:lnTo>
                    <a:lnTo>
                      <a:pt x="466" y="116"/>
                    </a:lnTo>
                    <a:lnTo>
                      <a:pt x="466" y="115"/>
                    </a:lnTo>
                    <a:lnTo>
                      <a:pt x="467" y="116"/>
                    </a:lnTo>
                    <a:lnTo>
                      <a:pt x="467" y="117"/>
                    </a:lnTo>
                    <a:close/>
                    <a:moveTo>
                      <a:pt x="251" y="305"/>
                    </a:moveTo>
                    <a:lnTo>
                      <a:pt x="252" y="305"/>
                    </a:lnTo>
                    <a:lnTo>
                      <a:pt x="252" y="306"/>
                    </a:lnTo>
                    <a:lnTo>
                      <a:pt x="252" y="307"/>
                    </a:lnTo>
                    <a:lnTo>
                      <a:pt x="253" y="307"/>
                    </a:lnTo>
                    <a:lnTo>
                      <a:pt x="253" y="308"/>
                    </a:lnTo>
                    <a:lnTo>
                      <a:pt x="254" y="308"/>
                    </a:lnTo>
                    <a:lnTo>
                      <a:pt x="255" y="308"/>
                    </a:lnTo>
                    <a:lnTo>
                      <a:pt x="254" y="307"/>
                    </a:lnTo>
                    <a:lnTo>
                      <a:pt x="255" y="307"/>
                    </a:lnTo>
                    <a:lnTo>
                      <a:pt x="256" y="308"/>
                    </a:lnTo>
                    <a:lnTo>
                      <a:pt x="256" y="309"/>
                    </a:lnTo>
                    <a:lnTo>
                      <a:pt x="255" y="309"/>
                    </a:lnTo>
                    <a:lnTo>
                      <a:pt x="254" y="309"/>
                    </a:lnTo>
                    <a:lnTo>
                      <a:pt x="253" y="309"/>
                    </a:lnTo>
                    <a:lnTo>
                      <a:pt x="252" y="309"/>
                    </a:lnTo>
                    <a:lnTo>
                      <a:pt x="252" y="310"/>
                    </a:lnTo>
                    <a:lnTo>
                      <a:pt x="251" y="309"/>
                    </a:lnTo>
                    <a:lnTo>
                      <a:pt x="251" y="310"/>
                    </a:lnTo>
                    <a:lnTo>
                      <a:pt x="249" y="310"/>
                    </a:lnTo>
                    <a:lnTo>
                      <a:pt x="249" y="311"/>
                    </a:lnTo>
                    <a:lnTo>
                      <a:pt x="249" y="312"/>
                    </a:lnTo>
                    <a:lnTo>
                      <a:pt x="249" y="313"/>
                    </a:lnTo>
                    <a:lnTo>
                      <a:pt x="249" y="314"/>
                    </a:lnTo>
                    <a:lnTo>
                      <a:pt x="249" y="313"/>
                    </a:lnTo>
                    <a:lnTo>
                      <a:pt x="248" y="313"/>
                    </a:lnTo>
                    <a:lnTo>
                      <a:pt x="247" y="313"/>
                    </a:lnTo>
                    <a:lnTo>
                      <a:pt x="247" y="314"/>
                    </a:lnTo>
                    <a:lnTo>
                      <a:pt x="247" y="315"/>
                    </a:lnTo>
                    <a:lnTo>
                      <a:pt x="246" y="315"/>
                    </a:lnTo>
                    <a:lnTo>
                      <a:pt x="247" y="315"/>
                    </a:lnTo>
                    <a:lnTo>
                      <a:pt x="246" y="315"/>
                    </a:lnTo>
                    <a:lnTo>
                      <a:pt x="246" y="316"/>
                    </a:lnTo>
                    <a:lnTo>
                      <a:pt x="245" y="316"/>
                    </a:lnTo>
                    <a:lnTo>
                      <a:pt x="245" y="315"/>
                    </a:lnTo>
                    <a:lnTo>
                      <a:pt x="245" y="314"/>
                    </a:lnTo>
                    <a:lnTo>
                      <a:pt x="245" y="312"/>
                    </a:lnTo>
                    <a:lnTo>
                      <a:pt x="245" y="311"/>
                    </a:lnTo>
                    <a:lnTo>
                      <a:pt x="244" y="311"/>
                    </a:lnTo>
                    <a:lnTo>
                      <a:pt x="244" y="312"/>
                    </a:lnTo>
                    <a:lnTo>
                      <a:pt x="244" y="313"/>
                    </a:lnTo>
                    <a:lnTo>
                      <a:pt x="243" y="312"/>
                    </a:lnTo>
                    <a:lnTo>
                      <a:pt x="242" y="312"/>
                    </a:lnTo>
                    <a:lnTo>
                      <a:pt x="242" y="311"/>
                    </a:lnTo>
                    <a:lnTo>
                      <a:pt x="243" y="311"/>
                    </a:lnTo>
                    <a:lnTo>
                      <a:pt x="244" y="310"/>
                    </a:lnTo>
                    <a:lnTo>
                      <a:pt x="245" y="310"/>
                    </a:lnTo>
                    <a:lnTo>
                      <a:pt x="245" y="311"/>
                    </a:lnTo>
                    <a:lnTo>
                      <a:pt x="246" y="311"/>
                    </a:lnTo>
                    <a:lnTo>
                      <a:pt x="247" y="310"/>
                    </a:lnTo>
                    <a:lnTo>
                      <a:pt x="247" y="309"/>
                    </a:lnTo>
                    <a:lnTo>
                      <a:pt x="246" y="309"/>
                    </a:lnTo>
                    <a:lnTo>
                      <a:pt x="246" y="308"/>
                    </a:lnTo>
                    <a:lnTo>
                      <a:pt x="247" y="308"/>
                    </a:lnTo>
                    <a:lnTo>
                      <a:pt x="248" y="308"/>
                    </a:lnTo>
                    <a:lnTo>
                      <a:pt x="249" y="307"/>
                    </a:lnTo>
                    <a:lnTo>
                      <a:pt x="247" y="307"/>
                    </a:lnTo>
                    <a:lnTo>
                      <a:pt x="247" y="306"/>
                    </a:lnTo>
                    <a:lnTo>
                      <a:pt x="248" y="306"/>
                    </a:lnTo>
                    <a:lnTo>
                      <a:pt x="248" y="305"/>
                    </a:lnTo>
                    <a:lnTo>
                      <a:pt x="248" y="303"/>
                    </a:lnTo>
                    <a:lnTo>
                      <a:pt x="249" y="305"/>
                    </a:lnTo>
                    <a:lnTo>
                      <a:pt x="251" y="305"/>
                    </a:lnTo>
                    <a:close/>
                    <a:moveTo>
                      <a:pt x="453" y="131"/>
                    </a:moveTo>
                    <a:lnTo>
                      <a:pt x="453" y="130"/>
                    </a:lnTo>
                    <a:lnTo>
                      <a:pt x="454" y="130"/>
                    </a:lnTo>
                    <a:lnTo>
                      <a:pt x="454" y="131"/>
                    </a:lnTo>
                    <a:lnTo>
                      <a:pt x="454" y="132"/>
                    </a:lnTo>
                    <a:lnTo>
                      <a:pt x="454" y="133"/>
                    </a:lnTo>
                    <a:lnTo>
                      <a:pt x="453" y="133"/>
                    </a:lnTo>
                    <a:lnTo>
                      <a:pt x="451" y="134"/>
                    </a:lnTo>
                    <a:lnTo>
                      <a:pt x="450" y="134"/>
                    </a:lnTo>
                    <a:lnTo>
                      <a:pt x="448" y="134"/>
                    </a:lnTo>
                    <a:lnTo>
                      <a:pt x="446" y="138"/>
                    </a:lnTo>
                    <a:lnTo>
                      <a:pt x="443" y="140"/>
                    </a:lnTo>
                    <a:lnTo>
                      <a:pt x="441" y="143"/>
                    </a:lnTo>
                    <a:lnTo>
                      <a:pt x="439" y="147"/>
                    </a:lnTo>
                    <a:lnTo>
                      <a:pt x="438" y="151"/>
                    </a:lnTo>
                    <a:lnTo>
                      <a:pt x="438" y="149"/>
                    </a:lnTo>
                    <a:lnTo>
                      <a:pt x="438" y="148"/>
                    </a:lnTo>
                    <a:lnTo>
                      <a:pt x="437" y="148"/>
                    </a:lnTo>
                    <a:lnTo>
                      <a:pt x="437" y="147"/>
                    </a:lnTo>
                    <a:lnTo>
                      <a:pt x="437" y="146"/>
                    </a:lnTo>
                    <a:lnTo>
                      <a:pt x="438" y="146"/>
                    </a:lnTo>
                    <a:lnTo>
                      <a:pt x="439" y="146"/>
                    </a:lnTo>
                    <a:lnTo>
                      <a:pt x="439" y="145"/>
                    </a:lnTo>
                    <a:lnTo>
                      <a:pt x="440" y="145"/>
                    </a:lnTo>
                    <a:lnTo>
                      <a:pt x="440" y="144"/>
                    </a:lnTo>
                    <a:lnTo>
                      <a:pt x="441" y="144"/>
                    </a:lnTo>
                    <a:lnTo>
                      <a:pt x="441" y="143"/>
                    </a:lnTo>
                    <a:lnTo>
                      <a:pt x="441" y="142"/>
                    </a:lnTo>
                    <a:lnTo>
                      <a:pt x="442" y="142"/>
                    </a:lnTo>
                    <a:lnTo>
                      <a:pt x="442" y="141"/>
                    </a:lnTo>
                    <a:lnTo>
                      <a:pt x="442" y="140"/>
                    </a:lnTo>
                    <a:lnTo>
                      <a:pt x="443" y="140"/>
                    </a:lnTo>
                    <a:lnTo>
                      <a:pt x="443" y="139"/>
                    </a:lnTo>
                    <a:lnTo>
                      <a:pt x="445" y="139"/>
                    </a:lnTo>
                    <a:lnTo>
                      <a:pt x="445" y="138"/>
                    </a:lnTo>
                    <a:lnTo>
                      <a:pt x="445" y="136"/>
                    </a:lnTo>
                    <a:lnTo>
                      <a:pt x="446" y="136"/>
                    </a:lnTo>
                    <a:lnTo>
                      <a:pt x="446" y="135"/>
                    </a:lnTo>
                    <a:lnTo>
                      <a:pt x="445" y="135"/>
                    </a:lnTo>
                    <a:lnTo>
                      <a:pt x="445" y="136"/>
                    </a:lnTo>
                    <a:lnTo>
                      <a:pt x="443" y="136"/>
                    </a:lnTo>
                    <a:lnTo>
                      <a:pt x="443" y="135"/>
                    </a:lnTo>
                    <a:lnTo>
                      <a:pt x="445" y="135"/>
                    </a:lnTo>
                    <a:lnTo>
                      <a:pt x="445" y="134"/>
                    </a:lnTo>
                    <a:lnTo>
                      <a:pt x="446" y="134"/>
                    </a:lnTo>
                    <a:lnTo>
                      <a:pt x="446" y="133"/>
                    </a:lnTo>
                    <a:lnTo>
                      <a:pt x="447" y="133"/>
                    </a:lnTo>
                    <a:lnTo>
                      <a:pt x="447" y="132"/>
                    </a:lnTo>
                    <a:lnTo>
                      <a:pt x="447" y="131"/>
                    </a:lnTo>
                    <a:lnTo>
                      <a:pt x="449" y="131"/>
                    </a:lnTo>
                    <a:lnTo>
                      <a:pt x="451" y="130"/>
                    </a:lnTo>
                    <a:lnTo>
                      <a:pt x="451" y="129"/>
                    </a:lnTo>
                    <a:lnTo>
                      <a:pt x="452" y="128"/>
                    </a:lnTo>
                    <a:lnTo>
                      <a:pt x="452" y="129"/>
                    </a:lnTo>
                    <a:lnTo>
                      <a:pt x="452" y="130"/>
                    </a:lnTo>
                    <a:lnTo>
                      <a:pt x="453" y="131"/>
                    </a:lnTo>
                    <a:close/>
                    <a:moveTo>
                      <a:pt x="310" y="234"/>
                    </a:moveTo>
                    <a:lnTo>
                      <a:pt x="311" y="235"/>
                    </a:lnTo>
                    <a:lnTo>
                      <a:pt x="312" y="235"/>
                    </a:lnTo>
                    <a:lnTo>
                      <a:pt x="312" y="236"/>
                    </a:lnTo>
                    <a:lnTo>
                      <a:pt x="312" y="237"/>
                    </a:lnTo>
                    <a:lnTo>
                      <a:pt x="313" y="237"/>
                    </a:lnTo>
                    <a:lnTo>
                      <a:pt x="312" y="237"/>
                    </a:lnTo>
                    <a:lnTo>
                      <a:pt x="311" y="237"/>
                    </a:lnTo>
                    <a:lnTo>
                      <a:pt x="311" y="238"/>
                    </a:lnTo>
                    <a:lnTo>
                      <a:pt x="312" y="238"/>
                    </a:lnTo>
                    <a:lnTo>
                      <a:pt x="312" y="237"/>
                    </a:lnTo>
                    <a:lnTo>
                      <a:pt x="313" y="238"/>
                    </a:lnTo>
                    <a:lnTo>
                      <a:pt x="313" y="239"/>
                    </a:lnTo>
                    <a:lnTo>
                      <a:pt x="312" y="239"/>
                    </a:lnTo>
                    <a:lnTo>
                      <a:pt x="311" y="239"/>
                    </a:lnTo>
                    <a:lnTo>
                      <a:pt x="311" y="238"/>
                    </a:lnTo>
                    <a:lnTo>
                      <a:pt x="311" y="239"/>
                    </a:lnTo>
                    <a:lnTo>
                      <a:pt x="310" y="238"/>
                    </a:lnTo>
                    <a:lnTo>
                      <a:pt x="310" y="239"/>
                    </a:lnTo>
                    <a:lnTo>
                      <a:pt x="311" y="239"/>
                    </a:lnTo>
                    <a:lnTo>
                      <a:pt x="311" y="241"/>
                    </a:lnTo>
                    <a:lnTo>
                      <a:pt x="311" y="242"/>
                    </a:lnTo>
                    <a:lnTo>
                      <a:pt x="312" y="242"/>
                    </a:lnTo>
                    <a:lnTo>
                      <a:pt x="311" y="243"/>
                    </a:lnTo>
                    <a:lnTo>
                      <a:pt x="311" y="242"/>
                    </a:lnTo>
                    <a:lnTo>
                      <a:pt x="310" y="242"/>
                    </a:lnTo>
                    <a:lnTo>
                      <a:pt x="311" y="242"/>
                    </a:lnTo>
                    <a:lnTo>
                      <a:pt x="310" y="242"/>
                    </a:lnTo>
                    <a:lnTo>
                      <a:pt x="310" y="241"/>
                    </a:lnTo>
                    <a:lnTo>
                      <a:pt x="309" y="241"/>
                    </a:lnTo>
                    <a:lnTo>
                      <a:pt x="310" y="242"/>
                    </a:lnTo>
                    <a:lnTo>
                      <a:pt x="309" y="243"/>
                    </a:lnTo>
                    <a:lnTo>
                      <a:pt x="308" y="242"/>
                    </a:lnTo>
                    <a:lnTo>
                      <a:pt x="307" y="242"/>
                    </a:lnTo>
                    <a:lnTo>
                      <a:pt x="306" y="242"/>
                    </a:lnTo>
                    <a:lnTo>
                      <a:pt x="307" y="242"/>
                    </a:lnTo>
                    <a:lnTo>
                      <a:pt x="306" y="242"/>
                    </a:lnTo>
                    <a:lnTo>
                      <a:pt x="306" y="243"/>
                    </a:lnTo>
                    <a:lnTo>
                      <a:pt x="306" y="244"/>
                    </a:lnTo>
                    <a:lnTo>
                      <a:pt x="306" y="245"/>
                    </a:lnTo>
                    <a:lnTo>
                      <a:pt x="307" y="245"/>
                    </a:lnTo>
                    <a:lnTo>
                      <a:pt x="307" y="246"/>
                    </a:lnTo>
                    <a:lnTo>
                      <a:pt x="308" y="246"/>
                    </a:lnTo>
                    <a:lnTo>
                      <a:pt x="308" y="247"/>
                    </a:lnTo>
                    <a:lnTo>
                      <a:pt x="307" y="247"/>
                    </a:lnTo>
                    <a:lnTo>
                      <a:pt x="306" y="247"/>
                    </a:lnTo>
                    <a:lnTo>
                      <a:pt x="305" y="247"/>
                    </a:lnTo>
                    <a:lnTo>
                      <a:pt x="305" y="248"/>
                    </a:lnTo>
                    <a:lnTo>
                      <a:pt x="304" y="248"/>
                    </a:lnTo>
                    <a:lnTo>
                      <a:pt x="304" y="247"/>
                    </a:lnTo>
                    <a:lnTo>
                      <a:pt x="303" y="247"/>
                    </a:lnTo>
                    <a:lnTo>
                      <a:pt x="301" y="246"/>
                    </a:lnTo>
                    <a:lnTo>
                      <a:pt x="300" y="246"/>
                    </a:lnTo>
                    <a:lnTo>
                      <a:pt x="301" y="246"/>
                    </a:lnTo>
                    <a:lnTo>
                      <a:pt x="301" y="245"/>
                    </a:lnTo>
                    <a:lnTo>
                      <a:pt x="303" y="246"/>
                    </a:lnTo>
                    <a:lnTo>
                      <a:pt x="304" y="246"/>
                    </a:lnTo>
                    <a:lnTo>
                      <a:pt x="305" y="245"/>
                    </a:lnTo>
                    <a:lnTo>
                      <a:pt x="305" y="244"/>
                    </a:lnTo>
                    <a:lnTo>
                      <a:pt x="305" y="243"/>
                    </a:lnTo>
                    <a:lnTo>
                      <a:pt x="305" y="242"/>
                    </a:lnTo>
                    <a:lnTo>
                      <a:pt x="305" y="241"/>
                    </a:lnTo>
                    <a:lnTo>
                      <a:pt x="305" y="239"/>
                    </a:lnTo>
                    <a:lnTo>
                      <a:pt x="305" y="238"/>
                    </a:lnTo>
                    <a:lnTo>
                      <a:pt x="306" y="238"/>
                    </a:lnTo>
                    <a:lnTo>
                      <a:pt x="306" y="239"/>
                    </a:lnTo>
                    <a:lnTo>
                      <a:pt x="307" y="239"/>
                    </a:lnTo>
                    <a:lnTo>
                      <a:pt x="308" y="239"/>
                    </a:lnTo>
                    <a:lnTo>
                      <a:pt x="309" y="239"/>
                    </a:lnTo>
                    <a:lnTo>
                      <a:pt x="309" y="238"/>
                    </a:lnTo>
                    <a:lnTo>
                      <a:pt x="309" y="239"/>
                    </a:lnTo>
                    <a:lnTo>
                      <a:pt x="310" y="239"/>
                    </a:lnTo>
                    <a:lnTo>
                      <a:pt x="309" y="238"/>
                    </a:lnTo>
                    <a:lnTo>
                      <a:pt x="310" y="238"/>
                    </a:lnTo>
                    <a:lnTo>
                      <a:pt x="309" y="238"/>
                    </a:lnTo>
                    <a:lnTo>
                      <a:pt x="310" y="239"/>
                    </a:lnTo>
                    <a:lnTo>
                      <a:pt x="309" y="239"/>
                    </a:lnTo>
                    <a:lnTo>
                      <a:pt x="309" y="238"/>
                    </a:lnTo>
                    <a:lnTo>
                      <a:pt x="308" y="238"/>
                    </a:lnTo>
                    <a:lnTo>
                      <a:pt x="309" y="237"/>
                    </a:lnTo>
                    <a:lnTo>
                      <a:pt x="308" y="237"/>
                    </a:lnTo>
                    <a:lnTo>
                      <a:pt x="309" y="236"/>
                    </a:lnTo>
                    <a:lnTo>
                      <a:pt x="309" y="235"/>
                    </a:lnTo>
                    <a:lnTo>
                      <a:pt x="308" y="235"/>
                    </a:lnTo>
                    <a:lnTo>
                      <a:pt x="308" y="234"/>
                    </a:lnTo>
                    <a:lnTo>
                      <a:pt x="309" y="234"/>
                    </a:lnTo>
                    <a:lnTo>
                      <a:pt x="310" y="234"/>
                    </a:lnTo>
                    <a:close/>
                    <a:moveTo>
                      <a:pt x="459" y="58"/>
                    </a:moveTo>
                    <a:lnTo>
                      <a:pt x="460" y="58"/>
                    </a:lnTo>
                    <a:lnTo>
                      <a:pt x="460" y="59"/>
                    </a:lnTo>
                    <a:lnTo>
                      <a:pt x="461" y="59"/>
                    </a:lnTo>
                    <a:lnTo>
                      <a:pt x="461" y="58"/>
                    </a:lnTo>
                    <a:lnTo>
                      <a:pt x="461" y="59"/>
                    </a:lnTo>
                    <a:lnTo>
                      <a:pt x="461" y="61"/>
                    </a:lnTo>
                    <a:lnTo>
                      <a:pt x="462" y="61"/>
                    </a:lnTo>
                    <a:lnTo>
                      <a:pt x="463" y="61"/>
                    </a:lnTo>
                    <a:lnTo>
                      <a:pt x="463" y="63"/>
                    </a:lnTo>
                    <a:lnTo>
                      <a:pt x="463" y="64"/>
                    </a:lnTo>
                    <a:lnTo>
                      <a:pt x="464" y="66"/>
                    </a:lnTo>
                    <a:lnTo>
                      <a:pt x="465" y="66"/>
                    </a:lnTo>
                    <a:lnTo>
                      <a:pt x="466" y="66"/>
                    </a:lnTo>
                    <a:lnTo>
                      <a:pt x="467" y="66"/>
                    </a:lnTo>
                    <a:lnTo>
                      <a:pt x="467" y="65"/>
                    </a:lnTo>
                    <a:lnTo>
                      <a:pt x="467" y="66"/>
                    </a:lnTo>
                    <a:lnTo>
                      <a:pt x="467" y="67"/>
                    </a:lnTo>
                    <a:lnTo>
                      <a:pt x="467" y="68"/>
                    </a:lnTo>
                    <a:lnTo>
                      <a:pt x="468" y="68"/>
                    </a:lnTo>
                    <a:lnTo>
                      <a:pt x="468" y="69"/>
                    </a:lnTo>
                    <a:lnTo>
                      <a:pt x="467" y="69"/>
                    </a:lnTo>
                    <a:lnTo>
                      <a:pt x="467" y="70"/>
                    </a:lnTo>
                    <a:lnTo>
                      <a:pt x="467" y="69"/>
                    </a:lnTo>
                    <a:lnTo>
                      <a:pt x="466" y="69"/>
                    </a:lnTo>
                    <a:lnTo>
                      <a:pt x="466" y="68"/>
                    </a:lnTo>
                    <a:lnTo>
                      <a:pt x="466" y="69"/>
                    </a:lnTo>
                    <a:lnTo>
                      <a:pt x="465" y="69"/>
                    </a:lnTo>
                    <a:lnTo>
                      <a:pt x="465" y="68"/>
                    </a:lnTo>
                    <a:lnTo>
                      <a:pt x="464" y="68"/>
                    </a:lnTo>
                    <a:lnTo>
                      <a:pt x="464" y="67"/>
                    </a:lnTo>
                    <a:lnTo>
                      <a:pt x="463" y="67"/>
                    </a:lnTo>
                    <a:lnTo>
                      <a:pt x="462" y="67"/>
                    </a:lnTo>
                    <a:lnTo>
                      <a:pt x="461" y="67"/>
                    </a:lnTo>
                    <a:lnTo>
                      <a:pt x="461" y="68"/>
                    </a:lnTo>
                    <a:lnTo>
                      <a:pt x="460" y="68"/>
                    </a:lnTo>
                    <a:lnTo>
                      <a:pt x="459" y="69"/>
                    </a:lnTo>
                    <a:lnTo>
                      <a:pt x="459" y="68"/>
                    </a:lnTo>
                    <a:lnTo>
                      <a:pt x="458" y="68"/>
                    </a:lnTo>
                    <a:lnTo>
                      <a:pt x="458" y="67"/>
                    </a:lnTo>
                    <a:lnTo>
                      <a:pt x="456" y="66"/>
                    </a:lnTo>
                    <a:lnTo>
                      <a:pt x="456" y="65"/>
                    </a:lnTo>
                    <a:lnTo>
                      <a:pt x="456" y="64"/>
                    </a:lnTo>
                    <a:lnTo>
                      <a:pt x="455" y="64"/>
                    </a:lnTo>
                    <a:lnTo>
                      <a:pt x="455" y="63"/>
                    </a:lnTo>
                    <a:lnTo>
                      <a:pt x="456" y="63"/>
                    </a:lnTo>
                    <a:lnTo>
                      <a:pt x="458" y="63"/>
                    </a:lnTo>
                    <a:lnTo>
                      <a:pt x="459" y="64"/>
                    </a:lnTo>
                    <a:lnTo>
                      <a:pt x="460" y="64"/>
                    </a:lnTo>
                    <a:lnTo>
                      <a:pt x="460" y="65"/>
                    </a:lnTo>
                    <a:lnTo>
                      <a:pt x="461" y="65"/>
                    </a:lnTo>
                    <a:lnTo>
                      <a:pt x="462" y="65"/>
                    </a:lnTo>
                    <a:lnTo>
                      <a:pt x="462" y="66"/>
                    </a:lnTo>
                    <a:lnTo>
                      <a:pt x="463" y="66"/>
                    </a:lnTo>
                    <a:lnTo>
                      <a:pt x="464" y="66"/>
                    </a:lnTo>
                    <a:lnTo>
                      <a:pt x="464" y="65"/>
                    </a:lnTo>
                    <a:lnTo>
                      <a:pt x="463" y="65"/>
                    </a:lnTo>
                    <a:lnTo>
                      <a:pt x="462" y="65"/>
                    </a:lnTo>
                    <a:lnTo>
                      <a:pt x="462" y="64"/>
                    </a:lnTo>
                    <a:lnTo>
                      <a:pt x="463" y="64"/>
                    </a:lnTo>
                    <a:lnTo>
                      <a:pt x="462" y="64"/>
                    </a:lnTo>
                    <a:lnTo>
                      <a:pt x="462" y="63"/>
                    </a:lnTo>
                    <a:lnTo>
                      <a:pt x="462" y="62"/>
                    </a:lnTo>
                    <a:lnTo>
                      <a:pt x="462" y="61"/>
                    </a:lnTo>
                    <a:lnTo>
                      <a:pt x="461" y="61"/>
                    </a:lnTo>
                    <a:lnTo>
                      <a:pt x="460" y="61"/>
                    </a:lnTo>
                    <a:lnTo>
                      <a:pt x="459" y="61"/>
                    </a:lnTo>
                    <a:lnTo>
                      <a:pt x="459" y="62"/>
                    </a:lnTo>
                    <a:lnTo>
                      <a:pt x="458" y="62"/>
                    </a:lnTo>
                    <a:lnTo>
                      <a:pt x="456" y="62"/>
                    </a:lnTo>
                    <a:lnTo>
                      <a:pt x="456" y="61"/>
                    </a:lnTo>
                    <a:lnTo>
                      <a:pt x="456" y="59"/>
                    </a:lnTo>
                    <a:lnTo>
                      <a:pt x="456" y="58"/>
                    </a:lnTo>
                    <a:lnTo>
                      <a:pt x="458" y="58"/>
                    </a:lnTo>
                    <a:lnTo>
                      <a:pt x="458" y="57"/>
                    </a:lnTo>
                    <a:lnTo>
                      <a:pt x="459" y="57"/>
                    </a:lnTo>
                    <a:lnTo>
                      <a:pt x="459" y="58"/>
                    </a:lnTo>
                    <a:close/>
                    <a:moveTo>
                      <a:pt x="471" y="193"/>
                    </a:moveTo>
                    <a:lnTo>
                      <a:pt x="471" y="194"/>
                    </a:lnTo>
                    <a:lnTo>
                      <a:pt x="472" y="194"/>
                    </a:lnTo>
                    <a:lnTo>
                      <a:pt x="472" y="193"/>
                    </a:lnTo>
                    <a:lnTo>
                      <a:pt x="473" y="193"/>
                    </a:lnTo>
                    <a:lnTo>
                      <a:pt x="473" y="194"/>
                    </a:lnTo>
                    <a:lnTo>
                      <a:pt x="472" y="195"/>
                    </a:lnTo>
                    <a:lnTo>
                      <a:pt x="473" y="195"/>
                    </a:lnTo>
                    <a:lnTo>
                      <a:pt x="472" y="196"/>
                    </a:lnTo>
                    <a:lnTo>
                      <a:pt x="472" y="197"/>
                    </a:lnTo>
                    <a:lnTo>
                      <a:pt x="473" y="197"/>
                    </a:lnTo>
                    <a:lnTo>
                      <a:pt x="472" y="197"/>
                    </a:lnTo>
                    <a:lnTo>
                      <a:pt x="472" y="198"/>
                    </a:lnTo>
                    <a:lnTo>
                      <a:pt x="472" y="199"/>
                    </a:lnTo>
                    <a:lnTo>
                      <a:pt x="471" y="199"/>
                    </a:lnTo>
                    <a:lnTo>
                      <a:pt x="469" y="199"/>
                    </a:lnTo>
                    <a:lnTo>
                      <a:pt x="468" y="199"/>
                    </a:lnTo>
                    <a:lnTo>
                      <a:pt x="467" y="199"/>
                    </a:lnTo>
                    <a:lnTo>
                      <a:pt x="466" y="199"/>
                    </a:lnTo>
                    <a:lnTo>
                      <a:pt x="466" y="200"/>
                    </a:lnTo>
                    <a:lnTo>
                      <a:pt x="465" y="200"/>
                    </a:lnTo>
                    <a:lnTo>
                      <a:pt x="465" y="202"/>
                    </a:lnTo>
                    <a:lnTo>
                      <a:pt x="464" y="202"/>
                    </a:lnTo>
                    <a:lnTo>
                      <a:pt x="465" y="200"/>
                    </a:lnTo>
                    <a:lnTo>
                      <a:pt x="465" y="199"/>
                    </a:lnTo>
                    <a:lnTo>
                      <a:pt x="465" y="198"/>
                    </a:lnTo>
                    <a:lnTo>
                      <a:pt x="464" y="198"/>
                    </a:lnTo>
                    <a:lnTo>
                      <a:pt x="463" y="198"/>
                    </a:lnTo>
                    <a:lnTo>
                      <a:pt x="463" y="197"/>
                    </a:lnTo>
                    <a:lnTo>
                      <a:pt x="462" y="196"/>
                    </a:lnTo>
                    <a:lnTo>
                      <a:pt x="462" y="195"/>
                    </a:lnTo>
                    <a:lnTo>
                      <a:pt x="462" y="194"/>
                    </a:lnTo>
                    <a:lnTo>
                      <a:pt x="461" y="194"/>
                    </a:lnTo>
                    <a:lnTo>
                      <a:pt x="462" y="194"/>
                    </a:lnTo>
                    <a:lnTo>
                      <a:pt x="463" y="195"/>
                    </a:lnTo>
                    <a:lnTo>
                      <a:pt x="464" y="195"/>
                    </a:lnTo>
                    <a:lnTo>
                      <a:pt x="464" y="194"/>
                    </a:lnTo>
                    <a:lnTo>
                      <a:pt x="465" y="194"/>
                    </a:lnTo>
                    <a:lnTo>
                      <a:pt x="466" y="194"/>
                    </a:lnTo>
                    <a:lnTo>
                      <a:pt x="467" y="194"/>
                    </a:lnTo>
                    <a:lnTo>
                      <a:pt x="468" y="194"/>
                    </a:lnTo>
                    <a:lnTo>
                      <a:pt x="469" y="194"/>
                    </a:lnTo>
                    <a:lnTo>
                      <a:pt x="471" y="194"/>
                    </a:lnTo>
                    <a:lnTo>
                      <a:pt x="471" y="193"/>
                    </a:lnTo>
                    <a:close/>
                    <a:moveTo>
                      <a:pt x="450" y="139"/>
                    </a:moveTo>
                    <a:lnTo>
                      <a:pt x="449" y="139"/>
                    </a:lnTo>
                    <a:lnTo>
                      <a:pt x="450" y="139"/>
                    </a:lnTo>
                    <a:lnTo>
                      <a:pt x="449" y="139"/>
                    </a:lnTo>
                    <a:lnTo>
                      <a:pt x="449" y="140"/>
                    </a:lnTo>
                    <a:lnTo>
                      <a:pt x="448" y="140"/>
                    </a:lnTo>
                    <a:lnTo>
                      <a:pt x="448" y="141"/>
                    </a:lnTo>
                    <a:lnTo>
                      <a:pt x="448" y="142"/>
                    </a:lnTo>
                    <a:lnTo>
                      <a:pt x="448" y="143"/>
                    </a:lnTo>
                    <a:lnTo>
                      <a:pt x="447" y="142"/>
                    </a:lnTo>
                    <a:lnTo>
                      <a:pt x="447" y="141"/>
                    </a:lnTo>
                    <a:lnTo>
                      <a:pt x="446" y="141"/>
                    </a:lnTo>
                    <a:lnTo>
                      <a:pt x="445" y="142"/>
                    </a:lnTo>
                    <a:lnTo>
                      <a:pt x="443" y="143"/>
                    </a:lnTo>
                    <a:lnTo>
                      <a:pt x="442" y="143"/>
                    </a:lnTo>
                    <a:lnTo>
                      <a:pt x="442" y="144"/>
                    </a:lnTo>
                    <a:lnTo>
                      <a:pt x="442" y="145"/>
                    </a:lnTo>
                    <a:lnTo>
                      <a:pt x="441" y="146"/>
                    </a:lnTo>
                    <a:lnTo>
                      <a:pt x="441" y="147"/>
                    </a:lnTo>
                    <a:lnTo>
                      <a:pt x="440" y="148"/>
                    </a:lnTo>
                    <a:lnTo>
                      <a:pt x="441" y="148"/>
                    </a:lnTo>
                    <a:lnTo>
                      <a:pt x="442" y="147"/>
                    </a:lnTo>
                    <a:lnTo>
                      <a:pt x="441" y="147"/>
                    </a:lnTo>
                    <a:lnTo>
                      <a:pt x="442" y="147"/>
                    </a:lnTo>
                    <a:lnTo>
                      <a:pt x="442" y="146"/>
                    </a:lnTo>
                    <a:lnTo>
                      <a:pt x="443" y="146"/>
                    </a:lnTo>
                    <a:lnTo>
                      <a:pt x="445" y="145"/>
                    </a:lnTo>
                    <a:lnTo>
                      <a:pt x="445" y="146"/>
                    </a:lnTo>
                    <a:lnTo>
                      <a:pt x="443" y="147"/>
                    </a:lnTo>
                    <a:lnTo>
                      <a:pt x="443" y="146"/>
                    </a:lnTo>
                    <a:lnTo>
                      <a:pt x="442" y="146"/>
                    </a:lnTo>
                    <a:lnTo>
                      <a:pt x="442" y="147"/>
                    </a:lnTo>
                    <a:lnTo>
                      <a:pt x="442" y="148"/>
                    </a:lnTo>
                    <a:lnTo>
                      <a:pt x="443" y="148"/>
                    </a:lnTo>
                    <a:lnTo>
                      <a:pt x="442" y="149"/>
                    </a:lnTo>
                    <a:lnTo>
                      <a:pt x="443" y="151"/>
                    </a:lnTo>
                    <a:lnTo>
                      <a:pt x="442" y="151"/>
                    </a:lnTo>
                    <a:lnTo>
                      <a:pt x="442" y="152"/>
                    </a:lnTo>
                    <a:lnTo>
                      <a:pt x="441" y="152"/>
                    </a:lnTo>
                    <a:lnTo>
                      <a:pt x="441" y="153"/>
                    </a:lnTo>
                    <a:lnTo>
                      <a:pt x="440" y="153"/>
                    </a:lnTo>
                    <a:lnTo>
                      <a:pt x="441" y="154"/>
                    </a:lnTo>
                    <a:lnTo>
                      <a:pt x="440" y="153"/>
                    </a:lnTo>
                    <a:lnTo>
                      <a:pt x="439" y="153"/>
                    </a:lnTo>
                    <a:lnTo>
                      <a:pt x="438" y="153"/>
                    </a:lnTo>
                    <a:lnTo>
                      <a:pt x="437" y="153"/>
                    </a:lnTo>
                    <a:lnTo>
                      <a:pt x="437" y="154"/>
                    </a:lnTo>
                    <a:lnTo>
                      <a:pt x="436" y="155"/>
                    </a:lnTo>
                    <a:lnTo>
                      <a:pt x="437" y="154"/>
                    </a:lnTo>
                    <a:lnTo>
                      <a:pt x="437" y="153"/>
                    </a:lnTo>
                    <a:lnTo>
                      <a:pt x="438" y="152"/>
                    </a:lnTo>
                    <a:lnTo>
                      <a:pt x="438" y="153"/>
                    </a:lnTo>
                    <a:lnTo>
                      <a:pt x="438" y="152"/>
                    </a:lnTo>
                    <a:lnTo>
                      <a:pt x="439" y="151"/>
                    </a:lnTo>
                    <a:lnTo>
                      <a:pt x="439" y="149"/>
                    </a:lnTo>
                    <a:lnTo>
                      <a:pt x="439" y="148"/>
                    </a:lnTo>
                    <a:lnTo>
                      <a:pt x="440" y="148"/>
                    </a:lnTo>
                    <a:lnTo>
                      <a:pt x="440" y="147"/>
                    </a:lnTo>
                    <a:lnTo>
                      <a:pt x="440" y="146"/>
                    </a:lnTo>
                    <a:lnTo>
                      <a:pt x="441" y="146"/>
                    </a:lnTo>
                    <a:lnTo>
                      <a:pt x="441" y="145"/>
                    </a:lnTo>
                    <a:lnTo>
                      <a:pt x="441" y="144"/>
                    </a:lnTo>
                    <a:lnTo>
                      <a:pt x="442" y="144"/>
                    </a:lnTo>
                    <a:lnTo>
                      <a:pt x="442" y="143"/>
                    </a:lnTo>
                    <a:lnTo>
                      <a:pt x="443" y="142"/>
                    </a:lnTo>
                    <a:lnTo>
                      <a:pt x="443" y="141"/>
                    </a:lnTo>
                    <a:lnTo>
                      <a:pt x="445" y="140"/>
                    </a:lnTo>
                    <a:lnTo>
                      <a:pt x="445" y="139"/>
                    </a:lnTo>
                    <a:lnTo>
                      <a:pt x="446" y="138"/>
                    </a:lnTo>
                    <a:lnTo>
                      <a:pt x="448" y="136"/>
                    </a:lnTo>
                    <a:lnTo>
                      <a:pt x="448" y="135"/>
                    </a:lnTo>
                    <a:lnTo>
                      <a:pt x="449" y="135"/>
                    </a:lnTo>
                    <a:lnTo>
                      <a:pt x="450" y="134"/>
                    </a:lnTo>
                    <a:lnTo>
                      <a:pt x="450" y="136"/>
                    </a:lnTo>
                    <a:lnTo>
                      <a:pt x="450" y="138"/>
                    </a:lnTo>
                    <a:lnTo>
                      <a:pt x="450" y="139"/>
                    </a:lnTo>
                    <a:close/>
                    <a:moveTo>
                      <a:pt x="369" y="95"/>
                    </a:moveTo>
                    <a:lnTo>
                      <a:pt x="370" y="95"/>
                    </a:lnTo>
                    <a:lnTo>
                      <a:pt x="370" y="96"/>
                    </a:lnTo>
                    <a:lnTo>
                      <a:pt x="371" y="96"/>
                    </a:lnTo>
                    <a:lnTo>
                      <a:pt x="372" y="96"/>
                    </a:lnTo>
                    <a:lnTo>
                      <a:pt x="372" y="97"/>
                    </a:lnTo>
                    <a:lnTo>
                      <a:pt x="373" y="97"/>
                    </a:lnTo>
                    <a:lnTo>
                      <a:pt x="373" y="99"/>
                    </a:lnTo>
                    <a:lnTo>
                      <a:pt x="374" y="99"/>
                    </a:lnTo>
                    <a:lnTo>
                      <a:pt x="373" y="99"/>
                    </a:lnTo>
                    <a:lnTo>
                      <a:pt x="373" y="100"/>
                    </a:lnTo>
                    <a:lnTo>
                      <a:pt x="373" y="101"/>
                    </a:lnTo>
                    <a:lnTo>
                      <a:pt x="372" y="101"/>
                    </a:lnTo>
                    <a:lnTo>
                      <a:pt x="373" y="102"/>
                    </a:lnTo>
                    <a:lnTo>
                      <a:pt x="373" y="103"/>
                    </a:lnTo>
                    <a:lnTo>
                      <a:pt x="373" y="104"/>
                    </a:lnTo>
                    <a:lnTo>
                      <a:pt x="373" y="105"/>
                    </a:lnTo>
                    <a:lnTo>
                      <a:pt x="374" y="106"/>
                    </a:lnTo>
                    <a:lnTo>
                      <a:pt x="375" y="106"/>
                    </a:lnTo>
                    <a:lnTo>
                      <a:pt x="375" y="107"/>
                    </a:lnTo>
                    <a:lnTo>
                      <a:pt x="376" y="107"/>
                    </a:lnTo>
                    <a:lnTo>
                      <a:pt x="376" y="108"/>
                    </a:lnTo>
                    <a:lnTo>
                      <a:pt x="376" y="109"/>
                    </a:lnTo>
                    <a:lnTo>
                      <a:pt x="375" y="109"/>
                    </a:lnTo>
                    <a:lnTo>
                      <a:pt x="375" y="110"/>
                    </a:lnTo>
                    <a:lnTo>
                      <a:pt x="375" y="109"/>
                    </a:lnTo>
                    <a:lnTo>
                      <a:pt x="374" y="109"/>
                    </a:lnTo>
                    <a:lnTo>
                      <a:pt x="374" y="108"/>
                    </a:lnTo>
                    <a:lnTo>
                      <a:pt x="373" y="108"/>
                    </a:lnTo>
                    <a:lnTo>
                      <a:pt x="372" y="108"/>
                    </a:lnTo>
                    <a:lnTo>
                      <a:pt x="372" y="107"/>
                    </a:lnTo>
                    <a:lnTo>
                      <a:pt x="371" y="106"/>
                    </a:lnTo>
                    <a:lnTo>
                      <a:pt x="370" y="106"/>
                    </a:lnTo>
                    <a:lnTo>
                      <a:pt x="371" y="106"/>
                    </a:lnTo>
                    <a:lnTo>
                      <a:pt x="370" y="106"/>
                    </a:lnTo>
                    <a:lnTo>
                      <a:pt x="370" y="105"/>
                    </a:lnTo>
                    <a:lnTo>
                      <a:pt x="370" y="104"/>
                    </a:lnTo>
                    <a:lnTo>
                      <a:pt x="370" y="103"/>
                    </a:lnTo>
                    <a:lnTo>
                      <a:pt x="371" y="102"/>
                    </a:lnTo>
                    <a:lnTo>
                      <a:pt x="371" y="103"/>
                    </a:lnTo>
                    <a:lnTo>
                      <a:pt x="371" y="104"/>
                    </a:lnTo>
                    <a:lnTo>
                      <a:pt x="372" y="104"/>
                    </a:lnTo>
                    <a:lnTo>
                      <a:pt x="371" y="104"/>
                    </a:lnTo>
                    <a:lnTo>
                      <a:pt x="372" y="105"/>
                    </a:lnTo>
                    <a:lnTo>
                      <a:pt x="371" y="105"/>
                    </a:lnTo>
                    <a:lnTo>
                      <a:pt x="372" y="105"/>
                    </a:lnTo>
                    <a:lnTo>
                      <a:pt x="372" y="104"/>
                    </a:lnTo>
                    <a:lnTo>
                      <a:pt x="371" y="104"/>
                    </a:lnTo>
                    <a:lnTo>
                      <a:pt x="372" y="103"/>
                    </a:lnTo>
                    <a:lnTo>
                      <a:pt x="371" y="103"/>
                    </a:lnTo>
                    <a:lnTo>
                      <a:pt x="371" y="102"/>
                    </a:lnTo>
                    <a:lnTo>
                      <a:pt x="370" y="102"/>
                    </a:lnTo>
                    <a:lnTo>
                      <a:pt x="371" y="101"/>
                    </a:lnTo>
                    <a:lnTo>
                      <a:pt x="370" y="101"/>
                    </a:lnTo>
                    <a:lnTo>
                      <a:pt x="370" y="100"/>
                    </a:lnTo>
                    <a:lnTo>
                      <a:pt x="370" y="99"/>
                    </a:lnTo>
                    <a:lnTo>
                      <a:pt x="370" y="97"/>
                    </a:lnTo>
                    <a:lnTo>
                      <a:pt x="369" y="97"/>
                    </a:lnTo>
                    <a:lnTo>
                      <a:pt x="369" y="96"/>
                    </a:lnTo>
                    <a:lnTo>
                      <a:pt x="368" y="96"/>
                    </a:lnTo>
                    <a:lnTo>
                      <a:pt x="366" y="95"/>
                    </a:lnTo>
                    <a:lnTo>
                      <a:pt x="365" y="96"/>
                    </a:lnTo>
                    <a:lnTo>
                      <a:pt x="364" y="96"/>
                    </a:lnTo>
                    <a:lnTo>
                      <a:pt x="363" y="96"/>
                    </a:lnTo>
                    <a:lnTo>
                      <a:pt x="363" y="95"/>
                    </a:lnTo>
                    <a:lnTo>
                      <a:pt x="364" y="95"/>
                    </a:lnTo>
                    <a:lnTo>
                      <a:pt x="365" y="95"/>
                    </a:lnTo>
                    <a:lnTo>
                      <a:pt x="366" y="94"/>
                    </a:lnTo>
                    <a:lnTo>
                      <a:pt x="368" y="93"/>
                    </a:lnTo>
                    <a:lnTo>
                      <a:pt x="368" y="92"/>
                    </a:lnTo>
                    <a:lnTo>
                      <a:pt x="368" y="93"/>
                    </a:lnTo>
                    <a:lnTo>
                      <a:pt x="368" y="94"/>
                    </a:lnTo>
                    <a:lnTo>
                      <a:pt x="369" y="95"/>
                    </a:lnTo>
                    <a:close/>
                    <a:moveTo>
                      <a:pt x="459" y="76"/>
                    </a:moveTo>
                    <a:lnTo>
                      <a:pt x="460" y="76"/>
                    </a:lnTo>
                    <a:lnTo>
                      <a:pt x="461" y="76"/>
                    </a:lnTo>
                    <a:lnTo>
                      <a:pt x="461" y="77"/>
                    </a:lnTo>
                    <a:lnTo>
                      <a:pt x="462" y="77"/>
                    </a:lnTo>
                    <a:lnTo>
                      <a:pt x="461" y="77"/>
                    </a:lnTo>
                    <a:lnTo>
                      <a:pt x="460" y="77"/>
                    </a:lnTo>
                    <a:lnTo>
                      <a:pt x="459" y="77"/>
                    </a:lnTo>
                    <a:lnTo>
                      <a:pt x="458" y="78"/>
                    </a:lnTo>
                    <a:lnTo>
                      <a:pt x="456" y="79"/>
                    </a:lnTo>
                    <a:lnTo>
                      <a:pt x="456" y="80"/>
                    </a:lnTo>
                    <a:lnTo>
                      <a:pt x="455" y="80"/>
                    </a:lnTo>
                    <a:lnTo>
                      <a:pt x="455" y="81"/>
                    </a:lnTo>
                    <a:lnTo>
                      <a:pt x="455" y="82"/>
                    </a:lnTo>
                    <a:lnTo>
                      <a:pt x="454" y="82"/>
                    </a:lnTo>
                    <a:lnTo>
                      <a:pt x="454" y="83"/>
                    </a:lnTo>
                    <a:lnTo>
                      <a:pt x="453" y="84"/>
                    </a:lnTo>
                    <a:lnTo>
                      <a:pt x="452" y="84"/>
                    </a:lnTo>
                    <a:lnTo>
                      <a:pt x="452" y="86"/>
                    </a:lnTo>
                    <a:lnTo>
                      <a:pt x="451" y="87"/>
                    </a:lnTo>
                    <a:lnTo>
                      <a:pt x="451" y="88"/>
                    </a:lnTo>
                    <a:lnTo>
                      <a:pt x="451" y="89"/>
                    </a:lnTo>
                    <a:lnTo>
                      <a:pt x="451" y="90"/>
                    </a:lnTo>
                    <a:lnTo>
                      <a:pt x="451" y="91"/>
                    </a:lnTo>
                    <a:lnTo>
                      <a:pt x="450" y="91"/>
                    </a:lnTo>
                    <a:lnTo>
                      <a:pt x="450" y="92"/>
                    </a:lnTo>
                    <a:lnTo>
                      <a:pt x="451" y="93"/>
                    </a:lnTo>
                    <a:lnTo>
                      <a:pt x="451" y="94"/>
                    </a:lnTo>
                    <a:lnTo>
                      <a:pt x="451" y="95"/>
                    </a:lnTo>
                    <a:lnTo>
                      <a:pt x="451" y="94"/>
                    </a:lnTo>
                    <a:lnTo>
                      <a:pt x="450" y="94"/>
                    </a:lnTo>
                    <a:lnTo>
                      <a:pt x="450" y="93"/>
                    </a:lnTo>
                    <a:lnTo>
                      <a:pt x="450" y="92"/>
                    </a:lnTo>
                    <a:lnTo>
                      <a:pt x="449" y="92"/>
                    </a:lnTo>
                    <a:lnTo>
                      <a:pt x="449" y="91"/>
                    </a:lnTo>
                    <a:lnTo>
                      <a:pt x="450" y="91"/>
                    </a:lnTo>
                    <a:lnTo>
                      <a:pt x="450" y="90"/>
                    </a:lnTo>
                    <a:lnTo>
                      <a:pt x="449" y="90"/>
                    </a:lnTo>
                    <a:lnTo>
                      <a:pt x="449" y="89"/>
                    </a:lnTo>
                    <a:lnTo>
                      <a:pt x="449" y="88"/>
                    </a:lnTo>
                    <a:lnTo>
                      <a:pt x="449" y="87"/>
                    </a:lnTo>
                    <a:lnTo>
                      <a:pt x="449" y="86"/>
                    </a:lnTo>
                    <a:lnTo>
                      <a:pt x="449" y="84"/>
                    </a:lnTo>
                    <a:lnTo>
                      <a:pt x="450" y="84"/>
                    </a:lnTo>
                    <a:lnTo>
                      <a:pt x="451" y="84"/>
                    </a:lnTo>
                    <a:lnTo>
                      <a:pt x="451" y="83"/>
                    </a:lnTo>
                    <a:lnTo>
                      <a:pt x="451" y="82"/>
                    </a:lnTo>
                    <a:lnTo>
                      <a:pt x="450" y="82"/>
                    </a:lnTo>
                    <a:lnTo>
                      <a:pt x="450" y="81"/>
                    </a:lnTo>
                    <a:lnTo>
                      <a:pt x="451" y="81"/>
                    </a:lnTo>
                    <a:lnTo>
                      <a:pt x="452" y="81"/>
                    </a:lnTo>
                    <a:lnTo>
                      <a:pt x="453" y="81"/>
                    </a:lnTo>
                    <a:lnTo>
                      <a:pt x="453" y="80"/>
                    </a:lnTo>
                    <a:lnTo>
                      <a:pt x="453" y="79"/>
                    </a:lnTo>
                    <a:lnTo>
                      <a:pt x="454" y="79"/>
                    </a:lnTo>
                    <a:lnTo>
                      <a:pt x="454" y="78"/>
                    </a:lnTo>
                    <a:lnTo>
                      <a:pt x="455" y="78"/>
                    </a:lnTo>
                    <a:lnTo>
                      <a:pt x="456" y="78"/>
                    </a:lnTo>
                    <a:lnTo>
                      <a:pt x="456" y="77"/>
                    </a:lnTo>
                    <a:lnTo>
                      <a:pt x="458" y="77"/>
                    </a:lnTo>
                    <a:lnTo>
                      <a:pt x="458" y="76"/>
                    </a:lnTo>
                    <a:lnTo>
                      <a:pt x="459" y="76"/>
                    </a:lnTo>
                    <a:lnTo>
                      <a:pt x="459" y="75"/>
                    </a:lnTo>
                    <a:lnTo>
                      <a:pt x="459" y="74"/>
                    </a:lnTo>
                    <a:lnTo>
                      <a:pt x="459" y="72"/>
                    </a:lnTo>
                    <a:lnTo>
                      <a:pt x="459" y="74"/>
                    </a:lnTo>
                    <a:lnTo>
                      <a:pt x="459" y="75"/>
                    </a:lnTo>
                    <a:lnTo>
                      <a:pt x="459" y="76"/>
                    </a:lnTo>
                    <a:close/>
                    <a:moveTo>
                      <a:pt x="352" y="288"/>
                    </a:moveTo>
                    <a:lnTo>
                      <a:pt x="353" y="288"/>
                    </a:lnTo>
                    <a:lnTo>
                      <a:pt x="353" y="289"/>
                    </a:lnTo>
                    <a:lnTo>
                      <a:pt x="352" y="289"/>
                    </a:lnTo>
                    <a:lnTo>
                      <a:pt x="353" y="290"/>
                    </a:lnTo>
                    <a:lnTo>
                      <a:pt x="353" y="292"/>
                    </a:lnTo>
                    <a:lnTo>
                      <a:pt x="353" y="293"/>
                    </a:lnTo>
                    <a:lnTo>
                      <a:pt x="355" y="293"/>
                    </a:lnTo>
                    <a:lnTo>
                      <a:pt x="355" y="294"/>
                    </a:lnTo>
                    <a:lnTo>
                      <a:pt x="356" y="294"/>
                    </a:lnTo>
                    <a:lnTo>
                      <a:pt x="356" y="295"/>
                    </a:lnTo>
                    <a:lnTo>
                      <a:pt x="356" y="296"/>
                    </a:lnTo>
                    <a:lnTo>
                      <a:pt x="357" y="296"/>
                    </a:lnTo>
                    <a:lnTo>
                      <a:pt x="357" y="297"/>
                    </a:lnTo>
                    <a:lnTo>
                      <a:pt x="356" y="297"/>
                    </a:lnTo>
                    <a:lnTo>
                      <a:pt x="357" y="298"/>
                    </a:lnTo>
                    <a:lnTo>
                      <a:pt x="357" y="299"/>
                    </a:lnTo>
                    <a:lnTo>
                      <a:pt x="357" y="300"/>
                    </a:lnTo>
                    <a:lnTo>
                      <a:pt x="356" y="300"/>
                    </a:lnTo>
                    <a:lnTo>
                      <a:pt x="357" y="300"/>
                    </a:lnTo>
                    <a:lnTo>
                      <a:pt x="357" y="299"/>
                    </a:lnTo>
                    <a:lnTo>
                      <a:pt x="356" y="299"/>
                    </a:lnTo>
                    <a:lnTo>
                      <a:pt x="356" y="298"/>
                    </a:lnTo>
                    <a:lnTo>
                      <a:pt x="356" y="297"/>
                    </a:lnTo>
                    <a:lnTo>
                      <a:pt x="355" y="297"/>
                    </a:lnTo>
                    <a:lnTo>
                      <a:pt x="355" y="298"/>
                    </a:lnTo>
                    <a:lnTo>
                      <a:pt x="355" y="297"/>
                    </a:lnTo>
                    <a:lnTo>
                      <a:pt x="353" y="297"/>
                    </a:lnTo>
                    <a:lnTo>
                      <a:pt x="352" y="296"/>
                    </a:lnTo>
                    <a:lnTo>
                      <a:pt x="352" y="295"/>
                    </a:lnTo>
                    <a:lnTo>
                      <a:pt x="353" y="295"/>
                    </a:lnTo>
                    <a:lnTo>
                      <a:pt x="352" y="294"/>
                    </a:lnTo>
                    <a:lnTo>
                      <a:pt x="351" y="294"/>
                    </a:lnTo>
                    <a:lnTo>
                      <a:pt x="351" y="295"/>
                    </a:lnTo>
                    <a:lnTo>
                      <a:pt x="350" y="295"/>
                    </a:lnTo>
                    <a:lnTo>
                      <a:pt x="350" y="296"/>
                    </a:lnTo>
                    <a:lnTo>
                      <a:pt x="349" y="296"/>
                    </a:lnTo>
                    <a:lnTo>
                      <a:pt x="349" y="295"/>
                    </a:lnTo>
                    <a:lnTo>
                      <a:pt x="350" y="295"/>
                    </a:lnTo>
                    <a:lnTo>
                      <a:pt x="349" y="294"/>
                    </a:lnTo>
                    <a:lnTo>
                      <a:pt x="349" y="293"/>
                    </a:lnTo>
                    <a:lnTo>
                      <a:pt x="349" y="292"/>
                    </a:lnTo>
                    <a:lnTo>
                      <a:pt x="349" y="290"/>
                    </a:lnTo>
                    <a:lnTo>
                      <a:pt x="348" y="290"/>
                    </a:lnTo>
                    <a:lnTo>
                      <a:pt x="348" y="289"/>
                    </a:lnTo>
                    <a:lnTo>
                      <a:pt x="348" y="288"/>
                    </a:lnTo>
                    <a:lnTo>
                      <a:pt x="348" y="289"/>
                    </a:lnTo>
                    <a:lnTo>
                      <a:pt x="349" y="289"/>
                    </a:lnTo>
                    <a:lnTo>
                      <a:pt x="350" y="289"/>
                    </a:lnTo>
                    <a:lnTo>
                      <a:pt x="349" y="289"/>
                    </a:lnTo>
                    <a:lnTo>
                      <a:pt x="349" y="288"/>
                    </a:lnTo>
                    <a:lnTo>
                      <a:pt x="348" y="288"/>
                    </a:lnTo>
                    <a:lnTo>
                      <a:pt x="348" y="289"/>
                    </a:lnTo>
                    <a:lnTo>
                      <a:pt x="347" y="288"/>
                    </a:lnTo>
                    <a:lnTo>
                      <a:pt x="350" y="287"/>
                    </a:lnTo>
                    <a:lnTo>
                      <a:pt x="351" y="287"/>
                    </a:lnTo>
                    <a:lnTo>
                      <a:pt x="352" y="287"/>
                    </a:lnTo>
                    <a:lnTo>
                      <a:pt x="352" y="288"/>
                    </a:lnTo>
                    <a:close/>
                    <a:moveTo>
                      <a:pt x="448" y="197"/>
                    </a:moveTo>
                    <a:lnTo>
                      <a:pt x="449" y="198"/>
                    </a:lnTo>
                    <a:lnTo>
                      <a:pt x="448" y="198"/>
                    </a:lnTo>
                    <a:lnTo>
                      <a:pt x="448" y="199"/>
                    </a:lnTo>
                    <a:lnTo>
                      <a:pt x="449" y="199"/>
                    </a:lnTo>
                    <a:lnTo>
                      <a:pt x="448" y="199"/>
                    </a:lnTo>
                    <a:lnTo>
                      <a:pt x="448" y="198"/>
                    </a:lnTo>
                    <a:lnTo>
                      <a:pt x="447" y="198"/>
                    </a:lnTo>
                    <a:lnTo>
                      <a:pt x="447" y="199"/>
                    </a:lnTo>
                    <a:lnTo>
                      <a:pt x="447" y="200"/>
                    </a:lnTo>
                    <a:lnTo>
                      <a:pt x="448" y="200"/>
                    </a:lnTo>
                    <a:lnTo>
                      <a:pt x="448" y="202"/>
                    </a:lnTo>
                    <a:lnTo>
                      <a:pt x="449" y="202"/>
                    </a:lnTo>
                    <a:lnTo>
                      <a:pt x="449" y="200"/>
                    </a:lnTo>
                    <a:lnTo>
                      <a:pt x="450" y="200"/>
                    </a:lnTo>
                    <a:lnTo>
                      <a:pt x="451" y="200"/>
                    </a:lnTo>
                    <a:lnTo>
                      <a:pt x="451" y="202"/>
                    </a:lnTo>
                    <a:lnTo>
                      <a:pt x="453" y="203"/>
                    </a:lnTo>
                    <a:lnTo>
                      <a:pt x="452" y="203"/>
                    </a:lnTo>
                    <a:lnTo>
                      <a:pt x="451" y="203"/>
                    </a:lnTo>
                    <a:lnTo>
                      <a:pt x="450" y="203"/>
                    </a:lnTo>
                    <a:lnTo>
                      <a:pt x="449" y="203"/>
                    </a:lnTo>
                    <a:lnTo>
                      <a:pt x="448" y="203"/>
                    </a:lnTo>
                    <a:lnTo>
                      <a:pt x="446" y="205"/>
                    </a:lnTo>
                    <a:lnTo>
                      <a:pt x="445" y="205"/>
                    </a:lnTo>
                    <a:lnTo>
                      <a:pt x="443" y="205"/>
                    </a:lnTo>
                    <a:lnTo>
                      <a:pt x="442" y="205"/>
                    </a:lnTo>
                    <a:lnTo>
                      <a:pt x="442" y="204"/>
                    </a:lnTo>
                    <a:lnTo>
                      <a:pt x="442" y="202"/>
                    </a:lnTo>
                    <a:lnTo>
                      <a:pt x="441" y="202"/>
                    </a:lnTo>
                    <a:lnTo>
                      <a:pt x="442" y="200"/>
                    </a:lnTo>
                    <a:lnTo>
                      <a:pt x="442" y="199"/>
                    </a:lnTo>
                    <a:lnTo>
                      <a:pt x="442" y="198"/>
                    </a:lnTo>
                    <a:lnTo>
                      <a:pt x="441" y="198"/>
                    </a:lnTo>
                    <a:lnTo>
                      <a:pt x="442" y="197"/>
                    </a:lnTo>
                    <a:lnTo>
                      <a:pt x="442" y="198"/>
                    </a:lnTo>
                    <a:lnTo>
                      <a:pt x="442" y="199"/>
                    </a:lnTo>
                    <a:lnTo>
                      <a:pt x="443" y="199"/>
                    </a:lnTo>
                    <a:lnTo>
                      <a:pt x="443" y="198"/>
                    </a:lnTo>
                    <a:lnTo>
                      <a:pt x="443" y="199"/>
                    </a:lnTo>
                    <a:lnTo>
                      <a:pt x="445" y="199"/>
                    </a:lnTo>
                    <a:lnTo>
                      <a:pt x="445" y="198"/>
                    </a:lnTo>
                    <a:lnTo>
                      <a:pt x="445" y="199"/>
                    </a:lnTo>
                    <a:lnTo>
                      <a:pt x="445" y="198"/>
                    </a:lnTo>
                    <a:lnTo>
                      <a:pt x="443" y="198"/>
                    </a:lnTo>
                    <a:lnTo>
                      <a:pt x="445" y="198"/>
                    </a:lnTo>
                    <a:lnTo>
                      <a:pt x="445" y="197"/>
                    </a:lnTo>
                    <a:lnTo>
                      <a:pt x="445" y="198"/>
                    </a:lnTo>
                    <a:lnTo>
                      <a:pt x="446" y="198"/>
                    </a:lnTo>
                    <a:lnTo>
                      <a:pt x="446" y="197"/>
                    </a:lnTo>
                    <a:lnTo>
                      <a:pt x="446" y="198"/>
                    </a:lnTo>
                    <a:lnTo>
                      <a:pt x="447" y="198"/>
                    </a:lnTo>
                    <a:lnTo>
                      <a:pt x="447" y="197"/>
                    </a:lnTo>
                    <a:lnTo>
                      <a:pt x="447" y="198"/>
                    </a:lnTo>
                    <a:lnTo>
                      <a:pt x="447" y="197"/>
                    </a:lnTo>
                    <a:lnTo>
                      <a:pt x="448" y="197"/>
                    </a:lnTo>
                    <a:lnTo>
                      <a:pt x="448" y="196"/>
                    </a:lnTo>
                    <a:lnTo>
                      <a:pt x="449" y="196"/>
                    </a:lnTo>
                    <a:lnTo>
                      <a:pt x="448" y="197"/>
                    </a:lnTo>
                    <a:close/>
                    <a:moveTo>
                      <a:pt x="479" y="66"/>
                    </a:moveTo>
                    <a:lnTo>
                      <a:pt x="479" y="67"/>
                    </a:lnTo>
                    <a:lnTo>
                      <a:pt x="478" y="68"/>
                    </a:lnTo>
                    <a:lnTo>
                      <a:pt x="478" y="69"/>
                    </a:lnTo>
                    <a:lnTo>
                      <a:pt x="477" y="70"/>
                    </a:lnTo>
                    <a:lnTo>
                      <a:pt x="478" y="71"/>
                    </a:lnTo>
                    <a:lnTo>
                      <a:pt x="479" y="72"/>
                    </a:lnTo>
                    <a:lnTo>
                      <a:pt x="479" y="74"/>
                    </a:lnTo>
                    <a:lnTo>
                      <a:pt x="478" y="74"/>
                    </a:lnTo>
                    <a:lnTo>
                      <a:pt x="478" y="75"/>
                    </a:lnTo>
                    <a:lnTo>
                      <a:pt x="478" y="76"/>
                    </a:lnTo>
                    <a:lnTo>
                      <a:pt x="478" y="77"/>
                    </a:lnTo>
                    <a:lnTo>
                      <a:pt x="478" y="78"/>
                    </a:lnTo>
                    <a:lnTo>
                      <a:pt x="478" y="79"/>
                    </a:lnTo>
                    <a:lnTo>
                      <a:pt x="477" y="79"/>
                    </a:lnTo>
                    <a:lnTo>
                      <a:pt x="476" y="78"/>
                    </a:lnTo>
                    <a:lnTo>
                      <a:pt x="477" y="77"/>
                    </a:lnTo>
                    <a:lnTo>
                      <a:pt x="477" y="76"/>
                    </a:lnTo>
                    <a:lnTo>
                      <a:pt x="475" y="75"/>
                    </a:lnTo>
                    <a:lnTo>
                      <a:pt x="475" y="74"/>
                    </a:lnTo>
                    <a:lnTo>
                      <a:pt x="475" y="72"/>
                    </a:lnTo>
                    <a:lnTo>
                      <a:pt x="476" y="72"/>
                    </a:lnTo>
                    <a:lnTo>
                      <a:pt x="476" y="74"/>
                    </a:lnTo>
                    <a:lnTo>
                      <a:pt x="477" y="72"/>
                    </a:lnTo>
                    <a:lnTo>
                      <a:pt x="476" y="71"/>
                    </a:lnTo>
                    <a:lnTo>
                      <a:pt x="477" y="71"/>
                    </a:lnTo>
                    <a:lnTo>
                      <a:pt x="477" y="70"/>
                    </a:lnTo>
                    <a:lnTo>
                      <a:pt x="476" y="69"/>
                    </a:lnTo>
                    <a:lnTo>
                      <a:pt x="475" y="69"/>
                    </a:lnTo>
                    <a:lnTo>
                      <a:pt x="474" y="69"/>
                    </a:lnTo>
                    <a:lnTo>
                      <a:pt x="475" y="69"/>
                    </a:lnTo>
                    <a:lnTo>
                      <a:pt x="475" y="68"/>
                    </a:lnTo>
                    <a:lnTo>
                      <a:pt x="476" y="68"/>
                    </a:lnTo>
                    <a:lnTo>
                      <a:pt x="476" y="67"/>
                    </a:lnTo>
                    <a:lnTo>
                      <a:pt x="475" y="67"/>
                    </a:lnTo>
                    <a:lnTo>
                      <a:pt x="475" y="66"/>
                    </a:lnTo>
                    <a:lnTo>
                      <a:pt x="476" y="66"/>
                    </a:lnTo>
                    <a:lnTo>
                      <a:pt x="477" y="66"/>
                    </a:lnTo>
                    <a:lnTo>
                      <a:pt x="477" y="65"/>
                    </a:lnTo>
                    <a:lnTo>
                      <a:pt x="477" y="64"/>
                    </a:lnTo>
                    <a:lnTo>
                      <a:pt x="477" y="63"/>
                    </a:lnTo>
                    <a:lnTo>
                      <a:pt x="478" y="63"/>
                    </a:lnTo>
                    <a:lnTo>
                      <a:pt x="479" y="61"/>
                    </a:lnTo>
                    <a:lnTo>
                      <a:pt x="480" y="61"/>
                    </a:lnTo>
                    <a:lnTo>
                      <a:pt x="479" y="62"/>
                    </a:lnTo>
                    <a:lnTo>
                      <a:pt x="479" y="63"/>
                    </a:lnTo>
                    <a:lnTo>
                      <a:pt x="480" y="65"/>
                    </a:lnTo>
                    <a:lnTo>
                      <a:pt x="479" y="66"/>
                    </a:lnTo>
                    <a:close/>
                    <a:moveTo>
                      <a:pt x="351" y="350"/>
                    </a:moveTo>
                    <a:lnTo>
                      <a:pt x="351" y="351"/>
                    </a:lnTo>
                    <a:lnTo>
                      <a:pt x="352" y="352"/>
                    </a:lnTo>
                    <a:lnTo>
                      <a:pt x="352" y="353"/>
                    </a:lnTo>
                    <a:lnTo>
                      <a:pt x="351" y="353"/>
                    </a:lnTo>
                    <a:lnTo>
                      <a:pt x="350" y="353"/>
                    </a:lnTo>
                    <a:lnTo>
                      <a:pt x="349" y="353"/>
                    </a:lnTo>
                    <a:lnTo>
                      <a:pt x="350" y="354"/>
                    </a:lnTo>
                    <a:lnTo>
                      <a:pt x="350" y="356"/>
                    </a:lnTo>
                    <a:lnTo>
                      <a:pt x="351" y="356"/>
                    </a:lnTo>
                    <a:lnTo>
                      <a:pt x="350" y="356"/>
                    </a:lnTo>
                    <a:lnTo>
                      <a:pt x="349" y="356"/>
                    </a:lnTo>
                    <a:lnTo>
                      <a:pt x="349" y="357"/>
                    </a:lnTo>
                    <a:lnTo>
                      <a:pt x="348" y="357"/>
                    </a:lnTo>
                    <a:lnTo>
                      <a:pt x="348" y="358"/>
                    </a:lnTo>
                    <a:lnTo>
                      <a:pt x="347" y="358"/>
                    </a:lnTo>
                    <a:lnTo>
                      <a:pt x="348" y="358"/>
                    </a:lnTo>
                    <a:lnTo>
                      <a:pt x="347" y="359"/>
                    </a:lnTo>
                    <a:lnTo>
                      <a:pt x="347" y="358"/>
                    </a:lnTo>
                    <a:lnTo>
                      <a:pt x="346" y="357"/>
                    </a:lnTo>
                    <a:lnTo>
                      <a:pt x="345" y="357"/>
                    </a:lnTo>
                    <a:lnTo>
                      <a:pt x="344" y="356"/>
                    </a:lnTo>
                    <a:lnTo>
                      <a:pt x="344" y="354"/>
                    </a:lnTo>
                    <a:lnTo>
                      <a:pt x="343" y="354"/>
                    </a:lnTo>
                    <a:lnTo>
                      <a:pt x="343" y="353"/>
                    </a:lnTo>
                    <a:lnTo>
                      <a:pt x="343" y="354"/>
                    </a:lnTo>
                    <a:lnTo>
                      <a:pt x="343" y="353"/>
                    </a:lnTo>
                    <a:lnTo>
                      <a:pt x="344" y="353"/>
                    </a:lnTo>
                    <a:lnTo>
                      <a:pt x="343" y="352"/>
                    </a:lnTo>
                    <a:lnTo>
                      <a:pt x="344" y="352"/>
                    </a:lnTo>
                    <a:lnTo>
                      <a:pt x="345" y="352"/>
                    </a:lnTo>
                    <a:lnTo>
                      <a:pt x="346" y="352"/>
                    </a:lnTo>
                    <a:lnTo>
                      <a:pt x="347" y="352"/>
                    </a:lnTo>
                    <a:lnTo>
                      <a:pt x="348" y="352"/>
                    </a:lnTo>
                    <a:lnTo>
                      <a:pt x="349" y="352"/>
                    </a:lnTo>
                    <a:lnTo>
                      <a:pt x="349" y="351"/>
                    </a:lnTo>
                    <a:lnTo>
                      <a:pt x="350" y="351"/>
                    </a:lnTo>
                    <a:lnTo>
                      <a:pt x="350" y="352"/>
                    </a:lnTo>
                    <a:lnTo>
                      <a:pt x="351" y="352"/>
                    </a:lnTo>
                    <a:lnTo>
                      <a:pt x="350" y="352"/>
                    </a:lnTo>
                    <a:lnTo>
                      <a:pt x="350" y="351"/>
                    </a:lnTo>
                    <a:lnTo>
                      <a:pt x="349" y="351"/>
                    </a:lnTo>
                    <a:lnTo>
                      <a:pt x="350" y="350"/>
                    </a:lnTo>
                    <a:lnTo>
                      <a:pt x="351" y="350"/>
                    </a:lnTo>
                    <a:close/>
                    <a:moveTo>
                      <a:pt x="488" y="104"/>
                    </a:moveTo>
                    <a:lnTo>
                      <a:pt x="489" y="104"/>
                    </a:lnTo>
                    <a:lnTo>
                      <a:pt x="489" y="105"/>
                    </a:lnTo>
                    <a:lnTo>
                      <a:pt x="490" y="105"/>
                    </a:lnTo>
                    <a:lnTo>
                      <a:pt x="490" y="106"/>
                    </a:lnTo>
                    <a:lnTo>
                      <a:pt x="491" y="105"/>
                    </a:lnTo>
                    <a:lnTo>
                      <a:pt x="491" y="106"/>
                    </a:lnTo>
                    <a:lnTo>
                      <a:pt x="492" y="106"/>
                    </a:lnTo>
                    <a:lnTo>
                      <a:pt x="492" y="107"/>
                    </a:lnTo>
                    <a:lnTo>
                      <a:pt x="493" y="107"/>
                    </a:lnTo>
                    <a:lnTo>
                      <a:pt x="493" y="108"/>
                    </a:lnTo>
                    <a:lnTo>
                      <a:pt x="493" y="109"/>
                    </a:lnTo>
                    <a:lnTo>
                      <a:pt x="494" y="109"/>
                    </a:lnTo>
                    <a:lnTo>
                      <a:pt x="494" y="110"/>
                    </a:lnTo>
                    <a:lnTo>
                      <a:pt x="494" y="109"/>
                    </a:lnTo>
                    <a:lnTo>
                      <a:pt x="495" y="110"/>
                    </a:lnTo>
                    <a:lnTo>
                      <a:pt x="494" y="110"/>
                    </a:lnTo>
                    <a:lnTo>
                      <a:pt x="494" y="112"/>
                    </a:lnTo>
                    <a:lnTo>
                      <a:pt x="494" y="110"/>
                    </a:lnTo>
                    <a:lnTo>
                      <a:pt x="493" y="110"/>
                    </a:lnTo>
                    <a:lnTo>
                      <a:pt x="493" y="109"/>
                    </a:lnTo>
                    <a:lnTo>
                      <a:pt x="492" y="109"/>
                    </a:lnTo>
                    <a:lnTo>
                      <a:pt x="492" y="108"/>
                    </a:lnTo>
                    <a:lnTo>
                      <a:pt x="491" y="109"/>
                    </a:lnTo>
                    <a:lnTo>
                      <a:pt x="491" y="108"/>
                    </a:lnTo>
                    <a:lnTo>
                      <a:pt x="492" y="108"/>
                    </a:lnTo>
                    <a:lnTo>
                      <a:pt x="491" y="108"/>
                    </a:lnTo>
                    <a:lnTo>
                      <a:pt x="491" y="109"/>
                    </a:lnTo>
                    <a:lnTo>
                      <a:pt x="491" y="110"/>
                    </a:lnTo>
                    <a:lnTo>
                      <a:pt x="491" y="112"/>
                    </a:lnTo>
                    <a:lnTo>
                      <a:pt x="490" y="112"/>
                    </a:lnTo>
                    <a:lnTo>
                      <a:pt x="490" y="113"/>
                    </a:lnTo>
                    <a:lnTo>
                      <a:pt x="490" y="114"/>
                    </a:lnTo>
                    <a:lnTo>
                      <a:pt x="491" y="114"/>
                    </a:lnTo>
                    <a:lnTo>
                      <a:pt x="490" y="115"/>
                    </a:lnTo>
                    <a:lnTo>
                      <a:pt x="490" y="114"/>
                    </a:lnTo>
                    <a:lnTo>
                      <a:pt x="489" y="114"/>
                    </a:lnTo>
                    <a:lnTo>
                      <a:pt x="489" y="115"/>
                    </a:lnTo>
                    <a:lnTo>
                      <a:pt x="488" y="115"/>
                    </a:lnTo>
                    <a:lnTo>
                      <a:pt x="488" y="114"/>
                    </a:lnTo>
                    <a:lnTo>
                      <a:pt x="488" y="113"/>
                    </a:lnTo>
                    <a:lnTo>
                      <a:pt x="488" y="112"/>
                    </a:lnTo>
                    <a:lnTo>
                      <a:pt x="487" y="112"/>
                    </a:lnTo>
                    <a:lnTo>
                      <a:pt x="487" y="113"/>
                    </a:lnTo>
                    <a:lnTo>
                      <a:pt x="487" y="112"/>
                    </a:lnTo>
                    <a:lnTo>
                      <a:pt x="488" y="112"/>
                    </a:lnTo>
                    <a:lnTo>
                      <a:pt x="487" y="112"/>
                    </a:lnTo>
                    <a:lnTo>
                      <a:pt x="487" y="110"/>
                    </a:lnTo>
                    <a:lnTo>
                      <a:pt x="486" y="110"/>
                    </a:lnTo>
                    <a:lnTo>
                      <a:pt x="487" y="110"/>
                    </a:lnTo>
                    <a:lnTo>
                      <a:pt x="487" y="109"/>
                    </a:lnTo>
                    <a:lnTo>
                      <a:pt x="488" y="109"/>
                    </a:lnTo>
                    <a:lnTo>
                      <a:pt x="488" y="108"/>
                    </a:lnTo>
                    <a:lnTo>
                      <a:pt x="489" y="108"/>
                    </a:lnTo>
                    <a:lnTo>
                      <a:pt x="488" y="108"/>
                    </a:lnTo>
                    <a:lnTo>
                      <a:pt x="488" y="107"/>
                    </a:lnTo>
                    <a:lnTo>
                      <a:pt x="488" y="106"/>
                    </a:lnTo>
                    <a:lnTo>
                      <a:pt x="489" y="106"/>
                    </a:lnTo>
                    <a:lnTo>
                      <a:pt x="489" y="105"/>
                    </a:lnTo>
                    <a:lnTo>
                      <a:pt x="488" y="105"/>
                    </a:lnTo>
                    <a:lnTo>
                      <a:pt x="488" y="104"/>
                    </a:lnTo>
                    <a:lnTo>
                      <a:pt x="487" y="104"/>
                    </a:lnTo>
                    <a:lnTo>
                      <a:pt x="488" y="104"/>
                    </a:lnTo>
                    <a:close/>
                    <a:moveTo>
                      <a:pt x="433" y="280"/>
                    </a:moveTo>
                    <a:lnTo>
                      <a:pt x="433" y="279"/>
                    </a:lnTo>
                    <a:lnTo>
                      <a:pt x="434" y="279"/>
                    </a:lnTo>
                    <a:lnTo>
                      <a:pt x="435" y="279"/>
                    </a:lnTo>
                    <a:lnTo>
                      <a:pt x="436" y="279"/>
                    </a:lnTo>
                    <a:lnTo>
                      <a:pt x="438" y="279"/>
                    </a:lnTo>
                    <a:lnTo>
                      <a:pt x="438" y="280"/>
                    </a:lnTo>
                    <a:lnTo>
                      <a:pt x="439" y="280"/>
                    </a:lnTo>
                    <a:lnTo>
                      <a:pt x="439" y="281"/>
                    </a:lnTo>
                    <a:lnTo>
                      <a:pt x="439" y="282"/>
                    </a:lnTo>
                    <a:lnTo>
                      <a:pt x="438" y="282"/>
                    </a:lnTo>
                    <a:lnTo>
                      <a:pt x="437" y="282"/>
                    </a:lnTo>
                    <a:lnTo>
                      <a:pt x="436" y="282"/>
                    </a:lnTo>
                    <a:lnTo>
                      <a:pt x="435" y="282"/>
                    </a:lnTo>
                    <a:lnTo>
                      <a:pt x="434" y="282"/>
                    </a:lnTo>
                    <a:lnTo>
                      <a:pt x="434" y="283"/>
                    </a:lnTo>
                    <a:lnTo>
                      <a:pt x="433" y="282"/>
                    </a:lnTo>
                    <a:lnTo>
                      <a:pt x="433" y="281"/>
                    </a:lnTo>
                    <a:lnTo>
                      <a:pt x="432" y="280"/>
                    </a:lnTo>
                    <a:lnTo>
                      <a:pt x="430" y="280"/>
                    </a:lnTo>
                    <a:lnTo>
                      <a:pt x="429" y="280"/>
                    </a:lnTo>
                    <a:lnTo>
                      <a:pt x="428" y="280"/>
                    </a:lnTo>
                    <a:lnTo>
                      <a:pt x="427" y="280"/>
                    </a:lnTo>
                    <a:lnTo>
                      <a:pt x="427" y="279"/>
                    </a:lnTo>
                    <a:lnTo>
                      <a:pt x="427" y="277"/>
                    </a:lnTo>
                    <a:lnTo>
                      <a:pt x="426" y="276"/>
                    </a:lnTo>
                    <a:lnTo>
                      <a:pt x="426" y="275"/>
                    </a:lnTo>
                    <a:lnTo>
                      <a:pt x="425" y="275"/>
                    </a:lnTo>
                    <a:lnTo>
                      <a:pt x="426" y="275"/>
                    </a:lnTo>
                    <a:lnTo>
                      <a:pt x="430" y="277"/>
                    </a:lnTo>
                    <a:lnTo>
                      <a:pt x="433" y="279"/>
                    </a:lnTo>
                    <a:lnTo>
                      <a:pt x="433" y="280"/>
                    </a:lnTo>
                    <a:close/>
                    <a:moveTo>
                      <a:pt x="402" y="161"/>
                    </a:moveTo>
                    <a:lnTo>
                      <a:pt x="403" y="161"/>
                    </a:lnTo>
                    <a:lnTo>
                      <a:pt x="404" y="162"/>
                    </a:lnTo>
                    <a:lnTo>
                      <a:pt x="404" y="164"/>
                    </a:lnTo>
                    <a:lnTo>
                      <a:pt x="403" y="164"/>
                    </a:lnTo>
                    <a:lnTo>
                      <a:pt x="404" y="164"/>
                    </a:lnTo>
                    <a:lnTo>
                      <a:pt x="404" y="165"/>
                    </a:lnTo>
                    <a:lnTo>
                      <a:pt x="404" y="166"/>
                    </a:lnTo>
                    <a:lnTo>
                      <a:pt x="403" y="166"/>
                    </a:lnTo>
                    <a:lnTo>
                      <a:pt x="403" y="167"/>
                    </a:lnTo>
                    <a:lnTo>
                      <a:pt x="402" y="167"/>
                    </a:lnTo>
                    <a:lnTo>
                      <a:pt x="402" y="168"/>
                    </a:lnTo>
                    <a:lnTo>
                      <a:pt x="402" y="169"/>
                    </a:lnTo>
                    <a:lnTo>
                      <a:pt x="401" y="169"/>
                    </a:lnTo>
                    <a:lnTo>
                      <a:pt x="400" y="169"/>
                    </a:lnTo>
                    <a:lnTo>
                      <a:pt x="399" y="169"/>
                    </a:lnTo>
                    <a:lnTo>
                      <a:pt x="399" y="168"/>
                    </a:lnTo>
                    <a:lnTo>
                      <a:pt x="398" y="167"/>
                    </a:lnTo>
                    <a:lnTo>
                      <a:pt x="399" y="167"/>
                    </a:lnTo>
                    <a:lnTo>
                      <a:pt x="399" y="166"/>
                    </a:lnTo>
                    <a:lnTo>
                      <a:pt x="400" y="166"/>
                    </a:lnTo>
                    <a:lnTo>
                      <a:pt x="400" y="165"/>
                    </a:lnTo>
                    <a:lnTo>
                      <a:pt x="399" y="165"/>
                    </a:lnTo>
                    <a:lnTo>
                      <a:pt x="399" y="164"/>
                    </a:lnTo>
                    <a:lnTo>
                      <a:pt x="400" y="164"/>
                    </a:lnTo>
                    <a:lnTo>
                      <a:pt x="400" y="162"/>
                    </a:lnTo>
                    <a:lnTo>
                      <a:pt x="400" y="161"/>
                    </a:lnTo>
                    <a:lnTo>
                      <a:pt x="401" y="161"/>
                    </a:lnTo>
                    <a:lnTo>
                      <a:pt x="400" y="161"/>
                    </a:lnTo>
                    <a:lnTo>
                      <a:pt x="401" y="161"/>
                    </a:lnTo>
                    <a:lnTo>
                      <a:pt x="401" y="160"/>
                    </a:lnTo>
                    <a:lnTo>
                      <a:pt x="401" y="159"/>
                    </a:lnTo>
                    <a:lnTo>
                      <a:pt x="402" y="159"/>
                    </a:lnTo>
                    <a:lnTo>
                      <a:pt x="402" y="160"/>
                    </a:lnTo>
                    <a:lnTo>
                      <a:pt x="402" y="161"/>
                    </a:lnTo>
                    <a:close/>
                    <a:moveTo>
                      <a:pt x="475" y="139"/>
                    </a:moveTo>
                    <a:lnTo>
                      <a:pt x="475" y="140"/>
                    </a:lnTo>
                    <a:lnTo>
                      <a:pt x="474" y="140"/>
                    </a:lnTo>
                    <a:lnTo>
                      <a:pt x="474" y="141"/>
                    </a:lnTo>
                    <a:lnTo>
                      <a:pt x="473" y="141"/>
                    </a:lnTo>
                    <a:lnTo>
                      <a:pt x="472" y="141"/>
                    </a:lnTo>
                    <a:lnTo>
                      <a:pt x="472" y="142"/>
                    </a:lnTo>
                    <a:lnTo>
                      <a:pt x="471" y="142"/>
                    </a:lnTo>
                    <a:lnTo>
                      <a:pt x="471" y="143"/>
                    </a:lnTo>
                    <a:lnTo>
                      <a:pt x="471" y="144"/>
                    </a:lnTo>
                    <a:lnTo>
                      <a:pt x="469" y="144"/>
                    </a:lnTo>
                    <a:lnTo>
                      <a:pt x="469" y="145"/>
                    </a:lnTo>
                    <a:lnTo>
                      <a:pt x="468" y="145"/>
                    </a:lnTo>
                    <a:lnTo>
                      <a:pt x="468" y="146"/>
                    </a:lnTo>
                    <a:lnTo>
                      <a:pt x="467" y="146"/>
                    </a:lnTo>
                    <a:lnTo>
                      <a:pt x="466" y="147"/>
                    </a:lnTo>
                    <a:lnTo>
                      <a:pt x="466" y="148"/>
                    </a:lnTo>
                    <a:lnTo>
                      <a:pt x="466" y="149"/>
                    </a:lnTo>
                    <a:lnTo>
                      <a:pt x="466" y="151"/>
                    </a:lnTo>
                    <a:lnTo>
                      <a:pt x="465" y="151"/>
                    </a:lnTo>
                    <a:lnTo>
                      <a:pt x="466" y="151"/>
                    </a:lnTo>
                    <a:lnTo>
                      <a:pt x="466" y="149"/>
                    </a:lnTo>
                    <a:lnTo>
                      <a:pt x="465" y="148"/>
                    </a:lnTo>
                    <a:lnTo>
                      <a:pt x="464" y="148"/>
                    </a:lnTo>
                    <a:lnTo>
                      <a:pt x="464" y="149"/>
                    </a:lnTo>
                    <a:lnTo>
                      <a:pt x="464" y="151"/>
                    </a:lnTo>
                    <a:lnTo>
                      <a:pt x="463" y="151"/>
                    </a:lnTo>
                    <a:lnTo>
                      <a:pt x="464" y="151"/>
                    </a:lnTo>
                    <a:lnTo>
                      <a:pt x="464" y="149"/>
                    </a:lnTo>
                    <a:lnTo>
                      <a:pt x="463" y="149"/>
                    </a:lnTo>
                    <a:lnTo>
                      <a:pt x="463" y="148"/>
                    </a:lnTo>
                    <a:lnTo>
                      <a:pt x="463" y="149"/>
                    </a:lnTo>
                    <a:lnTo>
                      <a:pt x="462" y="149"/>
                    </a:lnTo>
                    <a:lnTo>
                      <a:pt x="461" y="151"/>
                    </a:lnTo>
                    <a:lnTo>
                      <a:pt x="461" y="149"/>
                    </a:lnTo>
                    <a:lnTo>
                      <a:pt x="462" y="149"/>
                    </a:lnTo>
                    <a:lnTo>
                      <a:pt x="462" y="148"/>
                    </a:lnTo>
                    <a:lnTo>
                      <a:pt x="462" y="149"/>
                    </a:lnTo>
                    <a:lnTo>
                      <a:pt x="461" y="149"/>
                    </a:lnTo>
                    <a:lnTo>
                      <a:pt x="460" y="149"/>
                    </a:lnTo>
                    <a:lnTo>
                      <a:pt x="459" y="151"/>
                    </a:lnTo>
                    <a:lnTo>
                      <a:pt x="458" y="151"/>
                    </a:lnTo>
                    <a:lnTo>
                      <a:pt x="458" y="152"/>
                    </a:lnTo>
                    <a:lnTo>
                      <a:pt x="459" y="152"/>
                    </a:lnTo>
                    <a:lnTo>
                      <a:pt x="458" y="152"/>
                    </a:lnTo>
                    <a:lnTo>
                      <a:pt x="458" y="153"/>
                    </a:lnTo>
                    <a:lnTo>
                      <a:pt x="456" y="153"/>
                    </a:lnTo>
                    <a:lnTo>
                      <a:pt x="456" y="152"/>
                    </a:lnTo>
                    <a:lnTo>
                      <a:pt x="458" y="152"/>
                    </a:lnTo>
                    <a:lnTo>
                      <a:pt x="458" y="151"/>
                    </a:lnTo>
                    <a:lnTo>
                      <a:pt x="458" y="149"/>
                    </a:lnTo>
                    <a:lnTo>
                      <a:pt x="459" y="149"/>
                    </a:lnTo>
                    <a:lnTo>
                      <a:pt x="460" y="149"/>
                    </a:lnTo>
                    <a:lnTo>
                      <a:pt x="460" y="148"/>
                    </a:lnTo>
                    <a:lnTo>
                      <a:pt x="461" y="148"/>
                    </a:lnTo>
                    <a:lnTo>
                      <a:pt x="462" y="148"/>
                    </a:lnTo>
                    <a:lnTo>
                      <a:pt x="463" y="148"/>
                    </a:lnTo>
                    <a:lnTo>
                      <a:pt x="463" y="147"/>
                    </a:lnTo>
                    <a:lnTo>
                      <a:pt x="463" y="146"/>
                    </a:lnTo>
                    <a:lnTo>
                      <a:pt x="464" y="146"/>
                    </a:lnTo>
                    <a:lnTo>
                      <a:pt x="463" y="146"/>
                    </a:lnTo>
                    <a:lnTo>
                      <a:pt x="464" y="145"/>
                    </a:lnTo>
                    <a:lnTo>
                      <a:pt x="465" y="145"/>
                    </a:lnTo>
                    <a:lnTo>
                      <a:pt x="465" y="144"/>
                    </a:lnTo>
                    <a:lnTo>
                      <a:pt x="466" y="144"/>
                    </a:lnTo>
                    <a:lnTo>
                      <a:pt x="466" y="145"/>
                    </a:lnTo>
                    <a:lnTo>
                      <a:pt x="467" y="145"/>
                    </a:lnTo>
                    <a:lnTo>
                      <a:pt x="467" y="144"/>
                    </a:lnTo>
                    <a:lnTo>
                      <a:pt x="468" y="144"/>
                    </a:lnTo>
                    <a:lnTo>
                      <a:pt x="469" y="143"/>
                    </a:lnTo>
                    <a:lnTo>
                      <a:pt x="469" y="142"/>
                    </a:lnTo>
                    <a:lnTo>
                      <a:pt x="469" y="143"/>
                    </a:lnTo>
                    <a:lnTo>
                      <a:pt x="468" y="143"/>
                    </a:lnTo>
                    <a:lnTo>
                      <a:pt x="468" y="142"/>
                    </a:lnTo>
                    <a:lnTo>
                      <a:pt x="469" y="142"/>
                    </a:lnTo>
                    <a:lnTo>
                      <a:pt x="471" y="142"/>
                    </a:lnTo>
                    <a:lnTo>
                      <a:pt x="471" y="141"/>
                    </a:lnTo>
                    <a:lnTo>
                      <a:pt x="472" y="141"/>
                    </a:lnTo>
                    <a:lnTo>
                      <a:pt x="473" y="141"/>
                    </a:lnTo>
                    <a:lnTo>
                      <a:pt x="473" y="140"/>
                    </a:lnTo>
                    <a:lnTo>
                      <a:pt x="474" y="140"/>
                    </a:lnTo>
                    <a:lnTo>
                      <a:pt x="474" y="139"/>
                    </a:lnTo>
                    <a:lnTo>
                      <a:pt x="475" y="139"/>
                    </a:lnTo>
                    <a:close/>
                    <a:moveTo>
                      <a:pt x="437" y="174"/>
                    </a:moveTo>
                    <a:lnTo>
                      <a:pt x="437" y="176"/>
                    </a:lnTo>
                    <a:lnTo>
                      <a:pt x="436" y="177"/>
                    </a:lnTo>
                    <a:lnTo>
                      <a:pt x="436" y="176"/>
                    </a:lnTo>
                    <a:lnTo>
                      <a:pt x="435" y="176"/>
                    </a:lnTo>
                    <a:lnTo>
                      <a:pt x="434" y="176"/>
                    </a:lnTo>
                    <a:lnTo>
                      <a:pt x="433" y="177"/>
                    </a:lnTo>
                    <a:lnTo>
                      <a:pt x="432" y="177"/>
                    </a:lnTo>
                    <a:lnTo>
                      <a:pt x="432" y="178"/>
                    </a:lnTo>
                    <a:lnTo>
                      <a:pt x="430" y="178"/>
                    </a:lnTo>
                    <a:lnTo>
                      <a:pt x="429" y="178"/>
                    </a:lnTo>
                    <a:lnTo>
                      <a:pt x="428" y="179"/>
                    </a:lnTo>
                    <a:lnTo>
                      <a:pt x="428" y="180"/>
                    </a:lnTo>
                    <a:lnTo>
                      <a:pt x="427" y="180"/>
                    </a:lnTo>
                    <a:lnTo>
                      <a:pt x="427" y="181"/>
                    </a:lnTo>
                    <a:lnTo>
                      <a:pt x="426" y="181"/>
                    </a:lnTo>
                    <a:lnTo>
                      <a:pt x="426" y="182"/>
                    </a:lnTo>
                    <a:lnTo>
                      <a:pt x="425" y="182"/>
                    </a:lnTo>
                    <a:lnTo>
                      <a:pt x="424" y="182"/>
                    </a:lnTo>
                    <a:lnTo>
                      <a:pt x="425" y="181"/>
                    </a:lnTo>
                    <a:lnTo>
                      <a:pt x="425" y="180"/>
                    </a:lnTo>
                    <a:lnTo>
                      <a:pt x="425" y="179"/>
                    </a:lnTo>
                    <a:lnTo>
                      <a:pt x="426" y="179"/>
                    </a:lnTo>
                    <a:lnTo>
                      <a:pt x="427" y="178"/>
                    </a:lnTo>
                    <a:lnTo>
                      <a:pt x="428" y="178"/>
                    </a:lnTo>
                    <a:lnTo>
                      <a:pt x="428" y="177"/>
                    </a:lnTo>
                    <a:lnTo>
                      <a:pt x="429" y="177"/>
                    </a:lnTo>
                    <a:lnTo>
                      <a:pt x="430" y="176"/>
                    </a:lnTo>
                    <a:lnTo>
                      <a:pt x="430" y="174"/>
                    </a:lnTo>
                    <a:lnTo>
                      <a:pt x="432" y="174"/>
                    </a:lnTo>
                    <a:lnTo>
                      <a:pt x="433" y="174"/>
                    </a:lnTo>
                    <a:lnTo>
                      <a:pt x="433" y="173"/>
                    </a:lnTo>
                    <a:lnTo>
                      <a:pt x="434" y="173"/>
                    </a:lnTo>
                    <a:lnTo>
                      <a:pt x="434" y="174"/>
                    </a:lnTo>
                    <a:lnTo>
                      <a:pt x="435" y="174"/>
                    </a:lnTo>
                    <a:lnTo>
                      <a:pt x="436" y="174"/>
                    </a:lnTo>
                    <a:lnTo>
                      <a:pt x="436" y="173"/>
                    </a:lnTo>
                    <a:lnTo>
                      <a:pt x="437" y="172"/>
                    </a:lnTo>
                    <a:lnTo>
                      <a:pt x="438" y="172"/>
                    </a:lnTo>
                    <a:lnTo>
                      <a:pt x="437" y="172"/>
                    </a:lnTo>
                    <a:lnTo>
                      <a:pt x="437" y="173"/>
                    </a:lnTo>
                    <a:lnTo>
                      <a:pt x="437" y="174"/>
                    </a:lnTo>
                    <a:close/>
                    <a:moveTo>
                      <a:pt x="337" y="251"/>
                    </a:moveTo>
                    <a:lnTo>
                      <a:pt x="338" y="251"/>
                    </a:lnTo>
                    <a:lnTo>
                      <a:pt x="338" y="252"/>
                    </a:lnTo>
                    <a:lnTo>
                      <a:pt x="338" y="251"/>
                    </a:lnTo>
                    <a:lnTo>
                      <a:pt x="338" y="252"/>
                    </a:lnTo>
                    <a:lnTo>
                      <a:pt x="339" y="252"/>
                    </a:lnTo>
                    <a:lnTo>
                      <a:pt x="339" y="254"/>
                    </a:lnTo>
                    <a:lnTo>
                      <a:pt x="340" y="254"/>
                    </a:lnTo>
                    <a:lnTo>
                      <a:pt x="340" y="255"/>
                    </a:lnTo>
                    <a:lnTo>
                      <a:pt x="342" y="255"/>
                    </a:lnTo>
                    <a:lnTo>
                      <a:pt x="343" y="255"/>
                    </a:lnTo>
                    <a:lnTo>
                      <a:pt x="344" y="255"/>
                    </a:lnTo>
                    <a:lnTo>
                      <a:pt x="345" y="255"/>
                    </a:lnTo>
                    <a:lnTo>
                      <a:pt x="345" y="256"/>
                    </a:lnTo>
                    <a:lnTo>
                      <a:pt x="346" y="256"/>
                    </a:lnTo>
                    <a:lnTo>
                      <a:pt x="346" y="257"/>
                    </a:lnTo>
                    <a:lnTo>
                      <a:pt x="347" y="258"/>
                    </a:lnTo>
                    <a:lnTo>
                      <a:pt x="347" y="259"/>
                    </a:lnTo>
                    <a:lnTo>
                      <a:pt x="346" y="258"/>
                    </a:lnTo>
                    <a:lnTo>
                      <a:pt x="346" y="257"/>
                    </a:lnTo>
                    <a:lnTo>
                      <a:pt x="345" y="257"/>
                    </a:lnTo>
                    <a:lnTo>
                      <a:pt x="345" y="258"/>
                    </a:lnTo>
                    <a:lnTo>
                      <a:pt x="344" y="257"/>
                    </a:lnTo>
                    <a:lnTo>
                      <a:pt x="343" y="258"/>
                    </a:lnTo>
                    <a:lnTo>
                      <a:pt x="343" y="257"/>
                    </a:lnTo>
                    <a:lnTo>
                      <a:pt x="342" y="257"/>
                    </a:lnTo>
                    <a:lnTo>
                      <a:pt x="340" y="257"/>
                    </a:lnTo>
                    <a:lnTo>
                      <a:pt x="340" y="256"/>
                    </a:lnTo>
                    <a:lnTo>
                      <a:pt x="340" y="257"/>
                    </a:lnTo>
                    <a:lnTo>
                      <a:pt x="339" y="257"/>
                    </a:lnTo>
                    <a:lnTo>
                      <a:pt x="339" y="256"/>
                    </a:lnTo>
                    <a:lnTo>
                      <a:pt x="338" y="257"/>
                    </a:lnTo>
                    <a:lnTo>
                      <a:pt x="338" y="256"/>
                    </a:lnTo>
                    <a:lnTo>
                      <a:pt x="338" y="257"/>
                    </a:lnTo>
                    <a:lnTo>
                      <a:pt x="337" y="256"/>
                    </a:lnTo>
                    <a:lnTo>
                      <a:pt x="337" y="257"/>
                    </a:lnTo>
                    <a:lnTo>
                      <a:pt x="337" y="256"/>
                    </a:lnTo>
                    <a:lnTo>
                      <a:pt x="336" y="256"/>
                    </a:lnTo>
                    <a:lnTo>
                      <a:pt x="337" y="256"/>
                    </a:lnTo>
                    <a:lnTo>
                      <a:pt x="337" y="255"/>
                    </a:lnTo>
                    <a:lnTo>
                      <a:pt x="337" y="254"/>
                    </a:lnTo>
                    <a:lnTo>
                      <a:pt x="336" y="252"/>
                    </a:lnTo>
                    <a:lnTo>
                      <a:pt x="337" y="252"/>
                    </a:lnTo>
                    <a:lnTo>
                      <a:pt x="336" y="252"/>
                    </a:lnTo>
                    <a:lnTo>
                      <a:pt x="336" y="251"/>
                    </a:lnTo>
                    <a:lnTo>
                      <a:pt x="337" y="251"/>
                    </a:lnTo>
                    <a:close/>
                    <a:moveTo>
                      <a:pt x="390" y="102"/>
                    </a:moveTo>
                    <a:lnTo>
                      <a:pt x="389" y="103"/>
                    </a:lnTo>
                    <a:lnTo>
                      <a:pt x="389" y="104"/>
                    </a:lnTo>
                    <a:lnTo>
                      <a:pt x="390" y="104"/>
                    </a:lnTo>
                    <a:lnTo>
                      <a:pt x="390" y="105"/>
                    </a:lnTo>
                    <a:lnTo>
                      <a:pt x="391" y="105"/>
                    </a:lnTo>
                    <a:lnTo>
                      <a:pt x="393" y="106"/>
                    </a:lnTo>
                    <a:lnTo>
                      <a:pt x="394" y="106"/>
                    </a:lnTo>
                    <a:lnTo>
                      <a:pt x="395" y="106"/>
                    </a:lnTo>
                    <a:lnTo>
                      <a:pt x="395" y="105"/>
                    </a:lnTo>
                    <a:lnTo>
                      <a:pt x="396" y="106"/>
                    </a:lnTo>
                    <a:lnTo>
                      <a:pt x="397" y="106"/>
                    </a:lnTo>
                    <a:lnTo>
                      <a:pt x="397" y="107"/>
                    </a:lnTo>
                    <a:lnTo>
                      <a:pt x="396" y="107"/>
                    </a:lnTo>
                    <a:lnTo>
                      <a:pt x="396" y="108"/>
                    </a:lnTo>
                    <a:lnTo>
                      <a:pt x="395" y="108"/>
                    </a:lnTo>
                    <a:lnTo>
                      <a:pt x="395" y="107"/>
                    </a:lnTo>
                    <a:lnTo>
                      <a:pt x="395" y="108"/>
                    </a:lnTo>
                    <a:lnTo>
                      <a:pt x="394" y="108"/>
                    </a:lnTo>
                    <a:lnTo>
                      <a:pt x="394" y="107"/>
                    </a:lnTo>
                    <a:lnTo>
                      <a:pt x="393" y="107"/>
                    </a:lnTo>
                    <a:lnTo>
                      <a:pt x="391" y="107"/>
                    </a:lnTo>
                    <a:lnTo>
                      <a:pt x="390" y="107"/>
                    </a:lnTo>
                    <a:lnTo>
                      <a:pt x="390" y="108"/>
                    </a:lnTo>
                    <a:lnTo>
                      <a:pt x="389" y="108"/>
                    </a:lnTo>
                    <a:lnTo>
                      <a:pt x="389" y="109"/>
                    </a:lnTo>
                    <a:lnTo>
                      <a:pt x="388" y="109"/>
                    </a:lnTo>
                    <a:lnTo>
                      <a:pt x="388" y="108"/>
                    </a:lnTo>
                    <a:lnTo>
                      <a:pt x="387" y="108"/>
                    </a:lnTo>
                    <a:lnTo>
                      <a:pt x="387" y="107"/>
                    </a:lnTo>
                    <a:lnTo>
                      <a:pt x="387" y="106"/>
                    </a:lnTo>
                    <a:lnTo>
                      <a:pt x="387" y="105"/>
                    </a:lnTo>
                    <a:lnTo>
                      <a:pt x="388" y="105"/>
                    </a:lnTo>
                    <a:lnTo>
                      <a:pt x="389" y="105"/>
                    </a:lnTo>
                    <a:lnTo>
                      <a:pt x="389" y="104"/>
                    </a:lnTo>
                    <a:lnTo>
                      <a:pt x="389" y="103"/>
                    </a:lnTo>
                    <a:lnTo>
                      <a:pt x="388" y="103"/>
                    </a:lnTo>
                    <a:lnTo>
                      <a:pt x="387" y="103"/>
                    </a:lnTo>
                    <a:lnTo>
                      <a:pt x="388" y="103"/>
                    </a:lnTo>
                    <a:lnTo>
                      <a:pt x="388" y="102"/>
                    </a:lnTo>
                    <a:lnTo>
                      <a:pt x="389" y="102"/>
                    </a:lnTo>
                    <a:lnTo>
                      <a:pt x="390" y="102"/>
                    </a:lnTo>
                    <a:close/>
                    <a:moveTo>
                      <a:pt x="344" y="336"/>
                    </a:moveTo>
                    <a:lnTo>
                      <a:pt x="344" y="338"/>
                    </a:lnTo>
                    <a:lnTo>
                      <a:pt x="345" y="339"/>
                    </a:lnTo>
                    <a:lnTo>
                      <a:pt x="345" y="340"/>
                    </a:lnTo>
                    <a:lnTo>
                      <a:pt x="346" y="340"/>
                    </a:lnTo>
                    <a:lnTo>
                      <a:pt x="346" y="341"/>
                    </a:lnTo>
                    <a:lnTo>
                      <a:pt x="347" y="341"/>
                    </a:lnTo>
                    <a:lnTo>
                      <a:pt x="347" y="343"/>
                    </a:lnTo>
                    <a:lnTo>
                      <a:pt x="348" y="343"/>
                    </a:lnTo>
                    <a:lnTo>
                      <a:pt x="348" y="344"/>
                    </a:lnTo>
                    <a:lnTo>
                      <a:pt x="348" y="345"/>
                    </a:lnTo>
                    <a:lnTo>
                      <a:pt x="347" y="345"/>
                    </a:lnTo>
                    <a:lnTo>
                      <a:pt x="346" y="345"/>
                    </a:lnTo>
                    <a:lnTo>
                      <a:pt x="345" y="346"/>
                    </a:lnTo>
                    <a:lnTo>
                      <a:pt x="345" y="347"/>
                    </a:lnTo>
                    <a:lnTo>
                      <a:pt x="345" y="348"/>
                    </a:lnTo>
                    <a:lnTo>
                      <a:pt x="345" y="349"/>
                    </a:lnTo>
                    <a:lnTo>
                      <a:pt x="345" y="350"/>
                    </a:lnTo>
                    <a:lnTo>
                      <a:pt x="345" y="349"/>
                    </a:lnTo>
                    <a:lnTo>
                      <a:pt x="344" y="349"/>
                    </a:lnTo>
                    <a:lnTo>
                      <a:pt x="345" y="349"/>
                    </a:lnTo>
                    <a:lnTo>
                      <a:pt x="344" y="349"/>
                    </a:lnTo>
                    <a:lnTo>
                      <a:pt x="344" y="348"/>
                    </a:lnTo>
                    <a:lnTo>
                      <a:pt x="343" y="347"/>
                    </a:lnTo>
                    <a:lnTo>
                      <a:pt x="343" y="346"/>
                    </a:lnTo>
                    <a:lnTo>
                      <a:pt x="342" y="346"/>
                    </a:lnTo>
                    <a:lnTo>
                      <a:pt x="342" y="345"/>
                    </a:lnTo>
                    <a:lnTo>
                      <a:pt x="342" y="344"/>
                    </a:lnTo>
                    <a:lnTo>
                      <a:pt x="343" y="344"/>
                    </a:lnTo>
                    <a:lnTo>
                      <a:pt x="344" y="343"/>
                    </a:lnTo>
                    <a:lnTo>
                      <a:pt x="345" y="343"/>
                    </a:lnTo>
                    <a:lnTo>
                      <a:pt x="345" y="341"/>
                    </a:lnTo>
                    <a:lnTo>
                      <a:pt x="345" y="343"/>
                    </a:lnTo>
                    <a:lnTo>
                      <a:pt x="345" y="341"/>
                    </a:lnTo>
                    <a:lnTo>
                      <a:pt x="345" y="340"/>
                    </a:lnTo>
                    <a:lnTo>
                      <a:pt x="344" y="340"/>
                    </a:lnTo>
                    <a:lnTo>
                      <a:pt x="344" y="339"/>
                    </a:lnTo>
                    <a:lnTo>
                      <a:pt x="343" y="338"/>
                    </a:lnTo>
                    <a:lnTo>
                      <a:pt x="343" y="337"/>
                    </a:lnTo>
                    <a:lnTo>
                      <a:pt x="344" y="337"/>
                    </a:lnTo>
                    <a:lnTo>
                      <a:pt x="344" y="336"/>
                    </a:lnTo>
                    <a:lnTo>
                      <a:pt x="343" y="336"/>
                    </a:lnTo>
                    <a:lnTo>
                      <a:pt x="342" y="336"/>
                    </a:lnTo>
                    <a:lnTo>
                      <a:pt x="343" y="336"/>
                    </a:lnTo>
                    <a:lnTo>
                      <a:pt x="344" y="336"/>
                    </a:lnTo>
                    <a:close/>
                    <a:moveTo>
                      <a:pt x="415" y="215"/>
                    </a:moveTo>
                    <a:lnTo>
                      <a:pt x="416" y="215"/>
                    </a:lnTo>
                    <a:lnTo>
                      <a:pt x="417" y="215"/>
                    </a:lnTo>
                    <a:lnTo>
                      <a:pt x="417" y="216"/>
                    </a:lnTo>
                    <a:lnTo>
                      <a:pt x="419" y="216"/>
                    </a:lnTo>
                    <a:lnTo>
                      <a:pt x="417" y="216"/>
                    </a:lnTo>
                    <a:lnTo>
                      <a:pt x="417" y="217"/>
                    </a:lnTo>
                    <a:lnTo>
                      <a:pt x="419" y="217"/>
                    </a:lnTo>
                    <a:lnTo>
                      <a:pt x="417" y="217"/>
                    </a:lnTo>
                    <a:lnTo>
                      <a:pt x="419" y="217"/>
                    </a:lnTo>
                    <a:lnTo>
                      <a:pt x="419" y="218"/>
                    </a:lnTo>
                    <a:lnTo>
                      <a:pt x="419" y="217"/>
                    </a:lnTo>
                    <a:lnTo>
                      <a:pt x="419" y="216"/>
                    </a:lnTo>
                    <a:lnTo>
                      <a:pt x="419" y="215"/>
                    </a:lnTo>
                    <a:lnTo>
                      <a:pt x="419" y="216"/>
                    </a:lnTo>
                    <a:lnTo>
                      <a:pt x="420" y="216"/>
                    </a:lnTo>
                    <a:lnTo>
                      <a:pt x="421" y="217"/>
                    </a:lnTo>
                    <a:lnTo>
                      <a:pt x="422" y="216"/>
                    </a:lnTo>
                    <a:lnTo>
                      <a:pt x="423" y="216"/>
                    </a:lnTo>
                    <a:lnTo>
                      <a:pt x="424" y="216"/>
                    </a:lnTo>
                    <a:lnTo>
                      <a:pt x="424" y="217"/>
                    </a:lnTo>
                    <a:lnTo>
                      <a:pt x="423" y="217"/>
                    </a:lnTo>
                    <a:lnTo>
                      <a:pt x="423" y="218"/>
                    </a:lnTo>
                    <a:lnTo>
                      <a:pt x="422" y="218"/>
                    </a:lnTo>
                    <a:lnTo>
                      <a:pt x="422" y="217"/>
                    </a:lnTo>
                    <a:lnTo>
                      <a:pt x="422" y="218"/>
                    </a:lnTo>
                    <a:lnTo>
                      <a:pt x="421" y="218"/>
                    </a:lnTo>
                    <a:lnTo>
                      <a:pt x="421" y="219"/>
                    </a:lnTo>
                    <a:lnTo>
                      <a:pt x="420" y="219"/>
                    </a:lnTo>
                    <a:lnTo>
                      <a:pt x="419" y="219"/>
                    </a:lnTo>
                    <a:lnTo>
                      <a:pt x="419" y="218"/>
                    </a:lnTo>
                    <a:lnTo>
                      <a:pt x="417" y="218"/>
                    </a:lnTo>
                    <a:lnTo>
                      <a:pt x="417" y="217"/>
                    </a:lnTo>
                    <a:lnTo>
                      <a:pt x="416" y="216"/>
                    </a:lnTo>
                    <a:lnTo>
                      <a:pt x="416" y="217"/>
                    </a:lnTo>
                    <a:lnTo>
                      <a:pt x="415" y="217"/>
                    </a:lnTo>
                    <a:lnTo>
                      <a:pt x="415" y="216"/>
                    </a:lnTo>
                    <a:lnTo>
                      <a:pt x="414" y="216"/>
                    </a:lnTo>
                    <a:lnTo>
                      <a:pt x="413" y="216"/>
                    </a:lnTo>
                    <a:lnTo>
                      <a:pt x="412" y="217"/>
                    </a:lnTo>
                    <a:lnTo>
                      <a:pt x="411" y="217"/>
                    </a:lnTo>
                    <a:lnTo>
                      <a:pt x="411" y="218"/>
                    </a:lnTo>
                    <a:lnTo>
                      <a:pt x="410" y="218"/>
                    </a:lnTo>
                    <a:lnTo>
                      <a:pt x="410" y="217"/>
                    </a:lnTo>
                    <a:lnTo>
                      <a:pt x="409" y="217"/>
                    </a:lnTo>
                    <a:lnTo>
                      <a:pt x="410" y="216"/>
                    </a:lnTo>
                    <a:lnTo>
                      <a:pt x="411" y="216"/>
                    </a:lnTo>
                    <a:lnTo>
                      <a:pt x="412" y="215"/>
                    </a:lnTo>
                    <a:lnTo>
                      <a:pt x="413" y="215"/>
                    </a:lnTo>
                    <a:lnTo>
                      <a:pt x="414" y="215"/>
                    </a:lnTo>
                    <a:lnTo>
                      <a:pt x="414" y="213"/>
                    </a:lnTo>
                    <a:lnTo>
                      <a:pt x="415" y="215"/>
                    </a:lnTo>
                    <a:close/>
                    <a:moveTo>
                      <a:pt x="412" y="178"/>
                    </a:moveTo>
                    <a:lnTo>
                      <a:pt x="413" y="178"/>
                    </a:lnTo>
                    <a:lnTo>
                      <a:pt x="413" y="179"/>
                    </a:lnTo>
                    <a:lnTo>
                      <a:pt x="414" y="179"/>
                    </a:lnTo>
                    <a:lnTo>
                      <a:pt x="415" y="179"/>
                    </a:lnTo>
                    <a:lnTo>
                      <a:pt x="416" y="179"/>
                    </a:lnTo>
                    <a:lnTo>
                      <a:pt x="416" y="180"/>
                    </a:lnTo>
                    <a:lnTo>
                      <a:pt x="415" y="180"/>
                    </a:lnTo>
                    <a:lnTo>
                      <a:pt x="414" y="180"/>
                    </a:lnTo>
                    <a:lnTo>
                      <a:pt x="414" y="181"/>
                    </a:lnTo>
                    <a:lnTo>
                      <a:pt x="413" y="181"/>
                    </a:lnTo>
                    <a:lnTo>
                      <a:pt x="414" y="181"/>
                    </a:lnTo>
                    <a:lnTo>
                      <a:pt x="413" y="182"/>
                    </a:lnTo>
                    <a:lnTo>
                      <a:pt x="413" y="181"/>
                    </a:lnTo>
                    <a:lnTo>
                      <a:pt x="412" y="181"/>
                    </a:lnTo>
                    <a:lnTo>
                      <a:pt x="412" y="182"/>
                    </a:lnTo>
                    <a:lnTo>
                      <a:pt x="412" y="181"/>
                    </a:lnTo>
                    <a:lnTo>
                      <a:pt x="411" y="181"/>
                    </a:lnTo>
                    <a:lnTo>
                      <a:pt x="410" y="181"/>
                    </a:lnTo>
                    <a:lnTo>
                      <a:pt x="410" y="182"/>
                    </a:lnTo>
                    <a:lnTo>
                      <a:pt x="410" y="181"/>
                    </a:lnTo>
                    <a:lnTo>
                      <a:pt x="409" y="181"/>
                    </a:lnTo>
                    <a:lnTo>
                      <a:pt x="409" y="182"/>
                    </a:lnTo>
                    <a:lnTo>
                      <a:pt x="408" y="182"/>
                    </a:lnTo>
                    <a:lnTo>
                      <a:pt x="408" y="183"/>
                    </a:lnTo>
                    <a:lnTo>
                      <a:pt x="409" y="183"/>
                    </a:lnTo>
                    <a:lnTo>
                      <a:pt x="409" y="184"/>
                    </a:lnTo>
                    <a:lnTo>
                      <a:pt x="409" y="185"/>
                    </a:lnTo>
                    <a:lnTo>
                      <a:pt x="410" y="185"/>
                    </a:lnTo>
                    <a:lnTo>
                      <a:pt x="410" y="186"/>
                    </a:lnTo>
                    <a:lnTo>
                      <a:pt x="409" y="186"/>
                    </a:lnTo>
                    <a:lnTo>
                      <a:pt x="410" y="186"/>
                    </a:lnTo>
                    <a:lnTo>
                      <a:pt x="409" y="186"/>
                    </a:lnTo>
                    <a:lnTo>
                      <a:pt x="408" y="186"/>
                    </a:lnTo>
                    <a:lnTo>
                      <a:pt x="407" y="185"/>
                    </a:lnTo>
                    <a:lnTo>
                      <a:pt x="407" y="186"/>
                    </a:lnTo>
                    <a:lnTo>
                      <a:pt x="406" y="186"/>
                    </a:lnTo>
                    <a:lnTo>
                      <a:pt x="406" y="185"/>
                    </a:lnTo>
                    <a:lnTo>
                      <a:pt x="406" y="184"/>
                    </a:lnTo>
                    <a:lnTo>
                      <a:pt x="407" y="183"/>
                    </a:lnTo>
                    <a:lnTo>
                      <a:pt x="408" y="183"/>
                    </a:lnTo>
                    <a:lnTo>
                      <a:pt x="408" y="182"/>
                    </a:lnTo>
                    <a:lnTo>
                      <a:pt x="409" y="181"/>
                    </a:lnTo>
                    <a:lnTo>
                      <a:pt x="409" y="180"/>
                    </a:lnTo>
                    <a:lnTo>
                      <a:pt x="410" y="179"/>
                    </a:lnTo>
                    <a:lnTo>
                      <a:pt x="410" y="178"/>
                    </a:lnTo>
                    <a:lnTo>
                      <a:pt x="411" y="178"/>
                    </a:lnTo>
                    <a:lnTo>
                      <a:pt x="412" y="178"/>
                    </a:lnTo>
                    <a:close/>
                    <a:moveTo>
                      <a:pt x="727" y="149"/>
                    </a:moveTo>
                    <a:lnTo>
                      <a:pt x="729" y="149"/>
                    </a:lnTo>
                    <a:lnTo>
                      <a:pt x="727" y="149"/>
                    </a:lnTo>
                    <a:lnTo>
                      <a:pt x="726" y="149"/>
                    </a:lnTo>
                    <a:lnTo>
                      <a:pt x="726" y="151"/>
                    </a:lnTo>
                    <a:lnTo>
                      <a:pt x="727" y="149"/>
                    </a:lnTo>
                    <a:lnTo>
                      <a:pt x="727" y="151"/>
                    </a:lnTo>
                    <a:lnTo>
                      <a:pt x="729" y="151"/>
                    </a:lnTo>
                    <a:lnTo>
                      <a:pt x="729" y="152"/>
                    </a:lnTo>
                    <a:lnTo>
                      <a:pt x="727" y="152"/>
                    </a:lnTo>
                    <a:lnTo>
                      <a:pt x="726" y="153"/>
                    </a:lnTo>
                    <a:lnTo>
                      <a:pt x="725" y="153"/>
                    </a:lnTo>
                    <a:lnTo>
                      <a:pt x="724" y="153"/>
                    </a:lnTo>
                    <a:lnTo>
                      <a:pt x="723" y="153"/>
                    </a:lnTo>
                    <a:lnTo>
                      <a:pt x="722" y="153"/>
                    </a:lnTo>
                    <a:lnTo>
                      <a:pt x="722" y="152"/>
                    </a:lnTo>
                    <a:lnTo>
                      <a:pt x="723" y="152"/>
                    </a:lnTo>
                    <a:lnTo>
                      <a:pt x="722" y="152"/>
                    </a:lnTo>
                    <a:lnTo>
                      <a:pt x="721" y="152"/>
                    </a:lnTo>
                    <a:lnTo>
                      <a:pt x="721" y="151"/>
                    </a:lnTo>
                    <a:lnTo>
                      <a:pt x="721" y="149"/>
                    </a:lnTo>
                    <a:lnTo>
                      <a:pt x="721" y="151"/>
                    </a:lnTo>
                    <a:lnTo>
                      <a:pt x="721" y="149"/>
                    </a:lnTo>
                    <a:lnTo>
                      <a:pt x="721" y="148"/>
                    </a:lnTo>
                    <a:lnTo>
                      <a:pt x="722" y="148"/>
                    </a:lnTo>
                    <a:lnTo>
                      <a:pt x="723" y="148"/>
                    </a:lnTo>
                    <a:lnTo>
                      <a:pt x="724" y="148"/>
                    </a:lnTo>
                    <a:lnTo>
                      <a:pt x="724" y="149"/>
                    </a:lnTo>
                    <a:lnTo>
                      <a:pt x="725" y="149"/>
                    </a:lnTo>
                    <a:lnTo>
                      <a:pt x="725" y="148"/>
                    </a:lnTo>
                    <a:lnTo>
                      <a:pt x="724" y="148"/>
                    </a:lnTo>
                    <a:lnTo>
                      <a:pt x="725" y="147"/>
                    </a:lnTo>
                    <a:lnTo>
                      <a:pt x="726" y="147"/>
                    </a:lnTo>
                    <a:lnTo>
                      <a:pt x="726" y="148"/>
                    </a:lnTo>
                    <a:lnTo>
                      <a:pt x="727" y="149"/>
                    </a:lnTo>
                    <a:close/>
                    <a:moveTo>
                      <a:pt x="435" y="79"/>
                    </a:moveTo>
                    <a:lnTo>
                      <a:pt x="435" y="80"/>
                    </a:lnTo>
                    <a:lnTo>
                      <a:pt x="436" y="80"/>
                    </a:lnTo>
                    <a:lnTo>
                      <a:pt x="437" y="80"/>
                    </a:lnTo>
                    <a:lnTo>
                      <a:pt x="437" y="79"/>
                    </a:lnTo>
                    <a:lnTo>
                      <a:pt x="437" y="80"/>
                    </a:lnTo>
                    <a:lnTo>
                      <a:pt x="438" y="80"/>
                    </a:lnTo>
                    <a:lnTo>
                      <a:pt x="438" y="81"/>
                    </a:lnTo>
                    <a:lnTo>
                      <a:pt x="437" y="81"/>
                    </a:lnTo>
                    <a:lnTo>
                      <a:pt x="437" y="82"/>
                    </a:lnTo>
                    <a:lnTo>
                      <a:pt x="437" y="83"/>
                    </a:lnTo>
                    <a:lnTo>
                      <a:pt x="436" y="83"/>
                    </a:lnTo>
                    <a:lnTo>
                      <a:pt x="435" y="83"/>
                    </a:lnTo>
                    <a:lnTo>
                      <a:pt x="434" y="83"/>
                    </a:lnTo>
                    <a:lnTo>
                      <a:pt x="432" y="83"/>
                    </a:lnTo>
                    <a:lnTo>
                      <a:pt x="430" y="83"/>
                    </a:lnTo>
                    <a:lnTo>
                      <a:pt x="430" y="82"/>
                    </a:lnTo>
                    <a:lnTo>
                      <a:pt x="430" y="81"/>
                    </a:lnTo>
                    <a:lnTo>
                      <a:pt x="430" y="82"/>
                    </a:lnTo>
                    <a:lnTo>
                      <a:pt x="430" y="81"/>
                    </a:lnTo>
                    <a:lnTo>
                      <a:pt x="429" y="81"/>
                    </a:lnTo>
                    <a:lnTo>
                      <a:pt x="429" y="80"/>
                    </a:lnTo>
                    <a:lnTo>
                      <a:pt x="430" y="80"/>
                    </a:lnTo>
                    <a:lnTo>
                      <a:pt x="430" y="79"/>
                    </a:lnTo>
                    <a:lnTo>
                      <a:pt x="430" y="80"/>
                    </a:lnTo>
                    <a:lnTo>
                      <a:pt x="432" y="80"/>
                    </a:lnTo>
                    <a:lnTo>
                      <a:pt x="432" y="81"/>
                    </a:lnTo>
                    <a:lnTo>
                      <a:pt x="433" y="80"/>
                    </a:lnTo>
                    <a:lnTo>
                      <a:pt x="433" y="79"/>
                    </a:lnTo>
                    <a:lnTo>
                      <a:pt x="434" y="79"/>
                    </a:lnTo>
                    <a:lnTo>
                      <a:pt x="435" y="79"/>
                    </a:lnTo>
                    <a:close/>
                    <a:moveTo>
                      <a:pt x="482" y="22"/>
                    </a:moveTo>
                    <a:lnTo>
                      <a:pt x="484" y="22"/>
                    </a:lnTo>
                    <a:lnTo>
                      <a:pt x="484" y="23"/>
                    </a:lnTo>
                    <a:lnTo>
                      <a:pt x="484" y="24"/>
                    </a:lnTo>
                    <a:lnTo>
                      <a:pt x="484" y="25"/>
                    </a:lnTo>
                    <a:lnTo>
                      <a:pt x="485" y="25"/>
                    </a:lnTo>
                    <a:lnTo>
                      <a:pt x="484" y="25"/>
                    </a:lnTo>
                    <a:lnTo>
                      <a:pt x="482" y="26"/>
                    </a:lnTo>
                    <a:lnTo>
                      <a:pt x="481" y="26"/>
                    </a:lnTo>
                    <a:lnTo>
                      <a:pt x="481" y="27"/>
                    </a:lnTo>
                    <a:lnTo>
                      <a:pt x="480" y="27"/>
                    </a:lnTo>
                    <a:lnTo>
                      <a:pt x="480" y="28"/>
                    </a:lnTo>
                    <a:lnTo>
                      <a:pt x="479" y="27"/>
                    </a:lnTo>
                    <a:lnTo>
                      <a:pt x="479" y="26"/>
                    </a:lnTo>
                    <a:lnTo>
                      <a:pt x="478" y="26"/>
                    </a:lnTo>
                    <a:lnTo>
                      <a:pt x="478" y="25"/>
                    </a:lnTo>
                    <a:lnTo>
                      <a:pt x="479" y="24"/>
                    </a:lnTo>
                    <a:lnTo>
                      <a:pt x="479" y="23"/>
                    </a:lnTo>
                    <a:lnTo>
                      <a:pt x="478" y="23"/>
                    </a:lnTo>
                    <a:lnTo>
                      <a:pt x="478" y="22"/>
                    </a:lnTo>
                    <a:lnTo>
                      <a:pt x="479" y="22"/>
                    </a:lnTo>
                    <a:lnTo>
                      <a:pt x="479" y="23"/>
                    </a:lnTo>
                    <a:lnTo>
                      <a:pt x="480" y="22"/>
                    </a:lnTo>
                    <a:lnTo>
                      <a:pt x="481" y="22"/>
                    </a:lnTo>
                    <a:lnTo>
                      <a:pt x="482" y="22"/>
                    </a:lnTo>
                    <a:close/>
                    <a:moveTo>
                      <a:pt x="422" y="226"/>
                    </a:moveTo>
                    <a:lnTo>
                      <a:pt x="423" y="228"/>
                    </a:lnTo>
                    <a:lnTo>
                      <a:pt x="423" y="226"/>
                    </a:lnTo>
                    <a:lnTo>
                      <a:pt x="424" y="228"/>
                    </a:lnTo>
                    <a:lnTo>
                      <a:pt x="424" y="229"/>
                    </a:lnTo>
                    <a:lnTo>
                      <a:pt x="424" y="230"/>
                    </a:lnTo>
                    <a:lnTo>
                      <a:pt x="425" y="231"/>
                    </a:lnTo>
                    <a:lnTo>
                      <a:pt x="425" y="232"/>
                    </a:lnTo>
                    <a:lnTo>
                      <a:pt x="426" y="232"/>
                    </a:lnTo>
                    <a:lnTo>
                      <a:pt x="426" y="233"/>
                    </a:lnTo>
                    <a:lnTo>
                      <a:pt x="427" y="233"/>
                    </a:lnTo>
                    <a:lnTo>
                      <a:pt x="427" y="234"/>
                    </a:lnTo>
                    <a:lnTo>
                      <a:pt x="428" y="234"/>
                    </a:lnTo>
                    <a:lnTo>
                      <a:pt x="429" y="234"/>
                    </a:lnTo>
                    <a:lnTo>
                      <a:pt x="429" y="235"/>
                    </a:lnTo>
                    <a:lnTo>
                      <a:pt x="428" y="235"/>
                    </a:lnTo>
                    <a:lnTo>
                      <a:pt x="427" y="235"/>
                    </a:lnTo>
                    <a:lnTo>
                      <a:pt x="425" y="235"/>
                    </a:lnTo>
                    <a:lnTo>
                      <a:pt x="425" y="234"/>
                    </a:lnTo>
                    <a:lnTo>
                      <a:pt x="425" y="232"/>
                    </a:lnTo>
                    <a:lnTo>
                      <a:pt x="424" y="232"/>
                    </a:lnTo>
                    <a:lnTo>
                      <a:pt x="424" y="233"/>
                    </a:lnTo>
                    <a:lnTo>
                      <a:pt x="425" y="233"/>
                    </a:lnTo>
                    <a:lnTo>
                      <a:pt x="425" y="234"/>
                    </a:lnTo>
                    <a:lnTo>
                      <a:pt x="425" y="235"/>
                    </a:lnTo>
                    <a:lnTo>
                      <a:pt x="426" y="235"/>
                    </a:lnTo>
                    <a:lnTo>
                      <a:pt x="427" y="235"/>
                    </a:lnTo>
                    <a:lnTo>
                      <a:pt x="428" y="235"/>
                    </a:lnTo>
                    <a:lnTo>
                      <a:pt x="428" y="236"/>
                    </a:lnTo>
                    <a:lnTo>
                      <a:pt x="427" y="236"/>
                    </a:lnTo>
                    <a:lnTo>
                      <a:pt x="426" y="236"/>
                    </a:lnTo>
                    <a:lnTo>
                      <a:pt x="425" y="236"/>
                    </a:lnTo>
                    <a:lnTo>
                      <a:pt x="425" y="237"/>
                    </a:lnTo>
                    <a:lnTo>
                      <a:pt x="425" y="236"/>
                    </a:lnTo>
                    <a:lnTo>
                      <a:pt x="424" y="236"/>
                    </a:lnTo>
                    <a:lnTo>
                      <a:pt x="424" y="235"/>
                    </a:lnTo>
                    <a:lnTo>
                      <a:pt x="424" y="234"/>
                    </a:lnTo>
                    <a:lnTo>
                      <a:pt x="424" y="233"/>
                    </a:lnTo>
                    <a:lnTo>
                      <a:pt x="423" y="232"/>
                    </a:lnTo>
                    <a:lnTo>
                      <a:pt x="424" y="232"/>
                    </a:lnTo>
                    <a:lnTo>
                      <a:pt x="424" y="231"/>
                    </a:lnTo>
                    <a:lnTo>
                      <a:pt x="424" y="230"/>
                    </a:lnTo>
                    <a:lnTo>
                      <a:pt x="423" y="230"/>
                    </a:lnTo>
                    <a:lnTo>
                      <a:pt x="423" y="229"/>
                    </a:lnTo>
                    <a:lnTo>
                      <a:pt x="422" y="229"/>
                    </a:lnTo>
                    <a:lnTo>
                      <a:pt x="422" y="228"/>
                    </a:lnTo>
                    <a:lnTo>
                      <a:pt x="421" y="228"/>
                    </a:lnTo>
                    <a:lnTo>
                      <a:pt x="422" y="228"/>
                    </a:lnTo>
                    <a:lnTo>
                      <a:pt x="422" y="226"/>
                    </a:lnTo>
                    <a:close/>
                    <a:moveTo>
                      <a:pt x="464" y="234"/>
                    </a:moveTo>
                    <a:lnTo>
                      <a:pt x="465" y="234"/>
                    </a:lnTo>
                    <a:lnTo>
                      <a:pt x="466" y="234"/>
                    </a:lnTo>
                    <a:lnTo>
                      <a:pt x="467" y="234"/>
                    </a:lnTo>
                    <a:lnTo>
                      <a:pt x="466" y="234"/>
                    </a:lnTo>
                    <a:lnTo>
                      <a:pt x="467" y="234"/>
                    </a:lnTo>
                    <a:lnTo>
                      <a:pt x="468" y="234"/>
                    </a:lnTo>
                    <a:lnTo>
                      <a:pt x="469" y="234"/>
                    </a:lnTo>
                    <a:lnTo>
                      <a:pt x="469" y="235"/>
                    </a:lnTo>
                    <a:lnTo>
                      <a:pt x="471" y="235"/>
                    </a:lnTo>
                    <a:lnTo>
                      <a:pt x="469" y="235"/>
                    </a:lnTo>
                    <a:lnTo>
                      <a:pt x="469" y="236"/>
                    </a:lnTo>
                    <a:lnTo>
                      <a:pt x="468" y="237"/>
                    </a:lnTo>
                    <a:lnTo>
                      <a:pt x="467" y="237"/>
                    </a:lnTo>
                    <a:lnTo>
                      <a:pt x="466" y="237"/>
                    </a:lnTo>
                    <a:lnTo>
                      <a:pt x="466" y="236"/>
                    </a:lnTo>
                    <a:lnTo>
                      <a:pt x="465" y="237"/>
                    </a:lnTo>
                    <a:lnTo>
                      <a:pt x="464" y="236"/>
                    </a:lnTo>
                    <a:lnTo>
                      <a:pt x="463" y="236"/>
                    </a:lnTo>
                    <a:lnTo>
                      <a:pt x="464" y="236"/>
                    </a:lnTo>
                    <a:lnTo>
                      <a:pt x="463" y="236"/>
                    </a:lnTo>
                    <a:lnTo>
                      <a:pt x="464" y="235"/>
                    </a:lnTo>
                    <a:lnTo>
                      <a:pt x="463" y="235"/>
                    </a:lnTo>
                    <a:lnTo>
                      <a:pt x="464" y="235"/>
                    </a:lnTo>
                    <a:lnTo>
                      <a:pt x="463" y="235"/>
                    </a:lnTo>
                    <a:lnTo>
                      <a:pt x="463" y="234"/>
                    </a:lnTo>
                    <a:lnTo>
                      <a:pt x="463" y="235"/>
                    </a:lnTo>
                    <a:lnTo>
                      <a:pt x="463" y="236"/>
                    </a:lnTo>
                    <a:lnTo>
                      <a:pt x="462" y="236"/>
                    </a:lnTo>
                    <a:lnTo>
                      <a:pt x="461" y="236"/>
                    </a:lnTo>
                    <a:lnTo>
                      <a:pt x="460" y="236"/>
                    </a:lnTo>
                    <a:lnTo>
                      <a:pt x="461" y="236"/>
                    </a:lnTo>
                    <a:lnTo>
                      <a:pt x="460" y="237"/>
                    </a:lnTo>
                    <a:lnTo>
                      <a:pt x="460" y="236"/>
                    </a:lnTo>
                    <a:lnTo>
                      <a:pt x="460" y="237"/>
                    </a:lnTo>
                    <a:lnTo>
                      <a:pt x="460" y="236"/>
                    </a:lnTo>
                    <a:lnTo>
                      <a:pt x="460" y="235"/>
                    </a:lnTo>
                    <a:lnTo>
                      <a:pt x="461" y="235"/>
                    </a:lnTo>
                    <a:lnTo>
                      <a:pt x="461" y="236"/>
                    </a:lnTo>
                    <a:lnTo>
                      <a:pt x="461" y="235"/>
                    </a:lnTo>
                    <a:lnTo>
                      <a:pt x="461" y="234"/>
                    </a:lnTo>
                    <a:lnTo>
                      <a:pt x="460" y="234"/>
                    </a:lnTo>
                    <a:lnTo>
                      <a:pt x="460" y="235"/>
                    </a:lnTo>
                    <a:lnTo>
                      <a:pt x="460" y="234"/>
                    </a:lnTo>
                    <a:lnTo>
                      <a:pt x="461" y="234"/>
                    </a:lnTo>
                    <a:lnTo>
                      <a:pt x="462" y="234"/>
                    </a:lnTo>
                    <a:lnTo>
                      <a:pt x="463" y="234"/>
                    </a:lnTo>
                    <a:lnTo>
                      <a:pt x="464" y="233"/>
                    </a:lnTo>
                    <a:lnTo>
                      <a:pt x="464" y="234"/>
                    </a:lnTo>
                    <a:close/>
                    <a:moveTo>
                      <a:pt x="355" y="307"/>
                    </a:moveTo>
                    <a:lnTo>
                      <a:pt x="356" y="307"/>
                    </a:lnTo>
                    <a:lnTo>
                      <a:pt x="357" y="307"/>
                    </a:lnTo>
                    <a:lnTo>
                      <a:pt x="357" y="309"/>
                    </a:lnTo>
                    <a:lnTo>
                      <a:pt x="357" y="308"/>
                    </a:lnTo>
                    <a:lnTo>
                      <a:pt x="356" y="308"/>
                    </a:lnTo>
                    <a:lnTo>
                      <a:pt x="356" y="309"/>
                    </a:lnTo>
                    <a:lnTo>
                      <a:pt x="356" y="310"/>
                    </a:lnTo>
                    <a:lnTo>
                      <a:pt x="357" y="310"/>
                    </a:lnTo>
                    <a:lnTo>
                      <a:pt x="357" y="311"/>
                    </a:lnTo>
                    <a:lnTo>
                      <a:pt x="357" y="312"/>
                    </a:lnTo>
                    <a:lnTo>
                      <a:pt x="356" y="313"/>
                    </a:lnTo>
                    <a:lnTo>
                      <a:pt x="356" y="312"/>
                    </a:lnTo>
                    <a:lnTo>
                      <a:pt x="356" y="313"/>
                    </a:lnTo>
                    <a:lnTo>
                      <a:pt x="355" y="312"/>
                    </a:lnTo>
                    <a:lnTo>
                      <a:pt x="353" y="311"/>
                    </a:lnTo>
                    <a:lnTo>
                      <a:pt x="352" y="311"/>
                    </a:lnTo>
                    <a:lnTo>
                      <a:pt x="352" y="312"/>
                    </a:lnTo>
                    <a:lnTo>
                      <a:pt x="351" y="313"/>
                    </a:lnTo>
                    <a:lnTo>
                      <a:pt x="351" y="312"/>
                    </a:lnTo>
                    <a:lnTo>
                      <a:pt x="352" y="312"/>
                    </a:lnTo>
                    <a:lnTo>
                      <a:pt x="352" y="311"/>
                    </a:lnTo>
                    <a:lnTo>
                      <a:pt x="352" y="310"/>
                    </a:lnTo>
                    <a:lnTo>
                      <a:pt x="352" y="309"/>
                    </a:lnTo>
                    <a:lnTo>
                      <a:pt x="351" y="308"/>
                    </a:lnTo>
                    <a:lnTo>
                      <a:pt x="351" y="307"/>
                    </a:lnTo>
                    <a:lnTo>
                      <a:pt x="352" y="307"/>
                    </a:lnTo>
                    <a:lnTo>
                      <a:pt x="353" y="307"/>
                    </a:lnTo>
                    <a:lnTo>
                      <a:pt x="353" y="306"/>
                    </a:lnTo>
                    <a:lnTo>
                      <a:pt x="355" y="307"/>
                    </a:lnTo>
                    <a:close/>
                    <a:moveTo>
                      <a:pt x="429" y="197"/>
                    </a:moveTo>
                    <a:lnTo>
                      <a:pt x="430" y="197"/>
                    </a:lnTo>
                    <a:lnTo>
                      <a:pt x="432" y="197"/>
                    </a:lnTo>
                    <a:lnTo>
                      <a:pt x="433" y="197"/>
                    </a:lnTo>
                    <a:lnTo>
                      <a:pt x="434" y="197"/>
                    </a:lnTo>
                    <a:lnTo>
                      <a:pt x="434" y="198"/>
                    </a:lnTo>
                    <a:lnTo>
                      <a:pt x="435" y="198"/>
                    </a:lnTo>
                    <a:lnTo>
                      <a:pt x="436" y="198"/>
                    </a:lnTo>
                    <a:lnTo>
                      <a:pt x="437" y="198"/>
                    </a:lnTo>
                    <a:lnTo>
                      <a:pt x="438" y="198"/>
                    </a:lnTo>
                    <a:lnTo>
                      <a:pt x="438" y="197"/>
                    </a:lnTo>
                    <a:lnTo>
                      <a:pt x="439" y="197"/>
                    </a:lnTo>
                    <a:lnTo>
                      <a:pt x="439" y="198"/>
                    </a:lnTo>
                    <a:lnTo>
                      <a:pt x="438" y="198"/>
                    </a:lnTo>
                    <a:lnTo>
                      <a:pt x="438" y="199"/>
                    </a:lnTo>
                    <a:lnTo>
                      <a:pt x="438" y="198"/>
                    </a:lnTo>
                    <a:lnTo>
                      <a:pt x="437" y="198"/>
                    </a:lnTo>
                    <a:lnTo>
                      <a:pt x="437" y="199"/>
                    </a:lnTo>
                    <a:lnTo>
                      <a:pt x="438" y="199"/>
                    </a:lnTo>
                    <a:lnTo>
                      <a:pt x="437" y="199"/>
                    </a:lnTo>
                    <a:lnTo>
                      <a:pt x="436" y="199"/>
                    </a:lnTo>
                    <a:lnTo>
                      <a:pt x="436" y="200"/>
                    </a:lnTo>
                    <a:lnTo>
                      <a:pt x="436" y="202"/>
                    </a:lnTo>
                    <a:lnTo>
                      <a:pt x="436" y="200"/>
                    </a:lnTo>
                    <a:lnTo>
                      <a:pt x="435" y="202"/>
                    </a:lnTo>
                    <a:lnTo>
                      <a:pt x="434" y="202"/>
                    </a:lnTo>
                    <a:lnTo>
                      <a:pt x="434" y="200"/>
                    </a:lnTo>
                    <a:lnTo>
                      <a:pt x="433" y="200"/>
                    </a:lnTo>
                    <a:lnTo>
                      <a:pt x="432" y="200"/>
                    </a:lnTo>
                    <a:lnTo>
                      <a:pt x="430" y="200"/>
                    </a:lnTo>
                    <a:lnTo>
                      <a:pt x="429" y="200"/>
                    </a:lnTo>
                    <a:lnTo>
                      <a:pt x="428" y="200"/>
                    </a:lnTo>
                    <a:lnTo>
                      <a:pt x="427" y="200"/>
                    </a:lnTo>
                    <a:lnTo>
                      <a:pt x="426" y="202"/>
                    </a:lnTo>
                    <a:lnTo>
                      <a:pt x="427" y="200"/>
                    </a:lnTo>
                    <a:lnTo>
                      <a:pt x="428" y="200"/>
                    </a:lnTo>
                    <a:lnTo>
                      <a:pt x="429" y="199"/>
                    </a:lnTo>
                    <a:lnTo>
                      <a:pt x="430" y="199"/>
                    </a:lnTo>
                    <a:lnTo>
                      <a:pt x="432" y="199"/>
                    </a:lnTo>
                    <a:lnTo>
                      <a:pt x="433" y="198"/>
                    </a:lnTo>
                    <a:lnTo>
                      <a:pt x="432" y="199"/>
                    </a:lnTo>
                    <a:lnTo>
                      <a:pt x="430" y="199"/>
                    </a:lnTo>
                    <a:lnTo>
                      <a:pt x="429" y="199"/>
                    </a:lnTo>
                    <a:lnTo>
                      <a:pt x="428" y="200"/>
                    </a:lnTo>
                    <a:lnTo>
                      <a:pt x="429" y="199"/>
                    </a:lnTo>
                    <a:lnTo>
                      <a:pt x="430" y="199"/>
                    </a:lnTo>
                    <a:lnTo>
                      <a:pt x="430" y="198"/>
                    </a:lnTo>
                    <a:lnTo>
                      <a:pt x="430" y="197"/>
                    </a:lnTo>
                    <a:lnTo>
                      <a:pt x="429" y="197"/>
                    </a:lnTo>
                    <a:lnTo>
                      <a:pt x="428" y="197"/>
                    </a:lnTo>
                    <a:lnTo>
                      <a:pt x="428" y="196"/>
                    </a:lnTo>
                    <a:lnTo>
                      <a:pt x="429" y="196"/>
                    </a:lnTo>
                    <a:lnTo>
                      <a:pt x="429" y="197"/>
                    </a:lnTo>
                    <a:close/>
                    <a:moveTo>
                      <a:pt x="286" y="301"/>
                    </a:moveTo>
                    <a:lnTo>
                      <a:pt x="286" y="302"/>
                    </a:lnTo>
                    <a:lnTo>
                      <a:pt x="285" y="302"/>
                    </a:lnTo>
                    <a:lnTo>
                      <a:pt x="285" y="303"/>
                    </a:lnTo>
                    <a:lnTo>
                      <a:pt x="285" y="306"/>
                    </a:lnTo>
                    <a:lnTo>
                      <a:pt x="286" y="306"/>
                    </a:lnTo>
                    <a:lnTo>
                      <a:pt x="286" y="307"/>
                    </a:lnTo>
                    <a:lnTo>
                      <a:pt x="285" y="307"/>
                    </a:lnTo>
                    <a:lnTo>
                      <a:pt x="284" y="308"/>
                    </a:lnTo>
                    <a:lnTo>
                      <a:pt x="284" y="310"/>
                    </a:lnTo>
                    <a:lnTo>
                      <a:pt x="284" y="311"/>
                    </a:lnTo>
                    <a:lnTo>
                      <a:pt x="285" y="311"/>
                    </a:lnTo>
                    <a:lnTo>
                      <a:pt x="285" y="312"/>
                    </a:lnTo>
                    <a:lnTo>
                      <a:pt x="286" y="312"/>
                    </a:lnTo>
                    <a:lnTo>
                      <a:pt x="285" y="313"/>
                    </a:lnTo>
                    <a:lnTo>
                      <a:pt x="284" y="313"/>
                    </a:lnTo>
                    <a:lnTo>
                      <a:pt x="283" y="313"/>
                    </a:lnTo>
                    <a:lnTo>
                      <a:pt x="283" y="312"/>
                    </a:lnTo>
                    <a:lnTo>
                      <a:pt x="284" y="312"/>
                    </a:lnTo>
                    <a:lnTo>
                      <a:pt x="283" y="312"/>
                    </a:lnTo>
                    <a:lnTo>
                      <a:pt x="283" y="311"/>
                    </a:lnTo>
                    <a:lnTo>
                      <a:pt x="283" y="310"/>
                    </a:lnTo>
                    <a:lnTo>
                      <a:pt x="283" y="309"/>
                    </a:lnTo>
                    <a:lnTo>
                      <a:pt x="283" y="308"/>
                    </a:lnTo>
                    <a:lnTo>
                      <a:pt x="284" y="308"/>
                    </a:lnTo>
                    <a:lnTo>
                      <a:pt x="283" y="308"/>
                    </a:lnTo>
                    <a:lnTo>
                      <a:pt x="284" y="308"/>
                    </a:lnTo>
                    <a:lnTo>
                      <a:pt x="284" y="307"/>
                    </a:lnTo>
                    <a:lnTo>
                      <a:pt x="284" y="306"/>
                    </a:lnTo>
                    <a:lnTo>
                      <a:pt x="284" y="305"/>
                    </a:lnTo>
                    <a:lnTo>
                      <a:pt x="283" y="305"/>
                    </a:lnTo>
                    <a:lnTo>
                      <a:pt x="282" y="305"/>
                    </a:lnTo>
                    <a:lnTo>
                      <a:pt x="282" y="303"/>
                    </a:lnTo>
                    <a:lnTo>
                      <a:pt x="281" y="303"/>
                    </a:lnTo>
                    <a:lnTo>
                      <a:pt x="281" y="302"/>
                    </a:lnTo>
                    <a:lnTo>
                      <a:pt x="282" y="303"/>
                    </a:lnTo>
                    <a:lnTo>
                      <a:pt x="283" y="303"/>
                    </a:lnTo>
                    <a:lnTo>
                      <a:pt x="283" y="302"/>
                    </a:lnTo>
                    <a:lnTo>
                      <a:pt x="284" y="302"/>
                    </a:lnTo>
                    <a:lnTo>
                      <a:pt x="285" y="302"/>
                    </a:lnTo>
                    <a:lnTo>
                      <a:pt x="285" y="301"/>
                    </a:lnTo>
                    <a:lnTo>
                      <a:pt x="286" y="301"/>
                    </a:lnTo>
                    <a:close/>
                    <a:moveTo>
                      <a:pt x="420" y="186"/>
                    </a:moveTo>
                    <a:lnTo>
                      <a:pt x="421" y="186"/>
                    </a:lnTo>
                    <a:lnTo>
                      <a:pt x="420" y="186"/>
                    </a:lnTo>
                    <a:lnTo>
                      <a:pt x="420" y="187"/>
                    </a:lnTo>
                    <a:lnTo>
                      <a:pt x="421" y="186"/>
                    </a:lnTo>
                    <a:lnTo>
                      <a:pt x="422" y="186"/>
                    </a:lnTo>
                    <a:lnTo>
                      <a:pt x="422" y="187"/>
                    </a:lnTo>
                    <a:lnTo>
                      <a:pt x="423" y="187"/>
                    </a:lnTo>
                    <a:lnTo>
                      <a:pt x="423" y="189"/>
                    </a:lnTo>
                    <a:lnTo>
                      <a:pt x="422" y="190"/>
                    </a:lnTo>
                    <a:lnTo>
                      <a:pt x="422" y="191"/>
                    </a:lnTo>
                    <a:lnTo>
                      <a:pt x="421" y="191"/>
                    </a:lnTo>
                    <a:lnTo>
                      <a:pt x="420" y="191"/>
                    </a:lnTo>
                    <a:lnTo>
                      <a:pt x="419" y="191"/>
                    </a:lnTo>
                    <a:lnTo>
                      <a:pt x="417" y="191"/>
                    </a:lnTo>
                    <a:lnTo>
                      <a:pt x="416" y="191"/>
                    </a:lnTo>
                    <a:lnTo>
                      <a:pt x="416" y="192"/>
                    </a:lnTo>
                    <a:lnTo>
                      <a:pt x="415" y="192"/>
                    </a:lnTo>
                    <a:lnTo>
                      <a:pt x="415" y="193"/>
                    </a:lnTo>
                    <a:lnTo>
                      <a:pt x="415" y="192"/>
                    </a:lnTo>
                    <a:lnTo>
                      <a:pt x="415" y="191"/>
                    </a:lnTo>
                    <a:lnTo>
                      <a:pt x="416" y="191"/>
                    </a:lnTo>
                    <a:lnTo>
                      <a:pt x="416" y="190"/>
                    </a:lnTo>
                    <a:lnTo>
                      <a:pt x="417" y="190"/>
                    </a:lnTo>
                    <a:lnTo>
                      <a:pt x="417" y="189"/>
                    </a:lnTo>
                    <a:lnTo>
                      <a:pt x="419" y="189"/>
                    </a:lnTo>
                    <a:lnTo>
                      <a:pt x="419" y="187"/>
                    </a:lnTo>
                    <a:lnTo>
                      <a:pt x="419" y="186"/>
                    </a:lnTo>
                    <a:lnTo>
                      <a:pt x="420" y="186"/>
                    </a:lnTo>
                    <a:lnTo>
                      <a:pt x="419" y="186"/>
                    </a:lnTo>
                    <a:lnTo>
                      <a:pt x="420" y="186"/>
                    </a:lnTo>
                    <a:close/>
                    <a:moveTo>
                      <a:pt x="261" y="298"/>
                    </a:moveTo>
                    <a:lnTo>
                      <a:pt x="261" y="299"/>
                    </a:lnTo>
                    <a:lnTo>
                      <a:pt x="261" y="300"/>
                    </a:lnTo>
                    <a:lnTo>
                      <a:pt x="261" y="301"/>
                    </a:lnTo>
                    <a:lnTo>
                      <a:pt x="260" y="303"/>
                    </a:lnTo>
                    <a:lnTo>
                      <a:pt x="260" y="306"/>
                    </a:lnTo>
                    <a:lnTo>
                      <a:pt x="261" y="306"/>
                    </a:lnTo>
                    <a:lnTo>
                      <a:pt x="261" y="307"/>
                    </a:lnTo>
                    <a:lnTo>
                      <a:pt x="260" y="307"/>
                    </a:lnTo>
                    <a:lnTo>
                      <a:pt x="260" y="306"/>
                    </a:lnTo>
                    <a:lnTo>
                      <a:pt x="259" y="306"/>
                    </a:lnTo>
                    <a:lnTo>
                      <a:pt x="259" y="305"/>
                    </a:lnTo>
                    <a:lnTo>
                      <a:pt x="258" y="305"/>
                    </a:lnTo>
                    <a:lnTo>
                      <a:pt x="258" y="306"/>
                    </a:lnTo>
                    <a:lnTo>
                      <a:pt x="258" y="307"/>
                    </a:lnTo>
                    <a:lnTo>
                      <a:pt x="257" y="307"/>
                    </a:lnTo>
                    <a:lnTo>
                      <a:pt x="257" y="308"/>
                    </a:lnTo>
                    <a:lnTo>
                      <a:pt x="258" y="308"/>
                    </a:lnTo>
                    <a:lnTo>
                      <a:pt x="258" y="307"/>
                    </a:lnTo>
                    <a:lnTo>
                      <a:pt x="258" y="306"/>
                    </a:lnTo>
                    <a:lnTo>
                      <a:pt x="259" y="307"/>
                    </a:lnTo>
                    <a:lnTo>
                      <a:pt x="260" y="308"/>
                    </a:lnTo>
                    <a:lnTo>
                      <a:pt x="260" y="309"/>
                    </a:lnTo>
                    <a:lnTo>
                      <a:pt x="261" y="309"/>
                    </a:lnTo>
                    <a:lnTo>
                      <a:pt x="261" y="310"/>
                    </a:lnTo>
                    <a:lnTo>
                      <a:pt x="260" y="310"/>
                    </a:lnTo>
                    <a:lnTo>
                      <a:pt x="260" y="309"/>
                    </a:lnTo>
                    <a:lnTo>
                      <a:pt x="259" y="309"/>
                    </a:lnTo>
                    <a:lnTo>
                      <a:pt x="258" y="309"/>
                    </a:lnTo>
                    <a:lnTo>
                      <a:pt x="257" y="309"/>
                    </a:lnTo>
                    <a:lnTo>
                      <a:pt x="257" y="308"/>
                    </a:lnTo>
                    <a:lnTo>
                      <a:pt x="256" y="307"/>
                    </a:lnTo>
                    <a:lnTo>
                      <a:pt x="257" y="307"/>
                    </a:lnTo>
                    <a:lnTo>
                      <a:pt x="257" y="308"/>
                    </a:lnTo>
                    <a:lnTo>
                      <a:pt x="257" y="307"/>
                    </a:lnTo>
                    <a:lnTo>
                      <a:pt x="256" y="307"/>
                    </a:lnTo>
                    <a:lnTo>
                      <a:pt x="257" y="307"/>
                    </a:lnTo>
                    <a:lnTo>
                      <a:pt x="257" y="306"/>
                    </a:lnTo>
                    <a:lnTo>
                      <a:pt x="257" y="307"/>
                    </a:lnTo>
                    <a:lnTo>
                      <a:pt x="257" y="306"/>
                    </a:lnTo>
                    <a:lnTo>
                      <a:pt x="256" y="306"/>
                    </a:lnTo>
                    <a:lnTo>
                      <a:pt x="255" y="306"/>
                    </a:lnTo>
                    <a:lnTo>
                      <a:pt x="254" y="306"/>
                    </a:lnTo>
                    <a:lnTo>
                      <a:pt x="254" y="305"/>
                    </a:lnTo>
                    <a:lnTo>
                      <a:pt x="255" y="306"/>
                    </a:lnTo>
                    <a:lnTo>
                      <a:pt x="255" y="305"/>
                    </a:lnTo>
                    <a:lnTo>
                      <a:pt x="256" y="305"/>
                    </a:lnTo>
                    <a:lnTo>
                      <a:pt x="257" y="305"/>
                    </a:lnTo>
                    <a:lnTo>
                      <a:pt x="258" y="305"/>
                    </a:lnTo>
                    <a:lnTo>
                      <a:pt x="259" y="303"/>
                    </a:lnTo>
                    <a:lnTo>
                      <a:pt x="260" y="302"/>
                    </a:lnTo>
                    <a:lnTo>
                      <a:pt x="260" y="301"/>
                    </a:lnTo>
                    <a:lnTo>
                      <a:pt x="260" y="300"/>
                    </a:lnTo>
                    <a:lnTo>
                      <a:pt x="261" y="300"/>
                    </a:lnTo>
                    <a:lnTo>
                      <a:pt x="261" y="299"/>
                    </a:lnTo>
                    <a:lnTo>
                      <a:pt x="260" y="299"/>
                    </a:lnTo>
                    <a:lnTo>
                      <a:pt x="261" y="299"/>
                    </a:lnTo>
                    <a:lnTo>
                      <a:pt x="261" y="300"/>
                    </a:lnTo>
                    <a:lnTo>
                      <a:pt x="260" y="299"/>
                    </a:lnTo>
                    <a:lnTo>
                      <a:pt x="260" y="298"/>
                    </a:lnTo>
                    <a:lnTo>
                      <a:pt x="260" y="297"/>
                    </a:lnTo>
                    <a:lnTo>
                      <a:pt x="261" y="298"/>
                    </a:lnTo>
                    <a:close/>
                    <a:moveTo>
                      <a:pt x="297" y="301"/>
                    </a:moveTo>
                    <a:lnTo>
                      <a:pt x="298" y="301"/>
                    </a:lnTo>
                    <a:lnTo>
                      <a:pt x="298" y="302"/>
                    </a:lnTo>
                    <a:lnTo>
                      <a:pt x="298" y="301"/>
                    </a:lnTo>
                    <a:lnTo>
                      <a:pt x="297" y="301"/>
                    </a:lnTo>
                    <a:lnTo>
                      <a:pt x="297" y="302"/>
                    </a:lnTo>
                    <a:lnTo>
                      <a:pt x="296" y="302"/>
                    </a:lnTo>
                    <a:lnTo>
                      <a:pt x="295" y="302"/>
                    </a:lnTo>
                    <a:lnTo>
                      <a:pt x="296" y="303"/>
                    </a:lnTo>
                    <a:lnTo>
                      <a:pt x="297" y="303"/>
                    </a:lnTo>
                    <a:lnTo>
                      <a:pt x="297" y="302"/>
                    </a:lnTo>
                    <a:lnTo>
                      <a:pt x="297" y="303"/>
                    </a:lnTo>
                    <a:lnTo>
                      <a:pt x="298" y="303"/>
                    </a:lnTo>
                    <a:lnTo>
                      <a:pt x="298" y="302"/>
                    </a:lnTo>
                    <a:lnTo>
                      <a:pt x="299" y="302"/>
                    </a:lnTo>
                    <a:lnTo>
                      <a:pt x="300" y="302"/>
                    </a:lnTo>
                    <a:lnTo>
                      <a:pt x="300" y="303"/>
                    </a:lnTo>
                    <a:lnTo>
                      <a:pt x="299" y="303"/>
                    </a:lnTo>
                    <a:lnTo>
                      <a:pt x="299" y="305"/>
                    </a:lnTo>
                    <a:lnTo>
                      <a:pt x="299" y="306"/>
                    </a:lnTo>
                    <a:lnTo>
                      <a:pt x="298" y="306"/>
                    </a:lnTo>
                    <a:lnTo>
                      <a:pt x="298" y="307"/>
                    </a:lnTo>
                    <a:lnTo>
                      <a:pt x="298" y="306"/>
                    </a:lnTo>
                    <a:lnTo>
                      <a:pt x="297" y="305"/>
                    </a:lnTo>
                    <a:lnTo>
                      <a:pt x="296" y="305"/>
                    </a:lnTo>
                    <a:lnTo>
                      <a:pt x="296" y="303"/>
                    </a:lnTo>
                    <a:lnTo>
                      <a:pt x="295" y="303"/>
                    </a:lnTo>
                    <a:lnTo>
                      <a:pt x="294" y="303"/>
                    </a:lnTo>
                    <a:lnTo>
                      <a:pt x="293" y="303"/>
                    </a:lnTo>
                    <a:lnTo>
                      <a:pt x="292" y="305"/>
                    </a:lnTo>
                    <a:lnTo>
                      <a:pt x="291" y="306"/>
                    </a:lnTo>
                    <a:lnTo>
                      <a:pt x="290" y="306"/>
                    </a:lnTo>
                    <a:lnTo>
                      <a:pt x="288" y="306"/>
                    </a:lnTo>
                    <a:lnTo>
                      <a:pt x="287" y="307"/>
                    </a:lnTo>
                    <a:lnTo>
                      <a:pt x="287" y="306"/>
                    </a:lnTo>
                    <a:lnTo>
                      <a:pt x="287" y="305"/>
                    </a:lnTo>
                    <a:lnTo>
                      <a:pt x="288" y="305"/>
                    </a:lnTo>
                    <a:lnTo>
                      <a:pt x="291" y="305"/>
                    </a:lnTo>
                    <a:lnTo>
                      <a:pt x="292" y="303"/>
                    </a:lnTo>
                    <a:lnTo>
                      <a:pt x="293" y="303"/>
                    </a:lnTo>
                    <a:lnTo>
                      <a:pt x="294" y="302"/>
                    </a:lnTo>
                    <a:lnTo>
                      <a:pt x="295" y="302"/>
                    </a:lnTo>
                    <a:lnTo>
                      <a:pt x="295" y="301"/>
                    </a:lnTo>
                    <a:lnTo>
                      <a:pt x="296" y="301"/>
                    </a:lnTo>
                    <a:lnTo>
                      <a:pt x="297" y="301"/>
                    </a:lnTo>
                    <a:close/>
                    <a:moveTo>
                      <a:pt x="319" y="238"/>
                    </a:moveTo>
                    <a:lnTo>
                      <a:pt x="320" y="239"/>
                    </a:lnTo>
                    <a:lnTo>
                      <a:pt x="320" y="241"/>
                    </a:lnTo>
                    <a:lnTo>
                      <a:pt x="321" y="241"/>
                    </a:lnTo>
                    <a:lnTo>
                      <a:pt x="322" y="241"/>
                    </a:lnTo>
                    <a:lnTo>
                      <a:pt x="323" y="241"/>
                    </a:lnTo>
                    <a:lnTo>
                      <a:pt x="324" y="241"/>
                    </a:lnTo>
                    <a:lnTo>
                      <a:pt x="325" y="241"/>
                    </a:lnTo>
                    <a:lnTo>
                      <a:pt x="326" y="239"/>
                    </a:lnTo>
                    <a:lnTo>
                      <a:pt x="327" y="239"/>
                    </a:lnTo>
                    <a:lnTo>
                      <a:pt x="327" y="241"/>
                    </a:lnTo>
                    <a:lnTo>
                      <a:pt x="327" y="242"/>
                    </a:lnTo>
                    <a:lnTo>
                      <a:pt x="326" y="242"/>
                    </a:lnTo>
                    <a:lnTo>
                      <a:pt x="325" y="242"/>
                    </a:lnTo>
                    <a:lnTo>
                      <a:pt x="325" y="241"/>
                    </a:lnTo>
                    <a:lnTo>
                      <a:pt x="324" y="242"/>
                    </a:lnTo>
                    <a:lnTo>
                      <a:pt x="324" y="241"/>
                    </a:lnTo>
                    <a:lnTo>
                      <a:pt x="325" y="241"/>
                    </a:lnTo>
                    <a:lnTo>
                      <a:pt x="324" y="241"/>
                    </a:lnTo>
                    <a:lnTo>
                      <a:pt x="324" y="242"/>
                    </a:lnTo>
                    <a:lnTo>
                      <a:pt x="323" y="242"/>
                    </a:lnTo>
                    <a:lnTo>
                      <a:pt x="323" y="243"/>
                    </a:lnTo>
                    <a:lnTo>
                      <a:pt x="322" y="243"/>
                    </a:lnTo>
                    <a:lnTo>
                      <a:pt x="321" y="243"/>
                    </a:lnTo>
                    <a:lnTo>
                      <a:pt x="321" y="242"/>
                    </a:lnTo>
                    <a:lnTo>
                      <a:pt x="322" y="242"/>
                    </a:lnTo>
                    <a:lnTo>
                      <a:pt x="321" y="241"/>
                    </a:lnTo>
                    <a:lnTo>
                      <a:pt x="320" y="241"/>
                    </a:lnTo>
                    <a:lnTo>
                      <a:pt x="320" y="242"/>
                    </a:lnTo>
                    <a:lnTo>
                      <a:pt x="320" y="241"/>
                    </a:lnTo>
                    <a:lnTo>
                      <a:pt x="319" y="241"/>
                    </a:lnTo>
                    <a:lnTo>
                      <a:pt x="318" y="239"/>
                    </a:lnTo>
                    <a:lnTo>
                      <a:pt x="318" y="241"/>
                    </a:lnTo>
                    <a:lnTo>
                      <a:pt x="317" y="241"/>
                    </a:lnTo>
                    <a:lnTo>
                      <a:pt x="317" y="242"/>
                    </a:lnTo>
                    <a:lnTo>
                      <a:pt x="316" y="241"/>
                    </a:lnTo>
                    <a:lnTo>
                      <a:pt x="314" y="241"/>
                    </a:lnTo>
                    <a:lnTo>
                      <a:pt x="316" y="241"/>
                    </a:lnTo>
                    <a:lnTo>
                      <a:pt x="316" y="239"/>
                    </a:lnTo>
                    <a:lnTo>
                      <a:pt x="314" y="239"/>
                    </a:lnTo>
                    <a:lnTo>
                      <a:pt x="314" y="238"/>
                    </a:lnTo>
                    <a:lnTo>
                      <a:pt x="316" y="238"/>
                    </a:lnTo>
                    <a:lnTo>
                      <a:pt x="317" y="238"/>
                    </a:lnTo>
                    <a:lnTo>
                      <a:pt x="318" y="238"/>
                    </a:lnTo>
                    <a:lnTo>
                      <a:pt x="318" y="237"/>
                    </a:lnTo>
                    <a:lnTo>
                      <a:pt x="318" y="238"/>
                    </a:lnTo>
                    <a:lnTo>
                      <a:pt x="318" y="237"/>
                    </a:lnTo>
                    <a:lnTo>
                      <a:pt x="319" y="237"/>
                    </a:lnTo>
                    <a:lnTo>
                      <a:pt x="319" y="238"/>
                    </a:lnTo>
                    <a:close/>
                    <a:moveTo>
                      <a:pt x="412" y="209"/>
                    </a:moveTo>
                    <a:lnTo>
                      <a:pt x="413" y="210"/>
                    </a:lnTo>
                    <a:lnTo>
                      <a:pt x="414" y="210"/>
                    </a:lnTo>
                    <a:lnTo>
                      <a:pt x="413" y="210"/>
                    </a:lnTo>
                    <a:lnTo>
                      <a:pt x="413" y="211"/>
                    </a:lnTo>
                    <a:lnTo>
                      <a:pt x="412" y="211"/>
                    </a:lnTo>
                    <a:lnTo>
                      <a:pt x="411" y="211"/>
                    </a:lnTo>
                    <a:lnTo>
                      <a:pt x="410" y="211"/>
                    </a:lnTo>
                    <a:lnTo>
                      <a:pt x="410" y="212"/>
                    </a:lnTo>
                    <a:lnTo>
                      <a:pt x="410" y="211"/>
                    </a:lnTo>
                    <a:lnTo>
                      <a:pt x="409" y="211"/>
                    </a:lnTo>
                    <a:lnTo>
                      <a:pt x="409" y="210"/>
                    </a:lnTo>
                    <a:lnTo>
                      <a:pt x="408" y="209"/>
                    </a:lnTo>
                    <a:lnTo>
                      <a:pt x="407" y="209"/>
                    </a:lnTo>
                    <a:lnTo>
                      <a:pt x="406" y="209"/>
                    </a:lnTo>
                    <a:lnTo>
                      <a:pt x="408" y="208"/>
                    </a:lnTo>
                    <a:lnTo>
                      <a:pt x="409" y="208"/>
                    </a:lnTo>
                    <a:lnTo>
                      <a:pt x="410" y="208"/>
                    </a:lnTo>
                    <a:lnTo>
                      <a:pt x="410" y="207"/>
                    </a:lnTo>
                    <a:lnTo>
                      <a:pt x="411" y="207"/>
                    </a:lnTo>
                    <a:lnTo>
                      <a:pt x="411" y="208"/>
                    </a:lnTo>
                    <a:lnTo>
                      <a:pt x="412" y="209"/>
                    </a:lnTo>
                    <a:close/>
                    <a:moveTo>
                      <a:pt x="423" y="145"/>
                    </a:moveTo>
                    <a:lnTo>
                      <a:pt x="423" y="146"/>
                    </a:lnTo>
                    <a:lnTo>
                      <a:pt x="423" y="147"/>
                    </a:lnTo>
                    <a:lnTo>
                      <a:pt x="423" y="146"/>
                    </a:lnTo>
                    <a:lnTo>
                      <a:pt x="424" y="146"/>
                    </a:lnTo>
                    <a:lnTo>
                      <a:pt x="425" y="145"/>
                    </a:lnTo>
                    <a:lnTo>
                      <a:pt x="425" y="146"/>
                    </a:lnTo>
                    <a:lnTo>
                      <a:pt x="425" y="147"/>
                    </a:lnTo>
                    <a:lnTo>
                      <a:pt x="425" y="148"/>
                    </a:lnTo>
                    <a:lnTo>
                      <a:pt x="424" y="148"/>
                    </a:lnTo>
                    <a:lnTo>
                      <a:pt x="423" y="149"/>
                    </a:lnTo>
                    <a:lnTo>
                      <a:pt x="422" y="151"/>
                    </a:lnTo>
                    <a:lnTo>
                      <a:pt x="422" y="149"/>
                    </a:lnTo>
                    <a:lnTo>
                      <a:pt x="421" y="149"/>
                    </a:lnTo>
                    <a:lnTo>
                      <a:pt x="420" y="149"/>
                    </a:lnTo>
                    <a:lnTo>
                      <a:pt x="421" y="149"/>
                    </a:lnTo>
                    <a:lnTo>
                      <a:pt x="421" y="148"/>
                    </a:lnTo>
                    <a:lnTo>
                      <a:pt x="421" y="149"/>
                    </a:lnTo>
                    <a:lnTo>
                      <a:pt x="421" y="148"/>
                    </a:lnTo>
                    <a:lnTo>
                      <a:pt x="421" y="147"/>
                    </a:lnTo>
                    <a:lnTo>
                      <a:pt x="421" y="146"/>
                    </a:lnTo>
                    <a:lnTo>
                      <a:pt x="421" y="147"/>
                    </a:lnTo>
                    <a:lnTo>
                      <a:pt x="420" y="147"/>
                    </a:lnTo>
                    <a:lnTo>
                      <a:pt x="420" y="146"/>
                    </a:lnTo>
                    <a:lnTo>
                      <a:pt x="420" y="145"/>
                    </a:lnTo>
                    <a:lnTo>
                      <a:pt x="420" y="146"/>
                    </a:lnTo>
                    <a:lnTo>
                      <a:pt x="421" y="145"/>
                    </a:lnTo>
                    <a:lnTo>
                      <a:pt x="421" y="144"/>
                    </a:lnTo>
                    <a:lnTo>
                      <a:pt x="421" y="143"/>
                    </a:lnTo>
                    <a:lnTo>
                      <a:pt x="421" y="144"/>
                    </a:lnTo>
                    <a:lnTo>
                      <a:pt x="422" y="144"/>
                    </a:lnTo>
                    <a:lnTo>
                      <a:pt x="423" y="144"/>
                    </a:lnTo>
                    <a:lnTo>
                      <a:pt x="423" y="145"/>
                    </a:lnTo>
                    <a:close/>
                    <a:moveTo>
                      <a:pt x="727" y="144"/>
                    </a:moveTo>
                    <a:lnTo>
                      <a:pt x="729" y="144"/>
                    </a:lnTo>
                    <a:lnTo>
                      <a:pt x="727" y="144"/>
                    </a:lnTo>
                    <a:lnTo>
                      <a:pt x="727" y="145"/>
                    </a:lnTo>
                    <a:lnTo>
                      <a:pt x="729" y="145"/>
                    </a:lnTo>
                    <a:lnTo>
                      <a:pt x="729" y="146"/>
                    </a:lnTo>
                    <a:lnTo>
                      <a:pt x="727" y="146"/>
                    </a:lnTo>
                    <a:lnTo>
                      <a:pt x="726" y="146"/>
                    </a:lnTo>
                    <a:lnTo>
                      <a:pt x="725" y="146"/>
                    </a:lnTo>
                    <a:lnTo>
                      <a:pt x="725" y="145"/>
                    </a:lnTo>
                    <a:lnTo>
                      <a:pt x="726" y="145"/>
                    </a:lnTo>
                    <a:lnTo>
                      <a:pt x="725" y="145"/>
                    </a:lnTo>
                    <a:lnTo>
                      <a:pt x="724" y="146"/>
                    </a:lnTo>
                    <a:lnTo>
                      <a:pt x="723" y="145"/>
                    </a:lnTo>
                    <a:lnTo>
                      <a:pt x="723" y="144"/>
                    </a:lnTo>
                    <a:lnTo>
                      <a:pt x="724" y="143"/>
                    </a:lnTo>
                    <a:lnTo>
                      <a:pt x="725" y="142"/>
                    </a:lnTo>
                    <a:lnTo>
                      <a:pt x="726" y="141"/>
                    </a:lnTo>
                    <a:lnTo>
                      <a:pt x="727" y="141"/>
                    </a:lnTo>
                    <a:lnTo>
                      <a:pt x="727" y="142"/>
                    </a:lnTo>
                    <a:lnTo>
                      <a:pt x="727" y="143"/>
                    </a:lnTo>
                    <a:lnTo>
                      <a:pt x="727" y="144"/>
                    </a:lnTo>
                    <a:close/>
                    <a:moveTo>
                      <a:pt x="502" y="4"/>
                    </a:moveTo>
                    <a:lnTo>
                      <a:pt x="502" y="5"/>
                    </a:lnTo>
                    <a:lnTo>
                      <a:pt x="501" y="4"/>
                    </a:lnTo>
                    <a:lnTo>
                      <a:pt x="500" y="5"/>
                    </a:lnTo>
                    <a:lnTo>
                      <a:pt x="499" y="6"/>
                    </a:lnTo>
                    <a:lnTo>
                      <a:pt x="499" y="7"/>
                    </a:lnTo>
                    <a:lnTo>
                      <a:pt x="499" y="9"/>
                    </a:lnTo>
                    <a:lnTo>
                      <a:pt x="498" y="10"/>
                    </a:lnTo>
                    <a:lnTo>
                      <a:pt x="498" y="9"/>
                    </a:lnTo>
                    <a:lnTo>
                      <a:pt x="497" y="9"/>
                    </a:lnTo>
                    <a:lnTo>
                      <a:pt x="497" y="7"/>
                    </a:lnTo>
                    <a:lnTo>
                      <a:pt x="498" y="7"/>
                    </a:lnTo>
                    <a:lnTo>
                      <a:pt x="498" y="6"/>
                    </a:lnTo>
                    <a:lnTo>
                      <a:pt x="499" y="5"/>
                    </a:lnTo>
                    <a:lnTo>
                      <a:pt x="499" y="4"/>
                    </a:lnTo>
                    <a:lnTo>
                      <a:pt x="499" y="3"/>
                    </a:lnTo>
                    <a:lnTo>
                      <a:pt x="500" y="3"/>
                    </a:lnTo>
                    <a:lnTo>
                      <a:pt x="500" y="2"/>
                    </a:lnTo>
                    <a:lnTo>
                      <a:pt x="501" y="1"/>
                    </a:lnTo>
                    <a:lnTo>
                      <a:pt x="502" y="0"/>
                    </a:lnTo>
                    <a:lnTo>
                      <a:pt x="502" y="1"/>
                    </a:lnTo>
                    <a:lnTo>
                      <a:pt x="502" y="2"/>
                    </a:lnTo>
                    <a:lnTo>
                      <a:pt x="503" y="3"/>
                    </a:lnTo>
                    <a:lnTo>
                      <a:pt x="502" y="3"/>
                    </a:lnTo>
                    <a:lnTo>
                      <a:pt x="503" y="4"/>
                    </a:lnTo>
                    <a:lnTo>
                      <a:pt x="502" y="4"/>
                    </a:lnTo>
                    <a:close/>
                    <a:moveTo>
                      <a:pt x="486" y="19"/>
                    </a:moveTo>
                    <a:lnTo>
                      <a:pt x="487" y="20"/>
                    </a:lnTo>
                    <a:lnTo>
                      <a:pt x="486" y="20"/>
                    </a:lnTo>
                    <a:lnTo>
                      <a:pt x="485" y="20"/>
                    </a:lnTo>
                    <a:lnTo>
                      <a:pt x="485" y="22"/>
                    </a:lnTo>
                    <a:lnTo>
                      <a:pt x="486" y="22"/>
                    </a:lnTo>
                    <a:lnTo>
                      <a:pt x="487" y="23"/>
                    </a:lnTo>
                    <a:lnTo>
                      <a:pt x="486" y="24"/>
                    </a:lnTo>
                    <a:lnTo>
                      <a:pt x="485" y="25"/>
                    </a:lnTo>
                    <a:lnTo>
                      <a:pt x="486" y="25"/>
                    </a:lnTo>
                    <a:lnTo>
                      <a:pt x="485" y="25"/>
                    </a:lnTo>
                    <a:lnTo>
                      <a:pt x="485" y="24"/>
                    </a:lnTo>
                    <a:lnTo>
                      <a:pt x="484" y="24"/>
                    </a:lnTo>
                    <a:lnTo>
                      <a:pt x="484" y="23"/>
                    </a:lnTo>
                    <a:lnTo>
                      <a:pt x="485" y="23"/>
                    </a:lnTo>
                    <a:lnTo>
                      <a:pt x="484" y="22"/>
                    </a:lnTo>
                    <a:lnTo>
                      <a:pt x="484" y="20"/>
                    </a:lnTo>
                    <a:lnTo>
                      <a:pt x="482" y="20"/>
                    </a:lnTo>
                    <a:lnTo>
                      <a:pt x="482" y="19"/>
                    </a:lnTo>
                    <a:lnTo>
                      <a:pt x="484" y="19"/>
                    </a:lnTo>
                    <a:lnTo>
                      <a:pt x="484" y="18"/>
                    </a:lnTo>
                    <a:lnTo>
                      <a:pt x="485" y="18"/>
                    </a:lnTo>
                    <a:lnTo>
                      <a:pt x="485" y="17"/>
                    </a:lnTo>
                    <a:lnTo>
                      <a:pt x="486" y="18"/>
                    </a:lnTo>
                    <a:lnTo>
                      <a:pt x="486" y="19"/>
                    </a:lnTo>
                    <a:close/>
                    <a:moveTo>
                      <a:pt x="460" y="202"/>
                    </a:moveTo>
                    <a:lnTo>
                      <a:pt x="461" y="202"/>
                    </a:lnTo>
                    <a:lnTo>
                      <a:pt x="462" y="202"/>
                    </a:lnTo>
                    <a:lnTo>
                      <a:pt x="462" y="203"/>
                    </a:lnTo>
                    <a:lnTo>
                      <a:pt x="462" y="204"/>
                    </a:lnTo>
                    <a:lnTo>
                      <a:pt x="461" y="204"/>
                    </a:lnTo>
                    <a:lnTo>
                      <a:pt x="461" y="205"/>
                    </a:lnTo>
                    <a:lnTo>
                      <a:pt x="460" y="205"/>
                    </a:lnTo>
                    <a:lnTo>
                      <a:pt x="461" y="206"/>
                    </a:lnTo>
                    <a:lnTo>
                      <a:pt x="462" y="206"/>
                    </a:lnTo>
                    <a:lnTo>
                      <a:pt x="461" y="206"/>
                    </a:lnTo>
                    <a:lnTo>
                      <a:pt x="460" y="206"/>
                    </a:lnTo>
                    <a:lnTo>
                      <a:pt x="460" y="207"/>
                    </a:lnTo>
                    <a:lnTo>
                      <a:pt x="459" y="206"/>
                    </a:lnTo>
                    <a:lnTo>
                      <a:pt x="458" y="206"/>
                    </a:lnTo>
                    <a:lnTo>
                      <a:pt x="456" y="206"/>
                    </a:lnTo>
                    <a:lnTo>
                      <a:pt x="456" y="205"/>
                    </a:lnTo>
                    <a:lnTo>
                      <a:pt x="455" y="205"/>
                    </a:lnTo>
                    <a:lnTo>
                      <a:pt x="455" y="204"/>
                    </a:lnTo>
                    <a:lnTo>
                      <a:pt x="456" y="204"/>
                    </a:lnTo>
                    <a:lnTo>
                      <a:pt x="458" y="204"/>
                    </a:lnTo>
                    <a:lnTo>
                      <a:pt x="458" y="205"/>
                    </a:lnTo>
                    <a:lnTo>
                      <a:pt x="459" y="205"/>
                    </a:lnTo>
                    <a:lnTo>
                      <a:pt x="459" y="204"/>
                    </a:lnTo>
                    <a:lnTo>
                      <a:pt x="460" y="204"/>
                    </a:lnTo>
                    <a:lnTo>
                      <a:pt x="459" y="203"/>
                    </a:lnTo>
                    <a:lnTo>
                      <a:pt x="459" y="202"/>
                    </a:lnTo>
                    <a:lnTo>
                      <a:pt x="460" y="202"/>
                    </a:lnTo>
                    <a:close/>
                    <a:moveTo>
                      <a:pt x="448" y="83"/>
                    </a:moveTo>
                    <a:lnTo>
                      <a:pt x="447" y="83"/>
                    </a:lnTo>
                    <a:lnTo>
                      <a:pt x="448" y="83"/>
                    </a:lnTo>
                    <a:lnTo>
                      <a:pt x="447" y="83"/>
                    </a:lnTo>
                    <a:lnTo>
                      <a:pt x="447" y="84"/>
                    </a:lnTo>
                    <a:lnTo>
                      <a:pt x="447" y="83"/>
                    </a:lnTo>
                    <a:lnTo>
                      <a:pt x="446" y="83"/>
                    </a:lnTo>
                    <a:lnTo>
                      <a:pt x="446" y="84"/>
                    </a:lnTo>
                    <a:lnTo>
                      <a:pt x="445" y="83"/>
                    </a:lnTo>
                    <a:lnTo>
                      <a:pt x="443" y="83"/>
                    </a:lnTo>
                    <a:lnTo>
                      <a:pt x="443" y="82"/>
                    </a:lnTo>
                    <a:lnTo>
                      <a:pt x="445" y="82"/>
                    </a:lnTo>
                    <a:lnTo>
                      <a:pt x="445" y="81"/>
                    </a:lnTo>
                    <a:lnTo>
                      <a:pt x="445" y="80"/>
                    </a:lnTo>
                    <a:lnTo>
                      <a:pt x="445" y="79"/>
                    </a:lnTo>
                    <a:lnTo>
                      <a:pt x="443" y="79"/>
                    </a:lnTo>
                    <a:lnTo>
                      <a:pt x="443" y="78"/>
                    </a:lnTo>
                    <a:lnTo>
                      <a:pt x="443" y="77"/>
                    </a:lnTo>
                    <a:lnTo>
                      <a:pt x="443" y="76"/>
                    </a:lnTo>
                    <a:lnTo>
                      <a:pt x="443" y="75"/>
                    </a:lnTo>
                    <a:lnTo>
                      <a:pt x="445" y="75"/>
                    </a:lnTo>
                    <a:lnTo>
                      <a:pt x="445" y="76"/>
                    </a:lnTo>
                    <a:lnTo>
                      <a:pt x="446" y="76"/>
                    </a:lnTo>
                    <a:lnTo>
                      <a:pt x="446" y="77"/>
                    </a:lnTo>
                    <a:lnTo>
                      <a:pt x="445" y="77"/>
                    </a:lnTo>
                    <a:lnTo>
                      <a:pt x="445" y="78"/>
                    </a:lnTo>
                    <a:lnTo>
                      <a:pt x="446" y="79"/>
                    </a:lnTo>
                    <a:lnTo>
                      <a:pt x="446" y="80"/>
                    </a:lnTo>
                    <a:lnTo>
                      <a:pt x="446" y="81"/>
                    </a:lnTo>
                    <a:lnTo>
                      <a:pt x="447" y="81"/>
                    </a:lnTo>
                    <a:lnTo>
                      <a:pt x="447" y="82"/>
                    </a:lnTo>
                    <a:lnTo>
                      <a:pt x="448" y="82"/>
                    </a:lnTo>
                    <a:lnTo>
                      <a:pt x="448" y="83"/>
                    </a:lnTo>
                    <a:close/>
                    <a:moveTo>
                      <a:pt x="705" y="213"/>
                    </a:moveTo>
                    <a:lnTo>
                      <a:pt x="705" y="215"/>
                    </a:lnTo>
                    <a:lnTo>
                      <a:pt x="705" y="216"/>
                    </a:lnTo>
                    <a:lnTo>
                      <a:pt x="705" y="217"/>
                    </a:lnTo>
                    <a:lnTo>
                      <a:pt x="706" y="217"/>
                    </a:lnTo>
                    <a:lnTo>
                      <a:pt x="706" y="218"/>
                    </a:lnTo>
                    <a:lnTo>
                      <a:pt x="706" y="219"/>
                    </a:lnTo>
                    <a:lnTo>
                      <a:pt x="706" y="220"/>
                    </a:lnTo>
                    <a:lnTo>
                      <a:pt x="706" y="221"/>
                    </a:lnTo>
                    <a:lnTo>
                      <a:pt x="705" y="221"/>
                    </a:lnTo>
                    <a:lnTo>
                      <a:pt x="704" y="221"/>
                    </a:lnTo>
                    <a:lnTo>
                      <a:pt x="703" y="221"/>
                    </a:lnTo>
                    <a:lnTo>
                      <a:pt x="703" y="220"/>
                    </a:lnTo>
                    <a:lnTo>
                      <a:pt x="704" y="220"/>
                    </a:lnTo>
                    <a:lnTo>
                      <a:pt x="705" y="220"/>
                    </a:lnTo>
                    <a:lnTo>
                      <a:pt x="704" y="220"/>
                    </a:lnTo>
                    <a:lnTo>
                      <a:pt x="703" y="220"/>
                    </a:lnTo>
                    <a:lnTo>
                      <a:pt x="703" y="219"/>
                    </a:lnTo>
                    <a:lnTo>
                      <a:pt x="703" y="218"/>
                    </a:lnTo>
                    <a:lnTo>
                      <a:pt x="704" y="218"/>
                    </a:lnTo>
                    <a:lnTo>
                      <a:pt x="704" y="217"/>
                    </a:lnTo>
                    <a:lnTo>
                      <a:pt x="703" y="217"/>
                    </a:lnTo>
                    <a:lnTo>
                      <a:pt x="704" y="217"/>
                    </a:lnTo>
                    <a:lnTo>
                      <a:pt x="704" y="216"/>
                    </a:lnTo>
                    <a:lnTo>
                      <a:pt x="704" y="215"/>
                    </a:lnTo>
                    <a:lnTo>
                      <a:pt x="705" y="215"/>
                    </a:lnTo>
                    <a:lnTo>
                      <a:pt x="704" y="215"/>
                    </a:lnTo>
                    <a:lnTo>
                      <a:pt x="703" y="213"/>
                    </a:lnTo>
                    <a:lnTo>
                      <a:pt x="704" y="213"/>
                    </a:lnTo>
                    <a:lnTo>
                      <a:pt x="703" y="213"/>
                    </a:lnTo>
                    <a:lnTo>
                      <a:pt x="704" y="213"/>
                    </a:lnTo>
                    <a:lnTo>
                      <a:pt x="704" y="212"/>
                    </a:lnTo>
                    <a:lnTo>
                      <a:pt x="705" y="212"/>
                    </a:lnTo>
                    <a:lnTo>
                      <a:pt x="705" y="213"/>
                    </a:lnTo>
                    <a:close/>
                    <a:moveTo>
                      <a:pt x="453" y="118"/>
                    </a:moveTo>
                    <a:lnTo>
                      <a:pt x="454" y="118"/>
                    </a:lnTo>
                    <a:lnTo>
                      <a:pt x="453" y="118"/>
                    </a:lnTo>
                    <a:lnTo>
                      <a:pt x="454" y="118"/>
                    </a:lnTo>
                    <a:lnTo>
                      <a:pt x="455" y="118"/>
                    </a:lnTo>
                    <a:lnTo>
                      <a:pt x="455" y="119"/>
                    </a:lnTo>
                    <a:lnTo>
                      <a:pt x="455" y="118"/>
                    </a:lnTo>
                    <a:lnTo>
                      <a:pt x="456" y="118"/>
                    </a:lnTo>
                    <a:lnTo>
                      <a:pt x="456" y="119"/>
                    </a:lnTo>
                    <a:lnTo>
                      <a:pt x="456" y="120"/>
                    </a:lnTo>
                    <a:lnTo>
                      <a:pt x="455" y="120"/>
                    </a:lnTo>
                    <a:lnTo>
                      <a:pt x="455" y="121"/>
                    </a:lnTo>
                    <a:lnTo>
                      <a:pt x="454" y="121"/>
                    </a:lnTo>
                    <a:lnTo>
                      <a:pt x="454" y="122"/>
                    </a:lnTo>
                    <a:lnTo>
                      <a:pt x="454" y="123"/>
                    </a:lnTo>
                    <a:lnTo>
                      <a:pt x="453" y="125"/>
                    </a:lnTo>
                    <a:lnTo>
                      <a:pt x="453" y="123"/>
                    </a:lnTo>
                    <a:lnTo>
                      <a:pt x="453" y="122"/>
                    </a:lnTo>
                    <a:lnTo>
                      <a:pt x="453" y="121"/>
                    </a:lnTo>
                    <a:lnTo>
                      <a:pt x="452" y="121"/>
                    </a:lnTo>
                    <a:lnTo>
                      <a:pt x="452" y="120"/>
                    </a:lnTo>
                    <a:lnTo>
                      <a:pt x="452" y="119"/>
                    </a:lnTo>
                    <a:lnTo>
                      <a:pt x="452" y="118"/>
                    </a:lnTo>
                    <a:lnTo>
                      <a:pt x="452" y="117"/>
                    </a:lnTo>
                    <a:lnTo>
                      <a:pt x="453" y="117"/>
                    </a:lnTo>
                    <a:lnTo>
                      <a:pt x="453" y="118"/>
                    </a:lnTo>
                    <a:close/>
                    <a:moveTo>
                      <a:pt x="360" y="319"/>
                    </a:moveTo>
                    <a:lnTo>
                      <a:pt x="361" y="319"/>
                    </a:lnTo>
                    <a:lnTo>
                      <a:pt x="362" y="320"/>
                    </a:lnTo>
                    <a:lnTo>
                      <a:pt x="363" y="320"/>
                    </a:lnTo>
                    <a:lnTo>
                      <a:pt x="363" y="321"/>
                    </a:lnTo>
                    <a:lnTo>
                      <a:pt x="364" y="321"/>
                    </a:lnTo>
                    <a:lnTo>
                      <a:pt x="364" y="322"/>
                    </a:lnTo>
                    <a:lnTo>
                      <a:pt x="365" y="323"/>
                    </a:lnTo>
                    <a:lnTo>
                      <a:pt x="366" y="323"/>
                    </a:lnTo>
                    <a:lnTo>
                      <a:pt x="366" y="324"/>
                    </a:lnTo>
                    <a:lnTo>
                      <a:pt x="368" y="325"/>
                    </a:lnTo>
                    <a:lnTo>
                      <a:pt x="368" y="326"/>
                    </a:lnTo>
                    <a:lnTo>
                      <a:pt x="359" y="320"/>
                    </a:lnTo>
                    <a:lnTo>
                      <a:pt x="359" y="319"/>
                    </a:lnTo>
                    <a:lnTo>
                      <a:pt x="358" y="319"/>
                    </a:lnTo>
                    <a:lnTo>
                      <a:pt x="358" y="318"/>
                    </a:lnTo>
                    <a:lnTo>
                      <a:pt x="357" y="316"/>
                    </a:lnTo>
                    <a:lnTo>
                      <a:pt x="357" y="315"/>
                    </a:lnTo>
                    <a:lnTo>
                      <a:pt x="358" y="316"/>
                    </a:lnTo>
                    <a:lnTo>
                      <a:pt x="359" y="318"/>
                    </a:lnTo>
                    <a:lnTo>
                      <a:pt x="360" y="319"/>
                    </a:lnTo>
                    <a:close/>
                    <a:moveTo>
                      <a:pt x="412" y="199"/>
                    </a:moveTo>
                    <a:lnTo>
                      <a:pt x="413" y="199"/>
                    </a:lnTo>
                    <a:lnTo>
                      <a:pt x="412" y="199"/>
                    </a:lnTo>
                    <a:lnTo>
                      <a:pt x="412" y="200"/>
                    </a:lnTo>
                    <a:lnTo>
                      <a:pt x="412" y="202"/>
                    </a:lnTo>
                    <a:lnTo>
                      <a:pt x="413" y="203"/>
                    </a:lnTo>
                    <a:lnTo>
                      <a:pt x="413" y="202"/>
                    </a:lnTo>
                    <a:lnTo>
                      <a:pt x="414" y="203"/>
                    </a:lnTo>
                    <a:lnTo>
                      <a:pt x="415" y="203"/>
                    </a:lnTo>
                    <a:lnTo>
                      <a:pt x="416" y="203"/>
                    </a:lnTo>
                    <a:lnTo>
                      <a:pt x="417" y="203"/>
                    </a:lnTo>
                    <a:lnTo>
                      <a:pt x="419" y="203"/>
                    </a:lnTo>
                    <a:lnTo>
                      <a:pt x="419" y="204"/>
                    </a:lnTo>
                    <a:lnTo>
                      <a:pt x="417" y="204"/>
                    </a:lnTo>
                    <a:lnTo>
                      <a:pt x="416" y="204"/>
                    </a:lnTo>
                    <a:lnTo>
                      <a:pt x="415" y="204"/>
                    </a:lnTo>
                    <a:lnTo>
                      <a:pt x="414" y="205"/>
                    </a:lnTo>
                    <a:lnTo>
                      <a:pt x="412" y="206"/>
                    </a:lnTo>
                    <a:lnTo>
                      <a:pt x="411" y="206"/>
                    </a:lnTo>
                    <a:lnTo>
                      <a:pt x="411" y="205"/>
                    </a:lnTo>
                    <a:lnTo>
                      <a:pt x="412" y="205"/>
                    </a:lnTo>
                    <a:lnTo>
                      <a:pt x="413" y="204"/>
                    </a:lnTo>
                    <a:lnTo>
                      <a:pt x="412" y="204"/>
                    </a:lnTo>
                    <a:lnTo>
                      <a:pt x="413" y="204"/>
                    </a:lnTo>
                    <a:lnTo>
                      <a:pt x="413" y="203"/>
                    </a:lnTo>
                    <a:lnTo>
                      <a:pt x="412" y="203"/>
                    </a:lnTo>
                    <a:lnTo>
                      <a:pt x="412" y="202"/>
                    </a:lnTo>
                    <a:lnTo>
                      <a:pt x="412" y="203"/>
                    </a:lnTo>
                    <a:lnTo>
                      <a:pt x="411" y="203"/>
                    </a:lnTo>
                    <a:lnTo>
                      <a:pt x="411" y="204"/>
                    </a:lnTo>
                    <a:lnTo>
                      <a:pt x="410" y="204"/>
                    </a:lnTo>
                    <a:lnTo>
                      <a:pt x="410" y="203"/>
                    </a:lnTo>
                    <a:lnTo>
                      <a:pt x="411" y="203"/>
                    </a:lnTo>
                    <a:lnTo>
                      <a:pt x="411" y="202"/>
                    </a:lnTo>
                    <a:lnTo>
                      <a:pt x="411" y="200"/>
                    </a:lnTo>
                    <a:lnTo>
                      <a:pt x="411" y="199"/>
                    </a:lnTo>
                    <a:lnTo>
                      <a:pt x="412" y="199"/>
                    </a:lnTo>
                    <a:close/>
                    <a:moveTo>
                      <a:pt x="487" y="105"/>
                    </a:moveTo>
                    <a:lnTo>
                      <a:pt x="486" y="106"/>
                    </a:lnTo>
                    <a:lnTo>
                      <a:pt x="487" y="107"/>
                    </a:lnTo>
                    <a:lnTo>
                      <a:pt x="487" y="106"/>
                    </a:lnTo>
                    <a:lnTo>
                      <a:pt x="487" y="107"/>
                    </a:lnTo>
                    <a:lnTo>
                      <a:pt x="488" y="107"/>
                    </a:lnTo>
                    <a:lnTo>
                      <a:pt x="488" y="108"/>
                    </a:lnTo>
                    <a:lnTo>
                      <a:pt x="488" y="109"/>
                    </a:lnTo>
                    <a:lnTo>
                      <a:pt x="487" y="109"/>
                    </a:lnTo>
                    <a:lnTo>
                      <a:pt x="486" y="109"/>
                    </a:lnTo>
                    <a:lnTo>
                      <a:pt x="485" y="109"/>
                    </a:lnTo>
                    <a:lnTo>
                      <a:pt x="485" y="108"/>
                    </a:lnTo>
                    <a:lnTo>
                      <a:pt x="486" y="108"/>
                    </a:lnTo>
                    <a:lnTo>
                      <a:pt x="487" y="108"/>
                    </a:lnTo>
                    <a:lnTo>
                      <a:pt x="487" y="107"/>
                    </a:lnTo>
                    <a:lnTo>
                      <a:pt x="486" y="107"/>
                    </a:lnTo>
                    <a:lnTo>
                      <a:pt x="485" y="107"/>
                    </a:lnTo>
                    <a:lnTo>
                      <a:pt x="485" y="108"/>
                    </a:lnTo>
                    <a:lnTo>
                      <a:pt x="485" y="109"/>
                    </a:lnTo>
                    <a:lnTo>
                      <a:pt x="484" y="110"/>
                    </a:lnTo>
                    <a:lnTo>
                      <a:pt x="484" y="112"/>
                    </a:lnTo>
                    <a:lnTo>
                      <a:pt x="482" y="112"/>
                    </a:lnTo>
                    <a:lnTo>
                      <a:pt x="482" y="110"/>
                    </a:lnTo>
                    <a:lnTo>
                      <a:pt x="484" y="110"/>
                    </a:lnTo>
                    <a:lnTo>
                      <a:pt x="482" y="110"/>
                    </a:lnTo>
                    <a:lnTo>
                      <a:pt x="484" y="110"/>
                    </a:lnTo>
                    <a:lnTo>
                      <a:pt x="484" y="109"/>
                    </a:lnTo>
                    <a:lnTo>
                      <a:pt x="484" y="108"/>
                    </a:lnTo>
                    <a:lnTo>
                      <a:pt x="484" y="107"/>
                    </a:lnTo>
                    <a:lnTo>
                      <a:pt x="484" y="108"/>
                    </a:lnTo>
                    <a:lnTo>
                      <a:pt x="484" y="107"/>
                    </a:lnTo>
                    <a:lnTo>
                      <a:pt x="485" y="107"/>
                    </a:lnTo>
                    <a:lnTo>
                      <a:pt x="485" y="106"/>
                    </a:lnTo>
                    <a:lnTo>
                      <a:pt x="485" y="105"/>
                    </a:lnTo>
                    <a:lnTo>
                      <a:pt x="486" y="105"/>
                    </a:lnTo>
                    <a:lnTo>
                      <a:pt x="487" y="105"/>
                    </a:lnTo>
                    <a:lnTo>
                      <a:pt x="487" y="104"/>
                    </a:lnTo>
                    <a:lnTo>
                      <a:pt x="487" y="105"/>
                    </a:lnTo>
                    <a:close/>
                    <a:moveTo>
                      <a:pt x="372" y="328"/>
                    </a:moveTo>
                    <a:lnTo>
                      <a:pt x="373" y="329"/>
                    </a:lnTo>
                    <a:lnTo>
                      <a:pt x="374" y="329"/>
                    </a:lnTo>
                    <a:lnTo>
                      <a:pt x="375" y="331"/>
                    </a:lnTo>
                    <a:lnTo>
                      <a:pt x="376" y="331"/>
                    </a:lnTo>
                    <a:lnTo>
                      <a:pt x="376" y="329"/>
                    </a:lnTo>
                    <a:lnTo>
                      <a:pt x="377" y="329"/>
                    </a:lnTo>
                    <a:lnTo>
                      <a:pt x="376" y="329"/>
                    </a:lnTo>
                    <a:lnTo>
                      <a:pt x="377" y="328"/>
                    </a:lnTo>
                    <a:lnTo>
                      <a:pt x="377" y="329"/>
                    </a:lnTo>
                    <a:lnTo>
                      <a:pt x="377" y="331"/>
                    </a:lnTo>
                    <a:lnTo>
                      <a:pt x="377" y="334"/>
                    </a:lnTo>
                    <a:lnTo>
                      <a:pt x="377" y="333"/>
                    </a:lnTo>
                    <a:lnTo>
                      <a:pt x="376" y="333"/>
                    </a:lnTo>
                    <a:lnTo>
                      <a:pt x="375" y="332"/>
                    </a:lnTo>
                    <a:lnTo>
                      <a:pt x="374" y="331"/>
                    </a:lnTo>
                    <a:lnTo>
                      <a:pt x="373" y="329"/>
                    </a:lnTo>
                    <a:lnTo>
                      <a:pt x="371" y="328"/>
                    </a:lnTo>
                    <a:lnTo>
                      <a:pt x="372" y="328"/>
                    </a:lnTo>
                    <a:close/>
                    <a:moveTo>
                      <a:pt x="694" y="206"/>
                    </a:moveTo>
                    <a:lnTo>
                      <a:pt x="693" y="206"/>
                    </a:lnTo>
                    <a:lnTo>
                      <a:pt x="693" y="205"/>
                    </a:lnTo>
                    <a:lnTo>
                      <a:pt x="694" y="204"/>
                    </a:lnTo>
                    <a:lnTo>
                      <a:pt x="694" y="203"/>
                    </a:lnTo>
                    <a:lnTo>
                      <a:pt x="694" y="202"/>
                    </a:lnTo>
                    <a:lnTo>
                      <a:pt x="694" y="200"/>
                    </a:lnTo>
                    <a:lnTo>
                      <a:pt x="695" y="198"/>
                    </a:lnTo>
                    <a:lnTo>
                      <a:pt x="696" y="196"/>
                    </a:lnTo>
                    <a:lnTo>
                      <a:pt x="696" y="195"/>
                    </a:lnTo>
                    <a:lnTo>
                      <a:pt x="697" y="194"/>
                    </a:lnTo>
                    <a:lnTo>
                      <a:pt x="697" y="195"/>
                    </a:lnTo>
                    <a:lnTo>
                      <a:pt x="697" y="196"/>
                    </a:lnTo>
                    <a:lnTo>
                      <a:pt x="697" y="198"/>
                    </a:lnTo>
                    <a:lnTo>
                      <a:pt x="696" y="199"/>
                    </a:lnTo>
                    <a:lnTo>
                      <a:pt x="696" y="200"/>
                    </a:lnTo>
                    <a:lnTo>
                      <a:pt x="696" y="202"/>
                    </a:lnTo>
                    <a:lnTo>
                      <a:pt x="695" y="202"/>
                    </a:lnTo>
                    <a:lnTo>
                      <a:pt x="695" y="203"/>
                    </a:lnTo>
                    <a:lnTo>
                      <a:pt x="694" y="204"/>
                    </a:lnTo>
                    <a:lnTo>
                      <a:pt x="694" y="205"/>
                    </a:lnTo>
                    <a:lnTo>
                      <a:pt x="694" y="206"/>
                    </a:lnTo>
                    <a:close/>
                    <a:moveTo>
                      <a:pt x="312" y="268"/>
                    </a:moveTo>
                    <a:lnTo>
                      <a:pt x="313" y="269"/>
                    </a:lnTo>
                    <a:lnTo>
                      <a:pt x="313" y="270"/>
                    </a:lnTo>
                    <a:lnTo>
                      <a:pt x="313" y="271"/>
                    </a:lnTo>
                    <a:lnTo>
                      <a:pt x="312" y="271"/>
                    </a:lnTo>
                    <a:lnTo>
                      <a:pt x="312" y="272"/>
                    </a:lnTo>
                    <a:lnTo>
                      <a:pt x="313" y="272"/>
                    </a:lnTo>
                    <a:lnTo>
                      <a:pt x="313" y="273"/>
                    </a:lnTo>
                    <a:lnTo>
                      <a:pt x="314" y="273"/>
                    </a:lnTo>
                    <a:lnTo>
                      <a:pt x="313" y="273"/>
                    </a:lnTo>
                    <a:lnTo>
                      <a:pt x="314" y="273"/>
                    </a:lnTo>
                    <a:lnTo>
                      <a:pt x="314" y="274"/>
                    </a:lnTo>
                    <a:lnTo>
                      <a:pt x="316" y="274"/>
                    </a:lnTo>
                    <a:lnTo>
                      <a:pt x="316" y="273"/>
                    </a:lnTo>
                    <a:lnTo>
                      <a:pt x="316" y="274"/>
                    </a:lnTo>
                    <a:lnTo>
                      <a:pt x="316" y="275"/>
                    </a:lnTo>
                    <a:lnTo>
                      <a:pt x="314" y="275"/>
                    </a:lnTo>
                    <a:lnTo>
                      <a:pt x="314" y="274"/>
                    </a:lnTo>
                    <a:lnTo>
                      <a:pt x="313" y="274"/>
                    </a:lnTo>
                    <a:lnTo>
                      <a:pt x="312" y="273"/>
                    </a:lnTo>
                    <a:lnTo>
                      <a:pt x="312" y="272"/>
                    </a:lnTo>
                    <a:lnTo>
                      <a:pt x="312" y="273"/>
                    </a:lnTo>
                    <a:lnTo>
                      <a:pt x="312" y="272"/>
                    </a:lnTo>
                    <a:lnTo>
                      <a:pt x="312" y="271"/>
                    </a:lnTo>
                    <a:lnTo>
                      <a:pt x="312" y="270"/>
                    </a:lnTo>
                    <a:lnTo>
                      <a:pt x="312" y="271"/>
                    </a:lnTo>
                    <a:lnTo>
                      <a:pt x="311" y="271"/>
                    </a:lnTo>
                    <a:lnTo>
                      <a:pt x="311" y="270"/>
                    </a:lnTo>
                    <a:lnTo>
                      <a:pt x="310" y="270"/>
                    </a:lnTo>
                    <a:lnTo>
                      <a:pt x="309" y="270"/>
                    </a:lnTo>
                    <a:lnTo>
                      <a:pt x="309" y="269"/>
                    </a:lnTo>
                    <a:lnTo>
                      <a:pt x="309" y="268"/>
                    </a:lnTo>
                    <a:lnTo>
                      <a:pt x="310" y="268"/>
                    </a:lnTo>
                    <a:lnTo>
                      <a:pt x="310" y="269"/>
                    </a:lnTo>
                    <a:lnTo>
                      <a:pt x="311" y="269"/>
                    </a:lnTo>
                    <a:lnTo>
                      <a:pt x="311" y="268"/>
                    </a:lnTo>
                    <a:lnTo>
                      <a:pt x="312" y="268"/>
                    </a:lnTo>
                    <a:close/>
                    <a:moveTo>
                      <a:pt x="454" y="160"/>
                    </a:moveTo>
                    <a:lnTo>
                      <a:pt x="455" y="160"/>
                    </a:lnTo>
                    <a:lnTo>
                      <a:pt x="456" y="160"/>
                    </a:lnTo>
                    <a:lnTo>
                      <a:pt x="458" y="160"/>
                    </a:lnTo>
                    <a:lnTo>
                      <a:pt x="458" y="161"/>
                    </a:lnTo>
                    <a:lnTo>
                      <a:pt x="458" y="160"/>
                    </a:lnTo>
                    <a:lnTo>
                      <a:pt x="458" y="161"/>
                    </a:lnTo>
                    <a:lnTo>
                      <a:pt x="458" y="160"/>
                    </a:lnTo>
                    <a:lnTo>
                      <a:pt x="459" y="161"/>
                    </a:lnTo>
                    <a:lnTo>
                      <a:pt x="460" y="161"/>
                    </a:lnTo>
                    <a:lnTo>
                      <a:pt x="459" y="161"/>
                    </a:lnTo>
                    <a:lnTo>
                      <a:pt x="458" y="161"/>
                    </a:lnTo>
                    <a:lnTo>
                      <a:pt x="456" y="161"/>
                    </a:lnTo>
                    <a:lnTo>
                      <a:pt x="456" y="160"/>
                    </a:lnTo>
                    <a:lnTo>
                      <a:pt x="455" y="160"/>
                    </a:lnTo>
                    <a:lnTo>
                      <a:pt x="455" y="161"/>
                    </a:lnTo>
                    <a:lnTo>
                      <a:pt x="454" y="161"/>
                    </a:lnTo>
                    <a:lnTo>
                      <a:pt x="453" y="161"/>
                    </a:lnTo>
                    <a:lnTo>
                      <a:pt x="453" y="162"/>
                    </a:lnTo>
                    <a:lnTo>
                      <a:pt x="452" y="162"/>
                    </a:lnTo>
                    <a:lnTo>
                      <a:pt x="452" y="164"/>
                    </a:lnTo>
                    <a:lnTo>
                      <a:pt x="451" y="164"/>
                    </a:lnTo>
                    <a:lnTo>
                      <a:pt x="450" y="164"/>
                    </a:lnTo>
                    <a:lnTo>
                      <a:pt x="449" y="164"/>
                    </a:lnTo>
                    <a:lnTo>
                      <a:pt x="448" y="164"/>
                    </a:lnTo>
                    <a:lnTo>
                      <a:pt x="448" y="165"/>
                    </a:lnTo>
                    <a:lnTo>
                      <a:pt x="447" y="165"/>
                    </a:lnTo>
                    <a:lnTo>
                      <a:pt x="447" y="166"/>
                    </a:lnTo>
                    <a:lnTo>
                      <a:pt x="446" y="167"/>
                    </a:lnTo>
                    <a:lnTo>
                      <a:pt x="446" y="166"/>
                    </a:lnTo>
                    <a:lnTo>
                      <a:pt x="446" y="165"/>
                    </a:lnTo>
                    <a:lnTo>
                      <a:pt x="447" y="165"/>
                    </a:lnTo>
                    <a:lnTo>
                      <a:pt x="448" y="164"/>
                    </a:lnTo>
                    <a:lnTo>
                      <a:pt x="449" y="164"/>
                    </a:lnTo>
                    <a:lnTo>
                      <a:pt x="449" y="162"/>
                    </a:lnTo>
                    <a:lnTo>
                      <a:pt x="450" y="162"/>
                    </a:lnTo>
                    <a:lnTo>
                      <a:pt x="451" y="161"/>
                    </a:lnTo>
                    <a:lnTo>
                      <a:pt x="452" y="161"/>
                    </a:lnTo>
                    <a:lnTo>
                      <a:pt x="452" y="160"/>
                    </a:lnTo>
                    <a:lnTo>
                      <a:pt x="453" y="160"/>
                    </a:lnTo>
                    <a:lnTo>
                      <a:pt x="453" y="159"/>
                    </a:lnTo>
                    <a:lnTo>
                      <a:pt x="454" y="160"/>
                    </a:lnTo>
                    <a:close/>
                    <a:moveTo>
                      <a:pt x="505" y="67"/>
                    </a:moveTo>
                    <a:lnTo>
                      <a:pt x="506" y="67"/>
                    </a:lnTo>
                    <a:lnTo>
                      <a:pt x="506" y="68"/>
                    </a:lnTo>
                    <a:lnTo>
                      <a:pt x="506" y="67"/>
                    </a:lnTo>
                    <a:lnTo>
                      <a:pt x="507" y="67"/>
                    </a:lnTo>
                    <a:lnTo>
                      <a:pt x="507" y="68"/>
                    </a:lnTo>
                    <a:lnTo>
                      <a:pt x="508" y="68"/>
                    </a:lnTo>
                    <a:lnTo>
                      <a:pt x="508" y="69"/>
                    </a:lnTo>
                    <a:lnTo>
                      <a:pt x="510" y="69"/>
                    </a:lnTo>
                    <a:lnTo>
                      <a:pt x="510" y="68"/>
                    </a:lnTo>
                    <a:lnTo>
                      <a:pt x="511" y="68"/>
                    </a:lnTo>
                    <a:lnTo>
                      <a:pt x="512" y="68"/>
                    </a:lnTo>
                    <a:lnTo>
                      <a:pt x="511" y="69"/>
                    </a:lnTo>
                    <a:lnTo>
                      <a:pt x="510" y="69"/>
                    </a:lnTo>
                    <a:lnTo>
                      <a:pt x="510" y="70"/>
                    </a:lnTo>
                    <a:lnTo>
                      <a:pt x="508" y="70"/>
                    </a:lnTo>
                    <a:lnTo>
                      <a:pt x="507" y="70"/>
                    </a:lnTo>
                    <a:lnTo>
                      <a:pt x="506" y="70"/>
                    </a:lnTo>
                    <a:lnTo>
                      <a:pt x="506" y="71"/>
                    </a:lnTo>
                    <a:lnTo>
                      <a:pt x="505" y="71"/>
                    </a:lnTo>
                    <a:lnTo>
                      <a:pt x="506" y="70"/>
                    </a:lnTo>
                    <a:lnTo>
                      <a:pt x="507" y="70"/>
                    </a:lnTo>
                    <a:lnTo>
                      <a:pt x="506" y="70"/>
                    </a:lnTo>
                    <a:lnTo>
                      <a:pt x="506" y="69"/>
                    </a:lnTo>
                    <a:lnTo>
                      <a:pt x="505" y="69"/>
                    </a:lnTo>
                    <a:lnTo>
                      <a:pt x="506" y="69"/>
                    </a:lnTo>
                    <a:lnTo>
                      <a:pt x="506" y="68"/>
                    </a:lnTo>
                    <a:lnTo>
                      <a:pt x="505" y="68"/>
                    </a:lnTo>
                    <a:lnTo>
                      <a:pt x="505" y="69"/>
                    </a:lnTo>
                    <a:lnTo>
                      <a:pt x="505" y="68"/>
                    </a:lnTo>
                    <a:lnTo>
                      <a:pt x="505" y="67"/>
                    </a:lnTo>
                    <a:close/>
                    <a:moveTo>
                      <a:pt x="451" y="144"/>
                    </a:moveTo>
                    <a:lnTo>
                      <a:pt x="451" y="145"/>
                    </a:lnTo>
                    <a:lnTo>
                      <a:pt x="450" y="145"/>
                    </a:lnTo>
                    <a:lnTo>
                      <a:pt x="450" y="146"/>
                    </a:lnTo>
                    <a:lnTo>
                      <a:pt x="450" y="147"/>
                    </a:lnTo>
                    <a:lnTo>
                      <a:pt x="450" y="148"/>
                    </a:lnTo>
                    <a:lnTo>
                      <a:pt x="449" y="148"/>
                    </a:lnTo>
                    <a:lnTo>
                      <a:pt x="448" y="148"/>
                    </a:lnTo>
                    <a:lnTo>
                      <a:pt x="449" y="148"/>
                    </a:lnTo>
                    <a:lnTo>
                      <a:pt x="449" y="147"/>
                    </a:lnTo>
                    <a:lnTo>
                      <a:pt x="449" y="146"/>
                    </a:lnTo>
                    <a:lnTo>
                      <a:pt x="448" y="146"/>
                    </a:lnTo>
                    <a:lnTo>
                      <a:pt x="447" y="146"/>
                    </a:lnTo>
                    <a:lnTo>
                      <a:pt x="446" y="146"/>
                    </a:lnTo>
                    <a:lnTo>
                      <a:pt x="446" y="147"/>
                    </a:lnTo>
                    <a:lnTo>
                      <a:pt x="446" y="146"/>
                    </a:lnTo>
                    <a:lnTo>
                      <a:pt x="445" y="145"/>
                    </a:lnTo>
                    <a:lnTo>
                      <a:pt x="446" y="145"/>
                    </a:lnTo>
                    <a:lnTo>
                      <a:pt x="447" y="145"/>
                    </a:lnTo>
                    <a:lnTo>
                      <a:pt x="447" y="144"/>
                    </a:lnTo>
                    <a:lnTo>
                      <a:pt x="448" y="144"/>
                    </a:lnTo>
                    <a:lnTo>
                      <a:pt x="448" y="145"/>
                    </a:lnTo>
                    <a:lnTo>
                      <a:pt x="449" y="145"/>
                    </a:lnTo>
                    <a:lnTo>
                      <a:pt x="449" y="144"/>
                    </a:lnTo>
                    <a:lnTo>
                      <a:pt x="450" y="144"/>
                    </a:lnTo>
                    <a:lnTo>
                      <a:pt x="450" y="143"/>
                    </a:lnTo>
                    <a:lnTo>
                      <a:pt x="451" y="144"/>
                    </a:lnTo>
                    <a:close/>
                    <a:moveTo>
                      <a:pt x="411" y="129"/>
                    </a:moveTo>
                    <a:lnTo>
                      <a:pt x="412" y="129"/>
                    </a:lnTo>
                    <a:lnTo>
                      <a:pt x="411" y="130"/>
                    </a:lnTo>
                    <a:lnTo>
                      <a:pt x="411" y="131"/>
                    </a:lnTo>
                    <a:lnTo>
                      <a:pt x="410" y="131"/>
                    </a:lnTo>
                    <a:lnTo>
                      <a:pt x="409" y="131"/>
                    </a:lnTo>
                    <a:lnTo>
                      <a:pt x="408" y="131"/>
                    </a:lnTo>
                    <a:lnTo>
                      <a:pt x="408" y="130"/>
                    </a:lnTo>
                    <a:lnTo>
                      <a:pt x="408" y="129"/>
                    </a:lnTo>
                    <a:lnTo>
                      <a:pt x="409" y="129"/>
                    </a:lnTo>
                    <a:lnTo>
                      <a:pt x="409" y="128"/>
                    </a:lnTo>
                    <a:lnTo>
                      <a:pt x="410" y="128"/>
                    </a:lnTo>
                    <a:lnTo>
                      <a:pt x="410" y="127"/>
                    </a:lnTo>
                    <a:lnTo>
                      <a:pt x="410" y="126"/>
                    </a:lnTo>
                    <a:lnTo>
                      <a:pt x="411" y="127"/>
                    </a:lnTo>
                    <a:lnTo>
                      <a:pt x="411" y="128"/>
                    </a:lnTo>
                    <a:lnTo>
                      <a:pt x="411" y="129"/>
                    </a:lnTo>
                    <a:close/>
                    <a:moveTo>
                      <a:pt x="406" y="176"/>
                    </a:moveTo>
                    <a:lnTo>
                      <a:pt x="407" y="176"/>
                    </a:lnTo>
                    <a:lnTo>
                      <a:pt x="408" y="176"/>
                    </a:lnTo>
                    <a:lnTo>
                      <a:pt x="409" y="174"/>
                    </a:lnTo>
                    <a:lnTo>
                      <a:pt x="409" y="176"/>
                    </a:lnTo>
                    <a:lnTo>
                      <a:pt x="409" y="174"/>
                    </a:lnTo>
                    <a:lnTo>
                      <a:pt x="410" y="176"/>
                    </a:lnTo>
                    <a:lnTo>
                      <a:pt x="409" y="176"/>
                    </a:lnTo>
                    <a:lnTo>
                      <a:pt x="409" y="177"/>
                    </a:lnTo>
                    <a:lnTo>
                      <a:pt x="408" y="177"/>
                    </a:lnTo>
                    <a:lnTo>
                      <a:pt x="408" y="178"/>
                    </a:lnTo>
                    <a:lnTo>
                      <a:pt x="408" y="179"/>
                    </a:lnTo>
                    <a:lnTo>
                      <a:pt x="407" y="179"/>
                    </a:lnTo>
                    <a:lnTo>
                      <a:pt x="406" y="178"/>
                    </a:lnTo>
                    <a:lnTo>
                      <a:pt x="404" y="178"/>
                    </a:lnTo>
                    <a:lnTo>
                      <a:pt x="404" y="177"/>
                    </a:lnTo>
                    <a:lnTo>
                      <a:pt x="406" y="177"/>
                    </a:lnTo>
                    <a:lnTo>
                      <a:pt x="406" y="176"/>
                    </a:lnTo>
                    <a:lnTo>
                      <a:pt x="404" y="176"/>
                    </a:lnTo>
                    <a:lnTo>
                      <a:pt x="403" y="177"/>
                    </a:lnTo>
                    <a:lnTo>
                      <a:pt x="403" y="176"/>
                    </a:lnTo>
                    <a:lnTo>
                      <a:pt x="403" y="174"/>
                    </a:lnTo>
                    <a:lnTo>
                      <a:pt x="404" y="176"/>
                    </a:lnTo>
                    <a:lnTo>
                      <a:pt x="406" y="176"/>
                    </a:lnTo>
                    <a:close/>
                    <a:moveTo>
                      <a:pt x="720" y="208"/>
                    </a:moveTo>
                    <a:lnTo>
                      <a:pt x="719" y="208"/>
                    </a:lnTo>
                    <a:lnTo>
                      <a:pt x="718" y="209"/>
                    </a:lnTo>
                    <a:lnTo>
                      <a:pt x="717" y="209"/>
                    </a:lnTo>
                    <a:lnTo>
                      <a:pt x="717" y="208"/>
                    </a:lnTo>
                    <a:lnTo>
                      <a:pt x="718" y="207"/>
                    </a:lnTo>
                    <a:lnTo>
                      <a:pt x="719" y="207"/>
                    </a:lnTo>
                    <a:lnTo>
                      <a:pt x="719" y="206"/>
                    </a:lnTo>
                    <a:lnTo>
                      <a:pt x="720" y="206"/>
                    </a:lnTo>
                    <a:lnTo>
                      <a:pt x="721" y="206"/>
                    </a:lnTo>
                    <a:lnTo>
                      <a:pt x="721" y="205"/>
                    </a:lnTo>
                    <a:lnTo>
                      <a:pt x="722" y="205"/>
                    </a:lnTo>
                    <a:lnTo>
                      <a:pt x="723" y="206"/>
                    </a:lnTo>
                    <a:lnTo>
                      <a:pt x="722" y="206"/>
                    </a:lnTo>
                    <a:lnTo>
                      <a:pt x="722" y="207"/>
                    </a:lnTo>
                    <a:lnTo>
                      <a:pt x="721" y="207"/>
                    </a:lnTo>
                    <a:lnTo>
                      <a:pt x="721" y="208"/>
                    </a:lnTo>
                    <a:lnTo>
                      <a:pt x="720" y="208"/>
                    </a:lnTo>
                    <a:close/>
                    <a:moveTo>
                      <a:pt x="433" y="164"/>
                    </a:moveTo>
                    <a:lnTo>
                      <a:pt x="433" y="165"/>
                    </a:lnTo>
                    <a:lnTo>
                      <a:pt x="432" y="165"/>
                    </a:lnTo>
                    <a:lnTo>
                      <a:pt x="432" y="164"/>
                    </a:lnTo>
                    <a:lnTo>
                      <a:pt x="430" y="164"/>
                    </a:lnTo>
                    <a:lnTo>
                      <a:pt x="430" y="165"/>
                    </a:lnTo>
                    <a:lnTo>
                      <a:pt x="429" y="166"/>
                    </a:lnTo>
                    <a:lnTo>
                      <a:pt x="428" y="166"/>
                    </a:lnTo>
                    <a:lnTo>
                      <a:pt x="427" y="167"/>
                    </a:lnTo>
                    <a:lnTo>
                      <a:pt x="427" y="168"/>
                    </a:lnTo>
                    <a:lnTo>
                      <a:pt x="426" y="168"/>
                    </a:lnTo>
                    <a:lnTo>
                      <a:pt x="426" y="169"/>
                    </a:lnTo>
                    <a:lnTo>
                      <a:pt x="426" y="168"/>
                    </a:lnTo>
                    <a:lnTo>
                      <a:pt x="427" y="168"/>
                    </a:lnTo>
                    <a:lnTo>
                      <a:pt x="427" y="167"/>
                    </a:lnTo>
                    <a:lnTo>
                      <a:pt x="427" y="166"/>
                    </a:lnTo>
                    <a:lnTo>
                      <a:pt x="428" y="166"/>
                    </a:lnTo>
                    <a:lnTo>
                      <a:pt x="429" y="165"/>
                    </a:lnTo>
                    <a:lnTo>
                      <a:pt x="430" y="164"/>
                    </a:lnTo>
                    <a:lnTo>
                      <a:pt x="430" y="162"/>
                    </a:lnTo>
                    <a:lnTo>
                      <a:pt x="430" y="161"/>
                    </a:lnTo>
                    <a:lnTo>
                      <a:pt x="432" y="161"/>
                    </a:lnTo>
                    <a:lnTo>
                      <a:pt x="432" y="160"/>
                    </a:lnTo>
                    <a:lnTo>
                      <a:pt x="432" y="159"/>
                    </a:lnTo>
                    <a:lnTo>
                      <a:pt x="433" y="158"/>
                    </a:lnTo>
                    <a:lnTo>
                      <a:pt x="434" y="157"/>
                    </a:lnTo>
                    <a:lnTo>
                      <a:pt x="433" y="158"/>
                    </a:lnTo>
                    <a:lnTo>
                      <a:pt x="433" y="159"/>
                    </a:lnTo>
                    <a:lnTo>
                      <a:pt x="433" y="160"/>
                    </a:lnTo>
                    <a:lnTo>
                      <a:pt x="433" y="161"/>
                    </a:lnTo>
                    <a:lnTo>
                      <a:pt x="433" y="162"/>
                    </a:lnTo>
                    <a:lnTo>
                      <a:pt x="433" y="164"/>
                    </a:lnTo>
                    <a:close/>
                    <a:moveTo>
                      <a:pt x="422" y="170"/>
                    </a:moveTo>
                    <a:lnTo>
                      <a:pt x="422" y="171"/>
                    </a:lnTo>
                    <a:lnTo>
                      <a:pt x="423" y="171"/>
                    </a:lnTo>
                    <a:lnTo>
                      <a:pt x="423" y="172"/>
                    </a:lnTo>
                    <a:lnTo>
                      <a:pt x="422" y="173"/>
                    </a:lnTo>
                    <a:lnTo>
                      <a:pt x="422" y="174"/>
                    </a:lnTo>
                    <a:lnTo>
                      <a:pt x="421" y="174"/>
                    </a:lnTo>
                    <a:lnTo>
                      <a:pt x="420" y="174"/>
                    </a:lnTo>
                    <a:lnTo>
                      <a:pt x="419" y="174"/>
                    </a:lnTo>
                    <a:lnTo>
                      <a:pt x="419" y="173"/>
                    </a:lnTo>
                    <a:lnTo>
                      <a:pt x="420" y="173"/>
                    </a:lnTo>
                    <a:lnTo>
                      <a:pt x="420" y="172"/>
                    </a:lnTo>
                    <a:lnTo>
                      <a:pt x="420" y="171"/>
                    </a:lnTo>
                    <a:lnTo>
                      <a:pt x="420" y="172"/>
                    </a:lnTo>
                    <a:lnTo>
                      <a:pt x="421" y="172"/>
                    </a:lnTo>
                    <a:lnTo>
                      <a:pt x="421" y="171"/>
                    </a:lnTo>
                    <a:lnTo>
                      <a:pt x="422" y="171"/>
                    </a:lnTo>
                    <a:lnTo>
                      <a:pt x="421" y="171"/>
                    </a:lnTo>
                    <a:lnTo>
                      <a:pt x="422" y="171"/>
                    </a:lnTo>
                    <a:lnTo>
                      <a:pt x="421" y="171"/>
                    </a:lnTo>
                    <a:lnTo>
                      <a:pt x="420" y="171"/>
                    </a:lnTo>
                    <a:lnTo>
                      <a:pt x="421" y="170"/>
                    </a:lnTo>
                    <a:lnTo>
                      <a:pt x="422" y="170"/>
                    </a:lnTo>
                    <a:close/>
                    <a:moveTo>
                      <a:pt x="729" y="177"/>
                    </a:moveTo>
                    <a:lnTo>
                      <a:pt x="729" y="178"/>
                    </a:lnTo>
                    <a:lnTo>
                      <a:pt x="730" y="178"/>
                    </a:lnTo>
                    <a:lnTo>
                      <a:pt x="731" y="178"/>
                    </a:lnTo>
                    <a:lnTo>
                      <a:pt x="731" y="179"/>
                    </a:lnTo>
                    <a:lnTo>
                      <a:pt x="730" y="178"/>
                    </a:lnTo>
                    <a:lnTo>
                      <a:pt x="730" y="179"/>
                    </a:lnTo>
                    <a:lnTo>
                      <a:pt x="730" y="180"/>
                    </a:lnTo>
                    <a:lnTo>
                      <a:pt x="729" y="180"/>
                    </a:lnTo>
                    <a:lnTo>
                      <a:pt x="730" y="180"/>
                    </a:lnTo>
                    <a:lnTo>
                      <a:pt x="730" y="181"/>
                    </a:lnTo>
                    <a:lnTo>
                      <a:pt x="729" y="181"/>
                    </a:lnTo>
                    <a:lnTo>
                      <a:pt x="727" y="181"/>
                    </a:lnTo>
                    <a:lnTo>
                      <a:pt x="727" y="180"/>
                    </a:lnTo>
                    <a:lnTo>
                      <a:pt x="726" y="180"/>
                    </a:lnTo>
                    <a:lnTo>
                      <a:pt x="726" y="179"/>
                    </a:lnTo>
                    <a:lnTo>
                      <a:pt x="726" y="178"/>
                    </a:lnTo>
                    <a:lnTo>
                      <a:pt x="727" y="177"/>
                    </a:lnTo>
                    <a:lnTo>
                      <a:pt x="729" y="177"/>
                    </a:lnTo>
                    <a:close/>
                    <a:moveTo>
                      <a:pt x="725" y="141"/>
                    </a:moveTo>
                    <a:lnTo>
                      <a:pt x="724" y="141"/>
                    </a:lnTo>
                    <a:lnTo>
                      <a:pt x="724" y="142"/>
                    </a:lnTo>
                    <a:lnTo>
                      <a:pt x="724" y="141"/>
                    </a:lnTo>
                    <a:lnTo>
                      <a:pt x="723" y="141"/>
                    </a:lnTo>
                    <a:lnTo>
                      <a:pt x="723" y="142"/>
                    </a:lnTo>
                    <a:lnTo>
                      <a:pt x="722" y="142"/>
                    </a:lnTo>
                    <a:lnTo>
                      <a:pt x="721" y="142"/>
                    </a:lnTo>
                    <a:lnTo>
                      <a:pt x="721" y="141"/>
                    </a:lnTo>
                    <a:lnTo>
                      <a:pt x="722" y="141"/>
                    </a:lnTo>
                    <a:lnTo>
                      <a:pt x="722" y="140"/>
                    </a:lnTo>
                    <a:lnTo>
                      <a:pt x="723" y="140"/>
                    </a:lnTo>
                    <a:lnTo>
                      <a:pt x="723" y="139"/>
                    </a:lnTo>
                    <a:lnTo>
                      <a:pt x="724" y="139"/>
                    </a:lnTo>
                    <a:lnTo>
                      <a:pt x="725" y="139"/>
                    </a:lnTo>
                    <a:lnTo>
                      <a:pt x="725" y="138"/>
                    </a:lnTo>
                    <a:lnTo>
                      <a:pt x="726" y="138"/>
                    </a:lnTo>
                    <a:lnTo>
                      <a:pt x="726" y="139"/>
                    </a:lnTo>
                    <a:lnTo>
                      <a:pt x="726" y="140"/>
                    </a:lnTo>
                    <a:lnTo>
                      <a:pt x="725" y="141"/>
                    </a:lnTo>
                    <a:close/>
                    <a:moveTo>
                      <a:pt x="372" y="239"/>
                    </a:moveTo>
                    <a:lnTo>
                      <a:pt x="373" y="239"/>
                    </a:lnTo>
                    <a:lnTo>
                      <a:pt x="374" y="241"/>
                    </a:lnTo>
                    <a:lnTo>
                      <a:pt x="373" y="241"/>
                    </a:lnTo>
                    <a:lnTo>
                      <a:pt x="373" y="242"/>
                    </a:lnTo>
                    <a:lnTo>
                      <a:pt x="372" y="242"/>
                    </a:lnTo>
                    <a:lnTo>
                      <a:pt x="371" y="242"/>
                    </a:lnTo>
                    <a:lnTo>
                      <a:pt x="370" y="242"/>
                    </a:lnTo>
                    <a:lnTo>
                      <a:pt x="370" y="243"/>
                    </a:lnTo>
                    <a:lnTo>
                      <a:pt x="370" y="242"/>
                    </a:lnTo>
                    <a:lnTo>
                      <a:pt x="369" y="242"/>
                    </a:lnTo>
                    <a:lnTo>
                      <a:pt x="369" y="243"/>
                    </a:lnTo>
                    <a:lnTo>
                      <a:pt x="368" y="244"/>
                    </a:lnTo>
                    <a:lnTo>
                      <a:pt x="368" y="243"/>
                    </a:lnTo>
                    <a:lnTo>
                      <a:pt x="366" y="243"/>
                    </a:lnTo>
                    <a:lnTo>
                      <a:pt x="366" y="242"/>
                    </a:lnTo>
                    <a:lnTo>
                      <a:pt x="368" y="242"/>
                    </a:lnTo>
                    <a:lnTo>
                      <a:pt x="368" y="241"/>
                    </a:lnTo>
                    <a:lnTo>
                      <a:pt x="369" y="241"/>
                    </a:lnTo>
                    <a:lnTo>
                      <a:pt x="370" y="241"/>
                    </a:lnTo>
                    <a:lnTo>
                      <a:pt x="370" y="239"/>
                    </a:lnTo>
                    <a:lnTo>
                      <a:pt x="371" y="241"/>
                    </a:lnTo>
                    <a:lnTo>
                      <a:pt x="371" y="239"/>
                    </a:lnTo>
                    <a:lnTo>
                      <a:pt x="372" y="239"/>
                    </a:lnTo>
                    <a:close/>
                    <a:moveTo>
                      <a:pt x="277" y="307"/>
                    </a:moveTo>
                    <a:lnTo>
                      <a:pt x="278" y="307"/>
                    </a:lnTo>
                    <a:lnTo>
                      <a:pt x="278" y="308"/>
                    </a:lnTo>
                    <a:lnTo>
                      <a:pt x="279" y="308"/>
                    </a:lnTo>
                    <a:lnTo>
                      <a:pt x="278" y="309"/>
                    </a:lnTo>
                    <a:lnTo>
                      <a:pt x="277" y="309"/>
                    </a:lnTo>
                    <a:lnTo>
                      <a:pt x="275" y="309"/>
                    </a:lnTo>
                    <a:lnTo>
                      <a:pt x="277" y="310"/>
                    </a:lnTo>
                    <a:lnTo>
                      <a:pt x="275" y="310"/>
                    </a:lnTo>
                    <a:lnTo>
                      <a:pt x="275" y="309"/>
                    </a:lnTo>
                    <a:lnTo>
                      <a:pt x="274" y="310"/>
                    </a:lnTo>
                    <a:lnTo>
                      <a:pt x="273" y="310"/>
                    </a:lnTo>
                    <a:lnTo>
                      <a:pt x="273" y="309"/>
                    </a:lnTo>
                    <a:lnTo>
                      <a:pt x="273" y="308"/>
                    </a:lnTo>
                    <a:lnTo>
                      <a:pt x="274" y="309"/>
                    </a:lnTo>
                    <a:lnTo>
                      <a:pt x="274" y="308"/>
                    </a:lnTo>
                    <a:lnTo>
                      <a:pt x="273" y="308"/>
                    </a:lnTo>
                    <a:lnTo>
                      <a:pt x="274" y="308"/>
                    </a:lnTo>
                    <a:lnTo>
                      <a:pt x="274" y="307"/>
                    </a:lnTo>
                    <a:lnTo>
                      <a:pt x="275" y="307"/>
                    </a:lnTo>
                    <a:lnTo>
                      <a:pt x="277" y="307"/>
                    </a:lnTo>
                    <a:close/>
                    <a:moveTo>
                      <a:pt x="433" y="222"/>
                    </a:moveTo>
                    <a:lnTo>
                      <a:pt x="434" y="222"/>
                    </a:lnTo>
                    <a:lnTo>
                      <a:pt x="434" y="223"/>
                    </a:lnTo>
                    <a:lnTo>
                      <a:pt x="435" y="223"/>
                    </a:lnTo>
                    <a:lnTo>
                      <a:pt x="434" y="223"/>
                    </a:lnTo>
                    <a:lnTo>
                      <a:pt x="434" y="224"/>
                    </a:lnTo>
                    <a:lnTo>
                      <a:pt x="435" y="224"/>
                    </a:lnTo>
                    <a:lnTo>
                      <a:pt x="435" y="225"/>
                    </a:lnTo>
                    <a:lnTo>
                      <a:pt x="436" y="225"/>
                    </a:lnTo>
                    <a:lnTo>
                      <a:pt x="436" y="226"/>
                    </a:lnTo>
                    <a:lnTo>
                      <a:pt x="436" y="228"/>
                    </a:lnTo>
                    <a:lnTo>
                      <a:pt x="435" y="228"/>
                    </a:lnTo>
                    <a:lnTo>
                      <a:pt x="435" y="226"/>
                    </a:lnTo>
                    <a:lnTo>
                      <a:pt x="435" y="225"/>
                    </a:lnTo>
                    <a:lnTo>
                      <a:pt x="434" y="225"/>
                    </a:lnTo>
                    <a:lnTo>
                      <a:pt x="433" y="224"/>
                    </a:lnTo>
                    <a:lnTo>
                      <a:pt x="434" y="224"/>
                    </a:lnTo>
                    <a:lnTo>
                      <a:pt x="433" y="224"/>
                    </a:lnTo>
                    <a:lnTo>
                      <a:pt x="433" y="223"/>
                    </a:lnTo>
                    <a:lnTo>
                      <a:pt x="433" y="224"/>
                    </a:lnTo>
                    <a:lnTo>
                      <a:pt x="432" y="224"/>
                    </a:lnTo>
                    <a:lnTo>
                      <a:pt x="430" y="224"/>
                    </a:lnTo>
                    <a:lnTo>
                      <a:pt x="430" y="223"/>
                    </a:lnTo>
                    <a:lnTo>
                      <a:pt x="432" y="224"/>
                    </a:lnTo>
                    <a:lnTo>
                      <a:pt x="432" y="223"/>
                    </a:lnTo>
                    <a:lnTo>
                      <a:pt x="433" y="223"/>
                    </a:lnTo>
                    <a:lnTo>
                      <a:pt x="433" y="222"/>
                    </a:lnTo>
                    <a:lnTo>
                      <a:pt x="432" y="222"/>
                    </a:lnTo>
                    <a:lnTo>
                      <a:pt x="430" y="222"/>
                    </a:lnTo>
                    <a:lnTo>
                      <a:pt x="430" y="223"/>
                    </a:lnTo>
                    <a:lnTo>
                      <a:pt x="429" y="223"/>
                    </a:lnTo>
                    <a:lnTo>
                      <a:pt x="429" y="222"/>
                    </a:lnTo>
                    <a:lnTo>
                      <a:pt x="430" y="222"/>
                    </a:lnTo>
                    <a:lnTo>
                      <a:pt x="432" y="222"/>
                    </a:lnTo>
                    <a:lnTo>
                      <a:pt x="432" y="221"/>
                    </a:lnTo>
                    <a:lnTo>
                      <a:pt x="433" y="222"/>
                    </a:lnTo>
                    <a:close/>
                    <a:moveTo>
                      <a:pt x="730" y="157"/>
                    </a:moveTo>
                    <a:lnTo>
                      <a:pt x="730" y="158"/>
                    </a:lnTo>
                    <a:lnTo>
                      <a:pt x="729" y="158"/>
                    </a:lnTo>
                    <a:lnTo>
                      <a:pt x="729" y="159"/>
                    </a:lnTo>
                    <a:lnTo>
                      <a:pt x="727" y="159"/>
                    </a:lnTo>
                    <a:lnTo>
                      <a:pt x="726" y="159"/>
                    </a:lnTo>
                    <a:lnTo>
                      <a:pt x="726" y="160"/>
                    </a:lnTo>
                    <a:lnTo>
                      <a:pt x="725" y="160"/>
                    </a:lnTo>
                    <a:lnTo>
                      <a:pt x="724" y="159"/>
                    </a:lnTo>
                    <a:lnTo>
                      <a:pt x="725" y="159"/>
                    </a:lnTo>
                    <a:lnTo>
                      <a:pt x="724" y="158"/>
                    </a:lnTo>
                    <a:lnTo>
                      <a:pt x="725" y="158"/>
                    </a:lnTo>
                    <a:lnTo>
                      <a:pt x="726" y="157"/>
                    </a:lnTo>
                    <a:lnTo>
                      <a:pt x="727" y="157"/>
                    </a:lnTo>
                    <a:lnTo>
                      <a:pt x="729" y="157"/>
                    </a:lnTo>
                    <a:lnTo>
                      <a:pt x="730" y="157"/>
                    </a:lnTo>
                    <a:close/>
                    <a:moveTo>
                      <a:pt x="714" y="248"/>
                    </a:moveTo>
                    <a:lnTo>
                      <a:pt x="713" y="249"/>
                    </a:lnTo>
                    <a:lnTo>
                      <a:pt x="713" y="250"/>
                    </a:lnTo>
                    <a:lnTo>
                      <a:pt x="712" y="250"/>
                    </a:lnTo>
                    <a:lnTo>
                      <a:pt x="712" y="249"/>
                    </a:lnTo>
                    <a:lnTo>
                      <a:pt x="711" y="249"/>
                    </a:lnTo>
                    <a:lnTo>
                      <a:pt x="710" y="249"/>
                    </a:lnTo>
                    <a:lnTo>
                      <a:pt x="711" y="249"/>
                    </a:lnTo>
                    <a:lnTo>
                      <a:pt x="711" y="248"/>
                    </a:lnTo>
                    <a:lnTo>
                      <a:pt x="710" y="249"/>
                    </a:lnTo>
                    <a:lnTo>
                      <a:pt x="710" y="248"/>
                    </a:lnTo>
                    <a:lnTo>
                      <a:pt x="710" y="247"/>
                    </a:lnTo>
                    <a:lnTo>
                      <a:pt x="711" y="247"/>
                    </a:lnTo>
                    <a:lnTo>
                      <a:pt x="711" y="246"/>
                    </a:lnTo>
                    <a:lnTo>
                      <a:pt x="712" y="247"/>
                    </a:lnTo>
                    <a:lnTo>
                      <a:pt x="713" y="247"/>
                    </a:lnTo>
                    <a:lnTo>
                      <a:pt x="714" y="248"/>
                    </a:lnTo>
                    <a:close/>
                    <a:moveTo>
                      <a:pt x="412" y="70"/>
                    </a:moveTo>
                    <a:lnTo>
                      <a:pt x="413" y="70"/>
                    </a:lnTo>
                    <a:lnTo>
                      <a:pt x="414" y="70"/>
                    </a:lnTo>
                    <a:lnTo>
                      <a:pt x="413" y="70"/>
                    </a:lnTo>
                    <a:lnTo>
                      <a:pt x="414" y="71"/>
                    </a:lnTo>
                    <a:lnTo>
                      <a:pt x="415" y="71"/>
                    </a:lnTo>
                    <a:lnTo>
                      <a:pt x="415" y="72"/>
                    </a:lnTo>
                    <a:lnTo>
                      <a:pt x="415" y="74"/>
                    </a:lnTo>
                    <a:lnTo>
                      <a:pt x="414" y="75"/>
                    </a:lnTo>
                    <a:lnTo>
                      <a:pt x="413" y="75"/>
                    </a:lnTo>
                    <a:lnTo>
                      <a:pt x="413" y="76"/>
                    </a:lnTo>
                    <a:lnTo>
                      <a:pt x="413" y="75"/>
                    </a:lnTo>
                    <a:lnTo>
                      <a:pt x="412" y="75"/>
                    </a:lnTo>
                    <a:lnTo>
                      <a:pt x="412" y="74"/>
                    </a:lnTo>
                    <a:lnTo>
                      <a:pt x="413" y="74"/>
                    </a:lnTo>
                    <a:lnTo>
                      <a:pt x="413" y="72"/>
                    </a:lnTo>
                    <a:lnTo>
                      <a:pt x="414" y="72"/>
                    </a:lnTo>
                    <a:lnTo>
                      <a:pt x="413" y="72"/>
                    </a:lnTo>
                    <a:lnTo>
                      <a:pt x="414" y="72"/>
                    </a:lnTo>
                    <a:lnTo>
                      <a:pt x="413" y="71"/>
                    </a:lnTo>
                    <a:lnTo>
                      <a:pt x="414" y="71"/>
                    </a:lnTo>
                    <a:lnTo>
                      <a:pt x="413" y="71"/>
                    </a:lnTo>
                    <a:lnTo>
                      <a:pt x="413" y="70"/>
                    </a:lnTo>
                    <a:lnTo>
                      <a:pt x="413" y="71"/>
                    </a:lnTo>
                    <a:lnTo>
                      <a:pt x="412" y="71"/>
                    </a:lnTo>
                    <a:lnTo>
                      <a:pt x="411" y="71"/>
                    </a:lnTo>
                    <a:lnTo>
                      <a:pt x="411" y="70"/>
                    </a:lnTo>
                    <a:lnTo>
                      <a:pt x="412" y="70"/>
                    </a:lnTo>
                    <a:close/>
                    <a:moveTo>
                      <a:pt x="725" y="200"/>
                    </a:moveTo>
                    <a:lnTo>
                      <a:pt x="725" y="202"/>
                    </a:lnTo>
                    <a:lnTo>
                      <a:pt x="726" y="202"/>
                    </a:lnTo>
                    <a:lnTo>
                      <a:pt x="727" y="202"/>
                    </a:lnTo>
                    <a:lnTo>
                      <a:pt x="726" y="202"/>
                    </a:lnTo>
                    <a:lnTo>
                      <a:pt x="726" y="203"/>
                    </a:lnTo>
                    <a:lnTo>
                      <a:pt x="726" y="204"/>
                    </a:lnTo>
                    <a:lnTo>
                      <a:pt x="725" y="203"/>
                    </a:lnTo>
                    <a:lnTo>
                      <a:pt x="724" y="203"/>
                    </a:lnTo>
                    <a:lnTo>
                      <a:pt x="723" y="203"/>
                    </a:lnTo>
                    <a:lnTo>
                      <a:pt x="723" y="202"/>
                    </a:lnTo>
                    <a:lnTo>
                      <a:pt x="722" y="202"/>
                    </a:lnTo>
                    <a:lnTo>
                      <a:pt x="722" y="200"/>
                    </a:lnTo>
                    <a:lnTo>
                      <a:pt x="723" y="200"/>
                    </a:lnTo>
                    <a:lnTo>
                      <a:pt x="724" y="200"/>
                    </a:lnTo>
                    <a:lnTo>
                      <a:pt x="724" y="199"/>
                    </a:lnTo>
                    <a:lnTo>
                      <a:pt x="725" y="200"/>
                    </a:lnTo>
                    <a:close/>
                    <a:moveTo>
                      <a:pt x="400" y="108"/>
                    </a:moveTo>
                    <a:lnTo>
                      <a:pt x="401" y="108"/>
                    </a:lnTo>
                    <a:lnTo>
                      <a:pt x="402" y="108"/>
                    </a:lnTo>
                    <a:lnTo>
                      <a:pt x="402" y="109"/>
                    </a:lnTo>
                    <a:lnTo>
                      <a:pt x="401" y="109"/>
                    </a:lnTo>
                    <a:lnTo>
                      <a:pt x="402" y="110"/>
                    </a:lnTo>
                    <a:lnTo>
                      <a:pt x="403" y="110"/>
                    </a:lnTo>
                    <a:lnTo>
                      <a:pt x="402" y="110"/>
                    </a:lnTo>
                    <a:lnTo>
                      <a:pt x="401" y="110"/>
                    </a:lnTo>
                    <a:lnTo>
                      <a:pt x="401" y="109"/>
                    </a:lnTo>
                    <a:lnTo>
                      <a:pt x="400" y="109"/>
                    </a:lnTo>
                    <a:lnTo>
                      <a:pt x="399" y="109"/>
                    </a:lnTo>
                    <a:lnTo>
                      <a:pt x="398" y="109"/>
                    </a:lnTo>
                    <a:lnTo>
                      <a:pt x="398" y="108"/>
                    </a:lnTo>
                    <a:lnTo>
                      <a:pt x="398" y="107"/>
                    </a:lnTo>
                    <a:lnTo>
                      <a:pt x="399" y="107"/>
                    </a:lnTo>
                    <a:lnTo>
                      <a:pt x="400" y="107"/>
                    </a:lnTo>
                    <a:lnTo>
                      <a:pt x="400" y="108"/>
                    </a:lnTo>
                    <a:close/>
                    <a:moveTo>
                      <a:pt x="445" y="114"/>
                    </a:moveTo>
                    <a:lnTo>
                      <a:pt x="443" y="114"/>
                    </a:lnTo>
                    <a:lnTo>
                      <a:pt x="443" y="115"/>
                    </a:lnTo>
                    <a:lnTo>
                      <a:pt x="443" y="116"/>
                    </a:lnTo>
                    <a:lnTo>
                      <a:pt x="442" y="116"/>
                    </a:lnTo>
                    <a:lnTo>
                      <a:pt x="442" y="115"/>
                    </a:lnTo>
                    <a:lnTo>
                      <a:pt x="441" y="115"/>
                    </a:lnTo>
                    <a:lnTo>
                      <a:pt x="440" y="116"/>
                    </a:lnTo>
                    <a:lnTo>
                      <a:pt x="440" y="115"/>
                    </a:lnTo>
                    <a:lnTo>
                      <a:pt x="440" y="114"/>
                    </a:lnTo>
                    <a:lnTo>
                      <a:pt x="440" y="113"/>
                    </a:lnTo>
                    <a:lnTo>
                      <a:pt x="440" y="112"/>
                    </a:lnTo>
                    <a:lnTo>
                      <a:pt x="441" y="112"/>
                    </a:lnTo>
                    <a:lnTo>
                      <a:pt x="441" y="113"/>
                    </a:lnTo>
                    <a:lnTo>
                      <a:pt x="441" y="114"/>
                    </a:lnTo>
                    <a:lnTo>
                      <a:pt x="442" y="114"/>
                    </a:lnTo>
                    <a:lnTo>
                      <a:pt x="443" y="114"/>
                    </a:lnTo>
                    <a:lnTo>
                      <a:pt x="443" y="113"/>
                    </a:lnTo>
                    <a:lnTo>
                      <a:pt x="443" y="112"/>
                    </a:lnTo>
                    <a:lnTo>
                      <a:pt x="445" y="112"/>
                    </a:lnTo>
                    <a:lnTo>
                      <a:pt x="445" y="113"/>
                    </a:lnTo>
                    <a:lnTo>
                      <a:pt x="445" y="114"/>
                    </a:lnTo>
                    <a:close/>
                    <a:moveTo>
                      <a:pt x="331" y="238"/>
                    </a:moveTo>
                    <a:lnTo>
                      <a:pt x="332" y="239"/>
                    </a:lnTo>
                    <a:lnTo>
                      <a:pt x="333" y="239"/>
                    </a:lnTo>
                    <a:lnTo>
                      <a:pt x="334" y="239"/>
                    </a:lnTo>
                    <a:lnTo>
                      <a:pt x="334" y="238"/>
                    </a:lnTo>
                    <a:lnTo>
                      <a:pt x="335" y="238"/>
                    </a:lnTo>
                    <a:lnTo>
                      <a:pt x="335" y="239"/>
                    </a:lnTo>
                    <a:lnTo>
                      <a:pt x="334" y="239"/>
                    </a:lnTo>
                    <a:lnTo>
                      <a:pt x="334" y="241"/>
                    </a:lnTo>
                    <a:lnTo>
                      <a:pt x="334" y="242"/>
                    </a:lnTo>
                    <a:lnTo>
                      <a:pt x="335" y="242"/>
                    </a:lnTo>
                    <a:lnTo>
                      <a:pt x="335" y="241"/>
                    </a:lnTo>
                    <a:lnTo>
                      <a:pt x="336" y="241"/>
                    </a:lnTo>
                    <a:lnTo>
                      <a:pt x="337" y="241"/>
                    </a:lnTo>
                    <a:lnTo>
                      <a:pt x="336" y="242"/>
                    </a:lnTo>
                    <a:lnTo>
                      <a:pt x="335" y="242"/>
                    </a:lnTo>
                    <a:lnTo>
                      <a:pt x="335" y="243"/>
                    </a:lnTo>
                    <a:lnTo>
                      <a:pt x="335" y="242"/>
                    </a:lnTo>
                    <a:lnTo>
                      <a:pt x="334" y="242"/>
                    </a:lnTo>
                    <a:lnTo>
                      <a:pt x="334" y="241"/>
                    </a:lnTo>
                    <a:lnTo>
                      <a:pt x="333" y="241"/>
                    </a:lnTo>
                    <a:lnTo>
                      <a:pt x="333" y="242"/>
                    </a:lnTo>
                    <a:lnTo>
                      <a:pt x="332" y="242"/>
                    </a:lnTo>
                    <a:lnTo>
                      <a:pt x="332" y="241"/>
                    </a:lnTo>
                    <a:lnTo>
                      <a:pt x="332" y="239"/>
                    </a:lnTo>
                    <a:lnTo>
                      <a:pt x="331" y="239"/>
                    </a:lnTo>
                    <a:lnTo>
                      <a:pt x="331" y="238"/>
                    </a:lnTo>
                    <a:lnTo>
                      <a:pt x="330" y="238"/>
                    </a:lnTo>
                    <a:lnTo>
                      <a:pt x="330" y="239"/>
                    </a:lnTo>
                    <a:lnTo>
                      <a:pt x="330" y="238"/>
                    </a:lnTo>
                    <a:lnTo>
                      <a:pt x="331" y="238"/>
                    </a:lnTo>
                    <a:lnTo>
                      <a:pt x="331" y="237"/>
                    </a:lnTo>
                    <a:lnTo>
                      <a:pt x="331" y="238"/>
                    </a:lnTo>
                    <a:close/>
                    <a:moveTo>
                      <a:pt x="729" y="184"/>
                    </a:moveTo>
                    <a:lnTo>
                      <a:pt x="730" y="186"/>
                    </a:lnTo>
                    <a:lnTo>
                      <a:pt x="729" y="186"/>
                    </a:lnTo>
                    <a:lnTo>
                      <a:pt x="727" y="187"/>
                    </a:lnTo>
                    <a:lnTo>
                      <a:pt x="727" y="186"/>
                    </a:lnTo>
                    <a:lnTo>
                      <a:pt x="726" y="187"/>
                    </a:lnTo>
                    <a:lnTo>
                      <a:pt x="725" y="187"/>
                    </a:lnTo>
                    <a:lnTo>
                      <a:pt x="724" y="187"/>
                    </a:lnTo>
                    <a:lnTo>
                      <a:pt x="724" y="186"/>
                    </a:lnTo>
                    <a:lnTo>
                      <a:pt x="725" y="186"/>
                    </a:lnTo>
                    <a:lnTo>
                      <a:pt x="725" y="187"/>
                    </a:lnTo>
                    <a:lnTo>
                      <a:pt x="725" y="186"/>
                    </a:lnTo>
                    <a:lnTo>
                      <a:pt x="725" y="185"/>
                    </a:lnTo>
                    <a:lnTo>
                      <a:pt x="724" y="185"/>
                    </a:lnTo>
                    <a:lnTo>
                      <a:pt x="725" y="185"/>
                    </a:lnTo>
                    <a:lnTo>
                      <a:pt x="725" y="184"/>
                    </a:lnTo>
                    <a:lnTo>
                      <a:pt x="725" y="185"/>
                    </a:lnTo>
                    <a:lnTo>
                      <a:pt x="726" y="185"/>
                    </a:lnTo>
                    <a:lnTo>
                      <a:pt x="727" y="185"/>
                    </a:lnTo>
                    <a:lnTo>
                      <a:pt x="727" y="184"/>
                    </a:lnTo>
                    <a:lnTo>
                      <a:pt x="729" y="184"/>
                    </a:lnTo>
                    <a:close/>
                    <a:moveTo>
                      <a:pt x="705" y="258"/>
                    </a:moveTo>
                    <a:lnTo>
                      <a:pt x="706" y="258"/>
                    </a:lnTo>
                    <a:lnTo>
                      <a:pt x="707" y="258"/>
                    </a:lnTo>
                    <a:lnTo>
                      <a:pt x="708" y="259"/>
                    </a:lnTo>
                    <a:lnTo>
                      <a:pt x="709" y="259"/>
                    </a:lnTo>
                    <a:lnTo>
                      <a:pt x="709" y="260"/>
                    </a:lnTo>
                    <a:lnTo>
                      <a:pt x="708" y="260"/>
                    </a:lnTo>
                    <a:lnTo>
                      <a:pt x="707" y="260"/>
                    </a:lnTo>
                    <a:lnTo>
                      <a:pt x="706" y="260"/>
                    </a:lnTo>
                    <a:lnTo>
                      <a:pt x="705" y="260"/>
                    </a:lnTo>
                    <a:lnTo>
                      <a:pt x="705" y="259"/>
                    </a:lnTo>
                    <a:lnTo>
                      <a:pt x="704" y="259"/>
                    </a:lnTo>
                    <a:lnTo>
                      <a:pt x="704" y="258"/>
                    </a:lnTo>
                    <a:lnTo>
                      <a:pt x="705" y="258"/>
                    </a:lnTo>
                    <a:close/>
                    <a:moveTo>
                      <a:pt x="414" y="117"/>
                    </a:moveTo>
                    <a:lnTo>
                      <a:pt x="414" y="118"/>
                    </a:lnTo>
                    <a:lnTo>
                      <a:pt x="414" y="119"/>
                    </a:lnTo>
                    <a:lnTo>
                      <a:pt x="414" y="120"/>
                    </a:lnTo>
                    <a:lnTo>
                      <a:pt x="414" y="121"/>
                    </a:lnTo>
                    <a:lnTo>
                      <a:pt x="414" y="122"/>
                    </a:lnTo>
                    <a:lnTo>
                      <a:pt x="414" y="121"/>
                    </a:lnTo>
                    <a:lnTo>
                      <a:pt x="413" y="121"/>
                    </a:lnTo>
                    <a:lnTo>
                      <a:pt x="414" y="121"/>
                    </a:lnTo>
                    <a:lnTo>
                      <a:pt x="414" y="120"/>
                    </a:lnTo>
                    <a:lnTo>
                      <a:pt x="413" y="120"/>
                    </a:lnTo>
                    <a:lnTo>
                      <a:pt x="413" y="121"/>
                    </a:lnTo>
                    <a:lnTo>
                      <a:pt x="413" y="120"/>
                    </a:lnTo>
                    <a:lnTo>
                      <a:pt x="412" y="120"/>
                    </a:lnTo>
                    <a:lnTo>
                      <a:pt x="412" y="119"/>
                    </a:lnTo>
                    <a:lnTo>
                      <a:pt x="412" y="118"/>
                    </a:lnTo>
                    <a:lnTo>
                      <a:pt x="413" y="118"/>
                    </a:lnTo>
                    <a:lnTo>
                      <a:pt x="412" y="118"/>
                    </a:lnTo>
                    <a:lnTo>
                      <a:pt x="413" y="118"/>
                    </a:lnTo>
                    <a:lnTo>
                      <a:pt x="412" y="117"/>
                    </a:lnTo>
                    <a:lnTo>
                      <a:pt x="413" y="117"/>
                    </a:lnTo>
                    <a:lnTo>
                      <a:pt x="414" y="117"/>
                    </a:lnTo>
                    <a:close/>
                    <a:moveTo>
                      <a:pt x="296" y="309"/>
                    </a:moveTo>
                    <a:lnTo>
                      <a:pt x="297" y="309"/>
                    </a:lnTo>
                    <a:lnTo>
                      <a:pt x="298" y="309"/>
                    </a:lnTo>
                    <a:lnTo>
                      <a:pt x="299" y="309"/>
                    </a:lnTo>
                    <a:lnTo>
                      <a:pt x="299" y="310"/>
                    </a:lnTo>
                    <a:lnTo>
                      <a:pt x="300" y="310"/>
                    </a:lnTo>
                    <a:lnTo>
                      <a:pt x="300" y="311"/>
                    </a:lnTo>
                    <a:lnTo>
                      <a:pt x="299" y="311"/>
                    </a:lnTo>
                    <a:lnTo>
                      <a:pt x="299" y="312"/>
                    </a:lnTo>
                    <a:lnTo>
                      <a:pt x="300" y="312"/>
                    </a:lnTo>
                    <a:lnTo>
                      <a:pt x="300" y="313"/>
                    </a:lnTo>
                    <a:lnTo>
                      <a:pt x="300" y="314"/>
                    </a:lnTo>
                    <a:lnTo>
                      <a:pt x="299" y="314"/>
                    </a:lnTo>
                    <a:lnTo>
                      <a:pt x="299" y="313"/>
                    </a:lnTo>
                    <a:lnTo>
                      <a:pt x="299" y="314"/>
                    </a:lnTo>
                    <a:lnTo>
                      <a:pt x="299" y="313"/>
                    </a:lnTo>
                    <a:lnTo>
                      <a:pt x="298" y="313"/>
                    </a:lnTo>
                    <a:lnTo>
                      <a:pt x="298" y="312"/>
                    </a:lnTo>
                    <a:lnTo>
                      <a:pt x="297" y="311"/>
                    </a:lnTo>
                    <a:lnTo>
                      <a:pt x="298" y="312"/>
                    </a:lnTo>
                    <a:lnTo>
                      <a:pt x="298" y="311"/>
                    </a:lnTo>
                    <a:lnTo>
                      <a:pt x="299" y="311"/>
                    </a:lnTo>
                    <a:lnTo>
                      <a:pt x="299" y="310"/>
                    </a:lnTo>
                    <a:lnTo>
                      <a:pt x="298" y="310"/>
                    </a:lnTo>
                    <a:lnTo>
                      <a:pt x="297" y="310"/>
                    </a:lnTo>
                    <a:lnTo>
                      <a:pt x="296" y="309"/>
                    </a:lnTo>
                    <a:lnTo>
                      <a:pt x="295" y="309"/>
                    </a:lnTo>
                    <a:lnTo>
                      <a:pt x="296" y="309"/>
                    </a:lnTo>
                    <a:close/>
                    <a:moveTo>
                      <a:pt x="721" y="228"/>
                    </a:moveTo>
                    <a:lnTo>
                      <a:pt x="722" y="228"/>
                    </a:lnTo>
                    <a:lnTo>
                      <a:pt x="722" y="229"/>
                    </a:lnTo>
                    <a:lnTo>
                      <a:pt x="721" y="230"/>
                    </a:lnTo>
                    <a:lnTo>
                      <a:pt x="720" y="230"/>
                    </a:lnTo>
                    <a:lnTo>
                      <a:pt x="719" y="230"/>
                    </a:lnTo>
                    <a:lnTo>
                      <a:pt x="719" y="229"/>
                    </a:lnTo>
                    <a:lnTo>
                      <a:pt x="720" y="229"/>
                    </a:lnTo>
                    <a:lnTo>
                      <a:pt x="720" y="228"/>
                    </a:lnTo>
                    <a:lnTo>
                      <a:pt x="719" y="229"/>
                    </a:lnTo>
                    <a:lnTo>
                      <a:pt x="719" y="228"/>
                    </a:lnTo>
                    <a:lnTo>
                      <a:pt x="718" y="228"/>
                    </a:lnTo>
                    <a:lnTo>
                      <a:pt x="718" y="226"/>
                    </a:lnTo>
                    <a:lnTo>
                      <a:pt x="719" y="226"/>
                    </a:lnTo>
                    <a:lnTo>
                      <a:pt x="720" y="226"/>
                    </a:lnTo>
                    <a:lnTo>
                      <a:pt x="721" y="226"/>
                    </a:lnTo>
                    <a:lnTo>
                      <a:pt x="721" y="228"/>
                    </a:lnTo>
                    <a:close/>
                    <a:moveTo>
                      <a:pt x="722" y="138"/>
                    </a:moveTo>
                    <a:lnTo>
                      <a:pt x="723" y="138"/>
                    </a:lnTo>
                    <a:lnTo>
                      <a:pt x="723" y="139"/>
                    </a:lnTo>
                    <a:lnTo>
                      <a:pt x="723" y="140"/>
                    </a:lnTo>
                    <a:lnTo>
                      <a:pt x="722" y="140"/>
                    </a:lnTo>
                    <a:lnTo>
                      <a:pt x="721" y="141"/>
                    </a:lnTo>
                    <a:lnTo>
                      <a:pt x="720" y="142"/>
                    </a:lnTo>
                    <a:lnTo>
                      <a:pt x="720" y="141"/>
                    </a:lnTo>
                    <a:lnTo>
                      <a:pt x="720" y="140"/>
                    </a:lnTo>
                    <a:lnTo>
                      <a:pt x="720" y="139"/>
                    </a:lnTo>
                    <a:lnTo>
                      <a:pt x="721" y="139"/>
                    </a:lnTo>
                    <a:lnTo>
                      <a:pt x="721" y="138"/>
                    </a:lnTo>
                    <a:lnTo>
                      <a:pt x="722" y="138"/>
                    </a:lnTo>
                    <a:close/>
                    <a:moveTo>
                      <a:pt x="388" y="168"/>
                    </a:moveTo>
                    <a:lnTo>
                      <a:pt x="387" y="169"/>
                    </a:lnTo>
                    <a:lnTo>
                      <a:pt x="386" y="170"/>
                    </a:lnTo>
                    <a:lnTo>
                      <a:pt x="386" y="169"/>
                    </a:lnTo>
                    <a:lnTo>
                      <a:pt x="386" y="168"/>
                    </a:lnTo>
                    <a:lnTo>
                      <a:pt x="385" y="168"/>
                    </a:lnTo>
                    <a:lnTo>
                      <a:pt x="385" y="167"/>
                    </a:lnTo>
                    <a:lnTo>
                      <a:pt x="386" y="168"/>
                    </a:lnTo>
                    <a:lnTo>
                      <a:pt x="386" y="167"/>
                    </a:lnTo>
                    <a:lnTo>
                      <a:pt x="387" y="166"/>
                    </a:lnTo>
                    <a:lnTo>
                      <a:pt x="387" y="165"/>
                    </a:lnTo>
                    <a:lnTo>
                      <a:pt x="387" y="166"/>
                    </a:lnTo>
                    <a:lnTo>
                      <a:pt x="388" y="166"/>
                    </a:lnTo>
                    <a:lnTo>
                      <a:pt x="388" y="167"/>
                    </a:lnTo>
                    <a:lnTo>
                      <a:pt x="388" y="168"/>
                    </a:lnTo>
                    <a:close/>
                    <a:moveTo>
                      <a:pt x="488" y="20"/>
                    </a:moveTo>
                    <a:lnTo>
                      <a:pt x="488" y="22"/>
                    </a:lnTo>
                    <a:lnTo>
                      <a:pt x="487" y="23"/>
                    </a:lnTo>
                    <a:lnTo>
                      <a:pt x="486" y="22"/>
                    </a:lnTo>
                    <a:lnTo>
                      <a:pt x="485" y="22"/>
                    </a:lnTo>
                    <a:lnTo>
                      <a:pt x="485" y="20"/>
                    </a:lnTo>
                    <a:lnTo>
                      <a:pt x="486" y="20"/>
                    </a:lnTo>
                    <a:lnTo>
                      <a:pt x="486" y="22"/>
                    </a:lnTo>
                    <a:lnTo>
                      <a:pt x="487" y="22"/>
                    </a:lnTo>
                    <a:lnTo>
                      <a:pt x="487" y="20"/>
                    </a:lnTo>
                    <a:lnTo>
                      <a:pt x="486" y="18"/>
                    </a:lnTo>
                    <a:lnTo>
                      <a:pt x="486" y="17"/>
                    </a:lnTo>
                    <a:lnTo>
                      <a:pt x="487" y="17"/>
                    </a:lnTo>
                    <a:lnTo>
                      <a:pt x="487" y="18"/>
                    </a:lnTo>
                    <a:lnTo>
                      <a:pt x="488" y="19"/>
                    </a:lnTo>
                    <a:lnTo>
                      <a:pt x="488" y="20"/>
                    </a:lnTo>
                    <a:close/>
                    <a:moveTo>
                      <a:pt x="467" y="130"/>
                    </a:moveTo>
                    <a:lnTo>
                      <a:pt x="468" y="131"/>
                    </a:lnTo>
                    <a:lnTo>
                      <a:pt x="469" y="131"/>
                    </a:lnTo>
                    <a:lnTo>
                      <a:pt x="468" y="131"/>
                    </a:lnTo>
                    <a:lnTo>
                      <a:pt x="467" y="131"/>
                    </a:lnTo>
                    <a:lnTo>
                      <a:pt x="466" y="131"/>
                    </a:lnTo>
                    <a:lnTo>
                      <a:pt x="466" y="132"/>
                    </a:lnTo>
                    <a:lnTo>
                      <a:pt x="465" y="132"/>
                    </a:lnTo>
                    <a:lnTo>
                      <a:pt x="466" y="133"/>
                    </a:lnTo>
                    <a:lnTo>
                      <a:pt x="465" y="133"/>
                    </a:lnTo>
                    <a:lnTo>
                      <a:pt x="465" y="134"/>
                    </a:lnTo>
                    <a:lnTo>
                      <a:pt x="464" y="134"/>
                    </a:lnTo>
                    <a:lnTo>
                      <a:pt x="463" y="134"/>
                    </a:lnTo>
                    <a:lnTo>
                      <a:pt x="464" y="134"/>
                    </a:lnTo>
                    <a:lnTo>
                      <a:pt x="465" y="133"/>
                    </a:lnTo>
                    <a:lnTo>
                      <a:pt x="464" y="133"/>
                    </a:lnTo>
                    <a:lnTo>
                      <a:pt x="463" y="134"/>
                    </a:lnTo>
                    <a:lnTo>
                      <a:pt x="464" y="133"/>
                    </a:lnTo>
                    <a:lnTo>
                      <a:pt x="464" y="132"/>
                    </a:lnTo>
                    <a:lnTo>
                      <a:pt x="465" y="132"/>
                    </a:lnTo>
                    <a:lnTo>
                      <a:pt x="465" y="131"/>
                    </a:lnTo>
                    <a:lnTo>
                      <a:pt x="466" y="130"/>
                    </a:lnTo>
                    <a:lnTo>
                      <a:pt x="467" y="130"/>
                    </a:lnTo>
                    <a:close/>
                    <a:moveTo>
                      <a:pt x="416" y="139"/>
                    </a:moveTo>
                    <a:lnTo>
                      <a:pt x="417" y="139"/>
                    </a:lnTo>
                    <a:lnTo>
                      <a:pt x="417" y="140"/>
                    </a:lnTo>
                    <a:lnTo>
                      <a:pt x="416" y="140"/>
                    </a:lnTo>
                    <a:lnTo>
                      <a:pt x="416" y="141"/>
                    </a:lnTo>
                    <a:lnTo>
                      <a:pt x="415" y="141"/>
                    </a:lnTo>
                    <a:lnTo>
                      <a:pt x="414" y="141"/>
                    </a:lnTo>
                    <a:lnTo>
                      <a:pt x="413" y="141"/>
                    </a:lnTo>
                    <a:lnTo>
                      <a:pt x="413" y="140"/>
                    </a:lnTo>
                    <a:lnTo>
                      <a:pt x="414" y="140"/>
                    </a:lnTo>
                    <a:lnTo>
                      <a:pt x="414" y="139"/>
                    </a:lnTo>
                    <a:lnTo>
                      <a:pt x="415" y="139"/>
                    </a:lnTo>
                    <a:lnTo>
                      <a:pt x="416" y="139"/>
                    </a:lnTo>
                    <a:close/>
                    <a:moveTo>
                      <a:pt x="724" y="215"/>
                    </a:moveTo>
                    <a:lnTo>
                      <a:pt x="725" y="215"/>
                    </a:lnTo>
                    <a:lnTo>
                      <a:pt x="725" y="216"/>
                    </a:lnTo>
                    <a:lnTo>
                      <a:pt x="724" y="216"/>
                    </a:lnTo>
                    <a:lnTo>
                      <a:pt x="724" y="217"/>
                    </a:lnTo>
                    <a:lnTo>
                      <a:pt x="724" y="218"/>
                    </a:lnTo>
                    <a:lnTo>
                      <a:pt x="723" y="218"/>
                    </a:lnTo>
                    <a:lnTo>
                      <a:pt x="722" y="218"/>
                    </a:lnTo>
                    <a:lnTo>
                      <a:pt x="721" y="218"/>
                    </a:lnTo>
                    <a:lnTo>
                      <a:pt x="721" y="217"/>
                    </a:lnTo>
                    <a:lnTo>
                      <a:pt x="722" y="217"/>
                    </a:lnTo>
                    <a:lnTo>
                      <a:pt x="722" y="216"/>
                    </a:lnTo>
                    <a:lnTo>
                      <a:pt x="723" y="216"/>
                    </a:lnTo>
                    <a:lnTo>
                      <a:pt x="724" y="215"/>
                    </a:lnTo>
                    <a:close/>
                    <a:moveTo>
                      <a:pt x="313" y="277"/>
                    </a:moveTo>
                    <a:lnTo>
                      <a:pt x="312" y="277"/>
                    </a:lnTo>
                    <a:lnTo>
                      <a:pt x="312" y="279"/>
                    </a:lnTo>
                    <a:lnTo>
                      <a:pt x="311" y="279"/>
                    </a:lnTo>
                    <a:lnTo>
                      <a:pt x="310" y="279"/>
                    </a:lnTo>
                    <a:lnTo>
                      <a:pt x="310" y="280"/>
                    </a:lnTo>
                    <a:lnTo>
                      <a:pt x="310" y="279"/>
                    </a:lnTo>
                    <a:lnTo>
                      <a:pt x="310" y="277"/>
                    </a:lnTo>
                    <a:lnTo>
                      <a:pt x="311" y="277"/>
                    </a:lnTo>
                    <a:lnTo>
                      <a:pt x="312" y="276"/>
                    </a:lnTo>
                    <a:lnTo>
                      <a:pt x="312" y="275"/>
                    </a:lnTo>
                    <a:lnTo>
                      <a:pt x="311" y="275"/>
                    </a:lnTo>
                    <a:lnTo>
                      <a:pt x="312" y="275"/>
                    </a:lnTo>
                    <a:lnTo>
                      <a:pt x="312" y="274"/>
                    </a:lnTo>
                    <a:lnTo>
                      <a:pt x="312" y="275"/>
                    </a:lnTo>
                    <a:lnTo>
                      <a:pt x="313" y="275"/>
                    </a:lnTo>
                    <a:lnTo>
                      <a:pt x="313" y="276"/>
                    </a:lnTo>
                    <a:lnTo>
                      <a:pt x="313" y="277"/>
                    </a:lnTo>
                    <a:close/>
                    <a:moveTo>
                      <a:pt x="691" y="213"/>
                    </a:moveTo>
                    <a:lnTo>
                      <a:pt x="690" y="213"/>
                    </a:lnTo>
                    <a:lnTo>
                      <a:pt x="690" y="212"/>
                    </a:lnTo>
                    <a:lnTo>
                      <a:pt x="690" y="211"/>
                    </a:lnTo>
                    <a:lnTo>
                      <a:pt x="691" y="210"/>
                    </a:lnTo>
                    <a:lnTo>
                      <a:pt x="691" y="209"/>
                    </a:lnTo>
                    <a:lnTo>
                      <a:pt x="692" y="208"/>
                    </a:lnTo>
                    <a:lnTo>
                      <a:pt x="692" y="207"/>
                    </a:lnTo>
                    <a:lnTo>
                      <a:pt x="692" y="208"/>
                    </a:lnTo>
                    <a:lnTo>
                      <a:pt x="693" y="208"/>
                    </a:lnTo>
                    <a:lnTo>
                      <a:pt x="692" y="209"/>
                    </a:lnTo>
                    <a:lnTo>
                      <a:pt x="692" y="210"/>
                    </a:lnTo>
                    <a:lnTo>
                      <a:pt x="692" y="211"/>
                    </a:lnTo>
                    <a:lnTo>
                      <a:pt x="691" y="211"/>
                    </a:lnTo>
                    <a:lnTo>
                      <a:pt x="691" y="212"/>
                    </a:lnTo>
                    <a:lnTo>
                      <a:pt x="691" y="213"/>
                    </a:lnTo>
                    <a:close/>
                    <a:moveTo>
                      <a:pt x="726" y="136"/>
                    </a:moveTo>
                    <a:lnTo>
                      <a:pt x="725" y="138"/>
                    </a:lnTo>
                    <a:lnTo>
                      <a:pt x="724" y="138"/>
                    </a:lnTo>
                    <a:lnTo>
                      <a:pt x="723" y="138"/>
                    </a:lnTo>
                    <a:lnTo>
                      <a:pt x="722" y="136"/>
                    </a:lnTo>
                    <a:lnTo>
                      <a:pt x="723" y="136"/>
                    </a:lnTo>
                    <a:lnTo>
                      <a:pt x="722" y="136"/>
                    </a:lnTo>
                    <a:lnTo>
                      <a:pt x="723" y="136"/>
                    </a:lnTo>
                    <a:lnTo>
                      <a:pt x="723" y="135"/>
                    </a:lnTo>
                    <a:lnTo>
                      <a:pt x="724" y="135"/>
                    </a:lnTo>
                    <a:lnTo>
                      <a:pt x="725" y="135"/>
                    </a:lnTo>
                    <a:lnTo>
                      <a:pt x="726" y="135"/>
                    </a:lnTo>
                    <a:lnTo>
                      <a:pt x="726" y="136"/>
                    </a:lnTo>
                    <a:close/>
                    <a:moveTo>
                      <a:pt x="437" y="75"/>
                    </a:moveTo>
                    <a:lnTo>
                      <a:pt x="438" y="75"/>
                    </a:lnTo>
                    <a:lnTo>
                      <a:pt x="437" y="75"/>
                    </a:lnTo>
                    <a:lnTo>
                      <a:pt x="437" y="76"/>
                    </a:lnTo>
                    <a:lnTo>
                      <a:pt x="437" y="77"/>
                    </a:lnTo>
                    <a:lnTo>
                      <a:pt x="436" y="78"/>
                    </a:lnTo>
                    <a:lnTo>
                      <a:pt x="436" y="79"/>
                    </a:lnTo>
                    <a:lnTo>
                      <a:pt x="435" y="79"/>
                    </a:lnTo>
                    <a:lnTo>
                      <a:pt x="436" y="78"/>
                    </a:lnTo>
                    <a:lnTo>
                      <a:pt x="436" y="77"/>
                    </a:lnTo>
                    <a:lnTo>
                      <a:pt x="436" y="76"/>
                    </a:lnTo>
                    <a:lnTo>
                      <a:pt x="435" y="76"/>
                    </a:lnTo>
                    <a:lnTo>
                      <a:pt x="436" y="75"/>
                    </a:lnTo>
                    <a:lnTo>
                      <a:pt x="436" y="74"/>
                    </a:lnTo>
                    <a:lnTo>
                      <a:pt x="435" y="74"/>
                    </a:lnTo>
                    <a:lnTo>
                      <a:pt x="436" y="74"/>
                    </a:lnTo>
                    <a:lnTo>
                      <a:pt x="437" y="75"/>
                    </a:lnTo>
                    <a:close/>
                    <a:moveTo>
                      <a:pt x="730" y="146"/>
                    </a:moveTo>
                    <a:lnTo>
                      <a:pt x="730" y="147"/>
                    </a:lnTo>
                    <a:lnTo>
                      <a:pt x="729" y="148"/>
                    </a:lnTo>
                    <a:lnTo>
                      <a:pt x="730" y="149"/>
                    </a:lnTo>
                    <a:lnTo>
                      <a:pt x="729" y="149"/>
                    </a:lnTo>
                    <a:lnTo>
                      <a:pt x="727" y="149"/>
                    </a:lnTo>
                    <a:lnTo>
                      <a:pt x="727" y="148"/>
                    </a:lnTo>
                    <a:lnTo>
                      <a:pt x="726" y="147"/>
                    </a:lnTo>
                    <a:lnTo>
                      <a:pt x="727" y="146"/>
                    </a:lnTo>
                    <a:lnTo>
                      <a:pt x="729" y="146"/>
                    </a:lnTo>
                    <a:lnTo>
                      <a:pt x="730" y="146"/>
                    </a:lnTo>
                    <a:close/>
                    <a:moveTo>
                      <a:pt x="704" y="209"/>
                    </a:moveTo>
                    <a:lnTo>
                      <a:pt x="704" y="210"/>
                    </a:lnTo>
                    <a:lnTo>
                      <a:pt x="704" y="211"/>
                    </a:lnTo>
                    <a:lnTo>
                      <a:pt x="704" y="212"/>
                    </a:lnTo>
                    <a:lnTo>
                      <a:pt x="704" y="213"/>
                    </a:lnTo>
                    <a:lnTo>
                      <a:pt x="704" y="212"/>
                    </a:lnTo>
                    <a:lnTo>
                      <a:pt x="703" y="212"/>
                    </a:lnTo>
                    <a:lnTo>
                      <a:pt x="704" y="212"/>
                    </a:lnTo>
                    <a:lnTo>
                      <a:pt x="703" y="212"/>
                    </a:lnTo>
                    <a:lnTo>
                      <a:pt x="703" y="211"/>
                    </a:lnTo>
                    <a:lnTo>
                      <a:pt x="701" y="211"/>
                    </a:lnTo>
                    <a:lnTo>
                      <a:pt x="701" y="210"/>
                    </a:lnTo>
                    <a:lnTo>
                      <a:pt x="703" y="209"/>
                    </a:lnTo>
                    <a:lnTo>
                      <a:pt x="704" y="209"/>
                    </a:lnTo>
                    <a:close/>
                    <a:moveTo>
                      <a:pt x="729" y="159"/>
                    </a:moveTo>
                    <a:lnTo>
                      <a:pt x="730" y="159"/>
                    </a:lnTo>
                    <a:lnTo>
                      <a:pt x="731" y="159"/>
                    </a:lnTo>
                    <a:lnTo>
                      <a:pt x="730" y="159"/>
                    </a:lnTo>
                    <a:lnTo>
                      <a:pt x="731" y="160"/>
                    </a:lnTo>
                    <a:lnTo>
                      <a:pt x="730" y="161"/>
                    </a:lnTo>
                    <a:lnTo>
                      <a:pt x="730" y="160"/>
                    </a:lnTo>
                    <a:lnTo>
                      <a:pt x="729" y="160"/>
                    </a:lnTo>
                    <a:lnTo>
                      <a:pt x="727" y="160"/>
                    </a:lnTo>
                    <a:lnTo>
                      <a:pt x="727" y="161"/>
                    </a:lnTo>
                    <a:lnTo>
                      <a:pt x="729" y="161"/>
                    </a:lnTo>
                    <a:lnTo>
                      <a:pt x="730" y="161"/>
                    </a:lnTo>
                    <a:lnTo>
                      <a:pt x="731" y="161"/>
                    </a:lnTo>
                    <a:lnTo>
                      <a:pt x="730" y="161"/>
                    </a:lnTo>
                    <a:lnTo>
                      <a:pt x="729" y="161"/>
                    </a:lnTo>
                    <a:lnTo>
                      <a:pt x="727" y="161"/>
                    </a:lnTo>
                    <a:lnTo>
                      <a:pt x="725" y="161"/>
                    </a:lnTo>
                    <a:lnTo>
                      <a:pt x="725" y="160"/>
                    </a:lnTo>
                    <a:lnTo>
                      <a:pt x="725" y="161"/>
                    </a:lnTo>
                    <a:lnTo>
                      <a:pt x="726" y="160"/>
                    </a:lnTo>
                    <a:lnTo>
                      <a:pt x="727" y="160"/>
                    </a:lnTo>
                    <a:lnTo>
                      <a:pt x="727" y="159"/>
                    </a:lnTo>
                    <a:lnTo>
                      <a:pt x="729" y="159"/>
                    </a:lnTo>
                    <a:lnTo>
                      <a:pt x="729" y="160"/>
                    </a:lnTo>
                    <a:lnTo>
                      <a:pt x="729" y="159"/>
                    </a:lnTo>
                    <a:close/>
                    <a:moveTo>
                      <a:pt x="312" y="305"/>
                    </a:moveTo>
                    <a:lnTo>
                      <a:pt x="313" y="305"/>
                    </a:lnTo>
                    <a:lnTo>
                      <a:pt x="313" y="306"/>
                    </a:lnTo>
                    <a:lnTo>
                      <a:pt x="314" y="306"/>
                    </a:lnTo>
                    <a:lnTo>
                      <a:pt x="314" y="305"/>
                    </a:lnTo>
                    <a:lnTo>
                      <a:pt x="316" y="305"/>
                    </a:lnTo>
                    <a:lnTo>
                      <a:pt x="317" y="305"/>
                    </a:lnTo>
                    <a:lnTo>
                      <a:pt x="317" y="306"/>
                    </a:lnTo>
                    <a:lnTo>
                      <a:pt x="318" y="306"/>
                    </a:lnTo>
                    <a:lnTo>
                      <a:pt x="318" y="307"/>
                    </a:lnTo>
                    <a:lnTo>
                      <a:pt x="317" y="307"/>
                    </a:lnTo>
                    <a:lnTo>
                      <a:pt x="316" y="307"/>
                    </a:lnTo>
                    <a:lnTo>
                      <a:pt x="314" y="306"/>
                    </a:lnTo>
                    <a:lnTo>
                      <a:pt x="313" y="306"/>
                    </a:lnTo>
                    <a:lnTo>
                      <a:pt x="312" y="305"/>
                    </a:lnTo>
                    <a:lnTo>
                      <a:pt x="311" y="303"/>
                    </a:lnTo>
                    <a:lnTo>
                      <a:pt x="310" y="303"/>
                    </a:lnTo>
                    <a:lnTo>
                      <a:pt x="311" y="303"/>
                    </a:lnTo>
                    <a:lnTo>
                      <a:pt x="312" y="303"/>
                    </a:lnTo>
                    <a:lnTo>
                      <a:pt x="312" y="305"/>
                    </a:lnTo>
                    <a:close/>
                    <a:moveTo>
                      <a:pt x="332" y="242"/>
                    </a:moveTo>
                    <a:lnTo>
                      <a:pt x="333" y="242"/>
                    </a:lnTo>
                    <a:lnTo>
                      <a:pt x="333" y="243"/>
                    </a:lnTo>
                    <a:lnTo>
                      <a:pt x="334" y="243"/>
                    </a:lnTo>
                    <a:lnTo>
                      <a:pt x="334" y="244"/>
                    </a:lnTo>
                    <a:lnTo>
                      <a:pt x="335" y="244"/>
                    </a:lnTo>
                    <a:lnTo>
                      <a:pt x="335" y="245"/>
                    </a:lnTo>
                    <a:lnTo>
                      <a:pt x="334" y="245"/>
                    </a:lnTo>
                    <a:lnTo>
                      <a:pt x="333" y="245"/>
                    </a:lnTo>
                    <a:lnTo>
                      <a:pt x="333" y="244"/>
                    </a:lnTo>
                    <a:lnTo>
                      <a:pt x="332" y="244"/>
                    </a:lnTo>
                    <a:lnTo>
                      <a:pt x="331" y="243"/>
                    </a:lnTo>
                    <a:lnTo>
                      <a:pt x="332" y="244"/>
                    </a:lnTo>
                    <a:lnTo>
                      <a:pt x="332" y="243"/>
                    </a:lnTo>
                    <a:lnTo>
                      <a:pt x="331" y="243"/>
                    </a:lnTo>
                    <a:lnTo>
                      <a:pt x="330" y="242"/>
                    </a:lnTo>
                    <a:lnTo>
                      <a:pt x="331" y="242"/>
                    </a:lnTo>
                    <a:lnTo>
                      <a:pt x="332" y="242"/>
                    </a:lnTo>
                    <a:close/>
                    <a:moveTo>
                      <a:pt x="706" y="261"/>
                    </a:moveTo>
                    <a:lnTo>
                      <a:pt x="707" y="261"/>
                    </a:lnTo>
                    <a:lnTo>
                      <a:pt x="708" y="261"/>
                    </a:lnTo>
                    <a:lnTo>
                      <a:pt x="707" y="262"/>
                    </a:lnTo>
                    <a:lnTo>
                      <a:pt x="707" y="263"/>
                    </a:lnTo>
                    <a:lnTo>
                      <a:pt x="706" y="263"/>
                    </a:lnTo>
                    <a:lnTo>
                      <a:pt x="706" y="264"/>
                    </a:lnTo>
                    <a:lnTo>
                      <a:pt x="706" y="263"/>
                    </a:lnTo>
                    <a:lnTo>
                      <a:pt x="705" y="263"/>
                    </a:lnTo>
                    <a:lnTo>
                      <a:pt x="706" y="262"/>
                    </a:lnTo>
                    <a:lnTo>
                      <a:pt x="705" y="262"/>
                    </a:lnTo>
                    <a:lnTo>
                      <a:pt x="704" y="262"/>
                    </a:lnTo>
                    <a:lnTo>
                      <a:pt x="704" y="261"/>
                    </a:lnTo>
                    <a:lnTo>
                      <a:pt x="705" y="261"/>
                    </a:lnTo>
                    <a:lnTo>
                      <a:pt x="706" y="261"/>
                    </a:lnTo>
                    <a:close/>
                    <a:moveTo>
                      <a:pt x="729" y="189"/>
                    </a:moveTo>
                    <a:lnTo>
                      <a:pt x="729" y="190"/>
                    </a:lnTo>
                    <a:lnTo>
                      <a:pt x="729" y="191"/>
                    </a:lnTo>
                    <a:lnTo>
                      <a:pt x="727" y="191"/>
                    </a:lnTo>
                    <a:lnTo>
                      <a:pt x="726" y="191"/>
                    </a:lnTo>
                    <a:lnTo>
                      <a:pt x="725" y="190"/>
                    </a:lnTo>
                    <a:lnTo>
                      <a:pt x="726" y="190"/>
                    </a:lnTo>
                    <a:lnTo>
                      <a:pt x="725" y="190"/>
                    </a:lnTo>
                    <a:lnTo>
                      <a:pt x="725" y="189"/>
                    </a:lnTo>
                    <a:lnTo>
                      <a:pt x="726" y="189"/>
                    </a:lnTo>
                    <a:lnTo>
                      <a:pt x="727" y="189"/>
                    </a:lnTo>
                    <a:lnTo>
                      <a:pt x="729" y="189"/>
                    </a:lnTo>
                    <a:close/>
                    <a:moveTo>
                      <a:pt x="386" y="141"/>
                    </a:moveTo>
                    <a:lnTo>
                      <a:pt x="386" y="142"/>
                    </a:lnTo>
                    <a:lnTo>
                      <a:pt x="386" y="143"/>
                    </a:lnTo>
                    <a:lnTo>
                      <a:pt x="385" y="143"/>
                    </a:lnTo>
                    <a:lnTo>
                      <a:pt x="384" y="143"/>
                    </a:lnTo>
                    <a:lnTo>
                      <a:pt x="383" y="142"/>
                    </a:lnTo>
                    <a:lnTo>
                      <a:pt x="384" y="142"/>
                    </a:lnTo>
                    <a:lnTo>
                      <a:pt x="385" y="142"/>
                    </a:lnTo>
                    <a:lnTo>
                      <a:pt x="384" y="142"/>
                    </a:lnTo>
                    <a:lnTo>
                      <a:pt x="384" y="141"/>
                    </a:lnTo>
                    <a:lnTo>
                      <a:pt x="386" y="141"/>
                    </a:lnTo>
                    <a:close/>
                    <a:moveTo>
                      <a:pt x="311" y="306"/>
                    </a:moveTo>
                    <a:lnTo>
                      <a:pt x="310" y="306"/>
                    </a:lnTo>
                    <a:lnTo>
                      <a:pt x="310" y="305"/>
                    </a:lnTo>
                    <a:lnTo>
                      <a:pt x="309" y="305"/>
                    </a:lnTo>
                    <a:lnTo>
                      <a:pt x="308" y="303"/>
                    </a:lnTo>
                    <a:lnTo>
                      <a:pt x="307" y="303"/>
                    </a:lnTo>
                    <a:lnTo>
                      <a:pt x="308" y="303"/>
                    </a:lnTo>
                    <a:lnTo>
                      <a:pt x="308" y="302"/>
                    </a:lnTo>
                    <a:lnTo>
                      <a:pt x="309" y="302"/>
                    </a:lnTo>
                    <a:lnTo>
                      <a:pt x="310" y="303"/>
                    </a:lnTo>
                    <a:lnTo>
                      <a:pt x="311" y="305"/>
                    </a:lnTo>
                    <a:lnTo>
                      <a:pt x="310" y="305"/>
                    </a:lnTo>
                    <a:lnTo>
                      <a:pt x="311" y="306"/>
                    </a:lnTo>
                    <a:close/>
                    <a:moveTo>
                      <a:pt x="446" y="147"/>
                    </a:moveTo>
                    <a:lnTo>
                      <a:pt x="447" y="147"/>
                    </a:lnTo>
                    <a:lnTo>
                      <a:pt x="447" y="148"/>
                    </a:lnTo>
                    <a:lnTo>
                      <a:pt x="448" y="148"/>
                    </a:lnTo>
                    <a:lnTo>
                      <a:pt x="448" y="149"/>
                    </a:lnTo>
                    <a:lnTo>
                      <a:pt x="447" y="149"/>
                    </a:lnTo>
                    <a:lnTo>
                      <a:pt x="446" y="149"/>
                    </a:lnTo>
                    <a:lnTo>
                      <a:pt x="445" y="149"/>
                    </a:lnTo>
                    <a:lnTo>
                      <a:pt x="443" y="149"/>
                    </a:lnTo>
                    <a:lnTo>
                      <a:pt x="443" y="148"/>
                    </a:lnTo>
                    <a:lnTo>
                      <a:pt x="443" y="147"/>
                    </a:lnTo>
                    <a:lnTo>
                      <a:pt x="443" y="148"/>
                    </a:lnTo>
                    <a:lnTo>
                      <a:pt x="445" y="148"/>
                    </a:lnTo>
                    <a:lnTo>
                      <a:pt x="445" y="147"/>
                    </a:lnTo>
                    <a:lnTo>
                      <a:pt x="446" y="148"/>
                    </a:lnTo>
                    <a:lnTo>
                      <a:pt x="446" y="147"/>
                    </a:lnTo>
                    <a:close/>
                    <a:moveTo>
                      <a:pt x="725" y="161"/>
                    </a:moveTo>
                    <a:lnTo>
                      <a:pt x="726" y="161"/>
                    </a:lnTo>
                    <a:lnTo>
                      <a:pt x="727" y="161"/>
                    </a:lnTo>
                    <a:lnTo>
                      <a:pt x="727" y="162"/>
                    </a:lnTo>
                    <a:lnTo>
                      <a:pt x="729" y="162"/>
                    </a:lnTo>
                    <a:lnTo>
                      <a:pt x="730" y="162"/>
                    </a:lnTo>
                    <a:lnTo>
                      <a:pt x="731" y="162"/>
                    </a:lnTo>
                    <a:lnTo>
                      <a:pt x="731" y="164"/>
                    </a:lnTo>
                    <a:lnTo>
                      <a:pt x="730" y="164"/>
                    </a:lnTo>
                    <a:lnTo>
                      <a:pt x="729" y="164"/>
                    </a:lnTo>
                    <a:lnTo>
                      <a:pt x="727" y="164"/>
                    </a:lnTo>
                    <a:lnTo>
                      <a:pt x="726" y="162"/>
                    </a:lnTo>
                    <a:lnTo>
                      <a:pt x="725" y="162"/>
                    </a:lnTo>
                    <a:lnTo>
                      <a:pt x="725" y="161"/>
                    </a:lnTo>
                    <a:close/>
                    <a:moveTo>
                      <a:pt x="724" y="126"/>
                    </a:moveTo>
                    <a:lnTo>
                      <a:pt x="724" y="127"/>
                    </a:lnTo>
                    <a:lnTo>
                      <a:pt x="723" y="127"/>
                    </a:lnTo>
                    <a:lnTo>
                      <a:pt x="722" y="127"/>
                    </a:lnTo>
                    <a:lnTo>
                      <a:pt x="721" y="128"/>
                    </a:lnTo>
                    <a:lnTo>
                      <a:pt x="720" y="128"/>
                    </a:lnTo>
                    <a:lnTo>
                      <a:pt x="720" y="127"/>
                    </a:lnTo>
                    <a:lnTo>
                      <a:pt x="721" y="126"/>
                    </a:lnTo>
                    <a:lnTo>
                      <a:pt x="721" y="127"/>
                    </a:lnTo>
                    <a:lnTo>
                      <a:pt x="721" y="126"/>
                    </a:lnTo>
                    <a:lnTo>
                      <a:pt x="722" y="126"/>
                    </a:lnTo>
                    <a:lnTo>
                      <a:pt x="723" y="126"/>
                    </a:lnTo>
                    <a:lnTo>
                      <a:pt x="724" y="126"/>
                    </a:lnTo>
                    <a:close/>
                    <a:moveTo>
                      <a:pt x="262" y="321"/>
                    </a:moveTo>
                    <a:lnTo>
                      <a:pt x="264" y="321"/>
                    </a:lnTo>
                    <a:lnTo>
                      <a:pt x="265" y="321"/>
                    </a:lnTo>
                    <a:lnTo>
                      <a:pt x="265" y="322"/>
                    </a:lnTo>
                    <a:lnTo>
                      <a:pt x="264" y="322"/>
                    </a:lnTo>
                    <a:lnTo>
                      <a:pt x="262" y="322"/>
                    </a:lnTo>
                    <a:lnTo>
                      <a:pt x="261" y="322"/>
                    </a:lnTo>
                    <a:lnTo>
                      <a:pt x="261" y="321"/>
                    </a:lnTo>
                    <a:lnTo>
                      <a:pt x="261" y="320"/>
                    </a:lnTo>
                    <a:lnTo>
                      <a:pt x="262" y="320"/>
                    </a:lnTo>
                    <a:lnTo>
                      <a:pt x="262" y="321"/>
                    </a:lnTo>
                    <a:close/>
                    <a:moveTo>
                      <a:pt x="508" y="86"/>
                    </a:moveTo>
                    <a:lnTo>
                      <a:pt x="510" y="86"/>
                    </a:lnTo>
                    <a:lnTo>
                      <a:pt x="508" y="87"/>
                    </a:lnTo>
                    <a:lnTo>
                      <a:pt x="506" y="90"/>
                    </a:lnTo>
                    <a:lnTo>
                      <a:pt x="505" y="90"/>
                    </a:lnTo>
                    <a:lnTo>
                      <a:pt x="505" y="89"/>
                    </a:lnTo>
                    <a:lnTo>
                      <a:pt x="505" y="88"/>
                    </a:lnTo>
                    <a:lnTo>
                      <a:pt x="506" y="88"/>
                    </a:lnTo>
                    <a:lnTo>
                      <a:pt x="507" y="88"/>
                    </a:lnTo>
                    <a:lnTo>
                      <a:pt x="507" y="87"/>
                    </a:lnTo>
                    <a:lnTo>
                      <a:pt x="508" y="87"/>
                    </a:lnTo>
                    <a:lnTo>
                      <a:pt x="508" y="86"/>
                    </a:lnTo>
                    <a:close/>
                    <a:moveTo>
                      <a:pt x="353" y="103"/>
                    </a:moveTo>
                    <a:lnTo>
                      <a:pt x="355" y="104"/>
                    </a:lnTo>
                    <a:lnTo>
                      <a:pt x="356" y="104"/>
                    </a:lnTo>
                    <a:lnTo>
                      <a:pt x="356" y="105"/>
                    </a:lnTo>
                    <a:lnTo>
                      <a:pt x="355" y="105"/>
                    </a:lnTo>
                    <a:lnTo>
                      <a:pt x="353" y="105"/>
                    </a:lnTo>
                    <a:lnTo>
                      <a:pt x="352" y="104"/>
                    </a:lnTo>
                    <a:lnTo>
                      <a:pt x="351" y="104"/>
                    </a:lnTo>
                    <a:lnTo>
                      <a:pt x="350" y="105"/>
                    </a:lnTo>
                    <a:lnTo>
                      <a:pt x="349" y="105"/>
                    </a:lnTo>
                    <a:lnTo>
                      <a:pt x="349" y="104"/>
                    </a:lnTo>
                    <a:lnTo>
                      <a:pt x="350" y="104"/>
                    </a:lnTo>
                    <a:lnTo>
                      <a:pt x="351" y="104"/>
                    </a:lnTo>
                    <a:lnTo>
                      <a:pt x="352" y="104"/>
                    </a:lnTo>
                    <a:lnTo>
                      <a:pt x="352" y="103"/>
                    </a:lnTo>
                    <a:lnTo>
                      <a:pt x="353" y="103"/>
                    </a:lnTo>
                    <a:close/>
                    <a:moveTo>
                      <a:pt x="430" y="76"/>
                    </a:moveTo>
                    <a:lnTo>
                      <a:pt x="430" y="77"/>
                    </a:lnTo>
                    <a:lnTo>
                      <a:pt x="429" y="77"/>
                    </a:lnTo>
                    <a:lnTo>
                      <a:pt x="429" y="78"/>
                    </a:lnTo>
                    <a:lnTo>
                      <a:pt x="429" y="79"/>
                    </a:lnTo>
                    <a:lnTo>
                      <a:pt x="428" y="78"/>
                    </a:lnTo>
                    <a:lnTo>
                      <a:pt x="428" y="77"/>
                    </a:lnTo>
                    <a:lnTo>
                      <a:pt x="427" y="77"/>
                    </a:lnTo>
                    <a:lnTo>
                      <a:pt x="427" y="76"/>
                    </a:lnTo>
                    <a:lnTo>
                      <a:pt x="428" y="76"/>
                    </a:lnTo>
                    <a:lnTo>
                      <a:pt x="428" y="77"/>
                    </a:lnTo>
                    <a:lnTo>
                      <a:pt x="429" y="77"/>
                    </a:lnTo>
                    <a:lnTo>
                      <a:pt x="429" y="76"/>
                    </a:lnTo>
                    <a:lnTo>
                      <a:pt x="430" y="76"/>
                    </a:lnTo>
                    <a:lnTo>
                      <a:pt x="430" y="75"/>
                    </a:lnTo>
                    <a:lnTo>
                      <a:pt x="430" y="76"/>
                    </a:lnTo>
                    <a:close/>
                    <a:moveTo>
                      <a:pt x="500" y="141"/>
                    </a:moveTo>
                    <a:lnTo>
                      <a:pt x="501" y="141"/>
                    </a:lnTo>
                    <a:lnTo>
                      <a:pt x="501" y="142"/>
                    </a:lnTo>
                    <a:lnTo>
                      <a:pt x="500" y="142"/>
                    </a:lnTo>
                    <a:lnTo>
                      <a:pt x="499" y="142"/>
                    </a:lnTo>
                    <a:lnTo>
                      <a:pt x="498" y="142"/>
                    </a:lnTo>
                    <a:lnTo>
                      <a:pt x="497" y="142"/>
                    </a:lnTo>
                    <a:lnTo>
                      <a:pt x="497" y="141"/>
                    </a:lnTo>
                    <a:lnTo>
                      <a:pt x="498" y="141"/>
                    </a:lnTo>
                    <a:lnTo>
                      <a:pt x="499" y="141"/>
                    </a:lnTo>
                    <a:lnTo>
                      <a:pt x="499" y="140"/>
                    </a:lnTo>
                    <a:lnTo>
                      <a:pt x="499" y="141"/>
                    </a:lnTo>
                    <a:lnTo>
                      <a:pt x="500" y="141"/>
                    </a:lnTo>
                    <a:close/>
                    <a:moveTo>
                      <a:pt x="239" y="309"/>
                    </a:moveTo>
                    <a:lnTo>
                      <a:pt x="240" y="309"/>
                    </a:lnTo>
                    <a:lnTo>
                      <a:pt x="239" y="310"/>
                    </a:lnTo>
                    <a:lnTo>
                      <a:pt x="239" y="311"/>
                    </a:lnTo>
                    <a:lnTo>
                      <a:pt x="239" y="312"/>
                    </a:lnTo>
                    <a:lnTo>
                      <a:pt x="238" y="312"/>
                    </a:lnTo>
                    <a:lnTo>
                      <a:pt x="236" y="311"/>
                    </a:lnTo>
                    <a:lnTo>
                      <a:pt x="236" y="310"/>
                    </a:lnTo>
                    <a:lnTo>
                      <a:pt x="236" y="311"/>
                    </a:lnTo>
                    <a:lnTo>
                      <a:pt x="238" y="311"/>
                    </a:lnTo>
                    <a:lnTo>
                      <a:pt x="238" y="310"/>
                    </a:lnTo>
                    <a:lnTo>
                      <a:pt x="238" y="309"/>
                    </a:lnTo>
                    <a:lnTo>
                      <a:pt x="239" y="308"/>
                    </a:lnTo>
                    <a:lnTo>
                      <a:pt x="239" y="309"/>
                    </a:lnTo>
                    <a:close/>
                    <a:moveTo>
                      <a:pt x="726" y="205"/>
                    </a:moveTo>
                    <a:lnTo>
                      <a:pt x="726" y="206"/>
                    </a:lnTo>
                    <a:lnTo>
                      <a:pt x="726" y="207"/>
                    </a:lnTo>
                    <a:lnTo>
                      <a:pt x="725" y="207"/>
                    </a:lnTo>
                    <a:lnTo>
                      <a:pt x="725" y="208"/>
                    </a:lnTo>
                    <a:lnTo>
                      <a:pt x="724" y="207"/>
                    </a:lnTo>
                    <a:lnTo>
                      <a:pt x="725" y="207"/>
                    </a:lnTo>
                    <a:lnTo>
                      <a:pt x="725" y="206"/>
                    </a:lnTo>
                    <a:lnTo>
                      <a:pt x="725" y="207"/>
                    </a:lnTo>
                    <a:lnTo>
                      <a:pt x="724" y="207"/>
                    </a:lnTo>
                    <a:lnTo>
                      <a:pt x="724" y="206"/>
                    </a:lnTo>
                    <a:lnTo>
                      <a:pt x="724" y="205"/>
                    </a:lnTo>
                    <a:lnTo>
                      <a:pt x="725" y="205"/>
                    </a:lnTo>
                    <a:lnTo>
                      <a:pt x="726" y="205"/>
                    </a:lnTo>
                    <a:close/>
                    <a:moveTo>
                      <a:pt x="503" y="67"/>
                    </a:moveTo>
                    <a:lnTo>
                      <a:pt x="502" y="68"/>
                    </a:lnTo>
                    <a:lnTo>
                      <a:pt x="501" y="68"/>
                    </a:lnTo>
                    <a:lnTo>
                      <a:pt x="501" y="67"/>
                    </a:lnTo>
                    <a:lnTo>
                      <a:pt x="502" y="66"/>
                    </a:lnTo>
                    <a:lnTo>
                      <a:pt x="502" y="65"/>
                    </a:lnTo>
                    <a:lnTo>
                      <a:pt x="502" y="64"/>
                    </a:lnTo>
                    <a:lnTo>
                      <a:pt x="503" y="65"/>
                    </a:lnTo>
                    <a:lnTo>
                      <a:pt x="503" y="66"/>
                    </a:lnTo>
                    <a:lnTo>
                      <a:pt x="503" y="67"/>
                    </a:lnTo>
                    <a:close/>
                    <a:moveTo>
                      <a:pt x="383" y="141"/>
                    </a:moveTo>
                    <a:lnTo>
                      <a:pt x="383" y="142"/>
                    </a:lnTo>
                    <a:lnTo>
                      <a:pt x="382" y="142"/>
                    </a:lnTo>
                    <a:lnTo>
                      <a:pt x="381" y="142"/>
                    </a:lnTo>
                    <a:lnTo>
                      <a:pt x="380" y="142"/>
                    </a:lnTo>
                    <a:lnTo>
                      <a:pt x="381" y="141"/>
                    </a:lnTo>
                    <a:lnTo>
                      <a:pt x="381" y="140"/>
                    </a:lnTo>
                    <a:lnTo>
                      <a:pt x="381" y="139"/>
                    </a:lnTo>
                    <a:lnTo>
                      <a:pt x="382" y="140"/>
                    </a:lnTo>
                    <a:lnTo>
                      <a:pt x="383" y="140"/>
                    </a:lnTo>
                    <a:lnTo>
                      <a:pt x="383" y="141"/>
                    </a:lnTo>
                    <a:close/>
                    <a:moveTo>
                      <a:pt x="428" y="140"/>
                    </a:moveTo>
                    <a:lnTo>
                      <a:pt x="427" y="140"/>
                    </a:lnTo>
                    <a:lnTo>
                      <a:pt x="426" y="140"/>
                    </a:lnTo>
                    <a:lnTo>
                      <a:pt x="426" y="139"/>
                    </a:lnTo>
                    <a:lnTo>
                      <a:pt x="426" y="138"/>
                    </a:lnTo>
                    <a:lnTo>
                      <a:pt x="427" y="138"/>
                    </a:lnTo>
                    <a:lnTo>
                      <a:pt x="427" y="139"/>
                    </a:lnTo>
                    <a:lnTo>
                      <a:pt x="428" y="139"/>
                    </a:lnTo>
                    <a:lnTo>
                      <a:pt x="429" y="140"/>
                    </a:lnTo>
                    <a:lnTo>
                      <a:pt x="428" y="140"/>
                    </a:lnTo>
                    <a:close/>
                    <a:moveTo>
                      <a:pt x="458" y="203"/>
                    </a:moveTo>
                    <a:lnTo>
                      <a:pt x="459" y="203"/>
                    </a:lnTo>
                    <a:lnTo>
                      <a:pt x="459" y="204"/>
                    </a:lnTo>
                    <a:lnTo>
                      <a:pt x="458" y="204"/>
                    </a:lnTo>
                    <a:lnTo>
                      <a:pt x="456" y="203"/>
                    </a:lnTo>
                    <a:lnTo>
                      <a:pt x="455" y="203"/>
                    </a:lnTo>
                    <a:lnTo>
                      <a:pt x="454" y="203"/>
                    </a:lnTo>
                    <a:lnTo>
                      <a:pt x="455" y="202"/>
                    </a:lnTo>
                    <a:lnTo>
                      <a:pt x="456" y="200"/>
                    </a:lnTo>
                    <a:lnTo>
                      <a:pt x="456" y="202"/>
                    </a:lnTo>
                    <a:lnTo>
                      <a:pt x="456" y="203"/>
                    </a:lnTo>
                    <a:lnTo>
                      <a:pt x="458" y="203"/>
                    </a:lnTo>
                    <a:close/>
                    <a:moveTo>
                      <a:pt x="409" y="182"/>
                    </a:moveTo>
                    <a:lnTo>
                      <a:pt x="410" y="183"/>
                    </a:lnTo>
                    <a:lnTo>
                      <a:pt x="410" y="182"/>
                    </a:lnTo>
                    <a:lnTo>
                      <a:pt x="410" y="183"/>
                    </a:lnTo>
                    <a:lnTo>
                      <a:pt x="411" y="183"/>
                    </a:lnTo>
                    <a:lnTo>
                      <a:pt x="410" y="183"/>
                    </a:lnTo>
                    <a:lnTo>
                      <a:pt x="411" y="183"/>
                    </a:lnTo>
                    <a:lnTo>
                      <a:pt x="411" y="184"/>
                    </a:lnTo>
                    <a:lnTo>
                      <a:pt x="411" y="185"/>
                    </a:lnTo>
                    <a:lnTo>
                      <a:pt x="412" y="184"/>
                    </a:lnTo>
                    <a:lnTo>
                      <a:pt x="412" y="185"/>
                    </a:lnTo>
                    <a:lnTo>
                      <a:pt x="411" y="185"/>
                    </a:lnTo>
                    <a:lnTo>
                      <a:pt x="410" y="185"/>
                    </a:lnTo>
                    <a:lnTo>
                      <a:pt x="409" y="185"/>
                    </a:lnTo>
                    <a:lnTo>
                      <a:pt x="410" y="184"/>
                    </a:lnTo>
                    <a:lnTo>
                      <a:pt x="410" y="183"/>
                    </a:lnTo>
                    <a:lnTo>
                      <a:pt x="409" y="183"/>
                    </a:lnTo>
                    <a:lnTo>
                      <a:pt x="409" y="182"/>
                    </a:lnTo>
                    <a:close/>
                    <a:moveTo>
                      <a:pt x="403" y="294"/>
                    </a:moveTo>
                    <a:lnTo>
                      <a:pt x="403" y="295"/>
                    </a:lnTo>
                    <a:lnTo>
                      <a:pt x="403" y="296"/>
                    </a:lnTo>
                    <a:lnTo>
                      <a:pt x="402" y="296"/>
                    </a:lnTo>
                    <a:lnTo>
                      <a:pt x="401" y="296"/>
                    </a:lnTo>
                    <a:lnTo>
                      <a:pt x="400" y="296"/>
                    </a:lnTo>
                    <a:lnTo>
                      <a:pt x="400" y="295"/>
                    </a:lnTo>
                    <a:lnTo>
                      <a:pt x="401" y="295"/>
                    </a:lnTo>
                    <a:lnTo>
                      <a:pt x="401" y="294"/>
                    </a:lnTo>
                    <a:lnTo>
                      <a:pt x="402" y="295"/>
                    </a:lnTo>
                    <a:lnTo>
                      <a:pt x="402" y="294"/>
                    </a:lnTo>
                    <a:lnTo>
                      <a:pt x="403" y="294"/>
                    </a:lnTo>
                    <a:close/>
                    <a:moveTo>
                      <a:pt x="716" y="244"/>
                    </a:moveTo>
                    <a:lnTo>
                      <a:pt x="716" y="245"/>
                    </a:lnTo>
                    <a:lnTo>
                      <a:pt x="714" y="246"/>
                    </a:lnTo>
                    <a:lnTo>
                      <a:pt x="713" y="246"/>
                    </a:lnTo>
                    <a:lnTo>
                      <a:pt x="712" y="246"/>
                    </a:lnTo>
                    <a:lnTo>
                      <a:pt x="711" y="246"/>
                    </a:lnTo>
                    <a:lnTo>
                      <a:pt x="711" y="245"/>
                    </a:lnTo>
                    <a:lnTo>
                      <a:pt x="712" y="245"/>
                    </a:lnTo>
                    <a:lnTo>
                      <a:pt x="713" y="245"/>
                    </a:lnTo>
                    <a:lnTo>
                      <a:pt x="714" y="245"/>
                    </a:lnTo>
                    <a:lnTo>
                      <a:pt x="716" y="245"/>
                    </a:lnTo>
                    <a:lnTo>
                      <a:pt x="716" y="244"/>
                    </a:lnTo>
                    <a:close/>
                    <a:moveTo>
                      <a:pt x="722" y="220"/>
                    </a:moveTo>
                    <a:lnTo>
                      <a:pt x="722" y="221"/>
                    </a:lnTo>
                    <a:lnTo>
                      <a:pt x="721" y="221"/>
                    </a:lnTo>
                    <a:lnTo>
                      <a:pt x="721" y="220"/>
                    </a:lnTo>
                    <a:lnTo>
                      <a:pt x="721" y="221"/>
                    </a:lnTo>
                    <a:lnTo>
                      <a:pt x="720" y="220"/>
                    </a:lnTo>
                    <a:lnTo>
                      <a:pt x="720" y="219"/>
                    </a:lnTo>
                    <a:lnTo>
                      <a:pt x="721" y="219"/>
                    </a:lnTo>
                    <a:lnTo>
                      <a:pt x="722" y="219"/>
                    </a:lnTo>
                    <a:lnTo>
                      <a:pt x="723" y="219"/>
                    </a:lnTo>
                    <a:lnTo>
                      <a:pt x="723" y="220"/>
                    </a:lnTo>
                    <a:lnTo>
                      <a:pt x="722" y="220"/>
                    </a:lnTo>
                    <a:close/>
                    <a:moveTo>
                      <a:pt x="259" y="311"/>
                    </a:moveTo>
                    <a:lnTo>
                      <a:pt x="259" y="312"/>
                    </a:lnTo>
                    <a:lnTo>
                      <a:pt x="260" y="312"/>
                    </a:lnTo>
                    <a:lnTo>
                      <a:pt x="260" y="313"/>
                    </a:lnTo>
                    <a:lnTo>
                      <a:pt x="259" y="313"/>
                    </a:lnTo>
                    <a:lnTo>
                      <a:pt x="259" y="314"/>
                    </a:lnTo>
                    <a:lnTo>
                      <a:pt x="258" y="314"/>
                    </a:lnTo>
                    <a:lnTo>
                      <a:pt x="258" y="313"/>
                    </a:lnTo>
                    <a:lnTo>
                      <a:pt x="259" y="313"/>
                    </a:lnTo>
                    <a:lnTo>
                      <a:pt x="258" y="313"/>
                    </a:lnTo>
                    <a:lnTo>
                      <a:pt x="259" y="312"/>
                    </a:lnTo>
                    <a:lnTo>
                      <a:pt x="258" y="312"/>
                    </a:lnTo>
                    <a:lnTo>
                      <a:pt x="258" y="313"/>
                    </a:lnTo>
                    <a:lnTo>
                      <a:pt x="258" y="312"/>
                    </a:lnTo>
                    <a:lnTo>
                      <a:pt x="259" y="311"/>
                    </a:lnTo>
                    <a:lnTo>
                      <a:pt x="260" y="311"/>
                    </a:lnTo>
                    <a:lnTo>
                      <a:pt x="259" y="311"/>
                    </a:lnTo>
                    <a:close/>
                    <a:moveTo>
                      <a:pt x="314" y="241"/>
                    </a:moveTo>
                    <a:lnTo>
                      <a:pt x="316" y="241"/>
                    </a:lnTo>
                    <a:lnTo>
                      <a:pt x="316" y="242"/>
                    </a:lnTo>
                    <a:lnTo>
                      <a:pt x="316" y="243"/>
                    </a:lnTo>
                    <a:lnTo>
                      <a:pt x="316" y="244"/>
                    </a:lnTo>
                    <a:lnTo>
                      <a:pt x="317" y="244"/>
                    </a:lnTo>
                    <a:lnTo>
                      <a:pt x="316" y="245"/>
                    </a:lnTo>
                    <a:lnTo>
                      <a:pt x="316" y="244"/>
                    </a:lnTo>
                    <a:lnTo>
                      <a:pt x="314" y="244"/>
                    </a:lnTo>
                    <a:lnTo>
                      <a:pt x="316" y="244"/>
                    </a:lnTo>
                    <a:lnTo>
                      <a:pt x="316" y="243"/>
                    </a:lnTo>
                    <a:lnTo>
                      <a:pt x="314" y="243"/>
                    </a:lnTo>
                    <a:lnTo>
                      <a:pt x="314" y="242"/>
                    </a:lnTo>
                    <a:lnTo>
                      <a:pt x="314" y="241"/>
                    </a:lnTo>
                    <a:lnTo>
                      <a:pt x="313" y="241"/>
                    </a:lnTo>
                    <a:lnTo>
                      <a:pt x="312" y="241"/>
                    </a:lnTo>
                    <a:lnTo>
                      <a:pt x="313" y="241"/>
                    </a:lnTo>
                    <a:lnTo>
                      <a:pt x="314" y="241"/>
                    </a:lnTo>
                    <a:close/>
                    <a:moveTo>
                      <a:pt x="325" y="312"/>
                    </a:moveTo>
                    <a:lnTo>
                      <a:pt x="325" y="311"/>
                    </a:lnTo>
                    <a:lnTo>
                      <a:pt x="324" y="311"/>
                    </a:lnTo>
                    <a:lnTo>
                      <a:pt x="324" y="310"/>
                    </a:lnTo>
                    <a:lnTo>
                      <a:pt x="324" y="309"/>
                    </a:lnTo>
                    <a:lnTo>
                      <a:pt x="325" y="309"/>
                    </a:lnTo>
                    <a:lnTo>
                      <a:pt x="326" y="309"/>
                    </a:lnTo>
                    <a:lnTo>
                      <a:pt x="325" y="310"/>
                    </a:lnTo>
                    <a:lnTo>
                      <a:pt x="326" y="310"/>
                    </a:lnTo>
                    <a:lnTo>
                      <a:pt x="325" y="311"/>
                    </a:lnTo>
                    <a:lnTo>
                      <a:pt x="325" y="312"/>
                    </a:lnTo>
                    <a:close/>
                    <a:moveTo>
                      <a:pt x="724" y="134"/>
                    </a:moveTo>
                    <a:lnTo>
                      <a:pt x="723" y="134"/>
                    </a:lnTo>
                    <a:lnTo>
                      <a:pt x="723" y="133"/>
                    </a:lnTo>
                    <a:lnTo>
                      <a:pt x="723" y="132"/>
                    </a:lnTo>
                    <a:lnTo>
                      <a:pt x="724" y="132"/>
                    </a:lnTo>
                    <a:lnTo>
                      <a:pt x="725" y="132"/>
                    </a:lnTo>
                    <a:lnTo>
                      <a:pt x="725" y="133"/>
                    </a:lnTo>
                    <a:lnTo>
                      <a:pt x="724" y="133"/>
                    </a:lnTo>
                    <a:lnTo>
                      <a:pt x="724" y="134"/>
                    </a:lnTo>
                    <a:close/>
                    <a:moveTo>
                      <a:pt x="701" y="260"/>
                    </a:moveTo>
                    <a:lnTo>
                      <a:pt x="703" y="260"/>
                    </a:lnTo>
                    <a:lnTo>
                      <a:pt x="704" y="261"/>
                    </a:lnTo>
                    <a:lnTo>
                      <a:pt x="704" y="262"/>
                    </a:lnTo>
                    <a:lnTo>
                      <a:pt x="703" y="262"/>
                    </a:lnTo>
                    <a:lnTo>
                      <a:pt x="701" y="261"/>
                    </a:lnTo>
                    <a:lnTo>
                      <a:pt x="701" y="262"/>
                    </a:lnTo>
                    <a:lnTo>
                      <a:pt x="700" y="262"/>
                    </a:lnTo>
                    <a:lnTo>
                      <a:pt x="700" y="261"/>
                    </a:lnTo>
                    <a:lnTo>
                      <a:pt x="700" y="260"/>
                    </a:lnTo>
                    <a:lnTo>
                      <a:pt x="701" y="260"/>
                    </a:lnTo>
                    <a:close/>
                    <a:moveTo>
                      <a:pt x="262" y="310"/>
                    </a:moveTo>
                    <a:lnTo>
                      <a:pt x="262" y="311"/>
                    </a:lnTo>
                    <a:lnTo>
                      <a:pt x="264" y="311"/>
                    </a:lnTo>
                    <a:lnTo>
                      <a:pt x="264" y="312"/>
                    </a:lnTo>
                    <a:lnTo>
                      <a:pt x="264" y="313"/>
                    </a:lnTo>
                    <a:lnTo>
                      <a:pt x="262" y="313"/>
                    </a:lnTo>
                    <a:lnTo>
                      <a:pt x="262" y="312"/>
                    </a:lnTo>
                    <a:lnTo>
                      <a:pt x="262" y="311"/>
                    </a:lnTo>
                    <a:lnTo>
                      <a:pt x="261" y="311"/>
                    </a:lnTo>
                    <a:lnTo>
                      <a:pt x="261" y="310"/>
                    </a:lnTo>
                    <a:lnTo>
                      <a:pt x="262" y="310"/>
                    </a:lnTo>
                    <a:close/>
                    <a:moveTo>
                      <a:pt x="430" y="206"/>
                    </a:moveTo>
                    <a:lnTo>
                      <a:pt x="430" y="207"/>
                    </a:lnTo>
                    <a:lnTo>
                      <a:pt x="432" y="207"/>
                    </a:lnTo>
                    <a:lnTo>
                      <a:pt x="432" y="208"/>
                    </a:lnTo>
                    <a:lnTo>
                      <a:pt x="430" y="208"/>
                    </a:lnTo>
                    <a:lnTo>
                      <a:pt x="429" y="208"/>
                    </a:lnTo>
                    <a:lnTo>
                      <a:pt x="429" y="207"/>
                    </a:lnTo>
                    <a:lnTo>
                      <a:pt x="428" y="207"/>
                    </a:lnTo>
                    <a:lnTo>
                      <a:pt x="427" y="207"/>
                    </a:lnTo>
                    <a:lnTo>
                      <a:pt x="428" y="207"/>
                    </a:lnTo>
                    <a:lnTo>
                      <a:pt x="428" y="206"/>
                    </a:lnTo>
                    <a:lnTo>
                      <a:pt x="429" y="206"/>
                    </a:lnTo>
                    <a:lnTo>
                      <a:pt x="430" y="206"/>
                    </a:lnTo>
                    <a:close/>
                    <a:moveTo>
                      <a:pt x="331" y="241"/>
                    </a:moveTo>
                    <a:lnTo>
                      <a:pt x="332" y="241"/>
                    </a:lnTo>
                    <a:lnTo>
                      <a:pt x="332" y="242"/>
                    </a:lnTo>
                    <a:lnTo>
                      <a:pt x="330" y="242"/>
                    </a:lnTo>
                    <a:lnTo>
                      <a:pt x="329" y="242"/>
                    </a:lnTo>
                    <a:lnTo>
                      <a:pt x="329" y="241"/>
                    </a:lnTo>
                    <a:lnTo>
                      <a:pt x="330" y="241"/>
                    </a:lnTo>
                    <a:lnTo>
                      <a:pt x="331" y="241"/>
                    </a:lnTo>
                    <a:lnTo>
                      <a:pt x="331" y="239"/>
                    </a:lnTo>
                    <a:lnTo>
                      <a:pt x="331" y="238"/>
                    </a:lnTo>
                    <a:lnTo>
                      <a:pt x="331" y="239"/>
                    </a:lnTo>
                    <a:lnTo>
                      <a:pt x="331" y="241"/>
                    </a:lnTo>
                    <a:close/>
                    <a:moveTo>
                      <a:pt x="727" y="183"/>
                    </a:moveTo>
                    <a:lnTo>
                      <a:pt x="727" y="184"/>
                    </a:lnTo>
                    <a:lnTo>
                      <a:pt x="726" y="184"/>
                    </a:lnTo>
                    <a:lnTo>
                      <a:pt x="726" y="183"/>
                    </a:lnTo>
                    <a:lnTo>
                      <a:pt x="726" y="184"/>
                    </a:lnTo>
                    <a:lnTo>
                      <a:pt x="725" y="184"/>
                    </a:lnTo>
                    <a:lnTo>
                      <a:pt x="725" y="183"/>
                    </a:lnTo>
                    <a:lnTo>
                      <a:pt x="726" y="183"/>
                    </a:lnTo>
                    <a:lnTo>
                      <a:pt x="726" y="182"/>
                    </a:lnTo>
                    <a:lnTo>
                      <a:pt x="727" y="182"/>
                    </a:lnTo>
                    <a:lnTo>
                      <a:pt x="729" y="182"/>
                    </a:lnTo>
                    <a:lnTo>
                      <a:pt x="729" y="183"/>
                    </a:lnTo>
                    <a:lnTo>
                      <a:pt x="727" y="183"/>
                    </a:lnTo>
                    <a:close/>
                    <a:moveTo>
                      <a:pt x="459" y="168"/>
                    </a:moveTo>
                    <a:lnTo>
                      <a:pt x="460" y="168"/>
                    </a:lnTo>
                    <a:lnTo>
                      <a:pt x="461" y="168"/>
                    </a:lnTo>
                    <a:lnTo>
                      <a:pt x="461" y="169"/>
                    </a:lnTo>
                    <a:lnTo>
                      <a:pt x="460" y="169"/>
                    </a:lnTo>
                    <a:lnTo>
                      <a:pt x="460" y="170"/>
                    </a:lnTo>
                    <a:lnTo>
                      <a:pt x="461" y="170"/>
                    </a:lnTo>
                    <a:lnTo>
                      <a:pt x="460" y="170"/>
                    </a:lnTo>
                    <a:lnTo>
                      <a:pt x="459" y="170"/>
                    </a:lnTo>
                    <a:lnTo>
                      <a:pt x="459" y="169"/>
                    </a:lnTo>
                    <a:lnTo>
                      <a:pt x="459" y="168"/>
                    </a:lnTo>
                    <a:close/>
                    <a:moveTo>
                      <a:pt x="319" y="285"/>
                    </a:moveTo>
                    <a:lnTo>
                      <a:pt x="320" y="285"/>
                    </a:lnTo>
                    <a:lnTo>
                      <a:pt x="319" y="286"/>
                    </a:lnTo>
                    <a:lnTo>
                      <a:pt x="318" y="286"/>
                    </a:lnTo>
                    <a:lnTo>
                      <a:pt x="318" y="285"/>
                    </a:lnTo>
                    <a:lnTo>
                      <a:pt x="317" y="284"/>
                    </a:lnTo>
                    <a:lnTo>
                      <a:pt x="318" y="284"/>
                    </a:lnTo>
                    <a:lnTo>
                      <a:pt x="318" y="285"/>
                    </a:lnTo>
                    <a:lnTo>
                      <a:pt x="318" y="284"/>
                    </a:lnTo>
                    <a:lnTo>
                      <a:pt x="318" y="283"/>
                    </a:lnTo>
                    <a:lnTo>
                      <a:pt x="319" y="283"/>
                    </a:lnTo>
                    <a:lnTo>
                      <a:pt x="319" y="284"/>
                    </a:lnTo>
                    <a:lnTo>
                      <a:pt x="319" y="285"/>
                    </a:lnTo>
                    <a:close/>
                    <a:moveTo>
                      <a:pt x="228" y="313"/>
                    </a:moveTo>
                    <a:lnTo>
                      <a:pt x="229" y="313"/>
                    </a:lnTo>
                    <a:lnTo>
                      <a:pt x="230" y="313"/>
                    </a:lnTo>
                    <a:lnTo>
                      <a:pt x="231" y="314"/>
                    </a:lnTo>
                    <a:lnTo>
                      <a:pt x="230" y="314"/>
                    </a:lnTo>
                    <a:lnTo>
                      <a:pt x="228" y="314"/>
                    </a:lnTo>
                    <a:lnTo>
                      <a:pt x="227" y="314"/>
                    </a:lnTo>
                    <a:lnTo>
                      <a:pt x="228" y="313"/>
                    </a:lnTo>
                    <a:lnTo>
                      <a:pt x="229" y="313"/>
                    </a:lnTo>
                    <a:lnTo>
                      <a:pt x="228" y="313"/>
                    </a:lnTo>
                    <a:close/>
                    <a:moveTo>
                      <a:pt x="697" y="212"/>
                    </a:moveTo>
                    <a:lnTo>
                      <a:pt x="697" y="213"/>
                    </a:lnTo>
                    <a:lnTo>
                      <a:pt x="697" y="215"/>
                    </a:lnTo>
                    <a:lnTo>
                      <a:pt x="697" y="213"/>
                    </a:lnTo>
                    <a:lnTo>
                      <a:pt x="697" y="215"/>
                    </a:lnTo>
                    <a:lnTo>
                      <a:pt x="696" y="215"/>
                    </a:lnTo>
                    <a:lnTo>
                      <a:pt x="695" y="215"/>
                    </a:lnTo>
                    <a:lnTo>
                      <a:pt x="695" y="216"/>
                    </a:lnTo>
                    <a:lnTo>
                      <a:pt x="695" y="217"/>
                    </a:lnTo>
                    <a:lnTo>
                      <a:pt x="694" y="217"/>
                    </a:lnTo>
                    <a:lnTo>
                      <a:pt x="694" y="216"/>
                    </a:lnTo>
                    <a:lnTo>
                      <a:pt x="695" y="216"/>
                    </a:lnTo>
                    <a:lnTo>
                      <a:pt x="695" y="215"/>
                    </a:lnTo>
                    <a:lnTo>
                      <a:pt x="696" y="215"/>
                    </a:lnTo>
                    <a:lnTo>
                      <a:pt x="696" y="213"/>
                    </a:lnTo>
                    <a:lnTo>
                      <a:pt x="697" y="213"/>
                    </a:lnTo>
                    <a:lnTo>
                      <a:pt x="697" y="212"/>
                    </a:lnTo>
                    <a:close/>
                    <a:moveTo>
                      <a:pt x="729" y="154"/>
                    </a:moveTo>
                    <a:lnTo>
                      <a:pt x="727" y="154"/>
                    </a:lnTo>
                    <a:lnTo>
                      <a:pt x="726" y="154"/>
                    </a:lnTo>
                    <a:lnTo>
                      <a:pt x="727" y="153"/>
                    </a:lnTo>
                    <a:lnTo>
                      <a:pt x="729" y="153"/>
                    </a:lnTo>
                    <a:lnTo>
                      <a:pt x="729" y="152"/>
                    </a:lnTo>
                    <a:lnTo>
                      <a:pt x="730" y="152"/>
                    </a:lnTo>
                    <a:lnTo>
                      <a:pt x="730" y="153"/>
                    </a:lnTo>
                    <a:lnTo>
                      <a:pt x="729" y="154"/>
                    </a:lnTo>
                    <a:close/>
                    <a:moveTo>
                      <a:pt x="252" y="318"/>
                    </a:moveTo>
                    <a:lnTo>
                      <a:pt x="252" y="319"/>
                    </a:lnTo>
                    <a:lnTo>
                      <a:pt x="252" y="320"/>
                    </a:lnTo>
                    <a:lnTo>
                      <a:pt x="251" y="320"/>
                    </a:lnTo>
                    <a:lnTo>
                      <a:pt x="251" y="319"/>
                    </a:lnTo>
                    <a:lnTo>
                      <a:pt x="251" y="318"/>
                    </a:lnTo>
                    <a:lnTo>
                      <a:pt x="252" y="318"/>
                    </a:lnTo>
                    <a:close/>
                    <a:moveTo>
                      <a:pt x="305" y="302"/>
                    </a:moveTo>
                    <a:lnTo>
                      <a:pt x="306" y="302"/>
                    </a:lnTo>
                    <a:lnTo>
                      <a:pt x="307" y="302"/>
                    </a:lnTo>
                    <a:lnTo>
                      <a:pt x="307" y="303"/>
                    </a:lnTo>
                    <a:lnTo>
                      <a:pt x="307" y="305"/>
                    </a:lnTo>
                    <a:lnTo>
                      <a:pt x="306" y="305"/>
                    </a:lnTo>
                    <a:lnTo>
                      <a:pt x="306" y="303"/>
                    </a:lnTo>
                    <a:lnTo>
                      <a:pt x="305" y="302"/>
                    </a:lnTo>
                    <a:lnTo>
                      <a:pt x="304" y="302"/>
                    </a:lnTo>
                    <a:lnTo>
                      <a:pt x="305" y="302"/>
                    </a:lnTo>
                    <a:close/>
                    <a:moveTo>
                      <a:pt x="480" y="133"/>
                    </a:moveTo>
                    <a:lnTo>
                      <a:pt x="480" y="134"/>
                    </a:lnTo>
                    <a:lnTo>
                      <a:pt x="481" y="134"/>
                    </a:lnTo>
                    <a:lnTo>
                      <a:pt x="481" y="133"/>
                    </a:lnTo>
                    <a:lnTo>
                      <a:pt x="481" y="134"/>
                    </a:lnTo>
                    <a:lnTo>
                      <a:pt x="481" y="135"/>
                    </a:lnTo>
                    <a:lnTo>
                      <a:pt x="482" y="135"/>
                    </a:lnTo>
                    <a:lnTo>
                      <a:pt x="481" y="135"/>
                    </a:lnTo>
                    <a:lnTo>
                      <a:pt x="481" y="136"/>
                    </a:lnTo>
                    <a:lnTo>
                      <a:pt x="480" y="136"/>
                    </a:lnTo>
                    <a:lnTo>
                      <a:pt x="480" y="135"/>
                    </a:lnTo>
                    <a:lnTo>
                      <a:pt x="480" y="134"/>
                    </a:lnTo>
                    <a:lnTo>
                      <a:pt x="480" y="133"/>
                    </a:lnTo>
                    <a:close/>
                    <a:moveTo>
                      <a:pt x="350" y="287"/>
                    </a:moveTo>
                    <a:lnTo>
                      <a:pt x="349" y="287"/>
                    </a:lnTo>
                    <a:lnTo>
                      <a:pt x="350" y="286"/>
                    </a:lnTo>
                    <a:lnTo>
                      <a:pt x="350" y="285"/>
                    </a:lnTo>
                    <a:lnTo>
                      <a:pt x="350" y="284"/>
                    </a:lnTo>
                    <a:lnTo>
                      <a:pt x="350" y="283"/>
                    </a:lnTo>
                    <a:lnTo>
                      <a:pt x="350" y="284"/>
                    </a:lnTo>
                    <a:lnTo>
                      <a:pt x="351" y="285"/>
                    </a:lnTo>
                    <a:lnTo>
                      <a:pt x="351" y="286"/>
                    </a:lnTo>
                    <a:lnTo>
                      <a:pt x="350" y="286"/>
                    </a:lnTo>
                    <a:lnTo>
                      <a:pt x="350" y="287"/>
                    </a:lnTo>
                    <a:close/>
                    <a:moveTo>
                      <a:pt x="713" y="107"/>
                    </a:moveTo>
                    <a:lnTo>
                      <a:pt x="712" y="107"/>
                    </a:lnTo>
                    <a:lnTo>
                      <a:pt x="712" y="106"/>
                    </a:lnTo>
                    <a:lnTo>
                      <a:pt x="713" y="106"/>
                    </a:lnTo>
                    <a:lnTo>
                      <a:pt x="713" y="105"/>
                    </a:lnTo>
                    <a:lnTo>
                      <a:pt x="714" y="105"/>
                    </a:lnTo>
                    <a:lnTo>
                      <a:pt x="714" y="106"/>
                    </a:lnTo>
                    <a:lnTo>
                      <a:pt x="714" y="107"/>
                    </a:lnTo>
                    <a:lnTo>
                      <a:pt x="713" y="107"/>
                    </a:lnTo>
                    <a:close/>
                    <a:moveTo>
                      <a:pt x="719" y="235"/>
                    </a:moveTo>
                    <a:lnTo>
                      <a:pt x="718" y="235"/>
                    </a:lnTo>
                    <a:lnTo>
                      <a:pt x="718" y="236"/>
                    </a:lnTo>
                    <a:lnTo>
                      <a:pt x="718" y="235"/>
                    </a:lnTo>
                    <a:lnTo>
                      <a:pt x="717" y="235"/>
                    </a:lnTo>
                    <a:lnTo>
                      <a:pt x="718" y="235"/>
                    </a:lnTo>
                    <a:lnTo>
                      <a:pt x="718" y="234"/>
                    </a:lnTo>
                    <a:lnTo>
                      <a:pt x="719" y="234"/>
                    </a:lnTo>
                    <a:lnTo>
                      <a:pt x="719" y="235"/>
                    </a:lnTo>
                    <a:close/>
                    <a:moveTo>
                      <a:pt x="422" y="78"/>
                    </a:moveTo>
                    <a:lnTo>
                      <a:pt x="423" y="78"/>
                    </a:lnTo>
                    <a:lnTo>
                      <a:pt x="423" y="77"/>
                    </a:lnTo>
                    <a:lnTo>
                      <a:pt x="423" y="78"/>
                    </a:lnTo>
                    <a:lnTo>
                      <a:pt x="424" y="78"/>
                    </a:lnTo>
                    <a:lnTo>
                      <a:pt x="425" y="78"/>
                    </a:lnTo>
                    <a:lnTo>
                      <a:pt x="426" y="78"/>
                    </a:lnTo>
                    <a:lnTo>
                      <a:pt x="426" y="79"/>
                    </a:lnTo>
                    <a:lnTo>
                      <a:pt x="425" y="79"/>
                    </a:lnTo>
                    <a:lnTo>
                      <a:pt x="424" y="79"/>
                    </a:lnTo>
                    <a:lnTo>
                      <a:pt x="423" y="79"/>
                    </a:lnTo>
                    <a:lnTo>
                      <a:pt x="423" y="78"/>
                    </a:lnTo>
                    <a:lnTo>
                      <a:pt x="422" y="78"/>
                    </a:lnTo>
                    <a:lnTo>
                      <a:pt x="422" y="77"/>
                    </a:lnTo>
                    <a:lnTo>
                      <a:pt x="422" y="78"/>
                    </a:lnTo>
                    <a:close/>
                    <a:moveTo>
                      <a:pt x="425" y="110"/>
                    </a:moveTo>
                    <a:lnTo>
                      <a:pt x="426" y="110"/>
                    </a:lnTo>
                    <a:lnTo>
                      <a:pt x="427" y="110"/>
                    </a:lnTo>
                    <a:lnTo>
                      <a:pt x="426" y="110"/>
                    </a:lnTo>
                    <a:lnTo>
                      <a:pt x="426" y="112"/>
                    </a:lnTo>
                    <a:lnTo>
                      <a:pt x="426" y="113"/>
                    </a:lnTo>
                    <a:lnTo>
                      <a:pt x="427" y="113"/>
                    </a:lnTo>
                    <a:lnTo>
                      <a:pt x="426" y="113"/>
                    </a:lnTo>
                    <a:lnTo>
                      <a:pt x="426" y="112"/>
                    </a:lnTo>
                    <a:lnTo>
                      <a:pt x="425" y="112"/>
                    </a:lnTo>
                    <a:lnTo>
                      <a:pt x="424" y="112"/>
                    </a:lnTo>
                    <a:lnTo>
                      <a:pt x="424" y="110"/>
                    </a:lnTo>
                    <a:lnTo>
                      <a:pt x="425" y="110"/>
                    </a:lnTo>
                    <a:close/>
                    <a:moveTo>
                      <a:pt x="716" y="109"/>
                    </a:moveTo>
                    <a:lnTo>
                      <a:pt x="714" y="109"/>
                    </a:lnTo>
                    <a:lnTo>
                      <a:pt x="713" y="109"/>
                    </a:lnTo>
                    <a:lnTo>
                      <a:pt x="714" y="109"/>
                    </a:lnTo>
                    <a:lnTo>
                      <a:pt x="716" y="108"/>
                    </a:lnTo>
                    <a:lnTo>
                      <a:pt x="717" y="108"/>
                    </a:lnTo>
                    <a:lnTo>
                      <a:pt x="716" y="109"/>
                    </a:lnTo>
                    <a:close/>
                    <a:moveTo>
                      <a:pt x="717" y="113"/>
                    </a:moveTo>
                    <a:lnTo>
                      <a:pt x="716" y="113"/>
                    </a:lnTo>
                    <a:lnTo>
                      <a:pt x="717" y="112"/>
                    </a:lnTo>
                    <a:lnTo>
                      <a:pt x="718" y="112"/>
                    </a:lnTo>
                    <a:lnTo>
                      <a:pt x="718" y="110"/>
                    </a:lnTo>
                    <a:lnTo>
                      <a:pt x="719" y="110"/>
                    </a:lnTo>
                    <a:lnTo>
                      <a:pt x="719" y="112"/>
                    </a:lnTo>
                    <a:lnTo>
                      <a:pt x="718" y="113"/>
                    </a:lnTo>
                    <a:lnTo>
                      <a:pt x="717" y="113"/>
                    </a:lnTo>
                    <a:close/>
                    <a:moveTo>
                      <a:pt x="233" y="314"/>
                    </a:moveTo>
                    <a:lnTo>
                      <a:pt x="232" y="314"/>
                    </a:lnTo>
                    <a:lnTo>
                      <a:pt x="231" y="314"/>
                    </a:lnTo>
                    <a:lnTo>
                      <a:pt x="231" y="313"/>
                    </a:lnTo>
                    <a:lnTo>
                      <a:pt x="232" y="313"/>
                    </a:lnTo>
                    <a:lnTo>
                      <a:pt x="233" y="314"/>
                    </a:lnTo>
                    <a:close/>
                    <a:moveTo>
                      <a:pt x="727" y="197"/>
                    </a:moveTo>
                    <a:lnTo>
                      <a:pt x="726" y="197"/>
                    </a:lnTo>
                    <a:lnTo>
                      <a:pt x="726" y="198"/>
                    </a:lnTo>
                    <a:lnTo>
                      <a:pt x="725" y="198"/>
                    </a:lnTo>
                    <a:lnTo>
                      <a:pt x="725" y="197"/>
                    </a:lnTo>
                    <a:lnTo>
                      <a:pt x="726" y="196"/>
                    </a:lnTo>
                    <a:lnTo>
                      <a:pt x="727" y="196"/>
                    </a:lnTo>
                    <a:lnTo>
                      <a:pt x="727" y="197"/>
                    </a:lnTo>
                    <a:close/>
                    <a:moveTo>
                      <a:pt x="716" y="106"/>
                    </a:moveTo>
                    <a:lnTo>
                      <a:pt x="717" y="106"/>
                    </a:lnTo>
                    <a:lnTo>
                      <a:pt x="717" y="107"/>
                    </a:lnTo>
                    <a:lnTo>
                      <a:pt x="716" y="107"/>
                    </a:lnTo>
                    <a:lnTo>
                      <a:pt x="714" y="107"/>
                    </a:lnTo>
                    <a:lnTo>
                      <a:pt x="716" y="106"/>
                    </a:lnTo>
                    <a:close/>
                    <a:moveTo>
                      <a:pt x="316" y="307"/>
                    </a:moveTo>
                    <a:lnTo>
                      <a:pt x="317" y="307"/>
                    </a:lnTo>
                    <a:lnTo>
                      <a:pt x="318" y="307"/>
                    </a:lnTo>
                    <a:lnTo>
                      <a:pt x="319" y="307"/>
                    </a:lnTo>
                    <a:lnTo>
                      <a:pt x="318" y="307"/>
                    </a:lnTo>
                    <a:lnTo>
                      <a:pt x="317" y="307"/>
                    </a:lnTo>
                    <a:lnTo>
                      <a:pt x="316" y="307"/>
                    </a:lnTo>
                    <a:lnTo>
                      <a:pt x="316" y="308"/>
                    </a:lnTo>
                    <a:lnTo>
                      <a:pt x="314" y="307"/>
                    </a:lnTo>
                    <a:lnTo>
                      <a:pt x="316" y="307"/>
                    </a:lnTo>
                    <a:close/>
                    <a:moveTo>
                      <a:pt x="729" y="156"/>
                    </a:moveTo>
                    <a:lnTo>
                      <a:pt x="727" y="156"/>
                    </a:lnTo>
                    <a:lnTo>
                      <a:pt x="726" y="156"/>
                    </a:lnTo>
                    <a:lnTo>
                      <a:pt x="725" y="156"/>
                    </a:lnTo>
                    <a:lnTo>
                      <a:pt x="726" y="156"/>
                    </a:lnTo>
                    <a:lnTo>
                      <a:pt x="727" y="156"/>
                    </a:lnTo>
                    <a:lnTo>
                      <a:pt x="727" y="155"/>
                    </a:lnTo>
                    <a:lnTo>
                      <a:pt x="729" y="155"/>
                    </a:lnTo>
                    <a:lnTo>
                      <a:pt x="729" y="156"/>
                    </a:lnTo>
                    <a:close/>
                    <a:moveTo>
                      <a:pt x="285" y="323"/>
                    </a:moveTo>
                    <a:lnTo>
                      <a:pt x="284" y="323"/>
                    </a:lnTo>
                    <a:lnTo>
                      <a:pt x="284" y="324"/>
                    </a:lnTo>
                    <a:lnTo>
                      <a:pt x="283" y="324"/>
                    </a:lnTo>
                    <a:lnTo>
                      <a:pt x="283" y="323"/>
                    </a:lnTo>
                    <a:lnTo>
                      <a:pt x="284" y="322"/>
                    </a:lnTo>
                    <a:lnTo>
                      <a:pt x="284" y="323"/>
                    </a:lnTo>
                    <a:lnTo>
                      <a:pt x="284" y="322"/>
                    </a:lnTo>
                    <a:lnTo>
                      <a:pt x="285" y="322"/>
                    </a:lnTo>
                    <a:lnTo>
                      <a:pt x="286" y="322"/>
                    </a:lnTo>
                    <a:lnTo>
                      <a:pt x="286" y="323"/>
                    </a:lnTo>
                    <a:lnTo>
                      <a:pt x="285" y="323"/>
                    </a:lnTo>
                    <a:close/>
                    <a:moveTo>
                      <a:pt x="414" y="213"/>
                    </a:moveTo>
                    <a:lnTo>
                      <a:pt x="413" y="213"/>
                    </a:lnTo>
                    <a:lnTo>
                      <a:pt x="414" y="212"/>
                    </a:lnTo>
                    <a:lnTo>
                      <a:pt x="414" y="211"/>
                    </a:lnTo>
                    <a:lnTo>
                      <a:pt x="415" y="211"/>
                    </a:lnTo>
                    <a:lnTo>
                      <a:pt x="414" y="212"/>
                    </a:lnTo>
                    <a:lnTo>
                      <a:pt x="414" y="213"/>
                    </a:lnTo>
                    <a:close/>
                    <a:moveTo>
                      <a:pt x="303" y="235"/>
                    </a:moveTo>
                    <a:lnTo>
                      <a:pt x="303" y="234"/>
                    </a:lnTo>
                    <a:lnTo>
                      <a:pt x="304" y="234"/>
                    </a:lnTo>
                    <a:lnTo>
                      <a:pt x="304" y="235"/>
                    </a:lnTo>
                    <a:lnTo>
                      <a:pt x="305" y="236"/>
                    </a:lnTo>
                    <a:lnTo>
                      <a:pt x="305" y="237"/>
                    </a:lnTo>
                    <a:lnTo>
                      <a:pt x="305" y="236"/>
                    </a:lnTo>
                    <a:lnTo>
                      <a:pt x="304" y="236"/>
                    </a:lnTo>
                    <a:lnTo>
                      <a:pt x="304" y="235"/>
                    </a:lnTo>
                    <a:lnTo>
                      <a:pt x="303" y="235"/>
                    </a:lnTo>
                    <a:lnTo>
                      <a:pt x="301" y="234"/>
                    </a:lnTo>
                    <a:lnTo>
                      <a:pt x="303" y="234"/>
                    </a:lnTo>
                    <a:lnTo>
                      <a:pt x="303" y="235"/>
                    </a:lnTo>
                    <a:close/>
                    <a:moveTo>
                      <a:pt x="494" y="64"/>
                    </a:moveTo>
                    <a:lnTo>
                      <a:pt x="494" y="65"/>
                    </a:lnTo>
                    <a:lnTo>
                      <a:pt x="494" y="66"/>
                    </a:lnTo>
                    <a:lnTo>
                      <a:pt x="494" y="68"/>
                    </a:lnTo>
                    <a:lnTo>
                      <a:pt x="494" y="67"/>
                    </a:lnTo>
                    <a:lnTo>
                      <a:pt x="493" y="66"/>
                    </a:lnTo>
                    <a:lnTo>
                      <a:pt x="493" y="65"/>
                    </a:lnTo>
                    <a:lnTo>
                      <a:pt x="492" y="65"/>
                    </a:lnTo>
                    <a:lnTo>
                      <a:pt x="492" y="64"/>
                    </a:lnTo>
                    <a:lnTo>
                      <a:pt x="493" y="64"/>
                    </a:lnTo>
                    <a:lnTo>
                      <a:pt x="493" y="63"/>
                    </a:lnTo>
                    <a:lnTo>
                      <a:pt x="494" y="64"/>
                    </a:lnTo>
                    <a:close/>
                    <a:moveTo>
                      <a:pt x="448" y="143"/>
                    </a:moveTo>
                    <a:lnTo>
                      <a:pt x="449" y="143"/>
                    </a:lnTo>
                    <a:lnTo>
                      <a:pt x="449" y="142"/>
                    </a:lnTo>
                    <a:lnTo>
                      <a:pt x="448" y="142"/>
                    </a:lnTo>
                    <a:lnTo>
                      <a:pt x="449" y="142"/>
                    </a:lnTo>
                    <a:lnTo>
                      <a:pt x="449" y="143"/>
                    </a:lnTo>
                    <a:lnTo>
                      <a:pt x="449" y="144"/>
                    </a:lnTo>
                    <a:lnTo>
                      <a:pt x="448" y="144"/>
                    </a:lnTo>
                    <a:lnTo>
                      <a:pt x="448" y="143"/>
                    </a:lnTo>
                    <a:lnTo>
                      <a:pt x="447" y="143"/>
                    </a:lnTo>
                    <a:lnTo>
                      <a:pt x="446" y="144"/>
                    </a:lnTo>
                    <a:lnTo>
                      <a:pt x="447" y="143"/>
                    </a:lnTo>
                    <a:lnTo>
                      <a:pt x="447" y="142"/>
                    </a:lnTo>
                    <a:lnTo>
                      <a:pt x="447" y="143"/>
                    </a:lnTo>
                    <a:lnTo>
                      <a:pt x="448" y="143"/>
                    </a:lnTo>
                    <a:close/>
                    <a:moveTo>
                      <a:pt x="299" y="243"/>
                    </a:moveTo>
                    <a:lnTo>
                      <a:pt x="300" y="243"/>
                    </a:lnTo>
                    <a:lnTo>
                      <a:pt x="301" y="244"/>
                    </a:lnTo>
                    <a:lnTo>
                      <a:pt x="301" y="245"/>
                    </a:lnTo>
                    <a:lnTo>
                      <a:pt x="300" y="245"/>
                    </a:lnTo>
                    <a:lnTo>
                      <a:pt x="300" y="244"/>
                    </a:lnTo>
                    <a:lnTo>
                      <a:pt x="299" y="244"/>
                    </a:lnTo>
                    <a:lnTo>
                      <a:pt x="299" y="243"/>
                    </a:lnTo>
                    <a:close/>
                    <a:moveTo>
                      <a:pt x="423" y="202"/>
                    </a:moveTo>
                    <a:lnTo>
                      <a:pt x="422" y="202"/>
                    </a:lnTo>
                    <a:lnTo>
                      <a:pt x="422" y="203"/>
                    </a:lnTo>
                    <a:lnTo>
                      <a:pt x="421" y="203"/>
                    </a:lnTo>
                    <a:lnTo>
                      <a:pt x="420" y="203"/>
                    </a:lnTo>
                    <a:lnTo>
                      <a:pt x="420" y="202"/>
                    </a:lnTo>
                    <a:lnTo>
                      <a:pt x="421" y="202"/>
                    </a:lnTo>
                    <a:lnTo>
                      <a:pt x="422" y="202"/>
                    </a:lnTo>
                    <a:lnTo>
                      <a:pt x="423" y="202"/>
                    </a:lnTo>
                    <a:close/>
                    <a:moveTo>
                      <a:pt x="426" y="76"/>
                    </a:moveTo>
                    <a:lnTo>
                      <a:pt x="425" y="77"/>
                    </a:lnTo>
                    <a:lnTo>
                      <a:pt x="425" y="76"/>
                    </a:lnTo>
                    <a:lnTo>
                      <a:pt x="424" y="76"/>
                    </a:lnTo>
                    <a:lnTo>
                      <a:pt x="424" y="77"/>
                    </a:lnTo>
                    <a:lnTo>
                      <a:pt x="424" y="76"/>
                    </a:lnTo>
                    <a:lnTo>
                      <a:pt x="425" y="76"/>
                    </a:lnTo>
                    <a:lnTo>
                      <a:pt x="425" y="75"/>
                    </a:lnTo>
                    <a:lnTo>
                      <a:pt x="426" y="75"/>
                    </a:lnTo>
                    <a:lnTo>
                      <a:pt x="426" y="76"/>
                    </a:lnTo>
                    <a:close/>
                    <a:moveTo>
                      <a:pt x="304" y="303"/>
                    </a:moveTo>
                    <a:lnTo>
                      <a:pt x="305" y="303"/>
                    </a:lnTo>
                    <a:lnTo>
                      <a:pt x="306" y="305"/>
                    </a:lnTo>
                    <a:lnTo>
                      <a:pt x="305" y="305"/>
                    </a:lnTo>
                    <a:lnTo>
                      <a:pt x="304" y="305"/>
                    </a:lnTo>
                    <a:lnTo>
                      <a:pt x="304" y="303"/>
                    </a:lnTo>
                    <a:lnTo>
                      <a:pt x="303" y="303"/>
                    </a:lnTo>
                    <a:lnTo>
                      <a:pt x="304" y="303"/>
                    </a:lnTo>
                    <a:close/>
                    <a:moveTo>
                      <a:pt x="464" y="161"/>
                    </a:moveTo>
                    <a:lnTo>
                      <a:pt x="464" y="162"/>
                    </a:lnTo>
                    <a:lnTo>
                      <a:pt x="463" y="162"/>
                    </a:lnTo>
                    <a:lnTo>
                      <a:pt x="462" y="162"/>
                    </a:lnTo>
                    <a:lnTo>
                      <a:pt x="461" y="161"/>
                    </a:lnTo>
                    <a:lnTo>
                      <a:pt x="462" y="161"/>
                    </a:lnTo>
                    <a:lnTo>
                      <a:pt x="464" y="161"/>
                    </a:lnTo>
                    <a:close/>
                    <a:moveTo>
                      <a:pt x="331" y="311"/>
                    </a:moveTo>
                    <a:lnTo>
                      <a:pt x="330" y="311"/>
                    </a:lnTo>
                    <a:lnTo>
                      <a:pt x="329" y="311"/>
                    </a:lnTo>
                    <a:lnTo>
                      <a:pt x="329" y="310"/>
                    </a:lnTo>
                    <a:lnTo>
                      <a:pt x="330" y="310"/>
                    </a:lnTo>
                    <a:lnTo>
                      <a:pt x="331" y="310"/>
                    </a:lnTo>
                    <a:lnTo>
                      <a:pt x="331" y="311"/>
                    </a:lnTo>
                    <a:close/>
                    <a:moveTo>
                      <a:pt x="340" y="358"/>
                    </a:moveTo>
                    <a:lnTo>
                      <a:pt x="342" y="358"/>
                    </a:lnTo>
                    <a:lnTo>
                      <a:pt x="342" y="359"/>
                    </a:lnTo>
                    <a:lnTo>
                      <a:pt x="342" y="358"/>
                    </a:lnTo>
                    <a:lnTo>
                      <a:pt x="340" y="359"/>
                    </a:lnTo>
                    <a:lnTo>
                      <a:pt x="339" y="358"/>
                    </a:lnTo>
                    <a:lnTo>
                      <a:pt x="339" y="359"/>
                    </a:lnTo>
                    <a:lnTo>
                      <a:pt x="338" y="359"/>
                    </a:lnTo>
                    <a:lnTo>
                      <a:pt x="338" y="358"/>
                    </a:lnTo>
                    <a:lnTo>
                      <a:pt x="339" y="358"/>
                    </a:lnTo>
                    <a:lnTo>
                      <a:pt x="340" y="358"/>
                    </a:lnTo>
                    <a:close/>
                    <a:moveTo>
                      <a:pt x="719" y="231"/>
                    </a:moveTo>
                    <a:lnTo>
                      <a:pt x="720" y="231"/>
                    </a:lnTo>
                    <a:lnTo>
                      <a:pt x="719" y="232"/>
                    </a:lnTo>
                    <a:lnTo>
                      <a:pt x="718" y="232"/>
                    </a:lnTo>
                    <a:lnTo>
                      <a:pt x="718" y="231"/>
                    </a:lnTo>
                    <a:lnTo>
                      <a:pt x="719" y="231"/>
                    </a:lnTo>
                    <a:close/>
                    <a:moveTo>
                      <a:pt x="727" y="194"/>
                    </a:moveTo>
                    <a:lnTo>
                      <a:pt x="727" y="195"/>
                    </a:lnTo>
                    <a:lnTo>
                      <a:pt x="726" y="195"/>
                    </a:lnTo>
                    <a:lnTo>
                      <a:pt x="726" y="194"/>
                    </a:lnTo>
                    <a:lnTo>
                      <a:pt x="725" y="194"/>
                    </a:lnTo>
                    <a:lnTo>
                      <a:pt x="726" y="194"/>
                    </a:lnTo>
                    <a:lnTo>
                      <a:pt x="727" y="194"/>
                    </a:lnTo>
                    <a:close/>
                    <a:moveTo>
                      <a:pt x="720" y="117"/>
                    </a:moveTo>
                    <a:lnTo>
                      <a:pt x="719" y="117"/>
                    </a:lnTo>
                    <a:lnTo>
                      <a:pt x="719" y="116"/>
                    </a:lnTo>
                    <a:lnTo>
                      <a:pt x="720" y="116"/>
                    </a:lnTo>
                    <a:lnTo>
                      <a:pt x="721" y="116"/>
                    </a:lnTo>
                    <a:lnTo>
                      <a:pt x="720" y="117"/>
                    </a:lnTo>
                    <a:close/>
                    <a:moveTo>
                      <a:pt x="293" y="264"/>
                    </a:moveTo>
                    <a:lnTo>
                      <a:pt x="294" y="264"/>
                    </a:lnTo>
                    <a:lnTo>
                      <a:pt x="294" y="267"/>
                    </a:lnTo>
                    <a:lnTo>
                      <a:pt x="293" y="267"/>
                    </a:lnTo>
                    <a:lnTo>
                      <a:pt x="293" y="264"/>
                    </a:lnTo>
                    <a:close/>
                    <a:moveTo>
                      <a:pt x="721" y="135"/>
                    </a:moveTo>
                    <a:lnTo>
                      <a:pt x="722" y="135"/>
                    </a:lnTo>
                    <a:lnTo>
                      <a:pt x="722" y="138"/>
                    </a:lnTo>
                    <a:lnTo>
                      <a:pt x="721" y="138"/>
                    </a:lnTo>
                    <a:lnTo>
                      <a:pt x="721" y="135"/>
                    </a:lnTo>
                    <a:close/>
                    <a:moveTo>
                      <a:pt x="455" y="38"/>
                    </a:moveTo>
                    <a:lnTo>
                      <a:pt x="458" y="38"/>
                    </a:lnTo>
                    <a:lnTo>
                      <a:pt x="458" y="40"/>
                    </a:lnTo>
                    <a:lnTo>
                      <a:pt x="455" y="40"/>
                    </a:lnTo>
                    <a:lnTo>
                      <a:pt x="455" y="38"/>
                    </a:lnTo>
                    <a:close/>
                    <a:moveTo>
                      <a:pt x="406" y="208"/>
                    </a:moveTo>
                    <a:lnTo>
                      <a:pt x="404" y="209"/>
                    </a:lnTo>
                    <a:lnTo>
                      <a:pt x="402" y="209"/>
                    </a:lnTo>
                    <a:lnTo>
                      <a:pt x="403" y="209"/>
                    </a:lnTo>
                    <a:lnTo>
                      <a:pt x="404" y="208"/>
                    </a:lnTo>
                    <a:lnTo>
                      <a:pt x="406" y="208"/>
                    </a:lnTo>
                    <a:close/>
                    <a:moveTo>
                      <a:pt x="730" y="168"/>
                    </a:moveTo>
                    <a:lnTo>
                      <a:pt x="730" y="169"/>
                    </a:lnTo>
                    <a:lnTo>
                      <a:pt x="729" y="169"/>
                    </a:lnTo>
                    <a:lnTo>
                      <a:pt x="729" y="168"/>
                    </a:lnTo>
                    <a:lnTo>
                      <a:pt x="727" y="168"/>
                    </a:lnTo>
                    <a:lnTo>
                      <a:pt x="730" y="168"/>
                    </a:lnTo>
                    <a:lnTo>
                      <a:pt x="729" y="168"/>
                    </a:lnTo>
                    <a:lnTo>
                      <a:pt x="730" y="168"/>
                    </a:lnTo>
                    <a:close/>
                    <a:moveTo>
                      <a:pt x="324" y="310"/>
                    </a:moveTo>
                    <a:lnTo>
                      <a:pt x="323" y="310"/>
                    </a:lnTo>
                    <a:lnTo>
                      <a:pt x="323" y="309"/>
                    </a:lnTo>
                    <a:lnTo>
                      <a:pt x="323" y="308"/>
                    </a:lnTo>
                    <a:lnTo>
                      <a:pt x="324" y="308"/>
                    </a:lnTo>
                    <a:lnTo>
                      <a:pt x="324" y="309"/>
                    </a:lnTo>
                    <a:lnTo>
                      <a:pt x="324" y="310"/>
                    </a:lnTo>
                    <a:close/>
                    <a:moveTo>
                      <a:pt x="726" y="200"/>
                    </a:moveTo>
                    <a:lnTo>
                      <a:pt x="725" y="200"/>
                    </a:lnTo>
                    <a:lnTo>
                      <a:pt x="725" y="199"/>
                    </a:lnTo>
                    <a:lnTo>
                      <a:pt x="726" y="199"/>
                    </a:lnTo>
                    <a:lnTo>
                      <a:pt x="727" y="199"/>
                    </a:lnTo>
                    <a:lnTo>
                      <a:pt x="727" y="200"/>
                    </a:lnTo>
                    <a:lnTo>
                      <a:pt x="726" y="200"/>
                    </a:lnTo>
                    <a:close/>
                    <a:moveTo>
                      <a:pt x="723" y="205"/>
                    </a:moveTo>
                    <a:lnTo>
                      <a:pt x="724" y="205"/>
                    </a:lnTo>
                    <a:lnTo>
                      <a:pt x="724" y="207"/>
                    </a:lnTo>
                    <a:lnTo>
                      <a:pt x="723" y="207"/>
                    </a:lnTo>
                    <a:lnTo>
                      <a:pt x="723" y="205"/>
                    </a:lnTo>
                    <a:close/>
                    <a:moveTo>
                      <a:pt x="247" y="321"/>
                    </a:moveTo>
                    <a:lnTo>
                      <a:pt x="248" y="321"/>
                    </a:lnTo>
                    <a:lnTo>
                      <a:pt x="248" y="322"/>
                    </a:lnTo>
                    <a:lnTo>
                      <a:pt x="247" y="322"/>
                    </a:lnTo>
                    <a:lnTo>
                      <a:pt x="247" y="321"/>
                    </a:lnTo>
                    <a:close/>
                    <a:moveTo>
                      <a:pt x="314" y="233"/>
                    </a:moveTo>
                    <a:lnTo>
                      <a:pt x="314" y="234"/>
                    </a:lnTo>
                    <a:lnTo>
                      <a:pt x="316" y="234"/>
                    </a:lnTo>
                    <a:lnTo>
                      <a:pt x="314" y="234"/>
                    </a:lnTo>
                    <a:lnTo>
                      <a:pt x="313" y="234"/>
                    </a:lnTo>
                    <a:lnTo>
                      <a:pt x="313" y="233"/>
                    </a:lnTo>
                    <a:lnTo>
                      <a:pt x="314" y="233"/>
                    </a:lnTo>
                    <a:close/>
                    <a:moveTo>
                      <a:pt x="727" y="198"/>
                    </a:moveTo>
                    <a:lnTo>
                      <a:pt x="726" y="199"/>
                    </a:lnTo>
                    <a:lnTo>
                      <a:pt x="725" y="199"/>
                    </a:lnTo>
                    <a:lnTo>
                      <a:pt x="725" y="198"/>
                    </a:lnTo>
                    <a:lnTo>
                      <a:pt x="726" y="198"/>
                    </a:lnTo>
                    <a:lnTo>
                      <a:pt x="727" y="198"/>
                    </a:lnTo>
                    <a:close/>
                    <a:moveTo>
                      <a:pt x="275" y="321"/>
                    </a:moveTo>
                    <a:lnTo>
                      <a:pt x="274" y="321"/>
                    </a:lnTo>
                    <a:lnTo>
                      <a:pt x="273" y="321"/>
                    </a:lnTo>
                    <a:lnTo>
                      <a:pt x="274" y="320"/>
                    </a:lnTo>
                    <a:lnTo>
                      <a:pt x="274" y="321"/>
                    </a:lnTo>
                    <a:lnTo>
                      <a:pt x="275" y="321"/>
                    </a:lnTo>
                    <a:close/>
                    <a:moveTo>
                      <a:pt x="485" y="88"/>
                    </a:moveTo>
                    <a:lnTo>
                      <a:pt x="486" y="88"/>
                    </a:lnTo>
                    <a:lnTo>
                      <a:pt x="486" y="89"/>
                    </a:lnTo>
                    <a:lnTo>
                      <a:pt x="485" y="89"/>
                    </a:lnTo>
                    <a:lnTo>
                      <a:pt x="485" y="88"/>
                    </a:lnTo>
                    <a:close/>
                    <a:moveTo>
                      <a:pt x="448" y="249"/>
                    </a:moveTo>
                    <a:lnTo>
                      <a:pt x="449" y="249"/>
                    </a:lnTo>
                    <a:lnTo>
                      <a:pt x="449" y="251"/>
                    </a:lnTo>
                    <a:lnTo>
                      <a:pt x="448" y="251"/>
                    </a:lnTo>
                    <a:lnTo>
                      <a:pt x="448" y="249"/>
                    </a:lnTo>
                    <a:close/>
                    <a:moveTo>
                      <a:pt x="247" y="316"/>
                    </a:moveTo>
                    <a:lnTo>
                      <a:pt x="248" y="316"/>
                    </a:lnTo>
                    <a:lnTo>
                      <a:pt x="248" y="319"/>
                    </a:lnTo>
                    <a:lnTo>
                      <a:pt x="247" y="319"/>
                    </a:lnTo>
                    <a:lnTo>
                      <a:pt x="247" y="316"/>
                    </a:lnTo>
                    <a:close/>
                    <a:moveTo>
                      <a:pt x="337" y="358"/>
                    </a:moveTo>
                    <a:lnTo>
                      <a:pt x="336" y="358"/>
                    </a:lnTo>
                    <a:lnTo>
                      <a:pt x="335" y="359"/>
                    </a:lnTo>
                    <a:lnTo>
                      <a:pt x="335" y="358"/>
                    </a:lnTo>
                    <a:lnTo>
                      <a:pt x="336" y="357"/>
                    </a:lnTo>
                    <a:lnTo>
                      <a:pt x="336" y="358"/>
                    </a:lnTo>
                    <a:lnTo>
                      <a:pt x="337" y="358"/>
                    </a:lnTo>
                    <a:close/>
                    <a:moveTo>
                      <a:pt x="369" y="123"/>
                    </a:moveTo>
                    <a:lnTo>
                      <a:pt x="370" y="123"/>
                    </a:lnTo>
                    <a:lnTo>
                      <a:pt x="370" y="126"/>
                    </a:lnTo>
                    <a:lnTo>
                      <a:pt x="369" y="126"/>
                    </a:lnTo>
                    <a:lnTo>
                      <a:pt x="369" y="123"/>
                    </a:lnTo>
                    <a:close/>
                    <a:moveTo>
                      <a:pt x="436" y="77"/>
                    </a:moveTo>
                    <a:lnTo>
                      <a:pt x="435" y="77"/>
                    </a:lnTo>
                    <a:lnTo>
                      <a:pt x="435" y="78"/>
                    </a:lnTo>
                    <a:lnTo>
                      <a:pt x="434" y="77"/>
                    </a:lnTo>
                    <a:lnTo>
                      <a:pt x="433" y="78"/>
                    </a:lnTo>
                    <a:lnTo>
                      <a:pt x="433" y="77"/>
                    </a:lnTo>
                    <a:lnTo>
                      <a:pt x="434" y="77"/>
                    </a:lnTo>
                    <a:lnTo>
                      <a:pt x="435" y="77"/>
                    </a:lnTo>
                    <a:lnTo>
                      <a:pt x="436" y="77"/>
                    </a:lnTo>
                    <a:close/>
                    <a:moveTo>
                      <a:pt x="445" y="49"/>
                    </a:moveTo>
                    <a:lnTo>
                      <a:pt x="446" y="49"/>
                    </a:lnTo>
                    <a:lnTo>
                      <a:pt x="446" y="50"/>
                    </a:lnTo>
                    <a:lnTo>
                      <a:pt x="445" y="50"/>
                    </a:lnTo>
                    <a:lnTo>
                      <a:pt x="445" y="49"/>
                    </a:lnTo>
                    <a:close/>
                    <a:moveTo>
                      <a:pt x="493" y="11"/>
                    </a:moveTo>
                    <a:lnTo>
                      <a:pt x="494" y="11"/>
                    </a:lnTo>
                    <a:lnTo>
                      <a:pt x="494" y="12"/>
                    </a:lnTo>
                    <a:lnTo>
                      <a:pt x="493" y="12"/>
                    </a:lnTo>
                    <a:lnTo>
                      <a:pt x="493" y="11"/>
                    </a:lnTo>
                    <a:close/>
                    <a:moveTo>
                      <a:pt x="455" y="37"/>
                    </a:moveTo>
                    <a:lnTo>
                      <a:pt x="456" y="37"/>
                    </a:lnTo>
                    <a:lnTo>
                      <a:pt x="456" y="38"/>
                    </a:lnTo>
                    <a:lnTo>
                      <a:pt x="455" y="38"/>
                    </a:lnTo>
                    <a:lnTo>
                      <a:pt x="455" y="37"/>
                    </a:lnTo>
                    <a:close/>
                    <a:moveTo>
                      <a:pt x="473" y="70"/>
                    </a:moveTo>
                    <a:lnTo>
                      <a:pt x="474" y="70"/>
                    </a:lnTo>
                    <a:lnTo>
                      <a:pt x="474" y="71"/>
                    </a:lnTo>
                    <a:lnTo>
                      <a:pt x="473" y="71"/>
                    </a:lnTo>
                    <a:lnTo>
                      <a:pt x="473" y="70"/>
                    </a:lnTo>
                    <a:close/>
                    <a:moveTo>
                      <a:pt x="316" y="233"/>
                    </a:moveTo>
                    <a:lnTo>
                      <a:pt x="317" y="233"/>
                    </a:lnTo>
                    <a:lnTo>
                      <a:pt x="317" y="235"/>
                    </a:lnTo>
                    <a:lnTo>
                      <a:pt x="316" y="235"/>
                    </a:lnTo>
                    <a:lnTo>
                      <a:pt x="316" y="233"/>
                    </a:lnTo>
                    <a:close/>
                    <a:moveTo>
                      <a:pt x="456" y="36"/>
                    </a:moveTo>
                    <a:lnTo>
                      <a:pt x="459" y="36"/>
                    </a:lnTo>
                    <a:lnTo>
                      <a:pt x="459" y="37"/>
                    </a:lnTo>
                    <a:lnTo>
                      <a:pt x="456" y="37"/>
                    </a:lnTo>
                    <a:lnTo>
                      <a:pt x="456" y="36"/>
                    </a:lnTo>
                    <a:close/>
                    <a:moveTo>
                      <a:pt x="436" y="107"/>
                    </a:moveTo>
                    <a:lnTo>
                      <a:pt x="437" y="107"/>
                    </a:lnTo>
                    <a:lnTo>
                      <a:pt x="437" y="108"/>
                    </a:lnTo>
                    <a:lnTo>
                      <a:pt x="436" y="108"/>
                    </a:lnTo>
                    <a:lnTo>
                      <a:pt x="436" y="107"/>
                    </a:lnTo>
                    <a:close/>
                    <a:moveTo>
                      <a:pt x="339" y="352"/>
                    </a:moveTo>
                    <a:lnTo>
                      <a:pt x="342" y="352"/>
                    </a:lnTo>
                    <a:lnTo>
                      <a:pt x="339" y="352"/>
                    </a:lnTo>
                    <a:close/>
                    <a:moveTo>
                      <a:pt x="472" y="70"/>
                    </a:moveTo>
                    <a:lnTo>
                      <a:pt x="471" y="70"/>
                    </a:lnTo>
                    <a:lnTo>
                      <a:pt x="469" y="70"/>
                    </a:lnTo>
                    <a:lnTo>
                      <a:pt x="471" y="70"/>
                    </a:lnTo>
                    <a:lnTo>
                      <a:pt x="472" y="70"/>
                    </a:lnTo>
                    <a:close/>
                    <a:moveTo>
                      <a:pt x="344" y="350"/>
                    </a:moveTo>
                    <a:lnTo>
                      <a:pt x="345" y="350"/>
                    </a:lnTo>
                    <a:lnTo>
                      <a:pt x="345" y="351"/>
                    </a:lnTo>
                    <a:lnTo>
                      <a:pt x="344" y="351"/>
                    </a:lnTo>
                    <a:lnTo>
                      <a:pt x="344" y="350"/>
                    </a:lnTo>
                    <a:close/>
                    <a:moveTo>
                      <a:pt x="437" y="184"/>
                    </a:moveTo>
                    <a:lnTo>
                      <a:pt x="436" y="184"/>
                    </a:lnTo>
                    <a:lnTo>
                      <a:pt x="435" y="184"/>
                    </a:lnTo>
                    <a:lnTo>
                      <a:pt x="435" y="185"/>
                    </a:lnTo>
                    <a:lnTo>
                      <a:pt x="435" y="184"/>
                    </a:lnTo>
                    <a:lnTo>
                      <a:pt x="436" y="184"/>
                    </a:lnTo>
                    <a:lnTo>
                      <a:pt x="437" y="183"/>
                    </a:lnTo>
                    <a:lnTo>
                      <a:pt x="437" y="184"/>
                    </a:lnTo>
                    <a:close/>
                    <a:moveTo>
                      <a:pt x="272" y="313"/>
                    </a:moveTo>
                    <a:lnTo>
                      <a:pt x="273" y="313"/>
                    </a:lnTo>
                    <a:lnTo>
                      <a:pt x="273" y="314"/>
                    </a:lnTo>
                    <a:lnTo>
                      <a:pt x="272" y="314"/>
                    </a:lnTo>
                    <a:lnTo>
                      <a:pt x="272" y="313"/>
                    </a:lnTo>
                    <a:close/>
                    <a:moveTo>
                      <a:pt x="468" y="63"/>
                    </a:moveTo>
                    <a:lnTo>
                      <a:pt x="469" y="63"/>
                    </a:lnTo>
                    <a:lnTo>
                      <a:pt x="469" y="65"/>
                    </a:lnTo>
                    <a:lnTo>
                      <a:pt x="468" y="65"/>
                    </a:lnTo>
                    <a:lnTo>
                      <a:pt x="468" y="63"/>
                    </a:lnTo>
                    <a:close/>
                    <a:moveTo>
                      <a:pt x="729" y="177"/>
                    </a:moveTo>
                    <a:lnTo>
                      <a:pt x="731" y="177"/>
                    </a:lnTo>
                    <a:lnTo>
                      <a:pt x="729" y="177"/>
                    </a:lnTo>
                    <a:close/>
                    <a:moveTo>
                      <a:pt x="314" y="309"/>
                    </a:moveTo>
                    <a:lnTo>
                      <a:pt x="316" y="309"/>
                    </a:lnTo>
                    <a:lnTo>
                      <a:pt x="316" y="310"/>
                    </a:lnTo>
                    <a:lnTo>
                      <a:pt x="314" y="310"/>
                    </a:lnTo>
                    <a:lnTo>
                      <a:pt x="314" y="309"/>
                    </a:lnTo>
                    <a:close/>
                    <a:moveTo>
                      <a:pt x="724" y="146"/>
                    </a:moveTo>
                    <a:lnTo>
                      <a:pt x="726" y="146"/>
                    </a:lnTo>
                    <a:lnTo>
                      <a:pt x="726" y="147"/>
                    </a:lnTo>
                    <a:lnTo>
                      <a:pt x="724" y="147"/>
                    </a:lnTo>
                    <a:lnTo>
                      <a:pt x="724" y="146"/>
                    </a:lnTo>
                    <a:close/>
                    <a:moveTo>
                      <a:pt x="361" y="81"/>
                    </a:moveTo>
                    <a:lnTo>
                      <a:pt x="362" y="81"/>
                    </a:lnTo>
                    <a:lnTo>
                      <a:pt x="362" y="82"/>
                    </a:lnTo>
                    <a:lnTo>
                      <a:pt x="361" y="82"/>
                    </a:lnTo>
                    <a:lnTo>
                      <a:pt x="361" y="81"/>
                    </a:lnTo>
                    <a:close/>
                    <a:moveTo>
                      <a:pt x="494" y="10"/>
                    </a:moveTo>
                    <a:lnTo>
                      <a:pt x="495" y="10"/>
                    </a:lnTo>
                    <a:lnTo>
                      <a:pt x="495" y="12"/>
                    </a:lnTo>
                    <a:lnTo>
                      <a:pt x="494" y="12"/>
                    </a:lnTo>
                    <a:lnTo>
                      <a:pt x="494" y="10"/>
                    </a:lnTo>
                    <a:close/>
                    <a:moveTo>
                      <a:pt x="361" y="100"/>
                    </a:moveTo>
                    <a:lnTo>
                      <a:pt x="362" y="100"/>
                    </a:lnTo>
                    <a:lnTo>
                      <a:pt x="362" y="101"/>
                    </a:lnTo>
                    <a:lnTo>
                      <a:pt x="361" y="101"/>
                    </a:lnTo>
                    <a:lnTo>
                      <a:pt x="361" y="100"/>
                    </a:lnTo>
                    <a:close/>
                    <a:moveTo>
                      <a:pt x="415" y="72"/>
                    </a:moveTo>
                    <a:lnTo>
                      <a:pt x="416" y="72"/>
                    </a:lnTo>
                    <a:lnTo>
                      <a:pt x="416" y="74"/>
                    </a:lnTo>
                    <a:lnTo>
                      <a:pt x="415" y="74"/>
                    </a:lnTo>
                    <a:lnTo>
                      <a:pt x="415" y="72"/>
                    </a:lnTo>
                    <a:close/>
                    <a:moveTo>
                      <a:pt x="433" y="74"/>
                    </a:moveTo>
                    <a:lnTo>
                      <a:pt x="434" y="74"/>
                    </a:lnTo>
                    <a:lnTo>
                      <a:pt x="434" y="75"/>
                    </a:lnTo>
                    <a:lnTo>
                      <a:pt x="433" y="75"/>
                    </a:lnTo>
                    <a:lnTo>
                      <a:pt x="433" y="74"/>
                    </a:lnTo>
                    <a:close/>
                    <a:moveTo>
                      <a:pt x="308" y="305"/>
                    </a:moveTo>
                    <a:lnTo>
                      <a:pt x="309" y="305"/>
                    </a:lnTo>
                    <a:lnTo>
                      <a:pt x="309" y="306"/>
                    </a:lnTo>
                    <a:lnTo>
                      <a:pt x="308" y="306"/>
                    </a:lnTo>
                    <a:lnTo>
                      <a:pt x="308" y="305"/>
                    </a:lnTo>
                    <a:close/>
                    <a:moveTo>
                      <a:pt x="246" y="319"/>
                    </a:moveTo>
                    <a:lnTo>
                      <a:pt x="248" y="319"/>
                    </a:lnTo>
                    <a:lnTo>
                      <a:pt x="248" y="320"/>
                    </a:lnTo>
                    <a:lnTo>
                      <a:pt x="246" y="320"/>
                    </a:lnTo>
                    <a:lnTo>
                      <a:pt x="246" y="319"/>
                    </a:lnTo>
                    <a:close/>
                    <a:moveTo>
                      <a:pt x="290" y="310"/>
                    </a:moveTo>
                    <a:lnTo>
                      <a:pt x="291" y="310"/>
                    </a:lnTo>
                    <a:lnTo>
                      <a:pt x="291" y="311"/>
                    </a:lnTo>
                    <a:lnTo>
                      <a:pt x="290" y="311"/>
                    </a:lnTo>
                    <a:lnTo>
                      <a:pt x="290" y="310"/>
                    </a:lnTo>
                    <a:close/>
                    <a:moveTo>
                      <a:pt x="727" y="167"/>
                    </a:moveTo>
                    <a:lnTo>
                      <a:pt x="729" y="167"/>
                    </a:lnTo>
                    <a:lnTo>
                      <a:pt x="729" y="168"/>
                    </a:lnTo>
                    <a:lnTo>
                      <a:pt x="727" y="168"/>
                    </a:lnTo>
                    <a:lnTo>
                      <a:pt x="727" y="167"/>
                    </a:lnTo>
                    <a:close/>
                    <a:moveTo>
                      <a:pt x="427" y="89"/>
                    </a:moveTo>
                    <a:lnTo>
                      <a:pt x="428" y="89"/>
                    </a:lnTo>
                    <a:lnTo>
                      <a:pt x="428" y="90"/>
                    </a:lnTo>
                    <a:lnTo>
                      <a:pt x="427" y="90"/>
                    </a:lnTo>
                    <a:lnTo>
                      <a:pt x="427" y="89"/>
                    </a:lnTo>
                    <a:close/>
                    <a:moveTo>
                      <a:pt x="478" y="108"/>
                    </a:moveTo>
                    <a:lnTo>
                      <a:pt x="479" y="108"/>
                    </a:lnTo>
                    <a:lnTo>
                      <a:pt x="479" y="109"/>
                    </a:lnTo>
                    <a:lnTo>
                      <a:pt x="478" y="109"/>
                    </a:lnTo>
                    <a:lnTo>
                      <a:pt x="478" y="108"/>
                    </a:lnTo>
                    <a:close/>
                    <a:moveTo>
                      <a:pt x="463" y="152"/>
                    </a:moveTo>
                    <a:lnTo>
                      <a:pt x="465" y="152"/>
                    </a:lnTo>
                    <a:lnTo>
                      <a:pt x="465" y="153"/>
                    </a:lnTo>
                    <a:lnTo>
                      <a:pt x="463" y="153"/>
                    </a:lnTo>
                    <a:lnTo>
                      <a:pt x="463" y="152"/>
                    </a:lnTo>
                    <a:close/>
                    <a:moveTo>
                      <a:pt x="430" y="112"/>
                    </a:moveTo>
                    <a:lnTo>
                      <a:pt x="433" y="112"/>
                    </a:lnTo>
                    <a:lnTo>
                      <a:pt x="430" y="112"/>
                    </a:lnTo>
                    <a:close/>
                    <a:moveTo>
                      <a:pt x="719" y="230"/>
                    </a:moveTo>
                    <a:lnTo>
                      <a:pt x="720" y="230"/>
                    </a:lnTo>
                    <a:lnTo>
                      <a:pt x="720" y="231"/>
                    </a:lnTo>
                    <a:lnTo>
                      <a:pt x="719" y="231"/>
                    </a:lnTo>
                    <a:lnTo>
                      <a:pt x="719" y="230"/>
                    </a:lnTo>
                    <a:close/>
                    <a:moveTo>
                      <a:pt x="313" y="306"/>
                    </a:moveTo>
                    <a:lnTo>
                      <a:pt x="314" y="306"/>
                    </a:lnTo>
                    <a:lnTo>
                      <a:pt x="314" y="307"/>
                    </a:lnTo>
                    <a:lnTo>
                      <a:pt x="313" y="307"/>
                    </a:lnTo>
                    <a:lnTo>
                      <a:pt x="313" y="306"/>
                    </a:lnTo>
                    <a:close/>
                    <a:moveTo>
                      <a:pt x="487" y="86"/>
                    </a:moveTo>
                    <a:lnTo>
                      <a:pt x="489" y="86"/>
                    </a:lnTo>
                    <a:lnTo>
                      <a:pt x="489" y="87"/>
                    </a:lnTo>
                    <a:lnTo>
                      <a:pt x="487" y="87"/>
                    </a:lnTo>
                    <a:lnTo>
                      <a:pt x="487" y="86"/>
                    </a:lnTo>
                    <a:close/>
                    <a:moveTo>
                      <a:pt x="722" y="133"/>
                    </a:moveTo>
                    <a:lnTo>
                      <a:pt x="723" y="133"/>
                    </a:lnTo>
                    <a:lnTo>
                      <a:pt x="723" y="134"/>
                    </a:lnTo>
                    <a:lnTo>
                      <a:pt x="722" y="134"/>
                    </a:lnTo>
                    <a:lnTo>
                      <a:pt x="722" y="133"/>
                    </a:lnTo>
                    <a:close/>
                    <a:moveTo>
                      <a:pt x="346" y="305"/>
                    </a:moveTo>
                    <a:lnTo>
                      <a:pt x="347" y="305"/>
                    </a:lnTo>
                    <a:lnTo>
                      <a:pt x="347" y="306"/>
                    </a:lnTo>
                    <a:lnTo>
                      <a:pt x="346" y="306"/>
                    </a:lnTo>
                    <a:lnTo>
                      <a:pt x="346" y="305"/>
                    </a:lnTo>
                    <a:close/>
                    <a:moveTo>
                      <a:pt x="349" y="281"/>
                    </a:moveTo>
                    <a:lnTo>
                      <a:pt x="350" y="281"/>
                    </a:lnTo>
                    <a:lnTo>
                      <a:pt x="350" y="282"/>
                    </a:lnTo>
                    <a:lnTo>
                      <a:pt x="349" y="282"/>
                    </a:lnTo>
                    <a:lnTo>
                      <a:pt x="349" y="281"/>
                    </a:lnTo>
                    <a:close/>
                    <a:moveTo>
                      <a:pt x="719" y="141"/>
                    </a:moveTo>
                    <a:lnTo>
                      <a:pt x="720" y="141"/>
                    </a:lnTo>
                    <a:lnTo>
                      <a:pt x="720" y="142"/>
                    </a:lnTo>
                    <a:lnTo>
                      <a:pt x="719" y="142"/>
                    </a:lnTo>
                    <a:lnTo>
                      <a:pt x="719" y="141"/>
                    </a:lnTo>
                    <a:close/>
                    <a:moveTo>
                      <a:pt x="487" y="116"/>
                    </a:moveTo>
                    <a:lnTo>
                      <a:pt x="488" y="116"/>
                    </a:lnTo>
                    <a:lnTo>
                      <a:pt x="488" y="117"/>
                    </a:lnTo>
                    <a:lnTo>
                      <a:pt x="487" y="117"/>
                    </a:lnTo>
                    <a:lnTo>
                      <a:pt x="487" y="116"/>
                    </a:lnTo>
                    <a:close/>
                    <a:moveTo>
                      <a:pt x="432" y="74"/>
                    </a:moveTo>
                    <a:lnTo>
                      <a:pt x="432" y="75"/>
                    </a:lnTo>
                    <a:lnTo>
                      <a:pt x="432" y="74"/>
                    </a:lnTo>
                    <a:close/>
                    <a:moveTo>
                      <a:pt x="480" y="51"/>
                    </a:moveTo>
                    <a:lnTo>
                      <a:pt x="481" y="51"/>
                    </a:lnTo>
                    <a:lnTo>
                      <a:pt x="481" y="52"/>
                    </a:lnTo>
                    <a:lnTo>
                      <a:pt x="480" y="52"/>
                    </a:lnTo>
                    <a:lnTo>
                      <a:pt x="480" y="51"/>
                    </a:lnTo>
                    <a:close/>
                    <a:moveTo>
                      <a:pt x="247" y="320"/>
                    </a:moveTo>
                    <a:lnTo>
                      <a:pt x="248" y="320"/>
                    </a:lnTo>
                    <a:lnTo>
                      <a:pt x="248" y="321"/>
                    </a:lnTo>
                    <a:lnTo>
                      <a:pt x="247" y="321"/>
                    </a:lnTo>
                    <a:lnTo>
                      <a:pt x="247" y="320"/>
                    </a:lnTo>
                    <a:close/>
                    <a:moveTo>
                      <a:pt x="357" y="127"/>
                    </a:moveTo>
                    <a:lnTo>
                      <a:pt x="358" y="127"/>
                    </a:lnTo>
                    <a:lnTo>
                      <a:pt x="358" y="128"/>
                    </a:lnTo>
                    <a:lnTo>
                      <a:pt x="357" y="128"/>
                    </a:lnTo>
                    <a:lnTo>
                      <a:pt x="357" y="127"/>
                    </a:lnTo>
                    <a:close/>
                    <a:moveTo>
                      <a:pt x="484" y="104"/>
                    </a:moveTo>
                    <a:lnTo>
                      <a:pt x="485" y="104"/>
                    </a:lnTo>
                    <a:lnTo>
                      <a:pt x="485" y="105"/>
                    </a:lnTo>
                    <a:lnTo>
                      <a:pt x="484" y="105"/>
                    </a:lnTo>
                    <a:lnTo>
                      <a:pt x="484" y="104"/>
                    </a:lnTo>
                    <a:close/>
                    <a:moveTo>
                      <a:pt x="437" y="211"/>
                    </a:moveTo>
                    <a:lnTo>
                      <a:pt x="438" y="211"/>
                    </a:lnTo>
                    <a:lnTo>
                      <a:pt x="437" y="211"/>
                    </a:lnTo>
                    <a:close/>
                    <a:moveTo>
                      <a:pt x="425" y="168"/>
                    </a:moveTo>
                    <a:lnTo>
                      <a:pt x="426" y="168"/>
                    </a:lnTo>
                    <a:lnTo>
                      <a:pt x="425" y="168"/>
                    </a:lnTo>
                    <a:close/>
                    <a:moveTo>
                      <a:pt x="504" y="69"/>
                    </a:moveTo>
                    <a:lnTo>
                      <a:pt x="505" y="69"/>
                    </a:lnTo>
                    <a:lnTo>
                      <a:pt x="505" y="70"/>
                    </a:lnTo>
                    <a:lnTo>
                      <a:pt x="504" y="70"/>
                    </a:lnTo>
                    <a:lnTo>
                      <a:pt x="504" y="69"/>
                    </a:lnTo>
                    <a:close/>
                    <a:moveTo>
                      <a:pt x="387" y="136"/>
                    </a:moveTo>
                    <a:lnTo>
                      <a:pt x="388" y="136"/>
                    </a:lnTo>
                    <a:lnTo>
                      <a:pt x="387" y="136"/>
                    </a:lnTo>
                    <a:close/>
                    <a:moveTo>
                      <a:pt x="408" y="248"/>
                    </a:moveTo>
                    <a:lnTo>
                      <a:pt x="409" y="248"/>
                    </a:lnTo>
                    <a:lnTo>
                      <a:pt x="409" y="249"/>
                    </a:lnTo>
                    <a:lnTo>
                      <a:pt x="408" y="249"/>
                    </a:lnTo>
                    <a:lnTo>
                      <a:pt x="408" y="248"/>
                    </a:lnTo>
                    <a:close/>
                    <a:moveTo>
                      <a:pt x="454" y="39"/>
                    </a:moveTo>
                    <a:lnTo>
                      <a:pt x="455" y="39"/>
                    </a:lnTo>
                    <a:lnTo>
                      <a:pt x="454" y="39"/>
                    </a:lnTo>
                    <a:close/>
                    <a:moveTo>
                      <a:pt x="461" y="57"/>
                    </a:moveTo>
                    <a:lnTo>
                      <a:pt x="461" y="58"/>
                    </a:lnTo>
                    <a:lnTo>
                      <a:pt x="461" y="57"/>
                    </a:lnTo>
                    <a:close/>
                    <a:moveTo>
                      <a:pt x="355" y="315"/>
                    </a:moveTo>
                    <a:lnTo>
                      <a:pt x="356" y="315"/>
                    </a:lnTo>
                    <a:lnTo>
                      <a:pt x="355" y="315"/>
                    </a:lnTo>
                    <a:close/>
                    <a:moveTo>
                      <a:pt x="436" y="183"/>
                    </a:moveTo>
                    <a:lnTo>
                      <a:pt x="437" y="183"/>
                    </a:lnTo>
                    <a:lnTo>
                      <a:pt x="437" y="184"/>
                    </a:lnTo>
                    <a:lnTo>
                      <a:pt x="436" y="184"/>
                    </a:lnTo>
                    <a:lnTo>
                      <a:pt x="436" y="183"/>
                    </a:lnTo>
                    <a:close/>
                    <a:moveTo>
                      <a:pt x="292" y="305"/>
                    </a:moveTo>
                    <a:lnTo>
                      <a:pt x="293" y="305"/>
                    </a:lnTo>
                    <a:lnTo>
                      <a:pt x="293" y="306"/>
                    </a:lnTo>
                    <a:lnTo>
                      <a:pt x="292" y="306"/>
                    </a:lnTo>
                    <a:lnTo>
                      <a:pt x="292" y="305"/>
                    </a:lnTo>
                    <a:close/>
                    <a:moveTo>
                      <a:pt x="465" y="49"/>
                    </a:moveTo>
                    <a:lnTo>
                      <a:pt x="466" y="49"/>
                    </a:lnTo>
                    <a:lnTo>
                      <a:pt x="466" y="50"/>
                    </a:lnTo>
                    <a:lnTo>
                      <a:pt x="465" y="50"/>
                    </a:lnTo>
                    <a:lnTo>
                      <a:pt x="465" y="49"/>
                    </a:lnTo>
                    <a:close/>
                  </a:path>
                </a:pathLst>
              </a:custGeom>
              <a:solidFill>
                <a:srgbClr val="206FCA"/>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9" name="Freeform 69">
                <a:extLst>
                  <a:ext uri="{FF2B5EF4-FFF2-40B4-BE49-F238E27FC236}">
                    <a16:creationId xmlns:a16="http://schemas.microsoft.com/office/drawing/2014/main" id="{B61C382D-3193-5032-4CD2-7B02041A3C28}"/>
                  </a:ext>
                </a:extLst>
              </p:cNvPr>
              <p:cNvSpPr>
                <a:spLocks noEditPoints="1"/>
              </p:cNvSpPr>
              <p:nvPr/>
            </p:nvSpPr>
            <p:spPr bwMode="auto">
              <a:xfrm>
                <a:off x="5002213" y="4679950"/>
                <a:ext cx="1022350" cy="1092200"/>
              </a:xfrm>
              <a:custGeom>
                <a:avLst/>
                <a:gdLst>
                  <a:gd name="T0" fmla="*/ 254 w 644"/>
                  <a:gd name="T1" fmla="*/ 186 h 688"/>
                  <a:gd name="T2" fmla="*/ 235 w 644"/>
                  <a:gd name="T3" fmla="*/ 264 h 688"/>
                  <a:gd name="T4" fmla="*/ 337 w 644"/>
                  <a:gd name="T5" fmla="*/ 316 h 688"/>
                  <a:gd name="T6" fmla="*/ 386 w 644"/>
                  <a:gd name="T7" fmla="*/ 364 h 688"/>
                  <a:gd name="T8" fmla="*/ 448 w 644"/>
                  <a:gd name="T9" fmla="*/ 390 h 688"/>
                  <a:gd name="T10" fmla="*/ 496 w 644"/>
                  <a:gd name="T11" fmla="*/ 415 h 688"/>
                  <a:gd name="T12" fmla="*/ 492 w 644"/>
                  <a:gd name="T13" fmla="*/ 487 h 688"/>
                  <a:gd name="T14" fmla="*/ 480 w 644"/>
                  <a:gd name="T15" fmla="*/ 474 h 688"/>
                  <a:gd name="T16" fmla="*/ 457 w 644"/>
                  <a:gd name="T17" fmla="*/ 504 h 688"/>
                  <a:gd name="T18" fmla="*/ 390 w 644"/>
                  <a:gd name="T19" fmla="*/ 503 h 688"/>
                  <a:gd name="T20" fmla="*/ 258 w 644"/>
                  <a:gd name="T21" fmla="*/ 351 h 688"/>
                  <a:gd name="T22" fmla="*/ 144 w 644"/>
                  <a:gd name="T23" fmla="*/ 340 h 688"/>
                  <a:gd name="T24" fmla="*/ 59 w 644"/>
                  <a:gd name="T25" fmla="*/ 270 h 688"/>
                  <a:gd name="T26" fmla="*/ 523 w 644"/>
                  <a:gd name="T27" fmla="*/ 455 h 688"/>
                  <a:gd name="T28" fmla="*/ 552 w 644"/>
                  <a:gd name="T29" fmla="*/ 606 h 688"/>
                  <a:gd name="T30" fmla="*/ 468 w 644"/>
                  <a:gd name="T31" fmla="*/ 580 h 688"/>
                  <a:gd name="T32" fmla="*/ 545 w 644"/>
                  <a:gd name="T33" fmla="*/ 575 h 688"/>
                  <a:gd name="T34" fmla="*/ 441 w 644"/>
                  <a:gd name="T35" fmla="*/ 631 h 688"/>
                  <a:gd name="T36" fmla="*/ 610 w 644"/>
                  <a:gd name="T37" fmla="*/ 543 h 688"/>
                  <a:gd name="T38" fmla="*/ 468 w 644"/>
                  <a:gd name="T39" fmla="*/ 604 h 688"/>
                  <a:gd name="T40" fmla="*/ 506 w 644"/>
                  <a:gd name="T41" fmla="*/ 511 h 688"/>
                  <a:gd name="T42" fmla="*/ 565 w 644"/>
                  <a:gd name="T43" fmla="*/ 439 h 688"/>
                  <a:gd name="T44" fmla="*/ 584 w 644"/>
                  <a:gd name="T45" fmla="*/ 570 h 688"/>
                  <a:gd name="T46" fmla="*/ 320 w 644"/>
                  <a:gd name="T47" fmla="*/ 399 h 688"/>
                  <a:gd name="T48" fmla="*/ 256 w 644"/>
                  <a:gd name="T49" fmla="*/ 404 h 688"/>
                  <a:gd name="T50" fmla="*/ 418 w 644"/>
                  <a:gd name="T51" fmla="*/ 677 h 688"/>
                  <a:gd name="T52" fmla="*/ 232 w 644"/>
                  <a:gd name="T53" fmla="*/ 409 h 688"/>
                  <a:gd name="T54" fmla="*/ 479 w 644"/>
                  <a:gd name="T55" fmla="*/ 598 h 688"/>
                  <a:gd name="T56" fmla="*/ 246 w 644"/>
                  <a:gd name="T57" fmla="*/ 414 h 688"/>
                  <a:gd name="T58" fmla="*/ 270 w 644"/>
                  <a:gd name="T59" fmla="*/ 209 h 688"/>
                  <a:gd name="T60" fmla="*/ 209 w 644"/>
                  <a:gd name="T61" fmla="*/ 418 h 688"/>
                  <a:gd name="T62" fmla="*/ 564 w 644"/>
                  <a:gd name="T63" fmla="*/ 542 h 688"/>
                  <a:gd name="T64" fmla="*/ 87 w 644"/>
                  <a:gd name="T65" fmla="*/ 324 h 688"/>
                  <a:gd name="T66" fmla="*/ 569 w 644"/>
                  <a:gd name="T67" fmla="*/ 443 h 688"/>
                  <a:gd name="T68" fmla="*/ 475 w 644"/>
                  <a:gd name="T69" fmla="*/ 600 h 688"/>
                  <a:gd name="T70" fmla="*/ 562 w 644"/>
                  <a:gd name="T71" fmla="*/ 552 h 688"/>
                  <a:gd name="T72" fmla="*/ 232 w 644"/>
                  <a:gd name="T73" fmla="*/ 404 h 688"/>
                  <a:gd name="T74" fmla="*/ 204 w 644"/>
                  <a:gd name="T75" fmla="*/ 348 h 688"/>
                  <a:gd name="T76" fmla="*/ 579 w 644"/>
                  <a:gd name="T77" fmla="*/ 505 h 688"/>
                  <a:gd name="T78" fmla="*/ 414 w 644"/>
                  <a:gd name="T79" fmla="*/ 366 h 688"/>
                  <a:gd name="T80" fmla="*/ 267 w 644"/>
                  <a:gd name="T81" fmla="*/ 246 h 688"/>
                  <a:gd name="T82" fmla="*/ 169 w 644"/>
                  <a:gd name="T83" fmla="*/ 410 h 688"/>
                  <a:gd name="T84" fmla="*/ 287 w 644"/>
                  <a:gd name="T85" fmla="*/ 455 h 688"/>
                  <a:gd name="T86" fmla="*/ 363 w 644"/>
                  <a:gd name="T87" fmla="*/ 482 h 688"/>
                  <a:gd name="T88" fmla="*/ 553 w 644"/>
                  <a:gd name="T89" fmla="*/ 516 h 688"/>
                  <a:gd name="T90" fmla="*/ 570 w 644"/>
                  <a:gd name="T91" fmla="*/ 436 h 688"/>
                  <a:gd name="T92" fmla="*/ 500 w 644"/>
                  <a:gd name="T93" fmla="*/ 575 h 688"/>
                  <a:gd name="T94" fmla="*/ 257 w 644"/>
                  <a:gd name="T95" fmla="*/ 371 h 688"/>
                  <a:gd name="T96" fmla="*/ 418 w 644"/>
                  <a:gd name="T97" fmla="*/ 375 h 688"/>
                  <a:gd name="T98" fmla="*/ 242 w 644"/>
                  <a:gd name="T99" fmla="*/ 389 h 688"/>
                  <a:gd name="T100" fmla="*/ 553 w 644"/>
                  <a:gd name="T101" fmla="*/ 447 h 688"/>
                  <a:gd name="T102" fmla="*/ 215 w 644"/>
                  <a:gd name="T103" fmla="*/ 403 h 688"/>
                  <a:gd name="T104" fmla="*/ 236 w 644"/>
                  <a:gd name="T105" fmla="*/ 405 h 688"/>
                  <a:gd name="T106" fmla="*/ 381 w 644"/>
                  <a:gd name="T107" fmla="*/ 363 h 688"/>
                  <a:gd name="T108" fmla="*/ 500 w 644"/>
                  <a:gd name="T109" fmla="*/ 459 h 688"/>
                  <a:gd name="T110" fmla="*/ 481 w 644"/>
                  <a:gd name="T111" fmla="*/ 421 h 688"/>
                  <a:gd name="T112" fmla="*/ 444 w 644"/>
                  <a:gd name="T113" fmla="*/ 550 h 688"/>
                  <a:gd name="T114" fmla="*/ 408 w 644"/>
                  <a:gd name="T115" fmla="*/ 374 h 688"/>
                  <a:gd name="T116" fmla="*/ 491 w 644"/>
                  <a:gd name="T117" fmla="*/ 425 h 688"/>
                  <a:gd name="T118" fmla="*/ 484 w 644"/>
                  <a:gd name="T119" fmla="*/ 418 h 688"/>
                  <a:gd name="T120" fmla="*/ 324 w 644"/>
                  <a:gd name="T121" fmla="*/ 467 h 688"/>
                  <a:gd name="T122" fmla="*/ 493 w 644"/>
                  <a:gd name="T123" fmla="*/ 429 h 688"/>
                  <a:gd name="T124" fmla="*/ 236 w 644"/>
                  <a:gd name="T125" fmla="*/ 391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4" h="688">
                    <a:moveTo>
                      <a:pt x="101" y="25"/>
                    </a:moveTo>
                    <a:lnTo>
                      <a:pt x="102" y="28"/>
                    </a:lnTo>
                    <a:lnTo>
                      <a:pt x="102" y="29"/>
                    </a:lnTo>
                    <a:lnTo>
                      <a:pt x="102" y="30"/>
                    </a:lnTo>
                    <a:lnTo>
                      <a:pt x="103" y="30"/>
                    </a:lnTo>
                    <a:lnTo>
                      <a:pt x="102" y="30"/>
                    </a:lnTo>
                    <a:lnTo>
                      <a:pt x="103" y="31"/>
                    </a:lnTo>
                    <a:lnTo>
                      <a:pt x="103" y="32"/>
                    </a:lnTo>
                    <a:lnTo>
                      <a:pt x="103" y="33"/>
                    </a:lnTo>
                    <a:lnTo>
                      <a:pt x="104" y="33"/>
                    </a:lnTo>
                    <a:lnTo>
                      <a:pt x="104" y="35"/>
                    </a:lnTo>
                    <a:lnTo>
                      <a:pt x="104" y="36"/>
                    </a:lnTo>
                    <a:lnTo>
                      <a:pt x="105" y="37"/>
                    </a:lnTo>
                    <a:lnTo>
                      <a:pt x="105" y="38"/>
                    </a:lnTo>
                    <a:lnTo>
                      <a:pt x="105" y="39"/>
                    </a:lnTo>
                    <a:lnTo>
                      <a:pt x="107" y="43"/>
                    </a:lnTo>
                    <a:lnTo>
                      <a:pt x="106" y="43"/>
                    </a:lnTo>
                    <a:lnTo>
                      <a:pt x="107" y="43"/>
                    </a:lnTo>
                    <a:lnTo>
                      <a:pt x="107" y="44"/>
                    </a:lnTo>
                    <a:lnTo>
                      <a:pt x="110" y="50"/>
                    </a:lnTo>
                    <a:lnTo>
                      <a:pt x="114" y="55"/>
                    </a:lnTo>
                    <a:lnTo>
                      <a:pt x="115" y="56"/>
                    </a:lnTo>
                    <a:lnTo>
                      <a:pt x="115" y="57"/>
                    </a:lnTo>
                    <a:lnTo>
                      <a:pt x="116" y="57"/>
                    </a:lnTo>
                    <a:lnTo>
                      <a:pt x="116" y="58"/>
                    </a:lnTo>
                    <a:lnTo>
                      <a:pt x="118" y="59"/>
                    </a:lnTo>
                    <a:lnTo>
                      <a:pt x="120" y="63"/>
                    </a:lnTo>
                    <a:lnTo>
                      <a:pt x="119" y="64"/>
                    </a:lnTo>
                    <a:lnTo>
                      <a:pt x="119" y="65"/>
                    </a:lnTo>
                    <a:lnTo>
                      <a:pt x="119" y="66"/>
                    </a:lnTo>
                    <a:lnTo>
                      <a:pt x="119" y="67"/>
                    </a:lnTo>
                    <a:lnTo>
                      <a:pt x="119" y="68"/>
                    </a:lnTo>
                    <a:lnTo>
                      <a:pt x="120" y="68"/>
                    </a:lnTo>
                    <a:lnTo>
                      <a:pt x="122" y="69"/>
                    </a:lnTo>
                    <a:lnTo>
                      <a:pt x="123" y="69"/>
                    </a:lnTo>
                    <a:lnTo>
                      <a:pt x="123" y="70"/>
                    </a:lnTo>
                    <a:lnTo>
                      <a:pt x="123" y="71"/>
                    </a:lnTo>
                    <a:lnTo>
                      <a:pt x="123" y="72"/>
                    </a:lnTo>
                    <a:lnTo>
                      <a:pt x="124" y="72"/>
                    </a:lnTo>
                    <a:lnTo>
                      <a:pt x="125" y="75"/>
                    </a:lnTo>
                    <a:lnTo>
                      <a:pt x="125" y="76"/>
                    </a:lnTo>
                    <a:lnTo>
                      <a:pt x="126" y="77"/>
                    </a:lnTo>
                    <a:lnTo>
                      <a:pt x="127" y="78"/>
                    </a:lnTo>
                    <a:lnTo>
                      <a:pt x="128" y="78"/>
                    </a:lnTo>
                    <a:lnTo>
                      <a:pt x="129" y="79"/>
                    </a:lnTo>
                    <a:lnTo>
                      <a:pt x="130" y="79"/>
                    </a:lnTo>
                    <a:lnTo>
                      <a:pt x="131" y="78"/>
                    </a:lnTo>
                    <a:lnTo>
                      <a:pt x="138" y="77"/>
                    </a:lnTo>
                    <a:lnTo>
                      <a:pt x="150" y="72"/>
                    </a:lnTo>
                    <a:lnTo>
                      <a:pt x="152" y="72"/>
                    </a:lnTo>
                    <a:lnTo>
                      <a:pt x="153" y="72"/>
                    </a:lnTo>
                    <a:lnTo>
                      <a:pt x="155" y="72"/>
                    </a:lnTo>
                    <a:lnTo>
                      <a:pt x="156" y="72"/>
                    </a:lnTo>
                    <a:lnTo>
                      <a:pt x="158" y="72"/>
                    </a:lnTo>
                    <a:lnTo>
                      <a:pt x="160" y="74"/>
                    </a:lnTo>
                    <a:lnTo>
                      <a:pt x="161" y="74"/>
                    </a:lnTo>
                    <a:lnTo>
                      <a:pt x="163" y="75"/>
                    </a:lnTo>
                    <a:lnTo>
                      <a:pt x="164" y="76"/>
                    </a:lnTo>
                    <a:lnTo>
                      <a:pt x="166" y="78"/>
                    </a:lnTo>
                    <a:lnTo>
                      <a:pt x="167" y="79"/>
                    </a:lnTo>
                    <a:lnTo>
                      <a:pt x="167" y="80"/>
                    </a:lnTo>
                    <a:lnTo>
                      <a:pt x="171" y="86"/>
                    </a:lnTo>
                    <a:lnTo>
                      <a:pt x="171" y="87"/>
                    </a:lnTo>
                    <a:lnTo>
                      <a:pt x="173" y="87"/>
                    </a:lnTo>
                    <a:lnTo>
                      <a:pt x="174" y="88"/>
                    </a:lnTo>
                    <a:lnTo>
                      <a:pt x="174" y="89"/>
                    </a:lnTo>
                    <a:lnTo>
                      <a:pt x="175" y="90"/>
                    </a:lnTo>
                    <a:lnTo>
                      <a:pt x="175" y="91"/>
                    </a:lnTo>
                    <a:lnTo>
                      <a:pt x="177" y="92"/>
                    </a:lnTo>
                    <a:lnTo>
                      <a:pt x="177" y="93"/>
                    </a:lnTo>
                    <a:lnTo>
                      <a:pt x="176" y="94"/>
                    </a:lnTo>
                    <a:lnTo>
                      <a:pt x="175" y="95"/>
                    </a:lnTo>
                    <a:lnTo>
                      <a:pt x="174" y="96"/>
                    </a:lnTo>
                    <a:lnTo>
                      <a:pt x="174" y="97"/>
                    </a:lnTo>
                    <a:lnTo>
                      <a:pt x="174" y="99"/>
                    </a:lnTo>
                    <a:lnTo>
                      <a:pt x="174" y="100"/>
                    </a:lnTo>
                    <a:lnTo>
                      <a:pt x="174" y="101"/>
                    </a:lnTo>
                    <a:lnTo>
                      <a:pt x="176" y="102"/>
                    </a:lnTo>
                    <a:lnTo>
                      <a:pt x="178" y="103"/>
                    </a:lnTo>
                    <a:lnTo>
                      <a:pt x="179" y="104"/>
                    </a:lnTo>
                    <a:lnTo>
                      <a:pt x="180" y="104"/>
                    </a:lnTo>
                    <a:lnTo>
                      <a:pt x="181" y="105"/>
                    </a:lnTo>
                    <a:lnTo>
                      <a:pt x="182" y="105"/>
                    </a:lnTo>
                    <a:lnTo>
                      <a:pt x="183" y="105"/>
                    </a:lnTo>
                    <a:lnTo>
                      <a:pt x="184" y="105"/>
                    </a:lnTo>
                    <a:lnTo>
                      <a:pt x="187" y="105"/>
                    </a:lnTo>
                    <a:lnTo>
                      <a:pt x="188" y="105"/>
                    </a:lnTo>
                    <a:lnTo>
                      <a:pt x="190" y="105"/>
                    </a:lnTo>
                    <a:lnTo>
                      <a:pt x="191" y="104"/>
                    </a:lnTo>
                    <a:lnTo>
                      <a:pt x="192" y="104"/>
                    </a:lnTo>
                    <a:lnTo>
                      <a:pt x="193" y="103"/>
                    </a:lnTo>
                    <a:lnTo>
                      <a:pt x="194" y="103"/>
                    </a:lnTo>
                    <a:lnTo>
                      <a:pt x="195" y="103"/>
                    </a:lnTo>
                    <a:lnTo>
                      <a:pt x="196" y="103"/>
                    </a:lnTo>
                    <a:lnTo>
                      <a:pt x="197" y="103"/>
                    </a:lnTo>
                    <a:lnTo>
                      <a:pt x="199" y="104"/>
                    </a:lnTo>
                    <a:lnTo>
                      <a:pt x="200" y="104"/>
                    </a:lnTo>
                    <a:lnTo>
                      <a:pt x="202" y="104"/>
                    </a:lnTo>
                    <a:lnTo>
                      <a:pt x="203" y="104"/>
                    </a:lnTo>
                    <a:lnTo>
                      <a:pt x="204" y="103"/>
                    </a:lnTo>
                    <a:lnTo>
                      <a:pt x="205" y="103"/>
                    </a:lnTo>
                    <a:lnTo>
                      <a:pt x="206" y="103"/>
                    </a:lnTo>
                    <a:lnTo>
                      <a:pt x="208" y="103"/>
                    </a:lnTo>
                    <a:lnTo>
                      <a:pt x="209" y="103"/>
                    </a:lnTo>
                    <a:lnTo>
                      <a:pt x="212" y="103"/>
                    </a:lnTo>
                    <a:lnTo>
                      <a:pt x="213" y="103"/>
                    </a:lnTo>
                    <a:lnTo>
                      <a:pt x="214" y="104"/>
                    </a:lnTo>
                    <a:lnTo>
                      <a:pt x="217" y="103"/>
                    </a:lnTo>
                    <a:lnTo>
                      <a:pt x="218" y="104"/>
                    </a:lnTo>
                    <a:lnTo>
                      <a:pt x="219" y="104"/>
                    </a:lnTo>
                    <a:lnTo>
                      <a:pt x="221" y="105"/>
                    </a:lnTo>
                    <a:lnTo>
                      <a:pt x="223" y="106"/>
                    </a:lnTo>
                    <a:lnTo>
                      <a:pt x="225" y="106"/>
                    </a:lnTo>
                    <a:lnTo>
                      <a:pt x="226" y="106"/>
                    </a:lnTo>
                    <a:lnTo>
                      <a:pt x="227" y="107"/>
                    </a:lnTo>
                    <a:lnTo>
                      <a:pt x="228" y="107"/>
                    </a:lnTo>
                    <a:lnTo>
                      <a:pt x="228" y="109"/>
                    </a:lnTo>
                    <a:lnTo>
                      <a:pt x="229" y="110"/>
                    </a:lnTo>
                    <a:lnTo>
                      <a:pt x="230" y="113"/>
                    </a:lnTo>
                    <a:lnTo>
                      <a:pt x="231" y="114"/>
                    </a:lnTo>
                    <a:lnTo>
                      <a:pt x="234" y="117"/>
                    </a:lnTo>
                    <a:lnTo>
                      <a:pt x="235" y="119"/>
                    </a:lnTo>
                    <a:lnTo>
                      <a:pt x="235" y="120"/>
                    </a:lnTo>
                    <a:lnTo>
                      <a:pt x="236" y="123"/>
                    </a:lnTo>
                    <a:lnTo>
                      <a:pt x="236" y="125"/>
                    </a:lnTo>
                    <a:lnTo>
                      <a:pt x="236" y="126"/>
                    </a:lnTo>
                    <a:lnTo>
                      <a:pt x="236" y="127"/>
                    </a:lnTo>
                    <a:lnTo>
                      <a:pt x="238" y="128"/>
                    </a:lnTo>
                    <a:lnTo>
                      <a:pt x="238" y="129"/>
                    </a:lnTo>
                    <a:lnTo>
                      <a:pt x="238" y="130"/>
                    </a:lnTo>
                    <a:lnTo>
                      <a:pt x="239" y="131"/>
                    </a:lnTo>
                    <a:lnTo>
                      <a:pt x="239" y="132"/>
                    </a:lnTo>
                    <a:lnTo>
                      <a:pt x="240" y="133"/>
                    </a:lnTo>
                    <a:lnTo>
                      <a:pt x="241" y="133"/>
                    </a:lnTo>
                    <a:lnTo>
                      <a:pt x="242" y="134"/>
                    </a:lnTo>
                    <a:lnTo>
                      <a:pt x="243" y="134"/>
                    </a:lnTo>
                    <a:lnTo>
                      <a:pt x="244" y="134"/>
                    </a:lnTo>
                    <a:lnTo>
                      <a:pt x="244" y="135"/>
                    </a:lnTo>
                    <a:lnTo>
                      <a:pt x="247" y="136"/>
                    </a:lnTo>
                    <a:lnTo>
                      <a:pt x="248" y="136"/>
                    </a:lnTo>
                    <a:lnTo>
                      <a:pt x="251" y="136"/>
                    </a:lnTo>
                    <a:lnTo>
                      <a:pt x="252" y="136"/>
                    </a:lnTo>
                    <a:lnTo>
                      <a:pt x="253" y="136"/>
                    </a:lnTo>
                    <a:lnTo>
                      <a:pt x="254" y="138"/>
                    </a:lnTo>
                    <a:lnTo>
                      <a:pt x="256" y="140"/>
                    </a:lnTo>
                    <a:lnTo>
                      <a:pt x="258" y="141"/>
                    </a:lnTo>
                    <a:lnTo>
                      <a:pt x="260" y="143"/>
                    </a:lnTo>
                    <a:lnTo>
                      <a:pt x="261" y="143"/>
                    </a:lnTo>
                    <a:lnTo>
                      <a:pt x="262" y="144"/>
                    </a:lnTo>
                    <a:lnTo>
                      <a:pt x="262" y="145"/>
                    </a:lnTo>
                    <a:lnTo>
                      <a:pt x="264" y="146"/>
                    </a:lnTo>
                    <a:lnTo>
                      <a:pt x="264" y="147"/>
                    </a:lnTo>
                    <a:lnTo>
                      <a:pt x="265" y="147"/>
                    </a:lnTo>
                    <a:lnTo>
                      <a:pt x="265" y="148"/>
                    </a:lnTo>
                    <a:lnTo>
                      <a:pt x="267" y="149"/>
                    </a:lnTo>
                    <a:lnTo>
                      <a:pt x="268" y="152"/>
                    </a:lnTo>
                    <a:lnTo>
                      <a:pt x="270" y="153"/>
                    </a:lnTo>
                    <a:lnTo>
                      <a:pt x="270" y="154"/>
                    </a:lnTo>
                    <a:lnTo>
                      <a:pt x="271" y="155"/>
                    </a:lnTo>
                    <a:lnTo>
                      <a:pt x="272" y="156"/>
                    </a:lnTo>
                    <a:lnTo>
                      <a:pt x="272" y="157"/>
                    </a:lnTo>
                    <a:lnTo>
                      <a:pt x="273" y="158"/>
                    </a:lnTo>
                    <a:lnTo>
                      <a:pt x="274" y="158"/>
                    </a:lnTo>
                    <a:lnTo>
                      <a:pt x="276" y="159"/>
                    </a:lnTo>
                    <a:lnTo>
                      <a:pt x="277" y="159"/>
                    </a:lnTo>
                    <a:lnTo>
                      <a:pt x="279" y="160"/>
                    </a:lnTo>
                    <a:lnTo>
                      <a:pt x="284" y="161"/>
                    </a:lnTo>
                    <a:lnTo>
                      <a:pt x="286" y="161"/>
                    </a:lnTo>
                    <a:lnTo>
                      <a:pt x="287" y="161"/>
                    </a:lnTo>
                    <a:lnTo>
                      <a:pt x="290" y="161"/>
                    </a:lnTo>
                    <a:lnTo>
                      <a:pt x="291" y="161"/>
                    </a:lnTo>
                    <a:lnTo>
                      <a:pt x="292" y="163"/>
                    </a:lnTo>
                    <a:lnTo>
                      <a:pt x="294" y="164"/>
                    </a:lnTo>
                    <a:lnTo>
                      <a:pt x="295" y="164"/>
                    </a:lnTo>
                    <a:lnTo>
                      <a:pt x="296" y="165"/>
                    </a:lnTo>
                    <a:lnTo>
                      <a:pt x="297" y="166"/>
                    </a:lnTo>
                    <a:lnTo>
                      <a:pt x="298" y="167"/>
                    </a:lnTo>
                    <a:lnTo>
                      <a:pt x="299" y="167"/>
                    </a:lnTo>
                    <a:lnTo>
                      <a:pt x="302" y="168"/>
                    </a:lnTo>
                    <a:lnTo>
                      <a:pt x="303" y="168"/>
                    </a:lnTo>
                    <a:lnTo>
                      <a:pt x="304" y="168"/>
                    </a:lnTo>
                    <a:lnTo>
                      <a:pt x="305" y="168"/>
                    </a:lnTo>
                    <a:lnTo>
                      <a:pt x="306" y="168"/>
                    </a:lnTo>
                    <a:lnTo>
                      <a:pt x="307" y="168"/>
                    </a:lnTo>
                    <a:lnTo>
                      <a:pt x="308" y="168"/>
                    </a:lnTo>
                    <a:lnTo>
                      <a:pt x="309" y="169"/>
                    </a:lnTo>
                    <a:lnTo>
                      <a:pt x="311" y="171"/>
                    </a:lnTo>
                    <a:lnTo>
                      <a:pt x="312" y="172"/>
                    </a:lnTo>
                    <a:lnTo>
                      <a:pt x="313" y="172"/>
                    </a:lnTo>
                    <a:lnTo>
                      <a:pt x="312" y="173"/>
                    </a:lnTo>
                    <a:lnTo>
                      <a:pt x="310" y="173"/>
                    </a:lnTo>
                    <a:lnTo>
                      <a:pt x="309" y="173"/>
                    </a:lnTo>
                    <a:lnTo>
                      <a:pt x="308" y="174"/>
                    </a:lnTo>
                    <a:lnTo>
                      <a:pt x="308" y="173"/>
                    </a:lnTo>
                    <a:lnTo>
                      <a:pt x="307" y="173"/>
                    </a:lnTo>
                    <a:lnTo>
                      <a:pt x="306" y="174"/>
                    </a:lnTo>
                    <a:lnTo>
                      <a:pt x="305" y="174"/>
                    </a:lnTo>
                    <a:lnTo>
                      <a:pt x="304" y="176"/>
                    </a:lnTo>
                    <a:lnTo>
                      <a:pt x="303" y="176"/>
                    </a:lnTo>
                    <a:lnTo>
                      <a:pt x="302" y="176"/>
                    </a:lnTo>
                    <a:lnTo>
                      <a:pt x="300" y="176"/>
                    </a:lnTo>
                    <a:lnTo>
                      <a:pt x="300" y="174"/>
                    </a:lnTo>
                    <a:lnTo>
                      <a:pt x="299" y="174"/>
                    </a:lnTo>
                    <a:lnTo>
                      <a:pt x="299" y="173"/>
                    </a:lnTo>
                    <a:lnTo>
                      <a:pt x="298" y="173"/>
                    </a:lnTo>
                    <a:lnTo>
                      <a:pt x="298" y="172"/>
                    </a:lnTo>
                    <a:lnTo>
                      <a:pt x="297" y="172"/>
                    </a:lnTo>
                    <a:lnTo>
                      <a:pt x="295" y="172"/>
                    </a:lnTo>
                    <a:lnTo>
                      <a:pt x="294" y="172"/>
                    </a:lnTo>
                    <a:lnTo>
                      <a:pt x="294" y="171"/>
                    </a:lnTo>
                    <a:lnTo>
                      <a:pt x="293" y="171"/>
                    </a:lnTo>
                    <a:lnTo>
                      <a:pt x="292" y="171"/>
                    </a:lnTo>
                    <a:lnTo>
                      <a:pt x="291" y="171"/>
                    </a:lnTo>
                    <a:lnTo>
                      <a:pt x="290" y="171"/>
                    </a:lnTo>
                    <a:lnTo>
                      <a:pt x="289" y="171"/>
                    </a:lnTo>
                    <a:lnTo>
                      <a:pt x="287" y="171"/>
                    </a:lnTo>
                    <a:lnTo>
                      <a:pt x="286" y="171"/>
                    </a:lnTo>
                    <a:lnTo>
                      <a:pt x="285" y="172"/>
                    </a:lnTo>
                    <a:lnTo>
                      <a:pt x="284" y="172"/>
                    </a:lnTo>
                    <a:lnTo>
                      <a:pt x="284" y="173"/>
                    </a:lnTo>
                    <a:lnTo>
                      <a:pt x="283" y="173"/>
                    </a:lnTo>
                    <a:lnTo>
                      <a:pt x="282" y="173"/>
                    </a:lnTo>
                    <a:lnTo>
                      <a:pt x="281" y="173"/>
                    </a:lnTo>
                    <a:lnTo>
                      <a:pt x="281" y="172"/>
                    </a:lnTo>
                    <a:lnTo>
                      <a:pt x="280" y="172"/>
                    </a:lnTo>
                    <a:lnTo>
                      <a:pt x="279" y="172"/>
                    </a:lnTo>
                    <a:lnTo>
                      <a:pt x="280" y="172"/>
                    </a:lnTo>
                    <a:lnTo>
                      <a:pt x="279" y="172"/>
                    </a:lnTo>
                    <a:lnTo>
                      <a:pt x="279" y="173"/>
                    </a:lnTo>
                    <a:lnTo>
                      <a:pt x="278" y="173"/>
                    </a:lnTo>
                    <a:lnTo>
                      <a:pt x="278" y="172"/>
                    </a:lnTo>
                    <a:lnTo>
                      <a:pt x="278" y="171"/>
                    </a:lnTo>
                    <a:lnTo>
                      <a:pt x="278" y="170"/>
                    </a:lnTo>
                    <a:lnTo>
                      <a:pt x="278" y="169"/>
                    </a:lnTo>
                    <a:lnTo>
                      <a:pt x="278" y="168"/>
                    </a:lnTo>
                    <a:lnTo>
                      <a:pt x="277" y="168"/>
                    </a:lnTo>
                    <a:lnTo>
                      <a:pt x="276" y="168"/>
                    </a:lnTo>
                    <a:lnTo>
                      <a:pt x="274" y="169"/>
                    </a:lnTo>
                    <a:lnTo>
                      <a:pt x="274" y="168"/>
                    </a:lnTo>
                    <a:lnTo>
                      <a:pt x="274" y="167"/>
                    </a:lnTo>
                    <a:lnTo>
                      <a:pt x="276" y="167"/>
                    </a:lnTo>
                    <a:lnTo>
                      <a:pt x="274" y="166"/>
                    </a:lnTo>
                    <a:lnTo>
                      <a:pt x="274" y="165"/>
                    </a:lnTo>
                    <a:lnTo>
                      <a:pt x="273" y="165"/>
                    </a:lnTo>
                    <a:lnTo>
                      <a:pt x="272" y="164"/>
                    </a:lnTo>
                    <a:lnTo>
                      <a:pt x="270" y="164"/>
                    </a:lnTo>
                    <a:lnTo>
                      <a:pt x="269" y="164"/>
                    </a:lnTo>
                    <a:lnTo>
                      <a:pt x="270" y="164"/>
                    </a:lnTo>
                    <a:lnTo>
                      <a:pt x="270" y="163"/>
                    </a:lnTo>
                    <a:lnTo>
                      <a:pt x="270" y="161"/>
                    </a:lnTo>
                    <a:lnTo>
                      <a:pt x="270" y="160"/>
                    </a:lnTo>
                    <a:lnTo>
                      <a:pt x="271" y="160"/>
                    </a:lnTo>
                    <a:lnTo>
                      <a:pt x="271" y="159"/>
                    </a:lnTo>
                    <a:lnTo>
                      <a:pt x="272" y="159"/>
                    </a:lnTo>
                    <a:lnTo>
                      <a:pt x="273" y="159"/>
                    </a:lnTo>
                    <a:lnTo>
                      <a:pt x="272" y="159"/>
                    </a:lnTo>
                    <a:lnTo>
                      <a:pt x="272" y="158"/>
                    </a:lnTo>
                    <a:lnTo>
                      <a:pt x="271" y="159"/>
                    </a:lnTo>
                    <a:lnTo>
                      <a:pt x="271" y="158"/>
                    </a:lnTo>
                    <a:lnTo>
                      <a:pt x="270" y="158"/>
                    </a:lnTo>
                    <a:lnTo>
                      <a:pt x="269" y="157"/>
                    </a:lnTo>
                    <a:lnTo>
                      <a:pt x="268" y="157"/>
                    </a:lnTo>
                    <a:lnTo>
                      <a:pt x="267" y="156"/>
                    </a:lnTo>
                    <a:lnTo>
                      <a:pt x="266" y="156"/>
                    </a:lnTo>
                    <a:lnTo>
                      <a:pt x="266" y="157"/>
                    </a:lnTo>
                    <a:lnTo>
                      <a:pt x="265" y="157"/>
                    </a:lnTo>
                    <a:lnTo>
                      <a:pt x="265" y="158"/>
                    </a:lnTo>
                    <a:lnTo>
                      <a:pt x="264" y="158"/>
                    </a:lnTo>
                    <a:lnTo>
                      <a:pt x="262" y="158"/>
                    </a:lnTo>
                    <a:lnTo>
                      <a:pt x="264" y="159"/>
                    </a:lnTo>
                    <a:lnTo>
                      <a:pt x="262" y="159"/>
                    </a:lnTo>
                    <a:lnTo>
                      <a:pt x="262" y="160"/>
                    </a:lnTo>
                    <a:lnTo>
                      <a:pt x="261" y="160"/>
                    </a:lnTo>
                    <a:lnTo>
                      <a:pt x="260" y="160"/>
                    </a:lnTo>
                    <a:lnTo>
                      <a:pt x="259" y="161"/>
                    </a:lnTo>
                    <a:lnTo>
                      <a:pt x="258" y="161"/>
                    </a:lnTo>
                    <a:lnTo>
                      <a:pt x="258" y="163"/>
                    </a:lnTo>
                    <a:lnTo>
                      <a:pt x="258" y="161"/>
                    </a:lnTo>
                    <a:lnTo>
                      <a:pt x="259" y="160"/>
                    </a:lnTo>
                    <a:lnTo>
                      <a:pt x="259" y="159"/>
                    </a:lnTo>
                    <a:lnTo>
                      <a:pt x="258" y="158"/>
                    </a:lnTo>
                    <a:lnTo>
                      <a:pt x="258" y="157"/>
                    </a:lnTo>
                    <a:lnTo>
                      <a:pt x="257" y="157"/>
                    </a:lnTo>
                    <a:lnTo>
                      <a:pt x="257" y="156"/>
                    </a:lnTo>
                    <a:lnTo>
                      <a:pt x="256" y="156"/>
                    </a:lnTo>
                    <a:lnTo>
                      <a:pt x="255" y="156"/>
                    </a:lnTo>
                    <a:lnTo>
                      <a:pt x="254" y="155"/>
                    </a:lnTo>
                    <a:lnTo>
                      <a:pt x="253" y="155"/>
                    </a:lnTo>
                    <a:lnTo>
                      <a:pt x="252" y="155"/>
                    </a:lnTo>
                    <a:lnTo>
                      <a:pt x="251" y="156"/>
                    </a:lnTo>
                    <a:lnTo>
                      <a:pt x="249" y="155"/>
                    </a:lnTo>
                    <a:lnTo>
                      <a:pt x="248" y="154"/>
                    </a:lnTo>
                    <a:lnTo>
                      <a:pt x="247" y="154"/>
                    </a:lnTo>
                    <a:lnTo>
                      <a:pt x="246" y="154"/>
                    </a:lnTo>
                    <a:lnTo>
                      <a:pt x="246" y="155"/>
                    </a:lnTo>
                    <a:lnTo>
                      <a:pt x="245" y="155"/>
                    </a:lnTo>
                    <a:lnTo>
                      <a:pt x="244" y="156"/>
                    </a:lnTo>
                    <a:lnTo>
                      <a:pt x="245" y="156"/>
                    </a:lnTo>
                    <a:lnTo>
                      <a:pt x="246" y="156"/>
                    </a:lnTo>
                    <a:lnTo>
                      <a:pt x="246" y="157"/>
                    </a:lnTo>
                    <a:lnTo>
                      <a:pt x="246" y="158"/>
                    </a:lnTo>
                    <a:lnTo>
                      <a:pt x="247" y="158"/>
                    </a:lnTo>
                    <a:lnTo>
                      <a:pt x="248" y="158"/>
                    </a:lnTo>
                    <a:lnTo>
                      <a:pt x="248" y="159"/>
                    </a:lnTo>
                    <a:lnTo>
                      <a:pt x="248" y="160"/>
                    </a:lnTo>
                    <a:lnTo>
                      <a:pt x="249" y="160"/>
                    </a:lnTo>
                    <a:lnTo>
                      <a:pt x="249" y="161"/>
                    </a:lnTo>
                    <a:lnTo>
                      <a:pt x="251" y="161"/>
                    </a:lnTo>
                    <a:lnTo>
                      <a:pt x="252" y="161"/>
                    </a:lnTo>
                    <a:lnTo>
                      <a:pt x="252" y="163"/>
                    </a:lnTo>
                    <a:lnTo>
                      <a:pt x="253" y="163"/>
                    </a:lnTo>
                    <a:lnTo>
                      <a:pt x="253" y="164"/>
                    </a:lnTo>
                    <a:lnTo>
                      <a:pt x="253" y="163"/>
                    </a:lnTo>
                    <a:lnTo>
                      <a:pt x="252" y="164"/>
                    </a:lnTo>
                    <a:lnTo>
                      <a:pt x="252" y="163"/>
                    </a:lnTo>
                    <a:lnTo>
                      <a:pt x="251" y="164"/>
                    </a:lnTo>
                    <a:lnTo>
                      <a:pt x="251" y="165"/>
                    </a:lnTo>
                    <a:lnTo>
                      <a:pt x="249" y="166"/>
                    </a:lnTo>
                    <a:lnTo>
                      <a:pt x="249" y="167"/>
                    </a:lnTo>
                    <a:lnTo>
                      <a:pt x="251" y="168"/>
                    </a:lnTo>
                    <a:lnTo>
                      <a:pt x="249" y="168"/>
                    </a:lnTo>
                    <a:lnTo>
                      <a:pt x="249" y="167"/>
                    </a:lnTo>
                    <a:lnTo>
                      <a:pt x="249" y="166"/>
                    </a:lnTo>
                    <a:lnTo>
                      <a:pt x="248" y="166"/>
                    </a:lnTo>
                    <a:lnTo>
                      <a:pt x="247" y="166"/>
                    </a:lnTo>
                    <a:lnTo>
                      <a:pt x="246" y="166"/>
                    </a:lnTo>
                    <a:lnTo>
                      <a:pt x="246" y="167"/>
                    </a:lnTo>
                    <a:lnTo>
                      <a:pt x="247" y="168"/>
                    </a:lnTo>
                    <a:lnTo>
                      <a:pt x="248" y="168"/>
                    </a:lnTo>
                    <a:lnTo>
                      <a:pt x="247" y="168"/>
                    </a:lnTo>
                    <a:lnTo>
                      <a:pt x="246" y="168"/>
                    </a:lnTo>
                    <a:lnTo>
                      <a:pt x="245" y="168"/>
                    </a:lnTo>
                    <a:lnTo>
                      <a:pt x="244" y="168"/>
                    </a:lnTo>
                    <a:lnTo>
                      <a:pt x="244" y="169"/>
                    </a:lnTo>
                    <a:lnTo>
                      <a:pt x="245" y="169"/>
                    </a:lnTo>
                    <a:lnTo>
                      <a:pt x="245" y="170"/>
                    </a:lnTo>
                    <a:lnTo>
                      <a:pt x="246" y="170"/>
                    </a:lnTo>
                    <a:lnTo>
                      <a:pt x="246" y="171"/>
                    </a:lnTo>
                    <a:lnTo>
                      <a:pt x="247" y="171"/>
                    </a:lnTo>
                    <a:lnTo>
                      <a:pt x="247" y="172"/>
                    </a:lnTo>
                    <a:lnTo>
                      <a:pt x="247" y="173"/>
                    </a:lnTo>
                    <a:lnTo>
                      <a:pt x="248" y="173"/>
                    </a:lnTo>
                    <a:lnTo>
                      <a:pt x="248" y="174"/>
                    </a:lnTo>
                    <a:lnTo>
                      <a:pt x="249" y="174"/>
                    </a:lnTo>
                    <a:lnTo>
                      <a:pt x="249" y="176"/>
                    </a:lnTo>
                    <a:lnTo>
                      <a:pt x="251" y="176"/>
                    </a:lnTo>
                    <a:lnTo>
                      <a:pt x="251" y="174"/>
                    </a:lnTo>
                    <a:lnTo>
                      <a:pt x="252" y="176"/>
                    </a:lnTo>
                    <a:lnTo>
                      <a:pt x="253" y="176"/>
                    </a:lnTo>
                    <a:lnTo>
                      <a:pt x="252" y="177"/>
                    </a:lnTo>
                    <a:lnTo>
                      <a:pt x="253" y="178"/>
                    </a:lnTo>
                    <a:lnTo>
                      <a:pt x="253" y="177"/>
                    </a:lnTo>
                    <a:lnTo>
                      <a:pt x="254" y="177"/>
                    </a:lnTo>
                    <a:lnTo>
                      <a:pt x="255" y="176"/>
                    </a:lnTo>
                    <a:lnTo>
                      <a:pt x="255" y="174"/>
                    </a:lnTo>
                    <a:lnTo>
                      <a:pt x="254" y="174"/>
                    </a:lnTo>
                    <a:lnTo>
                      <a:pt x="254" y="173"/>
                    </a:lnTo>
                    <a:lnTo>
                      <a:pt x="255" y="173"/>
                    </a:lnTo>
                    <a:lnTo>
                      <a:pt x="255" y="174"/>
                    </a:lnTo>
                    <a:lnTo>
                      <a:pt x="255" y="176"/>
                    </a:lnTo>
                    <a:lnTo>
                      <a:pt x="256" y="176"/>
                    </a:lnTo>
                    <a:lnTo>
                      <a:pt x="257" y="176"/>
                    </a:lnTo>
                    <a:lnTo>
                      <a:pt x="257" y="174"/>
                    </a:lnTo>
                    <a:lnTo>
                      <a:pt x="258" y="176"/>
                    </a:lnTo>
                    <a:lnTo>
                      <a:pt x="259" y="176"/>
                    </a:lnTo>
                    <a:lnTo>
                      <a:pt x="259" y="174"/>
                    </a:lnTo>
                    <a:lnTo>
                      <a:pt x="258" y="174"/>
                    </a:lnTo>
                    <a:lnTo>
                      <a:pt x="258" y="173"/>
                    </a:lnTo>
                    <a:lnTo>
                      <a:pt x="259" y="174"/>
                    </a:lnTo>
                    <a:lnTo>
                      <a:pt x="260" y="174"/>
                    </a:lnTo>
                    <a:lnTo>
                      <a:pt x="260" y="176"/>
                    </a:lnTo>
                    <a:lnTo>
                      <a:pt x="261" y="176"/>
                    </a:lnTo>
                    <a:lnTo>
                      <a:pt x="262" y="176"/>
                    </a:lnTo>
                    <a:lnTo>
                      <a:pt x="262" y="177"/>
                    </a:lnTo>
                    <a:lnTo>
                      <a:pt x="264" y="178"/>
                    </a:lnTo>
                    <a:lnTo>
                      <a:pt x="264" y="179"/>
                    </a:lnTo>
                    <a:lnTo>
                      <a:pt x="265" y="179"/>
                    </a:lnTo>
                    <a:lnTo>
                      <a:pt x="264" y="180"/>
                    </a:lnTo>
                    <a:lnTo>
                      <a:pt x="265" y="180"/>
                    </a:lnTo>
                    <a:lnTo>
                      <a:pt x="265" y="181"/>
                    </a:lnTo>
                    <a:lnTo>
                      <a:pt x="264" y="181"/>
                    </a:lnTo>
                    <a:lnTo>
                      <a:pt x="264" y="180"/>
                    </a:lnTo>
                    <a:lnTo>
                      <a:pt x="262" y="180"/>
                    </a:lnTo>
                    <a:lnTo>
                      <a:pt x="262" y="179"/>
                    </a:lnTo>
                    <a:lnTo>
                      <a:pt x="261" y="179"/>
                    </a:lnTo>
                    <a:lnTo>
                      <a:pt x="260" y="179"/>
                    </a:lnTo>
                    <a:lnTo>
                      <a:pt x="260" y="180"/>
                    </a:lnTo>
                    <a:lnTo>
                      <a:pt x="260" y="181"/>
                    </a:lnTo>
                    <a:lnTo>
                      <a:pt x="261" y="181"/>
                    </a:lnTo>
                    <a:lnTo>
                      <a:pt x="261" y="182"/>
                    </a:lnTo>
                    <a:lnTo>
                      <a:pt x="262" y="182"/>
                    </a:lnTo>
                    <a:lnTo>
                      <a:pt x="262" y="181"/>
                    </a:lnTo>
                    <a:lnTo>
                      <a:pt x="264" y="181"/>
                    </a:lnTo>
                    <a:lnTo>
                      <a:pt x="264" y="182"/>
                    </a:lnTo>
                    <a:lnTo>
                      <a:pt x="264" y="181"/>
                    </a:lnTo>
                    <a:lnTo>
                      <a:pt x="265" y="181"/>
                    </a:lnTo>
                    <a:lnTo>
                      <a:pt x="265" y="182"/>
                    </a:lnTo>
                    <a:lnTo>
                      <a:pt x="264" y="182"/>
                    </a:lnTo>
                    <a:lnTo>
                      <a:pt x="262" y="182"/>
                    </a:lnTo>
                    <a:lnTo>
                      <a:pt x="261" y="182"/>
                    </a:lnTo>
                    <a:lnTo>
                      <a:pt x="260" y="182"/>
                    </a:lnTo>
                    <a:lnTo>
                      <a:pt x="259" y="182"/>
                    </a:lnTo>
                    <a:lnTo>
                      <a:pt x="258" y="182"/>
                    </a:lnTo>
                    <a:lnTo>
                      <a:pt x="257" y="182"/>
                    </a:lnTo>
                    <a:lnTo>
                      <a:pt x="256" y="182"/>
                    </a:lnTo>
                    <a:lnTo>
                      <a:pt x="255" y="182"/>
                    </a:lnTo>
                    <a:lnTo>
                      <a:pt x="254" y="182"/>
                    </a:lnTo>
                    <a:lnTo>
                      <a:pt x="253" y="182"/>
                    </a:lnTo>
                    <a:lnTo>
                      <a:pt x="253" y="183"/>
                    </a:lnTo>
                    <a:lnTo>
                      <a:pt x="252" y="183"/>
                    </a:lnTo>
                    <a:lnTo>
                      <a:pt x="251" y="183"/>
                    </a:lnTo>
                    <a:lnTo>
                      <a:pt x="251" y="184"/>
                    </a:lnTo>
                    <a:lnTo>
                      <a:pt x="252" y="184"/>
                    </a:lnTo>
                    <a:lnTo>
                      <a:pt x="252" y="185"/>
                    </a:lnTo>
                    <a:lnTo>
                      <a:pt x="253" y="185"/>
                    </a:lnTo>
                    <a:lnTo>
                      <a:pt x="254" y="186"/>
                    </a:lnTo>
                    <a:lnTo>
                      <a:pt x="255" y="186"/>
                    </a:lnTo>
                    <a:lnTo>
                      <a:pt x="255" y="187"/>
                    </a:lnTo>
                    <a:lnTo>
                      <a:pt x="254" y="187"/>
                    </a:lnTo>
                    <a:lnTo>
                      <a:pt x="254" y="189"/>
                    </a:lnTo>
                    <a:lnTo>
                      <a:pt x="254" y="190"/>
                    </a:lnTo>
                    <a:lnTo>
                      <a:pt x="255" y="190"/>
                    </a:lnTo>
                    <a:lnTo>
                      <a:pt x="256" y="190"/>
                    </a:lnTo>
                    <a:lnTo>
                      <a:pt x="256" y="191"/>
                    </a:lnTo>
                    <a:lnTo>
                      <a:pt x="257" y="191"/>
                    </a:lnTo>
                    <a:lnTo>
                      <a:pt x="257" y="192"/>
                    </a:lnTo>
                    <a:lnTo>
                      <a:pt x="258" y="191"/>
                    </a:lnTo>
                    <a:lnTo>
                      <a:pt x="258" y="192"/>
                    </a:lnTo>
                    <a:lnTo>
                      <a:pt x="259" y="192"/>
                    </a:lnTo>
                    <a:lnTo>
                      <a:pt x="260" y="192"/>
                    </a:lnTo>
                    <a:lnTo>
                      <a:pt x="260" y="193"/>
                    </a:lnTo>
                    <a:lnTo>
                      <a:pt x="260" y="192"/>
                    </a:lnTo>
                    <a:lnTo>
                      <a:pt x="260" y="193"/>
                    </a:lnTo>
                    <a:lnTo>
                      <a:pt x="261" y="193"/>
                    </a:lnTo>
                    <a:lnTo>
                      <a:pt x="261" y="194"/>
                    </a:lnTo>
                    <a:lnTo>
                      <a:pt x="260" y="194"/>
                    </a:lnTo>
                    <a:lnTo>
                      <a:pt x="260" y="195"/>
                    </a:lnTo>
                    <a:lnTo>
                      <a:pt x="259" y="195"/>
                    </a:lnTo>
                    <a:lnTo>
                      <a:pt x="260" y="196"/>
                    </a:lnTo>
                    <a:lnTo>
                      <a:pt x="261" y="196"/>
                    </a:lnTo>
                    <a:lnTo>
                      <a:pt x="262" y="196"/>
                    </a:lnTo>
                    <a:lnTo>
                      <a:pt x="264" y="196"/>
                    </a:lnTo>
                    <a:lnTo>
                      <a:pt x="264" y="195"/>
                    </a:lnTo>
                    <a:lnTo>
                      <a:pt x="262" y="194"/>
                    </a:lnTo>
                    <a:lnTo>
                      <a:pt x="264" y="194"/>
                    </a:lnTo>
                    <a:lnTo>
                      <a:pt x="265" y="194"/>
                    </a:lnTo>
                    <a:lnTo>
                      <a:pt x="266" y="194"/>
                    </a:lnTo>
                    <a:lnTo>
                      <a:pt x="266" y="195"/>
                    </a:lnTo>
                    <a:lnTo>
                      <a:pt x="266" y="194"/>
                    </a:lnTo>
                    <a:lnTo>
                      <a:pt x="266" y="195"/>
                    </a:lnTo>
                    <a:lnTo>
                      <a:pt x="267" y="195"/>
                    </a:lnTo>
                    <a:lnTo>
                      <a:pt x="268" y="195"/>
                    </a:lnTo>
                    <a:lnTo>
                      <a:pt x="269" y="195"/>
                    </a:lnTo>
                    <a:lnTo>
                      <a:pt x="270" y="195"/>
                    </a:lnTo>
                    <a:lnTo>
                      <a:pt x="270" y="196"/>
                    </a:lnTo>
                    <a:lnTo>
                      <a:pt x="271" y="196"/>
                    </a:lnTo>
                    <a:lnTo>
                      <a:pt x="271" y="197"/>
                    </a:lnTo>
                    <a:lnTo>
                      <a:pt x="271" y="198"/>
                    </a:lnTo>
                    <a:lnTo>
                      <a:pt x="270" y="199"/>
                    </a:lnTo>
                    <a:lnTo>
                      <a:pt x="270" y="200"/>
                    </a:lnTo>
                    <a:lnTo>
                      <a:pt x="270" y="202"/>
                    </a:lnTo>
                    <a:lnTo>
                      <a:pt x="270" y="203"/>
                    </a:lnTo>
                    <a:lnTo>
                      <a:pt x="271" y="203"/>
                    </a:lnTo>
                    <a:lnTo>
                      <a:pt x="271" y="204"/>
                    </a:lnTo>
                    <a:lnTo>
                      <a:pt x="269" y="203"/>
                    </a:lnTo>
                    <a:lnTo>
                      <a:pt x="268" y="203"/>
                    </a:lnTo>
                    <a:lnTo>
                      <a:pt x="267" y="203"/>
                    </a:lnTo>
                    <a:lnTo>
                      <a:pt x="267" y="202"/>
                    </a:lnTo>
                    <a:lnTo>
                      <a:pt x="266" y="202"/>
                    </a:lnTo>
                    <a:lnTo>
                      <a:pt x="265" y="200"/>
                    </a:lnTo>
                    <a:lnTo>
                      <a:pt x="264" y="200"/>
                    </a:lnTo>
                    <a:lnTo>
                      <a:pt x="262" y="199"/>
                    </a:lnTo>
                    <a:lnTo>
                      <a:pt x="262" y="198"/>
                    </a:lnTo>
                    <a:lnTo>
                      <a:pt x="262" y="199"/>
                    </a:lnTo>
                    <a:lnTo>
                      <a:pt x="262" y="198"/>
                    </a:lnTo>
                    <a:lnTo>
                      <a:pt x="261" y="197"/>
                    </a:lnTo>
                    <a:lnTo>
                      <a:pt x="260" y="197"/>
                    </a:lnTo>
                    <a:lnTo>
                      <a:pt x="259" y="197"/>
                    </a:lnTo>
                    <a:lnTo>
                      <a:pt x="258" y="197"/>
                    </a:lnTo>
                    <a:lnTo>
                      <a:pt x="257" y="197"/>
                    </a:lnTo>
                    <a:lnTo>
                      <a:pt x="256" y="197"/>
                    </a:lnTo>
                    <a:lnTo>
                      <a:pt x="256" y="196"/>
                    </a:lnTo>
                    <a:lnTo>
                      <a:pt x="256" y="197"/>
                    </a:lnTo>
                    <a:lnTo>
                      <a:pt x="255" y="196"/>
                    </a:lnTo>
                    <a:lnTo>
                      <a:pt x="255" y="197"/>
                    </a:lnTo>
                    <a:lnTo>
                      <a:pt x="255" y="196"/>
                    </a:lnTo>
                    <a:lnTo>
                      <a:pt x="255" y="195"/>
                    </a:lnTo>
                    <a:lnTo>
                      <a:pt x="255" y="194"/>
                    </a:lnTo>
                    <a:lnTo>
                      <a:pt x="255" y="195"/>
                    </a:lnTo>
                    <a:lnTo>
                      <a:pt x="254" y="195"/>
                    </a:lnTo>
                    <a:lnTo>
                      <a:pt x="254" y="194"/>
                    </a:lnTo>
                    <a:lnTo>
                      <a:pt x="253" y="194"/>
                    </a:lnTo>
                    <a:lnTo>
                      <a:pt x="253" y="193"/>
                    </a:lnTo>
                    <a:lnTo>
                      <a:pt x="253" y="194"/>
                    </a:lnTo>
                    <a:lnTo>
                      <a:pt x="253" y="195"/>
                    </a:lnTo>
                    <a:lnTo>
                      <a:pt x="252" y="194"/>
                    </a:lnTo>
                    <a:lnTo>
                      <a:pt x="251" y="194"/>
                    </a:lnTo>
                    <a:lnTo>
                      <a:pt x="252" y="194"/>
                    </a:lnTo>
                    <a:lnTo>
                      <a:pt x="252" y="195"/>
                    </a:lnTo>
                    <a:lnTo>
                      <a:pt x="252" y="194"/>
                    </a:lnTo>
                    <a:lnTo>
                      <a:pt x="252" y="195"/>
                    </a:lnTo>
                    <a:lnTo>
                      <a:pt x="252" y="196"/>
                    </a:lnTo>
                    <a:lnTo>
                      <a:pt x="253" y="195"/>
                    </a:lnTo>
                    <a:lnTo>
                      <a:pt x="253" y="196"/>
                    </a:lnTo>
                    <a:lnTo>
                      <a:pt x="254" y="196"/>
                    </a:lnTo>
                    <a:lnTo>
                      <a:pt x="253" y="196"/>
                    </a:lnTo>
                    <a:lnTo>
                      <a:pt x="254" y="196"/>
                    </a:lnTo>
                    <a:lnTo>
                      <a:pt x="254" y="197"/>
                    </a:lnTo>
                    <a:lnTo>
                      <a:pt x="253" y="197"/>
                    </a:lnTo>
                    <a:lnTo>
                      <a:pt x="252" y="197"/>
                    </a:lnTo>
                    <a:lnTo>
                      <a:pt x="252" y="198"/>
                    </a:lnTo>
                    <a:lnTo>
                      <a:pt x="251" y="198"/>
                    </a:lnTo>
                    <a:lnTo>
                      <a:pt x="251" y="197"/>
                    </a:lnTo>
                    <a:lnTo>
                      <a:pt x="251" y="196"/>
                    </a:lnTo>
                    <a:lnTo>
                      <a:pt x="249" y="196"/>
                    </a:lnTo>
                    <a:lnTo>
                      <a:pt x="249" y="195"/>
                    </a:lnTo>
                    <a:lnTo>
                      <a:pt x="248" y="195"/>
                    </a:lnTo>
                    <a:lnTo>
                      <a:pt x="248" y="196"/>
                    </a:lnTo>
                    <a:lnTo>
                      <a:pt x="248" y="195"/>
                    </a:lnTo>
                    <a:lnTo>
                      <a:pt x="247" y="195"/>
                    </a:lnTo>
                    <a:lnTo>
                      <a:pt x="246" y="195"/>
                    </a:lnTo>
                    <a:lnTo>
                      <a:pt x="246" y="194"/>
                    </a:lnTo>
                    <a:lnTo>
                      <a:pt x="245" y="194"/>
                    </a:lnTo>
                    <a:lnTo>
                      <a:pt x="244" y="194"/>
                    </a:lnTo>
                    <a:lnTo>
                      <a:pt x="243" y="194"/>
                    </a:lnTo>
                    <a:lnTo>
                      <a:pt x="242" y="194"/>
                    </a:lnTo>
                    <a:lnTo>
                      <a:pt x="241" y="194"/>
                    </a:lnTo>
                    <a:lnTo>
                      <a:pt x="240" y="195"/>
                    </a:lnTo>
                    <a:lnTo>
                      <a:pt x="239" y="195"/>
                    </a:lnTo>
                    <a:lnTo>
                      <a:pt x="239" y="196"/>
                    </a:lnTo>
                    <a:lnTo>
                      <a:pt x="238" y="196"/>
                    </a:lnTo>
                    <a:lnTo>
                      <a:pt x="236" y="196"/>
                    </a:lnTo>
                    <a:lnTo>
                      <a:pt x="236" y="197"/>
                    </a:lnTo>
                    <a:lnTo>
                      <a:pt x="236" y="198"/>
                    </a:lnTo>
                    <a:lnTo>
                      <a:pt x="236" y="199"/>
                    </a:lnTo>
                    <a:lnTo>
                      <a:pt x="235" y="199"/>
                    </a:lnTo>
                    <a:lnTo>
                      <a:pt x="235" y="200"/>
                    </a:lnTo>
                    <a:lnTo>
                      <a:pt x="236" y="200"/>
                    </a:lnTo>
                    <a:lnTo>
                      <a:pt x="236" y="202"/>
                    </a:lnTo>
                    <a:lnTo>
                      <a:pt x="236" y="203"/>
                    </a:lnTo>
                    <a:lnTo>
                      <a:pt x="236" y="204"/>
                    </a:lnTo>
                    <a:lnTo>
                      <a:pt x="235" y="204"/>
                    </a:lnTo>
                    <a:lnTo>
                      <a:pt x="234" y="204"/>
                    </a:lnTo>
                    <a:lnTo>
                      <a:pt x="234" y="205"/>
                    </a:lnTo>
                    <a:lnTo>
                      <a:pt x="233" y="206"/>
                    </a:lnTo>
                    <a:lnTo>
                      <a:pt x="234" y="206"/>
                    </a:lnTo>
                    <a:lnTo>
                      <a:pt x="234" y="207"/>
                    </a:lnTo>
                    <a:lnTo>
                      <a:pt x="233" y="207"/>
                    </a:lnTo>
                    <a:lnTo>
                      <a:pt x="233" y="206"/>
                    </a:lnTo>
                    <a:lnTo>
                      <a:pt x="232" y="206"/>
                    </a:lnTo>
                    <a:lnTo>
                      <a:pt x="232" y="205"/>
                    </a:lnTo>
                    <a:lnTo>
                      <a:pt x="231" y="205"/>
                    </a:lnTo>
                    <a:lnTo>
                      <a:pt x="230" y="205"/>
                    </a:lnTo>
                    <a:lnTo>
                      <a:pt x="229" y="205"/>
                    </a:lnTo>
                    <a:lnTo>
                      <a:pt x="229" y="206"/>
                    </a:lnTo>
                    <a:lnTo>
                      <a:pt x="229" y="205"/>
                    </a:lnTo>
                    <a:lnTo>
                      <a:pt x="228" y="205"/>
                    </a:lnTo>
                    <a:lnTo>
                      <a:pt x="227" y="205"/>
                    </a:lnTo>
                    <a:lnTo>
                      <a:pt x="226" y="205"/>
                    </a:lnTo>
                    <a:lnTo>
                      <a:pt x="225" y="205"/>
                    </a:lnTo>
                    <a:lnTo>
                      <a:pt x="223" y="206"/>
                    </a:lnTo>
                    <a:lnTo>
                      <a:pt x="223" y="205"/>
                    </a:lnTo>
                    <a:lnTo>
                      <a:pt x="222" y="205"/>
                    </a:lnTo>
                    <a:lnTo>
                      <a:pt x="221" y="204"/>
                    </a:lnTo>
                    <a:lnTo>
                      <a:pt x="220" y="204"/>
                    </a:lnTo>
                    <a:lnTo>
                      <a:pt x="219" y="204"/>
                    </a:lnTo>
                    <a:lnTo>
                      <a:pt x="218" y="204"/>
                    </a:lnTo>
                    <a:lnTo>
                      <a:pt x="217" y="204"/>
                    </a:lnTo>
                    <a:lnTo>
                      <a:pt x="217" y="205"/>
                    </a:lnTo>
                    <a:lnTo>
                      <a:pt x="216" y="205"/>
                    </a:lnTo>
                    <a:lnTo>
                      <a:pt x="217" y="206"/>
                    </a:lnTo>
                    <a:lnTo>
                      <a:pt x="218" y="206"/>
                    </a:lnTo>
                    <a:lnTo>
                      <a:pt x="218" y="205"/>
                    </a:lnTo>
                    <a:lnTo>
                      <a:pt x="219" y="205"/>
                    </a:lnTo>
                    <a:lnTo>
                      <a:pt x="219" y="206"/>
                    </a:lnTo>
                    <a:lnTo>
                      <a:pt x="219" y="207"/>
                    </a:lnTo>
                    <a:lnTo>
                      <a:pt x="220" y="207"/>
                    </a:lnTo>
                    <a:lnTo>
                      <a:pt x="220" y="208"/>
                    </a:lnTo>
                    <a:lnTo>
                      <a:pt x="221" y="208"/>
                    </a:lnTo>
                    <a:lnTo>
                      <a:pt x="222" y="208"/>
                    </a:lnTo>
                    <a:lnTo>
                      <a:pt x="221" y="208"/>
                    </a:lnTo>
                    <a:lnTo>
                      <a:pt x="220" y="208"/>
                    </a:lnTo>
                    <a:lnTo>
                      <a:pt x="219" y="208"/>
                    </a:lnTo>
                    <a:lnTo>
                      <a:pt x="219" y="209"/>
                    </a:lnTo>
                    <a:lnTo>
                      <a:pt x="219" y="208"/>
                    </a:lnTo>
                    <a:lnTo>
                      <a:pt x="218" y="208"/>
                    </a:lnTo>
                    <a:lnTo>
                      <a:pt x="217" y="208"/>
                    </a:lnTo>
                    <a:lnTo>
                      <a:pt x="216" y="208"/>
                    </a:lnTo>
                    <a:lnTo>
                      <a:pt x="215" y="208"/>
                    </a:lnTo>
                    <a:lnTo>
                      <a:pt x="216" y="208"/>
                    </a:lnTo>
                    <a:lnTo>
                      <a:pt x="216" y="209"/>
                    </a:lnTo>
                    <a:lnTo>
                      <a:pt x="215" y="209"/>
                    </a:lnTo>
                    <a:lnTo>
                      <a:pt x="214" y="209"/>
                    </a:lnTo>
                    <a:lnTo>
                      <a:pt x="213" y="209"/>
                    </a:lnTo>
                    <a:lnTo>
                      <a:pt x="212" y="209"/>
                    </a:lnTo>
                    <a:lnTo>
                      <a:pt x="210" y="209"/>
                    </a:lnTo>
                    <a:lnTo>
                      <a:pt x="210" y="208"/>
                    </a:lnTo>
                    <a:lnTo>
                      <a:pt x="212" y="208"/>
                    </a:lnTo>
                    <a:lnTo>
                      <a:pt x="212" y="207"/>
                    </a:lnTo>
                    <a:lnTo>
                      <a:pt x="213" y="207"/>
                    </a:lnTo>
                    <a:lnTo>
                      <a:pt x="212" y="207"/>
                    </a:lnTo>
                    <a:lnTo>
                      <a:pt x="210" y="207"/>
                    </a:lnTo>
                    <a:lnTo>
                      <a:pt x="210" y="206"/>
                    </a:lnTo>
                    <a:lnTo>
                      <a:pt x="210" y="205"/>
                    </a:lnTo>
                    <a:lnTo>
                      <a:pt x="209" y="205"/>
                    </a:lnTo>
                    <a:lnTo>
                      <a:pt x="208" y="205"/>
                    </a:lnTo>
                    <a:lnTo>
                      <a:pt x="207" y="205"/>
                    </a:lnTo>
                    <a:lnTo>
                      <a:pt x="206" y="205"/>
                    </a:lnTo>
                    <a:lnTo>
                      <a:pt x="205" y="205"/>
                    </a:lnTo>
                    <a:lnTo>
                      <a:pt x="205" y="206"/>
                    </a:lnTo>
                    <a:lnTo>
                      <a:pt x="205" y="207"/>
                    </a:lnTo>
                    <a:lnTo>
                      <a:pt x="206" y="207"/>
                    </a:lnTo>
                    <a:lnTo>
                      <a:pt x="205" y="207"/>
                    </a:lnTo>
                    <a:lnTo>
                      <a:pt x="205" y="206"/>
                    </a:lnTo>
                    <a:lnTo>
                      <a:pt x="205" y="205"/>
                    </a:lnTo>
                    <a:lnTo>
                      <a:pt x="206" y="205"/>
                    </a:lnTo>
                    <a:lnTo>
                      <a:pt x="206" y="206"/>
                    </a:lnTo>
                    <a:lnTo>
                      <a:pt x="206" y="205"/>
                    </a:lnTo>
                    <a:lnTo>
                      <a:pt x="207" y="205"/>
                    </a:lnTo>
                    <a:lnTo>
                      <a:pt x="208" y="205"/>
                    </a:lnTo>
                    <a:lnTo>
                      <a:pt x="209" y="206"/>
                    </a:lnTo>
                    <a:lnTo>
                      <a:pt x="208" y="207"/>
                    </a:lnTo>
                    <a:lnTo>
                      <a:pt x="207" y="207"/>
                    </a:lnTo>
                    <a:lnTo>
                      <a:pt x="207" y="208"/>
                    </a:lnTo>
                    <a:lnTo>
                      <a:pt x="206" y="208"/>
                    </a:lnTo>
                    <a:lnTo>
                      <a:pt x="206" y="209"/>
                    </a:lnTo>
                    <a:lnTo>
                      <a:pt x="207" y="209"/>
                    </a:lnTo>
                    <a:lnTo>
                      <a:pt x="207" y="210"/>
                    </a:lnTo>
                    <a:lnTo>
                      <a:pt x="208" y="210"/>
                    </a:lnTo>
                    <a:lnTo>
                      <a:pt x="208" y="211"/>
                    </a:lnTo>
                    <a:lnTo>
                      <a:pt x="209" y="211"/>
                    </a:lnTo>
                    <a:lnTo>
                      <a:pt x="210" y="211"/>
                    </a:lnTo>
                    <a:lnTo>
                      <a:pt x="210" y="212"/>
                    </a:lnTo>
                    <a:lnTo>
                      <a:pt x="212" y="212"/>
                    </a:lnTo>
                    <a:lnTo>
                      <a:pt x="212" y="213"/>
                    </a:lnTo>
                    <a:lnTo>
                      <a:pt x="213" y="213"/>
                    </a:lnTo>
                    <a:lnTo>
                      <a:pt x="214" y="213"/>
                    </a:lnTo>
                    <a:lnTo>
                      <a:pt x="213" y="213"/>
                    </a:lnTo>
                    <a:lnTo>
                      <a:pt x="214" y="213"/>
                    </a:lnTo>
                    <a:lnTo>
                      <a:pt x="215" y="213"/>
                    </a:lnTo>
                    <a:lnTo>
                      <a:pt x="215" y="215"/>
                    </a:lnTo>
                    <a:lnTo>
                      <a:pt x="216" y="213"/>
                    </a:lnTo>
                    <a:lnTo>
                      <a:pt x="216" y="212"/>
                    </a:lnTo>
                    <a:lnTo>
                      <a:pt x="217" y="212"/>
                    </a:lnTo>
                    <a:lnTo>
                      <a:pt x="217" y="213"/>
                    </a:lnTo>
                    <a:lnTo>
                      <a:pt x="217" y="215"/>
                    </a:lnTo>
                    <a:lnTo>
                      <a:pt x="217" y="216"/>
                    </a:lnTo>
                    <a:lnTo>
                      <a:pt x="217" y="217"/>
                    </a:lnTo>
                    <a:lnTo>
                      <a:pt x="218" y="217"/>
                    </a:lnTo>
                    <a:lnTo>
                      <a:pt x="219" y="217"/>
                    </a:lnTo>
                    <a:lnTo>
                      <a:pt x="219" y="218"/>
                    </a:lnTo>
                    <a:lnTo>
                      <a:pt x="220" y="218"/>
                    </a:lnTo>
                    <a:lnTo>
                      <a:pt x="219" y="218"/>
                    </a:lnTo>
                    <a:lnTo>
                      <a:pt x="219" y="219"/>
                    </a:lnTo>
                    <a:lnTo>
                      <a:pt x="218" y="219"/>
                    </a:lnTo>
                    <a:lnTo>
                      <a:pt x="218" y="218"/>
                    </a:lnTo>
                    <a:lnTo>
                      <a:pt x="217" y="217"/>
                    </a:lnTo>
                    <a:lnTo>
                      <a:pt x="216" y="217"/>
                    </a:lnTo>
                    <a:lnTo>
                      <a:pt x="215" y="217"/>
                    </a:lnTo>
                    <a:lnTo>
                      <a:pt x="215" y="216"/>
                    </a:lnTo>
                    <a:lnTo>
                      <a:pt x="214" y="216"/>
                    </a:lnTo>
                    <a:lnTo>
                      <a:pt x="213" y="216"/>
                    </a:lnTo>
                    <a:lnTo>
                      <a:pt x="213" y="215"/>
                    </a:lnTo>
                    <a:lnTo>
                      <a:pt x="212" y="216"/>
                    </a:lnTo>
                    <a:lnTo>
                      <a:pt x="210" y="216"/>
                    </a:lnTo>
                    <a:lnTo>
                      <a:pt x="209" y="216"/>
                    </a:lnTo>
                    <a:lnTo>
                      <a:pt x="209" y="217"/>
                    </a:lnTo>
                    <a:lnTo>
                      <a:pt x="209" y="218"/>
                    </a:lnTo>
                    <a:lnTo>
                      <a:pt x="210" y="218"/>
                    </a:lnTo>
                    <a:lnTo>
                      <a:pt x="210" y="217"/>
                    </a:lnTo>
                    <a:lnTo>
                      <a:pt x="210" y="218"/>
                    </a:lnTo>
                    <a:lnTo>
                      <a:pt x="212" y="217"/>
                    </a:lnTo>
                    <a:lnTo>
                      <a:pt x="212" y="218"/>
                    </a:lnTo>
                    <a:lnTo>
                      <a:pt x="212" y="217"/>
                    </a:lnTo>
                    <a:lnTo>
                      <a:pt x="213" y="218"/>
                    </a:lnTo>
                    <a:lnTo>
                      <a:pt x="212" y="218"/>
                    </a:lnTo>
                    <a:lnTo>
                      <a:pt x="212" y="219"/>
                    </a:lnTo>
                    <a:lnTo>
                      <a:pt x="213" y="219"/>
                    </a:lnTo>
                    <a:lnTo>
                      <a:pt x="213" y="220"/>
                    </a:lnTo>
                    <a:lnTo>
                      <a:pt x="213" y="221"/>
                    </a:lnTo>
                    <a:lnTo>
                      <a:pt x="214" y="221"/>
                    </a:lnTo>
                    <a:lnTo>
                      <a:pt x="214" y="222"/>
                    </a:lnTo>
                    <a:lnTo>
                      <a:pt x="215" y="222"/>
                    </a:lnTo>
                    <a:lnTo>
                      <a:pt x="215" y="223"/>
                    </a:lnTo>
                    <a:lnTo>
                      <a:pt x="215" y="224"/>
                    </a:lnTo>
                    <a:lnTo>
                      <a:pt x="216" y="224"/>
                    </a:lnTo>
                    <a:lnTo>
                      <a:pt x="216" y="225"/>
                    </a:lnTo>
                    <a:lnTo>
                      <a:pt x="217" y="226"/>
                    </a:lnTo>
                    <a:lnTo>
                      <a:pt x="218" y="226"/>
                    </a:lnTo>
                    <a:lnTo>
                      <a:pt x="218" y="228"/>
                    </a:lnTo>
                    <a:lnTo>
                      <a:pt x="219" y="228"/>
                    </a:lnTo>
                    <a:lnTo>
                      <a:pt x="219" y="229"/>
                    </a:lnTo>
                    <a:lnTo>
                      <a:pt x="220" y="230"/>
                    </a:lnTo>
                    <a:lnTo>
                      <a:pt x="221" y="230"/>
                    </a:lnTo>
                    <a:lnTo>
                      <a:pt x="222" y="230"/>
                    </a:lnTo>
                    <a:lnTo>
                      <a:pt x="222" y="231"/>
                    </a:lnTo>
                    <a:lnTo>
                      <a:pt x="223" y="231"/>
                    </a:lnTo>
                    <a:lnTo>
                      <a:pt x="225" y="231"/>
                    </a:lnTo>
                    <a:lnTo>
                      <a:pt x="226" y="231"/>
                    </a:lnTo>
                    <a:lnTo>
                      <a:pt x="227" y="231"/>
                    </a:lnTo>
                    <a:lnTo>
                      <a:pt x="228" y="231"/>
                    </a:lnTo>
                    <a:lnTo>
                      <a:pt x="229" y="231"/>
                    </a:lnTo>
                    <a:lnTo>
                      <a:pt x="230" y="231"/>
                    </a:lnTo>
                    <a:lnTo>
                      <a:pt x="231" y="232"/>
                    </a:lnTo>
                    <a:lnTo>
                      <a:pt x="232" y="233"/>
                    </a:lnTo>
                    <a:lnTo>
                      <a:pt x="233" y="233"/>
                    </a:lnTo>
                    <a:lnTo>
                      <a:pt x="234" y="234"/>
                    </a:lnTo>
                    <a:lnTo>
                      <a:pt x="233" y="234"/>
                    </a:lnTo>
                    <a:lnTo>
                      <a:pt x="232" y="234"/>
                    </a:lnTo>
                    <a:lnTo>
                      <a:pt x="231" y="234"/>
                    </a:lnTo>
                    <a:lnTo>
                      <a:pt x="232" y="234"/>
                    </a:lnTo>
                    <a:lnTo>
                      <a:pt x="232" y="235"/>
                    </a:lnTo>
                    <a:lnTo>
                      <a:pt x="231" y="235"/>
                    </a:lnTo>
                    <a:lnTo>
                      <a:pt x="230" y="234"/>
                    </a:lnTo>
                    <a:lnTo>
                      <a:pt x="229" y="234"/>
                    </a:lnTo>
                    <a:lnTo>
                      <a:pt x="228" y="234"/>
                    </a:lnTo>
                    <a:lnTo>
                      <a:pt x="227" y="234"/>
                    </a:lnTo>
                    <a:lnTo>
                      <a:pt x="226" y="234"/>
                    </a:lnTo>
                    <a:lnTo>
                      <a:pt x="225" y="233"/>
                    </a:lnTo>
                    <a:lnTo>
                      <a:pt x="223" y="233"/>
                    </a:lnTo>
                    <a:lnTo>
                      <a:pt x="223" y="232"/>
                    </a:lnTo>
                    <a:lnTo>
                      <a:pt x="223" y="233"/>
                    </a:lnTo>
                    <a:lnTo>
                      <a:pt x="225" y="234"/>
                    </a:lnTo>
                    <a:lnTo>
                      <a:pt x="226" y="234"/>
                    </a:lnTo>
                    <a:lnTo>
                      <a:pt x="226" y="235"/>
                    </a:lnTo>
                    <a:lnTo>
                      <a:pt x="227" y="236"/>
                    </a:lnTo>
                    <a:lnTo>
                      <a:pt x="228" y="236"/>
                    </a:lnTo>
                    <a:lnTo>
                      <a:pt x="228" y="237"/>
                    </a:lnTo>
                    <a:lnTo>
                      <a:pt x="228" y="238"/>
                    </a:lnTo>
                    <a:lnTo>
                      <a:pt x="229" y="238"/>
                    </a:lnTo>
                    <a:lnTo>
                      <a:pt x="230" y="239"/>
                    </a:lnTo>
                    <a:lnTo>
                      <a:pt x="230" y="238"/>
                    </a:lnTo>
                    <a:lnTo>
                      <a:pt x="231" y="239"/>
                    </a:lnTo>
                    <a:lnTo>
                      <a:pt x="231" y="241"/>
                    </a:lnTo>
                    <a:lnTo>
                      <a:pt x="230" y="241"/>
                    </a:lnTo>
                    <a:lnTo>
                      <a:pt x="230" y="239"/>
                    </a:lnTo>
                    <a:lnTo>
                      <a:pt x="229" y="239"/>
                    </a:lnTo>
                    <a:lnTo>
                      <a:pt x="229" y="241"/>
                    </a:lnTo>
                    <a:lnTo>
                      <a:pt x="229" y="239"/>
                    </a:lnTo>
                    <a:lnTo>
                      <a:pt x="228" y="241"/>
                    </a:lnTo>
                    <a:lnTo>
                      <a:pt x="227" y="241"/>
                    </a:lnTo>
                    <a:lnTo>
                      <a:pt x="226" y="241"/>
                    </a:lnTo>
                    <a:lnTo>
                      <a:pt x="225" y="241"/>
                    </a:lnTo>
                    <a:lnTo>
                      <a:pt x="223" y="241"/>
                    </a:lnTo>
                    <a:lnTo>
                      <a:pt x="225" y="242"/>
                    </a:lnTo>
                    <a:lnTo>
                      <a:pt x="226" y="243"/>
                    </a:lnTo>
                    <a:lnTo>
                      <a:pt x="227" y="243"/>
                    </a:lnTo>
                    <a:lnTo>
                      <a:pt x="228" y="243"/>
                    </a:lnTo>
                    <a:lnTo>
                      <a:pt x="228" y="244"/>
                    </a:lnTo>
                    <a:lnTo>
                      <a:pt x="229" y="244"/>
                    </a:lnTo>
                    <a:lnTo>
                      <a:pt x="229" y="245"/>
                    </a:lnTo>
                    <a:lnTo>
                      <a:pt x="230" y="245"/>
                    </a:lnTo>
                    <a:lnTo>
                      <a:pt x="231" y="245"/>
                    </a:lnTo>
                    <a:lnTo>
                      <a:pt x="232" y="245"/>
                    </a:lnTo>
                    <a:lnTo>
                      <a:pt x="232" y="246"/>
                    </a:lnTo>
                    <a:lnTo>
                      <a:pt x="233" y="247"/>
                    </a:lnTo>
                    <a:lnTo>
                      <a:pt x="232" y="247"/>
                    </a:lnTo>
                    <a:lnTo>
                      <a:pt x="232" y="246"/>
                    </a:lnTo>
                    <a:lnTo>
                      <a:pt x="232" y="247"/>
                    </a:lnTo>
                    <a:lnTo>
                      <a:pt x="231" y="247"/>
                    </a:lnTo>
                    <a:lnTo>
                      <a:pt x="230" y="247"/>
                    </a:lnTo>
                    <a:lnTo>
                      <a:pt x="230" y="248"/>
                    </a:lnTo>
                    <a:lnTo>
                      <a:pt x="231" y="248"/>
                    </a:lnTo>
                    <a:lnTo>
                      <a:pt x="230" y="248"/>
                    </a:lnTo>
                    <a:lnTo>
                      <a:pt x="231" y="248"/>
                    </a:lnTo>
                    <a:lnTo>
                      <a:pt x="232" y="248"/>
                    </a:lnTo>
                    <a:lnTo>
                      <a:pt x="231" y="248"/>
                    </a:lnTo>
                    <a:lnTo>
                      <a:pt x="231" y="247"/>
                    </a:lnTo>
                    <a:lnTo>
                      <a:pt x="232" y="247"/>
                    </a:lnTo>
                    <a:lnTo>
                      <a:pt x="232" y="248"/>
                    </a:lnTo>
                    <a:lnTo>
                      <a:pt x="233" y="248"/>
                    </a:lnTo>
                    <a:lnTo>
                      <a:pt x="233" y="249"/>
                    </a:lnTo>
                    <a:lnTo>
                      <a:pt x="232" y="249"/>
                    </a:lnTo>
                    <a:lnTo>
                      <a:pt x="233" y="249"/>
                    </a:lnTo>
                    <a:lnTo>
                      <a:pt x="233" y="250"/>
                    </a:lnTo>
                    <a:lnTo>
                      <a:pt x="233" y="249"/>
                    </a:lnTo>
                    <a:lnTo>
                      <a:pt x="233" y="250"/>
                    </a:lnTo>
                    <a:lnTo>
                      <a:pt x="234" y="250"/>
                    </a:lnTo>
                    <a:lnTo>
                      <a:pt x="234" y="251"/>
                    </a:lnTo>
                    <a:lnTo>
                      <a:pt x="234" y="253"/>
                    </a:lnTo>
                    <a:lnTo>
                      <a:pt x="234" y="254"/>
                    </a:lnTo>
                    <a:lnTo>
                      <a:pt x="234" y="253"/>
                    </a:lnTo>
                    <a:lnTo>
                      <a:pt x="235" y="253"/>
                    </a:lnTo>
                    <a:lnTo>
                      <a:pt x="236" y="253"/>
                    </a:lnTo>
                    <a:lnTo>
                      <a:pt x="236" y="251"/>
                    </a:lnTo>
                    <a:lnTo>
                      <a:pt x="238" y="251"/>
                    </a:lnTo>
                    <a:lnTo>
                      <a:pt x="239" y="251"/>
                    </a:lnTo>
                    <a:lnTo>
                      <a:pt x="240" y="251"/>
                    </a:lnTo>
                    <a:lnTo>
                      <a:pt x="240" y="250"/>
                    </a:lnTo>
                    <a:lnTo>
                      <a:pt x="241" y="251"/>
                    </a:lnTo>
                    <a:lnTo>
                      <a:pt x="241" y="253"/>
                    </a:lnTo>
                    <a:lnTo>
                      <a:pt x="242" y="253"/>
                    </a:lnTo>
                    <a:lnTo>
                      <a:pt x="242" y="254"/>
                    </a:lnTo>
                    <a:lnTo>
                      <a:pt x="242" y="255"/>
                    </a:lnTo>
                    <a:lnTo>
                      <a:pt x="243" y="255"/>
                    </a:lnTo>
                    <a:lnTo>
                      <a:pt x="243" y="256"/>
                    </a:lnTo>
                    <a:lnTo>
                      <a:pt x="244" y="256"/>
                    </a:lnTo>
                    <a:lnTo>
                      <a:pt x="244" y="257"/>
                    </a:lnTo>
                    <a:lnTo>
                      <a:pt x="243" y="256"/>
                    </a:lnTo>
                    <a:lnTo>
                      <a:pt x="242" y="256"/>
                    </a:lnTo>
                    <a:lnTo>
                      <a:pt x="242" y="257"/>
                    </a:lnTo>
                    <a:lnTo>
                      <a:pt x="241" y="257"/>
                    </a:lnTo>
                    <a:lnTo>
                      <a:pt x="241" y="258"/>
                    </a:lnTo>
                    <a:lnTo>
                      <a:pt x="241" y="259"/>
                    </a:lnTo>
                    <a:lnTo>
                      <a:pt x="241" y="260"/>
                    </a:lnTo>
                    <a:lnTo>
                      <a:pt x="242" y="260"/>
                    </a:lnTo>
                    <a:lnTo>
                      <a:pt x="242" y="259"/>
                    </a:lnTo>
                    <a:lnTo>
                      <a:pt x="243" y="259"/>
                    </a:lnTo>
                    <a:lnTo>
                      <a:pt x="244" y="259"/>
                    </a:lnTo>
                    <a:lnTo>
                      <a:pt x="244" y="260"/>
                    </a:lnTo>
                    <a:lnTo>
                      <a:pt x="244" y="261"/>
                    </a:lnTo>
                    <a:lnTo>
                      <a:pt x="243" y="260"/>
                    </a:lnTo>
                    <a:lnTo>
                      <a:pt x="242" y="260"/>
                    </a:lnTo>
                    <a:lnTo>
                      <a:pt x="242" y="261"/>
                    </a:lnTo>
                    <a:lnTo>
                      <a:pt x="243" y="261"/>
                    </a:lnTo>
                    <a:lnTo>
                      <a:pt x="243" y="262"/>
                    </a:lnTo>
                    <a:lnTo>
                      <a:pt x="244" y="262"/>
                    </a:lnTo>
                    <a:lnTo>
                      <a:pt x="243" y="263"/>
                    </a:lnTo>
                    <a:lnTo>
                      <a:pt x="243" y="264"/>
                    </a:lnTo>
                    <a:lnTo>
                      <a:pt x="242" y="264"/>
                    </a:lnTo>
                    <a:lnTo>
                      <a:pt x="241" y="264"/>
                    </a:lnTo>
                    <a:lnTo>
                      <a:pt x="241" y="263"/>
                    </a:lnTo>
                    <a:lnTo>
                      <a:pt x="240" y="263"/>
                    </a:lnTo>
                    <a:lnTo>
                      <a:pt x="240" y="262"/>
                    </a:lnTo>
                    <a:lnTo>
                      <a:pt x="240" y="263"/>
                    </a:lnTo>
                    <a:lnTo>
                      <a:pt x="239" y="263"/>
                    </a:lnTo>
                    <a:lnTo>
                      <a:pt x="238" y="263"/>
                    </a:lnTo>
                    <a:lnTo>
                      <a:pt x="238" y="264"/>
                    </a:lnTo>
                    <a:lnTo>
                      <a:pt x="236" y="264"/>
                    </a:lnTo>
                    <a:lnTo>
                      <a:pt x="235" y="264"/>
                    </a:lnTo>
                    <a:lnTo>
                      <a:pt x="235" y="266"/>
                    </a:lnTo>
                    <a:lnTo>
                      <a:pt x="235" y="264"/>
                    </a:lnTo>
                    <a:lnTo>
                      <a:pt x="236" y="264"/>
                    </a:lnTo>
                    <a:lnTo>
                      <a:pt x="236" y="263"/>
                    </a:lnTo>
                    <a:lnTo>
                      <a:pt x="238" y="263"/>
                    </a:lnTo>
                    <a:lnTo>
                      <a:pt x="236" y="262"/>
                    </a:lnTo>
                    <a:lnTo>
                      <a:pt x="235" y="261"/>
                    </a:lnTo>
                    <a:lnTo>
                      <a:pt x="235" y="262"/>
                    </a:lnTo>
                    <a:lnTo>
                      <a:pt x="234" y="262"/>
                    </a:lnTo>
                    <a:lnTo>
                      <a:pt x="234" y="261"/>
                    </a:lnTo>
                    <a:lnTo>
                      <a:pt x="233" y="261"/>
                    </a:lnTo>
                    <a:lnTo>
                      <a:pt x="233" y="262"/>
                    </a:lnTo>
                    <a:lnTo>
                      <a:pt x="234" y="262"/>
                    </a:lnTo>
                    <a:lnTo>
                      <a:pt x="233" y="262"/>
                    </a:lnTo>
                    <a:lnTo>
                      <a:pt x="232" y="262"/>
                    </a:lnTo>
                    <a:lnTo>
                      <a:pt x="231" y="262"/>
                    </a:lnTo>
                    <a:lnTo>
                      <a:pt x="231" y="261"/>
                    </a:lnTo>
                    <a:lnTo>
                      <a:pt x="230" y="262"/>
                    </a:lnTo>
                    <a:lnTo>
                      <a:pt x="231" y="262"/>
                    </a:lnTo>
                    <a:lnTo>
                      <a:pt x="231" y="263"/>
                    </a:lnTo>
                    <a:lnTo>
                      <a:pt x="232" y="263"/>
                    </a:lnTo>
                    <a:lnTo>
                      <a:pt x="232" y="264"/>
                    </a:lnTo>
                    <a:lnTo>
                      <a:pt x="232" y="263"/>
                    </a:lnTo>
                    <a:lnTo>
                      <a:pt x="233" y="263"/>
                    </a:lnTo>
                    <a:lnTo>
                      <a:pt x="233" y="264"/>
                    </a:lnTo>
                    <a:lnTo>
                      <a:pt x="234" y="264"/>
                    </a:lnTo>
                    <a:lnTo>
                      <a:pt x="233" y="264"/>
                    </a:lnTo>
                    <a:lnTo>
                      <a:pt x="233" y="266"/>
                    </a:lnTo>
                    <a:lnTo>
                      <a:pt x="234" y="266"/>
                    </a:lnTo>
                    <a:lnTo>
                      <a:pt x="235" y="266"/>
                    </a:lnTo>
                    <a:lnTo>
                      <a:pt x="236" y="266"/>
                    </a:lnTo>
                    <a:lnTo>
                      <a:pt x="236" y="264"/>
                    </a:lnTo>
                    <a:lnTo>
                      <a:pt x="238" y="264"/>
                    </a:lnTo>
                    <a:lnTo>
                      <a:pt x="239" y="264"/>
                    </a:lnTo>
                    <a:lnTo>
                      <a:pt x="240" y="264"/>
                    </a:lnTo>
                    <a:lnTo>
                      <a:pt x="239" y="264"/>
                    </a:lnTo>
                    <a:lnTo>
                      <a:pt x="239" y="266"/>
                    </a:lnTo>
                    <a:lnTo>
                      <a:pt x="238" y="266"/>
                    </a:lnTo>
                    <a:lnTo>
                      <a:pt x="239" y="266"/>
                    </a:lnTo>
                    <a:lnTo>
                      <a:pt x="240" y="266"/>
                    </a:lnTo>
                    <a:lnTo>
                      <a:pt x="241" y="266"/>
                    </a:lnTo>
                    <a:lnTo>
                      <a:pt x="238" y="267"/>
                    </a:lnTo>
                    <a:lnTo>
                      <a:pt x="236" y="267"/>
                    </a:lnTo>
                    <a:lnTo>
                      <a:pt x="234" y="268"/>
                    </a:lnTo>
                    <a:lnTo>
                      <a:pt x="233" y="268"/>
                    </a:lnTo>
                    <a:lnTo>
                      <a:pt x="232" y="268"/>
                    </a:lnTo>
                    <a:lnTo>
                      <a:pt x="232" y="269"/>
                    </a:lnTo>
                    <a:lnTo>
                      <a:pt x="233" y="269"/>
                    </a:lnTo>
                    <a:lnTo>
                      <a:pt x="233" y="270"/>
                    </a:lnTo>
                    <a:lnTo>
                      <a:pt x="234" y="270"/>
                    </a:lnTo>
                    <a:lnTo>
                      <a:pt x="233" y="270"/>
                    </a:lnTo>
                    <a:lnTo>
                      <a:pt x="233" y="269"/>
                    </a:lnTo>
                    <a:lnTo>
                      <a:pt x="233" y="270"/>
                    </a:lnTo>
                    <a:lnTo>
                      <a:pt x="234" y="270"/>
                    </a:lnTo>
                    <a:lnTo>
                      <a:pt x="235" y="270"/>
                    </a:lnTo>
                    <a:lnTo>
                      <a:pt x="236" y="269"/>
                    </a:lnTo>
                    <a:lnTo>
                      <a:pt x="238" y="269"/>
                    </a:lnTo>
                    <a:lnTo>
                      <a:pt x="239" y="269"/>
                    </a:lnTo>
                    <a:lnTo>
                      <a:pt x="240" y="270"/>
                    </a:lnTo>
                    <a:lnTo>
                      <a:pt x="240" y="271"/>
                    </a:lnTo>
                    <a:lnTo>
                      <a:pt x="239" y="271"/>
                    </a:lnTo>
                    <a:lnTo>
                      <a:pt x="238" y="271"/>
                    </a:lnTo>
                    <a:lnTo>
                      <a:pt x="238" y="272"/>
                    </a:lnTo>
                    <a:lnTo>
                      <a:pt x="238" y="273"/>
                    </a:lnTo>
                    <a:lnTo>
                      <a:pt x="239" y="272"/>
                    </a:lnTo>
                    <a:lnTo>
                      <a:pt x="240" y="272"/>
                    </a:lnTo>
                    <a:lnTo>
                      <a:pt x="241" y="272"/>
                    </a:lnTo>
                    <a:lnTo>
                      <a:pt x="242" y="272"/>
                    </a:lnTo>
                    <a:lnTo>
                      <a:pt x="243" y="272"/>
                    </a:lnTo>
                    <a:lnTo>
                      <a:pt x="243" y="273"/>
                    </a:lnTo>
                    <a:lnTo>
                      <a:pt x="244" y="274"/>
                    </a:lnTo>
                    <a:lnTo>
                      <a:pt x="245" y="274"/>
                    </a:lnTo>
                    <a:lnTo>
                      <a:pt x="246" y="274"/>
                    </a:lnTo>
                    <a:lnTo>
                      <a:pt x="246" y="275"/>
                    </a:lnTo>
                    <a:lnTo>
                      <a:pt x="247" y="275"/>
                    </a:lnTo>
                    <a:lnTo>
                      <a:pt x="247" y="276"/>
                    </a:lnTo>
                    <a:lnTo>
                      <a:pt x="247" y="277"/>
                    </a:lnTo>
                    <a:lnTo>
                      <a:pt x="248" y="277"/>
                    </a:lnTo>
                    <a:lnTo>
                      <a:pt x="249" y="277"/>
                    </a:lnTo>
                    <a:lnTo>
                      <a:pt x="251" y="277"/>
                    </a:lnTo>
                    <a:lnTo>
                      <a:pt x="251" y="279"/>
                    </a:lnTo>
                    <a:lnTo>
                      <a:pt x="252" y="279"/>
                    </a:lnTo>
                    <a:lnTo>
                      <a:pt x="253" y="277"/>
                    </a:lnTo>
                    <a:lnTo>
                      <a:pt x="253" y="279"/>
                    </a:lnTo>
                    <a:lnTo>
                      <a:pt x="254" y="277"/>
                    </a:lnTo>
                    <a:lnTo>
                      <a:pt x="255" y="277"/>
                    </a:lnTo>
                    <a:lnTo>
                      <a:pt x="255" y="279"/>
                    </a:lnTo>
                    <a:lnTo>
                      <a:pt x="256" y="279"/>
                    </a:lnTo>
                    <a:lnTo>
                      <a:pt x="255" y="277"/>
                    </a:lnTo>
                    <a:lnTo>
                      <a:pt x="254" y="277"/>
                    </a:lnTo>
                    <a:lnTo>
                      <a:pt x="253" y="277"/>
                    </a:lnTo>
                    <a:lnTo>
                      <a:pt x="252" y="277"/>
                    </a:lnTo>
                    <a:lnTo>
                      <a:pt x="252" y="276"/>
                    </a:lnTo>
                    <a:lnTo>
                      <a:pt x="251" y="276"/>
                    </a:lnTo>
                    <a:lnTo>
                      <a:pt x="252" y="275"/>
                    </a:lnTo>
                    <a:lnTo>
                      <a:pt x="253" y="275"/>
                    </a:lnTo>
                    <a:lnTo>
                      <a:pt x="253" y="276"/>
                    </a:lnTo>
                    <a:lnTo>
                      <a:pt x="254" y="275"/>
                    </a:lnTo>
                    <a:lnTo>
                      <a:pt x="255" y="275"/>
                    </a:lnTo>
                    <a:lnTo>
                      <a:pt x="256" y="275"/>
                    </a:lnTo>
                    <a:lnTo>
                      <a:pt x="257" y="275"/>
                    </a:lnTo>
                    <a:lnTo>
                      <a:pt x="258" y="275"/>
                    </a:lnTo>
                    <a:lnTo>
                      <a:pt x="258" y="274"/>
                    </a:lnTo>
                    <a:lnTo>
                      <a:pt x="259" y="274"/>
                    </a:lnTo>
                    <a:lnTo>
                      <a:pt x="260" y="274"/>
                    </a:lnTo>
                    <a:lnTo>
                      <a:pt x="259" y="275"/>
                    </a:lnTo>
                    <a:lnTo>
                      <a:pt x="258" y="275"/>
                    </a:lnTo>
                    <a:lnTo>
                      <a:pt x="259" y="276"/>
                    </a:lnTo>
                    <a:lnTo>
                      <a:pt x="258" y="276"/>
                    </a:lnTo>
                    <a:lnTo>
                      <a:pt x="259" y="276"/>
                    </a:lnTo>
                    <a:lnTo>
                      <a:pt x="259" y="277"/>
                    </a:lnTo>
                    <a:lnTo>
                      <a:pt x="260" y="277"/>
                    </a:lnTo>
                    <a:lnTo>
                      <a:pt x="261" y="277"/>
                    </a:lnTo>
                    <a:lnTo>
                      <a:pt x="261" y="279"/>
                    </a:lnTo>
                    <a:lnTo>
                      <a:pt x="262" y="279"/>
                    </a:lnTo>
                    <a:lnTo>
                      <a:pt x="261" y="279"/>
                    </a:lnTo>
                    <a:lnTo>
                      <a:pt x="260" y="279"/>
                    </a:lnTo>
                    <a:lnTo>
                      <a:pt x="260" y="277"/>
                    </a:lnTo>
                    <a:lnTo>
                      <a:pt x="260" y="279"/>
                    </a:lnTo>
                    <a:lnTo>
                      <a:pt x="260" y="277"/>
                    </a:lnTo>
                    <a:lnTo>
                      <a:pt x="259" y="277"/>
                    </a:lnTo>
                    <a:lnTo>
                      <a:pt x="259" y="276"/>
                    </a:lnTo>
                    <a:lnTo>
                      <a:pt x="258" y="276"/>
                    </a:lnTo>
                    <a:lnTo>
                      <a:pt x="258" y="277"/>
                    </a:lnTo>
                    <a:lnTo>
                      <a:pt x="259" y="277"/>
                    </a:lnTo>
                    <a:lnTo>
                      <a:pt x="259" y="279"/>
                    </a:lnTo>
                    <a:lnTo>
                      <a:pt x="260" y="279"/>
                    </a:lnTo>
                    <a:lnTo>
                      <a:pt x="260" y="280"/>
                    </a:lnTo>
                    <a:lnTo>
                      <a:pt x="260" y="281"/>
                    </a:lnTo>
                    <a:lnTo>
                      <a:pt x="261" y="281"/>
                    </a:lnTo>
                    <a:lnTo>
                      <a:pt x="261" y="282"/>
                    </a:lnTo>
                    <a:lnTo>
                      <a:pt x="262" y="283"/>
                    </a:lnTo>
                    <a:lnTo>
                      <a:pt x="262" y="284"/>
                    </a:lnTo>
                    <a:lnTo>
                      <a:pt x="264" y="284"/>
                    </a:lnTo>
                    <a:lnTo>
                      <a:pt x="265" y="284"/>
                    </a:lnTo>
                    <a:lnTo>
                      <a:pt x="265" y="285"/>
                    </a:lnTo>
                    <a:lnTo>
                      <a:pt x="265" y="284"/>
                    </a:lnTo>
                    <a:lnTo>
                      <a:pt x="266" y="284"/>
                    </a:lnTo>
                    <a:lnTo>
                      <a:pt x="266" y="283"/>
                    </a:lnTo>
                    <a:lnTo>
                      <a:pt x="266" y="282"/>
                    </a:lnTo>
                    <a:lnTo>
                      <a:pt x="267" y="283"/>
                    </a:lnTo>
                    <a:lnTo>
                      <a:pt x="268" y="283"/>
                    </a:lnTo>
                    <a:lnTo>
                      <a:pt x="268" y="284"/>
                    </a:lnTo>
                    <a:lnTo>
                      <a:pt x="268" y="285"/>
                    </a:lnTo>
                    <a:lnTo>
                      <a:pt x="269" y="285"/>
                    </a:lnTo>
                    <a:lnTo>
                      <a:pt x="270" y="285"/>
                    </a:lnTo>
                    <a:lnTo>
                      <a:pt x="270" y="286"/>
                    </a:lnTo>
                    <a:lnTo>
                      <a:pt x="271" y="286"/>
                    </a:lnTo>
                    <a:lnTo>
                      <a:pt x="272" y="286"/>
                    </a:lnTo>
                    <a:lnTo>
                      <a:pt x="273" y="286"/>
                    </a:lnTo>
                    <a:lnTo>
                      <a:pt x="272" y="286"/>
                    </a:lnTo>
                    <a:lnTo>
                      <a:pt x="273" y="285"/>
                    </a:lnTo>
                    <a:lnTo>
                      <a:pt x="273" y="286"/>
                    </a:lnTo>
                    <a:lnTo>
                      <a:pt x="274" y="286"/>
                    </a:lnTo>
                    <a:lnTo>
                      <a:pt x="274" y="285"/>
                    </a:lnTo>
                    <a:lnTo>
                      <a:pt x="274" y="286"/>
                    </a:lnTo>
                    <a:lnTo>
                      <a:pt x="274" y="285"/>
                    </a:lnTo>
                    <a:lnTo>
                      <a:pt x="276" y="285"/>
                    </a:lnTo>
                    <a:lnTo>
                      <a:pt x="274" y="285"/>
                    </a:lnTo>
                    <a:lnTo>
                      <a:pt x="274" y="284"/>
                    </a:lnTo>
                    <a:lnTo>
                      <a:pt x="273" y="284"/>
                    </a:lnTo>
                    <a:lnTo>
                      <a:pt x="272" y="284"/>
                    </a:lnTo>
                    <a:lnTo>
                      <a:pt x="272" y="285"/>
                    </a:lnTo>
                    <a:lnTo>
                      <a:pt x="272" y="286"/>
                    </a:lnTo>
                    <a:lnTo>
                      <a:pt x="271" y="285"/>
                    </a:lnTo>
                    <a:lnTo>
                      <a:pt x="272" y="285"/>
                    </a:lnTo>
                    <a:lnTo>
                      <a:pt x="271" y="285"/>
                    </a:lnTo>
                    <a:lnTo>
                      <a:pt x="271" y="284"/>
                    </a:lnTo>
                    <a:lnTo>
                      <a:pt x="272" y="284"/>
                    </a:lnTo>
                    <a:lnTo>
                      <a:pt x="273" y="284"/>
                    </a:lnTo>
                    <a:lnTo>
                      <a:pt x="274" y="284"/>
                    </a:lnTo>
                    <a:lnTo>
                      <a:pt x="274" y="285"/>
                    </a:lnTo>
                    <a:lnTo>
                      <a:pt x="276" y="285"/>
                    </a:lnTo>
                    <a:lnTo>
                      <a:pt x="277" y="285"/>
                    </a:lnTo>
                    <a:lnTo>
                      <a:pt x="278" y="286"/>
                    </a:lnTo>
                    <a:lnTo>
                      <a:pt x="277" y="286"/>
                    </a:lnTo>
                    <a:lnTo>
                      <a:pt x="277" y="287"/>
                    </a:lnTo>
                    <a:lnTo>
                      <a:pt x="276" y="287"/>
                    </a:lnTo>
                    <a:lnTo>
                      <a:pt x="274" y="287"/>
                    </a:lnTo>
                    <a:lnTo>
                      <a:pt x="273" y="287"/>
                    </a:lnTo>
                    <a:lnTo>
                      <a:pt x="273" y="288"/>
                    </a:lnTo>
                    <a:lnTo>
                      <a:pt x="272" y="288"/>
                    </a:lnTo>
                    <a:lnTo>
                      <a:pt x="272" y="289"/>
                    </a:lnTo>
                    <a:lnTo>
                      <a:pt x="272" y="290"/>
                    </a:lnTo>
                    <a:lnTo>
                      <a:pt x="273" y="290"/>
                    </a:lnTo>
                    <a:lnTo>
                      <a:pt x="273" y="292"/>
                    </a:lnTo>
                    <a:lnTo>
                      <a:pt x="274" y="292"/>
                    </a:lnTo>
                    <a:lnTo>
                      <a:pt x="274" y="293"/>
                    </a:lnTo>
                    <a:lnTo>
                      <a:pt x="276" y="293"/>
                    </a:lnTo>
                    <a:lnTo>
                      <a:pt x="276" y="294"/>
                    </a:lnTo>
                    <a:lnTo>
                      <a:pt x="277" y="294"/>
                    </a:lnTo>
                    <a:lnTo>
                      <a:pt x="278" y="294"/>
                    </a:lnTo>
                    <a:lnTo>
                      <a:pt x="278" y="293"/>
                    </a:lnTo>
                    <a:lnTo>
                      <a:pt x="279" y="293"/>
                    </a:lnTo>
                    <a:lnTo>
                      <a:pt x="280" y="293"/>
                    </a:lnTo>
                    <a:lnTo>
                      <a:pt x="281" y="293"/>
                    </a:lnTo>
                    <a:lnTo>
                      <a:pt x="281" y="292"/>
                    </a:lnTo>
                    <a:lnTo>
                      <a:pt x="281" y="290"/>
                    </a:lnTo>
                    <a:lnTo>
                      <a:pt x="282" y="290"/>
                    </a:lnTo>
                    <a:lnTo>
                      <a:pt x="283" y="290"/>
                    </a:lnTo>
                    <a:lnTo>
                      <a:pt x="284" y="290"/>
                    </a:lnTo>
                    <a:lnTo>
                      <a:pt x="284" y="289"/>
                    </a:lnTo>
                    <a:lnTo>
                      <a:pt x="284" y="290"/>
                    </a:lnTo>
                    <a:lnTo>
                      <a:pt x="284" y="292"/>
                    </a:lnTo>
                    <a:lnTo>
                      <a:pt x="285" y="293"/>
                    </a:lnTo>
                    <a:lnTo>
                      <a:pt x="286" y="292"/>
                    </a:lnTo>
                    <a:lnTo>
                      <a:pt x="286" y="293"/>
                    </a:lnTo>
                    <a:lnTo>
                      <a:pt x="287" y="293"/>
                    </a:lnTo>
                    <a:lnTo>
                      <a:pt x="289" y="292"/>
                    </a:lnTo>
                    <a:lnTo>
                      <a:pt x="287" y="293"/>
                    </a:lnTo>
                    <a:lnTo>
                      <a:pt x="289" y="293"/>
                    </a:lnTo>
                    <a:lnTo>
                      <a:pt x="290" y="292"/>
                    </a:lnTo>
                    <a:lnTo>
                      <a:pt x="290" y="290"/>
                    </a:lnTo>
                    <a:lnTo>
                      <a:pt x="289" y="290"/>
                    </a:lnTo>
                    <a:lnTo>
                      <a:pt x="290" y="290"/>
                    </a:lnTo>
                    <a:lnTo>
                      <a:pt x="291" y="290"/>
                    </a:lnTo>
                    <a:lnTo>
                      <a:pt x="292" y="290"/>
                    </a:lnTo>
                    <a:lnTo>
                      <a:pt x="291" y="290"/>
                    </a:lnTo>
                    <a:lnTo>
                      <a:pt x="292" y="290"/>
                    </a:lnTo>
                    <a:lnTo>
                      <a:pt x="292" y="289"/>
                    </a:lnTo>
                    <a:lnTo>
                      <a:pt x="293" y="289"/>
                    </a:lnTo>
                    <a:lnTo>
                      <a:pt x="294" y="289"/>
                    </a:lnTo>
                    <a:lnTo>
                      <a:pt x="295" y="289"/>
                    </a:lnTo>
                    <a:lnTo>
                      <a:pt x="296" y="289"/>
                    </a:lnTo>
                    <a:lnTo>
                      <a:pt x="296" y="290"/>
                    </a:lnTo>
                    <a:lnTo>
                      <a:pt x="297" y="290"/>
                    </a:lnTo>
                    <a:lnTo>
                      <a:pt x="297" y="289"/>
                    </a:lnTo>
                    <a:lnTo>
                      <a:pt x="298" y="289"/>
                    </a:lnTo>
                    <a:lnTo>
                      <a:pt x="299" y="289"/>
                    </a:lnTo>
                    <a:lnTo>
                      <a:pt x="298" y="289"/>
                    </a:lnTo>
                    <a:lnTo>
                      <a:pt x="298" y="290"/>
                    </a:lnTo>
                    <a:lnTo>
                      <a:pt x="299" y="290"/>
                    </a:lnTo>
                    <a:lnTo>
                      <a:pt x="298" y="292"/>
                    </a:lnTo>
                    <a:lnTo>
                      <a:pt x="298" y="293"/>
                    </a:lnTo>
                    <a:lnTo>
                      <a:pt x="298" y="292"/>
                    </a:lnTo>
                    <a:lnTo>
                      <a:pt x="297" y="292"/>
                    </a:lnTo>
                    <a:lnTo>
                      <a:pt x="296" y="292"/>
                    </a:lnTo>
                    <a:lnTo>
                      <a:pt x="296" y="290"/>
                    </a:lnTo>
                    <a:lnTo>
                      <a:pt x="296" y="292"/>
                    </a:lnTo>
                    <a:lnTo>
                      <a:pt x="295" y="292"/>
                    </a:lnTo>
                    <a:lnTo>
                      <a:pt x="295" y="290"/>
                    </a:lnTo>
                    <a:lnTo>
                      <a:pt x="294" y="290"/>
                    </a:lnTo>
                    <a:lnTo>
                      <a:pt x="293" y="290"/>
                    </a:lnTo>
                    <a:lnTo>
                      <a:pt x="293" y="292"/>
                    </a:lnTo>
                    <a:lnTo>
                      <a:pt x="294" y="292"/>
                    </a:lnTo>
                    <a:lnTo>
                      <a:pt x="295" y="292"/>
                    </a:lnTo>
                    <a:lnTo>
                      <a:pt x="296" y="292"/>
                    </a:lnTo>
                    <a:lnTo>
                      <a:pt x="296" y="293"/>
                    </a:lnTo>
                    <a:lnTo>
                      <a:pt x="297" y="293"/>
                    </a:lnTo>
                    <a:lnTo>
                      <a:pt x="296" y="293"/>
                    </a:lnTo>
                    <a:lnTo>
                      <a:pt x="296" y="294"/>
                    </a:lnTo>
                    <a:lnTo>
                      <a:pt x="296" y="293"/>
                    </a:lnTo>
                    <a:lnTo>
                      <a:pt x="295" y="294"/>
                    </a:lnTo>
                    <a:lnTo>
                      <a:pt x="295" y="293"/>
                    </a:lnTo>
                    <a:lnTo>
                      <a:pt x="294" y="293"/>
                    </a:lnTo>
                    <a:lnTo>
                      <a:pt x="294" y="292"/>
                    </a:lnTo>
                    <a:lnTo>
                      <a:pt x="293" y="293"/>
                    </a:lnTo>
                    <a:lnTo>
                      <a:pt x="293" y="292"/>
                    </a:lnTo>
                    <a:lnTo>
                      <a:pt x="292" y="292"/>
                    </a:lnTo>
                    <a:lnTo>
                      <a:pt x="292" y="293"/>
                    </a:lnTo>
                    <a:lnTo>
                      <a:pt x="293" y="293"/>
                    </a:lnTo>
                    <a:lnTo>
                      <a:pt x="294" y="293"/>
                    </a:lnTo>
                    <a:lnTo>
                      <a:pt x="294" y="294"/>
                    </a:lnTo>
                    <a:lnTo>
                      <a:pt x="295" y="294"/>
                    </a:lnTo>
                    <a:lnTo>
                      <a:pt x="296" y="294"/>
                    </a:lnTo>
                    <a:lnTo>
                      <a:pt x="296" y="295"/>
                    </a:lnTo>
                    <a:lnTo>
                      <a:pt x="295" y="295"/>
                    </a:lnTo>
                    <a:lnTo>
                      <a:pt x="294" y="295"/>
                    </a:lnTo>
                    <a:lnTo>
                      <a:pt x="295" y="295"/>
                    </a:lnTo>
                    <a:lnTo>
                      <a:pt x="295" y="296"/>
                    </a:lnTo>
                    <a:lnTo>
                      <a:pt x="295" y="295"/>
                    </a:lnTo>
                    <a:lnTo>
                      <a:pt x="296" y="296"/>
                    </a:lnTo>
                    <a:lnTo>
                      <a:pt x="295" y="296"/>
                    </a:lnTo>
                    <a:lnTo>
                      <a:pt x="295" y="297"/>
                    </a:lnTo>
                    <a:lnTo>
                      <a:pt x="295" y="298"/>
                    </a:lnTo>
                    <a:lnTo>
                      <a:pt x="295" y="299"/>
                    </a:lnTo>
                    <a:lnTo>
                      <a:pt x="296" y="300"/>
                    </a:lnTo>
                    <a:lnTo>
                      <a:pt x="297" y="300"/>
                    </a:lnTo>
                    <a:lnTo>
                      <a:pt x="298" y="300"/>
                    </a:lnTo>
                    <a:lnTo>
                      <a:pt x="298" y="299"/>
                    </a:lnTo>
                    <a:lnTo>
                      <a:pt x="299" y="299"/>
                    </a:lnTo>
                    <a:lnTo>
                      <a:pt x="299" y="300"/>
                    </a:lnTo>
                    <a:lnTo>
                      <a:pt x="299" y="301"/>
                    </a:lnTo>
                    <a:lnTo>
                      <a:pt x="299" y="302"/>
                    </a:lnTo>
                    <a:lnTo>
                      <a:pt x="300" y="302"/>
                    </a:lnTo>
                    <a:lnTo>
                      <a:pt x="302" y="302"/>
                    </a:lnTo>
                    <a:lnTo>
                      <a:pt x="302" y="303"/>
                    </a:lnTo>
                    <a:lnTo>
                      <a:pt x="300" y="303"/>
                    </a:lnTo>
                    <a:lnTo>
                      <a:pt x="299" y="302"/>
                    </a:lnTo>
                    <a:lnTo>
                      <a:pt x="299" y="303"/>
                    </a:lnTo>
                    <a:lnTo>
                      <a:pt x="299" y="302"/>
                    </a:lnTo>
                    <a:lnTo>
                      <a:pt x="298" y="302"/>
                    </a:lnTo>
                    <a:lnTo>
                      <a:pt x="298" y="303"/>
                    </a:lnTo>
                    <a:lnTo>
                      <a:pt x="299" y="305"/>
                    </a:lnTo>
                    <a:lnTo>
                      <a:pt x="300" y="305"/>
                    </a:lnTo>
                    <a:lnTo>
                      <a:pt x="300" y="306"/>
                    </a:lnTo>
                    <a:lnTo>
                      <a:pt x="302" y="306"/>
                    </a:lnTo>
                    <a:lnTo>
                      <a:pt x="303" y="306"/>
                    </a:lnTo>
                    <a:lnTo>
                      <a:pt x="303" y="307"/>
                    </a:lnTo>
                    <a:lnTo>
                      <a:pt x="303" y="308"/>
                    </a:lnTo>
                    <a:lnTo>
                      <a:pt x="304" y="308"/>
                    </a:lnTo>
                    <a:lnTo>
                      <a:pt x="304" y="309"/>
                    </a:lnTo>
                    <a:lnTo>
                      <a:pt x="305" y="309"/>
                    </a:lnTo>
                    <a:lnTo>
                      <a:pt x="305" y="310"/>
                    </a:lnTo>
                    <a:lnTo>
                      <a:pt x="306" y="310"/>
                    </a:lnTo>
                    <a:lnTo>
                      <a:pt x="306" y="311"/>
                    </a:lnTo>
                    <a:lnTo>
                      <a:pt x="307" y="311"/>
                    </a:lnTo>
                    <a:lnTo>
                      <a:pt x="307" y="310"/>
                    </a:lnTo>
                    <a:lnTo>
                      <a:pt x="307" y="311"/>
                    </a:lnTo>
                    <a:lnTo>
                      <a:pt x="308" y="311"/>
                    </a:lnTo>
                    <a:lnTo>
                      <a:pt x="307" y="311"/>
                    </a:lnTo>
                    <a:lnTo>
                      <a:pt x="307" y="310"/>
                    </a:lnTo>
                    <a:lnTo>
                      <a:pt x="308" y="310"/>
                    </a:lnTo>
                    <a:lnTo>
                      <a:pt x="308" y="309"/>
                    </a:lnTo>
                    <a:lnTo>
                      <a:pt x="307" y="309"/>
                    </a:lnTo>
                    <a:lnTo>
                      <a:pt x="307" y="308"/>
                    </a:lnTo>
                    <a:lnTo>
                      <a:pt x="308" y="308"/>
                    </a:lnTo>
                    <a:lnTo>
                      <a:pt x="307" y="308"/>
                    </a:lnTo>
                    <a:lnTo>
                      <a:pt x="307" y="307"/>
                    </a:lnTo>
                    <a:lnTo>
                      <a:pt x="307" y="308"/>
                    </a:lnTo>
                    <a:lnTo>
                      <a:pt x="307" y="307"/>
                    </a:lnTo>
                    <a:lnTo>
                      <a:pt x="308" y="307"/>
                    </a:lnTo>
                    <a:lnTo>
                      <a:pt x="308" y="306"/>
                    </a:lnTo>
                    <a:lnTo>
                      <a:pt x="307" y="306"/>
                    </a:lnTo>
                    <a:lnTo>
                      <a:pt x="308" y="306"/>
                    </a:lnTo>
                    <a:lnTo>
                      <a:pt x="308" y="305"/>
                    </a:lnTo>
                    <a:lnTo>
                      <a:pt x="307" y="305"/>
                    </a:lnTo>
                    <a:lnTo>
                      <a:pt x="306" y="305"/>
                    </a:lnTo>
                    <a:lnTo>
                      <a:pt x="306" y="306"/>
                    </a:lnTo>
                    <a:lnTo>
                      <a:pt x="307" y="306"/>
                    </a:lnTo>
                    <a:lnTo>
                      <a:pt x="306" y="306"/>
                    </a:lnTo>
                    <a:lnTo>
                      <a:pt x="306" y="305"/>
                    </a:lnTo>
                    <a:lnTo>
                      <a:pt x="307" y="305"/>
                    </a:lnTo>
                    <a:lnTo>
                      <a:pt x="307" y="303"/>
                    </a:lnTo>
                    <a:lnTo>
                      <a:pt x="306" y="303"/>
                    </a:lnTo>
                    <a:lnTo>
                      <a:pt x="306" y="302"/>
                    </a:lnTo>
                    <a:lnTo>
                      <a:pt x="307" y="302"/>
                    </a:lnTo>
                    <a:lnTo>
                      <a:pt x="307" y="301"/>
                    </a:lnTo>
                    <a:lnTo>
                      <a:pt x="307" y="302"/>
                    </a:lnTo>
                    <a:lnTo>
                      <a:pt x="308" y="302"/>
                    </a:lnTo>
                    <a:lnTo>
                      <a:pt x="308" y="303"/>
                    </a:lnTo>
                    <a:lnTo>
                      <a:pt x="309" y="303"/>
                    </a:lnTo>
                    <a:lnTo>
                      <a:pt x="309" y="305"/>
                    </a:lnTo>
                    <a:lnTo>
                      <a:pt x="310" y="306"/>
                    </a:lnTo>
                    <a:lnTo>
                      <a:pt x="311" y="306"/>
                    </a:lnTo>
                    <a:lnTo>
                      <a:pt x="312" y="307"/>
                    </a:lnTo>
                    <a:lnTo>
                      <a:pt x="312" y="308"/>
                    </a:lnTo>
                    <a:lnTo>
                      <a:pt x="312" y="309"/>
                    </a:lnTo>
                    <a:lnTo>
                      <a:pt x="312" y="310"/>
                    </a:lnTo>
                    <a:lnTo>
                      <a:pt x="313" y="310"/>
                    </a:lnTo>
                    <a:lnTo>
                      <a:pt x="313" y="311"/>
                    </a:lnTo>
                    <a:lnTo>
                      <a:pt x="313" y="312"/>
                    </a:lnTo>
                    <a:lnTo>
                      <a:pt x="313" y="313"/>
                    </a:lnTo>
                    <a:lnTo>
                      <a:pt x="313" y="314"/>
                    </a:lnTo>
                    <a:lnTo>
                      <a:pt x="315" y="314"/>
                    </a:lnTo>
                    <a:lnTo>
                      <a:pt x="316" y="314"/>
                    </a:lnTo>
                    <a:lnTo>
                      <a:pt x="316" y="313"/>
                    </a:lnTo>
                    <a:lnTo>
                      <a:pt x="316" y="314"/>
                    </a:lnTo>
                    <a:lnTo>
                      <a:pt x="317" y="314"/>
                    </a:lnTo>
                    <a:lnTo>
                      <a:pt x="318" y="314"/>
                    </a:lnTo>
                    <a:lnTo>
                      <a:pt x="318" y="313"/>
                    </a:lnTo>
                    <a:lnTo>
                      <a:pt x="318" y="312"/>
                    </a:lnTo>
                    <a:lnTo>
                      <a:pt x="319" y="311"/>
                    </a:lnTo>
                    <a:lnTo>
                      <a:pt x="318" y="311"/>
                    </a:lnTo>
                    <a:lnTo>
                      <a:pt x="319" y="311"/>
                    </a:lnTo>
                    <a:lnTo>
                      <a:pt x="320" y="311"/>
                    </a:lnTo>
                    <a:lnTo>
                      <a:pt x="320" y="310"/>
                    </a:lnTo>
                    <a:lnTo>
                      <a:pt x="321" y="310"/>
                    </a:lnTo>
                    <a:lnTo>
                      <a:pt x="321" y="311"/>
                    </a:lnTo>
                    <a:lnTo>
                      <a:pt x="320" y="311"/>
                    </a:lnTo>
                    <a:lnTo>
                      <a:pt x="320" y="312"/>
                    </a:lnTo>
                    <a:lnTo>
                      <a:pt x="319" y="312"/>
                    </a:lnTo>
                    <a:lnTo>
                      <a:pt x="319" y="313"/>
                    </a:lnTo>
                    <a:lnTo>
                      <a:pt x="319" y="314"/>
                    </a:lnTo>
                    <a:lnTo>
                      <a:pt x="319" y="315"/>
                    </a:lnTo>
                    <a:lnTo>
                      <a:pt x="320" y="315"/>
                    </a:lnTo>
                    <a:lnTo>
                      <a:pt x="319" y="315"/>
                    </a:lnTo>
                    <a:lnTo>
                      <a:pt x="319" y="316"/>
                    </a:lnTo>
                    <a:lnTo>
                      <a:pt x="320" y="318"/>
                    </a:lnTo>
                    <a:lnTo>
                      <a:pt x="320" y="319"/>
                    </a:lnTo>
                    <a:lnTo>
                      <a:pt x="321" y="319"/>
                    </a:lnTo>
                    <a:lnTo>
                      <a:pt x="321" y="320"/>
                    </a:lnTo>
                    <a:lnTo>
                      <a:pt x="322" y="320"/>
                    </a:lnTo>
                    <a:lnTo>
                      <a:pt x="323" y="321"/>
                    </a:lnTo>
                    <a:lnTo>
                      <a:pt x="324" y="321"/>
                    </a:lnTo>
                    <a:lnTo>
                      <a:pt x="325" y="321"/>
                    </a:lnTo>
                    <a:lnTo>
                      <a:pt x="325" y="322"/>
                    </a:lnTo>
                    <a:lnTo>
                      <a:pt x="326" y="322"/>
                    </a:lnTo>
                    <a:lnTo>
                      <a:pt x="328" y="322"/>
                    </a:lnTo>
                    <a:lnTo>
                      <a:pt x="329" y="322"/>
                    </a:lnTo>
                    <a:lnTo>
                      <a:pt x="329" y="321"/>
                    </a:lnTo>
                    <a:lnTo>
                      <a:pt x="329" y="320"/>
                    </a:lnTo>
                    <a:lnTo>
                      <a:pt x="330" y="319"/>
                    </a:lnTo>
                    <a:lnTo>
                      <a:pt x="331" y="319"/>
                    </a:lnTo>
                    <a:lnTo>
                      <a:pt x="331" y="318"/>
                    </a:lnTo>
                    <a:lnTo>
                      <a:pt x="332" y="318"/>
                    </a:lnTo>
                    <a:lnTo>
                      <a:pt x="332" y="316"/>
                    </a:lnTo>
                    <a:lnTo>
                      <a:pt x="332" y="318"/>
                    </a:lnTo>
                    <a:lnTo>
                      <a:pt x="333" y="318"/>
                    </a:lnTo>
                    <a:lnTo>
                      <a:pt x="333" y="316"/>
                    </a:lnTo>
                    <a:lnTo>
                      <a:pt x="333" y="318"/>
                    </a:lnTo>
                    <a:lnTo>
                      <a:pt x="334" y="318"/>
                    </a:lnTo>
                    <a:lnTo>
                      <a:pt x="334" y="316"/>
                    </a:lnTo>
                    <a:lnTo>
                      <a:pt x="334" y="318"/>
                    </a:lnTo>
                    <a:lnTo>
                      <a:pt x="335" y="318"/>
                    </a:lnTo>
                    <a:lnTo>
                      <a:pt x="335" y="316"/>
                    </a:lnTo>
                    <a:lnTo>
                      <a:pt x="336" y="316"/>
                    </a:lnTo>
                    <a:lnTo>
                      <a:pt x="336" y="318"/>
                    </a:lnTo>
                    <a:lnTo>
                      <a:pt x="336" y="316"/>
                    </a:lnTo>
                    <a:lnTo>
                      <a:pt x="337" y="315"/>
                    </a:lnTo>
                    <a:lnTo>
                      <a:pt x="337" y="316"/>
                    </a:lnTo>
                    <a:lnTo>
                      <a:pt x="337" y="315"/>
                    </a:lnTo>
                    <a:lnTo>
                      <a:pt x="338" y="314"/>
                    </a:lnTo>
                    <a:lnTo>
                      <a:pt x="338" y="315"/>
                    </a:lnTo>
                    <a:lnTo>
                      <a:pt x="339" y="315"/>
                    </a:lnTo>
                    <a:lnTo>
                      <a:pt x="338" y="315"/>
                    </a:lnTo>
                    <a:lnTo>
                      <a:pt x="338" y="316"/>
                    </a:lnTo>
                    <a:lnTo>
                      <a:pt x="337" y="316"/>
                    </a:lnTo>
                    <a:lnTo>
                      <a:pt x="337" y="318"/>
                    </a:lnTo>
                    <a:lnTo>
                      <a:pt x="336" y="318"/>
                    </a:lnTo>
                    <a:lnTo>
                      <a:pt x="336" y="319"/>
                    </a:lnTo>
                    <a:lnTo>
                      <a:pt x="335" y="320"/>
                    </a:lnTo>
                    <a:lnTo>
                      <a:pt x="334" y="319"/>
                    </a:lnTo>
                    <a:lnTo>
                      <a:pt x="333" y="319"/>
                    </a:lnTo>
                    <a:lnTo>
                      <a:pt x="332" y="319"/>
                    </a:lnTo>
                    <a:lnTo>
                      <a:pt x="331" y="319"/>
                    </a:lnTo>
                    <a:lnTo>
                      <a:pt x="331" y="320"/>
                    </a:lnTo>
                    <a:lnTo>
                      <a:pt x="330" y="320"/>
                    </a:lnTo>
                    <a:lnTo>
                      <a:pt x="330" y="321"/>
                    </a:lnTo>
                    <a:lnTo>
                      <a:pt x="330" y="322"/>
                    </a:lnTo>
                    <a:lnTo>
                      <a:pt x="329" y="322"/>
                    </a:lnTo>
                    <a:lnTo>
                      <a:pt x="330" y="322"/>
                    </a:lnTo>
                    <a:lnTo>
                      <a:pt x="329" y="322"/>
                    </a:lnTo>
                    <a:lnTo>
                      <a:pt x="330" y="322"/>
                    </a:lnTo>
                    <a:lnTo>
                      <a:pt x="330" y="323"/>
                    </a:lnTo>
                    <a:lnTo>
                      <a:pt x="329" y="323"/>
                    </a:lnTo>
                    <a:lnTo>
                      <a:pt x="329" y="324"/>
                    </a:lnTo>
                    <a:lnTo>
                      <a:pt x="328" y="324"/>
                    </a:lnTo>
                    <a:lnTo>
                      <a:pt x="328" y="323"/>
                    </a:lnTo>
                    <a:lnTo>
                      <a:pt x="326" y="323"/>
                    </a:lnTo>
                    <a:lnTo>
                      <a:pt x="326" y="324"/>
                    </a:lnTo>
                    <a:lnTo>
                      <a:pt x="328" y="324"/>
                    </a:lnTo>
                    <a:lnTo>
                      <a:pt x="328" y="325"/>
                    </a:lnTo>
                    <a:lnTo>
                      <a:pt x="326" y="325"/>
                    </a:lnTo>
                    <a:lnTo>
                      <a:pt x="326" y="326"/>
                    </a:lnTo>
                    <a:lnTo>
                      <a:pt x="325" y="326"/>
                    </a:lnTo>
                    <a:lnTo>
                      <a:pt x="325" y="327"/>
                    </a:lnTo>
                    <a:lnTo>
                      <a:pt x="326" y="327"/>
                    </a:lnTo>
                    <a:lnTo>
                      <a:pt x="328" y="328"/>
                    </a:lnTo>
                    <a:lnTo>
                      <a:pt x="329" y="328"/>
                    </a:lnTo>
                    <a:lnTo>
                      <a:pt x="329" y="329"/>
                    </a:lnTo>
                    <a:lnTo>
                      <a:pt x="328" y="329"/>
                    </a:lnTo>
                    <a:lnTo>
                      <a:pt x="326" y="331"/>
                    </a:lnTo>
                    <a:lnTo>
                      <a:pt x="325" y="331"/>
                    </a:lnTo>
                    <a:lnTo>
                      <a:pt x="325" y="329"/>
                    </a:lnTo>
                    <a:lnTo>
                      <a:pt x="325" y="328"/>
                    </a:lnTo>
                    <a:lnTo>
                      <a:pt x="324" y="328"/>
                    </a:lnTo>
                    <a:lnTo>
                      <a:pt x="323" y="328"/>
                    </a:lnTo>
                    <a:lnTo>
                      <a:pt x="323" y="327"/>
                    </a:lnTo>
                    <a:lnTo>
                      <a:pt x="322" y="327"/>
                    </a:lnTo>
                    <a:lnTo>
                      <a:pt x="322" y="326"/>
                    </a:lnTo>
                    <a:lnTo>
                      <a:pt x="321" y="326"/>
                    </a:lnTo>
                    <a:lnTo>
                      <a:pt x="320" y="326"/>
                    </a:lnTo>
                    <a:lnTo>
                      <a:pt x="320" y="327"/>
                    </a:lnTo>
                    <a:lnTo>
                      <a:pt x="320" y="326"/>
                    </a:lnTo>
                    <a:lnTo>
                      <a:pt x="320" y="325"/>
                    </a:lnTo>
                    <a:lnTo>
                      <a:pt x="320" y="324"/>
                    </a:lnTo>
                    <a:lnTo>
                      <a:pt x="320" y="323"/>
                    </a:lnTo>
                    <a:lnTo>
                      <a:pt x="320" y="322"/>
                    </a:lnTo>
                    <a:lnTo>
                      <a:pt x="320" y="323"/>
                    </a:lnTo>
                    <a:lnTo>
                      <a:pt x="321" y="323"/>
                    </a:lnTo>
                    <a:lnTo>
                      <a:pt x="322" y="323"/>
                    </a:lnTo>
                    <a:lnTo>
                      <a:pt x="322" y="322"/>
                    </a:lnTo>
                    <a:lnTo>
                      <a:pt x="322" y="321"/>
                    </a:lnTo>
                    <a:lnTo>
                      <a:pt x="322" y="320"/>
                    </a:lnTo>
                    <a:lnTo>
                      <a:pt x="322" y="321"/>
                    </a:lnTo>
                    <a:lnTo>
                      <a:pt x="321" y="320"/>
                    </a:lnTo>
                    <a:lnTo>
                      <a:pt x="321" y="321"/>
                    </a:lnTo>
                    <a:lnTo>
                      <a:pt x="321" y="322"/>
                    </a:lnTo>
                    <a:lnTo>
                      <a:pt x="320" y="322"/>
                    </a:lnTo>
                    <a:lnTo>
                      <a:pt x="320" y="321"/>
                    </a:lnTo>
                    <a:lnTo>
                      <a:pt x="319" y="321"/>
                    </a:lnTo>
                    <a:lnTo>
                      <a:pt x="319" y="320"/>
                    </a:lnTo>
                    <a:lnTo>
                      <a:pt x="318" y="320"/>
                    </a:lnTo>
                    <a:lnTo>
                      <a:pt x="317" y="320"/>
                    </a:lnTo>
                    <a:lnTo>
                      <a:pt x="317" y="319"/>
                    </a:lnTo>
                    <a:lnTo>
                      <a:pt x="317" y="318"/>
                    </a:lnTo>
                    <a:lnTo>
                      <a:pt x="317" y="319"/>
                    </a:lnTo>
                    <a:lnTo>
                      <a:pt x="317" y="318"/>
                    </a:lnTo>
                    <a:lnTo>
                      <a:pt x="317" y="319"/>
                    </a:lnTo>
                    <a:lnTo>
                      <a:pt x="316" y="319"/>
                    </a:lnTo>
                    <a:lnTo>
                      <a:pt x="316" y="318"/>
                    </a:lnTo>
                    <a:lnTo>
                      <a:pt x="316" y="319"/>
                    </a:lnTo>
                    <a:lnTo>
                      <a:pt x="316" y="320"/>
                    </a:lnTo>
                    <a:lnTo>
                      <a:pt x="316" y="321"/>
                    </a:lnTo>
                    <a:lnTo>
                      <a:pt x="315" y="321"/>
                    </a:lnTo>
                    <a:lnTo>
                      <a:pt x="315" y="320"/>
                    </a:lnTo>
                    <a:lnTo>
                      <a:pt x="315" y="321"/>
                    </a:lnTo>
                    <a:lnTo>
                      <a:pt x="316" y="321"/>
                    </a:lnTo>
                    <a:lnTo>
                      <a:pt x="316" y="322"/>
                    </a:lnTo>
                    <a:lnTo>
                      <a:pt x="316" y="323"/>
                    </a:lnTo>
                    <a:lnTo>
                      <a:pt x="315" y="323"/>
                    </a:lnTo>
                    <a:lnTo>
                      <a:pt x="315" y="324"/>
                    </a:lnTo>
                    <a:lnTo>
                      <a:pt x="316" y="324"/>
                    </a:lnTo>
                    <a:lnTo>
                      <a:pt x="315" y="324"/>
                    </a:lnTo>
                    <a:lnTo>
                      <a:pt x="315" y="323"/>
                    </a:lnTo>
                    <a:lnTo>
                      <a:pt x="313" y="323"/>
                    </a:lnTo>
                    <a:lnTo>
                      <a:pt x="312" y="323"/>
                    </a:lnTo>
                    <a:lnTo>
                      <a:pt x="312" y="324"/>
                    </a:lnTo>
                    <a:lnTo>
                      <a:pt x="312" y="325"/>
                    </a:lnTo>
                    <a:lnTo>
                      <a:pt x="312" y="326"/>
                    </a:lnTo>
                    <a:lnTo>
                      <a:pt x="312" y="327"/>
                    </a:lnTo>
                    <a:lnTo>
                      <a:pt x="312" y="328"/>
                    </a:lnTo>
                    <a:lnTo>
                      <a:pt x="313" y="329"/>
                    </a:lnTo>
                    <a:lnTo>
                      <a:pt x="315" y="329"/>
                    </a:lnTo>
                    <a:lnTo>
                      <a:pt x="316" y="329"/>
                    </a:lnTo>
                    <a:lnTo>
                      <a:pt x="316" y="331"/>
                    </a:lnTo>
                    <a:lnTo>
                      <a:pt x="317" y="331"/>
                    </a:lnTo>
                    <a:lnTo>
                      <a:pt x="318" y="331"/>
                    </a:lnTo>
                    <a:lnTo>
                      <a:pt x="318" y="332"/>
                    </a:lnTo>
                    <a:lnTo>
                      <a:pt x="318" y="333"/>
                    </a:lnTo>
                    <a:lnTo>
                      <a:pt x="319" y="333"/>
                    </a:lnTo>
                    <a:lnTo>
                      <a:pt x="320" y="333"/>
                    </a:lnTo>
                    <a:lnTo>
                      <a:pt x="320" y="334"/>
                    </a:lnTo>
                    <a:lnTo>
                      <a:pt x="319" y="335"/>
                    </a:lnTo>
                    <a:lnTo>
                      <a:pt x="319" y="336"/>
                    </a:lnTo>
                    <a:lnTo>
                      <a:pt x="319" y="335"/>
                    </a:lnTo>
                    <a:lnTo>
                      <a:pt x="320" y="335"/>
                    </a:lnTo>
                    <a:lnTo>
                      <a:pt x="321" y="335"/>
                    </a:lnTo>
                    <a:lnTo>
                      <a:pt x="322" y="335"/>
                    </a:lnTo>
                    <a:lnTo>
                      <a:pt x="322" y="334"/>
                    </a:lnTo>
                    <a:lnTo>
                      <a:pt x="322" y="333"/>
                    </a:lnTo>
                    <a:lnTo>
                      <a:pt x="321" y="333"/>
                    </a:lnTo>
                    <a:lnTo>
                      <a:pt x="322" y="333"/>
                    </a:lnTo>
                    <a:lnTo>
                      <a:pt x="323" y="333"/>
                    </a:lnTo>
                    <a:lnTo>
                      <a:pt x="324" y="333"/>
                    </a:lnTo>
                    <a:lnTo>
                      <a:pt x="324" y="334"/>
                    </a:lnTo>
                    <a:lnTo>
                      <a:pt x="324" y="335"/>
                    </a:lnTo>
                    <a:lnTo>
                      <a:pt x="324" y="334"/>
                    </a:lnTo>
                    <a:lnTo>
                      <a:pt x="325" y="334"/>
                    </a:lnTo>
                    <a:lnTo>
                      <a:pt x="326" y="334"/>
                    </a:lnTo>
                    <a:lnTo>
                      <a:pt x="326" y="335"/>
                    </a:lnTo>
                    <a:lnTo>
                      <a:pt x="325" y="335"/>
                    </a:lnTo>
                    <a:lnTo>
                      <a:pt x="325" y="336"/>
                    </a:lnTo>
                    <a:lnTo>
                      <a:pt x="325" y="335"/>
                    </a:lnTo>
                    <a:lnTo>
                      <a:pt x="324" y="335"/>
                    </a:lnTo>
                    <a:lnTo>
                      <a:pt x="323" y="335"/>
                    </a:lnTo>
                    <a:lnTo>
                      <a:pt x="323" y="336"/>
                    </a:lnTo>
                    <a:lnTo>
                      <a:pt x="322" y="336"/>
                    </a:lnTo>
                    <a:lnTo>
                      <a:pt x="322" y="337"/>
                    </a:lnTo>
                    <a:lnTo>
                      <a:pt x="322" y="338"/>
                    </a:lnTo>
                    <a:lnTo>
                      <a:pt x="323" y="338"/>
                    </a:lnTo>
                    <a:lnTo>
                      <a:pt x="323" y="339"/>
                    </a:lnTo>
                    <a:lnTo>
                      <a:pt x="324" y="339"/>
                    </a:lnTo>
                    <a:lnTo>
                      <a:pt x="324" y="340"/>
                    </a:lnTo>
                    <a:lnTo>
                      <a:pt x="325" y="340"/>
                    </a:lnTo>
                    <a:lnTo>
                      <a:pt x="325" y="341"/>
                    </a:lnTo>
                    <a:lnTo>
                      <a:pt x="326" y="341"/>
                    </a:lnTo>
                    <a:lnTo>
                      <a:pt x="326" y="343"/>
                    </a:lnTo>
                    <a:lnTo>
                      <a:pt x="328" y="343"/>
                    </a:lnTo>
                    <a:lnTo>
                      <a:pt x="328" y="341"/>
                    </a:lnTo>
                    <a:lnTo>
                      <a:pt x="328" y="343"/>
                    </a:lnTo>
                    <a:lnTo>
                      <a:pt x="326" y="343"/>
                    </a:lnTo>
                    <a:lnTo>
                      <a:pt x="325" y="343"/>
                    </a:lnTo>
                    <a:lnTo>
                      <a:pt x="325" y="341"/>
                    </a:lnTo>
                    <a:lnTo>
                      <a:pt x="325" y="343"/>
                    </a:lnTo>
                    <a:lnTo>
                      <a:pt x="325" y="344"/>
                    </a:lnTo>
                    <a:lnTo>
                      <a:pt x="325" y="345"/>
                    </a:lnTo>
                    <a:lnTo>
                      <a:pt x="326" y="346"/>
                    </a:lnTo>
                    <a:lnTo>
                      <a:pt x="326" y="347"/>
                    </a:lnTo>
                    <a:lnTo>
                      <a:pt x="326" y="346"/>
                    </a:lnTo>
                    <a:lnTo>
                      <a:pt x="326" y="347"/>
                    </a:lnTo>
                    <a:lnTo>
                      <a:pt x="326" y="346"/>
                    </a:lnTo>
                    <a:lnTo>
                      <a:pt x="326" y="347"/>
                    </a:lnTo>
                    <a:lnTo>
                      <a:pt x="325" y="347"/>
                    </a:lnTo>
                    <a:lnTo>
                      <a:pt x="325" y="346"/>
                    </a:lnTo>
                    <a:lnTo>
                      <a:pt x="324" y="346"/>
                    </a:lnTo>
                    <a:lnTo>
                      <a:pt x="323" y="345"/>
                    </a:lnTo>
                    <a:lnTo>
                      <a:pt x="322" y="344"/>
                    </a:lnTo>
                    <a:lnTo>
                      <a:pt x="323" y="344"/>
                    </a:lnTo>
                    <a:lnTo>
                      <a:pt x="323" y="343"/>
                    </a:lnTo>
                    <a:lnTo>
                      <a:pt x="323" y="341"/>
                    </a:lnTo>
                    <a:lnTo>
                      <a:pt x="324" y="341"/>
                    </a:lnTo>
                    <a:lnTo>
                      <a:pt x="323" y="340"/>
                    </a:lnTo>
                    <a:lnTo>
                      <a:pt x="323" y="341"/>
                    </a:lnTo>
                    <a:lnTo>
                      <a:pt x="323" y="340"/>
                    </a:lnTo>
                    <a:lnTo>
                      <a:pt x="322" y="340"/>
                    </a:lnTo>
                    <a:lnTo>
                      <a:pt x="321" y="339"/>
                    </a:lnTo>
                    <a:lnTo>
                      <a:pt x="320" y="339"/>
                    </a:lnTo>
                    <a:lnTo>
                      <a:pt x="320" y="340"/>
                    </a:lnTo>
                    <a:lnTo>
                      <a:pt x="320" y="341"/>
                    </a:lnTo>
                    <a:lnTo>
                      <a:pt x="319" y="341"/>
                    </a:lnTo>
                    <a:lnTo>
                      <a:pt x="320" y="343"/>
                    </a:lnTo>
                    <a:lnTo>
                      <a:pt x="320" y="344"/>
                    </a:lnTo>
                    <a:lnTo>
                      <a:pt x="319" y="344"/>
                    </a:lnTo>
                    <a:lnTo>
                      <a:pt x="319" y="343"/>
                    </a:lnTo>
                    <a:lnTo>
                      <a:pt x="319" y="341"/>
                    </a:lnTo>
                    <a:lnTo>
                      <a:pt x="319" y="340"/>
                    </a:lnTo>
                    <a:lnTo>
                      <a:pt x="318" y="340"/>
                    </a:lnTo>
                    <a:lnTo>
                      <a:pt x="318" y="339"/>
                    </a:lnTo>
                    <a:lnTo>
                      <a:pt x="317" y="339"/>
                    </a:lnTo>
                    <a:lnTo>
                      <a:pt x="317" y="338"/>
                    </a:lnTo>
                    <a:lnTo>
                      <a:pt x="316" y="338"/>
                    </a:lnTo>
                    <a:lnTo>
                      <a:pt x="316" y="339"/>
                    </a:lnTo>
                    <a:lnTo>
                      <a:pt x="316" y="340"/>
                    </a:lnTo>
                    <a:lnTo>
                      <a:pt x="316" y="341"/>
                    </a:lnTo>
                    <a:lnTo>
                      <a:pt x="315" y="341"/>
                    </a:lnTo>
                    <a:lnTo>
                      <a:pt x="315" y="343"/>
                    </a:lnTo>
                    <a:lnTo>
                      <a:pt x="313" y="343"/>
                    </a:lnTo>
                    <a:lnTo>
                      <a:pt x="313" y="344"/>
                    </a:lnTo>
                    <a:lnTo>
                      <a:pt x="312" y="344"/>
                    </a:lnTo>
                    <a:lnTo>
                      <a:pt x="311" y="343"/>
                    </a:lnTo>
                    <a:lnTo>
                      <a:pt x="311" y="344"/>
                    </a:lnTo>
                    <a:lnTo>
                      <a:pt x="310" y="343"/>
                    </a:lnTo>
                    <a:lnTo>
                      <a:pt x="309" y="343"/>
                    </a:lnTo>
                    <a:lnTo>
                      <a:pt x="308" y="343"/>
                    </a:lnTo>
                    <a:lnTo>
                      <a:pt x="308" y="344"/>
                    </a:lnTo>
                    <a:lnTo>
                      <a:pt x="309" y="344"/>
                    </a:lnTo>
                    <a:lnTo>
                      <a:pt x="310" y="344"/>
                    </a:lnTo>
                    <a:lnTo>
                      <a:pt x="311" y="344"/>
                    </a:lnTo>
                    <a:lnTo>
                      <a:pt x="311" y="345"/>
                    </a:lnTo>
                    <a:lnTo>
                      <a:pt x="310" y="345"/>
                    </a:lnTo>
                    <a:lnTo>
                      <a:pt x="309" y="345"/>
                    </a:lnTo>
                    <a:lnTo>
                      <a:pt x="308" y="345"/>
                    </a:lnTo>
                    <a:lnTo>
                      <a:pt x="307" y="345"/>
                    </a:lnTo>
                    <a:lnTo>
                      <a:pt x="307" y="346"/>
                    </a:lnTo>
                    <a:lnTo>
                      <a:pt x="308" y="346"/>
                    </a:lnTo>
                    <a:lnTo>
                      <a:pt x="308" y="347"/>
                    </a:lnTo>
                    <a:lnTo>
                      <a:pt x="307" y="347"/>
                    </a:lnTo>
                    <a:lnTo>
                      <a:pt x="307" y="348"/>
                    </a:lnTo>
                    <a:lnTo>
                      <a:pt x="308" y="348"/>
                    </a:lnTo>
                    <a:lnTo>
                      <a:pt x="307" y="349"/>
                    </a:lnTo>
                    <a:lnTo>
                      <a:pt x="307" y="348"/>
                    </a:lnTo>
                    <a:lnTo>
                      <a:pt x="306" y="348"/>
                    </a:lnTo>
                    <a:lnTo>
                      <a:pt x="305" y="348"/>
                    </a:lnTo>
                    <a:lnTo>
                      <a:pt x="305" y="349"/>
                    </a:lnTo>
                    <a:lnTo>
                      <a:pt x="306" y="349"/>
                    </a:lnTo>
                    <a:lnTo>
                      <a:pt x="305" y="349"/>
                    </a:lnTo>
                    <a:lnTo>
                      <a:pt x="305" y="350"/>
                    </a:lnTo>
                    <a:lnTo>
                      <a:pt x="306" y="349"/>
                    </a:lnTo>
                    <a:lnTo>
                      <a:pt x="306" y="350"/>
                    </a:lnTo>
                    <a:lnTo>
                      <a:pt x="307" y="350"/>
                    </a:lnTo>
                    <a:lnTo>
                      <a:pt x="307" y="351"/>
                    </a:lnTo>
                    <a:lnTo>
                      <a:pt x="306" y="351"/>
                    </a:lnTo>
                    <a:lnTo>
                      <a:pt x="306" y="352"/>
                    </a:lnTo>
                    <a:lnTo>
                      <a:pt x="307" y="352"/>
                    </a:lnTo>
                    <a:lnTo>
                      <a:pt x="307" y="351"/>
                    </a:lnTo>
                    <a:lnTo>
                      <a:pt x="307" y="352"/>
                    </a:lnTo>
                    <a:lnTo>
                      <a:pt x="306" y="352"/>
                    </a:lnTo>
                    <a:lnTo>
                      <a:pt x="305" y="352"/>
                    </a:lnTo>
                    <a:lnTo>
                      <a:pt x="306" y="352"/>
                    </a:lnTo>
                    <a:lnTo>
                      <a:pt x="306" y="353"/>
                    </a:lnTo>
                    <a:lnTo>
                      <a:pt x="307" y="353"/>
                    </a:lnTo>
                    <a:lnTo>
                      <a:pt x="307" y="354"/>
                    </a:lnTo>
                    <a:lnTo>
                      <a:pt x="308" y="354"/>
                    </a:lnTo>
                    <a:lnTo>
                      <a:pt x="308" y="353"/>
                    </a:lnTo>
                    <a:lnTo>
                      <a:pt x="308" y="354"/>
                    </a:lnTo>
                    <a:lnTo>
                      <a:pt x="308" y="353"/>
                    </a:lnTo>
                    <a:lnTo>
                      <a:pt x="309" y="353"/>
                    </a:lnTo>
                    <a:lnTo>
                      <a:pt x="309" y="352"/>
                    </a:lnTo>
                    <a:lnTo>
                      <a:pt x="309" y="351"/>
                    </a:lnTo>
                    <a:lnTo>
                      <a:pt x="308" y="350"/>
                    </a:lnTo>
                    <a:lnTo>
                      <a:pt x="309" y="350"/>
                    </a:lnTo>
                    <a:lnTo>
                      <a:pt x="310" y="351"/>
                    </a:lnTo>
                    <a:lnTo>
                      <a:pt x="311" y="351"/>
                    </a:lnTo>
                    <a:lnTo>
                      <a:pt x="312" y="351"/>
                    </a:lnTo>
                    <a:lnTo>
                      <a:pt x="311" y="352"/>
                    </a:lnTo>
                    <a:lnTo>
                      <a:pt x="312" y="352"/>
                    </a:lnTo>
                    <a:lnTo>
                      <a:pt x="312" y="351"/>
                    </a:lnTo>
                    <a:lnTo>
                      <a:pt x="312" y="352"/>
                    </a:lnTo>
                    <a:lnTo>
                      <a:pt x="312" y="353"/>
                    </a:lnTo>
                    <a:lnTo>
                      <a:pt x="311" y="354"/>
                    </a:lnTo>
                    <a:lnTo>
                      <a:pt x="312" y="354"/>
                    </a:lnTo>
                    <a:lnTo>
                      <a:pt x="311" y="354"/>
                    </a:lnTo>
                    <a:lnTo>
                      <a:pt x="311" y="356"/>
                    </a:lnTo>
                    <a:lnTo>
                      <a:pt x="311" y="357"/>
                    </a:lnTo>
                    <a:lnTo>
                      <a:pt x="312" y="357"/>
                    </a:lnTo>
                    <a:lnTo>
                      <a:pt x="311" y="357"/>
                    </a:lnTo>
                    <a:lnTo>
                      <a:pt x="311" y="358"/>
                    </a:lnTo>
                    <a:lnTo>
                      <a:pt x="312" y="358"/>
                    </a:lnTo>
                    <a:lnTo>
                      <a:pt x="313" y="358"/>
                    </a:lnTo>
                    <a:lnTo>
                      <a:pt x="313" y="357"/>
                    </a:lnTo>
                    <a:lnTo>
                      <a:pt x="315" y="357"/>
                    </a:lnTo>
                    <a:lnTo>
                      <a:pt x="315" y="356"/>
                    </a:lnTo>
                    <a:lnTo>
                      <a:pt x="315" y="357"/>
                    </a:lnTo>
                    <a:lnTo>
                      <a:pt x="315" y="358"/>
                    </a:lnTo>
                    <a:lnTo>
                      <a:pt x="313" y="359"/>
                    </a:lnTo>
                    <a:lnTo>
                      <a:pt x="315" y="359"/>
                    </a:lnTo>
                    <a:lnTo>
                      <a:pt x="315" y="360"/>
                    </a:lnTo>
                    <a:lnTo>
                      <a:pt x="313" y="360"/>
                    </a:lnTo>
                    <a:lnTo>
                      <a:pt x="315" y="360"/>
                    </a:lnTo>
                    <a:lnTo>
                      <a:pt x="316" y="360"/>
                    </a:lnTo>
                    <a:lnTo>
                      <a:pt x="316" y="361"/>
                    </a:lnTo>
                    <a:lnTo>
                      <a:pt x="316" y="360"/>
                    </a:lnTo>
                    <a:lnTo>
                      <a:pt x="317" y="360"/>
                    </a:lnTo>
                    <a:lnTo>
                      <a:pt x="317" y="361"/>
                    </a:lnTo>
                    <a:lnTo>
                      <a:pt x="318" y="360"/>
                    </a:lnTo>
                    <a:lnTo>
                      <a:pt x="319" y="360"/>
                    </a:lnTo>
                    <a:lnTo>
                      <a:pt x="320" y="360"/>
                    </a:lnTo>
                    <a:lnTo>
                      <a:pt x="321" y="360"/>
                    </a:lnTo>
                    <a:lnTo>
                      <a:pt x="322" y="360"/>
                    </a:lnTo>
                    <a:lnTo>
                      <a:pt x="323" y="360"/>
                    </a:lnTo>
                    <a:lnTo>
                      <a:pt x="324" y="360"/>
                    </a:lnTo>
                    <a:lnTo>
                      <a:pt x="324" y="361"/>
                    </a:lnTo>
                    <a:lnTo>
                      <a:pt x="324" y="362"/>
                    </a:lnTo>
                    <a:lnTo>
                      <a:pt x="324" y="363"/>
                    </a:lnTo>
                    <a:lnTo>
                      <a:pt x="325" y="363"/>
                    </a:lnTo>
                    <a:lnTo>
                      <a:pt x="324" y="364"/>
                    </a:lnTo>
                    <a:lnTo>
                      <a:pt x="325" y="364"/>
                    </a:lnTo>
                    <a:lnTo>
                      <a:pt x="326" y="364"/>
                    </a:lnTo>
                    <a:lnTo>
                      <a:pt x="326" y="365"/>
                    </a:lnTo>
                    <a:lnTo>
                      <a:pt x="328" y="365"/>
                    </a:lnTo>
                    <a:lnTo>
                      <a:pt x="329" y="365"/>
                    </a:lnTo>
                    <a:lnTo>
                      <a:pt x="329" y="364"/>
                    </a:lnTo>
                    <a:lnTo>
                      <a:pt x="329" y="365"/>
                    </a:lnTo>
                    <a:lnTo>
                      <a:pt x="330" y="365"/>
                    </a:lnTo>
                    <a:lnTo>
                      <a:pt x="331" y="366"/>
                    </a:lnTo>
                    <a:lnTo>
                      <a:pt x="332" y="366"/>
                    </a:lnTo>
                    <a:lnTo>
                      <a:pt x="333" y="366"/>
                    </a:lnTo>
                    <a:lnTo>
                      <a:pt x="334" y="366"/>
                    </a:lnTo>
                    <a:lnTo>
                      <a:pt x="335" y="366"/>
                    </a:lnTo>
                    <a:lnTo>
                      <a:pt x="336" y="366"/>
                    </a:lnTo>
                    <a:lnTo>
                      <a:pt x="337" y="366"/>
                    </a:lnTo>
                    <a:lnTo>
                      <a:pt x="338" y="366"/>
                    </a:lnTo>
                    <a:lnTo>
                      <a:pt x="339" y="366"/>
                    </a:lnTo>
                    <a:lnTo>
                      <a:pt x="339" y="367"/>
                    </a:lnTo>
                    <a:lnTo>
                      <a:pt x="341" y="367"/>
                    </a:lnTo>
                    <a:lnTo>
                      <a:pt x="342" y="367"/>
                    </a:lnTo>
                    <a:lnTo>
                      <a:pt x="343" y="367"/>
                    </a:lnTo>
                    <a:lnTo>
                      <a:pt x="344" y="367"/>
                    </a:lnTo>
                    <a:lnTo>
                      <a:pt x="345" y="367"/>
                    </a:lnTo>
                    <a:lnTo>
                      <a:pt x="346" y="367"/>
                    </a:lnTo>
                    <a:lnTo>
                      <a:pt x="346" y="366"/>
                    </a:lnTo>
                    <a:lnTo>
                      <a:pt x="347" y="366"/>
                    </a:lnTo>
                    <a:lnTo>
                      <a:pt x="347" y="365"/>
                    </a:lnTo>
                    <a:lnTo>
                      <a:pt x="348" y="365"/>
                    </a:lnTo>
                    <a:lnTo>
                      <a:pt x="349" y="365"/>
                    </a:lnTo>
                    <a:lnTo>
                      <a:pt x="350" y="365"/>
                    </a:lnTo>
                    <a:lnTo>
                      <a:pt x="350" y="364"/>
                    </a:lnTo>
                    <a:lnTo>
                      <a:pt x="351" y="364"/>
                    </a:lnTo>
                    <a:lnTo>
                      <a:pt x="352" y="364"/>
                    </a:lnTo>
                    <a:lnTo>
                      <a:pt x="352" y="363"/>
                    </a:lnTo>
                    <a:lnTo>
                      <a:pt x="354" y="363"/>
                    </a:lnTo>
                    <a:lnTo>
                      <a:pt x="355" y="363"/>
                    </a:lnTo>
                    <a:lnTo>
                      <a:pt x="355" y="362"/>
                    </a:lnTo>
                    <a:lnTo>
                      <a:pt x="356" y="362"/>
                    </a:lnTo>
                    <a:lnTo>
                      <a:pt x="357" y="362"/>
                    </a:lnTo>
                    <a:lnTo>
                      <a:pt x="358" y="362"/>
                    </a:lnTo>
                    <a:lnTo>
                      <a:pt x="357" y="362"/>
                    </a:lnTo>
                    <a:lnTo>
                      <a:pt x="358" y="362"/>
                    </a:lnTo>
                    <a:lnTo>
                      <a:pt x="358" y="361"/>
                    </a:lnTo>
                    <a:lnTo>
                      <a:pt x="359" y="361"/>
                    </a:lnTo>
                    <a:lnTo>
                      <a:pt x="360" y="360"/>
                    </a:lnTo>
                    <a:lnTo>
                      <a:pt x="361" y="359"/>
                    </a:lnTo>
                    <a:lnTo>
                      <a:pt x="361" y="358"/>
                    </a:lnTo>
                    <a:lnTo>
                      <a:pt x="362" y="358"/>
                    </a:lnTo>
                    <a:lnTo>
                      <a:pt x="363" y="358"/>
                    </a:lnTo>
                    <a:lnTo>
                      <a:pt x="363" y="359"/>
                    </a:lnTo>
                    <a:lnTo>
                      <a:pt x="364" y="358"/>
                    </a:lnTo>
                    <a:lnTo>
                      <a:pt x="364" y="359"/>
                    </a:lnTo>
                    <a:lnTo>
                      <a:pt x="364" y="358"/>
                    </a:lnTo>
                    <a:lnTo>
                      <a:pt x="365" y="358"/>
                    </a:lnTo>
                    <a:lnTo>
                      <a:pt x="365" y="359"/>
                    </a:lnTo>
                    <a:lnTo>
                      <a:pt x="365" y="358"/>
                    </a:lnTo>
                    <a:lnTo>
                      <a:pt x="367" y="358"/>
                    </a:lnTo>
                    <a:lnTo>
                      <a:pt x="367" y="359"/>
                    </a:lnTo>
                    <a:lnTo>
                      <a:pt x="367" y="358"/>
                    </a:lnTo>
                    <a:lnTo>
                      <a:pt x="368" y="357"/>
                    </a:lnTo>
                    <a:lnTo>
                      <a:pt x="369" y="356"/>
                    </a:lnTo>
                    <a:lnTo>
                      <a:pt x="370" y="354"/>
                    </a:lnTo>
                    <a:lnTo>
                      <a:pt x="371" y="354"/>
                    </a:lnTo>
                    <a:lnTo>
                      <a:pt x="371" y="356"/>
                    </a:lnTo>
                    <a:lnTo>
                      <a:pt x="372" y="356"/>
                    </a:lnTo>
                    <a:lnTo>
                      <a:pt x="373" y="357"/>
                    </a:lnTo>
                    <a:lnTo>
                      <a:pt x="371" y="357"/>
                    </a:lnTo>
                    <a:lnTo>
                      <a:pt x="370" y="357"/>
                    </a:lnTo>
                    <a:lnTo>
                      <a:pt x="369" y="357"/>
                    </a:lnTo>
                    <a:lnTo>
                      <a:pt x="369" y="358"/>
                    </a:lnTo>
                    <a:lnTo>
                      <a:pt x="370" y="358"/>
                    </a:lnTo>
                    <a:lnTo>
                      <a:pt x="372" y="357"/>
                    </a:lnTo>
                    <a:lnTo>
                      <a:pt x="373" y="357"/>
                    </a:lnTo>
                    <a:lnTo>
                      <a:pt x="373" y="358"/>
                    </a:lnTo>
                    <a:lnTo>
                      <a:pt x="373" y="359"/>
                    </a:lnTo>
                    <a:lnTo>
                      <a:pt x="374" y="359"/>
                    </a:lnTo>
                    <a:lnTo>
                      <a:pt x="375" y="360"/>
                    </a:lnTo>
                    <a:lnTo>
                      <a:pt x="376" y="360"/>
                    </a:lnTo>
                    <a:lnTo>
                      <a:pt x="376" y="361"/>
                    </a:lnTo>
                    <a:lnTo>
                      <a:pt x="377" y="361"/>
                    </a:lnTo>
                    <a:lnTo>
                      <a:pt x="376" y="361"/>
                    </a:lnTo>
                    <a:lnTo>
                      <a:pt x="377" y="361"/>
                    </a:lnTo>
                    <a:lnTo>
                      <a:pt x="378" y="361"/>
                    </a:lnTo>
                    <a:lnTo>
                      <a:pt x="380" y="361"/>
                    </a:lnTo>
                    <a:lnTo>
                      <a:pt x="381" y="361"/>
                    </a:lnTo>
                    <a:lnTo>
                      <a:pt x="381" y="362"/>
                    </a:lnTo>
                    <a:lnTo>
                      <a:pt x="380" y="362"/>
                    </a:lnTo>
                    <a:lnTo>
                      <a:pt x="380" y="361"/>
                    </a:lnTo>
                    <a:lnTo>
                      <a:pt x="378" y="361"/>
                    </a:lnTo>
                    <a:lnTo>
                      <a:pt x="378" y="362"/>
                    </a:lnTo>
                    <a:lnTo>
                      <a:pt x="377" y="363"/>
                    </a:lnTo>
                    <a:lnTo>
                      <a:pt x="377" y="362"/>
                    </a:lnTo>
                    <a:lnTo>
                      <a:pt x="376" y="363"/>
                    </a:lnTo>
                    <a:lnTo>
                      <a:pt x="375" y="363"/>
                    </a:lnTo>
                    <a:lnTo>
                      <a:pt x="375" y="362"/>
                    </a:lnTo>
                    <a:lnTo>
                      <a:pt x="375" y="361"/>
                    </a:lnTo>
                    <a:lnTo>
                      <a:pt x="375" y="362"/>
                    </a:lnTo>
                    <a:lnTo>
                      <a:pt x="375" y="363"/>
                    </a:lnTo>
                    <a:lnTo>
                      <a:pt x="374" y="363"/>
                    </a:lnTo>
                    <a:lnTo>
                      <a:pt x="374" y="362"/>
                    </a:lnTo>
                    <a:lnTo>
                      <a:pt x="374" y="363"/>
                    </a:lnTo>
                    <a:lnTo>
                      <a:pt x="375" y="363"/>
                    </a:lnTo>
                    <a:lnTo>
                      <a:pt x="374" y="363"/>
                    </a:lnTo>
                    <a:lnTo>
                      <a:pt x="375" y="363"/>
                    </a:lnTo>
                    <a:lnTo>
                      <a:pt x="374" y="363"/>
                    </a:lnTo>
                    <a:lnTo>
                      <a:pt x="375" y="363"/>
                    </a:lnTo>
                    <a:lnTo>
                      <a:pt x="375" y="364"/>
                    </a:lnTo>
                    <a:lnTo>
                      <a:pt x="375" y="363"/>
                    </a:lnTo>
                    <a:lnTo>
                      <a:pt x="376" y="363"/>
                    </a:lnTo>
                    <a:lnTo>
                      <a:pt x="377" y="363"/>
                    </a:lnTo>
                    <a:lnTo>
                      <a:pt x="378" y="363"/>
                    </a:lnTo>
                    <a:lnTo>
                      <a:pt x="380" y="363"/>
                    </a:lnTo>
                    <a:lnTo>
                      <a:pt x="380" y="364"/>
                    </a:lnTo>
                    <a:lnTo>
                      <a:pt x="381" y="364"/>
                    </a:lnTo>
                    <a:lnTo>
                      <a:pt x="381" y="363"/>
                    </a:lnTo>
                    <a:lnTo>
                      <a:pt x="382" y="363"/>
                    </a:lnTo>
                    <a:lnTo>
                      <a:pt x="383" y="363"/>
                    </a:lnTo>
                    <a:lnTo>
                      <a:pt x="382" y="362"/>
                    </a:lnTo>
                    <a:lnTo>
                      <a:pt x="383" y="362"/>
                    </a:lnTo>
                    <a:lnTo>
                      <a:pt x="383" y="363"/>
                    </a:lnTo>
                    <a:lnTo>
                      <a:pt x="384" y="363"/>
                    </a:lnTo>
                    <a:lnTo>
                      <a:pt x="384" y="362"/>
                    </a:lnTo>
                    <a:lnTo>
                      <a:pt x="385" y="362"/>
                    </a:lnTo>
                    <a:lnTo>
                      <a:pt x="385" y="363"/>
                    </a:lnTo>
                    <a:lnTo>
                      <a:pt x="385" y="364"/>
                    </a:lnTo>
                    <a:lnTo>
                      <a:pt x="386" y="364"/>
                    </a:lnTo>
                    <a:lnTo>
                      <a:pt x="387" y="364"/>
                    </a:lnTo>
                    <a:lnTo>
                      <a:pt x="388" y="364"/>
                    </a:lnTo>
                    <a:lnTo>
                      <a:pt x="389" y="364"/>
                    </a:lnTo>
                    <a:lnTo>
                      <a:pt x="390" y="364"/>
                    </a:lnTo>
                    <a:lnTo>
                      <a:pt x="390" y="365"/>
                    </a:lnTo>
                    <a:lnTo>
                      <a:pt x="390" y="364"/>
                    </a:lnTo>
                    <a:lnTo>
                      <a:pt x="390" y="365"/>
                    </a:lnTo>
                    <a:lnTo>
                      <a:pt x="389" y="365"/>
                    </a:lnTo>
                    <a:lnTo>
                      <a:pt x="389" y="366"/>
                    </a:lnTo>
                    <a:lnTo>
                      <a:pt x="390" y="366"/>
                    </a:lnTo>
                    <a:lnTo>
                      <a:pt x="389" y="366"/>
                    </a:lnTo>
                    <a:lnTo>
                      <a:pt x="389" y="365"/>
                    </a:lnTo>
                    <a:lnTo>
                      <a:pt x="390" y="366"/>
                    </a:lnTo>
                    <a:lnTo>
                      <a:pt x="390" y="365"/>
                    </a:lnTo>
                    <a:lnTo>
                      <a:pt x="391" y="364"/>
                    </a:lnTo>
                    <a:lnTo>
                      <a:pt x="391" y="365"/>
                    </a:lnTo>
                    <a:lnTo>
                      <a:pt x="393" y="365"/>
                    </a:lnTo>
                    <a:lnTo>
                      <a:pt x="391" y="365"/>
                    </a:lnTo>
                    <a:lnTo>
                      <a:pt x="390" y="365"/>
                    </a:lnTo>
                    <a:lnTo>
                      <a:pt x="391" y="365"/>
                    </a:lnTo>
                    <a:lnTo>
                      <a:pt x="391" y="366"/>
                    </a:lnTo>
                    <a:lnTo>
                      <a:pt x="390" y="366"/>
                    </a:lnTo>
                    <a:lnTo>
                      <a:pt x="390" y="367"/>
                    </a:lnTo>
                    <a:lnTo>
                      <a:pt x="391" y="367"/>
                    </a:lnTo>
                    <a:lnTo>
                      <a:pt x="391" y="369"/>
                    </a:lnTo>
                    <a:lnTo>
                      <a:pt x="393" y="369"/>
                    </a:lnTo>
                    <a:lnTo>
                      <a:pt x="394" y="369"/>
                    </a:lnTo>
                    <a:lnTo>
                      <a:pt x="394" y="367"/>
                    </a:lnTo>
                    <a:lnTo>
                      <a:pt x="395" y="367"/>
                    </a:lnTo>
                    <a:lnTo>
                      <a:pt x="396" y="367"/>
                    </a:lnTo>
                    <a:lnTo>
                      <a:pt x="395" y="369"/>
                    </a:lnTo>
                    <a:lnTo>
                      <a:pt x="395" y="370"/>
                    </a:lnTo>
                    <a:lnTo>
                      <a:pt x="395" y="369"/>
                    </a:lnTo>
                    <a:lnTo>
                      <a:pt x="394" y="369"/>
                    </a:lnTo>
                    <a:lnTo>
                      <a:pt x="393" y="369"/>
                    </a:lnTo>
                    <a:lnTo>
                      <a:pt x="391" y="370"/>
                    </a:lnTo>
                    <a:lnTo>
                      <a:pt x="393" y="369"/>
                    </a:lnTo>
                    <a:lnTo>
                      <a:pt x="394" y="369"/>
                    </a:lnTo>
                    <a:lnTo>
                      <a:pt x="394" y="370"/>
                    </a:lnTo>
                    <a:lnTo>
                      <a:pt x="393" y="370"/>
                    </a:lnTo>
                    <a:lnTo>
                      <a:pt x="393" y="371"/>
                    </a:lnTo>
                    <a:lnTo>
                      <a:pt x="394" y="371"/>
                    </a:lnTo>
                    <a:lnTo>
                      <a:pt x="394" y="372"/>
                    </a:lnTo>
                    <a:lnTo>
                      <a:pt x="394" y="373"/>
                    </a:lnTo>
                    <a:lnTo>
                      <a:pt x="394" y="374"/>
                    </a:lnTo>
                    <a:lnTo>
                      <a:pt x="393" y="374"/>
                    </a:lnTo>
                    <a:lnTo>
                      <a:pt x="394" y="374"/>
                    </a:lnTo>
                    <a:lnTo>
                      <a:pt x="394" y="375"/>
                    </a:lnTo>
                    <a:lnTo>
                      <a:pt x="394" y="376"/>
                    </a:lnTo>
                    <a:lnTo>
                      <a:pt x="394" y="375"/>
                    </a:lnTo>
                    <a:lnTo>
                      <a:pt x="395" y="375"/>
                    </a:lnTo>
                    <a:lnTo>
                      <a:pt x="395" y="374"/>
                    </a:lnTo>
                    <a:lnTo>
                      <a:pt x="396" y="373"/>
                    </a:lnTo>
                    <a:lnTo>
                      <a:pt x="396" y="374"/>
                    </a:lnTo>
                    <a:lnTo>
                      <a:pt x="395" y="374"/>
                    </a:lnTo>
                    <a:lnTo>
                      <a:pt x="395" y="375"/>
                    </a:lnTo>
                    <a:lnTo>
                      <a:pt x="395" y="374"/>
                    </a:lnTo>
                    <a:lnTo>
                      <a:pt x="396" y="374"/>
                    </a:lnTo>
                    <a:lnTo>
                      <a:pt x="396" y="373"/>
                    </a:lnTo>
                    <a:lnTo>
                      <a:pt x="397" y="373"/>
                    </a:lnTo>
                    <a:lnTo>
                      <a:pt x="397" y="374"/>
                    </a:lnTo>
                    <a:lnTo>
                      <a:pt x="396" y="375"/>
                    </a:lnTo>
                    <a:lnTo>
                      <a:pt x="397" y="375"/>
                    </a:lnTo>
                    <a:lnTo>
                      <a:pt x="396" y="375"/>
                    </a:lnTo>
                    <a:lnTo>
                      <a:pt x="396" y="376"/>
                    </a:lnTo>
                    <a:lnTo>
                      <a:pt x="396" y="375"/>
                    </a:lnTo>
                    <a:lnTo>
                      <a:pt x="397" y="376"/>
                    </a:lnTo>
                    <a:lnTo>
                      <a:pt x="397" y="375"/>
                    </a:lnTo>
                    <a:lnTo>
                      <a:pt x="396" y="375"/>
                    </a:lnTo>
                    <a:lnTo>
                      <a:pt x="397" y="374"/>
                    </a:lnTo>
                    <a:lnTo>
                      <a:pt x="397" y="375"/>
                    </a:lnTo>
                    <a:lnTo>
                      <a:pt x="397" y="374"/>
                    </a:lnTo>
                    <a:lnTo>
                      <a:pt x="397" y="373"/>
                    </a:lnTo>
                    <a:lnTo>
                      <a:pt x="396" y="372"/>
                    </a:lnTo>
                    <a:lnTo>
                      <a:pt x="396" y="373"/>
                    </a:lnTo>
                    <a:lnTo>
                      <a:pt x="395" y="374"/>
                    </a:lnTo>
                    <a:lnTo>
                      <a:pt x="394" y="374"/>
                    </a:lnTo>
                    <a:lnTo>
                      <a:pt x="394" y="373"/>
                    </a:lnTo>
                    <a:lnTo>
                      <a:pt x="394" y="374"/>
                    </a:lnTo>
                    <a:lnTo>
                      <a:pt x="394" y="373"/>
                    </a:lnTo>
                    <a:lnTo>
                      <a:pt x="394" y="372"/>
                    </a:lnTo>
                    <a:lnTo>
                      <a:pt x="395" y="372"/>
                    </a:lnTo>
                    <a:lnTo>
                      <a:pt x="394" y="371"/>
                    </a:lnTo>
                    <a:lnTo>
                      <a:pt x="393" y="371"/>
                    </a:lnTo>
                    <a:lnTo>
                      <a:pt x="394" y="371"/>
                    </a:lnTo>
                    <a:lnTo>
                      <a:pt x="393" y="371"/>
                    </a:lnTo>
                    <a:lnTo>
                      <a:pt x="393" y="370"/>
                    </a:lnTo>
                    <a:lnTo>
                      <a:pt x="394" y="370"/>
                    </a:lnTo>
                    <a:lnTo>
                      <a:pt x="395" y="370"/>
                    </a:lnTo>
                    <a:lnTo>
                      <a:pt x="395" y="371"/>
                    </a:lnTo>
                    <a:lnTo>
                      <a:pt x="396" y="371"/>
                    </a:lnTo>
                    <a:lnTo>
                      <a:pt x="396" y="372"/>
                    </a:lnTo>
                    <a:lnTo>
                      <a:pt x="397" y="372"/>
                    </a:lnTo>
                    <a:lnTo>
                      <a:pt x="398" y="372"/>
                    </a:lnTo>
                    <a:lnTo>
                      <a:pt x="399" y="372"/>
                    </a:lnTo>
                    <a:lnTo>
                      <a:pt x="398" y="373"/>
                    </a:lnTo>
                    <a:lnTo>
                      <a:pt x="398" y="374"/>
                    </a:lnTo>
                    <a:lnTo>
                      <a:pt x="398" y="375"/>
                    </a:lnTo>
                    <a:lnTo>
                      <a:pt x="397" y="375"/>
                    </a:lnTo>
                    <a:lnTo>
                      <a:pt x="398" y="375"/>
                    </a:lnTo>
                    <a:lnTo>
                      <a:pt x="398" y="374"/>
                    </a:lnTo>
                    <a:lnTo>
                      <a:pt x="399" y="373"/>
                    </a:lnTo>
                    <a:lnTo>
                      <a:pt x="400" y="373"/>
                    </a:lnTo>
                    <a:lnTo>
                      <a:pt x="401" y="373"/>
                    </a:lnTo>
                    <a:lnTo>
                      <a:pt x="401" y="372"/>
                    </a:lnTo>
                    <a:lnTo>
                      <a:pt x="402" y="372"/>
                    </a:lnTo>
                    <a:lnTo>
                      <a:pt x="403" y="372"/>
                    </a:lnTo>
                    <a:lnTo>
                      <a:pt x="403" y="373"/>
                    </a:lnTo>
                    <a:lnTo>
                      <a:pt x="402" y="373"/>
                    </a:lnTo>
                    <a:lnTo>
                      <a:pt x="401" y="373"/>
                    </a:lnTo>
                    <a:lnTo>
                      <a:pt x="402" y="373"/>
                    </a:lnTo>
                    <a:lnTo>
                      <a:pt x="403" y="373"/>
                    </a:lnTo>
                    <a:lnTo>
                      <a:pt x="403" y="372"/>
                    </a:lnTo>
                    <a:lnTo>
                      <a:pt x="403" y="371"/>
                    </a:lnTo>
                    <a:lnTo>
                      <a:pt x="403" y="370"/>
                    </a:lnTo>
                    <a:lnTo>
                      <a:pt x="404" y="370"/>
                    </a:lnTo>
                    <a:lnTo>
                      <a:pt x="404" y="371"/>
                    </a:lnTo>
                    <a:lnTo>
                      <a:pt x="404" y="372"/>
                    </a:lnTo>
                    <a:lnTo>
                      <a:pt x="403" y="372"/>
                    </a:lnTo>
                    <a:lnTo>
                      <a:pt x="403" y="374"/>
                    </a:lnTo>
                    <a:lnTo>
                      <a:pt x="402" y="374"/>
                    </a:lnTo>
                    <a:lnTo>
                      <a:pt x="401" y="374"/>
                    </a:lnTo>
                    <a:lnTo>
                      <a:pt x="400" y="374"/>
                    </a:lnTo>
                    <a:lnTo>
                      <a:pt x="401" y="374"/>
                    </a:lnTo>
                    <a:lnTo>
                      <a:pt x="402" y="374"/>
                    </a:lnTo>
                    <a:lnTo>
                      <a:pt x="403" y="374"/>
                    </a:lnTo>
                    <a:lnTo>
                      <a:pt x="403" y="375"/>
                    </a:lnTo>
                    <a:lnTo>
                      <a:pt x="403" y="376"/>
                    </a:lnTo>
                    <a:lnTo>
                      <a:pt x="406" y="375"/>
                    </a:lnTo>
                    <a:lnTo>
                      <a:pt x="404" y="375"/>
                    </a:lnTo>
                    <a:lnTo>
                      <a:pt x="404" y="376"/>
                    </a:lnTo>
                    <a:lnTo>
                      <a:pt x="406" y="376"/>
                    </a:lnTo>
                    <a:lnTo>
                      <a:pt x="404" y="376"/>
                    </a:lnTo>
                    <a:lnTo>
                      <a:pt x="404" y="375"/>
                    </a:lnTo>
                    <a:lnTo>
                      <a:pt x="403" y="375"/>
                    </a:lnTo>
                    <a:lnTo>
                      <a:pt x="403" y="376"/>
                    </a:lnTo>
                    <a:lnTo>
                      <a:pt x="404" y="376"/>
                    </a:lnTo>
                    <a:lnTo>
                      <a:pt x="404" y="377"/>
                    </a:lnTo>
                    <a:lnTo>
                      <a:pt x="404" y="378"/>
                    </a:lnTo>
                    <a:lnTo>
                      <a:pt x="403" y="378"/>
                    </a:lnTo>
                    <a:lnTo>
                      <a:pt x="404" y="378"/>
                    </a:lnTo>
                    <a:lnTo>
                      <a:pt x="406" y="378"/>
                    </a:lnTo>
                    <a:lnTo>
                      <a:pt x="406" y="377"/>
                    </a:lnTo>
                    <a:lnTo>
                      <a:pt x="406" y="378"/>
                    </a:lnTo>
                    <a:lnTo>
                      <a:pt x="407" y="378"/>
                    </a:lnTo>
                    <a:lnTo>
                      <a:pt x="407" y="377"/>
                    </a:lnTo>
                    <a:lnTo>
                      <a:pt x="407" y="378"/>
                    </a:lnTo>
                    <a:lnTo>
                      <a:pt x="406" y="378"/>
                    </a:lnTo>
                    <a:lnTo>
                      <a:pt x="406" y="379"/>
                    </a:lnTo>
                    <a:lnTo>
                      <a:pt x="406" y="380"/>
                    </a:lnTo>
                    <a:lnTo>
                      <a:pt x="404" y="380"/>
                    </a:lnTo>
                    <a:lnTo>
                      <a:pt x="406" y="380"/>
                    </a:lnTo>
                    <a:lnTo>
                      <a:pt x="406" y="379"/>
                    </a:lnTo>
                    <a:lnTo>
                      <a:pt x="407" y="379"/>
                    </a:lnTo>
                    <a:lnTo>
                      <a:pt x="407" y="380"/>
                    </a:lnTo>
                    <a:lnTo>
                      <a:pt x="407" y="382"/>
                    </a:lnTo>
                    <a:lnTo>
                      <a:pt x="407" y="380"/>
                    </a:lnTo>
                    <a:lnTo>
                      <a:pt x="407" y="379"/>
                    </a:lnTo>
                    <a:lnTo>
                      <a:pt x="408" y="379"/>
                    </a:lnTo>
                    <a:lnTo>
                      <a:pt x="409" y="378"/>
                    </a:lnTo>
                    <a:lnTo>
                      <a:pt x="410" y="378"/>
                    </a:lnTo>
                    <a:lnTo>
                      <a:pt x="411" y="378"/>
                    </a:lnTo>
                    <a:lnTo>
                      <a:pt x="411" y="377"/>
                    </a:lnTo>
                    <a:lnTo>
                      <a:pt x="412" y="377"/>
                    </a:lnTo>
                    <a:lnTo>
                      <a:pt x="412" y="378"/>
                    </a:lnTo>
                    <a:lnTo>
                      <a:pt x="411" y="378"/>
                    </a:lnTo>
                    <a:lnTo>
                      <a:pt x="410" y="378"/>
                    </a:lnTo>
                    <a:lnTo>
                      <a:pt x="410" y="379"/>
                    </a:lnTo>
                    <a:lnTo>
                      <a:pt x="409" y="379"/>
                    </a:lnTo>
                    <a:lnTo>
                      <a:pt x="408" y="379"/>
                    </a:lnTo>
                    <a:lnTo>
                      <a:pt x="408" y="380"/>
                    </a:lnTo>
                    <a:lnTo>
                      <a:pt x="407" y="380"/>
                    </a:lnTo>
                    <a:lnTo>
                      <a:pt x="407" y="382"/>
                    </a:lnTo>
                    <a:lnTo>
                      <a:pt x="407" y="383"/>
                    </a:lnTo>
                    <a:lnTo>
                      <a:pt x="408" y="384"/>
                    </a:lnTo>
                    <a:lnTo>
                      <a:pt x="409" y="383"/>
                    </a:lnTo>
                    <a:lnTo>
                      <a:pt x="410" y="383"/>
                    </a:lnTo>
                    <a:lnTo>
                      <a:pt x="409" y="383"/>
                    </a:lnTo>
                    <a:lnTo>
                      <a:pt x="410" y="383"/>
                    </a:lnTo>
                    <a:lnTo>
                      <a:pt x="409" y="382"/>
                    </a:lnTo>
                    <a:lnTo>
                      <a:pt x="410" y="383"/>
                    </a:lnTo>
                    <a:lnTo>
                      <a:pt x="411" y="383"/>
                    </a:lnTo>
                    <a:lnTo>
                      <a:pt x="412" y="382"/>
                    </a:lnTo>
                    <a:lnTo>
                      <a:pt x="412" y="383"/>
                    </a:lnTo>
                    <a:lnTo>
                      <a:pt x="413" y="383"/>
                    </a:lnTo>
                    <a:lnTo>
                      <a:pt x="413" y="382"/>
                    </a:lnTo>
                    <a:lnTo>
                      <a:pt x="413" y="383"/>
                    </a:lnTo>
                    <a:lnTo>
                      <a:pt x="414" y="383"/>
                    </a:lnTo>
                    <a:lnTo>
                      <a:pt x="414" y="382"/>
                    </a:lnTo>
                    <a:lnTo>
                      <a:pt x="413" y="382"/>
                    </a:lnTo>
                    <a:lnTo>
                      <a:pt x="413" y="383"/>
                    </a:lnTo>
                    <a:lnTo>
                      <a:pt x="413" y="382"/>
                    </a:lnTo>
                    <a:lnTo>
                      <a:pt x="414" y="380"/>
                    </a:lnTo>
                    <a:lnTo>
                      <a:pt x="414" y="382"/>
                    </a:lnTo>
                    <a:lnTo>
                      <a:pt x="414" y="380"/>
                    </a:lnTo>
                    <a:lnTo>
                      <a:pt x="414" y="382"/>
                    </a:lnTo>
                    <a:lnTo>
                      <a:pt x="415" y="382"/>
                    </a:lnTo>
                    <a:lnTo>
                      <a:pt x="416" y="383"/>
                    </a:lnTo>
                    <a:lnTo>
                      <a:pt x="418" y="383"/>
                    </a:lnTo>
                    <a:lnTo>
                      <a:pt x="418" y="384"/>
                    </a:lnTo>
                    <a:lnTo>
                      <a:pt x="416" y="385"/>
                    </a:lnTo>
                    <a:lnTo>
                      <a:pt x="416" y="384"/>
                    </a:lnTo>
                    <a:lnTo>
                      <a:pt x="415" y="384"/>
                    </a:lnTo>
                    <a:lnTo>
                      <a:pt x="414" y="383"/>
                    </a:lnTo>
                    <a:lnTo>
                      <a:pt x="413" y="383"/>
                    </a:lnTo>
                    <a:lnTo>
                      <a:pt x="413" y="384"/>
                    </a:lnTo>
                    <a:lnTo>
                      <a:pt x="412" y="384"/>
                    </a:lnTo>
                    <a:lnTo>
                      <a:pt x="412" y="383"/>
                    </a:lnTo>
                    <a:lnTo>
                      <a:pt x="411" y="383"/>
                    </a:lnTo>
                    <a:lnTo>
                      <a:pt x="410" y="383"/>
                    </a:lnTo>
                    <a:lnTo>
                      <a:pt x="410" y="384"/>
                    </a:lnTo>
                    <a:lnTo>
                      <a:pt x="410" y="385"/>
                    </a:lnTo>
                    <a:lnTo>
                      <a:pt x="411" y="385"/>
                    </a:lnTo>
                    <a:lnTo>
                      <a:pt x="411" y="386"/>
                    </a:lnTo>
                    <a:lnTo>
                      <a:pt x="412" y="386"/>
                    </a:lnTo>
                    <a:lnTo>
                      <a:pt x="411" y="386"/>
                    </a:lnTo>
                    <a:lnTo>
                      <a:pt x="411" y="387"/>
                    </a:lnTo>
                    <a:lnTo>
                      <a:pt x="412" y="387"/>
                    </a:lnTo>
                    <a:lnTo>
                      <a:pt x="411" y="386"/>
                    </a:lnTo>
                    <a:lnTo>
                      <a:pt x="412" y="386"/>
                    </a:lnTo>
                    <a:lnTo>
                      <a:pt x="411" y="385"/>
                    </a:lnTo>
                    <a:lnTo>
                      <a:pt x="412" y="385"/>
                    </a:lnTo>
                    <a:lnTo>
                      <a:pt x="412" y="386"/>
                    </a:lnTo>
                    <a:lnTo>
                      <a:pt x="413" y="386"/>
                    </a:lnTo>
                    <a:lnTo>
                      <a:pt x="413" y="387"/>
                    </a:lnTo>
                    <a:lnTo>
                      <a:pt x="413" y="388"/>
                    </a:lnTo>
                    <a:lnTo>
                      <a:pt x="414" y="388"/>
                    </a:lnTo>
                    <a:lnTo>
                      <a:pt x="414" y="387"/>
                    </a:lnTo>
                    <a:lnTo>
                      <a:pt x="415" y="387"/>
                    </a:lnTo>
                    <a:lnTo>
                      <a:pt x="416" y="388"/>
                    </a:lnTo>
                    <a:lnTo>
                      <a:pt x="415" y="388"/>
                    </a:lnTo>
                    <a:lnTo>
                      <a:pt x="415" y="389"/>
                    </a:lnTo>
                    <a:lnTo>
                      <a:pt x="415" y="388"/>
                    </a:lnTo>
                    <a:lnTo>
                      <a:pt x="415" y="389"/>
                    </a:lnTo>
                    <a:lnTo>
                      <a:pt x="414" y="389"/>
                    </a:lnTo>
                    <a:lnTo>
                      <a:pt x="415" y="389"/>
                    </a:lnTo>
                    <a:lnTo>
                      <a:pt x="415" y="390"/>
                    </a:lnTo>
                    <a:lnTo>
                      <a:pt x="416" y="390"/>
                    </a:lnTo>
                    <a:lnTo>
                      <a:pt x="416" y="389"/>
                    </a:lnTo>
                    <a:lnTo>
                      <a:pt x="416" y="390"/>
                    </a:lnTo>
                    <a:lnTo>
                      <a:pt x="418" y="390"/>
                    </a:lnTo>
                    <a:lnTo>
                      <a:pt x="418" y="391"/>
                    </a:lnTo>
                    <a:lnTo>
                      <a:pt x="416" y="391"/>
                    </a:lnTo>
                    <a:lnTo>
                      <a:pt x="415" y="391"/>
                    </a:lnTo>
                    <a:lnTo>
                      <a:pt x="416" y="392"/>
                    </a:lnTo>
                    <a:lnTo>
                      <a:pt x="418" y="391"/>
                    </a:lnTo>
                    <a:lnTo>
                      <a:pt x="418" y="392"/>
                    </a:lnTo>
                    <a:lnTo>
                      <a:pt x="418" y="393"/>
                    </a:lnTo>
                    <a:lnTo>
                      <a:pt x="419" y="393"/>
                    </a:lnTo>
                    <a:lnTo>
                      <a:pt x="418" y="393"/>
                    </a:lnTo>
                    <a:lnTo>
                      <a:pt x="419" y="395"/>
                    </a:lnTo>
                    <a:lnTo>
                      <a:pt x="420" y="395"/>
                    </a:lnTo>
                    <a:lnTo>
                      <a:pt x="420" y="393"/>
                    </a:lnTo>
                    <a:lnTo>
                      <a:pt x="419" y="392"/>
                    </a:lnTo>
                    <a:lnTo>
                      <a:pt x="420" y="392"/>
                    </a:lnTo>
                    <a:lnTo>
                      <a:pt x="420" y="393"/>
                    </a:lnTo>
                    <a:lnTo>
                      <a:pt x="420" y="392"/>
                    </a:lnTo>
                    <a:lnTo>
                      <a:pt x="421" y="392"/>
                    </a:lnTo>
                    <a:lnTo>
                      <a:pt x="420" y="392"/>
                    </a:lnTo>
                    <a:lnTo>
                      <a:pt x="421" y="392"/>
                    </a:lnTo>
                    <a:lnTo>
                      <a:pt x="421" y="393"/>
                    </a:lnTo>
                    <a:lnTo>
                      <a:pt x="420" y="393"/>
                    </a:lnTo>
                    <a:lnTo>
                      <a:pt x="420" y="395"/>
                    </a:lnTo>
                    <a:lnTo>
                      <a:pt x="421" y="395"/>
                    </a:lnTo>
                    <a:lnTo>
                      <a:pt x="421" y="393"/>
                    </a:lnTo>
                    <a:lnTo>
                      <a:pt x="422" y="393"/>
                    </a:lnTo>
                    <a:lnTo>
                      <a:pt x="422" y="395"/>
                    </a:lnTo>
                    <a:lnTo>
                      <a:pt x="421" y="395"/>
                    </a:lnTo>
                    <a:lnTo>
                      <a:pt x="420" y="395"/>
                    </a:lnTo>
                    <a:lnTo>
                      <a:pt x="420" y="396"/>
                    </a:lnTo>
                    <a:lnTo>
                      <a:pt x="421" y="396"/>
                    </a:lnTo>
                    <a:lnTo>
                      <a:pt x="422" y="396"/>
                    </a:lnTo>
                    <a:lnTo>
                      <a:pt x="423" y="396"/>
                    </a:lnTo>
                    <a:lnTo>
                      <a:pt x="423" y="397"/>
                    </a:lnTo>
                    <a:lnTo>
                      <a:pt x="423" y="398"/>
                    </a:lnTo>
                    <a:lnTo>
                      <a:pt x="423" y="397"/>
                    </a:lnTo>
                    <a:lnTo>
                      <a:pt x="423" y="396"/>
                    </a:lnTo>
                    <a:lnTo>
                      <a:pt x="424" y="396"/>
                    </a:lnTo>
                    <a:lnTo>
                      <a:pt x="423" y="397"/>
                    </a:lnTo>
                    <a:lnTo>
                      <a:pt x="424" y="397"/>
                    </a:lnTo>
                    <a:lnTo>
                      <a:pt x="424" y="396"/>
                    </a:lnTo>
                    <a:lnTo>
                      <a:pt x="424" y="397"/>
                    </a:lnTo>
                    <a:lnTo>
                      <a:pt x="424" y="396"/>
                    </a:lnTo>
                    <a:lnTo>
                      <a:pt x="425" y="396"/>
                    </a:lnTo>
                    <a:lnTo>
                      <a:pt x="424" y="397"/>
                    </a:lnTo>
                    <a:lnTo>
                      <a:pt x="425" y="397"/>
                    </a:lnTo>
                    <a:lnTo>
                      <a:pt x="425" y="396"/>
                    </a:lnTo>
                    <a:lnTo>
                      <a:pt x="425" y="397"/>
                    </a:lnTo>
                    <a:lnTo>
                      <a:pt x="426" y="397"/>
                    </a:lnTo>
                    <a:lnTo>
                      <a:pt x="426" y="396"/>
                    </a:lnTo>
                    <a:lnTo>
                      <a:pt x="426" y="397"/>
                    </a:lnTo>
                    <a:lnTo>
                      <a:pt x="426" y="398"/>
                    </a:lnTo>
                    <a:lnTo>
                      <a:pt x="427" y="398"/>
                    </a:lnTo>
                    <a:lnTo>
                      <a:pt x="427" y="397"/>
                    </a:lnTo>
                    <a:lnTo>
                      <a:pt x="427" y="395"/>
                    </a:lnTo>
                    <a:lnTo>
                      <a:pt x="427" y="393"/>
                    </a:lnTo>
                    <a:lnTo>
                      <a:pt x="428" y="393"/>
                    </a:lnTo>
                    <a:lnTo>
                      <a:pt x="428" y="392"/>
                    </a:lnTo>
                    <a:lnTo>
                      <a:pt x="428" y="393"/>
                    </a:lnTo>
                    <a:lnTo>
                      <a:pt x="429" y="393"/>
                    </a:lnTo>
                    <a:lnTo>
                      <a:pt x="429" y="392"/>
                    </a:lnTo>
                    <a:lnTo>
                      <a:pt x="431" y="392"/>
                    </a:lnTo>
                    <a:lnTo>
                      <a:pt x="429" y="392"/>
                    </a:lnTo>
                    <a:lnTo>
                      <a:pt x="429" y="393"/>
                    </a:lnTo>
                    <a:lnTo>
                      <a:pt x="428" y="393"/>
                    </a:lnTo>
                    <a:lnTo>
                      <a:pt x="428" y="395"/>
                    </a:lnTo>
                    <a:lnTo>
                      <a:pt x="428" y="396"/>
                    </a:lnTo>
                    <a:lnTo>
                      <a:pt x="429" y="396"/>
                    </a:lnTo>
                    <a:lnTo>
                      <a:pt x="429" y="397"/>
                    </a:lnTo>
                    <a:lnTo>
                      <a:pt x="428" y="397"/>
                    </a:lnTo>
                    <a:lnTo>
                      <a:pt x="428" y="396"/>
                    </a:lnTo>
                    <a:lnTo>
                      <a:pt x="428" y="397"/>
                    </a:lnTo>
                    <a:lnTo>
                      <a:pt x="428" y="398"/>
                    </a:lnTo>
                    <a:lnTo>
                      <a:pt x="428" y="399"/>
                    </a:lnTo>
                    <a:lnTo>
                      <a:pt x="429" y="399"/>
                    </a:lnTo>
                    <a:lnTo>
                      <a:pt x="429" y="400"/>
                    </a:lnTo>
                    <a:lnTo>
                      <a:pt x="431" y="400"/>
                    </a:lnTo>
                    <a:lnTo>
                      <a:pt x="429" y="400"/>
                    </a:lnTo>
                    <a:lnTo>
                      <a:pt x="431" y="399"/>
                    </a:lnTo>
                    <a:lnTo>
                      <a:pt x="432" y="399"/>
                    </a:lnTo>
                    <a:lnTo>
                      <a:pt x="432" y="400"/>
                    </a:lnTo>
                    <a:lnTo>
                      <a:pt x="431" y="400"/>
                    </a:lnTo>
                    <a:lnTo>
                      <a:pt x="432" y="400"/>
                    </a:lnTo>
                    <a:lnTo>
                      <a:pt x="432" y="399"/>
                    </a:lnTo>
                    <a:lnTo>
                      <a:pt x="432" y="398"/>
                    </a:lnTo>
                    <a:lnTo>
                      <a:pt x="433" y="398"/>
                    </a:lnTo>
                    <a:lnTo>
                      <a:pt x="433" y="399"/>
                    </a:lnTo>
                    <a:lnTo>
                      <a:pt x="433" y="400"/>
                    </a:lnTo>
                    <a:lnTo>
                      <a:pt x="434" y="400"/>
                    </a:lnTo>
                    <a:lnTo>
                      <a:pt x="434" y="401"/>
                    </a:lnTo>
                    <a:lnTo>
                      <a:pt x="435" y="401"/>
                    </a:lnTo>
                    <a:lnTo>
                      <a:pt x="435" y="400"/>
                    </a:lnTo>
                    <a:lnTo>
                      <a:pt x="436" y="399"/>
                    </a:lnTo>
                    <a:lnTo>
                      <a:pt x="436" y="398"/>
                    </a:lnTo>
                    <a:lnTo>
                      <a:pt x="437" y="398"/>
                    </a:lnTo>
                    <a:lnTo>
                      <a:pt x="437" y="399"/>
                    </a:lnTo>
                    <a:lnTo>
                      <a:pt x="437" y="400"/>
                    </a:lnTo>
                    <a:lnTo>
                      <a:pt x="436" y="400"/>
                    </a:lnTo>
                    <a:lnTo>
                      <a:pt x="437" y="400"/>
                    </a:lnTo>
                    <a:lnTo>
                      <a:pt x="438" y="399"/>
                    </a:lnTo>
                    <a:lnTo>
                      <a:pt x="438" y="400"/>
                    </a:lnTo>
                    <a:lnTo>
                      <a:pt x="438" y="399"/>
                    </a:lnTo>
                    <a:lnTo>
                      <a:pt x="439" y="399"/>
                    </a:lnTo>
                    <a:lnTo>
                      <a:pt x="439" y="398"/>
                    </a:lnTo>
                    <a:lnTo>
                      <a:pt x="440" y="398"/>
                    </a:lnTo>
                    <a:lnTo>
                      <a:pt x="440" y="399"/>
                    </a:lnTo>
                    <a:lnTo>
                      <a:pt x="440" y="400"/>
                    </a:lnTo>
                    <a:lnTo>
                      <a:pt x="439" y="400"/>
                    </a:lnTo>
                    <a:lnTo>
                      <a:pt x="439" y="401"/>
                    </a:lnTo>
                    <a:lnTo>
                      <a:pt x="439" y="402"/>
                    </a:lnTo>
                    <a:lnTo>
                      <a:pt x="440" y="402"/>
                    </a:lnTo>
                    <a:lnTo>
                      <a:pt x="440" y="403"/>
                    </a:lnTo>
                    <a:lnTo>
                      <a:pt x="440" y="404"/>
                    </a:lnTo>
                    <a:lnTo>
                      <a:pt x="441" y="404"/>
                    </a:lnTo>
                    <a:lnTo>
                      <a:pt x="441" y="403"/>
                    </a:lnTo>
                    <a:lnTo>
                      <a:pt x="441" y="404"/>
                    </a:lnTo>
                    <a:lnTo>
                      <a:pt x="442" y="404"/>
                    </a:lnTo>
                    <a:lnTo>
                      <a:pt x="442" y="403"/>
                    </a:lnTo>
                    <a:lnTo>
                      <a:pt x="442" y="404"/>
                    </a:lnTo>
                    <a:lnTo>
                      <a:pt x="441" y="404"/>
                    </a:lnTo>
                    <a:lnTo>
                      <a:pt x="441" y="405"/>
                    </a:lnTo>
                    <a:lnTo>
                      <a:pt x="440" y="405"/>
                    </a:lnTo>
                    <a:lnTo>
                      <a:pt x="440" y="406"/>
                    </a:lnTo>
                    <a:lnTo>
                      <a:pt x="441" y="406"/>
                    </a:lnTo>
                    <a:lnTo>
                      <a:pt x="441" y="408"/>
                    </a:lnTo>
                    <a:lnTo>
                      <a:pt x="442" y="408"/>
                    </a:lnTo>
                    <a:lnTo>
                      <a:pt x="442" y="406"/>
                    </a:lnTo>
                    <a:lnTo>
                      <a:pt x="442" y="405"/>
                    </a:lnTo>
                    <a:lnTo>
                      <a:pt x="442" y="404"/>
                    </a:lnTo>
                    <a:lnTo>
                      <a:pt x="444" y="404"/>
                    </a:lnTo>
                    <a:lnTo>
                      <a:pt x="444" y="403"/>
                    </a:lnTo>
                    <a:lnTo>
                      <a:pt x="444" y="404"/>
                    </a:lnTo>
                    <a:lnTo>
                      <a:pt x="445" y="404"/>
                    </a:lnTo>
                    <a:lnTo>
                      <a:pt x="446" y="404"/>
                    </a:lnTo>
                    <a:lnTo>
                      <a:pt x="446" y="403"/>
                    </a:lnTo>
                    <a:lnTo>
                      <a:pt x="447" y="402"/>
                    </a:lnTo>
                    <a:lnTo>
                      <a:pt x="447" y="401"/>
                    </a:lnTo>
                    <a:lnTo>
                      <a:pt x="447" y="400"/>
                    </a:lnTo>
                    <a:lnTo>
                      <a:pt x="447" y="399"/>
                    </a:lnTo>
                    <a:lnTo>
                      <a:pt x="448" y="399"/>
                    </a:lnTo>
                    <a:lnTo>
                      <a:pt x="448" y="398"/>
                    </a:lnTo>
                    <a:lnTo>
                      <a:pt x="448" y="397"/>
                    </a:lnTo>
                    <a:lnTo>
                      <a:pt x="449" y="397"/>
                    </a:lnTo>
                    <a:lnTo>
                      <a:pt x="448" y="397"/>
                    </a:lnTo>
                    <a:lnTo>
                      <a:pt x="448" y="396"/>
                    </a:lnTo>
                    <a:lnTo>
                      <a:pt x="449" y="396"/>
                    </a:lnTo>
                    <a:lnTo>
                      <a:pt x="449" y="395"/>
                    </a:lnTo>
                    <a:lnTo>
                      <a:pt x="449" y="393"/>
                    </a:lnTo>
                    <a:lnTo>
                      <a:pt x="449" y="392"/>
                    </a:lnTo>
                    <a:lnTo>
                      <a:pt x="449" y="393"/>
                    </a:lnTo>
                    <a:lnTo>
                      <a:pt x="450" y="393"/>
                    </a:lnTo>
                    <a:lnTo>
                      <a:pt x="450" y="392"/>
                    </a:lnTo>
                    <a:lnTo>
                      <a:pt x="449" y="392"/>
                    </a:lnTo>
                    <a:lnTo>
                      <a:pt x="448" y="392"/>
                    </a:lnTo>
                    <a:lnTo>
                      <a:pt x="448" y="391"/>
                    </a:lnTo>
                    <a:lnTo>
                      <a:pt x="449" y="391"/>
                    </a:lnTo>
                    <a:lnTo>
                      <a:pt x="449" y="392"/>
                    </a:lnTo>
                    <a:lnTo>
                      <a:pt x="450" y="392"/>
                    </a:lnTo>
                    <a:lnTo>
                      <a:pt x="450" y="393"/>
                    </a:lnTo>
                    <a:lnTo>
                      <a:pt x="451" y="393"/>
                    </a:lnTo>
                    <a:lnTo>
                      <a:pt x="451" y="392"/>
                    </a:lnTo>
                    <a:lnTo>
                      <a:pt x="451" y="393"/>
                    </a:lnTo>
                    <a:lnTo>
                      <a:pt x="451" y="395"/>
                    </a:lnTo>
                    <a:lnTo>
                      <a:pt x="452" y="395"/>
                    </a:lnTo>
                    <a:lnTo>
                      <a:pt x="452" y="393"/>
                    </a:lnTo>
                    <a:lnTo>
                      <a:pt x="452" y="392"/>
                    </a:lnTo>
                    <a:lnTo>
                      <a:pt x="451" y="392"/>
                    </a:lnTo>
                    <a:lnTo>
                      <a:pt x="450" y="392"/>
                    </a:lnTo>
                    <a:lnTo>
                      <a:pt x="450" y="391"/>
                    </a:lnTo>
                    <a:lnTo>
                      <a:pt x="449" y="391"/>
                    </a:lnTo>
                    <a:lnTo>
                      <a:pt x="448" y="391"/>
                    </a:lnTo>
                    <a:lnTo>
                      <a:pt x="448" y="390"/>
                    </a:lnTo>
                    <a:lnTo>
                      <a:pt x="448" y="388"/>
                    </a:lnTo>
                    <a:lnTo>
                      <a:pt x="448" y="390"/>
                    </a:lnTo>
                    <a:lnTo>
                      <a:pt x="448" y="391"/>
                    </a:lnTo>
                    <a:lnTo>
                      <a:pt x="448" y="390"/>
                    </a:lnTo>
                    <a:lnTo>
                      <a:pt x="449" y="391"/>
                    </a:lnTo>
                    <a:lnTo>
                      <a:pt x="450" y="391"/>
                    </a:lnTo>
                    <a:lnTo>
                      <a:pt x="451" y="391"/>
                    </a:lnTo>
                    <a:lnTo>
                      <a:pt x="452" y="392"/>
                    </a:lnTo>
                    <a:lnTo>
                      <a:pt x="453" y="392"/>
                    </a:lnTo>
                    <a:lnTo>
                      <a:pt x="453" y="391"/>
                    </a:lnTo>
                    <a:lnTo>
                      <a:pt x="454" y="391"/>
                    </a:lnTo>
                    <a:lnTo>
                      <a:pt x="453" y="390"/>
                    </a:lnTo>
                    <a:lnTo>
                      <a:pt x="453" y="389"/>
                    </a:lnTo>
                    <a:lnTo>
                      <a:pt x="452" y="389"/>
                    </a:lnTo>
                    <a:lnTo>
                      <a:pt x="452" y="388"/>
                    </a:lnTo>
                    <a:lnTo>
                      <a:pt x="451" y="388"/>
                    </a:lnTo>
                    <a:lnTo>
                      <a:pt x="451" y="389"/>
                    </a:lnTo>
                    <a:lnTo>
                      <a:pt x="451" y="388"/>
                    </a:lnTo>
                    <a:lnTo>
                      <a:pt x="451" y="387"/>
                    </a:lnTo>
                    <a:lnTo>
                      <a:pt x="450" y="388"/>
                    </a:lnTo>
                    <a:lnTo>
                      <a:pt x="450" y="387"/>
                    </a:lnTo>
                    <a:lnTo>
                      <a:pt x="451" y="387"/>
                    </a:lnTo>
                    <a:lnTo>
                      <a:pt x="450" y="387"/>
                    </a:lnTo>
                    <a:lnTo>
                      <a:pt x="451" y="387"/>
                    </a:lnTo>
                    <a:lnTo>
                      <a:pt x="452" y="387"/>
                    </a:lnTo>
                    <a:lnTo>
                      <a:pt x="451" y="387"/>
                    </a:lnTo>
                    <a:lnTo>
                      <a:pt x="452" y="387"/>
                    </a:lnTo>
                    <a:lnTo>
                      <a:pt x="452" y="388"/>
                    </a:lnTo>
                    <a:lnTo>
                      <a:pt x="453" y="387"/>
                    </a:lnTo>
                    <a:lnTo>
                      <a:pt x="453" y="388"/>
                    </a:lnTo>
                    <a:lnTo>
                      <a:pt x="454" y="388"/>
                    </a:lnTo>
                    <a:lnTo>
                      <a:pt x="455" y="388"/>
                    </a:lnTo>
                    <a:lnTo>
                      <a:pt x="454" y="387"/>
                    </a:lnTo>
                    <a:lnTo>
                      <a:pt x="455" y="387"/>
                    </a:lnTo>
                    <a:lnTo>
                      <a:pt x="455" y="388"/>
                    </a:lnTo>
                    <a:lnTo>
                      <a:pt x="455" y="387"/>
                    </a:lnTo>
                    <a:lnTo>
                      <a:pt x="455" y="388"/>
                    </a:lnTo>
                    <a:lnTo>
                      <a:pt x="457" y="388"/>
                    </a:lnTo>
                    <a:lnTo>
                      <a:pt x="455" y="389"/>
                    </a:lnTo>
                    <a:lnTo>
                      <a:pt x="457" y="389"/>
                    </a:lnTo>
                    <a:lnTo>
                      <a:pt x="458" y="389"/>
                    </a:lnTo>
                    <a:lnTo>
                      <a:pt x="459" y="389"/>
                    </a:lnTo>
                    <a:lnTo>
                      <a:pt x="460" y="389"/>
                    </a:lnTo>
                    <a:lnTo>
                      <a:pt x="461" y="389"/>
                    </a:lnTo>
                    <a:lnTo>
                      <a:pt x="462" y="389"/>
                    </a:lnTo>
                    <a:lnTo>
                      <a:pt x="463" y="389"/>
                    </a:lnTo>
                    <a:lnTo>
                      <a:pt x="464" y="389"/>
                    </a:lnTo>
                    <a:lnTo>
                      <a:pt x="464" y="388"/>
                    </a:lnTo>
                    <a:lnTo>
                      <a:pt x="465" y="388"/>
                    </a:lnTo>
                    <a:lnTo>
                      <a:pt x="464" y="388"/>
                    </a:lnTo>
                    <a:lnTo>
                      <a:pt x="465" y="387"/>
                    </a:lnTo>
                    <a:lnTo>
                      <a:pt x="466" y="387"/>
                    </a:lnTo>
                    <a:lnTo>
                      <a:pt x="467" y="387"/>
                    </a:lnTo>
                    <a:lnTo>
                      <a:pt x="467" y="386"/>
                    </a:lnTo>
                    <a:lnTo>
                      <a:pt x="467" y="387"/>
                    </a:lnTo>
                    <a:lnTo>
                      <a:pt x="467" y="386"/>
                    </a:lnTo>
                    <a:lnTo>
                      <a:pt x="468" y="386"/>
                    </a:lnTo>
                    <a:lnTo>
                      <a:pt x="468" y="385"/>
                    </a:lnTo>
                    <a:lnTo>
                      <a:pt x="470" y="385"/>
                    </a:lnTo>
                    <a:lnTo>
                      <a:pt x="471" y="385"/>
                    </a:lnTo>
                    <a:lnTo>
                      <a:pt x="471" y="384"/>
                    </a:lnTo>
                    <a:lnTo>
                      <a:pt x="471" y="383"/>
                    </a:lnTo>
                    <a:lnTo>
                      <a:pt x="472" y="383"/>
                    </a:lnTo>
                    <a:lnTo>
                      <a:pt x="472" y="382"/>
                    </a:lnTo>
                    <a:lnTo>
                      <a:pt x="472" y="380"/>
                    </a:lnTo>
                    <a:lnTo>
                      <a:pt x="471" y="380"/>
                    </a:lnTo>
                    <a:lnTo>
                      <a:pt x="471" y="382"/>
                    </a:lnTo>
                    <a:lnTo>
                      <a:pt x="470" y="380"/>
                    </a:lnTo>
                    <a:lnTo>
                      <a:pt x="470" y="379"/>
                    </a:lnTo>
                    <a:lnTo>
                      <a:pt x="471" y="379"/>
                    </a:lnTo>
                    <a:lnTo>
                      <a:pt x="470" y="379"/>
                    </a:lnTo>
                    <a:lnTo>
                      <a:pt x="468" y="379"/>
                    </a:lnTo>
                    <a:lnTo>
                      <a:pt x="470" y="377"/>
                    </a:lnTo>
                    <a:lnTo>
                      <a:pt x="470" y="376"/>
                    </a:lnTo>
                    <a:lnTo>
                      <a:pt x="468" y="376"/>
                    </a:lnTo>
                    <a:lnTo>
                      <a:pt x="467" y="376"/>
                    </a:lnTo>
                    <a:lnTo>
                      <a:pt x="467" y="375"/>
                    </a:lnTo>
                    <a:lnTo>
                      <a:pt x="468" y="375"/>
                    </a:lnTo>
                    <a:lnTo>
                      <a:pt x="468" y="374"/>
                    </a:lnTo>
                    <a:lnTo>
                      <a:pt x="467" y="374"/>
                    </a:lnTo>
                    <a:lnTo>
                      <a:pt x="466" y="373"/>
                    </a:lnTo>
                    <a:lnTo>
                      <a:pt x="465" y="373"/>
                    </a:lnTo>
                    <a:lnTo>
                      <a:pt x="464" y="373"/>
                    </a:lnTo>
                    <a:lnTo>
                      <a:pt x="464" y="372"/>
                    </a:lnTo>
                    <a:lnTo>
                      <a:pt x="464" y="371"/>
                    </a:lnTo>
                    <a:lnTo>
                      <a:pt x="463" y="370"/>
                    </a:lnTo>
                    <a:lnTo>
                      <a:pt x="463" y="369"/>
                    </a:lnTo>
                    <a:lnTo>
                      <a:pt x="463" y="370"/>
                    </a:lnTo>
                    <a:lnTo>
                      <a:pt x="464" y="370"/>
                    </a:lnTo>
                    <a:lnTo>
                      <a:pt x="464" y="371"/>
                    </a:lnTo>
                    <a:lnTo>
                      <a:pt x="465" y="371"/>
                    </a:lnTo>
                    <a:lnTo>
                      <a:pt x="465" y="372"/>
                    </a:lnTo>
                    <a:lnTo>
                      <a:pt x="465" y="371"/>
                    </a:lnTo>
                    <a:lnTo>
                      <a:pt x="465" y="370"/>
                    </a:lnTo>
                    <a:lnTo>
                      <a:pt x="464" y="369"/>
                    </a:lnTo>
                    <a:lnTo>
                      <a:pt x="465" y="369"/>
                    </a:lnTo>
                    <a:lnTo>
                      <a:pt x="465" y="367"/>
                    </a:lnTo>
                    <a:lnTo>
                      <a:pt x="466" y="367"/>
                    </a:lnTo>
                    <a:lnTo>
                      <a:pt x="466" y="369"/>
                    </a:lnTo>
                    <a:lnTo>
                      <a:pt x="467" y="369"/>
                    </a:lnTo>
                    <a:lnTo>
                      <a:pt x="467" y="367"/>
                    </a:lnTo>
                    <a:lnTo>
                      <a:pt x="467" y="366"/>
                    </a:lnTo>
                    <a:lnTo>
                      <a:pt x="468" y="366"/>
                    </a:lnTo>
                    <a:lnTo>
                      <a:pt x="468" y="367"/>
                    </a:lnTo>
                    <a:lnTo>
                      <a:pt x="468" y="369"/>
                    </a:lnTo>
                    <a:lnTo>
                      <a:pt x="468" y="370"/>
                    </a:lnTo>
                    <a:lnTo>
                      <a:pt x="467" y="370"/>
                    </a:lnTo>
                    <a:lnTo>
                      <a:pt x="467" y="371"/>
                    </a:lnTo>
                    <a:lnTo>
                      <a:pt x="467" y="372"/>
                    </a:lnTo>
                    <a:lnTo>
                      <a:pt x="468" y="373"/>
                    </a:lnTo>
                    <a:lnTo>
                      <a:pt x="470" y="373"/>
                    </a:lnTo>
                    <a:lnTo>
                      <a:pt x="471" y="373"/>
                    </a:lnTo>
                    <a:lnTo>
                      <a:pt x="471" y="374"/>
                    </a:lnTo>
                    <a:lnTo>
                      <a:pt x="471" y="375"/>
                    </a:lnTo>
                    <a:lnTo>
                      <a:pt x="472" y="375"/>
                    </a:lnTo>
                    <a:lnTo>
                      <a:pt x="472" y="376"/>
                    </a:lnTo>
                    <a:lnTo>
                      <a:pt x="472" y="377"/>
                    </a:lnTo>
                    <a:lnTo>
                      <a:pt x="472" y="378"/>
                    </a:lnTo>
                    <a:lnTo>
                      <a:pt x="473" y="379"/>
                    </a:lnTo>
                    <a:lnTo>
                      <a:pt x="473" y="378"/>
                    </a:lnTo>
                    <a:lnTo>
                      <a:pt x="473" y="377"/>
                    </a:lnTo>
                    <a:lnTo>
                      <a:pt x="474" y="377"/>
                    </a:lnTo>
                    <a:lnTo>
                      <a:pt x="475" y="377"/>
                    </a:lnTo>
                    <a:lnTo>
                      <a:pt x="475" y="378"/>
                    </a:lnTo>
                    <a:lnTo>
                      <a:pt x="476" y="378"/>
                    </a:lnTo>
                    <a:lnTo>
                      <a:pt x="476" y="377"/>
                    </a:lnTo>
                    <a:lnTo>
                      <a:pt x="477" y="377"/>
                    </a:lnTo>
                    <a:lnTo>
                      <a:pt x="478" y="377"/>
                    </a:lnTo>
                    <a:lnTo>
                      <a:pt x="478" y="378"/>
                    </a:lnTo>
                    <a:lnTo>
                      <a:pt x="479" y="378"/>
                    </a:lnTo>
                    <a:lnTo>
                      <a:pt x="479" y="379"/>
                    </a:lnTo>
                    <a:lnTo>
                      <a:pt x="478" y="379"/>
                    </a:lnTo>
                    <a:lnTo>
                      <a:pt x="478" y="380"/>
                    </a:lnTo>
                    <a:lnTo>
                      <a:pt x="478" y="382"/>
                    </a:lnTo>
                    <a:lnTo>
                      <a:pt x="478" y="383"/>
                    </a:lnTo>
                    <a:lnTo>
                      <a:pt x="478" y="384"/>
                    </a:lnTo>
                    <a:lnTo>
                      <a:pt x="478" y="385"/>
                    </a:lnTo>
                    <a:lnTo>
                      <a:pt x="477" y="386"/>
                    </a:lnTo>
                    <a:lnTo>
                      <a:pt x="478" y="386"/>
                    </a:lnTo>
                    <a:lnTo>
                      <a:pt x="477" y="386"/>
                    </a:lnTo>
                    <a:lnTo>
                      <a:pt x="477" y="387"/>
                    </a:lnTo>
                    <a:lnTo>
                      <a:pt x="478" y="387"/>
                    </a:lnTo>
                    <a:lnTo>
                      <a:pt x="478" y="386"/>
                    </a:lnTo>
                    <a:lnTo>
                      <a:pt x="478" y="385"/>
                    </a:lnTo>
                    <a:lnTo>
                      <a:pt x="478" y="386"/>
                    </a:lnTo>
                    <a:lnTo>
                      <a:pt x="479" y="386"/>
                    </a:lnTo>
                    <a:lnTo>
                      <a:pt x="479" y="385"/>
                    </a:lnTo>
                    <a:lnTo>
                      <a:pt x="479" y="384"/>
                    </a:lnTo>
                    <a:lnTo>
                      <a:pt x="479" y="385"/>
                    </a:lnTo>
                    <a:lnTo>
                      <a:pt x="479" y="386"/>
                    </a:lnTo>
                    <a:lnTo>
                      <a:pt x="479" y="387"/>
                    </a:lnTo>
                    <a:lnTo>
                      <a:pt x="478" y="387"/>
                    </a:lnTo>
                    <a:lnTo>
                      <a:pt x="478" y="388"/>
                    </a:lnTo>
                    <a:lnTo>
                      <a:pt x="477" y="388"/>
                    </a:lnTo>
                    <a:lnTo>
                      <a:pt x="476" y="388"/>
                    </a:lnTo>
                    <a:lnTo>
                      <a:pt x="476" y="389"/>
                    </a:lnTo>
                    <a:lnTo>
                      <a:pt x="475" y="389"/>
                    </a:lnTo>
                    <a:lnTo>
                      <a:pt x="476" y="389"/>
                    </a:lnTo>
                    <a:lnTo>
                      <a:pt x="476" y="390"/>
                    </a:lnTo>
                    <a:lnTo>
                      <a:pt x="477" y="390"/>
                    </a:lnTo>
                    <a:lnTo>
                      <a:pt x="478" y="390"/>
                    </a:lnTo>
                    <a:lnTo>
                      <a:pt x="478" y="389"/>
                    </a:lnTo>
                    <a:lnTo>
                      <a:pt x="478" y="390"/>
                    </a:lnTo>
                    <a:lnTo>
                      <a:pt x="478" y="389"/>
                    </a:lnTo>
                    <a:lnTo>
                      <a:pt x="478" y="390"/>
                    </a:lnTo>
                    <a:lnTo>
                      <a:pt x="479" y="390"/>
                    </a:lnTo>
                    <a:lnTo>
                      <a:pt x="479" y="389"/>
                    </a:lnTo>
                    <a:lnTo>
                      <a:pt x="479" y="390"/>
                    </a:lnTo>
                    <a:lnTo>
                      <a:pt x="479" y="389"/>
                    </a:lnTo>
                    <a:lnTo>
                      <a:pt x="479" y="390"/>
                    </a:lnTo>
                    <a:lnTo>
                      <a:pt x="480" y="390"/>
                    </a:lnTo>
                    <a:lnTo>
                      <a:pt x="480" y="389"/>
                    </a:lnTo>
                    <a:lnTo>
                      <a:pt x="481" y="389"/>
                    </a:lnTo>
                    <a:lnTo>
                      <a:pt x="480" y="390"/>
                    </a:lnTo>
                    <a:lnTo>
                      <a:pt x="481" y="390"/>
                    </a:lnTo>
                    <a:lnTo>
                      <a:pt x="481" y="391"/>
                    </a:lnTo>
                    <a:lnTo>
                      <a:pt x="481" y="390"/>
                    </a:lnTo>
                    <a:lnTo>
                      <a:pt x="481" y="391"/>
                    </a:lnTo>
                    <a:lnTo>
                      <a:pt x="481" y="392"/>
                    </a:lnTo>
                    <a:lnTo>
                      <a:pt x="483" y="392"/>
                    </a:lnTo>
                    <a:lnTo>
                      <a:pt x="483" y="391"/>
                    </a:lnTo>
                    <a:lnTo>
                      <a:pt x="484" y="391"/>
                    </a:lnTo>
                    <a:lnTo>
                      <a:pt x="484" y="392"/>
                    </a:lnTo>
                    <a:lnTo>
                      <a:pt x="483" y="392"/>
                    </a:lnTo>
                    <a:lnTo>
                      <a:pt x="483" y="393"/>
                    </a:lnTo>
                    <a:lnTo>
                      <a:pt x="484" y="392"/>
                    </a:lnTo>
                    <a:lnTo>
                      <a:pt x="484" y="391"/>
                    </a:lnTo>
                    <a:lnTo>
                      <a:pt x="484" y="392"/>
                    </a:lnTo>
                    <a:lnTo>
                      <a:pt x="485" y="392"/>
                    </a:lnTo>
                    <a:lnTo>
                      <a:pt x="485" y="391"/>
                    </a:lnTo>
                    <a:lnTo>
                      <a:pt x="486" y="392"/>
                    </a:lnTo>
                    <a:lnTo>
                      <a:pt x="486" y="391"/>
                    </a:lnTo>
                    <a:lnTo>
                      <a:pt x="486" y="392"/>
                    </a:lnTo>
                    <a:lnTo>
                      <a:pt x="486" y="393"/>
                    </a:lnTo>
                    <a:lnTo>
                      <a:pt x="486" y="395"/>
                    </a:lnTo>
                    <a:lnTo>
                      <a:pt x="487" y="395"/>
                    </a:lnTo>
                    <a:lnTo>
                      <a:pt x="486" y="395"/>
                    </a:lnTo>
                    <a:lnTo>
                      <a:pt x="487" y="395"/>
                    </a:lnTo>
                    <a:lnTo>
                      <a:pt x="486" y="396"/>
                    </a:lnTo>
                    <a:lnTo>
                      <a:pt x="485" y="396"/>
                    </a:lnTo>
                    <a:lnTo>
                      <a:pt x="484" y="396"/>
                    </a:lnTo>
                    <a:lnTo>
                      <a:pt x="484" y="397"/>
                    </a:lnTo>
                    <a:lnTo>
                      <a:pt x="485" y="397"/>
                    </a:lnTo>
                    <a:lnTo>
                      <a:pt x="485" y="396"/>
                    </a:lnTo>
                    <a:lnTo>
                      <a:pt x="485" y="397"/>
                    </a:lnTo>
                    <a:lnTo>
                      <a:pt x="485" y="396"/>
                    </a:lnTo>
                    <a:lnTo>
                      <a:pt x="485" y="397"/>
                    </a:lnTo>
                    <a:lnTo>
                      <a:pt x="485" y="396"/>
                    </a:lnTo>
                    <a:lnTo>
                      <a:pt x="486" y="396"/>
                    </a:lnTo>
                    <a:lnTo>
                      <a:pt x="487" y="396"/>
                    </a:lnTo>
                    <a:lnTo>
                      <a:pt x="487" y="395"/>
                    </a:lnTo>
                    <a:lnTo>
                      <a:pt x="487" y="393"/>
                    </a:lnTo>
                    <a:lnTo>
                      <a:pt x="487" y="392"/>
                    </a:lnTo>
                    <a:lnTo>
                      <a:pt x="487" y="391"/>
                    </a:lnTo>
                    <a:lnTo>
                      <a:pt x="487" y="392"/>
                    </a:lnTo>
                    <a:lnTo>
                      <a:pt x="487" y="391"/>
                    </a:lnTo>
                    <a:lnTo>
                      <a:pt x="487" y="390"/>
                    </a:lnTo>
                    <a:lnTo>
                      <a:pt x="486" y="390"/>
                    </a:lnTo>
                    <a:lnTo>
                      <a:pt x="487" y="390"/>
                    </a:lnTo>
                    <a:lnTo>
                      <a:pt x="487" y="389"/>
                    </a:lnTo>
                    <a:lnTo>
                      <a:pt x="486" y="388"/>
                    </a:lnTo>
                    <a:lnTo>
                      <a:pt x="485" y="388"/>
                    </a:lnTo>
                    <a:lnTo>
                      <a:pt x="485" y="387"/>
                    </a:lnTo>
                    <a:lnTo>
                      <a:pt x="484" y="387"/>
                    </a:lnTo>
                    <a:lnTo>
                      <a:pt x="483" y="387"/>
                    </a:lnTo>
                    <a:lnTo>
                      <a:pt x="483" y="388"/>
                    </a:lnTo>
                    <a:lnTo>
                      <a:pt x="483" y="387"/>
                    </a:lnTo>
                    <a:lnTo>
                      <a:pt x="481" y="387"/>
                    </a:lnTo>
                    <a:lnTo>
                      <a:pt x="481" y="386"/>
                    </a:lnTo>
                    <a:lnTo>
                      <a:pt x="481" y="385"/>
                    </a:lnTo>
                    <a:lnTo>
                      <a:pt x="481" y="384"/>
                    </a:lnTo>
                    <a:lnTo>
                      <a:pt x="481" y="385"/>
                    </a:lnTo>
                    <a:lnTo>
                      <a:pt x="481" y="386"/>
                    </a:lnTo>
                    <a:lnTo>
                      <a:pt x="483" y="386"/>
                    </a:lnTo>
                    <a:lnTo>
                      <a:pt x="484" y="386"/>
                    </a:lnTo>
                    <a:lnTo>
                      <a:pt x="485" y="386"/>
                    </a:lnTo>
                    <a:lnTo>
                      <a:pt x="486" y="386"/>
                    </a:lnTo>
                    <a:lnTo>
                      <a:pt x="487" y="386"/>
                    </a:lnTo>
                    <a:lnTo>
                      <a:pt x="487" y="387"/>
                    </a:lnTo>
                    <a:lnTo>
                      <a:pt x="486" y="387"/>
                    </a:lnTo>
                    <a:lnTo>
                      <a:pt x="485" y="387"/>
                    </a:lnTo>
                    <a:lnTo>
                      <a:pt x="486" y="387"/>
                    </a:lnTo>
                    <a:lnTo>
                      <a:pt x="486" y="388"/>
                    </a:lnTo>
                    <a:lnTo>
                      <a:pt x="487" y="388"/>
                    </a:lnTo>
                    <a:lnTo>
                      <a:pt x="488" y="388"/>
                    </a:lnTo>
                    <a:lnTo>
                      <a:pt x="488" y="389"/>
                    </a:lnTo>
                    <a:lnTo>
                      <a:pt x="488" y="390"/>
                    </a:lnTo>
                    <a:lnTo>
                      <a:pt x="488" y="391"/>
                    </a:lnTo>
                    <a:lnTo>
                      <a:pt x="488" y="392"/>
                    </a:lnTo>
                    <a:lnTo>
                      <a:pt x="488" y="393"/>
                    </a:lnTo>
                    <a:lnTo>
                      <a:pt x="489" y="393"/>
                    </a:lnTo>
                    <a:lnTo>
                      <a:pt x="489" y="395"/>
                    </a:lnTo>
                    <a:lnTo>
                      <a:pt x="489" y="396"/>
                    </a:lnTo>
                    <a:lnTo>
                      <a:pt x="489" y="397"/>
                    </a:lnTo>
                    <a:lnTo>
                      <a:pt x="489" y="398"/>
                    </a:lnTo>
                    <a:lnTo>
                      <a:pt x="489" y="399"/>
                    </a:lnTo>
                    <a:lnTo>
                      <a:pt x="488" y="399"/>
                    </a:lnTo>
                    <a:lnTo>
                      <a:pt x="489" y="399"/>
                    </a:lnTo>
                    <a:lnTo>
                      <a:pt x="489" y="400"/>
                    </a:lnTo>
                    <a:lnTo>
                      <a:pt x="490" y="400"/>
                    </a:lnTo>
                    <a:lnTo>
                      <a:pt x="490" y="399"/>
                    </a:lnTo>
                    <a:lnTo>
                      <a:pt x="489" y="399"/>
                    </a:lnTo>
                    <a:lnTo>
                      <a:pt x="489" y="398"/>
                    </a:lnTo>
                    <a:lnTo>
                      <a:pt x="490" y="398"/>
                    </a:lnTo>
                    <a:lnTo>
                      <a:pt x="490" y="397"/>
                    </a:lnTo>
                    <a:lnTo>
                      <a:pt x="490" y="396"/>
                    </a:lnTo>
                    <a:lnTo>
                      <a:pt x="490" y="395"/>
                    </a:lnTo>
                    <a:lnTo>
                      <a:pt x="490" y="393"/>
                    </a:lnTo>
                    <a:lnTo>
                      <a:pt x="491" y="392"/>
                    </a:lnTo>
                    <a:lnTo>
                      <a:pt x="492" y="392"/>
                    </a:lnTo>
                    <a:lnTo>
                      <a:pt x="492" y="391"/>
                    </a:lnTo>
                    <a:lnTo>
                      <a:pt x="493" y="391"/>
                    </a:lnTo>
                    <a:lnTo>
                      <a:pt x="494" y="390"/>
                    </a:lnTo>
                    <a:lnTo>
                      <a:pt x="492" y="391"/>
                    </a:lnTo>
                    <a:lnTo>
                      <a:pt x="492" y="392"/>
                    </a:lnTo>
                    <a:lnTo>
                      <a:pt x="492" y="393"/>
                    </a:lnTo>
                    <a:lnTo>
                      <a:pt x="491" y="393"/>
                    </a:lnTo>
                    <a:lnTo>
                      <a:pt x="492" y="393"/>
                    </a:lnTo>
                    <a:lnTo>
                      <a:pt x="492" y="395"/>
                    </a:lnTo>
                    <a:lnTo>
                      <a:pt x="493" y="395"/>
                    </a:lnTo>
                    <a:lnTo>
                      <a:pt x="492" y="395"/>
                    </a:lnTo>
                    <a:lnTo>
                      <a:pt x="493" y="395"/>
                    </a:lnTo>
                    <a:lnTo>
                      <a:pt x="494" y="395"/>
                    </a:lnTo>
                    <a:lnTo>
                      <a:pt x="494" y="396"/>
                    </a:lnTo>
                    <a:lnTo>
                      <a:pt x="496" y="397"/>
                    </a:lnTo>
                    <a:lnTo>
                      <a:pt x="494" y="397"/>
                    </a:lnTo>
                    <a:lnTo>
                      <a:pt x="496" y="397"/>
                    </a:lnTo>
                    <a:lnTo>
                      <a:pt x="496" y="398"/>
                    </a:lnTo>
                    <a:lnTo>
                      <a:pt x="497" y="398"/>
                    </a:lnTo>
                    <a:lnTo>
                      <a:pt x="497" y="399"/>
                    </a:lnTo>
                    <a:lnTo>
                      <a:pt x="497" y="400"/>
                    </a:lnTo>
                    <a:lnTo>
                      <a:pt x="496" y="400"/>
                    </a:lnTo>
                    <a:lnTo>
                      <a:pt x="496" y="401"/>
                    </a:lnTo>
                    <a:lnTo>
                      <a:pt x="497" y="401"/>
                    </a:lnTo>
                    <a:lnTo>
                      <a:pt x="498" y="400"/>
                    </a:lnTo>
                    <a:lnTo>
                      <a:pt x="498" y="399"/>
                    </a:lnTo>
                    <a:lnTo>
                      <a:pt x="499" y="399"/>
                    </a:lnTo>
                    <a:lnTo>
                      <a:pt x="498" y="399"/>
                    </a:lnTo>
                    <a:lnTo>
                      <a:pt x="499" y="400"/>
                    </a:lnTo>
                    <a:lnTo>
                      <a:pt x="499" y="399"/>
                    </a:lnTo>
                    <a:lnTo>
                      <a:pt x="500" y="399"/>
                    </a:lnTo>
                    <a:lnTo>
                      <a:pt x="500" y="398"/>
                    </a:lnTo>
                    <a:lnTo>
                      <a:pt x="500" y="399"/>
                    </a:lnTo>
                    <a:lnTo>
                      <a:pt x="501" y="399"/>
                    </a:lnTo>
                    <a:lnTo>
                      <a:pt x="500" y="399"/>
                    </a:lnTo>
                    <a:lnTo>
                      <a:pt x="500" y="400"/>
                    </a:lnTo>
                    <a:lnTo>
                      <a:pt x="501" y="400"/>
                    </a:lnTo>
                    <a:lnTo>
                      <a:pt x="500" y="401"/>
                    </a:lnTo>
                    <a:lnTo>
                      <a:pt x="501" y="401"/>
                    </a:lnTo>
                    <a:lnTo>
                      <a:pt x="501" y="402"/>
                    </a:lnTo>
                    <a:lnTo>
                      <a:pt x="502" y="402"/>
                    </a:lnTo>
                    <a:lnTo>
                      <a:pt x="502" y="403"/>
                    </a:lnTo>
                    <a:lnTo>
                      <a:pt x="503" y="403"/>
                    </a:lnTo>
                    <a:lnTo>
                      <a:pt x="503" y="404"/>
                    </a:lnTo>
                    <a:lnTo>
                      <a:pt x="502" y="403"/>
                    </a:lnTo>
                    <a:lnTo>
                      <a:pt x="501" y="402"/>
                    </a:lnTo>
                    <a:lnTo>
                      <a:pt x="500" y="401"/>
                    </a:lnTo>
                    <a:lnTo>
                      <a:pt x="500" y="402"/>
                    </a:lnTo>
                    <a:lnTo>
                      <a:pt x="500" y="403"/>
                    </a:lnTo>
                    <a:lnTo>
                      <a:pt x="499" y="403"/>
                    </a:lnTo>
                    <a:lnTo>
                      <a:pt x="498" y="403"/>
                    </a:lnTo>
                    <a:lnTo>
                      <a:pt x="499" y="403"/>
                    </a:lnTo>
                    <a:lnTo>
                      <a:pt x="499" y="402"/>
                    </a:lnTo>
                    <a:lnTo>
                      <a:pt x="498" y="402"/>
                    </a:lnTo>
                    <a:lnTo>
                      <a:pt x="498" y="403"/>
                    </a:lnTo>
                    <a:lnTo>
                      <a:pt x="497" y="403"/>
                    </a:lnTo>
                    <a:lnTo>
                      <a:pt x="496" y="403"/>
                    </a:lnTo>
                    <a:lnTo>
                      <a:pt x="496" y="404"/>
                    </a:lnTo>
                    <a:lnTo>
                      <a:pt x="494" y="404"/>
                    </a:lnTo>
                    <a:lnTo>
                      <a:pt x="496" y="404"/>
                    </a:lnTo>
                    <a:lnTo>
                      <a:pt x="497" y="404"/>
                    </a:lnTo>
                    <a:lnTo>
                      <a:pt x="497" y="405"/>
                    </a:lnTo>
                    <a:lnTo>
                      <a:pt x="498" y="405"/>
                    </a:lnTo>
                    <a:lnTo>
                      <a:pt x="498" y="406"/>
                    </a:lnTo>
                    <a:lnTo>
                      <a:pt x="499" y="406"/>
                    </a:lnTo>
                    <a:lnTo>
                      <a:pt x="499" y="408"/>
                    </a:lnTo>
                    <a:lnTo>
                      <a:pt x="499" y="409"/>
                    </a:lnTo>
                    <a:lnTo>
                      <a:pt x="498" y="409"/>
                    </a:lnTo>
                    <a:lnTo>
                      <a:pt x="499" y="410"/>
                    </a:lnTo>
                    <a:lnTo>
                      <a:pt x="499" y="409"/>
                    </a:lnTo>
                    <a:lnTo>
                      <a:pt x="500" y="410"/>
                    </a:lnTo>
                    <a:lnTo>
                      <a:pt x="500" y="409"/>
                    </a:lnTo>
                    <a:lnTo>
                      <a:pt x="500" y="410"/>
                    </a:lnTo>
                    <a:lnTo>
                      <a:pt x="500" y="409"/>
                    </a:lnTo>
                    <a:lnTo>
                      <a:pt x="501" y="409"/>
                    </a:lnTo>
                    <a:lnTo>
                      <a:pt x="502" y="409"/>
                    </a:lnTo>
                    <a:lnTo>
                      <a:pt x="503" y="409"/>
                    </a:lnTo>
                    <a:lnTo>
                      <a:pt x="503" y="410"/>
                    </a:lnTo>
                    <a:lnTo>
                      <a:pt x="503" y="409"/>
                    </a:lnTo>
                    <a:lnTo>
                      <a:pt x="503" y="410"/>
                    </a:lnTo>
                    <a:lnTo>
                      <a:pt x="502" y="410"/>
                    </a:lnTo>
                    <a:lnTo>
                      <a:pt x="501" y="410"/>
                    </a:lnTo>
                    <a:lnTo>
                      <a:pt x="501" y="411"/>
                    </a:lnTo>
                    <a:lnTo>
                      <a:pt x="500" y="411"/>
                    </a:lnTo>
                    <a:lnTo>
                      <a:pt x="500" y="412"/>
                    </a:lnTo>
                    <a:lnTo>
                      <a:pt x="500" y="413"/>
                    </a:lnTo>
                    <a:lnTo>
                      <a:pt x="501" y="413"/>
                    </a:lnTo>
                    <a:lnTo>
                      <a:pt x="501" y="414"/>
                    </a:lnTo>
                    <a:lnTo>
                      <a:pt x="502" y="414"/>
                    </a:lnTo>
                    <a:lnTo>
                      <a:pt x="502" y="415"/>
                    </a:lnTo>
                    <a:lnTo>
                      <a:pt x="501" y="414"/>
                    </a:lnTo>
                    <a:lnTo>
                      <a:pt x="500" y="414"/>
                    </a:lnTo>
                    <a:lnTo>
                      <a:pt x="500" y="413"/>
                    </a:lnTo>
                    <a:lnTo>
                      <a:pt x="499" y="413"/>
                    </a:lnTo>
                    <a:lnTo>
                      <a:pt x="498" y="413"/>
                    </a:lnTo>
                    <a:lnTo>
                      <a:pt x="498" y="412"/>
                    </a:lnTo>
                    <a:lnTo>
                      <a:pt x="498" y="413"/>
                    </a:lnTo>
                    <a:lnTo>
                      <a:pt x="498" y="412"/>
                    </a:lnTo>
                    <a:lnTo>
                      <a:pt x="497" y="412"/>
                    </a:lnTo>
                    <a:lnTo>
                      <a:pt x="497" y="411"/>
                    </a:lnTo>
                    <a:lnTo>
                      <a:pt x="498" y="411"/>
                    </a:lnTo>
                    <a:lnTo>
                      <a:pt x="497" y="411"/>
                    </a:lnTo>
                    <a:lnTo>
                      <a:pt x="496" y="411"/>
                    </a:lnTo>
                    <a:lnTo>
                      <a:pt x="496" y="412"/>
                    </a:lnTo>
                    <a:lnTo>
                      <a:pt x="494" y="412"/>
                    </a:lnTo>
                    <a:lnTo>
                      <a:pt x="494" y="411"/>
                    </a:lnTo>
                    <a:lnTo>
                      <a:pt x="494" y="410"/>
                    </a:lnTo>
                    <a:lnTo>
                      <a:pt x="493" y="410"/>
                    </a:lnTo>
                    <a:lnTo>
                      <a:pt x="493" y="411"/>
                    </a:lnTo>
                    <a:lnTo>
                      <a:pt x="493" y="410"/>
                    </a:lnTo>
                    <a:lnTo>
                      <a:pt x="493" y="411"/>
                    </a:lnTo>
                    <a:lnTo>
                      <a:pt x="492" y="411"/>
                    </a:lnTo>
                    <a:lnTo>
                      <a:pt x="493" y="411"/>
                    </a:lnTo>
                    <a:lnTo>
                      <a:pt x="492" y="411"/>
                    </a:lnTo>
                    <a:lnTo>
                      <a:pt x="492" y="412"/>
                    </a:lnTo>
                    <a:lnTo>
                      <a:pt x="491" y="412"/>
                    </a:lnTo>
                    <a:lnTo>
                      <a:pt x="491" y="411"/>
                    </a:lnTo>
                    <a:lnTo>
                      <a:pt x="492" y="411"/>
                    </a:lnTo>
                    <a:lnTo>
                      <a:pt x="492" y="410"/>
                    </a:lnTo>
                    <a:lnTo>
                      <a:pt x="491" y="410"/>
                    </a:lnTo>
                    <a:lnTo>
                      <a:pt x="492" y="410"/>
                    </a:lnTo>
                    <a:lnTo>
                      <a:pt x="491" y="410"/>
                    </a:lnTo>
                    <a:lnTo>
                      <a:pt x="491" y="411"/>
                    </a:lnTo>
                    <a:lnTo>
                      <a:pt x="490" y="411"/>
                    </a:lnTo>
                    <a:lnTo>
                      <a:pt x="491" y="411"/>
                    </a:lnTo>
                    <a:lnTo>
                      <a:pt x="491" y="412"/>
                    </a:lnTo>
                    <a:lnTo>
                      <a:pt x="492" y="413"/>
                    </a:lnTo>
                    <a:lnTo>
                      <a:pt x="493" y="413"/>
                    </a:lnTo>
                    <a:lnTo>
                      <a:pt x="493" y="414"/>
                    </a:lnTo>
                    <a:lnTo>
                      <a:pt x="494" y="414"/>
                    </a:lnTo>
                    <a:lnTo>
                      <a:pt x="493" y="414"/>
                    </a:lnTo>
                    <a:lnTo>
                      <a:pt x="493" y="415"/>
                    </a:lnTo>
                    <a:lnTo>
                      <a:pt x="492" y="415"/>
                    </a:lnTo>
                    <a:lnTo>
                      <a:pt x="492" y="414"/>
                    </a:lnTo>
                    <a:lnTo>
                      <a:pt x="492" y="415"/>
                    </a:lnTo>
                    <a:lnTo>
                      <a:pt x="493" y="414"/>
                    </a:lnTo>
                    <a:lnTo>
                      <a:pt x="492" y="414"/>
                    </a:lnTo>
                    <a:lnTo>
                      <a:pt x="493" y="414"/>
                    </a:lnTo>
                    <a:lnTo>
                      <a:pt x="492" y="414"/>
                    </a:lnTo>
                    <a:lnTo>
                      <a:pt x="491" y="414"/>
                    </a:lnTo>
                    <a:lnTo>
                      <a:pt x="492" y="415"/>
                    </a:lnTo>
                    <a:lnTo>
                      <a:pt x="491" y="415"/>
                    </a:lnTo>
                    <a:lnTo>
                      <a:pt x="492" y="415"/>
                    </a:lnTo>
                    <a:lnTo>
                      <a:pt x="492" y="416"/>
                    </a:lnTo>
                    <a:lnTo>
                      <a:pt x="493" y="416"/>
                    </a:lnTo>
                    <a:lnTo>
                      <a:pt x="492" y="416"/>
                    </a:lnTo>
                    <a:lnTo>
                      <a:pt x="493" y="416"/>
                    </a:lnTo>
                    <a:lnTo>
                      <a:pt x="494" y="416"/>
                    </a:lnTo>
                    <a:lnTo>
                      <a:pt x="496" y="416"/>
                    </a:lnTo>
                    <a:lnTo>
                      <a:pt x="496" y="415"/>
                    </a:lnTo>
                    <a:lnTo>
                      <a:pt x="497" y="415"/>
                    </a:lnTo>
                    <a:lnTo>
                      <a:pt x="496" y="416"/>
                    </a:lnTo>
                    <a:lnTo>
                      <a:pt x="497" y="416"/>
                    </a:lnTo>
                    <a:lnTo>
                      <a:pt x="497" y="415"/>
                    </a:lnTo>
                    <a:lnTo>
                      <a:pt x="498" y="415"/>
                    </a:lnTo>
                    <a:lnTo>
                      <a:pt x="498" y="416"/>
                    </a:lnTo>
                    <a:lnTo>
                      <a:pt x="498" y="417"/>
                    </a:lnTo>
                    <a:lnTo>
                      <a:pt x="497" y="417"/>
                    </a:lnTo>
                    <a:lnTo>
                      <a:pt x="498" y="417"/>
                    </a:lnTo>
                    <a:lnTo>
                      <a:pt x="497" y="417"/>
                    </a:lnTo>
                    <a:lnTo>
                      <a:pt x="497" y="418"/>
                    </a:lnTo>
                    <a:lnTo>
                      <a:pt x="498" y="418"/>
                    </a:lnTo>
                    <a:lnTo>
                      <a:pt x="497" y="418"/>
                    </a:lnTo>
                    <a:lnTo>
                      <a:pt x="498" y="420"/>
                    </a:lnTo>
                    <a:lnTo>
                      <a:pt x="499" y="420"/>
                    </a:lnTo>
                    <a:lnTo>
                      <a:pt x="500" y="420"/>
                    </a:lnTo>
                    <a:lnTo>
                      <a:pt x="499" y="420"/>
                    </a:lnTo>
                    <a:lnTo>
                      <a:pt x="498" y="420"/>
                    </a:lnTo>
                    <a:lnTo>
                      <a:pt x="497" y="420"/>
                    </a:lnTo>
                    <a:lnTo>
                      <a:pt x="497" y="418"/>
                    </a:lnTo>
                    <a:lnTo>
                      <a:pt x="496" y="417"/>
                    </a:lnTo>
                    <a:lnTo>
                      <a:pt x="497" y="417"/>
                    </a:lnTo>
                    <a:lnTo>
                      <a:pt x="497" y="418"/>
                    </a:lnTo>
                    <a:lnTo>
                      <a:pt x="497" y="417"/>
                    </a:lnTo>
                    <a:lnTo>
                      <a:pt x="496" y="417"/>
                    </a:lnTo>
                    <a:lnTo>
                      <a:pt x="494" y="417"/>
                    </a:lnTo>
                    <a:lnTo>
                      <a:pt x="493" y="417"/>
                    </a:lnTo>
                    <a:lnTo>
                      <a:pt x="492" y="417"/>
                    </a:lnTo>
                    <a:lnTo>
                      <a:pt x="492" y="416"/>
                    </a:lnTo>
                    <a:lnTo>
                      <a:pt x="491" y="416"/>
                    </a:lnTo>
                    <a:lnTo>
                      <a:pt x="491" y="417"/>
                    </a:lnTo>
                    <a:lnTo>
                      <a:pt x="490" y="417"/>
                    </a:lnTo>
                    <a:lnTo>
                      <a:pt x="489" y="417"/>
                    </a:lnTo>
                    <a:lnTo>
                      <a:pt x="488" y="417"/>
                    </a:lnTo>
                    <a:lnTo>
                      <a:pt x="489" y="417"/>
                    </a:lnTo>
                    <a:lnTo>
                      <a:pt x="488" y="417"/>
                    </a:lnTo>
                    <a:lnTo>
                      <a:pt x="488" y="418"/>
                    </a:lnTo>
                    <a:lnTo>
                      <a:pt x="488" y="417"/>
                    </a:lnTo>
                    <a:lnTo>
                      <a:pt x="488" y="418"/>
                    </a:lnTo>
                    <a:lnTo>
                      <a:pt x="488" y="420"/>
                    </a:lnTo>
                    <a:lnTo>
                      <a:pt x="488" y="421"/>
                    </a:lnTo>
                    <a:lnTo>
                      <a:pt x="488" y="422"/>
                    </a:lnTo>
                    <a:lnTo>
                      <a:pt x="487" y="421"/>
                    </a:lnTo>
                    <a:lnTo>
                      <a:pt x="487" y="420"/>
                    </a:lnTo>
                    <a:lnTo>
                      <a:pt x="488" y="420"/>
                    </a:lnTo>
                    <a:lnTo>
                      <a:pt x="488" y="418"/>
                    </a:lnTo>
                    <a:lnTo>
                      <a:pt x="487" y="418"/>
                    </a:lnTo>
                    <a:lnTo>
                      <a:pt x="488" y="418"/>
                    </a:lnTo>
                    <a:lnTo>
                      <a:pt x="487" y="418"/>
                    </a:lnTo>
                    <a:lnTo>
                      <a:pt x="488" y="418"/>
                    </a:lnTo>
                    <a:lnTo>
                      <a:pt x="487" y="418"/>
                    </a:lnTo>
                    <a:lnTo>
                      <a:pt x="487" y="420"/>
                    </a:lnTo>
                    <a:lnTo>
                      <a:pt x="486" y="420"/>
                    </a:lnTo>
                    <a:lnTo>
                      <a:pt x="486" y="421"/>
                    </a:lnTo>
                    <a:lnTo>
                      <a:pt x="485" y="421"/>
                    </a:lnTo>
                    <a:lnTo>
                      <a:pt x="485" y="422"/>
                    </a:lnTo>
                    <a:lnTo>
                      <a:pt x="486" y="422"/>
                    </a:lnTo>
                    <a:lnTo>
                      <a:pt x="486" y="423"/>
                    </a:lnTo>
                    <a:lnTo>
                      <a:pt x="485" y="423"/>
                    </a:lnTo>
                    <a:lnTo>
                      <a:pt x="485" y="422"/>
                    </a:lnTo>
                    <a:lnTo>
                      <a:pt x="485" y="421"/>
                    </a:lnTo>
                    <a:lnTo>
                      <a:pt x="485" y="420"/>
                    </a:lnTo>
                    <a:lnTo>
                      <a:pt x="486" y="420"/>
                    </a:lnTo>
                    <a:lnTo>
                      <a:pt x="486" y="418"/>
                    </a:lnTo>
                    <a:lnTo>
                      <a:pt x="487" y="418"/>
                    </a:lnTo>
                    <a:lnTo>
                      <a:pt x="486" y="418"/>
                    </a:lnTo>
                    <a:lnTo>
                      <a:pt x="486" y="417"/>
                    </a:lnTo>
                    <a:lnTo>
                      <a:pt x="486" y="418"/>
                    </a:lnTo>
                    <a:lnTo>
                      <a:pt x="485" y="418"/>
                    </a:lnTo>
                    <a:lnTo>
                      <a:pt x="485" y="417"/>
                    </a:lnTo>
                    <a:lnTo>
                      <a:pt x="484" y="417"/>
                    </a:lnTo>
                    <a:lnTo>
                      <a:pt x="484" y="416"/>
                    </a:lnTo>
                    <a:lnTo>
                      <a:pt x="483" y="416"/>
                    </a:lnTo>
                    <a:lnTo>
                      <a:pt x="481" y="416"/>
                    </a:lnTo>
                    <a:lnTo>
                      <a:pt x="481" y="417"/>
                    </a:lnTo>
                    <a:lnTo>
                      <a:pt x="481" y="416"/>
                    </a:lnTo>
                    <a:lnTo>
                      <a:pt x="480" y="416"/>
                    </a:lnTo>
                    <a:lnTo>
                      <a:pt x="480" y="417"/>
                    </a:lnTo>
                    <a:lnTo>
                      <a:pt x="479" y="417"/>
                    </a:lnTo>
                    <a:lnTo>
                      <a:pt x="478" y="417"/>
                    </a:lnTo>
                    <a:lnTo>
                      <a:pt x="479" y="418"/>
                    </a:lnTo>
                    <a:lnTo>
                      <a:pt x="480" y="418"/>
                    </a:lnTo>
                    <a:lnTo>
                      <a:pt x="479" y="418"/>
                    </a:lnTo>
                    <a:lnTo>
                      <a:pt x="478" y="418"/>
                    </a:lnTo>
                    <a:lnTo>
                      <a:pt x="477" y="418"/>
                    </a:lnTo>
                    <a:lnTo>
                      <a:pt x="477" y="420"/>
                    </a:lnTo>
                    <a:lnTo>
                      <a:pt x="476" y="420"/>
                    </a:lnTo>
                    <a:lnTo>
                      <a:pt x="476" y="421"/>
                    </a:lnTo>
                    <a:lnTo>
                      <a:pt x="475" y="421"/>
                    </a:lnTo>
                    <a:lnTo>
                      <a:pt x="476" y="421"/>
                    </a:lnTo>
                    <a:lnTo>
                      <a:pt x="476" y="422"/>
                    </a:lnTo>
                    <a:lnTo>
                      <a:pt x="477" y="422"/>
                    </a:lnTo>
                    <a:lnTo>
                      <a:pt x="477" y="423"/>
                    </a:lnTo>
                    <a:lnTo>
                      <a:pt x="477" y="422"/>
                    </a:lnTo>
                    <a:lnTo>
                      <a:pt x="477" y="423"/>
                    </a:lnTo>
                    <a:lnTo>
                      <a:pt x="476" y="423"/>
                    </a:lnTo>
                    <a:lnTo>
                      <a:pt x="476" y="422"/>
                    </a:lnTo>
                    <a:lnTo>
                      <a:pt x="475" y="422"/>
                    </a:lnTo>
                    <a:lnTo>
                      <a:pt x="474" y="421"/>
                    </a:lnTo>
                    <a:lnTo>
                      <a:pt x="474" y="420"/>
                    </a:lnTo>
                    <a:lnTo>
                      <a:pt x="474" y="421"/>
                    </a:lnTo>
                    <a:lnTo>
                      <a:pt x="474" y="422"/>
                    </a:lnTo>
                    <a:lnTo>
                      <a:pt x="475" y="423"/>
                    </a:lnTo>
                    <a:lnTo>
                      <a:pt x="474" y="423"/>
                    </a:lnTo>
                    <a:lnTo>
                      <a:pt x="474" y="422"/>
                    </a:lnTo>
                    <a:lnTo>
                      <a:pt x="474" y="421"/>
                    </a:lnTo>
                    <a:lnTo>
                      <a:pt x="473" y="421"/>
                    </a:lnTo>
                    <a:lnTo>
                      <a:pt x="474" y="421"/>
                    </a:lnTo>
                    <a:lnTo>
                      <a:pt x="474" y="422"/>
                    </a:lnTo>
                    <a:lnTo>
                      <a:pt x="474" y="423"/>
                    </a:lnTo>
                    <a:lnTo>
                      <a:pt x="474" y="424"/>
                    </a:lnTo>
                    <a:lnTo>
                      <a:pt x="474" y="423"/>
                    </a:lnTo>
                    <a:lnTo>
                      <a:pt x="474" y="424"/>
                    </a:lnTo>
                    <a:lnTo>
                      <a:pt x="473" y="424"/>
                    </a:lnTo>
                    <a:lnTo>
                      <a:pt x="473" y="423"/>
                    </a:lnTo>
                    <a:lnTo>
                      <a:pt x="472" y="423"/>
                    </a:lnTo>
                    <a:lnTo>
                      <a:pt x="473" y="423"/>
                    </a:lnTo>
                    <a:lnTo>
                      <a:pt x="473" y="422"/>
                    </a:lnTo>
                    <a:lnTo>
                      <a:pt x="472" y="422"/>
                    </a:lnTo>
                    <a:lnTo>
                      <a:pt x="472" y="423"/>
                    </a:lnTo>
                    <a:lnTo>
                      <a:pt x="473" y="424"/>
                    </a:lnTo>
                    <a:lnTo>
                      <a:pt x="472" y="423"/>
                    </a:lnTo>
                    <a:lnTo>
                      <a:pt x="472" y="424"/>
                    </a:lnTo>
                    <a:lnTo>
                      <a:pt x="473" y="424"/>
                    </a:lnTo>
                    <a:lnTo>
                      <a:pt x="473" y="425"/>
                    </a:lnTo>
                    <a:lnTo>
                      <a:pt x="472" y="425"/>
                    </a:lnTo>
                    <a:lnTo>
                      <a:pt x="472" y="424"/>
                    </a:lnTo>
                    <a:lnTo>
                      <a:pt x="471" y="424"/>
                    </a:lnTo>
                    <a:lnTo>
                      <a:pt x="470" y="424"/>
                    </a:lnTo>
                    <a:lnTo>
                      <a:pt x="470" y="425"/>
                    </a:lnTo>
                    <a:lnTo>
                      <a:pt x="471" y="425"/>
                    </a:lnTo>
                    <a:lnTo>
                      <a:pt x="470" y="425"/>
                    </a:lnTo>
                    <a:lnTo>
                      <a:pt x="471" y="425"/>
                    </a:lnTo>
                    <a:lnTo>
                      <a:pt x="471" y="426"/>
                    </a:lnTo>
                    <a:lnTo>
                      <a:pt x="472" y="427"/>
                    </a:lnTo>
                    <a:lnTo>
                      <a:pt x="472" y="426"/>
                    </a:lnTo>
                    <a:lnTo>
                      <a:pt x="473" y="426"/>
                    </a:lnTo>
                    <a:lnTo>
                      <a:pt x="473" y="427"/>
                    </a:lnTo>
                    <a:lnTo>
                      <a:pt x="474" y="427"/>
                    </a:lnTo>
                    <a:lnTo>
                      <a:pt x="474" y="428"/>
                    </a:lnTo>
                    <a:lnTo>
                      <a:pt x="475" y="428"/>
                    </a:lnTo>
                    <a:lnTo>
                      <a:pt x="474" y="428"/>
                    </a:lnTo>
                    <a:lnTo>
                      <a:pt x="474" y="429"/>
                    </a:lnTo>
                    <a:lnTo>
                      <a:pt x="473" y="429"/>
                    </a:lnTo>
                    <a:lnTo>
                      <a:pt x="472" y="429"/>
                    </a:lnTo>
                    <a:lnTo>
                      <a:pt x="472" y="428"/>
                    </a:lnTo>
                    <a:lnTo>
                      <a:pt x="472" y="427"/>
                    </a:lnTo>
                    <a:lnTo>
                      <a:pt x="471" y="427"/>
                    </a:lnTo>
                    <a:lnTo>
                      <a:pt x="470" y="427"/>
                    </a:lnTo>
                    <a:lnTo>
                      <a:pt x="468" y="427"/>
                    </a:lnTo>
                    <a:lnTo>
                      <a:pt x="470" y="427"/>
                    </a:lnTo>
                    <a:lnTo>
                      <a:pt x="468" y="428"/>
                    </a:lnTo>
                    <a:lnTo>
                      <a:pt x="468" y="427"/>
                    </a:lnTo>
                    <a:lnTo>
                      <a:pt x="468" y="428"/>
                    </a:lnTo>
                    <a:lnTo>
                      <a:pt x="470" y="428"/>
                    </a:lnTo>
                    <a:lnTo>
                      <a:pt x="468" y="428"/>
                    </a:lnTo>
                    <a:lnTo>
                      <a:pt x="470" y="428"/>
                    </a:lnTo>
                    <a:lnTo>
                      <a:pt x="470" y="429"/>
                    </a:lnTo>
                    <a:lnTo>
                      <a:pt x="468" y="429"/>
                    </a:lnTo>
                    <a:lnTo>
                      <a:pt x="468" y="428"/>
                    </a:lnTo>
                    <a:lnTo>
                      <a:pt x="468" y="429"/>
                    </a:lnTo>
                    <a:lnTo>
                      <a:pt x="467" y="429"/>
                    </a:lnTo>
                    <a:lnTo>
                      <a:pt x="467" y="430"/>
                    </a:lnTo>
                    <a:lnTo>
                      <a:pt x="467" y="431"/>
                    </a:lnTo>
                    <a:lnTo>
                      <a:pt x="467" y="430"/>
                    </a:lnTo>
                    <a:lnTo>
                      <a:pt x="466" y="430"/>
                    </a:lnTo>
                    <a:lnTo>
                      <a:pt x="467" y="430"/>
                    </a:lnTo>
                    <a:lnTo>
                      <a:pt x="467" y="431"/>
                    </a:lnTo>
                    <a:lnTo>
                      <a:pt x="466" y="433"/>
                    </a:lnTo>
                    <a:lnTo>
                      <a:pt x="465" y="433"/>
                    </a:lnTo>
                    <a:lnTo>
                      <a:pt x="465" y="434"/>
                    </a:lnTo>
                    <a:lnTo>
                      <a:pt x="465" y="433"/>
                    </a:lnTo>
                    <a:lnTo>
                      <a:pt x="464" y="433"/>
                    </a:lnTo>
                    <a:lnTo>
                      <a:pt x="464" y="434"/>
                    </a:lnTo>
                    <a:lnTo>
                      <a:pt x="463" y="434"/>
                    </a:lnTo>
                    <a:lnTo>
                      <a:pt x="463" y="433"/>
                    </a:lnTo>
                    <a:lnTo>
                      <a:pt x="462" y="433"/>
                    </a:lnTo>
                    <a:lnTo>
                      <a:pt x="462" y="434"/>
                    </a:lnTo>
                    <a:lnTo>
                      <a:pt x="461" y="433"/>
                    </a:lnTo>
                    <a:lnTo>
                      <a:pt x="461" y="434"/>
                    </a:lnTo>
                    <a:lnTo>
                      <a:pt x="461" y="435"/>
                    </a:lnTo>
                    <a:lnTo>
                      <a:pt x="461" y="436"/>
                    </a:lnTo>
                    <a:lnTo>
                      <a:pt x="461" y="437"/>
                    </a:lnTo>
                    <a:lnTo>
                      <a:pt x="462" y="437"/>
                    </a:lnTo>
                    <a:lnTo>
                      <a:pt x="462" y="436"/>
                    </a:lnTo>
                    <a:lnTo>
                      <a:pt x="463" y="436"/>
                    </a:lnTo>
                    <a:lnTo>
                      <a:pt x="463" y="437"/>
                    </a:lnTo>
                    <a:lnTo>
                      <a:pt x="463" y="438"/>
                    </a:lnTo>
                    <a:lnTo>
                      <a:pt x="464" y="437"/>
                    </a:lnTo>
                    <a:lnTo>
                      <a:pt x="465" y="437"/>
                    </a:lnTo>
                    <a:lnTo>
                      <a:pt x="465" y="438"/>
                    </a:lnTo>
                    <a:lnTo>
                      <a:pt x="466" y="438"/>
                    </a:lnTo>
                    <a:lnTo>
                      <a:pt x="466" y="437"/>
                    </a:lnTo>
                    <a:lnTo>
                      <a:pt x="466" y="438"/>
                    </a:lnTo>
                    <a:lnTo>
                      <a:pt x="467" y="438"/>
                    </a:lnTo>
                    <a:lnTo>
                      <a:pt x="467" y="439"/>
                    </a:lnTo>
                    <a:lnTo>
                      <a:pt x="466" y="439"/>
                    </a:lnTo>
                    <a:lnTo>
                      <a:pt x="466" y="440"/>
                    </a:lnTo>
                    <a:lnTo>
                      <a:pt x="466" y="439"/>
                    </a:lnTo>
                    <a:lnTo>
                      <a:pt x="466" y="440"/>
                    </a:lnTo>
                    <a:lnTo>
                      <a:pt x="465" y="440"/>
                    </a:lnTo>
                    <a:lnTo>
                      <a:pt x="464" y="440"/>
                    </a:lnTo>
                    <a:lnTo>
                      <a:pt x="463" y="439"/>
                    </a:lnTo>
                    <a:lnTo>
                      <a:pt x="463" y="440"/>
                    </a:lnTo>
                    <a:lnTo>
                      <a:pt x="463" y="441"/>
                    </a:lnTo>
                    <a:lnTo>
                      <a:pt x="463" y="442"/>
                    </a:lnTo>
                    <a:lnTo>
                      <a:pt x="462" y="442"/>
                    </a:lnTo>
                    <a:lnTo>
                      <a:pt x="461" y="442"/>
                    </a:lnTo>
                    <a:lnTo>
                      <a:pt x="461" y="441"/>
                    </a:lnTo>
                    <a:lnTo>
                      <a:pt x="460" y="441"/>
                    </a:lnTo>
                    <a:lnTo>
                      <a:pt x="459" y="441"/>
                    </a:lnTo>
                    <a:lnTo>
                      <a:pt x="460" y="441"/>
                    </a:lnTo>
                    <a:lnTo>
                      <a:pt x="460" y="442"/>
                    </a:lnTo>
                    <a:lnTo>
                      <a:pt x="459" y="442"/>
                    </a:lnTo>
                    <a:lnTo>
                      <a:pt x="460" y="442"/>
                    </a:lnTo>
                    <a:lnTo>
                      <a:pt x="460" y="443"/>
                    </a:lnTo>
                    <a:lnTo>
                      <a:pt x="460" y="444"/>
                    </a:lnTo>
                    <a:lnTo>
                      <a:pt x="460" y="443"/>
                    </a:lnTo>
                    <a:lnTo>
                      <a:pt x="461" y="442"/>
                    </a:lnTo>
                    <a:lnTo>
                      <a:pt x="461" y="443"/>
                    </a:lnTo>
                    <a:lnTo>
                      <a:pt x="460" y="443"/>
                    </a:lnTo>
                    <a:lnTo>
                      <a:pt x="460" y="444"/>
                    </a:lnTo>
                    <a:lnTo>
                      <a:pt x="461" y="444"/>
                    </a:lnTo>
                    <a:lnTo>
                      <a:pt x="460" y="444"/>
                    </a:lnTo>
                    <a:lnTo>
                      <a:pt x="461" y="444"/>
                    </a:lnTo>
                    <a:lnTo>
                      <a:pt x="462" y="444"/>
                    </a:lnTo>
                    <a:lnTo>
                      <a:pt x="463" y="444"/>
                    </a:lnTo>
                    <a:lnTo>
                      <a:pt x="462" y="444"/>
                    </a:lnTo>
                    <a:lnTo>
                      <a:pt x="462" y="446"/>
                    </a:lnTo>
                    <a:lnTo>
                      <a:pt x="461" y="446"/>
                    </a:lnTo>
                    <a:lnTo>
                      <a:pt x="461" y="447"/>
                    </a:lnTo>
                    <a:lnTo>
                      <a:pt x="462" y="446"/>
                    </a:lnTo>
                    <a:lnTo>
                      <a:pt x="462" y="447"/>
                    </a:lnTo>
                    <a:lnTo>
                      <a:pt x="462" y="448"/>
                    </a:lnTo>
                    <a:lnTo>
                      <a:pt x="463" y="448"/>
                    </a:lnTo>
                    <a:lnTo>
                      <a:pt x="463" y="449"/>
                    </a:lnTo>
                    <a:lnTo>
                      <a:pt x="463" y="450"/>
                    </a:lnTo>
                    <a:lnTo>
                      <a:pt x="462" y="451"/>
                    </a:lnTo>
                    <a:lnTo>
                      <a:pt x="463" y="451"/>
                    </a:lnTo>
                    <a:lnTo>
                      <a:pt x="463" y="452"/>
                    </a:lnTo>
                    <a:lnTo>
                      <a:pt x="464" y="452"/>
                    </a:lnTo>
                    <a:lnTo>
                      <a:pt x="463" y="452"/>
                    </a:lnTo>
                    <a:lnTo>
                      <a:pt x="463" y="453"/>
                    </a:lnTo>
                    <a:lnTo>
                      <a:pt x="464" y="453"/>
                    </a:lnTo>
                    <a:lnTo>
                      <a:pt x="464" y="454"/>
                    </a:lnTo>
                    <a:lnTo>
                      <a:pt x="465" y="454"/>
                    </a:lnTo>
                    <a:lnTo>
                      <a:pt x="465" y="455"/>
                    </a:lnTo>
                    <a:lnTo>
                      <a:pt x="466" y="455"/>
                    </a:lnTo>
                    <a:lnTo>
                      <a:pt x="466" y="456"/>
                    </a:lnTo>
                    <a:lnTo>
                      <a:pt x="467" y="456"/>
                    </a:lnTo>
                    <a:lnTo>
                      <a:pt x="467" y="457"/>
                    </a:lnTo>
                    <a:lnTo>
                      <a:pt x="468" y="457"/>
                    </a:lnTo>
                    <a:lnTo>
                      <a:pt x="468" y="459"/>
                    </a:lnTo>
                    <a:lnTo>
                      <a:pt x="470" y="459"/>
                    </a:lnTo>
                    <a:lnTo>
                      <a:pt x="471" y="459"/>
                    </a:lnTo>
                    <a:lnTo>
                      <a:pt x="472" y="459"/>
                    </a:lnTo>
                    <a:lnTo>
                      <a:pt x="471" y="459"/>
                    </a:lnTo>
                    <a:lnTo>
                      <a:pt x="472" y="460"/>
                    </a:lnTo>
                    <a:lnTo>
                      <a:pt x="472" y="459"/>
                    </a:lnTo>
                    <a:lnTo>
                      <a:pt x="472" y="460"/>
                    </a:lnTo>
                    <a:lnTo>
                      <a:pt x="473" y="460"/>
                    </a:lnTo>
                    <a:lnTo>
                      <a:pt x="473" y="461"/>
                    </a:lnTo>
                    <a:lnTo>
                      <a:pt x="473" y="462"/>
                    </a:lnTo>
                    <a:lnTo>
                      <a:pt x="473" y="461"/>
                    </a:lnTo>
                    <a:lnTo>
                      <a:pt x="473" y="462"/>
                    </a:lnTo>
                    <a:lnTo>
                      <a:pt x="474" y="462"/>
                    </a:lnTo>
                    <a:lnTo>
                      <a:pt x="475" y="461"/>
                    </a:lnTo>
                    <a:lnTo>
                      <a:pt x="476" y="460"/>
                    </a:lnTo>
                    <a:lnTo>
                      <a:pt x="477" y="459"/>
                    </a:lnTo>
                    <a:lnTo>
                      <a:pt x="477" y="457"/>
                    </a:lnTo>
                    <a:lnTo>
                      <a:pt x="476" y="457"/>
                    </a:lnTo>
                    <a:lnTo>
                      <a:pt x="475" y="456"/>
                    </a:lnTo>
                    <a:lnTo>
                      <a:pt x="474" y="456"/>
                    </a:lnTo>
                    <a:lnTo>
                      <a:pt x="474" y="455"/>
                    </a:lnTo>
                    <a:lnTo>
                      <a:pt x="473" y="455"/>
                    </a:lnTo>
                    <a:lnTo>
                      <a:pt x="472" y="454"/>
                    </a:lnTo>
                    <a:lnTo>
                      <a:pt x="471" y="453"/>
                    </a:lnTo>
                    <a:lnTo>
                      <a:pt x="470" y="453"/>
                    </a:lnTo>
                    <a:lnTo>
                      <a:pt x="470" y="452"/>
                    </a:lnTo>
                    <a:lnTo>
                      <a:pt x="468" y="452"/>
                    </a:lnTo>
                    <a:lnTo>
                      <a:pt x="468" y="451"/>
                    </a:lnTo>
                    <a:lnTo>
                      <a:pt x="468" y="452"/>
                    </a:lnTo>
                    <a:lnTo>
                      <a:pt x="470" y="452"/>
                    </a:lnTo>
                    <a:lnTo>
                      <a:pt x="471" y="452"/>
                    </a:lnTo>
                    <a:lnTo>
                      <a:pt x="471" y="453"/>
                    </a:lnTo>
                    <a:lnTo>
                      <a:pt x="472" y="453"/>
                    </a:lnTo>
                    <a:lnTo>
                      <a:pt x="472" y="452"/>
                    </a:lnTo>
                    <a:lnTo>
                      <a:pt x="472" y="453"/>
                    </a:lnTo>
                    <a:lnTo>
                      <a:pt x="473" y="454"/>
                    </a:lnTo>
                    <a:lnTo>
                      <a:pt x="474" y="455"/>
                    </a:lnTo>
                    <a:lnTo>
                      <a:pt x="475" y="456"/>
                    </a:lnTo>
                    <a:lnTo>
                      <a:pt x="476" y="456"/>
                    </a:lnTo>
                    <a:lnTo>
                      <a:pt x="477" y="457"/>
                    </a:lnTo>
                    <a:lnTo>
                      <a:pt x="478" y="457"/>
                    </a:lnTo>
                    <a:lnTo>
                      <a:pt x="478" y="459"/>
                    </a:lnTo>
                    <a:lnTo>
                      <a:pt x="478" y="457"/>
                    </a:lnTo>
                    <a:lnTo>
                      <a:pt x="479" y="456"/>
                    </a:lnTo>
                    <a:lnTo>
                      <a:pt x="478" y="456"/>
                    </a:lnTo>
                    <a:lnTo>
                      <a:pt x="478" y="457"/>
                    </a:lnTo>
                    <a:lnTo>
                      <a:pt x="477" y="457"/>
                    </a:lnTo>
                    <a:lnTo>
                      <a:pt x="477" y="456"/>
                    </a:lnTo>
                    <a:lnTo>
                      <a:pt x="477" y="455"/>
                    </a:lnTo>
                    <a:lnTo>
                      <a:pt x="478" y="455"/>
                    </a:lnTo>
                    <a:lnTo>
                      <a:pt x="479" y="455"/>
                    </a:lnTo>
                    <a:lnTo>
                      <a:pt x="480" y="455"/>
                    </a:lnTo>
                    <a:lnTo>
                      <a:pt x="481" y="455"/>
                    </a:lnTo>
                    <a:lnTo>
                      <a:pt x="481" y="456"/>
                    </a:lnTo>
                    <a:lnTo>
                      <a:pt x="483" y="456"/>
                    </a:lnTo>
                    <a:lnTo>
                      <a:pt x="481" y="456"/>
                    </a:lnTo>
                    <a:lnTo>
                      <a:pt x="480" y="456"/>
                    </a:lnTo>
                    <a:lnTo>
                      <a:pt x="479" y="457"/>
                    </a:lnTo>
                    <a:lnTo>
                      <a:pt x="478" y="459"/>
                    </a:lnTo>
                    <a:lnTo>
                      <a:pt x="478" y="460"/>
                    </a:lnTo>
                    <a:lnTo>
                      <a:pt x="479" y="460"/>
                    </a:lnTo>
                    <a:lnTo>
                      <a:pt x="479" y="461"/>
                    </a:lnTo>
                    <a:lnTo>
                      <a:pt x="478" y="462"/>
                    </a:lnTo>
                    <a:lnTo>
                      <a:pt x="478" y="461"/>
                    </a:lnTo>
                    <a:lnTo>
                      <a:pt x="478" y="462"/>
                    </a:lnTo>
                    <a:lnTo>
                      <a:pt x="478" y="463"/>
                    </a:lnTo>
                    <a:lnTo>
                      <a:pt x="478" y="464"/>
                    </a:lnTo>
                    <a:lnTo>
                      <a:pt x="479" y="464"/>
                    </a:lnTo>
                    <a:lnTo>
                      <a:pt x="479" y="463"/>
                    </a:lnTo>
                    <a:lnTo>
                      <a:pt x="479" y="464"/>
                    </a:lnTo>
                    <a:lnTo>
                      <a:pt x="480" y="464"/>
                    </a:lnTo>
                    <a:lnTo>
                      <a:pt x="480" y="463"/>
                    </a:lnTo>
                    <a:lnTo>
                      <a:pt x="480" y="462"/>
                    </a:lnTo>
                    <a:lnTo>
                      <a:pt x="480" y="463"/>
                    </a:lnTo>
                    <a:lnTo>
                      <a:pt x="481" y="462"/>
                    </a:lnTo>
                    <a:lnTo>
                      <a:pt x="481" y="461"/>
                    </a:lnTo>
                    <a:lnTo>
                      <a:pt x="481" y="463"/>
                    </a:lnTo>
                    <a:lnTo>
                      <a:pt x="480" y="464"/>
                    </a:lnTo>
                    <a:lnTo>
                      <a:pt x="481" y="464"/>
                    </a:lnTo>
                    <a:lnTo>
                      <a:pt x="481" y="463"/>
                    </a:lnTo>
                    <a:lnTo>
                      <a:pt x="481" y="462"/>
                    </a:lnTo>
                    <a:lnTo>
                      <a:pt x="483" y="461"/>
                    </a:lnTo>
                    <a:lnTo>
                      <a:pt x="483" y="460"/>
                    </a:lnTo>
                    <a:lnTo>
                      <a:pt x="483" y="461"/>
                    </a:lnTo>
                    <a:lnTo>
                      <a:pt x="481" y="461"/>
                    </a:lnTo>
                    <a:lnTo>
                      <a:pt x="481" y="462"/>
                    </a:lnTo>
                    <a:lnTo>
                      <a:pt x="481" y="463"/>
                    </a:lnTo>
                    <a:lnTo>
                      <a:pt x="483" y="463"/>
                    </a:lnTo>
                    <a:lnTo>
                      <a:pt x="481" y="463"/>
                    </a:lnTo>
                    <a:lnTo>
                      <a:pt x="481" y="464"/>
                    </a:lnTo>
                    <a:lnTo>
                      <a:pt x="483" y="465"/>
                    </a:lnTo>
                    <a:lnTo>
                      <a:pt x="485" y="466"/>
                    </a:lnTo>
                    <a:lnTo>
                      <a:pt x="484" y="466"/>
                    </a:lnTo>
                    <a:lnTo>
                      <a:pt x="483" y="465"/>
                    </a:lnTo>
                    <a:lnTo>
                      <a:pt x="483" y="466"/>
                    </a:lnTo>
                    <a:lnTo>
                      <a:pt x="481" y="466"/>
                    </a:lnTo>
                    <a:lnTo>
                      <a:pt x="483" y="466"/>
                    </a:lnTo>
                    <a:lnTo>
                      <a:pt x="483" y="467"/>
                    </a:lnTo>
                    <a:lnTo>
                      <a:pt x="483" y="468"/>
                    </a:lnTo>
                    <a:lnTo>
                      <a:pt x="484" y="468"/>
                    </a:lnTo>
                    <a:lnTo>
                      <a:pt x="484" y="469"/>
                    </a:lnTo>
                    <a:lnTo>
                      <a:pt x="485" y="469"/>
                    </a:lnTo>
                    <a:lnTo>
                      <a:pt x="485" y="470"/>
                    </a:lnTo>
                    <a:lnTo>
                      <a:pt x="485" y="472"/>
                    </a:lnTo>
                    <a:lnTo>
                      <a:pt x="486" y="472"/>
                    </a:lnTo>
                    <a:lnTo>
                      <a:pt x="486" y="473"/>
                    </a:lnTo>
                    <a:lnTo>
                      <a:pt x="486" y="474"/>
                    </a:lnTo>
                    <a:lnTo>
                      <a:pt x="486" y="475"/>
                    </a:lnTo>
                    <a:lnTo>
                      <a:pt x="486" y="474"/>
                    </a:lnTo>
                    <a:lnTo>
                      <a:pt x="486" y="473"/>
                    </a:lnTo>
                    <a:lnTo>
                      <a:pt x="485" y="473"/>
                    </a:lnTo>
                    <a:lnTo>
                      <a:pt x="485" y="470"/>
                    </a:lnTo>
                    <a:lnTo>
                      <a:pt x="484" y="470"/>
                    </a:lnTo>
                    <a:lnTo>
                      <a:pt x="484" y="469"/>
                    </a:lnTo>
                    <a:lnTo>
                      <a:pt x="483" y="469"/>
                    </a:lnTo>
                    <a:lnTo>
                      <a:pt x="483" y="468"/>
                    </a:lnTo>
                    <a:lnTo>
                      <a:pt x="483" y="469"/>
                    </a:lnTo>
                    <a:lnTo>
                      <a:pt x="483" y="470"/>
                    </a:lnTo>
                    <a:lnTo>
                      <a:pt x="484" y="470"/>
                    </a:lnTo>
                    <a:lnTo>
                      <a:pt x="484" y="472"/>
                    </a:lnTo>
                    <a:lnTo>
                      <a:pt x="485" y="472"/>
                    </a:lnTo>
                    <a:lnTo>
                      <a:pt x="485" y="473"/>
                    </a:lnTo>
                    <a:lnTo>
                      <a:pt x="484" y="473"/>
                    </a:lnTo>
                    <a:lnTo>
                      <a:pt x="485" y="473"/>
                    </a:lnTo>
                    <a:lnTo>
                      <a:pt x="485" y="474"/>
                    </a:lnTo>
                    <a:lnTo>
                      <a:pt x="485" y="475"/>
                    </a:lnTo>
                    <a:lnTo>
                      <a:pt x="485" y="476"/>
                    </a:lnTo>
                    <a:lnTo>
                      <a:pt x="486" y="477"/>
                    </a:lnTo>
                    <a:lnTo>
                      <a:pt x="487" y="478"/>
                    </a:lnTo>
                    <a:lnTo>
                      <a:pt x="487" y="477"/>
                    </a:lnTo>
                    <a:lnTo>
                      <a:pt x="487" y="476"/>
                    </a:lnTo>
                    <a:lnTo>
                      <a:pt x="487" y="475"/>
                    </a:lnTo>
                    <a:lnTo>
                      <a:pt x="487" y="474"/>
                    </a:lnTo>
                    <a:lnTo>
                      <a:pt x="487" y="475"/>
                    </a:lnTo>
                    <a:lnTo>
                      <a:pt x="487" y="476"/>
                    </a:lnTo>
                    <a:lnTo>
                      <a:pt x="487" y="477"/>
                    </a:lnTo>
                    <a:lnTo>
                      <a:pt x="487" y="476"/>
                    </a:lnTo>
                    <a:lnTo>
                      <a:pt x="487" y="475"/>
                    </a:lnTo>
                    <a:lnTo>
                      <a:pt x="487" y="474"/>
                    </a:lnTo>
                    <a:lnTo>
                      <a:pt x="488" y="474"/>
                    </a:lnTo>
                    <a:lnTo>
                      <a:pt x="488" y="475"/>
                    </a:lnTo>
                    <a:lnTo>
                      <a:pt x="488" y="476"/>
                    </a:lnTo>
                    <a:lnTo>
                      <a:pt x="488" y="477"/>
                    </a:lnTo>
                    <a:lnTo>
                      <a:pt x="488" y="478"/>
                    </a:lnTo>
                    <a:lnTo>
                      <a:pt x="489" y="478"/>
                    </a:lnTo>
                    <a:lnTo>
                      <a:pt x="489" y="479"/>
                    </a:lnTo>
                    <a:lnTo>
                      <a:pt x="489" y="480"/>
                    </a:lnTo>
                    <a:lnTo>
                      <a:pt x="489" y="479"/>
                    </a:lnTo>
                    <a:lnTo>
                      <a:pt x="489" y="480"/>
                    </a:lnTo>
                    <a:lnTo>
                      <a:pt x="490" y="480"/>
                    </a:lnTo>
                    <a:lnTo>
                      <a:pt x="489" y="481"/>
                    </a:lnTo>
                    <a:lnTo>
                      <a:pt x="490" y="481"/>
                    </a:lnTo>
                    <a:lnTo>
                      <a:pt x="490" y="482"/>
                    </a:lnTo>
                    <a:lnTo>
                      <a:pt x="491" y="482"/>
                    </a:lnTo>
                    <a:lnTo>
                      <a:pt x="491" y="483"/>
                    </a:lnTo>
                    <a:lnTo>
                      <a:pt x="491" y="485"/>
                    </a:lnTo>
                    <a:lnTo>
                      <a:pt x="492" y="485"/>
                    </a:lnTo>
                    <a:lnTo>
                      <a:pt x="492" y="483"/>
                    </a:lnTo>
                    <a:lnTo>
                      <a:pt x="492" y="485"/>
                    </a:lnTo>
                    <a:lnTo>
                      <a:pt x="492" y="486"/>
                    </a:lnTo>
                    <a:lnTo>
                      <a:pt x="493" y="486"/>
                    </a:lnTo>
                    <a:lnTo>
                      <a:pt x="493" y="487"/>
                    </a:lnTo>
                    <a:lnTo>
                      <a:pt x="492" y="487"/>
                    </a:lnTo>
                    <a:lnTo>
                      <a:pt x="493" y="488"/>
                    </a:lnTo>
                    <a:lnTo>
                      <a:pt x="493" y="489"/>
                    </a:lnTo>
                    <a:lnTo>
                      <a:pt x="494" y="489"/>
                    </a:lnTo>
                    <a:lnTo>
                      <a:pt x="494" y="490"/>
                    </a:lnTo>
                    <a:lnTo>
                      <a:pt x="494" y="491"/>
                    </a:lnTo>
                    <a:lnTo>
                      <a:pt x="493" y="491"/>
                    </a:lnTo>
                    <a:lnTo>
                      <a:pt x="494" y="491"/>
                    </a:lnTo>
                    <a:lnTo>
                      <a:pt x="494" y="492"/>
                    </a:lnTo>
                    <a:lnTo>
                      <a:pt x="494" y="493"/>
                    </a:lnTo>
                    <a:lnTo>
                      <a:pt x="496" y="493"/>
                    </a:lnTo>
                    <a:lnTo>
                      <a:pt x="497" y="493"/>
                    </a:lnTo>
                    <a:lnTo>
                      <a:pt x="497" y="492"/>
                    </a:lnTo>
                    <a:lnTo>
                      <a:pt x="497" y="491"/>
                    </a:lnTo>
                    <a:lnTo>
                      <a:pt x="497" y="492"/>
                    </a:lnTo>
                    <a:lnTo>
                      <a:pt x="498" y="491"/>
                    </a:lnTo>
                    <a:lnTo>
                      <a:pt x="498" y="490"/>
                    </a:lnTo>
                    <a:lnTo>
                      <a:pt x="498" y="489"/>
                    </a:lnTo>
                    <a:lnTo>
                      <a:pt x="499" y="489"/>
                    </a:lnTo>
                    <a:lnTo>
                      <a:pt x="498" y="489"/>
                    </a:lnTo>
                    <a:lnTo>
                      <a:pt x="498" y="488"/>
                    </a:lnTo>
                    <a:lnTo>
                      <a:pt x="498" y="487"/>
                    </a:lnTo>
                    <a:lnTo>
                      <a:pt x="498" y="486"/>
                    </a:lnTo>
                    <a:lnTo>
                      <a:pt x="498" y="487"/>
                    </a:lnTo>
                    <a:lnTo>
                      <a:pt x="498" y="488"/>
                    </a:lnTo>
                    <a:lnTo>
                      <a:pt x="497" y="488"/>
                    </a:lnTo>
                    <a:lnTo>
                      <a:pt x="498" y="488"/>
                    </a:lnTo>
                    <a:lnTo>
                      <a:pt x="497" y="489"/>
                    </a:lnTo>
                    <a:lnTo>
                      <a:pt x="497" y="488"/>
                    </a:lnTo>
                    <a:lnTo>
                      <a:pt x="496" y="488"/>
                    </a:lnTo>
                    <a:lnTo>
                      <a:pt x="497" y="488"/>
                    </a:lnTo>
                    <a:lnTo>
                      <a:pt x="497" y="487"/>
                    </a:lnTo>
                    <a:lnTo>
                      <a:pt x="497" y="486"/>
                    </a:lnTo>
                    <a:lnTo>
                      <a:pt x="497" y="485"/>
                    </a:lnTo>
                    <a:lnTo>
                      <a:pt x="498" y="483"/>
                    </a:lnTo>
                    <a:lnTo>
                      <a:pt x="497" y="483"/>
                    </a:lnTo>
                    <a:lnTo>
                      <a:pt x="497" y="482"/>
                    </a:lnTo>
                    <a:lnTo>
                      <a:pt x="497" y="481"/>
                    </a:lnTo>
                    <a:lnTo>
                      <a:pt x="497" y="480"/>
                    </a:lnTo>
                    <a:lnTo>
                      <a:pt x="498" y="480"/>
                    </a:lnTo>
                    <a:lnTo>
                      <a:pt x="498" y="481"/>
                    </a:lnTo>
                    <a:lnTo>
                      <a:pt x="499" y="481"/>
                    </a:lnTo>
                    <a:lnTo>
                      <a:pt x="499" y="480"/>
                    </a:lnTo>
                    <a:lnTo>
                      <a:pt x="500" y="480"/>
                    </a:lnTo>
                    <a:lnTo>
                      <a:pt x="500" y="479"/>
                    </a:lnTo>
                    <a:lnTo>
                      <a:pt x="499" y="479"/>
                    </a:lnTo>
                    <a:lnTo>
                      <a:pt x="497" y="478"/>
                    </a:lnTo>
                    <a:lnTo>
                      <a:pt x="496" y="478"/>
                    </a:lnTo>
                    <a:lnTo>
                      <a:pt x="494" y="478"/>
                    </a:lnTo>
                    <a:lnTo>
                      <a:pt x="493" y="477"/>
                    </a:lnTo>
                    <a:lnTo>
                      <a:pt x="494" y="476"/>
                    </a:lnTo>
                    <a:lnTo>
                      <a:pt x="494" y="477"/>
                    </a:lnTo>
                    <a:lnTo>
                      <a:pt x="496" y="476"/>
                    </a:lnTo>
                    <a:lnTo>
                      <a:pt x="498" y="476"/>
                    </a:lnTo>
                    <a:lnTo>
                      <a:pt x="498" y="477"/>
                    </a:lnTo>
                    <a:lnTo>
                      <a:pt x="500" y="477"/>
                    </a:lnTo>
                    <a:lnTo>
                      <a:pt x="500" y="476"/>
                    </a:lnTo>
                    <a:lnTo>
                      <a:pt x="501" y="476"/>
                    </a:lnTo>
                    <a:lnTo>
                      <a:pt x="501" y="477"/>
                    </a:lnTo>
                    <a:lnTo>
                      <a:pt x="502" y="477"/>
                    </a:lnTo>
                    <a:lnTo>
                      <a:pt x="502" y="476"/>
                    </a:lnTo>
                    <a:lnTo>
                      <a:pt x="502" y="475"/>
                    </a:lnTo>
                    <a:lnTo>
                      <a:pt x="502" y="474"/>
                    </a:lnTo>
                    <a:lnTo>
                      <a:pt x="503" y="473"/>
                    </a:lnTo>
                    <a:lnTo>
                      <a:pt x="504" y="472"/>
                    </a:lnTo>
                    <a:lnTo>
                      <a:pt x="504" y="470"/>
                    </a:lnTo>
                    <a:lnTo>
                      <a:pt x="505" y="470"/>
                    </a:lnTo>
                    <a:lnTo>
                      <a:pt x="506" y="470"/>
                    </a:lnTo>
                    <a:lnTo>
                      <a:pt x="506" y="469"/>
                    </a:lnTo>
                    <a:lnTo>
                      <a:pt x="505" y="469"/>
                    </a:lnTo>
                    <a:lnTo>
                      <a:pt x="505" y="468"/>
                    </a:lnTo>
                    <a:lnTo>
                      <a:pt x="506" y="467"/>
                    </a:lnTo>
                    <a:lnTo>
                      <a:pt x="507" y="468"/>
                    </a:lnTo>
                    <a:lnTo>
                      <a:pt x="507" y="467"/>
                    </a:lnTo>
                    <a:lnTo>
                      <a:pt x="506" y="466"/>
                    </a:lnTo>
                    <a:lnTo>
                      <a:pt x="507" y="466"/>
                    </a:lnTo>
                    <a:lnTo>
                      <a:pt x="507" y="465"/>
                    </a:lnTo>
                    <a:lnTo>
                      <a:pt x="509" y="464"/>
                    </a:lnTo>
                    <a:lnTo>
                      <a:pt x="510" y="464"/>
                    </a:lnTo>
                    <a:lnTo>
                      <a:pt x="509" y="464"/>
                    </a:lnTo>
                    <a:lnTo>
                      <a:pt x="509" y="463"/>
                    </a:lnTo>
                    <a:lnTo>
                      <a:pt x="510" y="463"/>
                    </a:lnTo>
                    <a:lnTo>
                      <a:pt x="509" y="463"/>
                    </a:lnTo>
                    <a:lnTo>
                      <a:pt x="509" y="462"/>
                    </a:lnTo>
                    <a:lnTo>
                      <a:pt x="510" y="462"/>
                    </a:lnTo>
                    <a:lnTo>
                      <a:pt x="510" y="461"/>
                    </a:lnTo>
                    <a:lnTo>
                      <a:pt x="510" y="462"/>
                    </a:lnTo>
                    <a:lnTo>
                      <a:pt x="511" y="462"/>
                    </a:lnTo>
                    <a:lnTo>
                      <a:pt x="511" y="461"/>
                    </a:lnTo>
                    <a:lnTo>
                      <a:pt x="511" y="460"/>
                    </a:lnTo>
                    <a:lnTo>
                      <a:pt x="512" y="460"/>
                    </a:lnTo>
                    <a:lnTo>
                      <a:pt x="512" y="459"/>
                    </a:lnTo>
                    <a:lnTo>
                      <a:pt x="512" y="457"/>
                    </a:lnTo>
                    <a:lnTo>
                      <a:pt x="513" y="457"/>
                    </a:lnTo>
                    <a:lnTo>
                      <a:pt x="512" y="456"/>
                    </a:lnTo>
                    <a:lnTo>
                      <a:pt x="512" y="457"/>
                    </a:lnTo>
                    <a:lnTo>
                      <a:pt x="512" y="459"/>
                    </a:lnTo>
                    <a:lnTo>
                      <a:pt x="511" y="459"/>
                    </a:lnTo>
                    <a:lnTo>
                      <a:pt x="511" y="460"/>
                    </a:lnTo>
                    <a:lnTo>
                      <a:pt x="511" y="461"/>
                    </a:lnTo>
                    <a:lnTo>
                      <a:pt x="510" y="460"/>
                    </a:lnTo>
                    <a:lnTo>
                      <a:pt x="511" y="460"/>
                    </a:lnTo>
                    <a:lnTo>
                      <a:pt x="511" y="459"/>
                    </a:lnTo>
                    <a:lnTo>
                      <a:pt x="511" y="457"/>
                    </a:lnTo>
                    <a:lnTo>
                      <a:pt x="511" y="459"/>
                    </a:lnTo>
                    <a:lnTo>
                      <a:pt x="511" y="457"/>
                    </a:lnTo>
                    <a:lnTo>
                      <a:pt x="512" y="457"/>
                    </a:lnTo>
                    <a:lnTo>
                      <a:pt x="512" y="456"/>
                    </a:lnTo>
                    <a:lnTo>
                      <a:pt x="512" y="455"/>
                    </a:lnTo>
                    <a:lnTo>
                      <a:pt x="513" y="455"/>
                    </a:lnTo>
                    <a:lnTo>
                      <a:pt x="512" y="455"/>
                    </a:lnTo>
                    <a:lnTo>
                      <a:pt x="513" y="455"/>
                    </a:lnTo>
                    <a:lnTo>
                      <a:pt x="512" y="454"/>
                    </a:lnTo>
                    <a:lnTo>
                      <a:pt x="511" y="454"/>
                    </a:lnTo>
                    <a:lnTo>
                      <a:pt x="511" y="453"/>
                    </a:lnTo>
                    <a:lnTo>
                      <a:pt x="512" y="453"/>
                    </a:lnTo>
                    <a:lnTo>
                      <a:pt x="512" y="452"/>
                    </a:lnTo>
                    <a:lnTo>
                      <a:pt x="511" y="452"/>
                    </a:lnTo>
                    <a:lnTo>
                      <a:pt x="511" y="451"/>
                    </a:lnTo>
                    <a:lnTo>
                      <a:pt x="511" y="450"/>
                    </a:lnTo>
                    <a:lnTo>
                      <a:pt x="510" y="449"/>
                    </a:lnTo>
                    <a:lnTo>
                      <a:pt x="509" y="447"/>
                    </a:lnTo>
                    <a:lnTo>
                      <a:pt x="509" y="446"/>
                    </a:lnTo>
                    <a:lnTo>
                      <a:pt x="509" y="444"/>
                    </a:lnTo>
                    <a:lnTo>
                      <a:pt x="507" y="444"/>
                    </a:lnTo>
                    <a:lnTo>
                      <a:pt x="507" y="446"/>
                    </a:lnTo>
                    <a:lnTo>
                      <a:pt x="507" y="444"/>
                    </a:lnTo>
                    <a:lnTo>
                      <a:pt x="506" y="446"/>
                    </a:lnTo>
                    <a:lnTo>
                      <a:pt x="507" y="444"/>
                    </a:lnTo>
                    <a:lnTo>
                      <a:pt x="506" y="444"/>
                    </a:lnTo>
                    <a:lnTo>
                      <a:pt x="506" y="446"/>
                    </a:lnTo>
                    <a:lnTo>
                      <a:pt x="505" y="446"/>
                    </a:lnTo>
                    <a:lnTo>
                      <a:pt x="506" y="444"/>
                    </a:lnTo>
                    <a:lnTo>
                      <a:pt x="505" y="444"/>
                    </a:lnTo>
                    <a:lnTo>
                      <a:pt x="505" y="443"/>
                    </a:lnTo>
                    <a:lnTo>
                      <a:pt x="505" y="442"/>
                    </a:lnTo>
                    <a:lnTo>
                      <a:pt x="504" y="442"/>
                    </a:lnTo>
                    <a:lnTo>
                      <a:pt x="505" y="442"/>
                    </a:lnTo>
                    <a:lnTo>
                      <a:pt x="505" y="441"/>
                    </a:lnTo>
                    <a:lnTo>
                      <a:pt x="506" y="442"/>
                    </a:lnTo>
                    <a:lnTo>
                      <a:pt x="506" y="443"/>
                    </a:lnTo>
                    <a:lnTo>
                      <a:pt x="507" y="442"/>
                    </a:lnTo>
                    <a:lnTo>
                      <a:pt x="506" y="441"/>
                    </a:lnTo>
                    <a:lnTo>
                      <a:pt x="506" y="440"/>
                    </a:lnTo>
                    <a:lnTo>
                      <a:pt x="506" y="439"/>
                    </a:lnTo>
                    <a:lnTo>
                      <a:pt x="505" y="438"/>
                    </a:lnTo>
                    <a:lnTo>
                      <a:pt x="505" y="437"/>
                    </a:lnTo>
                    <a:lnTo>
                      <a:pt x="505" y="436"/>
                    </a:lnTo>
                    <a:lnTo>
                      <a:pt x="505" y="434"/>
                    </a:lnTo>
                    <a:lnTo>
                      <a:pt x="506" y="433"/>
                    </a:lnTo>
                    <a:lnTo>
                      <a:pt x="506" y="431"/>
                    </a:lnTo>
                    <a:lnTo>
                      <a:pt x="507" y="431"/>
                    </a:lnTo>
                    <a:lnTo>
                      <a:pt x="509" y="431"/>
                    </a:lnTo>
                    <a:lnTo>
                      <a:pt x="510" y="431"/>
                    </a:lnTo>
                    <a:lnTo>
                      <a:pt x="510" y="433"/>
                    </a:lnTo>
                    <a:lnTo>
                      <a:pt x="510" y="431"/>
                    </a:lnTo>
                    <a:lnTo>
                      <a:pt x="509" y="431"/>
                    </a:lnTo>
                    <a:lnTo>
                      <a:pt x="507" y="431"/>
                    </a:lnTo>
                    <a:lnTo>
                      <a:pt x="506" y="431"/>
                    </a:lnTo>
                    <a:lnTo>
                      <a:pt x="506" y="430"/>
                    </a:lnTo>
                    <a:lnTo>
                      <a:pt x="506" y="429"/>
                    </a:lnTo>
                    <a:lnTo>
                      <a:pt x="506" y="428"/>
                    </a:lnTo>
                    <a:lnTo>
                      <a:pt x="506" y="427"/>
                    </a:lnTo>
                    <a:lnTo>
                      <a:pt x="507" y="427"/>
                    </a:lnTo>
                    <a:lnTo>
                      <a:pt x="509" y="427"/>
                    </a:lnTo>
                    <a:lnTo>
                      <a:pt x="509" y="428"/>
                    </a:lnTo>
                    <a:lnTo>
                      <a:pt x="509" y="427"/>
                    </a:lnTo>
                    <a:lnTo>
                      <a:pt x="507" y="427"/>
                    </a:lnTo>
                    <a:lnTo>
                      <a:pt x="506" y="427"/>
                    </a:lnTo>
                    <a:lnTo>
                      <a:pt x="505" y="427"/>
                    </a:lnTo>
                    <a:lnTo>
                      <a:pt x="505" y="426"/>
                    </a:lnTo>
                    <a:lnTo>
                      <a:pt x="505" y="425"/>
                    </a:lnTo>
                    <a:lnTo>
                      <a:pt x="505" y="424"/>
                    </a:lnTo>
                    <a:lnTo>
                      <a:pt x="504" y="424"/>
                    </a:lnTo>
                    <a:lnTo>
                      <a:pt x="504" y="423"/>
                    </a:lnTo>
                    <a:lnTo>
                      <a:pt x="505" y="423"/>
                    </a:lnTo>
                    <a:lnTo>
                      <a:pt x="505" y="422"/>
                    </a:lnTo>
                    <a:lnTo>
                      <a:pt x="505" y="423"/>
                    </a:lnTo>
                    <a:lnTo>
                      <a:pt x="504" y="423"/>
                    </a:lnTo>
                    <a:lnTo>
                      <a:pt x="505" y="423"/>
                    </a:lnTo>
                    <a:lnTo>
                      <a:pt x="505" y="422"/>
                    </a:lnTo>
                    <a:lnTo>
                      <a:pt x="506" y="421"/>
                    </a:lnTo>
                    <a:lnTo>
                      <a:pt x="507" y="421"/>
                    </a:lnTo>
                    <a:lnTo>
                      <a:pt x="507" y="420"/>
                    </a:lnTo>
                    <a:lnTo>
                      <a:pt x="509" y="420"/>
                    </a:lnTo>
                    <a:lnTo>
                      <a:pt x="509" y="418"/>
                    </a:lnTo>
                    <a:lnTo>
                      <a:pt x="509" y="417"/>
                    </a:lnTo>
                    <a:lnTo>
                      <a:pt x="510" y="417"/>
                    </a:lnTo>
                    <a:lnTo>
                      <a:pt x="511" y="417"/>
                    </a:lnTo>
                    <a:lnTo>
                      <a:pt x="511" y="418"/>
                    </a:lnTo>
                    <a:lnTo>
                      <a:pt x="511" y="420"/>
                    </a:lnTo>
                    <a:lnTo>
                      <a:pt x="511" y="421"/>
                    </a:lnTo>
                    <a:lnTo>
                      <a:pt x="511" y="422"/>
                    </a:lnTo>
                    <a:lnTo>
                      <a:pt x="512" y="422"/>
                    </a:lnTo>
                    <a:lnTo>
                      <a:pt x="512" y="423"/>
                    </a:lnTo>
                    <a:lnTo>
                      <a:pt x="513" y="423"/>
                    </a:lnTo>
                    <a:lnTo>
                      <a:pt x="514" y="423"/>
                    </a:lnTo>
                    <a:lnTo>
                      <a:pt x="515" y="423"/>
                    </a:lnTo>
                    <a:lnTo>
                      <a:pt x="515" y="424"/>
                    </a:lnTo>
                    <a:lnTo>
                      <a:pt x="516" y="424"/>
                    </a:lnTo>
                    <a:lnTo>
                      <a:pt x="516" y="423"/>
                    </a:lnTo>
                    <a:lnTo>
                      <a:pt x="517" y="423"/>
                    </a:lnTo>
                    <a:lnTo>
                      <a:pt x="518" y="423"/>
                    </a:lnTo>
                    <a:lnTo>
                      <a:pt x="518" y="422"/>
                    </a:lnTo>
                    <a:lnTo>
                      <a:pt x="517" y="422"/>
                    </a:lnTo>
                    <a:lnTo>
                      <a:pt x="517" y="421"/>
                    </a:lnTo>
                    <a:lnTo>
                      <a:pt x="518" y="421"/>
                    </a:lnTo>
                    <a:lnTo>
                      <a:pt x="518" y="420"/>
                    </a:lnTo>
                    <a:lnTo>
                      <a:pt x="519" y="420"/>
                    </a:lnTo>
                    <a:lnTo>
                      <a:pt x="519" y="418"/>
                    </a:lnTo>
                    <a:lnTo>
                      <a:pt x="520" y="418"/>
                    </a:lnTo>
                    <a:lnTo>
                      <a:pt x="520" y="417"/>
                    </a:lnTo>
                    <a:lnTo>
                      <a:pt x="520" y="418"/>
                    </a:lnTo>
                    <a:lnTo>
                      <a:pt x="520" y="417"/>
                    </a:lnTo>
                    <a:lnTo>
                      <a:pt x="520" y="416"/>
                    </a:lnTo>
                    <a:lnTo>
                      <a:pt x="522" y="416"/>
                    </a:lnTo>
                    <a:lnTo>
                      <a:pt x="520" y="415"/>
                    </a:lnTo>
                    <a:lnTo>
                      <a:pt x="522" y="415"/>
                    </a:lnTo>
                    <a:lnTo>
                      <a:pt x="522" y="416"/>
                    </a:lnTo>
                    <a:lnTo>
                      <a:pt x="522" y="415"/>
                    </a:lnTo>
                    <a:lnTo>
                      <a:pt x="522" y="414"/>
                    </a:lnTo>
                    <a:lnTo>
                      <a:pt x="522" y="413"/>
                    </a:lnTo>
                    <a:lnTo>
                      <a:pt x="520" y="412"/>
                    </a:lnTo>
                    <a:lnTo>
                      <a:pt x="520" y="411"/>
                    </a:lnTo>
                    <a:lnTo>
                      <a:pt x="520" y="410"/>
                    </a:lnTo>
                    <a:lnTo>
                      <a:pt x="522" y="411"/>
                    </a:lnTo>
                    <a:lnTo>
                      <a:pt x="522" y="410"/>
                    </a:lnTo>
                    <a:lnTo>
                      <a:pt x="523" y="410"/>
                    </a:lnTo>
                    <a:lnTo>
                      <a:pt x="524" y="410"/>
                    </a:lnTo>
                    <a:lnTo>
                      <a:pt x="524" y="409"/>
                    </a:lnTo>
                    <a:lnTo>
                      <a:pt x="525" y="409"/>
                    </a:lnTo>
                    <a:lnTo>
                      <a:pt x="526" y="409"/>
                    </a:lnTo>
                    <a:lnTo>
                      <a:pt x="526" y="410"/>
                    </a:lnTo>
                    <a:lnTo>
                      <a:pt x="525" y="410"/>
                    </a:lnTo>
                    <a:lnTo>
                      <a:pt x="526" y="410"/>
                    </a:lnTo>
                    <a:lnTo>
                      <a:pt x="525" y="410"/>
                    </a:lnTo>
                    <a:lnTo>
                      <a:pt x="525" y="411"/>
                    </a:lnTo>
                    <a:lnTo>
                      <a:pt x="526" y="411"/>
                    </a:lnTo>
                    <a:lnTo>
                      <a:pt x="526" y="412"/>
                    </a:lnTo>
                    <a:lnTo>
                      <a:pt x="527" y="412"/>
                    </a:lnTo>
                    <a:lnTo>
                      <a:pt x="527" y="413"/>
                    </a:lnTo>
                    <a:lnTo>
                      <a:pt x="528" y="413"/>
                    </a:lnTo>
                    <a:lnTo>
                      <a:pt x="528" y="414"/>
                    </a:lnTo>
                    <a:lnTo>
                      <a:pt x="527" y="414"/>
                    </a:lnTo>
                    <a:lnTo>
                      <a:pt x="527" y="415"/>
                    </a:lnTo>
                    <a:lnTo>
                      <a:pt x="528" y="415"/>
                    </a:lnTo>
                    <a:lnTo>
                      <a:pt x="527" y="415"/>
                    </a:lnTo>
                    <a:lnTo>
                      <a:pt x="527" y="414"/>
                    </a:lnTo>
                    <a:lnTo>
                      <a:pt x="528" y="414"/>
                    </a:lnTo>
                    <a:lnTo>
                      <a:pt x="528" y="413"/>
                    </a:lnTo>
                    <a:lnTo>
                      <a:pt x="528" y="414"/>
                    </a:lnTo>
                    <a:lnTo>
                      <a:pt x="529" y="414"/>
                    </a:lnTo>
                    <a:lnTo>
                      <a:pt x="529" y="415"/>
                    </a:lnTo>
                    <a:lnTo>
                      <a:pt x="530" y="415"/>
                    </a:lnTo>
                    <a:lnTo>
                      <a:pt x="530" y="414"/>
                    </a:lnTo>
                    <a:lnTo>
                      <a:pt x="529" y="414"/>
                    </a:lnTo>
                    <a:lnTo>
                      <a:pt x="529" y="415"/>
                    </a:lnTo>
                    <a:lnTo>
                      <a:pt x="529" y="414"/>
                    </a:lnTo>
                    <a:lnTo>
                      <a:pt x="528" y="414"/>
                    </a:lnTo>
                    <a:lnTo>
                      <a:pt x="528" y="413"/>
                    </a:lnTo>
                    <a:lnTo>
                      <a:pt x="529" y="413"/>
                    </a:lnTo>
                    <a:lnTo>
                      <a:pt x="528" y="413"/>
                    </a:lnTo>
                    <a:lnTo>
                      <a:pt x="528" y="412"/>
                    </a:lnTo>
                    <a:lnTo>
                      <a:pt x="528" y="411"/>
                    </a:lnTo>
                    <a:lnTo>
                      <a:pt x="527" y="411"/>
                    </a:lnTo>
                    <a:lnTo>
                      <a:pt x="527" y="410"/>
                    </a:lnTo>
                    <a:lnTo>
                      <a:pt x="527" y="409"/>
                    </a:lnTo>
                    <a:lnTo>
                      <a:pt x="526" y="409"/>
                    </a:lnTo>
                    <a:lnTo>
                      <a:pt x="527" y="409"/>
                    </a:lnTo>
                    <a:lnTo>
                      <a:pt x="527" y="408"/>
                    </a:lnTo>
                    <a:lnTo>
                      <a:pt x="527" y="406"/>
                    </a:lnTo>
                    <a:lnTo>
                      <a:pt x="527" y="405"/>
                    </a:lnTo>
                    <a:lnTo>
                      <a:pt x="526" y="405"/>
                    </a:lnTo>
                    <a:lnTo>
                      <a:pt x="526" y="404"/>
                    </a:lnTo>
                    <a:lnTo>
                      <a:pt x="527" y="404"/>
                    </a:lnTo>
                    <a:lnTo>
                      <a:pt x="527" y="403"/>
                    </a:lnTo>
                    <a:lnTo>
                      <a:pt x="527" y="404"/>
                    </a:lnTo>
                    <a:lnTo>
                      <a:pt x="528" y="404"/>
                    </a:lnTo>
                    <a:lnTo>
                      <a:pt x="528" y="403"/>
                    </a:lnTo>
                    <a:lnTo>
                      <a:pt x="529" y="403"/>
                    </a:lnTo>
                    <a:lnTo>
                      <a:pt x="529" y="404"/>
                    </a:lnTo>
                    <a:lnTo>
                      <a:pt x="530" y="404"/>
                    </a:lnTo>
                    <a:lnTo>
                      <a:pt x="531" y="404"/>
                    </a:lnTo>
                    <a:lnTo>
                      <a:pt x="530" y="404"/>
                    </a:lnTo>
                    <a:lnTo>
                      <a:pt x="530" y="405"/>
                    </a:lnTo>
                    <a:lnTo>
                      <a:pt x="530" y="406"/>
                    </a:lnTo>
                    <a:lnTo>
                      <a:pt x="531" y="406"/>
                    </a:lnTo>
                    <a:lnTo>
                      <a:pt x="531" y="408"/>
                    </a:lnTo>
                    <a:lnTo>
                      <a:pt x="531" y="409"/>
                    </a:lnTo>
                    <a:lnTo>
                      <a:pt x="532" y="409"/>
                    </a:lnTo>
                    <a:lnTo>
                      <a:pt x="532" y="410"/>
                    </a:lnTo>
                    <a:lnTo>
                      <a:pt x="533" y="410"/>
                    </a:lnTo>
                    <a:lnTo>
                      <a:pt x="533" y="411"/>
                    </a:lnTo>
                    <a:lnTo>
                      <a:pt x="533" y="410"/>
                    </a:lnTo>
                    <a:lnTo>
                      <a:pt x="533" y="409"/>
                    </a:lnTo>
                    <a:lnTo>
                      <a:pt x="535" y="409"/>
                    </a:lnTo>
                    <a:lnTo>
                      <a:pt x="533" y="409"/>
                    </a:lnTo>
                    <a:lnTo>
                      <a:pt x="535" y="408"/>
                    </a:lnTo>
                    <a:lnTo>
                      <a:pt x="535" y="406"/>
                    </a:lnTo>
                    <a:lnTo>
                      <a:pt x="533" y="406"/>
                    </a:lnTo>
                    <a:lnTo>
                      <a:pt x="533" y="405"/>
                    </a:lnTo>
                    <a:lnTo>
                      <a:pt x="532" y="405"/>
                    </a:lnTo>
                    <a:lnTo>
                      <a:pt x="532" y="404"/>
                    </a:lnTo>
                    <a:lnTo>
                      <a:pt x="531" y="404"/>
                    </a:lnTo>
                    <a:lnTo>
                      <a:pt x="532" y="404"/>
                    </a:lnTo>
                    <a:lnTo>
                      <a:pt x="532" y="403"/>
                    </a:lnTo>
                    <a:lnTo>
                      <a:pt x="532" y="402"/>
                    </a:lnTo>
                    <a:lnTo>
                      <a:pt x="533" y="402"/>
                    </a:lnTo>
                    <a:lnTo>
                      <a:pt x="532" y="402"/>
                    </a:lnTo>
                    <a:lnTo>
                      <a:pt x="533" y="402"/>
                    </a:lnTo>
                    <a:lnTo>
                      <a:pt x="532" y="401"/>
                    </a:lnTo>
                    <a:lnTo>
                      <a:pt x="532" y="400"/>
                    </a:lnTo>
                    <a:lnTo>
                      <a:pt x="533" y="400"/>
                    </a:lnTo>
                    <a:lnTo>
                      <a:pt x="532" y="400"/>
                    </a:lnTo>
                    <a:lnTo>
                      <a:pt x="532" y="399"/>
                    </a:lnTo>
                    <a:lnTo>
                      <a:pt x="533" y="399"/>
                    </a:lnTo>
                    <a:lnTo>
                      <a:pt x="532" y="399"/>
                    </a:lnTo>
                    <a:lnTo>
                      <a:pt x="532" y="398"/>
                    </a:lnTo>
                    <a:lnTo>
                      <a:pt x="532" y="397"/>
                    </a:lnTo>
                    <a:lnTo>
                      <a:pt x="533" y="397"/>
                    </a:lnTo>
                    <a:lnTo>
                      <a:pt x="535" y="396"/>
                    </a:lnTo>
                    <a:lnTo>
                      <a:pt x="536" y="396"/>
                    </a:lnTo>
                    <a:lnTo>
                      <a:pt x="537" y="396"/>
                    </a:lnTo>
                    <a:lnTo>
                      <a:pt x="538" y="397"/>
                    </a:lnTo>
                    <a:lnTo>
                      <a:pt x="538" y="400"/>
                    </a:lnTo>
                    <a:lnTo>
                      <a:pt x="538" y="401"/>
                    </a:lnTo>
                    <a:lnTo>
                      <a:pt x="539" y="403"/>
                    </a:lnTo>
                    <a:lnTo>
                      <a:pt x="540" y="405"/>
                    </a:lnTo>
                    <a:lnTo>
                      <a:pt x="541" y="408"/>
                    </a:lnTo>
                    <a:lnTo>
                      <a:pt x="541" y="409"/>
                    </a:lnTo>
                    <a:lnTo>
                      <a:pt x="541" y="411"/>
                    </a:lnTo>
                    <a:lnTo>
                      <a:pt x="542" y="412"/>
                    </a:lnTo>
                    <a:lnTo>
                      <a:pt x="542" y="414"/>
                    </a:lnTo>
                    <a:lnTo>
                      <a:pt x="541" y="418"/>
                    </a:lnTo>
                    <a:lnTo>
                      <a:pt x="540" y="422"/>
                    </a:lnTo>
                    <a:lnTo>
                      <a:pt x="540" y="424"/>
                    </a:lnTo>
                    <a:lnTo>
                      <a:pt x="538" y="427"/>
                    </a:lnTo>
                    <a:lnTo>
                      <a:pt x="537" y="429"/>
                    </a:lnTo>
                    <a:lnTo>
                      <a:pt x="536" y="430"/>
                    </a:lnTo>
                    <a:lnTo>
                      <a:pt x="536" y="431"/>
                    </a:lnTo>
                    <a:lnTo>
                      <a:pt x="535" y="431"/>
                    </a:lnTo>
                    <a:lnTo>
                      <a:pt x="533" y="434"/>
                    </a:lnTo>
                    <a:lnTo>
                      <a:pt x="532" y="434"/>
                    </a:lnTo>
                    <a:lnTo>
                      <a:pt x="531" y="435"/>
                    </a:lnTo>
                    <a:lnTo>
                      <a:pt x="530" y="435"/>
                    </a:lnTo>
                    <a:lnTo>
                      <a:pt x="530" y="436"/>
                    </a:lnTo>
                    <a:lnTo>
                      <a:pt x="529" y="436"/>
                    </a:lnTo>
                    <a:lnTo>
                      <a:pt x="529" y="437"/>
                    </a:lnTo>
                    <a:lnTo>
                      <a:pt x="528" y="436"/>
                    </a:lnTo>
                    <a:lnTo>
                      <a:pt x="527" y="436"/>
                    </a:lnTo>
                    <a:lnTo>
                      <a:pt x="526" y="436"/>
                    </a:lnTo>
                    <a:lnTo>
                      <a:pt x="525" y="436"/>
                    </a:lnTo>
                    <a:lnTo>
                      <a:pt x="524" y="437"/>
                    </a:lnTo>
                    <a:lnTo>
                      <a:pt x="523" y="437"/>
                    </a:lnTo>
                    <a:lnTo>
                      <a:pt x="524" y="439"/>
                    </a:lnTo>
                    <a:lnTo>
                      <a:pt x="525" y="439"/>
                    </a:lnTo>
                    <a:lnTo>
                      <a:pt x="526" y="439"/>
                    </a:lnTo>
                    <a:lnTo>
                      <a:pt x="526" y="440"/>
                    </a:lnTo>
                    <a:lnTo>
                      <a:pt x="527" y="440"/>
                    </a:lnTo>
                    <a:lnTo>
                      <a:pt x="526" y="441"/>
                    </a:lnTo>
                    <a:lnTo>
                      <a:pt x="525" y="442"/>
                    </a:lnTo>
                    <a:lnTo>
                      <a:pt x="523" y="444"/>
                    </a:lnTo>
                    <a:lnTo>
                      <a:pt x="520" y="448"/>
                    </a:lnTo>
                    <a:lnTo>
                      <a:pt x="518" y="450"/>
                    </a:lnTo>
                    <a:lnTo>
                      <a:pt x="517" y="452"/>
                    </a:lnTo>
                    <a:lnTo>
                      <a:pt x="514" y="457"/>
                    </a:lnTo>
                    <a:lnTo>
                      <a:pt x="513" y="457"/>
                    </a:lnTo>
                    <a:lnTo>
                      <a:pt x="513" y="459"/>
                    </a:lnTo>
                    <a:lnTo>
                      <a:pt x="512" y="460"/>
                    </a:lnTo>
                    <a:lnTo>
                      <a:pt x="512" y="461"/>
                    </a:lnTo>
                    <a:lnTo>
                      <a:pt x="511" y="462"/>
                    </a:lnTo>
                    <a:lnTo>
                      <a:pt x="511" y="463"/>
                    </a:lnTo>
                    <a:lnTo>
                      <a:pt x="510" y="464"/>
                    </a:lnTo>
                    <a:lnTo>
                      <a:pt x="510" y="466"/>
                    </a:lnTo>
                    <a:lnTo>
                      <a:pt x="509" y="468"/>
                    </a:lnTo>
                    <a:lnTo>
                      <a:pt x="506" y="473"/>
                    </a:lnTo>
                    <a:lnTo>
                      <a:pt x="505" y="474"/>
                    </a:lnTo>
                    <a:lnTo>
                      <a:pt x="505" y="475"/>
                    </a:lnTo>
                    <a:lnTo>
                      <a:pt x="505" y="476"/>
                    </a:lnTo>
                    <a:lnTo>
                      <a:pt x="504" y="477"/>
                    </a:lnTo>
                    <a:lnTo>
                      <a:pt x="502" y="480"/>
                    </a:lnTo>
                    <a:lnTo>
                      <a:pt x="502" y="481"/>
                    </a:lnTo>
                    <a:lnTo>
                      <a:pt x="501" y="480"/>
                    </a:lnTo>
                    <a:lnTo>
                      <a:pt x="502" y="481"/>
                    </a:lnTo>
                    <a:lnTo>
                      <a:pt x="502" y="482"/>
                    </a:lnTo>
                    <a:lnTo>
                      <a:pt x="500" y="487"/>
                    </a:lnTo>
                    <a:lnTo>
                      <a:pt x="499" y="492"/>
                    </a:lnTo>
                    <a:lnTo>
                      <a:pt x="498" y="492"/>
                    </a:lnTo>
                    <a:lnTo>
                      <a:pt x="498" y="493"/>
                    </a:lnTo>
                    <a:lnTo>
                      <a:pt x="497" y="493"/>
                    </a:lnTo>
                    <a:lnTo>
                      <a:pt x="497" y="494"/>
                    </a:lnTo>
                    <a:lnTo>
                      <a:pt x="494" y="494"/>
                    </a:lnTo>
                    <a:lnTo>
                      <a:pt x="493" y="494"/>
                    </a:lnTo>
                    <a:lnTo>
                      <a:pt x="493" y="493"/>
                    </a:lnTo>
                    <a:lnTo>
                      <a:pt x="493" y="492"/>
                    </a:lnTo>
                    <a:lnTo>
                      <a:pt x="492" y="492"/>
                    </a:lnTo>
                    <a:lnTo>
                      <a:pt x="491" y="492"/>
                    </a:lnTo>
                    <a:lnTo>
                      <a:pt x="490" y="492"/>
                    </a:lnTo>
                    <a:lnTo>
                      <a:pt x="490" y="491"/>
                    </a:lnTo>
                    <a:lnTo>
                      <a:pt x="489" y="489"/>
                    </a:lnTo>
                    <a:lnTo>
                      <a:pt x="489" y="488"/>
                    </a:lnTo>
                    <a:lnTo>
                      <a:pt x="488" y="487"/>
                    </a:lnTo>
                    <a:lnTo>
                      <a:pt x="488" y="486"/>
                    </a:lnTo>
                    <a:lnTo>
                      <a:pt x="487" y="486"/>
                    </a:lnTo>
                    <a:lnTo>
                      <a:pt x="487" y="485"/>
                    </a:lnTo>
                    <a:lnTo>
                      <a:pt x="487" y="483"/>
                    </a:lnTo>
                    <a:lnTo>
                      <a:pt x="486" y="483"/>
                    </a:lnTo>
                    <a:lnTo>
                      <a:pt x="486" y="482"/>
                    </a:lnTo>
                    <a:lnTo>
                      <a:pt x="485" y="482"/>
                    </a:lnTo>
                    <a:lnTo>
                      <a:pt x="485" y="481"/>
                    </a:lnTo>
                    <a:lnTo>
                      <a:pt x="485" y="480"/>
                    </a:lnTo>
                    <a:lnTo>
                      <a:pt x="484" y="479"/>
                    </a:lnTo>
                    <a:lnTo>
                      <a:pt x="484" y="478"/>
                    </a:lnTo>
                    <a:lnTo>
                      <a:pt x="483" y="477"/>
                    </a:lnTo>
                    <a:lnTo>
                      <a:pt x="481" y="476"/>
                    </a:lnTo>
                    <a:lnTo>
                      <a:pt x="481" y="475"/>
                    </a:lnTo>
                    <a:lnTo>
                      <a:pt x="480" y="474"/>
                    </a:lnTo>
                    <a:lnTo>
                      <a:pt x="479" y="474"/>
                    </a:lnTo>
                    <a:lnTo>
                      <a:pt x="479" y="473"/>
                    </a:lnTo>
                    <a:lnTo>
                      <a:pt x="478" y="472"/>
                    </a:lnTo>
                    <a:lnTo>
                      <a:pt x="478" y="470"/>
                    </a:lnTo>
                    <a:lnTo>
                      <a:pt x="477" y="468"/>
                    </a:lnTo>
                    <a:lnTo>
                      <a:pt x="476" y="468"/>
                    </a:lnTo>
                    <a:lnTo>
                      <a:pt x="476" y="467"/>
                    </a:lnTo>
                    <a:lnTo>
                      <a:pt x="475" y="467"/>
                    </a:lnTo>
                    <a:lnTo>
                      <a:pt x="475" y="466"/>
                    </a:lnTo>
                    <a:lnTo>
                      <a:pt x="474" y="466"/>
                    </a:lnTo>
                    <a:lnTo>
                      <a:pt x="474" y="465"/>
                    </a:lnTo>
                    <a:lnTo>
                      <a:pt x="473" y="465"/>
                    </a:lnTo>
                    <a:lnTo>
                      <a:pt x="473" y="464"/>
                    </a:lnTo>
                    <a:lnTo>
                      <a:pt x="472" y="463"/>
                    </a:lnTo>
                    <a:lnTo>
                      <a:pt x="471" y="462"/>
                    </a:lnTo>
                    <a:lnTo>
                      <a:pt x="470" y="461"/>
                    </a:lnTo>
                    <a:lnTo>
                      <a:pt x="468" y="460"/>
                    </a:lnTo>
                    <a:lnTo>
                      <a:pt x="466" y="457"/>
                    </a:lnTo>
                    <a:lnTo>
                      <a:pt x="464" y="455"/>
                    </a:lnTo>
                    <a:lnTo>
                      <a:pt x="460" y="451"/>
                    </a:lnTo>
                    <a:lnTo>
                      <a:pt x="453" y="446"/>
                    </a:lnTo>
                    <a:lnTo>
                      <a:pt x="449" y="441"/>
                    </a:lnTo>
                    <a:lnTo>
                      <a:pt x="447" y="439"/>
                    </a:lnTo>
                    <a:lnTo>
                      <a:pt x="446" y="437"/>
                    </a:lnTo>
                    <a:lnTo>
                      <a:pt x="445" y="435"/>
                    </a:lnTo>
                    <a:lnTo>
                      <a:pt x="444" y="434"/>
                    </a:lnTo>
                    <a:lnTo>
                      <a:pt x="444" y="435"/>
                    </a:lnTo>
                    <a:lnTo>
                      <a:pt x="444" y="434"/>
                    </a:lnTo>
                    <a:lnTo>
                      <a:pt x="442" y="431"/>
                    </a:lnTo>
                    <a:lnTo>
                      <a:pt x="442" y="433"/>
                    </a:lnTo>
                    <a:lnTo>
                      <a:pt x="441" y="433"/>
                    </a:lnTo>
                    <a:lnTo>
                      <a:pt x="441" y="431"/>
                    </a:lnTo>
                    <a:lnTo>
                      <a:pt x="440" y="430"/>
                    </a:lnTo>
                    <a:lnTo>
                      <a:pt x="441" y="430"/>
                    </a:lnTo>
                    <a:lnTo>
                      <a:pt x="440" y="430"/>
                    </a:lnTo>
                    <a:lnTo>
                      <a:pt x="440" y="429"/>
                    </a:lnTo>
                    <a:lnTo>
                      <a:pt x="439" y="429"/>
                    </a:lnTo>
                    <a:lnTo>
                      <a:pt x="439" y="428"/>
                    </a:lnTo>
                    <a:lnTo>
                      <a:pt x="438" y="428"/>
                    </a:lnTo>
                    <a:lnTo>
                      <a:pt x="438" y="427"/>
                    </a:lnTo>
                    <a:lnTo>
                      <a:pt x="437" y="426"/>
                    </a:lnTo>
                    <a:lnTo>
                      <a:pt x="437" y="425"/>
                    </a:lnTo>
                    <a:lnTo>
                      <a:pt x="436" y="425"/>
                    </a:lnTo>
                    <a:lnTo>
                      <a:pt x="436" y="424"/>
                    </a:lnTo>
                    <a:lnTo>
                      <a:pt x="436" y="423"/>
                    </a:lnTo>
                    <a:lnTo>
                      <a:pt x="435" y="423"/>
                    </a:lnTo>
                    <a:lnTo>
                      <a:pt x="436" y="423"/>
                    </a:lnTo>
                    <a:lnTo>
                      <a:pt x="435" y="423"/>
                    </a:lnTo>
                    <a:lnTo>
                      <a:pt x="435" y="422"/>
                    </a:lnTo>
                    <a:lnTo>
                      <a:pt x="434" y="421"/>
                    </a:lnTo>
                    <a:lnTo>
                      <a:pt x="434" y="422"/>
                    </a:lnTo>
                    <a:lnTo>
                      <a:pt x="434" y="421"/>
                    </a:lnTo>
                    <a:lnTo>
                      <a:pt x="433" y="420"/>
                    </a:lnTo>
                    <a:lnTo>
                      <a:pt x="433" y="418"/>
                    </a:lnTo>
                    <a:lnTo>
                      <a:pt x="434" y="420"/>
                    </a:lnTo>
                    <a:lnTo>
                      <a:pt x="433" y="417"/>
                    </a:lnTo>
                    <a:lnTo>
                      <a:pt x="432" y="417"/>
                    </a:lnTo>
                    <a:lnTo>
                      <a:pt x="432" y="416"/>
                    </a:lnTo>
                    <a:lnTo>
                      <a:pt x="432" y="417"/>
                    </a:lnTo>
                    <a:lnTo>
                      <a:pt x="431" y="416"/>
                    </a:lnTo>
                    <a:lnTo>
                      <a:pt x="431" y="415"/>
                    </a:lnTo>
                    <a:lnTo>
                      <a:pt x="429" y="415"/>
                    </a:lnTo>
                    <a:lnTo>
                      <a:pt x="428" y="414"/>
                    </a:lnTo>
                    <a:lnTo>
                      <a:pt x="428" y="413"/>
                    </a:lnTo>
                    <a:lnTo>
                      <a:pt x="426" y="412"/>
                    </a:lnTo>
                    <a:lnTo>
                      <a:pt x="426" y="411"/>
                    </a:lnTo>
                    <a:lnTo>
                      <a:pt x="425" y="410"/>
                    </a:lnTo>
                    <a:lnTo>
                      <a:pt x="425" y="409"/>
                    </a:lnTo>
                    <a:lnTo>
                      <a:pt x="424" y="408"/>
                    </a:lnTo>
                    <a:lnTo>
                      <a:pt x="423" y="406"/>
                    </a:lnTo>
                    <a:lnTo>
                      <a:pt x="421" y="404"/>
                    </a:lnTo>
                    <a:lnTo>
                      <a:pt x="421" y="403"/>
                    </a:lnTo>
                    <a:lnTo>
                      <a:pt x="421" y="402"/>
                    </a:lnTo>
                    <a:lnTo>
                      <a:pt x="420" y="402"/>
                    </a:lnTo>
                    <a:lnTo>
                      <a:pt x="419" y="401"/>
                    </a:lnTo>
                    <a:lnTo>
                      <a:pt x="418" y="400"/>
                    </a:lnTo>
                    <a:lnTo>
                      <a:pt x="416" y="399"/>
                    </a:lnTo>
                    <a:lnTo>
                      <a:pt x="415" y="398"/>
                    </a:lnTo>
                    <a:lnTo>
                      <a:pt x="415" y="397"/>
                    </a:lnTo>
                    <a:lnTo>
                      <a:pt x="414" y="396"/>
                    </a:lnTo>
                    <a:lnTo>
                      <a:pt x="413" y="396"/>
                    </a:lnTo>
                    <a:lnTo>
                      <a:pt x="412" y="395"/>
                    </a:lnTo>
                    <a:lnTo>
                      <a:pt x="412" y="393"/>
                    </a:lnTo>
                    <a:lnTo>
                      <a:pt x="410" y="392"/>
                    </a:lnTo>
                    <a:lnTo>
                      <a:pt x="409" y="395"/>
                    </a:lnTo>
                    <a:lnTo>
                      <a:pt x="408" y="397"/>
                    </a:lnTo>
                    <a:lnTo>
                      <a:pt x="409" y="398"/>
                    </a:lnTo>
                    <a:lnTo>
                      <a:pt x="410" y="399"/>
                    </a:lnTo>
                    <a:lnTo>
                      <a:pt x="415" y="404"/>
                    </a:lnTo>
                    <a:lnTo>
                      <a:pt x="416" y="405"/>
                    </a:lnTo>
                    <a:lnTo>
                      <a:pt x="418" y="408"/>
                    </a:lnTo>
                    <a:lnTo>
                      <a:pt x="421" y="411"/>
                    </a:lnTo>
                    <a:lnTo>
                      <a:pt x="422" y="413"/>
                    </a:lnTo>
                    <a:lnTo>
                      <a:pt x="424" y="415"/>
                    </a:lnTo>
                    <a:lnTo>
                      <a:pt x="425" y="417"/>
                    </a:lnTo>
                    <a:lnTo>
                      <a:pt x="426" y="418"/>
                    </a:lnTo>
                    <a:lnTo>
                      <a:pt x="427" y="421"/>
                    </a:lnTo>
                    <a:lnTo>
                      <a:pt x="427" y="422"/>
                    </a:lnTo>
                    <a:lnTo>
                      <a:pt x="429" y="423"/>
                    </a:lnTo>
                    <a:lnTo>
                      <a:pt x="429" y="424"/>
                    </a:lnTo>
                    <a:lnTo>
                      <a:pt x="429" y="425"/>
                    </a:lnTo>
                    <a:lnTo>
                      <a:pt x="431" y="425"/>
                    </a:lnTo>
                    <a:lnTo>
                      <a:pt x="433" y="428"/>
                    </a:lnTo>
                    <a:lnTo>
                      <a:pt x="433" y="429"/>
                    </a:lnTo>
                    <a:lnTo>
                      <a:pt x="435" y="431"/>
                    </a:lnTo>
                    <a:lnTo>
                      <a:pt x="435" y="433"/>
                    </a:lnTo>
                    <a:lnTo>
                      <a:pt x="436" y="434"/>
                    </a:lnTo>
                    <a:lnTo>
                      <a:pt x="437" y="436"/>
                    </a:lnTo>
                    <a:lnTo>
                      <a:pt x="438" y="437"/>
                    </a:lnTo>
                    <a:lnTo>
                      <a:pt x="440" y="440"/>
                    </a:lnTo>
                    <a:lnTo>
                      <a:pt x="441" y="441"/>
                    </a:lnTo>
                    <a:lnTo>
                      <a:pt x="441" y="442"/>
                    </a:lnTo>
                    <a:lnTo>
                      <a:pt x="442" y="442"/>
                    </a:lnTo>
                    <a:lnTo>
                      <a:pt x="442" y="443"/>
                    </a:lnTo>
                    <a:lnTo>
                      <a:pt x="442" y="444"/>
                    </a:lnTo>
                    <a:lnTo>
                      <a:pt x="444" y="444"/>
                    </a:lnTo>
                    <a:lnTo>
                      <a:pt x="442" y="446"/>
                    </a:lnTo>
                    <a:lnTo>
                      <a:pt x="442" y="447"/>
                    </a:lnTo>
                    <a:lnTo>
                      <a:pt x="442" y="448"/>
                    </a:lnTo>
                    <a:lnTo>
                      <a:pt x="442" y="449"/>
                    </a:lnTo>
                    <a:lnTo>
                      <a:pt x="442" y="450"/>
                    </a:lnTo>
                    <a:lnTo>
                      <a:pt x="442" y="451"/>
                    </a:lnTo>
                    <a:lnTo>
                      <a:pt x="441" y="451"/>
                    </a:lnTo>
                    <a:lnTo>
                      <a:pt x="442" y="452"/>
                    </a:lnTo>
                    <a:lnTo>
                      <a:pt x="441" y="452"/>
                    </a:lnTo>
                    <a:lnTo>
                      <a:pt x="442" y="453"/>
                    </a:lnTo>
                    <a:lnTo>
                      <a:pt x="442" y="454"/>
                    </a:lnTo>
                    <a:lnTo>
                      <a:pt x="445" y="454"/>
                    </a:lnTo>
                    <a:lnTo>
                      <a:pt x="445" y="453"/>
                    </a:lnTo>
                    <a:lnTo>
                      <a:pt x="445" y="452"/>
                    </a:lnTo>
                    <a:lnTo>
                      <a:pt x="444" y="451"/>
                    </a:lnTo>
                    <a:lnTo>
                      <a:pt x="444" y="450"/>
                    </a:lnTo>
                    <a:lnTo>
                      <a:pt x="444" y="449"/>
                    </a:lnTo>
                    <a:lnTo>
                      <a:pt x="444" y="448"/>
                    </a:lnTo>
                    <a:lnTo>
                      <a:pt x="444" y="447"/>
                    </a:lnTo>
                    <a:lnTo>
                      <a:pt x="445" y="447"/>
                    </a:lnTo>
                    <a:lnTo>
                      <a:pt x="445" y="448"/>
                    </a:lnTo>
                    <a:lnTo>
                      <a:pt x="447" y="449"/>
                    </a:lnTo>
                    <a:lnTo>
                      <a:pt x="449" y="451"/>
                    </a:lnTo>
                    <a:lnTo>
                      <a:pt x="450" y="451"/>
                    </a:lnTo>
                    <a:lnTo>
                      <a:pt x="451" y="452"/>
                    </a:lnTo>
                    <a:lnTo>
                      <a:pt x="452" y="453"/>
                    </a:lnTo>
                    <a:lnTo>
                      <a:pt x="452" y="454"/>
                    </a:lnTo>
                    <a:lnTo>
                      <a:pt x="453" y="454"/>
                    </a:lnTo>
                    <a:lnTo>
                      <a:pt x="453" y="455"/>
                    </a:lnTo>
                    <a:lnTo>
                      <a:pt x="454" y="455"/>
                    </a:lnTo>
                    <a:lnTo>
                      <a:pt x="455" y="455"/>
                    </a:lnTo>
                    <a:lnTo>
                      <a:pt x="457" y="456"/>
                    </a:lnTo>
                    <a:lnTo>
                      <a:pt x="458" y="459"/>
                    </a:lnTo>
                    <a:lnTo>
                      <a:pt x="459" y="459"/>
                    </a:lnTo>
                    <a:lnTo>
                      <a:pt x="460" y="460"/>
                    </a:lnTo>
                    <a:lnTo>
                      <a:pt x="461" y="461"/>
                    </a:lnTo>
                    <a:lnTo>
                      <a:pt x="462" y="462"/>
                    </a:lnTo>
                    <a:lnTo>
                      <a:pt x="463" y="462"/>
                    </a:lnTo>
                    <a:lnTo>
                      <a:pt x="464" y="463"/>
                    </a:lnTo>
                    <a:lnTo>
                      <a:pt x="464" y="464"/>
                    </a:lnTo>
                    <a:lnTo>
                      <a:pt x="466" y="466"/>
                    </a:lnTo>
                    <a:lnTo>
                      <a:pt x="467" y="467"/>
                    </a:lnTo>
                    <a:lnTo>
                      <a:pt x="467" y="468"/>
                    </a:lnTo>
                    <a:lnTo>
                      <a:pt x="468" y="468"/>
                    </a:lnTo>
                    <a:lnTo>
                      <a:pt x="467" y="469"/>
                    </a:lnTo>
                    <a:lnTo>
                      <a:pt x="466" y="469"/>
                    </a:lnTo>
                    <a:lnTo>
                      <a:pt x="460" y="468"/>
                    </a:lnTo>
                    <a:lnTo>
                      <a:pt x="455" y="468"/>
                    </a:lnTo>
                    <a:lnTo>
                      <a:pt x="457" y="468"/>
                    </a:lnTo>
                    <a:lnTo>
                      <a:pt x="457" y="469"/>
                    </a:lnTo>
                    <a:lnTo>
                      <a:pt x="455" y="469"/>
                    </a:lnTo>
                    <a:lnTo>
                      <a:pt x="455" y="468"/>
                    </a:lnTo>
                    <a:lnTo>
                      <a:pt x="454" y="469"/>
                    </a:lnTo>
                    <a:lnTo>
                      <a:pt x="454" y="468"/>
                    </a:lnTo>
                    <a:lnTo>
                      <a:pt x="453" y="469"/>
                    </a:lnTo>
                    <a:lnTo>
                      <a:pt x="454" y="469"/>
                    </a:lnTo>
                    <a:lnTo>
                      <a:pt x="454" y="470"/>
                    </a:lnTo>
                    <a:lnTo>
                      <a:pt x="454" y="472"/>
                    </a:lnTo>
                    <a:lnTo>
                      <a:pt x="454" y="473"/>
                    </a:lnTo>
                    <a:lnTo>
                      <a:pt x="453" y="473"/>
                    </a:lnTo>
                    <a:lnTo>
                      <a:pt x="454" y="473"/>
                    </a:lnTo>
                    <a:lnTo>
                      <a:pt x="454" y="474"/>
                    </a:lnTo>
                    <a:lnTo>
                      <a:pt x="455" y="474"/>
                    </a:lnTo>
                    <a:lnTo>
                      <a:pt x="455" y="475"/>
                    </a:lnTo>
                    <a:lnTo>
                      <a:pt x="455" y="474"/>
                    </a:lnTo>
                    <a:lnTo>
                      <a:pt x="457" y="474"/>
                    </a:lnTo>
                    <a:lnTo>
                      <a:pt x="457" y="475"/>
                    </a:lnTo>
                    <a:lnTo>
                      <a:pt x="458" y="476"/>
                    </a:lnTo>
                    <a:lnTo>
                      <a:pt x="459" y="476"/>
                    </a:lnTo>
                    <a:lnTo>
                      <a:pt x="459" y="477"/>
                    </a:lnTo>
                    <a:lnTo>
                      <a:pt x="459" y="478"/>
                    </a:lnTo>
                    <a:lnTo>
                      <a:pt x="460" y="479"/>
                    </a:lnTo>
                    <a:lnTo>
                      <a:pt x="461" y="479"/>
                    </a:lnTo>
                    <a:lnTo>
                      <a:pt x="461" y="478"/>
                    </a:lnTo>
                    <a:lnTo>
                      <a:pt x="462" y="478"/>
                    </a:lnTo>
                    <a:lnTo>
                      <a:pt x="463" y="478"/>
                    </a:lnTo>
                    <a:lnTo>
                      <a:pt x="463" y="477"/>
                    </a:lnTo>
                    <a:lnTo>
                      <a:pt x="464" y="477"/>
                    </a:lnTo>
                    <a:lnTo>
                      <a:pt x="464" y="478"/>
                    </a:lnTo>
                    <a:lnTo>
                      <a:pt x="464" y="477"/>
                    </a:lnTo>
                    <a:lnTo>
                      <a:pt x="464" y="476"/>
                    </a:lnTo>
                    <a:lnTo>
                      <a:pt x="465" y="476"/>
                    </a:lnTo>
                    <a:lnTo>
                      <a:pt x="465" y="475"/>
                    </a:lnTo>
                    <a:lnTo>
                      <a:pt x="466" y="474"/>
                    </a:lnTo>
                    <a:lnTo>
                      <a:pt x="465" y="474"/>
                    </a:lnTo>
                    <a:lnTo>
                      <a:pt x="465" y="475"/>
                    </a:lnTo>
                    <a:lnTo>
                      <a:pt x="465" y="474"/>
                    </a:lnTo>
                    <a:lnTo>
                      <a:pt x="466" y="473"/>
                    </a:lnTo>
                    <a:lnTo>
                      <a:pt x="466" y="472"/>
                    </a:lnTo>
                    <a:lnTo>
                      <a:pt x="467" y="472"/>
                    </a:lnTo>
                    <a:lnTo>
                      <a:pt x="467" y="470"/>
                    </a:lnTo>
                    <a:lnTo>
                      <a:pt x="468" y="470"/>
                    </a:lnTo>
                    <a:lnTo>
                      <a:pt x="470" y="470"/>
                    </a:lnTo>
                    <a:lnTo>
                      <a:pt x="471" y="472"/>
                    </a:lnTo>
                    <a:lnTo>
                      <a:pt x="472" y="473"/>
                    </a:lnTo>
                    <a:lnTo>
                      <a:pt x="472" y="474"/>
                    </a:lnTo>
                    <a:lnTo>
                      <a:pt x="471" y="474"/>
                    </a:lnTo>
                    <a:lnTo>
                      <a:pt x="472" y="474"/>
                    </a:lnTo>
                    <a:lnTo>
                      <a:pt x="473" y="475"/>
                    </a:lnTo>
                    <a:lnTo>
                      <a:pt x="474" y="476"/>
                    </a:lnTo>
                    <a:lnTo>
                      <a:pt x="474" y="477"/>
                    </a:lnTo>
                    <a:lnTo>
                      <a:pt x="475" y="478"/>
                    </a:lnTo>
                    <a:lnTo>
                      <a:pt x="475" y="479"/>
                    </a:lnTo>
                    <a:lnTo>
                      <a:pt x="476" y="479"/>
                    </a:lnTo>
                    <a:lnTo>
                      <a:pt x="476" y="480"/>
                    </a:lnTo>
                    <a:lnTo>
                      <a:pt x="477" y="481"/>
                    </a:lnTo>
                    <a:lnTo>
                      <a:pt x="477" y="482"/>
                    </a:lnTo>
                    <a:lnTo>
                      <a:pt x="478" y="483"/>
                    </a:lnTo>
                    <a:lnTo>
                      <a:pt x="478" y="485"/>
                    </a:lnTo>
                    <a:lnTo>
                      <a:pt x="478" y="486"/>
                    </a:lnTo>
                    <a:lnTo>
                      <a:pt x="479" y="486"/>
                    </a:lnTo>
                    <a:lnTo>
                      <a:pt x="479" y="487"/>
                    </a:lnTo>
                    <a:lnTo>
                      <a:pt x="479" y="488"/>
                    </a:lnTo>
                    <a:lnTo>
                      <a:pt x="480" y="488"/>
                    </a:lnTo>
                    <a:lnTo>
                      <a:pt x="480" y="489"/>
                    </a:lnTo>
                    <a:lnTo>
                      <a:pt x="481" y="490"/>
                    </a:lnTo>
                    <a:lnTo>
                      <a:pt x="481" y="491"/>
                    </a:lnTo>
                    <a:lnTo>
                      <a:pt x="481" y="492"/>
                    </a:lnTo>
                    <a:lnTo>
                      <a:pt x="483" y="492"/>
                    </a:lnTo>
                    <a:lnTo>
                      <a:pt x="483" y="493"/>
                    </a:lnTo>
                    <a:lnTo>
                      <a:pt x="483" y="494"/>
                    </a:lnTo>
                    <a:lnTo>
                      <a:pt x="484" y="496"/>
                    </a:lnTo>
                    <a:lnTo>
                      <a:pt x="485" y="499"/>
                    </a:lnTo>
                    <a:lnTo>
                      <a:pt x="484" y="499"/>
                    </a:lnTo>
                    <a:lnTo>
                      <a:pt x="483" y="499"/>
                    </a:lnTo>
                    <a:lnTo>
                      <a:pt x="481" y="499"/>
                    </a:lnTo>
                    <a:lnTo>
                      <a:pt x="481" y="498"/>
                    </a:lnTo>
                    <a:lnTo>
                      <a:pt x="481" y="496"/>
                    </a:lnTo>
                    <a:lnTo>
                      <a:pt x="480" y="496"/>
                    </a:lnTo>
                    <a:lnTo>
                      <a:pt x="479" y="495"/>
                    </a:lnTo>
                    <a:lnTo>
                      <a:pt x="479" y="494"/>
                    </a:lnTo>
                    <a:lnTo>
                      <a:pt x="478" y="494"/>
                    </a:lnTo>
                    <a:lnTo>
                      <a:pt x="477" y="493"/>
                    </a:lnTo>
                    <a:lnTo>
                      <a:pt x="477" y="492"/>
                    </a:lnTo>
                    <a:lnTo>
                      <a:pt x="478" y="491"/>
                    </a:lnTo>
                    <a:lnTo>
                      <a:pt x="478" y="490"/>
                    </a:lnTo>
                    <a:lnTo>
                      <a:pt x="478" y="489"/>
                    </a:lnTo>
                    <a:lnTo>
                      <a:pt x="478" y="488"/>
                    </a:lnTo>
                    <a:lnTo>
                      <a:pt x="479" y="488"/>
                    </a:lnTo>
                    <a:lnTo>
                      <a:pt x="478" y="487"/>
                    </a:lnTo>
                    <a:lnTo>
                      <a:pt x="477" y="487"/>
                    </a:lnTo>
                    <a:lnTo>
                      <a:pt x="476" y="486"/>
                    </a:lnTo>
                    <a:lnTo>
                      <a:pt x="476" y="485"/>
                    </a:lnTo>
                    <a:lnTo>
                      <a:pt x="475" y="483"/>
                    </a:lnTo>
                    <a:lnTo>
                      <a:pt x="475" y="482"/>
                    </a:lnTo>
                    <a:lnTo>
                      <a:pt x="475" y="481"/>
                    </a:lnTo>
                    <a:lnTo>
                      <a:pt x="474" y="480"/>
                    </a:lnTo>
                    <a:lnTo>
                      <a:pt x="474" y="479"/>
                    </a:lnTo>
                    <a:lnTo>
                      <a:pt x="473" y="479"/>
                    </a:lnTo>
                    <a:lnTo>
                      <a:pt x="473" y="478"/>
                    </a:lnTo>
                    <a:lnTo>
                      <a:pt x="473" y="479"/>
                    </a:lnTo>
                    <a:lnTo>
                      <a:pt x="474" y="480"/>
                    </a:lnTo>
                    <a:lnTo>
                      <a:pt x="474" y="481"/>
                    </a:lnTo>
                    <a:lnTo>
                      <a:pt x="474" y="482"/>
                    </a:lnTo>
                    <a:lnTo>
                      <a:pt x="474" y="483"/>
                    </a:lnTo>
                    <a:lnTo>
                      <a:pt x="473" y="483"/>
                    </a:lnTo>
                    <a:lnTo>
                      <a:pt x="473" y="482"/>
                    </a:lnTo>
                    <a:lnTo>
                      <a:pt x="473" y="481"/>
                    </a:lnTo>
                    <a:lnTo>
                      <a:pt x="472" y="481"/>
                    </a:lnTo>
                    <a:lnTo>
                      <a:pt x="472" y="482"/>
                    </a:lnTo>
                    <a:lnTo>
                      <a:pt x="472" y="483"/>
                    </a:lnTo>
                    <a:lnTo>
                      <a:pt x="472" y="485"/>
                    </a:lnTo>
                    <a:lnTo>
                      <a:pt x="471" y="483"/>
                    </a:lnTo>
                    <a:lnTo>
                      <a:pt x="471" y="482"/>
                    </a:lnTo>
                    <a:lnTo>
                      <a:pt x="471" y="481"/>
                    </a:lnTo>
                    <a:lnTo>
                      <a:pt x="471" y="480"/>
                    </a:lnTo>
                    <a:lnTo>
                      <a:pt x="471" y="479"/>
                    </a:lnTo>
                    <a:lnTo>
                      <a:pt x="470" y="478"/>
                    </a:lnTo>
                    <a:lnTo>
                      <a:pt x="468" y="478"/>
                    </a:lnTo>
                    <a:lnTo>
                      <a:pt x="467" y="478"/>
                    </a:lnTo>
                    <a:lnTo>
                      <a:pt x="468" y="478"/>
                    </a:lnTo>
                    <a:lnTo>
                      <a:pt x="468" y="477"/>
                    </a:lnTo>
                    <a:lnTo>
                      <a:pt x="467" y="478"/>
                    </a:lnTo>
                    <a:lnTo>
                      <a:pt x="466" y="478"/>
                    </a:lnTo>
                    <a:lnTo>
                      <a:pt x="466" y="479"/>
                    </a:lnTo>
                    <a:lnTo>
                      <a:pt x="465" y="479"/>
                    </a:lnTo>
                    <a:lnTo>
                      <a:pt x="466" y="479"/>
                    </a:lnTo>
                    <a:lnTo>
                      <a:pt x="465" y="479"/>
                    </a:lnTo>
                    <a:lnTo>
                      <a:pt x="464" y="479"/>
                    </a:lnTo>
                    <a:lnTo>
                      <a:pt x="464" y="480"/>
                    </a:lnTo>
                    <a:lnTo>
                      <a:pt x="463" y="480"/>
                    </a:lnTo>
                    <a:lnTo>
                      <a:pt x="462" y="480"/>
                    </a:lnTo>
                    <a:lnTo>
                      <a:pt x="462" y="481"/>
                    </a:lnTo>
                    <a:lnTo>
                      <a:pt x="463" y="481"/>
                    </a:lnTo>
                    <a:lnTo>
                      <a:pt x="464" y="482"/>
                    </a:lnTo>
                    <a:lnTo>
                      <a:pt x="463" y="482"/>
                    </a:lnTo>
                    <a:lnTo>
                      <a:pt x="463" y="483"/>
                    </a:lnTo>
                    <a:lnTo>
                      <a:pt x="464" y="483"/>
                    </a:lnTo>
                    <a:lnTo>
                      <a:pt x="464" y="485"/>
                    </a:lnTo>
                    <a:lnTo>
                      <a:pt x="464" y="486"/>
                    </a:lnTo>
                    <a:lnTo>
                      <a:pt x="463" y="486"/>
                    </a:lnTo>
                    <a:lnTo>
                      <a:pt x="463" y="485"/>
                    </a:lnTo>
                    <a:lnTo>
                      <a:pt x="463" y="483"/>
                    </a:lnTo>
                    <a:lnTo>
                      <a:pt x="462" y="483"/>
                    </a:lnTo>
                    <a:lnTo>
                      <a:pt x="462" y="482"/>
                    </a:lnTo>
                    <a:lnTo>
                      <a:pt x="462" y="481"/>
                    </a:lnTo>
                    <a:lnTo>
                      <a:pt x="461" y="481"/>
                    </a:lnTo>
                    <a:lnTo>
                      <a:pt x="460" y="481"/>
                    </a:lnTo>
                    <a:lnTo>
                      <a:pt x="460" y="482"/>
                    </a:lnTo>
                    <a:lnTo>
                      <a:pt x="460" y="483"/>
                    </a:lnTo>
                    <a:lnTo>
                      <a:pt x="459" y="482"/>
                    </a:lnTo>
                    <a:lnTo>
                      <a:pt x="459" y="481"/>
                    </a:lnTo>
                    <a:lnTo>
                      <a:pt x="458" y="481"/>
                    </a:lnTo>
                    <a:lnTo>
                      <a:pt x="458" y="482"/>
                    </a:lnTo>
                    <a:lnTo>
                      <a:pt x="458" y="483"/>
                    </a:lnTo>
                    <a:lnTo>
                      <a:pt x="459" y="483"/>
                    </a:lnTo>
                    <a:lnTo>
                      <a:pt x="459" y="485"/>
                    </a:lnTo>
                    <a:lnTo>
                      <a:pt x="458" y="485"/>
                    </a:lnTo>
                    <a:lnTo>
                      <a:pt x="458" y="483"/>
                    </a:lnTo>
                    <a:lnTo>
                      <a:pt x="457" y="483"/>
                    </a:lnTo>
                    <a:lnTo>
                      <a:pt x="457" y="485"/>
                    </a:lnTo>
                    <a:lnTo>
                      <a:pt x="457" y="486"/>
                    </a:lnTo>
                    <a:lnTo>
                      <a:pt x="457" y="487"/>
                    </a:lnTo>
                    <a:lnTo>
                      <a:pt x="457" y="488"/>
                    </a:lnTo>
                    <a:lnTo>
                      <a:pt x="457" y="489"/>
                    </a:lnTo>
                    <a:lnTo>
                      <a:pt x="458" y="489"/>
                    </a:lnTo>
                    <a:lnTo>
                      <a:pt x="458" y="490"/>
                    </a:lnTo>
                    <a:lnTo>
                      <a:pt x="457" y="490"/>
                    </a:lnTo>
                    <a:lnTo>
                      <a:pt x="455" y="489"/>
                    </a:lnTo>
                    <a:lnTo>
                      <a:pt x="455" y="488"/>
                    </a:lnTo>
                    <a:lnTo>
                      <a:pt x="455" y="487"/>
                    </a:lnTo>
                    <a:lnTo>
                      <a:pt x="455" y="486"/>
                    </a:lnTo>
                    <a:lnTo>
                      <a:pt x="455" y="485"/>
                    </a:lnTo>
                    <a:lnTo>
                      <a:pt x="454" y="485"/>
                    </a:lnTo>
                    <a:lnTo>
                      <a:pt x="454" y="483"/>
                    </a:lnTo>
                    <a:lnTo>
                      <a:pt x="454" y="482"/>
                    </a:lnTo>
                    <a:lnTo>
                      <a:pt x="454" y="481"/>
                    </a:lnTo>
                    <a:lnTo>
                      <a:pt x="453" y="481"/>
                    </a:lnTo>
                    <a:lnTo>
                      <a:pt x="453" y="480"/>
                    </a:lnTo>
                    <a:lnTo>
                      <a:pt x="453" y="479"/>
                    </a:lnTo>
                    <a:lnTo>
                      <a:pt x="453" y="478"/>
                    </a:lnTo>
                    <a:lnTo>
                      <a:pt x="453" y="479"/>
                    </a:lnTo>
                    <a:lnTo>
                      <a:pt x="454" y="479"/>
                    </a:lnTo>
                    <a:lnTo>
                      <a:pt x="454" y="478"/>
                    </a:lnTo>
                    <a:lnTo>
                      <a:pt x="454" y="477"/>
                    </a:lnTo>
                    <a:lnTo>
                      <a:pt x="453" y="477"/>
                    </a:lnTo>
                    <a:lnTo>
                      <a:pt x="452" y="477"/>
                    </a:lnTo>
                    <a:lnTo>
                      <a:pt x="452" y="478"/>
                    </a:lnTo>
                    <a:lnTo>
                      <a:pt x="451" y="478"/>
                    </a:lnTo>
                    <a:lnTo>
                      <a:pt x="452" y="477"/>
                    </a:lnTo>
                    <a:lnTo>
                      <a:pt x="452" y="476"/>
                    </a:lnTo>
                    <a:lnTo>
                      <a:pt x="451" y="476"/>
                    </a:lnTo>
                    <a:lnTo>
                      <a:pt x="451" y="477"/>
                    </a:lnTo>
                    <a:lnTo>
                      <a:pt x="451" y="478"/>
                    </a:lnTo>
                    <a:lnTo>
                      <a:pt x="451" y="479"/>
                    </a:lnTo>
                    <a:lnTo>
                      <a:pt x="450" y="479"/>
                    </a:lnTo>
                    <a:lnTo>
                      <a:pt x="450" y="480"/>
                    </a:lnTo>
                    <a:lnTo>
                      <a:pt x="450" y="481"/>
                    </a:lnTo>
                    <a:lnTo>
                      <a:pt x="450" y="482"/>
                    </a:lnTo>
                    <a:lnTo>
                      <a:pt x="450" y="483"/>
                    </a:lnTo>
                    <a:lnTo>
                      <a:pt x="450" y="485"/>
                    </a:lnTo>
                    <a:lnTo>
                      <a:pt x="450" y="486"/>
                    </a:lnTo>
                    <a:lnTo>
                      <a:pt x="451" y="487"/>
                    </a:lnTo>
                    <a:lnTo>
                      <a:pt x="450" y="487"/>
                    </a:lnTo>
                    <a:lnTo>
                      <a:pt x="450" y="488"/>
                    </a:lnTo>
                    <a:lnTo>
                      <a:pt x="450" y="489"/>
                    </a:lnTo>
                    <a:lnTo>
                      <a:pt x="450" y="490"/>
                    </a:lnTo>
                    <a:lnTo>
                      <a:pt x="450" y="491"/>
                    </a:lnTo>
                    <a:lnTo>
                      <a:pt x="450" y="492"/>
                    </a:lnTo>
                    <a:lnTo>
                      <a:pt x="451" y="493"/>
                    </a:lnTo>
                    <a:lnTo>
                      <a:pt x="452" y="493"/>
                    </a:lnTo>
                    <a:lnTo>
                      <a:pt x="453" y="493"/>
                    </a:lnTo>
                    <a:lnTo>
                      <a:pt x="454" y="493"/>
                    </a:lnTo>
                    <a:lnTo>
                      <a:pt x="455" y="493"/>
                    </a:lnTo>
                    <a:lnTo>
                      <a:pt x="457" y="493"/>
                    </a:lnTo>
                    <a:lnTo>
                      <a:pt x="457" y="492"/>
                    </a:lnTo>
                    <a:lnTo>
                      <a:pt x="458" y="492"/>
                    </a:lnTo>
                    <a:lnTo>
                      <a:pt x="459" y="492"/>
                    </a:lnTo>
                    <a:lnTo>
                      <a:pt x="459" y="493"/>
                    </a:lnTo>
                    <a:lnTo>
                      <a:pt x="460" y="493"/>
                    </a:lnTo>
                    <a:lnTo>
                      <a:pt x="460" y="494"/>
                    </a:lnTo>
                    <a:lnTo>
                      <a:pt x="459" y="494"/>
                    </a:lnTo>
                    <a:lnTo>
                      <a:pt x="460" y="494"/>
                    </a:lnTo>
                    <a:lnTo>
                      <a:pt x="460" y="495"/>
                    </a:lnTo>
                    <a:lnTo>
                      <a:pt x="460" y="496"/>
                    </a:lnTo>
                    <a:lnTo>
                      <a:pt x="459" y="496"/>
                    </a:lnTo>
                    <a:lnTo>
                      <a:pt x="458" y="496"/>
                    </a:lnTo>
                    <a:lnTo>
                      <a:pt x="457" y="496"/>
                    </a:lnTo>
                    <a:lnTo>
                      <a:pt x="458" y="496"/>
                    </a:lnTo>
                    <a:lnTo>
                      <a:pt x="458" y="498"/>
                    </a:lnTo>
                    <a:lnTo>
                      <a:pt x="458" y="499"/>
                    </a:lnTo>
                    <a:lnTo>
                      <a:pt x="458" y="498"/>
                    </a:lnTo>
                    <a:lnTo>
                      <a:pt x="457" y="498"/>
                    </a:lnTo>
                    <a:lnTo>
                      <a:pt x="455" y="496"/>
                    </a:lnTo>
                    <a:lnTo>
                      <a:pt x="455" y="498"/>
                    </a:lnTo>
                    <a:lnTo>
                      <a:pt x="454" y="498"/>
                    </a:lnTo>
                    <a:lnTo>
                      <a:pt x="453" y="498"/>
                    </a:lnTo>
                    <a:lnTo>
                      <a:pt x="453" y="499"/>
                    </a:lnTo>
                    <a:lnTo>
                      <a:pt x="453" y="500"/>
                    </a:lnTo>
                    <a:lnTo>
                      <a:pt x="453" y="501"/>
                    </a:lnTo>
                    <a:lnTo>
                      <a:pt x="452" y="501"/>
                    </a:lnTo>
                    <a:lnTo>
                      <a:pt x="452" y="500"/>
                    </a:lnTo>
                    <a:lnTo>
                      <a:pt x="451" y="500"/>
                    </a:lnTo>
                    <a:lnTo>
                      <a:pt x="451" y="501"/>
                    </a:lnTo>
                    <a:lnTo>
                      <a:pt x="451" y="502"/>
                    </a:lnTo>
                    <a:lnTo>
                      <a:pt x="452" y="502"/>
                    </a:lnTo>
                    <a:lnTo>
                      <a:pt x="454" y="502"/>
                    </a:lnTo>
                    <a:lnTo>
                      <a:pt x="455" y="502"/>
                    </a:lnTo>
                    <a:lnTo>
                      <a:pt x="457" y="503"/>
                    </a:lnTo>
                    <a:lnTo>
                      <a:pt x="457" y="504"/>
                    </a:lnTo>
                    <a:lnTo>
                      <a:pt x="455" y="503"/>
                    </a:lnTo>
                    <a:lnTo>
                      <a:pt x="454" y="503"/>
                    </a:lnTo>
                    <a:lnTo>
                      <a:pt x="453" y="503"/>
                    </a:lnTo>
                    <a:lnTo>
                      <a:pt x="452" y="503"/>
                    </a:lnTo>
                    <a:lnTo>
                      <a:pt x="452" y="504"/>
                    </a:lnTo>
                    <a:lnTo>
                      <a:pt x="451" y="504"/>
                    </a:lnTo>
                    <a:lnTo>
                      <a:pt x="450" y="503"/>
                    </a:lnTo>
                    <a:lnTo>
                      <a:pt x="450" y="504"/>
                    </a:lnTo>
                    <a:lnTo>
                      <a:pt x="450" y="505"/>
                    </a:lnTo>
                    <a:lnTo>
                      <a:pt x="450" y="506"/>
                    </a:lnTo>
                    <a:lnTo>
                      <a:pt x="449" y="506"/>
                    </a:lnTo>
                    <a:lnTo>
                      <a:pt x="449" y="507"/>
                    </a:lnTo>
                    <a:lnTo>
                      <a:pt x="448" y="507"/>
                    </a:lnTo>
                    <a:lnTo>
                      <a:pt x="449" y="507"/>
                    </a:lnTo>
                    <a:lnTo>
                      <a:pt x="449" y="508"/>
                    </a:lnTo>
                    <a:lnTo>
                      <a:pt x="450" y="508"/>
                    </a:lnTo>
                    <a:lnTo>
                      <a:pt x="450" y="510"/>
                    </a:lnTo>
                    <a:lnTo>
                      <a:pt x="449" y="510"/>
                    </a:lnTo>
                    <a:lnTo>
                      <a:pt x="449" y="508"/>
                    </a:lnTo>
                    <a:lnTo>
                      <a:pt x="448" y="508"/>
                    </a:lnTo>
                    <a:lnTo>
                      <a:pt x="448" y="507"/>
                    </a:lnTo>
                    <a:lnTo>
                      <a:pt x="448" y="506"/>
                    </a:lnTo>
                    <a:lnTo>
                      <a:pt x="448" y="505"/>
                    </a:lnTo>
                    <a:lnTo>
                      <a:pt x="448" y="504"/>
                    </a:lnTo>
                    <a:lnTo>
                      <a:pt x="449" y="503"/>
                    </a:lnTo>
                    <a:lnTo>
                      <a:pt x="449" y="502"/>
                    </a:lnTo>
                    <a:lnTo>
                      <a:pt x="449" y="501"/>
                    </a:lnTo>
                    <a:lnTo>
                      <a:pt x="448" y="501"/>
                    </a:lnTo>
                    <a:lnTo>
                      <a:pt x="448" y="502"/>
                    </a:lnTo>
                    <a:lnTo>
                      <a:pt x="447" y="502"/>
                    </a:lnTo>
                    <a:lnTo>
                      <a:pt x="447" y="503"/>
                    </a:lnTo>
                    <a:lnTo>
                      <a:pt x="447" y="504"/>
                    </a:lnTo>
                    <a:lnTo>
                      <a:pt x="446" y="505"/>
                    </a:lnTo>
                    <a:lnTo>
                      <a:pt x="446" y="506"/>
                    </a:lnTo>
                    <a:lnTo>
                      <a:pt x="446" y="510"/>
                    </a:lnTo>
                    <a:lnTo>
                      <a:pt x="446" y="511"/>
                    </a:lnTo>
                    <a:lnTo>
                      <a:pt x="446" y="512"/>
                    </a:lnTo>
                    <a:lnTo>
                      <a:pt x="445" y="513"/>
                    </a:lnTo>
                    <a:lnTo>
                      <a:pt x="445" y="514"/>
                    </a:lnTo>
                    <a:lnTo>
                      <a:pt x="445" y="516"/>
                    </a:lnTo>
                    <a:lnTo>
                      <a:pt x="445" y="517"/>
                    </a:lnTo>
                    <a:lnTo>
                      <a:pt x="444" y="518"/>
                    </a:lnTo>
                    <a:lnTo>
                      <a:pt x="444" y="517"/>
                    </a:lnTo>
                    <a:lnTo>
                      <a:pt x="444" y="516"/>
                    </a:lnTo>
                    <a:lnTo>
                      <a:pt x="442" y="516"/>
                    </a:lnTo>
                    <a:lnTo>
                      <a:pt x="442" y="515"/>
                    </a:lnTo>
                    <a:lnTo>
                      <a:pt x="444" y="515"/>
                    </a:lnTo>
                    <a:lnTo>
                      <a:pt x="444" y="514"/>
                    </a:lnTo>
                    <a:lnTo>
                      <a:pt x="445" y="514"/>
                    </a:lnTo>
                    <a:lnTo>
                      <a:pt x="445" y="513"/>
                    </a:lnTo>
                    <a:lnTo>
                      <a:pt x="444" y="513"/>
                    </a:lnTo>
                    <a:lnTo>
                      <a:pt x="442" y="514"/>
                    </a:lnTo>
                    <a:lnTo>
                      <a:pt x="441" y="514"/>
                    </a:lnTo>
                    <a:lnTo>
                      <a:pt x="441" y="513"/>
                    </a:lnTo>
                    <a:lnTo>
                      <a:pt x="442" y="513"/>
                    </a:lnTo>
                    <a:lnTo>
                      <a:pt x="442" y="512"/>
                    </a:lnTo>
                    <a:lnTo>
                      <a:pt x="444" y="512"/>
                    </a:lnTo>
                    <a:lnTo>
                      <a:pt x="444" y="511"/>
                    </a:lnTo>
                    <a:lnTo>
                      <a:pt x="445" y="511"/>
                    </a:lnTo>
                    <a:lnTo>
                      <a:pt x="445" y="510"/>
                    </a:lnTo>
                    <a:lnTo>
                      <a:pt x="445" y="508"/>
                    </a:lnTo>
                    <a:lnTo>
                      <a:pt x="445" y="507"/>
                    </a:lnTo>
                    <a:lnTo>
                      <a:pt x="446" y="507"/>
                    </a:lnTo>
                    <a:lnTo>
                      <a:pt x="446" y="506"/>
                    </a:lnTo>
                    <a:lnTo>
                      <a:pt x="446" y="505"/>
                    </a:lnTo>
                    <a:lnTo>
                      <a:pt x="446" y="504"/>
                    </a:lnTo>
                    <a:lnTo>
                      <a:pt x="447" y="503"/>
                    </a:lnTo>
                    <a:lnTo>
                      <a:pt x="447" y="502"/>
                    </a:lnTo>
                    <a:lnTo>
                      <a:pt x="447" y="501"/>
                    </a:lnTo>
                    <a:lnTo>
                      <a:pt x="448" y="501"/>
                    </a:lnTo>
                    <a:lnTo>
                      <a:pt x="448" y="500"/>
                    </a:lnTo>
                    <a:lnTo>
                      <a:pt x="448" y="499"/>
                    </a:lnTo>
                    <a:lnTo>
                      <a:pt x="448" y="498"/>
                    </a:lnTo>
                    <a:lnTo>
                      <a:pt x="449" y="496"/>
                    </a:lnTo>
                    <a:lnTo>
                      <a:pt x="449" y="495"/>
                    </a:lnTo>
                    <a:lnTo>
                      <a:pt x="448" y="494"/>
                    </a:lnTo>
                    <a:lnTo>
                      <a:pt x="448" y="493"/>
                    </a:lnTo>
                    <a:lnTo>
                      <a:pt x="448" y="492"/>
                    </a:lnTo>
                    <a:lnTo>
                      <a:pt x="447" y="491"/>
                    </a:lnTo>
                    <a:lnTo>
                      <a:pt x="447" y="490"/>
                    </a:lnTo>
                    <a:lnTo>
                      <a:pt x="446" y="490"/>
                    </a:lnTo>
                    <a:lnTo>
                      <a:pt x="446" y="491"/>
                    </a:lnTo>
                    <a:lnTo>
                      <a:pt x="445" y="491"/>
                    </a:lnTo>
                    <a:lnTo>
                      <a:pt x="444" y="491"/>
                    </a:lnTo>
                    <a:lnTo>
                      <a:pt x="444" y="492"/>
                    </a:lnTo>
                    <a:lnTo>
                      <a:pt x="442" y="492"/>
                    </a:lnTo>
                    <a:lnTo>
                      <a:pt x="444" y="491"/>
                    </a:lnTo>
                    <a:lnTo>
                      <a:pt x="445" y="490"/>
                    </a:lnTo>
                    <a:lnTo>
                      <a:pt x="446" y="490"/>
                    </a:lnTo>
                    <a:lnTo>
                      <a:pt x="446" y="489"/>
                    </a:lnTo>
                    <a:lnTo>
                      <a:pt x="447" y="489"/>
                    </a:lnTo>
                    <a:lnTo>
                      <a:pt x="447" y="488"/>
                    </a:lnTo>
                    <a:lnTo>
                      <a:pt x="447" y="487"/>
                    </a:lnTo>
                    <a:lnTo>
                      <a:pt x="446" y="487"/>
                    </a:lnTo>
                    <a:lnTo>
                      <a:pt x="447" y="487"/>
                    </a:lnTo>
                    <a:lnTo>
                      <a:pt x="446" y="486"/>
                    </a:lnTo>
                    <a:lnTo>
                      <a:pt x="447" y="486"/>
                    </a:lnTo>
                    <a:lnTo>
                      <a:pt x="446" y="486"/>
                    </a:lnTo>
                    <a:lnTo>
                      <a:pt x="446" y="485"/>
                    </a:lnTo>
                    <a:lnTo>
                      <a:pt x="447" y="485"/>
                    </a:lnTo>
                    <a:lnTo>
                      <a:pt x="446" y="483"/>
                    </a:lnTo>
                    <a:lnTo>
                      <a:pt x="447" y="483"/>
                    </a:lnTo>
                    <a:lnTo>
                      <a:pt x="447" y="482"/>
                    </a:lnTo>
                    <a:lnTo>
                      <a:pt x="447" y="481"/>
                    </a:lnTo>
                    <a:lnTo>
                      <a:pt x="447" y="480"/>
                    </a:lnTo>
                    <a:lnTo>
                      <a:pt x="448" y="479"/>
                    </a:lnTo>
                    <a:lnTo>
                      <a:pt x="448" y="478"/>
                    </a:lnTo>
                    <a:lnTo>
                      <a:pt x="448" y="477"/>
                    </a:lnTo>
                    <a:lnTo>
                      <a:pt x="448" y="476"/>
                    </a:lnTo>
                    <a:lnTo>
                      <a:pt x="448" y="475"/>
                    </a:lnTo>
                    <a:lnTo>
                      <a:pt x="447" y="474"/>
                    </a:lnTo>
                    <a:lnTo>
                      <a:pt x="447" y="473"/>
                    </a:lnTo>
                    <a:lnTo>
                      <a:pt x="447" y="472"/>
                    </a:lnTo>
                    <a:lnTo>
                      <a:pt x="447" y="470"/>
                    </a:lnTo>
                    <a:lnTo>
                      <a:pt x="446" y="469"/>
                    </a:lnTo>
                    <a:lnTo>
                      <a:pt x="446" y="470"/>
                    </a:lnTo>
                    <a:lnTo>
                      <a:pt x="445" y="470"/>
                    </a:lnTo>
                    <a:lnTo>
                      <a:pt x="445" y="472"/>
                    </a:lnTo>
                    <a:lnTo>
                      <a:pt x="445" y="470"/>
                    </a:lnTo>
                    <a:lnTo>
                      <a:pt x="445" y="469"/>
                    </a:lnTo>
                    <a:lnTo>
                      <a:pt x="446" y="470"/>
                    </a:lnTo>
                    <a:lnTo>
                      <a:pt x="446" y="469"/>
                    </a:lnTo>
                    <a:lnTo>
                      <a:pt x="445" y="469"/>
                    </a:lnTo>
                    <a:lnTo>
                      <a:pt x="445" y="468"/>
                    </a:lnTo>
                    <a:lnTo>
                      <a:pt x="445" y="467"/>
                    </a:lnTo>
                    <a:lnTo>
                      <a:pt x="444" y="467"/>
                    </a:lnTo>
                    <a:lnTo>
                      <a:pt x="444" y="468"/>
                    </a:lnTo>
                    <a:lnTo>
                      <a:pt x="444" y="467"/>
                    </a:lnTo>
                    <a:lnTo>
                      <a:pt x="444" y="466"/>
                    </a:lnTo>
                    <a:lnTo>
                      <a:pt x="444" y="465"/>
                    </a:lnTo>
                    <a:lnTo>
                      <a:pt x="445" y="465"/>
                    </a:lnTo>
                    <a:lnTo>
                      <a:pt x="444" y="465"/>
                    </a:lnTo>
                    <a:lnTo>
                      <a:pt x="444" y="464"/>
                    </a:lnTo>
                    <a:lnTo>
                      <a:pt x="444" y="465"/>
                    </a:lnTo>
                    <a:lnTo>
                      <a:pt x="444" y="464"/>
                    </a:lnTo>
                    <a:lnTo>
                      <a:pt x="444" y="463"/>
                    </a:lnTo>
                    <a:lnTo>
                      <a:pt x="445" y="463"/>
                    </a:lnTo>
                    <a:lnTo>
                      <a:pt x="445" y="462"/>
                    </a:lnTo>
                    <a:lnTo>
                      <a:pt x="445" y="461"/>
                    </a:lnTo>
                    <a:lnTo>
                      <a:pt x="445" y="462"/>
                    </a:lnTo>
                    <a:lnTo>
                      <a:pt x="444" y="462"/>
                    </a:lnTo>
                    <a:lnTo>
                      <a:pt x="444" y="461"/>
                    </a:lnTo>
                    <a:lnTo>
                      <a:pt x="442" y="461"/>
                    </a:lnTo>
                    <a:lnTo>
                      <a:pt x="442" y="462"/>
                    </a:lnTo>
                    <a:lnTo>
                      <a:pt x="442" y="463"/>
                    </a:lnTo>
                    <a:lnTo>
                      <a:pt x="441" y="462"/>
                    </a:lnTo>
                    <a:lnTo>
                      <a:pt x="442" y="463"/>
                    </a:lnTo>
                    <a:lnTo>
                      <a:pt x="441" y="463"/>
                    </a:lnTo>
                    <a:lnTo>
                      <a:pt x="442" y="464"/>
                    </a:lnTo>
                    <a:lnTo>
                      <a:pt x="442" y="465"/>
                    </a:lnTo>
                    <a:lnTo>
                      <a:pt x="442" y="466"/>
                    </a:lnTo>
                    <a:lnTo>
                      <a:pt x="442" y="467"/>
                    </a:lnTo>
                    <a:lnTo>
                      <a:pt x="441" y="467"/>
                    </a:lnTo>
                    <a:lnTo>
                      <a:pt x="441" y="468"/>
                    </a:lnTo>
                    <a:lnTo>
                      <a:pt x="441" y="469"/>
                    </a:lnTo>
                    <a:lnTo>
                      <a:pt x="440" y="470"/>
                    </a:lnTo>
                    <a:lnTo>
                      <a:pt x="441" y="470"/>
                    </a:lnTo>
                    <a:lnTo>
                      <a:pt x="441" y="469"/>
                    </a:lnTo>
                    <a:lnTo>
                      <a:pt x="442" y="469"/>
                    </a:lnTo>
                    <a:lnTo>
                      <a:pt x="444" y="469"/>
                    </a:lnTo>
                    <a:lnTo>
                      <a:pt x="444" y="470"/>
                    </a:lnTo>
                    <a:lnTo>
                      <a:pt x="444" y="472"/>
                    </a:lnTo>
                    <a:lnTo>
                      <a:pt x="445" y="472"/>
                    </a:lnTo>
                    <a:lnTo>
                      <a:pt x="445" y="473"/>
                    </a:lnTo>
                    <a:lnTo>
                      <a:pt x="446" y="473"/>
                    </a:lnTo>
                    <a:lnTo>
                      <a:pt x="446" y="474"/>
                    </a:lnTo>
                    <a:lnTo>
                      <a:pt x="447" y="474"/>
                    </a:lnTo>
                    <a:lnTo>
                      <a:pt x="447" y="475"/>
                    </a:lnTo>
                    <a:lnTo>
                      <a:pt x="447" y="476"/>
                    </a:lnTo>
                    <a:lnTo>
                      <a:pt x="446" y="475"/>
                    </a:lnTo>
                    <a:lnTo>
                      <a:pt x="446" y="476"/>
                    </a:lnTo>
                    <a:lnTo>
                      <a:pt x="447" y="476"/>
                    </a:lnTo>
                    <a:lnTo>
                      <a:pt x="447" y="477"/>
                    </a:lnTo>
                    <a:lnTo>
                      <a:pt x="446" y="477"/>
                    </a:lnTo>
                    <a:lnTo>
                      <a:pt x="447" y="478"/>
                    </a:lnTo>
                    <a:lnTo>
                      <a:pt x="446" y="478"/>
                    </a:lnTo>
                    <a:lnTo>
                      <a:pt x="446" y="479"/>
                    </a:lnTo>
                    <a:lnTo>
                      <a:pt x="445" y="479"/>
                    </a:lnTo>
                    <a:lnTo>
                      <a:pt x="445" y="480"/>
                    </a:lnTo>
                    <a:lnTo>
                      <a:pt x="445" y="481"/>
                    </a:lnTo>
                    <a:lnTo>
                      <a:pt x="444" y="481"/>
                    </a:lnTo>
                    <a:lnTo>
                      <a:pt x="445" y="481"/>
                    </a:lnTo>
                    <a:lnTo>
                      <a:pt x="444" y="482"/>
                    </a:lnTo>
                    <a:lnTo>
                      <a:pt x="444" y="483"/>
                    </a:lnTo>
                    <a:lnTo>
                      <a:pt x="445" y="485"/>
                    </a:lnTo>
                    <a:lnTo>
                      <a:pt x="445" y="486"/>
                    </a:lnTo>
                    <a:lnTo>
                      <a:pt x="444" y="486"/>
                    </a:lnTo>
                    <a:lnTo>
                      <a:pt x="444" y="487"/>
                    </a:lnTo>
                    <a:lnTo>
                      <a:pt x="442" y="487"/>
                    </a:lnTo>
                    <a:lnTo>
                      <a:pt x="442" y="488"/>
                    </a:lnTo>
                    <a:lnTo>
                      <a:pt x="442" y="489"/>
                    </a:lnTo>
                    <a:lnTo>
                      <a:pt x="441" y="490"/>
                    </a:lnTo>
                    <a:lnTo>
                      <a:pt x="440" y="489"/>
                    </a:lnTo>
                    <a:lnTo>
                      <a:pt x="441" y="489"/>
                    </a:lnTo>
                    <a:lnTo>
                      <a:pt x="441" y="488"/>
                    </a:lnTo>
                    <a:lnTo>
                      <a:pt x="442" y="487"/>
                    </a:lnTo>
                    <a:lnTo>
                      <a:pt x="441" y="487"/>
                    </a:lnTo>
                    <a:lnTo>
                      <a:pt x="441" y="486"/>
                    </a:lnTo>
                    <a:lnTo>
                      <a:pt x="441" y="485"/>
                    </a:lnTo>
                    <a:lnTo>
                      <a:pt x="440" y="485"/>
                    </a:lnTo>
                    <a:lnTo>
                      <a:pt x="440" y="483"/>
                    </a:lnTo>
                    <a:lnTo>
                      <a:pt x="441" y="483"/>
                    </a:lnTo>
                    <a:lnTo>
                      <a:pt x="441" y="482"/>
                    </a:lnTo>
                    <a:lnTo>
                      <a:pt x="441" y="481"/>
                    </a:lnTo>
                    <a:lnTo>
                      <a:pt x="441" y="482"/>
                    </a:lnTo>
                    <a:lnTo>
                      <a:pt x="441" y="481"/>
                    </a:lnTo>
                    <a:lnTo>
                      <a:pt x="441" y="480"/>
                    </a:lnTo>
                    <a:lnTo>
                      <a:pt x="442" y="480"/>
                    </a:lnTo>
                    <a:lnTo>
                      <a:pt x="442" y="479"/>
                    </a:lnTo>
                    <a:lnTo>
                      <a:pt x="442" y="478"/>
                    </a:lnTo>
                    <a:lnTo>
                      <a:pt x="444" y="478"/>
                    </a:lnTo>
                    <a:lnTo>
                      <a:pt x="442" y="478"/>
                    </a:lnTo>
                    <a:lnTo>
                      <a:pt x="442" y="477"/>
                    </a:lnTo>
                    <a:lnTo>
                      <a:pt x="444" y="477"/>
                    </a:lnTo>
                    <a:lnTo>
                      <a:pt x="442" y="477"/>
                    </a:lnTo>
                    <a:lnTo>
                      <a:pt x="441" y="478"/>
                    </a:lnTo>
                    <a:lnTo>
                      <a:pt x="441" y="479"/>
                    </a:lnTo>
                    <a:lnTo>
                      <a:pt x="440" y="480"/>
                    </a:lnTo>
                    <a:lnTo>
                      <a:pt x="440" y="479"/>
                    </a:lnTo>
                    <a:lnTo>
                      <a:pt x="441" y="479"/>
                    </a:lnTo>
                    <a:lnTo>
                      <a:pt x="441" y="478"/>
                    </a:lnTo>
                    <a:lnTo>
                      <a:pt x="441" y="477"/>
                    </a:lnTo>
                    <a:lnTo>
                      <a:pt x="440" y="477"/>
                    </a:lnTo>
                    <a:lnTo>
                      <a:pt x="441" y="477"/>
                    </a:lnTo>
                    <a:lnTo>
                      <a:pt x="441" y="476"/>
                    </a:lnTo>
                    <a:lnTo>
                      <a:pt x="441" y="475"/>
                    </a:lnTo>
                    <a:lnTo>
                      <a:pt x="441" y="476"/>
                    </a:lnTo>
                    <a:lnTo>
                      <a:pt x="440" y="476"/>
                    </a:lnTo>
                    <a:lnTo>
                      <a:pt x="440" y="475"/>
                    </a:lnTo>
                    <a:lnTo>
                      <a:pt x="441" y="475"/>
                    </a:lnTo>
                    <a:lnTo>
                      <a:pt x="441" y="474"/>
                    </a:lnTo>
                    <a:lnTo>
                      <a:pt x="441" y="475"/>
                    </a:lnTo>
                    <a:lnTo>
                      <a:pt x="440" y="474"/>
                    </a:lnTo>
                    <a:lnTo>
                      <a:pt x="440" y="475"/>
                    </a:lnTo>
                    <a:lnTo>
                      <a:pt x="439" y="475"/>
                    </a:lnTo>
                    <a:lnTo>
                      <a:pt x="438" y="475"/>
                    </a:lnTo>
                    <a:lnTo>
                      <a:pt x="438" y="476"/>
                    </a:lnTo>
                    <a:lnTo>
                      <a:pt x="438" y="477"/>
                    </a:lnTo>
                    <a:lnTo>
                      <a:pt x="437" y="477"/>
                    </a:lnTo>
                    <a:lnTo>
                      <a:pt x="436" y="477"/>
                    </a:lnTo>
                    <a:lnTo>
                      <a:pt x="436" y="476"/>
                    </a:lnTo>
                    <a:lnTo>
                      <a:pt x="436" y="475"/>
                    </a:lnTo>
                    <a:lnTo>
                      <a:pt x="437" y="475"/>
                    </a:lnTo>
                    <a:lnTo>
                      <a:pt x="438" y="475"/>
                    </a:lnTo>
                    <a:lnTo>
                      <a:pt x="438" y="474"/>
                    </a:lnTo>
                    <a:lnTo>
                      <a:pt x="438" y="473"/>
                    </a:lnTo>
                    <a:lnTo>
                      <a:pt x="437" y="473"/>
                    </a:lnTo>
                    <a:lnTo>
                      <a:pt x="436" y="473"/>
                    </a:lnTo>
                    <a:lnTo>
                      <a:pt x="436" y="474"/>
                    </a:lnTo>
                    <a:lnTo>
                      <a:pt x="435" y="474"/>
                    </a:lnTo>
                    <a:lnTo>
                      <a:pt x="434" y="474"/>
                    </a:lnTo>
                    <a:lnTo>
                      <a:pt x="433" y="474"/>
                    </a:lnTo>
                    <a:lnTo>
                      <a:pt x="432" y="474"/>
                    </a:lnTo>
                    <a:lnTo>
                      <a:pt x="432" y="475"/>
                    </a:lnTo>
                    <a:lnTo>
                      <a:pt x="432" y="476"/>
                    </a:lnTo>
                    <a:lnTo>
                      <a:pt x="432" y="477"/>
                    </a:lnTo>
                    <a:lnTo>
                      <a:pt x="433" y="477"/>
                    </a:lnTo>
                    <a:lnTo>
                      <a:pt x="433" y="476"/>
                    </a:lnTo>
                    <a:lnTo>
                      <a:pt x="434" y="476"/>
                    </a:lnTo>
                    <a:lnTo>
                      <a:pt x="434" y="477"/>
                    </a:lnTo>
                    <a:lnTo>
                      <a:pt x="433" y="477"/>
                    </a:lnTo>
                    <a:lnTo>
                      <a:pt x="434" y="478"/>
                    </a:lnTo>
                    <a:lnTo>
                      <a:pt x="433" y="478"/>
                    </a:lnTo>
                    <a:lnTo>
                      <a:pt x="433" y="479"/>
                    </a:lnTo>
                    <a:lnTo>
                      <a:pt x="432" y="479"/>
                    </a:lnTo>
                    <a:lnTo>
                      <a:pt x="433" y="480"/>
                    </a:lnTo>
                    <a:lnTo>
                      <a:pt x="433" y="481"/>
                    </a:lnTo>
                    <a:lnTo>
                      <a:pt x="433" y="482"/>
                    </a:lnTo>
                    <a:lnTo>
                      <a:pt x="433" y="483"/>
                    </a:lnTo>
                    <a:lnTo>
                      <a:pt x="433" y="485"/>
                    </a:lnTo>
                    <a:lnTo>
                      <a:pt x="433" y="486"/>
                    </a:lnTo>
                    <a:lnTo>
                      <a:pt x="433" y="487"/>
                    </a:lnTo>
                    <a:lnTo>
                      <a:pt x="433" y="488"/>
                    </a:lnTo>
                    <a:lnTo>
                      <a:pt x="433" y="487"/>
                    </a:lnTo>
                    <a:lnTo>
                      <a:pt x="433" y="486"/>
                    </a:lnTo>
                    <a:lnTo>
                      <a:pt x="432" y="485"/>
                    </a:lnTo>
                    <a:lnTo>
                      <a:pt x="432" y="483"/>
                    </a:lnTo>
                    <a:lnTo>
                      <a:pt x="432" y="482"/>
                    </a:lnTo>
                    <a:lnTo>
                      <a:pt x="432" y="483"/>
                    </a:lnTo>
                    <a:lnTo>
                      <a:pt x="432" y="482"/>
                    </a:lnTo>
                    <a:lnTo>
                      <a:pt x="432" y="483"/>
                    </a:lnTo>
                    <a:lnTo>
                      <a:pt x="432" y="485"/>
                    </a:lnTo>
                    <a:lnTo>
                      <a:pt x="431" y="485"/>
                    </a:lnTo>
                    <a:lnTo>
                      <a:pt x="431" y="486"/>
                    </a:lnTo>
                    <a:lnTo>
                      <a:pt x="431" y="485"/>
                    </a:lnTo>
                    <a:lnTo>
                      <a:pt x="429" y="485"/>
                    </a:lnTo>
                    <a:lnTo>
                      <a:pt x="429" y="483"/>
                    </a:lnTo>
                    <a:lnTo>
                      <a:pt x="431" y="483"/>
                    </a:lnTo>
                    <a:lnTo>
                      <a:pt x="431" y="482"/>
                    </a:lnTo>
                    <a:lnTo>
                      <a:pt x="431" y="481"/>
                    </a:lnTo>
                    <a:lnTo>
                      <a:pt x="432" y="481"/>
                    </a:lnTo>
                    <a:lnTo>
                      <a:pt x="432" y="480"/>
                    </a:lnTo>
                    <a:lnTo>
                      <a:pt x="432" y="481"/>
                    </a:lnTo>
                    <a:lnTo>
                      <a:pt x="432" y="480"/>
                    </a:lnTo>
                    <a:lnTo>
                      <a:pt x="431" y="480"/>
                    </a:lnTo>
                    <a:lnTo>
                      <a:pt x="431" y="479"/>
                    </a:lnTo>
                    <a:lnTo>
                      <a:pt x="431" y="478"/>
                    </a:lnTo>
                    <a:lnTo>
                      <a:pt x="431" y="477"/>
                    </a:lnTo>
                    <a:lnTo>
                      <a:pt x="432" y="477"/>
                    </a:lnTo>
                    <a:lnTo>
                      <a:pt x="431" y="477"/>
                    </a:lnTo>
                    <a:lnTo>
                      <a:pt x="431" y="476"/>
                    </a:lnTo>
                    <a:lnTo>
                      <a:pt x="431" y="477"/>
                    </a:lnTo>
                    <a:lnTo>
                      <a:pt x="431" y="476"/>
                    </a:lnTo>
                    <a:lnTo>
                      <a:pt x="431" y="477"/>
                    </a:lnTo>
                    <a:lnTo>
                      <a:pt x="431" y="478"/>
                    </a:lnTo>
                    <a:lnTo>
                      <a:pt x="429" y="478"/>
                    </a:lnTo>
                    <a:lnTo>
                      <a:pt x="429" y="477"/>
                    </a:lnTo>
                    <a:lnTo>
                      <a:pt x="428" y="478"/>
                    </a:lnTo>
                    <a:lnTo>
                      <a:pt x="428" y="479"/>
                    </a:lnTo>
                    <a:lnTo>
                      <a:pt x="428" y="480"/>
                    </a:lnTo>
                    <a:lnTo>
                      <a:pt x="429" y="480"/>
                    </a:lnTo>
                    <a:lnTo>
                      <a:pt x="428" y="480"/>
                    </a:lnTo>
                    <a:lnTo>
                      <a:pt x="427" y="480"/>
                    </a:lnTo>
                    <a:lnTo>
                      <a:pt x="426" y="480"/>
                    </a:lnTo>
                    <a:lnTo>
                      <a:pt x="426" y="479"/>
                    </a:lnTo>
                    <a:lnTo>
                      <a:pt x="425" y="478"/>
                    </a:lnTo>
                    <a:lnTo>
                      <a:pt x="424" y="477"/>
                    </a:lnTo>
                    <a:lnTo>
                      <a:pt x="423" y="477"/>
                    </a:lnTo>
                    <a:lnTo>
                      <a:pt x="422" y="477"/>
                    </a:lnTo>
                    <a:lnTo>
                      <a:pt x="422" y="478"/>
                    </a:lnTo>
                    <a:lnTo>
                      <a:pt x="421" y="478"/>
                    </a:lnTo>
                    <a:lnTo>
                      <a:pt x="421" y="479"/>
                    </a:lnTo>
                    <a:lnTo>
                      <a:pt x="421" y="480"/>
                    </a:lnTo>
                    <a:lnTo>
                      <a:pt x="421" y="481"/>
                    </a:lnTo>
                    <a:lnTo>
                      <a:pt x="421" y="482"/>
                    </a:lnTo>
                    <a:lnTo>
                      <a:pt x="420" y="482"/>
                    </a:lnTo>
                    <a:lnTo>
                      <a:pt x="421" y="483"/>
                    </a:lnTo>
                    <a:lnTo>
                      <a:pt x="421" y="485"/>
                    </a:lnTo>
                    <a:lnTo>
                      <a:pt x="422" y="485"/>
                    </a:lnTo>
                    <a:lnTo>
                      <a:pt x="422" y="486"/>
                    </a:lnTo>
                    <a:lnTo>
                      <a:pt x="422" y="487"/>
                    </a:lnTo>
                    <a:lnTo>
                      <a:pt x="422" y="488"/>
                    </a:lnTo>
                    <a:lnTo>
                      <a:pt x="421" y="488"/>
                    </a:lnTo>
                    <a:lnTo>
                      <a:pt x="420" y="488"/>
                    </a:lnTo>
                    <a:lnTo>
                      <a:pt x="420" y="489"/>
                    </a:lnTo>
                    <a:lnTo>
                      <a:pt x="419" y="490"/>
                    </a:lnTo>
                    <a:lnTo>
                      <a:pt x="419" y="491"/>
                    </a:lnTo>
                    <a:lnTo>
                      <a:pt x="419" y="492"/>
                    </a:lnTo>
                    <a:lnTo>
                      <a:pt x="419" y="493"/>
                    </a:lnTo>
                    <a:lnTo>
                      <a:pt x="418" y="493"/>
                    </a:lnTo>
                    <a:lnTo>
                      <a:pt x="418" y="494"/>
                    </a:lnTo>
                    <a:lnTo>
                      <a:pt x="416" y="494"/>
                    </a:lnTo>
                    <a:lnTo>
                      <a:pt x="414" y="494"/>
                    </a:lnTo>
                    <a:lnTo>
                      <a:pt x="413" y="494"/>
                    </a:lnTo>
                    <a:lnTo>
                      <a:pt x="412" y="495"/>
                    </a:lnTo>
                    <a:lnTo>
                      <a:pt x="411" y="495"/>
                    </a:lnTo>
                    <a:lnTo>
                      <a:pt x="411" y="496"/>
                    </a:lnTo>
                    <a:lnTo>
                      <a:pt x="412" y="496"/>
                    </a:lnTo>
                    <a:lnTo>
                      <a:pt x="413" y="496"/>
                    </a:lnTo>
                    <a:lnTo>
                      <a:pt x="413" y="498"/>
                    </a:lnTo>
                    <a:lnTo>
                      <a:pt x="413" y="499"/>
                    </a:lnTo>
                    <a:lnTo>
                      <a:pt x="412" y="499"/>
                    </a:lnTo>
                    <a:lnTo>
                      <a:pt x="412" y="500"/>
                    </a:lnTo>
                    <a:lnTo>
                      <a:pt x="411" y="500"/>
                    </a:lnTo>
                    <a:lnTo>
                      <a:pt x="411" y="501"/>
                    </a:lnTo>
                    <a:lnTo>
                      <a:pt x="410" y="501"/>
                    </a:lnTo>
                    <a:lnTo>
                      <a:pt x="410" y="502"/>
                    </a:lnTo>
                    <a:lnTo>
                      <a:pt x="409" y="502"/>
                    </a:lnTo>
                    <a:lnTo>
                      <a:pt x="409" y="503"/>
                    </a:lnTo>
                    <a:lnTo>
                      <a:pt x="409" y="504"/>
                    </a:lnTo>
                    <a:lnTo>
                      <a:pt x="408" y="505"/>
                    </a:lnTo>
                    <a:lnTo>
                      <a:pt x="407" y="507"/>
                    </a:lnTo>
                    <a:lnTo>
                      <a:pt x="406" y="507"/>
                    </a:lnTo>
                    <a:lnTo>
                      <a:pt x="406" y="508"/>
                    </a:lnTo>
                    <a:lnTo>
                      <a:pt x="406" y="510"/>
                    </a:lnTo>
                    <a:lnTo>
                      <a:pt x="406" y="508"/>
                    </a:lnTo>
                    <a:lnTo>
                      <a:pt x="406" y="507"/>
                    </a:lnTo>
                    <a:lnTo>
                      <a:pt x="406" y="505"/>
                    </a:lnTo>
                    <a:lnTo>
                      <a:pt x="406" y="504"/>
                    </a:lnTo>
                    <a:lnTo>
                      <a:pt x="404" y="504"/>
                    </a:lnTo>
                    <a:lnTo>
                      <a:pt x="404" y="505"/>
                    </a:lnTo>
                    <a:lnTo>
                      <a:pt x="403" y="505"/>
                    </a:lnTo>
                    <a:lnTo>
                      <a:pt x="403" y="504"/>
                    </a:lnTo>
                    <a:lnTo>
                      <a:pt x="402" y="503"/>
                    </a:lnTo>
                    <a:lnTo>
                      <a:pt x="401" y="502"/>
                    </a:lnTo>
                    <a:lnTo>
                      <a:pt x="401" y="503"/>
                    </a:lnTo>
                    <a:lnTo>
                      <a:pt x="400" y="504"/>
                    </a:lnTo>
                    <a:lnTo>
                      <a:pt x="400" y="505"/>
                    </a:lnTo>
                    <a:lnTo>
                      <a:pt x="399" y="505"/>
                    </a:lnTo>
                    <a:lnTo>
                      <a:pt x="398" y="505"/>
                    </a:lnTo>
                    <a:lnTo>
                      <a:pt x="398" y="504"/>
                    </a:lnTo>
                    <a:lnTo>
                      <a:pt x="398" y="503"/>
                    </a:lnTo>
                    <a:lnTo>
                      <a:pt x="398" y="502"/>
                    </a:lnTo>
                    <a:lnTo>
                      <a:pt x="398" y="501"/>
                    </a:lnTo>
                    <a:lnTo>
                      <a:pt x="398" y="500"/>
                    </a:lnTo>
                    <a:lnTo>
                      <a:pt x="398" y="499"/>
                    </a:lnTo>
                    <a:lnTo>
                      <a:pt x="398" y="498"/>
                    </a:lnTo>
                    <a:lnTo>
                      <a:pt x="398" y="496"/>
                    </a:lnTo>
                    <a:lnTo>
                      <a:pt x="398" y="495"/>
                    </a:lnTo>
                    <a:lnTo>
                      <a:pt x="397" y="495"/>
                    </a:lnTo>
                    <a:lnTo>
                      <a:pt x="396" y="495"/>
                    </a:lnTo>
                    <a:lnTo>
                      <a:pt x="396" y="496"/>
                    </a:lnTo>
                    <a:lnTo>
                      <a:pt x="396" y="495"/>
                    </a:lnTo>
                    <a:lnTo>
                      <a:pt x="395" y="494"/>
                    </a:lnTo>
                    <a:lnTo>
                      <a:pt x="394" y="494"/>
                    </a:lnTo>
                    <a:lnTo>
                      <a:pt x="393" y="494"/>
                    </a:lnTo>
                    <a:lnTo>
                      <a:pt x="393" y="495"/>
                    </a:lnTo>
                    <a:lnTo>
                      <a:pt x="393" y="496"/>
                    </a:lnTo>
                    <a:lnTo>
                      <a:pt x="393" y="498"/>
                    </a:lnTo>
                    <a:lnTo>
                      <a:pt x="391" y="498"/>
                    </a:lnTo>
                    <a:lnTo>
                      <a:pt x="390" y="499"/>
                    </a:lnTo>
                    <a:lnTo>
                      <a:pt x="388" y="499"/>
                    </a:lnTo>
                    <a:lnTo>
                      <a:pt x="387" y="499"/>
                    </a:lnTo>
                    <a:lnTo>
                      <a:pt x="386" y="500"/>
                    </a:lnTo>
                    <a:lnTo>
                      <a:pt x="385" y="500"/>
                    </a:lnTo>
                    <a:lnTo>
                      <a:pt x="385" y="501"/>
                    </a:lnTo>
                    <a:lnTo>
                      <a:pt x="385" y="502"/>
                    </a:lnTo>
                    <a:lnTo>
                      <a:pt x="386" y="502"/>
                    </a:lnTo>
                    <a:lnTo>
                      <a:pt x="387" y="502"/>
                    </a:lnTo>
                    <a:lnTo>
                      <a:pt x="388" y="501"/>
                    </a:lnTo>
                    <a:lnTo>
                      <a:pt x="389" y="501"/>
                    </a:lnTo>
                    <a:lnTo>
                      <a:pt x="390" y="501"/>
                    </a:lnTo>
                    <a:lnTo>
                      <a:pt x="391" y="501"/>
                    </a:lnTo>
                    <a:lnTo>
                      <a:pt x="393" y="501"/>
                    </a:lnTo>
                    <a:lnTo>
                      <a:pt x="393" y="502"/>
                    </a:lnTo>
                    <a:lnTo>
                      <a:pt x="390" y="503"/>
                    </a:lnTo>
                    <a:lnTo>
                      <a:pt x="389" y="503"/>
                    </a:lnTo>
                    <a:lnTo>
                      <a:pt x="388" y="503"/>
                    </a:lnTo>
                    <a:lnTo>
                      <a:pt x="387" y="503"/>
                    </a:lnTo>
                    <a:lnTo>
                      <a:pt x="386" y="503"/>
                    </a:lnTo>
                    <a:lnTo>
                      <a:pt x="385" y="503"/>
                    </a:lnTo>
                    <a:lnTo>
                      <a:pt x="384" y="503"/>
                    </a:lnTo>
                    <a:lnTo>
                      <a:pt x="384" y="504"/>
                    </a:lnTo>
                    <a:lnTo>
                      <a:pt x="384" y="505"/>
                    </a:lnTo>
                    <a:lnTo>
                      <a:pt x="384" y="506"/>
                    </a:lnTo>
                    <a:lnTo>
                      <a:pt x="383" y="506"/>
                    </a:lnTo>
                    <a:lnTo>
                      <a:pt x="382" y="505"/>
                    </a:lnTo>
                    <a:lnTo>
                      <a:pt x="381" y="503"/>
                    </a:lnTo>
                    <a:lnTo>
                      <a:pt x="381" y="502"/>
                    </a:lnTo>
                    <a:lnTo>
                      <a:pt x="382" y="502"/>
                    </a:lnTo>
                    <a:lnTo>
                      <a:pt x="381" y="501"/>
                    </a:lnTo>
                    <a:lnTo>
                      <a:pt x="378" y="500"/>
                    </a:lnTo>
                    <a:lnTo>
                      <a:pt x="377" y="498"/>
                    </a:lnTo>
                    <a:lnTo>
                      <a:pt x="375" y="494"/>
                    </a:lnTo>
                    <a:lnTo>
                      <a:pt x="374" y="494"/>
                    </a:lnTo>
                    <a:lnTo>
                      <a:pt x="373" y="493"/>
                    </a:lnTo>
                    <a:lnTo>
                      <a:pt x="373" y="492"/>
                    </a:lnTo>
                    <a:lnTo>
                      <a:pt x="372" y="491"/>
                    </a:lnTo>
                    <a:lnTo>
                      <a:pt x="371" y="489"/>
                    </a:lnTo>
                    <a:lnTo>
                      <a:pt x="371" y="488"/>
                    </a:lnTo>
                    <a:lnTo>
                      <a:pt x="370" y="487"/>
                    </a:lnTo>
                    <a:lnTo>
                      <a:pt x="368" y="485"/>
                    </a:lnTo>
                    <a:lnTo>
                      <a:pt x="367" y="482"/>
                    </a:lnTo>
                    <a:lnTo>
                      <a:pt x="365" y="481"/>
                    </a:lnTo>
                    <a:lnTo>
                      <a:pt x="364" y="481"/>
                    </a:lnTo>
                    <a:lnTo>
                      <a:pt x="363" y="480"/>
                    </a:lnTo>
                    <a:lnTo>
                      <a:pt x="362" y="479"/>
                    </a:lnTo>
                    <a:lnTo>
                      <a:pt x="361" y="478"/>
                    </a:lnTo>
                    <a:lnTo>
                      <a:pt x="360" y="477"/>
                    </a:lnTo>
                    <a:lnTo>
                      <a:pt x="360" y="476"/>
                    </a:lnTo>
                    <a:lnTo>
                      <a:pt x="360" y="475"/>
                    </a:lnTo>
                    <a:lnTo>
                      <a:pt x="360" y="474"/>
                    </a:lnTo>
                    <a:lnTo>
                      <a:pt x="360" y="473"/>
                    </a:lnTo>
                    <a:lnTo>
                      <a:pt x="360" y="472"/>
                    </a:lnTo>
                    <a:lnTo>
                      <a:pt x="360" y="470"/>
                    </a:lnTo>
                    <a:lnTo>
                      <a:pt x="361" y="469"/>
                    </a:lnTo>
                    <a:lnTo>
                      <a:pt x="362" y="467"/>
                    </a:lnTo>
                    <a:lnTo>
                      <a:pt x="362" y="466"/>
                    </a:lnTo>
                    <a:lnTo>
                      <a:pt x="363" y="465"/>
                    </a:lnTo>
                    <a:lnTo>
                      <a:pt x="364" y="465"/>
                    </a:lnTo>
                    <a:lnTo>
                      <a:pt x="365" y="465"/>
                    </a:lnTo>
                    <a:lnTo>
                      <a:pt x="367" y="465"/>
                    </a:lnTo>
                    <a:lnTo>
                      <a:pt x="368" y="465"/>
                    </a:lnTo>
                    <a:lnTo>
                      <a:pt x="368" y="466"/>
                    </a:lnTo>
                    <a:lnTo>
                      <a:pt x="368" y="467"/>
                    </a:lnTo>
                    <a:lnTo>
                      <a:pt x="368" y="468"/>
                    </a:lnTo>
                    <a:lnTo>
                      <a:pt x="368" y="469"/>
                    </a:lnTo>
                    <a:lnTo>
                      <a:pt x="368" y="470"/>
                    </a:lnTo>
                    <a:lnTo>
                      <a:pt x="369" y="470"/>
                    </a:lnTo>
                    <a:lnTo>
                      <a:pt x="369" y="472"/>
                    </a:lnTo>
                    <a:lnTo>
                      <a:pt x="369" y="470"/>
                    </a:lnTo>
                    <a:lnTo>
                      <a:pt x="370" y="470"/>
                    </a:lnTo>
                    <a:lnTo>
                      <a:pt x="370" y="472"/>
                    </a:lnTo>
                    <a:lnTo>
                      <a:pt x="370" y="470"/>
                    </a:lnTo>
                    <a:lnTo>
                      <a:pt x="371" y="470"/>
                    </a:lnTo>
                    <a:lnTo>
                      <a:pt x="372" y="470"/>
                    </a:lnTo>
                    <a:lnTo>
                      <a:pt x="372" y="472"/>
                    </a:lnTo>
                    <a:lnTo>
                      <a:pt x="372" y="470"/>
                    </a:lnTo>
                    <a:lnTo>
                      <a:pt x="373" y="472"/>
                    </a:lnTo>
                    <a:lnTo>
                      <a:pt x="374" y="472"/>
                    </a:lnTo>
                    <a:lnTo>
                      <a:pt x="373" y="472"/>
                    </a:lnTo>
                    <a:lnTo>
                      <a:pt x="373" y="470"/>
                    </a:lnTo>
                    <a:lnTo>
                      <a:pt x="373" y="469"/>
                    </a:lnTo>
                    <a:lnTo>
                      <a:pt x="373" y="468"/>
                    </a:lnTo>
                    <a:lnTo>
                      <a:pt x="374" y="468"/>
                    </a:lnTo>
                    <a:lnTo>
                      <a:pt x="374" y="467"/>
                    </a:lnTo>
                    <a:lnTo>
                      <a:pt x="375" y="467"/>
                    </a:lnTo>
                    <a:lnTo>
                      <a:pt x="375" y="466"/>
                    </a:lnTo>
                    <a:lnTo>
                      <a:pt x="375" y="465"/>
                    </a:lnTo>
                    <a:lnTo>
                      <a:pt x="376" y="465"/>
                    </a:lnTo>
                    <a:lnTo>
                      <a:pt x="376" y="464"/>
                    </a:lnTo>
                    <a:lnTo>
                      <a:pt x="375" y="464"/>
                    </a:lnTo>
                    <a:lnTo>
                      <a:pt x="375" y="463"/>
                    </a:lnTo>
                    <a:lnTo>
                      <a:pt x="375" y="462"/>
                    </a:lnTo>
                    <a:lnTo>
                      <a:pt x="374" y="462"/>
                    </a:lnTo>
                    <a:lnTo>
                      <a:pt x="374" y="461"/>
                    </a:lnTo>
                    <a:lnTo>
                      <a:pt x="373" y="461"/>
                    </a:lnTo>
                    <a:lnTo>
                      <a:pt x="372" y="460"/>
                    </a:lnTo>
                    <a:lnTo>
                      <a:pt x="371" y="460"/>
                    </a:lnTo>
                    <a:lnTo>
                      <a:pt x="370" y="460"/>
                    </a:lnTo>
                    <a:lnTo>
                      <a:pt x="370" y="461"/>
                    </a:lnTo>
                    <a:lnTo>
                      <a:pt x="370" y="462"/>
                    </a:lnTo>
                    <a:lnTo>
                      <a:pt x="370" y="463"/>
                    </a:lnTo>
                    <a:lnTo>
                      <a:pt x="370" y="464"/>
                    </a:lnTo>
                    <a:lnTo>
                      <a:pt x="369" y="463"/>
                    </a:lnTo>
                    <a:lnTo>
                      <a:pt x="369" y="464"/>
                    </a:lnTo>
                    <a:lnTo>
                      <a:pt x="368" y="463"/>
                    </a:lnTo>
                    <a:lnTo>
                      <a:pt x="368" y="464"/>
                    </a:lnTo>
                    <a:lnTo>
                      <a:pt x="368" y="463"/>
                    </a:lnTo>
                    <a:lnTo>
                      <a:pt x="367" y="463"/>
                    </a:lnTo>
                    <a:lnTo>
                      <a:pt x="365" y="463"/>
                    </a:lnTo>
                    <a:lnTo>
                      <a:pt x="365" y="464"/>
                    </a:lnTo>
                    <a:lnTo>
                      <a:pt x="364" y="464"/>
                    </a:lnTo>
                    <a:lnTo>
                      <a:pt x="363" y="464"/>
                    </a:lnTo>
                    <a:lnTo>
                      <a:pt x="363" y="463"/>
                    </a:lnTo>
                    <a:lnTo>
                      <a:pt x="363" y="462"/>
                    </a:lnTo>
                    <a:lnTo>
                      <a:pt x="363" y="461"/>
                    </a:lnTo>
                    <a:lnTo>
                      <a:pt x="363" y="460"/>
                    </a:lnTo>
                    <a:lnTo>
                      <a:pt x="363" y="459"/>
                    </a:lnTo>
                    <a:lnTo>
                      <a:pt x="364" y="459"/>
                    </a:lnTo>
                    <a:lnTo>
                      <a:pt x="364" y="457"/>
                    </a:lnTo>
                    <a:lnTo>
                      <a:pt x="364" y="455"/>
                    </a:lnTo>
                    <a:lnTo>
                      <a:pt x="365" y="455"/>
                    </a:lnTo>
                    <a:lnTo>
                      <a:pt x="364" y="455"/>
                    </a:lnTo>
                    <a:lnTo>
                      <a:pt x="365" y="455"/>
                    </a:lnTo>
                    <a:lnTo>
                      <a:pt x="367" y="455"/>
                    </a:lnTo>
                    <a:lnTo>
                      <a:pt x="365" y="455"/>
                    </a:lnTo>
                    <a:lnTo>
                      <a:pt x="364" y="455"/>
                    </a:lnTo>
                    <a:lnTo>
                      <a:pt x="365" y="455"/>
                    </a:lnTo>
                    <a:lnTo>
                      <a:pt x="364" y="455"/>
                    </a:lnTo>
                    <a:lnTo>
                      <a:pt x="364" y="454"/>
                    </a:lnTo>
                    <a:lnTo>
                      <a:pt x="365" y="454"/>
                    </a:lnTo>
                    <a:lnTo>
                      <a:pt x="367" y="454"/>
                    </a:lnTo>
                    <a:lnTo>
                      <a:pt x="368" y="454"/>
                    </a:lnTo>
                    <a:lnTo>
                      <a:pt x="368" y="453"/>
                    </a:lnTo>
                    <a:lnTo>
                      <a:pt x="369" y="453"/>
                    </a:lnTo>
                    <a:lnTo>
                      <a:pt x="369" y="454"/>
                    </a:lnTo>
                    <a:lnTo>
                      <a:pt x="369" y="453"/>
                    </a:lnTo>
                    <a:lnTo>
                      <a:pt x="369" y="452"/>
                    </a:lnTo>
                    <a:lnTo>
                      <a:pt x="368" y="452"/>
                    </a:lnTo>
                    <a:lnTo>
                      <a:pt x="368" y="451"/>
                    </a:lnTo>
                    <a:lnTo>
                      <a:pt x="368" y="450"/>
                    </a:lnTo>
                    <a:lnTo>
                      <a:pt x="367" y="450"/>
                    </a:lnTo>
                    <a:lnTo>
                      <a:pt x="367" y="449"/>
                    </a:lnTo>
                    <a:lnTo>
                      <a:pt x="368" y="449"/>
                    </a:lnTo>
                    <a:lnTo>
                      <a:pt x="368" y="448"/>
                    </a:lnTo>
                    <a:lnTo>
                      <a:pt x="367" y="448"/>
                    </a:lnTo>
                    <a:lnTo>
                      <a:pt x="368" y="448"/>
                    </a:lnTo>
                    <a:lnTo>
                      <a:pt x="367" y="447"/>
                    </a:lnTo>
                    <a:lnTo>
                      <a:pt x="368" y="447"/>
                    </a:lnTo>
                    <a:lnTo>
                      <a:pt x="368" y="446"/>
                    </a:lnTo>
                    <a:lnTo>
                      <a:pt x="368" y="444"/>
                    </a:lnTo>
                    <a:lnTo>
                      <a:pt x="368" y="443"/>
                    </a:lnTo>
                    <a:lnTo>
                      <a:pt x="367" y="443"/>
                    </a:lnTo>
                    <a:lnTo>
                      <a:pt x="365" y="443"/>
                    </a:lnTo>
                    <a:lnTo>
                      <a:pt x="365" y="442"/>
                    </a:lnTo>
                    <a:lnTo>
                      <a:pt x="364" y="442"/>
                    </a:lnTo>
                    <a:lnTo>
                      <a:pt x="363" y="441"/>
                    </a:lnTo>
                    <a:lnTo>
                      <a:pt x="364" y="440"/>
                    </a:lnTo>
                    <a:lnTo>
                      <a:pt x="365" y="439"/>
                    </a:lnTo>
                    <a:lnTo>
                      <a:pt x="367" y="439"/>
                    </a:lnTo>
                    <a:lnTo>
                      <a:pt x="367" y="438"/>
                    </a:lnTo>
                    <a:lnTo>
                      <a:pt x="368" y="438"/>
                    </a:lnTo>
                    <a:lnTo>
                      <a:pt x="368" y="437"/>
                    </a:lnTo>
                    <a:lnTo>
                      <a:pt x="368" y="436"/>
                    </a:lnTo>
                    <a:lnTo>
                      <a:pt x="368" y="435"/>
                    </a:lnTo>
                    <a:lnTo>
                      <a:pt x="367" y="434"/>
                    </a:lnTo>
                    <a:lnTo>
                      <a:pt x="368" y="433"/>
                    </a:lnTo>
                    <a:lnTo>
                      <a:pt x="367" y="433"/>
                    </a:lnTo>
                    <a:lnTo>
                      <a:pt x="368" y="433"/>
                    </a:lnTo>
                    <a:lnTo>
                      <a:pt x="368" y="431"/>
                    </a:lnTo>
                    <a:lnTo>
                      <a:pt x="367" y="431"/>
                    </a:lnTo>
                    <a:lnTo>
                      <a:pt x="368" y="431"/>
                    </a:lnTo>
                    <a:lnTo>
                      <a:pt x="367" y="430"/>
                    </a:lnTo>
                    <a:lnTo>
                      <a:pt x="367" y="429"/>
                    </a:lnTo>
                    <a:lnTo>
                      <a:pt x="367" y="428"/>
                    </a:lnTo>
                    <a:lnTo>
                      <a:pt x="365" y="427"/>
                    </a:lnTo>
                    <a:lnTo>
                      <a:pt x="364" y="427"/>
                    </a:lnTo>
                    <a:lnTo>
                      <a:pt x="364" y="428"/>
                    </a:lnTo>
                    <a:lnTo>
                      <a:pt x="364" y="427"/>
                    </a:lnTo>
                    <a:lnTo>
                      <a:pt x="364" y="426"/>
                    </a:lnTo>
                    <a:lnTo>
                      <a:pt x="365" y="426"/>
                    </a:lnTo>
                    <a:lnTo>
                      <a:pt x="364" y="426"/>
                    </a:lnTo>
                    <a:lnTo>
                      <a:pt x="364" y="425"/>
                    </a:lnTo>
                    <a:lnTo>
                      <a:pt x="364" y="424"/>
                    </a:lnTo>
                    <a:lnTo>
                      <a:pt x="363" y="423"/>
                    </a:lnTo>
                    <a:lnTo>
                      <a:pt x="363" y="422"/>
                    </a:lnTo>
                    <a:lnTo>
                      <a:pt x="362" y="422"/>
                    </a:lnTo>
                    <a:lnTo>
                      <a:pt x="362" y="421"/>
                    </a:lnTo>
                    <a:lnTo>
                      <a:pt x="363" y="421"/>
                    </a:lnTo>
                    <a:lnTo>
                      <a:pt x="363" y="420"/>
                    </a:lnTo>
                    <a:lnTo>
                      <a:pt x="363" y="421"/>
                    </a:lnTo>
                    <a:lnTo>
                      <a:pt x="363" y="420"/>
                    </a:lnTo>
                    <a:lnTo>
                      <a:pt x="362" y="418"/>
                    </a:lnTo>
                    <a:lnTo>
                      <a:pt x="362" y="417"/>
                    </a:lnTo>
                    <a:lnTo>
                      <a:pt x="362" y="416"/>
                    </a:lnTo>
                    <a:lnTo>
                      <a:pt x="362" y="417"/>
                    </a:lnTo>
                    <a:lnTo>
                      <a:pt x="363" y="416"/>
                    </a:lnTo>
                    <a:lnTo>
                      <a:pt x="362" y="416"/>
                    </a:lnTo>
                    <a:lnTo>
                      <a:pt x="362" y="415"/>
                    </a:lnTo>
                    <a:lnTo>
                      <a:pt x="362" y="414"/>
                    </a:lnTo>
                    <a:lnTo>
                      <a:pt x="361" y="414"/>
                    </a:lnTo>
                    <a:lnTo>
                      <a:pt x="361" y="413"/>
                    </a:lnTo>
                    <a:lnTo>
                      <a:pt x="361" y="412"/>
                    </a:lnTo>
                    <a:lnTo>
                      <a:pt x="360" y="412"/>
                    </a:lnTo>
                    <a:lnTo>
                      <a:pt x="358" y="411"/>
                    </a:lnTo>
                    <a:lnTo>
                      <a:pt x="358" y="410"/>
                    </a:lnTo>
                    <a:lnTo>
                      <a:pt x="354" y="408"/>
                    </a:lnTo>
                    <a:lnTo>
                      <a:pt x="352" y="406"/>
                    </a:lnTo>
                    <a:lnTo>
                      <a:pt x="348" y="404"/>
                    </a:lnTo>
                    <a:lnTo>
                      <a:pt x="347" y="404"/>
                    </a:lnTo>
                    <a:lnTo>
                      <a:pt x="345" y="403"/>
                    </a:lnTo>
                    <a:lnTo>
                      <a:pt x="344" y="403"/>
                    </a:lnTo>
                    <a:lnTo>
                      <a:pt x="343" y="403"/>
                    </a:lnTo>
                    <a:lnTo>
                      <a:pt x="341" y="403"/>
                    </a:lnTo>
                    <a:lnTo>
                      <a:pt x="342" y="402"/>
                    </a:lnTo>
                    <a:lnTo>
                      <a:pt x="342" y="401"/>
                    </a:lnTo>
                    <a:lnTo>
                      <a:pt x="343" y="401"/>
                    </a:lnTo>
                    <a:lnTo>
                      <a:pt x="342" y="400"/>
                    </a:lnTo>
                    <a:lnTo>
                      <a:pt x="342" y="401"/>
                    </a:lnTo>
                    <a:lnTo>
                      <a:pt x="341" y="402"/>
                    </a:lnTo>
                    <a:lnTo>
                      <a:pt x="341" y="403"/>
                    </a:lnTo>
                    <a:lnTo>
                      <a:pt x="339" y="403"/>
                    </a:lnTo>
                    <a:lnTo>
                      <a:pt x="338" y="402"/>
                    </a:lnTo>
                    <a:lnTo>
                      <a:pt x="337" y="401"/>
                    </a:lnTo>
                    <a:lnTo>
                      <a:pt x="336" y="400"/>
                    </a:lnTo>
                    <a:lnTo>
                      <a:pt x="337" y="400"/>
                    </a:lnTo>
                    <a:lnTo>
                      <a:pt x="336" y="400"/>
                    </a:lnTo>
                    <a:lnTo>
                      <a:pt x="336" y="399"/>
                    </a:lnTo>
                    <a:lnTo>
                      <a:pt x="335" y="398"/>
                    </a:lnTo>
                    <a:lnTo>
                      <a:pt x="335" y="397"/>
                    </a:lnTo>
                    <a:lnTo>
                      <a:pt x="334" y="397"/>
                    </a:lnTo>
                    <a:lnTo>
                      <a:pt x="335" y="398"/>
                    </a:lnTo>
                    <a:lnTo>
                      <a:pt x="334" y="397"/>
                    </a:lnTo>
                    <a:lnTo>
                      <a:pt x="336" y="396"/>
                    </a:lnTo>
                    <a:lnTo>
                      <a:pt x="336" y="395"/>
                    </a:lnTo>
                    <a:lnTo>
                      <a:pt x="336" y="393"/>
                    </a:lnTo>
                    <a:lnTo>
                      <a:pt x="336" y="395"/>
                    </a:lnTo>
                    <a:lnTo>
                      <a:pt x="335" y="396"/>
                    </a:lnTo>
                    <a:lnTo>
                      <a:pt x="334" y="397"/>
                    </a:lnTo>
                    <a:lnTo>
                      <a:pt x="333" y="396"/>
                    </a:lnTo>
                    <a:lnTo>
                      <a:pt x="333" y="395"/>
                    </a:lnTo>
                    <a:lnTo>
                      <a:pt x="332" y="395"/>
                    </a:lnTo>
                    <a:lnTo>
                      <a:pt x="331" y="393"/>
                    </a:lnTo>
                    <a:lnTo>
                      <a:pt x="330" y="392"/>
                    </a:lnTo>
                    <a:lnTo>
                      <a:pt x="330" y="391"/>
                    </a:lnTo>
                    <a:lnTo>
                      <a:pt x="329" y="391"/>
                    </a:lnTo>
                    <a:lnTo>
                      <a:pt x="329" y="390"/>
                    </a:lnTo>
                    <a:lnTo>
                      <a:pt x="328" y="390"/>
                    </a:lnTo>
                    <a:lnTo>
                      <a:pt x="328" y="389"/>
                    </a:lnTo>
                    <a:lnTo>
                      <a:pt x="329" y="390"/>
                    </a:lnTo>
                    <a:lnTo>
                      <a:pt x="330" y="388"/>
                    </a:lnTo>
                    <a:lnTo>
                      <a:pt x="329" y="388"/>
                    </a:lnTo>
                    <a:lnTo>
                      <a:pt x="329" y="387"/>
                    </a:lnTo>
                    <a:lnTo>
                      <a:pt x="328" y="387"/>
                    </a:lnTo>
                    <a:lnTo>
                      <a:pt x="328" y="388"/>
                    </a:lnTo>
                    <a:lnTo>
                      <a:pt x="328" y="387"/>
                    </a:lnTo>
                    <a:lnTo>
                      <a:pt x="326" y="387"/>
                    </a:lnTo>
                    <a:lnTo>
                      <a:pt x="326" y="388"/>
                    </a:lnTo>
                    <a:lnTo>
                      <a:pt x="326" y="389"/>
                    </a:lnTo>
                    <a:lnTo>
                      <a:pt x="325" y="389"/>
                    </a:lnTo>
                    <a:lnTo>
                      <a:pt x="324" y="389"/>
                    </a:lnTo>
                    <a:lnTo>
                      <a:pt x="323" y="389"/>
                    </a:lnTo>
                    <a:lnTo>
                      <a:pt x="323" y="388"/>
                    </a:lnTo>
                    <a:lnTo>
                      <a:pt x="322" y="388"/>
                    </a:lnTo>
                    <a:lnTo>
                      <a:pt x="321" y="388"/>
                    </a:lnTo>
                    <a:lnTo>
                      <a:pt x="320" y="388"/>
                    </a:lnTo>
                    <a:lnTo>
                      <a:pt x="320" y="387"/>
                    </a:lnTo>
                    <a:lnTo>
                      <a:pt x="319" y="386"/>
                    </a:lnTo>
                    <a:lnTo>
                      <a:pt x="319" y="385"/>
                    </a:lnTo>
                    <a:lnTo>
                      <a:pt x="318" y="385"/>
                    </a:lnTo>
                    <a:lnTo>
                      <a:pt x="317" y="385"/>
                    </a:lnTo>
                    <a:lnTo>
                      <a:pt x="316" y="385"/>
                    </a:lnTo>
                    <a:lnTo>
                      <a:pt x="315" y="384"/>
                    </a:lnTo>
                    <a:lnTo>
                      <a:pt x="313" y="384"/>
                    </a:lnTo>
                    <a:lnTo>
                      <a:pt x="313" y="383"/>
                    </a:lnTo>
                    <a:lnTo>
                      <a:pt x="315" y="383"/>
                    </a:lnTo>
                    <a:lnTo>
                      <a:pt x="315" y="382"/>
                    </a:lnTo>
                    <a:lnTo>
                      <a:pt x="313" y="382"/>
                    </a:lnTo>
                    <a:lnTo>
                      <a:pt x="313" y="383"/>
                    </a:lnTo>
                    <a:lnTo>
                      <a:pt x="312" y="383"/>
                    </a:lnTo>
                    <a:lnTo>
                      <a:pt x="310" y="383"/>
                    </a:lnTo>
                    <a:lnTo>
                      <a:pt x="311" y="383"/>
                    </a:lnTo>
                    <a:lnTo>
                      <a:pt x="311" y="382"/>
                    </a:lnTo>
                    <a:lnTo>
                      <a:pt x="310" y="382"/>
                    </a:lnTo>
                    <a:lnTo>
                      <a:pt x="310" y="383"/>
                    </a:lnTo>
                    <a:lnTo>
                      <a:pt x="310" y="382"/>
                    </a:lnTo>
                    <a:lnTo>
                      <a:pt x="310" y="383"/>
                    </a:lnTo>
                    <a:lnTo>
                      <a:pt x="307" y="382"/>
                    </a:lnTo>
                    <a:lnTo>
                      <a:pt x="306" y="382"/>
                    </a:lnTo>
                    <a:lnTo>
                      <a:pt x="306" y="380"/>
                    </a:lnTo>
                    <a:lnTo>
                      <a:pt x="304" y="380"/>
                    </a:lnTo>
                    <a:lnTo>
                      <a:pt x="303" y="379"/>
                    </a:lnTo>
                    <a:lnTo>
                      <a:pt x="299" y="379"/>
                    </a:lnTo>
                    <a:lnTo>
                      <a:pt x="297" y="378"/>
                    </a:lnTo>
                    <a:lnTo>
                      <a:pt x="295" y="377"/>
                    </a:lnTo>
                    <a:lnTo>
                      <a:pt x="294" y="378"/>
                    </a:lnTo>
                    <a:lnTo>
                      <a:pt x="295" y="378"/>
                    </a:lnTo>
                    <a:lnTo>
                      <a:pt x="300" y="380"/>
                    </a:lnTo>
                    <a:lnTo>
                      <a:pt x="300" y="382"/>
                    </a:lnTo>
                    <a:lnTo>
                      <a:pt x="297" y="385"/>
                    </a:lnTo>
                    <a:lnTo>
                      <a:pt x="295" y="387"/>
                    </a:lnTo>
                    <a:lnTo>
                      <a:pt x="294" y="387"/>
                    </a:lnTo>
                    <a:lnTo>
                      <a:pt x="294" y="386"/>
                    </a:lnTo>
                    <a:lnTo>
                      <a:pt x="294" y="385"/>
                    </a:lnTo>
                    <a:lnTo>
                      <a:pt x="293" y="385"/>
                    </a:lnTo>
                    <a:lnTo>
                      <a:pt x="293" y="384"/>
                    </a:lnTo>
                    <a:lnTo>
                      <a:pt x="293" y="382"/>
                    </a:lnTo>
                    <a:lnTo>
                      <a:pt x="293" y="380"/>
                    </a:lnTo>
                    <a:lnTo>
                      <a:pt x="292" y="380"/>
                    </a:lnTo>
                    <a:lnTo>
                      <a:pt x="292" y="379"/>
                    </a:lnTo>
                    <a:lnTo>
                      <a:pt x="292" y="378"/>
                    </a:lnTo>
                    <a:lnTo>
                      <a:pt x="292" y="377"/>
                    </a:lnTo>
                    <a:lnTo>
                      <a:pt x="292" y="376"/>
                    </a:lnTo>
                    <a:lnTo>
                      <a:pt x="291" y="375"/>
                    </a:lnTo>
                    <a:lnTo>
                      <a:pt x="291" y="374"/>
                    </a:lnTo>
                    <a:lnTo>
                      <a:pt x="291" y="373"/>
                    </a:lnTo>
                    <a:lnTo>
                      <a:pt x="291" y="372"/>
                    </a:lnTo>
                    <a:lnTo>
                      <a:pt x="290" y="372"/>
                    </a:lnTo>
                    <a:lnTo>
                      <a:pt x="290" y="371"/>
                    </a:lnTo>
                    <a:lnTo>
                      <a:pt x="290" y="370"/>
                    </a:lnTo>
                    <a:lnTo>
                      <a:pt x="289" y="371"/>
                    </a:lnTo>
                    <a:lnTo>
                      <a:pt x="289" y="372"/>
                    </a:lnTo>
                    <a:lnTo>
                      <a:pt x="290" y="372"/>
                    </a:lnTo>
                    <a:lnTo>
                      <a:pt x="290" y="373"/>
                    </a:lnTo>
                    <a:lnTo>
                      <a:pt x="290" y="374"/>
                    </a:lnTo>
                    <a:lnTo>
                      <a:pt x="290" y="373"/>
                    </a:lnTo>
                    <a:lnTo>
                      <a:pt x="289" y="373"/>
                    </a:lnTo>
                    <a:lnTo>
                      <a:pt x="289" y="372"/>
                    </a:lnTo>
                    <a:lnTo>
                      <a:pt x="287" y="372"/>
                    </a:lnTo>
                    <a:lnTo>
                      <a:pt x="289" y="372"/>
                    </a:lnTo>
                    <a:lnTo>
                      <a:pt x="289" y="371"/>
                    </a:lnTo>
                    <a:lnTo>
                      <a:pt x="287" y="370"/>
                    </a:lnTo>
                    <a:lnTo>
                      <a:pt x="287" y="369"/>
                    </a:lnTo>
                    <a:lnTo>
                      <a:pt x="286" y="369"/>
                    </a:lnTo>
                    <a:lnTo>
                      <a:pt x="287" y="373"/>
                    </a:lnTo>
                    <a:lnTo>
                      <a:pt x="286" y="370"/>
                    </a:lnTo>
                    <a:lnTo>
                      <a:pt x="285" y="370"/>
                    </a:lnTo>
                    <a:lnTo>
                      <a:pt x="287" y="369"/>
                    </a:lnTo>
                    <a:lnTo>
                      <a:pt x="287" y="367"/>
                    </a:lnTo>
                    <a:lnTo>
                      <a:pt x="287" y="366"/>
                    </a:lnTo>
                    <a:lnTo>
                      <a:pt x="286" y="366"/>
                    </a:lnTo>
                    <a:lnTo>
                      <a:pt x="286" y="365"/>
                    </a:lnTo>
                    <a:lnTo>
                      <a:pt x="286" y="364"/>
                    </a:lnTo>
                    <a:lnTo>
                      <a:pt x="286" y="365"/>
                    </a:lnTo>
                    <a:lnTo>
                      <a:pt x="286" y="364"/>
                    </a:lnTo>
                    <a:lnTo>
                      <a:pt x="285" y="365"/>
                    </a:lnTo>
                    <a:lnTo>
                      <a:pt x="285" y="364"/>
                    </a:lnTo>
                    <a:lnTo>
                      <a:pt x="284" y="364"/>
                    </a:lnTo>
                    <a:lnTo>
                      <a:pt x="284" y="363"/>
                    </a:lnTo>
                    <a:lnTo>
                      <a:pt x="283" y="363"/>
                    </a:lnTo>
                    <a:lnTo>
                      <a:pt x="283" y="364"/>
                    </a:lnTo>
                    <a:lnTo>
                      <a:pt x="282" y="364"/>
                    </a:lnTo>
                    <a:lnTo>
                      <a:pt x="282" y="363"/>
                    </a:lnTo>
                    <a:lnTo>
                      <a:pt x="281" y="363"/>
                    </a:lnTo>
                    <a:lnTo>
                      <a:pt x="281" y="362"/>
                    </a:lnTo>
                    <a:lnTo>
                      <a:pt x="281" y="361"/>
                    </a:lnTo>
                    <a:lnTo>
                      <a:pt x="280" y="361"/>
                    </a:lnTo>
                    <a:lnTo>
                      <a:pt x="280" y="362"/>
                    </a:lnTo>
                    <a:lnTo>
                      <a:pt x="280" y="361"/>
                    </a:lnTo>
                    <a:lnTo>
                      <a:pt x="279" y="361"/>
                    </a:lnTo>
                    <a:lnTo>
                      <a:pt x="278" y="361"/>
                    </a:lnTo>
                    <a:lnTo>
                      <a:pt x="278" y="360"/>
                    </a:lnTo>
                    <a:lnTo>
                      <a:pt x="278" y="359"/>
                    </a:lnTo>
                    <a:lnTo>
                      <a:pt x="277" y="359"/>
                    </a:lnTo>
                    <a:lnTo>
                      <a:pt x="276" y="359"/>
                    </a:lnTo>
                    <a:lnTo>
                      <a:pt x="276" y="358"/>
                    </a:lnTo>
                    <a:lnTo>
                      <a:pt x="274" y="358"/>
                    </a:lnTo>
                    <a:lnTo>
                      <a:pt x="274" y="357"/>
                    </a:lnTo>
                    <a:lnTo>
                      <a:pt x="276" y="357"/>
                    </a:lnTo>
                    <a:lnTo>
                      <a:pt x="276" y="356"/>
                    </a:lnTo>
                    <a:lnTo>
                      <a:pt x="276" y="357"/>
                    </a:lnTo>
                    <a:lnTo>
                      <a:pt x="276" y="356"/>
                    </a:lnTo>
                    <a:lnTo>
                      <a:pt x="274" y="356"/>
                    </a:lnTo>
                    <a:lnTo>
                      <a:pt x="274" y="354"/>
                    </a:lnTo>
                    <a:lnTo>
                      <a:pt x="274" y="356"/>
                    </a:lnTo>
                    <a:lnTo>
                      <a:pt x="273" y="356"/>
                    </a:lnTo>
                    <a:lnTo>
                      <a:pt x="273" y="354"/>
                    </a:lnTo>
                    <a:lnTo>
                      <a:pt x="273" y="356"/>
                    </a:lnTo>
                    <a:lnTo>
                      <a:pt x="274" y="356"/>
                    </a:lnTo>
                    <a:lnTo>
                      <a:pt x="273" y="356"/>
                    </a:lnTo>
                    <a:lnTo>
                      <a:pt x="273" y="357"/>
                    </a:lnTo>
                    <a:lnTo>
                      <a:pt x="272" y="357"/>
                    </a:lnTo>
                    <a:lnTo>
                      <a:pt x="272" y="358"/>
                    </a:lnTo>
                    <a:lnTo>
                      <a:pt x="273" y="358"/>
                    </a:lnTo>
                    <a:lnTo>
                      <a:pt x="273" y="357"/>
                    </a:lnTo>
                    <a:lnTo>
                      <a:pt x="273" y="358"/>
                    </a:lnTo>
                    <a:lnTo>
                      <a:pt x="274" y="358"/>
                    </a:lnTo>
                    <a:lnTo>
                      <a:pt x="273" y="358"/>
                    </a:lnTo>
                    <a:lnTo>
                      <a:pt x="274" y="358"/>
                    </a:lnTo>
                    <a:lnTo>
                      <a:pt x="274" y="359"/>
                    </a:lnTo>
                    <a:lnTo>
                      <a:pt x="273" y="359"/>
                    </a:lnTo>
                    <a:lnTo>
                      <a:pt x="273" y="358"/>
                    </a:lnTo>
                    <a:lnTo>
                      <a:pt x="274" y="358"/>
                    </a:lnTo>
                    <a:lnTo>
                      <a:pt x="273" y="358"/>
                    </a:lnTo>
                    <a:lnTo>
                      <a:pt x="272" y="358"/>
                    </a:lnTo>
                    <a:lnTo>
                      <a:pt x="271" y="358"/>
                    </a:lnTo>
                    <a:lnTo>
                      <a:pt x="270" y="358"/>
                    </a:lnTo>
                    <a:lnTo>
                      <a:pt x="269" y="358"/>
                    </a:lnTo>
                    <a:lnTo>
                      <a:pt x="268" y="358"/>
                    </a:lnTo>
                    <a:lnTo>
                      <a:pt x="268" y="357"/>
                    </a:lnTo>
                    <a:lnTo>
                      <a:pt x="268" y="356"/>
                    </a:lnTo>
                    <a:lnTo>
                      <a:pt x="268" y="354"/>
                    </a:lnTo>
                    <a:lnTo>
                      <a:pt x="267" y="354"/>
                    </a:lnTo>
                    <a:lnTo>
                      <a:pt x="267" y="353"/>
                    </a:lnTo>
                    <a:lnTo>
                      <a:pt x="266" y="353"/>
                    </a:lnTo>
                    <a:lnTo>
                      <a:pt x="266" y="352"/>
                    </a:lnTo>
                    <a:lnTo>
                      <a:pt x="266" y="351"/>
                    </a:lnTo>
                    <a:lnTo>
                      <a:pt x="265" y="351"/>
                    </a:lnTo>
                    <a:lnTo>
                      <a:pt x="264" y="351"/>
                    </a:lnTo>
                    <a:lnTo>
                      <a:pt x="264" y="350"/>
                    </a:lnTo>
                    <a:lnTo>
                      <a:pt x="265" y="351"/>
                    </a:lnTo>
                    <a:lnTo>
                      <a:pt x="265" y="350"/>
                    </a:lnTo>
                    <a:lnTo>
                      <a:pt x="266" y="351"/>
                    </a:lnTo>
                    <a:lnTo>
                      <a:pt x="267" y="351"/>
                    </a:lnTo>
                    <a:lnTo>
                      <a:pt x="264" y="349"/>
                    </a:lnTo>
                    <a:lnTo>
                      <a:pt x="262" y="349"/>
                    </a:lnTo>
                    <a:lnTo>
                      <a:pt x="264" y="349"/>
                    </a:lnTo>
                    <a:lnTo>
                      <a:pt x="262" y="349"/>
                    </a:lnTo>
                    <a:lnTo>
                      <a:pt x="262" y="350"/>
                    </a:lnTo>
                    <a:lnTo>
                      <a:pt x="264" y="350"/>
                    </a:lnTo>
                    <a:lnTo>
                      <a:pt x="262" y="350"/>
                    </a:lnTo>
                    <a:lnTo>
                      <a:pt x="262" y="349"/>
                    </a:lnTo>
                    <a:lnTo>
                      <a:pt x="261" y="348"/>
                    </a:lnTo>
                    <a:lnTo>
                      <a:pt x="260" y="348"/>
                    </a:lnTo>
                    <a:lnTo>
                      <a:pt x="260" y="349"/>
                    </a:lnTo>
                    <a:lnTo>
                      <a:pt x="259" y="349"/>
                    </a:lnTo>
                    <a:lnTo>
                      <a:pt x="260" y="350"/>
                    </a:lnTo>
                    <a:lnTo>
                      <a:pt x="259" y="350"/>
                    </a:lnTo>
                    <a:lnTo>
                      <a:pt x="259" y="349"/>
                    </a:lnTo>
                    <a:lnTo>
                      <a:pt x="259" y="350"/>
                    </a:lnTo>
                    <a:lnTo>
                      <a:pt x="258" y="351"/>
                    </a:lnTo>
                    <a:lnTo>
                      <a:pt x="259" y="351"/>
                    </a:lnTo>
                    <a:lnTo>
                      <a:pt x="259" y="352"/>
                    </a:lnTo>
                    <a:lnTo>
                      <a:pt x="259" y="353"/>
                    </a:lnTo>
                    <a:lnTo>
                      <a:pt x="259" y="354"/>
                    </a:lnTo>
                    <a:lnTo>
                      <a:pt x="258" y="356"/>
                    </a:lnTo>
                    <a:lnTo>
                      <a:pt x="258" y="357"/>
                    </a:lnTo>
                    <a:lnTo>
                      <a:pt x="259" y="357"/>
                    </a:lnTo>
                    <a:lnTo>
                      <a:pt x="259" y="358"/>
                    </a:lnTo>
                    <a:lnTo>
                      <a:pt x="259" y="359"/>
                    </a:lnTo>
                    <a:lnTo>
                      <a:pt x="260" y="359"/>
                    </a:lnTo>
                    <a:lnTo>
                      <a:pt x="260" y="360"/>
                    </a:lnTo>
                    <a:lnTo>
                      <a:pt x="260" y="361"/>
                    </a:lnTo>
                    <a:lnTo>
                      <a:pt x="261" y="362"/>
                    </a:lnTo>
                    <a:lnTo>
                      <a:pt x="259" y="362"/>
                    </a:lnTo>
                    <a:lnTo>
                      <a:pt x="258" y="362"/>
                    </a:lnTo>
                    <a:lnTo>
                      <a:pt x="257" y="362"/>
                    </a:lnTo>
                    <a:lnTo>
                      <a:pt x="257" y="361"/>
                    </a:lnTo>
                    <a:lnTo>
                      <a:pt x="257" y="360"/>
                    </a:lnTo>
                    <a:lnTo>
                      <a:pt x="256" y="360"/>
                    </a:lnTo>
                    <a:lnTo>
                      <a:pt x="255" y="361"/>
                    </a:lnTo>
                    <a:lnTo>
                      <a:pt x="255" y="360"/>
                    </a:lnTo>
                    <a:lnTo>
                      <a:pt x="254" y="360"/>
                    </a:lnTo>
                    <a:lnTo>
                      <a:pt x="254" y="361"/>
                    </a:lnTo>
                    <a:lnTo>
                      <a:pt x="255" y="361"/>
                    </a:lnTo>
                    <a:lnTo>
                      <a:pt x="256" y="361"/>
                    </a:lnTo>
                    <a:lnTo>
                      <a:pt x="256" y="362"/>
                    </a:lnTo>
                    <a:lnTo>
                      <a:pt x="257" y="362"/>
                    </a:lnTo>
                    <a:lnTo>
                      <a:pt x="256" y="362"/>
                    </a:lnTo>
                    <a:lnTo>
                      <a:pt x="255" y="362"/>
                    </a:lnTo>
                    <a:lnTo>
                      <a:pt x="254" y="363"/>
                    </a:lnTo>
                    <a:lnTo>
                      <a:pt x="253" y="362"/>
                    </a:lnTo>
                    <a:lnTo>
                      <a:pt x="253" y="363"/>
                    </a:lnTo>
                    <a:lnTo>
                      <a:pt x="253" y="362"/>
                    </a:lnTo>
                    <a:lnTo>
                      <a:pt x="254" y="362"/>
                    </a:lnTo>
                    <a:lnTo>
                      <a:pt x="253" y="362"/>
                    </a:lnTo>
                    <a:lnTo>
                      <a:pt x="253" y="363"/>
                    </a:lnTo>
                    <a:lnTo>
                      <a:pt x="253" y="362"/>
                    </a:lnTo>
                    <a:lnTo>
                      <a:pt x="252" y="362"/>
                    </a:lnTo>
                    <a:lnTo>
                      <a:pt x="252" y="361"/>
                    </a:lnTo>
                    <a:lnTo>
                      <a:pt x="252" y="362"/>
                    </a:lnTo>
                    <a:lnTo>
                      <a:pt x="251" y="362"/>
                    </a:lnTo>
                    <a:lnTo>
                      <a:pt x="252" y="362"/>
                    </a:lnTo>
                    <a:lnTo>
                      <a:pt x="252" y="363"/>
                    </a:lnTo>
                    <a:lnTo>
                      <a:pt x="252" y="362"/>
                    </a:lnTo>
                    <a:lnTo>
                      <a:pt x="251" y="362"/>
                    </a:lnTo>
                    <a:lnTo>
                      <a:pt x="249" y="363"/>
                    </a:lnTo>
                    <a:lnTo>
                      <a:pt x="249" y="362"/>
                    </a:lnTo>
                    <a:lnTo>
                      <a:pt x="248" y="362"/>
                    </a:lnTo>
                    <a:lnTo>
                      <a:pt x="247" y="362"/>
                    </a:lnTo>
                    <a:lnTo>
                      <a:pt x="247" y="361"/>
                    </a:lnTo>
                    <a:lnTo>
                      <a:pt x="246" y="361"/>
                    </a:lnTo>
                    <a:lnTo>
                      <a:pt x="246" y="360"/>
                    </a:lnTo>
                    <a:lnTo>
                      <a:pt x="246" y="359"/>
                    </a:lnTo>
                    <a:lnTo>
                      <a:pt x="245" y="359"/>
                    </a:lnTo>
                    <a:lnTo>
                      <a:pt x="245" y="358"/>
                    </a:lnTo>
                    <a:lnTo>
                      <a:pt x="245" y="359"/>
                    </a:lnTo>
                    <a:lnTo>
                      <a:pt x="244" y="359"/>
                    </a:lnTo>
                    <a:lnTo>
                      <a:pt x="244" y="360"/>
                    </a:lnTo>
                    <a:lnTo>
                      <a:pt x="244" y="361"/>
                    </a:lnTo>
                    <a:lnTo>
                      <a:pt x="244" y="360"/>
                    </a:lnTo>
                    <a:lnTo>
                      <a:pt x="243" y="360"/>
                    </a:lnTo>
                    <a:lnTo>
                      <a:pt x="242" y="360"/>
                    </a:lnTo>
                    <a:lnTo>
                      <a:pt x="241" y="361"/>
                    </a:lnTo>
                    <a:lnTo>
                      <a:pt x="240" y="360"/>
                    </a:lnTo>
                    <a:lnTo>
                      <a:pt x="239" y="360"/>
                    </a:lnTo>
                    <a:lnTo>
                      <a:pt x="239" y="361"/>
                    </a:lnTo>
                    <a:lnTo>
                      <a:pt x="238" y="360"/>
                    </a:lnTo>
                    <a:lnTo>
                      <a:pt x="236" y="361"/>
                    </a:lnTo>
                    <a:lnTo>
                      <a:pt x="236" y="360"/>
                    </a:lnTo>
                    <a:lnTo>
                      <a:pt x="235" y="360"/>
                    </a:lnTo>
                    <a:lnTo>
                      <a:pt x="234" y="360"/>
                    </a:lnTo>
                    <a:lnTo>
                      <a:pt x="234" y="361"/>
                    </a:lnTo>
                    <a:lnTo>
                      <a:pt x="233" y="361"/>
                    </a:lnTo>
                    <a:lnTo>
                      <a:pt x="232" y="361"/>
                    </a:lnTo>
                    <a:lnTo>
                      <a:pt x="231" y="361"/>
                    </a:lnTo>
                    <a:lnTo>
                      <a:pt x="230" y="361"/>
                    </a:lnTo>
                    <a:lnTo>
                      <a:pt x="231" y="361"/>
                    </a:lnTo>
                    <a:lnTo>
                      <a:pt x="230" y="361"/>
                    </a:lnTo>
                    <a:lnTo>
                      <a:pt x="230" y="362"/>
                    </a:lnTo>
                    <a:lnTo>
                      <a:pt x="229" y="362"/>
                    </a:lnTo>
                    <a:lnTo>
                      <a:pt x="229" y="361"/>
                    </a:lnTo>
                    <a:lnTo>
                      <a:pt x="229" y="362"/>
                    </a:lnTo>
                    <a:lnTo>
                      <a:pt x="228" y="361"/>
                    </a:lnTo>
                    <a:lnTo>
                      <a:pt x="227" y="360"/>
                    </a:lnTo>
                    <a:lnTo>
                      <a:pt x="226" y="359"/>
                    </a:lnTo>
                    <a:lnTo>
                      <a:pt x="226" y="360"/>
                    </a:lnTo>
                    <a:lnTo>
                      <a:pt x="227" y="360"/>
                    </a:lnTo>
                    <a:lnTo>
                      <a:pt x="228" y="361"/>
                    </a:lnTo>
                    <a:lnTo>
                      <a:pt x="228" y="362"/>
                    </a:lnTo>
                    <a:lnTo>
                      <a:pt x="226" y="362"/>
                    </a:lnTo>
                    <a:lnTo>
                      <a:pt x="225" y="362"/>
                    </a:lnTo>
                    <a:lnTo>
                      <a:pt x="223" y="363"/>
                    </a:lnTo>
                    <a:lnTo>
                      <a:pt x="222" y="363"/>
                    </a:lnTo>
                    <a:lnTo>
                      <a:pt x="220" y="364"/>
                    </a:lnTo>
                    <a:lnTo>
                      <a:pt x="219" y="363"/>
                    </a:lnTo>
                    <a:lnTo>
                      <a:pt x="218" y="363"/>
                    </a:lnTo>
                    <a:lnTo>
                      <a:pt x="217" y="363"/>
                    </a:lnTo>
                    <a:lnTo>
                      <a:pt x="216" y="363"/>
                    </a:lnTo>
                    <a:lnTo>
                      <a:pt x="216" y="362"/>
                    </a:lnTo>
                    <a:lnTo>
                      <a:pt x="215" y="362"/>
                    </a:lnTo>
                    <a:lnTo>
                      <a:pt x="215" y="363"/>
                    </a:lnTo>
                    <a:lnTo>
                      <a:pt x="214" y="362"/>
                    </a:lnTo>
                    <a:lnTo>
                      <a:pt x="213" y="362"/>
                    </a:lnTo>
                    <a:lnTo>
                      <a:pt x="213" y="361"/>
                    </a:lnTo>
                    <a:lnTo>
                      <a:pt x="213" y="360"/>
                    </a:lnTo>
                    <a:lnTo>
                      <a:pt x="214" y="360"/>
                    </a:lnTo>
                    <a:lnTo>
                      <a:pt x="214" y="359"/>
                    </a:lnTo>
                    <a:lnTo>
                      <a:pt x="214" y="358"/>
                    </a:lnTo>
                    <a:lnTo>
                      <a:pt x="214" y="359"/>
                    </a:lnTo>
                    <a:lnTo>
                      <a:pt x="214" y="360"/>
                    </a:lnTo>
                    <a:lnTo>
                      <a:pt x="215" y="360"/>
                    </a:lnTo>
                    <a:lnTo>
                      <a:pt x="215" y="359"/>
                    </a:lnTo>
                    <a:lnTo>
                      <a:pt x="215" y="358"/>
                    </a:lnTo>
                    <a:lnTo>
                      <a:pt x="215" y="357"/>
                    </a:lnTo>
                    <a:lnTo>
                      <a:pt x="215" y="356"/>
                    </a:lnTo>
                    <a:lnTo>
                      <a:pt x="214" y="356"/>
                    </a:lnTo>
                    <a:lnTo>
                      <a:pt x="214" y="354"/>
                    </a:lnTo>
                    <a:lnTo>
                      <a:pt x="214" y="353"/>
                    </a:lnTo>
                    <a:lnTo>
                      <a:pt x="214" y="354"/>
                    </a:lnTo>
                    <a:lnTo>
                      <a:pt x="213" y="354"/>
                    </a:lnTo>
                    <a:lnTo>
                      <a:pt x="213" y="353"/>
                    </a:lnTo>
                    <a:lnTo>
                      <a:pt x="212" y="352"/>
                    </a:lnTo>
                    <a:lnTo>
                      <a:pt x="212" y="353"/>
                    </a:lnTo>
                    <a:lnTo>
                      <a:pt x="212" y="354"/>
                    </a:lnTo>
                    <a:lnTo>
                      <a:pt x="212" y="353"/>
                    </a:lnTo>
                    <a:lnTo>
                      <a:pt x="210" y="353"/>
                    </a:lnTo>
                    <a:lnTo>
                      <a:pt x="210" y="352"/>
                    </a:lnTo>
                    <a:lnTo>
                      <a:pt x="210" y="353"/>
                    </a:lnTo>
                    <a:lnTo>
                      <a:pt x="209" y="353"/>
                    </a:lnTo>
                    <a:lnTo>
                      <a:pt x="209" y="352"/>
                    </a:lnTo>
                    <a:lnTo>
                      <a:pt x="208" y="351"/>
                    </a:lnTo>
                    <a:lnTo>
                      <a:pt x="209" y="351"/>
                    </a:lnTo>
                    <a:lnTo>
                      <a:pt x="208" y="351"/>
                    </a:lnTo>
                    <a:lnTo>
                      <a:pt x="208" y="350"/>
                    </a:lnTo>
                    <a:lnTo>
                      <a:pt x="208" y="349"/>
                    </a:lnTo>
                    <a:lnTo>
                      <a:pt x="208" y="348"/>
                    </a:lnTo>
                    <a:lnTo>
                      <a:pt x="207" y="347"/>
                    </a:lnTo>
                    <a:lnTo>
                      <a:pt x="208" y="347"/>
                    </a:lnTo>
                    <a:lnTo>
                      <a:pt x="207" y="347"/>
                    </a:lnTo>
                    <a:lnTo>
                      <a:pt x="206" y="347"/>
                    </a:lnTo>
                    <a:lnTo>
                      <a:pt x="206" y="346"/>
                    </a:lnTo>
                    <a:lnTo>
                      <a:pt x="205" y="346"/>
                    </a:lnTo>
                    <a:lnTo>
                      <a:pt x="205" y="345"/>
                    </a:lnTo>
                    <a:lnTo>
                      <a:pt x="206" y="345"/>
                    </a:lnTo>
                    <a:lnTo>
                      <a:pt x="205" y="345"/>
                    </a:lnTo>
                    <a:lnTo>
                      <a:pt x="206" y="345"/>
                    </a:lnTo>
                    <a:lnTo>
                      <a:pt x="206" y="344"/>
                    </a:lnTo>
                    <a:lnTo>
                      <a:pt x="206" y="343"/>
                    </a:lnTo>
                    <a:lnTo>
                      <a:pt x="207" y="343"/>
                    </a:lnTo>
                    <a:lnTo>
                      <a:pt x="207" y="341"/>
                    </a:lnTo>
                    <a:lnTo>
                      <a:pt x="206" y="341"/>
                    </a:lnTo>
                    <a:lnTo>
                      <a:pt x="206" y="340"/>
                    </a:lnTo>
                    <a:lnTo>
                      <a:pt x="205" y="339"/>
                    </a:lnTo>
                    <a:lnTo>
                      <a:pt x="204" y="339"/>
                    </a:lnTo>
                    <a:lnTo>
                      <a:pt x="204" y="340"/>
                    </a:lnTo>
                    <a:lnTo>
                      <a:pt x="203" y="341"/>
                    </a:lnTo>
                    <a:lnTo>
                      <a:pt x="203" y="343"/>
                    </a:lnTo>
                    <a:lnTo>
                      <a:pt x="203" y="344"/>
                    </a:lnTo>
                    <a:lnTo>
                      <a:pt x="202" y="344"/>
                    </a:lnTo>
                    <a:lnTo>
                      <a:pt x="203" y="344"/>
                    </a:lnTo>
                    <a:lnTo>
                      <a:pt x="202" y="345"/>
                    </a:lnTo>
                    <a:lnTo>
                      <a:pt x="202" y="346"/>
                    </a:lnTo>
                    <a:lnTo>
                      <a:pt x="201" y="346"/>
                    </a:lnTo>
                    <a:lnTo>
                      <a:pt x="201" y="345"/>
                    </a:lnTo>
                    <a:lnTo>
                      <a:pt x="200" y="346"/>
                    </a:lnTo>
                    <a:lnTo>
                      <a:pt x="200" y="348"/>
                    </a:lnTo>
                    <a:lnTo>
                      <a:pt x="199" y="348"/>
                    </a:lnTo>
                    <a:lnTo>
                      <a:pt x="199" y="349"/>
                    </a:lnTo>
                    <a:lnTo>
                      <a:pt x="197" y="350"/>
                    </a:lnTo>
                    <a:lnTo>
                      <a:pt x="197" y="351"/>
                    </a:lnTo>
                    <a:lnTo>
                      <a:pt x="196" y="351"/>
                    </a:lnTo>
                    <a:lnTo>
                      <a:pt x="197" y="351"/>
                    </a:lnTo>
                    <a:lnTo>
                      <a:pt x="197" y="350"/>
                    </a:lnTo>
                    <a:lnTo>
                      <a:pt x="196" y="350"/>
                    </a:lnTo>
                    <a:lnTo>
                      <a:pt x="195" y="350"/>
                    </a:lnTo>
                    <a:lnTo>
                      <a:pt x="195" y="349"/>
                    </a:lnTo>
                    <a:lnTo>
                      <a:pt x="195" y="350"/>
                    </a:lnTo>
                    <a:lnTo>
                      <a:pt x="195" y="349"/>
                    </a:lnTo>
                    <a:lnTo>
                      <a:pt x="196" y="349"/>
                    </a:lnTo>
                    <a:lnTo>
                      <a:pt x="195" y="349"/>
                    </a:lnTo>
                    <a:lnTo>
                      <a:pt x="196" y="349"/>
                    </a:lnTo>
                    <a:lnTo>
                      <a:pt x="196" y="348"/>
                    </a:lnTo>
                    <a:lnTo>
                      <a:pt x="196" y="347"/>
                    </a:lnTo>
                    <a:lnTo>
                      <a:pt x="195" y="347"/>
                    </a:lnTo>
                    <a:lnTo>
                      <a:pt x="197" y="347"/>
                    </a:lnTo>
                    <a:lnTo>
                      <a:pt x="199" y="347"/>
                    </a:lnTo>
                    <a:lnTo>
                      <a:pt x="199" y="346"/>
                    </a:lnTo>
                    <a:lnTo>
                      <a:pt x="200" y="346"/>
                    </a:lnTo>
                    <a:lnTo>
                      <a:pt x="200" y="345"/>
                    </a:lnTo>
                    <a:lnTo>
                      <a:pt x="199" y="345"/>
                    </a:lnTo>
                    <a:lnTo>
                      <a:pt x="199" y="346"/>
                    </a:lnTo>
                    <a:lnTo>
                      <a:pt x="197" y="346"/>
                    </a:lnTo>
                    <a:lnTo>
                      <a:pt x="199" y="346"/>
                    </a:lnTo>
                    <a:lnTo>
                      <a:pt x="199" y="347"/>
                    </a:lnTo>
                    <a:lnTo>
                      <a:pt x="197" y="347"/>
                    </a:lnTo>
                    <a:lnTo>
                      <a:pt x="196" y="347"/>
                    </a:lnTo>
                    <a:lnTo>
                      <a:pt x="195" y="347"/>
                    </a:lnTo>
                    <a:lnTo>
                      <a:pt x="195" y="346"/>
                    </a:lnTo>
                    <a:lnTo>
                      <a:pt x="195" y="347"/>
                    </a:lnTo>
                    <a:lnTo>
                      <a:pt x="194" y="347"/>
                    </a:lnTo>
                    <a:lnTo>
                      <a:pt x="194" y="346"/>
                    </a:lnTo>
                    <a:lnTo>
                      <a:pt x="194" y="347"/>
                    </a:lnTo>
                    <a:lnTo>
                      <a:pt x="195" y="347"/>
                    </a:lnTo>
                    <a:lnTo>
                      <a:pt x="194" y="348"/>
                    </a:lnTo>
                    <a:lnTo>
                      <a:pt x="194" y="347"/>
                    </a:lnTo>
                    <a:lnTo>
                      <a:pt x="194" y="348"/>
                    </a:lnTo>
                    <a:lnTo>
                      <a:pt x="193" y="347"/>
                    </a:lnTo>
                    <a:lnTo>
                      <a:pt x="193" y="348"/>
                    </a:lnTo>
                    <a:lnTo>
                      <a:pt x="193" y="347"/>
                    </a:lnTo>
                    <a:lnTo>
                      <a:pt x="192" y="348"/>
                    </a:lnTo>
                    <a:lnTo>
                      <a:pt x="192" y="349"/>
                    </a:lnTo>
                    <a:lnTo>
                      <a:pt x="193" y="349"/>
                    </a:lnTo>
                    <a:lnTo>
                      <a:pt x="192" y="349"/>
                    </a:lnTo>
                    <a:lnTo>
                      <a:pt x="191" y="350"/>
                    </a:lnTo>
                    <a:lnTo>
                      <a:pt x="190" y="350"/>
                    </a:lnTo>
                    <a:lnTo>
                      <a:pt x="190" y="351"/>
                    </a:lnTo>
                    <a:lnTo>
                      <a:pt x="189" y="352"/>
                    </a:lnTo>
                    <a:lnTo>
                      <a:pt x="188" y="352"/>
                    </a:lnTo>
                    <a:lnTo>
                      <a:pt x="188" y="353"/>
                    </a:lnTo>
                    <a:lnTo>
                      <a:pt x="188" y="354"/>
                    </a:lnTo>
                    <a:lnTo>
                      <a:pt x="188" y="353"/>
                    </a:lnTo>
                    <a:lnTo>
                      <a:pt x="187" y="353"/>
                    </a:lnTo>
                    <a:lnTo>
                      <a:pt x="186" y="353"/>
                    </a:lnTo>
                    <a:lnTo>
                      <a:pt x="186" y="352"/>
                    </a:lnTo>
                    <a:lnTo>
                      <a:pt x="184" y="352"/>
                    </a:lnTo>
                    <a:lnTo>
                      <a:pt x="183" y="351"/>
                    </a:lnTo>
                    <a:lnTo>
                      <a:pt x="184" y="351"/>
                    </a:lnTo>
                    <a:lnTo>
                      <a:pt x="183" y="351"/>
                    </a:lnTo>
                    <a:lnTo>
                      <a:pt x="183" y="349"/>
                    </a:lnTo>
                    <a:lnTo>
                      <a:pt x="184" y="349"/>
                    </a:lnTo>
                    <a:lnTo>
                      <a:pt x="184" y="348"/>
                    </a:lnTo>
                    <a:lnTo>
                      <a:pt x="184" y="349"/>
                    </a:lnTo>
                    <a:lnTo>
                      <a:pt x="184" y="348"/>
                    </a:lnTo>
                    <a:lnTo>
                      <a:pt x="183" y="348"/>
                    </a:lnTo>
                    <a:lnTo>
                      <a:pt x="183" y="349"/>
                    </a:lnTo>
                    <a:lnTo>
                      <a:pt x="183" y="348"/>
                    </a:lnTo>
                    <a:lnTo>
                      <a:pt x="183" y="347"/>
                    </a:lnTo>
                    <a:lnTo>
                      <a:pt x="183" y="346"/>
                    </a:lnTo>
                    <a:lnTo>
                      <a:pt x="184" y="346"/>
                    </a:lnTo>
                    <a:lnTo>
                      <a:pt x="184" y="347"/>
                    </a:lnTo>
                    <a:lnTo>
                      <a:pt x="184" y="348"/>
                    </a:lnTo>
                    <a:lnTo>
                      <a:pt x="186" y="349"/>
                    </a:lnTo>
                    <a:lnTo>
                      <a:pt x="184" y="349"/>
                    </a:lnTo>
                    <a:lnTo>
                      <a:pt x="186" y="349"/>
                    </a:lnTo>
                    <a:lnTo>
                      <a:pt x="186" y="350"/>
                    </a:lnTo>
                    <a:lnTo>
                      <a:pt x="187" y="350"/>
                    </a:lnTo>
                    <a:lnTo>
                      <a:pt x="186" y="350"/>
                    </a:lnTo>
                    <a:lnTo>
                      <a:pt x="186" y="349"/>
                    </a:lnTo>
                    <a:lnTo>
                      <a:pt x="187" y="349"/>
                    </a:lnTo>
                    <a:lnTo>
                      <a:pt x="187" y="350"/>
                    </a:lnTo>
                    <a:lnTo>
                      <a:pt x="188" y="349"/>
                    </a:lnTo>
                    <a:lnTo>
                      <a:pt x="187" y="349"/>
                    </a:lnTo>
                    <a:lnTo>
                      <a:pt x="188" y="348"/>
                    </a:lnTo>
                    <a:lnTo>
                      <a:pt x="189" y="349"/>
                    </a:lnTo>
                    <a:lnTo>
                      <a:pt x="189" y="348"/>
                    </a:lnTo>
                    <a:lnTo>
                      <a:pt x="189" y="349"/>
                    </a:lnTo>
                    <a:lnTo>
                      <a:pt x="189" y="348"/>
                    </a:lnTo>
                    <a:lnTo>
                      <a:pt x="188" y="348"/>
                    </a:lnTo>
                    <a:lnTo>
                      <a:pt x="188" y="347"/>
                    </a:lnTo>
                    <a:lnTo>
                      <a:pt x="189" y="347"/>
                    </a:lnTo>
                    <a:lnTo>
                      <a:pt x="190" y="347"/>
                    </a:lnTo>
                    <a:lnTo>
                      <a:pt x="189" y="347"/>
                    </a:lnTo>
                    <a:lnTo>
                      <a:pt x="190" y="346"/>
                    </a:lnTo>
                    <a:lnTo>
                      <a:pt x="190" y="347"/>
                    </a:lnTo>
                    <a:lnTo>
                      <a:pt x="190" y="346"/>
                    </a:lnTo>
                    <a:lnTo>
                      <a:pt x="191" y="346"/>
                    </a:lnTo>
                    <a:lnTo>
                      <a:pt x="191" y="347"/>
                    </a:lnTo>
                    <a:lnTo>
                      <a:pt x="193" y="345"/>
                    </a:lnTo>
                    <a:lnTo>
                      <a:pt x="192" y="345"/>
                    </a:lnTo>
                    <a:lnTo>
                      <a:pt x="192" y="344"/>
                    </a:lnTo>
                    <a:lnTo>
                      <a:pt x="190" y="346"/>
                    </a:lnTo>
                    <a:lnTo>
                      <a:pt x="192" y="345"/>
                    </a:lnTo>
                    <a:lnTo>
                      <a:pt x="192" y="344"/>
                    </a:lnTo>
                    <a:lnTo>
                      <a:pt x="191" y="344"/>
                    </a:lnTo>
                    <a:lnTo>
                      <a:pt x="191" y="345"/>
                    </a:lnTo>
                    <a:lnTo>
                      <a:pt x="190" y="345"/>
                    </a:lnTo>
                    <a:lnTo>
                      <a:pt x="191" y="345"/>
                    </a:lnTo>
                    <a:lnTo>
                      <a:pt x="191" y="344"/>
                    </a:lnTo>
                    <a:lnTo>
                      <a:pt x="190" y="344"/>
                    </a:lnTo>
                    <a:lnTo>
                      <a:pt x="190" y="345"/>
                    </a:lnTo>
                    <a:lnTo>
                      <a:pt x="190" y="344"/>
                    </a:lnTo>
                    <a:lnTo>
                      <a:pt x="189" y="344"/>
                    </a:lnTo>
                    <a:lnTo>
                      <a:pt x="189" y="345"/>
                    </a:lnTo>
                    <a:lnTo>
                      <a:pt x="190" y="345"/>
                    </a:lnTo>
                    <a:lnTo>
                      <a:pt x="190" y="346"/>
                    </a:lnTo>
                    <a:lnTo>
                      <a:pt x="189" y="346"/>
                    </a:lnTo>
                    <a:lnTo>
                      <a:pt x="188" y="346"/>
                    </a:lnTo>
                    <a:lnTo>
                      <a:pt x="188" y="347"/>
                    </a:lnTo>
                    <a:lnTo>
                      <a:pt x="188" y="346"/>
                    </a:lnTo>
                    <a:lnTo>
                      <a:pt x="189" y="345"/>
                    </a:lnTo>
                    <a:lnTo>
                      <a:pt x="188" y="345"/>
                    </a:lnTo>
                    <a:lnTo>
                      <a:pt x="188" y="344"/>
                    </a:lnTo>
                    <a:lnTo>
                      <a:pt x="188" y="345"/>
                    </a:lnTo>
                    <a:lnTo>
                      <a:pt x="188" y="346"/>
                    </a:lnTo>
                    <a:lnTo>
                      <a:pt x="188" y="347"/>
                    </a:lnTo>
                    <a:lnTo>
                      <a:pt x="187" y="347"/>
                    </a:lnTo>
                    <a:lnTo>
                      <a:pt x="187" y="349"/>
                    </a:lnTo>
                    <a:lnTo>
                      <a:pt x="186" y="349"/>
                    </a:lnTo>
                    <a:lnTo>
                      <a:pt x="186" y="348"/>
                    </a:lnTo>
                    <a:lnTo>
                      <a:pt x="186" y="347"/>
                    </a:lnTo>
                    <a:lnTo>
                      <a:pt x="187" y="348"/>
                    </a:lnTo>
                    <a:lnTo>
                      <a:pt x="187" y="349"/>
                    </a:lnTo>
                    <a:lnTo>
                      <a:pt x="187" y="348"/>
                    </a:lnTo>
                    <a:lnTo>
                      <a:pt x="186" y="346"/>
                    </a:lnTo>
                    <a:lnTo>
                      <a:pt x="186" y="345"/>
                    </a:lnTo>
                    <a:lnTo>
                      <a:pt x="186" y="344"/>
                    </a:lnTo>
                    <a:lnTo>
                      <a:pt x="184" y="344"/>
                    </a:lnTo>
                    <a:lnTo>
                      <a:pt x="183" y="344"/>
                    </a:lnTo>
                    <a:lnTo>
                      <a:pt x="183" y="343"/>
                    </a:lnTo>
                    <a:lnTo>
                      <a:pt x="182" y="343"/>
                    </a:lnTo>
                    <a:lnTo>
                      <a:pt x="179" y="344"/>
                    </a:lnTo>
                    <a:lnTo>
                      <a:pt x="177" y="345"/>
                    </a:lnTo>
                    <a:lnTo>
                      <a:pt x="177" y="344"/>
                    </a:lnTo>
                    <a:lnTo>
                      <a:pt x="176" y="344"/>
                    </a:lnTo>
                    <a:lnTo>
                      <a:pt x="175" y="344"/>
                    </a:lnTo>
                    <a:lnTo>
                      <a:pt x="175" y="345"/>
                    </a:lnTo>
                    <a:lnTo>
                      <a:pt x="176" y="345"/>
                    </a:lnTo>
                    <a:lnTo>
                      <a:pt x="176" y="344"/>
                    </a:lnTo>
                    <a:lnTo>
                      <a:pt x="176" y="345"/>
                    </a:lnTo>
                    <a:lnTo>
                      <a:pt x="177" y="345"/>
                    </a:lnTo>
                    <a:lnTo>
                      <a:pt x="176" y="345"/>
                    </a:lnTo>
                    <a:lnTo>
                      <a:pt x="176" y="346"/>
                    </a:lnTo>
                    <a:lnTo>
                      <a:pt x="175" y="346"/>
                    </a:lnTo>
                    <a:lnTo>
                      <a:pt x="174" y="347"/>
                    </a:lnTo>
                    <a:lnTo>
                      <a:pt x="173" y="347"/>
                    </a:lnTo>
                    <a:lnTo>
                      <a:pt x="173" y="346"/>
                    </a:lnTo>
                    <a:lnTo>
                      <a:pt x="174" y="346"/>
                    </a:lnTo>
                    <a:lnTo>
                      <a:pt x="173" y="346"/>
                    </a:lnTo>
                    <a:lnTo>
                      <a:pt x="174" y="346"/>
                    </a:lnTo>
                    <a:lnTo>
                      <a:pt x="173" y="346"/>
                    </a:lnTo>
                    <a:lnTo>
                      <a:pt x="171" y="346"/>
                    </a:lnTo>
                    <a:lnTo>
                      <a:pt x="173" y="346"/>
                    </a:lnTo>
                    <a:lnTo>
                      <a:pt x="173" y="347"/>
                    </a:lnTo>
                    <a:lnTo>
                      <a:pt x="171" y="346"/>
                    </a:lnTo>
                    <a:lnTo>
                      <a:pt x="171" y="347"/>
                    </a:lnTo>
                    <a:lnTo>
                      <a:pt x="170" y="347"/>
                    </a:lnTo>
                    <a:lnTo>
                      <a:pt x="170" y="346"/>
                    </a:lnTo>
                    <a:lnTo>
                      <a:pt x="170" y="345"/>
                    </a:lnTo>
                    <a:lnTo>
                      <a:pt x="170" y="346"/>
                    </a:lnTo>
                    <a:lnTo>
                      <a:pt x="170" y="347"/>
                    </a:lnTo>
                    <a:lnTo>
                      <a:pt x="169" y="346"/>
                    </a:lnTo>
                    <a:lnTo>
                      <a:pt x="169" y="347"/>
                    </a:lnTo>
                    <a:lnTo>
                      <a:pt x="168" y="347"/>
                    </a:lnTo>
                    <a:lnTo>
                      <a:pt x="168" y="346"/>
                    </a:lnTo>
                    <a:lnTo>
                      <a:pt x="167" y="347"/>
                    </a:lnTo>
                    <a:lnTo>
                      <a:pt x="166" y="347"/>
                    </a:lnTo>
                    <a:lnTo>
                      <a:pt x="166" y="346"/>
                    </a:lnTo>
                    <a:lnTo>
                      <a:pt x="166" y="345"/>
                    </a:lnTo>
                    <a:lnTo>
                      <a:pt x="166" y="346"/>
                    </a:lnTo>
                    <a:lnTo>
                      <a:pt x="165" y="346"/>
                    </a:lnTo>
                    <a:lnTo>
                      <a:pt x="164" y="346"/>
                    </a:lnTo>
                    <a:lnTo>
                      <a:pt x="164" y="347"/>
                    </a:lnTo>
                    <a:lnTo>
                      <a:pt x="163" y="347"/>
                    </a:lnTo>
                    <a:lnTo>
                      <a:pt x="163" y="346"/>
                    </a:lnTo>
                    <a:lnTo>
                      <a:pt x="164" y="346"/>
                    </a:lnTo>
                    <a:lnTo>
                      <a:pt x="164" y="345"/>
                    </a:lnTo>
                    <a:lnTo>
                      <a:pt x="163" y="345"/>
                    </a:lnTo>
                    <a:lnTo>
                      <a:pt x="163" y="347"/>
                    </a:lnTo>
                    <a:lnTo>
                      <a:pt x="162" y="347"/>
                    </a:lnTo>
                    <a:lnTo>
                      <a:pt x="162" y="346"/>
                    </a:lnTo>
                    <a:lnTo>
                      <a:pt x="162" y="345"/>
                    </a:lnTo>
                    <a:lnTo>
                      <a:pt x="161" y="344"/>
                    </a:lnTo>
                    <a:lnTo>
                      <a:pt x="161" y="345"/>
                    </a:lnTo>
                    <a:lnTo>
                      <a:pt x="161" y="344"/>
                    </a:lnTo>
                    <a:lnTo>
                      <a:pt x="161" y="343"/>
                    </a:lnTo>
                    <a:lnTo>
                      <a:pt x="162" y="343"/>
                    </a:lnTo>
                    <a:lnTo>
                      <a:pt x="161" y="343"/>
                    </a:lnTo>
                    <a:lnTo>
                      <a:pt x="160" y="343"/>
                    </a:lnTo>
                    <a:lnTo>
                      <a:pt x="160" y="341"/>
                    </a:lnTo>
                    <a:lnTo>
                      <a:pt x="160" y="340"/>
                    </a:lnTo>
                    <a:lnTo>
                      <a:pt x="160" y="339"/>
                    </a:lnTo>
                    <a:lnTo>
                      <a:pt x="161" y="339"/>
                    </a:lnTo>
                    <a:lnTo>
                      <a:pt x="161" y="338"/>
                    </a:lnTo>
                    <a:lnTo>
                      <a:pt x="162" y="337"/>
                    </a:lnTo>
                    <a:lnTo>
                      <a:pt x="162" y="336"/>
                    </a:lnTo>
                    <a:lnTo>
                      <a:pt x="162" y="335"/>
                    </a:lnTo>
                    <a:lnTo>
                      <a:pt x="162" y="334"/>
                    </a:lnTo>
                    <a:lnTo>
                      <a:pt x="161" y="333"/>
                    </a:lnTo>
                    <a:lnTo>
                      <a:pt x="162" y="333"/>
                    </a:lnTo>
                    <a:lnTo>
                      <a:pt x="162" y="332"/>
                    </a:lnTo>
                    <a:lnTo>
                      <a:pt x="161" y="333"/>
                    </a:lnTo>
                    <a:lnTo>
                      <a:pt x="160" y="334"/>
                    </a:lnTo>
                    <a:lnTo>
                      <a:pt x="160" y="333"/>
                    </a:lnTo>
                    <a:lnTo>
                      <a:pt x="158" y="333"/>
                    </a:lnTo>
                    <a:lnTo>
                      <a:pt x="160" y="334"/>
                    </a:lnTo>
                    <a:lnTo>
                      <a:pt x="158" y="334"/>
                    </a:lnTo>
                    <a:lnTo>
                      <a:pt x="157" y="334"/>
                    </a:lnTo>
                    <a:lnTo>
                      <a:pt x="157" y="335"/>
                    </a:lnTo>
                    <a:lnTo>
                      <a:pt x="156" y="335"/>
                    </a:lnTo>
                    <a:lnTo>
                      <a:pt x="156" y="336"/>
                    </a:lnTo>
                    <a:lnTo>
                      <a:pt x="155" y="336"/>
                    </a:lnTo>
                    <a:lnTo>
                      <a:pt x="154" y="336"/>
                    </a:lnTo>
                    <a:lnTo>
                      <a:pt x="154" y="337"/>
                    </a:lnTo>
                    <a:lnTo>
                      <a:pt x="154" y="338"/>
                    </a:lnTo>
                    <a:lnTo>
                      <a:pt x="153" y="338"/>
                    </a:lnTo>
                    <a:lnTo>
                      <a:pt x="152" y="338"/>
                    </a:lnTo>
                    <a:lnTo>
                      <a:pt x="151" y="339"/>
                    </a:lnTo>
                    <a:lnTo>
                      <a:pt x="150" y="339"/>
                    </a:lnTo>
                    <a:lnTo>
                      <a:pt x="151" y="340"/>
                    </a:lnTo>
                    <a:lnTo>
                      <a:pt x="150" y="340"/>
                    </a:lnTo>
                    <a:lnTo>
                      <a:pt x="149" y="340"/>
                    </a:lnTo>
                    <a:lnTo>
                      <a:pt x="148" y="340"/>
                    </a:lnTo>
                    <a:lnTo>
                      <a:pt x="148" y="339"/>
                    </a:lnTo>
                    <a:lnTo>
                      <a:pt x="148" y="340"/>
                    </a:lnTo>
                    <a:lnTo>
                      <a:pt x="147" y="341"/>
                    </a:lnTo>
                    <a:lnTo>
                      <a:pt x="147" y="343"/>
                    </a:lnTo>
                    <a:lnTo>
                      <a:pt x="145" y="343"/>
                    </a:lnTo>
                    <a:lnTo>
                      <a:pt x="144" y="341"/>
                    </a:lnTo>
                    <a:lnTo>
                      <a:pt x="145" y="340"/>
                    </a:lnTo>
                    <a:lnTo>
                      <a:pt x="147" y="340"/>
                    </a:lnTo>
                    <a:lnTo>
                      <a:pt x="147" y="339"/>
                    </a:lnTo>
                    <a:lnTo>
                      <a:pt x="147" y="340"/>
                    </a:lnTo>
                    <a:lnTo>
                      <a:pt x="147" y="339"/>
                    </a:lnTo>
                    <a:lnTo>
                      <a:pt x="145" y="339"/>
                    </a:lnTo>
                    <a:lnTo>
                      <a:pt x="145" y="340"/>
                    </a:lnTo>
                    <a:lnTo>
                      <a:pt x="144" y="340"/>
                    </a:lnTo>
                    <a:lnTo>
                      <a:pt x="143" y="340"/>
                    </a:lnTo>
                    <a:lnTo>
                      <a:pt x="143" y="339"/>
                    </a:lnTo>
                    <a:lnTo>
                      <a:pt x="142" y="340"/>
                    </a:lnTo>
                    <a:lnTo>
                      <a:pt x="142" y="339"/>
                    </a:lnTo>
                    <a:lnTo>
                      <a:pt x="141" y="339"/>
                    </a:lnTo>
                    <a:lnTo>
                      <a:pt x="141" y="338"/>
                    </a:lnTo>
                    <a:lnTo>
                      <a:pt x="142" y="338"/>
                    </a:lnTo>
                    <a:lnTo>
                      <a:pt x="143" y="338"/>
                    </a:lnTo>
                    <a:lnTo>
                      <a:pt x="144" y="338"/>
                    </a:lnTo>
                    <a:lnTo>
                      <a:pt x="143" y="337"/>
                    </a:lnTo>
                    <a:lnTo>
                      <a:pt x="143" y="336"/>
                    </a:lnTo>
                    <a:lnTo>
                      <a:pt x="144" y="336"/>
                    </a:lnTo>
                    <a:lnTo>
                      <a:pt x="145" y="336"/>
                    </a:lnTo>
                    <a:lnTo>
                      <a:pt x="147" y="335"/>
                    </a:lnTo>
                    <a:lnTo>
                      <a:pt x="148" y="335"/>
                    </a:lnTo>
                    <a:lnTo>
                      <a:pt x="148" y="336"/>
                    </a:lnTo>
                    <a:lnTo>
                      <a:pt x="149" y="336"/>
                    </a:lnTo>
                    <a:lnTo>
                      <a:pt x="150" y="335"/>
                    </a:lnTo>
                    <a:lnTo>
                      <a:pt x="150" y="334"/>
                    </a:lnTo>
                    <a:lnTo>
                      <a:pt x="149" y="334"/>
                    </a:lnTo>
                    <a:lnTo>
                      <a:pt x="148" y="334"/>
                    </a:lnTo>
                    <a:lnTo>
                      <a:pt x="147" y="334"/>
                    </a:lnTo>
                    <a:lnTo>
                      <a:pt x="145" y="334"/>
                    </a:lnTo>
                    <a:lnTo>
                      <a:pt x="145" y="333"/>
                    </a:lnTo>
                    <a:lnTo>
                      <a:pt x="147" y="333"/>
                    </a:lnTo>
                    <a:lnTo>
                      <a:pt x="148" y="333"/>
                    </a:lnTo>
                    <a:lnTo>
                      <a:pt x="149" y="333"/>
                    </a:lnTo>
                    <a:lnTo>
                      <a:pt x="150" y="333"/>
                    </a:lnTo>
                    <a:lnTo>
                      <a:pt x="151" y="333"/>
                    </a:lnTo>
                    <a:lnTo>
                      <a:pt x="152" y="332"/>
                    </a:lnTo>
                    <a:lnTo>
                      <a:pt x="152" y="331"/>
                    </a:lnTo>
                    <a:lnTo>
                      <a:pt x="153" y="331"/>
                    </a:lnTo>
                    <a:lnTo>
                      <a:pt x="153" y="329"/>
                    </a:lnTo>
                    <a:lnTo>
                      <a:pt x="152" y="329"/>
                    </a:lnTo>
                    <a:lnTo>
                      <a:pt x="153" y="329"/>
                    </a:lnTo>
                    <a:lnTo>
                      <a:pt x="153" y="328"/>
                    </a:lnTo>
                    <a:lnTo>
                      <a:pt x="152" y="328"/>
                    </a:lnTo>
                    <a:lnTo>
                      <a:pt x="152" y="329"/>
                    </a:lnTo>
                    <a:lnTo>
                      <a:pt x="152" y="328"/>
                    </a:lnTo>
                    <a:lnTo>
                      <a:pt x="151" y="327"/>
                    </a:lnTo>
                    <a:lnTo>
                      <a:pt x="150" y="327"/>
                    </a:lnTo>
                    <a:lnTo>
                      <a:pt x="150" y="328"/>
                    </a:lnTo>
                    <a:lnTo>
                      <a:pt x="149" y="328"/>
                    </a:lnTo>
                    <a:lnTo>
                      <a:pt x="149" y="329"/>
                    </a:lnTo>
                    <a:lnTo>
                      <a:pt x="150" y="329"/>
                    </a:lnTo>
                    <a:lnTo>
                      <a:pt x="150" y="331"/>
                    </a:lnTo>
                    <a:lnTo>
                      <a:pt x="149" y="331"/>
                    </a:lnTo>
                    <a:lnTo>
                      <a:pt x="149" y="329"/>
                    </a:lnTo>
                    <a:lnTo>
                      <a:pt x="149" y="331"/>
                    </a:lnTo>
                    <a:lnTo>
                      <a:pt x="148" y="331"/>
                    </a:lnTo>
                    <a:lnTo>
                      <a:pt x="148" y="332"/>
                    </a:lnTo>
                    <a:lnTo>
                      <a:pt x="148" y="331"/>
                    </a:lnTo>
                    <a:lnTo>
                      <a:pt x="147" y="331"/>
                    </a:lnTo>
                    <a:lnTo>
                      <a:pt x="147" y="329"/>
                    </a:lnTo>
                    <a:lnTo>
                      <a:pt x="145" y="329"/>
                    </a:lnTo>
                    <a:lnTo>
                      <a:pt x="144" y="331"/>
                    </a:lnTo>
                    <a:lnTo>
                      <a:pt x="143" y="331"/>
                    </a:lnTo>
                    <a:lnTo>
                      <a:pt x="142" y="331"/>
                    </a:lnTo>
                    <a:lnTo>
                      <a:pt x="143" y="331"/>
                    </a:lnTo>
                    <a:lnTo>
                      <a:pt x="143" y="329"/>
                    </a:lnTo>
                    <a:lnTo>
                      <a:pt x="144" y="329"/>
                    </a:lnTo>
                    <a:lnTo>
                      <a:pt x="143" y="328"/>
                    </a:lnTo>
                    <a:lnTo>
                      <a:pt x="144" y="328"/>
                    </a:lnTo>
                    <a:lnTo>
                      <a:pt x="144" y="327"/>
                    </a:lnTo>
                    <a:lnTo>
                      <a:pt x="145" y="327"/>
                    </a:lnTo>
                    <a:lnTo>
                      <a:pt x="147" y="327"/>
                    </a:lnTo>
                    <a:lnTo>
                      <a:pt x="147" y="326"/>
                    </a:lnTo>
                    <a:lnTo>
                      <a:pt x="148" y="326"/>
                    </a:lnTo>
                    <a:lnTo>
                      <a:pt x="149" y="326"/>
                    </a:lnTo>
                    <a:lnTo>
                      <a:pt x="149" y="325"/>
                    </a:lnTo>
                    <a:lnTo>
                      <a:pt x="148" y="325"/>
                    </a:lnTo>
                    <a:lnTo>
                      <a:pt x="148" y="326"/>
                    </a:lnTo>
                    <a:lnTo>
                      <a:pt x="147" y="325"/>
                    </a:lnTo>
                    <a:lnTo>
                      <a:pt x="147" y="326"/>
                    </a:lnTo>
                    <a:lnTo>
                      <a:pt x="145" y="325"/>
                    </a:lnTo>
                    <a:lnTo>
                      <a:pt x="147" y="325"/>
                    </a:lnTo>
                    <a:lnTo>
                      <a:pt x="147" y="324"/>
                    </a:lnTo>
                    <a:lnTo>
                      <a:pt x="147" y="323"/>
                    </a:lnTo>
                    <a:lnTo>
                      <a:pt x="147" y="322"/>
                    </a:lnTo>
                    <a:lnTo>
                      <a:pt x="147" y="321"/>
                    </a:lnTo>
                    <a:lnTo>
                      <a:pt x="147" y="319"/>
                    </a:lnTo>
                    <a:lnTo>
                      <a:pt x="148" y="319"/>
                    </a:lnTo>
                    <a:lnTo>
                      <a:pt x="149" y="319"/>
                    </a:lnTo>
                    <a:lnTo>
                      <a:pt x="150" y="320"/>
                    </a:lnTo>
                    <a:lnTo>
                      <a:pt x="150" y="321"/>
                    </a:lnTo>
                    <a:lnTo>
                      <a:pt x="149" y="321"/>
                    </a:lnTo>
                    <a:lnTo>
                      <a:pt x="150" y="321"/>
                    </a:lnTo>
                    <a:lnTo>
                      <a:pt x="150" y="320"/>
                    </a:lnTo>
                    <a:lnTo>
                      <a:pt x="150" y="319"/>
                    </a:lnTo>
                    <a:lnTo>
                      <a:pt x="151" y="319"/>
                    </a:lnTo>
                    <a:lnTo>
                      <a:pt x="151" y="318"/>
                    </a:lnTo>
                    <a:lnTo>
                      <a:pt x="151" y="319"/>
                    </a:lnTo>
                    <a:lnTo>
                      <a:pt x="152" y="320"/>
                    </a:lnTo>
                    <a:lnTo>
                      <a:pt x="153" y="321"/>
                    </a:lnTo>
                    <a:lnTo>
                      <a:pt x="153" y="322"/>
                    </a:lnTo>
                    <a:lnTo>
                      <a:pt x="153" y="323"/>
                    </a:lnTo>
                    <a:lnTo>
                      <a:pt x="154" y="323"/>
                    </a:lnTo>
                    <a:lnTo>
                      <a:pt x="155" y="323"/>
                    </a:lnTo>
                    <a:lnTo>
                      <a:pt x="156" y="323"/>
                    </a:lnTo>
                    <a:lnTo>
                      <a:pt x="156" y="322"/>
                    </a:lnTo>
                    <a:lnTo>
                      <a:pt x="157" y="322"/>
                    </a:lnTo>
                    <a:lnTo>
                      <a:pt x="158" y="322"/>
                    </a:lnTo>
                    <a:lnTo>
                      <a:pt x="158" y="321"/>
                    </a:lnTo>
                    <a:lnTo>
                      <a:pt x="158" y="320"/>
                    </a:lnTo>
                    <a:lnTo>
                      <a:pt x="158" y="319"/>
                    </a:lnTo>
                    <a:lnTo>
                      <a:pt x="160" y="319"/>
                    </a:lnTo>
                    <a:lnTo>
                      <a:pt x="160" y="318"/>
                    </a:lnTo>
                    <a:lnTo>
                      <a:pt x="160" y="316"/>
                    </a:lnTo>
                    <a:lnTo>
                      <a:pt x="161" y="314"/>
                    </a:lnTo>
                    <a:lnTo>
                      <a:pt x="160" y="314"/>
                    </a:lnTo>
                    <a:lnTo>
                      <a:pt x="158" y="313"/>
                    </a:lnTo>
                    <a:lnTo>
                      <a:pt x="158" y="312"/>
                    </a:lnTo>
                    <a:lnTo>
                      <a:pt x="157" y="312"/>
                    </a:lnTo>
                    <a:lnTo>
                      <a:pt x="156" y="311"/>
                    </a:lnTo>
                    <a:lnTo>
                      <a:pt x="156" y="310"/>
                    </a:lnTo>
                    <a:lnTo>
                      <a:pt x="154" y="310"/>
                    </a:lnTo>
                    <a:lnTo>
                      <a:pt x="154" y="309"/>
                    </a:lnTo>
                    <a:lnTo>
                      <a:pt x="153" y="308"/>
                    </a:lnTo>
                    <a:lnTo>
                      <a:pt x="153" y="307"/>
                    </a:lnTo>
                    <a:lnTo>
                      <a:pt x="152" y="307"/>
                    </a:lnTo>
                    <a:lnTo>
                      <a:pt x="152" y="306"/>
                    </a:lnTo>
                    <a:lnTo>
                      <a:pt x="151" y="306"/>
                    </a:lnTo>
                    <a:lnTo>
                      <a:pt x="150" y="305"/>
                    </a:lnTo>
                    <a:lnTo>
                      <a:pt x="149" y="305"/>
                    </a:lnTo>
                    <a:lnTo>
                      <a:pt x="148" y="303"/>
                    </a:lnTo>
                    <a:lnTo>
                      <a:pt x="147" y="302"/>
                    </a:lnTo>
                    <a:lnTo>
                      <a:pt x="145" y="302"/>
                    </a:lnTo>
                    <a:lnTo>
                      <a:pt x="144" y="302"/>
                    </a:lnTo>
                    <a:lnTo>
                      <a:pt x="143" y="302"/>
                    </a:lnTo>
                    <a:lnTo>
                      <a:pt x="141" y="302"/>
                    </a:lnTo>
                    <a:lnTo>
                      <a:pt x="140" y="302"/>
                    </a:lnTo>
                    <a:lnTo>
                      <a:pt x="139" y="302"/>
                    </a:lnTo>
                    <a:lnTo>
                      <a:pt x="139" y="301"/>
                    </a:lnTo>
                    <a:lnTo>
                      <a:pt x="137" y="302"/>
                    </a:lnTo>
                    <a:lnTo>
                      <a:pt x="136" y="302"/>
                    </a:lnTo>
                    <a:lnTo>
                      <a:pt x="133" y="303"/>
                    </a:lnTo>
                    <a:lnTo>
                      <a:pt x="132" y="303"/>
                    </a:lnTo>
                    <a:lnTo>
                      <a:pt x="131" y="303"/>
                    </a:lnTo>
                    <a:lnTo>
                      <a:pt x="130" y="302"/>
                    </a:lnTo>
                    <a:lnTo>
                      <a:pt x="131" y="302"/>
                    </a:lnTo>
                    <a:lnTo>
                      <a:pt x="130" y="302"/>
                    </a:lnTo>
                    <a:lnTo>
                      <a:pt x="129" y="302"/>
                    </a:lnTo>
                    <a:lnTo>
                      <a:pt x="129" y="301"/>
                    </a:lnTo>
                    <a:lnTo>
                      <a:pt x="130" y="301"/>
                    </a:lnTo>
                    <a:lnTo>
                      <a:pt x="130" y="299"/>
                    </a:lnTo>
                    <a:lnTo>
                      <a:pt x="129" y="299"/>
                    </a:lnTo>
                    <a:lnTo>
                      <a:pt x="129" y="298"/>
                    </a:lnTo>
                    <a:lnTo>
                      <a:pt x="128" y="298"/>
                    </a:lnTo>
                    <a:lnTo>
                      <a:pt x="127" y="298"/>
                    </a:lnTo>
                    <a:lnTo>
                      <a:pt x="126" y="298"/>
                    </a:lnTo>
                    <a:lnTo>
                      <a:pt x="126" y="299"/>
                    </a:lnTo>
                    <a:lnTo>
                      <a:pt x="125" y="299"/>
                    </a:lnTo>
                    <a:lnTo>
                      <a:pt x="125" y="300"/>
                    </a:lnTo>
                    <a:lnTo>
                      <a:pt x="124" y="300"/>
                    </a:lnTo>
                    <a:lnTo>
                      <a:pt x="124" y="301"/>
                    </a:lnTo>
                    <a:lnTo>
                      <a:pt x="124" y="302"/>
                    </a:lnTo>
                    <a:lnTo>
                      <a:pt x="124" y="303"/>
                    </a:lnTo>
                    <a:lnTo>
                      <a:pt x="125" y="303"/>
                    </a:lnTo>
                    <a:lnTo>
                      <a:pt x="124" y="303"/>
                    </a:lnTo>
                    <a:lnTo>
                      <a:pt x="123" y="303"/>
                    </a:lnTo>
                    <a:lnTo>
                      <a:pt x="122" y="305"/>
                    </a:lnTo>
                    <a:lnTo>
                      <a:pt x="122" y="306"/>
                    </a:lnTo>
                    <a:lnTo>
                      <a:pt x="120" y="306"/>
                    </a:lnTo>
                    <a:lnTo>
                      <a:pt x="120" y="307"/>
                    </a:lnTo>
                    <a:lnTo>
                      <a:pt x="119" y="307"/>
                    </a:lnTo>
                    <a:lnTo>
                      <a:pt x="119" y="306"/>
                    </a:lnTo>
                    <a:lnTo>
                      <a:pt x="118" y="306"/>
                    </a:lnTo>
                    <a:lnTo>
                      <a:pt x="118" y="307"/>
                    </a:lnTo>
                    <a:lnTo>
                      <a:pt x="119" y="307"/>
                    </a:lnTo>
                    <a:lnTo>
                      <a:pt x="119" y="308"/>
                    </a:lnTo>
                    <a:lnTo>
                      <a:pt x="118" y="308"/>
                    </a:lnTo>
                    <a:lnTo>
                      <a:pt x="117" y="307"/>
                    </a:lnTo>
                    <a:lnTo>
                      <a:pt x="116" y="307"/>
                    </a:lnTo>
                    <a:lnTo>
                      <a:pt x="115" y="308"/>
                    </a:lnTo>
                    <a:lnTo>
                      <a:pt x="115" y="309"/>
                    </a:lnTo>
                    <a:lnTo>
                      <a:pt x="114" y="309"/>
                    </a:lnTo>
                    <a:lnTo>
                      <a:pt x="113" y="309"/>
                    </a:lnTo>
                    <a:lnTo>
                      <a:pt x="113" y="308"/>
                    </a:lnTo>
                    <a:lnTo>
                      <a:pt x="113" y="307"/>
                    </a:lnTo>
                    <a:lnTo>
                      <a:pt x="114" y="307"/>
                    </a:lnTo>
                    <a:lnTo>
                      <a:pt x="114" y="308"/>
                    </a:lnTo>
                    <a:lnTo>
                      <a:pt x="115" y="308"/>
                    </a:lnTo>
                    <a:lnTo>
                      <a:pt x="115" y="307"/>
                    </a:lnTo>
                    <a:lnTo>
                      <a:pt x="114" y="306"/>
                    </a:lnTo>
                    <a:lnTo>
                      <a:pt x="114" y="307"/>
                    </a:lnTo>
                    <a:lnTo>
                      <a:pt x="113" y="306"/>
                    </a:lnTo>
                    <a:lnTo>
                      <a:pt x="113" y="307"/>
                    </a:lnTo>
                    <a:lnTo>
                      <a:pt x="112" y="307"/>
                    </a:lnTo>
                    <a:lnTo>
                      <a:pt x="112" y="306"/>
                    </a:lnTo>
                    <a:lnTo>
                      <a:pt x="111" y="306"/>
                    </a:lnTo>
                    <a:lnTo>
                      <a:pt x="110" y="306"/>
                    </a:lnTo>
                    <a:lnTo>
                      <a:pt x="109" y="307"/>
                    </a:lnTo>
                    <a:lnTo>
                      <a:pt x="109" y="306"/>
                    </a:lnTo>
                    <a:lnTo>
                      <a:pt x="110" y="306"/>
                    </a:lnTo>
                    <a:lnTo>
                      <a:pt x="110" y="305"/>
                    </a:lnTo>
                    <a:lnTo>
                      <a:pt x="110" y="303"/>
                    </a:lnTo>
                    <a:lnTo>
                      <a:pt x="109" y="303"/>
                    </a:lnTo>
                    <a:lnTo>
                      <a:pt x="110" y="303"/>
                    </a:lnTo>
                    <a:lnTo>
                      <a:pt x="110" y="302"/>
                    </a:lnTo>
                    <a:lnTo>
                      <a:pt x="111" y="302"/>
                    </a:lnTo>
                    <a:lnTo>
                      <a:pt x="112" y="302"/>
                    </a:lnTo>
                    <a:lnTo>
                      <a:pt x="113" y="302"/>
                    </a:lnTo>
                    <a:lnTo>
                      <a:pt x="113" y="303"/>
                    </a:lnTo>
                    <a:lnTo>
                      <a:pt x="112" y="303"/>
                    </a:lnTo>
                    <a:lnTo>
                      <a:pt x="113" y="303"/>
                    </a:lnTo>
                    <a:lnTo>
                      <a:pt x="114" y="303"/>
                    </a:lnTo>
                    <a:lnTo>
                      <a:pt x="114" y="302"/>
                    </a:lnTo>
                    <a:lnTo>
                      <a:pt x="114" y="301"/>
                    </a:lnTo>
                    <a:lnTo>
                      <a:pt x="115" y="301"/>
                    </a:lnTo>
                    <a:lnTo>
                      <a:pt x="115" y="300"/>
                    </a:lnTo>
                    <a:lnTo>
                      <a:pt x="116" y="299"/>
                    </a:lnTo>
                    <a:lnTo>
                      <a:pt x="117" y="298"/>
                    </a:lnTo>
                    <a:lnTo>
                      <a:pt x="118" y="297"/>
                    </a:lnTo>
                    <a:lnTo>
                      <a:pt x="118" y="295"/>
                    </a:lnTo>
                    <a:lnTo>
                      <a:pt x="118" y="294"/>
                    </a:lnTo>
                    <a:lnTo>
                      <a:pt x="117" y="293"/>
                    </a:lnTo>
                    <a:lnTo>
                      <a:pt x="116" y="293"/>
                    </a:lnTo>
                    <a:lnTo>
                      <a:pt x="116" y="292"/>
                    </a:lnTo>
                    <a:lnTo>
                      <a:pt x="115" y="292"/>
                    </a:lnTo>
                    <a:lnTo>
                      <a:pt x="114" y="292"/>
                    </a:lnTo>
                    <a:lnTo>
                      <a:pt x="114" y="290"/>
                    </a:lnTo>
                    <a:lnTo>
                      <a:pt x="113" y="290"/>
                    </a:lnTo>
                    <a:lnTo>
                      <a:pt x="112" y="290"/>
                    </a:lnTo>
                    <a:lnTo>
                      <a:pt x="111" y="290"/>
                    </a:lnTo>
                    <a:lnTo>
                      <a:pt x="110" y="290"/>
                    </a:lnTo>
                    <a:lnTo>
                      <a:pt x="109" y="290"/>
                    </a:lnTo>
                    <a:lnTo>
                      <a:pt x="107" y="290"/>
                    </a:lnTo>
                    <a:lnTo>
                      <a:pt x="106" y="290"/>
                    </a:lnTo>
                    <a:lnTo>
                      <a:pt x="106" y="292"/>
                    </a:lnTo>
                    <a:lnTo>
                      <a:pt x="105" y="292"/>
                    </a:lnTo>
                    <a:lnTo>
                      <a:pt x="105" y="293"/>
                    </a:lnTo>
                    <a:lnTo>
                      <a:pt x="104" y="294"/>
                    </a:lnTo>
                    <a:lnTo>
                      <a:pt x="104" y="295"/>
                    </a:lnTo>
                    <a:lnTo>
                      <a:pt x="104" y="296"/>
                    </a:lnTo>
                    <a:lnTo>
                      <a:pt x="103" y="296"/>
                    </a:lnTo>
                    <a:lnTo>
                      <a:pt x="103" y="297"/>
                    </a:lnTo>
                    <a:lnTo>
                      <a:pt x="103" y="299"/>
                    </a:lnTo>
                    <a:lnTo>
                      <a:pt x="103" y="300"/>
                    </a:lnTo>
                    <a:lnTo>
                      <a:pt x="102" y="300"/>
                    </a:lnTo>
                    <a:lnTo>
                      <a:pt x="101" y="300"/>
                    </a:lnTo>
                    <a:lnTo>
                      <a:pt x="101" y="299"/>
                    </a:lnTo>
                    <a:lnTo>
                      <a:pt x="100" y="299"/>
                    </a:lnTo>
                    <a:lnTo>
                      <a:pt x="101" y="299"/>
                    </a:lnTo>
                    <a:lnTo>
                      <a:pt x="101" y="298"/>
                    </a:lnTo>
                    <a:lnTo>
                      <a:pt x="102" y="298"/>
                    </a:lnTo>
                    <a:lnTo>
                      <a:pt x="102" y="297"/>
                    </a:lnTo>
                    <a:lnTo>
                      <a:pt x="102" y="296"/>
                    </a:lnTo>
                    <a:lnTo>
                      <a:pt x="102" y="295"/>
                    </a:lnTo>
                    <a:lnTo>
                      <a:pt x="102" y="294"/>
                    </a:lnTo>
                    <a:lnTo>
                      <a:pt x="102" y="293"/>
                    </a:lnTo>
                    <a:lnTo>
                      <a:pt x="102" y="292"/>
                    </a:lnTo>
                    <a:lnTo>
                      <a:pt x="102" y="290"/>
                    </a:lnTo>
                    <a:lnTo>
                      <a:pt x="102" y="289"/>
                    </a:lnTo>
                    <a:lnTo>
                      <a:pt x="101" y="289"/>
                    </a:lnTo>
                    <a:lnTo>
                      <a:pt x="101" y="290"/>
                    </a:lnTo>
                    <a:lnTo>
                      <a:pt x="101" y="292"/>
                    </a:lnTo>
                    <a:lnTo>
                      <a:pt x="100" y="292"/>
                    </a:lnTo>
                    <a:lnTo>
                      <a:pt x="100" y="293"/>
                    </a:lnTo>
                    <a:lnTo>
                      <a:pt x="100" y="294"/>
                    </a:lnTo>
                    <a:lnTo>
                      <a:pt x="100" y="295"/>
                    </a:lnTo>
                    <a:lnTo>
                      <a:pt x="100" y="296"/>
                    </a:lnTo>
                    <a:lnTo>
                      <a:pt x="99" y="296"/>
                    </a:lnTo>
                    <a:lnTo>
                      <a:pt x="99" y="295"/>
                    </a:lnTo>
                    <a:lnTo>
                      <a:pt x="98" y="295"/>
                    </a:lnTo>
                    <a:lnTo>
                      <a:pt x="97" y="295"/>
                    </a:lnTo>
                    <a:lnTo>
                      <a:pt x="97" y="294"/>
                    </a:lnTo>
                    <a:lnTo>
                      <a:pt x="97" y="293"/>
                    </a:lnTo>
                    <a:lnTo>
                      <a:pt x="96" y="293"/>
                    </a:lnTo>
                    <a:lnTo>
                      <a:pt x="96" y="292"/>
                    </a:lnTo>
                    <a:lnTo>
                      <a:pt x="94" y="292"/>
                    </a:lnTo>
                    <a:lnTo>
                      <a:pt x="94" y="290"/>
                    </a:lnTo>
                    <a:lnTo>
                      <a:pt x="94" y="289"/>
                    </a:lnTo>
                    <a:lnTo>
                      <a:pt x="94" y="288"/>
                    </a:lnTo>
                    <a:lnTo>
                      <a:pt x="94" y="287"/>
                    </a:lnTo>
                    <a:lnTo>
                      <a:pt x="96" y="287"/>
                    </a:lnTo>
                    <a:lnTo>
                      <a:pt x="96" y="286"/>
                    </a:lnTo>
                    <a:lnTo>
                      <a:pt x="96" y="285"/>
                    </a:lnTo>
                    <a:lnTo>
                      <a:pt x="96" y="284"/>
                    </a:lnTo>
                    <a:lnTo>
                      <a:pt x="96" y="283"/>
                    </a:lnTo>
                    <a:lnTo>
                      <a:pt x="97" y="282"/>
                    </a:lnTo>
                    <a:lnTo>
                      <a:pt x="97" y="281"/>
                    </a:lnTo>
                    <a:lnTo>
                      <a:pt x="97" y="280"/>
                    </a:lnTo>
                    <a:lnTo>
                      <a:pt x="97" y="279"/>
                    </a:lnTo>
                    <a:lnTo>
                      <a:pt x="96" y="279"/>
                    </a:lnTo>
                    <a:lnTo>
                      <a:pt x="96" y="277"/>
                    </a:lnTo>
                    <a:lnTo>
                      <a:pt x="94" y="277"/>
                    </a:lnTo>
                    <a:lnTo>
                      <a:pt x="93" y="277"/>
                    </a:lnTo>
                    <a:lnTo>
                      <a:pt x="90" y="277"/>
                    </a:lnTo>
                    <a:lnTo>
                      <a:pt x="89" y="277"/>
                    </a:lnTo>
                    <a:lnTo>
                      <a:pt x="88" y="279"/>
                    </a:lnTo>
                    <a:lnTo>
                      <a:pt x="87" y="279"/>
                    </a:lnTo>
                    <a:lnTo>
                      <a:pt x="87" y="280"/>
                    </a:lnTo>
                    <a:lnTo>
                      <a:pt x="86" y="279"/>
                    </a:lnTo>
                    <a:lnTo>
                      <a:pt x="86" y="280"/>
                    </a:lnTo>
                    <a:lnTo>
                      <a:pt x="86" y="281"/>
                    </a:lnTo>
                    <a:lnTo>
                      <a:pt x="87" y="281"/>
                    </a:lnTo>
                    <a:lnTo>
                      <a:pt x="87" y="283"/>
                    </a:lnTo>
                    <a:lnTo>
                      <a:pt x="87" y="284"/>
                    </a:lnTo>
                    <a:lnTo>
                      <a:pt x="88" y="284"/>
                    </a:lnTo>
                    <a:lnTo>
                      <a:pt x="89" y="285"/>
                    </a:lnTo>
                    <a:lnTo>
                      <a:pt x="90" y="285"/>
                    </a:lnTo>
                    <a:lnTo>
                      <a:pt x="90" y="286"/>
                    </a:lnTo>
                    <a:lnTo>
                      <a:pt x="91" y="286"/>
                    </a:lnTo>
                    <a:lnTo>
                      <a:pt x="92" y="286"/>
                    </a:lnTo>
                    <a:lnTo>
                      <a:pt x="92" y="287"/>
                    </a:lnTo>
                    <a:lnTo>
                      <a:pt x="92" y="288"/>
                    </a:lnTo>
                    <a:lnTo>
                      <a:pt x="91" y="289"/>
                    </a:lnTo>
                    <a:lnTo>
                      <a:pt x="91" y="290"/>
                    </a:lnTo>
                    <a:lnTo>
                      <a:pt x="91" y="292"/>
                    </a:lnTo>
                    <a:lnTo>
                      <a:pt x="90" y="292"/>
                    </a:lnTo>
                    <a:lnTo>
                      <a:pt x="89" y="292"/>
                    </a:lnTo>
                    <a:lnTo>
                      <a:pt x="89" y="293"/>
                    </a:lnTo>
                    <a:lnTo>
                      <a:pt x="90" y="293"/>
                    </a:lnTo>
                    <a:lnTo>
                      <a:pt x="90" y="294"/>
                    </a:lnTo>
                    <a:lnTo>
                      <a:pt x="89" y="294"/>
                    </a:lnTo>
                    <a:lnTo>
                      <a:pt x="88" y="295"/>
                    </a:lnTo>
                    <a:lnTo>
                      <a:pt x="88" y="296"/>
                    </a:lnTo>
                    <a:lnTo>
                      <a:pt x="89" y="296"/>
                    </a:lnTo>
                    <a:lnTo>
                      <a:pt x="89" y="297"/>
                    </a:lnTo>
                    <a:lnTo>
                      <a:pt x="88" y="297"/>
                    </a:lnTo>
                    <a:lnTo>
                      <a:pt x="88" y="298"/>
                    </a:lnTo>
                    <a:lnTo>
                      <a:pt x="88" y="299"/>
                    </a:lnTo>
                    <a:lnTo>
                      <a:pt x="88" y="300"/>
                    </a:lnTo>
                    <a:lnTo>
                      <a:pt x="88" y="301"/>
                    </a:lnTo>
                    <a:lnTo>
                      <a:pt x="87" y="301"/>
                    </a:lnTo>
                    <a:lnTo>
                      <a:pt x="87" y="302"/>
                    </a:lnTo>
                    <a:lnTo>
                      <a:pt x="87" y="303"/>
                    </a:lnTo>
                    <a:lnTo>
                      <a:pt x="88" y="303"/>
                    </a:lnTo>
                    <a:lnTo>
                      <a:pt x="89" y="303"/>
                    </a:lnTo>
                    <a:lnTo>
                      <a:pt x="89" y="305"/>
                    </a:lnTo>
                    <a:lnTo>
                      <a:pt x="90" y="305"/>
                    </a:lnTo>
                    <a:lnTo>
                      <a:pt x="90" y="306"/>
                    </a:lnTo>
                    <a:lnTo>
                      <a:pt x="91" y="306"/>
                    </a:lnTo>
                    <a:lnTo>
                      <a:pt x="91" y="307"/>
                    </a:lnTo>
                    <a:lnTo>
                      <a:pt x="90" y="307"/>
                    </a:lnTo>
                    <a:lnTo>
                      <a:pt x="89" y="307"/>
                    </a:lnTo>
                    <a:lnTo>
                      <a:pt x="88" y="307"/>
                    </a:lnTo>
                    <a:lnTo>
                      <a:pt x="88" y="308"/>
                    </a:lnTo>
                    <a:lnTo>
                      <a:pt x="87" y="308"/>
                    </a:lnTo>
                    <a:lnTo>
                      <a:pt x="87" y="309"/>
                    </a:lnTo>
                    <a:lnTo>
                      <a:pt x="87" y="310"/>
                    </a:lnTo>
                    <a:lnTo>
                      <a:pt x="87" y="311"/>
                    </a:lnTo>
                    <a:lnTo>
                      <a:pt x="88" y="311"/>
                    </a:lnTo>
                    <a:lnTo>
                      <a:pt x="88" y="312"/>
                    </a:lnTo>
                    <a:lnTo>
                      <a:pt x="89" y="312"/>
                    </a:lnTo>
                    <a:lnTo>
                      <a:pt x="90" y="312"/>
                    </a:lnTo>
                    <a:lnTo>
                      <a:pt x="90" y="311"/>
                    </a:lnTo>
                    <a:lnTo>
                      <a:pt x="91" y="311"/>
                    </a:lnTo>
                    <a:lnTo>
                      <a:pt x="92" y="311"/>
                    </a:lnTo>
                    <a:lnTo>
                      <a:pt x="92" y="312"/>
                    </a:lnTo>
                    <a:lnTo>
                      <a:pt x="92" y="311"/>
                    </a:lnTo>
                    <a:lnTo>
                      <a:pt x="93" y="311"/>
                    </a:lnTo>
                    <a:lnTo>
                      <a:pt x="93" y="312"/>
                    </a:lnTo>
                    <a:lnTo>
                      <a:pt x="94" y="311"/>
                    </a:lnTo>
                    <a:lnTo>
                      <a:pt x="96" y="311"/>
                    </a:lnTo>
                    <a:lnTo>
                      <a:pt x="96" y="312"/>
                    </a:lnTo>
                    <a:lnTo>
                      <a:pt x="96" y="313"/>
                    </a:lnTo>
                    <a:lnTo>
                      <a:pt x="94" y="313"/>
                    </a:lnTo>
                    <a:lnTo>
                      <a:pt x="93" y="313"/>
                    </a:lnTo>
                    <a:lnTo>
                      <a:pt x="92" y="313"/>
                    </a:lnTo>
                    <a:lnTo>
                      <a:pt x="92" y="312"/>
                    </a:lnTo>
                    <a:lnTo>
                      <a:pt x="91" y="312"/>
                    </a:lnTo>
                    <a:lnTo>
                      <a:pt x="90" y="313"/>
                    </a:lnTo>
                    <a:lnTo>
                      <a:pt x="89" y="313"/>
                    </a:lnTo>
                    <a:lnTo>
                      <a:pt x="88" y="313"/>
                    </a:lnTo>
                    <a:lnTo>
                      <a:pt x="87" y="313"/>
                    </a:lnTo>
                    <a:lnTo>
                      <a:pt x="86" y="312"/>
                    </a:lnTo>
                    <a:lnTo>
                      <a:pt x="85" y="312"/>
                    </a:lnTo>
                    <a:lnTo>
                      <a:pt x="85" y="313"/>
                    </a:lnTo>
                    <a:lnTo>
                      <a:pt x="84" y="313"/>
                    </a:lnTo>
                    <a:lnTo>
                      <a:pt x="84" y="314"/>
                    </a:lnTo>
                    <a:lnTo>
                      <a:pt x="84" y="315"/>
                    </a:lnTo>
                    <a:lnTo>
                      <a:pt x="83" y="314"/>
                    </a:lnTo>
                    <a:lnTo>
                      <a:pt x="81" y="314"/>
                    </a:lnTo>
                    <a:lnTo>
                      <a:pt x="83" y="314"/>
                    </a:lnTo>
                    <a:lnTo>
                      <a:pt x="81" y="314"/>
                    </a:lnTo>
                    <a:lnTo>
                      <a:pt x="80" y="314"/>
                    </a:lnTo>
                    <a:lnTo>
                      <a:pt x="80" y="313"/>
                    </a:lnTo>
                    <a:lnTo>
                      <a:pt x="80" y="314"/>
                    </a:lnTo>
                    <a:lnTo>
                      <a:pt x="79" y="313"/>
                    </a:lnTo>
                    <a:lnTo>
                      <a:pt x="79" y="314"/>
                    </a:lnTo>
                    <a:lnTo>
                      <a:pt x="78" y="314"/>
                    </a:lnTo>
                    <a:lnTo>
                      <a:pt x="77" y="314"/>
                    </a:lnTo>
                    <a:lnTo>
                      <a:pt x="76" y="314"/>
                    </a:lnTo>
                    <a:lnTo>
                      <a:pt x="75" y="315"/>
                    </a:lnTo>
                    <a:lnTo>
                      <a:pt x="74" y="315"/>
                    </a:lnTo>
                    <a:lnTo>
                      <a:pt x="73" y="315"/>
                    </a:lnTo>
                    <a:lnTo>
                      <a:pt x="72" y="315"/>
                    </a:lnTo>
                    <a:lnTo>
                      <a:pt x="71" y="314"/>
                    </a:lnTo>
                    <a:lnTo>
                      <a:pt x="71" y="313"/>
                    </a:lnTo>
                    <a:lnTo>
                      <a:pt x="71" y="312"/>
                    </a:lnTo>
                    <a:lnTo>
                      <a:pt x="70" y="312"/>
                    </a:lnTo>
                    <a:lnTo>
                      <a:pt x="70" y="311"/>
                    </a:lnTo>
                    <a:lnTo>
                      <a:pt x="68" y="311"/>
                    </a:lnTo>
                    <a:lnTo>
                      <a:pt x="67" y="311"/>
                    </a:lnTo>
                    <a:lnTo>
                      <a:pt x="67" y="310"/>
                    </a:lnTo>
                    <a:lnTo>
                      <a:pt x="66" y="311"/>
                    </a:lnTo>
                    <a:lnTo>
                      <a:pt x="65" y="311"/>
                    </a:lnTo>
                    <a:lnTo>
                      <a:pt x="64" y="311"/>
                    </a:lnTo>
                    <a:lnTo>
                      <a:pt x="63" y="311"/>
                    </a:lnTo>
                    <a:lnTo>
                      <a:pt x="63" y="312"/>
                    </a:lnTo>
                    <a:lnTo>
                      <a:pt x="62" y="312"/>
                    </a:lnTo>
                    <a:lnTo>
                      <a:pt x="61" y="313"/>
                    </a:lnTo>
                    <a:lnTo>
                      <a:pt x="60" y="313"/>
                    </a:lnTo>
                    <a:lnTo>
                      <a:pt x="60" y="305"/>
                    </a:lnTo>
                    <a:lnTo>
                      <a:pt x="60" y="302"/>
                    </a:lnTo>
                    <a:lnTo>
                      <a:pt x="60" y="301"/>
                    </a:lnTo>
                    <a:lnTo>
                      <a:pt x="60" y="295"/>
                    </a:lnTo>
                    <a:lnTo>
                      <a:pt x="59" y="295"/>
                    </a:lnTo>
                    <a:lnTo>
                      <a:pt x="59" y="287"/>
                    </a:lnTo>
                    <a:lnTo>
                      <a:pt x="59" y="286"/>
                    </a:lnTo>
                    <a:lnTo>
                      <a:pt x="59" y="282"/>
                    </a:lnTo>
                    <a:lnTo>
                      <a:pt x="59" y="281"/>
                    </a:lnTo>
                    <a:lnTo>
                      <a:pt x="59" y="272"/>
                    </a:lnTo>
                    <a:lnTo>
                      <a:pt x="59" y="271"/>
                    </a:lnTo>
                    <a:lnTo>
                      <a:pt x="59" y="270"/>
                    </a:lnTo>
                    <a:lnTo>
                      <a:pt x="59" y="268"/>
                    </a:lnTo>
                    <a:lnTo>
                      <a:pt x="59" y="266"/>
                    </a:lnTo>
                    <a:lnTo>
                      <a:pt x="59" y="264"/>
                    </a:lnTo>
                    <a:lnTo>
                      <a:pt x="59" y="262"/>
                    </a:lnTo>
                    <a:lnTo>
                      <a:pt x="59" y="261"/>
                    </a:lnTo>
                    <a:lnTo>
                      <a:pt x="59" y="260"/>
                    </a:lnTo>
                    <a:lnTo>
                      <a:pt x="59" y="259"/>
                    </a:lnTo>
                    <a:lnTo>
                      <a:pt x="59" y="258"/>
                    </a:lnTo>
                    <a:lnTo>
                      <a:pt x="58" y="258"/>
                    </a:lnTo>
                    <a:lnTo>
                      <a:pt x="58" y="259"/>
                    </a:lnTo>
                    <a:lnTo>
                      <a:pt x="57" y="260"/>
                    </a:lnTo>
                    <a:lnTo>
                      <a:pt x="55" y="260"/>
                    </a:lnTo>
                    <a:lnTo>
                      <a:pt x="55" y="259"/>
                    </a:lnTo>
                    <a:lnTo>
                      <a:pt x="54" y="259"/>
                    </a:lnTo>
                    <a:lnTo>
                      <a:pt x="54" y="258"/>
                    </a:lnTo>
                    <a:lnTo>
                      <a:pt x="55" y="258"/>
                    </a:lnTo>
                    <a:lnTo>
                      <a:pt x="55" y="257"/>
                    </a:lnTo>
                    <a:lnTo>
                      <a:pt x="54" y="256"/>
                    </a:lnTo>
                    <a:lnTo>
                      <a:pt x="54" y="255"/>
                    </a:lnTo>
                    <a:lnTo>
                      <a:pt x="54" y="254"/>
                    </a:lnTo>
                    <a:lnTo>
                      <a:pt x="54" y="253"/>
                    </a:lnTo>
                    <a:lnTo>
                      <a:pt x="53" y="251"/>
                    </a:lnTo>
                    <a:lnTo>
                      <a:pt x="53" y="250"/>
                    </a:lnTo>
                    <a:lnTo>
                      <a:pt x="53" y="245"/>
                    </a:lnTo>
                    <a:lnTo>
                      <a:pt x="53" y="243"/>
                    </a:lnTo>
                    <a:lnTo>
                      <a:pt x="53" y="242"/>
                    </a:lnTo>
                    <a:lnTo>
                      <a:pt x="53" y="241"/>
                    </a:lnTo>
                    <a:lnTo>
                      <a:pt x="54" y="239"/>
                    </a:lnTo>
                    <a:lnTo>
                      <a:pt x="55" y="238"/>
                    </a:lnTo>
                    <a:lnTo>
                      <a:pt x="57" y="238"/>
                    </a:lnTo>
                    <a:lnTo>
                      <a:pt x="57" y="237"/>
                    </a:lnTo>
                    <a:lnTo>
                      <a:pt x="57" y="236"/>
                    </a:lnTo>
                    <a:lnTo>
                      <a:pt x="57" y="235"/>
                    </a:lnTo>
                    <a:lnTo>
                      <a:pt x="57" y="234"/>
                    </a:lnTo>
                    <a:lnTo>
                      <a:pt x="55" y="234"/>
                    </a:lnTo>
                    <a:lnTo>
                      <a:pt x="55" y="233"/>
                    </a:lnTo>
                    <a:lnTo>
                      <a:pt x="54" y="233"/>
                    </a:lnTo>
                    <a:lnTo>
                      <a:pt x="54" y="232"/>
                    </a:lnTo>
                    <a:lnTo>
                      <a:pt x="55" y="231"/>
                    </a:lnTo>
                    <a:lnTo>
                      <a:pt x="57" y="230"/>
                    </a:lnTo>
                    <a:lnTo>
                      <a:pt x="58" y="230"/>
                    </a:lnTo>
                    <a:lnTo>
                      <a:pt x="58" y="229"/>
                    </a:lnTo>
                    <a:lnTo>
                      <a:pt x="58" y="228"/>
                    </a:lnTo>
                    <a:lnTo>
                      <a:pt x="58" y="226"/>
                    </a:lnTo>
                    <a:lnTo>
                      <a:pt x="58" y="225"/>
                    </a:lnTo>
                    <a:lnTo>
                      <a:pt x="59" y="224"/>
                    </a:lnTo>
                    <a:lnTo>
                      <a:pt x="60" y="224"/>
                    </a:lnTo>
                    <a:lnTo>
                      <a:pt x="61" y="223"/>
                    </a:lnTo>
                    <a:lnTo>
                      <a:pt x="61" y="222"/>
                    </a:lnTo>
                    <a:lnTo>
                      <a:pt x="60" y="222"/>
                    </a:lnTo>
                    <a:lnTo>
                      <a:pt x="60" y="223"/>
                    </a:lnTo>
                    <a:lnTo>
                      <a:pt x="59" y="223"/>
                    </a:lnTo>
                    <a:lnTo>
                      <a:pt x="58" y="223"/>
                    </a:lnTo>
                    <a:lnTo>
                      <a:pt x="58" y="222"/>
                    </a:lnTo>
                    <a:lnTo>
                      <a:pt x="58" y="221"/>
                    </a:lnTo>
                    <a:lnTo>
                      <a:pt x="58" y="220"/>
                    </a:lnTo>
                    <a:lnTo>
                      <a:pt x="58" y="219"/>
                    </a:lnTo>
                    <a:lnTo>
                      <a:pt x="58" y="218"/>
                    </a:lnTo>
                    <a:lnTo>
                      <a:pt x="59" y="217"/>
                    </a:lnTo>
                    <a:lnTo>
                      <a:pt x="58" y="216"/>
                    </a:lnTo>
                    <a:lnTo>
                      <a:pt x="57" y="215"/>
                    </a:lnTo>
                    <a:lnTo>
                      <a:pt x="57" y="213"/>
                    </a:lnTo>
                    <a:lnTo>
                      <a:pt x="57" y="212"/>
                    </a:lnTo>
                    <a:lnTo>
                      <a:pt x="58" y="211"/>
                    </a:lnTo>
                    <a:lnTo>
                      <a:pt x="58" y="210"/>
                    </a:lnTo>
                    <a:lnTo>
                      <a:pt x="59" y="209"/>
                    </a:lnTo>
                    <a:lnTo>
                      <a:pt x="58" y="209"/>
                    </a:lnTo>
                    <a:lnTo>
                      <a:pt x="58" y="208"/>
                    </a:lnTo>
                    <a:lnTo>
                      <a:pt x="57" y="208"/>
                    </a:lnTo>
                    <a:lnTo>
                      <a:pt x="55" y="208"/>
                    </a:lnTo>
                    <a:lnTo>
                      <a:pt x="54" y="207"/>
                    </a:lnTo>
                    <a:lnTo>
                      <a:pt x="54" y="206"/>
                    </a:lnTo>
                    <a:lnTo>
                      <a:pt x="53" y="205"/>
                    </a:lnTo>
                    <a:lnTo>
                      <a:pt x="53" y="204"/>
                    </a:lnTo>
                    <a:lnTo>
                      <a:pt x="54" y="204"/>
                    </a:lnTo>
                    <a:lnTo>
                      <a:pt x="55" y="204"/>
                    </a:lnTo>
                    <a:lnTo>
                      <a:pt x="55" y="203"/>
                    </a:lnTo>
                    <a:lnTo>
                      <a:pt x="55" y="202"/>
                    </a:lnTo>
                    <a:lnTo>
                      <a:pt x="54" y="200"/>
                    </a:lnTo>
                    <a:lnTo>
                      <a:pt x="53" y="199"/>
                    </a:lnTo>
                    <a:lnTo>
                      <a:pt x="52" y="199"/>
                    </a:lnTo>
                    <a:lnTo>
                      <a:pt x="52" y="198"/>
                    </a:lnTo>
                    <a:lnTo>
                      <a:pt x="51" y="199"/>
                    </a:lnTo>
                    <a:lnTo>
                      <a:pt x="50" y="199"/>
                    </a:lnTo>
                    <a:lnTo>
                      <a:pt x="49" y="199"/>
                    </a:lnTo>
                    <a:lnTo>
                      <a:pt x="48" y="199"/>
                    </a:lnTo>
                    <a:lnTo>
                      <a:pt x="48" y="198"/>
                    </a:lnTo>
                    <a:lnTo>
                      <a:pt x="47" y="198"/>
                    </a:lnTo>
                    <a:lnTo>
                      <a:pt x="46" y="199"/>
                    </a:lnTo>
                    <a:lnTo>
                      <a:pt x="45" y="198"/>
                    </a:lnTo>
                    <a:lnTo>
                      <a:pt x="45" y="197"/>
                    </a:lnTo>
                    <a:lnTo>
                      <a:pt x="45" y="196"/>
                    </a:lnTo>
                    <a:lnTo>
                      <a:pt x="44" y="193"/>
                    </a:lnTo>
                    <a:lnTo>
                      <a:pt x="42" y="189"/>
                    </a:lnTo>
                    <a:lnTo>
                      <a:pt x="42" y="186"/>
                    </a:lnTo>
                    <a:lnTo>
                      <a:pt x="41" y="184"/>
                    </a:lnTo>
                    <a:lnTo>
                      <a:pt x="40" y="181"/>
                    </a:lnTo>
                    <a:lnTo>
                      <a:pt x="40" y="178"/>
                    </a:lnTo>
                    <a:lnTo>
                      <a:pt x="40" y="177"/>
                    </a:lnTo>
                    <a:lnTo>
                      <a:pt x="39" y="174"/>
                    </a:lnTo>
                    <a:lnTo>
                      <a:pt x="39" y="173"/>
                    </a:lnTo>
                    <a:lnTo>
                      <a:pt x="38" y="170"/>
                    </a:lnTo>
                    <a:lnTo>
                      <a:pt x="36" y="163"/>
                    </a:lnTo>
                    <a:lnTo>
                      <a:pt x="34" y="159"/>
                    </a:lnTo>
                    <a:lnTo>
                      <a:pt x="29" y="154"/>
                    </a:lnTo>
                    <a:lnTo>
                      <a:pt x="28" y="154"/>
                    </a:lnTo>
                    <a:lnTo>
                      <a:pt x="28" y="153"/>
                    </a:lnTo>
                    <a:lnTo>
                      <a:pt x="27" y="152"/>
                    </a:lnTo>
                    <a:lnTo>
                      <a:pt x="26" y="151"/>
                    </a:lnTo>
                    <a:lnTo>
                      <a:pt x="25" y="149"/>
                    </a:lnTo>
                    <a:lnTo>
                      <a:pt x="23" y="144"/>
                    </a:lnTo>
                    <a:lnTo>
                      <a:pt x="22" y="141"/>
                    </a:lnTo>
                    <a:lnTo>
                      <a:pt x="22" y="140"/>
                    </a:lnTo>
                    <a:lnTo>
                      <a:pt x="21" y="139"/>
                    </a:lnTo>
                    <a:lnTo>
                      <a:pt x="20" y="138"/>
                    </a:lnTo>
                    <a:lnTo>
                      <a:pt x="20" y="136"/>
                    </a:lnTo>
                    <a:lnTo>
                      <a:pt x="18" y="133"/>
                    </a:lnTo>
                    <a:lnTo>
                      <a:pt x="16" y="133"/>
                    </a:lnTo>
                    <a:lnTo>
                      <a:pt x="13" y="129"/>
                    </a:lnTo>
                    <a:lnTo>
                      <a:pt x="12" y="128"/>
                    </a:lnTo>
                    <a:lnTo>
                      <a:pt x="8" y="122"/>
                    </a:lnTo>
                    <a:lnTo>
                      <a:pt x="5" y="117"/>
                    </a:lnTo>
                    <a:lnTo>
                      <a:pt x="5" y="116"/>
                    </a:lnTo>
                    <a:lnTo>
                      <a:pt x="5" y="115"/>
                    </a:lnTo>
                    <a:lnTo>
                      <a:pt x="6" y="114"/>
                    </a:lnTo>
                    <a:lnTo>
                      <a:pt x="6" y="109"/>
                    </a:lnTo>
                    <a:lnTo>
                      <a:pt x="6" y="108"/>
                    </a:lnTo>
                    <a:lnTo>
                      <a:pt x="6" y="106"/>
                    </a:lnTo>
                    <a:lnTo>
                      <a:pt x="2" y="100"/>
                    </a:lnTo>
                    <a:lnTo>
                      <a:pt x="0" y="94"/>
                    </a:lnTo>
                    <a:lnTo>
                      <a:pt x="0" y="93"/>
                    </a:lnTo>
                    <a:lnTo>
                      <a:pt x="1" y="93"/>
                    </a:lnTo>
                    <a:lnTo>
                      <a:pt x="1" y="92"/>
                    </a:lnTo>
                    <a:lnTo>
                      <a:pt x="2" y="91"/>
                    </a:lnTo>
                    <a:lnTo>
                      <a:pt x="3" y="90"/>
                    </a:lnTo>
                    <a:lnTo>
                      <a:pt x="5" y="89"/>
                    </a:lnTo>
                    <a:lnTo>
                      <a:pt x="8" y="86"/>
                    </a:lnTo>
                    <a:lnTo>
                      <a:pt x="9" y="86"/>
                    </a:lnTo>
                    <a:lnTo>
                      <a:pt x="9" y="84"/>
                    </a:lnTo>
                    <a:lnTo>
                      <a:pt x="9" y="83"/>
                    </a:lnTo>
                    <a:lnTo>
                      <a:pt x="8" y="83"/>
                    </a:lnTo>
                    <a:lnTo>
                      <a:pt x="7" y="82"/>
                    </a:lnTo>
                    <a:lnTo>
                      <a:pt x="7" y="81"/>
                    </a:lnTo>
                    <a:lnTo>
                      <a:pt x="7" y="80"/>
                    </a:lnTo>
                    <a:lnTo>
                      <a:pt x="6" y="79"/>
                    </a:lnTo>
                    <a:lnTo>
                      <a:pt x="5" y="75"/>
                    </a:lnTo>
                    <a:lnTo>
                      <a:pt x="5" y="74"/>
                    </a:lnTo>
                    <a:lnTo>
                      <a:pt x="5" y="72"/>
                    </a:lnTo>
                    <a:lnTo>
                      <a:pt x="3" y="71"/>
                    </a:lnTo>
                    <a:lnTo>
                      <a:pt x="2" y="70"/>
                    </a:lnTo>
                    <a:lnTo>
                      <a:pt x="2" y="69"/>
                    </a:lnTo>
                    <a:lnTo>
                      <a:pt x="2" y="68"/>
                    </a:lnTo>
                    <a:lnTo>
                      <a:pt x="2" y="67"/>
                    </a:lnTo>
                    <a:lnTo>
                      <a:pt x="2" y="66"/>
                    </a:lnTo>
                    <a:lnTo>
                      <a:pt x="3" y="62"/>
                    </a:lnTo>
                    <a:lnTo>
                      <a:pt x="3" y="59"/>
                    </a:lnTo>
                    <a:lnTo>
                      <a:pt x="5" y="57"/>
                    </a:lnTo>
                    <a:lnTo>
                      <a:pt x="5" y="56"/>
                    </a:lnTo>
                    <a:lnTo>
                      <a:pt x="5" y="55"/>
                    </a:lnTo>
                    <a:lnTo>
                      <a:pt x="3" y="54"/>
                    </a:lnTo>
                    <a:lnTo>
                      <a:pt x="3" y="53"/>
                    </a:lnTo>
                    <a:lnTo>
                      <a:pt x="5" y="53"/>
                    </a:lnTo>
                    <a:lnTo>
                      <a:pt x="5" y="52"/>
                    </a:lnTo>
                    <a:lnTo>
                      <a:pt x="6" y="52"/>
                    </a:lnTo>
                    <a:lnTo>
                      <a:pt x="6" y="51"/>
                    </a:lnTo>
                    <a:lnTo>
                      <a:pt x="7" y="50"/>
                    </a:lnTo>
                    <a:lnTo>
                      <a:pt x="8" y="50"/>
                    </a:lnTo>
                    <a:lnTo>
                      <a:pt x="9" y="50"/>
                    </a:lnTo>
                    <a:lnTo>
                      <a:pt x="9" y="49"/>
                    </a:lnTo>
                    <a:lnTo>
                      <a:pt x="10" y="49"/>
                    </a:lnTo>
                    <a:lnTo>
                      <a:pt x="10" y="48"/>
                    </a:lnTo>
                    <a:lnTo>
                      <a:pt x="11" y="48"/>
                    </a:lnTo>
                    <a:lnTo>
                      <a:pt x="12" y="48"/>
                    </a:lnTo>
                    <a:lnTo>
                      <a:pt x="13" y="46"/>
                    </a:lnTo>
                    <a:lnTo>
                      <a:pt x="14" y="46"/>
                    </a:lnTo>
                    <a:lnTo>
                      <a:pt x="15" y="45"/>
                    </a:lnTo>
                    <a:lnTo>
                      <a:pt x="19" y="44"/>
                    </a:lnTo>
                    <a:lnTo>
                      <a:pt x="20" y="43"/>
                    </a:lnTo>
                    <a:lnTo>
                      <a:pt x="21" y="42"/>
                    </a:lnTo>
                    <a:lnTo>
                      <a:pt x="21" y="41"/>
                    </a:lnTo>
                    <a:lnTo>
                      <a:pt x="22" y="41"/>
                    </a:lnTo>
                    <a:lnTo>
                      <a:pt x="23" y="41"/>
                    </a:lnTo>
                    <a:lnTo>
                      <a:pt x="25" y="40"/>
                    </a:lnTo>
                    <a:lnTo>
                      <a:pt x="26" y="39"/>
                    </a:lnTo>
                    <a:lnTo>
                      <a:pt x="27" y="38"/>
                    </a:lnTo>
                    <a:lnTo>
                      <a:pt x="29" y="36"/>
                    </a:lnTo>
                    <a:lnTo>
                      <a:pt x="31" y="35"/>
                    </a:lnTo>
                    <a:lnTo>
                      <a:pt x="31" y="33"/>
                    </a:lnTo>
                    <a:lnTo>
                      <a:pt x="31" y="31"/>
                    </a:lnTo>
                    <a:lnTo>
                      <a:pt x="32" y="30"/>
                    </a:lnTo>
                    <a:lnTo>
                      <a:pt x="32" y="29"/>
                    </a:lnTo>
                    <a:lnTo>
                      <a:pt x="32" y="28"/>
                    </a:lnTo>
                    <a:lnTo>
                      <a:pt x="32" y="27"/>
                    </a:lnTo>
                    <a:lnTo>
                      <a:pt x="32" y="26"/>
                    </a:lnTo>
                    <a:lnTo>
                      <a:pt x="33" y="24"/>
                    </a:lnTo>
                    <a:lnTo>
                      <a:pt x="34" y="23"/>
                    </a:lnTo>
                    <a:lnTo>
                      <a:pt x="34" y="20"/>
                    </a:lnTo>
                    <a:lnTo>
                      <a:pt x="35" y="20"/>
                    </a:lnTo>
                    <a:lnTo>
                      <a:pt x="35" y="18"/>
                    </a:lnTo>
                    <a:lnTo>
                      <a:pt x="36" y="16"/>
                    </a:lnTo>
                    <a:lnTo>
                      <a:pt x="37" y="16"/>
                    </a:lnTo>
                    <a:lnTo>
                      <a:pt x="38" y="13"/>
                    </a:lnTo>
                    <a:lnTo>
                      <a:pt x="40" y="9"/>
                    </a:lnTo>
                    <a:lnTo>
                      <a:pt x="41" y="6"/>
                    </a:lnTo>
                    <a:lnTo>
                      <a:pt x="45" y="9"/>
                    </a:lnTo>
                    <a:lnTo>
                      <a:pt x="45" y="4"/>
                    </a:lnTo>
                    <a:lnTo>
                      <a:pt x="48" y="7"/>
                    </a:lnTo>
                    <a:lnTo>
                      <a:pt x="49" y="7"/>
                    </a:lnTo>
                    <a:lnTo>
                      <a:pt x="49" y="9"/>
                    </a:lnTo>
                    <a:lnTo>
                      <a:pt x="50" y="9"/>
                    </a:lnTo>
                    <a:lnTo>
                      <a:pt x="52" y="11"/>
                    </a:lnTo>
                    <a:lnTo>
                      <a:pt x="53" y="5"/>
                    </a:lnTo>
                    <a:lnTo>
                      <a:pt x="53" y="4"/>
                    </a:lnTo>
                    <a:lnTo>
                      <a:pt x="53" y="0"/>
                    </a:lnTo>
                    <a:lnTo>
                      <a:pt x="54" y="0"/>
                    </a:lnTo>
                    <a:lnTo>
                      <a:pt x="55" y="0"/>
                    </a:lnTo>
                    <a:lnTo>
                      <a:pt x="57" y="0"/>
                    </a:lnTo>
                    <a:lnTo>
                      <a:pt x="59" y="1"/>
                    </a:lnTo>
                    <a:lnTo>
                      <a:pt x="59" y="2"/>
                    </a:lnTo>
                    <a:lnTo>
                      <a:pt x="60" y="2"/>
                    </a:lnTo>
                    <a:lnTo>
                      <a:pt x="60" y="1"/>
                    </a:lnTo>
                    <a:lnTo>
                      <a:pt x="62" y="0"/>
                    </a:lnTo>
                    <a:lnTo>
                      <a:pt x="63" y="0"/>
                    </a:lnTo>
                    <a:lnTo>
                      <a:pt x="64" y="0"/>
                    </a:lnTo>
                    <a:lnTo>
                      <a:pt x="71" y="1"/>
                    </a:lnTo>
                    <a:lnTo>
                      <a:pt x="75" y="3"/>
                    </a:lnTo>
                    <a:lnTo>
                      <a:pt x="76" y="3"/>
                    </a:lnTo>
                    <a:lnTo>
                      <a:pt x="77" y="4"/>
                    </a:lnTo>
                    <a:lnTo>
                      <a:pt x="85" y="7"/>
                    </a:lnTo>
                    <a:lnTo>
                      <a:pt x="86" y="7"/>
                    </a:lnTo>
                    <a:lnTo>
                      <a:pt x="86" y="9"/>
                    </a:lnTo>
                    <a:lnTo>
                      <a:pt x="87" y="11"/>
                    </a:lnTo>
                    <a:lnTo>
                      <a:pt x="89" y="13"/>
                    </a:lnTo>
                    <a:lnTo>
                      <a:pt x="89" y="14"/>
                    </a:lnTo>
                    <a:lnTo>
                      <a:pt x="93" y="20"/>
                    </a:lnTo>
                    <a:lnTo>
                      <a:pt x="94" y="24"/>
                    </a:lnTo>
                    <a:lnTo>
                      <a:pt x="96" y="26"/>
                    </a:lnTo>
                    <a:lnTo>
                      <a:pt x="97" y="27"/>
                    </a:lnTo>
                    <a:lnTo>
                      <a:pt x="98" y="26"/>
                    </a:lnTo>
                    <a:lnTo>
                      <a:pt x="99" y="26"/>
                    </a:lnTo>
                    <a:lnTo>
                      <a:pt x="101" y="25"/>
                    </a:lnTo>
                    <a:close/>
                    <a:moveTo>
                      <a:pt x="549" y="428"/>
                    </a:moveTo>
                    <a:lnTo>
                      <a:pt x="550" y="428"/>
                    </a:lnTo>
                    <a:lnTo>
                      <a:pt x="551" y="428"/>
                    </a:lnTo>
                    <a:lnTo>
                      <a:pt x="552" y="428"/>
                    </a:lnTo>
                    <a:lnTo>
                      <a:pt x="553" y="428"/>
                    </a:lnTo>
                    <a:lnTo>
                      <a:pt x="553" y="429"/>
                    </a:lnTo>
                    <a:lnTo>
                      <a:pt x="554" y="429"/>
                    </a:lnTo>
                    <a:lnTo>
                      <a:pt x="555" y="430"/>
                    </a:lnTo>
                    <a:lnTo>
                      <a:pt x="554" y="430"/>
                    </a:lnTo>
                    <a:lnTo>
                      <a:pt x="554" y="429"/>
                    </a:lnTo>
                    <a:lnTo>
                      <a:pt x="554" y="430"/>
                    </a:lnTo>
                    <a:lnTo>
                      <a:pt x="555" y="430"/>
                    </a:lnTo>
                    <a:lnTo>
                      <a:pt x="554" y="430"/>
                    </a:lnTo>
                    <a:lnTo>
                      <a:pt x="555" y="430"/>
                    </a:lnTo>
                    <a:lnTo>
                      <a:pt x="556" y="430"/>
                    </a:lnTo>
                    <a:lnTo>
                      <a:pt x="557" y="431"/>
                    </a:lnTo>
                    <a:lnTo>
                      <a:pt x="558" y="431"/>
                    </a:lnTo>
                    <a:lnTo>
                      <a:pt x="557" y="433"/>
                    </a:lnTo>
                    <a:lnTo>
                      <a:pt x="555" y="435"/>
                    </a:lnTo>
                    <a:lnTo>
                      <a:pt x="555" y="436"/>
                    </a:lnTo>
                    <a:lnTo>
                      <a:pt x="554" y="436"/>
                    </a:lnTo>
                    <a:lnTo>
                      <a:pt x="553" y="437"/>
                    </a:lnTo>
                    <a:lnTo>
                      <a:pt x="552" y="436"/>
                    </a:lnTo>
                    <a:lnTo>
                      <a:pt x="552" y="435"/>
                    </a:lnTo>
                    <a:lnTo>
                      <a:pt x="551" y="435"/>
                    </a:lnTo>
                    <a:lnTo>
                      <a:pt x="551" y="434"/>
                    </a:lnTo>
                    <a:lnTo>
                      <a:pt x="551" y="435"/>
                    </a:lnTo>
                    <a:lnTo>
                      <a:pt x="552" y="436"/>
                    </a:lnTo>
                    <a:lnTo>
                      <a:pt x="553" y="437"/>
                    </a:lnTo>
                    <a:lnTo>
                      <a:pt x="552" y="437"/>
                    </a:lnTo>
                    <a:lnTo>
                      <a:pt x="552" y="438"/>
                    </a:lnTo>
                    <a:lnTo>
                      <a:pt x="552" y="439"/>
                    </a:lnTo>
                    <a:lnTo>
                      <a:pt x="552" y="438"/>
                    </a:lnTo>
                    <a:lnTo>
                      <a:pt x="553" y="438"/>
                    </a:lnTo>
                    <a:lnTo>
                      <a:pt x="553" y="439"/>
                    </a:lnTo>
                    <a:lnTo>
                      <a:pt x="553" y="440"/>
                    </a:lnTo>
                    <a:lnTo>
                      <a:pt x="552" y="441"/>
                    </a:lnTo>
                    <a:lnTo>
                      <a:pt x="552" y="442"/>
                    </a:lnTo>
                    <a:lnTo>
                      <a:pt x="552" y="443"/>
                    </a:lnTo>
                    <a:lnTo>
                      <a:pt x="552" y="444"/>
                    </a:lnTo>
                    <a:lnTo>
                      <a:pt x="552" y="446"/>
                    </a:lnTo>
                    <a:lnTo>
                      <a:pt x="552" y="447"/>
                    </a:lnTo>
                    <a:lnTo>
                      <a:pt x="552" y="448"/>
                    </a:lnTo>
                    <a:lnTo>
                      <a:pt x="552" y="449"/>
                    </a:lnTo>
                    <a:lnTo>
                      <a:pt x="552" y="450"/>
                    </a:lnTo>
                    <a:lnTo>
                      <a:pt x="552" y="451"/>
                    </a:lnTo>
                    <a:lnTo>
                      <a:pt x="552" y="452"/>
                    </a:lnTo>
                    <a:lnTo>
                      <a:pt x="552" y="453"/>
                    </a:lnTo>
                    <a:lnTo>
                      <a:pt x="553" y="453"/>
                    </a:lnTo>
                    <a:lnTo>
                      <a:pt x="553" y="454"/>
                    </a:lnTo>
                    <a:lnTo>
                      <a:pt x="553" y="455"/>
                    </a:lnTo>
                    <a:lnTo>
                      <a:pt x="553" y="456"/>
                    </a:lnTo>
                    <a:lnTo>
                      <a:pt x="552" y="456"/>
                    </a:lnTo>
                    <a:lnTo>
                      <a:pt x="552" y="457"/>
                    </a:lnTo>
                    <a:lnTo>
                      <a:pt x="551" y="459"/>
                    </a:lnTo>
                    <a:lnTo>
                      <a:pt x="551" y="460"/>
                    </a:lnTo>
                    <a:lnTo>
                      <a:pt x="550" y="461"/>
                    </a:lnTo>
                    <a:lnTo>
                      <a:pt x="550" y="460"/>
                    </a:lnTo>
                    <a:lnTo>
                      <a:pt x="550" y="461"/>
                    </a:lnTo>
                    <a:lnTo>
                      <a:pt x="550" y="460"/>
                    </a:lnTo>
                    <a:lnTo>
                      <a:pt x="550" y="461"/>
                    </a:lnTo>
                    <a:lnTo>
                      <a:pt x="549" y="461"/>
                    </a:lnTo>
                    <a:lnTo>
                      <a:pt x="549" y="462"/>
                    </a:lnTo>
                    <a:lnTo>
                      <a:pt x="548" y="462"/>
                    </a:lnTo>
                    <a:lnTo>
                      <a:pt x="548" y="463"/>
                    </a:lnTo>
                    <a:lnTo>
                      <a:pt x="548" y="464"/>
                    </a:lnTo>
                    <a:lnTo>
                      <a:pt x="546" y="465"/>
                    </a:lnTo>
                    <a:lnTo>
                      <a:pt x="546" y="466"/>
                    </a:lnTo>
                    <a:lnTo>
                      <a:pt x="546" y="467"/>
                    </a:lnTo>
                    <a:lnTo>
                      <a:pt x="546" y="468"/>
                    </a:lnTo>
                    <a:lnTo>
                      <a:pt x="545" y="469"/>
                    </a:lnTo>
                    <a:lnTo>
                      <a:pt x="545" y="468"/>
                    </a:lnTo>
                    <a:lnTo>
                      <a:pt x="545" y="469"/>
                    </a:lnTo>
                    <a:lnTo>
                      <a:pt x="545" y="470"/>
                    </a:lnTo>
                    <a:lnTo>
                      <a:pt x="544" y="470"/>
                    </a:lnTo>
                    <a:lnTo>
                      <a:pt x="545" y="470"/>
                    </a:lnTo>
                    <a:lnTo>
                      <a:pt x="544" y="470"/>
                    </a:lnTo>
                    <a:lnTo>
                      <a:pt x="544" y="472"/>
                    </a:lnTo>
                    <a:lnTo>
                      <a:pt x="543" y="472"/>
                    </a:lnTo>
                    <a:lnTo>
                      <a:pt x="543" y="473"/>
                    </a:lnTo>
                    <a:lnTo>
                      <a:pt x="542" y="474"/>
                    </a:lnTo>
                    <a:lnTo>
                      <a:pt x="541" y="474"/>
                    </a:lnTo>
                    <a:lnTo>
                      <a:pt x="541" y="475"/>
                    </a:lnTo>
                    <a:lnTo>
                      <a:pt x="540" y="475"/>
                    </a:lnTo>
                    <a:lnTo>
                      <a:pt x="539" y="475"/>
                    </a:lnTo>
                    <a:lnTo>
                      <a:pt x="539" y="476"/>
                    </a:lnTo>
                    <a:lnTo>
                      <a:pt x="538" y="476"/>
                    </a:lnTo>
                    <a:lnTo>
                      <a:pt x="538" y="477"/>
                    </a:lnTo>
                    <a:lnTo>
                      <a:pt x="537" y="477"/>
                    </a:lnTo>
                    <a:lnTo>
                      <a:pt x="537" y="478"/>
                    </a:lnTo>
                    <a:lnTo>
                      <a:pt x="536" y="478"/>
                    </a:lnTo>
                    <a:lnTo>
                      <a:pt x="536" y="479"/>
                    </a:lnTo>
                    <a:lnTo>
                      <a:pt x="536" y="480"/>
                    </a:lnTo>
                    <a:lnTo>
                      <a:pt x="535" y="480"/>
                    </a:lnTo>
                    <a:lnTo>
                      <a:pt x="535" y="481"/>
                    </a:lnTo>
                    <a:lnTo>
                      <a:pt x="533" y="482"/>
                    </a:lnTo>
                    <a:lnTo>
                      <a:pt x="533" y="483"/>
                    </a:lnTo>
                    <a:lnTo>
                      <a:pt x="532" y="483"/>
                    </a:lnTo>
                    <a:lnTo>
                      <a:pt x="530" y="485"/>
                    </a:lnTo>
                    <a:lnTo>
                      <a:pt x="529" y="485"/>
                    </a:lnTo>
                    <a:lnTo>
                      <a:pt x="529" y="486"/>
                    </a:lnTo>
                    <a:lnTo>
                      <a:pt x="528" y="486"/>
                    </a:lnTo>
                    <a:lnTo>
                      <a:pt x="527" y="487"/>
                    </a:lnTo>
                    <a:lnTo>
                      <a:pt x="525" y="487"/>
                    </a:lnTo>
                    <a:lnTo>
                      <a:pt x="525" y="488"/>
                    </a:lnTo>
                    <a:lnTo>
                      <a:pt x="524" y="488"/>
                    </a:lnTo>
                    <a:lnTo>
                      <a:pt x="523" y="488"/>
                    </a:lnTo>
                    <a:lnTo>
                      <a:pt x="523" y="489"/>
                    </a:lnTo>
                    <a:lnTo>
                      <a:pt x="522" y="489"/>
                    </a:lnTo>
                    <a:lnTo>
                      <a:pt x="520" y="489"/>
                    </a:lnTo>
                    <a:lnTo>
                      <a:pt x="519" y="489"/>
                    </a:lnTo>
                    <a:lnTo>
                      <a:pt x="518" y="490"/>
                    </a:lnTo>
                    <a:lnTo>
                      <a:pt x="516" y="491"/>
                    </a:lnTo>
                    <a:lnTo>
                      <a:pt x="513" y="492"/>
                    </a:lnTo>
                    <a:lnTo>
                      <a:pt x="513" y="493"/>
                    </a:lnTo>
                    <a:lnTo>
                      <a:pt x="512" y="493"/>
                    </a:lnTo>
                    <a:lnTo>
                      <a:pt x="511" y="494"/>
                    </a:lnTo>
                    <a:lnTo>
                      <a:pt x="510" y="494"/>
                    </a:lnTo>
                    <a:lnTo>
                      <a:pt x="507" y="494"/>
                    </a:lnTo>
                    <a:lnTo>
                      <a:pt x="506" y="495"/>
                    </a:lnTo>
                    <a:lnTo>
                      <a:pt x="505" y="495"/>
                    </a:lnTo>
                    <a:lnTo>
                      <a:pt x="503" y="495"/>
                    </a:lnTo>
                    <a:lnTo>
                      <a:pt x="502" y="495"/>
                    </a:lnTo>
                    <a:lnTo>
                      <a:pt x="500" y="495"/>
                    </a:lnTo>
                    <a:lnTo>
                      <a:pt x="501" y="494"/>
                    </a:lnTo>
                    <a:lnTo>
                      <a:pt x="501" y="493"/>
                    </a:lnTo>
                    <a:lnTo>
                      <a:pt x="501" y="492"/>
                    </a:lnTo>
                    <a:lnTo>
                      <a:pt x="502" y="491"/>
                    </a:lnTo>
                    <a:lnTo>
                      <a:pt x="502" y="490"/>
                    </a:lnTo>
                    <a:lnTo>
                      <a:pt x="502" y="489"/>
                    </a:lnTo>
                    <a:lnTo>
                      <a:pt x="502" y="488"/>
                    </a:lnTo>
                    <a:lnTo>
                      <a:pt x="503" y="487"/>
                    </a:lnTo>
                    <a:lnTo>
                      <a:pt x="503" y="486"/>
                    </a:lnTo>
                    <a:lnTo>
                      <a:pt x="504" y="483"/>
                    </a:lnTo>
                    <a:lnTo>
                      <a:pt x="505" y="482"/>
                    </a:lnTo>
                    <a:lnTo>
                      <a:pt x="505" y="483"/>
                    </a:lnTo>
                    <a:lnTo>
                      <a:pt x="505" y="482"/>
                    </a:lnTo>
                    <a:lnTo>
                      <a:pt x="505" y="481"/>
                    </a:lnTo>
                    <a:lnTo>
                      <a:pt x="506" y="481"/>
                    </a:lnTo>
                    <a:lnTo>
                      <a:pt x="506" y="479"/>
                    </a:lnTo>
                    <a:lnTo>
                      <a:pt x="507" y="477"/>
                    </a:lnTo>
                    <a:lnTo>
                      <a:pt x="509" y="476"/>
                    </a:lnTo>
                    <a:lnTo>
                      <a:pt x="509" y="475"/>
                    </a:lnTo>
                    <a:lnTo>
                      <a:pt x="509" y="474"/>
                    </a:lnTo>
                    <a:lnTo>
                      <a:pt x="510" y="474"/>
                    </a:lnTo>
                    <a:lnTo>
                      <a:pt x="510" y="473"/>
                    </a:lnTo>
                    <a:lnTo>
                      <a:pt x="510" y="470"/>
                    </a:lnTo>
                    <a:lnTo>
                      <a:pt x="511" y="468"/>
                    </a:lnTo>
                    <a:lnTo>
                      <a:pt x="511" y="467"/>
                    </a:lnTo>
                    <a:lnTo>
                      <a:pt x="512" y="467"/>
                    </a:lnTo>
                    <a:lnTo>
                      <a:pt x="512" y="466"/>
                    </a:lnTo>
                    <a:lnTo>
                      <a:pt x="512" y="465"/>
                    </a:lnTo>
                    <a:lnTo>
                      <a:pt x="513" y="465"/>
                    </a:lnTo>
                    <a:lnTo>
                      <a:pt x="513" y="464"/>
                    </a:lnTo>
                    <a:lnTo>
                      <a:pt x="513" y="463"/>
                    </a:lnTo>
                    <a:lnTo>
                      <a:pt x="514" y="463"/>
                    </a:lnTo>
                    <a:lnTo>
                      <a:pt x="514" y="462"/>
                    </a:lnTo>
                    <a:lnTo>
                      <a:pt x="515" y="461"/>
                    </a:lnTo>
                    <a:lnTo>
                      <a:pt x="515" y="460"/>
                    </a:lnTo>
                    <a:lnTo>
                      <a:pt x="516" y="460"/>
                    </a:lnTo>
                    <a:lnTo>
                      <a:pt x="516" y="459"/>
                    </a:lnTo>
                    <a:lnTo>
                      <a:pt x="517" y="459"/>
                    </a:lnTo>
                    <a:lnTo>
                      <a:pt x="517" y="457"/>
                    </a:lnTo>
                    <a:lnTo>
                      <a:pt x="517" y="456"/>
                    </a:lnTo>
                    <a:lnTo>
                      <a:pt x="518" y="456"/>
                    </a:lnTo>
                    <a:lnTo>
                      <a:pt x="518" y="455"/>
                    </a:lnTo>
                    <a:lnTo>
                      <a:pt x="519" y="455"/>
                    </a:lnTo>
                    <a:lnTo>
                      <a:pt x="519" y="454"/>
                    </a:lnTo>
                    <a:lnTo>
                      <a:pt x="520" y="453"/>
                    </a:lnTo>
                    <a:lnTo>
                      <a:pt x="520" y="452"/>
                    </a:lnTo>
                    <a:lnTo>
                      <a:pt x="522" y="452"/>
                    </a:lnTo>
                    <a:lnTo>
                      <a:pt x="522" y="453"/>
                    </a:lnTo>
                    <a:lnTo>
                      <a:pt x="522" y="454"/>
                    </a:lnTo>
                    <a:lnTo>
                      <a:pt x="523" y="454"/>
                    </a:lnTo>
                    <a:lnTo>
                      <a:pt x="523" y="455"/>
                    </a:lnTo>
                    <a:lnTo>
                      <a:pt x="523" y="456"/>
                    </a:lnTo>
                    <a:lnTo>
                      <a:pt x="524" y="456"/>
                    </a:lnTo>
                    <a:lnTo>
                      <a:pt x="523" y="456"/>
                    </a:lnTo>
                    <a:lnTo>
                      <a:pt x="523" y="455"/>
                    </a:lnTo>
                    <a:lnTo>
                      <a:pt x="523" y="454"/>
                    </a:lnTo>
                    <a:lnTo>
                      <a:pt x="524" y="454"/>
                    </a:lnTo>
                    <a:lnTo>
                      <a:pt x="523" y="454"/>
                    </a:lnTo>
                    <a:lnTo>
                      <a:pt x="522" y="453"/>
                    </a:lnTo>
                    <a:lnTo>
                      <a:pt x="522" y="452"/>
                    </a:lnTo>
                    <a:lnTo>
                      <a:pt x="522" y="451"/>
                    </a:lnTo>
                    <a:lnTo>
                      <a:pt x="523" y="451"/>
                    </a:lnTo>
                    <a:lnTo>
                      <a:pt x="524" y="451"/>
                    </a:lnTo>
                    <a:lnTo>
                      <a:pt x="523" y="451"/>
                    </a:lnTo>
                    <a:lnTo>
                      <a:pt x="523" y="450"/>
                    </a:lnTo>
                    <a:lnTo>
                      <a:pt x="524" y="449"/>
                    </a:lnTo>
                    <a:lnTo>
                      <a:pt x="524" y="448"/>
                    </a:lnTo>
                    <a:lnTo>
                      <a:pt x="525" y="448"/>
                    </a:lnTo>
                    <a:lnTo>
                      <a:pt x="524" y="448"/>
                    </a:lnTo>
                    <a:lnTo>
                      <a:pt x="524" y="447"/>
                    </a:lnTo>
                    <a:lnTo>
                      <a:pt x="525" y="447"/>
                    </a:lnTo>
                    <a:lnTo>
                      <a:pt x="525" y="446"/>
                    </a:lnTo>
                    <a:lnTo>
                      <a:pt x="526" y="446"/>
                    </a:lnTo>
                    <a:lnTo>
                      <a:pt x="526" y="444"/>
                    </a:lnTo>
                    <a:lnTo>
                      <a:pt x="527" y="443"/>
                    </a:lnTo>
                    <a:lnTo>
                      <a:pt x="528" y="442"/>
                    </a:lnTo>
                    <a:lnTo>
                      <a:pt x="529" y="443"/>
                    </a:lnTo>
                    <a:lnTo>
                      <a:pt x="530" y="444"/>
                    </a:lnTo>
                    <a:lnTo>
                      <a:pt x="530" y="443"/>
                    </a:lnTo>
                    <a:lnTo>
                      <a:pt x="529" y="443"/>
                    </a:lnTo>
                    <a:lnTo>
                      <a:pt x="529" y="442"/>
                    </a:lnTo>
                    <a:lnTo>
                      <a:pt x="528" y="442"/>
                    </a:lnTo>
                    <a:lnTo>
                      <a:pt x="529" y="441"/>
                    </a:lnTo>
                    <a:lnTo>
                      <a:pt x="529" y="440"/>
                    </a:lnTo>
                    <a:lnTo>
                      <a:pt x="530" y="440"/>
                    </a:lnTo>
                    <a:lnTo>
                      <a:pt x="530" y="439"/>
                    </a:lnTo>
                    <a:lnTo>
                      <a:pt x="531" y="439"/>
                    </a:lnTo>
                    <a:lnTo>
                      <a:pt x="531" y="438"/>
                    </a:lnTo>
                    <a:lnTo>
                      <a:pt x="531" y="439"/>
                    </a:lnTo>
                    <a:lnTo>
                      <a:pt x="531" y="438"/>
                    </a:lnTo>
                    <a:lnTo>
                      <a:pt x="532" y="438"/>
                    </a:lnTo>
                    <a:lnTo>
                      <a:pt x="532" y="437"/>
                    </a:lnTo>
                    <a:lnTo>
                      <a:pt x="533" y="437"/>
                    </a:lnTo>
                    <a:lnTo>
                      <a:pt x="535" y="436"/>
                    </a:lnTo>
                    <a:lnTo>
                      <a:pt x="536" y="435"/>
                    </a:lnTo>
                    <a:lnTo>
                      <a:pt x="537" y="434"/>
                    </a:lnTo>
                    <a:lnTo>
                      <a:pt x="537" y="433"/>
                    </a:lnTo>
                    <a:lnTo>
                      <a:pt x="538" y="433"/>
                    </a:lnTo>
                    <a:lnTo>
                      <a:pt x="538" y="431"/>
                    </a:lnTo>
                    <a:lnTo>
                      <a:pt x="539" y="431"/>
                    </a:lnTo>
                    <a:lnTo>
                      <a:pt x="539" y="430"/>
                    </a:lnTo>
                    <a:lnTo>
                      <a:pt x="539" y="429"/>
                    </a:lnTo>
                    <a:lnTo>
                      <a:pt x="540" y="430"/>
                    </a:lnTo>
                    <a:lnTo>
                      <a:pt x="540" y="429"/>
                    </a:lnTo>
                    <a:lnTo>
                      <a:pt x="539" y="429"/>
                    </a:lnTo>
                    <a:lnTo>
                      <a:pt x="540" y="429"/>
                    </a:lnTo>
                    <a:lnTo>
                      <a:pt x="541" y="430"/>
                    </a:lnTo>
                    <a:lnTo>
                      <a:pt x="542" y="430"/>
                    </a:lnTo>
                    <a:lnTo>
                      <a:pt x="543" y="431"/>
                    </a:lnTo>
                    <a:lnTo>
                      <a:pt x="544" y="431"/>
                    </a:lnTo>
                    <a:lnTo>
                      <a:pt x="545" y="431"/>
                    </a:lnTo>
                    <a:lnTo>
                      <a:pt x="544" y="431"/>
                    </a:lnTo>
                    <a:lnTo>
                      <a:pt x="543" y="431"/>
                    </a:lnTo>
                    <a:lnTo>
                      <a:pt x="543" y="430"/>
                    </a:lnTo>
                    <a:lnTo>
                      <a:pt x="542" y="430"/>
                    </a:lnTo>
                    <a:lnTo>
                      <a:pt x="541" y="430"/>
                    </a:lnTo>
                    <a:lnTo>
                      <a:pt x="540" y="429"/>
                    </a:lnTo>
                    <a:lnTo>
                      <a:pt x="540" y="428"/>
                    </a:lnTo>
                    <a:lnTo>
                      <a:pt x="541" y="427"/>
                    </a:lnTo>
                    <a:lnTo>
                      <a:pt x="541" y="426"/>
                    </a:lnTo>
                    <a:lnTo>
                      <a:pt x="542" y="426"/>
                    </a:lnTo>
                    <a:lnTo>
                      <a:pt x="543" y="426"/>
                    </a:lnTo>
                    <a:lnTo>
                      <a:pt x="544" y="426"/>
                    </a:lnTo>
                    <a:lnTo>
                      <a:pt x="545" y="427"/>
                    </a:lnTo>
                    <a:lnTo>
                      <a:pt x="548" y="427"/>
                    </a:lnTo>
                    <a:lnTo>
                      <a:pt x="549" y="428"/>
                    </a:lnTo>
                    <a:close/>
                    <a:moveTo>
                      <a:pt x="579" y="487"/>
                    </a:moveTo>
                    <a:lnTo>
                      <a:pt x="579" y="488"/>
                    </a:lnTo>
                    <a:lnTo>
                      <a:pt x="578" y="488"/>
                    </a:lnTo>
                    <a:lnTo>
                      <a:pt x="578" y="489"/>
                    </a:lnTo>
                    <a:lnTo>
                      <a:pt x="578" y="490"/>
                    </a:lnTo>
                    <a:lnTo>
                      <a:pt x="576" y="491"/>
                    </a:lnTo>
                    <a:lnTo>
                      <a:pt x="573" y="493"/>
                    </a:lnTo>
                    <a:lnTo>
                      <a:pt x="573" y="494"/>
                    </a:lnTo>
                    <a:lnTo>
                      <a:pt x="571" y="494"/>
                    </a:lnTo>
                    <a:lnTo>
                      <a:pt x="570" y="495"/>
                    </a:lnTo>
                    <a:lnTo>
                      <a:pt x="569" y="495"/>
                    </a:lnTo>
                    <a:lnTo>
                      <a:pt x="569" y="496"/>
                    </a:lnTo>
                    <a:lnTo>
                      <a:pt x="568" y="496"/>
                    </a:lnTo>
                    <a:lnTo>
                      <a:pt x="567" y="498"/>
                    </a:lnTo>
                    <a:lnTo>
                      <a:pt x="566" y="499"/>
                    </a:lnTo>
                    <a:lnTo>
                      <a:pt x="566" y="501"/>
                    </a:lnTo>
                    <a:lnTo>
                      <a:pt x="565" y="501"/>
                    </a:lnTo>
                    <a:lnTo>
                      <a:pt x="565" y="502"/>
                    </a:lnTo>
                    <a:lnTo>
                      <a:pt x="565" y="503"/>
                    </a:lnTo>
                    <a:lnTo>
                      <a:pt x="564" y="503"/>
                    </a:lnTo>
                    <a:lnTo>
                      <a:pt x="564" y="504"/>
                    </a:lnTo>
                    <a:lnTo>
                      <a:pt x="563" y="504"/>
                    </a:lnTo>
                    <a:lnTo>
                      <a:pt x="564" y="504"/>
                    </a:lnTo>
                    <a:lnTo>
                      <a:pt x="564" y="503"/>
                    </a:lnTo>
                    <a:lnTo>
                      <a:pt x="565" y="503"/>
                    </a:lnTo>
                    <a:lnTo>
                      <a:pt x="565" y="502"/>
                    </a:lnTo>
                    <a:lnTo>
                      <a:pt x="566" y="501"/>
                    </a:lnTo>
                    <a:lnTo>
                      <a:pt x="566" y="500"/>
                    </a:lnTo>
                    <a:lnTo>
                      <a:pt x="566" y="499"/>
                    </a:lnTo>
                    <a:lnTo>
                      <a:pt x="567" y="499"/>
                    </a:lnTo>
                    <a:lnTo>
                      <a:pt x="567" y="498"/>
                    </a:lnTo>
                    <a:lnTo>
                      <a:pt x="568" y="498"/>
                    </a:lnTo>
                    <a:lnTo>
                      <a:pt x="568" y="496"/>
                    </a:lnTo>
                    <a:lnTo>
                      <a:pt x="569" y="496"/>
                    </a:lnTo>
                    <a:lnTo>
                      <a:pt x="570" y="495"/>
                    </a:lnTo>
                    <a:lnTo>
                      <a:pt x="571" y="495"/>
                    </a:lnTo>
                    <a:lnTo>
                      <a:pt x="570" y="498"/>
                    </a:lnTo>
                    <a:lnTo>
                      <a:pt x="569" y="498"/>
                    </a:lnTo>
                    <a:lnTo>
                      <a:pt x="569" y="499"/>
                    </a:lnTo>
                    <a:lnTo>
                      <a:pt x="569" y="500"/>
                    </a:lnTo>
                    <a:lnTo>
                      <a:pt x="569" y="502"/>
                    </a:lnTo>
                    <a:lnTo>
                      <a:pt x="569" y="503"/>
                    </a:lnTo>
                    <a:lnTo>
                      <a:pt x="568" y="504"/>
                    </a:lnTo>
                    <a:lnTo>
                      <a:pt x="568" y="505"/>
                    </a:lnTo>
                    <a:lnTo>
                      <a:pt x="567" y="506"/>
                    </a:lnTo>
                    <a:lnTo>
                      <a:pt x="564" y="508"/>
                    </a:lnTo>
                    <a:lnTo>
                      <a:pt x="562" y="511"/>
                    </a:lnTo>
                    <a:lnTo>
                      <a:pt x="561" y="511"/>
                    </a:lnTo>
                    <a:lnTo>
                      <a:pt x="561" y="512"/>
                    </a:lnTo>
                    <a:lnTo>
                      <a:pt x="560" y="513"/>
                    </a:lnTo>
                    <a:lnTo>
                      <a:pt x="560" y="514"/>
                    </a:lnTo>
                    <a:lnTo>
                      <a:pt x="558" y="514"/>
                    </a:lnTo>
                    <a:lnTo>
                      <a:pt x="557" y="514"/>
                    </a:lnTo>
                    <a:lnTo>
                      <a:pt x="556" y="514"/>
                    </a:lnTo>
                    <a:lnTo>
                      <a:pt x="555" y="513"/>
                    </a:lnTo>
                    <a:lnTo>
                      <a:pt x="554" y="512"/>
                    </a:lnTo>
                    <a:lnTo>
                      <a:pt x="553" y="512"/>
                    </a:lnTo>
                    <a:lnTo>
                      <a:pt x="552" y="512"/>
                    </a:lnTo>
                    <a:lnTo>
                      <a:pt x="550" y="512"/>
                    </a:lnTo>
                    <a:lnTo>
                      <a:pt x="550" y="511"/>
                    </a:lnTo>
                    <a:lnTo>
                      <a:pt x="550" y="512"/>
                    </a:lnTo>
                    <a:lnTo>
                      <a:pt x="549" y="512"/>
                    </a:lnTo>
                    <a:lnTo>
                      <a:pt x="549" y="511"/>
                    </a:lnTo>
                    <a:lnTo>
                      <a:pt x="548" y="511"/>
                    </a:lnTo>
                    <a:lnTo>
                      <a:pt x="546" y="511"/>
                    </a:lnTo>
                    <a:lnTo>
                      <a:pt x="545" y="511"/>
                    </a:lnTo>
                    <a:lnTo>
                      <a:pt x="544" y="511"/>
                    </a:lnTo>
                    <a:lnTo>
                      <a:pt x="543" y="511"/>
                    </a:lnTo>
                    <a:lnTo>
                      <a:pt x="543" y="510"/>
                    </a:lnTo>
                    <a:lnTo>
                      <a:pt x="542" y="510"/>
                    </a:lnTo>
                    <a:lnTo>
                      <a:pt x="542" y="508"/>
                    </a:lnTo>
                    <a:lnTo>
                      <a:pt x="541" y="508"/>
                    </a:lnTo>
                    <a:lnTo>
                      <a:pt x="542" y="508"/>
                    </a:lnTo>
                    <a:lnTo>
                      <a:pt x="543" y="507"/>
                    </a:lnTo>
                    <a:lnTo>
                      <a:pt x="544" y="507"/>
                    </a:lnTo>
                    <a:lnTo>
                      <a:pt x="546" y="506"/>
                    </a:lnTo>
                    <a:lnTo>
                      <a:pt x="548" y="506"/>
                    </a:lnTo>
                    <a:lnTo>
                      <a:pt x="549" y="505"/>
                    </a:lnTo>
                    <a:lnTo>
                      <a:pt x="551" y="505"/>
                    </a:lnTo>
                    <a:lnTo>
                      <a:pt x="550" y="505"/>
                    </a:lnTo>
                    <a:lnTo>
                      <a:pt x="549" y="505"/>
                    </a:lnTo>
                    <a:lnTo>
                      <a:pt x="548" y="506"/>
                    </a:lnTo>
                    <a:lnTo>
                      <a:pt x="546" y="506"/>
                    </a:lnTo>
                    <a:lnTo>
                      <a:pt x="545" y="507"/>
                    </a:lnTo>
                    <a:lnTo>
                      <a:pt x="544" y="507"/>
                    </a:lnTo>
                    <a:lnTo>
                      <a:pt x="542" y="507"/>
                    </a:lnTo>
                    <a:lnTo>
                      <a:pt x="541" y="508"/>
                    </a:lnTo>
                    <a:lnTo>
                      <a:pt x="541" y="507"/>
                    </a:lnTo>
                    <a:lnTo>
                      <a:pt x="540" y="507"/>
                    </a:lnTo>
                    <a:lnTo>
                      <a:pt x="538" y="507"/>
                    </a:lnTo>
                    <a:lnTo>
                      <a:pt x="536" y="508"/>
                    </a:lnTo>
                    <a:lnTo>
                      <a:pt x="533" y="508"/>
                    </a:lnTo>
                    <a:lnTo>
                      <a:pt x="532" y="510"/>
                    </a:lnTo>
                    <a:lnTo>
                      <a:pt x="531" y="510"/>
                    </a:lnTo>
                    <a:lnTo>
                      <a:pt x="532" y="510"/>
                    </a:lnTo>
                    <a:lnTo>
                      <a:pt x="531" y="510"/>
                    </a:lnTo>
                    <a:lnTo>
                      <a:pt x="530" y="510"/>
                    </a:lnTo>
                    <a:lnTo>
                      <a:pt x="529" y="510"/>
                    </a:lnTo>
                    <a:lnTo>
                      <a:pt x="528" y="510"/>
                    </a:lnTo>
                    <a:lnTo>
                      <a:pt x="525" y="510"/>
                    </a:lnTo>
                    <a:lnTo>
                      <a:pt x="525" y="508"/>
                    </a:lnTo>
                    <a:lnTo>
                      <a:pt x="523" y="508"/>
                    </a:lnTo>
                    <a:lnTo>
                      <a:pt x="522" y="508"/>
                    </a:lnTo>
                    <a:lnTo>
                      <a:pt x="518" y="507"/>
                    </a:lnTo>
                    <a:lnTo>
                      <a:pt x="516" y="507"/>
                    </a:lnTo>
                    <a:lnTo>
                      <a:pt x="515" y="507"/>
                    </a:lnTo>
                    <a:lnTo>
                      <a:pt x="514" y="507"/>
                    </a:lnTo>
                    <a:lnTo>
                      <a:pt x="512" y="507"/>
                    </a:lnTo>
                    <a:lnTo>
                      <a:pt x="511" y="507"/>
                    </a:lnTo>
                    <a:lnTo>
                      <a:pt x="510" y="506"/>
                    </a:lnTo>
                    <a:lnTo>
                      <a:pt x="507" y="506"/>
                    </a:lnTo>
                    <a:lnTo>
                      <a:pt x="506" y="505"/>
                    </a:lnTo>
                    <a:lnTo>
                      <a:pt x="505" y="504"/>
                    </a:lnTo>
                    <a:lnTo>
                      <a:pt x="504" y="504"/>
                    </a:lnTo>
                    <a:lnTo>
                      <a:pt x="503" y="503"/>
                    </a:lnTo>
                    <a:lnTo>
                      <a:pt x="502" y="503"/>
                    </a:lnTo>
                    <a:lnTo>
                      <a:pt x="502" y="502"/>
                    </a:lnTo>
                    <a:lnTo>
                      <a:pt x="502" y="501"/>
                    </a:lnTo>
                    <a:lnTo>
                      <a:pt x="503" y="501"/>
                    </a:lnTo>
                    <a:lnTo>
                      <a:pt x="505" y="500"/>
                    </a:lnTo>
                    <a:lnTo>
                      <a:pt x="506" y="500"/>
                    </a:lnTo>
                    <a:lnTo>
                      <a:pt x="507" y="500"/>
                    </a:lnTo>
                    <a:lnTo>
                      <a:pt x="510" y="499"/>
                    </a:lnTo>
                    <a:lnTo>
                      <a:pt x="511" y="499"/>
                    </a:lnTo>
                    <a:lnTo>
                      <a:pt x="512" y="499"/>
                    </a:lnTo>
                    <a:lnTo>
                      <a:pt x="513" y="499"/>
                    </a:lnTo>
                    <a:lnTo>
                      <a:pt x="514" y="499"/>
                    </a:lnTo>
                    <a:lnTo>
                      <a:pt x="515" y="499"/>
                    </a:lnTo>
                    <a:lnTo>
                      <a:pt x="516" y="498"/>
                    </a:lnTo>
                    <a:lnTo>
                      <a:pt x="517" y="498"/>
                    </a:lnTo>
                    <a:lnTo>
                      <a:pt x="518" y="496"/>
                    </a:lnTo>
                    <a:lnTo>
                      <a:pt x="518" y="495"/>
                    </a:lnTo>
                    <a:lnTo>
                      <a:pt x="519" y="495"/>
                    </a:lnTo>
                    <a:lnTo>
                      <a:pt x="519" y="494"/>
                    </a:lnTo>
                    <a:lnTo>
                      <a:pt x="520" y="492"/>
                    </a:lnTo>
                    <a:lnTo>
                      <a:pt x="520" y="491"/>
                    </a:lnTo>
                    <a:lnTo>
                      <a:pt x="522" y="491"/>
                    </a:lnTo>
                    <a:lnTo>
                      <a:pt x="522" y="490"/>
                    </a:lnTo>
                    <a:lnTo>
                      <a:pt x="523" y="490"/>
                    </a:lnTo>
                    <a:lnTo>
                      <a:pt x="524" y="490"/>
                    </a:lnTo>
                    <a:lnTo>
                      <a:pt x="524" y="489"/>
                    </a:lnTo>
                    <a:lnTo>
                      <a:pt x="525" y="489"/>
                    </a:lnTo>
                    <a:lnTo>
                      <a:pt x="526" y="488"/>
                    </a:lnTo>
                    <a:lnTo>
                      <a:pt x="527" y="488"/>
                    </a:lnTo>
                    <a:lnTo>
                      <a:pt x="528" y="488"/>
                    </a:lnTo>
                    <a:lnTo>
                      <a:pt x="528" y="487"/>
                    </a:lnTo>
                    <a:lnTo>
                      <a:pt x="530" y="487"/>
                    </a:lnTo>
                    <a:lnTo>
                      <a:pt x="531" y="487"/>
                    </a:lnTo>
                    <a:lnTo>
                      <a:pt x="531" y="486"/>
                    </a:lnTo>
                    <a:lnTo>
                      <a:pt x="532" y="485"/>
                    </a:lnTo>
                    <a:lnTo>
                      <a:pt x="533" y="485"/>
                    </a:lnTo>
                    <a:lnTo>
                      <a:pt x="535" y="483"/>
                    </a:lnTo>
                    <a:lnTo>
                      <a:pt x="536" y="485"/>
                    </a:lnTo>
                    <a:lnTo>
                      <a:pt x="535" y="485"/>
                    </a:lnTo>
                    <a:lnTo>
                      <a:pt x="533" y="485"/>
                    </a:lnTo>
                    <a:lnTo>
                      <a:pt x="533" y="486"/>
                    </a:lnTo>
                    <a:lnTo>
                      <a:pt x="533" y="485"/>
                    </a:lnTo>
                    <a:lnTo>
                      <a:pt x="535" y="485"/>
                    </a:lnTo>
                    <a:lnTo>
                      <a:pt x="536" y="485"/>
                    </a:lnTo>
                    <a:lnTo>
                      <a:pt x="537" y="485"/>
                    </a:lnTo>
                    <a:lnTo>
                      <a:pt x="538" y="485"/>
                    </a:lnTo>
                    <a:lnTo>
                      <a:pt x="539" y="485"/>
                    </a:lnTo>
                    <a:lnTo>
                      <a:pt x="540" y="486"/>
                    </a:lnTo>
                    <a:lnTo>
                      <a:pt x="541" y="486"/>
                    </a:lnTo>
                    <a:lnTo>
                      <a:pt x="541" y="485"/>
                    </a:lnTo>
                    <a:lnTo>
                      <a:pt x="542" y="485"/>
                    </a:lnTo>
                    <a:lnTo>
                      <a:pt x="542" y="486"/>
                    </a:lnTo>
                    <a:lnTo>
                      <a:pt x="542" y="485"/>
                    </a:lnTo>
                    <a:lnTo>
                      <a:pt x="543" y="485"/>
                    </a:lnTo>
                    <a:lnTo>
                      <a:pt x="544" y="485"/>
                    </a:lnTo>
                    <a:lnTo>
                      <a:pt x="545" y="486"/>
                    </a:lnTo>
                    <a:lnTo>
                      <a:pt x="548" y="487"/>
                    </a:lnTo>
                    <a:lnTo>
                      <a:pt x="549" y="487"/>
                    </a:lnTo>
                    <a:lnTo>
                      <a:pt x="550" y="487"/>
                    </a:lnTo>
                    <a:lnTo>
                      <a:pt x="551" y="487"/>
                    </a:lnTo>
                    <a:lnTo>
                      <a:pt x="552" y="487"/>
                    </a:lnTo>
                    <a:lnTo>
                      <a:pt x="553" y="487"/>
                    </a:lnTo>
                    <a:lnTo>
                      <a:pt x="554" y="486"/>
                    </a:lnTo>
                    <a:lnTo>
                      <a:pt x="556" y="485"/>
                    </a:lnTo>
                    <a:lnTo>
                      <a:pt x="557" y="485"/>
                    </a:lnTo>
                    <a:lnTo>
                      <a:pt x="558" y="485"/>
                    </a:lnTo>
                    <a:lnTo>
                      <a:pt x="560" y="483"/>
                    </a:lnTo>
                    <a:lnTo>
                      <a:pt x="560" y="482"/>
                    </a:lnTo>
                    <a:lnTo>
                      <a:pt x="561" y="482"/>
                    </a:lnTo>
                    <a:lnTo>
                      <a:pt x="563" y="482"/>
                    </a:lnTo>
                    <a:lnTo>
                      <a:pt x="564" y="481"/>
                    </a:lnTo>
                    <a:lnTo>
                      <a:pt x="565" y="480"/>
                    </a:lnTo>
                    <a:lnTo>
                      <a:pt x="565" y="479"/>
                    </a:lnTo>
                    <a:lnTo>
                      <a:pt x="566" y="478"/>
                    </a:lnTo>
                    <a:lnTo>
                      <a:pt x="567" y="477"/>
                    </a:lnTo>
                    <a:lnTo>
                      <a:pt x="568" y="476"/>
                    </a:lnTo>
                    <a:lnTo>
                      <a:pt x="568" y="477"/>
                    </a:lnTo>
                    <a:lnTo>
                      <a:pt x="569" y="477"/>
                    </a:lnTo>
                    <a:lnTo>
                      <a:pt x="570" y="479"/>
                    </a:lnTo>
                    <a:lnTo>
                      <a:pt x="571" y="479"/>
                    </a:lnTo>
                    <a:lnTo>
                      <a:pt x="573" y="479"/>
                    </a:lnTo>
                    <a:lnTo>
                      <a:pt x="573" y="480"/>
                    </a:lnTo>
                    <a:lnTo>
                      <a:pt x="573" y="482"/>
                    </a:lnTo>
                    <a:lnTo>
                      <a:pt x="574" y="483"/>
                    </a:lnTo>
                    <a:lnTo>
                      <a:pt x="575" y="483"/>
                    </a:lnTo>
                    <a:lnTo>
                      <a:pt x="576" y="483"/>
                    </a:lnTo>
                    <a:lnTo>
                      <a:pt x="577" y="485"/>
                    </a:lnTo>
                    <a:lnTo>
                      <a:pt x="578" y="485"/>
                    </a:lnTo>
                    <a:lnTo>
                      <a:pt x="578" y="486"/>
                    </a:lnTo>
                    <a:lnTo>
                      <a:pt x="579" y="486"/>
                    </a:lnTo>
                    <a:lnTo>
                      <a:pt x="579" y="487"/>
                    </a:lnTo>
                    <a:close/>
                    <a:moveTo>
                      <a:pt x="514" y="537"/>
                    </a:moveTo>
                    <a:lnTo>
                      <a:pt x="515" y="537"/>
                    </a:lnTo>
                    <a:lnTo>
                      <a:pt x="516" y="537"/>
                    </a:lnTo>
                    <a:lnTo>
                      <a:pt x="517" y="538"/>
                    </a:lnTo>
                    <a:lnTo>
                      <a:pt x="518" y="538"/>
                    </a:lnTo>
                    <a:lnTo>
                      <a:pt x="519" y="538"/>
                    </a:lnTo>
                    <a:lnTo>
                      <a:pt x="520" y="538"/>
                    </a:lnTo>
                    <a:lnTo>
                      <a:pt x="522" y="538"/>
                    </a:lnTo>
                    <a:lnTo>
                      <a:pt x="524" y="539"/>
                    </a:lnTo>
                    <a:lnTo>
                      <a:pt x="525" y="539"/>
                    </a:lnTo>
                    <a:lnTo>
                      <a:pt x="526" y="539"/>
                    </a:lnTo>
                    <a:lnTo>
                      <a:pt x="526" y="540"/>
                    </a:lnTo>
                    <a:lnTo>
                      <a:pt x="527" y="540"/>
                    </a:lnTo>
                    <a:lnTo>
                      <a:pt x="527" y="541"/>
                    </a:lnTo>
                    <a:lnTo>
                      <a:pt x="526" y="541"/>
                    </a:lnTo>
                    <a:lnTo>
                      <a:pt x="526" y="542"/>
                    </a:lnTo>
                    <a:lnTo>
                      <a:pt x="527" y="544"/>
                    </a:lnTo>
                    <a:lnTo>
                      <a:pt x="527" y="545"/>
                    </a:lnTo>
                    <a:lnTo>
                      <a:pt x="528" y="546"/>
                    </a:lnTo>
                    <a:lnTo>
                      <a:pt x="528" y="547"/>
                    </a:lnTo>
                    <a:lnTo>
                      <a:pt x="529" y="549"/>
                    </a:lnTo>
                    <a:lnTo>
                      <a:pt x="529" y="550"/>
                    </a:lnTo>
                    <a:lnTo>
                      <a:pt x="530" y="552"/>
                    </a:lnTo>
                    <a:lnTo>
                      <a:pt x="530" y="553"/>
                    </a:lnTo>
                    <a:lnTo>
                      <a:pt x="529" y="553"/>
                    </a:lnTo>
                    <a:lnTo>
                      <a:pt x="528" y="553"/>
                    </a:lnTo>
                    <a:lnTo>
                      <a:pt x="528" y="552"/>
                    </a:lnTo>
                    <a:lnTo>
                      <a:pt x="528" y="553"/>
                    </a:lnTo>
                    <a:lnTo>
                      <a:pt x="529" y="553"/>
                    </a:lnTo>
                    <a:lnTo>
                      <a:pt x="528" y="553"/>
                    </a:lnTo>
                    <a:lnTo>
                      <a:pt x="528" y="554"/>
                    </a:lnTo>
                    <a:lnTo>
                      <a:pt x="527" y="555"/>
                    </a:lnTo>
                    <a:lnTo>
                      <a:pt x="526" y="555"/>
                    </a:lnTo>
                    <a:lnTo>
                      <a:pt x="527" y="555"/>
                    </a:lnTo>
                    <a:lnTo>
                      <a:pt x="528" y="555"/>
                    </a:lnTo>
                    <a:lnTo>
                      <a:pt x="527" y="555"/>
                    </a:lnTo>
                    <a:lnTo>
                      <a:pt x="527" y="554"/>
                    </a:lnTo>
                    <a:lnTo>
                      <a:pt x="528" y="554"/>
                    </a:lnTo>
                    <a:lnTo>
                      <a:pt x="529" y="553"/>
                    </a:lnTo>
                    <a:lnTo>
                      <a:pt x="530" y="553"/>
                    </a:lnTo>
                    <a:lnTo>
                      <a:pt x="530" y="554"/>
                    </a:lnTo>
                    <a:lnTo>
                      <a:pt x="530" y="555"/>
                    </a:lnTo>
                    <a:lnTo>
                      <a:pt x="530" y="556"/>
                    </a:lnTo>
                    <a:lnTo>
                      <a:pt x="530" y="558"/>
                    </a:lnTo>
                    <a:lnTo>
                      <a:pt x="530" y="559"/>
                    </a:lnTo>
                    <a:lnTo>
                      <a:pt x="531" y="560"/>
                    </a:lnTo>
                    <a:lnTo>
                      <a:pt x="530" y="562"/>
                    </a:lnTo>
                    <a:lnTo>
                      <a:pt x="529" y="562"/>
                    </a:lnTo>
                    <a:lnTo>
                      <a:pt x="530" y="562"/>
                    </a:lnTo>
                    <a:lnTo>
                      <a:pt x="531" y="562"/>
                    </a:lnTo>
                    <a:lnTo>
                      <a:pt x="531" y="563"/>
                    </a:lnTo>
                    <a:lnTo>
                      <a:pt x="531" y="564"/>
                    </a:lnTo>
                    <a:lnTo>
                      <a:pt x="530" y="567"/>
                    </a:lnTo>
                    <a:lnTo>
                      <a:pt x="530" y="568"/>
                    </a:lnTo>
                    <a:lnTo>
                      <a:pt x="530" y="569"/>
                    </a:lnTo>
                    <a:lnTo>
                      <a:pt x="530" y="570"/>
                    </a:lnTo>
                    <a:lnTo>
                      <a:pt x="529" y="570"/>
                    </a:lnTo>
                    <a:lnTo>
                      <a:pt x="529" y="571"/>
                    </a:lnTo>
                    <a:lnTo>
                      <a:pt x="528" y="572"/>
                    </a:lnTo>
                    <a:lnTo>
                      <a:pt x="527" y="575"/>
                    </a:lnTo>
                    <a:lnTo>
                      <a:pt x="527" y="576"/>
                    </a:lnTo>
                    <a:lnTo>
                      <a:pt x="527" y="577"/>
                    </a:lnTo>
                    <a:lnTo>
                      <a:pt x="527" y="578"/>
                    </a:lnTo>
                    <a:lnTo>
                      <a:pt x="528" y="579"/>
                    </a:lnTo>
                    <a:lnTo>
                      <a:pt x="530" y="580"/>
                    </a:lnTo>
                    <a:lnTo>
                      <a:pt x="531" y="580"/>
                    </a:lnTo>
                    <a:lnTo>
                      <a:pt x="531" y="581"/>
                    </a:lnTo>
                    <a:lnTo>
                      <a:pt x="533" y="581"/>
                    </a:lnTo>
                    <a:lnTo>
                      <a:pt x="535" y="582"/>
                    </a:lnTo>
                    <a:lnTo>
                      <a:pt x="536" y="582"/>
                    </a:lnTo>
                    <a:lnTo>
                      <a:pt x="536" y="583"/>
                    </a:lnTo>
                    <a:lnTo>
                      <a:pt x="537" y="583"/>
                    </a:lnTo>
                    <a:lnTo>
                      <a:pt x="537" y="584"/>
                    </a:lnTo>
                    <a:lnTo>
                      <a:pt x="537" y="586"/>
                    </a:lnTo>
                    <a:lnTo>
                      <a:pt x="538" y="586"/>
                    </a:lnTo>
                    <a:lnTo>
                      <a:pt x="538" y="588"/>
                    </a:lnTo>
                    <a:lnTo>
                      <a:pt x="540" y="589"/>
                    </a:lnTo>
                    <a:lnTo>
                      <a:pt x="541" y="589"/>
                    </a:lnTo>
                    <a:lnTo>
                      <a:pt x="541" y="590"/>
                    </a:lnTo>
                    <a:lnTo>
                      <a:pt x="542" y="590"/>
                    </a:lnTo>
                    <a:lnTo>
                      <a:pt x="542" y="591"/>
                    </a:lnTo>
                    <a:lnTo>
                      <a:pt x="541" y="590"/>
                    </a:lnTo>
                    <a:lnTo>
                      <a:pt x="541" y="591"/>
                    </a:lnTo>
                    <a:lnTo>
                      <a:pt x="542" y="591"/>
                    </a:lnTo>
                    <a:lnTo>
                      <a:pt x="543" y="592"/>
                    </a:lnTo>
                    <a:lnTo>
                      <a:pt x="543" y="593"/>
                    </a:lnTo>
                    <a:lnTo>
                      <a:pt x="542" y="593"/>
                    </a:lnTo>
                    <a:lnTo>
                      <a:pt x="542" y="594"/>
                    </a:lnTo>
                    <a:lnTo>
                      <a:pt x="543" y="594"/>
                    </a:lnTo>
                    <a:lnTo>
                      <a:pt x="544" y="596"/>
                    </a:lnTo>
                    <a:lnTo>
                      <a:pt x="545" y="597"/>
                    </a:lnTo>
                    <a:lnTo>
                      <a:pt x="546" y="598"/>
                    </a:lnTo>
                    <a:lnTo>
                      <a:pt x="546" y="600"/>
                    </a:lnTo>
                    <a:lnTo>
                      <a:pt x="548" y="600"/>
                    </a:lnTo>
                    <a:lnTo>
                      <a:pt x="548" y="601"/>
                    </a:lnTo>
                    <a:lnTo>
                      <a:pt x="548" y="600"/>
                    </a:lnTo>
                    <a:lnTo>
                      <a:pt x="549" y="600"/>
                    </a:lnTo>
                    <a:lnTo>
                      <a:pt x="550" y="601"/>
                    </a:lnTo>
                    <a:lnTo>
                      <a:pt x="552" y="602"/>
                    </a:lnTo>
                    <a:lnTo>
                      <a:pt x="552" y="603"/>
                    </a:lnTo>
                    <a:lnTo>
                      <a:pt x="553" y="603"/>
                    </a:lnTo>
                    <a:lnTo>
                      <a:pt x="554" y="603"/>
                    </a:lnTo>
                    <a:lnTo>
                      <a:pt x="555" y="603"/>
                    </a:lnTo>
                    <a:lnTo>
                      <a:pt x="556" y="603"/>
                    </a:lnTo>
                    <a:lnTo>
                      <a:pt x="557" y="603"/>
                    </a:lnTo>
                    <a:lnTo>
                      <a:pt x="557" y="604"/>
                    </a:lnTo>
                    <a:lnTo>
                      <a:pt x="558" y="604"/>
                    </a:lnTo>
                    <a:lnTo>
                      <a:pt x="560" y="605"/>
                    </a:lnTo>
                    <a:lnTo>
                      <a:pt x="560" y="606"/>
                    </a:lnTo>
                    <a:lnTo>
                      <a:pt x="561" y="607"/>
                    </a:lnTo>
                    <a:lnTo>
                      <a:pt x="560" y="607"/>
                    </a:lnTo>
                    <a:lnTo>
                      <a:pt x="560" y="606"/>
                    </a:lnTo>
                    <a:lnTo>
                      <a:pt x="558" y="606"/>
                    </a:lnTo>
                    <a:lnTo>
                      <a:pt x="557" y="606"/>
                    </a:lnTo>
                    <a:lnTo>
                      <a:pt x="556" y="606"/>
                    </a:lnTo>
                    <a:lnTo>
                      <a:pt x="555" y="606"/>
                    </a:lnTo>
                    <a:lnTo>
                      <a:pt x="555" y="605"/>
                    </a:lnTo>
                    <a:lnTo>
                      <a:pt x="555" y="606"/>
                    </a:lnTo>
                    <a:lnTo>
                      <a:pt x="554" y="605"/>
                    </a:lnTo>
                    <a:lnTo>
                      <a:pt x="554" y="606"/>
                    </a:lnTo>
                    <a:lnTo>
                      <a:pt x="553" y="606"/>
                    </a:lnTo>
                    <a:lnTo>
                      <a:pt x="553" y="605"/>
                    </a:lnTo>
                    <a:lnTo>
                      <a:pt x="553" y="606"/>
                    </a:lnTo>
                    <a:lnTo>
                      <a:pt x="552" y="605"/>
                    </a:lnTo>
                    <a:lnTo>
                      <a:pt x="552" y="606"/>
                    </a:lnTo>
                    <a:lnTo>
                      <a:pt x="551" y="606"/>
                    </a:lnTo>
                    <a:lnTo>
                      <a:pt x="551" y="605"/>
                    </a:lnTo>
                    <a:lnTo>
                      <a:pt x="550" y="605"/>
                    </a:lnTo>
                    <a:lnTo>
                      <a:pt x="550" y="604"/>
                    </a:lnTo>
                    <a:lnTo>
                      <a:pt x="549" y="604"/>
                    </a:lnTo>
                    <a:lnTo>
                      <a:pt x="550" y="604"/>
                    </a:lnTo>
                    <a:lnTo>
                      <a:pt x="550" y="605"/>
                    </a:lnTo>
                    <a:lnTo>
                      <a:pt x="551" y="605"/>
                    </a:lnTo>
                    <a:lnTo>
                      <a:pt x="551" y="606"/>
                    </a:lnTo>
                    <a:lnTo>
                      <a:pt x="552" y="606"/>
                    </a:lnTo>
                    <a:lnTo>
                      <a:pt x="551" y="606"/>
                    </a:lnTo>
                    <a:lnTo>
                      <a:pt x="551" y="607"/>
                    </a:lnTo>
                    <a:lnTo>
                      <a:pt x="550" y="607"/>
                    </a:lnTo>
                    <a:lnTo>
                      <a:pt x="549" y="606"/>
                    </a:lnTo>
                    <a:lnTo>
                      <a:pt x="548" y="605"/>
                    </a:lnTo>
                    <a:lnTo>
                      <a:pt x="548" y="604"/>
                    </a:lnTo>
                    <a:lnTo>
                      <a:pt x="546" y="604"/>
                    </a:lnTo>
                    <a:lnTo>
                      <a:pt x="546" y="603"/>
                    </a:lnTo>
                    <a:lnTo>
                      <a:pt x="545" y="603"/>
                    </a:lnTo>
                    <a:lnTo>
                      <a:pt x="545" y="602"/>
                    </a:lnTo>
                    <a:lnTo>
                      <a:pt x="544" y="602"/>
                    </a:lnTo>
                    <a:lnTo>
                      <a:pt x="544" y="601"/>
                    </a:lnTo>
                    <a:lnTo>
                      <a:pt x="542" y="601"/>
                    </a:lnTo>
                    <a:lnTo>
                      <a:pt x="543" y="601"/>
                    </a:lnTo>
                    <a:lnTo>
                      <a:pt x="543" y="602"/>
                    </a:lnTo>
                    <a:lnTo>
                      <a:pt x="544" y="602"/>
                    </a:lnTo>
                    <a:lnTo>
                      <a:pt x="544" y="603"/>
                    </a:lnTo>
                    <a:lnTo>
                      <a:pt x="545" y="603"/>
                    </a:lnTo>
                    <a:lnTo>
                      <a:pt x="545" y="604"/>
                    </a:lnTo>
                    <a:lnTo>
                      <a:pt x="546" y="604"/>
                    </a:lnTo>
                    <a:lnTo>
                      <a:pt x="549" y="606"/>
                    </a:lnTo>
                    <a:lnTo>
                      <a:pt x="549" y="607"/>
                    </a:lnTo>
                    <a:lnTo>
                      <a:pt x="550" y="607"/>
                    </a:lnTo>
                    <a:lnTo>
                      <a:pt x="550" y="608"/>
                    </a:lnTo>
                    <a:lnTo>
                      <a:pt x="550" y="609"/>
                    </a:lnTo>
                    <a:lnTo>
                      <a:pt x="551" y="609"/>
                    </a:lnTo>
                    <a:lnTo>
                      <a:pt x="551" y="610"/>
                    </a:lnTo>
                    <a:lnTo>
                      <a:pt x="552" y="610"/>
                    </a:lnTo>
                    <a:lnTo>
                      <a:pt x="553" y="610"/>
                    </a:lnTo>
                    <a:lnTo>
                      <a:pt x="554" y="611"/>
                    </a:lnTo>
                    <a:lnTo>
                      <a:pt x="555" y="610"/>
                    </a:lnTo>
                    <a:lnTo>
                      <a:pt x="556" y="610"/>
                    </a:lnTo>
                    <a:lnTo>
                      <a:pt x="556" y="611"/>
                    </a:lnTo>
                    <a:lnTo>
                      <a:pt x="555" y="611"/>
                    </a:lnTo>
                    <a:lnTo>
                      <a:pt x="555" y="613"/>
                    </a:lnTo>
                    <a:lnTo>
                      <a:pt x="555" y="614"/>
                    </a:lnTo>
                    <a:lnTo>
                      <a:pt x="557" y="614"/>
                    </a:lnTo>
                    <a:lnTo>
                      <a:pt x="558" y="614"/>
                    </a:lnTo>
                    <a:lnTo>
                      <a:pt x="560" y="613"/>
                    </a:lnTo>
                    <a:lnTo>
                      <a:pt x="561" y="613"/>
                    </a:lnTo>
                    <a:lnTo>
                      <a:pt x="562" y="614"/>
                    </a:lnTo>
                    <a:lnTo>
                      <a:pt x="563" y="615"/>
                    </a:lnTo>
                    <a:lnTo>
                      <a:pt x="563" y="616"/>
                    </a:lnTo>
                    <a:lnTo>
                      <a:pt x="562" y="616"/>
                    </a:lnTo>
                    <a:lnTo>
                      <a:pt x="561" y="615"/>
                    </a:lnTo>
                    <a:lnTo>
                      <a:pt x="560" y="615"/>
                    </a:lnTo>
                    <a:lnTo>
                      <a:pt x="557" y="616"/>
                    </a:lnTo>
                    <a:lnTo>
                      <a:pt x="558" y="617"/>
                    </a:lnTo>
                    <a:lnTo>
                      <a:pt x="558" y="618"/>
                    </a:lnTo>
                    <a:lnTo>
                      <a:pt x="558" y="619"/>
                    </a:lnTo>
                    <a:lnTo>
                      <a:pt x="558" y="620"/>
                    </a:lnTo>
                    <a:lnTo>
                      <a:pt x="560" y="620"/>
                    </a:lnTo>
                    <a:lnTo>
                      <a:pt x="560" y="622"/>
                    </a:lnTo>
                    <a:lnTo>
                      <a:pt x="560" y="623"/>
                    </a:lnTo>
                    <a:lnTo>
                      <a:pt x="561" y="624"/>
                    </a:lnTo>
                    <a:lnTo>
                      <a:pt x="562" y="627"/>
                    </a:lnTo>
                    <a:lnTo>
                      <a:pt x="563" y="628"/>
                    </a:lnTo>
                    <a:lnTo>
                      <a:pt x="563" y="627"/>
                    </a:lnTo>
                    <a:lnTo>
                      <a:pt x="564" y="627"/>
                    </a:lnTo>
                    <a:lnTo>
                      <a:pt x="565" y="627"/>
                    </a:lnTo>
                    <a:lnTo>
                      <a:pt x="565" y="628"/>
                    </a:lnTo>
                    <a:lnTo>
                      <a:pt x="565" y="629"/>
                    </a:lnTo>
                    <a:lnTo>
                      <a:pt x="566" y="630"/>
                    </a:lnTo>
                    <a:lnTo>
                      <a:pt x="566" y="631"/>
                    </a:lnTo>
                    <a:lnTo>
                      <a:pt x="567" y="631"/>
                    </a:lnTo>
                    <a:lnTo>
                      <a:pt x="568" y="630"/>
                    </a:lnTo>
                    <a:lnTo>
                      <a:pt x="569" y="630"/>
                    </a:lnTo>
                    <a:lnTo>
                      <a:pt x="570" y="629"/>
                    </a:lnTo>
                    <a:lnTo>
                      <a:pt x="569" y="628"/>
                    </a:lnTo>
                    <a:lnTo>
                      <a:pt x="569" y="627"/>
                    </a:lnTo>
                    <a:lnTo>
                      <a:pt x="571" y="626"/>
                    </a:lnTo>
                    <a:lnTo>
                      <a:pt x="573" y="624"/>
                    </a:lnTo>
                    <a:lnTo>
                      <a:pt x="573" y="626"/>
                    </a:lnTo>
                    <a:lnTo>
                      <a:pt x="571" y="628"/>
                    </a:lnTo>
                    <a:lnTo>
                      <a:pt x="570" y="631"/>
                    </a:lnTo>
                    <a:lnTo>
                      <a:pt x="567" y="633"/>
                    </a:lnTo>
                    <a:lnTo>
                      <a:pt x="567" y="634"/>
                    </a:lnTo>
                    <a:lnTo>
                      <a:pt x="567" y="633"/>
                    </a:lnTo>
                    <a:lnTo>
                      <a:pt x="565" y="632"/>
                    </a:lnTo>
                    <a:lnTo>
                      <a:pt x="564" y="631"/>
                    </a:lnTo>
                    <a:lnTo>
                      <a:pt x="564" y="630"/>
                    </a:lnTo>
                    <a:lnTo>
                      <a:pt x="563" y="630"/>
                    </a:lnTo>
                    <a:lnTo>
                      <a:pt x="553" y="620"/>
                    </a:lnTo>
                    <a:lnTo>
                      <a:pt x="551" y="619"/>
                    </a:lnTo>
                    <a:lnTo>
                      <a:pt x="550" y="617"/>
                    </a:lnTo>
                    <a:lnTo>
                      <a:pt x="549" y="617"/>
                    </a:lnTo>
                    <a:lnTo>
                      <a:pt x="549" y="616"/>
                    </a:lnTo>
                    <a:lnTo>
                      <a:pt x="548" y="616"/>
                    </a:lnTo>
                    <a:lnTo>
                      <a:pt x="548" y="615"/>
                    </a:lnTo>
                    <a:lnTo>
                      <a:pt x="546" y="614"/>
                    </a:lnTo>
                    <a:lnTo>
                      <a:pt x="546" y="613"/>
                    </a:lnTo>
                    <a:lnTo>
                      <a:pt x="545" y="613"/>
                    </a:lnTo>
                    <a:lnTo>
                      <a:pt x="546" y="613"/>
                    </a:lnTo>
                    <a:lnTo>
                      <a:pt x="546" y="611"/>
                    </a:lnTo>
                    <a:lnTo>
                      <a:pt x="545" y="611"/>
                    </a:lnTo>
                    <a:lnTo>
                      <a:pt x="546" y="611"/>
                    </a:lnTo>
                    <a:lnTo>
                      <a:pt x="545" y="611"/>
                    </a:lnTo>
                    <a:lnTo>
                      <a:pt x="544" y="611"/>
                    </a:lnTo>
                    <a:lnTo>
                      <a:pt x="544" y="610"/>
                    </a:lnTo>
                    <a:lnTo>
                      <a:pt x="543" y="610"/>
                    </a:lnTo>
                    <a:lnTo>
                      <a:pt x="543" y="609"/>
                    </a:lnTo>
                    <a:lnTo>
                      <a:pt x="543" y="608"/>
                    </a:lnTo>
                    <a:lnTo>
                      <a:pt x="544" y="608"/>
                    </a:lnTo>
                    <a:lnTo>
                      <a:pt x="543" y="608"/>
                    </a:lnTo>
                    <a:lnTo>
                      <a:pt x="543" y="607"/>
                    </a:lnTo>
                    <a:lnTo>
                      <a:pt x="542" y="607"/>
                    </a:lnTo>
                    <a:lnTo>
                      <a:pt x="542" y="608"/>
                    </a:lnTo>
                    <a:lnTo>
                      <a:pt x="542" y="607"/>
                    </a:lnTo>
                    <a:lnTo>
                      <a:pt x="541" y="607"/>
                    </a:lnTo>
                    <a:lnTo>
                      <a:pt x="541" y="606"/>
                    </a:lnTo>
                    <a:lnTo>
                      <a:pt x="540" y="605"/>
                    </a:lnTo>
                    <a:lnTo>
                      <a:pt x="540" y="604"/>
                    </a:lnTo>
                    <a:lnTo>
                      <a:pt x="539" y="603"/>
                    </a:lnTo>
                    <a:lnTo>
                      <a:pt x="539" y="602"/>
                    </a:lnTo>
                    <a:lnTo>
                      <a:pt x="538" y="602"/>
                    </a:lnTo>
                    <a:lnTo>
                      <a:pt x="538" y="601"/>
                    </a:lnTo>
                    <a:lnTo>
                      <a:pt x="537" y="601"/>
                    </a:lnTo>
                    <a:lnTo>
                      <a:pt x="537" y="600"/>
                    </a:lnTo>
                    <a:lnTo>
                      <a:pt x="536" y="598"/>
                    </a:lnTo>
                    <a:lnTo>
                      <a:pt x="536" y="597"/>
                    </a:lnTo>
                    <a:lnTo>
                      <a:pt x="536" y="596"/>
                    </a:lnTo>
                    <a:lnTo>
                      <a:pt x="535" y="596"/>
                    </a:lnTo>
                    <a:lnTo>
                      <a:pt x="535" y="595"/>
                    </a:lnTo>
                    <a:lnTo>
                      <a:pt x="533" y="595"/>
                    </a:lnTo>
                    <a:lnTo>
                      <a:pt x="533" y="594"/>
                    </a:lnTo>
                    <a:lnTo>
                      <a:pt x="533" y="593"/>
                    </a:lnTo>
                    <a:lnTo>
                      <a:pt x="532" y="593"/>
                    </a:lnTo>
                    <a:lnTo>
                      <a:pt x="532" y="592"/>
                    </a:lnTo>
                    <a:lnTo>
                      <a:pt x="532" y="591"/>
                    </a:lnTo>
                    <a:lnTo>
                      <a:pt x="531" y="591"/>
                    </a:lnTo>
                    <a:lnTo>
                      <a:pt x="531" y="590"/>
                    </a:lnTo>
                    <a:lnTo>
                      <a:pt x="531" y="589"/>
                    </a:lnTo>
                    <a:lnTo>
                      <a:pt x="531" y="588"/>
                    </a:lnTo>
                    <a:lnTo>
                      <a:pt x="530" y="586"/>
                    </a:lnTo>
                    <a:lnTo>
                      <a:pt x="530" y="585"/>
                    </a:lnTo>
                    <a:lnTo>
                      <a:pt x="529" y="584"/>
                    </a:lnTo>
                    <a:lnTo>
                      <a:pt x="529" y="583"/>
                    </a:lnTo>
                    <a:lnTo>
                      <a:pt x="529" y="582"/>
                    </a:lnTo>
                    <a:lnTo>
                      <a:pt x="528" y="582"/>
                    </a:lnTo>
                    <a:lnTo>
                      <a:pt x="528" y="581"/>
                    </a:lnTo>
                    <a:lnTo>
                      <a:pt x="527" y="581"/>
                    </a:lnTo>
                    <a:lnTo>
                      <a:pt x="527" y="580"/>
                    </a:lnTo>
                    <a:lnTo>
                      <a:pt x="526" y="579"/>
                    </a:lnTo>
                    <a:lnTo>
                      <a:pt x="526" y="578"/>
                    </a:lnTo>
                    <a:lnTo>
                      <a:pt x="526" y="579"/>
                    </a:lnTo>
                    <a:lnTo>
                      <a:pt x="525" y="579"/>
                    </a:lnTo>
                    <a:lnTo>
                      <a:pt x="525" y="578"/>
                    </a:lnTo>
                    <a:lnTo>
                      <a:pt x="525" y="577"/>
                    </a:lnTo>
                    <a:lnTo>
                      <a:pt x="524" y="577"/>
                    </a:lnTo>
                    <a:lnTo>
                      <a:pt x="524" y="576"/>
                    </a:lnTo>
                    <a:lnTo>
                      <a:pt x="523" y="575"/>
                    </a:lnTo>
                    <a:lnTo>
                      <a:pt x="523" y="573"/>
                    </a:lnTo>
                    <a:lnTo>
                      <a:pt x="522" y="573"/>
                    </a:lnTo>
                    <a:lnTo>
                      <a:pt x="522" y="572"/>
                    </a:lnTo>
                    <a:lnTo>
                      <a:pt x="520" y="572"/>
                    </a:lnTo>
                    <a:lnTo>
                      <a:pt x="520" y="571"/>
                    </a:lnTo>
                    <a:lnTo>
                      <a:pt x="519" y="571"/>
                    </a:lnTo>
                    <a:lnTo>
                      <a:pt x="519" y="570"/>
                    </a:lnTo>
                    <a:lnTo>
                      <a:pt x="519" y="569"/>
                    </a:lnTo>
                    <a:lnTo>
                      <a:pt x="518" y="569"/>
                    </a:lnTo>
                    <a:lnTo>
                      <a:pt x="518" y="568"/>
                    </a:lnTo>
                    <a:lnTo>
                      <a:pt x="517" y="568"/>
                    </a:lnTo>
                    <a:lnTo>
                      <a:pt x="517" y="567"/>
                    </a:lnTo>
                    <a:lnTo>
                      <a:pt x="516" y="566"/>
                    </a:lnTo>
                    <a:lnTo>
                      <a:pt x="516" y="565"/>
                    </a:lnTo>
                    <a:lnTo>
                      <a:pt x="516" y="564"/>
                    </a:lnTo>
                    <a:lnTo>
                      <a:pt x="515" y="564"/>
                    </a:lnTo>
                    <a:lnTo>
                      <a:pt x="515" y="563"/>
                    </a:lnTo>
                    <a:lnTo>
                      <a:pt x="514" y="563"/>
                    </a:lnTo>
                    <a:lnTo>
                      <a:pt x="514" y="562"/>
                    </a:lnTo>
                    <a:lnTo>
                      <a:pt x="514" y="560"/>
                    </a:lnTo>
                    <a:lnTo>
                      <a:pt x="513" y="560"/>
                    </a:lnTo>
                    <a:lnTo>
                      <a:pt x="513" y="559"/>
                    </a:lnTo>
                    <a:lnTo>
                      <a:pt x="513" y="558"/>
                    </a:lnTo>
                    <a:lnTo>
                      <a:pt x="512" y="558"/>
                    </a:lnTo>
                    <a:lnTo>
                      <a:pt x="512" y="557"/>
                    </a:lnTo>
                    <a:lnTo>
                      <a:pt x="512" y="556"/>
                    </a:lnTo>
                    <a:lnTo>
                      <a:pt x="512" y="555"/>
                    </a:lnTo>
                    <a:lnTo>
                      <a:pt x="512" y="554"/>
                    </a:lnTo>
                    <a:lnTo>
                      <a:pt x="512" y="553"/>
                    </a:lnTo>
                    <a:lnTo>
                      <a:pt x="512" y="552"/>
                    </a:lnTo>
                    <a:lnTo>
                      <a:pt x="511" y="552"/>
                    </a:lnTo>
                    <a:lnTo>
                      <a:pt x="512" y="552"/>
                    </a:lnTo>
                    <a:lnTo>
                      <a:pt x="512" y="551"/>
                    </a:lnTo>
                    <a:lnTo>
                      <a:pt x="511" y="551"/>
                    </a:lnTo>
                    <a:lnTo>
                      <a:pt x="511" y="550"/>
                    </a:lnTo>
                    <a:lnTo>
                      <a:pt x="511" y="549"/>
                    </a:lnTo>
                    <a:lnTo>
                      <a:pt x="511" y="547"/>
                    </a:lnTo>
                    <a:lnTo>
                      <a:pt x="511" y="546"/>
                    </a:lnTo>
                    <a:lnTo>
                      <a:pt x="511" y="545"/>
                    </a:lnTo>
                    <a:lnTo>
                      <a:pt x="511" y="544"/>
                    </a:lnTo>
                    <a:lnTo>
                      <a:pt x="511" y="543"/>
                    </a:lnTo>
                    <a:lnTo>
                      <a:pt x="511" y="542"/>
                    </a:lnTo>
                    <a:lnTo>
                      <a:pt x="511" y="541"/>
                    </a:lnTo>
                    <a:lnTo>
                      <a:pt x="510" y="540"/>
                    </a:lnTo>
                    <a:lnTo>
                      <a:pt x="510" y="539"/>
                    </a:lnTo>
                    <a:lnTo>
                      <a:pt x="509" y="539"/>
                    </a:lnTo>
                    <a:lnTo>
                      <a:pt x="509" y="538"/>
                    </a:lnTo>
                    <a:lnTo>
                      <a:pt x="507" y="538"/>
                    </a:lnTo>
                    <a:lnTo>
                      <a:pt x="507" y="537"/>
                    </a:lnTo>
                    <a:lnTo>
                      <a:pt x="507" y="536"/>
                    </a:lnTo>
                    <a:lnTo>
                      <a:pt x="506" y="536"/>
                    </a:lnTo>
                    <a:lnTo>
                      <a:pt x="506" y="534"/>
                    </a:lnTo>
                    <a:lnTo>
                      <a:pt x="506" y="533"/>
                    </a:lnTo>
                    <a:lnTo>
                      <a:pt x="506" y="532"/>
                    </a:lnTo>
                    <a:lnTo>
                      <a:pt x="505" y="531"/>
                    </a:lnTo>
                    <a:lnTo>
                      <a:pt x="505" y="530"/>
                    </a:lnTo>
                    <a:lnTo>
                      <a:pt x="505" y="531"/>
                    </a:lnTo>
                    <a:lnTo>
                      <a:pt x="506" y="531"/>
                    </a:lnTo>
                    <a:lnTo>
                      <a:pt x="506" y="532"/>
                    </a:lnTo>
                    <a:lnTo>
                      <a:pt x="507" y="533"/>
                    </a:lnTo>
                    <a:lnTo>
                      <a:pt x="509" y="534"/>
                    </a:lnTo>
                    <a:lnTo>
                      <a:pt x="511" y="536"/>
                    </a:lnTo>
                    <a:lnTo>
                      <a:pt x="512" y="537"/>
                    </a:lnTo>
                    <a:lnTo>
                      <a:pt x="513" y="537"/>
                    </a:lnTo>
                    <a:lnTo>
                      <a:pt x="514" y="537"/>
                    </a:lnTo>
                    <a:close/>
                    <a:moveTo>
                      <a:pt x="489" y="506"/>
                    </a:moveTo>
                    <a:lnTo>
                      <a:pt x="490" y="510"/>
                    </a:lnTo>
                    <a:lnTo>
                      <a:pt x="492" y="515"/>
                    </a:lnTo>
                    <a:lnTo>
                      <a:pt x="494" y="519"/>
                    </a:lnTo>
                    <a:lnTo>
                      <a:pt x="496" y="521"/>
                    </a:lnTo>
                    <a:lnTo>
                      <a:pt x="497" y="524"/>
                    </a:lnTo>
                    <a:lnTo>
                      <a:pt x="497" y="525"/>
                    </a:lnTo>
                    <a:lnTo>
                      <a:pt x="497" y="526"/>
                    </a:lnTo>
                    <a:lnTo>
                      <a:pt x="498" y="527"/>
                    </a:lnTo>
                    <a:lnTo>
                      <a:pt x="498" y="528"/>
                    </a:lnTo>
                    <a:lnTo>
                      <a:pt x="498" y="529"/>
                    </a:lnTo>
                    <a:lnTo>
                      <a:pt x="499" y="530"/>
                    </a:lnTo>
                    <a:lnTo>
                      <a:pt x="499" y="531"/>
                    </a:lnTo>
                    <a:lnTo>
                      <a:pt x="499" y="532"/>
                    </a:lnTo>
                    <a:lnTo>
                      <a:pt x="499" y="533"/>
                    </a:lnTo>
                    <a:lnTo>
                      <a:pt x="499" y="534"/>
                    </a:lnTo>
                    <a:lnTo>
                      <a:pt x="499" y="536"/>
                    </a:lnTo>
                    <a:lnTo>
                      <a:pt x="498" y="537"/>
                    </a:lnTo>
                    <a:lnTo>
                      <a:pt x="498" y="539"/>
                    </a:lnTo>
                    <a:lnTo>
                      <a:pt x="499" y="538"/>
                    </a:lnTo>
                    <a:lnTo>
                      <a:pt x="499" y="539"/>
                    </a:lnTo>
                    <a:lnTo>
                      <a:pt x="499" y="540"/>
                    </a:lnTo>
                    <a:lnTo>
                      <a:pt x="498" y="541"/>
                    </a:lnTo>
                    <a:lnTo>
                      <a:pt x="498" y="543"/>
                    </a:lnTo>
                    <a:lnTo>
                      <a:pt x="497" y="544"/>
                    </a:lnTo>
                    <a:lnTo>
                      <a:pt x="497" y="546"/>
                    </a:lnTo>
                    <a:lnTo>
                      <a:pt x="496" y="547"/>
                    </a:lnTo>
                    <a:lnTo>
                      <a:pt x="496" y="549"/>
                    </a:lnTo>
                    <a:lnTo>
                      <a:pt x="494" y="549"/>
                    </a:lnTo>
                    <a:lnTo>
                      <a:pt x="494" y="550"/>
                    </a:lnTo>
                    <a:lnTo>
                      <a:pt x="494" y="551"/>
                    </a:lnTo>
                    <a:lnTo>
                      <a:pt x="493" y="552"/>
                    </a:lnTo>
                    <a:lnTo>
                      <a:pt x="493" y="553"/>
                    </a:lnTo>
                    <a:lnTo>
                      <a:pt x="492" y="554"/>
                    </a:lnTo>
                    <a:lnTo>
                      <a:pt x="492" y="555"/>
                    </a:lnTo>
                    <a:lnTo>
                      <a:pt x="492" y="556"/>
                    </a:lnTo>
                    <a:lnTo>
                      <a:pt x="491" y="556"/>
                    </a:lnTo>
                    <a:lnTo>
                      <a:pt x="491" y="557"/>
                    </a:lnTo>
                    <a:lnTo>
                      <a:pt x="490" y="557"/>
                    </a:lnTo>
                    <a:lnTo>
                      <a:pt x="489" y="557"/>
                    </a:lnTo>
                    <a:lnTo>
                      <a:pt x="488" y="556"/>
                    </a:lnTo>
                    <a:lnTo>
                      <a:pt x="487" y="555"/>
                    </a:lnTo>
                    <a:lnTo>
                      <a:pt x="486" y="555"/>
                    </a:lnTo>
                    <a:lnTo>
                      <a:pt x="487" y="556"/>
                    </a:lnTo>
                    <a:lnTo>
                      <a:pt x="487" y="557"/>
                    </a:lnTo>
                    <a:lnTo>
                      <a:pt x="488" y="557"/>
                    </a:lnTo>
                    <a:lnTo>
                      <a:pt x="489" y="557"/>
                    </a:lnTo>
                    <a:lnTo>
                      <a:pt x="489" y="558"/>
                    </a:lnTo>
                    <a:lnTo>
                      <a:pt x="490" y="558"/>
                    </a:lnTo>
                    <a:lnTo>
                      <a:pt x="491" y="558"/>
                    </a:lnTo>
                    <a:lnTo>
                      <a:pt x="491" y="559"/>
                    </a:lnTo>
                    <a:lnTo>
                      <a:pt x="490" y="560"/>
                    </a:lnTo>
                    <a:lnTo>
                      <a:pt x="490" y="562"/>
                    </a:lnTo>
                    <a:lnTo>
                      <a:pt x="489" y="563"/>
                    </a:lnTo>
                    <a:lnTo>
                      <a:pt x="489" y="564"/>
                    </a:lnTo>
                    <a:lnTo>
                      <a:pt x="488" y="563"/>
                    </a:lnTo>
                    <a:lnTo>
                      <a:pt x="488" y="564"/>
                    </a:lnTo>
                    <a:lnTo>
                      <a:pt x="489" y="564"/>
                    </a:lnTo>
                    <a:lnTo>
                      <a:pt x="488" y="564"/>
                    </a:lnTo>
                    <a:lnTo>
                      <a:pt x="488" y="565"/>
                    </a:lnTo>
                    <a:lnTo>
                      <a:pt x="487" y="567"/>
                    </a:lnTo>
                    <a:lnTo>
                      <a:pt x="487" y="568"/>
                    </a:lnTo>
                    <a:lnTo>
                      <a:pt x="486" y="569"/>
                    </a:lnTo>
                    <a:lnTo>
                      <a:pt x="486" y="570"/>
                    </a:lnTo>
                    <a:lnTo>
                      <a:pt x="486" y="571"/>
                    </a:lnTo>
                    <a:lnTo>
                      <a:pt x="485" y="571"/>
                    </a:lnTo>
                    <a:lnTo>
                      <a:pt x="485" y="572"/>
                    </a:lnTo>
                    <a:lnTo>
                      <a:pt x="485" y="573"/>
                    </a:lnTo>
                    <a:lnTo>
                      <a:pt x="484" y="573"/>
                    </a:lnTo>
                    <a:lnTo>
                      <a:pt x="484" y="575"/>
                    </a:lnTo>
                    <a:lnTo>
                      <a:pt x="483" y="576"/>
                    </a:lnTo>
                    <a:lnTo>
                      <a:pt x="483" y="577"/>
                    </a:lnTo>
                    <a:lnTo>
                      <a:pt x="481" y="578"/>
                    </a:lnTo>
                    <a:lnTo>
                      <a:pt x="480" y="579"/>
                    </a:lnTo>
                    <a:lnTo>
                      <a:pt x="477" y="582"/>
                    </a:lnTo>
                    <a:lnTo>
                      <a:pt x="476" y="583"/>
                    </a:lnTo>
                    <a:lnTo>
                      <a:pt x="476" y="584"/>
                    </a:lnTo>
                    <a:lnTo>
                      <a:pt x="475" y="584"/>
                    </a:lnTo>
                    <a:lnTo>
                      <a:pt x="474" y="584"/>
                    </a:lnTo>
                    <a:lnTo>
                      <a:pt x="474" y="585"/>
                    </a:lnTo>
                    <a:lnTo>
                      <a:pt x="473" y="585"/>
                    </a:lnTo>
                    <a:lnTo>
                      <a:pt x="474" y="585"/>
                    </a:lnTo>
                    <a:lnTo>
                      <a:pt x="474" y="586"/>
                    </a:lnTo>
                    <a:lnTo>
                      <a:pt x="473" y="585"/>
                    </a:lnTo>
                    <a:lnTo>
                      <a:pt x="473" y="586"/>
                    </a:lnTo>
                    <a:lnTo>
                      <a:pt x="472" y="586"/>
                    </a:lnTo>
                    <a:lnTo>
                      <a:pt x="472" y="588"/>
                    </a:lnTo>
                    <a:lnTo>
                      <a:pt x="471" y="588"/>
                    </a:lnTo>
                    <a:lnTo>
                      <a:pt x="471" y="589"/>
                    </a:lnTo>
                    <a:lnTo>
                      <a:pt x="470" y="590"/>
                    </a:lnTo>
                    <a:lnTo>
                      <a:pt x="468" y="591"/>
                    </a:lnTo>
                    <a:lnTo>
                      <a:pt x="468" y="592"/>
                    </a:lnTo>
                    <a:lnTo>
                      <a:pt x="467" y="592"/>
                    </a:lnTo>
                    <a:lnTo>
                      <a:pt x="467" y="593"/>
                    </a:lnTo>
                    <a:lnTo>
                      <a:pt x="466" y="594"/>
                    </a:lnTo>
                    <a:lnTo>
                      <a:pt x="466" y="595"/>
                    </a:lnTo>
                    <a:lnTo>
                      <a:pt x="465" y="595"/>
                    </a:lnTo>
                    <a:lnTo>
                      <a:pt x="465" y="596"/>
                    </a:lnTo>
                    <a:lnTo>
                      <a:pt x="462" y="603"/>
                    </a:lnTo>
                    <a:lnTo>
                      <a:pt x="462" y="604"/>
                    </a:lnTo>
                    <a:lnTo>
                      <a:pt x="461" y="604"/>
                    </a:lnTo>
                    <a:lnTo>
                      <a:pt x="461" y="605"/>
                    </a:lnTo>
                    <a:lnTo>
                      <a:pt x="460" y="605"/>
                    </a:lnTo>
                    <a:lnTo>
                      <a:pt x="460" y="606"/>
                    </a:lnTo>
                    <a:lnTo>
                      <a:pt x="460" y="607"/>
                    </a:lnTo>
                    <a:lnTo>
                      <a:pt x="459" y="606"/>
                    </a:lnTo>
                    <a:lnTo>
                      <a:pt x="459" y="607"/>
                    </a:lnTo>
                    <a:lnTo>
                      <a:pt x="459" y="608"/>
                    </a:lnTo>
                    <a:lnTo>
                      <a:pt x="458" y="608"/>
                    </a:lnTo>
                    <a:lnTo>
                      <a:pt x="458" y="609"/>
                    </a:lnTo>
                    <a:lnTo>
                      <a:pt x="457" y="609"/>
                    </a:lnTo>
                    <a:lnTo>
                      <a:pt x="457" y="610"/>
                    </a:lnTo>
                    <a:lnTo>
                      <a:pt x="455" y="610"/>
                    </a:lnTo>
                    <a:lnTo>
                      <a:pt x="455" y="611"/>
                    </a:lnTo>
                    <a:lnTo>
                      <a:pt x="454" y="613"/>
                    </a:lnTo>
                    <a:lnTo>
                      <a:pt x="454" y="614"/>
                    </a:lnTo>
                    <a:lnTo>
                      <a:pt x="453" y="614"/>
                    </a:lnTo>
                    <a:lnTo>
                      <a:pt x="453" y="615"/>
                    </a:lnTo>
                    <a:lnTo>
                      <a:pt x="453" y="614"/>
                    </a:lnTo>
                    <a:lnTo>
                      <a:pt x="452" y="614"/>
                    </a:lnTo>
                    <a:lnTo>
                      <a:pt x="451" y="613"/>
                    </a:lnTo>
                    <a:lnTo>
                      <a:pt x="450" y="613"/>
                    </a:lnTo>
                    <a:lnTo>
                      <a:pt x="449" y="613"/>
                    </a:lnTo>
                    <a:lnTo>
                      <a:pt x="449" y="611"/>
                    </a:lnTo>
                    <a:lnTo>
                      <a:pt x="448" y="611"/>
                    </a:lnTo>
                    <a:lnTo>
                      <a:pt x="447" y="610"/>
                    </a:lnTo>
                    <a:lnTo>
                      <a:pt x="446" y="609"/>
                    </a:lnTo>
                    <a:lnTo>
                      <a:pt x="445" y="608"/>
                    </a:lnTo>
                    <a:lnTo>
                      <a:pt x="444" y="607"/>
                    </a:lnTo>
                    <a:lnTo>
                      <a:pt x="442" y="607"/>
                    </a:lnTo>
                    <a:lnTo>
                      <a:pt x="442" y="606"/>
                    </a:lnTo>
                    <a:lnTo>
                      <a:pt x="444" y="606"/>
                    </a:lnTo>
                    <a:lnTo>
                      <a:pt x="445" y="606"/>
                    </a:lnTo>
                    <a:lnTo>
                      <a:pt x="446" y="606"/>
                    </a:lnTo>
                    <a:lnTo>
                      <a:pt x="446" y="605"/>
                    </a:lnTo>
                    <a:lnTo>
                      <a:pt x="447" y="605"/>
                    </a:lnTo>
                    <a:lnTo>
                      <a:pt x="448" y="605"/>
                    </a:lnTo>
                    <a:lnTo>
                      <a:pt x="449" y="605"/>
                    </a:lnTo>
                    <a:lnTo>
                      <a:pt x="450" y="604"/>
                    </a:lnTo>
                    <a:lnTo>
                      <a:pt x="451" y="604"/>
                    </a:lnTo>
                    <a:lnTo>
                      <a:pt x="451" y="603"/>
                    </a:lnTo>
                    <a:lnTo>
                      <a:pt x="452" y="602"/>
                    </a:lnTo>
                    <a:lnTo>
                      <a:pt x="453" y="602"/>
                    </a:lnTo>
                    <a:lnTo>
                      <a:pt x="453" y="603"/>
                    </a:lnTo>
                    <a:lnTo>
                      <a:pt x="453" y="604"/>
                    </a:lnTo>
                    <a:lnTo>
                      <a:pt x="452" y="604"/>
                    </a:lnTo>
                    <a:lnTo>
                      <a:pt x="453" y="605"/>
                    </a:lnTo>
                    <a:lnTo>
                      <a:pt x="454" y="605"/>
                    </a:lnTo>
                    <a:lnTo>
                      <a:pt x="454" y="604"/>
                    </a:lnTo>
                    <a:lnTo>
                      <a:pt x="454" y="603"/>
                    </a:lnTo>
                    <a:lnTo>
                      <a:pt x="454" y="602"/>
                    </a:lnTo>
                    <a:lnTo>
                      <a:pt x="453" y="602"/>
                    </a:lnTo>
                    <a:lnTo>
                      <a:pt x="453" y="601"/>
                    </a:lnTo>
                    <a:lnTo>
                      <a:pt x="452" y="600"/>
                    </a:lnTo>
                    <a:lnTo>
                      <a:pt x="451" y="600"/>
                    </a:lnTo>
                    <a:lnTo>
                      <a:pt x="451" y="598"/>
                    </a:lnTo>
                    <a:lnTo>
                      <a:pt x="452" y="598"/>
                    </a:lnTo>
                    <a:lnTo>
                      <a:pt x="452" y="597"/>
                    </a:lnTo>
                    <a:lnTo>
                      <a:pt x="453" y="597"/>
                    </a:lnTo>
                    <a:lnTo>
                      <a:pt x="453" y="596"/>
                    </a:lnTo>
                    <a:lnTo>
                      <a:pt x="454" y="597"/>
                    </a:lnTo>
                    <a:lnTo>
                      <a:pt x="454" y="598"/>
                    </a:lnTo>
                    <a:lnTo>
                      <a:pt x="455" y="598"/>
                    </a:lnTo>
                    <a:lnTo>
                      <a:pt x="455" y="600"/>
                    </a:lnTo>
                    <a:lnTo>
                      <a:pt x="457" y="600"/>
                    </a:lnTo>
                    <a:lnTo>
                      <a:pt x="458" y="601"/>
                    </a:lnTo>
                    <a:lnTo>
                      <a:pt x="458" y="600"/>
                    </a:lnTo>
                    <a:lnTo>
                      <a:pt x="459" y="600"/>
                    </a:lnTo>
                    <a:lnTo>
                      <a:pt x="460" y="600"/>
                    </a:lnTo>
                    <a:lnTo>
                      <a:pt x="460" y="598"/>
                    </a:lnTo>
                    <a:lnTo>
                      <a:pt x="459" y="598"/>
                    </a:lnTo>
                    <a:lnTo>
                      <a:pt x="460" y="597"/>
                    </a:lnTo>
                    <a:lnTo>
                      <a:pt x="460" y="598"/>
                    </a:lnTo>
                    <a:lnTo>
                      <a:pt x="461" y="598"/>
                    </a:lnTo>
                    <a:lnTo>
                      <a:pt x="461" y="597"/>
                    </a:lnTo>
                    <a:lnTo>
                      <a:pt x="461" y="596"/>
                    </a:lnTo>
                    <a:lnTo>
                      <a:pt x="462" y="596"/>
                    </a:lnTo>
                    <a:lnTo>
                      <a:pt x="463" y="596"/>
                    </a:lnTo>
                    <a:lnTo>
                      <a:pt x="463" y="595"/>
                    </a:lnTo>
                    <a:lnTo>
                      <a:pt x="464" y="595"/>
                    </a:lnTo>
                    <a:lnTo>
                      <a:pt x="464" y="594"/>
                    </a:lnTo>
                    <a:lnTo>
                      <a:pt x="465" y="594"/>
                    </a:lnTo>
                    <a:lnTo>
                      <a:pt x="465" y="593"/>
                    </a:lnTo>
                    <a:lnTo>
                      <a:pt x="465" y="592"/>
                    </a:lnTo>
                    <a:lnTo>
                      <a:pt x="466" y="592"/>
                    </a:lnTo>
                    <a:lnTo>
                      <a:pt x="466" y="591"/>
                    </a:lnTo>
                    <a:lnTo>
                      <a:pt x="467" y="590"/>
                    </a:lnTo>
                    <a:lnTo>
                      <a:pt x="467" y="589"/>
                    </a:lnTo>
                    <a:lnTo>
                      <a:pt x="468" y="589"/>
                    </a:lnTo>
                    <a:lnTo>
                      <a:pt x="468" y="588"/>
                    </a:lnTo>
                    <a:lnTo>
                      <a:pt x="470" y="588"/>
                    </a:lnTo>
                    <a:lnTo>
                      <a:pt x="471" y="588"/>
                    </a:lnTo>
                    <a:lnTo>
                      <a:pt x="471" y="586"/>
                    </a:lnTo>
                    <a:lnTo>
                      <a:pt x="471" y="585"/>
                    </a:lnTo>
                    <a:lnTo>
                      <a:pt x="470" y="585"/>
                    </a:lnTo>
                    <a:lnTo>
                      <a:pt x="470" y="584"/>
                    </a:lnTo>
                    <a:lnTo>
                      <a:pt x="468" y="583"/>
                    </a:lnTo>
                    <a:lnTo>
                      <a:pt x="468" y="582"/>
                    </a:lnTo>
                    <a:lnTo>
                      <a:pt x="468" y="581"/>
                    </a:lnTo>
                    <a:lnTo>
                      <a:pt x="468" y="580"/>
                    </a:lnTo>
                    <a:lnTo>
                      <a:pt x="468" y="579"/>
                    </a:lnTo>
                    <a:lnTo>
                      <a:pt x="467" y="579"/>
                    </a:lnTo>
                    <a:lnTo>
                      <a:pt x="467" y="578"/>
                    </a:lnTo>
                    <a:lnTo>
                      <a:pt x="466" y="578"/>
                    </a:lnTo>
                    <a:lnTo>
                      <a:pt x="466" y="577"/>
                    </a:lnTo>
                    <a:lnTo>
                      <a:pt x="467" y="576"/>
                    </a:lnTo>
                    <a:lnTo>
                      <a:pt x="467" y="575"/>
                    </a:lnTo>
                    <a:lnTo>
                      <a:pt x="470" y="575"/>
                    </a:lnTo>
                    <a:lnTo>
                      <a:pt x="472" y="575"/>
                    </a:lnTo>
                    <a:lnTo>
                      <a:pt x="472" y="576"/>
                    </a:lnTo>
                    <a:lnTo>
                      <a:pt x="473" y="576"/>
                    </a:lnTo>
                    <a:lnTo>
                      <a:pt x="474" y="575"/>
                    </a:lnTo>
                    <a:lnTo>
                      <a:pt x="475" y="575"/>
                    </a:lnTo>
                    <a:lnTo>
                      <a:pt x="476" y="575"/>
                    </a:lnTo>
                    <a:lnTo>
                      <a:pt x="476" y="573"/>
                    </a:lnTo>
                    <a:lnTo>
                      <a:pt x="475" y="573"/>
                    </a:lnTo>
                    <a:lnTo>
                      <a:pt x="474" y="573"/>
                    </a:lnTo>
                    <a:lnTo>
                      <a:pt x="474" y="572"/>
                    </a:lnTo>
                    <a:lnTo>
                      <a:pt x="475" y="572"/>
                    </a:lnTo>
                    <a:lnTo>
                      <a:pt x="475" y="573"/>
                    </a:lnTo>
                    <a:lnTo>
                      <a:pt x="476" y="573"/>
                    </a:lnTo>
                    <a:lnTo>
                      <a:pt x="477" y="573"/>
                    </a:lnTo>
                    <a:lnTo>
                      <a:pt x="478" y="573"/>
                    </a:lnTo>
                    <a:lnTo>
                      <a:pt x="478" y="572"/>
                    </a:lnTo>
                    <a:lnTo>
                      <a:pt x="477" y="572"/>
                    </a:lnTo>
                    <a:lnTo>
                      <a:pt x="478" y="571"/>
                    </a:lnTo>
                    <a:lnTo>
                      <a:pt x="477" y="570"/>
                    </a:lnTo>
                    <a:lnTo>
                      <a:pt x="477" y="568"/>
                    </a:lnTo>
                    <a:lnTo>
                      <a:pt x="476" y="568"/>
                    </a:lnTo>
                    <a:lnTo>
                      <a:pt x="476" y="567"/>
                    </a:lnTo>
                    <a:lnTo>
                      <a:pt x="477" y="567"/>
                    </a:lnTo>
                    <a:lnTo>
                      <a:pt x="477" y="566"/>
                    </a:lnTo>
                    <a:lnTo>
                      <a:pt x="478" y="566"/>
                    </a:lnTo>
                    <a:lnTo>
                      <a:pt x="478" y="565"/>
                    </a:lnTo>
                    <a:lnTo>
                      <a:pt x="477" y="565"/>
                    </a:lnTo>
                    <a:lnTo>
                      <a:pt x="477" y="564"/>
                    </a:lnTo>
                    <a:lnTo>
                      <a:pt x="476" y="564"/>
                    </a:lnTo>
                    <a:lnTo>
                      <a:pt x="476" y="563"/>
                    </a:lnTo>
                    <a:lnTo>
                      <a:pt x="476" y="562"/>
                    </a:lnTo>
                    <a:lnTo>
                      <a:pt x="475" y="562"/>
                    </a:lnTo>
                    <a:lnTo>
                      <a:pt x="474" y="560"/>
                    </a:lnTo>
                    <a:lnTo>
                      <a:pt x="473" y="560"/>
                    </a:lnTo>
                    <a:lnTo>
                      <a:pt x="473" y="559"/>
                    </a:lnTo>
                    <a:lnTo>
                      <a:pt x="474" y="559"/>
                    </a:lnTo>
                    <a:lnTo>
                      <a:pt x="474" y="558"/>
                    </a:lnTo>
                    <a:lnTo>
                      <a:pt x="473" y="558"/>
                    </a:lnTo>
                    <a:lnTo>
                      <a:pt x="473" y="557"/>
                    </a:lnTo>
                    <a:lnTo>
                      <a:pt x="473" y="556"/>
                    </a:lnTo>
                    <a:lnTo>
                      <a:pt x="473" y="555"/>
                    </a:lnTo>
                    <a:lnTo>
                      <a:pt x="472" y="555"/>
                    </a:lnTo>
                    <a:lnTo>
                      <a:pt x="472" y="554"/>
                    </a:lnTo>
                    <a:lnTo>
                      <a:pt x="471" y="554"/>
                    </a:lnTo>
                    <a:lnTo>
                      <a:pt x="471" y="553"/>
                    </a:lnTo>
                    <a:lnTo>
                      <a:pt x="470" y="553"/>
                    </a:lnTo>
                    <a:lnTo>
                      <a:pt x="471" y="553"/>
                    </a:lnTo>
                    <a:lnTo>
                      <a:pt x="472" y="553"/>
                    </a:lnTo>
                    <a:lnTo>
                      <a:pt x="473" y="553"/>
                    </a:lnTo>
                    <a:lnTo>
                      <a:pt x="474" y="553"/>
                    </a:lnTo>
                    <a:lnTo>
                      <a:pt x="475" y="553"/>
                    </a:lnTo>
                    <a:lnTo>
                      <a:pt x="476" y="553"/>
                    </a:lnTo>
                    <a:lnTo>
                      <a:pt x="477" y="553"/>
                    </a:lnTo>
                    <a:lnTo>
                      <a:pt x="478" y="553"/>
                    </a:lnTo>
                    <a:lnTo>
                      <a:pt x="478" y="554"/>
                    </a:lnTo>
                    <a:lnTo>
                      <a:pt x="479" y="553"/>
                    </a:lnTo>
                    <a:lnTo>
                      <a:pt x="479" y="552"/>
                    </a:lnTo>
                    <a:lnTo>
                      <a:pt x="478" y="552"/>
                    </a:lnTo>
                    <a:lnTo>
                      <a:pt x="479" y="552"/>
                    </a:lnTo>
                    <a:lnTo>
                      <a:pt x="480" y="552"/>
                    </a:lnTo>
                    <a:lnTo>
                      <a:pt x="480" y="551"/>
                    </a:lnTo>
                    <a:lnTo>
                      <a:pt x="479" y="551"/>
                    </a:lnTo>
                    <a:lnTo>
                      <a:pt x="479" y="550"/>
                    </a:lnTo>
                    <a:lnTo>
                      <a:pt x="480" y="550"/>
                    </a:lnTo>
                    <a:lnTo>
                      <a:pt x="480" y="549"/>
                    </a:lnTo>
                    <a:lnTo>
                      <a:pt x="479" y="549"/>
                    </a:lnTo>
                    <a:lnTo>
                      <a:pt x="478" y="549"/>
                    </a:lnTo>
                    <a:lnTo>
                      <a:pt x="477" y="547"/>
                    </a:lnTo>
                    <a:lnTo>
                      <a:pt x="478" y="549"/>
                    </a:lnTo>
                    <a:lnTo>
                      <a:pt x="478" y="547"/>
                    </a:lnTo>
                    <a:lnTo>
                      <a:pt x="477" y="547"/>
                    </a:lnTo>
                    <a:lnTo>
                      <a:pt x="476" y="547"/>
                    </a:lnTo>
                    <a:lnTo>
                      <a:pt x="476" y="546"/>
                    </a:lnTo>
                    <a:lnTo>
                      <a:pt x="477" y="546"/>
                    </a:lnTo>
                    <a:lnTo>
                      <a:pt x="478" y="546"/>
                    </a:lnTo>
                    <a:lnTo>
                      <a:pt x="477" y="546"/>
                    </a:lnTo>
                    <a:lnTo>
                      <a:pt x="477" y="545"/>
                    </a:lnTo>
                    <a:lnTo>
                      <a:pt x="477" y="544"/>
                    </a:lnTo>
                    <a:lnTo>
                      <a:pt x="478" y="544"/>
                    </a:lnTo>
                    <a:lnTo>
                      <a:pt x="479" y="544"/>
                    </a:lnTo>
                    <a:lnTo>
                      <a:pt x="480" y="544"/>
                    </a:lnTo>
                    <a:lnTo>
                      <a:pt x="481" y="544"/>
                    </a:lnTo>
                    <a:lnTo>
                      <a:pt x="483" y="544"/>
                    </a:lnTo>
                    <a:lnTo>
                      <a:pt x="483" y="545"/>
                    </a:lnTo>
                    <a:lnTo>
                      <a:pt x="483" y="546"/>
                    </a:lnTo>
                    <a:lnTo>
                      <a:pt x="481" y="546"/>
                    </a:lnTo>
                    <a:lnTo>
                      <a:pt x="481" y="547"/>
                    </a:lnTo>
                    <a:lnTo>
                      <a:pt x="481" y="549"/>
                    </a:lnTo>
                    <a:lnTo>
                      <a:pt x="483" y="549"/>
                    </a:lnTo>
                    <a:lnTo>
                      <a:pt x="484" y="549"/>
                    </a:lnTo>
                    <a:lnTo>
                      <a:pt x="485" y="549"/>
                    </a:lnTo>
                    <a:lnTo>
                      <a:pt x="485" y="550"/>
                    </a:lnTo>
                    <a:lnTo>
                      <a:pt x="484" y="550"/>
                    </a:lnTo>
                    <a:lnTo>
                      <a:pt x="484" y="551"/>
                    </a:lnTo>
                    <a:lnTo>
                      <a:pt x="485" y="551"/>
                    </a:lnTo>
                    <a:lnTo>
                      <a:pt x="486" y="551"/>
                    </a:lnTo>
                    <a:lnTo>
                      <a:pt x="486" y="552"/>
                    </a:lnTo>
                    <a:lnTo>
                      <a:pt x="487" y="552"/>
                    </a:lnTo>
                    <a:lnTo>
                      <a:pt x="487" y="551"/>
                    </a:lnTo>
                    <a:lnTo>
                      <a:pt x="486" y="551"/>
                    </a:lnTo>
                    <a:lnTo>
                      <a:pt x="486" y="550"/>
                    </a:lnTo>
                    <a:lnTo>
                      <a:pt x="486" y="549"/>
                    </a:lnTo>
                    <a:lnTo>
                      <a:pt x="486" y="550"/>
                    </a:lnTo>
                    <a:lnTo>
                      <a:pt x="487" y="550"/>
                    </a:lnTo>
                    <a:lnTo>
                      <a:pt x="487" y="549"/>
                    </a:lnTo>
                    <a:lnTo>
                      <a:pt x="487" y="547"/>
                    </a:lnTo>
                    <a:lnTo>
                      <a:pt x="486" y="546"/>
                    </a:lnTo>
                    <a:lnTo>
                      <a:pt x="486" y="545"/>
                    </a:lnTo>
                    <a:lnTo>
                      <a:pt x="487" y="546"/>
                    </a:lnTo>
                    <a:lnTo>
                      <a:pt x="487" y="547"/>
                    </a:lnTo>
                    <a:lnTo>
                      <a:pt x="488" y="547"/>
                    </a:lnTo>
                    <a:lnTo>
                      <a:pt x="488" y="546"/>
                    </a:lnTo>
                    <a:lnTo>
                      <a:pt x="489" y="546"/>
                    </a:lnTo>
                    <a:lnTo>
                      <a:pt x="490" y="547"/>
                    </a:lnTo>
                    <a:lnTo>
                      <a:pt x="491" y="547"/>
                    </a:lnTo>
                    <a:lnTo>
                      <a:pt x="491" y="546"/>
                    </a:lnTo>
                    <a:lnTo>
                      <a:pt x="490" y="545"/>
                    </a:lnTo>
                    <a:lnTo>
                      <a:pt x="491" y="545"/>
                    </a:lnTo>
                    <a:lnTo>
                      <a:pt x="492" y="545"/>
                    </a:lnTo>
                    <a:lnTo>
                      <a:pt x="491" y="545"/>
                    </a:lnTo>
                    <a:lnTo>
                      <a:pt x="490" y="544"/>
                    </a:lnTo>
                    <a:lnTo>
                      <a:pt x="491" y="544"/>
                    </a:lnTo>
                    <a:lnTo>
                      <a:pt x="492" y="544"/>
                    </a:lnTo>
                    <a:lnTo>
                      <a:pt x="493" y="544"/>
                    </a:lnTo>
                    <a:lnTo>
                      <a:pt x="492" y="543"/>
                    </a:lnTo>
                    <a:lnTo>
                      <a:pt x="491" y="543"/>
                    </a:lnTo>
                    <a:lnTo>
                      <a:pt x="490" y="543"/>
                    </a:lnTo>
                    <a:lnTo>
                      <a:pt x="490" y="542"/>
                    </a:lnTo>
                    <a:lnTo>
                      <a:pt x="490" y="543"/>
                    </a:lnTo>
                    <a:lnTo>
                      <a:pt x="489" y="543"/>
                    </a:lnTo>
                    <a:lnTo>
                      <a:pt x="488" y="542"/>
                    </a:lnTo>
                    <a:lnTo>
                      <a:pt x="487" y="542"/>
                    </a:lnTo>
                    <a:lnTo>
                      <a:pt x="487" y="541"/>
                    </a:lnTo>
                    <a:lnTo>
                      <a:pt x="487" y="540"/>
                    </a:lnTo>
                    <a:lnTo>
                      <a:pt x="488" y="540"/>
                    </a:lnTo>
                    <a:lnTo>
                      <a:pt x="489" y="540"/>
                    </a:lnTo>
                    <a:lnTo>
                      <a:pt x="489" y="539"/>
                    </a:lnTo>
                    <a:lnTo>
                      <a:pt x="490" y="539"/>
                    </a:lnTo>
                    <a:lnTo>
                      <a:pt x="490" y="538"/>
                    </a:lnTo>
                    <a:lnTo>
                      <a:pt x="490" y="537"/>
                    </a:lnTo>
                    <a:lnTo>
                      <a:pt x="489" y="537"/>
                    </a:lnTo>
                    <a:lnTo>
                      <a:pt x="489" y="536"/>
                    </a:lnTo>
                    <a:lnTo>
                      <a:pt x="489" y="534"/>
                    </a:lnTo>
                    <a:lnTo>
                      <a:pt x="489" y="533"/>
                    </a:lnTo>
                    <a:lnTo>
                      <a:pt x="489" y="532"/>
                    </a:lnTo>
                    <a:lnTo>
                      <a:pt x="488" y="532"/>
                    </a:lnTo>
                    <a:lnTo>
                      <a:pt x="488" y="531"/>
                    </a:lnTo>
                    <a:lnTo>
                      <a:pt x="489" y="531"/>
                    </a:lnTo>
                    <a:lnTo>
                      <a:pt x="489" y="530"/>
                    </a:lnTo>
                    <a:lnTo>
                      <a:pt x="490" y="529"/>
                    </a:lnTo>
                    <a:lnTo>
                      <a:pt x="489" y="529"/>
                    </a:lnTo>
                    <a:lnTo>
                      <a:pt x="489" y="528"/>
                    </a:lnTo>
                    <a:lnTo>
                      <a:pt x="488" y="528"/>
                    </a:lnTo>
                    <a:lnTo>
                      <a:pt x="488" y="527"/>
                    </a:lnTo>
                    <a:lnTo>
                      <a:pt x="487" y="527"/>
                    </a:lnTo>
                    <a:lnTo>
                      <a:pt x="487" y="526"/>
                    </a:lnTo>
                    <a:lnTo>
                      <a:pt x="487" y="525"/>
                    </a:lnTo>
                    <a:lnTo>
                      <a:pt x="487" y="524"/>
                    </a:lnTo>
                    <a:lnTo>
                      <a:pt x="487" y="523"/>
                    </a:lnTo>
                    <a:lnTo>
                      <a:pt x="487" y="521"/>
                    </a:lnTo>
                    <a:lnTo>
                      <a:pt x="488" y="521"/>
                    </a:lnTo>
                    <a:lnTo>
                      <a:pt x="489" y="521"/>
                    </a:lnTo>
                    <a:lnTo>
                      <a:pt x="489" y="520"/>
                    </a:lnTo>
                    <a:lnTo>
                      <a:pt x="490" y="520"/>
                    </a:lnTo>
                    <a:lnTo>
                      <a:pt x="491" y="519"/>
                    </a:lnTo>
                    <a:lnTo>
                      <a:pt x="492" y="520"/>
                    </a:lnTo>
                    <a:lnTo>
                      <a:pt x="492" y="519"/>
                    </a:lnTo>
                    <a:lnTo>
                      <a:pt x="492" y="518"/>
                    </a:lnTo>
                    <a:lnTo>
                      <a:pt x="491" y="518"/>
                    </a:lnTo>
                    <a:lnTo>
                      <a:pt x="491" y="517"/>
                    </a:lnTo>
                    <a:lnTo>
                      <a:pt x="492" y="517"/>
                    </a:lnTo>
                    <a:lnTo>
                      <a:pt x="492" y="516"/>
                    </a:lnTo>
                    <a:lnTo>
                      <a:pt x="491" y="516"/>
                    </a:lnTo>
                    <a:lnTo>
                      <a:pt x="492" y="516"/>
                    </a:lnTo>
                    <a:lnTo>
                      <a:pt x="491" y="515"/>
                    </a:lnTo>
                    <a:lnTo>
                      <a:pt x="490" y="515"/>
                    </a:lnTo>
                    <a:lnTo>
                      <a:pt x="489" y="515"/>
                    </a:lnTo>
                    <a:lnTo>
                      <a:pt x="488" y="514"/>
                    </a:lnTo>
                    <a:lnTo>
                      <a:pt x="488" y="515"/>
                    </a:lnTo>
                    <a:lnTo>
                      <a:pt x="489" y="515"/>
                    </a:lnTo>
                    <a:lnTo>
                      <a:pt x="488" y="515"/>
                    </a:lnTo>
                    <a:lnTo>
                      <a:pt x="488" y="514"/>
                    </a:lnTo>
                    <a:lnTo>
                      <a:pt x="488" y="513"/>
                    </a:lnTo>
                    <a:lnTo>
                      <a:pt x="489" y="513"/>
                    </a:lnTo>
                    <a:lnTo>
                      <a:pt x="489" y="512"/>
                    </a:lnTo>
                    <a:lnTo>
                      <a:pt x="489" y="511"/>
                    </a:lnTo>
                    <a:lnTo>
                      <a:pt x="488" y="511"/>
                    </a:lnTo>
                    <a:lnTo>
                      <a:pt x="489" y="511"/>
                    </a:lnTo>
                    <a:lnTo>
                      <a:pt x="489" y="510"/>
                    </a:lnTo>
                    <a:lnTo>
                      <a:pt x="488" y="510"/>
                    </a:lnTo>
                    <a:lnTo>
                      <a:pt x="488" y="508"/>
                    </a:lnTo>
                    <a:lnTo>
                      <a:pt x="487" y="508"/>
                    </a:lnTo>
                    <a:lnTo>
                      <a:pt x="486" y="508"/>
                    </a:lnTo>
                    <a:lnTo>
                      <a:pt x="486" y="507"/>
                    </a:lnTo>
                    <a:lnTo>
                      <a:pt x="487" y="507"/>
                    </a:lnTo>
                    <a:lnTo>
                      <a:pt x="487" y="506"/>
                    </a:lnTo>
                    <a:lnTo>
                      <a:pt x="487" y="505"/>
                    </a:lnTo>
                    <a:lnTo>
                      <a:pt x="488" y="505"/>
                    </a:lnTo>
                    <a:lnTo>
                      <a:pt x="489" y="505"/>
                    </a:lnTo>
                    <a:lnTo>
                      <a:pt x="489" y="506"/>
                    </a:lnTo>
                    <a:close/>
                    <a:moveTo>
                      <a:pt x="530" y="547"/>
                    </a:moveTo>
                    <a:lnTo>
                      <a:pt x="531" y="547"/>
                    </a:lnTo>
                    <a:lnTo>
                      <a:pt x="531" y="549"/>
                    </a:lnTo>
                    <a:lnTo>
                      <a:pt x="531" y="550"/>
                    </a:lnTo>
                    <a:lnTo>
                      <a:pt x="532" y="551"/>
                    </a:lnTo>
                    <a:lnTo>
                      <a:pt x="532" y="552"/>
                    </a:lnTo>
                    <a:lnTo>
                      <a:pt x="531" y="552"/>
                    </a:lnTo>
                    <a:lnTo>
                      <a:pt x="532" y="553"/>
                    </a:lnTo>
                    <a:lnTo>
                      <a:pt x="533" y="553"/>
                    </a:lnTo>
                    <a:lnTo>
                      <a:pt x="533" y="554"/>
                    </a:lnTo>
                    <a:lnTo>
                      <a:pt x="535" y="554"/>
                    </a:lnTo>
                    <a:lnTo>
                      <a:pt x="536" y="554"/>
                    </a:lnTo>
                    <a:lnTo>
                      <a:pt x="536" y="555"/>
                    </a:lnTo>
                    <a:lnTo>
                      <a:pt x="536" y="554"/>
                    </a:lnTo>
                    <a:lnTo>
                      <a:pt x="536" y="555"/>
                    </a:lnTo>
                    <a:lnTo>
                      <a:pt x="537" y="555"/>
                    </a:lnTo>
                    <a:lnTo>
                      <a:pt x="539" y="556"/>
                    </a:lnTo>
                    <a:lnTo>
                      <a:pt x="540" y="557"/>
                    </a:lnTo>
                    <a:lnTo>
                      <a:pt x="541" y="557"/>
                    </a:lnTo>
                    <a:lnTo>
                      <a:pt x="541" y="558"/>
                    </a:lnTo>
                    <a:lnTo>
                      <a:pt x="540" y="558"/>
                    </a:lnTo>
                    <a:lnTo>
                      <a:pt x="539" y="558"/>
                    </a:lnTo>
                    <a:lnTo>
                      <a:pt x="538" y="558"/>
                    </a:lnTo>
                    <a:lnTo>
                      <a:pt x="538" y="559"/>
                    </a:lnTo>
                    <a:lnTo>
                      <a:pt x="539" y="558"/>
                    </a:lnTo>
                    <a:lnTo>
                      <a:pt x="539" y="559"/>
                    </a:lnTo>
                    <a:lnTo>
                      <a:pt x="540" y="559"/>
                    </a:lnTo>
                    <a:lnTo>
                      <a:pt x="540" y="560"/>
                    </a:lnTo>
                    <a:lnTo>
                      <a:pt x="540" y="562"/>
                    </a:lnTo>
                    <a:lnTo>
                      <a:pt x="540" y="563"/>
                    </a:lnTo>
                    <a:lnTo>
                      <a:pt x="540" y="564"/>
                    </a:lnTo>
                    <a:lnTo>
                      <a:pt x="540" y="565"/>
                    </a:lnTo>
                    <a:lnTo>
                      <a:pt x="541" y="566"/>
                    </a:lnTo>
                    <a:lnTo>
                      <a:pt x="541" y="565"/>
                    </a:lnTo>
                    <a:lnTo>
                      <a:pt x="540" y="565"/>
                    </a:lnTo>
                    <a:lnTo>
                      <a:pt x="540" y="564"/>
                    </a:lnTo>
                    <a:lnTo>
                      <a:pt x="540" y="563"/>
                    </a:lnTo>
                    <a:lnTo>
                      <a:pt x="540" y="562"/>
                    </a:lnTo>
                    <a:lnTo>
                      <a:pt x="540" y="560"/>
                    </a:lnTo>
                    <a:lnTo>
                      <a:pt x="540" y="559"/>
                    </a:lnTo>
                    <a:lnTo>
                      <a:pt x="540" y="558"/>
                    </a:lnTo>
                    <a:lnTo>
                      <a:pt x="541" y="558"/>
                    </a:lnTo>
                    <a:lnTo>
                      <a:pt x="542" y="558"/>
                    </a:lnTo>
                    <a:lnTo>
                      <a:pt x="543" y="559"/>
                    </a:lnTo>
                    <a:lnTo>
                      <a:pt x="544" y="560"/>
                    </a:lnTo>
                    <a:lnTo>
                      <a:pt x="544" y="562"/>
                    </a:lnTo>
                    <a:lnTo>
                      <a:pt x="545" y="562"/>
                    </a:lnTo>
                    <a:lnTo>
                      <a:pt x="545" y="563"/>
                    </a:lnTo>
                    <a:lnTo>
                      <a:pt x="545" y="564"/>
                    </a:lnTo>
                    <a:lnTo>
                      <a:pt x="546" y="564"/>
                    </a:lnTo>
                    <a:lnTo>
                      <a:pt x="545" y="563"/>
                    </a:lnTo>
                    <a:lnTo>
                      <a:pt x="546" y="564"/>
                    </a:lnTo>
                    <a:lnTo>
                      <a:pt x="545" y="564"/>
                    </a:lnTo>
                    <a:lnTo>
                      <a:pt x="545" y="563"/>
                    </a:lnTo>
                    <a:lnTo>
                      <a:pt x="544" y="562"/>
                    </a:lnTo>
                    <a:lnTo>
                      <a:pt x="543" y="560"/>
                    </a:lnTo>
                    <a:lnTo>
                      <a:pt x="542" y="559"/>
                    </a:lnTo>
                    <a:lnTo>
                      <a:pt x="542" y="558"/>
                    </a:lnTo>
                    <a:lnTo>
                      <a:pt x="542" y="559"/>
                    </a:lnTo>
                    <a:lnTo>
                      <a:pt x="543" y="562"/>
                    </a:lnTo>
                    <a:lnTo>
                      <a:pt x="544" y="562"/>
                    </a:lnTo>
                    <a:lnTo>
                      <a:pt x="544" y="563"/>
                    </a:lnTo>
                    <a:lnTo>
                      <a:pt x="545" y="564"/>
                    </a:lnTo>
                    <a:lnTo>
                      <a:pt x="546" y="564"/>
                    </a:lnTo>
                    <a:lnTo>
                      <a:pt x="548" y="565"/>
                    </a:lnTo>
                    <a:lnTo>
                      <a:pt x="549" y="565"/>
                    </a:lnTo>
                    <a:lnTo>
                      <a:pt x="550" y="566"/>
                    </a:lnTo>
                    <a:lnTo>
                      <a:pt x="551" y="566"/>
                    </a:lnTo>
                    <a:lnTo>
                      <a:pt x="552" y="566"/>
                    </a:lnTo>
                    <a:lnTo>
                      <a:pt x="551" y="566"/>
                    </a:lnTo>
                    <a:lnTo>
                      <a:pt x="551" y="567"/>
                    </a:lnTo>
                    <a:lnTo>
                      <a:pt x="550" y="567"/>
                    </a:lnTo>
                    <a:lnTo>
                      <a:pt x="549" y="567"/>
                    </a:lnTo>
                    <a:lnTo>
                      <a:pt x="548" y="567"/>
                    </a:lnTo>
                    <a:lnTo>
                      <a:pt x="548" y="566"/>
                    </a:lnTo>
                    <a:lnTo>
                      <a:pt x="546" y="566"/>
                    </a:lnTo>
                    <a:lnTo>
                      <a:pt x="545" y="566"/>
                    </a:lnTo>
                    <a:lnTo>
                      <a:pt x="545" y="567"/>
                    </a:lnTo>
                    <a:lnTo>
                      <a:pt x="546" y="566"/>
                    </a:lnTo>
                    <a:lnTo>
                      <a:pt x="546" y="567"/>
                    </a:lnTo>
                    <a:lnTo>
                      <a:pt x="548" y="567"/>
                    </a:lnTo>
                    <a:lnTo>
                      <a:pt x="549" y="567"/>
                    </a:lnTo>
                    <a:lnTo>
                      <a:pt x="550" y="567"/>
                    </a:lnTo>
                    <a:lnTo>
                      <a:pt x="551" y="567"/>
                    </a:lnTo>
                    <a:lnTo>
                      <a:pt x="552" y="567"/>
                    </a:lnTo>
                    <a:lnTo>
                      <a:pt x="553" y="568"/>
                    </a:lnTo>
                    <a:lnTo>
                      <a:pt x="553" y="569"/>
                    </a:lnTo>
                    <a:lnTo>
                      <a:pt x="554" y="569"/>
                    </a:lnTo>
                    <a:lnTo>
                      <a:pt x="555" y="569"/>
                    </a:lnTo>
                    <a:lnTo>
                      <a:pt x="556" y="571"/>
                    </a:lnTo>
                    <a:lnTo>
                      <a:pt x="557" y="571"/>
                    </a:lnTo>
                    <a:lnTo>
                      <a:pt x="560" y="573"/>
                    </a:lnTo>
                    <a:lnTo>
                      <a:pt x="561" y="573"/>
                    </a:lnTo>
                    <a:lnTo>
                      <a:pt x="562" y="573"/>
                    </a:lnTo>
                    <a:lnTo>
                      <a:pt x="563" y="573"/>
                    </a:lnTo>
                    <a:lnTo>
                      <a:pt x="563" y="575"/>
                    </a:lnTo>
                    <a:lnTo>
                      <a:pt x="563" y="573"/>
                    </a:lnTo>
                    <a:lnTo>
                      <a:pt x="562" y="573"/>
                    </a:lnTo>
                    <a:lnTo>
                      <a:pt x="562" y="575"/>
                    </a:lnTo>
                    <a:lnTo>
                      <a:pt x="563" y="575"/>
                    </a:lnTo>
                    <a:lnTo>
                      <a:pt x="563" y="573"/>
                    </a:lnTo>
                    <a:lnTo>
                      <a:pt x="564" y="573"/>
                    </a:lnTo>
                    <a:lnTo>
                      <a:pt x="564" y="575"/>
                    </a:lnTo>
                    <a:lnTo>
                      <a:pt x="565" y="575"/>
                    </a:lnTo>
                    <a:lnTo>
                      <a:pt x="566" y="575"/>
                    </a:lnTo>
                    <a:lnTo>
                      <a:pt x="567" y="576"/>
                    </a:lnTo>
                    <a:lnTo>
                      <a:pt x="568" y="576"/>
                    </a:lnTo>
                    <a:lnTo>
                      <a:pt x="569" y="576"/>
                    </a:lnTo>
                    <a:lnTo>
                      <a:pt x="570" y="576"/>
                    </a:lnTo>
                    <a:lnTo>
                      <a:pt x="570" y="577"/>
                    </a:lnTo>
                    <a:lnTo>
                      <a:pt x="571" y="577"/>
                    </a:lnTo>
                    <a:lnTo>
                      <a:pt x="573" y="577"/>
                    </a:lnTo>
                    <a:lnTo>
                      <a:pt x="574" y="577"/>
                    </a:lnTo>
                    <a:lnTo>
                      <a:pt x="574" y="578"/>
                    </a:lnTo>
                    <a:lnTo>
                      <a:pt x="575" y="578"/>
                    </a:lnTo>
                    <a:lnTo>
                      <a:pt x="576" y="578"/>
                    </a:lnTo>
                    <a:lnTo>
                      <a:pt x="577" y="579"/>
                    </a:lnTo>
                    <a:lnTo>
                      <a:pt x="578" y="579"/>
                    </a:lnTo>
                    <a:lnTo>
                      <a:pt x="579" y="580"/>
                    </a:lnTo>
                    <a:lnTo>
                      <a:pt x="580" y="580"/>
                    </a:lnTo>
                    <a:lnTo>
                      <a:pt x="581" y="581"/>
                    </a:lnTo>
                    <a:lnTo>
                      <a:pt x="582" y="581"/>
                    </a:lnTo>
                    <a:lnTo>
                      <a:pt x="581" y="582"/>
                    </a:lnTo>
                    <a:lnTo>
                      <a:pt x="581" y="581"/>
                    </a:lnTo>
                    <a:lnTo>
                      <a:pt x="580" y="581"/>
                    </a:lnTo>
                    <a:lnTo>
                      <a:pt x="579" y="582"/>
                    </a:lnTo>
                    <a:lnTo>
                      <a:pt x="579" y="581"/>
                    </a:lnTo>
                    <a:lnTo>
                      <a:pt x="578" y="581"/>
                    </a:lnTo>
                    <a:lnTo>
                      <a:pt x="577" y="580"/>
                    </a:lnTo>
                    <a:lnTo>
                      <a:pt x="576" y="580"/>
                    </a:lnTo>
                    <a:lnTo>
                      <a:pt x="576" y="581"/>
                    </a:lnTo>
                    <a:lnTo>
                      <a:pt x="575" y="581"/>
                    </a:lnTo>
                    <a:lnTo>
                      <a:pt x="574" y="581"/>
                    </a:lnTo>
                    <a:lnTo>
                      <a:pt x="573" y="581"/>
                    </a:lnTo>
                    <a:lnTo>
                      <a:pt x="571" y="580"/>
                    </a:lnTo>
                    <a:lnTo>
                      <a:pt x="573" y="579"/>
                    </a:lnTo>
                    <a:lnTo>
                      <a:pt x="571" y="579"/>
                    </a:lnTo>
                    <a:lnTo>
                      <a:pt x="570" y="579"/>
                    </a:lnTo>
                    <a:lnTo>
                      <a:pt x="570" y="578"/>
                    </a:lnTo>
                    <a:lnTo>
                      <a:pt x="569" y="578"/>
                    </a:lnTo>
                    <a:lnTo>
                      <a:pt x="568" y="577"/>
                    </a:lnTo>
                    <a:lnTo>
                      <a:pt x="567" y="577"/>
                    </a:lnTo>
                    <a:lnTo>
                      <a:pt x="567" y="576"/>
                    </a:lnTo>
                    <a:lnTo>
                      <a:pt x="566" y="576"/>
                    </a:lnTo>
                    <a:lnTo>
                      <a:pt x="565" y="575"/>
                    </a:lnTo>
                    <a:lnTo>
                      <a:pt x="565" y="576"/>
                    </a:lnTo>
                    <a:lnTo>
                      <a:pt x="565" y="577"/>
                    </a:lnTo>
                    <a:lnTo>
                      <a:pt x="565" y="578"/>
                    </a:lnTo>
                    <a:lnTo>
                      <a:pt x="566" y="578"/>
                    </a:lnTo>
                    <a:lnTo>
                      <a:pt x="566" y="579"/>
                    </a:lnTo>
                    <a:lnTo>
                      <a:pt x="567" y="580"/>
                    </a:lnTo>
                    <a:lnTo>
                      <a:pt x="566" y="580"/>
                    </a:lnTo>
                    <a:lnTo>
                      <a:pt x="565" y="581"/>
                    </a:lnTo>
                    <a:lnTo>
                      <a:pt x="567" y="582"/>
                    </a:lnTo>
                    <a:lnTo>
                      <a:pt x="568" y="582"/>
                    </a:lnTo>
                    <a:lnTo>
                      <a:pt x="569" y="582"/>
                    </a:lnTo>
                    <a:lnTo>
                      <a:pt x="570" y="583"/>
                    </a:lnTo>
                    <a:lnTo>
                      <a:pt x="571" y="583"/>
                    </a:lnTo>
                    <a:lnTo>
                      <a:pt x="571" y="584"/>
                    </a:lnTo>
                    <a:lnTo>
                      <a:pt x="569" y="583"/>
                    </a:lnTo>
                    <a:lnTo>
                      <a:pt x="568" y="583"/>
                    </a:lnTo>
                    <a:lnTo>
                      <a:pt x="567" y="583"/>
                    </a:lnTo>
                    <a:lnTo>
                      <a:pt x="566" y="583"/>
                    </a:lnTo>
                    <a:lnTo>
                      <a:pt x="565" y="583"/>
                    </a:lnTo>
                    <a:lnTo>
                      <a:pt x="564" y="584"/>
                    </a:lnTo>
                    <a:lnTo>
                      <a:pt x="564" y="585"/>
                    </a:lnTo>
                    <a:lnTo>
                      <a:pt x="563" y="585"/>
                    </a:lnTo>
                    <a:lnTo>
                      <a:pt x="562" y="585"/>
                    </a:lnTo>
                    <a:lnTo>
                      <a:pt x="562" y="586"/>
                    </a:lnTo>
                    <a:lnTo>
                      <a:pt x="561" y="586"/>
                    </a:lnTo>
                    <a:lnTo>
                      <a:pt x="562" y="588"/>
                    </a:lnTo>
                    <a:lnTo>
                      <a:pt x="563" y="588"/>
                    </a:lnTo>
                    <a:lnTo>
                      <a:pt x="563" y="589"/>
                    </a:lnTo>
                    <a:lnTo>
                      <a:pt x="564" y="589"/>
                    </a:lnTo>
                    <a:lnTo>
                      <a:pt x="563" y="589"/>
                    </a:lnTo>
                    <a:lnTo>
                      <a:pt x="561" y="590"/>
                    </a:lnTo>
                    <a:lnTo>
                      <a:pt x="560" y="590"/>
                    </a:lnTo>
                    <a:lnTo>
                      <a:pt x="560" y="591"/>
                    </a:lnTo>
                    <a:lnTo>
                      <a:pt x="558" y="591"/>
                    </a:lnTo>
                    <a:lnTo>
                      <a:pt x="558" y="590"/>
                    </a:lnTo>
                    <a:lnTo>
                      <a:pt x="557" y="590"/>
                    </a:lnTo>
                    <a:lnTo>
                      <a:pt x="556" y="590"/>
                    </a:lnTo>
                    <a:lnTo>
                      <a:pt x="555" y="590"/>
                    </a:lnTo>
                    <a:lnTo>
                      <a:pt x="555" y="589"/>
                    </a:lnTo>
                    <a:lnTo>
                      <a:pt x="554" y="589"/>
                    </a:lnTo>
                    <a:lnTo>
                      <a:pt x="553" y="588"/>
                    </a:lnTo>
                    <a:lnTo>
                      <a:pt x="553" y="589"/>
                    </a:lnTo>
                    <a:lnTo>
                      <a:pt x="553" y="588"/>
                    </a:lnTo>
                    <a:lnTo>
                      <a:pt x="552" y="588"/>
                    </a:lnTo>
                    <a:lnTo>
                      <a:pt x="552" y="586"/>
                    </a:lnTo>
                    <a:lnTo>
                      <a:pt x="552" y="585"/>
                    </a:lnTo>
                    <a:lnTo>
                      <a:pt x="551" y="585"/>
                    </a:lnTo>
                    <a:lnTo>
                      <a:pt x="552" y="585"/>
                    </a:lnTo>
                    <a:lnTo>
                      <a:pt x="551" y="584"/>
                    </a:lnTo>
                    <a:lnTo>
                      <a:pt x="551" y="583"/>
                    </a:lnTo>
                    <a:lnTo>
                      <a:pt x="550" y="583"/>
                    </a:lnTo>
                    <a:lnTo>
                      <a:pt x="550" y="582"/>
                    </a:lnTo>
                    <a:lnTo>
                      <a:pt x="550" y="581"/>
                    </a:lnTo>
                    <a:lnTo>
                      <a:pt x="550" y="582"/>
                    </a:lnTo>
                    <a:lnTo>
                      <a:pt x="550" y="581"/>
                    </a:lnTo>
                    <a:lnTo>
                      <a:pt x="549" y="581"/>
                    </a:lnTo>
                    <a:lnTo>
                      <a:pt x="549" y="580"/>
                    </a:lnTo>
                    <a:lnTo>
                      <a:pt x="548" y="579"/>
                    </a:lnTo>
                    <a:lnTo>
                      <a:pt x="548" y="578"/>
                    </a:lnTo>
                    <a:lnTo>
                      <a:pt x="548" y="577"/>
                    </a:lnTo>
                    <a:lnTo>
                      <a:pt x="546" y="577"/>
                    </a:lnTo>
                    <a:lnTo>
                      <a:pt x="546" y="576"/>
                    </a:lnTo>
                    <a:lnTo>
                      <a:pt x="545" y="575"/>
                    </a:lnTo>
                    <a:lnTo>
                      <a:pt x="545" y="573"/>
                    </a:lnTo>
                    <a:lnTo>
                      <a:pt x="544" y="573"/>
                    </a:lnTo>
                    <a:lnTo>
                      <a:pt x="544" y="572"/>
                    </a:lnTo>
                    <a:lnTo>
                      <a:pt x="544" y="573"/>
                    </a:lnTo>
                    <a:lnTo>
                      <a:pt x="544" y="572"/>
                    </a:lnTo>
                    <a:lnTo>
                      <a:pt x="544" y="573"/>
                    </a:lnTo>
                    <a:lnTo>
                      <a:pt x="543" y="572"/>
                    </a:lnTo>
                    <a:lnTo>
                      <a:pt x="542" y="572"/>
                    </a:lnTo>
                    <a:lnTo>
                      <a:pt x="541" y="572"/>
                    </a:lnTo>
                    <a:lnTo>
                      <a:pt x="541" y="571"/>
                    </a:lnTo>
                    <a:lnTo>
                      <a:pt x="540" y="571"/>
                    </a:lnTo>
                    <a:lnTo>
                      <a:pt x="539" y="571"/>
                    </a:lnTo>
                    <a:lnTo>
                      <a:pt x="538" y="570"/>
                    </a:lnTo>
                    <a:lnTo>
                      <a:pt x="539" y="570"/>
                    </a:lnTo>
                    <a:lnTo>
                      <a:pt x="538" y="570"/>
                    </a:lnTo>
                    <a:lnTo>
                      <a:pt x="539" y="570"/>
                    </a:lnTo>
                    <a:lnTo>
                      <a:pt x="538" y="570"/>
                    </a:lnTo>
                    <a:lnTo>
                      <a:pt x="538" y="569"/>
                    </a:lnTo>
                    <a:lnTo>
                      <a:pt x="537" y="569"/>
                    </a:lnTo>
                    <a:lnTo>
                      <a:pt x="537" y="568"/>
                    </a:lnTo>
                    <a:lnTo>
                      <a:pt x="537" y="567"/>
                    </a:lnTo>
                    <a:lnTo>
                      <a:pt x="536" y="567"/>
                    </a:lnTo>
                    <a:lnTo>
                      <a:pt x="535" y="565"/>
                    </a:lnTo>
                    <a:lnTo>
                      <a:pt x="533" y="565"/>
                    </a:lnTo>
                    <a:lnTo>
                      <a:pt x="533" y="564"/>
                    </a:lnTo>
                    <a:lnTo>
                      <a:pt x="533" y="563"/>
                    </a:lnTo>
                    <a:lnTo>
                      <a:pt x="532" y="562"/>
                    </a:lnTo>
                    <a:lnTo>
                      <a:pt x="532" y="559"/>
                    </a:lnTo>
                    <a:lnTo>
                      <a:pt x="531" y="557"/>
                    </a:lnTo>
                    <a:lnTo>
                      <a:pt x="531" y="555"/>
                    </a:lnTo>
                    <a:lnTo>
                      <a:pt x="531" y="554"/>
                    </a:lnTo>
                    <a:lnTo>
                      <a:pt x="531" y="553"/>
                    </a:lnTo>
                    <a:lnTo>
                      <a:pt x="531" y="552"/>
                    </a:lnTo>
                    <a:lnTo>
                      <a:pt x="531" y="551"/>
                    </a:lnTo>
                    <a:lnTo>
                      <a:pt x="531" y="550"/>
                    </a:lnTo>
                    <a:lnTo>
                      <a:pt x="530" y="549"/>
                    </a:lnTo>
                    <a:lnTo>
                      <a:pt x="530" y="547"/>
                    </a:lnTo>
                    <a:lnTo>
                      <a:pt x="529" y="547"/>
                    </a:lnTo>
                    <a:lnTo>
                      <a:pt x="530" y="547"/>
                    </a:lnTo>
                    <a:close/>
                    <a:moveTo>
                      <a:pt x="511" y="560"/>
                    </a:moveTo>
                    <a:lnTo>
                      <a:pt x="512" y="560"/>
                    </a:lnTo>
                    <a:lnTo>
                      <a:pt x="511" y="562"/>
                    </a:lnTo>
                    <a:lnTo>
                      <a:pt x="512" y="562"/>
                    </a:lnTo>
                    <a:lnTo>
                      <a:pt x="511" y="562"/>
                    </a:lnTo>
                    <a:lnTo>
                      <a:pt x="512" y="563"/>
                    </a:lnTo>
                    <a:lnTo>
                      <a:pt x="513" y="564"/>
                    </a:lnTo>
                    <a:lnTo>
                      <a:pt x="513" y="565"/>
                    </a:lnTo>
                    <a:lnTo>
                      <a:pt x="514" y="566"/>
                    </a:lnTo>
                    <a:lnTo>
                      <a:pt x="514" y="567"/>
                    </a:lnTo>
                    <a:lnTo>
                      <a:pt x="515" y="567"/>
                    </a:lnTo>
                    <a:lnTo>
                      <a:pt x="515" y="568"/>
                    </a:lnTo>
                    <a:lnTo>
                      <a:pt x="516" y="569"/>
                    </a:lnTo>
                    <a:lnTo>
                      <a:pt x="516" y="570"/>
                    </a:lnTo>
                    <a:lnTo>
                      <a:pt x="516" y="571"/>
                    </a:lnTo>
                    <a:lnTo>
                      <a:pt x="517" y="571"/>
                    </a:lnTo>
                    <a:lnTo>
                      <a:pt x="517" y="572"/>
                    </a:lnTo>
                    <a:lnTo>
                      <a:pt x="518" y="572"/>
                    </a:lnTo>
                    <a:lnTo>
                      <a:pt x="518" y="573"/>
                    </a:lnTo>
                    <a:lnTo>
                      <a:pt x="519" y="573"/>
                    </a:lnTo>
                    <a:lnTo>
                      <a:pt x="519" y="575"/>
                    </a:lnTo>
                    <a:lnTo>
                      <a:pt x="524" y="581"/>
                    </a:lnTo>
                    <a:lnTo>
                      <a:pt x="527" y="584"/>
                    </a:lnTo>
                    <a:lnTo>
                      <a:pt x="529" y="590"/>
                    </a:lnTo>
                    <a:lnTo>
                      <a:pt x="530" y="593"/>
                    </a:lnTo>
                    <a:lnTo>
                      <a:pt x="532" y="598"/>
                    </a:lnTo>
                    <a:lnTo>
                      <a:pt x="533" y="601"/>
                    </a:lnTo>
                    <a:lnTo>
                      <a:pt x="535" y="602"/>
                    </a:lnTo>
                    <a:lnTo>
                      <a:pt x="536" y="603"/>
                    </a:lnTo>
                    <a:lnTo>
                      <a:pt x="539" y="607"/>
                    </a:lnTo>
                    <a:lnTo>
                      <a:pt x="548" y="619"/>
                    </a:lnTo>
                    <a:lnTo>
                      <a:pt x="549" y="620"/>
                    </a:lnTo>
                    <a:lnTo>
                      <a:pt x="550" y="621"/>
                    </a:lnTo>
                    <a:lnTo>
                      <a:pt x="554" y="623"/>
                    </a:lnTo>
                    <a:lnTo>
                      <a:pt x="555" y="624"/>
                    </a:lnTo>
                    <a:lnTo>
                      <a:pt x="566" y="635"/>
                    </a:lnTo>
                    <a:lnTo>
                      <a:pt x="567" y="636"/>
                    </a:lnTo>
                    <a:lnTo>
                      <a:pt x="567" y="637"/>
                    </a:lnTo>
                    <a:lnTo>
                      <a:pt x="567" y="639"/>
                    </a:lnTo>
                    <a:lnTo>
                      <a:pt x="566" y="639"/>
                    </a:lnTo>
                    <a:lnTo>
                      <a:pt x="565" y="639"/>
                    </a:lnTo>
                    <a:lnTo>
                      <a:pt x="563" y="636"/>
                    </a:lnTo>
                    <a:lnTo>
                      <a:pt x="560" y="633"/>
                    </a:lnTo>
                    <a:lnTo>
                      <a:pt x="558" y="631"/>
                    </a:lnTo>
                    <a:lnTo>
                      <a:pt x="557" y="631"/>
                    </a:lnTo>
                    <a:lnTo>
                      <a:pt x="556" y="631"/>
                    </a:lnTo>
                    <a:lnTo>
                      <a:pt x="555" y="631"/>
                    </a:lnTo>
                    <a:lnTo>
                      <a:pt x="555" y="632"/>
                    </a:lnTo>
                    <a:lnTo>
                      <a:pt x="554" y="631"/>
                    </a:lnTo>
                    <a:lnTo>
                      <a:pt x="553" y="631"/>
                    </a:lnTo>
                    <a:lnTo>
                      <a:pt x="553" y="630"/>
                    </a:lnTo>
                    <a:lnTo>
                      <a:pt x="552" y="628"/>
                    </a:lnTo>
                    <a:lnTo>
                      <a:pt x="551" y="627"/>
                    </a:lnTo>
                    <a:lnTo>
                      <a:pt x="550" y="628"/>
                    </a:lnTo>
                    <a:lnTo>
                      <a:pt x="550" y="626"/>
                    </a:lnTo>
                    <a:lnTo>
                      <a:pt x="549" y="624"/>
                    </a:lnTo>
                    <a:lnTo>
                      <a:pt x="548" y="624"/>
                    </a:lnTo>
                    <a:lnTo>
                      <a:pt x="545" y="623"/>
                    </a:lnTo>
                    <a:lnTo>
                      <a:pt x="544" y="622"/>
                    </a:lnTo>
                    <a:lnTo>
                      <a:pt x="544" y="621"/>
                    </a:lnTo>
                    <a:lnTo>
                      <a:pt x="544" y="620"/>
                    </a:lnTo>
                    <a:lnTo>
                      <a:pt x="544" y="619"/>
                    </a:lnTo>
                    <a:lnTo>
                      <a:pt x="543" y="617"/>
                    </a:lnTo>
                    <a:lnTo>
                      <a:pt x="542" y="616"/>
                    </a:lnTo>
                    <a:lnTo>
                      <a:pt x="541" y="615"/>
                    </a:lnTo>
                    <a:lnTo>
                      <a:pt x="539" y="615"/>
                    </a:lnTo>
                    <a:lnTo>
                      <a:pt x="540" y="617"/>
                    </a:lnTo>
                    <a:lnTo>
                      <a:pt x="539" y="617"/>
                    </a:lnTo>
                    <a:lnTo>
                      <a:pt x="538" y="617"/>
                    </a:lnTo>
                    <a:lnTo>
                      <a:pt x="538" y="616"/>
                    </a:lnTo>
                    <a:lnTo>
                      <a:pt x="537" y="615"/>
                    </a:lnTo>
                    <a:lnTo>
                      <a:pt x="537" y="616"/>
                    </a:lnTo>
                    <a:lnTo>
                      <a:pt x="536" y="616"/>
                    </a:lnTo>
                    <a:lnTo>
                      <a:pt x="536" y="615"/>
                    </a:lnTo>
                    <a:lnTo>
                      <a:pt x="535" y="615"/>
                    </a:lnTo>
                    <a:lnTo>
                      <a:pt x="533" y="615"/>
                    </a:lnTo>
                    <a:lnTo>
                      <a:pt x="533" y="614"/>
                    </a:lnTo>
                    <a:lnTo>
                      <a:pt x="533" y="613"/>
                    </a:lnTo>
                    <a:lnTo>
                      <a:pt x="532" y="611"/>
                    </a:lnTo>
                    <a:lnTo>
                      <a:pt x="531" y="610"/>
                    </a:lnTo>
                    <a:lnTo>
                      <a:pt x="531" y="609"/>
                    </a:lnTo>
                    <a:lnTo>
                      <a:pt x="530" y="609"/>
                    </a:lnTo>
                    <a:lnTo>
                      <a:pt x="530" y="608"/>
                    </a:lnTo>
                    <a:lnTo>
                      <a:pt x="529" y="608"/>
                    </a:lnTo>
                    <a:lnTo>
                      <a:pt x="528" y="607"/>
                    </a:lnTo>
                    <a:lnTo>
                      <a:pt x="529" y="606"/>
                    </a:lnTo>
                    <a:lnTo>
                      <a:pt x="530" y="606"/>
                    </a:lnTo>
                    <a:lnTo>
                      <a:pt x="529" y="605"/>
                    </a:lnTo>
                    <a:lnTo>
                      <a:pt x="528" y="605"/>
                    </a:lnTo>
                    <a:lnTo>
                      <a:pt x="528" y="604"/>
                    </a:lnTo>
                    <a:lnTo>
                      <a:pt x="528" y="602"/>
                    </a:lnTo>
                    <a:lnTo>
                      <a:pt x="527" y="601"/>
                    </a:lnTo>
                    <a:lnTo>
                      <a:pt x="527" y="600"/>
                    </a:lnTo>
                    <a:lnTo>
                      <a:pt x="526" y="600"/>
                    </a:lnTo>
                    <a:lnTo>
                      <a:pt x="525" y="601"/>
                    </a:lnTo>
                    <a:lnTo>
                      <a:pt x="525" y="600"/>
                    </a:lnTo>
                    <a:lnTo>
                      <a:pt x="526" y="597"/>
                    </a:lnTo>
                    <a:lnTo>
                      <a:pt x="527" y="597"/>
                    </a:lnTo>
                    <a:lnTo>
                      <a:pt x="527" y="596"/>
                    </a:lnTo>
                    <a:lnTo>
                      <a:pt x="526" y="596"/>
                    </a:lnTo>
                    <a:lnTo>
                      <a:pt x="525" y="597"/>
                    </a:lnTo>
                    <a:lnTo>
                      <a:pt x="524" y="596"/>
                    </a:lnTo>
                    <a:lnTo>
                      <a:pt x="525" y="596"/>
                    </a:lnTo>
                    <a:lnTo>
                      <a:pt x="526" y="595"/>
                    </a:lnTo>
                    <a:lnTo>
                      <a:pt x="527" y="594"/>
                    </a:lnTo>
                    <a:lnTo>
                      <a:pt x="527" y="592"/>
                    </a:lnTo>
                    <a:lnTo>
                      <a:pt x="526" y="591"/>
                    </a:lnTo>
                    <a:lnTo>
                      <a:pt x="525" y="591"/>
                    </a:lnTo>
                    <a:lnTo>
                      <a:pt x="525" y="590"/>
                    </a:lnTo>
                    <a:lnTo>
                      <a:pt x="525" y="589"/>
                    </a:lnTo>
                    <a:lnTo>
                      <a:pt x="525" y="588"/>
                    </a:lnTo>
                    <a:lnTo>
                      <a:pt x="525" y="586"/>
                    </a:lnTo>
                    <a:lnTo>
                      <a:pt x="524" y="586"/>
                    </a:lnTo>
                    <a:lnTo>
                      <a:pt x="523" y="588"/>
                    </a:lnTo>
                    <a:lnTo>
                      <a:pt x="523" y="589"/>
                    </a:lnTo>
                    <a:lnTo>
                      <a:pt x="522" y="588"/>
                    </a:lnTo>
                    <a:lnTo>
                      <a:pt x="522" y="586"/>
                    </a:lnTo>
                    <a:lnTo>
                      <a:pt x="522" y="585"/>
                    </a:lnTo>
                    <a:lnTo>
                      <a:pt x="522" y="584"/>
                    </a:lnTo>
                    <a:lnTo>
                      <a:pt x="522" y="585"/>
                    </a:lnTo>
                    <a:lnTo>
                      <a:pt x="520" y="585"/>
                    </a:lnTo>
                    <a:lnTo>
                      <a:pt x="519" y="585"/>
                    </a:lnTo>
                    <a:lnTo>
                      <a:pt x="519" y="584"/>
                    </a:lnTo>
                    <a:lnTo>
                      <a:pt x="519" y="583"/>
                    </a:lnTo>
                    <a:lnTo>
                      <a:pt x="519" y="582"/>
                    </a:lnTo>
                    <a:lnTo>
                      <a:pt x="519" y="581"/>
                    </a:lnTo>
                    <a:lnTo>
                      <a:pt x="520" y="580"/>
                    </a:lnTo>
                    <a:lnTo>
                      <a:pt x="519" y="580"/>
                    </a:lnTo>
                    <a:lnTo>
                      <a:pt x="518" y="580"/>
                    </a:lnTo>
                    <a:lnTo>
                      <a:pt x="517" y="579"/>
                    </a:lnTo>
                    <a:lnTo>
                      <a:pt x="516" y="579"/>
                    </a:lnTo>
                    <a:lnTo>
                      <a:pt x="515" y="579"/>
                    </a:lnTo>
                    <a:lnTo>
                      <a:pt x="515" y="580"/>
                    </a:lnTo>
                    <a:lnTo>
                      <a:pt x="515" y="579"/>
                    </a:lnTo>
                    <a:lnTo>
                      <a:pt x="513" y="577"/>
                    </a:lnTo>
                    <a:lnTo>
                      <a:pt x="513" y="576"/>
                    </a:lnTo>
                    <a:lnTo>
                      <a:pt x="513" y="575"/>
                    </a:lnTo>
                    <a:lnTo>
                      <a:pt x="514" y="575"/>
                    </a:lnTo>
                    <a:lnTo>
                      <a:pt x="515" y="575"/>
                    </a:lnTo>
                    <a:lnTo>
                      <a:pt x="515" y="573"/>
                    </a:lnTo>
                    <a:lnTo>
                      <a:pt x="515" y="572"/>
                    </a:lnTo>
                    <a:lnTo>
                      <a:pt x="516" y="572"/>
                    </a:lnTo>
                    <a:lnTo>
                      <a:pt x="516" y="571"/>
                    </a:lnTo>
                    <a:lnTo>
                      <a:pt x="515" y="571"/>
                    </a:lnTo>
                    <a:lnTo>
                      <a:pt x="515" y="570"/>
                    </a:lnTo>
                    <a:lnTo>
                      <a:pt x="515" y="569"/>
                    </a:lnTo>
                    <a:lnTo>
                      <a:pt x="514" y="569"/>
                    </a:lnTo>
                    <a:lnTo>
                      <a:pt x="514" y="568"/>
                    </a:lnTo>
                    <a:lnTo>
                      <a:pt x="514" y="567"/>
                    </a:lnTo>
                    <a:lnTo>
                      <a:pt x="513" y="566"/>
                    </a:lnTo>
                    <a:lnTo>
                      <a:pt x="513" y="565"/>
                    </a:lnTo>
                    <a:lnTo>
                      <a:pt x="512" y="565"/>
                    </a:lnTo>
                    <a:lnTo>
                      <a:pt x="512" y="564"/>
                    </a:lnTo>
                    <a:lnTo>
                      <a:pt x="511" y="564"/>
                    </a:lnTo>
                    <a:lnTo>
                      <a:pt x="511" y="563"/>
                    </a:lnTo>
                    <a:lnTo>
                      <a:pt x="510" y="563"/>
                    </a:lnTo>
                    <a:lnTo>
                      <a:pt x="509" y="563"/>
                    </a:lnTo>
                    <a:lnTo>
                      <a:pt x="510" y="563"/>
                    </a:lnTo>
                    <a:lnTo>
                      <a:pt x="510" y="562"/>
                    </a:lnTo>
                    <a:lnTo>
                      <a:pt x="510" y="560"/>
                    </a:lnTo>
                    <a:lnTo>
                      <a:pt x="510" y="562"/>
                    </a:lnTo>
                    <a:lnTo>
                      <a:pt x="510" y="560"/>
                    </a:lnTo>
                    <a:lnTo>
                      <a:pt x="510" y="559"/>
                    </a:lnTo>
                    <a:lnTo>
                      <a:pt x="511" y="560"/>
                    </a:lnTo>
                    <a:close/>
                    <a:moveTo>
                      <a:pt x="607" y="508"/>
                    </a:moveTo>
                    <a:lnTo>
                      <a:pt x="606" y="508"/>
                    </a:lnTo>
                    <a:lnTo>
                      <a:pt x="605" y="508"/>
                    </a:lnTo>
                    <a:lnTo>
                      <a:pt x="604" y="510"/>
                    </a:lnTo>
                    <a:lnTo>
                      <a:pt x="602" y="510"/>
                    </a:lnTo>
                    <a:lnTo>
                      <a:pt x="602" y="511"/>
                    </a:lnTo>
                    <a:lnTo>
                      <a:pt x="601" y="511"/>
                    </a:lnTo>
                    <a:lnTo>
                      <a:pt x="600" y="511"/>
                    </a:lnTo>
                    <a:lnTo>
                      <a:pt x="600" y="512"/>
                    </a:lnTo>
                    <a:lnTo>
                      <a:pt x="599" y="512"/>
                    </a:lnTo>
                    <a:lnTo>
                      <a:pt x="599" y="513"/>
                    </a:lnTo>
                    <a:lnTo>
                      <a:pt x="600" y="514"/>
                    </a:lnTo>
                    <a:lnTo>
                      <a:pt x="601" y="515"/>
                    </a:lnTo>
                    <a:lnTo>
                      <a:pt x="601" y="517"/>
                    </a:lnTo>
                    <a:lnTo>
                      <a:pt x="602" y="518"/>
                    </a:lnTo>
                    <a:lnTo>
                      <a:pt x="602" y="519"/>
                    </a:lnTo>
                    <a:lnTo>
                      <a:pt x="603" y="519"/>
                    </a:lnTo>
                    <a:lnTo>
                      <a:pt x="603" y="520"/>
                    </a:lnTo>
                    <a:lnTo>
                      <a:pt x="602" y="520"/>
                    </a:lnTo>
                    <a:lnTo>
                      <a:pt x="601" y="520"/>
                    </a:lnTo>
                    <a:lnTo>
                      <a:pt x="600" y="520"/>
                    </a:lnTo>
                    <a:lnTo>
                      <a:pt x="600" y="519"/>
                    </a:lnTo>
                    <a:lnTo>
                      <a:pt x="601" y="518"/>
                    </a:lnTo>
                    <a:lnTo>
                      <a:pt x="601" y="517"/>
                    </a:lnTo>
                    <a:lnTo>
                      <a:pt x="600" y="515"/>
                    </a:lnTo>
                    <a:lnTo>
                      <a:pt x="599" y="513"/>
                    </a:lnTo>
                    <a:lnTo>
                      <a:pt x="597" y="513"/>
                    </a:lnTo>
                    <a:lnTo>
                      <a:pt x="596" y="513"/>
                    </a:lnTo>
                    <a:lnTo>
                      <a:pt x="595" y="513"/>
                    </a:lnTo>
                    <a:lnTo>
                      <a:pt x="594" y="513"/>
                    </a:lnTo>
                    <a:lnTo>
                      <a:pt x="594" y="514"/>
                    </a:lnTo>
                    <a:lnTo>
                      <a:pt x="594" y="515"/>
                    </a:lnTo>
                    <a:lnTo>
                      <a:pt x="593" y="515"/>
                    </a:lnTo>
                    <a:lnTo>
                      <a:pt x="593" y="516"/>
                    </a:lnTo>
                    <a:lnTo>
                      <a:pt x="593" y="517"/>
                    </a:lnTo>
                    <a:lnTo>
                      <a:pt x="594" y="518"/>
                    </a:lnTo>
                    <a:lnTo>
                      <a:pt x="594" y="519"/>
                    </a:lnTo>
                    <a:lnTo>
                      <a:pt x="594" y="520"/>
                    </a:lnTo>
                    <a:lnTo>
                      <a:pt x="593" y="520"/>
                    </a:lnTo>
                    <a:lnTo>
                      <a:pt x="592" y="521"/>
                    </a:lnTo>
                    <a:lnTo>
                      <a:pt x="591" y="521"/>
                    </a:lnTo>
                    <a:lnTo>
                      <a:pt x="591" y="523"/>
                    </a:lnTo>
                    <a:lnTo>
                      <a:pt x="590" y="524"/>
                    </a:lnTo>
                    <a:lnTo>
                      <a:pt x="589" y="524"/>
                    </a:lnTo>
                    <a:lnTo>
                      <a:pt x="588" y="524"/>
                    </a:lnTo>
                    <a:lnTo>
                      <a:pt x="587" y="525"/>
                    </a:lnTo>
                    <a:lnTo>
                      <a:pt x="586" y="525"/>
                    </a:lnTo>
                    <a:lnTo>
                      <a:pt x="584" y="526"/>
                    </a:lnTo>
                    <a:lnTo>
                      <a:pt x="584" y="527"/>
                    </a:lnTo>
                    <a:lnTo>
                      <a:pt x="583" y="527"/>
                    </a:lnTo>
                    <a:lnTo>
                      <a:pt x="584" y="527"/>
                    </a:lnTo>
                    <a:lnTo>
                      <a:pt x="587" y="527"/>
                    </a:lnTo>
                    <a:lnTo>
                      <a:pt x="587" y="528"/>
                    </a:lnTo>
                    <a:lnTo>
                      <a:pt x="586" y="529"/>
                    </a:lnTo>
                    <a:lnTo>
                      <a:pt x="586" y="530"/>
                    </a:lnTo>
                    <a:lnTo>
                      <a:pt x="584" y="530"/>
                    </a:lnTo>
                    <a:lnTo>
                      <a:pt x="584" y="531"/>
                    </a:lnTo>
                    <a:lnTo>
                      <a:pt x="584" y="532"/>
                    </a:lnTo>
                    <a:lnTo>
                      <a:pt x="583" y="531"/>
                    </a:lnTo>
                    <a:lnTo>
                      <a:pt x="582" y="530"/>
                    </a:lnTo>
                    <a:lnTo>
                      <a:pt x="582" y="529"/>
                    </a:lnTo>
                    <a:lnTo>
                      <a:pt x="581" y="529"/>
                    </a:lnTo>
                    <a:lnTo>
                      <a:pt x="581" y="528"/>
                    </a:lnTo>
                    <a:lnTo>
                      <a:pt x="580" y="528"/>
                    </a:lnTo>
                    <a:lnTo>
                      <a:pt x="579" y="528"/>
                    </a:lnTo>
                    <a:lnTo>
                      <a:pt x="579" y="529"/>
                    </a:lnTo>
                    <a:lnTo>
                      <a:pt x="579" y="530"/>
                    </a:lnTo>
                    <a:lnTo>
                      <a:pt x="580" y="530"/>
                    </a:lnTo>
                    <a:lnTo>
                      <a:pt x="580" y="531"/>
                    </a:lnTo>
                    <a:lnTo>
                      <a:pt x="581" y="531"/>
                    </a:lnTo>
                    <a:lnTo>
                      <a:pt x="581" y="532"/>
                    </a:lnTo>
                    <a:lnTo>
                      <a:pt x="582" y="533"/>
                    </a:lnTo>
                    <a:lnTo>
                      <a:pt x="583" y="533"/>
                    </a:lnTo>
                    <a:lnTo>
                      <a:pt x="583" y="534"/>
                    </a:lnTo>
                    <a:lnTo>
                      <a:pt x="584" y="534"/>
                    </a:lnTo>
                    <a:lnTo>
                      <a:pt x="586" y="536"/>
                    </a:lnTo>
                    <a:lnTo>
                      <a:pt x="587" y="536"/>
                    </a:lnTo>
                    <a:lnTo>
                      <a:pt x="588" y="534"/>
                    </a:lnTo>
                    <a:lnTo>
                      <a:pt x="588" y="533"/>
                    </a:lnTo>
                    <a:lnTo>
                      <a:pt x="589" y="533"/>
                    </a:lnTo>
                    <a:lnTo>
                      <a:pt x="590" y="533"/>
                    </a:lnTo>
                    <a:lnTo>
                      <a:pt x="590" y="534"/>
                    </a:lnTo>
                    <a:lnTo>
                      <a:pt x="589" y="533"/>
                    </a:lnTo>
                    <a:lnTo>
                      <a:pt x="588" y="533"/>
                    </a:lnTo>
                    <a:lnTo>
                      <a:pt x="588" y="534"/>
                    </a:lnTo>
                    <a:lnTo>
                      <a:pt x="588" y="536"/>
                    </a:lnTo>
                    <a:lnTo>
                      <a:pt x="588" y="537"/>
                    </a:lnTo>
                    <a:lnTo>
                      <a:pt x="584" y="536"/>
                    </a:lnTo>
                    <a:lnTo>
                      <a:pt x="584" y="534"/>
                    </a:lnTo>
                    <a:lnTo>
                      <a:pt x="583" y="534"/>
                    </a:lnTo>
                    <a:lnTo>
                      <a:pt x="581" y="534"/>
                    </a:lnTo>
                    <a:lnTo>
                      <a:pt x="574" y="531"/>
                    </a:lnTo>
                    <a:lnTo>
                      <a:pt x="571" y="531"/>
                    </a:lnTo>
                    <a:lnTo>
                      <a:pt x="570" y="530"/>
                    </a:lnTo>
                    <a:lnTo>
                      <a:pt x="568" y="530"/>
                    </a:lnTo>
                    <a:lnTo>
                      <a:pt x="569" y="530"/>
                    </a:lnTo>
                    <a:lnTo>
                      <a:pt x="570" y="530"/>
                    </a:lnTo>
                    <a:lnTo>
                      <a:pt x="571" y="531"/>
                    </a:lnTo>
                    <a:lnTo>
                      <a:pt x="570" y="531"/>
                    </a:lnTo>
                    <a:lnTo>
                      <a:pt x="570" y="532"/>
                    </a:lnTo>
                    <a:lnTo>
                      <a:pt x="570" y="533"/>
                    </a:lnTo>
                    <a:lnTo>
                      <a:pt x="568" y="533"/>
                    </a:lnTo>
                    <a:lnTo>
                      <a:pt x="567" y="533"/>
                    </a:lnTo>
                    <a:lnTo>
                      <a:pt x="566" y="533"/>
                    </a:lnTo>
                    <a:lnTo>
                      <a:pt x="566" y="532"/>
                    </a:lnTo>
                    <a:lnTo>
                      <a:pt x="565" y="531"/>
                    </a:lnTo>
                    <a:lnTo>
                      <a:pt x="565" y="530"/>
                    </a:lnTo>
                    <a:lnTo>
                      <a:pt x="564" y="529"/>
                    </a:lnTo>
                    <a:lnTo>
                      <a:pt x="564" y="528"/>
                    </a:lnTo>
                    <a:lnTo>
                      <a:pt x="563" y="528"/>
                    </a:lnTo>
                    <a:lnTo>
                      <a:pt x="563" y="527"/>
                    </a:lnTo>
                    <a:lnTo>
                      <a:pt x="562" y="527"/>
                    </a:lnTo>
                    <a:lnTo>
                      <a:pt x="562" y="526"/>
                    </a:lnTo>
                    <a:lnTo>
                      <a:pt x="561" y="526"/>
                    </a:lnTo>
                    <a:lnTo>
                      <a:pt x="560" y="525"/>
                    </a:lnTo>
                    <a:lnTo>
                      <a:pt x="558" y="525"/>
                    </a:lnTo>
                    <a:lnTo>
                      <a:pt x="560" y="525"/>
                    </a:lnTo>
                    <a:lnTo>
                      <a:pt x="560" y="524"/>
                    </a:lnTo>
                    <a:lnTo>
                      <a:pt x="561" y="524"/>
                    </a:lnTo>
                    <a:lnTo>
                      <a:pt x="562" y="524"/>
                    </a:lnTo>
                    <a:lnTo>
                      <a:pt x="562" y="523"/>
                    </a:lnTo>
                    <a:lnTo>
                      <a:pt x="563" y="523"/>
                    </a:lnTo>
                    <a:lnTo>
                      <a:pt x="564" y="523"/>
                    </a:lnTo>
                    <a:lnTo>
                      <a:pt x="564" y="521"/>
                    </a:lnTo>
                    <a:lnTo>
                      <a:pt x="565" y="521"/>
                    </a:lnTo>
                    <a:lnTo>
                      <a:pt x="565" y="520"/>
                    </a:lnTo>
                    <a:lnTo>
                      <a:pt x="566" y="520"/>
                    </a:lnTo>
                    <a:lnTo>
                      <a:pt x="567" y="520"/>
                    </a:lnTo>
                    <a:lnTo>
                      <a:pt x="568" y="520"/>
                    </a:lnTo>
                    <a:lnTo>
                      <a:pt x="569" y="519"/>
                    </a:lnTo>
                    <a:lnTo>
                      <a:pt x="570" y="519"/>
                    </a:lnTo>
                    <a:lnTo>
                      <a:pt x="571" y="519"/>
                    </a:lnTo>
                    <a:lnTo>
                      <a:pt x="573" y="519"/>
                    </a:lnTo>
                    <a:lnTo>
                      <a:pt x="574" y="519"/>
                    </a:lnTo>
                    <a:lnTo>
                      <a:pt x="574" y="518"/>
                    </a:lnTo>
                    <a:lnTo>
                      <a:pt x="575" y="518"/>
                    </a:lnTo>
                    <a:lnTo>
                      <a:pt x="576" y="518"/>
                    </a:lnTo>
                    <a:lnTo>
                      <a:pt x="576" y="519"/>
                    </a:lnTo>
                    <a:lnTo>
                      <a:pt x="576" y="518"/>
                    </a:lnTo>
                    <a:lnTo>
                      <a:pt x="577" y="518"/>
                    </a:lnTo>
                    <a:lnTo>
                      <a:pt x="578" y="518"/>
                    </a:lnTo>
                    <a:lnTo>
                      <a:pt x="578" y="517"/>
                    </a:lnTo>
                    <a:lnTo>
                      <a:pt x="579" y="517"/>
                    </a:lnTo>
                    <a:lnTo>
                      <a:pt x="580" y="517"/>
                    </a:lnTo>
                    <a:lnTo>
                      <a:pt x="581" y="517"/>
                    </a:lnTo>
                    <a:lnTo>
                      <a:pt x="581" y="516"/>
                    </a:lnTo>
                    <a:lnTo>
                      <a:pt x="582" y="516"/>
                    </a:lnTo>
                    <a:lnTo>
                      <a:pt x="582" y="515"/>
                    </a:lnTo>
                    <a:lnTo>
                      <a:pt x="582" y="516"/>
                    </a:lnTo>
                    <a:lnTo>
                      <a:pt x="583" y="516"/>
                    </a:lnTo>
                    <a:lnTo>
                      <a:pt x="583" y="515"/>
                    </a:lnTo>
                    <a:lnTo>
                      <a:pt x="583" y="516"/>
                    </a:lnTo>
                    <a:lnTo>
                      <a:pt x="584" y="515"/>
                    </a:lnTo>
                    <a:lnTo>
                      <a:pt x="586" y="515"/>
                    </a:lnTo>
                    <a:lnTo>
                      <a:pt x="587" y="515"/>
                    </a:lnTo>
                    <a:lnTo>
                      <a:pt x="587" y="514"/>
                    </a:lnTo>
                    <a:lnTo>
                      <a:pt x="588" y="514"/>
                    </a:lnTo>
                    <a:lnTo>
                      <a:pt x="589" y="514"/>
                    </a:lnTo>
                    <a:lnTo>
                      <a:pt x="590" y="514"/>
                    </a:lnTo>
                    <a:lnTo>
                      <a:pt x="590" y="513"/>
                    </a:lnTo>
                    <a:lnTo>
                      <a:pt x="591" y="513"/>
                    </a:lnTo>
                    <a:lnTo>
                      <a:pt x="591" y="514"/>
                    </a:lnTo>
                    <a:lnTo>
                      <a:pt x="590" y="514"/>
                    </a:lnTo>
                    <a:lnTo>
                      <a:pt x="590" y="515"/>
                    </a:lnTo>
                    <a:lnTo>
                      <a:pt x="590" y="516"/>
                    </a:lnTo>
                    <a:lnTo>
                      <a:pt x="590" y="515"/>
                    </a:lnTo>
                    <a:lnTo>
                      <a:pt x="591" y="515"/>
                    </a:lnTo>
                    <a:lnTo>
                      <a:pt x="590" y="515"/>
                    </a:lnTo>
                    <a:lnTo>
                      <a:pt x="591" y="514"/>
                    </a:lnTo>
                    <a:lnTo>
                      <a:pt x="591" y="513"/>
                    </a:lnTo>
                    <a:lnTo>
                      <a:pt x="592" y="513"/>
                    </a:lnTo>
                    <a:lnTo>
                      <a:pt x="592" y="512"/>
                    </a:lnTo>
                    <a:lnTo>
                      <a:pt x="593" y="512"/>
                    </a:lnTo>
                    <a:lnTo>
                      <a:pt x="594" y="512"/>
                    </a:lnTo>
                    <a:lnTo>
                      <a:pt x="595" y="511"/>
                    </a:lnTo>
                    <a:lnTo>
                      <a:pt x="596" y="511"/>
                    </a:lnTo>
                    <a:lnTo>
                      <a:pt x="597" y="511"/>
                    </a:lnTo>
                    <a:lnTo>
                      <a:pt x="599" y="511"/>
                    </a:lnTo>
                    <a:lnTo>
                      <a:pt x="599" y="510"/>
                    </a:lnTo>
                    <a:lnTo>
                      <a:pt x="600" y="510"/>
                    </a:lnTo>
                    <a:lnTo>
                      <a:pt x="601" y="510"/>
                    </a:lnTo>
                    <a:lnTo>
                      <a:pt x="602" y="510"/>
                    </a:lnTo>
                    <a:lnTo>
                      <a:pt x="603" y="510"/>
                    </a:lnTo>
                    <a:lnTo>
                      <a:pt x="603" y="508"/>
                    </a:lnTo>
                    <a:lnTo>
                      <a:pt x="604" y="508"/>
                    </a:lnTo>
                    <a:lnTo>
                      <a:pt x="605" y="508"/>
                    </a:lnTo>
                    <a:lnTo>
                      <a:pt x="606" y="508"/>
                    </a:lnTo>
                    <a:lnTo>
                      <a:pt x="607" y="508"/>
                    </a:lnTo>
                    <a:close/>
                    <a:moveTo>
                      <a:pt x="450" y="614"/>
                    </a:moveTo>
                    <a:lnTo>
                      <a:pt x="450" y="615"/>
                    </a:lnTo>
                    <a:lnTo>
                      <a:pt x="449" y="616"/>
                    </a:lnTo>
                    <a:lnTo>
                      <a:pt x="448" y="617"/>
                    </a:lnTo>
                    <a:lnTo>
                      <a:pt x="448" y="618"/>
                    </a:lnTo>
                    <a:lnTo>
                      <a:pt x="447" y="618"/>
                    </a:lnTo>
                    <a:lnTo>
                      <a:pt x="447" y="619"/>
                    </a:lnTo>
                    <a:lnTo>
                      <a:pt x="446" y="620"/>
                    </a:lnTo>
                    <a:lnTo>
                      <a:pt x="445" y="621"/>
                    </a:lnTo>
                    <a:lnTo>
                      <a:pt x="445" y="622"/>
                    </a:lnTo>
                    <a:lnTo>
                      <a:pt x="446" y="622"/>
                    </a:lnTo>
                    <a:lnTo>
                      <a:pt x="445" y="622"/>
                    </a:lnTo>
                    <a:lnTo>
                      <a:pt x="446" y="622"/>
                    </a:lnTo>
                    <a:lnTo>
                      <a:pt x="447" y="622"/>
                    </a:lnTo>
                    <a:lnTo>
                      <a:pt x="447" y="623"/>
                    </a:lnTo>
                    <a:lnTo>
                      <a:pt x="446" y="623"/>
                    </a:lnTo>
                    <a:lnTo>
                      <a:pt x="446" y="624"/>
                    </a:lnTo>
                    <a:lnTo>
                      <a:pt x="446" y="626"/>
                    </a:lnTo>
                    <a:lnTo>
                      <a:pt x="445" y="626"/>
                    </a:lnTo>
                    <a:lnTo>
                      <a:pt x="445" y="627"/>
                    </a:lnTo>
                    <a:lnTo>
                      <a:pt x="444" y="628"/>
                    </a:lnTo>
                    <a:lnTo>
                      <a:pt x="444" y="629"/>
                    </a:lnTo>
                    <a:lnTo>
                      <a:pt x="442" y="629"/>
                    </a:lnTo>
                    <a:lnTo>
                      <a:pt x="442" y="630"/>
                    </a:lnTo>
                    <a:lnTo>
                      <a:pt x="441" y="631"/>
                    </a:lnTo>
                    <a:lnTo>
                      <a:pt x="441" y="632"/>
                    </a:lnTo>
                    <a:lnTo>
                      <a:pt x="440" y="632"/>
                    </a:lnTo>
                    <a:lnTo>
                      <a:pt x="440" y="633"/>
                    </a:lnTo>
                    <a:lnTo>
                      <a:pt x="439" y="633"/>
                    </a:lnTo>
                    <a:lnTo>
                      <a:pt x="439" y="634"/>
                    </a:lnTo>
                    <a:lnTo>
                      <a:pt x="438" y="634"/>
                    </a:lnTo>
                    <a:lnTo>
                      <a:pt x="438" y="635"/>
                    </a:lnTo>
                    <a:lnTo>
                      <a:pt x="437" y="636"/>
                    </a:lnTo>
                    <a:lnTo>
                      <a:pt x="437" y="637"/>
                    </a:lnTo>
                    <a:lnTo>
                      <a:pt x="436" y="637"/>
                    </a:lnTo>
                    <a:lnTo>
                      <a:pt x="436" y="639"/>
                    </a:lnTo>
                    <a:lnTo>
                      <a:pt x="435" y="640"/>
                    </a:lnTo>
                    <a:lnTo>
                      <a:pt x="435" y="641"/>
                    </a:lnTo>
                    <a:lnTo>
                      <a:pt x="434" y="641"/>
                    </a:lnTo>
                    <a:lnTo>
                      <a:pt x="434" y="642"/>
                    </a:lnTo>
                    <a:lnTo>
                      <a:pt x="433" y="642"/>
                    </a:lnTo>
                    <a:lnTo>
                      <a:pt x="433" y="643"/>
                    </a:lnTo>
                    <a:lnTo>
                      <a:pt x="432" y="644"/>
                    </a:lnTo>
                    <a:lnTo>
                      <a:pt x="431" y="644"/>
                    </a:lnTo>
                    <a:lnTo>
                      <a:pt x="431" y="645"/>
                    </a:lnTo>
                    <a:lnTo>
                      <a:pt x="431" y="646"/>
                    </a:lnTo>
                    <a:lnTo>
                      <a:pt x="429" y="647"/>
                    </a:lnTo>
                    <a:lnTo>
                      <a:pt x="428" y="647"/>
                    </a:lnTo>
                    <a:lnTo>
                      <a:pt x="428" y="648"/>
                    </a:lnTo>
                    <a:lnTo>
                      <a:pt x="427" y="649"/>
                    </a:lnTo>
                    <a:lnTo>
                      <a:pt x="427" y="650"/>
                    </a:lnTo>
                    <a:lnTo>
                      <a:pt x="426" y="650"/>
                    </a:lnTo>
                    <a:lnTo>
                      <a:pt x="426" y="652"/>
                    </a:lnTo>
                    <a:lnTo>
                      <a:pt x="425" y="653"/>
                    </a:lnTo>
                    <a:lnTo>
                      <a:pt x="425" y="654"/>
                    </a:lnTo>
                    <a:lnTo>
                      <a:pt x="424" y="654"/>
                    </a:lnTo>
                    <a:lnTo>
                      <a:pt x="423" y="654"/>
                    </a:lnTo>
                    <a:lnTo>
                      <a:pt x="423" y="655"/>
                    </a:lnTo>
                    <a:lnTo>
                      <a:pt x="423" y="656"/>
                    </a:lnTo>
                    <a:lnTo>
                      <a:pt x="422" y="656"/>
                    </a:lnTo>
                    <a:lnTo>
                      <a:pt x="422" y="657"/>
                    </a:lnTo>
                    <a:lnTo>
                      <a:pt x="422" y="656"/>
                    </a:lnTo>
                    <a:lnTo>
                      <a:pt x="421" y="657"/>
                    </a:lnTo>
                    <a:lnTo>
                      <a:pt x="421" y="658"/>
                    </a:lnTo>
                    <a:lnTo>
                      <a:pt x="421" y="659"/>
                    </a:lnTo>
                    <a:lnTo>
                      <a:pt x="420" y="659"/>
                    </a:lnTo>
                    <a:lnTo>
                      <a:pt x="420" y="660"/>
                    </a:lnTo>
                    <a:lnTo>
                      <a:pt x="418" y="663"/>
                    </a:lnTo>
                    <a:lnTo>
                      <a:pt x="416" y="665"/>
                    </a:lnTo>
                    <a:lnTo>
                      <a:pt x="415" y="665"/>
                    </a:lnTo>
                    <a:lnTo>
                      <a:pt x="415" y="666"/>
                    </a:lnTo>
                    <a:lnTo>
                      <a:pt x="415" y="667"/>
                    </a:lnTo>
                    <a:lnTo>
                      <a:pt x="414" y="667"/>
                    </a:lnTo>
                    <a:lnTo>
                      <a:pt x="414" y="668"/>
                    </a:lnTo>
                    <a:lnTo>
                      <a:pt x="413" y="669"/>
                    </a:lnTo>
                    <a:lnTo>
                      <a:pt x="413" y="670"/>
                    </a:lnTo>
                    <a:lnTo>
                      <a:pt x="412" y="670"/>
                    </a:lnTo>
                    <a:lnTo>
                      <a:pt x="411" y="670"/>
                    </a:lnTo>
                    <a:lnTo>
                      <a:pt x="411" y="671"/>
                    </a:lnTo>
                    <a:lnTo>
                      <a:pt x="412" y="671"/>
                    </a:lnTo>
                    <a:lnTo>
                      <a:pt x="411" y="672"/>
                    </a:lnTo>
                    <a:lnTo>
                      <a:pt x="410" y="672"/>
                    </a:lnTo>
                    <a:lnTo>
                      <a:pt x="410" y="671"/>
                    </a:lnTo>
                    <a:lnTo>
                      <a:pt x="410" y="670"/>
                    </a:lnTo>
                    <a:lnTo>
                      <a:pt x="411" y="670"/>
                    </a:lnTo>
                    <a:lnTo>
                      <a:pt x="411" y="669"/>
                    </a:lnTo>
                    <a:lnTo>
                      <a:pt x="412" y="668"/>
                    </a:lnTo>
                    <a:lnTo>
                      <a:pt x="412" y="667"/>
                    </a:lnTo>
                    <a:lnTo>
                      <a:pt x="413" y="667"/>
                    </a:lnTo>
                    <a:lnTo>
                      <a:pt x="412" y="667"/>
                    </a:lnTo>
                    <a:lnTo>
                      <a:pt x="413" y="667"/>
                    </a:lnTo>
                    <a:lnTo>
                      <a:pt x="412" y="667"/>
                    </a:lnTo>
                    <a:lnTo>
                      <a:pt x="413" y="667"/>
                    </a:lnTo>
                    <a:lnTo>
                      <a:pt x="413" y="666"/>
                    </a:lnTo>
                    <a:lnTo>
                      <a:pt x="414" y="665"/>
                    </a:lnTo>
                    <a:lnTo>
                      <a:pt x="413" y="665"/>
                    </a:lnTo>
                    <a:lnTo>
                      <a:pt x="412" y="665"/>
                    </a:lnTo>
                    <a:lnTo>
                      <a:pt x="413" y="665"/>
                    </a:lnTo>
                    <a:lnTo>
                      <a:pt x="413" y="663"/>
                    </a:lnTo>
                    <a:lnTo>
                      <a:pt x="414" y="663"/>
                    </a:lnTo>
                    <a:lnTo>
                      <a:pt x="414" y="662"/>
                    </a:lnTo>
                    <a:lnTo>
                      <a:pt x="415" y="662"/>
                    </a:lnTo>
                    <a:lnTo>
                      <a:pt x="415" y="661"/>
                    </a:lnTo>
                    <a:lnTo>
                      <a:pt x="414" y="662"/>
                    </a:lnTo>
                    <a:lnTo>
                      <a:pt x="413" y="663"/>
                    </a:lnTo>
                    <a:lnTo>
                      <a:pt x="412" y="665"/>
                    </a:lnTo>
                    <a:lnTo>
                      <a:pt x="412" y="663"/>
                    </a:lnTo>
                    <a:lnTo>
                      <a:pt x="412" y="662"/>
                    </a:lnTo>
                    <a:lnTo>
                      <a:pt x="412" y="661"/>
                    </a:lnTo>
                    <a:lnTo>
                      <a:pt x="413" y="661"/>
                    </a:lnTo>
                    <a:lnTo>
                      <a:pt x="413" y="660"/>
                    </a:lnTo>
                    <a:lnTo>
                      <a:pt x="413" y="659"/>
                    </a:lnTo>
                    <a:lnTo>
                      <a:pt x="413" y="658"/>
                    </a:lnTo>
                    <a:lnTo>
                      <a:pt x="414" y="658"/>
                    </a:lnTo>
                    <a:lnTo>
                      <a:pt x="414" y="657"/>
                    </a:lnTo>
                    <a:lnTo>
                      <a:pt x="414" y="655"/>
                    </a:lnTo>
                    <a:lnTo>
                      <a:pt x="415" y="655"/>
                    </a:lnTo>
                    <a:lnTo>
                      <a:pt x="416" y="655"/>
                    </a:lnTo>
                    <a:lnTo>
                      <a:pt x="416" y="654"/>
                    </a:lnTo>
                    <a:lnTo>
                      <a:pt x="416" y="653"/>
                    </a:lnTo>
                    <a:lnTo>
                      <a:pt x="418" y="653"/>
                    </a:lnTo>
                    <a:lnTo>
                      <a:pt x="418" y="652"/>
                    </a:lnTo>
                    <a:lnTo>
                      <a:pt x="418" y="650"/>
                    </a:lnTo>
                    <a:lnTo>
                      <a:pt x="418" y="649"/>
                    </a:lnTo>
                    <a:lnTo>
                      <a:pt x="418" y="648"/>
                    </a:lnTo>
                    <a:lnTo>
                      <a:pt x="419" y="648"/>
                    </a:lnTo>
                    <a:lnTo>
                      <a:pt x="419" y="647"/>
                    </a:lnTo>
                    <a:lnTo>
                      <a:pt x="419" y="646"/>
                    </a:lnTo>
                    <a:lnTo>
                      <a:pt x="420" y="646"/>
                    </a:lnTo>
                    <a:lnTo>
                      <a:pt x="421" y="647"/>
                    </a:lnTo>
                    <a:lnTo>
                      <a:pt x="422" y="647"/>
                    </a:lnTo>
                    <a:lnTo>
                      <a:pt x="422" y="646"/>
                    </a:lnTo>
                    <a:lnTo>
                      <a:pt x="422" y="645"/>
                    </a:lnTo>
                    <a:lnTo>
                      <a:pt x="423" y="645"/>
                    </a:lnTo>
                    <a:lnTo>
                      <a:pt x="424" y="645"/>
                    </a:lnTo>
                    <a:lnTo>
                      <a:pt x="425" y="644"/>
                    </a:lnTo>
                    <a:lnTo>
                      <a:pt x="425" y="643"/>
                    </a:lnTo>
                    <a:lnTo>
                      <a:pt x="426" y="643"/>
                    </a:lnTo>
                    <a:lnTo>
                      <a:pt x="426" y="642"/>
                    </a:lnTo>
                    <a:lnTo>
                      <a:pt x="426" y="641"/>
                    </a:lnTo>
                    <a:lnTo>
                      <a:pt x="427" y="641"/>
                    </a:lnTo>
                    <a:lnTo>
                      <a:pt x="428" y="640"/>
                    </a:lnTo>
                    <a:lnTo>
                      <a:pt x="431" y="639"/>
                    </a:lnTo>
                    <a:lnTo>
                      <a:pt x="432" y="639"/>
                    </a:lnTo>
                    <a:lnTo>
                      <a:pt x="432" y="637"/>
                    </a:lnTo>
                    <a:lnTo>
                      <a:pt x="433" y="637"/>
                    </a:lnTo>
                    <a:lnTo>
                      <a:pt x="434" y="637"/>
                    </a:lnTo>
                    <a:lnTo>
                      <a:pt x="434" y="636"/>
                    </a:lnTo>
                    <a:lnTo>
                      <a:pt x="433" y="636"/>
                    </a:lnTo>
                    <a:lnTo>
                      <a:pt x="433" y="635"/>
                    </a:lnTo>
                    <a:lnTo>
                      <a:pt x="434" y="634"/>
                    </a:lnTo>
                    <a:lnTo>
                      <a:pt x="433" y="634"/>
                    </a:lnTo>
                    <a:lnTo>
                      <a:pt x="434" y="633"/>
                    </a:lnTo>
                    <a:lnTo>
                      <a:pt x="434" y="634"/>
                    </a:lnTo>
                    <a:lnTo>
                      <a:pt x="434" y="633"/>
                    </a:lnTo>
                    <a:lnTo>
                      <a:pt x="435" y="633"/>
                    </a:lnTo>
                    <a:lnTo>
                      <a:pt x="434" y="632"/>
                    </a:lnTo>
                    <a:lnTo>
                      <a:pt x="433" y="633"/>
                    </a:lnTo>
                    <a:lnTo>
                      <a:pt x="433" y="632"/>
                    </a:lnTo>
                    <a:lnTo>
                      <a:pt x="433" y="631"/>
                    </a:lnTo>
                    <a:lnTo>
                      <a:pt x="434" y="631"/>
                    </a:lnTo>
                    <a:lnTo>
                      <a:pt x="434" y="630"/>
                    </a:lnTo>
                    <a:lnTo>
                      <a:pt x="435" y="630"/>
                    </a:lnTo>
                    <a:lnTo>
                      <a:pt x="436" y="630"/>
                    </a:lnTo>
                    <a:lnTo>
                      <a:pt x="436" y="629"/>
                    </a:lnTo>
                    <a:lnTo>
                      <a:pt x="437" y="629"/>
                    </a:lnTo>
                    <a:lnTo>
                      <a:pt x="437" y="628"/>
                    </a:lnTo>
                    <a:lnTo>
                      <a:pt x="437" y="627"/>
                    </a:lnTo>
                    <a:lnTo>
                      <a:pt x="438" y="626"/>
                    </a:lnTo>
                    <a:lnTo>
                      <a:pt x="438" y="624"/>
                    </a:lnTo>
                    <a:lnTo>
                      <a:pt x="438" y="623"/>
                    </a:lnTo>
                    <a:lnTo>
                      <a:pt x="439" y="623"/>
                    </a:lnTo>
                    <a:lnTo>
                      <a:pt x="438" y="623"/>
                    </a:lnTo>
                    <a:lnTo>
                      <a:pt x="439" y="622"/>
                    </a:lnTo>
                    <a:lnTo>
                      <a:pt x="440" y="622"/>
                    </a:lnTo>
                    <a:lnTo>
                      <a:pt x="441" y="622"/>
                    </a:lnTo>
                    <a:lnTo>
                      <a:pt x="442" y="622"/>
                    </a:lnTo>
                    <a:lnTo>
                      <a:pt x="442" y="621"/>
                    </a:lnTo>
                    <a:lnTo>
                      <a:pt x="444" y="621"/>
                    </a:lnTo>
                    <a:lnTo>
                      <a:pt x="442" y="620"/>
                    </a:lnTo>
                    <a:lnTo>
                      <a:pt x="442" y="619"/>
                    </a:lnTo>
                    <a:lnTo>
                      <a:pt x="444" y="619"/>
                    </a:lnTo>
                    <a:lnTo>
                      <a:pt x="444" y="618"/>
                    </a:lnTo>
                    <a:lnTo>
                      <a:pt x="442" y="618"/>
                    </a:lnTo>
                    <a:lnTo>
                      <a:pt x="444" y="618"/>
                    </a:lnTo>
                    <a:lnTo>
                      <a:pt x="444" y="617"/>
                    </a:lnTo>
                    <a:lnTo>
                      <a:pt x="445" y="617"/>
                    </a:lnTo>
                    <a:lnTo>
                      <a:pt x="445" y="616"/>
                    </a:lnTo>
                    <a:lnTo>
                      <a:pt x="444" y="616"/>
                    </a:lnTo>
                    <a:lnTo>
                      <a:pt x="444" y="615"/>
                    </a:lnTo>
                    <a:lnTo>
                      <a:pt x="444" y="614"/>
                    </a:lnTo>
                    <a:lnTo>
                      <a:pt x="445" y="614"/>
                    </a:lnTo>
                    <a:lnTo>
                      <a:pt x="445" y="613"/>
                    </a:lnTo>
                    <a:lnTo>
                      <a:pt x="444" y="613"/>
                    </a:lnTo>
                    <a:lnTo>
                      <a:pt x="444" y="611"/>
                    </a:lnTo>
                    <a:lnTo>
                      <a:pt x="445" y="611"/>
                    </a:lnTo>
                    <a:lnTo>
                      <a:pt x="446" y="613"/>
                    </a:lnTo>
                    <a:lnTo>
                      <a:pt x="447" y="613"/>
                    </a:lnTo>
                    <a:lnTo>
                      <a:pt x="448" y="613"/>
                    </a:lnTo>
                    <a:lnTo>
                      <a:pt x="449" y="613"/>
                    </a:lnTo>
                    <a:lnTo>
                      <a:pt x="449" y="614"/>
                    </a:lnTo>
                    <a:lnTo>
                      <a:pt x="450" y="614"/>
                    </a:lnTo>
                    <a:close/>
                    <a:moveTo>
                      <a:pt x="569" y="541"/>
                    </a:moveTo>
                    <a:lnTo>
                      <a:pt x="570" y="542"/>
                    </a:lnTo>
                    <a:lnTo>
                      <a:pt x="570" y="543"/>
                    </a:lnTo>
                    <a:lnTo>
                      <a:pt x="571" y="543"/>
                    </a:lnTo>
                    <a:lnTo>
                      <a:pt x="571" y="544"/>
                    </a:lnTo>
                    <a:lnTo>
                      <a:pt x="570" y="544"/>
                    </a:lnTo>
                    <a:lnTo>
                      <a:pt x="571" y="544"/>
                    </a:lnTo>
                    <a:lnTo>
                      <a:pt x="571" y="543"/>
                    </a:lnTo>
                    <a:lnTo>
                      <a:pt x="573" y="543"/>
                    </a:lnTo>
                    <a:lnTo>
                      <a:pt x="574" y="543"/>
                    </a:lnTo>
                    <a:lnTo>
                      <a:pt x="575" y="543"/>
                    </a:lnTo>
                    <a:lnTo>
                      <a:pt x="576" y="543"/>
                    </a:lnTo>
                    <a:lnTo>
                      <a:pt x="577" y="543"/>
                    </a:lnTo>
                    <a:lnTo>
                      <a:pt x="578" y="543"/>
                    </a:lnTo>
                    <a:lnTo>
                      <a:pt x="579" y="543"/>
                    </a:lnTo>
                    <a:lnTo>
                      <a:pt x="582" y="543"/>
                    </a:lnTo>
                    <a:lnTo>
                      <a:pt x="584" y="543"/>
                    </a:lnTo>
                    <a:lnTo>
                      <a:pt x="588" y="543"/>
                    </a:lnTo>
                    <a:lnTo>
                      <a:pt x="589" y="544"/>
                    </a:lnTo>
                    <a:lnTo>
                      <a:pt x="593" y="544"/>
                    </a:lnTo>
                    <a:lnTo>
                      <a:pt x="595" y="545"/>
                    </a:lnTo>
                    <a:lnTo>
                      <a:pt x="608" y="550"/>
                    </a:lnTo>
                    <a:lnTo>
                      <a:pt x="612" y="551"/>
                    </a:lnTo>
                    <a:lnTo>
                      <a:pt x="614" y="552"/>
                    </a:lnTo>
                    <a:lnTo>
                      <a:pt x="616" y="553"/>
                    </a:lnTo>
                    <a:lnTo>
                      <a:pt x="617" y="553"/>
                    </a:lnTo>
                    <a:lnTo>
                      <a:pt x="619" y="552"/>
                    </a:lnTo>
                    <a:lnTo>
                      <a:pt x="622" y="550"/>
                    </a:lnTo>
                    <a:lnTo>
                      <a:pt x="623" y="549"/>
                    </a:lnTo>
                    <a:lnTo>
                      <a:pt x="626" y="546"/>
                    </a:lnTo>
                    <a:lnTo>
                      <a:pt x="625" y="547"/>
                    </a:lnTo>
                    <a:lnTo>
                      <a:pt x="625" y="549"/>
                    </a:lnTo>
                    <a:lnTo>
                      <a:pt x="625" y="550"/>
                    </a:lnTo>
                    <a:lnTo>
                      <a:pt x="626" y="551"/>
                    </a:lnTo>
                    <a:lnTo>
                      <a:pt x="626" y="552"/>
                    </a:lnTo>
                    <a:lnTo>
                      <a:pt x="625" y="551"/>
                    </a:lnTo>
                    <a:lnTo>
                      <a:pt x="622" y="550"/>
                    </a:lnTo>
                    <a:lnTo>
                      <a:pt x="621" y="551"/>
                    </a:lnTo>
                    <a:lnTo>
                      <a:pt x="620" y="552"/>
                    </a:lnTo>
                    <a:lnTo>
                      <a:pt x="619" y="553"/>
                    </a:lnTo>
                    <a:lnTo>
                      <a:pt x="618" y="553"/>
                    </a:lnTo>
                    <a:lnTo>
                      <a:pt x="618" y="554"/>
                    </a:lnTo>
                    <a:lnTo>
                      <a:pt x="619" y="554"/>
                    </a:lnTo>
                    <a:lnTo>
                      <a:pt x="618" y="555"/>
                    </a:lnTo>
                    <a:lnTo>
                      <a:pt x="618" y="556"/>
                    </a:lnTo>
                    <a:lnTo>
                      <a:pt x="617" y="557"/>
                    </a:lnTo>
                    <a:lnTo>
                      <a:pt x="618" y="557"/>
                    </a:lnTo>
                    <a:lnTo>
                      <a:pt x="619" y="557"/>
                    </a:lnTo>
                    <a:lnTo>
                      <a:pt x="619" y="556"/>
                    </a:lnTo>
                    <a:lnTo>
                      <a:pt x="620" y="556"/>
                    </a:lnTo>
                    <a:lnTo>
                      <a:pt x="620" y="557"/>
                    </a:lnTo>
                    <a:lnTo>
                      <a:pt x="620" y="556"/>
                    </a:lnTo>
                    <a:lnTo>
                      <a:pt x="620" y="555"/>
                    </a:lnTo>
                    <a:lnTo>
                      <a:pt x="621" y="555"/>
                    </a:lnTo>
                    <a:lnTo>
                      <a:pt x="621" y="556"/>
                    </a:lnTo>
                    <a:lnTo>
                      <a:pt x="622" y="556"/>
                    </a:lnTo>
                    <a:lnTo>
                      <a:pt x="623" y="556"/>
                    </a:lnTo>
                    <a:lnTo>
                      <a:pt x="622" y="556"/>
                    </a:lnTo>
                    <a:lnTo>
                      <a:pt x="621" y="557"/>
                    </a:lnTo>
                    <a:lnTo>
                      <a:pt x="622" y="558"/>
                    </a:lnTo>
                    <a:lnTo>
                      <a:pt x="621" y="558"/>
                    </a:lnTo>
                    <a:lnTo>
                      <a:pt x="620" y="557"/>
                    </a:lnTo>
                    <a:lnTo>
                      <a:pt x="618" y="558"/>
                    </a:lnTo>
                    <a:lnTo>
                      <a:pt x="617" y="559"/>
                    </a:lnTo>
                    <a:lnTo>
                      <a:pt x="618" y="560"/>
                    </a:lnTo>
                    <a:lnTo>
                      <a:pt x="619" y="562"/>
                    </a:lnTo>
                    <a:lnTo>
                      <a:pt x="621" y="562"/>
                    </a:lnTo>
                    <a:lnTo>
                      <a:pt x="621" y="560"/>
                    </a:lnTo>
                    <a:lnTo>
                      <a:pt x="622" y="560"/>
                    </a:lnTo>
                    <a:lnTo>
                      <a:pt x="622" y="562"/>
                    </a:lnTo>
                    <a:lnTo>
                      <a:pt x="621" y="563"/>
                    </a:lnTo>
                    <a:lnTo>
                      <a:pt x="619" y="562"/>
                    </a:lnTo>
                    <a:lnTo>
                      <a:pt x="619" y="563"/>
                    </a:lnTo>
                    <a:lnTo>
                      <a:pt x="619" y="564"/>
                    </a:lnTo>
                    <a:lnTo>
                      <a:pt x="618" y="565"/>
                    </a:lnTo>
                    <a:lnTo>
                      <a:pt x="617" y="566"/>
                    </a:lnTo>
                    <a:lnTo>
                      <a:pt x="616" y="567"/>
                    </a:lnTo>
                    <a:lnTo>
                      <a:pt x="615" y="568"/>
                    </a:lnTo>
                    <a:lnTo>
                      <a:pt x="614" y="570"/>
                    </a:lnTo>
                    <a:lnTo>
                      <a:pt x="615" y="571"/>
                    </a:lnTo>
                    <a:lnTo>
                      <a:pt x="615" y="572"/>
                    </a:lnTo>
                    <a:lnTo>
                      <a:pt x="614" y="572"/>
                    </a:lnTo>
                    <a:lnTo>
                      <a:pt x="613" y="571"/>
                    </a:lnTo>
                    <a:lnTo>
                      <a:pt x="613" y="568"/>
                    </a:lnTo>
                    <a:lnTo>
                      <a:pt x="613" y="567"/>
                    </a:lnTo>
                    <a:lnTo>
                      <a:pt x="613" y="566"/>
                    </a:lnTo>
                    <a:lnTo>
                      <a:pt x="614" y="566"/>
                    </a:lnTo>
                    <a:lnTo>
                      <a:pt x="615" y="565"/>
                    </a:lnTo>
                    <a:lnTo>
                      <a:pt x="614" y="564"/>
                    </a:lnTo>
                    <a:lnTo>
                      <a:pt x="614" y="563"/>
                    </a:lnTo>
                    <a:lnTo>
                      <a:pt x="615" y="562"/>
                    </a:lnTo>
                    <a:lnTo>
                      <a:pt x="614" y="560"/>
                    </a:lnTo>
                    <a:lnTo>
                      <a:pt x="613" y="559"/>
                    </a:lnTo>
                    <a:lnTo>
                      <a:pt x="612" y="558"/>
                    </a:lnTo>
                    <a:lnTo>
                      <a:pt x="610" y="556"/>
                    </a:lnTo>
                    <a:lnTo>
                      <a:pt x="610" y="555"/>
                    </a:lnTo>
                    <a:lnTo>
                      <a:pt x="609" y="554"/>
                    </a:lnTo>
                    <a:lnTo>
                      <a:pt x="608" y="554"/>
                    </a:lnTo>
                    <a:lnTo>
                      <a:pt x="607" y="554"/>
                    </a:lnTo>
                    <a:lnTo>
                      <a:pt x="607" y="555"/>
                    </a:lnTo>
                    <a:lnTo>
                      <a:pt x="607" y="556"/>
                    </a:lnTo>
                    <a:lnTo>
                      <a:pt x="606" y="556"/>
                    </a:lnTo>
                    <a:lnTo>
                      <a:pt x="606" y="557"/>
                    </a:lnTo>
                    <a:lnTo>
                      <a:pt x="605" y="557"/>
                    </a:lnTo>
                    <a:lnTo>
                      <a:pt x="605" y="556"/>
                    </a:lnTo>
                    <a:lnTo>
                      <a:pt x="605" y="555"/>
                    </a:lnTo>
                    <a:lnTo>
                      <a:pt x="605" y="554"/>
                    </a:lnTo>
                    <a:lnTo>
                      <a:pt x="604" y="553"/>
                    </a:lnTo>
                    <a:lnTo>
                      <a:pt x="603" y="553"/>
                    </a:lnTo>
                    <a:lnTo>
                      <a:pt x="603" y="552"/>
                    </a:lnTo>
                    <a:lnTo>
                      <a:pt x="603" y="551"/>
                    </a:lnTo>
                    <a:lnTo>
                      <a:pt x="602" y="551"/>
                    </a:lnTo>
                    <a:lnTo>
                      <a:pt x="601" y="552"/>
                    </a:lnTo>
                    <a:lnTo>
                      <a:pt x="599" y="552"/>
                    </a:lnTo>
                    <a:lnTo>
                      <a:pt x="597" y="552"/>
                    </a:lnTo>
                    <a:lnTo>
                      <a:pt x="596" y="553"/>
                    </a:lnTo>
                    <a:lnTo>
                      <a:pt x="595" y="552"/>
                    </a:lnTo>
                    <a:lnTo>
                      <a:pt x="594" y="552"/>
                    </a:lnTo>
                    <a:lnTo>
                      <a:pt x="593" y="553"/>
                    </a:lnTo>
                    <a:lnTo>
                      <a:pt x="593" y="554"/>
                    </a:lnTo>
                    <a:lnTo>
                      <a:pt x="592" y="555"/>
                    </a:lnTo>
                    <a:lnTo>
                      <a:pt x="592" y="556"/>
                    </a:lnTo>
                    <a:lnTo>
                      <a:pt x="591" y="554"/>
                    </a:lnTo>
                    <a:lnTo>
                      <a:pt x="591" y="555"/>
                    </a:lnTo>
                    <a:lnTo>
                      <a:pt x="590" y="555"/>
                    </a:lnTo>
                    <a:lnTo>
                      <a:pt x="590" y="554"/>
                    </a:lnTo>
                    <a:lnTo>
                      <a:pt x="590" y="553"/>
                    </a:lnTo>
                    <a:lnTo>
                      <a:pt x="590" y="552"/>
                    </a:lnTo>
                    <a:lnTo>
                      <a:pt x="590" y="551"/>
                    </a:lnTo>
                    <a:lnTo>
                      <a:pt x="589" y="551"/>
                    </a:lnTo>
                    <a:lnTo>
                      <a:pt x="589" y="550"/>
                    </a:lnTo>
                    <a:lnTo>
                      <a:pt x="588" y="550"/>
                    </a:lnTo>
                    <a:lnTo>
                      <a:pt x="587" y="549"/>
                    </a:lnTo>
                    <a:lnTo>
                      <a:pt x="586" y="547"/>
                    </a:lnTo>
                    <a:lnTo>
                      <a:pt x="584" y="547"/>
                    </a:lnTo>
                    <a:lnTo>
                      <a:pt x="583" y="547"/>
                    </a:lnTo>
                    <a:lnTo>
                      <a:pt x="581" y="546"/>
                    </a:lnTo>
                    <a:lnTo>
                      <a:pt x="581" y="547"/>
                    </a:lnTo>
                    <a:lnTo>
                      <a:pt x="582" y="549"/>
                    </a:lnTo>
                    <a:lnTo>
                      <a:pt x="583" y="550"/>
                    </a:lnTo>
                    <a:lnTo>
                      <a:pt x="584" y="551"/>
                    </a:lnTo>
                    <a:lnTo>
                      <a:pt x="583" y="551"/>
                    </a:lnTo>
                    <a:lnTo>
                      <a:pt x="582" y="550"/>
                    </a:lnTo>
                    <a:lnTo>
                      <a:pt x="581" y="550"/>
                    </a:lnTo>
                    <a:lnTo>
                      <a:pt x="580" y="549"/>
                    </a:lnTo>
                    <a:lnTo>
                      <a:pt x="579" y="547"/>
                    </a:lnTo>
                    <a:lnTo>
                      <a:pt x="579" y="546"/>
                    </a:lnTo>
                    <a:lnTo>
                      <a:pt x="578" y="547"/>
                    </a:lnTo>
                    <a:lnTo>
                      <a:pt x="578" y="546"/>
                    </a:lnTo>
                    <a:lnTo>
                      <a:pt x="577" y="546"/>
                    </a:lnTo>
                    <a:lnTo>
                      <a:pt x="577" y="547"/>
                    </a:lnTo>
                    <a:lnTo>
                      <a:pt x="576" y="546"/>
                    </a:lnTo>
                    <a:lnTo>
                      <a:pt x="577" y="546"/>
                    </a:lnTo>
                    <a:lnTo>
                      <a:pt x="576" y="546"/>
                    </a:lnTo>
                    <a:lnTo>
                      <a:pt x="575" y="546"/>
                    </a:lnTo>
                    <a:lnTo>
                      <a:pt x="575" y="545"/>
                    </a:lnTo>
                    <a:lnTo>
                      <a:pt x="574" y="545"/>
                    </a:lnTo>
                    <a:lnTo>
                      <a:pt x="573" y="545"/>
                    </a:lnTo>
                    <a:lnTo>
                      <a:pt x="571" y="544"/>
                    </a:lnTo>
                    <a:lnTo>
                      <a:pt x="570" y="545"/>
                    </a:lnTo>
                    <a:lnTo>
                      <a:pt x="569" y="544"/>
                    </a:lnTo>
                    <a:lnTo>
                      <a:pt x="569" y="545"/>
                    </a:lnTo>
                    <a:lnTo>
                      <a:pt x="568" y="545"/>
                    </a:lnTo>
                    <a:lnTo>
                      <a:pt x="568" y="544"/>
                    </a:lnTo>
                    <a:lnTo>
                      <a:pt x="567" y="544"/>
                    </a:lnTo>
                    <a:lnTo>
                      <a:pt x="567" y="543"/>
                    </a:lnTo>
                    <a:lnTo>
                      <a:pt x="566" y="543"/>
                    </a:lnTo>
                    <a:lnTo>
                      <a:pt x="567" y="542"/>
                    </a:lnTo>
                    <a:lnTo>
                      <a:pt x="567" y="541"/>
                    </a:lnTo>
                    <a:lnTo>
                      <a:pt x="567" y="542"/>
                    </a:lnTo>
                    <a:lnTo>
                      <a:pt x="566" y="542"/>
                    </a:lnTo>
                    <a:lnTo>
                      <a:pt x="566" y="541"/>
                    </a:lnTo>
                    <a:lnTo>
                      <a:pt x="567" y="541"/>
                    </a:lnTo>
                    <a:lnTo>
                      <a:pt x="566" y="541"/>
                    </a:lnTo>
                    <a:lnTo>
                      <a:pt x="566" y="540"/>
                    </a:lnTo>
                    <a:lnTo>
                      <a:pt x="567" y="539"/>
                    </a:lnTo>
                    <a:lnTo>
                      <a:pt x="568" y="540"/>
                    </a:lnTo>
                    <a:lnTo>
                      <a:pt x="569" y="541"/>
                    </a:lnTo>
                    <a:close/>
                    <a:moveTo>
                      <a:pt x="576" y="536"/>
                    </a:moveTo>
                    <a:lnTo>
                      <a:pt x="577" y="537"/>
                    </a:lnTo>
                    <a:lnTo>
                      <a:pt x="578" y="537"/>
                    </a:lnTo>
                    <a:lnTo>
                      <a:pt x="579" y="537"/>
                    </a:lnTo>
                    <a:lnTo>
                      <a:pt x="580" y="537"/>
                    </a:lnTo>
                    <a:lnTo>
                      <a:pt x="581" y="537"/>
                    </a:lnTo>
                    <a:lnTo>
                      <a:pt x="582" y="537"/>
                    </a:lnTo>
                    <a:lnTo>
                      <a:pt x="581" y="537"/>
                    </a:lnTo>
                    <a:lnTo>
                      <a:pt x="582" y="537"/>
                    </a:lnTo>
                    <a:lnTo>
                      <a:pt x="582" y="538"/>
                    </a:lnTo>
                    <a:lnTo>
                      <a:pt x="583" y="538"/>
                    </a:lnTo>
                    <a:lnTo>
                      <a:pt x="584" y="538"/>
                    </a:lnTo>
                    <a:lnTo>
                      <a:pt x="584" y="539"/>
                    </a:lnTo>
                    <a:lnTo>
                      <a:pt x="583" y="539"/>
                    </a:lnTo>
                    <a:lnTo>
                      <a:pt x="584" y="539"/>
                    </a:lnTo>
                    <a:lnTo>
                      <a:pt x="584" y="538"/>
                    </a:lnTo>
                    <a:lnTo>
                      <a:pt x="587" y="537"/>
                    </a:lnTo>
                    <a:lnTo>
                      <a:pt x="588" y="537"/>
                    </a:lnTo>
                    <a:lnTo>
                      <a:pt x="591" y="538"/>
                    </a:lnTo>
                    <a:lnTo>
                      <a:pt x="592" y="538"/>
                    </a:lnTo>
                    <a:lnTo>
                      <a:pt x="591" y="539"/>
                    </a:lnTo>
                    <a:lnTo>
                      <a:pt x="592" y="539"/>
                    </a:lnTo>
                    <a:lnTo>
                      <a:pt x="592" y="540"/>
                    </a:lnTo>
                    <a:lnTo>
                      <a:pt x="593" y="540"/>
                    </a:lnTo>
                    <a:lnTo>
                      <a:pt x="593" y="541"/>
                    </a:lnTo>
                    <a:lnTo>
                      <a:pt x="594" y="541"/>
                    </a:lnTo>
                    <a:lnTo>
                      <a:pt x="594" y="542"/>
                    </a:lnTo>
                    <a:lnTo>
                      <a:pt x="595" y="541"/>
                    </a:lnTo>
                    <a:lnTo>
                      <a:pt x="596" y="541"/>
                    </a:lnTo>
                    <a:lnTo>
                      <a:pt x="597" y="541"/>
                    </a:lnTo>
                    <a:lnTo>
                      <a:pt x="597" y="540"/>
                    </a:lnTo>
                    <a:lnTo>
                      <a:pt x="599" y="539"/>
                    </a:lnTo>
                    <a:lnTo>
                      <a:pt x="599" y="540"/>
                    </a:lnTo>
                    <a:lnTo>
                      <a:pt x="599" y="541"/>
                    </a:lnTo>
                    <a:lnTo>
                      <a:pt x="599" y="542"/>
                    </a:lnTo>
                    <a:lnTo>
                      <a:pt x="599" y="541"/>
                    </a:lnTo>
                    <a:lnTo>
                      <a:pt x="599" y="542"/>
                    </a:lnTo>
                    <a:lnTo>
                      <a:pt x="600" y="542"/>
                    </a:lnTo>
                    <a:lnTo>
                      <a:pt x="601" y="542"/>
                    </a:lnTo>
                    <a:lnTo>
                      <a:pt x="601" y="543"/>
                    </a:lnTo>
                    <a:lnTo>
                      <a:pt x="601" y="544"/>
                    </a:lnTo>
                    <a:lnTo>
                      <a:pt x="602" y="544"/>
                    </a:lnTo>
                    <a:lnTo>
                      <a:pt x="601" y="544"/>
                    </a:lnTo>
                    <a:lnTo>
                      <a:pt x="602" y="544"/>
                    </a:lnTo>
                    <a:lnTo>
                      <a:pt x="602" y="543"/>
                    </a:lnTo>
                    <a:lnTo>
                      <a:pt x="602" y="542"/>
                    </a:lnTo>
                    <a:lnTo>
                      <a:pt x="601" y="541"/>
                    </a:lnTo>
                    <a:lnTo>
                      <a:pt x="602" y="542"/>
                    </a:lnTo>
                    <a:lnTo>
                      <a:pt x="603" y="542"/>
                    </a:lnTo>
                    <a:lnTo>
                      <a:pt x="604" y="542"/>
                    </a:lnTo>
                    <a:lnTo>
                      <a:pt x="605" y="542"/>
                    </a:lnTo>
                    <a:lnTo>
                      <a:pt x="605" y="543"/>
                    </a:lnTo>
                    <a:lnTo>
                      <a:pt x="606" y="545"/>
                    </a:lnTo>
                    <a:lnTo>
                      <a:pt x="606" y="546"/>
                    </a:lnTo>
                    <a:lnTo>
                      <a:pt x="607" y="547"/>
                    </a:lnTo>
                    <a:lnTo>
                      <a:pt x="607" y="546"/>
                    </a:lnTo>
                    <a:lnTo>
                      <a:pt x="607" y="545"/>
                    </a:lnTo>
                    <a:lnTo>
                      <a:pt x="608" y="544"/>
                    </a:lnTo>
                    <a:lnTo>
                      <a:pt x="609" y="544"/>
                    </a:lnTo>
                    <a:lnTo>
                      <a:pt x="610" y="544"/>
                    </a:lnTo>
                    <a:lnTo>
                      <a:pt x="610" y="543"/>
                    </a:lnTo>
                    <a:lnTo>
                      <a:pt x="610" y="542"/>
                    </a:lnTo>
                    <a:lnTo>
                      <a:pt x="612" y="542"/>
                    </a:lnTo>
                    <a:lnTo>
                      <a:pt x="612" y="543"/>
                    </a:lnTo>
                    <a:lnTo>
                      <a:pt x="612" y="544"/>
                    </a:lnTo>
                    <a:lnTo>
                      <a:pt x="613" y="545"/>
                    </a:lnTo>
                    <a:lnTo>
                      <a:pt x="612" y="546"/>
                    </a:lnTo>
                    <a:lnTo>
                      <a:pt x="613" y="547"/>
                    </a:lnTo>
                    <a:lnTo>
                      <a:pt x="614" y="549"/>
                    </a:lnTo>
                    <a:lnTo>
                      <a:pt x="615" y="549"/>
                    </a:lnTo>
                    <a:lnTo>
                      <a:pt x="615" y="547"/>
                    </a:lnTo>
                    <a:lnTo>
                      <a:pt x="615" y="546"/>
                    </a:lnTo>
                    <a:lnTo>
                      <a:pt x="616" y="546"/>
                    </a:lnTo>
                    <a:lnTo>
                      <a:pt x="617" y="544"/>
                    </a:lnTo>
                    <a:lnTo>
                      <a:pt x="617" y="545"/>
                    </a:lnTo>
                    <a:lnTo>
                      <a:pt x="617" y="546"/>
                    </a:lnTo>
                    <a:lnTo>
                      <a:pt x="616" y="547"/>
                    </a:lnTo>
                    <a:lnTo>
                      <a:pt x="616" y="550"/>
                    </a:lnTo>
                    <a:lnTo>
                      <a:pt x="617" y="551"/>
                    </a:lnTo>
                    <a:lnTo>
                      <a:pt x="618" y="551"/>
                    </a:lnTo>
                    <a:lnTo>
                      <a:pt x="617" y="550"/>
                    </a:lnTo>
                    <a:lnTo>
                      <a:pt x="618" y="550"/>
                    </a:lnTo>
                    <a:lnTo>
                      <a:pt x="619" y="550"/>
                    </a:lnTo>
                    <a:lnTo>
                      <a:pt x="620" y="550"/>
                    </a:lnTo>
                    <a:lnTo>
                      <a:pt x="621" y="549"/>
                    </a:lnTo>
                    <a:lnTo>
                      <a:pt x="622" y="549"/>
                    </a:lnTo>
                    <a:lnTo>
                      <a:pt x="623" y="547"/>
                    </a:lnTo>
                    <a:lnTo>
                      <a:pt x="623" y="546"/>
                    </a:lnTo>
                    <a:lnTo>
                      <a:pt x="623" y="545"/>
                    </a:lnTo>
                    <a:lnTo>
                      <a:pt x="625" y="545"/>
                    </a:lnTo>
                    <a:lnTo>
                      <a:pt x="627" y="543"/>
                    </a:lnTo>
                    <a:lnTo>
                      <a:pt x="628" y="544"/>
                    </a:lnTo>
                    <a:lnTo>
                      <a:pt x="622" y="549"/>
                    </a:lnTo>
                    <a:lnTo>
                      <a:pt x="619" y="551"/>
                    </a:lnTo>
                    <a:lnTo>
                      <a:pt x="618" y="552"/>
                    </a:lnTo>
                    <a:lnTo>
                      <a:pt x="617" y="552"/>
                    </a:lnTo>
                    <a:lnTo>
                      <a:pt x="615" y="551"/>
                    </a:lnTo>
                    <a:lnTo>
                      <a:pt x="613" y="550"/>
                    </a:lnTo>
                    <a:lnTo>
                      <a:pt x="609" y="549"/>
                    </a:lnTo>
                    <a:lnTo>
                      <a:pt x="603" y="546"/>
                    </a:lnTo>
                    <a:lnTo>
                      <a:pt x="602" y="545"/>
                    </a:lnTo>
                    <a:lnTo>
                      <a:pt x="601" y="545"/>
                    </a:lnTo>
                    <a:lnTo>
                      <a:pt x="601" y="544"/>
                    </a:lnTo>
                    <a:lnTo>
                      <a:pt x="601" y="545"/>
                    </a:lnTo>
                    <a:lnTo>
                      <a:pt x="600" y="544"/>
                    </a:lnTo>
                    <a:lnTo>
                      <a:pt x="600" y="545"/>
                    </a:lnTo>
                    <a:lnTo>
                      <a:pt x="597" y="545"/>
                    </a:lnTo>
                    <a:lnTo>
                      <a:pt x="597" y="544"/>
                    </a:lnTo>
                    <a:lnTo>
                      <a:pt x="596" y="544"/>
                    </a:lnTo>
                    <a:lnTo>
                      <a:pt x="595" y="544"/>
                    </a:lnTo>
                    <a:lnTo>
                      <a:pt x="594" y="543"/>
                    </a:lnTo>
                    <a:lnTo>
                      <a:pt x="593" y="543"/>
                    </a:lnTo>
                    <a:lnTo>
                      <a:pt x="592" y="543"/>
                    </a:lnTo>
                    <a:lnTo>
                      <a:pt x="591" y="542"/>
                    </a:lnTo>
                    <a:lnTo>
                      <a:pt x="590" y="542"/>
                    </a:lnTo>
                    <a:lnTo>
                      <a:pt x="589" y="542"/>
                    </a:lnTo>
                    <a:lnTo>
                      <a:pt x="588" y="542"/>
                    </a:lnTo>
                    <a:lnTo>
                      <a:pt x="587" y="542"/>
                    </a:lnTo>
                    <a:lnTo>
                      <a:pt x="584" y="542"/>
                    </a:lnTo>
                    <a:lnTo>
                      <a:pt x="581" y="542"/>
                    </a:lnTo>
                    <a:lnTo>
                      <a:pt x="580" y="542"/>
                    </a:lnTo>
                    <a:lnTo>
                      <a:pt x="578" y="542"/>
                    </a:lnTo>
                    <a:lnTo>
                      <a:pt x="577" y="542"/>
                    </a:lnTo>
                    <a:lnTo>
                      <a:pt x="576" y="543"/>
                    </a:lnTo>
                    <a:lnTo>
                      <a:pt x="575" y="542"/>
                    </a:lnTo>
                    <a:lnTo>
                      <a:pt x="574" y="542"/>
                    </a:lnTo>
                    <a:lnTo>
                      <a:pt x="573" y="542"/>
                    </a:lnTo>
                    <a:lnTo>
                      <a:pt x="571" y="542"/>
                    </a:lnTo>
                    <a:lnTo>
                      <a:pt x="571" y="541"/>
                    </a:lnTo>
                    <a:lnTo>
                      <a:pt x="570" y="541"/>
                    </a:lnTo>
                    <a:lnTo>
                      <a:pt x="570" y="540"/>
                    </a:lnTo>
                    <a:lnTo>
                      <a:pt x="569" y="539"/>
                    </a:lnTo>
                    <a:lnTo>
                      <a:pt x="568" y="539"/>
                    </a:lnTo>
                    <a:lnTo>
                      <a:pt x="568" y="538"/>
                    </a:lnTo>
                    <a:lnTo>
                      <a:pt x="569" y="538"/>
                    </a:lnTo>
                    <a:lnTo>
                      <a:pt x="569" y="537"/>
                    </a:lnTo>
                    <a:lnTo>
                      <a:pt x="568" y="537"/>
                    </a:lnTo>
                    <a:lnTo>
                      <a:pt x="569" y="537"/>
                    </a:lnTo>
                    <a:lnTo>
                      <a:pt x="568" y="537"/>
                    </a:lnTo>
                    <a:lnTo>
                      <a:pt x="568" y="536"/>
                    </a:lnTo>
                    <a:lnTo>
                      <a:pt x="567" y="536"/>
                    </a:lnTo>
                    <a:lnTo>
                      <a:pt x="567" y="534"/>
                    </a:lnTo>
                    <a:lnTo>
                      <a:pt x="567" y="533"/>
                    </a:lnTo>
                    <a:lnTo>
                      <a:pt x="568" y="533"/>
                    </a:lnTo>
                    <a:lnTo>
                      <a:pt x="569" y="533"/>
                    </a:lnTo>
                    <a:lnTo>
                      <a:pt x="570" y="533"/>
                    </a:lnTo>
                    <a:lnTo>
                      <a:pt x="570" y="534"/>
                    </a:lnTo>
                    <a:lnTo>
                      <a:pt x="571" y="534"/>
                    </a:lnTo>
                    <a:lnTo>
                      <a:pt x="574" y="534"/>
                    </a:lnTo>
                    <a:lnTo>
                      <a:pt x="575" y="536"/>
                    </a:lnTo>
                    <a:lnTo>
                      <a:pt x="576" y="536"/>
                    </a:lnTo>
                    <a:close/>
                    <a:moveTo>
                      <a:pt x="551" y="527"/>
                    </a:moveTo>
                    <a:lnTo>
                      <a:pt x="550" y="528"/>
                    </a:lnTo>
                    <a:lnTo>
                      <a:pt x="550" y="529"/>
                    </a:lnTo>
                    <a:lnTo>
                      <a:pt x="546" y="532"/>
                    </a:lnTo>
                    <a:lnTo>
                      <a:pt x="544" y="534"/>
                    </a:lnTo>
                    <a:lnTo>
                      <a:pt x="544" y="536"/>
                    </a:lnTo>
                    <a:lnTo>
                      <a:pt x="543" y="537"/>
                    </a:lnTo>
                    <a:lnTo>
                      <a:pt x="539" y="539"/>
                    </a:lnTo>
                    <a:lnTo>
                      <a:pt x="538" y="540"/>
                    </a:lnTo>
                    <a:lnTo>
                      <a:pt x="537" y="541"/>
                    </a:lnTo>
                    <a:lnTo>
                      <a:pt x="537" y="540"/>
                    </a:lnTo>
                    <a:lnTo>
                      <a:pt x="537" y="541"/>
                    </a:lnTo>
                    <a:lnTo>
                      <a:pt x="536" y="541"/>
                    </a:lnTo>
                    <a:lnTo>
                      <a:pt x="536" y="542"/>
                    </a:lnTo>
                    <a:lnTo>
                      <a:pt x="535" y="542"/>
                    </a:lnTo>
                    <a:lnTo>
                      <a:pt x="533" y="542"/>
                    </a:lnTo>
                    <a:lnTo>
                      <a:pt x="532" y="543"/>
                    </a:lnTo>
                    <a:lnTo>
                      <a:pt x="533" y="543"/>
                    </a:lnTo>
                    <a:lnTo>
                      <a:pt x="535" y="542"/>
                    </a:lnTo>
                    <a:lnTo>
                      <a:pt x="538" y="540"/>
                    </a:lnTo>
                    <a:lnTo>
                      <a:pt x="540" y="539"/>
                    </a:lnTo>
                    <a:lnTo>
                      <a:pt x="542" y="538"/>
                    </a:lnTo>
                    <a:lnTo>
                      <a:pt x="543" y="538"/>
                    </a:lnTo>
                    <a:lnTo>
                      <a:pt x="542" y="538"/>
                    </a:lnTo>
                    <a:lnTo>
                      <a:pt x="540" y="539"/>
                    </a:lnTo>
                    <a:lnTo>
                      <a:pt x="540" y="540"/>
                    </a:lnTo>
                    <a:lnTo>
                      <a:pt x="541" y="541"/>
                    </a:lnTo>
                    <a:lnTo>
                      <a:pt x="541" y="542"/>
                    </a:lnTo>
                    <a:lnTo>
                      <a:pt x="542" y="543"/>
                    </a:lnTo>
                    <a:lnTo>
                      <a:pt x="542" y="544"/>
                    </a:lnTo>
                    <a:lnTo>
                      <a:pt x="541" y="545"/>
                    </a:lnTo>
                    <a:lnTo>
                      <a:pt x="540" y="546"/>
                    </a:lnTo>
                    <a:lnTo>
                      <a:pt x="539" y="546"/>
                    </a:lnTo>
                    <a:lnTo>
                      <a:pt x="538" y="546"/>
                    </a:lnTo>
                    <a:lnTo>
                      <a:pt x="537" y="546"/>
                    </a:lnTo>
                    <a:lnTo>
                      <a:pt x="536" y="546"/>
                    </a:lnTo>
                    <a:lnTo>
                      <a:pt x="535" y="546"/>
                    </a:lnTo>
                    <a:lnTo>
                      <a:pt x="533" y="546"/>
                    </a:lnTo>
                    <a:lnTo>
                      <a:pt x="532" y="546"/>
                    </a:lnTo>
                    <a:lnTo>
                      <a:pt x="531" y="546"/>
                    </a:lnTo>
                    <a:lnTo>
                      <a:pt x="530" y="546"/>
                    </a:lnTo>
                    <a:lnTo>
                      <a:pt x="530" y="545"/>
                    </a:lnTo>
                    <a:lnTo>
                      <a:pt x="529" y="545"/>
                    </a:lnTo>
                    <a:lnTo>
                      <a:pt x="529" y="544"/>
                    </a:lnTo>
                    <a:lnTo>
                      <a:pt x="528" y="544"/>
                    </a:lnTo>
                    <a:lnTo>
                      <a:pt x="528" y="543"/>
                    </a:lnTo>
                    <a:lnTo>
                      <a:pt x="528" y="542"/>
                    </a:lnTo>
                    <a:lnTo>
                      <a:pt x="528" y="541"/>
                    </a:lnTo>
                    <a:lnTo>
                      <a:pt x="528" y="540"/>
                    </a:lnTo>
                    <a:lnTo>
                      <a:pt x="527" y="539"/>
                    </a:lnTo>
                    <a:lnTo>
                      <a:pt x="527" y="538"/>
                    </a:lnTo>
                    <a:lnTo>
                      <a:pt x="528" y="538"/>
                    </a:lnTo>
                    <a:lnTo>
                      <a:pt x="529" y="538"/>
                    </a:lnTo>
                    <a:lnTo>
                      <a:pt x="530" y="538"/>
                    </a:lnTo>
                    <a:lnTo>
                      <a:pt x="530" y="537"/>
                    </a:lnTo>
                    <a:lnTo>
                      <a:pt x="531" y="537"/>
                    </a:lnTo>
                    <a:lnTo>
                      <a:pt x="532" y="536"/>
                    </a:lnTo>
                    <a:lnTo>
                      <a:pt x="532" y="537"/>
                    </a:lnTo>
                    <a:lnTo>
                      <a:pt x="533" y="536"/>
                    </a:lnTo>
                    <a:lnTo>
                      <a:pt x="535" y="534"/>
                    </a:lnTo>
                    <a:lnTo>
                      <a:pt x="536" y="534"/>
                    </a:lnTo>
                    <a:lnTo>
                      <a:pt x="536" y="533"/>
                    </a:lnTo>
                    <a:lnTo>
                      <a:pt x="537" y="533"/>
                    </a:lnTo>
                    <a:lnTo>
                      <a:pt x="538" y="532"/>
                    </a:lnTo>
                    <a:lnTo>
                      <a:pt x="538" y="531"/>
                    </a:lnTo>
                    <a:lnTo>
                      <a:pt x="539" y="531"/>
                    </a:lnTo>
                    <a:lnTo>
                      <a:pt x="539" y="530"/>
                    </a:lnTo>
                    <a:lnTo>
                      <a:pt x="540" y="530"/>
                    </a:lnTo>
                    <a:lnTo>
                      <a:pt x="540" y="529"/>
                    </a:lnTo>
                    <a:lnTo>
                      <a:pt x="541" y="529"/>
                    </a:lnTo>
                    <a:lnTo>
                      <a:pt x="542" y="528"/>
                    </a:lnTo>
                    <a:lnTo>
                      <a:pt x="543" y="528"/>
                    </a:lnTo>
                    <a:lnTo>
                      <a:pt x="544" y="528"/>
                    </a:lnTo>
                    <a:lnTo>
                      <a:pt x="545" y="528"/>
                    </a:lnTo>
                    <a:lnTo>
                      <a:pt x="546" y="528"/>
                    </a:lnTo>
                    <a:lnTo>
                      <a:pt x="548" y="528"/>
                    </a:lnTo>
                    <a:lnTo>
                      <a:pt x="548" y="527"/>
                    </a:lnTo>
                    <a:lnTo>
                      <a:pt x="549" y="527"/>
                    </a:lnTo>
                    <a:lnTo>
                      <a:pt x="550" y="527"/>
                    </a:lnTo>
                    <a:lnTo>
                      <a:pt x="551" y="527"/>
                    </a:lnTo>
                    <a:lnTo>
                      <a:pt x="551" y="526"/>
                    </a:lnTo>
                    <a:lnTo>
                      <a:pt x="551" y="527"/>
                    </a:lnTo>
                    <a:close/>
                    <a:moveTo>
                      <a:pt x="297" y="251"/>
                    </a:moveTo>
                    <a:lnTo>
                      <a:pt x="298" y="251"/>
                    </a:lnTo>
                    <a:lnTo>
                      <a:pt x="298" y="253"/>
                    </a:lnTo>
                    <a:lnTo>
                      <a:pt x="299" y="254"/>
                    </a:lnTo>
                    <a:lnTo>
                      <a:pt x="300" y="254"/>
                    </a:lnTo>
                    <a:lnTo>
                      <a:pt x="302" y="254"/>
                    </a:lnTo>
                    <a:lnTo>
                      <a:pt x="303" y="254"/>
                    </a:lnTo>
                    <a:lnTo>
                      <a:pt x="304" y="254"/>
                    </a:lnTo>
                    <a:lnTo>
                      <a:pt x="304" y="253"/>
                    </a:lnTo>
                    <a:lnTo>
                      <a:pt x="305" y="253"/>
                    </a:lnTo>
                    <a:lnTo>
                      <a:pt x="306" y="253"/>
                    </a:lnTo>
                    <a:lnTo>
                      <a:pt x="307" y="253"/>
                    </a:lnTo>
                    <a:lnTo>
                      <a:pt x="308" y="253"/>
                    </a:lnTo>
                    <a:lnTo>
                      <a:pt x="309" y="254"/>
                    </a:lnTo>
                    <a:lnTo>
                      <a:pt x="309" y="255"/>
                    </a:lnTo>
                    <a:lnTo>
                      <a:pt x="310" y="255"/>
                    </a:lnTo>
                    <a:lnTo>
                      <a:pt x="311" y="256"/>
                    </a:lnTo>
                    <a:lnTo>
                      <a:pt x="312" y="256"/>
                    </a:lnTo>
                    <a:lnTo>
                      <a:pt x="312" y="257"/>
                    </a:lnTo>
                    <a:lnTo>
                      <a:pt x="311" y="257"/>
                    </a:lnTo>
                    <a:lnTo>
                      <a:pt x="310" y="257"/>
                    </a:lnTo>
                    <a:lnTo>
                      <a:pt x="310" y="256"/>
                    </a:lnTo>
                    <a:lnTo>
                      <a:pt x="309" y="256"/>
                    </a:lnTo>
                    <a:lnTo>
                      <a:pt x="309" y="255"/>
                    </a:lnTo>
                    <a:lnTo>
                      <a:pt x="308" y="255"/>
                    </a:lnTo>
                    <a:lnTo>
                      <a:pt x="307" y="255"/>
                    </a:lnTo>
                    <a:lnTo>
                      <a:pt x="306" y="255"/>
                    </a:lnTo>
                    <a:lnTo>
                      <a:pt x="306" y="256"/>
                    </a:lnTo>
                    <a:lnTo>
                      <a:pt x="307" y="255"/>
                    </a:lnTo>
                    <a:lnTo>
                      <a:pt x="307" y="256"/>
                    </a:lnTo>
                    <a:lnTo>
                      <a:pt x="306" y="256"/>
                    </a:lnTo>
                    <a:lnTo>
                      <a:pt x="305" y="256"/>
                    </a:lnTo>
                    <a:lnTo>
                      <a:pt x="306" y="256"/>
                    </a:lnTo>
                    <a:lnTo>
                      <a:pt x="306" y="255"/>
                    </a:lnTo>
                    <a:lnTo>
                      <a:pt x="305" y="255"/>
                    </a:lnTo>
                    <a:lnTo>
                      <a:pt x="305" y="256"/>
                    </a:lnTo>
                    <a:lnTo>
                      <a:pt x="305" y="257"/>
                    </a:lnTo>
                    <a:lnTo>
                      <a:pt x="305" y="258"/>
                    </a:lnTo>
                    <a:lnTo>
                      <a:pt x="306" y="258"/>
                    </a:lnTo>
                    <a:lnTo>
                      <a:pt x="305" y="258"/>
                    </a:lnTo>
                    <a:lnTo>
                      <a:pt x="306" y="258"/>
                    </a:lnTo>
                    <a:lnTo>
                      <a:pt x="307" y="258"/>
                    </a:lnTo>
                    <a:lnTo>
                      <a:pt x="306" y="259"/>
                    </a:lnTo>
                    <a:lnTo>
                      <a:pt x="305" y="260"/>
                    </a:lnTo>
                    <a:lnTo>
                      <a:pt x="305" y="261"/>
                    </a:lnTo>
                    <a:lnTo>
                      <a:pt x="304" y="261"/>
                    </a:lnTo>
                    <a:lnTo>
                      <a:pt x="304" y="260"/>
                    </a:lnTo>
                    <a:lnTo>
                      <a:pt x="303" y="260"/>
                    </a:lnTo>
                    <a:lnTo>
                      <a:pt x="302" y="261"/>
                    </a:lnTo>
                    <a:lnTo>
                      <a:pt x="300" y="261"/>
                    </a:lnTo>
                    <a:lnTo>
                      <a:pt x="300" y="260"/>
                    </a:lnTo>
                    <a:lnTo>
                      <a:pt x="300" y="259"/>
                    </a:lnTo>
                    <a:lnTo>
                      <a:pt x="300" y="258"/>
                    </a:lnTo>
                    <a:lnTo>
                      <a:pt x="300" y="257"/>
                    </a:lnTo>
                    <a:lnTo>
                      <a:pt x="300" y="256"/>
                    </a:lnTo>
                    <a:lnTo>
                      <a:pt x="299" y="256"/>
                    </a:lnTo>
                    <a:lnTo>
                      <a:pt x="298" y="256"/>
                    </a:lnTo>
                    <a:lnTo>
                      <a:pt x="297" y="256"/>
                    </a:lnTo>
                    <a:lnTo>
                      <a:pt x="296" y="256"/>
                    </a:lnTo>
                    <a:lnTo>
                      <a:pt x="295" y="256"/>
                    </a:lnTo>
                    <a:lnTo>
                      <a:pt x="295" y="257"/>
                    </a:lnTo>
                    <a:lnTo>
                      <a:pt x="294" y="257"/>
                    </a:lnTo>
                    <a:lnTo>
                      <a:pt x="294" y="258"/>
                    </a:lnTo>
                    <a:lnTo>
                      <a:pt x="293" y="258"/>
                    </a:lnTo>
                    <a:lnTo>
                      <a:pt x="293" y="259"/>
                    </a:lnTo>
                    <a:lnTo>
                      <a:pt x="293" y="260"/>
                    </a:lnTo>
                    <a:lnTo>
                      <a:pt x="294" y="260"/>
                    </a:lnTo>
                    <a:lnTo>
                      <a:pt x="295" y="260"/>
                    </a:lnTo>
                    <a:lnTo>
                      <a:pt x="296" y="260"/>
                    </a:lnTo>
                    <a:lnTo>
                      <a:pt x="297" y="260"/>
                    </a:lnTo>
                    <a:lnTo>
                      <a:pt x="298" y="260"/>
                    </a:lnTo>
                    <a:lnTo>
                      <a:pt x="299" y="260"/>
                    </a:lnTo>
                    <a:lnTo>
                      <a:pt x="299" y="261"/>
                    </a:lnTo>
                    <a:lnTo>
                      <a:pt x="299" y="262"/>
                    </a:lnTo>
                    <a:lnTo>
                      <a:pt x="299" y="263"/>
                    </a:lnTo>
                    <a:lnTo>
                      <a:pt x="300" y="263"/>
                    </a:lnTo>
                    <a:lnTo>
                      <a:pt x="300" y="264"/>
                    </a:lnTo>
                    <a:lnTo>
                      <a:pt x="300" y="266"/>
                    </a:lnTo>
                    <a:lnTo>
                      <a:pt x="299" y="267"/>
                    </a:lnTo>
                    <a:lnTo>
                      <a:pt x="297" y="267"/>
                    </a:lnTo>
                    <a:lnTo>
                      <a:pt x="296" y="267"/>
                    </a:lnTo>
                    <a:lnTo>
                      <a:pt x="296" y="268"/>
                    </a:lnTo>
                    <a:lnTo>
                      <a:pt x="296" y="269"/>
                    </a:lnTo>
                    <a:lnTo>
                      <a:pt x="296" y="270"/>
                    </a:lnTo>
                    <a:lnTo>
                      <a:pt x="296" y="271"/>
                    </a:lnTo>
                    <a:lnTo>
                      <a:pt x="297" y="271"/>
                    </a:lnTo>
                    <a:lnTo>
                      <a:pt x="297" y="272"/>
                    </a:lnTo>
                    <a:lnTo>
                      <a:pt x="296" y="272"/>
                    </a:lnTo>
                    <a:lnTo>
                      <a:pt x="296" y="271"/>
                    </a:lnTo>
                    <a:lnTo>
                      <a:pt x="295" y="272"/>
                    </a:lnTo>
                    <a:lnTo>
                      <a:pt x="295" y="273"/>
                    </a:lnTo>
                    <a:lnTo>
                      <a:pt x="294" y="273"/>
                    </a:lnTo>
                    <a:lnTo>
                      <a:pt x="294" y="274"/>
                    </a:lnTo>
                    <a:lnTo>
                      <a:pt x="295" y="274"/>
                    </a:lnTo>
                    <a:lnTo>
                      <a:pt x="295" y="275"/>
                    </a:lnTo>
                    <a:lnTo>
                      <a:pt x="294" y="275"/>
                    </a:lnTo>
                    <a:lnTo>
                      <a:pt x="294" y="274"/>
                    </a:lnTo>
                    <a:lnTo>
                      <a:pt x="294" y="273"/>
                    </a:lnTo>
                    <a:lnTo>
                      <a:pt x="293" y="273"/>
                    </a:lnTo>
                    <a:lnTo>
                      <a:pt x="293" y="274"/>
                    </a:lnTo>
                    <a:lnTo>
                      <a:pt x="293" y="273"/>
                    </a:lnTo>
                    <a:lnTo>
                      <a:pt x="294" y="273"/>
                    </a:lnTo>
                    <a:lnTo>
                      <a:pt x="294" y="274"/>
                    </a:lnTo>
                    <a:lnTo>
                      <a:pt x="293" y="274"/>
                    </a:lnTo>
                    <a:lnTo>
                      <a:pt x="293" y="273"/>
                    </a:lnTo>
                    <a:lnTo>
                      <a:pt x="293" y="272"/>
                    </a:lnTo>
                    <a:lnTo>
                      <a:pt x="293" y="271"/>
                    </a:lnTo>
                    <a:lnTo>
                      <a:pt x="294" y="271"/>
                    </a:lnTo>
                    <a:lnTo>
                      <a:pt x="295" y="271"/>
                    </a:lnTo>
                    <a:lnTo>
                      <a:pt x="295" y="270"/>
                    </a:lnTo>
                    <a:lnTo>
                      <a:pt x="295" y="271"/>
                    </a:lnTo>
                    <a:lnTo>
                      <a:pt x="295" y="270"/>
                    </a:lnTo>
                    <a:lnTo>
                      <a:pt x="294" y="270"/>
                    </a:lnTo>
                    <a:lnTo>
                      <a:pt x="293" y="270"/>
                    </a:lnTo>
                    <a:lnTo>
                      <a:pt x="293" y="271"/>
                    </a:lnTo>
                    <a:lnTo>
                      <a:pt x="293" y="270"/>
                    </a:lnTo>
                    <a:lnTo>
                      <a:pt x="292" y="270"/>
                    </a:lnTo>
                    <a:lnTo>
                      <a:pt x="292" y="269"/>
                    </a:lnTo>
                    <a:lnTo>
                      <a:pt x="293" y="268"/>
                    </a:lnTo>
                    <a:lnTo>
                      <a:pt x="292" y="268"/>
                    </a:lnTo>
                    <a:lnTo>
                      <a:pt x="291" y="269"/>
                    </a:lnTo>
                    <a:lnTo>
                      <a:pt x="291" y="268"/>
                    </a:lnTo>
                    <a:lnTo>
                      <a:pt x="290" y="268"/>
                    </a:lnTo>
                    <a:lnTo>
                      <a:pt x="289" y="268"/>
                    </a:lnTo>
                    <a:lnTo>
                      <a:pt x="289" y="267"/>
                    </a:lnTo>
                    <a:lnTo>
                      <a:pt x="287" y="267"/>
                    </a:lnTo>
                    <a:lnTo>
                      <a:pt x="287" y="266"/>
                    </a:lnTo>
                    <a:lnTo>
                      <a:pt x="289" y="266"/>
                    </a:lnTo>
                    <a:lnTo>
                      <a:pt x="287" y="264"/>
                    </a:lnTo>
                    <a:lnTo>
                      <a:pt x="289" y="264"/>
                    </a:lnTo>
                    <a:lnTo>
                      <a:pt x="287" y="264"/>
                    </a:lnTo>
                    <a:lnTo>
                      <a:pt x="286" y="264"/>
                    </a:lnTo>
                    <a:lnTo>
                      <a:pt x="285" y="264"/>
                    </a:lnTo>
                    <a:lnTo>
                      <a:pt x="284" y="264"/>
                    </a:lnTo>
                    <a:lnTo>
                      <a:pt x="285" y="264"/>
                    </a:lnTo>
                    <a:lnTo>
                      <a:pt x="285" y="263"/>
                    </a:lnTo>
                    <a:lnTo>
                      <a:pt x="285" y="264"/>
                    </a:lnTo>
                    <a:lnTo>
                      <a:pt x="285" y="263"/>
                    </a:lnTo>
                    <a:lnTo>
                      <a:pt x="285" y="264"/>
                    </a:lnTo>
                    <a:lnTo>
                      <a:pt x="285" y="263"/>
                    </a:lnTo>
                    <a:lnTo>
                      <a:pt x="285" y="264"/>
                    </a:lnTo>
                    <a:lnTo>
                      <a:pt x="284" y="264"/>
                    </a:lnTo>
                    <a:lnTo>
                      <a:pt x="284" y="263"/>
                    </a:lnTo>
                    <a:lnTo>
                      <a:pt x="284" y="262"/>
                    </a:lnTo>
                    <a:lnTo>
                      <a:pt x="285" y="262"/>
                    </a:lnTo>
                    <a:lnTo>
                      <a:pt x="285" y="263"/>
                    </a:lnTo>
                    <a:lnTo>
                      <a:pt x="286" y="262"/>
                    </a:lnTo>
                    <a:lnTo>
                      <a:pt x="287" y="262"/>
                    </a:lnTo>
                    <a:lnTo>
                      <a:pt x="289" y="262"/>
                    </a:lnTo>
                    <a:lnTo>
                      <a:pt x="289" y="263"/>
                    </a:lnTo>
                    <a:lnTo>
                      <a:pt x="289" y="262"/>
                    </a:lnTo>
                    <a:lnTo>
                      <a:pt x="290" y="262"/>
                    </a:lnTo>
                    <a:lnTo>
                      <a:pt x="291" y="263"/>
                    </a:lnTo>
                    <a:lnTo>
                      <a:pt x="291" y="262"/>
                    </a:lnTo>
                    <a:lnTo>
                      <a:pt x="290" y="262"/>
                    </a:lnTo>
                    <a:lnTo>
                      <a:pt x="290" y="261"/>
                    </a:lnTo>
                    <a:lnTo>
                      <a:pt x="291" y="261"/>
                    </a:lnTo>
                    <a:lnTo>
                      <a:pt x="291" y="260"/>
                    </a:lnTo>
                    <a:lnTo>
                      <a:pt x="290" y="260"/>
                    </a:lnTo>
                    <a:lnTo>
                      <a:pt x="290" y="259"/>
                    </a:lnTo>
                    <a:lnTo>
                      <a:pt x="289" y="259"/>
                    </a:lnTo>
                    <a:lnTo>
                      <a:pt x="287" y="258"/>
                    </a:lnTo>
                    <a:lnTo>
                      <a:pt x="289" y="258"/>
                    </a:lnTo>
                    <a:lnTo>
                      <a:pt x="290" y="257"/>
                    </a:lnTo>
                    <a:lnTo>
                      <a:pt x="291" y="257"/>
                    </a:lnTo>
                    <a:lnTo>
                      <a:pt x="291" y="256"/>
                    </a:lnTo>
                    <a:lnTo>
                      <a:pt x="292" y="256"/>
                    </a:lnTo>
                    <a:lnTo>
                      <a:pt x="292" y="255"/>
                    </a:lnTo>
                    <a:lnTo>
                      <a:pt x="293" y="254"/>
                    </a:lnTo>
                    <a:lnTo>
                      <a:pt x="294" y="254"/>
                    </a:lnTo>
                    <a:lnTo>
                      <a:pt x="294" y="253"/>
                    </a:lnTo>
                    <a:lnTo>
                      <a:pt x="295" y="253"/>
                    </a:lnTo>
                    <a:lnTo>
                      <a:pt x="296" y="253"/>
                    </a:lnTo>
                    <a:lnTo>
                      <a:pt x="296" y="251"/>
                    </a:lnTo>
                    <a:lnTo>
                      <a:pt x="297" y="251"/>
                    </a:lnTo>
                    <a:close/>
                    <a:moveTo>
                      <a:pt x="490" y="575"/>
                    </a:moveTo>
                    <a:lnTo>
                      <a:pt x="491" y="576"/>
                    </a:lnTo>
                    <a:lnTo>
                      <a:pt x="491" y="577"/>
                    </a:lnTo>
                    <a:lnTo>
                      <a:pt x="490" y="576"/>
                    </a:lnTo>
                    <a:lnTo>
                      <a:pt x="490" y="575"/>
                    </a:lnTo>
                    <a:lnTo>
                      <a:pt x="490" y="576"/>
                    </a:lnTo>
                    <a:lnTo>
                      <a:pt x="489" y="576"/>
                    </a:lnTo>
                    <a:lnTo>
                      <a:pt x="489" y="575"/>
                    </a:lnTo>
                    <a:lnTo>
                      <a:pt x="490" y="575"/>
                    </a:lnTo>
                    <a:lnTo>
                      <a:pt x="489" y="575"/>
                    </a:lnTo>
                    <a:lnTo>
                      <a:pt x="489" y="576"/>
                    </a:lnTo>
                    <a:lnTo>
                      <a:pt x="488" y="576"/>
                    </a:lnTo>
                    <a:lnTo>
                      <a:pt x="488" y="577"/>
                    </a:lnTo>
                    <a:lnTo>
                      <a:pt x="487" y="579"/>
                    </a:lnTo>
                    <a:lnTo>
                      <a:pt x="486" y="579"/>
                    </a:lnTo>
                    <a:lnTo>
                      <a:pt x="487" y="580"/>
                    </a:lnTo>
                    <a:lnTo>
                      <a:pt x="486" y="581"/>
                    </a:lnTo>
                    <a:lnTo>
                      <a:pt x="485" y="581"/>
                    </a:lnTo>
                    <a:lnTo>
                      <a:pt x="485" y="582"/>
                    </a:lnTo>
                    <a:lnTo>
                      <a:pt x="484" y="583"/>
                    </a:lnTo>
                    <a:lnTo>
                      <a:pt x="483" y="583"/>
                    </a:lnTo>
                    <a:lnTo>
                      <a:pt x="484" y="584"/>
                    </a:lnTo>
                    <a:lnTo>
                      <a:pt x="483" y="584"/>
                    </a:lnTo>
                    <a:lnTo>
                      <a:pt x="481" y="585"/>
                    </a:lnTo>
                    <a:lnTo>
                      <a:pt x="481" y="586"/>
                    </a:lnTo>
                    <a:lnTo>
                      <a:pt x="481" y="585"/>
                    </a:lnTo>
                    <a:lnTo>
                      <a:pt x="480" y="585"/>
                    </a:lnTo>
                    <a:lnTo>
                      <a:pt x="480" y="586"/>
                    </a:lnTo>
                    <a:lnTo>
                      <a:pt x="481" y="586"/>
                    </a:lnTo>
                    <a:lnTo>
                      <a:pt x="480" y="586"/>
                    </a:lnTo>
                    <a:lnTo>
                      <a:pt x="479" y="588"/>
                    </a:lnTo>
                    <a:lnTo>
                      <a:pt x="478" y="588"/>
                    </a:lnTo>
                    <a:lnTo>
                      <a:pt x="479" y="589"/>
                    </a:lnTo>
                    <a:lnTo>
                      <a:pt x="478" y="589"/>
                    </a:lnTo>
                    <a:lnTo>
                      <a:pt x="478" y="590"/>
                    </a:lnTo>
                    <a:lnTo>
                      <a:pt x="477" y="590"/>
                    </a:lnTo>
                    <a:lnTo>
                      <a:pt x="476" y="590"/>
                    </a:lnTo>
                    <a:lnTo>
                      <a:pt x="476" y="591"/>
                    </a:lnTo>
                    <a:lnTo>
                      <a:pt x="475" y="591"/>
                    </a:lnTo>
                    <a:lnTo>
                      <a:pt x="475" y="592"/>
                    </a:lnTo>
                    <a:lnTo>
                      <a:pt x="474" y="592"/>
                    </a:lnTo>
                    <a:lnTo>
                      <a:pt x="474" y="593"/>
                    </a:lnTo>
                    <a:lnTo>
                      <a:pt x="474" y="594"/>
                    </a:lnTo>
                    <a:lnTo>
                      <a:pt x="474" y="593"/>
                    </a:lnTo>
                    <a:lnTo>
                      <a:pt x="473" y="593"/>
                    </a:lnTo>
                    <a:lnTo>
                      <a:pt x="473" y="594"/>
                    </a:lnTo>
                    <a:lnTo>
                      <a:pt x="474" y="594"/>
                    </a:lnTo>
                    <a:lnTo>
                      <a:pt x="473" y="594"/>
                    </a:lnTo>
                    <a:lnTo>
                      <a:pt x="473" y="595"/>
                    </a:lnTo>
                    <a:lnTo>
                      <a:pt x="472" y="595"/>
                    </a:lnTo>
                    <a:lnTo>
                      <a:pt x="473" y="595"/>
                    </a:lnTo>
                    <a:lnTo>
                      <a:pt x="473" y="596"/>
                    </a:lnTo>
                    <a:lnTo>
                      <a:pt x="472" y="595"/>
                    </a:lnTo>
                    <a:lnTo>
                      <a:pt x="472" y="596"/>
                    </a:lnTo>
                    <a:lnTo>
                      <a:pt x="472" y="597"/>
                    </a:lnTo>
                    <a:lnTo>
                      <a:pt x="471" y="598"/>
                    </a:lnTo>
                    <a:lnTo>
                      <a:pt x="471" y="600"/>
                    </a:lnTo>
                    <a:lnTo>
                      <a:pt x="470" y="600"/>
                    </a:lnTo>
                    <a:lnTo>
                      <a:pt x="470" y="601"/>
                    </a:lnTo>
                    <a:lnTo>
                      <a:pt x="468" y="601"/>
                    </a:lnTo>
                    <a:lnTo>
                      <a:pt x="470" y="601"/>
                    </a:lnTo>
                    <a:lnTo>
                      <a:pt x="470" y="602"/>
                    </a:lnTo>
                    <a:lnTo>
                      <a:pt x="468" y="602"/>
                    </a:lnTo>
                    <a:lnTo>
                      <a:pt x="468" y="603"/>
                    </a:lnTo>
                    <a:lnTo>
                      <a:pt x="468" y="604"/>
                    </a:lnTo>
                    <a:lnTo>
                      <a:pt x="468" y="603"/>
                    </a:lnTo>
                    <a:lnTo>
                      <a:pt x="467" y="603"/>
                    </a:lnTo>
                    <a:lnTo>
                      <a:pt x="467" y="604"/>
                    </a:lnTo>
                    <a:lnTo>
                      <a:pt x="468" y="604"/>
                    </a:lnTo>
                    <a:lnTo>
                      <a:pt x="468" y="605"/>
                    </a:lnTo>
                    <a:lnTo>
                      <a:pt x="467" y="605"/>
                    </a:lnTo>
                    <a:lnTo>
                      <a:pt x="468" y="605"/>
                    </a:lnTo>
                    <a:lnTo>
                      <a:pt x="467" y="605"/>
                    </a:lnTo>
                    <a:lnTo>
                      <a:pt x="468" y="605"/>
                    </a:lnTo>
                    <a:lnTo>
                      <a:pt x="467" y="605"/>
                    </a:lnTo>
                    <a:lnTo>
                      <a:pt x="467" y="604"/>
                    </a:lnTo>
                    <a:lnTo>
                      <a:pt x="467" y="605"/>
                    </a:lnTo>
                    <a:lnTo>
                      <a:pt x="467" y="606"/>
                    </a:lnTo>
                    <a:lnTo>
                      <a:pt x="467" y="605"/>
                    </a:lnTo>
                    <a:lnTo>
                      <a:pt x="466" y="605"/>
                    </a:lnTo>
                    <a:lnTo>
                      <a:pt x="466" y="606"/>
                    </a:lnTo>
                    <a:lnTo>
                      <a:pt x="466" y="607"/>
                    </a:lnTo>
                    <a:lnTo>
                      <a:pt x="465" y="607"/>
                    </a:lnTo>
                    <a:lnTo>
                      <a:pt x="465" y="608"/>
                    </a:lnTo>
                    <a:lnTo>
                      <a:pt x="465" y="607"/>
                    </a:lnTo>
                    <a:lnTo>
                      <a:pt x="465" y="608"/>
                    </a:lnTo>
                    <a:lnTo>
                      <a:pt x="464" y="608"/>
                    </a:lnTo>
                    <a:lnTo>
                      <a:pt x="464" y="609"/>
                    </a:lnTo>
                    <a:lnTo>
                      <a:pt x="463" y="609"/>
                    </a:lnTo>
                    <a:lnTo>
                      <a:pt x="462" y="610"/>
                    </a:lnTo>
                    <a:lnTo>
                      <a:pt x="461" y="611"/>
                    </a:lnTo>
                    <a:lnTo>
                      <a:pt x="461" y="613"/>
                    </a:lnTo>
                    <a:lnTo>
                      <a:pt x="460" y="613"/>
                    </a:lnTo>
                    <a:lnTo>
                      <a:pt x="460" y="614"/>
                    </a:lnTo>
                    <a:lnTo>
                      <a:pt x="459" y="615"/>
                    </a:lnTo>
                    <a:lnTo>
                      <a:pt x="459" y="616"/>
                    </a:lnTo>
                    <a:lnTo>
                      <a:pt x="458" y="616"/>
                    </a:lnTo>
                    <a:lnTo>
                      <a:pt x="458" y="617"/>
                    </a:lnTo>
                    <a:lnTo>
                      <a:pt x="458" y="618"/>
                    </a:lnTo>
                    <a:lnTo>
                      <a:pt x="458" y="619"/>
                    </a:lnTo>
                    <a:lnTo>
                      <a:pt x="457" y="619"/>
                    </a:lnTo>
                    <a:lnTo>
                      <a:pt x="457" y="620"/>
                    </a:lnTo>
                    <a:lnTo>
                      <a:pt x="455" y="620"/>
                    </a:lnTo>
                    <a:lnTo>
                      <a:pt x="455" y="621"/>
                    </a:lnTo>
                    <a:lnTo>
                      <a:pt x="455" y="622"/>
                    </a:lnTo>
                    <a:lnTo>
                      <a:pt x="454" y="622"/>
                    </a:lnTo>
                    <a:lnTo>
                      <a:pt x="454" y="623"/>
                    </a:lnTo>
                    <a:lnTo>
                      <a:pt x="454" y="624"/>
                    </a:lnTo>
                    <a:lnTo>
                      <a:pt x="453" y="626"/>
                    </a:lnTo>
                    <a:lnTo>
                      <a:pt x="453" y="627"/>
                    </a:lnTo>
                    <a:lnTo>
                      <a:pt x="452" y="627"/>
                    </a:lnTo>
                    <a:lnTo>
                      <a:pt x="451" y="627"/>
                    </a:lnTo>
                    <a:lnTo>
                      <a:pt x="451" y="628"/>
                    </a:lnTo>
                    <a:lnTo>
                      <a:pt x="452" y="628"/>
                    </a:lnTo>
                    <a:lnTo>
                      <a:pt x="451" y="630"/>
                    </a:lnTo>
                    <a:lnTo>
                      <a:pt x="450" y="632"/>
                    </a:lnTo>
                    <a:lnTo>
                      <a:pt x="449" y="634"/>
                    </a:lnTo>
                    <a:lnTo>
                      <a:pt x="448" y="635"/>
                    </a:lnTo>
                    <a:lnTo>
                      <a:pt x="448" y="636"/>
                    </a:lnTo>
                    <a:lnTo>
                      <a:pt x="447" y="636"/>
                    </a:lnTo>
                    <a:lnTo>
                      <a:pt x="446" y="636"/>
                    </a:lnTo>
                    <a:lnTo>
                      <a:pt x="446" y="637"/>
                    </a:lnTo>
                    <a:lnTo>
                      <a:pt x="446" y="636"/>
                    </a:lnTo>
                    <a:lnTo>
                      <a:pt x="446" y="635"/>
                    </a:lnTo>
                    <a:lnTo>
                      <a:pt x="446" y="636"/>
                    </a:lnTo>
                    <a:lnTo>
                      <a:pt x="446" y="637"/>
                    </a:lnTo>
                    <a:lnTo>
                      <a:pt x="445" y="637"/>
                    </a:lnTo>
                    <a:lnTo>
                      <a:pt x="446" y="637"/>
                    </a:lnTo>
                    <a:lnTo>
                      <a:pt x="445" y="637"/>
                    </a:lnTo>
                    <a:lnTo>
                      <a:pt x="445" y="639"/>
                    </a:lnTo>
                    <a:lnTo>
                      <a:pt x="446" y="639"/>
                    </a:lnTo>
                    <a:lnTo>
                      <a:pt x="445" y="639"/>
                    </a:lnTo>
                    <a:lnTo>
                      <a:pt x="445" y="640"/>
                    </a:lnTo>
                    <a:lnTo>
                      <a:pt x="444" y="641"/>
                    </a:lnTo>
                    <a:lnTo>
                      <a:pt x="442" y="642"/>
                    </a:lnTo>
                    <a:lnTo>
                      <a:pt x="441" y="642"/>
                    </a:lnTo>
                    <a:lnTo>
                      <a:pt x="440" y="642"/>
                    </a:lnTo>
                    <a:lnTo>
                      <a:pt x="440" y="643"/>
                    </a:lnTo>
                    <a:lnTo>
                      <a:pt x="441" y="643"/>
                    </a:lnTo>
                    <a:lnTo>
                      <a:pt x="440" y="643"/>
                    </a:lnTo>
                    <a:lnTo>
                      <a:pt x="440" y="644"/>
                    </a:lnTo>
                    <a:lnTo>
                      <a:pt x="440" y="643"/>
                    </a:lnTo>
                    <a:lnTo>
                      <a:pt x="440" y="644"/>
                    </a:lnTo>
                    <a:lnTo>
                      <a:pt x="440" y="645"/>
                    </a:lnTo>
                    <a:lnTo>
                      <a:pt x="439" y="645"/>
                    </a:lnTo>
                    <a:lnTo>
                      <a:pt x="438" y="646"/>
                    </a:lnTo>
                    <a:lnTo>
                      <a:pt x="437" y="647"/>
                    </a:lnTo>
                    <a:lnTo>
                      <a:pt x="437" y="648"/>
                    </a:lnTo>
                    <a:lnTo>
                      <a:pt x="436" y="648"/>
                    </a:lnTo>
                    <a:lnTo>
                      <a:pt x="436" y="649"/>
                    </a:lnTo>
                    <a:lnTo>
                      <a:pt x="436" y="648"/>
                    </a:lnTo>
                    <a:lnTo>
                      <a:pt x="435" y="649"/>
                    </a:lnTo>
                    <a:lnTo>
                      <a:pt x="436" y="649"/>
                    </a:lnTo>
                    <a:lnTo>
                      <a:pt x="435" y="649"/>
                    </a:lnTo>
                    <a:lnTo>
                      <a:pt x="435" y="650"/>
                    </a:lnTo>
                    <a:lnTo>
                      <a:pt x="435" y="652"/>
                    </a:lnTo>
                    <a:lnTo>
                      <a:pt x="434" y="652"/>
                    </a:lnTo>
                    <a:lnTo>
                      <a:pt x="434" y="653"/>
                    </a:lnTo>
                    <a:lnTo>
                      <a:pt x="433" y="652"/>
                    </a:lnTo>
                    <a:lnTo>
                      <a:pt x="433" y="653"/>
                    </a:lnTo>
                    <a:lnTo>
                      <a:pt x="434" y="653"/>
                    </a:lnTo>
                    <a:lnTo>
                      <a:pt x="433" y="654"/>
                    </a:lnTo>
                    <a:lnTo>
                      <a:pt x="432" y="654"/>
                    </a:lnTo>
                    <a:lnTo>
                      <a:pt x="432" y="655"/>
                    </a:lnTo>
                    <a:lnTo>
                      <a:pt x="431" y="656"/>
                    </a:lnTo>
                    <a:lnTo>
                      <a:pt x="431" y="655"/>
                    </a:lnTo>
                    <a:lnTo>
                      <a:pt x="431" y="654"/>
                    </a:lnTo>
                    <a:lnTo>
                      <a:pt x="431" y="653"/>
                    </a:lnTo>
                    <a:lnTo>
                      <a:pt x="432" y="652"/>
                    </a:lnTo>
                    <a:lnTo>
                      <a:pt x="432" y="650"/>
                    </a:lnTo>
                    <a:lnTo>
                      <a:pt x="433" y="650"/>
                    </a:lnTo>
                    <a:lnTo>
                      <a:pt x="433" y="649"/>
                    </a:lnTo>
                    <a:lnTo>
                      <a:pt x="434" y="648"/>
                    </a:lnTo>
                    <a:lnTo>
                      <a:pt x="435" y="647"/>
                    </a:lnTo>
                    <a:lnTo>
                      <a:pt x="435" y="646"/>
                    </a:lnTo>
                    <a:lnTo>
                      <a:pt x="436" y="646"/>
                    </a:lnTo>
                    <a:lnTo>
                      <a:pt x="436" y="645"/>
                    </a:lnTo>
                    <a:lnTo>
                      <a:pt x="437" y="645"/>
                    </a:lnTo>
                    <a:lnTo>
                      <a:pt x="437" y="644"/>
                    </a:lnTo>
                    <a:lnTo>
                      <a:pt x="438" y="644"/>
                    </a:lnTo>
                    <a:lnTo>
                      <a:pt x="438" y="643"/>
                    </a:lnTo>
                    <a:lnTo>
                      <a:pt x="439" y="642"/>
                    </a:lnTo>
                    <a:lnTo>
                      <a:pt x="439" y="641"/>
                    </a:lnTo>
                    <a:lnTo>
                      <a:pt x="440" y="641"/>
                    </a:lnTo>
                    <a:lnTo>
                      <a:pt x="440" y="640"/>
                    </a:lnTo>
                    <a:lnTo>
                      <a:pt x="441" y="639"/>
                    </a:lnTo>
                    <a:lnTo>
                      <a:pt x="442" y="636"/>
                    </a:lnTo>
                    <a:lnTo>
                      <a:pt x="444" y="635"/>
                    </a:lnTo>
                    <a:lnTo>
                      <a:pt x="445" y="634"/>
                    </a:lnTo>
                    <a:lnTo>
                      <a:pt x="446" y="632"/>
                    </a:lnTo>
                    <a:lnTo>
                      <a:pt x="447" y="631"/>
                    </a:lnTo>
                    <a:lnTo>
                      <a:pt x="447" y="630"/>
                    </a:lnTo>
                    <a:lnTo>
                      <a:pt x="448" y="630"/>
                    </a:lnTo>
                    <a:lnTo>
                      <a:pt x="448" y="629"/>
                    </a:lnTo>
                    <a:lnTo>
                      <a:pt x="449" y="628"/>
                    </a:lnTo>
                    <a:lnTo>
                      <a:pt x="449" y="627"/>
                    </a:lnTo>
                    <a:lnTo>
                      <a:pt x="450" y="627"/>
                    </a:lnTo>
                    <a:lnTo>
                      <a:pt x="450" y="626"/>
                    </a:lnTo>
                    <a:lnTo>
                      <a:pt x="451" y="626"/>
                    </a:lnTo>
                    <a:lnTo>
                      <a:pt x="451" y="624"/>
                    </a:lnTo>
                    <a:lnTo>
                      <a:pt x="451" y="623"/>
                    </a:lnTo>
                    <a:lnTo>
                      <a:pt x="452" y="623"/>
                    </a:lnTo>
                    <a:lnTo>
                      <a:pt x="452" y="622"/>
                    </a:lnTo>
                    <a:lnTo>
                      <a:pt x="453" y="621"/>
                    </a:lnTo>
                    <a:lnTo>
                      <a:pt x="453" y="620"/>
                    </a:lnTo>
                    <a:lnTo>
                      <a:pt x="454" y="620"/>
                    </a:lnTo>
                    <a:lnTo>
                      <a:pt x="455" y="618"/>
                    </a:lnTo>
                    <a:lnTo>
                      <a:pt x="455" y="617"/>
                    </a:lnTo>
                    <a:lnTo>
                      <a:pt x="457" y="616"/>
                    </a:lnTo>
                    <a:lnTo>
                      <a:pt x="458" y="615"/>
                    </a:lnTo>
                    <a:lnTo>
                      <a:pt x="459" y="614"/>
                    </a:lnTo>
                    <a:lnTo>
                      <a:pt x="459" y="613"/>
                    </a:lnTo>
                    <a:lnTo>
                      <a:pt x="460" y="613"/>
                    </a:lnTo>
                    <a:lnTo>
                      <a:pt x="460" y="611"/>
                    </a:lnTo>
                    <a:lnTo>
                      <a:pt x="461" y="611"/>
                    </a:lnTo>
                    <a:lnTo>
                      <a:pt x="461" y="610"/>
                    </a:lnTo>
                    <a:lnTo>
                      <a:pt x="461" y="609"/>
                    </a:lnTo>
                    <a:lnTo>
                      <a:pt x="462" y="609"/>
                    </a:lnTo>
                    <a:lnTo>
                      <a:pt x="462" y="608"/>
                    </a:lnTo>
                    <a:lnTo>
                      <a:pt x="463" y="608"/>
                    </a:lnTo>
                    <a:lnTo>
                      <a:pt x="463" y="607"/>
                    </a:lnTo>
                    <a:lnTo>
                      <a:pt x="464" y="607"/>
                    </a:lnTo>
                    <a:lnTo>
                      <a:pt x="464" y="606"/>
                    </a:lnTo>
                    <a:lnTo>
                      <a:pt x="465" y="605"/>
                    </a:lnTo>
                    <a:lnTo>
                      <a:pt x="465" y="604"/>
                    </a:lnTo>
                    <a:lnTo>
                      <a:pt x="466" y="603"/>
                    </a:lnTo>
                    <a:lnTo>
                      <a:pt x="467" y="602"/>
                    </a:lnTo>
                    <a:lnTo>
                      <a:pt x="467" y="601"/>
                    </a:lnTo>
                    <a:lnTo>
                      <a:pt x="468" y="600"/>
                    </a:lnTo>
                    <a:lnTo>
                      <a:pt x="468" y="598"/>
                    </a:lnTo>
                    <a:lnTo>
                      <a:pt x="470" y="597"/>
                    </a:lnTo>
                    <a:lnTo>
                      <a:pt x="470" y="596"/>
                    </a:lnTo>
                    <a:lnTo>
                      <a:pt x="471" y="596"/>
                    </a:lnTo>
                    <a:lnTo>
                      <a:pt x="471" y="594"/>
                    </a:lnTo>
                    <a:lnTo>
                      <a:pt x="472" y="594"/>
                    </a:lnTo>
                    <a:lnTo>
                      <a:pt x="472" y="593"/>
                    </a:lnTo>
                    <a:lnTo>
                      <a:pt x="473" y="592"/>
                    </a:lnTo>
                    <a:lnTo>
                      <a:pt x="474" y="591"/>
                    </a:lnTo>
                    <a:lnTo>
                      <a:pt x="474" y="590"/>
                    </a:lnTo>
                    <a:lnTo>
                      <a:pt x="475" y="590"/>
                    </a:lnTo>
                    <a:lnTo>
                      <a:pt x="475" y="589"/>
                    </a:lnTo>
                    <a:lnTo>
                      <a:pt x="477" y="588"/>
                    </a:lnTo>
                    <a:lnTo>
                      <a:pt x="478" y="586"/>
                    </a:lnTo>
                    <a:lnTo>
                      <a:pt x="479" y="585"/>
                    </a:lnTo>
                    <a:lnTo>
                      <a:pt x="480" y="585"/>
                    </a:lnTo>
                    <a:lnTo>
                      <a:pt x="480" y="584"/>
                    </a:lnTo>
                    <a:lnTo>
                      <a:pt x="481" y="583"/>
                    </a:lnTo>
                    <a:lnTo>
                      <a:pt x="483" y="582"/>
                    </a:lnTo>
                    <a:lnTo>
                      <a:pt x="484" y="580"/>
                    </a:lnTo>
                    <a:lnTo>
                      <a:pt x="485" y="579"/>
                    </a:lnTo>
                    <a:lnTo>
                      <a:pt x="486" y="578"/>
                    </a:lnTo>
                    <a:lnTo>
                      <a:pt x="486" y="577"/>
                    </a:lnTo>
                    <a:lnTo>
                      <a:pt x="487" y="577"/>
                    </a:lnTo>
                    <a:lnTo>
                      <a:pt x="487" y="576"/>
                    </a:lnTo>
                    <a:lnTo>
                      <a:pt x="487" y="575"/>
                    </a:lnTo>
                    <a:lnTo>
                      <a:pt x="488" y="575"/>
                    </a:lnTo>
                    <a:lnTo>
                      <a:pt x="488" y="573"/>
                    </a:lnTo>
                    <a:lnTo>
                      <a:pt x="489" y="573"/>
                    </a:lnTo>
                    <a:lnTo>
                      <a:pt x="489" y="575"/>
                    </a:lnTo>
                    <a:lnTo>
                      <a:pt x="490" y="575"/>
                    </a:lnTo>
                    <a:close/>
                    <a:moveTo>
                      <a:pt x="560" y="453"/>
                    </a:moveTo>
                    <a:lnTo>
                      <a:pt x="558" y="453"/>
                    </a:lnTo>
                    <a:lnTo>
                      <a:pt x="558" y="454"/>
                    </a:lnTo>
                    <a:lnTo>
                      <a:pt x="558" y="455"/>
                    </a:lnTo>
                    <a:lnTo>
                      <a:pt x="558" y="456"/>
                    </a:lnTo>
                    <a:lnTo>
                      <a:pt x="560" y="456"/>
                    </a:lnTo>
                    <a:lnTo>
                      <a:pt x="558" y="457"/>
                    </a:lnTo>
                    <a:lnTo>
                      <a:pt x="557" y="457"/>
                    </a:lnTo>
                    <a:lnTo>
                      <a:pt x="556" y="457"/>
                    </a:lnTo>
                    <a:lnTo>
                      <a:pt x="555" y="456"/>
                    </a:lnTo>
                    <a:lnTo>
                      <a:pt x="555" y="457"/>
                    </a:lnTo>
                    <a:lnTo>
                      <a:pt x="555" y="459"/>
                    </a:lnTo>
                    <a:lnTo>
                      <a:pt x="556" y="459"/>
                    </a:lnTo>
                    <a:lnTo>
                      <a:pt x="555" y="459"/>
                    </a:lnTo>
                    <a:lnTo>
                      <a:pt x="556" y="460"/>
                    </a:lnTo>
                    <a:lnTo>
                      <a:pt x="557" y="460"/>
                    </a:lnTo>
                    <a:lnTo>
                      <a:pt x="558" y="460"/>
                    </a:lnTo>
                    <a:lnTo>
                      <a:pt x="558" y="461"/>
                    </a:lnTo>
                    <a:lnTo>
                      <a:pt x="558" y="460"/>
                    </a:lnTo>
                    <a:lnTo>
                      <a:pt x="560" y="460"/>
                    </a:lnTo>
                    <a:lnTo>
                      <a:pt x="560" y="459"/>
                    </a:lnTo>
                    <a:lnTo>
                      <a:pt x="561" y="459"/>
                    </a:lnTo>
                    <a:lnTo>
                      <a:pt x="561" y="457"/>
                    </a:lnTo>
                    <a:lnTo>
                      <a:pt x="560" y="457"/>
                    </a:lnTo>
                    <a:lnTo>
                      <a:pt x="560" y="456"/>
                    </a:lnTo>
                    <a:lnTo>
                      <a:pt x="561" y="456"/>
                    </a:lnTo>
                    <a:lnTo>
                      <a:pt x="560" y="456"/>
                    </a:lnTo>
                    <a:lnTo>
                      <a:pt x="561" y="456"/>
                    </a:lnTo>
                    <a:lnTo>
                      <a:pt x="562" y="456"/>
                    </a:lnTo>
                    <a:lnTo>
                      <a:pt x="563" y="456"/>
                    </a:lnTo>
                    <a:lnTo>
                      <a:pt x="563" y="455"/>
                    </a:lnTo>
                    <a:lnTo>
                      <a:pt x="563" y="456"/>
                    </a:lnTo>
                    <a:lnTo>
                      <a:pt x="564" y="456"/>
                    </a:lnTo>
                    <a:lnTo>
                      <a:pt x="565" y="455"/>
                    </a:lnTo>
                    <a:lnTo>
                      <a:pt x="566" y="455"/>
                    </a:lnTo>
                    <a:lnTo>
                      <a:pt x="565" y="455"/>
                    </a:lnTo>
                    <a:lnTo>
                      <a:pt x="565" y="456"/>
                    </a:lnTo>
                    <a:lnTo>
                      <a:pt x="566" y="456"/>
                    </a:lnTo>
                    <a:lnTo>
                      <a:pt x="566" y="455"/>
                    </a:lnTo>
                    <a:lnTo>
                      <a:pt x="566" y="456"/>
                    </a:lnTo>
                    <a:lnTo>
                      <a:pt x="567" y="456"/>
                    </a:lnTo>
                    <a:lnTo>
                      <a:pt x="567" y="455"/>
                    </a:lnTo>
                    <a:lnTo>
                      <a:pt x="568" y="456"/>
                    </a:lnTo>
                    <a:lnTo>
                      <a:pt x="568" y="455"/>
                    </a:lnTo>
                    <a:lnTo>
                      <a:pt x="569" y="455"/>
                    </a:lnTo>
                    <a:lnTo>
                      <a:pt x="569" y="456"/>
                    </a:lnTo>
                    <a:lnTo>
                      <a:pt x="568" y="456"/>
                    </a:lnTo>
                    <a:lnTo>
                      <a:pt x="567" y="456"/>
                    </a:lnTo>
                    <a:lnTo>
                      <a:pt x="566" y="456"/>
                    </a:lnTo>
                    <a:lnTo>
                      <a:pt x="565" y="457"/>
                    </a:lnTo>
                    <a:lnTo>
                      <a:pt x="563" y="457"/>
                    </a:lnTo>
                    <a:lnTo>
                      <a:pt x="562" y="457"/>
                    </a:lnTo>
                    <a:lnTo>
                      <a:pt x="561" y="459"/>
                    </a:lnTo>
                    <a:lnTo>
                      <a:pt x="560" y="460"/>
                    </a:lnTo>
                    <a:lnTo>
                      <a:pt x="560" y="461"/>
                    </a:lnTo>
                    <a:lnTo>
                      <a:pt x="560" y="460"/>
                    </a:lnTo>
                    <a:lnTo>
                      <a:pt x="561" y="460"/>
                    </a:lnTo>
                    <a:lnTo>
                      <a:pt x="561" y="459"/>
                    </a:lnTo>
                    <a:lnTo>
                      <a:pt x="562" y="459"/>
                    </a:lnTo>
                    <a:lnTo>
                      <a:pt x="563" y="457"/>
                    </a:lnTo>
                    <a:lnTo>
                      <a:pt x="564" y="457"/>
                    </a:lnTo>
                    <a:lnTo>
                      <a:pt x="565" y="457"/>
                    </a:lnTo>
                    <a:lnTo>
                      <a:pt x="564" y="457"/>
                    </a:lnTo>
                    <a:lnTo>
                      <a:pt x="565" y="457"/>
                    </a:lnTo>
                    <a:lnTo>
                      <a:pt x="565" y="459"/>
                    </a:lnTo>
                    <a:lnTo>
                      <a:pt x="565" y="457"/>
                    </a:lnTo>
                    <a:lnTo>
                      <a:pt x="564" y="457"/>
                    </a:lnTo>
                    <a:lnTo>
                      <a:pt x="564" y="459"/>
                    </a:lnTo>
                    <a:lnTo>
                      <a:pt x="563" y="459"/>
                    </a:lnTo>
                    <a:lnTo>
                      <a:pt x="562" y="459"/>
                    </a:lnTo>
                    <a:lnTo>
                      <a:pt x="561" y="460"/>
                    </a:lnTo>
                    <a:lnTo>
                      <a:pt x="560" y="461"/>
                    </a:lnTo>
                    <a:lnTo>
                      <a:pt x="561" y="461"/>
                    </a:lnTo>
                    <a:lnTo>
                      <a:pt x="561" y="462"/>
                    </a:lnTo>
                    <a:lnTo>
                      <a:pt x="562" y="462"/>
                    </a:lnTo>
                    <a:lnTo>
                      <a:pt x="562" y="463"/>
                    </a:lnTo>
                    <a:lnTo>
                      <a:pt x="561" y="463"/>
                    </a:lnTo>
                    <a:lnTo>
                      <a:pt x="561" y="462"/>
                    </a:lnTo>
                    <a:lnTo>
                      <a:pt x="561" y="463"/>
                    </a:lnTo>
                    <a:lnTo>
                      <a:pt x="562" y="463"/>
                    </a:lnTo>
                    <a:lnTo>
                      <a:pt x="562" y="462"/>
                    </a:lnTo>
                    <a:lnTo>
                      <a:pt x="563" y="462"/>
                    </a:lnTo>
                    <a:lnTo>
                      <a:pt x="564" y="462"/>
                    </a:lnTo>
                    <a:lnTo>
                      <a:pt x="564" y="463"/>
                    </a:lnTo>
                    <a:lnTo>
                      <a:pt x="565" y="463"/>
                    </a:lnTo>
                    <a:lnTo>
                      <a:pt x="565" y="462"/>
                    </a:lnTo>
                    <a:lnTo>
                      <a:pt x="565" y="463"/>
                    </a:lnTo>
                    <a:lnTo>
                      <a:pt x="566" y="463"/>
                    </a:lnTo>
                    <a:lnTo>
                      <a:pt x="566" y="462"/>
                    </a:lnTo>
                    <a:lnTo>
                      <a:pt x="567" y="462"/>
                    </a:lnTo>
                    <a:lnTo>
                      <a:pt x="568" y="462"/>
                    </a:lnTo>
                    <a:lnTo>
                      <a:pt x="568" y="461"/>
                    </a:lnTo>
                    <a:lnTo>
                      <a:pt x="568" y="462"/>
                    </a:lnTo>
                    <a:lnTo>
                      <a:pt x="568" y="463"/>
                    </a:lnTo>
                    <a:lnTo>
                      <a:pt x="567" y="463"/>
                    </a:lnTo>
                    <a:lnTo>
                      <a:pt x="565" y="464"/>
                    </a:lnTo>
                    <a:lnTo>
                      <a:pt x="564" y="464"/>
                    </a:lnTo>
                    <a:lnTo>
                      <a:pt x="563" y="464"/>
                    </a:lnTo>
                    <a:lnTo>
                      <a:pt x="562" y="464"/>
                    </a:lnTo>
                    <a:lnTo>
                      <a:pt x="562" y="465"/>
                    </a:lnTo>
                    <a:lnTo>
                      <a:pt x="561" y="465"/>
                    </a:lnTo>
                    <a:lnTo>
                      <a:pt x="560" y="466"/>
                    </a:lnTo>
                    <a:lnTo>
                      <a:pt x="558" y="467"/>
                    </a:lnTo>
                    <a:lnTo>
                      <a:pt x="557" y="468"/>
                    </a:lnTo>
                    <a:lnTo>
                      <a:pt x="556" y="468"/>
                    </a:lnTo>
                    <a:lnTo>
                      <a:pt x="556" y="469"/>
                    </a:lnTo>
                    <a:lnTo>
                      <a:pt x="555" y="470"/>
                    </a:lnTo>
                    <a:lnTo>
                      <a:pt x="554" y="470"/>
                    </a:lnTo>
                    <a:lnTo>
                      <a:pt x="553" y="470"/>
                    </a:lnTo>
                    <a:lnTo>
                      <a:pt x="552" y="470"/>
                    </a:lnTo>
                    <a:lnTo>
                      <a:pt x="551" y="470"/>
                    </a:lnTo>
                    <a:lnTo>
                      <a:pt x="550" y="470"/>
                    </a:lnTo>
                    <a:lnTo>
                      <a:pt x="549" y="470"/>
                    </a:lnTo>
                    <a:lnTo>
                      <a:pt x="549" y="469"/>
                    </a:lnTo>
                    <a:lnTo>
                      <a:pt x="548" y="469"/>
                    </a:lnTo>
                    <a:lnTo>
                      <a:pt x="546" y="469"/>
                    </a:lnTo>
                    <a:lnTo>
                      <a:pt x="546" y="468"/>
                    </a:lnTo>
                    <a:lnTo>
                      <a:pt x="548" y="467"/>
                    </a:lnTo>
                    <a:lnTo>
                      <a:pt x="546" y="467"/>
                    </a:lnTo>
                    <a:lnTo>
                      <a:pt x="548" y="467"/>
                    </a:lnTo>
                    <a:lnTo>
                      <a:pt x="548" y="465"/>
                    </a:lnTo>
                    <a:lnTo>
                      <a:pt x="548" y="464"/>
                    </a:lnTo>
                    <a:lnTo>
                      <a:pt x="549" y="464"/>
                    </a:lnTo>
                    <a:lnTo>
                      <a:pt x="549" y="463"/>
                    </a:lnTo>
                    <a:lnTo>
                      <a:pt x="549" y="462"/>
                    </a:lnTo>
                    <a:lnTo>
                      <a:pt x="550" y="462"/>
                    </a:lnTo>
                    <a:lnTo>
                      <a:pt x="551" y="461"/>
                    </a:lnTo>
                    <a:lnTo>
                      <a:pt x="552" y="461"/>
                    </a:lnTo>
                    <a:lnTo>
                      <a:pt x="555" y="461"/>
                    </a:lnTo>
                    <a:lnTo>
                      <a:pt x="554" y="461"/>
                    </a:lnTo>
                    <a:lnTo>
                      <a:pt x="553" y="461"/>
                    </a:lnTo>
                    <a:lnTo>
                      <a:pt x="552" y="461"/>
                    </a:lnTo>
                    <a:lnTo>
                      <a:pt x="551" y="461"/>
                    </a:lnTo>
                    <a:lnTo>
                      <a:pt x="551" y="460"/>
                    </a:lnTo>
                    <a:lnTo>
                      <a:pt x="552" y="460"/>
                    </a:lnTo>
                    <a:lnTo>
                      <a:pt x="552" y="459"/>
                    </a:lnTo>
                    <a:lnTo>
                      <a:pt x="552" y="457"/>
                    </a:lnTo>
                    <a:lnTo>
                      <a:pt x="553" y="457"/>
                    </a:lnTo>
                    <a:lnTo>
                      <a:pt x="553" y="456"/>
                    </a:lnTo>
                    <a:lnTo>
                      <a:pt x="554" y="456"/>
                    </a:lnTo>
                    <a:lnTo>
                      <a:pt x="554" y="455"/>
                    </a:lnTo>
                    <a:lnTo>
                      <a:pt x="555" y="455"/>
                    </a:lnTo>
                    <a:lnTo>
                      <a:pt x="556" y="455"/>
                    </a:lnTo>
                    <a:lnTo>
                      <a:pt x="555" y="455"/>
                    </a:lnTo>
                    <a:lnTo>
                      <a:pt x="556" y="455"/>
                    </a:lnTo>
                    <a:lnTo>
                      <a:pt x="556" y="454"/>
                    </a:lnTo>
                    <a:lnTo>
                      <a:pt x="557" y="454"/>
                    </a:lnTo>
                    <a:lnTo>
                      <a:pt x="558" y="453"/>
                    </a:lnTo>
                    <a:lnTo>
                      <a:pt x="560" y="453"/>
                    </a:lnTo>
                    <a:lnTo>
                      <a:pt x="561" y="452"/>
                    </a:lnTo>
                    <a:lnTo>
                      <a:pt x="562" y="451"/>
                    </a:lnTo>
                    <a:lnTo>
                      <a:pt x="563" y="451"/>
                    </a:lnTo>
                    <a:lnTo>
                      <a:pt x="564" y="450"/>
                    </a:lnTo>
                    <a:lnTo>
                      <a:pt x="566" y="449"/>
                    </a:lnTo>
                    <a:lnTo>
                      <a:pt x="567" y="448"/>
                    </a:lnTo>
                    <a:lnTo>
                      <a:pt x="567" y="447"/>
                    </a:lnTo>
                    <a:lnTo>
                      <a:pt x="568" y="447"/>
                    </a:lnTo>
                    <a:lnTo>
                      <a:pt x="570" y="446"/>
                    </a:lnTo>
                    <a:lnTo>
                      <a:pt x="571" y="446"/>
                    </a:lnTo>
                    <a:lnTo>
                      <a:pt x="571" y="444"/>
                    </a:lnTo>
                    <a:lnTo>
                      <a:pt x="571" y="446"/>
                    </a:lnTo>
                    <a:lnTo>
                      <a:pt x="570" y="446"/>
                    </a:lnTo>
                    <a:lnTo>
                      <a:pt x="569" y="447"/>
                    </a:lnTo>
                    <a:lnTo>
                      <a:pt x="568" y="447"/>
                    </a:lnTo>
                    <a:lnTo>
                      <a:pt x="567" y="448"/>
                    </a:lnTo>
                    <a:lnTo>
                      <a:pt x="567" y="449"/>
                    </a:lnTo>
                    <a:lnTo>
                      <a:pt x="566" y="450"/>
                    </a:lnTo>
                    <a:lnTo>
                      <a:pt x="565" y="450"/>
                    </a:lnTo>
                    <a:lnTo>
                      <a:pt x="565" y="451"/>
                    </a:lnTo>
                    <a:lnTo>
                      <a:pt x="564" y="451"/>
                    </a:lnTo>
                    <a:lnTo>
                      <a:pt x="563" y="451"/>
                    </a:lnTo>
                    <a:lnTo>
                      <a:pt x="562" y="451"/>
                    </a:lnTo>
                    <a:lnTo>
                      <a:pt x="561" y="452"/>
                    </a:lnTo>
                    <a:lnTo>
                      <a:pt x="560" y="453"/>
                    </a:lnTo>
                    <a:close/>
                    <a:moveTo>
                      <a:pt x="497" y="502"/>
                    </a:moveTo>
                    <a:lnTo>
                      <a:pt x="498" y="502"/>
                    </a:lnTo>
                    <a:lnTo>
                      <a:pt x="500" y="502"/>
                    </a:lnTo>
                    <a:lnTo>
                      <a:pt x="501" y="502"/>
                    </a:lnTo>
                    <a:lnTo>
                      <a:pt x="501" y="503"/>
                    </a:lnTo>
                    <a:lnTo>
                      <a:pt x="502" y="503"/>
                    </a:lnTo>
                    <a:lnTo>
                      <a:pt x="503" y="504"/>
                    </a:lnTo>
                    <a:lnTo>
                      <a:pt x="505" y="505"/>
                    </a:lnTo>
                    <a:lnTo>
                      <a:pt x="506" y="506"/>
                    </a:lnTo>
                    <a:lnTo>
                      <a:pt x="507" y="506"/>
                    </a:lnTo>
                    <a:lnTo>
                      <a:pt x="509" y="507"/>
                    </a:lnTo>
                    <a:lnTo>
                      <a:pt x="510" y="507"/>
                    </a:lnTo>
                    <a:lnTo>
                      <a:pt x="512" y="507"/>
                    </a:lnTo>
                    <a:lnTo>
                      <a:pt x="513" y="508"/>
                    </a:lnTo>
                    <a:lnTo>
                      <a:pt x="514" y="508"/>
                    </a:lnTo>
                    <a:lnTo>
                      <a:pt x="514" y="510"/>
                    </a:lnTo>
                    <a:lnTo>
                      <a:pt x="515" y="510"/>
                    </a:lnTo>
                    <a:lnTo>
                      <a:pt x="516" y="511"/>
                    </a:lnTo>
                    <a:lnTo>
                      <a:pt x="516" y="512"/>
                    </a:lnTo>
                    <a:lnTo>
                      <a:pt x="515" y="512"/>
                    </a:lnTo>
                    <a:lnTo>
                      <a:pt x="516" y="512"/>
                    </a:lnTo>
                    <a:lnTo>
                      <a:pt x="515" y="511"/>
                    </a:lnTo>
                    <a:lnTo>
                      <a:pt x="515" y="512"/>
                    </a:lnTo>
                    <a:lnTo>
                      <a:pt x="514" y="512"/>
                    </a:lnTo>
                    <a:lnTo>
                      <a:pt x="514" y="511"/>
                    </a:lnTo>
                    <a:lnTo>
                      <a:pt x="513" y="512"/>
                    </a:lnTo>
                    <a:lnTo>
                      <a:pt x="512" y="512"/>
                    </a:lnTo>
                    <a:lnTo>
                      <a:pt x="513" y="512"/>
                    </a:lnTo>
                    <a:lnTo>
                      <a:pt x="513" y="511"/>
                    </a:lnTo>
                    <a:lnTo>
                      <a:pt x="513" y="512"/>
                    </a:lnTo>
                    <a:lnTo>
                      <a:pt x="512" y="512"/>
                    </a:lnTo>
                    <a:lnTo>
                      <a:pt x="512" y="511"/>
                    </a:lnTo>
                    <a:lnTo>
                      <a:pt x="513" y="510"/>
                    </a:lnTo>
                    <a:lnTo>
                      <a:pt x="513" y="508"/>
                    </a:lnTo>
                    <a:lnTo>
                      <a:pt x="512" y="508"/>
                    </a:lnTo>
                    <a:lnTo>
                      <a:pt x="511" y="508"/>
                    </a:lnTo>
                    <a:lnTo>
                      <a:pt x="510" y="508"/>
                    </a:lnTo>
                    <a:lnTo>
                      <a:pt x="510" y="507"/>
                    </a:lnTo>
                    <a:lnTo>
                      <a:pt x="511" y="507"/>
                    </a:lnTo>
                    <a:lnTo>
                      <a:pt x="510" y="507"/>
                    </a:lnTo>
                    <a:lnTo>
                      <a:pt x="510" y="508"/>
                    </a:lnTo>
                    <a:lnTo>
                      <a:pt x="511" y="508"/>
                    </a:lnTo>
                    <a:lnTo>
                      <a:pt x="510" y="508"/>
                    </a:lnTo>
                    <a:lnTo>
                      <a:pt x="509" y="508"/>
                    </a:lnTo>
                    <a:lnTo>
                      <a:pt x="510" y="510"/>
                    </a:lnTo>
                    <a:lnTo>
                      <a:pt x="510" y="511"/>
                    </a:lnTo>
                    <a:lnTo>
                      <a:pt x="509" y="511"/>
                    </a:lnTo>
                    <a:lnTo>
                      <a:pt x="509" y="512"/>
                    </a:lnTo>
                    <a:lnTo>
                      <a:pt x="507" y="512"/>
                    </a:lnTo>
                    <a:lnTo>
                      <a:pt x="507" y="511"/>
                    </a:lnTo>
                    <a:lnTo>
                      <a:pt x="506" y="511"/>
                    </a:lnTo>
                    <a:lnTo>
                      <a:pt x="507" y="511"/>
                    </a:lnTo>
                    <a:lnTo>
                      <a:pt x="506" y="510"/>
                    </a:lnTo>
                    <a:lnTo>
                      <a:pt x="506" y="511"/>
                    </a:lnTo>
                    <a:lnTo>
                      <a:pt x="506" y="510"/>
                    </a:lnTo>
                    <a:lnTo>
                      <a:pt x="506" y="508"/>
                    </a:lnTo>
                    <a:lnTo>
                      <a:pt x="505" y="508"/>
                    </a:lnTo>
                    <a:lnTo>
                      <a:pt x="505" y="507"/>
                    </a:lnTo>
                    <a:lnTo>
                      <a:pt x="504" y="508"/>
                    </a:lnTo>
                    <a:lnTo>
                      <a:pt x="504" y="507"/>
                    </a:lnTo>
                    <a:lnTo>
                      <a:pt x="504" y="508"/>
                    </a:lnTo>
                    <a:lnTo>
                      <a:pt x="505" y="508"/>
                    </a:lnTo>
                    <a:lnTo>
                      <a:pt x="505" y="510"/>
                    </a:lnTo>
                    <a:lnTo>
                      <a:pt x="504" y="510"/>
                    </a:lnTo>
                    <a:lnTo>
                      <a:pt x="505" y="510"/>
                    </a:lnTo>
                    <a:lnTo>
                      <a:pt x="505" y="511"/>
                    </a:lnTo>
                    <a:lnTo>
                      <a:pt x="506" y="511"/>
                    </a:lnTo>
                    <a:lnTo>
                      <a:pt x="506" y="512"/>
                    </a:lnTo>
                    <a:lnTo>
                      <a:pt x="507" y="512"/>
                    </a:lnTo>
                    <a:lnTo>
                      <a:pt x="509" y="512"/>
                    </a:lnTo>
                    <a:lnTo>
                      <a:pt x="509" y="513"/>
                    </a:lnTo>
                    <a:lnTo>
                      <a:pt x="507" y="513"/>
                    </a:lnTo>
                    <a:lnTo>
                      <a:pt x="506" y="513"/>
                    </a:lnTo>
                    <a:lnTo>
                      <a:pt x="505" y="512"/>
                    </a:lnTo>
                    <a:lnTo>
                      <a:pt x="504" y="512"/>
                    </a:lnTo>
                    <a:lnTo>
                      <a:pt x="504" y="511"/>
                    </a:lnTo>
                    <a:lnTo>
                      <a:pt x="503" y="511"/>
                    </a:lnTo>
                    <a:lnTo>
                      <a:pt x="504" y="512"/>
                    </a:lnTo>
                    <a:lnTo>
                      <a:pt x="504" y="513"/>
                    </a:lnTo>
                    <a:lnTo>
                      <a:pt x="505" y="513"/>
                    </a:lnTo>
                    <a:lnTo>
                      <a:pt x="505" y="514"/>
                    </a:lnTo>
                    <a:lnTo>
                      <a:pt x="506" y="514"/>
                    </a:lnTo>
                    <a:lnTo>
                      <a:pt x="506" y="515"/>
                    </a:lnTo>
                    <a:lnTo>
                      <a:pt x="507" y="516"/>
                    </a:lnTo>
                    <a:lnTo>
                      <a:pt x="507" y="517"/>
                    </a:lnTo>
                    <a:lnTo>
                      <a:pt x="509" y="518"/>
                    </a:lnTo>
                    <a:lnTo>
                      <a:pt x="507" y="518"/>
                    </a:lnTo>
                    <a:lnTo>
                      <a:pt x="509" y="518"/>
                    </a:lnTo>
                    <a:lnTo>
                      <a:pt x="509" y="519"/>
                    </a:lnTo>
                    <a:lnTo>
                      <a:pt x="510" y="519"/>
                    </a:lnTo>
                    <a:lnTo>
                      <a:pt x="510" y="520"/>
                    </a:lnTo>
                    <a:lnTo>
                      <a:pt x="510" y="519"/>
                    </a:lnTo>
                    <a:lnTo>
                      <a:pt x="510" y="520"/>
                    </a:lnTo>
                    <a:lnTo>
                      <a:pt x="510" y="521"/>
                    </a:lnTo>
                    <a:lnTo>
                      <a:pt x="511" y="521"/>
                    </a:lnTo>
                    <a:lnTo>
                      <a:pt x="511" y="523"/>
                    </a:lnTo>
                    <a:lnTo>
                      <a:pt x="511" y="524"/>
                    </a:lnTo>
                    <a:lnTo>
                      <a:pt x="512" y="524"/>
                    </a:lnTo>
                    <a:lnTo>
                      <a:pt x="513" y="524"/>
                    </a:lnTo>
                    <a:lnTo>
                      <a:pt x="513" y="525"/>
                    </a:lnTo>
                    <a:lnTo>
                      <a:pt x="512" y="525"/>
                    </a:lnTo>
                    <a:lnTo>
                      <a:pt x="513" y="525"/>
                    </a:lnTo>
                    <a:lnTo>
                      <a:pt x="513" y="526"/>
                    </a:lnTo>
                    <a:lnTo>
                      <a:pt x="513" y="527"/>
                    </a:lnTo>
                    <a:lnTo>
                      <a:pt x="514" y="527"/>
                    </a:lnTo>
                    <a:lnTo>
                      <a:pt x="515" y="528"/>
                    </a:lnTo>
                    <a:lnTo>
                      <a:pt x="516" y="528"/>
                    </a:lnTo>
                    <a:lnTo>
                      <a:pt x="516" y="529"/>
                    </a:lnTo>
                    <a:lnTo>
                      <a:pt x="517" y="529"/>
                    </a:lnTo>
                    <a:lnTo>
                      <a:pt x="518" y="529"/>
                    </a:lnTo>
                    <a:lnTo>
                      <a:pt x="519" y="529"/>
                    </a:lnTo>
                    <a:lnTo>
                      <a:pt x="519" y="530"/>
                    </a:lnTo>
                    <a:lnTo>
                      <a:pt x="520" y="529"/>
                    </a:lnTo>
                    <a:lnTo>
                      <a:pt x="520" y="530"/>
                    </a:lnTo>
                    <a:lnTo>
                      <a:pt x="522" y="530"/>
                    </a:lnTo>
                    <a:lnTo>
                      <a:pt x="522" y="529"/>
                    </a:lnTo>
                    <a:lnTo>
                      <a:pt x="522" y="530"/>
                    </a:lnTo>
                    <a:lnTo>
                      <a:pt x="520" y="530"/>
                    </a:lnTo>
                    <a:lnTo>
                      <a:pt x="520" y="531"/>
                    </a:lnTo>
                    <a:lnTo>
                      <a:pt x="522" y="531"/>
                    </a:lnTo>
                    <a:lnTo>
                      <a:pt x="522" y="530"/>
                    </a:lnTo>
                    <a:lnTo>
                      <a:pt x="523" y="530"/>
                    </a:lnTo>
                    <a:lnTo>
                      <a:pt x="523" y="531"/>
                    </a:lnTo>
                    <a:lnTo>
                      <a:pt x="524" y="531"/>
                    </a:lnTo>
                    <a:lnTo>
                      <a:pt x="524" y="530"/>
                    </a:lnTo>
                    <a:lnTo>
                      <a:pt x="525" y="530"/>
                    </a:lnTo>
                    <a:lnTo>
                      <a:pt x="525" y="529"/>
                    </a:lnTo>
                    <a:lnTo>
                      <a:pt x="525" y="530"/>
                    </a:lnTo>
                    <a:lnTo>
                      <a:pt x="525" y="531"/>
                    </a:lnTo>
                    <a:lnTo>
                      <a:pt x="526" y="531"/>
                    </a:lnTo>
                    <a:lnTo>
                      <a:pt x="524" y="531"/>
                    </a:lnTo>
                    <a:lnTo>
                      <a:pt x="523" y="532"/>
                    </a:lnTo>
                    <a:lnTo>
                      <a:pt x="522" y="531"/>
                    </a:lnTo>
                    <a:lnTo>
                      <a:pt x="520" y="531"/>
                    </a:lnTo>
                    <a:lnTo>
                      <a:pt x="519" y="532"/>
                    </a:lnTo>
                    <a:lnTo>
                      <a:pt x="518" y="531"/>
                    </a:lnTo>
                    <a:lnTo>
                      <a:pt x="517" y="531"/>
                    </a:lnTo>
                    <a:lnTo>
                      <a:pt x="517" y="530"/>
                    </a:lnTo>
                    <a:lnTo>
                      <a:pt x="516" y="530"/>
                    </a:lnTo>
                    <a:lnTo>
                      <a:pt x="515" y="530"/>
                    </a:lnTo>
                    <a:lnTo>
                      <a:pt x="514" y="530"/>
                    </a:lnTo>
                    <a:lnTo>
                      <a:pt x="515" y="529"/>
                    </a:lnTo>
                    <a:lnTo>
                      <a:pt x="514" y="529"/>
                    </a:lnTo>
                    <a:lnTo>
                      <a:pt x="514" y="528"/>
                    </a:lnTo>
                    <a:lnTo>
                      <a:pt x="513" y="528"/>
                    </a:lnTo>
                    <a:lnTo>
                      <a:pt x="513" y="527"/>
                    </a:lnTo>
                    <a:lnTo>
                      <a:pt x="512" y="527"/>
                    </a:lnTo>
                    <a:lnTo>
                      <a:pt x="511" y="527"/>
                    </a:lnTo>
                    <a:lnTo>
                      <a:pt x="510" y="526"/>
                    </a:lnTo>
                    <a:lnTo>
                      <a:pt x="510" y="525"/>
                    </a:lnTo>
                    <a:lnTo>
                      <a:pt x="509" y="525"/>
                    </a:lnTo>
                    <a:lnTo>
                      <a:pt x="509" y="526"/>
                    </a:lnTo>
                    <a:lnTo>
                      <a:pt x="509" y="525"/>
                    </a:lnTo>
                    <a:lnTo>
                      <a:pt x="507" y="525"/>
                    </a:lnTo>
                    <a:lnTo>
                      <a:pt x="506" y="524"/>
                    </a:lnTo>
                    <a:lnTo>
                      <a:pt x="507" y="524"/>
                    </a:lnTo>
                    <a:lnTo>
                      <a:pt x="507" y="525"/>
                    </a:lnTo>
                    <a:lnTo>
                      <a:pt x="507" y="524"/>
                    </a:lnTo>
                    <a:lnTo>
                      <a:pt x="506" y="523"/>
                    </a:lnTo>
                    <a:lnTo>
                      <a:pt x="505" y="523"/>
                    </a:lnTo>
                    <a:lnTo>
                      <a:pt x="505" y="521"/>
                    </a:lnTo>
                    <a:lnTo>
                      <a:pt x="504" y="521"/>
                    </a:lnTo>
                    <a:lnTo>
                      <a:pt x="504" y="520"/>
                    </a:lnTo>
                    <a:lnTo>
                      <a:pt x="504" y="519"/>
                    </a:lnTo>
                    <a:lnTo>
                      <a:pt x="503" y="518"/>
                    </a:lnTo>
                    <a:lnTo>
                      <a:pt x="502" y="517"/>
                    </a:lnTo>
                    <a:lnTo>
                      <a:pt x="502" y="516"/>
                    </a:lnTo>
                    <a:lnTo>
                      <a:pt x="502" y="515"/>
                    </a:lnTo>
                    <a:lnTo>
                      <a:pt x="502" y="514"/>
                    </a:lnTo>
                    <a:lnTo>
                      <a:pt x="501" y="514"/>
                    </a:lnTo>
                    <a:lnTo>
                      <a:pt x="501" y="513"/>
                    </a:lnTo>
                    <a:lnTo>
                      <a:pt x="501" y="512"/>
                    </a:lnTo>
                    <a:lnTo>
                      <a:pt x="501" y="511"/>
                    </a:lnTo>
                    <a:lnTo>
                      <a:pt x="500" y="511"/>
                    </a:lnTo>
                    <a:lnTo>
                      <a:pt x="500" y="510"/>
                    </a:lnTo>
                    <a:lnTo>
                      <a:pt x="500" y="508"/>
                    </a:lnTo>
                    <a:lnTo>
                      <a:pt x="500" y="507"/>
                    </a:lnTo>
                    <a:lnTo>
                      <a:pt x="499" y="507"/>
                    </a:lnTo>
                    <a:lnTo>
                      <a:pt x="499" y="506"/>
                    </a:lnTo>
                    <a:lnTo>
                      <a:pt x="498" y="505"/>
                    </a:lnTo>
                    <a:lnTo>
                      <a:pt x="498" y="504"/>
                    </a:lnTo>
                    <a:lnTo>
                      <a:pt x="498" y="503"/>
                    </a:lnTo>
                    <a:lnTo>
                      <a:pt x="497" y="502"/>
                    </a:lnTo>
                    <a:close/>
                    <a:moveTo>
                      <a:pt x="584" y="460"/>
                    </a:moveTo>
                    <a:lnTo>
                      <a:pt x="583" y="461"/>
                    </a:lnTo>
                    <a:lnTo>
                      <a:pt x="582" y="461"/>
                    </a:lnTo>
                    <a:lnTo>
                      <a:pt x="581" y="463"/>
                    </a:lnTo>
                    <a:lnTo>
                      <a:pt x="580" y="463"/>
                    </a:lnTo>
                    <a:lnTo>
                      <a:pt x="580" y="464"/>
                    </a:lnTo>
                    <a:lnTo>
                      <a:pt x="579" y="464"/>
                    </a:lnTo>
                    <a:lnTo>
                      <a:pt x="579" y="465"/>
                    </a:lnTo>
                    <a:lnTo>
                      <a:pt x="576" y="465"/>
                    </a:lnTo>
                    <a:lnTo>
                      <a:pt x="575" y="465"/>
                    </a:lnTo>
                    <a:lnTo>
                      <a:pt x="574" y="465"/>
                    </a:lnTo>
                    <a:lnTo>
                      <a:pt x="571" y="465"/>
                    </a:lnTo>
                    <a:lnTo>
                      <a:pt x="567" y="465"/>
                    </a:lnTo>
                    <a:lnTo>
                      <a:pt x="566" y="465"/>
                    </a:lnTo>
                    <a:lnTo>
                      <a:pt x="565" y="465"/>
                    </a:lnTo>
                    <a:lnTo>
                      <a:pt x="565" y="466"/>
                    </a:lnTo>
                    <a:lnTo>
                      <a:pt x="564" y="466"/>
                    </a:lnTo>
                    <a:lnTo>
                      <a:pt x="563" y="465"/>
                    </a:lnTo>
                    <a:lnTo>
                      <a:pt x="564" y="466"/>
                    </a:lnTo>
                    <a:lnTo>
                      <a:pt x="563" y="466"/>
                    </a:lnTo>
                    <a:lnTo>
                      <a:pt x="563" y="467"/>
                    </a:lnTo>
                    <a:lnTo>
                      <a:pt x="562" y="467"/>
                    </a:lnTo>
                    <a:lnTo>
                      <a:pt x="562" y="468"/>
                    </a:lnTo>
                    <a:lnTo>
                      <a:pt x="562" y="469"/>
                    </a:lnTo>
                    <a:lnTo>
                      <a:pt x="563" y="469"/>
                    </a:lnTo>
                    <a:lnTo>
                      <a:pt x="563" y="470"/>
                    </a:lnTo>
                    <a:lnTo>
                      <a:pt x="562" y="470"/>
                    </a:lnTo>
                    <a:lnTo>
                      <a:pt x="561" y="470"/>
                    </a:lnTo>
                    <a:lnTo>
                      <a:pt x="561" y="469"/>
                    </a:lnTo>
                    <a:lnTo>
                      <a:pt x="562" y="469"/>
                    </a:lnTo>
                    <a:lnTo>
                      <a:pt x="561" y="469"/>
                    </a:lnTo>
                    <a:lnTo>
                      <a:pt x="560" y="469"/>
                    </a:lnTo>
                    <a:lnTo>
                      <a:pt x="561" y="469"/>
                    </a:lnTo>
                    <a:lnTo>
                      <a:pt x="561" y="470"/>
                    </a:lnTo>
                    <a:lnTo>
                      <a:pt x="562" y="470"/>
                    </a:lnTo>
                    <a:lnTo>
                      <a:pt x="562" y="472"/>
                    </a:lnTo>
                    <a:lnTo>
                      <a:pt x="562" y="473"/>
                    </a:lnTo>
                    <a:lnTo>
                      <a:pt x="561" y="473"/>
                    </a:lnTo>
                    <a:lnTo>
                      <a:pt x="561" y="472"/>
                    </a:lnTo>
                    <a:lnTo>
                      <a:pt x="560" y="472"/>
                    </a:lnTo>
                    <a:lnTo>
                      <a:pt x="561" y="472"/>
                    </a:lnTo>
                    <a:lnTo>
                      <a:pt x="560" y="470"/>
                    </a:lnTo>
                    <a:lnTo>
                      <a:pt x="560" y="472"/>
                    </a:lnTo>
                    <a:lnTo>
                      <a:pt x="560" y="470"/>
                    </a:lnTo>
                    <a:lnTo>
                      <a:pt x="560" y="469"/>
                    </a:lnTo>
                    <a:lnTo>
                      <a:pt x="558" y="469"/>
                    </a:lnTo>
                    <a:lnTo>
                      <a:pt x="558" y="470"/>
                    </a:lnTo>
                    <a:lnTo>
                      <a:pt x="557" y="470"/>
                    </a:lnTo>
                    <a:lnTo>
                      <a:pt x="557" y="472"/>
                    </a:lnTo>
                    <a:lnTo>
                      <a:pt x="556" y="473"/>
                    </a:lnTo>
                    <a:lnTo>
                      <a:pt x="556" y="474"/>
                    </a:lnTo>
                    <a:lnTo>
                      <a:pt x="557" y="474"/>
                    </a:lnTo>
                    <a:lnTo>
                      <a:pt x="558" y="474"/>
                    </a:lnTo>
                    <a:lnTo>
                      <a:pt x="560" y="474"/>
                    </a:lnTo>
                    <a:lnTo>
                      <a:pt x="560" y="473"/>
                    </a:lnTo>
                    <a:lnTo>
                      <a:pt x="560" y="472"/>
                    </a:lnTo>
                    <a:lnTo>
                      <a:pt x="561" y="473"/>
                    </a:lnTo>
                    <a:lnTo>
                      <a:pt x="562" y="473"/>
                    </a:lnTo>
                    <a:lnTo>
                      <a:pt x="562" y="474"/>
                    </a:lnTo>
                    <a:lnTo>
                      <a:pt x="561" y="474"/>
                    </a:lnTo>
                    <a:lnTo>
                      <a:pt x="562" y="474"/>
                    </a:lnTo>
                    <a:lnTo>
                      <a:pt x="563" y="474"/>
                    </a:lnTo>
                    <a:lnTo>
                      <a:pt x="563" y="473"/>
                    </a:lnTo>
                    <a:lnTo>
                      <a:pt x="563" y="474"/>
                    </a:lnTo>
                    <a:lnTo>
                      <a:pt x="563" y="475"/>
                    </a:lnTo>
                    <a:lnTo>
                      <a:pt x="564" y="475"/>
                    </a:lnTo>
                    <a:lnTo>
                      <a:pt x="564" y="476"/>
                    </a:lnTo>
                    <a:lnTo>
                      <a:pt x="565" y="476"/>
                    </a:lnTo>
                    <a:lnTo>
                      <a:pt x="566" y="476"/>
                    </a:lnTo>
                    <a:lnTo>
                      <a:pt x="565" y="476"/>
                    </a:lnTo>
                    <a:lnTo>
                      <a:pt x="564" y="476"/>
                    </a:lnTo>
                    <a:lnTo>
                      <a:pt x="563" y="476"/>
                    </a:lnTo>
                    <a:lnTo>
                      <a:pt x="562" y="476"/>
                    </a:lnTo>
                    <a:lnTo>
                      <a:pt x="562" y="475"/>
                    </a:lnTo>
                    <a:lnTo>
                      <a:pt x="562" y="476"/>
                    </a:lnTo>
                    <a:lnTo>
                      <a:pt x="561" y="475"/>
                    </a:lnTo>
                    <a:lnTo>
                      <a:pt x="561" y="476"/>
                    </a:lnTo>
                    <a:lnTo>
                      <a:pt x="560" y="476"/>
                    </a:lnTo>
                    <a:lnTo>
                      <a:pt x="558" y="477"/>
                    </a:lnTo>
                    <a:lnTo>
                      <a:pt x="558" y="478"/>
                    </a:lnTo>
                    <a:lnTo>
                      <a:pt x="557" y="478"/>
                    </a:lnTo>
                    <a:lnTo>
                      <a:pt x="556" y="478"/>
                    </a:lnTo>
                    <a:lnTo>
                      <a:pt x="556" y="479"/>
                    </a:lnTo>
                    <a:lnTo>
                      <a:pt x="555" y="479"/>
                    </a:lnTo>
                    <a:lnTo>
                      <a:pt x="555" y="478"/>
                    </a:lnTo>
                    <a:lnTo>
                      <a:pt x="555" y="477"/>
                    </a:lnTo>
                    <a:lnTo>
                      <a:pt x="556" y="477"/>
                    </a:lnTo>
                    <a:lnTo>
                      <a:pt x="556" y="476"/>
                    </a:lnTo>
                    <a:lnTo>
                      <a:pt x="555" y="476"/>
                    </a:lnTo>
                    <a:lnTo>
                      <a:pt x="555" y="477"/>
                    </a:lnTo>
                    <a:lnTo>
                      <a:pt x="554" y="477"/>
                    </a:lnTo>
                    <a:lnTo>
                      <a:pt x="554" y="476"/>
                    </a:lnTo>
                    <a:lnTo>
                      <a:pt x="553" y="476"/>
                    </a:lnTo>
                    <a:lnTo>
                      <a:pt x="553" y="477"/>
                    </a:lnTo>
                    <a:lnTo>
                      <a:pt x="554" y="477"/>
                    </a:lnTo>
                    <a:lnTo>
                      <a:pt x="553" y="477"/>
                    </a:lnTo>
                    <a:lnTo>
                      <a:pt x="552" y="477"/>
                    </a:lnTo>
                    <a:lnTo>
                      <a:pt x="552" y="478"/>
                    </a:lnTo>
                    <a:lnTo>
                      <a:pt x="551" y="478"/>
                    </a:lnTo>
                    <a:lnTo>
                      <a:pt x="552" y="478"/>
                    </a:lnTo>
                    <a:lnTo>
                      <a:pt x="551" y="479"/>
                    </a:lnTo>
                    <a:lnTo>
                      <a:pt x="551" y="480"/>
                    </a:lnTo>
                    <a:lnTo>
                      <a:pt x="550" y="480"/>
                    </a:lnTo>
                    <a:lnTo>
                      <a:pt x="550" y="481"/>
                    </a:lnTo>
                    <a:lnTo>
                      <a:pt x="551" y="481"/>
                    </a:lnTo>
                    <a:lnTo>
                      <a:pt x="551" y="482"/>
                    </a:lnTo>
                    <a:lnTo>
                      <a:pt x="551" y="481"/>
                    </a:lnTo>
                    <a:lnTo>
                      <a:pt x="552" y="482"/>
                    </a:lnTo>
                    <a:lnTo>
                      <a:pt x="551" y="482"/>
                    </a:lnTo>
                    <a:lnTo>
                      <a:pt x="551" y="483"/>
                    </a:lnTo>
                    <a:lnTo>
                      <a:pt x="551" y="485"/>
                    </a:lnTo>
                    <a:lnTo>
                      <a:pt x="551" y="483"/>
                    </a:lnTo>
                    <a:lnTo>
                      <a:pt x="552" y="482"/>
                    </a:lnTo>
                    <a:lnTo>
                      <a:pt x="553" y="482"/>
                    </a:lnTo>
                    <a:lnTo>
                      <a:pt x="554" y="482"/>
                    </a:lnTo>
                    <a:lnTo>
                      <a:pt x="553" y="482"/>
                    </a:lnTo>
                    <a:lnTo>
                      <a:pt x="553" y="483"/>
                    </a:lnTo>
                    <a:lnTo>
                      <a:pt x="552" y="483"/>
                    </a:lnTo>
                    <a:lnTo>
                      <a:pt x="552" y="485"/>
                    </a:lnTo>
                    <a:lnTo>
                      <a:pt x="553" y="485"/>
                    </a:lnTo>
                    <a:lnTo>
                      <a:pt x="554" y="485"/>
                    </a:lnTo>
                    <a:lnTo>
                      <a:pt x="553" y="486"/>
                    </a:lnTo>
                    <a:lnTo>
                      <a:pt x="554" y="486"/>
                    </a:lnTo>
                    <a:lnTo>
                      <a:pt x="554" y="485"/>
                    </a:lnTo>
                    <a:lnTo>
                      <a:pt x="555" y="485"/>
                    </a:lnTo>
                    <a:lnTo>
                      <a:pt x="555" y="483"/>
                    </a:lnTo>
                    <a:lnTo>
                      <a:pt x="554" y="483"/>
                    </a:lnTo>
                    <a:lnTo>
                      <a:pt x="554" y="482"/>
                    </a:lnTo>
                    <a:lnTo>
                      <a:pt x="555" y="482"/>
                    </a:lnTo>
                    <a:lnTo>
                      <a:pt x="555" y="483"/>
                    </a:lnTo>
                    <a:lnTo>
                      <a:pt x="555" y="482"/>
                    </a:lnTo>
                    <a:lnTo>
                      <a:pt x="556" y="482"/>
                    </a:lnTo>
                    <a:lnTo>
                      <a:pt x="556" y="483"/>
                    </a:lnTo>
                    <a:lnTo>
                      <a:pt x="557" y="483"/>
                    </a:lnTo>
                    <a:lnTo>
                      <a:pt x="557" y="482"/>
                    </a:lnTo>
                    <a:lnTo>
                      <a:pt x="558" y="482"/>
                    </a:lnTo>
                    <a:lnTo>
                      <a:pt x="558" y="481"/>
                    </a:lnTo>
                    <a:lnTo>
                      <a:pt x="560" y="481"/>
                    </a:lnTo>
                    <a:lnTo>
                      <a:pt x="561" y="481"/>
                    </a:lnTo>
                    <a:lnTo>
                      <a:pt x="560" y="481"/>
                    </a:lnTo>
                    <a:lnTo>
                      <a:pt x="558" y="481"/>
                    </a:lnTo>
                    <a:lnTo>
                      <a:pt x="558" y="480"/>
                    </a:lnTo>
                    <a:lnTo>
                      <a:pt x="558" y="479"/>
                    </a:lnTo>
                    <a:lnTo>
                      <a:pt x="558" y="478"/>
                    </a:lnTo>
                    <a:lnTo>
                      <a:pt x="560" y="477"/>
                    </a:lnTo>
                    <a:lnTo>
                      <a:pt x="561" y="477"/>
                    </a:lnTo>
                    <a:lnTo>
                      <a:pt x="561" y="478"/>
                    </a:lnTo>
                    <a:lnTo>
                      <a:pt x="561" y="477"/>
                    </a:lnTo>
                    <a:lnTo>
                      <a:pt x="562" y="478"/>
                    </a:lnTo>
                    <a:lnTo>
                      <a:pt x="562" y="479"/>
                    </a:lnTo>
                    <a:lnTo>
                      <a:pt x="561" y="479"/>
                    </a:lnTo>
                    <a:lnTo>
                      <a:pt x="562" y="479"/>
                    </a:lnTo>
                    <a:lnTo>
                      <a:pt x="563" y="480"/>
                    </a:lnTo>
                    <a:lnTo>
                      <a:pt x="563" y="479"/>
                    </a:lnTo>
                    <a:lnTo>
                      <a:pt x="563" y="478"/>
                    </a:lnTo>
                    <a:lnTo>
                      <a:pt x="562" y="478"/>
                    </a:lnTo>
                    <a:lnTo>
                      <a:pt x="563" y="478"/>
                    </a:lnTo>
                    <a:lnTo>
                      <a:pt x="564" y="478"/>
                    </a:lnTo>
                    <a:lnTo>
                      <a:pt x="565" y="478"/>
                    </a:lnTo>
                    <a:lnTo>
                      <a:pt x="566" y="478"/>
                    </a:lnTo>
                    <a:lnTo>
                      <a:pt x="567" y="476"/>
                    </a:lnTo>
                    <a:lnTo>
                      <a:pt x="568" y="476"/>
                    </a:lnTo>
                    <a:lnTo>
                      <a:pt x="567" y="477"/>
                    </a:lnTo>
                    <a:lnTo>
                      <a:pt x="566" y="478"/>
                    </a:lnTo>
                    <a:lnTo>
                      <a:pt x="565" y="478"/>
                    </a:lnTo>
                    <a:lnTo>
                      <a:pt x="565" y="479"/>
                    </a:lnTo>
                    <a:lnTo>
                      <a:pt x="564" y="480"/>
                    </a:lnTo>
                    <a:lnTo>
                      <a:pt x="564" y="481"/>
                    </a:lnTo>
                    <a:lnTo>
                      <a:pt x="563" y="481"/>
                    </a:lnTo>
                    <a:lnTo>
                      <a:pt x="562" y="482"/>
                    </a:lnTo>
                    <a:lnTo>
                      <a:pt x="561" y="482"/>
                    </a:lnTo>
                    <a:lnTo>
                      <a:pt x="560" y="482"/>
                    </a:lnTo>
                    <a:lnTo>
                      <a:pt x="560" y="483"/>
                    </a:lnTo>
                    <a:lnTo>
                      <a:pt x="558" y="483"/>
                    </a:lnTo>
                    <a:lnTo>
                      <a:pt x="558" y="485"/>
                    </a:lnTo>
                    <a:lnTo>
                      <a:pt x="557" y="485"/>
                    </a:lnTo>
                    <a:lnTo>
                      <a:pt x="556" y="485"/>
                    </a:lnTo>
                    <a:lnTo>
                      <a:pt x="555" y="485"/>
                    </a:lnTo>
                    <a:lnTo>
                      <a:pt x="554" y="486"/>
                    </a:lnTo>
                    <a:lnTo>
                      <a:pt x="553" y="487"/>
                    </a:lnTo>
                    <a:lnTo>
                      <a:pt x="551" y="487"/>
                    </a:lnTo>
                    <a:lnTo>
                      <a:pt x="551" y="486"/>
                    </a:lnTo>
                    <a:lnTo>
                      <a:pt x="551" y="485"/>
                    </a:lnTo>
                    <a:lnTo>
                      <a:pt x="552" y="485"/>
                    </a:lnTo>
                    <a:lnTo>
                      <a:pt x="552" y="483"/>
                    </a:lnTo>
                    <a:lnTo>
                      <a:pt x="552" y="482"/>
                    </a:lnTo>
                    <a:lnTo>
                      <a:pt x="552" y="483"/>
                    </a:lnTo>
                    <a:lnTo>
                      <a:pt x="552" y="485"/>
                    </a:lnTo>
                    <a:lnTo>
                      <a:pt x="551" y="485"/>
                    </a:lnTo>
                    <a:lnTo>
                      <a:pt x="551" y="486"/>
                    </a:lnTo>
                    <a:lnTo>
                      <a:pt x="551" y="487"/>
                    </a:lnTo>
                    <a:lnTo>
                      <a:pt x="550" y="487"/>
                    </a:lnTo>
                    <a:lnTo>
                      <a:pt x="550" y="486"/>
                    </a:lnTo>
                    <a:lnTo>
                      <a:pt x="549" y="486"/>
                    </a:lnTo>
                    <a:lnTo>
                      <a:pt x="546" y="486"/>
                    </a:lnTo>
                    <a:lnTo>
                      <a:pt x="545" y="485"/>
                    </a:lnTo>
                    <a:lnTo>
                      <a:pt x="544" y="485"/>
                    </a:lnTo>
                    <a:lnTo>
                      <a:pt x="544" y="483"/>
                    </a:lnTo>
                    <a:lnTo>
                      <a:pt x="543" y="483"/>
                    </a:lnTo>
                    <a:lnTo>
                      <a:pt x="544" y="483"/>
                    </a:lnTo>
                    <a:lnTo>
                      <a:pt x="544" y="482"/>
                    </a:lnTo>
                    <a:lnTo>
                      <a:pt x="544" y="481"/>
                    </a:lnTo>
                    <a:lnTo>
                      <a:pt x="545" y="481"/>
                    </a:lnTo>
                    <a:lnTo>
                      <a:pt x="545" y="480"/>
                    </a:lnTo>
                    <a:lnTo>
                      <a:pt x="548" y="479"/>
                    </a:lnTo>
                    <a:lnTo>
                      <a:pt x="549" y="479"/>
                    </a:lnTo>
                    <a:lnTo>
                      <a:pt x="548" y="479"/>
                    </a:lnTo>
                    <a:lnTo>
                      <a:pt x="548" y="480"/>
                    </a:lnTo>
                    <a:lnTo>
                      <a:pt x="549" y="480"/>
                    </a:lnTo>
                    <a:lnTo>
                      <a:pt x="549" y="479"/>
                    </a:lnTo>
                    <a:lnTo>
                      <a:pt x="550" y="478"/>
                    </a:lnTo>
                    <a:lnTo>
                      <a:pt x="550" y="479"/>
                    </a:lnTo>
                    <a:lnTo>
                      <a:pt x="550" y="478"/>
                    </a:lnTo>
                    <a:lnTo>
                      <a:pt x="553" y="476"/>
                    </a:lnTo>
                    <a:lnTo>
                      <a:pt x="553" y="475"/>
                    </a:lnTo>
                    <a:lnTo>
                      <a:pt x="553" y="474"/>
                    </a:lnTo>
                    <a:lnTo>
                      <a:pt x="554" y="473"/>
                    </a:lnTo>
                    <a:lnTo>
                      <a:pt x="554" y="472"/>
                    </a:lnTo>
                    <a:lnTo>
                      <a:pt x="555" y="470"/>
                    </a:lnTo>
                    <a:lnTo>
                      <a:pt x="556" y="470"/>
                    </a:lnTo>
                    <a:lnTo>
                      <a:pt x="557" y="469"/>
                    </a:lnTo>
                    <a:lnTo>
                      <a:pt x="558" y="468"/>
                    </a:lnTo>
                    <a:lnTo>
                      <a:pt x="558" y="467"/>
                    </a:lnTo>
                    <a:lnTo>
                      <a:pt x="560" y="467"/>
                    </a:lnTo>
                    <a:lnTo>
                      <a:pt x="561" y="467"/>
                    </a:lnTo>
                    <a:lnTo>
                      <a:pt x="562" y="466"/>
                    </a:lnTo>
                    <a:lnTo>
                      <a:pt x="563" y="465"/>
                    </a:lnTo>
                    <a:lnTo>
                      <a:pt x="565" y="465"/>
                    </a:lnTo>
                    <a:lnTo>
                      <a:pt x="566" y="464"/>
                    </a:lnTo>
                    <a:lnTo>
                      <a:pt x="569" y="464"/>
                    </a:lnTo>
                    <a:lnTo>
                      <a:pt x="570" y="464"/>
                    </a:lnTo>
                    <a:lnTo>
                      <a:pt x="571" y="464"/>
                    </a:lnTo>
                    <a:lnTo>
                      <a:pt x="573" y="464"/>
                    </a:lnTo>
                    <a:lnTo>
                      <a:pt x="574" y="464"/>
                    </a:lnTo>
                    <a:lnTo>
                      <a:pt x="575" y="464"/>
                    </a:lnTo>
                    <a:lnTo>
                      <a:pt x="576" y="464"/>
                    </a:lnTo>
                    <a:lnTo>
                      <a:pt x="577" y="464"/>
                    </a:lnTo>
                    <a:lnTo>
                      <a:pt x="578" y="464"/>
                    </a:lnTo>
                    <a:lnTo>
                      <a:pt x="579" y="464"/>
                    </a:lnTo>
                    <a:lnTo>
                      <a:pt x="579" y="465"/>
                    </a:lnTo>
                    <a:lnTo>
                      <a:pt x="579" y="464"/>
                    </a:lnTo>
                    <a:lnTo>
                      <a:pt x="578" y="464"/>
                    </a:lnTo>
                    <a:lnTo>
                      <a:pt x="579" y="463"/>
                    </a:lnTo>
                    <a:lnTo>
                      <a:pt x="580" y="463"/>
                    </a:lnTo>
                    <a:lnTo>
                      <a:pt x="580" y="462"/>
                    </a:lnTo>
                    <a:lnTo>
                      <a:pt x="581" y="462"/>
                    </a:lnTo>
                    <a:lnTo>
                      <a:pt x="582" y="461"/>
                    </a:lnTo>
                    <a:lnTo>
                      <a:pt x="583" y="461"/>
                    </a:lnTo>
                    <a:lnTo>
                      <a:pt x="583" y="460"/>
                    </a:lnTo>
                    <a:lnTo>
                      <a:pt x="584" y="460"/>
                    </a:lnTo>
                    <a:close/>
                    <a:moveTo>
                      <a:pt x="565" y="433"/>
                    </a:moveTo>
                    <a:lnTo>
                      <a:pt x="564" y="434"/>
                    </a:lnTo>
                    <a:lnTo>
                      <a:pt x="564" y="435"/>
                    </a:lnTo>
                    <a:lnTo>
                      <a:pt x="563" y="435"/>
                    </a:lnTo>
                    <a:lnTo>
                      <a:pt x="564" y="435"/>
                    </a:lnTo>
                    <a:lnTo>
                      <a:pt x="563" y="435"/>
                    </a:lnTo>
                    <a:lnTo>
                      <a:pt x="563" y="434"/>
                    </a:lnTo>
                    <a:lnTo>
                      <a:pt x="564" y="434"/>
                    </a:lnTo>
                    <a:lnTo>
                      <a:pt x="563" y="434"/>
                    </a:lnTo>
                    <a:lnTo>
                      <a:pt x="563" y="435"/>
                    </a:lnTo>
                    <a:lnTo>
                      <a:pt x="563" y="436"/>
                    </a:lnTo>
                    <a:lnTo>
                      <a:pt x="563" y="437"/>
                    </a:lnTo>
                    <a:lnTo>
                      <a:pt x="562" y="437"/>
                    </a:lnTo>
                    <a:lnTo>
                      <a:pt x="563" y="437"/>
                    </a:lnTo>
                    <a:lnTo>
                      <a:pt x="563" y="436"/>
                    </a:lnTo>
                    <a:lnTo>
                      <a:pt x="564" y="436"/>
                    </a:lnTo>
                    <a:lnTo>
                      <a:pt x="564" y="435"/>
                    </a:lnTo>
                    <a:lnTo>
                      <a:pt x="564" y="434"/>
                    </a:lnTo>
                    <a:lnTo>
                      <a:pt x="565" y="435"/>
                    </a:lnTo>
                    <a:lnTo>
                      <a:pt x="566" y="435"/>
                    </a:lnTo>
                    <a:lnTo>
                      <a:pt x="565" y="436"/>
                    </a:lnTo>
                    <a:lnTo>
                      <a:pt x="566" y="436"/>
                    </a:lnTo>
                    <a:lnTo>
                      <a:pt x="566" y="437"/>
                    </a:lnTo>
                    <a:lnTo>
                      <a:pt x="565" y="438"/>
                    </a:lnTo>
                    <a:lnTo>
                      <a:pt x="564" y="439"/>
                    </a:lnTo>
                    <a:lnTo>
                      <a:pt x="564" y="440"/>
                    </a:lnTo>
                    <a:lnTo>
                      <a:pt x="564" y="441"/>
                    </a:lnTo>
                    <a:lnTo>
                      <a:pt x="564" y="440"/>
                    </a:lnTo>
                    <a:lnTo>
                      <a:pt x="565" y="440"/>
                    </a:lnTo>
                    <a:lnTo>
                      <a:pt x="565" y="441"/>
                    </a:lnTo>
                    <a:lnTo>
                      <a:pt x="565" y="440"/>
                    </a:lnTo>
                    <a:lnTo>
                      <a:pt x="564" y="440"/>
                    </a:lnTo>
                    <a:lnTo>
                      <a:pt x="564" y="439"/>
                    </a:lnTo>
                    <a:lnTo>
                      <a:pt x="565" y="439"/>
                    </a:lnTo>
                    <a:lnTo>
                      <a:pt x="564" y="439"/>
                    </a:lnTo>
                    <a:lnTo>
                      <a:pt x="565" y="438"/>
                    </a:lnTo>
                    <a:lnTo>
                      <a:pt x="566" y="437"/>
                    </a:lnTo>
                    <a:lnTo>
                      <a:pt x="566" y="436"/>
                    </a:lnTo>
                    <a:lnTo>
                      <a:pt x="567" y="436"/>
                    </a:lnTo>
                    <a:lnTo>
                      <a:pt x="567" y="437"/>
                    </a:lnTo>
                    <a:lnTo>
                      <a:pt x="567" y="438"/>
                    </a:lnTo>
                    <a:lnTo>
                      <a:pt x="566" y="438"/>
                    </a:lnTo>
                    <a:lnTo>
                      <a:pt x="566" y="439"/>
                    </a:lnTo>
                    <a:lnTo>
                      <a:pt x="567" y="439"/>
                    </a:lnTo>
                    <a:lnTo>
                      <a:pt x="567" y="438"/>
                    </a:lnTo>
                    <a:lnTo>
                      <a:pt x="568" y="438"/>
                    </a:lnTo>
                    <a:lnTo>
                      <a:pt x="568" y="437"/>
                    </a:lnTo>
                    <a:lnTo>
                      <a:pt x="567" y="437"/>
                    </a:lnTo>
                    <a:lnTo>
                      <a:pt x="567" y="436"/>
                    </a:lnTo>
                    <a:lnTo>
                      <a:pt x="566" y="436"/>
                    </a:lnTo>
                    <a:lnTo>
                      <a:pt x="566" y="435"/>
                    </a:lnTo>
                    <a:lnTo>
                      <a:pt x="567" y="435"/>
                    </a:lnTo>
                    <a:lnTo>
                      <a:pt x="567" y="436"/>
                    </a:lnTo>
                    <a:lnTo>
                      <a:pt x="568" y="436"/>
                    </a:lnTo>
                    <a:lnTo>
                      <a:pt x="569" y="436"/>
                    </a:lnTo>
                    <a:lnTo>
                      <a:pt x="569" y="437"/>
                    </a:lnTo>
                    <a:lnTo>
                      <a:pt x="570" y="437"/>
                    </a:lnTo>
                    <a:lnTo>
                      <a:pt x="570" y="438"/>
                    </a:lnTo>
                    <a:lnTo>
                      <a:pt x="569" y="439"/>
                    </a:lnTo>
                    <a:lnTo>
                      <a:pt x="569" y="440"/>
                    </a:lnTo>
                    <a:lnTo>
                      <a:pt x="568" y="440"/>
                    </a:lnTo>
                    <a:lnTo>
                      <a:pt x="568" y="441"/>
                    </a:lnTo>
                    <a:lnTo>
                      <a:pt x="567" y="442"/>
                    </a:lnTo>
                    <a:lnTo>
                      <a:pt x="567" y="443"/>
                    </a:lnTo>
                    <a:lnTo>
                      <a:pt x="566" y="443"/>
                    </a:lnTo>
                    <a:lnTo>
                      <a:pt x="566" y="444"/>
                    </a:lnTo>
                    <a:lnTo>
                      <a:pt x="565" y="444"/>
                    </a:lnTo>
                    <a:lnTo>
                      <a:pt x="565" y="446"/>
                    </a:lnTo>
                    <a:lnTo>
                      <a:pt x="564" y="446"/>
                    </a:lnTo>
                    <a:lnTo>
                      <a:pt x="564" y="447"/>
                    </a:lnTo>
                    <a:lnTo>
                      <a:pt x="564" y="446"/>
                    </a:lnTo>
                    <a:lnTo>
                      <a:pt x="564" y="447"/>
                    </a:lnTo>
                    <a:lnTo>
                      <a:pt x="563" y="447"/>
                    </a:lnTo>
                    <a:lnTo>
                      <a:pt x="562" y="448"/>
                    </a:lnTo>
                    <a:lnTo>
                      <a:pt x="561" y="448"/>
                    </a:lnTo>
                    <a:lnTo>
                      <a:pt x="560" y="448"/>
                    </a:lnTo>
                    <a:lnTo>
                      <a:pt x="558" y="449"/>
                    </a:lnTo>
                    <a:lnTo>
                      <a:pt x="557" y="449"/>
                    </a:lnTo>
                    <a:lnTo>
                      <a:pt x="557" y="450"/>
                    </a:lnTo>
                    <a:lnTo>
                      <a:pt x="556" y="450"/>
                    </a:lnTo>
                    <a:lnTo>
                      <a:pt x="556" y="451"/>
                    </a:lnTo>
                    <a:lnTo>
                      <a:pt x="555" y="452"/>
                    </a:lnTo>
                    <a:lnTo>
                      <a:pt x="555" y="453"/>
                    </a:lnTo>
                    <a:lnTo>
                      <a:pt x="554" y="454"/>
                    </a:lnTo>
                    <a:lnTo>
                      <a:pt x="553" y="454"/>
                    </a:lnTo>
                    <a:lnTo>
                      <a:pt x="553" y="453"/>
                    </a:lnTo>
                    <a:lnTo>
                      <a:pt x="553" y="452"/>
                    </a:lnTo>
                    <a:lnTo>
                      <a:pt x="553" y="451"/>
                    </a:lnTo>
                    <a:lnTo>
                      <a:pt x="553" y="450"/>
                    </a:lnTo>
                    <a:lnTo>
                      <a:pt x="553" y="449"/>
                    </a:lnTo>
                    <a:lnTo>
                      <a:pt x="552" y="449"/>
                    </a:lnTo>
                    <a:lnTo>
                      <a:pt x="552" y="448"/>
                    </a:lnTo>
                    <a:lnTo>
                      <a:pt x="552" y="447"/>
                    </a:lnTo>
                    <a:lnTo>
                      <a:pt x="553" y="447"/>
                    </a:lnTo>
                    <a:lnTo>
                      <a:pt x="552" y="447"/>
                    </a:lnTo>
                    <a:lnTo>
                      <a:pt x="553" y="447"/>
                    </a:lnTo>
                    <a:lnTo>
                      <a:pt x="553" y="448"/>
                    </a:lnTo>
                    <a:lnTo>
                      <a:pt x="553" y="447"/>
                    </a:lnTo>
                    <a:lnTo>
                      <a:pt x="553" y="448"/>
                    </a:lnTo>
                    <a:lnTo>
                      <a:pt x="553" y="449"/>
                    </a:lnTo>
                    <a:lnTo>
                      <a:pt x="553" y="448"/>
                    </a:lnTo>
                    <a:lnTo>
                      <a:pt x="554" y="448"/>
                    </a:lnTo>
                    <a:lnTo>
                      <a:pt x="553" y="448"/>
                    </a:lnTo>
                    <a:lnTo>
                      <a:pt x="553" y="447"/>
                    </a:lnTo>
                    <a:lnTo>
                      <a:pt x="553" y="448"/>
                    </a:lnTo>
                    <a:lnTo>
                      <a:pt x="554" y="447"/>
                    </a:lnTo>
                    <a:lnTo>
                      <a:pt x="553" y="447"/>
                    </a:lnTo>
                    <a:lnTo>
                      <a:pt x="554" y="447"/>
                    </a:lnTo>
                    <a:lnTo>
                      <a:pt x="554" y="446"/>
                    </a:lnTo>
                    <a:lnTo>
                      <a:pt x="553" y="446"/>
                    </a:lnTo>
                    <a:lnTo>
                      <a:pt x="554" y="446"/>
                    </a:lnTo>
                    <a:lnTo>
                      <a:pt x="554" y="444"/>
                    </a:lnTo>
                    <a:lnTo>
                      <a:pt x="555" y="444"/>
                    </a:lnTo>
                    <a:lnTo>
                      <a:pt x="555" y="443"/>
                    </a:lnTo>
                    <a:lnTo>
                      <a:pt x="555" y="442"/>
                    </a:lnTo>
                    <a:lnTo>
                      <a:pt x="556" y="442"/>
                    </a:lnTo>
                    <a:lnTo>
                      <a:pt x="556" y="443"/>
                    </a:lnTo>
                    <a:lnTo>
                      <a:pt x="556" y="442"/>
                    </a:lnTo>
                    <a:lnTo>
                      <a:pt x="557" y="442"/>
                    </a:lnTo>
                    <a:lnTo>
                      <a:pt x="557" y="441"/>
                    </a:lnTo>
                    <a:lnTo>
                      <a:pt x="557" y="440"/>
                    </a:lnTo>
                    <a:lnTo>
                      <a:pt x="557" y="439"/>
                    </a:lnTo>
                    <a:lnTo>
                      <a:pt x="557" y="438"/>
                    </a:lnTo>
                    <a:lnTo>
                      <a:pt x="557" y="437"/>
                    </a:lnTo>
                    <a:lnTo>
                      <a:pt x="558" y="436"/>
                    </a:lnTo>
                    <a:lnTo>
                      <a:pt x="560" y="436"/>
                    </a:lnTo>
                    <a:lnTo>
                      <a:pt x="560" y="437"/>
                    </a:lnTo>
                    <a:lnTo>
                      <a:pt x="560" y="436"/>
                    </a:lnTo>
                    <a:lnTo>
                      <a:pt x="560" y="435"/>
                    </a:lnTo>
                    <a:lnTo>
                      <a:pt x="561" y="435"/>
                    </a:lnTo>
                    <a:lnTo>
                      <a:pt x="560" y="436"/>
                    </a:lnTo>
                    <a:lnTo>
                      <a:pt x="561" y="436"/>
                    </a:lnTo>
                    <a:lnTo>
                      <a:pt x="561" y="435"/>
                    </a:lnTo>
                    <a:lnTo>
                      <a:pt x="561" y="436"/>
                    </a:lnTo>
                    <a:lnTo>
                      <a:pt x="561" y="437"/>
                    </a:lnTo>
                    <a:lnTo>
                      <a:pt x="561" y="436"/>
                    </a:lnTo>
                    <a:lnTo>
                      <a:pt x="562" y="436"/>
                    </a:lnTo>
                    <a:lnTo>
                      <a:pt x="562" y="435"/>
                    </a:lnTo>
                    <a:lnTo>
                      <a:pt x="563" y="435"/>
                    </a:lnTo>
                    <a:lnTo>
                      <a:pt x="563" y="434"/>
                    </a:lnTo>
                    <a:lnTo>
                      <a:pt x="563" y="433"/>
                    </a:lnTo>
                    <a:lnTo>
                      <a:pt x="564" y="433"/>
                    </a:lnTo>
                    <a:lnTo>
                      <a:pt x="564" y="434"/>
                    </a:lnTo>
                    <a:lnTo>
                      <a:pt x="564" y="433"/>
                    </a:lnTo>
                    <a:lnTo>
                      <a:pt x="564" y="431"/>
                    </a:lnTo>
                    <a:lnTo>
                      <a:pt x="564" y="433"/>
                    </a:lnTo>
                    <a:lnTo>
                      <a:pt x="565" y="433"/>
                    </a:lnTo>
                    <a:close/>
                    <a:moveTo>
                      <a:pt x="595" y="504"/>
                    </a:moveTo>
                    <a:lnTo>
                      <a:pt x="596" y="504"/>
                    </a:lnTo>
                    <a:lnTo>
                      <a:pt x="597" y="504"/>
                    </a:lnTo>
                    <a:lnTo>
                      <a:pt x="597" y="505"/>
                    </a:lnTo>
                    <a:lnTo>
                      <a:pt x="599" y="505"/>
                    </a:lnTo>
                    <a:lnTo>
                      <a:pt x="599" y="506"/>
                    </a:lnTo>
                    <a:lnTo>
                      <a:pt x="600" y="506"/>
                    </a:lnTo>
                    <a:lnTo>
                      <a:pt x="600" y="505"/>
                    </a:lnTo>
                    <a:lnTo>
                      <a:pt x="602" y="505"/>
                    </a:lnTo>
                    <a:lnTo>
                      <a:pt x="603" y="505"/>
                    </a:lnTo>
                    <a:lnTo>
                      <a:pt x="604" y="504"/>
                    </a:lnTo>
                    <a:lnTo>
                      <a:pt x="603" y="503"/>
                    </a:lnTo>
                    <a:lnTo>
                      <a:pt x="604" y="503"/>
                    </a:lnTo>
                    <a:lnTo>
                      <a:pt x="604" y="502"/>
                    </a:lnTo>
                    <a:lnTo>
                      <a:pt x="605" y="501"/>
                    </a:lnTo>
                    <a:lnTo>
                      <a:pt x="605" y="502"/>
                    </a:lnTo>
                    <a:lnTo>
                      <a:pt x="605" y="503"/>
                    </a:lnTo>
                    <a:lnTo>
                      <a:pt x="606" y="503"/>
                    </a:lnTo>
                    <a:lnTo>
                      <a:pt x="606" y="502"/>
                    </a:lnTo>
                    <a:lnTo>
                      <a:pt x="607" y="502"/>
                    </a:lnTo>
                    <a:lnTo>
                      <a:pt x="608" y="502"/>
                    </a:lnTo>
                    <a:lnTo>
                      <a:pt x="608" y="503"/>
                    </a:lnTo>
                    <a:lnTo>
                      <a:pt x="609" y="502"/>
                    </a:lnTo>
                    <a:lnTo>
                      <a:pt x="610" y="502"/>
                    </a:lnTo>
                    <a:lnTo>
                      <a:pt x="612" y="502"/>
                    </a:lnTo>
                    <a:lnTo>
                      <a:pt x="613" y="502"/>
                    </a:lnTo>
                    <a:lnTo>
                      <a:pt x="614" y="502"/>
                    </a:lnTo>
                    <a:lnTo>
                      <a:pt x="613" y="502"/>
                    </a:lnTo>
                    <a:lnTo>
                      <a:pt x="609" y="503"/>
                    </a:lnTo>
                    <a:lnTo>
                      <a:pt x="604" y="505"/>
                    </a:lnTo>
                    <a:lnTo>
                      <a:pt x="603" y="505"/>
                    </a:lnTo>
                    <a:lnTo>
                      <a:pt x="600" y="506"/>
                    </a:lnTo>
                    <a:lnTo>
                      <a:pt x="596" y="507"/>
                    </a:lnTo>
                    <a:lnTo>
                      <a:pt x="595" y="508"/>
                    </a:lnTo>
                    <a:lnTo>
                      <a:pt x="593" y="510"/>
                    </a:lnTo>
                    <a:lnTo>
                      <a:pt x="591" y="510"/>
                    </a:lnTo>
                    <a:lnTo>
                      <a:pt x="589" y="510"/>
                    </a:lnTo>
                    <a:lnTo>
                      <a:pt x="588" y="511"/>
                    </a:lnTo>
                    <a:lnTo>
                      <a:pt x="587" y="511"/>
                    </a:lnTo>
                    <a:lnTo>
                      <a:pt x="586" y="511"/>
                    </a:lnTo>
                    <a:lnTo>
                      <a:pt x="581" y="513"/>
                    </a:lnTo>
                    <a:lnTo>
                      <a:pt x="580" y="513"/>
                    </a:lnTo>
                    <a:lnTo>
                      <a:pt x="580" y="514"/>
                    </a:lnTo>
                    <a:lnTo>
                      <a:pt x="579" y="514"/>
                    </a:lnTo>
                    <a:lnTo>
                      <a:pt x="579" y="513"/>
                    </a:lnTo>
                    <a:lnTo>
                      <a:pt x="578" y="513"/>
                    </a:lnTo>
                    <a:lnTo>
                      <a:pt x="579" y="513"/>
                    </a:lnTo>
                    <a:lnTo>
                      <a:pt x="579" y="512"/>
                    </a:lnTo>
                    <a:lnTo>
                      <a:pt x="580" y="512"/>
                    </a:lnTo>
                    <a:lnTo>
                      <a:pt x="579" y="511"/>
                    </a:lnTo>
                    <a:lnTo>
                      <a:pt x="579" y="510"/>
                    </a:lnTo>
                    <a:lnTo>
                      <a:pt x="580" y="510"/>
                    </a:lnTo>
                    <a:lnTo>
                      <a:pt x="580" y="508"/>
                    </a:lnTo>
                    <a:lnTo>
                      <a:pt x="580" y="510"/>
                    </a:lnTo>
                    <a:lnTo>
                      <a:pt x="581" y="510"/>
                    </a:lnTo>
                    <a:lnTo>
                      <a:pt x="581" y="508"/>
                    </a:lnTo>
                    <a:lnTo>
                      <a:pt x="582" y="508"/>
                    </a:lnTo>
                    <a:lnTo>
                      <a:pt x="582" y="507"/>
                    </a:lnTo>
                    <a:lnTo>
                      <a:pt x="583" y="507"/>
                    </a:lnTo>
                    <a:lnTo>
                      <a:pt x="583" y="506"/>
                    </a:lnTo>
                    <a:lnTo>
                      <a:pt x="584" y="506"/>
                    </a:lnTo>
                    <a:lnTo>
                      <a:pt x="586" y="506"/>
                    </a:lnTo>
                    <a:lnTo>
                      <a:pt x="586" y="507"/>
                    </a:lnTo>
                    <a:lnTo>
                      <a:pt x="584" y="506"/>
                    </a:lnTo>
                    <a:lnTo>
                      <a:pt x="584" y="507"/>
                    </a:lnTo>
                    <a:lnTo>
                      <a:pt x="584" y="508"/>
                    </a:lnTo>
                    <a:lnTo>
                      <a:pt x="586" y="508"/>
                    </a:lnTo>
                    <a:lnTo>
                      <a:pt x="586" y="507"/>
                    </a:lnTo>
                    <a:lnTo>
                      <a:pt x="586" y="506"/>
                    </a:lnTo>
                    <a:lnTo>
                      <a:pt x="587" y="506"/>
                    </a:lnTo>
                    <a:lnTo>
                      <a:pt x="587" y="505"/>
                    </a:lnTo>
                    <a:lnTo>
                      <a:pt x="587" y="504"/>
                    </a:lnTo>
                    <a:lnTo>
                      <a:pt x="587" y="503"/>
                    </a:lnTo>
                    <a:lnTo>
                      <a:pt x="588" y="502"/>
                    </a:lnTo>
                    <a:lnTo>
                      <a:pt x="589" y="501"/>
                    </a:lnTo>
                    <a:lnTo>
                      <a:pt x="589" y="500"/>
                    </a:lnTo>
                    <a:lnTo>
                      <a:pt x="589" y="498"/>
                    </a:lnTo>
                    <a:lnTo>
                      <a:pt x="590" y="498"/>
                    </a:lnTo>
                    <a:lnTo>
                      <a:pt x="592" y="498"/>
                    </a:lnTo>
                    <a:lnTo>
                      <a:pt x="592" y="499"/>
                    </a:lnTo>
                    <a:lnTo>
                      <a:pt x="592" y="500"/>
                    </a:lnTo>
                    <a:lnTo>
                      <a:pt x="592" y="501"/>
                    </a:lnTo>
                    <a:lnTo>
                      <a:pt x="591" y="501"/>
                    </a:lnTo>
                    <a:lnTo>
                      <a:pt x="592" y="501"/>
                    </a:lnTo>
                    <a:lnTo>
                      <a:pt x="592" y="502"/>
                    </a:lnTo>
                    <a:lnTo>
                      <a:pt x="593" y="503"/>
                    </a:lnTo>
                    <a:lnTo>
                      <a:pt x="595" y="504"/>
                    </a:lnTo>
                    <a:close/>
                    <a:moveTo>
                      <a:pt x="552" y="470"/>
                    </a:moveTo>
                    <a:lnTo>
                      <a:pt x="553" y="472"/>
                    </a:lnTo>
                    <a:lnTo>
                      <a:pt x="554" y="472"/>
                    </a:lnTo>
                    <a:lnTo>
                      <a:pt x="553" y="473"/>
                    </a:lnTo>
                    <a:lnTo>
                      <a:pt x="553" y="474"/>
                    </a:lnTo>
                    <a:lnTo>
                      <a:pt x="553" y="475"/>
                    </a:lnTo>
                    <a:lnTo>
                      <a:pt x="552" y="475"/>
                    </a:lnTo>
                    <a:lnTo>
                      <a:pt x="550" y="478"/>
                    </a:lnTo>
                    <a:lnTo>
                      <a:pt x="549" y="478"/>
                    </a:lnTo>
                    <a:lnTo>
                      <a:pt x="548" y="479"/>
                    </a:lnTo>
                    <a:lnTo>
                      <a:pt x="546" y="479"/>
                    </a:lnTo>
                    <a:lnTo>
                      <a:pt x="545" y="479"/>
                    </a:lnTo>
                    <a:lnTo>
                      <a:pt x="545" y="480"/>
                    </a:lnTo>
                    <a:lnTo>
                      <a:pt x="544" y="480"/>
                    </a:lnTo>
                    <a:lnTo>
                      <a:pt x="544" y="481"/>
                    </a:lnTo>
                    <a:lnTo>
                      <a:pt x="543" y="483"/>
                    </a:lnTo>
                    <a:lnTo>
                      <a:pt x="542" y="483"/>
                    </a:lnTo>
                    <a:lnTo>
                      <a:pt x="542" y="485"/>
                    </a:lnTo>
                    <a:lnTo>
                      <a:pt x="541" y="485"/>
                    </a:lnTo>
                    <a:lnTo>
                      <a:pt x="540" y="485"/>
                    </a:lnTo>
                    <a:lnTo>
                      <a:pt x="538" y="485"/>
                    </a:lnTo>
                    <a:lnTo>
                      <a:pt x="537" y="485"/>
                    </a:lnTo>
                    <a:lnTo>
                      <a:pt x="537" y="483"/>
                    </a:lnTo>
                    <a:lnTo>
                      <a:pt x="537" y="485"/>
                    </a:lnTo>
                    <a:lnTo>
                      <a:pt x="536" y="485"/>
                    </a:lnTo>
                    <a:lnTo>
                      <a:pt x="536" y="483"/>
                    </a:lnTo>
                    <a:lnTo>
                      <a:pt x="535" y="483"/>
                    </a:lnTo>
                    <a:lnTo>
                      <a:pt x="535" y="482"/>
                    </a:lnTo>
                    <a:lnTo>
                      <a:pt x="535" y="481"/>
                    </a:lnTo>
                    <a:lnTo>
                      <a:pt x="536" y="481"/>
                    </a:lnTo>
                    <a:lnTo>
                      <a:pt x="536" y="480"/>
                    </a:lnTo>
                    <a:lnTo>
                      <a:pt x="537" y="480"/>
                    </a:lnTo>
                    <a:lnTo>
                      <a:pt x="537" y="479"/>
                    </a:lnTo>
                    <a:lnTo>
                      <a:pt x="537" y="478"/>
                    </a:lnTo>
                    <a:lnTo>
                      <a:pt x="538" y="478"/>
                    </a:lnTo>
                    <a:lnTo>
                      <a:pt x="539" y="480"/>
                    </a:lnTo>
                    <a:lnTo>
                      <a:pt x="540" y="480"/>
                    </a:lnTo>
                    <a:lnTo>
                      <a:pt x="541" y="480"/>
                    </a:lnTo>
                    <a:lnTo>
                      <a:pt x="542" y="480"/>
                    </a:lnTo>
                    <a:lnTo>
                      <a:pt x="543" y="480"/>
                    </a:lnTo>
                    <a:lnTo>
                      <a:pt x="543" y="479"/>
                    </a:lnTo>
                    <a:lnTo>
                      <a:pt x="544" y="479"/>
                    </a:lnTo>
                    <a:lnTo>
                      <a:pt x="544" y="478"/>
                    </a:lnTo>
                    <a:lnTo>
                      <a:pt x="544" y="479"/>
                    </a:lnTo>
                    <a:lnTo>
                      <a:pt x="543" y="480"/>
                    </a:lnTo>
                    <a:lnTo>
                      <a:pt x="542" y="480"/>
                    </a:lnTo>
                    <a:lnTo>
                      <a:pt x="541" y="480"/>
                    </a:lnTo>
                    <a:lnTo>
                      <a:pt x="540" y="480"/>
                    </a:lnTo>
                    <a:lnTo>
                      <a:pt x="539" y="480"/>
                    </a:lnTo>
                    <a:lnTo>
                      <a:pt x="539" y="479"/>
                    </a:lnTo>
                    <a:lnTo>
                      <a:pt x="538" y="478"/>
                    </a:lnTo>
                    <a:lnTo>
                      <a:pt x="539" y="477"/>
                    </a:lnTo>
                    <a:lnTo>
                      <a:pt x="540" y="476"/>
                    </a:lnTo>
                    <a:lnTo>
                      <a:pt x="541" y="476"/>
                    </a:lnTo>
                    <a:lnTo>
                      <a:pt x="542" y="475"/>
                    </a:lnTo>
                    <a:lnTo>
                      <a:pt x="543" y="475"/>
                    </a:lnTo>
                    <a:lnTo>
                      <a:pt x="543" y="474"/>
                    </a:lnTo>
                    <a:lnTo>
                      <a:pt x="544" y="474"/>
                    </a:lnTo>
                    <a:lnTo>
                      <a:pt x="545" y="473"/>
                    </a:lnTo>
                    <a:lnTo>
                      <a:pt x="545" y="472"/>
                    </a:lnTo>
                    <a:lnTo>
                      <a:pt x="546" y="472"/>
                    </a:lnTo>
                    <a:lnTo>
                      <a:pt x="546" y="470"/>
                    </a:lnTo>
                    <a:lnTo>
                      <a:pt x="548" y="470"/>
                    </a:lnTo>
                    <a:lnTo>
                      <a:pt x="549" y="470"/>
                    </a:lnTo>
                    <a:lnTo>
                      <a:pt x="550" y="470"/>
                    </a:lnTo>
                    <a:lnTo>
                      <a:pt x="551" y="470"/>
                    </a:lnTo>
                    <a:lnTo>
                      <a:pt x="552" y="470"/>
                    </a:lnTo>
                    <a:close/>
                    <a:moveTo>
                      <a:pt x="554" y="552"/>
                    </a:moveTo>
                    <a:lnTo>
                      <a:pt x="555" y="553"/>
                    </a:lnTo>
                    <a:lnTo>
                      <a:pt x="556" y="553"/>
                    </a:lnTo>
                    <a:lnTo>
                      <a:pt x="557" y="553"/>
                    </a:lnTo>
                    <a:lnTo>
                      <a:pt x="558" y="554"/>
                    </a:lnTo>
                    <a:lnTo>
                      <a:pt x="558" y="555"/>
                    </a:lnTo>
                    <a:lnTo>
                      <a:pt x="558" y="556"/>
                    </a:lnTo>
                    <a:lnTo>
                      <a:pt x="558" y="557"/>
                    </a:lnTo>
                    <a:lnTo>
                      <a:pt x="560" y="558"/>
                    </a:lnTo>
                    <a:lnTo>
                      <a:pt x="558" y="556"/>
                    </a:lnTo>
                    <a:lnTo>
                      <a:pt x="560" y="556"/>
                    </a:lnTo>
                    <a:lnTo>
                      <a:pt x="558" y="556"/>
                    </a:lnTo>
                    <a:lnTo>
                      <a:pt x="558" y="555"/>
                    </a:lnTo>
                    <a:lnTo>
                      <a:pt x="558" y="554"/>
                    </a:lnTo>
                    <a:lnTo>
                      <a:pt x="560" y="554"/>
                    </a:lnTo>
                    <a:lnTo>
                      <a:pt x="560" y="555"/>
                    </a:lnTo>
                    <a:lnTo>
                      <a:pt x="561" y="555"/>
                    </a:lnTo>
                    <a:lnTo>
                      <a:pt x="561" y="556"/>
                    </a:lnTo>
                    <a:lnTo>
                      <a:pt x="562" y="556"/>
                    </a:lnTo>
                    <a:lnTo>
                      <a:pt x="563" y="556"/>
                    </a:lnTo>
                    <a:lnTo>
                      <a:pt x="563" y="557"/>
                    </a:lnTo>
                    <a:lnTo>
                      <a:pt x="564" y="557"/>
                    </a:lnTo>
                    <a:lnTo>
                      <a:pt x="563" y="557"/>
                    </a:lnTo>
                    <a:lnTo>
                      <a:pt x="563" y="558"/>
                    </a:lnTo>
                    <a:lnTo>
                      <a:pt x="562" y="557"/>
                    </a:lnTo>
                    <a:lnTo>
                      <a:pt x="562" y="558"/>
                    </a:lnTo>
                    <a:lnTo>
                      <a:pt x="563" y="558"/>
                    </a:lnTo>
                    <a:lnTo>
                      <a:pt x="562" y="558"/>
                    </a:lnTo>
                    <a:lnTo>
                      <a:pt x="562" y="559"/>
                    </a:lnTo>
                    <a:lnTo>
                      <a:pt x="563" y="558"/>
                    </a:lnTo>
                    <a:lnTo>
                      <a:pt x="564" y="558"/>
                    </a:lnTo>
                    <a:lnTo>
                      <a:pt x="563" y="558"/>
                    </a:lnTo>
                    <a:lnTo>
                      <a:pt x="564" y="558"/>
                    </a:lnTo>
                    <a:lnTo>
                      <a:pt x="564" y="557"/>
                    </a:lnTo>
                    <a:lnTo>
                      <a:pt x="565" y="558"/>
                    </a:lnTo>
                    <a:lnTo>
                      <a:pt x="565" y="559"/>
                    </a:lnTo>
                    <a:lnTo>
                      <a:pt x="565" y="560"/>
                    </a:lnTo>
                    <a:lnTo>
                      <a:pt x="565" y="562"/>
                    </a:lnTo>
                    <a:lnTo>
                      <a:pt x="565" y="564"/>
                    </a:lnTo>
                    <a:lnTo>
                      <a:pt x="565" y="565"/>
                    </a:lnTo>
                    <a:lnTo>
                      <a:pt x="566" y="565"/>
                    </a:lnTo>
                    <a:lnTo>
                      <a:pt x="565" y="565"/>
                    </a:lnTo>
                    <a:lnTo>
                      <a:pt x="564" y="565"/>
                    </a:lnTo>
                    <a:lnTo>
                      <a:pt x="563" y="565"/>
                    </a:lnTo>
                    <a:lnTo>
                      <a:pt x="562" y="565"/>
                    </a:lnTo>
                    <a:lnTo>
                      <a:pt x="561" y="565"/>
                    </a:lnTo>
                    <a:lnTo>
                      <a:pt x="561" y="566"/>
                    </a:lnTo>
                    <a:lnTo>
                      <a:pt x="561" y="565"/>
                    </a:lnTo>
                    <a:lnTo>
                      <a:pt x="560" y="565"/>
                    </a:lnTo>
                    <a:lnTo>
                      <a:pt x="558" y="565"/>
                    </a:lnTo>
                    <a:lnTo>
                      <a:pt x="558" y="564"/>
                    </a:lnTo>
                    <a:lnTo>
                      <a:pt x="557" y="563"/>
                    </a:lnTo>
                    <a:lnTo>
                      <a:pt x="556" y="563"/>
                    </a:lnTo>
                    <a:lnTo>
                      <a:pt x="557" y="563"/>
                    </a:lnTo>
                    <a:lnTo>
                      <a:pt x="556" y="562"/>
                    </a:lnTo>
                    <a:lnTo>
                      <a:pt x="555" y="562"/>
                    </a:lnTo>
                    <a:lnTo>
                      <a:pt x="555" y="560"/>
                    </a:lnTo>
                    <a:lnTo>
                      <a:pt x="555" y="559"/>
                    </a:lnTo>
                    <a:lnTo>
                      <a:pt x="555" y="560"/>
                    </a:lnTo>
                    <a:lnTo>
                      <a:pt x="554" y="559"/>
                    </a:lnTo>
                    <a:lnTo>
                      <a:pt x="554" y="558"/>
                    </a:lnTo>
                    <a:lnTo>
                      <a:pt x="553" y="558"/>
                    </a:lnTo>
                    <a:lnTo>
                      <a:pt x="553" y="557"/>
                    </a:lnTo>
                    <a:lnTo>
                      <a:pt x="552" y="557"/>
                    </a:lnTo>
                    <a:lnTo>
                      <a:pt x="552" y="556"/>
                    </a:lnTo>
                    <a:lnTo>
                      <a:pt x="551" y="556"/>
                    </a:lnTo>
                    <a:lnTo>
                      <a:pt x="550" y="555"/>
                    </a:lnTo>
                    <a:lnTo>
                      <a:pt x="549" y="555"/>
                    </a:lnTo>
                    <a:lnTo>
                      <a:pt x="549" y="554"/>
                    </a:lnTo>
                    <a:lnTo>
                      <a:pt x="548" y="554"/>
                    </a:lnTo>
                    <a:lnTo>
                      <a:pt x="548" y="553"/>
                    </a:lnTo>
                    <a:lnTo>
                      <a:pt x="549" y="553"/>
                    </a:lnTo>
                    <a:lnTo>
                      <a:pt x="550" y="553"/>
                    </a:lnTo>
                    <a:lnTo>
                      <a:pt x="550" y="554"/>
                    </a:lnTo>
                    <a:lnTo>
                      <a:pt x="551" y="554"/>
                    </a:lnTo>
                    <a:lnTo>
                      <a:pt x="551" y="553"/>
                    </a:lnTo>
                    <a:lnTo>
                      <a:pt x="552" y="553"/>
                    </a:lnTo>
                    <a:lnTo>
                      <a:pt x="553" y="553"/>
                    </a:lnTo>
                    <a:lnTo>
                      <a:pt x="554" y="552"/>
                    </a:lnTo>
                    <a:close/>
                    <a:moveTo>
                      <a:pt x="550" y="555"/>
                    </a:moveTo>
                    <a:lnTo>
                      <a:pt x="550" y="556"/>
                    </a:lnTo>
                    <a:lnTo>
                      <a:pt x="551" y="556"/>
                    </a:lnTo>
                    <a:lnTo>
                      <a:pt x="551" y="557"/>
                    </a:lnTo>
                    <a:lnTo>
                      <a:pt x="552" y="557"/>
                    </a:lnTo>
                    <a:lnTo>
                      <a:pt x="552" y="558"/>
                    </a:lnTo>
                    <a:lnTo>
                      <a:pt x="552" y="557"/>
                    </a:lnTo>
                    <a:lnTo>
                      <a:pt x="552" y="558"/>
                    </a:lnTo>
                    <a:lnTo>
                      <a:pt x="553" y="558"/>
                    </a:lnTo>
                    <a:lnTo>
                      <a:pt x="555" y="562"/>
                    </a:lnTo>
                    <a:lnTo>
                      <a:pt x="557" y="564"/>
                    </a:lnTo>
                    <a:lnTo>
                      <a:pt x="558" y="565"/>
                    </a:lnTo>
                    <a:lnTo>
                      <a:pt x="560" y="566"/>
                    </a:lnTo>
                    <a:lnTo>
                      <a:pt x="561" y="566"/>
                    </a:lnTo>
                    <a:lnTo>
                      <a:pt x="561" y="567"/>
                    </a:lnTo>
                    <a:lnTo>
                      <a:pt x="562" y="567"/>
                    </a:lnTo>
                    <a:lnTo>
                      <a:pt x="562" y="568"/>
                    </a:lnTo>
                    <a:lnTo>
                      <a:pt x="562" y="569"/>
                    </a:lnTo>
                    <a:lnTo>
                      <a:pt x="563" y="569"/>
                    </a:lnTo>
                    <a:lnTo>
                      <a:pt x="563" y="570"/>
                    </a:lnTo>
                    <a:lnTo>
                      <a:pt x="563" y="571"/>
                    </a:lnTo>
                    <a:lnTo>
                      <a:pt x="564" y="571"/>
                    </a:lnTo>
                    <a:lnTo>
                      <a:pt x="564" y="572"/>
                    </a:lnTo>
                    <a:lnTo>
                      <a:pt x="565" y="573"/>
                    </a:lnTo>
                    <a:lnTo>
                      <a:pt x="566" y="573"/>
                    </a:lnTo>
                    <a:lnTo>
                      <a:pt x="565" y="573"/>
                    </a:lnTo>
                    <a:lnTo>
                      <a:pt x="566" y="573"/>
                    </a:lnTo>
                    <a:lnTo>
                      <a:pt x="566" y="575"/>
                    </a:lnTo>
                    <a:lnTo>
                      <a:pt x="567" y="575"/>
                    </a:lnTo>
                    <a:lnTo>
                      <a:pt x="566" y="575"/>
                    </a:lnTo>
                    <a:lnTo>
                      <a:pt x="565" y="573"/>
                    </a:lnTo>
                    <a:lnTo>
                      <a:pt x="564" y="573"/>
                    </a:lnTo>
                    <a:lnTo>
                      <a:pt x="563" y="572"/>
                    </a:lnTo>
                    <a:lnTo>
                      <a:pt x="562" y="572"/>
                    </a:lnTo>
                    <a:lnTo>
                      <a:pt x="561" y="572"/>
                    </a:lnTo>
                    <a:lnTo>
                      <a:pt x="560" y="571"/>
                    </a:lnTo>
                    <a:lnTo>
                      <a:pt x="560" y="572"/>
                    </a:lnTo>
                    <a:lnTo>
                      <a:pt x="560" y="571"/>
                    </a:lnTo>
                    <a:lnTo>
                      <a:pt x="558" y="571"/>
                    </a:lnTo>
                    <a:lnTo>
                      <a:pt x="558" y="570"/>
                    </a:lnTo>
                    <a:lnTo>
                      <a:pt x="556" y="569"/>
                    </a:lnTo>
                    <a:lnTo>
                      <a:pt x="555" y="569"/>
                    </a:lnTo>
                    <a:lnTo>
                      <a:pt x="555" y="568"/>
                    </a:lnTo>
                    <a:lnTo>
                      <a:pt x="554" y="568"/>
                    </a:lnTo>
                    <a:lnTo>
                      <a:pt x="553" y="568"/>
                    </a:lnTo>
                    <a:lnTo>
                      <a:pt x="553" y="567"/>
                    </a:lnTo>
                    <a:lnTo>
                      <a:pt x="552" y="566"/>
                    </a:lnTo>
                    <a:lnTo>
                      <a:pt x="551" y="565"/>
                    </a:lnTo>
                    <a:lnTo>
                      <a:pt x="550" y="565"/>
                    </a:lnTo>
                    <a:lnTo>
                      <a:pt x="549" y="564"/>
                    </a:lnTo>
                    <a:lnTo>
                      <a:pt x="546" y="563"/>
                    </a:lnTo>
                    <a:lnTo>
                      <a:pt x="546" y="562"/>
                    </a:lnTo>
                    <a:lnTo>
                      <a:pt x="546" y="560"/>
                    </a:lnTo>
                    <a:lnTo>
                      <a:pt x="546" y="559"/>
                    </a:lnTo>
                    <a:lnTo>
                      <a:pt x="548" y="559"/>
                    </a:lnTo>
                    <a:lnTo>
                      <a:pt x="548" y="558"/>
                    </a:lnTo>
                    <a:lnTo>
                      <a:pt x="548" y="557"/>
                    </a:lnTo>
                    <a:lnTo>
                      <a:pt x="548" y="556"/>
                    </a:lnTo>
                    <a:lnTo>
                      <a:pt x="549" y="556"/>
                    </a:lnTo>
                    <a:lnTo>
                      <a:pt x="549" y="555"/>
                    </a:lnTo>
                    <a:lnTo>
                      <a:pt x="548" y="555"/>
                    </a:lnTo>
                    <a:lnTo>
                      <a:pt x="548" y="554"/>
                    </a:lnTo>
                    <a:lnTo>
                      <a:pt x="549" y="555"/>
                    </a:lnTo>
                    <a:lnTo>
                      <a:pt x="550" y="555"/>
                    </a:lnTo>
                    <a:close/>
                    <a:moveTo>
                      <a:pt x="582" y="567"/>
                    </a:moveTo>
                    <a:lnTo>
                      <a:pt x="583" y="568"/>
                    </a:lnTo>
                    <a:lnTo>
                      <a:pt x="584" y="569"/>
                    </a:lnTo>
                    <a:lnTo>
                      <a:pt x="586" y="569"/>
                    </a:lnTo>
                    <a:lnTo>
                      <a:pt x="586" y="570"/>
                    </a:lnTo>
                    <a:lnTo>
                      <a:pt x="584" y="570"/>
                    </a:lnTo>
                    <a:lnTo>
                      <a:pt x="583" y="570"/>
                    </a:lnTo>
                    <a:lnTo>
                      <a:pt x="584" y="570"/>
                    </a:lnTo>
                    <a:lnTo>
                      <a:pt x="586" y="570"/>
                    </a:lnTo>
                    <a:lnTo>
                      <a:pt x="587" y="570"/>
                    </a:lnTo>
                    <a:lnTo>
                      <a:pt x="586" y="570"/>
                    </a:lnTo>
                    <a:lnTo>
                      <a:pt x="586" y="571"/>
                    </a:lnTo>
                    <a:lnTo>
                      <a:pt x="584" y="571"/>
                    </a:lnTo>
                    <a:lnTo>
                      <a:pt x="584" y="570"/>
                    </a:lnTo>
                    <a:lnTo>
                      <a:pt x="583" y="570"/>
                    </a:lnTo>
                    <a:lnTo>
                      <a:pt x="584" y="571"/>
                    </a:lnTo>
                    <a:lnTo>
                      <a:pt x="584" y="572"/>
                    </a:lnTo>
                    <a:lnTo>
                      <a:pt x="584" y="573"/>
                    </a:lnTo>
                    <a:lnTo>
                      <a:pt x="586" y="573"/>
                    </a:lnTo>
                    <a:lnTo>
                      <a:pt x="584" y="573"/>
                    </a:lnTo>
                    <a:lnTo>
                      <a:pt x="583" y="572"/>
                    </a:lnTo>
                    <a:lnTo>
                      <a:pt x="582" y="571"/>
                    </a:lnTo>
                    <a:lnTo>
                      <a:pt x="581" y="570"/>
                    </a:lnTo>
                    <a:lnTo>
                      <a:pt x="580" y="570"/>
                    </a:lnTo>
                    <a:lnTo>
                      <a:pt x="578" y="569"/>
                    </a:lnTo>
                    <a:lnTo>
                      <a:pt x="577" y="569"/>
                    </a:lnTo>
                    <a:lnTo>
                      <a:pt x="576" y="569"/>
                    </a:lnTo>
                    <a:lnTo>
                      <a:pt x="575" y="569"/>
                    </a:lnTo>
                    <a:lnTo>
                      <a:pt x="574" y="569"/>
                    </a:lnTo>
                    <a:lnTo>
                      <a:pt x="573" y="569"/>
                    </a:lnTo>
                    <a:lnTo>
                      <a:pt x="571" y="569"/>
                    </a:lnTo>
                    <a:lnTo>
                      <a:pt x="571" y="570"/>
                    </a:lnTo>
                    <a:lnTo>
                      <a:pt x="570" y="571"/>
                    </a:lnTo>
                    <a:lnTo>
                      <a:pt x="570" y="572"/>
                    </a:lnTo>
                    <a:lnTo>
                      <a:pt x="571" y="572"/>
                    </a:lnTo>
                    <a:lnTo>
                      <a:pt x="573" y="573"/>
                    </a:lnTo>
                    <a:lnTo>
                      <a:pt x="573" y="575"/>
                    </a:lnTo>
                    <a:lnTo>
                      <a:pt x="574" y="575"/>
                    </a:lnTo>
                    <a:lnTo>
                      <a:pt x="575" y="575"/>
                    </a:lnTo>
                    <a:lnTo>
                      <a:pt x="575" y="576"/>
                    </a:lnTo>
                    <a:lnTo>
                      <a:pt x="576" y="576"/>
                    </a:lnTo>
                    <a:lnTo>
                      <a:pt x="577" y="577"/>
                    </a:lnTo>
                    <a:lnTo>
                      <a:pt x="578" y="577"/>
                    </a:lnTo>
                    <a:lnTo>
                      <a:pt x="578" y="576"/>
                    </a:lnTo>
                    <a:lnTo>
                      <a:pt x="578" y="575"/>
                    </a:lnTo>
                    <a:lnTo>
                      <a:pt x="579" y="575"/>
                    </a:lnTo>
                    <a:lnTo>
                      <a:pt x="580" y="575"/>
                    </a:lnTo>
                    <a:lnTo>
                      <a:pt x="582" y="575"/>
                    </a:lnTo>
                    <a:lnTo>
                      <a:pt x="582" y="576"/>
                    </a:lnTo>
                    <a:lnTo>
                      <a:pt x="582" y="575"/>
                    </a:lnTo>
                    <a:lnTo>
                      <a:pt x="581" y="575"/>
                    </a:lnTo>
                    <a:lnTo>
                      <a:pt x="581" y="576"/>
                    </a:lnTo>
                    <a:lnTo>
                      <a:pt x="580" y="576"/>
                    </a:lnTo>
                    <a:lnTo>
                      <a:pt x="581" y="576"/>
                    </a:lnTo>
                    <a:lnTo>
                      <a:pt x="583" y="576"/>
                    </a:lnTo>
                    <a:lnTo>
                      <a:pt x="582" y="576"/>
                    </a:lnTo>
                    <a:lnTo>
                      <a:pt x="581" y="577"/>
                    </a:lnTo>
                    <a:lnTo>
                      <a:pt x="582" y="577"/>
                    </a:lnTo>
                    <a:lnTo>
                      <a:pt x="581" y="577"/>
                    </a:lnTo>
                    <a:lnTo>
                      <a:pt x="581" y="578"/>
                    </a:lnTo>
                    <a:lnTo>
                      <a:pt x="581" y="579"/>
                    </a:lnTo>
                    <a:lnTo>
                      <a:pt x="580" y="579"/>
                    </a:lnTo>
                    <a:lnTo>
                      <a:pt x="580" y="578"/>
                    </a:lnTo>
                    <a:lnTo>
                      <a:pt x="580" y="579"/>
                    </a:lnTo>
                    <a:lnTo>
                      <a:pt x="581" y="579"/>
                    </a:lnTo>
                    <a:lnTo>
                      <a:pt x="582" y="579"/>
                    </a:lnTo>
                    <a:lnTo>
                      <a:pt x="581" y="579"/>
                    </a:lnTo>
                    <a:lnTo>
                      <a:pt x="582" y="579"/>
                    </a:lnTo>
                    <a:lnTo>
                      <a:pt x="582" y="580"/>
                    </a:lnTo>
                    <a:lnTo>
                      <a:pt x="583" y="581"/>
                    </a:lnTo>
                    <a:lnTo>
                      <a:pt x="582" y="580"/>
                    </a:lnTo>
                    <a:lnTo>
                      <a:pt x="581" y="580"/>
                    </a:lnTo>
                    <a:lnTo>
                      <a:pt x="580" y="580"/>
                    </a:lnTo>
                    <a:lnTo>
                      <a:pt x="580" y="579"/>
                    </a:lnTo>
                    <a:lnTo>
                      <a:pt x="580" y="580"/>
                    </a:lnTo>
                    <a:lnTo>
                      <a:pt x="580" y="579"/>
                    </a:lnTo>
                    <a:lnTo>
                      <a:pt x="579" y="579"/>
                    </a:lnTo>
                    <a:lnTo>
                      <a:pt x="579" y="578"/>
                    </a:lnTo>
                    <a:lnTo>
                      <a:pt x="578" y="578"/>
                    </a:lnTo>
                    <a:lnTo>
                      <a:pt x="577" y="577"/>
                    </a:lnTo>
                    <a:lnTo>
                      <a:pt x="576" y="577"/>
                    </a:lnTo>
                    <a:lnTo>
                      <a:pt x="575" y="577"/>
                    </a:lnTo>
                    <a:lnTo>
                      <a:pt x="575" y="576"/>
                    </a:lnTo>
                    <a:lnTo>
                      <a:pt x="574" y="577"/>
                    </a:lnTo>
                    <a:lnTo>
                      <a:pt x="574" y="576"/>
                    </a:lnTo>
                    <a:lnTo>
                      <a:pt x="573" y="576"/>
                    </a:lnTo>
                    <a:lnTo>
                      <a:pt x="571" y="576"/>
                    </a:lnTo>
                    <a:lnTo>
                      <a:pt x="570" y="576"/>
                    </a:lnTo>
                    <a:lnTo>
                      <a:pt x="569" y="576"/>
                    </a:lnTo>
                    <a:lnTo>
                      <a:pt x="569" y="575"/>
                    </a:lnTo>
                    <a:lnTo>
                      <a:pt x="568" y="576"/>
                    </a:lnTo>
                    <a:lnTo>
                      <a:pt x="568" y="575"/>
                    </a:lnTo>
                    <a:lnTo>
                      <a:pt x="567" y="575"/>
                    </a:lnTo>
                    <a:lnTo>
                      <a:pt x="567" y="573"/>
                    </a:lnTo>
                    <a:lnTo>
                      <a:pt x="567" y="575"/>
                    </a:lnTo>
                    <a:lnTo>
                      <a:pt x="566" y="575"/>
                    </a:lnTo>
                    <a:lnTo>
                      <a:pt x="566" y="573"/>
                    </a:lnTo>
                    <a:lnTo>
                      <a:pt x="566" y="572"/>
                    </a:lnTo>
                    <a:lnTo>
                      <a:pt x="565" y="572"/>
                    </a:lnTo>
                    <a:lnTo>
                      <a:pt x="565" y="571"/>
                    </a:lnTo>
                    <a:lnTo>
                      <a:pt x="564" y="571"/>
                    </a:lnTo>
                    <a:lnTo>
                      <a:pt x="564" y="570"/>
                    </a:lnTo>
                    <a:lnTo>
                      <a:pt x="563" y="570"/>
                    </a:lnTo>
                    <a:lnTo>
                      <a:pt x="563" y="569"/>
                    </a:lnTo>
                    <a:lnTo>
                      <a:pt x="563" y="568"/>
                    </a:lnTo>
                    <a:lnTo>
                      <a:pt x="562" y="568"/>
                    </a:lnTo>
                    <a:lnTo>
                      <a:pt x="562" y="567"/>
                    </a:lnTo>
                    <a:lnTo>
                      <a:pt x="561" y="566"/>
                    </a:lnTo>
                    <a:lnTo>
                      <a:pt x="562" y="566"/>
                    </a:lnTo>
                    <a:lnTo>
                      <a:pt x="563" y="566"/>
                    </a:lnTo>
                    <a:lnTo>
                      <a:pt x="563" y="565"/>
                    </a:lnTo>
                    <a:lnTo>
                      <a:pt x="564" y="565"/>
                    </a:lnTo>
                    <a:lnTo>
                      <a:pt x="564" y="566"/>
                    </a:lnTo>
                    <a:lnTo>
                      <a:pt x="564" y="565"/>
                    </a:lnTo>
                    <a:lnTo>
                      <a:pt x="565" y="566"/>
                    </a:lnTo>
                    <a:lnTo>
                      <a:pt x="566" y="566"/>
                    </a:lnTo>
                    <a:lnTo>
                      <a:pt x="565" y="566"/>
                    </a:lnTo>
                    <a:lnTo>
                      <a:pt x="565" y="567"/>
                    </a:lnTo>
                    <a:lnTo>
                      <a:pt x="566" y="567"/>
                    </a:lnTo>
                    <a:lnTo>
                      <a:pt x="566" y="566"/>
                    </a:lnTo>
                    <a:lnTo>
                      <a:pt x="567" y="566"/>
                    </a:lnTo>
                    <a:lnTo>
                      <a:pt x="568" y="566"/>
                    </a:lnTo>
                    <a:lnTo>
                      <a:pt x="569" y="567"/>
                    </a:lnTo>
                    <a:lnTo>
                      <a:pt x="570" y="567"/>
                    </a:lnTo>
                    <a:lnTo>
                      <a:pt x="570" y="568"/>
                    </a:lnTo>
                    <a:lnTo>
                      <a:pt x="571" y="568"/>
                    </a:lnTo>
                    <a:lnTo>
                      <a:pt x="573" y="568"/>
                    </a:lnTo>
                    <a:lnTo>
                      <a:pt x="574" y="568"/>
                    </a:lnTo>
                    <a:lnTo>
                      <a:pt x="575" y="569"/>
                    </a:lnTo>
                    <a:lnTo>
                      <a:pt x="575" y="568"/>
                    </a:lnTo>
                    <a:lnTo>
                      <a:pt x="576" y="568"/>
                    </a:lnTo>
                    <a:lnTo>
                      <a:pt x="577" y="568"/>
                    </a:lnTo>
                    <a:lnTo>
                      <a:pt x="578" y="568"/>
                    </a:lnTo>
                    <a:lnTo>
                      <a:pt x="579" y="568"/>
                    </a:lnTo>
                    <a:lnTo>
                      <a:pt x="579" y="569"/>
                    </a:lnTo>
                    <a:lnTo>
                      <a:pt x="579" y="568"/>
                    </a:lnTo>
                    <a:lnTo>
                      <a:pt x="580" y="568"/>
                    </a:lnTo>
                    <a:lnTo>
                      <a:pt x="580" y="569"/>
                    </a:lnTo>
                    <a:lnTo>
                      <a:pt x="580" y="570"/>
                    </a:lnTo>
                    <a:lnTo>
                      <a:pt x="581" y="569"/>
                    </a:lnTo>
                    <a:lnTo>
                      <a:pt x="581" y="568"/>
                    </a:lnTo>
                    <a:lnTo>
                      <a:pt x="582" y="568"/>
                    </a:lnTo>
                    <a:lnTo>
                      <a:pt x="582" y="567"/>
                    </a:lnTo>
                    <a:lnTo>
                      <a:pt x="583" y="566"/>
                    </a:lnTo>
                    <a:lnTo>
                      <a:pt x="583" y="565"/>
                    </a:lnTo>
                    <a:lnTo>
                      <a:pt x="583" y="566"/>
                    </a:lnTo>
                    <a:lnTo>
                      <a:pt x="582" y="567"/>
                    </a:lnTo>
                    <a:close/>
                    <a:moveTo>
                      <a:pt x="125" y="301"/>
                    </a:moveTo>
                    <a:lnTo>
                      <a:pt x="126" y="301"/>
                    </a:lnTo>
                    <a:lnTo>
                      <a:pt x="127" y="301"/>
                    </a:lnTo>
                    <a:lnTo>
                      <a:pt x="127" y="302"/>
                    </a:lnTo>
                    <a:lnTo>
                      <a:pt x="127" y="303"/>
                    </a:lnTo>
                    <a:lnTo>
                      <a:pt x="128" y="305"/>
                    </a:lnTo>
                    <a:lnTo>
                      <a:pt x="129" y="305"/>
                    </a:lnTo>
                    <a:lnTo>
                      <a:pt x="130" y="305"/>
                    </a:lnTo>
                    <a:lnTo>
                      <a:pt x="129" y="305"/>
                    </a:lnTo>
                    <a:lnTo>
                      <a:pt x="130" y="306"/>
                    </a:lnTo>
                    <a:lnTo>
                      <a:pt x="130" y="307"/>
                    </a:lnTo>
                    <a:lnTo>
                      <a:pt x="130" y="310"/>
                    </a:lnTo>
                    <a:lnTo>
                      <a:pt x="129" y="311"/>
                    </a:lnTo>
                    <a:lnTo>
                      <a:pt x="129" y="312"/>
                    </a:lnTo>
                    <a:lnTo>
                      <a:pt x="129" y="313"/>
                    </a:lnTo>
                    <a:lnTo>
                      <a:pt x="129" y="314"/>
                    </a:lnTo>
                    <a:lnTo>
                      <a:pt x="129" y="315"/>
                    </a:lnTo>
                    <a:lnTo>
                      <a:pt x="129" y="316"/>
                    </a:lnTo>
                    <a:lnTo>
                      <a:pt x="130" y="316"/>
                    </a:lnTo>
                    <a:lnTo>
                      <a:pt x="129" y="316"/>
                    </a:lnTo>
                    <a:lnTo>
                      <a:pt x="129" y="318"/>
                    </a:lnTo>
                    <a:lnTo>
                      <a:pt x="128" y="318"/>
                    </a:lnTo>
                    <a:lnTo>
                      <a:pt x="127" y="318"/>
                    </a:lnTo>
                    <a:lnTo>
                      <a:pt x="127" y="319"/>
                    </a:lnTo>
                    <a:lnTo>
                      <a:pt x="126" y="320"/>
                    </a:lnTo>
                    <a:lnTo>
                      <a:pt x="125" y="321"/>
                    </a:lnTo>
                    <a:lnTo>
                      <a:pt x="125" y="320"/>
                    </a:lnTo>
                    <a:lnTo>
                      <a:pt x="125" y="319"/>
                    </a:lnTo>
                    <a:lnTo>
                      <a:pt x="125" y="318"/>
                    </a:lnTo>
                    <a:lnTo>
                      <a:pt x="126" y="318"/>
                    </a:lnTo>
                    <a:lnTo>
                      <a:pt x="126" y="316"/>
                    </a:lnTo>
                    <a:lnTo>
                      <a:pt x="126" y="315"/>
                    </a:lnTo>
                    <a:lnTo>
                      <a:pt x="127" y="315"/>
                    </a:lnTo>
                    <a:lnTo>
                      <a:pt x="128" y="315"/>
                    </a:lnTo>
                    <a:lnTo>
                      <a:pt x="128" y="314"/>
                    </a:lnTo>
                    <a:lnTo>
                      <a:pt x="127" y="314"/>
                    </a:lnTo>
                    <a:lnTo>
                      <a:pt x="127" y="313"/>
                    </a:lnTo>
                    <a:lnTo>
                      <a:pt x="127" y="312"/>
                    </a:lnTo>
                    <a:lnTo>
                      <a:pt x="126" y="312"/>
                    </a:lnTo>
                    <a:lnTo>
                      <a:pt x="125" y="311"/>
                    </a:lnTo>
                    <a:lnTo>
                      <a:pt x="125" y="312"/>
                    </a:lnTo>
                    <a:lnTo>
                      <a:pt x="124" y="312"/>
                    </a:lnTo>
                    <a:lnTo>
                      <a:pt x="123" y="312"/>
                    </a:lnTo>
                    <a:lnTo>
                      <a:pt x="123" y="313"/>
                    </a:lnTo>
                    <a:lnTo>
                      <a:pt x="123" y="314"/>
                    </a:lnTo>
                    <a:lnTo>
                      <a:pt x="123" y="315"/>
                    </a:lnTo>
                    <a:lnTo>
                      <a:pt x="123" y="316"/>
                    </a:lnTo>
                    <a:lnTo>
                      <a:pt x="124" y="316"/>
                    </a:lnTo>
                    <a:lnTo>
                      <a:pt x="124" y="318"/>
                    </a:lnTo>
                    <a:lnTo>
                      <a:pt x="123" y="318"/>
                    </a:lnTo>
                    <a:lnTo>
                      <a:pt x="122" y="318"/>
                    </a:lnTo>
                    <a:lnTo>
                      <a:pt x="122" y="316"/>
                    </a:lnTo>
                    <a:lnTo>
                      <a:pt x="122" y="318"/>
                    </a:lnTo>
                    <a:lnTo>
                      <a:pt x="120" y="316"/>
                    </a:lnTo>
                    <a:lnTo>
                      <a:pt x="120" y="315"/>
                    </a:lnTo>
                    <a:lnTo>
                      <a:pt x="122" y="315"/>
                    </a:lnTo>
                    <a:lnTo>
                      <a:pt x="122" y="314"/>
                    </a:lnTo>
                    <a:lnTo>
                      <a:pt x="120" y="314"/>
                    </a:lnTo>
                    <a:lnTo>
                      <a:pt x="120" y="315"/>
                    </a:lnTo>
                    <a:lnTo>
                      <a:pt x="122" y="315"/>
                    </a:lnTo>
                    <a:lnTo>
                      <a:pt x="120" y="315"/>
                    </a:lnTo>
                    <a:lnTo>
                      <a:pt x="120" y="314"/>
                    </a:lnTo>
                    <a:lnTo>
                      <a:pt x="119" y="314"/>
                    </a:lnTo>
                    <a:lnTo>
                      <a:pt x="119" y="313"/>
                    </a:lnTo>
                    <a:lnTo>
                      <a:pt x="119" y="312"/>
                    </a:lnTo>
                    <a:lnTo>
                      <a:pt x="119" y="311"/>
                    </a:lnTo>
                    <a:lnTo>
                      <a:pt x="118" y="310"/>
                    </a:lnTo>
                    <a:lnTo>
                      <a:pt x="119" y="310"/>
                    </a:lnTo>
                    <a:lnTo>
                      <a:pt x="120" y="310"/>
                    </a:lnTo>
                    <a:lnTo>
                      <a:pt x="120" y="311"/>
                    </a:lnTo>
                    <a:lnTo>
                      <a:pt x="122" y="311"/>
                    </a:lnTo>
                    <a:lnTo>
                      <a:pt x="120" y="311"/>
                    </a:lnTo>
                    <a:lnTo>
                      <a:pt x="120" y="310"/>
                    </a:lnTo>
                    <a:lnTo>
                      <a:pt x="120" y="309"/>
                    </a:lnTo>
                    <a:lnTo>
                      <a:pt x="122" y="309"/>
                    </a:lnTo>
                    <a:lnTo>
                      <a:pt x="123" y="309"/>
                    </a:lnTo>
                    <a:lnTo>
                      <a:pt x="122" y="309"/>
                    </a:lnTo>
                    <a:lnTo>
                      <a:pt x="120" y="309"/>
                    </a:lnTo>
                    <a:lnTo>
                      <a:pt x="120" y="308"/>
                    </a:lnTo>
                    <a:lnTo>
                      <a:pt x="122" y="307"/>
                    </a:lnTo>
                    <a:lnTo>
                      <a:pt x="122" y="306"/>
                    </a:lnTo>
                    <a:lnTo>
                      <a:pt x="123" y="306"/>
                    </a:lnTo>
                    <a:lnTo>
                      <a:pt x="123" y="305"/>
                    </a:lnTo>
                    <a:lnTo>
                      <a:pt x="124" y="305"/>
                    </a:lnTo>
                    <a:lnTo>
                      <a:pt x="125" y="305"/>
                    </a:lnTo>
                    <a:lnTo>
                      <a:pt x="125" y="306"/>
                    </a:lnTo>
                    <a:lnTo>
                      <a:pt x="124" y="306"/>
                    </a:lnTo>
                    <a:lnTo>
                      <a:pt x="125" y="306"/>
                    </a:lnTo>
                    <a:lnTo>
                      <a:pt x="125" y="307"/>
                    </a:lnTo>
                    <a:lnTo>
                      <a:pt x="125" y="308"/>
                    </a:lnTo>
                    <a:lnTo>
                      <a:pt x="126" y="308"/>
                    </a:lnTo>
                    <a:lnTo>
                      <a:pt x="126" y="307"/>
                    </a:lnTo>
                    <a:lnTo>
                      <a:pt x="127" y="307"/>
                    </a:lnTo>
                    <a:lnTo>
                      <a:pt x="127" y="308"/>
                    </a:lnTo>
                    <a:lnTo>
                      <a:pt x="128" y="308"/>
                    </a:lnTo>
                    <a:lnTo>
                      <a:pt x="128" y="309"/>
                    </a:lnTo>
                    <a:lnTo>
                      <a:pt x="128" y="310"/>
                    </a:lnTo>
                    <a:lnTo>
                      <a:pt x="129" y="310"/>
                    </a:lnTo>
                    <a:lnTo>
                      <a:pt x="129" y="309"/>
                    </a:lnTo>
                    <a:lnTo>
                      <a:pt x="128" y="309"/>
                    </a:lnTo>
                    <a:lnTo>
                      <a:pt x="128" y="308"/>
                    </a:lnTo>
                    <a:lnTo>
                      <a:pt x="127" y="308"/>
                    </a:lnTo>
                    <a:lnTo>
                      <a:pt x="127" y="307"/>
                    </a:lnTo>
                    <a:lnTo>
                      <a:pt x="126" y="307"/>
                    </a:lnTo>
                    <a:lnTo>
                      <a:pt x="126" y="306"/>
                    </a:lnTo>
                    <a:lnTo>
                      <a:pt x="125" y="307"/>
                    </a:lnTo>
                    <a:lnTo>
                      <a:pt x="125" y="306"/>
                    </a:lnTo>
                    <a:lnTo>
                      <a:pt x="124" y="306"/>
                    </a:lnTo>
                    <a:lnTo>
                      <a:pt x="125" y="306"/>
                    </a:lnTo>
                    <a:lnTo>
                      <a:pt x="125" y="305"/>
                    </a:lnTo>
                    <a:lnTo>
                      <a:pt x="125" y="303"/>
                    </a:lnTo>
                    <a:lnTo>
                      <a:pt x="126" y="303"/>
                    </a:lnTo>
                    <a:lnTo>
                      <a:pt x="125" y="303"/>
                    </a:lnTo>
                    <a:lnTo>
                      <a:pt x="125" y="302"/>
                    </a:lnTo>
                    <a:lnTo>
                      <a:pt x="125" y="301"/>
                    </a:lnTo>
                    <a:close/>
                    <a:moveTo>
                      <a:pt x="505" y="538"/>
                    </a:moveTo>
                    <a:lnTo>
                      <a:pt x="505" y="539"/>
                    </a:lnTo>
                    <a:lnTo>
                      <a:pt x="506" y="540"/>
                    </a:lnTo>
                    <a:lnTo>
                      <a:pt x="506" y="541"/>
                    </a:lnTo>
                    <a:lnTo>
                      <a:pt x="507" y="542"/>
                    </a:lnTo>
                    <a:lnTo>
                      <a:pt x="507" y="543"/>
                    </a:lnTo>
                    <a:lnTo>
                      <a:pt x="509" y="543"/>
                    </a:lnTo>
                    <a:lnTo>
                      <a:pt x="509" y="544"/>
                    </a:lnTo>
                    <a:lnTo>
                      <a:pt x="509" y="545"/>
                    </a:lnTo>
                    <a:lnTo>
                      <a:pt x="509" y="546"/>
                    </a:lnTo>
                    <a:lnTo>
                      <a:pt x="509" y="549"/>
                    </a:lnTo>
                    <a:lnTo>
                      <a:pt x="509" y="547"/>
                    </a:lnTo>
                    <a:lnTo>
                      <a:pt x="509" y="546"/>
                    </a:lnTo>
                    <a:lnTo>
                      <a:pt x="509" y="545"/>
                    </a:lnTo>
                    <a:lnTo>
                      <a:pt x="509" y="544"/>
                    </a:lnTo>
                    <a:lnTo>
                      <a:pt x="507" y="544"/>
                    </a:lnTo>
                    <a:lnTo>
                      <a:pt x="507" y="543"/>
                    </a:lnTo>
                    <a:lnTo>
                      <a:pt x="506" y="543"/>
                    </a:lnTo>
                    <a:lnTo>
                      <a:pt x="506" y="542"/>
                    </a:lnTo>
                    <a:lnTo>
                      <a:pt x="505" y="542"/>
                    </a:lnTo>
                    <a:lnTo>
                      <a:pt x="505" y="541"/>
                    </a:lnTo>
                    <a:lnTo>
                      <a:pt x="503" y="544"/>
                    </a:lnTo>
                    <a:lnTo>
                      <a:pt x="502" y="549"/>
                    </a:lnTo>
                    <a:lnTo>
                      <a:pt x="502" y="550"/>
                    </a:lnTo>
                    <a:lnTo>
                      <a:pt x="502" y="551"/>
                    </a:lnTo>
                    <a:lnTo>
                      <a:pt x="501" y="551"/>
                    </a:lnTo>
                    <a:lnTo>
                      <a:pt x="501" y="550"/>
                    </a:lnTo>
                    <a:lnTo>
                      <a:pt x="502" y="550"/>
                    </a:lnTo>
                    <a:lnTo>
                      <a:pt x="502" y="549"/>
                    </a:lnTo>
                    <a:lnTo>
                      <a:pt x="501" y="549"/>
                    </a:lnTo>
                    <a:lnTo>
                      <a:pt x="501" y="550"/>
                    </a:lnTo>
                    <a:lnTo>
                      <a:pt x="501" y="551"/>
                    </a:lnTo>
                    <a:lnTo>
                      <a:pt x="501" y="552"/>
                    </a:lnTo>
                    <a:lnTo>
                      <a:pt x="500" y="553"/>
                    </a:lnTo>
                    <a:lnTo>
                      <a:pt x="500" y="554"/>
                    </a:lnTo>
                    <a:lnTo>
                      <a:pt x="500" y="555"/>
                    </a:lnTo>
                    <a:lnTo>
                      <a:pt x="500" y="556"/>
                    </a:lnTo>
                    <a:lnTo>
                      <a:pt x="499" y="557"/>
                    </a:lnTo>
                    <a:lnTo>
                      <a:pt x="499" y="558"/>
                    </a:lnTo>
                    <a:lnTo>
                      <a:pt x="499" y="559"/>
                    </a:lnTo>
                    <a:lnTo>
                      <a:pt x="498" y="559"/>
                    </a:lnTo>
                    <a:lnTo>
                      <a:pt x="499" y="559"/>
                    </a:lnTo>
                    <a:lnTo>
                      <a:pt x="499" y="558"/>
                    </a:lnTo>
                    <a:lnTo>
                      <a:pt x="499" y="557"/>
                    </a:lnTo>
                    <a:lnTo>
                      <a:pt x="499" y="556"/>
                    </a:lnTo>
                    <a:lnTo>
                      <a:pt x="499" y="557"/>
                    </a:lnTo>
                    <a:lnTo>
                      <a:pt x="498" y="558"/>
                    </a:lnTo>
                    <a:lnTo>
                      <a:pt x="498" y="559"/>
                    </a:lnTo>
                    <a:lnTo>
                      <a:pt x="497" y="559"/>
                    </a:lnTo>
                    <a:lnTo>
                      <a:pt x="498" y="559"/>
                    </a:lnTo>
                    <a:lnTo>
                      <a:pt x="497" y="559"/>
                    </a:lnTo>
                    <a:lnTo>
                      <a:pt x="497" y="560"/>
                    </a:lnTo>
                    <a:lnTo>
                      <a:pt x="497" y="562"/>
                    </a:lnTo>
                    <a:lnTo>
                      <a:pt x="496" y="562"/>
                    </a:lnTo>
                    <a:lnTo>
                      <a:pt x="496" y="563"/>
                    </a:lnTo>
                    <a:lnTo>
                      <a:pt x="494" y="563"/>
                    </a:lnTo>
                    <a:lnTo>
                      <a:pt x="494" y="564"/>
                    </a:lnTo>
                    <a:lnTo>
                      <a:pt x="496" y="564"/>
                    </a:lnTo>
                    <a:lnTo>
                      <a:pt x="496" y="565"/>
                    </a:lnTo>
                    <a:lnTo>
                      <a:pt x="494" y="564"/>
                    </a:lnTo>
                    <a:lnTo>
                      <a:pt x="494" y="565"/>
                    </a:lnTo>
                    <a:lnTo>
                      <a:pt x="493" y="565"/>
                    </a:lnTo>
                    <a:lnTo>
                      <a:pt x="492" y="566"/>
                    </a:lnTo>
                    <a:lnTo>
                      <a:pt x="492" y="567"/>
                    </a:lnTo>
                    <a:lnTo>
                      <a:pt x="493" y="567"/>
                    </a:lnTo>
                    <a:lnTo>
                      <a:pt x="493" y="566"/>
                    </a:lnTo>
                    <a:lnTo>
                      <a:pt x="493" y="567"/>
                    </a:lnTo>
                    <a:lnTo>
                      <a:pt x="492" y="567"/>
                    </a:lnTo>
                    <a:lnTo>
                      <a:pt x="492" y="568"/>
                    </a:lnTo>
                    <a:lnTo>
                      <a:pt x="491" y="569"/>
                    </a:lnTo>
                    <a:lnTo>
                      <a:pt x="491" y="570"/>
                    </a:lnTo>
                    <a:lnTo>
                      <a:pt x="491" y="571"/>
                    </a:lnTo>
                    <a:lnTo>
                      <a:pt x="491" y="570"/>
                    </a:lnTo>
                    <a:lnTo>
                      <a:pt x="491" y="571"/>
                    </a:lnTo>
                    <a:lnTo>
                      <a:pt x="492" y="572"/>
                    </a:lnTo>
                    <a:lnTo>
                      <a:pt x="493" y="572"/>
                    </a:lnTo>
                    <a:lnTo>
                      <a:pt x="492" y="572"/>
                    </a:lnTo>
                    <a:lnTo>
                      <a:pt x="492" y="573"/>
                    </a:lnTo>
                    <a:lnTo>
                      <a:pt x="492" y="572"/>
                    </a:lnTo>
                    <a:lnTo>
                      <a:pt x="492" y="573"/>
                    </a:lnTo>
                    <a:lnTo>
                      <a:pt x="493" y="573"/>
                    </a:lnTo>
                    <a:lnTo>
                      <a:pt x="493" y="572"/>
                    </a:lnTo>
                    <a:lnTo>
                      <a:pt x="493" y="573"/>
                    </a:lnTo>
                    <a:lnTo>
                      <a:pt x="492" y="573"/>
                    </a:lnTo>
                    <a:lnTo>
                      <a:pt x="492" y="575"/>
                    </a:lnTo>
                    <a:lnTo>
                      <a:pt x="492" y="576"/>
                    </a:lnTo>
                    <a:lnTo>
                      <a:pt x="493" y="576"/>
                    </a:lnTo>
                    <a:lnTo>
                      <a:pt x="493" y="577"/>
                    </a:lnTo>
                    <a:lnTo>
                      <a:pt x="494" y="578"/>
                    </a:lnTo>
                    <a:lnTo>
                      <a:pt x="496" y="578"/>
                    </a:lnTo>
                    <a:lnTo>
                      <a:pt x="496" y="577"/>
                    </a:lnTo>
                    <a:lnTo>
                      <a:pt x="494" y="577"/>
                    </a:lnTo>
                    <a:lnTo>
                      <a:pt x="493" y="577"/>
                    </a:lnTo>
                    <a:lnTo>
                      <a:pt x="493" y="576"/>
                    </a:lnTo>
                    <a:lnTo>
                      <a:pt x="494" y="576"/>
                    </a:lnTo>
                    <a:lnTo>
                      <a:pt x="496" y="576"/>
                    </a:lnTo>
                    <a:lnTo>
                      <a:pt x="496" y="577"/>
                    </a:lnTo>
                    <a:lnTo>
                      <a:pt x="494" y="577"/>
                    </a:lnTo>
                    <a:lnTo>
                      <a:pt x="494" y="576"/>
                    </a:lnTo>
                    <a:lnTo>
                      <a:pt x="493" y="576"/>
                    </a:lnTo>
                    <a:lnTo>
                      <a:pt x="493" y="577"/>
                    </a:lnTo>
                    <a:lnTo>
                      <a:pt x="496" y="577"/>
                    </a:lnTo>
                    <a:lnTo>
                      <a:pt x="496" y="578"/>
                    </a:lnTo>
                    <a:lnTo>
                      <a:pt x="494" y="578"/>
                    </a:lnTo>
                    <a:lnTo>
                      <a:pt x="493" y="578"/>
                    </a:lnTo>
                    <a:lnTo>
                      <a:pt x="493" y="577"/>
                    </a:lnTo>
                    <a:lnTo>
                      <a:pt x="492" y="576"/>
                    </a:lnTo>
                    <a:lnTo>
                      <a:pt x="492" y="575"/>
                    </a:lnTo>
                    <a:lnTo>
                      <a:pt x="491" y="575"/>
                    </a:lnTo>
                    <a:lnTo>
                      <a:pt x="491" y="573"/>
                    </a:lnTo>
                    <a:lnTo>
                      <a:pt x="491" y="572"/>
                    </a:lnTo>
                    <a:lnTo>
                      <a:pt x="491" y="571"/>
                    </a:lnTo>
                    <a:lnTo>
                      <a:pt x="490" y="571"/>
                    </a:lnTo>
                    <a:lnTo>
                      <a:pt x="490" y="572"/>
                    </a:lnTo>
                    <a:lnTo>
                      <a:pt x="491" y="572"/>
                    </a:lnTo>
                    <a:lnTo>
                      <a:pt x="490" y="572"/>
                    </a:lnTo>
                    <a:lnTo>
                      <a:pt x="490" y="573"/>
                    </a:lnTo>
                    <a:lnTo>
                      <a:pt x="490" y="572"/>
                    </a:lnTo>
                    <a:lnTo>
                      <a:pt x="490" y="573"/>
                    </a:lnTo>
                    <a:lnTo>
                      <a:pt x="489" y="573"/>
                    </a:lnTo>
                    <a:lnTo>
                      <a:pt x="489" y="572"/>
                    </a:lnTo>
                    <a:lnTo>
                      <a:pt x="489" y="571"/>
                    </a:lnTo>
                    <a:lnTo>
                      <a:pt x="490" y="569"/>
                    </a:lnTo>
                    <a:lnTo>
                      <a:pt x="491" y="568"/>
                    </a:lnTo>
                    <a:lnTo>
                      <a:pt x="493" y="564"/>
                    </a:lnTo>
                    <a:lnTo>
                      <a:pt x="493" y="563"/>
                    </a:lnTo>
                    <a:lnTo>
                      <a:pt x="494" y="562"/>
                    </a:lnTo>
                    <a:lnTo>
                      <a:pt x="494" y="560"/>
                    </a:lnTo>
                    <a:lnTo>
                      <a:pt x="496" y="558"/>
                    </a:lnTo>
                    <a:lnTo>
                      <a:pt x="497" y="555"/>
                    </a:lnTo>
                    <a:lnTo>
                      <a:pt x="498" y="553"/>
                    </a:lnTo>
                    <a:lnTo>
                      <a:pt x="499" y="551"/>
                    </a:lnTo>
                    <a:lnTo>
                      <a:pt x="499" y="550"/>
                    </a:lnTo>
                    <a:lnTo>
                      <a:pt x="500" y="549"/>
                    </a:lnTo>
                    <a:lnTo>
                      <a:pt x="501" y="546"/>
                    </a:lnTo>
                    <a:lnTo>
                      <a:pt x="501" y="545"/>
                    </a:lnTo>
                    <a:lnTo>
                      <a:pt x="501" y="544"/>
                    </a:lnTo>
                    <a:lnTo>
                      <a:pt x="502" y="543"/>
                    </a:lnTo>
                    <a:lnTo>
                      <a:pt x="502" y="542"/>
                    </a:lnTo>
                    <a:lnTo>
                      <a:pt x="503" y="540"/>
                    </a:lnTo>
                    <a:lnTo>
                      <a:pt x="503" y="539"/>
                    </a:lnTo>
                    <a:lnTo>
                      <a:pt x="503" y="538"/>
                    </a:lnTo>
                    <a:lnTo>
                      <a:pt x="504" y="536"/>
                    </a:lnTo>
                    <a:lnTo>
                      <a:pt x="504" y="534"/>
                    </a:lnTo>
                    <a:lnTo>
                      <a:pt x="504" y="537"/>
                    </a:lnTo>
                    <a:lnTo>
                      <a:pt x="505" y="537"/>
                    </a:lnTo>
                    <a:lnTo>
                      <a:pt x="505" y="538"/>
                    </a:lnTo>
                    <a:close/>
                    <a:moveTo>
                      <a:pt x="310" y="393"/>
                    </a:moveTo>
                    <a:lnTo>
                      <a:pt x="312" y="393"/>
                    </a:lnTo>
                    <a:lnTo>
                      <a:pt x="313" y="395"/>
                    </a:lnTo>
                    <a:lnTo>
                      <a:pt x="313" y="396"/>
                    </a:lnTo>
                    <a:lnTo>
                      <a:pt x="315" y="395"/>
                    </a:lnTo>
                    <a:lnTo>
                      <a:pt x="316" y="393"/>
                    </a:lnTo>
                    <a:lnTo>
                      <a:pt x="319" y="396"/>
                    </a:lnTo>
                    <a:lnTo>
                      <a:pt x="320" y="396"/>
                    </a:lnTo>
                    <a:lnTo>
                      <a:pt x="319" y="396"/>
                    </a:lnTo>
                    <a:lnTo>
                      <a:pt x="319" y="397"/>
                    </a:lnTo>
                    <a:lnTo>
                      <a:pt x="319" y="398"/>
                    </a:lnTo>
                    <a:lnTo>
                      <a:pt x="319" y="399"/>
                    </a:lnTo>
                    <a:lnTo>
                      <a:pt x="320" y="399"/>
                    </a:lnTo>
                    <a:lnTo>
                      <a:pt x="319" y="399"/>
                    </a:lnTo>
                    <a:lnTo>
                      <a:pt x="318" y="399"/>
                    </a:lnTo>
                    <a:lnTo>
                      <a:pt x="317" y="399"/>
                    </a:lnTo>
                    <a:lnTo>
                      <a:pt x="318" y="399"/>
                    </a:lnTo>
                    <a:lnTo>
                      <a:pt x="317" y="399"/>
                    </a:lnTo>
                    <a:lnTo>
                      <a:pt x="317" y="398"/>
                    </a:lnTo>
                    <a:lnTo>
                      <a:pt x="317" y="399"/>
                    </a:lnTo>
                    <a:lnTo>
                      <a:pt x="317" y="400"/>
                    </a:lnTo>
                    <a:lnTo>
                      <a:pt x="316" y="401"/>
                    </a:lnTo>
                    <a:lnTo>
                      <a:pt x="315" y="401"/>
                    </a:lnTo>
                    <a:lnTo>
                      <a:pt x="315" y="400"/>
                    </a:lnTo>
                    <a:lnTo>
                      <a:pt x="313" y="401"/>
                    </a:lnTo>
                    <a:lnTo>
                      <a:pt x="312" y="401"/>
                    </a:lnTo>
                    <a:lnTo>
                      <a:pt x="312" y="402"/>
                    </a:lnTo>
                    <a:lnTo>
                      <a:pt x="311" y="402"/>
                    </a:lnTo>
                    <a:lnTo>
                      <a:pt x="310" y="402"/>
                    </a:lnTo>
                    <a:lnTo>
                      <a:pt x="310" y="401"/>
                    </a:lnTo>
                    <a:lnTo>
                      <a:pt x="309" y="401"/>
                    </a:lnTo>
                    <a:lnTo>
                      <a:pt x="309" y="400"/>
                    </a:lnTo>
                    <a:lnTo>
                      <a:pt x="308" y="400"/>
                    </a:lnTo>
                    <a:lnTo>
                      <a:pt x="307" y="399"/>
                    </a:lnTo>
                    <a:lnTo>
                      <a:pt x="307" y="398"/>
                    </a:lnTo>
                    <a:lnTo>
                      <a:pt x="306" y="398"/>
                    </a:lnTo>
                    <a:lnTo>
                      <a:pt x="305" y="398"/>
                    </a:lnTo>
                    <a:lnTo>
                      <a:pt x="304" y="398"/>
                    </a:lnTo>
                    <a:lnTo>
                      <a:pt x="304" y="399"/>
                    </a:lnTo>
                    <a:lnTo>
                      <a:pt x="303" y="399"/>
                    </a:lnTo>
                    <a:lnTo>
                      <a:pt x="304" y="399"/>
                    </a:lnTo>
                    <a:lnTo>
                      <a:pt x="304" y="398"/>
                    </a:lnTo>
                    <a:lnTo>
                      <a:pt x="304" y="397"/>
                    </a:lnTo>
                    <a:lnTo>
                      <a:pt x="305" y="397"/>
                    </a:lnTo>
                    <a:lnTo>
                      <a:pt x="305" y="396"/>
                    </a:lnTo>
                    <a:lnTo>
                      <a:pt x="306" y="396"/>
                    </a:lnTo>
                    <a:lnTo>
                      <a:pt x="307" y="395"/>
                    </a:lnTo>
                    <a:lnTo>
                      <a:pt x="309" y="393"/>
                    </a:lnTo>
                    <a:lnTo>
                      <a:pt x="309" y="395"/>
                    </a:lnTo>
                    <a:lnTo>
                      <a:pt x="309" y="393"/>
                    </a:lnTo>
                    <a:lnTo>
                      <a:pt x="310" y="393"/>
                    </a:lnTo>
                    <a:close/>
                    <a:moveTo>
                      <a:pt x="116" y="412"/>
                    </a:moveTo>
                    <a:lnTo>
                      <a:pt x="115" y="412"/>
                    </a:lnTo>
                    <a:lnTo>
                      <a:pt x="116" y="412"/>
                    </a:lnTo>
                    <a:lnTo>
                      <a:pt x="116" y="413"/>
                    </a:lnTo>
                    <a:lnTo>
                      <a:pt x="117" y="413"/>
                    </a:lnTo>
                    <a:lnTo>
                      <a:pt x="118" y="413"/>
                    </a:lnTo>
                    <a:lnTo>
                      <a:pt x="117" y="414"/>
                    </a:lnTo>
                    <a:lnTo>
                      <a:pt x="116" y="414"/>
                    </a:lnTo>
                    <a:lnTo>
                      <a:pt x="116" y="415"/>
                    </a:lnTo>
                    <a:lnTo>
                      <a:pt x="116" y="414"/>
                    </a:lnTo>
                    <a:lnTo>
                      <a:pt x="117" y="414"/>
                    </a:lnTo>
                    <a:lnTo>
                      <a:pt x="118" y="413"/>
                    </a:lnTo>
                    <a:lnTo>
                      <a:pt x="119" y="414"/>
                    </a:lnTo>
                    <a:lnTo>
                      <a:pt x="119" y="413"/>
                    </a:lnTo>
                    <a:lnTo>
                      <a:pt x="120" y="413"/>
                    </a:lnTo>
                    <a:lnTo>
                      <a:pt x="120" y="414"/>
                    </a:lnTo>
                    <a:lnTo>
                      <a:pt x="122" y="414"/>
                    </a:lnTo>
                    <a:lnTo>
                      <a:pt x="122" y="415"/>
                    </a:lnTo>
                    <a:lnTo>
                      <a:pt x="122" y="416"/>
                    </a:lnTo>
                    <a:lnTo>
                      <a:pt x="122" y="418"/>
                    </a:lnTo>
                    <a:lnTo>
                      <a:pt x="122" y="420"/>
                    </a:lnTo>
                    <a:lnTo>
                      <a:pt x="123" y="420"/>
                    </a:lnTo>
                    <a:lnTo>
                      <a:pt x="124" y="420"/>
                    </a:lnTo>
                    <a:lnTo>
                      <a:pt x="125" y="420"/>
                    </a:lnTo>
                    <a:lnTo>
                      <a:pt x="125" y="418"/>
                    </a:lnTo>
                    <a:lnTo>
                      <a:pt x="126" y="418"/>
                    </a:lnTo>
                    <a:lnTo>
                      <a:pt x="126" y="417"/>
                    </a:lnTo>
                    <a:lnTo>
                      <a:pt x="127" y="417"/>
                    </a:lnTo>
                    <a:lnTo>
                      <a:pt x="128" y="417"/>
                    </a:lnTo>
                    <a:lnTo>
                      <a:pt x="129" y="417"/>
                    </a:lnTo>
                    <a:lnTo>
                      <a:pt x="130" y="417"/>
                    </a:lnTo>
                    <a:lnTo>
                      <a:pt x="130" y="416"/>
                    </a:lnTo>
                    <a:lnTo>
                      <a:pt x="129" y="416"/>
                    </a:lnTo>
                    <a:lnTo>
                      <a:pt x="129" y="415"/>
                    </a:lnTo>
                    <a:lnTo>
                      <a:pt x="128" y="416"/>
                    </a:lnTo>
                    <a:lnTo>
                      <a:pt x="128" y="415"/>
                    </a:lnTo>
                    <a:lnTo>
                      <a:pt x="129" y="415"/>
                    </a:lnTo>
                    <a:lnTo>
                      <a:pt x="130" y="415"/>
                    </a:lnTo>
                    <a:lnTo>
                      <a:pt x="130" y="416"/>
                    </a:lnTo>
                    <a:lnTo>
                      <a:pt x="131" y="416"/>
                    </a:lnTo>
                    <a:lnTo>
                      <a:pt x="131" y="417"/>
                    </a:lnTo>
                    <a:lnTo>
                      <a:pt x="130" y="418"/>
                    </a:lnTo>
                    <a:lnTo>
                      <a:pt x="128" y="418"/>
                    </a:lnTo>
                    <a:lnTo>
                      <a:pt x="128" y="420"/>
                    </a:lnTo>
                    <a:lnTo>
                      <a:pt x="127" y="420"/>
                    </a:lnTo>
                    <a:lnTo>
                      <a:pt x="126" y="420"/>
                    </a:lnTo>
                    <a:lnTo>
                      <a:pt x="125" y="421"/>
                    </a:lnTo>
                    <a:lnTo>
                      <a:pt x="124" y="421"/>
                    </a:lnTo>
                    <a:lnTo>
                      <a:pt x="123" y="422"/>
                    </a:lnTo>
                    <a:lnTo>
                      <a:pt x="122" y="422"/>
                    </a:lnTo>
                    <a:lnTo>
                      <a:pt x="118" y="422"/>
                    </a:lnTo>
                    <a:lnTo>
                      <a:pt x="117" y="422"/>
                    </a:lnTo>
                    <a:lnTo>
                      <a:pt x="115" y="421"/>
                    </a:lnTo>
                    <a:lnTo>
                      <a:pt x="115" y="420"/>
                    </a:lnTo>
                    <a:lnTo>
                      <a:pt x="114" y="420"/>
                    </a:lnTo>
                    <a:lnTo>
                      <a:pt x="113" y="418"/>
                    </a:lnTo>
                    <a:lnTo>
                      <a:pt x="112" y="418"/>
                    </a:lnTo>
                    <a:lnTo>
                      <a:pt x="111" y="418"/>
                    </a:lnTo>
                    <a:lnTo>
                      <a:pt x="110" y="417"/>
                    </a:lnTo>
                    <a:lnTo>
                      <a:pt x="109" y="417"/>
                    </a:lnTo>
                    <a:lnTo>
                      <a:pt x="107" y="416"/>
                    </a:lnTo>
                    <a:lnTo>
                      <a:pt x="105" y="416"/>
                    </a:lnTo>
                    <a:lnTo>
                      <a:pt x="105" y="415"/>
                    </a:lnTo>
                    <a:lnTo>
                      <a:pt x="109" y="415"/>
                    </a:lnTo>
                    <a:lnTo>
                      <a:pt x="110" y="415"/>
                    </a:lnTo>
                    <a:lnTo>
                      <a:pt x="111" y="416"/>
                    </a:lnTo>
                    <a:lnTo>
                      <a:pt x="112" y="417"/>
                    </a:lnTo>
                    <a:lnTo>
                      <a:pt x="113" y="417"/>
                    </a:lnTo>
                    <a:lnTo>
                      <a:pt x="113" y="418"/>
                    </a:lnTo>
                    <a:lnTo>
                      <a:pt x="114" y="418"/>
                    </a:lnTo>
                    <a:lnTo>
                      <a:pt x="115" y="418"/>
                    </a:lnTo>
                    <a:lnTo>
                      <a:pt x="115" y="420"/>
                    </a:lnTo>
                    <a:lnTo>
                      <a:pt x="115" y="418"/>
                    </a:lnTo>
                    <a:lnTo>
                      <a:pt x="115" y="420"/>
                    </a:lnTo>
                    <a:lnTo>
                      <a:pt x="116" y="420"/>
                    </a:lnTo>
                    <a:lnTo>
                      <a:pt x="117" y="421"/>
                    </a:lnTo>
                    <a:lnTo>
                      <a:pt x="118" y="421"/>
                    </a:lnTo>
                    <a:lnTo>
                      <a:pt x="118" y="420"/>
                    </a:lnTo>
                    <a:lnTo>
                      <a:pt x="119" y="421"/>
                    </a:lnTo>
                    <a:lnTo>
                      <a:pt x="119" y="420"/>
                    </a:lnTo>
                    <a:lnTo>
                      <a:pt x="120" y="420"/>
                    </a:lnTo>
                    <a:lnTo>
                      <a:pt x="120" y="418"/>
                    </a:lnTo>
                    <a:lnTo>
                      <a:pt x="120" y="417"/>
                    </a:lnTo>
                    <a:lnTo>
                      <a:pt x="119" y="417"/>
                    </a:lnTo>
                    <a:lnTo>
                      <a:pt x="119" y="416"/>
                    </a:lnTo>
                    <a:lnTo>
                      <a:pt x="118" y="416"/>
                    </a:lnTo>
                    <a:lnTo>
                      <a:pt x="117" y="416"/>
                    </a:lnTo>
                    <a:lnTo>
                      <a:pt x="116" y="415"/>
                    </a:lnTo>
                    <a:lnTo>
                      <a:pt x="115" y="414"/>
                    </a:lnTo>
                    <a:lnTo>
                      <a:pt x="114" y="413"/>
                    </a:lnTo>
                    <a:lnTo>
                      <a:pt x="113" y="413"/>
                    </a:lnTo>
                    <a:lnTo>
                      <a:pt x="112" y="413"/>
                    </a:lnTo>
                    <a:lnTo>
                      <a:pt x="111" y="412"/>
                    </a:lnTo>
                    <a:lnTo>
                      <a:pt x="111" y="413"/>
                    </a:lnTo>
                    <a:lnTo>
                      <a:pt x="110" y="413"/>
                    </a:lnTo>
                    <a:lnTo>
                      <a:pt x="109" y="414"/>
                    </a:lnTo>
                    <a:lnTo>
                      <a:pt x="107" y="414"/>
                    </a:lnTo>
                    <a:lnTo>
                      <a:pt x="106" y="414"/>
                    </a:lnTo>
                    <a:lnTo>
                      <a:pt x="105" y="415"/>
                    </a:lnTo>
                    <a:lnTo>
                      <a:pt x="104" y="415"/>
                    </a:lnTo>
                    <a:lnTo>
                      <a:pt x="103" y="415"/>
                    </a:lnTo>
                    <a:lnTo>
                      <a:pt x="104" y="415"/>
                    </a:lnTo>
                    <a:lnTo>
                      <a:pt x="104" y="414"/>
                    </a:lnTo>
                    <a:lnTo>
                      <a:pt x="105" y="414"/>
                    </a:lnTo>
                    <a:lnTo>
                      <a:pt x="104" y="414"/>
                    </a:lnTo>
                    <a:lnTo>
                      <a:pt x="104" y="415"/>
                    </a:lnTo>
                    <a:lnTo>
                      <a:pt x="104" y="414"/>
                    </a:lnTo>
                    <a:lnTo>
                      <a:pt x="105" y="414"/>
                    </a:lnTo>
                    <a:lnTo>
                      <a:pt x="106" y="413"/>
                    </a:lnTo>
                    <a:lnTo>
                      <a:pt x="107" y="414"/>
                    </a:lnTo>
                    <a:lnTo>
                      <a:pt x="107" y="413"/>
                    </a:lnTo>
                    <a:lnTo>
                      <a:pt x="109" y="413"/>
                    </a:lnTo>
                    <a:lnTo>
                      <a:pt x="107" y="413"/>
                    </a:lnTo>
                    <a:lnTo>
                      <a:pt x="109" y="412"/>
                    </a:lnTo>
                    <a:lnTo>
                      <a:pt x="110" y="412"/>
                    </a:lnTo>
                    <a:lnTo>
                      <a:pt x="111" y="412"/>
                    </a:lnTo>
                    <a:lnTo>
                      <a:pt x="112" y="412"/>
                    </a:lnTo>
                    <a:lnTo>
                      <a:pt x="115" y="412"/>
                    </a:lnTo>
                    <a:lnTo>
                      <a:pt x="116" y="412"/>
                    </a:lnTo>
                    <a:close/>
                    <a:moveTo>
                      <a:pt x="533" y="572"/>
                    </a:moveTo>
                    <a:lnTo>
                      <a:pt x="537" y="573"/>
                    </a:lnTo>
                    <a:lnTo>
                      <a:pt x="537" y="572"/>
                    </a:lnTo>
                    <a:lnTo>
                      <a:pt x="538" y="572"/>
                    </a:lnTo>
                    <a:lnTo>
                      <a:pt x="538" y="571"/>
                    </a:lnTo>
                    <a:lnTo>
                      <a:pt x="539" y="572"/>
                    </a:lnTo>
                    <a:lnTo>
                      <a:pt x="540" y="572"/>
                    </a:lnTo>
                    <a:lnTo>
                      <a:pt x="541" y="572"/>
                    </a:lnTo>
                    <a:lnTo>
                      <a:pt x="542" y="572"/>
                    </a:lnTo>
                    <a:lnTo>
                      <a:pt x="542" y="573"/>
                    </a:lnTo>
                    <a:lnTo>
                      <a:pt x="543" y="573"/>
                    </a:lnTo>
                    <a:lnTo>
                      <a:pt x="544" y="575"/>
                    </a:lnTo>
                    <a:lnTo>
                      <a:pt x="545" y="575"/>
                    </a:lnTo>
                    <a:lnTo>
                      <a:pt x="545" y="576"/>
                    </a:lnTo>
                    <a:lnTo>
                      <a:pt x="545" y="577"/>
                    </a:lnTo>
                    <a:lnTo>
                      <a:pt x="546" y="577"/>
                    </a:lnTo>
                    <a:lnTo>
                      <a:pt x="546" y="578"/>
                    </a:lnTo>
                    <a:lnTo>
                      <a:pt x="548" y="579"/>
                    </a:lnTo>
                    <a:lnTo>
                      <a:pt x="548" y="580"/>
                    </a:lnTo>
                    <a:lnTo>
                      <a:pt x="549" y="581"/>
                    </a:lnTo>
                    <a:lnTo>
                      <a:pt x="550" y="583"/>
                    </a:lnTo>
                    <a:lnTo>
                      <a:pt x="550" y="584"/>
                    </a:lnTo>
                    <a:lnTo>
                      <a:pt x="550" y="585"/>
                    </a:lnTo>
                    <a:lnTo>
                      <a:pt x="551" y="585"/>
                    </a:lnTo>
                    <a:lnTo>
                      <a:pt x="551" y="586"/>
                    </a:lnTo>
                    <a:lnTo>
                      <a:pt x="551" y="588"/>
                    </a:lnTo>
                    <a:lnTo>
                      <a:pt x="552" y="589"/>
                    </a:lnTo>
                    <a:lnTo>
                      <a:pt x="552" y="590"/>
                    </a:lnTo>
                    <a:lnTo>
                      <a:pt x="552" y="591"/>
                    </a:lnTo>
                    <a:lnTo>
                      <a:pt x="552" y="592"/>
                    </a:lnTo>
                    <a:lnTo>
                      <a:pt x="553" y="592"/>
                    </a:lnTo>
                    <a:lnTo>
                      <a:pt x="553" y="593"/>
                    </a:lnTo>
                    <a:lnTo>
                      <a:pt x="553" y="594"/>
                    </a:lnTo>
                    <a:lnTo>
                      <a:pt x="552" y="594"/>
                    </a:lnTo>
                    <a:lnTo>
                      <a:pt x="553" y="594"/>
                    </a:lnTo>
                    <a:lnTo>
                      <a:pt x="554" y="594"/>
                    </a:lnTo>
                    <a:lnTo>
                      <a:pt x="554" y="595"/>
                    </a:lnTo>
                    <a:lnTo>
                      <a:pt x="553" y="594"/>
                    </a:lnTo>
                    <a:lnTo>
                      <a:pt x="552" y="594"/>
                    </a:lnTo>
                    <a:lnTo>
                      <a:pt x="551" y="593"/>
                    </a:lnTo>
                    <a:lnTo>
                      <a:pt x="550" y="592"/>
                    </a:lnTo>
                    <a:lnTo>
                      <a:pt x="549" y="591"/>
                    </a:lnTo>
                    <a:lnTo>
                      <a:pt x="549" y="590"/>
                    </a:lnTo>
                    <a:lnTo>
                      <a:pt x="549" y="589"/>
                    </a:lnTo>
                    <a:lnTo>
                      <a:pt x="548" y="588"/>
                    </a:lnTo>
                    <a:lnTo>
                      <a:pt x="546" y="586"/>
                    </a:lnTo>
                    <a:lnTo>
                      <a:pt x="546" y="585"/>
                    </a:lnTo>
                    <a:lnTo>
                      <a:pt x="546" y="584"/>
                    </a:lnTo>
                    <a:lnTo>
                      <a:pt x="546" y="582"/>
                    </a:lnTo>
                    <a:lnTo>
                      <a:pt x="545" y="580"/>
                    </a:lnTo>
                    <a:lnTo>
                      <a:pt x="545" y="579"/>
                    </a:lnTo>
                    <a:lnTo>
                      <a:pt x="545" y="578"/>
                    </a:lnTo>
                    <a:lnTo>
                      <a:pt x="544" y="577"/>
                    </a:lnTo>
                    <a:lnTo>
                      <a:pt x="543" y="576"/>
                    </a:lnTo>
                    <a:lnTo>
                      <a:pt x="542" y="575"/>
                    </a:lnTo>
                    <a:lnTo>
                      <a:pt x="541" y="575"/>
                    </a:lnTo>
                    <a:lnTo>
                      <a:pt x="540" y="576"/>
                    </a:lnTo>
                    <a:lnTo>
                      <a:pt x="539" y="576"/>
                    </a:lnTo>
                    <a:lnTo>
                      <a:pt x="538" y="576"/>
                    </a:lnTo>
                    <a:lnTo>
                      <a:pt x="538" y="575"/>
                    </a:lnTo>
                    <a:lnTo>
                      <a:pt x="539" y="573"/>
                    </a:lnTo>
                    <a:lnTo>
                      <a:pt x="538" y="573"/>
                    </a:lnTo>
                    <a:lnTo>
                      <a:pt x="537" y="575"/>
                    </a:lnTo>
                    <a:lnTo>
                      <a:pt x="533" y="573"/>
                    </a:lnTo>
                    <a:lnTo>
                      <a:pt x="532" y="575"/>
                    </a:lnTo>
                    <a:lnTo>
                      <a:pt x="530" y="573"/>
                    </a:lnTo>
                    <a:lnTo>
                      <a:pt x="528" y="573"/>
                    </a:lnTo>
                    <a:lnTo>
                      <a:pt x="529" y="571"/>
                    </a:lnTo>
                    <a:lnTo>
                      <a:pt x="533" y="572"/>
                    </a:lnTo>
                    <a:close/>
                    <a:moveTo>
                      <a:pt x="533" y="546"/>
                    </a:moveTo>
                    <a:lnTo>
                      <a:pt x="535" y="546"/>
                    </a:lnTo>
                    <a:lnTo>
                      <a:pt x="537" y="547"/>
                    </a:lnTo>
                    <a:lnTo>
                      <a:pt x="537" y="546"/>
                    </a:lnTo>
                    <a:lnTo>
                      <a:pt x="538" y="546"/>
                    </a:lnTo>
                    <a:lnTo>
                      <a:pt x="539" y="546"/>
                    </a:lnTo>
                    <a:lnTo>
                      <a:pt x="540" y="547"/>
                    </a:lnTo>
                    <a:lnTo>
                      <a:pt x="541" y="549"/>
                    </a:lnTo>
                    <a:lnTo>
                      <a:pt x="541" y="550"/>
                    </a:lnTo>
                    <a:lnTo>
                      <a:pt x="542" y="550"/>
                    </a:lnTo>
                    <a:lnTo>
                      <a:pt x="542" y="551"/>
                    </a:lnTo>
                    <a:lnTo>
                      <a:pt x="543" y="552"/>
                    </a:lnTo>
                    <a:lnTo>
                      <a:pt x="543" y="553"/>
                    </a:lnTo>
                    <a:lnTo>
                      <a:pt x="543" y="554"/>
                    </a:lnTo>
                    <a:lnTo>
                      <a:pt x="544" y="554"/>
                    </a:lnTo>
                    <a:lnTo>
                      <a:pt x="545" y="554"/>
                    </a:lnTo>
                    <a:lnTo>
                      <a:pt x="546" y="554"/>
                    </a:lnTo>
                    <a:lnTo>
                      <a:pt x="545" y="554"/>
                    </a:lnTo>
                    <a:lnTo>
                      <a:pt x="544" y="554"/>
                    </a:lnTo>
                    <a:lnTo>
                      <a:pt x="543" y="554"/>
                    </a:lnTo>
                    <a:lnTo>
                      <a:pt x="543" y="555"/>
                    </a:lnTo>
                    <a:lnTo>
                      <a:pt x="542" y="554"/>
                    </a:lnTo>
                    <a:lnTo>
                      <a:pt x="541" y="554"/>
                    </a:lnTo>
                    <a:lnTo>
                      <a:pt x="541" y="553"/>
                    </a:lnTo>
                    <a:lnTo>
                      <a:pt x="540" y="553"/>
                    </a:lnTo>
                    <a:lnTo>
                      <a:pt x="540" y="552"/>
                    </a:lnTo>
                    <a:lnTo>
                      <a:pt x="539" y="552"/>
                    </a:lnTo>
                    <a:lnTo>
                      <a:pt x="538" y="551"/>
                    </a:lnTo>
                    <a:lnTo>
                      <a:pt x="538" y="552"/>
                    </a:lnTo>
                    <a:lnTo>
                      <a:pt x="539" y="552"/>
                    </a:lnTo>
                    <a:lnTo>
                      <a:pt x="539" y="553"/>
                    </a:lnTo>
                    <a:lnTo>
                      <a:pt x="540" y="553"/>
                    </a:lnTo>
                    <a:lnTo>
                      <a:pt x="542" y="555"/>
                    </a:lnTo>
                    <a:lnTo>
                      <a:pt x="543" y="555"/>
                    </a:lnTo>
                    <a:lnTo>
                      <a:pt x="543" y="556"/>
                    </a:lnTo>
                    <a:lnTo>
                      <a:pt x="543" y="555"/>
                    </a:lnTo>
                    <a:lnTo>
                      <a:pt x="542" y="557"/>
                    </a:lnTo>
                    <a:lnTo>
                      <a:pt x="542" y="556"/>
                    </a:lnTo>
                    <a:lnTo>
                      <a:pt x="541" y="556"/>
                    </a:lnTo>
                    <a:lnTo>
                      <a:pt x="542" y="557"/>
                    </a:lnTo>
                    <a:lnTo>
                      <a:pt x="543" y="557"/>
                    </a:lnTo>
                    <a:lnTo>
                      <a:pt x="543" y="556"/>
                    </a:lnTo>
                    <a:lnTo>
                      <a:pt x="543" y="557"/>
                    </a:lnTo>
                    <a:lnTo>
                      <a:pt x="543" y="558"/>
                    </a:lnTo>
                    <a:lnTo>
                      <a:pt x="544" y="558"/>
                    </a:lnTo>
                    <a:lnTo>
                      <a:pt x="544" y="557"/>
                    </a:lnTo>
                    <a:lnTo>
                      <a:pt x="545" y="557"/>
                    </a:lnTo>
                    <a:lnTo>
                      <a:pt x="544" y="558"/>
                    </a:lnTo>
                    <a:lnTo>
                      <a:pt x="543" y="558"/>
                    </a:lnTo>
                    <a:lnTo>
                      <a:pt x="544" y="559"/>
                    </a:lnTo>
                    <a:lnTo>
                      <a:pt x="545" y="559"/>
                    </a:lnTo>
                    <a:lnTo>
                      <a:pt x="546" y="559"/>
                    </a:lnTo>
                    <a:lnTo>
                      <a:pt x="546" y="558"/>
                    </a:lnTo>
                    <a:lnTo>
                      <a:pt x="545" y="558"/>
                    </a:lnTo>
                    <a:lnTo>
                      <a:pt x="546" y="558"/>
                    </a:lnTo>
                    <a:lnTo>
                      <a:pt x="546" y="559"/>
                    </a:lnTo>
                    <a:lnTo>
                      <a:pt x="546" y="560"/>
                    </a:lnTo>
                    <a:lnTo>
                      <a:pt x="545" y="560"/>
                    </a:lnTo>
                    <a:lnTo>
                      <a:pt x="545" y="559"/>
                    </a:lnTo>
                    <a:lnTo>
                      <a:pt x="545" y="560"/>
                    </a:lnTo>
                    <a:lnTo>
                      <a:pt x="545" y="562"/>
                    </a:lnTo>
                    <a:lnTo>
                      <a:pt x="544" y="559"/>
                    </a:lnTo>
                    <a:lnTo>
                      <a:pt x="543" y="558"/>
                    </a:lnTo>
                    <a:lnTo>
                      <a:pt x="542" y="557"/>
                    </a:lnTo>
                    <a:lnTo>
                      <a:pt x="541" y="556"/>
                    </a:lnTo>
                    <a:lnTo>
                      <a:pt x="540" y="556"/>
                    </a:lnTo>
                    <a:lnTo>
                      <a:pt x="539" y="555"/>
                    </a:lnTo>
                    <a:lnTo>
                      <a:pt x="538" y="555"/>
                    </a:lnTo>
                    <a:lnTo>
                      <a:pt x="538" y="554"/>
                    </a:lnTo>
                    <a:lnTo>
                      <a:pt x="536" y="554"/>
                    </a:lnTo>
                    <a:lnTo>
                      <a:pt x="535" y="553"/>
                    </a:lnTo>
                    <a:lnTo>
                      <a:pt x="533" y="552"/>
                    </a:lnTo>
                    <a:lnTo>
                      <a:pt x="532" y="551"/>
                    </a:lnTo>
                    <a:lnTo>
                      <a:pt x="532" y="550"/>
                    </a:lnTo>
                    <a:lnTo>
                      <a:pt x="532" y="549"/>
                    </a:lnTo>
                    <a:lnTo>
                      <a:pt x="531" y="547"/>
                    </a:lnTo>
                    <a:lnTo>
                      <a:pt x="531" y="546"/>
                    </a:lnTo>
                    <a:lnTo>
                      <a:pt x="532" y="546"/>
                    </a:lnTo>
                    <a:lnTo>
                      <a:pt x="533" y="546"/>
                    </a:lnTo>
                    <a:close/>
                    <a:moveTo>
                      <a:pt x="251" y="398"/>
                    </a:moveTo>
                    <a:lnTo>
                      <a:pt x="251" y="399"/>
                    </a:lnTo>
                    <a:lnTo>
                      <a:pt x="251" y="400"/>
                    </a:lnTo>
                    <a:lnTo>
                      <a:pt x="249" y="401"/>
                    </a:lnTo>
                    <a:lnTo>
                      <a:pt x="249" y="400"/>
                    </a:lnTo>
                    <a:lnTo>
                      <a:pt x="249" y="399"/>
                    </a:lnTo>
                    <a:lnTo>
                      <a:pt x="249" y="398"/>
                    </a:lnTo>
                    <a:lnTo>
                      <a:pt x="247" y="398"/>
                    </a:lnTo>
                    <a:lnTo>
                      <a:pt x="247" y="399"/>
                    </a:lnTo>
                    <a:lnTo>
                      <a:pt x="247" y="400"/>
                    </a:lnTo>
                    <a:lnTo>
                      <a:pt x="247" y="401"/>
                    </a:lnTo>
                    <a:lnTo>
                      <a:pt x="247" y="402"/>
                    </a:lnTo>
                    <a:lnTo>
                      <a:pt x="246" y="402"/>
                    </a:lnTo>
                    <a:lnTo>
                      <a:pt x="247" y="403"/>
                    </a:lnTo>
                    <a:lnTo>
                      <a:pt x="249" y="405"/>
                    </a:lnTo>
                    <a:lnTo>
                      <a:pt x="249" y="406"/>
                    </a:lnTo>
                    <a:lnTo>
                      <a:pt x="251" y="406"/>
                    </a:lnTo>
                    <a:lnTo>
                      <a:pt x="252" y="406"/>
                    </a:lnTo>
                    <a:lnTo>
                      <a:pt x="253" y="406"/>
                    </a:lnTo>
                    <a:lnTo>
                      <a:pt x="254" y="406"/>
                    </a:lnTo>
                    <a:lnTo>
                      <a:pt x="255" y="406"/>
                    </a:lnTo>
                    <a:lnTo>
                      <a:pt x="255" y="405"/>
                    </a:lnTo>
                    <a:lnTo>
                      <a:pt x="256" y="405"/>
                    </a:lnTo>
                    <a:lnTo>
                      <a:pt x="256" y="404"/>
                    </a:lnTo>
                    <a:lnTo>
                      <a:pt x="257" y="404"/>
                    </a:lnTo>
                    <a:lnTo>
                      <a:pt x="256" y="404"/>
                    </a:lnTo>
                    <a:lnTo>
                      <a:pt x="255" y="404"/>
                    </a:lnTo>
                    <a:lnTo>
                      <a:pt x="255" y="405"/>
                    </a:lnTo>
                    <a:lnTo>
                      <a:pt x="253" y="405"/>
                    </a:lnTo>
                    <a:lnTo>
                      <a:pt x="253" y="404"/>
                    </a:lnTo>
                    <a:lnTo>
                      <a:pt x="254" y="404"/>
                    </a:lnTo>
                    <a:lnTo>
                      <a:pt x="253" y="404"/>
                    </a:lnTo>
                    <a:lnTo>
                      <a:pt x="254" y="404"/>
                    </a:lnTo>
                    <a:lnTo>
                      <a:pt x="254" y="403"/>
                    </a:lnTo>
                    <a:lnTo>
                      <a:pt x="254" y="402"/>
                    </a:lnTo>
                    <a:lnTo>
                      <a:pt x="256" y="402"/>
                    </a:lnTo>
                    <a:lnTo>
                      <a:pt x="257" y="402"/>
                    </a:lnTo>
                    <a:lnTo>
                      <a:pt x="257" y="401"/>
                    </a:lnTo>
                    <a:lnTo>
                      <a:pt x="258" y="402"/>
                    </a:lnTo>
                    <a:lnTo>
                      <a:pt x="259" y="403"/>
                    </a:lnTo>
                    <a:lnTo>
                      <a:pt x="260" y="403"/>
                    </a:lnTo>
                    <a:lnTo>
                      <a:pt x="261" y="403"/>
                    </a:lnTo>
                    <a:lnTo>
                      <a:pt x="262" y="403"/>
                    </a:lnTo>
                    <a:lnTo>
                      <a:pt x="264" y="403"/>
                    </a:lnTo>
                    <a:lnTo>
                      <a:pt x="265" y="403"/>
                    </a:lnTo>
                    <a:lnTo>
                      <a:pt x="265" y="402"/>
                    </a:lnTo>
                    <a:lnTo>
                      <a:pt x="265" y="403"/>
                    </a:lnTo>
                    <a:lnTo>
                      <a:pt x="266" y="403"/>
                    </a:lnTo>
                    <a:lnTo>
                      <a:pt x="265" y="403"/>
                    </a:lnTo>
                    <a:lnTo>
                      <a:pt x="265" y="404"/>
                    </a:lnTo>
                    <a:lnTo>
                      <a:pt x="264" y="404"/>
                    </a:lnTo>
                    <a:lnTo>
                      <a:pt x="262" y="404"/>
                    </a:lnTo>
                    <a:lnTo>
                      <a:pt x="262" y="405"/>
                    </a:lnTo>
                    <a:lnTo>
                      <a:pt x="262" y="406"/>
                    </a:lnTo>
                    <a:lnTo>
                      <a:pt x="261" y="406"/>
                    </a:lnTo>
                    <a:lnTo>
                      <a:pt x="260" y="406"/>
                    </a:lnTo>
                    <a:lnTo>
                      <a:pt x="259" y="408"/>
                    </a:lnTo>
                    <a:lnTo>
                      <a:pt x="258" y="408"/>
                    </a:lnTo>
                    <a:lnTo>
                      <a:pt x="258" y="409"/>
                    </a:lnTo>
                    <a:lnTo>
                      <a:pt x="257" y="409"/>
                    </a:lnTo>
                    <a:lnTo>
                      <a:pt x="256" y="409"/>
                    </a:lnTo>
                    <a:lnTo>
                      <a:pt x="256" y="410"/>
                    </a:lnTo>
                    <a:lnTo>
                      <a:pt x="255" y="410"/>
                    </a:lnTo>
                    <a:lnTo>
                      <a:pt x="254" y="410"/>
                    </a:lnTo>
                    <a:lnTo>
                      <a:pt x="253" y="410"/>
                    </a:lnTo>
                    <a:lnTo>
                      <a:pt x="252" y="410"/>
                    </a:lnTo>
                    <a:lnTo>
                      <a:pt x="249" y="410"/>
                    </a:lnTo>
                    <a:lnTo>
                      <a:pt x="249" y="409"/>
                    </a:lnTo>
                    <a:lnTo>
                      <a:pt x="248" y="409"/>
                    </a:lnTo>
                    <a:lnTo>
                      <a:pt x="249" y="409"/>
                    </a:lnTo>
                    <a:lnTo>
                      <a:pt x="251" y="409"/>
                    </a:lnTo>
                    <a:lnTo>
                      <a:pt x="251" y="408"/>
                    </a:lnTo>
                    <a:lnTo>
                      <a:pt x="252" y="409"/>
                    </a:lnTo>
                    <a:lnTo>
                      <a:pt x="252" y="408"/>
                    </a:lnTo>
                    <a:lnTo>
                      <a:pt x="253" y="408"/>
                    </a:lnTo>
                    <a:lnTo>
                      <a:pt x="253" y="406"/>
                    </a:lnTo>
                    <a:lnTo>
                      <a:pt x="254" y="408"/>
                    </a:lnTo>
                    <a:lnTo>
                      <a:pt x="255" y="408"/>
                    </a:lnTo>
                    <a:lnTo>
                      <a:pt x="255" y="406"/>
                    </a:lnTo>
                    <a:lnTo>
                      <a:pt x="256" y="406"/>
                    </a:lnTo>
                    <a:lnTo>
                      <a:pt x="257" y="406"/>
                    </a:lnTo>
                    <a:lnTo>
                      <a:pt x="258" y="406"/>
                    </a:lnTo>
                    <a:lnTo>
                      <a:pt x="259" y="406"/>
                    </a:lnTo>
                    <a:lnTo>
                      <a:pt x="259" y="405"/>
                    </a:lnTo>
                    <a:lnTo>
                      <a:pt x="258" y="405"/>
                    </a:lnTo>
                    <a:lnTo>
                      <a:pt x="258" y="406"/>
                    </a:lnTo>
                    <a:lnTo>
                      <a:pt x="257" y="406"/>
                    </a:lnTo>
                    <a:lnTo>
                      <a:pt x="257" y="405"/>
                    </a:lnTo>
                    <a:lnTo>
                      <a:pt x="256" y="405"/>
                    </a:lnTo>
                    <a:lnTo>
                      <a:pt x="257" y="405"/>
                    </a:lnTo>
                    <a:lnTo>
                      <a:pt x="258" y="404"/>
                    </a:lnTo>
                    <a:lnTo>
                      <a:pt x="258" y="403"/>
                    </a:lnTo>
                    <a:lnTo>
                      <a:pt x="258" y="404"/>
                    </a:lnTo>
                    <a:lnTo>
                      <a:pt x="259" y="404"/>
                    </a:lnTo>
                    <a:lnTo>
                      <a:pt x="258" y="404"/>
                    </a:lnTo>
                    <a:lnTo>
                      <a:pt x="258" y="405"/>
                    </a:lnTo>
                    <a:lnTo>
                      <a:pt x="258" y="404"/>
                    </a:lnTo>
                    <a:lnTo>
                      <a:pt x="259" y="404"/>
                    </a:lnTo>
                    <a:lnTo>
                      <a:pt x="259" y="405"/>
                    </a:lnTo>
                    <a:lnTo>
                      <a:pt x="260" y="404"/>
                    </a:lnTo>
                    <a:lnTo>
                      <a:pt x="259" y="404"/>
                    </a:lnTo>
                    <a:lnTo>
                      <a:pt x="259" y="403"/>
                    </a:lnTo>
                    <a:lnTo>
                      <a:pt x="258" y="403"/>
                    </a:lnTo>
                    <a:lnTo>
                      <a:pt x="258" y="402"/>
                    </a:lnTo>
                    <a:lnTo>
                      <a:pt x="258" y="403"/>
                    </a:lnTo>
                    <a:lnTo>
                      <a:pt x="257" y="403"/>
                    </a:lnTo>
                    <a:lnTo>
                      <a:pt x="256" y="403"/>
                    </a:lnTo>
                    <a:lnTo>
                      <a:pt x="255" y="404"/>
                    </a:lnTo>
                    <a:lnTo>
                      <a:pt x="254" y="404"/>
                    </a:lnTo>
                    <a:lnTo>
                      <a:pt x="255" y="404"/>
                    </a:lnTo>
                    <a:lnTo>
                      <a:pt x="256" y="404"/>
                    </a:lnTo>
                    <a:lnTo>
                      <a:pt x="256" y="403"/>
                    </a:lnTo>
                    <a:lnTo>
                      <a:pt x="257" y="403"/>
                    </a:lnTo>
                    <a:lnTo>
                      <a:pt x="258" y="403"/>
                    </a:lnTo>
                    <a:lnTo>
                      <a:pt x="257" y="404"/>
                    </a:lnTo>
                    <a:lnTo>
                      <a:pt x="256" y="404"/>
                    </a:lnTo>
                    <a:lnTo>
                      <a:pt x="256" y="405"/>
                    </a:lnTo>
                    <a:lnTo>
                      <a:pt x="256" y="406"/>
                    </a:lnTo>
                    <a:lnTo>
                      <a:pt x="255" y="406"/>
                    </a:lnTo>
                    <a:lnTo>
                      <a:pt x="254" y="406"/>
                    </a:lnTo>
                    <a:lnTo>
                      <a:pt x="253" y="406"/>
                    </a:lnTo>
                    <a:lnTo>
                      <a:pt x="252" y="408"/>
                    </a:lnTo>
                    <a:lnTo>
                      <a:pt x="251" y="408"/>
                    </a:lnTo>
                    <a:lnTo>
                      <a:pt x="249" y="408"/>
                    </a:lnTo>
                    <a:lnTo>
                      <a:pt x="248" y="408"/>
                    </a:lnTo>
                    <a:lnTo>
                      <a:pt x="248" y="406"/>
                    </a:lnTo>
                    <a:lnTo>
                      <a:pt x="248" y="405"/>
                    </a:lnTo>
                    <a:lnTo>
                      <a:pt x="247" y="405"/>
                    </a:lnTo>
                    <a:lnTo>
                      <a:pt x="247" y="404"/>
                    </a:lnTo>
                    <a:lnTo>
                      <a:pt x="246" y="404"/>
                    </a:lnTo>
                    <a:lnTo>
                      <a:pt x="246" y="403"/>
                    </a:lnTo>
                    <a:lnTo>
                      <a:pt x="245" y="403"/>
                    </a:lnTo>
                    <a:lnTo>
                      <a:pt x="246" y="403"/>
                    </a:lnTo>
                    <a:lnTo>
                      <a:pt x="246" y="402"/>
                    </a:lnTo>
                    <a:lnTo>
                      <a:pt x="245" y="402"/>
                    </a:lnTo>
                    <a:lnTo>
                      <a:pt x="246" y="401"/>
                    </a:lnTo>
                    <a:lnTo>
                      <a:pt x="246" y="400"/>
                    </a:lnTo>
                    <a:lnTo>
                      <a:pt x="246" y="399"/>
                    </a:lnTo>
                    <a:lnTo>
                      <a:pt x="246" y="398"/>
                    </a:lnTo>
                    <a:lnTo>
                      <a:pt x="247" y="398"/>
                    </a:lnTo>
                    <a:lnTo>
                      <a:pt x="248" y="398"/>
                    </a:lnTo>
                    <a:lnTo>
                      <a:pt x="251" y="398"/>
                    </a:lnTo>
                    <a:close/>
                    <a:moveTo>
                      <a:pt x="355" y="454"/>
                    </a:moveTo>
                    <a:lnTo>
                      <a:pt x="356" y="454"/>
                    </a:lnTo>
                    <a:lnTo>
                      <a:pt x="356" y="455"/>
                    </a:lnTo>
                    <a:lnTo>
                      <a:pt x="356" y="456"/>
                    </a:lnTo>
                    <a:lnTo>
                      <a:pt x="355" y="456"/>
                    </a:lnTo>
                    <a:lnTo>
                      <a:pt x="356" y="456"/>
                    </a:lnTo>
                    <a:lnTo>
                      <a:pt x="355" y="456"/>
                    </a:lnTo>
                    <a:lnTo>
                      <a:pt x="355" y="457"/>
                    </a:lnTo>
                    <a:lnTo>
                      <a:pt x="357" y="457"/>
                    </a:lnTo>
                    <a:lnTo>
                      <a:pt x="358" y="457"/>
                    </a:lnTo>
                    <a:lnTo>
                      <a:pt x="358" y="456"/>
                    </a:lnTo>
                    <a:lnTo>
                      <a:pt x="359" y="456"/>
                    </a:lnTo>
                    <a:lnTo>
                      <a:pt x="358" y="455"/>
                    </a:lnTo>
                    <a:lnTo>
                      <a:pt x="358" y="454"/>
                    </a:lnTo>
                    <a:lnTo>
                      <a:pt x="358" y="455"/>
                    </a:lnTo>
                    <a:lnTo>
                      <a:pt x="359" y="455"/>
                    </a:lnTo>
                    <a:lnTo>
                      <a:pt x="359" y="456"/>
                    </a:lnTo>
                    <a:lnTo>
                      <a:pt x="360" y="456"/>
                    </a:lnTo>
                    <a:lnTo>
                      <a:pt x="362" y="456"/>
                    </a:lnTo>
                    <a:lnTo>
                      <a:pt x="363" y="456"/>
                    </a:lnTo>
                    <a:lnTo>
                      <a:pt x="363" y="457"/>
                    </a:lnTo>
                    <a:lnTo>
                      <a:pt x="363" y="459"/>
                    </a:lnTo>
                    <a:lnTo>
                      <a:pt x="362" y="460"/>
                    </a:lnTo>
                    <a:lnTo>
                      <a:pt x="362" y="461"/>
                    </a:lnTo>
                    <a:lnTo>
                      <a:pt x="363" y="461"/>
                    </a:lnTo>
                    <a:lnTo>
                      <a:pt x="363" y="462"/>
                    </a:lnTo>
                    <a:lnTo>
                      <a:pt x="363" y="463"/>
                    </a:lnTo>
                    <a:lnTo>
                      <a:pt x="362" y="463"/>
                    </a:lnTo>
                    <a:lnTo>
                      <a:pt x="362" y="464"/>
                    </a:lnTo>
                    <a:lnTo>
                      <a:pt x="361" y="464"/>
                    </a:lnTo>
                    <a:lnTo>
                      <a:pt x="360" y="464"/>
                    </a:lnTo>
                    <a:lnTo>
                      <a:pt x="360" y="465"/>
                    </a:lnTo>
                    <a:lnTo>
                      <a:pt x="359" y="465"/>
                    </a:lnTo>
                    <a:lnTo>
                      <a:pt x="358" y="465"/>
                    </a:lnTo>
                    <a:lnTo>
                      <a:pt x="357" y="465"/>
                    </a:lnTo>
                    <a:lnTo>
                      <a:pt x="357" y="464"/>
                    </a:lnTo>
                    <a:lnTo>
                      <a:pt x="356" y="464"/>
                    </a:lnTo>
                    <a:lnTo>
                      <a:pt x="355" y="464"/>
                    </a:lnTo>
                    <a:lnTo>
                      <a:pt x="355" y="463"/>
                    </a:lnTo>
                    <a:lnTo>
                      <a:pt x="354" y="463"/>
                    </a:lnTo>
                    <a:lnTo>
                      <a:pt x="354" y="462"/>
                    </a:lnTo>
                    <a:lnTo>
                      <a:pt x="354" y="463"/>
                    </a:lnTo>
                    <a:lnTo>
                      <a:pt x="352" y="462"/>
                    </a:lnTo>
                    <a:lnTo>
                      <a:pt x="352" y="461"/>
                    </a:lnTo>
                    <a:lnTo>
                      <a:pt x="354" y="461"/>
                    </a:lnTo>
                    <a:lnTo>
                      <a:pt x="354" y="460"/>
                    </a:lnTo>
                    <a:lnTo>
                      <a:pt x="355" y="460"/>
                    </a:lnTo>
                    <a:lnTo>
                      <a:pt x="355" y="459"/>
                    </a:lnTo>
                    <a:lnTo>
                      <a:pt x="354" y="459"/>
                    </a:lnTo>
                    <a:lnTo>
                      <a:pt x="354" y="457"/>
                    </a:lnTo>
                    <a:lnTo>
                      <a:pt x="355" y="457"/>
                    </a:lnTo>
                    <a:lnTo>
                      <a:pt x="355" y="455"/>
                    </a:lnTo>
                    <a:lnTo>
                      <a:pt x="356" y="455"/>
                    </a:lnTo>
                    <a:lnTo>
                      <a:pt x="355" y="455"/>
                    </a:lnTo>
                    <a:lnTo>
                      <a:pt x="355" y="454"/>
                    </a:lnTo>
                    <a:lnTo>
                      <a:pt x="354" y="454"/>
                    </a:lnTo>
                    <a:lnTo>
                      <a:pt x="355" y="454"/>
                    </a:lnTo>
                    <a:close/>
                    <a:moveTo>
                      <a:pt x="434" y="511"/>
                    </a:moveTo>
                    <a:lnTo>
                      <a:pt x="434" y="512"/>
                    </a:lnTo>
                    <a:lnTo>
                      <a:pt x="434" y="513"/>
                    </a:lnTo>
                    <a:lnTo>
                      <a:pt x="433" y="513"/>
                    </a:lnTo>
                    <a:lnTo>
                      <a:pt x="433" y="514"/>
                    </a:lnTo>
                    <a:lnTo>
                      <a:pt x="433" y="515"/>
                    </a:lnTo>
                    <a:lnTo>
                      <a:pt x="432" y="515"/>
                    </a:lnTo>
                    <a:lnTo>
                      <a:pt x="431" y="516"/>
                    </a:lnTo>
                    <a:lnTo>
                      <a:pt x="429" y="517"/>
                    </a:lnTo>
                    <a:lnTo>
                      <a:pt x="428" y="518"/>
                    </a:lnTo>
                    <a:lnTo>
                      <a:pt x="427" y="519"/>
                    </a:lnTo>
                    <a:lnTo>
                      <a:pt x="426" y="520"/>
                    </a:lnTo>
                    <a:lnTo>
                      <a:pt x="425" y="521"/>
                    </a:lnTo>
                    <a:lnTo>
                      <a:pt x="424" y="523"/>
                    </a:lnTo>
                    <a:lnTo>
                      <a:pt x="423" y="521"/>
                    </a:lnTo>
                    <a:lnTo>
                      <a:pt x="423" y="523"/>
                    </a:lnTo>
                    <a:lnTo>
                      <a:pt x="422" y="523"/>
                    </a:lnTo>
                    <a:lnTo>
                      <a:pt x="422" y="524"/>
                    </a:lnTo>
                    <a:lnTo>
                      <a:pt x="421" y="524"/>
                    </a:lnTo>
                    <a:lnTo>
                      <a:pt x="421" y="525"/>
                    </a:lnTo>
                    <a:lnTo>
                      <a:pt x="420" y="525"/>
                    </a:lnTo>
                    <a:lnTo>
                      <a:pt x="420" y="524"/>
                    </a:lnTo>
                    <a:lnTo>
                      <a:pt x="419" y="524"/>
                    </a:lnTo>
                    <a:lnTo>
                      <a:pt x="419" y="525"/>
                    </a:lnTo>
                    <a:lnTo>
                      <a:pt x="419" y="526"/>
                    </a:lnTo>
                    <a:lnTo>
                      <a:pt x="418" y="526"/>
                    </a:lnTo>
                    <a:lnTo>
                      <a:pt x="418" y="527"/>
                    </a:lnTo>
                    <a:lnTo>
                      <a:pt x="416" y="527"/>
                    </a:lnTo>
                    <a:lnTo>
                      <a:pt x="416" y="528"/>
                    </a:lnTo>
                    <a:lnTo>
                      <a:pt x="415" y="528"/>
                    </a:lnTo>
                    <a:lnTo>
                      <a:pt x="415" y="527"/>
                    </a:lnTo>
                    <a:lnTo>
                      <a:pt x="415" y="526"/>
                    </a:lnTo>
                    <a:lnTo>
                      <a:pt x="414" y="526"/>
                    </a:lnTo>
                    <a:lnTo>
                      <a:pt x="414" y="525"/>
                    </a:lnTo>
                    <a:lnTo>
                      <a:pt x="414" y="524"/>
                    </a:lnTo>
                    <a:lnTo>
                      <a:pt x="414" y="523"/>
                    </a:lnTo>
                    <a:lnTo>
                      <a:pt x="415" y="523"/>
                    </a:lnTo>
                    <a:lnTo>
                      <a:pt x="416" y="523"/>
                    </a:lnTo>
                    <a:lnTo>
                      <a:pt x="418" y="523"/>
                    </a:lnTo>
                    <a:lnTo>
                      <a:pt x="418" y="521"/>
                    </a:lnTo>
                    <a:lnTo>
                      <a:pt x="419" y="520"/>
                    </a:lnTo>
                    <a:lnTo>
                      <a:pt x="419" y="521"/>
                    </a:lnTo>
                    <a:lnTo>
                      <a:pt x="419" y="523"/>
                    </a:lnTo>
                    <a:lnTo>
                      <a:pt x="420" y="523"/>
                    </a:lnTo>
                    <a:lnTo>
                      <a:pt x="421" y="523"/>
                    </a:lnTo>
                    <a:lnTo>
                      <a:pt x="421" y="521"/>
                    </a:lnTo>
                    <a:lnTo>
                      <a:pt x="422" y="521"/>
                    </a:lnTo>
                    <a:lnTo>
                      <a:pt x="423" y="521"/>
                    </a:lnTo>
                    <a:lnTo>
                      <a:pt x="423" y="520"/>
                    </a:lnTo>
                    <a:lnTo>
                      <a:pt x="424" y="520"/>
                    </a:lnTo>
                    <a:lnTo>
                      <a:pt x="424" y="519"/>
                    </a:lnTo>
                    <a:lnTo>
                      <a:pt x="424" y="518"/>
                    </a:lnTo>
                    <a:lnTo>
                      <a:pt x="424" y="517"/>
                    </a:lnTo>
                    <a:lnTo>
                      <a:pt x="424" y="516"/>
                    </a:lnTo>
                    <a:lnTo>
                      <a:pt x="426" y="515"/>
                    </a:lnTo>
                    <a:lnTo>
                      <a:pt x="427" y="515"/>
                    </a:lnTo>
                    <a:lnTo>
                      <a:pt x="427" y="516"/>
                    </a:lnTo>
                    <a:lnTo>
                      <a:pt x="428" y="517"/>
                    </a:lnTo>
                    <a:lnTo>
                      <a:pt x="428" y="516"/>
                    </a:lnTo>
                    <a:lnTo>
                      <a:pt x="429" y="515"/>
                    </a:lnTo>
                    <a:lnTo>
                      <a:pt x="429" y="514"/>
                    </a:lnTo>
                    <a:lnTo>
                      <a:pt x="429" y="513"/>
                    </a:lnTo>
                    <a:lnTo>
                      <a:pt x="431" y="513"/>
                    </a:lnTo>
                    <a:lnTo>
                      <a:pt x="431" y="512"/>
                    </a:lnTo>
                    <a:lnTo>
                      <a:pt x="431" y="511"/>
                    </a:lnTo>
                    <a:lnTo>
                      <a:pt x="432" y="511"/>
                    </a:lnTo>
                    <a:lnTo>
                      <a:pt x="433" y="511"/>
                    </a:lnTo>
                    <a:lnTo>
                      <a:pt x="434" y="510"/>
                    </a:lnTo>
                    <a:lnTo>
                      <a:pt x="433" y="510"/>
                    </a:lnTo>
                    <a:lnTo>
                      <a:pt x="434" y="508"/>
                    </a:lnTo>
                    <a:lnTo>
                      <a:pt x="434" y="507"/>
                    </a:lnTo>
                    <a:lnTo>
                      <a:pt x="434" y="508"/>
                    </a:lnTo>
                    <a:lnTo>
                      <a:pt x="435" y="508"/>
                    </a:lnTo>
                    <a:lnTo>
                      <a:pt x="435" y="511"/>
                    </a:lnTo>
                    <a:lnTo>
                      <a:pt x="434" y="511"/>
                    </a:lnTo>
                    <a:close/>
                    <a:moveTo>
                      <a:pt x="553" y="416"/>
                    </a:moveTo>
                    <a:lnTo>
                      <a:pt x="553" y="417"/>
                    </a:lnTo>
                    <a:lnTo>
                      <a:pt x="554" y="417"/>
                    </a:lnTo>
                    <a:lnTo>
                      <a:pt x="553" y="417"/>
                    </a:lnTo>
                    <a:lnTo>
                      <a:pt x="552" y="417"/>
                    </a:lnTo>
                    <a:lnTo>
                      <a:pt x="551" y="418"/>
                    </a:lnTo>
                    <a:lnTo>
                      <a:pt x="550" y="418"/>
                    </a:lnTo>
                    <a:lnTo>
                      <a:pt x="550" y="420"/>
                    </a:lnTo>
                    <a:lnTo>
                      <a:pt x="549" y="421"/>
                    </a:lnTo>
                    <a:lnTo>
                      <a:pt x="548" y="421"/>
                    </a:lnTo>
                    <a:lnTo>
                      <a:pt x="548" y="422"/>
                    </a:lnTo>
                    <a:lnTo>
                      <a:pt x="546" y="422"/>
                    </a:lnTo>
                    <a:lnTo>
                      <a:pt x="545" y="423"/>
                    </a:lnTo>
                    <a:lnTo>
                      <a:pt x="544" y="423"/>
                    </a:lnTo>
                    <a:lnTo>
                      <a:pt x="543" y="423"/>
                    </a:lnTo>
                    <a:lnTo>
                      <a:pt x="543" y="421"/>
                    </a:lnTo>
                    <a:lnTo>
                      <a:pt x="543" y="418"/>
                    </a:lnTo>
                    <a:lnTo>
                      <a:pt x="544" y="417"/>
                    </a:lnTo>
                    <a:lnTo>
                      <a:pt x="544" y="416"/>
                    </a:lnTo>
                    <a:lnTo>
                      <a:pt x="544" y="415"/>
                    </a:lnTo>
                    <a:lnTo>
                      <a:pt x="545" y="414"/>
                    </a:lnTo>
                    <a:lnTo>
                      <a:pt x="546" y="413"/>
                    </a:lnTo>
                    <a:lnTo>
                      <a:pt x="548" y="412"/>
                    </a:lnTo>
                    <a:lnTo>
                      <a:pt x="549" y="412"/>
                    </a:lnTo>
                    <a:lnTo>
                      <a:pt x="550" y="411"/>
                    </a:lnTo>
                    <a:lnTo>
                      <a:pt x="551" y="411"/>
                    </a:lnTo>
                    <a:lnTo>
                      <a:pt x="550" y="412"/>
                    </a:lnTo>
                    <a:lnTo>
                      <a:pt x="551" y="413"/>
                    </a:lnTo>
                    <a:lnTo>
                      <a:pt x="552" y="413"/>
                    </a:lnTo>
                    <a:lnTo>
                      <a:pt x="552" y="414"/>
                    </a:lnTo>
                    <a:lnTo>
                      <a:pt x="553" y="415"/>
                    </a:lnTo>
                    <a:lnTo>
                      <a:pt x="552" y="415"/>
                    </a:lnTo>
                    <a:lnTo>
                      <a:pt x="552" y="416"/>
                    </a:lnTo>
                    <a:lnTo>
                      <a:pt x="553" y="416"/>
                    </a:lnTo>
                    <a:close/>
                    <a:moveTo>
                      <a:pt x="262" y="380"/>
                    </a:moveTo>
                    <a:lnTo>
                      <a:pt x="262" y="382"/>
                    </a:lnTo>
                    <a:lnTo>
                      <a:pt x="264" y="383"/>
                    </a:lnTo>
                    <a:lnTo>
                      <a:pt x="265" y="383"/>
                    </a:lnTo>
                    <a:lnTo>
                      <a:pt x="265" y="384"/>
                    </a:lnTo>
                    <a:lnTo>
                      <a:pt x="266" y="385"/>
                    </a:lnTo>
                    <a:lnTo>
                      <a:pt x="267" y="385"/>
                    </a:lnTo>
                    <a:lnTo>
                      <a:pt x="267" y="386"/>
                    </a:lnTo>
                    <a:lnTo>
                      <a:pt x="268" y="386"/>
                    </a:lnTo>
                    <a:lnTo>
                      <a:pt x="268" y="387"/>
                    </a:lnTo>
                    <a:lnTo>
                      <a:pt x="268" y="389"/>
                    </a:lnTo>
                    <a:lnTo>
                      <a:pt x="267" y="389"/>
                    </a:lnTo>
                    <a:lnTo>
                      <a:pt x="266" y="389"/>
                    </a:lnTo>
                    <a:lnTo>
                      <a:pt x="265" y="389"/>
                    </a:lnTo>
                    <a:lnTo>
                      <a:pt x="265" y="390"/>
                    </a:lnTo>
                    <a:lnTo>
                      <a:pt x="265" y="389"/>
                    </a:lnTo>
                    <a:lnTo>
                      <a:pt x="266" y="389"/>
                    </a:lnTo>
                    <a:lnTo>
                      <a:pt x="266" y="390"/>
                    </a:lnTo>
                    <a:lnTo>
                      <a:pt x="267" y="390"/>
                    </a:lnTo>
                    <a:lnTo>
                      <a:pt x="266" y="390"/>
                    </a:lnTo>
                    <a:lnTo>
                      <a:pt x="266" y="389"/>
                    </a:lnTo>
                    <a:lnTo>
                      <a:pt x="267" y="389"/>
                    </a:lnTo>
                    <a:lnTo>
                      <a:pt x="267" y="390"/>
                    </a:lnTo>
                    <a:lnTo>
                      <a:pt x="267" y="389"/>
                    </a:lnTo>
                    <a:lnTo>
                      <a:pt x="267" y="390"/>
                    </a:lnTo>
                    <a:lnTo>
                      <a:pt x="268" y="390"/>
                    </a:lnTo>
                    <a:lnTo>
                      <a:pt x="270" y="390"/>
                    </a:lnTo>
                    <a:lnTo>
                      <a:pt x="269" y="390"/>
                    </a:lnTo>
                    <a:lnTo>
                      <a:pt x="269" y="391"/>
                    </a:lnTo>
                    <a:lnTo>
                      <a:pt x="270" y="391"/>
                    </a:lnTo>
                    <a:lnTo>
                      <a:pt x="269" y="391"/>
                    </a:lnTo>
                    <a:lnTo>
                      <a:pt x="269" y="392"/>
                    </a:lnTo>
                    <a:lnTo>
                      <a:pt x="268" y="391"/>
                    </a:lnTo>
                    <a:lnTo>
                      <a:pt x="268" y="392"/>
                    </a:lnTo>
                    <a:lnTo>
                      <a:pt x="267" y="391"/>
                    </a:lnTo>
                    <a:lnTo>
                      <a:pt x="267" y="390"/>
                    </a:lnTo>
                    <a:lnTo>
                      <a:pt x="266" y="391"/>
                    </a:lnTo>
                    <a:lnTo>
                      <a:pt x="265" y="391"/>
                    </a:lnTo>
                    <a:lnTo>
                      <a:pt x="265" y="390"/>
                    </a:lnTo>
                    <a:lnTo>
                      <a:pt x="264" y="390"/>
                    </a:lnTo>
                    <a:lnTo>
                      <a:pt x="264" y="389"/>
                    </a:lnTo>
                    <a:lnTo>
                      <a:pt x="264" y="388"/>
                    </a:lnTo>
                    <a:lnTo>
                      <a:pt x="264" y="387"/>
                    </a:lnTo>
                    <a:lnTo>
                      <a:pt x="265" y="387"/>
                    </a:lnTo>
                    <a:lnTo>
                      <a:pt x="265" y="388"/>
                    </a:lnTo>
                    <a:lnTo>
                      <a:pt x="265" y="387"/>
                    </a:lnTo>
                    <a:lnTo>
                      <a:pt x="264" y="387"/>
                    </a:lnTo>
                    <a:lnTo>
                      <a:pt x="264" y="388"/>
                    </a:lnTo>
                    <a:lnTo>
                      <a:pt x="264" y="389"/>
                    </a:lnTo>
                    <a:lnTo>
                      <a:pt x="262" y="389"/>
                    </a:lnTo>
                    <a:lnTo>
                      <a:pt x="264" y="389"/>
                    </a:lnTo>
                    <a:lnTo>
                      <a:pt x="264" y="390"/>
                    </a:lnTo>
                    <a:lnTo>
                      <a:pt x="262" y="390"/>
                    </a:lnTo>
                    <a:lnTo>
                      <a:pt x="261" y="389"/>
                    </a:lnTo>
                    <a:lnTo>
                      <a:pt x="261" y="388"/>
                    </a:lnTo>
                    <a:lnTo>
                      <a:pt x="258" y="385"/>
                    </a:lnTo>
                    <a:lnTo>
                      <a:pt x="258" y="384"/>
                    </a:lnTo>
                    <a:lnTo>
                      <a:pt x="257" y="384"/>
                    </a:lnTo>
                    <a:lnTo>
                      <a:pt x="257" y="385"/>
                    </a:lnTo>
                    <a:lnTo>
                      <a:pt x="256" y="384"/>
                    </a:lnTo>
                    <a:lnTo>
                      <a:pt x="257" y="383"/>
                    </a:lnTo>
                    <a:lnTo>
                      <a:pt x="258" y="384"/>
                    </a:lnTo>
                    <a:lnTo>
                      <a:pt x="258" y="383"/>
                    </a:lnTo>
                    <a:lnTo>
                      <a:pt x="258" y="382"/>
                    </a:lnTo>
                    <a:lnTo>
                      <a:pt x="258" y="380"/>
                    </a:lnTo>
                    <a:lnTo>
                      <a:pt x="259" y="382"/>
                    </a:lnTo>
                    <a:lnTo>
                      <a:pt x="260" y="382"/>
                    </a:lnTo>
                    <a:lnTo>
                      <a:pt x="261" y="380"/>
                    </a:lnTo>
                    <a:lnTo>
                      <a:pt x="261" y="379"/>
                    </a:lnTo>
                    <a:lnTo>
                      <a:pt x="260" y="379"/>
                    </a:lnTo>
                    <a:lnTo>
                      <a:pt x="261" y="378"/>
                    </a:lnTo>
                    <a:lnTo>
                      <a:pt x="261" y="377"/>
                    </a:lnTo>
                    <a:lnTo>
                      <a:pt x="262" y="378"/>
                    </a:lnTo>
                    <a:lnTo>
                      <a:pt x="261" y="378"/>
                    </a:lnTo>
                    <a:lnTo>
                      <a:pt x="261" y="379"/>
                    </a:lnTo>
                    <a:lnTo>
                      <a:pt x="262" y="379"/>
                    </a:lnTo>
                    <a:lnTo>
                      <a:pt x="262" y="380"/>
                    </a:lnTo>
                    <a:close/>
                    <a:moveTo>
                      <a:pt x="217" y="386"/>
                    </a:moveTo>
                    <a:lnTo>
                      <a:pt x="218" y="386"/>
                    </a:lnTo>
                    <a:lnTo>
                      <a:pt x="218" y="387"/>
                    </a:lnTo>
                    <a:lnTo>
                      <a:pt x="218" y="388"/>
                    </a:lnTo>
                    <a:lnTo>
                      <a:pt x="217" y="388"/>
                    </a:lnTo>
                    <a:lnTo>
                      <a:pt x="216" y="388"/>
                    </a:lnTo>
                    <a:lnTo>
                      <a:pt x="215" y="388"/>
                    </a:lnTo>
                    <a:lnTo>
                      <a:pt x="215" y="389"/>
                    </a:lnTo>
                    <a:lnTo>
                      <a:pt x="215" y="390"/>
                    </a:lnTo>
                    <a:lnTo>
                      <a:pt x="214" y="390"/>
                    </a:lnTo>
                    <a:lnTo>
                      <a:pt x="214" y="391"/>
                    </a:lnTo>
                    <a:lnTo>
                      <a:pt x="214" y="392"/>
                    </a:lnTo>
                    <a:lnTo>
                      <a:pt x="215" y="392"/>
                    </a:lnTo>
                    <a:lnTo>
                      <a:pt x="216" y="391"/>
                    </a:lnTo>
                    <a:lnTo>
                      <a:pt x="217" y="391"/>
                    </a:lnTo>
                    <a:lnTo>
                      <a:pt x="217" y="390"/>
                    </a:lnTo>
                    <a:lnTo>
                      <a:pt x="218" y="389"/>
                    </a:lnTo>
                    <a:lnTo>
                      <a:pt x="219" y="390"/>
                    </a:lnTo>
                    <a:lnTo>
                      <a:pt x="220" y="390"/>
                    </a:lnTo>
                    <a:lnTo>
                      <a:pt x="220" y="389"/>
                    </a:lnTo>
                    <a:lnTo>
                      <a:pt x="221" y="389"/>
                    </a:lnTo>
                    <a:lnTo>
                      <a:pt x="220" y="389"/>
                    </a:lnTo>
                    <a:lnTo>
                      <a:pt x="221" y="390"/>
                    </a:lnTo>
                    <a:lnTo>
                      <a:pt x="221" y="391"/>
                    </a:lnTo>
                    <a:lnTo>
                      <a:pt x="221" y="392"/>
                    </a:lnTo>
                    <a:lnTo>
                      <a:pt x="221" y="393"/>
                    </a:lnTo>
                    <a:lnTo>
                      <a:pt x="222" y="393"/>
                    </a:lnTo>
                    <a:lnTo>
                      <a:pt x="222" y="395"/>
                    </a:lnTo>
                    <a:lnTo>
                      <a:pt x="223" y="395"/>
                    </a:lnTo>
                    <a:lnTo>
                      <a:pt x="222" y="396"/>
                    </a:lnTo>
                    <a:lnTo>
                      <a:pt x="222" y="395"/>
                    </a:lnTo>
                    <a:lnTo>
                      <a:pt x="222" y="396"/>
                    </a:lnTo>
                    <a:lnTo>
                      <a:pt x="221" y="397"/>
                    </a:lnTo>
                    <a:lnTo>
                      <a:pt x="222" y="397"/>
                    </a:lnTo>
                    <a:lnTo>
                      <a:pt x="221" y="397"/>
                    </a:lnTo>
                    <a:lnTo>
                      <a:pt x="222" y="398"/>
                    </a:lnTo>
                    <a:lnTo>
                      <a:pt x="221" y="399"/>
                    </a:lnTo>
                    <a:lnTo>
                      <a:pt x="221" y="398"/>
                    </a:lnTo>
                    <a:lnTo>
                      <a:pt x="221" y="399"/>
                    </a:lnTo>
                    <a:lnTo>
                      <a:pt x="221" y="400"/>
                    </a:lnTo>
                    <a:lnTo>
                      <a:pt x="220" y="399"/>
                    </a:lnTo>
                    <a:lnTo>
                      <a:pt x="220" y="400"/>
                    </a:lnTo>
                    <a:lnTo>
                      <a:pt x="219" y="400"/>
                    </a:lnTo>
                    <a:lnTo>
                      <a:pt x="219" y="399"/>
                    </a:lnTo>
                    <a:lnTo>
                      <a:pt x="218" y="399"/>
                    </a:lnTo>
                    <a:lnTo>
                      <a:pt x="218" y="398"/>
                    </a:lnTo>
                    <a:lnTo>
                      <a:pt x="218" y="397"/>
                    </a:lnTo>
                    <a:lnTo>
                      <a:pt x="218" y="396"/>
                    </a:lnTo>
                    <a:lnTo>
                      <a:pt x="218" y="395"/>
                    </a:lnTo>
                    <a:lnTo>
                      <a:pt x="217" y="395"/>
                    </a:lnTo>
                    <a:lnTo>
                      <a:pt x="217" y="393"/>
                    </a:lnTo>
                    <a:lnTo>
                      <a:pt x="218" y="393"/>
                    </a:lnTo>
                    <a:lnTo>
                      <a:pt x="217" y="392"/>
                    </a:lnTo>
                    <a:lnTo>
                      <a:pt x="217" y="393"/>
                    </a:lnTo>
                    <a:lnTo>
                      <a:pt x="217" y="395"/>
                    </a:lnTo>
                    <a:lnTo>
                      <a:pt x="217" y="396"/>
                    </a:lnTo>
                    <a:lnTo>
                      <a:pt x="217" y="397"/>
                    </a:lnTo>
                    <a:lnTo>
                      <a:pt x="216" y="397"/>
                    </a:lnTo>
                    <a:lnTo>
                      <a:pt x="216" y="398"/>
                    </a:lnTo>
                    <a:lnTo>
                      <a:pt x="215" y="398"/>
                    </a:lnTo>
                    <a:lnTo>
                      <a:pt x="215" y="397"/>
                    </a:lnTo>
                    <a:lnTo>
                      <a:pt x="215" y="396"/>
                    </a:lnTo>
                    <a:lnTo>
                      <a:pt x="215" y="395"/>
                    </a:lnTo>
                    <a:lnTo>
                      <a:pt x="214" y="390"/>
                    </a:lnTo>
                    <a:lnTo>
                      <a:pt x="214" y="389"/>
                    </a:lnTo>
                    <a:lnTo>
                      <a:pt x="215" y="389"/>
                    </a:lnTo>
                    <a:lnTo>
                      <a:pt x="215" y="388"/>
                    </a:lnTo>
                    <a:lnTo>
                      <a:pt x="215" y="387"/>
                    </a:lnTo>
                    <a:lnTo>
                      <a:pt x="216" y="386"/>
                    </a:lnTo>
                    <a:lnTo>
                      <a:pt x="215" y="386"/>
                    </a:lnTo>
                    <a:lnTo>
                      <a:pt x="216" y="379"/>
                    </a:lnTo>
                    <a:lnTo>
                      <a:pt x="217" y="379"/>
                    </a:lnTo>
                    <a:lnTo>
                      <a:pt x="217" y="380"/>
                    </a:lnTo>
                    <a:lnTo>
                      <a:pt x="216" y="380"/>
                    </a:lnTo>
                    <a:lnTo>
                      <a:pt x="216" y="382"/>
                    </a:lnTo>
                    <a:lnTo>
                      <a:pt x="216" y="383"/>
                    </a:lnTo>
                    <a:lnTo>
                      <a:pt x="217" y="383"/>
                    </a:lnTo>
                    <a:lnTo>
                      <a:pt x="217" y="384"/>
                    </a:lnTo>
                    <a:lnTo>
                      <a:pt x="218" y="385"/>
                    </a:lnTo>
                    <a:lnTo>
                      <a:pt x="217" y="386"/>
                    </a:lnTo>
                    <a:close/>
                    <a:moveTo>
                      <a:pt x="426" y="659"/>
                    </a:moveTo>
                    <a:lnTo>
                      <a:pt x="425" y="660"/>
                    </a:lnTo>
                    <a:lnTo>
                      <a:pt x="425" y="661"/>
                    </a:lnTo>
                    <a:lnTo>
                      <a:pt x="424" y="661"/>
                    </a:lnTo>
                    <a:lnTo>
                      <a:pt x="424" y="662"/>
                    </a:lnTo>
                    <a:lnTo>
                      <a:pt x="423" y="662"/>
                    </a:lnTo>
                    <a:lnTo>
                      <a:pt x="423" y="663"/>
                    </a:lnTo>
                    <a:lnTo>
                      <a:pt x="424" y="663"/>
                    </a:lnTo>
                    <a:lnTo>
                      <a:pt x="424" y="665"/>
                    </a:lnTo>
                    <a:lnTo>
                      <a:pt x="423" y="665"/>
                    </a:lnTo>
                    <a:lnTo>
                      <a:pt x="424" y="665"/>
                    </a:lnTo>
                    <a:lnTo>
                      <a:pt x="425" y="665"/>
                    </a:lnTo>
                    <a:lnTo>
                      <a:pt x="425" y="666"/>
                    </a:lnTo>
                    <a:lnTo>
                      <a:pt x="424" y="667"/>
                    </a:lnTo>
                    <a:lnTo>
                      <a:pt x="424" y="668"/>
                    </a:lnTo>
                    <a:lnTo>
                      <a:pt x="423" y="668"/>
                    </a:lnTo>
                    <a:lnTo>
                      <a:pt x="423" y="667"/>
                    </a:lnTo>
                    <a:lnTo>
                      <a:pt x="422" y="667"/>
                    </a:lnTo>
                    <a:lnTo>
                      <a:pt x="423" y="667"/>
                    </a:lnTo>
                    <a:lnTo>
                      <a:pt x="423" y="668"/>
                    </a:lnTo>
                    <a:lnTo>
                      <a:pt x="422" y="668"/>
                    </a:lnTo>
                    <a:lnTo>
                      <a:pt x="423" y="668"/>
                    </a:lnTo>
                    <a:lnTo>
                      <a:pt x="423" y="669"/>
                    </a:lnTo>
                    <a:lnTo>
                      <a:pt x="422" y="669"/>
                    </a:lnTo>
                    <a:lnTo>
                      <a:pt x="421" y="669"/>
                    </a:lnTo>
                    <a:lnTo>
                      <a:pt x="422" y="670"/>
                    </a:lnTo>
                    <a:lnTo>
                      <a:pt x="421" y="670"/>
                    </a:lnTo>
                    <a:lnTo>
                      <a:pt x="421" y="669"/>
                    </a:lnTo>
                    <a:lnTo>
                      <a:pt x="421" y="670"/>
                    </a:lnTo>
                    <a:lnTo>
                      <a:pt x="421" y="671"/>
                    </a:lnTo>
                    <a:lnTo>
                      <a:pt x="421" y="670"/>
                    </a:lnTo>
                    <a:lnTo>
                      <a:pt x="420" y="670"/>
                    </a:lnTo>
                    <a:lnTo>
                      <a:pt x="420" y="671"/>
                    </a:lnTo>
                    <a:lnTo>
                      <a:pt x="420" y="672"/>
                    </a:lnTo>
                    <a:lnTo>
                      <a:pt x="419" y="672"/>
                    </a:lnTo>
                    <a:lnTo>
                      <a:pt x="419" y="673"/>
                    </a:lnTo>
                    <a:lnTo>
                      <a:pt x="418" y="673"/>
                    </a:lnTo>
                    <a:lnTo>
                      <a:pt x="416" y="674"/>
                    </a:lnTo>
                    <a:lnTo>
                      <a:pt x="418" y="674"/>
                    </a:lnTo>
                    <a:lnTo>
                      <a:pt x="418" y="675"/>
                    </a:lnTo>
                    <a:lnTo>
                      <a:pt x="416" y="674"/>
                    </a:lnTo>
                    <a:lnTo>
                      <a:pt x="416" y="675"/>
                    </a:lnTo>
                    <a:lnTo>
                      <a:pt x="418" y="675"/>
                    </a:lnTo>
                    <a:lnTo>
                      <a:pt x="418" y="674"/>
                    </a:lnTo>
                    <a:lnTo>
                      <a:pt x="419" y="673"/>
                    </a:lnTo>
                    <a:lnTo>
                      <a:pt x="420" y="673"/>
                    </a:lnTo>
                    <a:lnTo>
                      <a:pt x="421" y="672"/>
                    </a:lnTo>
                    <a:lnTo>
                      <a:pt x="421" y="671"/>
                    </a:lnTo>
                    <a:lnTo>
                      <a:pt x="422" y="670"/>
                    </a:lnTo>
                    <a:lnTo>
                      <a:pt x="422" y="671"/>
                    </a:lnTo>
                    <a:lnTo>
                      <a:pt x="423" y="671"/>
                    </a:lnTo>
                    <a:lnTo>
                      <a:pt x="422" y="671"/>
                    </a:lnTo>
                    <a:lnTo>
                      <a:pt x="422" y="672"/>
                    </a:lnTo>
                    <a:lnTo>
                      <a:pt x="422" y="671"/>
                    </a:lnTo>
                    <a:lnTo>
                      <a:pt x="421" y="671"/>
                    </a:lnTo>
                    <a:lnTo>
                      <a:pt x="421" y="672"/>
                    </a:lnTo>
                    <a:lnTo>
                      <a:pt x="420" y="673"/>
                    </a:lnTo>
                    <a:lnTo>
                      <a:pt x="419" y="673"/>
                    </a:lnTo>
                    <a:lnTo>
                      <a:pt x="419" y="674"/>
                    </a:lnTo>
                    <a:lnTo>
                      <a:pt x="419" y="675"/>
                    </a:lnTo>
                    <a:lnTo>
                      <a:pt x="418" y="675"/>
                    </a:lnTo>
                    <a:lnTo>
                      <a:pt x="418" y="677"/>
                    </a:lnTo>
                    <a:lnTo>
                      <a:pt x="419" y="675"/>
                    </a:lnTo>
                    <a:lnTo>
                      <a:pt x="420" y="675"/>
                    </a:lnTo>
                    <a:lnTo>
                      <a:pt x="420" y="674"/>
                    </a:lnTo>
                    <a:lnTo>
                      <a:pt x="422" y="673"/>
                    </a:lnTo>
                    <a:lnTo>
                      <a:pt x="422" y="672"/>
                    </a:lnTo>
                    <a:lnTo>
                      <a:pt x="423" y="672"/>
                    </a:lnTo>
                    <a:lnTo>
                      <a:pt x="423" y="671"/>
                    </a:lnTo>
                    <a:lnTo>
                      <a:pt x="424" y="671"/>
                    </a:lnTo>
                    <a:lnTo>
                      <a:pt x="424" y="670"/>
                    </a:lnTo>
                    <a:lnTo>
                      <a:pt x="424" y="669"/>
                    </a:lnTo>
                    <a:lnTo>
                      <a:pt x="425" y="669"/>
                    </a:lnTo>
                    <a:lnTo>
                      <a:pt x="425" y="668"/>
                    </a:lnTo>
                    <a:lnTo>
                      <a:pt x="426" y="668"/>
                    </a:lnTo>
                    <a:lnTo>
                      <a:pt x="426" y="667"/>
                    </a:lnTo>
                    <a:lnTo>
                      <a:pt x="425" y="667"/>
                    </a:lnTo>
                    <a:lnTo>
                      <a:pt x="424" y="668"/>
                    </a:lnTo>
                    <a:lnTo>
                      <a:pt x="423" y="669"/>
                    </a:lnTo>
                    <a:lnTo>
                      <a:pt x="424" y="668"/>
                    </a:lnTo>
                    <a:lnTo>
                      <a:pt x="425" y="667"/>
                    </a:lnTo>
                    <a:lnTo>
                      <a:pt x="426" y="667"/>
                    </a:lnTo>
                    <a:lnTo>
                      <a:pt x="426" y="668"/>
                    </a:lnTo>
                    <a:lnTo>
                      <a:pt x="425" y="669"/>
                    </a:lnTo>
                    <a:lnTo>
                      <a:pt x="425" y="670"/>
                    </a:lnTo>
                    <a:lnTo>
                      <a:pt x="424" y="670"/>
                    </a:lnTo>
                    <a:lnTo>
                      <a:pt x="424" y="671"/>
                    </a:lnTo>
                    <a:lnTo>
                      <a:pt x="423" y="671"/>
                    </a:lnTo>
                    <a:lnTo>
                      <a:pt x="423" y="672"/>
                    </a:lnTo>
                    <a:lnTo>
                      <a:pt x="422" y="672"/>
                    </a:lnTo>
                    <a:lnTo>
                      <a:pt x="421" y="673"/>
                    </a:lnTo>
                    <a:lnTo>
                      <a:pt x="421" y="674"/>
                    </a:lnTo>
                    <a:lnTo>
                      <a:pt x="420" y="674"/>
                    </a:lnTo>
                    <a:lnTo>
                      <a:pt x="420" y="675"/>
                    </a:lnTo>
                    <a:lnTo>
                      <a:pt x="419" y="675"/>
                    </a:lnTo>
                    <a:lnTo>
                      <a:pt x="419" y="677"/>
                    </a:lnTo>
                    <a:lnTo>
                      <a:pt x="418" y="677"/>
                    </a:lnTo>
                    <a:lnTo>
                      <a:pt x="418" y="678"/>
                    </a:lnTo>
                    <a:lnTo>
                      <a:pt x="416" y="678"/>
                    </a:lnTo>
                    <a:lnTo>
                      <a:pt x="416" y="679"/>
                    </a:lnTo>
                    <a:lnTo>
                      <a:pt x="415" y="679"/>
                    </a:lnTo>
                    <a:lnTo>
                      <a:pt x="415" y="680"/>
                    </a:lnTo>
                    <a:lnTo>
                      <a:pt x="414" y="680"/>
                    </a:lnTo>
                    <a:lnTo>
                      <a:pt x="413" y="681"/>
                    </a:lnTo>
                    <a:lnTo>
                      <a:pt x="412" y="682"/>
                    </a:lnTo>
                    <a:lnTo>
                      <a:pt x="411" y="682"/>
                    </a:lnTo>
                    <a:lnTo>
                      <a:pt x="411" y="683"/>
                    </a:lnTo>
                    <a:lnTo>
                      <a:pt x="411" y="682"/>
                    </a:lnTo>
                    <a:lnTo>
                      <a:pt x="412" y="681"/>
                    </a:lnTo>
                    <a:lnTo>
                      <a:pt x="411" y="681"/>
                    </a:lnTo>
                    <a:lnTo>
                      <a:pt x="412" y="681"/>
                    </a:lnTo>
                    <a:lnTo>
                      <a:pt x="412" y="680"/>
                    </a:lnTo>
                    <a:lnTo>
                      <a:pt x="413" y="680"/>
                    </a:lnTo>
                    <a:lnTo>
                      <a:pt x="413" y="679"/>
                    </a:lnTo>
                    <a:lnTo>
                      <a:pt x="413" y="678"/>
                    </a:lnTo>
                    <a:lnTo>
                      <a:pt x="414" y="678"/>
                    </a:lnTo>
                    <a:lnTo>
                      <a:pt x="414" y="677"/>
                    </a:lnTo>
                    <a:lnTo>
                      <a:pt x="414" y="675"/>
                    </a:lnTo>
                    <a:lnTo>
                      <a:pt x="415" y="674"/>
                    </a:lnTo>
                    <a:lnTo>
                      <a:pt x="415" y="673"/>
                    </a:lnTo>
                    <a:lnTo>
                      <a:pt x="416" y="673"/>
                    </a:lnTo>
                    <a:lnTo>
                      <a:pt x="416" y="672"/>
                    </a:lnTo>
                    <a:lnTo>
                      <a:pt x="416" y="671"/>
                    </a:lnTo>
                    <a:lnTo>
                      <a:pt x="418" y="671"/>
                    </a:lnTo>
                    <a:lnTo>
                      <a:pt x="418" y="670"/>
                    </a:lnTo>
                    <a:lnTo>
                      <a:pt x="419" y="670"/>
                    </a:lnTo>
                    <a:lnTo>
                      <a:pt x="419" y="669"/>
                    </a:lnTo>
                    <a:lnTo>
                      <a:pt x="420" y="669"/>
                    </a:lnTo>
                    <a:lnTo>
                      <a:pt x="420" y="668"/>
                    </a:lnTo>
                    <a:lnTo>
                      <a:pt x="420" y="667"/>
                    </a:lnTo>
                    <a:lnTo>
                      <a:pt x="421" y="666"/>
                    </a:lnTo>
                    <a:lnTo>
                      <a:pt x="421" y="665"/>
                    </a:lnTo>
                    <a:lnTo>
                      <a:pt x="422" y="665"/>
                    </a:lnTo>
                    <a:lnTo>
                      <a:pt x="422" y="663"/>
                    </a:lnTo>
                    <a:lnTo>
                      <a:pt x="423" y="663"/>
                    </a:lnTo>
                    <a:lnTo>
                      <a:pt x="423" y="662"/>
                    </a:lnTo>
                    <a:lnTo>
                      <a:pt x="423" y="661"/>
                    </a:lnTo>
                    <a:lnTo>
                      <a:pt x="424" y="661"/>
                    </a:lnTo>
                    <a:lnTo>
                      <a:pt x="424" y="660"/>
                    </a:lnTo>
                    <a:lnTo>
                      <a:pt x="425" y="660"/>
                    </a:lnTo>
                    <a:lnTo>
                      <a:pt x="425" y="659"/>
                    </a:lnTo>
                    <a:lnTo>
                      <a:pt x="427" y="657"/>
                    </a:lnTo>
                    <a:lnTo>
                      <a:pt x="427" y="658"/>
                    </a:lnTo>
                    <a:lnTo>
                      <a:pt x="427" y="659"/>
                    </a:lnTo>
                    <a:lnTo>
                      <a:pt x="426" y="659"/>
                    </a:lnTo>
                    <a:close/>
                    <a:moveTo>
                      <a:pt x="517" y="495"/>
                    </a:moveTo>
                    <a:lnTo>
                      <a:pt x="517" y="496"/>
                    </a:lnTo>
                    <a:lnTo>
                      <a:pt x="516" y="496"/>
                    </a:lnTo>
                    <a:lnTo>
                      <a:pt x="516" y="498"/>
                    </a:lnTo>
                    <a:lnTo>
                      <a:pt x="515" y="498"/>
                    </a:lnTo>
                    <a:lnTo>
                      <a:pt x="514" y="498"/>
                    </a:lnTo>
                    <a:lnTo>
                      <a:pt x="513" y="498"/>
                    </a:lnTo>
                    <a:lnTo>
                      <a:pt x="512" y="498"/>
                    </a:lnTo>
                    <a:lnTo>
                      <a:pt x="511" y="498"/>
                    </a:lnTo>
                    <a:lnTo>
                      <a:pt x="510" y="498"/>
                    </a:lnTo>
                    <a:lnTo>
                      <a:pt x="509" y="498"/>
                    </a:lnTo>
                    <a:lnTo>
                      <a:pt x="506" y="499"/>
                    </a:lnTo>
                    <a:lnTo>
                      <a:pt x="505" y="499"/>
                    </a:lnTo>
                    <a:lnTo>
                      <a:pt x="504" y="499"/>
                    </a:lnTo>
                    <a:lnTo>
                      <a:pt x="503" y="500"/>
                    </a:lnTo>
                    <a:lnTo>
                      <a:pt x="502" y="500"/>
                    </a:lnTo>
                    <a:lnTo>
                      <a:pt x="501" y="500"/>
                    </a:lnTo>
                    <a:lnTo>
                      <a:pt x="500" y="499"/>
                    </a:lnTo>
                    <a:lnTo>
                      <a:pt x="500" y="498"/>
                    </a:lnTo>
                    <a:lnTo>
                      <a:pt x="501" y="498"/>
                    </a:lnTo>
                    <a:lnTo>
                      <a:pt x="501" y="496"/>
                    </a:lnTo>
                    <a:lnTo>
                      <a:pt x="502" y="496"/>
                    </a:lnTo>
                    <a:lnTo>
                      <a:pt x="503" y="496"/>
                    </a:lnTo>
                    <a:lnTo>
                      <a:pt x="504" y="495"/>
                    </a:lnTo>
                    <a:lnTo>
                      <a:pt x="505" y="495"/>
                    </a:lnTo>
                    <a:lnTo>
                      <a:pt x="507" y="495"/>
                    </a:lnTo>
                    <a:lnTo>
                      <a:pt x="509" y="495"/>
                    </a:lnTo>
                    <a:lnTo>
                      <a:pt x="510" y="495"/>
                    </a:lnTo>
                    <a:lnTo>
                      <a:pt x="511" y="494"/>
                    </a:lnTo>
                    <a:lnTo>
                      <a:pt x="512" y="494"/>
                    </a:lnTo>
                    <a:lnTo>
                      <a:pt x="513" y="494"/>
                    </a:lnTo>
                    <a:lnTo>
                      <a:pt x="515" y="492"/>
                    </a:lnTo>
                    <a:lnTo>
                      <a:pt x="517" y="491"/>
                    </a:lnTo>
                    <a:lnTo>
                      <a:pt x="519" y="491"/>
                    </a:lnTo>
                    <a:lnTo>
                      <a:pt x="519" y="490"/>
                    </a:lnTo>
                    <a:lnTo>
                      <a:pt x="520" y="490"/>
                    </a:lnTo>
                    <a:lnTo>
                      <a:pt x="520" y="491"/>
                    </a:lnTo>
                    <a:lnTo>
                      <a:pt x="519" y="492"/>
                    </a:lnTo>
                    <a:lnTo>
                      <a:pt x="519" y="493"/>
                    </a:lnTo>
                    <a:lnTo>
                      <a:pt x="518" y="493"/>
                    </a:lnTo>
                    <a:lnTo>
                      <a:pt x="518" y="494"/>
                    </a:lnTo>
                    <a:lnTo>
                      <a:pt x="517" y="495"/>
                    </a:lnTo>
                    <a:close/>
                    <a:moveTo>
                      <a:pt x="160" y="391"/>
                    </a:moveTo>
                    <a:lnTo>
                      <a:pt x="158" y="391"/>
                    </a:lnTo>
                    <a:lnTo>
                      <a:pt x="158" y="392"/>
                    </a:lnTo>
                    <a:lnTo>
                      <a:pt x="158" y="393"/>
                    </a:lnTo>
                    <a:lnTo>
                      <a:pt x="158" y="392"/>
                    </a:lnTo>
                    <a:lnTo>
                      <a:pt x="158" y="393"/>
                    </a:lnTo>
                    <a:lnTo>
                      <a:pt x="160" y="392"/>
                    </a:lnTo>
                    <a:lnTo>
                      <a:pt x="160" y="393"/>
                    </a:lnTo>
                    <a:lnTo>
                      <a:pt x="158" y="393"/>
                    </a:lnTo>
                    <a:lnTo>
                      <a:pt x="157" y="393"/>
                    </a:lnTo>
                    <a:lnTo>
                      <a:pt x="157" y="392"/>
                    </a:lnTo>
                    <a:lnTo>
                      <a:pt x="157" y="393"/>
                    </a:lnTo>
                    <a:lnTo>
                      <a:pt x="157" y="395"/>
                    </a:lnTo>
                    <a:lnTo>
                      <a:pt x="157" y="396"/>
                    </a:lnTo>
                    <a:lnTo>
                      <a:pt x="157" y="397"/>
                    </a:lnTo>
                    <a:lnTo>
                      <a:pt x="156" y="398"/>
                    </a:lnTo>
                    <a:lnTo>
                      <a:pt x="157" y="398"/>
                    </a:lnTo>
                    <a:lnTo>
                      <a:pt x="156" y="398"/>
                    </a:lnTo>
                    <a:lnTo>
                      <a:pt x="155" y="399"/>
                    </a:lnTo>
                    <a:lnTo>
                      <a:pt x="155" y="398"/>
                    </a:lnTo>
                    <a:lnTo>
                      <a:pt x="154" y="398"/>
                    </a:lnTo>
                    <a:lnTo>
                      <a:pt x="154" y="397"/>
                    </a:lnTo>
                    <a:lnTo>
                      <a:pt x="154" y="396"/>
                    </a:lnTo>
                    <a:lnTo>
                      <a:pt x="154" y="395"/>
                    </a:lnTo>
                    <a:lnTo>
                      <a:pt x="154" y="396"/>
                    </a:lnTo>
                    <a:lnTo>
                      <a:pt x="153" y="397"/>
                    </a:lnTo>
                    <a:lnTo>
                      <a:pt x="154" y="397"/>
                    </a:lnTo>
                    <a:lnTo>
                      <a:pt x="155" y="399"/>
                    </a:lnTo>
                    <a:lnTo>
                      <a:pt x="154" y="399"/>
                    </a:lnTo>
                    <a:lnTo>
                      <a:pt x="155" y="399"/>
                    </a:lnTo>
                    <a:lnTo>
                      <a:pt x="155" y="400"/>
                    </a:lnTo>
                    <a:lnTo>
                      <a:pt x="154" y="400"/>
                    </a:lnTo>
                    <a:lnTo>
                      <a:pt x="153" y="400"/>
                    </a:lnTo>
                    <a:lnTo>
                      <a:pt x="154" y="400"/>
                    </a:lnTo>
                    <a:lnTo>
                      <a:pt x="153" y="400"/>
                    </a:lnTo>
                    <a:lnTo>
                      <a:pt x="154" y="400"/>
                    </a:lnTo>
                    <a:lnTo>
                      <a:pt x="153" y="401"/>
                    </a:lnTo>
                    <a:lnTo>
                      <a:pt x="153" y="400"/>
                    </a:lnTo>
                    <a:lnTo>
                      <a:pt x="153" y="399"/>
                    </a:lnTo>
                    <a:lnTo>
                      <a:pt x="154" y="399"/>
                    </a:lnTo>
                    <a:lnTo>
                      <a:pt x="153" y="399"/>
                    </a:lnTo>
                    <a:lnTo>
                      <a:pt x="152" y="399"/>
                    </a:lnTo>
                    <a:lnTo>
                      <a:pt x="153" y="400"/>
                    </a:lnTo>
                    <a:lnTo>
                      <a:pt x="152" y="400"/>
                    </a:lnTo>
                    <a:lnTo>
                      <a:pt x="152" y="401"/>
                    </a:lnTo>
                    <a:lnTo>
                      <a:pt x="153" y="400"/>
                    </a:lnTo>
                    <a:lnTo>
                      <a:pt x="153" y="401"/>
                    </a:lnTo>
                    <a:lnTo>
                      <a:pt x="152" y="401"/>
                    </a:lnTo>
                    <a:lnTo>
                      <a:pt x="151" y="401"/>
                    </a:lnTo>
                    <a:lnTo>
                      <a:pt x="151" y="400"/>
                    </a:lnTo>
                    <a:lnTo>
                      <a:pt x="150" y="400"/>
                    </a:lnTo>
                    <a:lnTo>
                      <a:pt x="149" y="400"/>
                    </a:lnTo>
                    <a:lnTo>
                      <a:pt x="149" y="401"/>
                    </a:lnTo>
                    <a:lnTo>
                      <a:pt x="148" y="400"/>
                    </a:lnTo>
                    <a:lnTo>
                      <a:pt x="148" y="401"/>
                    </a:lnTo>
                    <a:lnTo>
                      <a:pt x="148" y="400"/>
                    </a:lnTo>
                    <a:lnTo>
                      <a:pt x="149" y="400"/>
                    </a:lnTo>
                    <a:lnTo>
                      <a:pt x="149" y="399"/>
                    </a:lnTo>
                    <a:lnTo>
                      <a:pt x="148" y="399"/>
                    </a:lnTo>
                    <a:lnTo>
                      <a:pt x="148" y="400"/>
                    </a:lnTo>
                    <a:lnTo>
                      <a:pt x="148" y="401"/>
                    </a:lnTo>
                    <a:lnTo>
                      <a:pt x="147" y="400"/>
                    </a:lnTo>
                    <a:lnTo>
                      <a:pt x="147" y="399"/>
                    </a:lnTo>
                    <a:lnTo>
                      <a:pt x="147" y="400"/>
                    </a:lnTo>
                    <a:lnTo>
                      <a:pt x="145" y="400"/>
                    </a:lnTo>
                    <a:lnTo>
                      <a:pt x="145" y="399"/>
                    </a:lnTo>
                    <a:lnTo>
                      <a:pt x="147" y="398"/>
                    </a:lnTo>
                    <a:lnTo>
                      <a:pt x="147" y="397"/>
                    </a:lnTo>
                    <a:lnTo>
                      <a:pt x="145" y="397"/>
                    </a:lnTo>
                    <a:lnTo>
                      <a:pt x="145" y="396"/>
                    </a:lnTo>
                    <a:lnTo>
                      <a:pt x="147" y="396"/>
                    </a:lnTo>
                    <a:lnTo>
                      <a:pt x="147" y="397"/>
                    </a:lnTo>
                    <a:lnTo>
                      <a:pt x="147" y="396"/>
                    </a:lnTo>
                    <a:lnTo>
                      <a:pt x="148" y="396"/>
                    </a:lnTo>
                    <a:lnTo>
                      <a:pt x="148" y="397"/>
                    </a:lnTo>
                    <a:lnTo>
                      <a:pt x="149" y="397"/>
                    </a:lnTo>
                    <a:lnTo>
                      <a:pt x="150" y="397"/>
                    </a:lnTo>
                    <a:lnTo>
                      <a:pt x="151" y="397"/>
                    </a:lnTo>
                    <a:lnTo>
                      <a:pt x="151" y="396"/>
                    </a:lnTo>
                    <a:lnTo>
                      <a:pt x="151" y="395"/>
                    </a:lnTo>
                    <a:lnTo>
                      <a:pt x="151" y="393"/>
                    </a:lnTo>
                    <a:lnTo>
                      <a:pt x="152" y="393"/>
                    </a:lnTo>
                    <a:lnTo>
                      <a:pt x="153" y="393"/>
                    </a:lnTo>
                    <a:lnTo>
                      <a:pt x="154" y="392"/>
                    </a:lnTo>
                    <a:lnTo>
                      <a:pt x="155" y="392"/>
                    </a:lnTo>
                    <a:lnTo>
                      <a:pt x="156" y="392"/>
                    </a:lnTo>
                    <a:lnTo>
                      <a:pt x="155" y="392"/>
                    </a:lnTo>
                    <a:lnTo>
                      <a:pt x="156" y="391"/>
                    </a:lnTo>
                    <a:lnTo>
                      <a:pt x="157" y="391"/>
                    </a:lnTo>
                    <a:lnTo>
                      <a:pt x="158" y="391"/>
                    </a:lnTo>
                    <a:lnTo>
                      <a:pt x="160" y="391"/>
                    </a:lnTo>
                    <a:close/>
                    <a:moveTo>
                      <a:pt x="554" y="418"/>
                    </a:moveTo>
                    <a:lnTo>
                      <a:pt x="555" y="418"/>
                    </a:lnTo>
                    <a:lnTo>
                      <a:pt x="555" y="420"/>
                    </a:lnTo>
                    <a:lnTo>
                      <a:pt x="554" y="420"/>
                    </a:lnTo>
                    <a:lnTo>
                      <a:pt x="554" y="421"/>
                    </a:lnTo>
                    <a:lnTo>
                      <a:pt x="555" y="421"/>
                    </a:lnTo>
                    <a:lnTo>
                      <a:pt x="554" y="421"/>
                    </a:lnTo>
                    <a:lnTo>
                      <a:pt x="554" y="422"/>
                    </a:lnTo>
                    <a:lnTo>
                      <a:pt x="554" y="421"/>
                    </a:lnTo>
                    <a:lnTo>
                      <a:pt x="553" y="421"/>
                    </a:lnTo>
                    <a:lnTo>
                      <a:pt x="553" y="422"/>
                    </a:lnTo>
                    <a:lnTo>
                      <a:pt x="552" y="422"/>
                    </a:lnTo>
                    <a:lnTo>
                      <a:pt x="552" y="421"/>
                    </a:lnTo>
                    <a:lnTo>
                      <a:pt x="552" y="422"/>
                    </a:lnTo>
                    <a:lnTo>
                      <a:pt x="552" y="423"/>
                    </a:lnTo>
                    <a:lnTo>
                      <a:pt x="552" y="422"/>
                    </a:lnTo>
                    <a:lnTo>
                      <a:pt x="553" y="422"/>
                    </a:lnTo>
                    <a:lnTo>
                      <a:pt x="553" y="423"/>
                    </a:lnTo>
                    <a:lnTo>
                      <a:pt x="553" y="422"/>
                    </a:lnTo>
                    <a:lnTo>
                      <a:pt x="553" y="423"/>
                    </a:lnTo>
                    <a:lnTo>
                      <a:pt x="553" y="424"/>
                    </a:lnTo>
                    <a:lnTo>
                      <a:pt x="554" y="424"/>
                    </a:lnTo>
                    <a:lnTo>
                      <a:pt x="554" y="425"/>
                    </a:lnTo>
                    <a:lnTo>
                      <a:pt x="555" y="423"/>
                    </a:lnTo>
                    <a:lnTo>
                      <a:pt x="556" y="423"/>
                    </a:lnTo>
                    <a:lnTo>
                      <a:pt x="555" y="424"/>
                    </a:lnTo>
                    <a:lnTo>
                      <a:pt x="554" y="425"/>
                    </a:lnTo>
                    <a:lnTo>
                      <a:pt x="553" y="425"/>
                    </a:lnTo>
                    <a:lnTo>
                      <a:pt x="553" y="426"/>
                    </a:lnTo>
                    <a:lnTo>
                      <a:pt x="552" y="426"/>
                    </a:lnTo>
                    <a:lnTo>
                      <a:pt x="552" y="427"/>
                    </a:lnTo>
                    <a:lnTo>
                      <a:pt x="551" y="427"/>
                    </a:lnTo>
                    <a:lnTo>
                      <a:pt x="550" y="428"/>
                    </a:lnTo>
                    <a:lnTo>
                      <a:pt x="550" y="427"/>
                    </a:lnTo>
                    <a:lnTo>
                      <a:pt x="549" y="427"/>
                    </a:lnTo>
                    <a:lnTo>
                      <a:pt x="546" y="427"/>
                    </a:lnTo>
                    <a:lnTo>
                      <a:pt x="545" y="427"/>
                    </a:lnTo>
                    <a:lnTo>
                      <a:pt x="544" y="426"/>
                    </a:lnTo>
                    <a:lnTo>
                      <a:pt x="543" y="426"/>
                    </a:lnTo>
                    <a:lnTo>
                      <a:pt x="542" y="426"/>
                    </a:lnTo>
                    <a:lnTo>
                      <a:pt x="542" y="425"/>
                    </a:lnTo>
                    <a:lnTo>
                      <a:pt x="543" y="425"/>
                    </a:lnTo>
                    <a:lnTo>
                      <a:pt x="543" y="424"/>
                    </a:lnTo>
                    <a:lnTo>
                      <a:pt x="545" y="423"/>
                    </a:lnTo>
                    <a:lnTo>
                      <a:pt x="545" y="424"/>
                    </a:lnTo>
                    <a:lnTo>
                      <a:pt x="545" y="423"/>
                    </a:lnTo>
                    <a:lnTo>
                      <a:pt x="546" y="423"/>
                    </a:lnTo>
                    <a:lnTo>
                      <a:pt x="548" y="422"/>
                    </a:lnTo>
                    <a:lnTo>
                      <a:pt x="549" y="422"/>
                    </a:lnTo>
                    <a:lnTo>
                      <a:pt x="549" y="421"/>
                    </a:lnTo>
                    <a:lnTo>
                      <a:pt x="550" y="421"/>
                    </a:lnTo>
                    <a:lnTo>
                      <a:pt x="550" y="420"/>
                    </a:lnTo>
                    <a:lnTo>
                      <a:pt x="551" y="420"/>
                    </a:lnTo>
                    <a:lnTo>
                      <a:pt x="551" y="418"/>
                    </a:lnTo>
                    <a:lnTo>
                      <a:pt x="552" y="418"/>
                    </a:lnTo>
                    <a:lnTo>
                      <a:pt x="553" y="418"/>
                    </a:lnTo>
                    <a:lnTo>
                      <a:pt x="554" y="418"/>
                    </a:lnTo>
                    <a:close/>
                    <a:moveTo>
                      <a:pt x="563" y="596"/>
                    </a:moveTo>
                    <a:lnTo>
                      <a:pt x="563" y="597"/>
                    </a:lnTo>
                    <a:lnTo>
                      <a:pt x="562" y="597"/>
                    </a:lnTo>
                    <a:lnTo>
                      <a:pt x="564" y="598"/>
                    </a:lnTo>
                    <a:lnTo>
                      <a:pt x="563" y="601"/>
                    </a:lnTo>
                    <a:lnTo>
                      <a:pt x="562" y="601"/>
                    </a:lnTo>
                    <a:lnTo>
                      <a:pt x="562" y="600"/>
                    </a:lnTo>
                    <a:lnTo>
                      <a:pt x="561" y="598"/>
                    </a:lnTo>
                    <a:lnTo>
                      <a:pt x="560" y="598"/>
                    </a:lnTo>
                    <a:lnTo>
                      <a:pt x="558" y="600"/>
                    </a:lnTo>
                    <a:lnTo>
                      <a:pt x="557" y="601"/>
                    </a:lnTo>
                    <a:lnTo>
                      <a:pt x="557" y="600"/>
                    </a:lnTo>
                    <a:lnTo>
                      <a:pt x="556" y="600"/>
                    </a:lnTo>
                    <a:lnTo>
                      <a:pt x="556" y="598"/>
                    </a:lnTo>
                    <a:lnTo>
                      <a:pt x="556" y="597"/>
                    </a:lnTo>
                    <a:lnTo>
                      <a:pt x="555" y="597"/>
                    </a:lnTo>
                    <a:lnTo>
                      <a:pt x="555" y="596"/>
                    </a:lnTo>
                    <a:lnTo>
                      <a:pt x="554" y="595"/>
                    </a:lnTo>
                    <a:lnTo>
                      <a:pt x="554" y="594"/>
                    </a:lnTo>
                    <a:lnTo>
                      <a:pt x="554" y="595"/>
                    </a:lnTo>
                    <a:lnTo>
                      <a:pt x="555" y="595"/>
                    </a:lnTo>
                    <a:lnTo>
                      <a:pt x="556" y="596"/>
                    </a:lnTo>
                    <a:lnTo>
                      <a:pt x="556" y="595"/>
                    </a:lnTo>
                    <a:lnTo>
                      <a:pt x="557" y="594"/>
                    </a:lnTo>
                    <a:lnTo>
                      <a:pt x="557" y="593"/>
                    </a:lnTo>
                    <a:lnTo>
                      <a:pt x="558" y="592"/>
                    </a:lnTo>
                    <a:lnTo>
                      <a:pt x="558" y="591"/>
                    </a:lnTo>
                    <a:lnTo>
                      <a:pt x="561" y="590"/>
                    </a:lnTo>
                    <a:lnTo>
                      <a:pt x="562" y="590"/>
                    </a:lnTo>
                    <a:lnTo>
                      <a:pt x="564" y="590"/>
                    </a:lnTo>
                    <a:lnTo>
                      <a:pt x="563" y="590"/>
                    </a:lnTo>
                    <a:lnTo>
                      <a:pt x="563" y="591"/>
                    </a:lnTo>
                    <a:lnTo>
                      <a:pt x="563" y="592"/>
                    </a:lnTo>
                    <a:lnTo>
                      <a:pt x="564" y="592"/>
                    </a:lnTo>
                    <a:lnTo>
                      <a:pt x="564" y="593"/>
                    </a:lnTo>
                    <a:lnTo>
                      <a:pt x="563" y="594"/>
                    </a:lnTo>
                    <a:lnTo>
                      <a:pt x="563" y="595"/>
                    </a:lnTo>
                    <a:lnTo>
                      <a:pt x="564" y="595"/>
                    </a:lnTo>
                    <a:lnTo>
                      <a:pt x="564" y="596"/>
                    </a:lnTo>
                    <a:lnTo>
                      <a:pt x="563" y="596"/>
                    </a:lnTo>
                    <a:close/>
                    <a:moveTo>
                      <a:pt x="271" y="180"/>
                    </a:moveTo>
                    <a:lnTo>
                      <a:pt x="272" y="181"/>
                    </a:lnTo>
                    <a:lnTo>
                      <a:pt x="273" y="181"/>
                    </a:lnTo>
                    <a:lnTo>
                      <a:pt x="273" y="182"/>
                    </a:lnTo>
                    <a:lnTo>
                      <a:pt x="274" y="182"/>
                    </a:lnTo>
                    <a:lnTo>
                      <a:pt x="276" y="182"/>
                    </a:lnTo>
                    <a:lnTo>
                      <a:pt x="276" y="183"/>
                    </a:lnTo>
                    <a:lnTo>
                      <a:pt x="277" y="182"/>
                    </a:lnTo>
                    <a:lnTo>
                      <a:pt x="278" y="183"/>
                    </a:lnTo>
                    <a:lnTo>
                      <a:pt x="279" y="183"/>
                    </a:lnTo>
                    <a:lnTo>
                      <a:pt x="280" y="183"/>
                    </a:lnTo>
                    <a:lnTo>
                      <a:pt x="281" y="183"/>
                    </a:lnTo>
                    <a:lnTo>
                      <a:pt x="281" y="182"/>
                    </a:lnTo>
                    <a:lnTo>
                      <a:pt x="281" y="183"/>
                    </a:lnTo>
                    <a:lnTo>
                      <a:pt x="282" y="183"/>
                    </a:lnTo>
                    <a:lnTo>
                      <a:pt x="282" y="182"/>
                    </a:lnTo>
                    <a:lnTo>
                      <a:pt x="282" y="183"/>
                    </a:lnTo>
                    <a:lnTo>
                      <a:pt x="282" y="182"/>
                    </a:lnTo>
                    <a:lnTo>
                      <a:pt x="284" y="183"/>
                    </a:lnTo>
                    <a:lnTo>
                      <a:pt x="285" y="183"/>
                    </a:lnTo>
                    <a:lnTo>
                      <a:pt x="286" y="184"/>
                    </a:lnTo>
                    <a:lnTo>
                      <a:pt x="287" y="184"/>
                    </a:lnTo>
                    <a:lnTo>
                      <a:pt x="289" y="184"/>
                    </a:lnTo>
                    <a:lnTo>
                      <a:pt x="290" y="184"/>
                    </a:lnTo>
                    <a:lnTo>
                      <a:pt x="291" y="184"/>
                    </a:lnTo>
                    <a:lnTo>
                      <a:pt x="293" y="184"/>
                    </a:lnTo>
                    <a:lnTo>
                      <a:pt x="294" y="184"/>
                    </a:lnTo>
                    <a:lnTo>
                      <a:pt x="293" y="184"/>
                    </a:lnTo>
                    <a:lnTo>
                      <a:pt x="292" y="185"/>
                    </a:lnTo>
                    <a:lnTo>
                      <a:pt x="291" y="185"/>
                    </a:lnTo>
                    <a:lnTo>
                      <a:pt x="291" y="186"/>
                    </a:lnTo>
                    <a:lnTo>
                      <a:pt x="290" y="185"/>
                    </a:lnTo>
                    <a:lnTo>
                      <a:pt x="289" y="185"/>
                    </a:lnTo>
                    <a:lnTo>
                      <a:pt x="287" y="185"/>
                    </a:lnTo>
                    <a:lnTo>
                      <a:pt x="286" y="185"/>
                    </a:lnTo>
                    <a:lnTo>
                      <a:pt x="286" y="184"/>
                    </a:lnTo>
                    <a:lnTo>
                      <a:pt x="285" y="184"/>
                    </a:lnTo>
                    <a:lnTo>
                      <a:pt x="284" y="184"/>
                    </a:lnTo>
                    <a:lnTo>
                      <a:pt x="283" y="184"/>
                    </a:lnTo>
                    <a:lnTo>
                      <a:pt x="282" y="184"/>
                    </a:lnTo>
                    <a:lnTo>
                      <a:pt x="281" y="184"/>
                    </a:lnTo>
                    <a:lnTo>
                      <a:pt x="280" y="184"/>
                    </a:lnTo>
                    <a:lnTo>
                      <a:pt x="280" y="185"/>
                    </a:lnTo>
                    <a:lnTo>
                      <a:pt x="279" y="185"/>
                    </a:lnTo>
                    <a:lnTo>
                      <a:pt x="279" y="186"/>
                    </a:lnTo>
                    <a:lnTo>
                      <a:pt x="279" y="187"/>
                    </a:lnTo>
                    <a:lnTo>
                      <a:pt x="279" y="189"/>
                    </a:lnTo>
                    <a:lnTo>
                      <a:pt x="279" y="190"/>
                    </a:lnTo>
                    <a:lnTo>
                      <a:pt x="278" y="189"/>
                    </a:lnTo>
                    <a:lnTo>
                      <a:pt x="277" y="189"/>
                    </a:lnTo>
                    <a:lnTo>
                      <a:pt x="276" y="189"/>
                    </a:lnTo>
                    <a:lnTo>
                      <a:pt x="276" y="187"/>
                    </a:lnTo>
                    <a:lnTo>
                      <a:pt x="277" y="187"/>
                    </a:lnTo>
                    <a:lnTo>
                      <a:pt x="277" y="186"/>
                    </a:lnTo>
                    <a:lnTo>
                      <a:pt x="278" y="186"/>
                    </a:lnTo>
                    <a:lnTo>
                      <a:pt x="278" y="185"/>
                    </a:lnTo>
                    <a:lnTo>
                      <a:pt x="277" y="185"/>
                    </a:lnTo>
                    <a:lnTo>
                      <a:pt x="277" y="184"/>
                    </a:lnTo>
                    <a:lnTo>
                      <a:pt x="277" y="183"/>
                    </a:lnTo>
                    <a:lnTo>
                      <a:pt x="276" y="183"/>
                    </a:lnTo>
                    <a:lnTo>
                      <a:pt x="274" y="183"/>
                    </a:lnTo>
                    <a:lnTo>
                      <a:pt x="273" y="183"/>
                    </a:lnTo>
                    <a:lnTo>
                      <a:pt x="272" y="183"/>
                    </a:lnTo>
                    <a:lnTo>
                      <a:pt x="271" y="183"/>
                    </a:lnTo>
                    <a:lnTo>
                      <a:pt x="271" y="184"/>
                    </a:lnTo>
                    <a:lnTo>
                      <a:pt x="270" y="184"/>
                    </a:lnTo>
                    <a:lnTo>
                      <a:pt x="271" y="184"/>
                    </a:lnTo>
                    <a:lnTo>
                      <a:pt x="270" y="184"/>
                    </a:lnTo>
                    <a:lnTo>
                      <a:pt x="270" y="183"/>
                    </a:lnTo>
                    <a:lnTo>
                      <a:pt x="269" y="183"/>
                    </a:lnTo>
                    <a:lnTo>
                      <a:pt x="268" y="183"/>
                    </a:lnTo>
                    <a:lnTo>
                      <a:pt x="268" y="182"/>
                    </a:lnTo>
                    <a:lnTo>
                      <a:pt x="269" y="182"/>
                    </a:lnTo>
                    <a:lnTo>
                      <a:pt x="268" y="182"/>
                    </a:lnTo>
                    <a:lnTo>
                      <a:pt x="269" y="182"/>
                    </a:lnTo>
                    <a:lnTo>
                      <a:pt x="269" y="181"/>
                    </a:lnTo>
                    <a:lnTo>
                      <a:pt x="269" y="182"/>
                    </a:lnTo>
                    <a:lnTo>
                      <a:pt x="268" y="182"/>
                    </a:lnTo>
                    <a:lnTo>
                      <a:pt x="268" y="181"/>
                    </a:lnTo>
                    <a:lnTo>
                      <a:pt x="268" y="180"/>
                    </a:lnTo>
                    <a:lnTo>
                      <a:pt x="267" y="181"/>
                    </a:lnTo>
                    <a:lnTo>
                      <a:pt x="268" y="181"/>
                    </a:lnTo>
                    <a:lnTo>
                      <a:pt x="268" y="182"/>
                    </a:lnTo>
                    <a:lnTo>
                      <a:pt x="267" y="182"/>
                    </a:lnTo>
                    <a:lnTo>
                      <a:pt x="267" y="181"/>
                    </a:lnTo>
                    <a:lnTo>
                      <a:pt x="266" y="181"/>
                    </a:lnTo>
                    <a:lnTo>
                      <a:pt x="267" y="181"/>
                    </a:lnTo>
                    <a:lnTo>
                      <a:pt x="267" y="180"/>
                    </a:lnTo>
                    <a:lnTo>
                      <a:pt x="266" y="180"/>
                    </a:lnTo>
                    <a:lnTo>
                      <a:pt x="266" y="181"/>
                    </a:lnTo>
                    <a:lnTo>
                      <a:pt x="266" y="180"/>
                    </a:lnTo>
                    <a:lnTo>
                      <a:pt x="268" y="180"/>
                    </a:lnTo>
                    <a:lnTo>
                      <a:pt x="270" y="180"/>
                    </a:lnTo>
                    <a:lnTo>
                      <a:pt x="271" y="180"/>
                    </a:lnTo>
                    <a:close/>
                    <a:moveTo>
                      <a:pt x="230" y="406"/>
                    </a:moveTo>
                    <a:lnTo>
                      <a:pt x="234" y="408"/>
                    </a:lnTo>
                    <a:lnTo>
                      <a:pt x="235" y="408"/>
                    </a:lnTo>
                    <a:lnTo>
                      <a:pt x="236" y="408"/>
                    </a:lnTo>
                    <a:lnTo>
                      <a:pt x="235" y="408"/>
                    </a:lnTo>
                    <a:lnTo>
                      <a:pt x="234" y="408"/>
                    </a:lnTo>
                    <a:lnTo>
                      <a:pt x="233" y="408"/>
                    </a:lnTo>
                    <a:lnTo>
                      <a:pt x="232" y="408"/>
                    </a:lnTo>
                    <a:lnTo>
                      <a:pt x="232" y="409"/>
                    </a:lnTo>
                    <a:lnTo>
                      <a:pt x="232" y="408"/>
                    </a:lnTo>
                    <a:lnTo>
                      <a:pt x="231" y="406"/>
                    </a:lnTo>
                    <a:lnTo>
                      <a:pt x="230" y="406"/>
                    </a:lnTo>
                    <a:lnTo>
                      <a:pt x="230" y="409"/>
                    </a:lnTo>
                    <a:lnTo>
                      <a:pt x="230" y="410"/>
                    </a:lnTo>
                    <a:lnTo>
                      <a:pt x="231" y="410"/>
                    </a:lnTo>
                    <a:lnTo>
                      <a:pt x="231" y="411"/>
                    </a:lnTo>
                    <a:lnTo>
                      <a:pt x="231" y="412"/>
                    </a:lnTo>
                    <a:lnTo>
                      <a:pt x="231" y="413"/>
                    </a:lnTo>
                    <a:lnTo>
                      <a:pt x="232" y="413"/>
                    </a:lnTo>
                    <a:lnTo>
                      <a:pt x="234" y="413"/>
                    </a:lnTo>
                    <a:lnTo>
                      <a:pt x="235" y="413"/>
                    </a:lnTo>
                    <a:lnTo>
                      <a:pt x="235" y="412"/>
                    </a:lnTo>
                    <a:lnTo>
                      <a:pt x="235" y="411"/>
                    </a:lnTo>
                    <a:lnTo>
                      <a:pt x="234" y="411"/>
                    </a:lnTo>
                    <a:lnTo>
                      <a:pt x="235" y="411"/>
                    </a:lnTo>
                    <a:lnTo>
                      <a:pt x="236" y="411"/>
                    </a:lnTo>
                    <a:lnTo>
                      <a:pt x="236" y="412"/>
                    </a:lnTo>
                    <a:lnTo>
                      <a:pt x="238" y="412"/>
                    </a:lnTo>
                    <a:lnTo>
                      <a:pt x="238" y="411"/>
                    </a:lnTo>
                    <a:lnTo>
                      <a:pt x="239" y="411"/>
                    </a:lnTo>
                    <a:lnTo>
                      <a:pt x="238" y="412"/>
                    </a:lnTo>
                    <a:lnTo>
                      <a:pt x="238" y="413"/>
                    </a:lnTo>
                    <a:lnTo>
                      <a:pt x="236" y="413"/>
                    </a:lnTo>
                    <a:lnTo>
                      <a:pt x="236" y="414"/>
                    </a:lnTo>
                    <a:lnTo>
                      <a:pt x="236" y="415"/>
                    </a:lnTo>
                    <a:lnTo>
                      <a:pt x="238" y="414"/>
                    </a:lnTo>
                    <a:lnTo>
                      <a:pt x="239" y="414"/>
                    </a:lnTo>
                    <a:lnTo>
                      <a:pt x="240" y="414"/>
                    </a:lnTo>
                    <a:lnTo>
                      <a:pt x="240" y="413"/>
                    </a:lnTo>
                    <a:lnTo>
                      <a:pt x="240" y="414"/>
                    </a:lnTo>
                    <a:lnTo>
                      <a:pt x="241" y="415"/>
                    </a:lnTo>
                    <a:lnTo>
                      <a:pt x="241" y="416"/>
                    </a:lnTo>
                    <a:lnTo>
                      <a:pt x="242" y="416"/>
                    </a:lnTo>
                    <a:lnTo>
                      <a:pt x="241" y="416"/>
                    </a:lnTo>
                    <a:lnTo>
                      <a:pt x="239" y="416"/>
                    </a:lnTo>
                    <a:lnTo>
                      <a:pt x="239" y="415"/>
                    </a:lnTo>
                    <a:lnTo>
                      <a:pt x="239" y="414"/>
                    </a:lnTo>
                    <a:lnTo>
                      <a:pt x="238" y="414"/>
                    </a:lnTo>
                    <a:lnTo>
                      <a:pt x="239" y="415"/>
                    </a:lnTo>
                    <a:lnTo>
                      <a:pt x="239" y="416"/>
                    </a:lnTo>
                    <a:lnTo>
                      <a:pt x="238" y="416"/>
                    </a:lnTo>
                    <a:lnTo>
                      <a:pt x="239" y="416"/>
                    </a:lnTo>
                    <a:lnTo>
                      <a:pt x="238" y="416"/>
                    </a:lnTo>
                    <a:lnTo>
                      <a:pt x="235" y="416"/>
                    </a:lnTo>
                    <a:lnTo>
                      <a:pt x="234" y="416"/>
                    </a:lnTo>
                    <a:lnTo>
                      <a:pt x="233" y="416"/>
                    </a:lnTo>
                    <a:lnTo>
                      <a:pt x="232" y="415"/>
                    </a:lnTo>
                    <a:lnTo>
                      <a:pt x="231" y="415"/>
                    </a:lnTo>
                    <a:lnTo>
                      <a:pt x="230" y="415"/>
                    </a:lnTo>
                    <a:lnTo>
                      <a:pt x="229" y="415"/>
                    </a:lnTo>
                    <a:lnTo>
                      <a:pt x="228" y="415"/>
                    </a:lnTo>
                    <a:lnTo>
                      <a:pt x="227" y="415"/>
                    </a:lnTo>
                    <a:lnTo>
                      <a:pt x="222" y="415"/>
                    </a:lnTo>
                    <a:lnTo>
                      <a:pt x="223" y="414"/>
                    </a:lnTo>
                    <a:lnTo>
                      <a:pt x="225" y="413"/>
                    </a:lnTo>
                    <a:lnTo>
                      <a:pt x="226" y="413"/>
                    </a:lnTo>
                    <a:lnTo>
                      <a:pt x="227" y="413"/>
                    </a:lnTo>
                    <a:lnTo>
                      <a:pt x="228" y="413"/>
                    </a:lnTo>
                    <a:lnTo>
                      <a:pt x="229" y="412"/>
                    </a:lnTo>
                    <a:lnTo>
                      <a:pt x="230" y="412"/>
                    </a:lnTo>
                    <a:lnTo>
                      <a:pt x="230" y="411"/>
                    </a:lnTo>
                    <a:lnTo>
                      <a:pt x="230" y="410"/>
                    </a:lnTo>
                    <a:lnTo>
                      <a:pt x="230" y="409"/>
                    </a:lnTo>
                    <a:lnTo>
                      <a:pt x="230" y="408"/>
                    </a:lnTo>
                    <a:lnTo>
                      <a:pt x="230" y="406"/>
                    </a:lnTo>
                    <a:close/>
                    <a:moveTo>
                      <a:pt x="258" y="226"/>
                    </a:moveTo>
                    <a:lnTo>
                      <a:pt x="259" y="226"/>
                    </a:lnTo>
                    <a:lnTo>
                      <a:pt x="260" y="226"/>
                    </a:lnTo>
                    <a:lnTo>
                      <a:pt x="261" y="226"/>
                    </a:lnTo>
                    <a:lnTo>
                      <a:pt x="261" y="228"/>
                    </a:lnTo>
                    <a:lnTo>
                      <a:pt x="262" y="228"/>
                    </a:lnTo>
                    <a:lnTo>
                      <a:pt x="262" y="229"/>
                    </a:lnTo>
                    <a:lnTo>
                      <a:pt x="261" y="229"/>
                    </a:lnTo>
                    <a:lnTo>
                      <a:pt x="262" y="229"/>
                    </a:lnTo>
                    <a:lnTo>
                      <a:pt x="262" y="230"/>
                    </a:lnTo>
                    <a:lnTo>
                      <a:pt x="264" y="230"/>
                    </a:lnTo>
                    <a:lnTo>
                      <a:pt x="264" y="231"/>
                    </a:lnTo>
                    <a:lnTo>
                      <a:pt x="264" y="232"/>
                    </a:lnTo>
                    <a:lnTo>
                      <a:pt x="265" y="233"/>
                    </a:lnTo>
                    <a:lnTo>
                      <a:pt x="265" y="234"/>
                    </a:lnTo>
                    <a:lnTo>
                      <a:pt x="264" y="234"/>
                    </a:lnTo>
                    <a:lnTo>
                      <a:pt x="264" y="235"/>
                    </a:lnTo>
                    <a:lnTo>
                      <a:pt x="262" y="235"/>
                    </a:lnTo>
                    <a:lnTo>
                      <a:pt x="264" y="235"/>
                    </a:lnTo>
                    <a:lnTo>
                      <a:pt x="262" y="235"/>
                    </a:lnTo>
                    <a:lnTo>
                      <a:pt x="262" y="234"/>
                    </a:lnTo>
                    <a:lnTo>
                      <a:pt x="262" y="233"/>
                    </a:lnTo>
                    <a:lnTo>
                      <a:pt x="261" y="233"/>
                    </a:lnTo>
                    <a:lnTo>
                      <a:pt x="261" y="232"/>
                    </a:lnTo>
                    <a:lnTo>
                      <a:pt x="260" y="232"/>
                    </a:lnTo>
                    <a:lnTo>
                      <a:pt x="259" y="232"/>
                    </a:lnTo>
                    <a:lnTo>
                      <a:pt x="259" y="233"/>
                    </a:lnTo>
                    <a:lnTo>
                      <a:pt x="258" y="233"/>
                    </a:lnTo>
                    <a:lnTo>
                      <a:pt x="258" y="234"/>
                    </a:lnTo>
                    <a:lnTo>
                      <a:pt x="258" y="233"/>
                    </a:lnTo>
                    <a:lnTo>
                      <a:pt x="258" y="234"/>
                    </a:lnTo>
                    <a:lnTo>
                      <a:pt x="257" y="234"/>
                    </a:lnTo>
                    <a:lnTo>
                      <a:pt x="256" y="234"/>
                    </a:lnTo>
                    <a:lnTo>
                      <a:pt x="255" y="234"/>
                    </a:lnTo>
                    <a:lnTo>
                      <a:pt x="254" y="233"/>
                    </a:lnTo>
                    <a:lnTo>
                      <a:pt x="253" y="234"/>
                    </a:lnTo>
                    <a:lnTo>
                      <a:pt x="253" y="233"/>
                    </a:lnTo>
                    <a:lnTo>
                      <a:pt x="252" y="233"/>
                    </a:lnTo>
                    <a:lnTo>
                      <a:pt x="251" y="232"/>
                    </a:lnTo>
                    <a:lnTo>
                      <a:pt x="249" y="232"/>
                    </a:lnTo>
                    <a:lnTo>
                      <a:pt x="248" y="232"/>
                    </a:lnTo>
                    <a:lnTo>
                      <a:pt x="247" y="231"/>
                    </a:lnTo>
                    <a:lnTo>
                      <a:pt x="246" y="231"/>
                    </a:lnTo>
                    <a:lnTo>
                      <a:pt x="245" y="231"/>
                    </a:lnTo>
                    <a:lnTo>
                      <a:pt x="245" y="230"/>
                    </a:lnTo>
                    <a:lnTo>
                      <a:pt x="245" y="229"/>
                    </a:lnTo>
                    <a:lnTo>
                      <a:pt x="246" y="229"/>
                    </a:lnTo>
                    <a:lnTo>
                      <a:pt x="247" y="229"/>
                    </a:lnTo>
                    <a:lnTo>
                      <a:pt x="247" y="230"/>
                    </a:lnTo>
                    <a:lnTo>
                      <a:pt x="246" y="230"/>
                    </a:lnTo>
                    <a:lnTo>
                      <a:pt x="247" y="230"/>
                    </a:lnTo>
                    <a:lnTo>
                      <a:pt x="247" y="231"/>
                    </a:lnTo>
                    <a:lnTo>
                      <a:pt x="247" y="230"/>
                    </a:lnTo>
                    <a:lnTo>
                      <a:pt x="248" y="230"/>
                    </a:lnTo>
                    <a:lnTo>
                      <a:pt x="248" y="231"/>
                    </a:lnTo>
                    <a:lnTo>
                      <a:pt x="249" y="231"/>
                    </a:lnTo>
                    <a:lnTo>
                      <a:pt x="249" y="232"/>
                    </a:lnTo>
                    <a:lnTo>
                      <a:pt x="251" y="232"/>
                    </a:lnTo>
                    <a:lnTo>
                      <a:pt x="252" y="232"/>
                    </a:lnTo>
                    <a:lnTo>
                      <a:pt x="251" y="232"/>
                    </a:lnTo>
                    <a:lnTo>
                      <a:pt x="252" y="232"/>
                    </a:lnTo>
                    <a:lnTo>
                      <a:pt x="252" y="231"/>
                    </a:lnTo>
                    <a:lnTo>
                      <a:pt x="253" y="232"/>
                    </a:lnTo>
                    <a:lnTo>
                      <a:pt x="254" y="232"/>
                    </a:lnTo>
                    <a:lnTo>
                      <a:pt x="255" y="232"/>
                    </a:lnTo>
                    <a:lnTo>
                      <a:pt x="255" y="231"/>
                    </a:lnTo>
                    <a:lnTo>
                      <a:pt x="256" y="231"/>
                    </a:lnTo>
                    <a:lnTo>
                      <a:pt x="257" y="231"/>
                    </a:lnTo>
                    <a:lnTo>
                      <a:pt x="257" y="230"/>
                    </a:lnTo>
                    <a:lnTo>
                      <a:pt x="257" y="229"/>
                    </a:lnTo>
                    <a:lnTo>
                      <a:pt x="258" y="229"/>
                    </a:lnTo>
                    <a:lnTo>
                      <a:pt x="259" y="229"/>
                    </a:lnTo>
                    <a:lnTo>
                      <a:pt x="259" y="228"/>
                    </a:lnTo>
                    <a:lnTo>
                      <a:pt x="258" y="228"/>
                    </a:lnTo>
                    <a:lnTo>
                      <a:pt x="258" y="226"/>
                    </a:lnTo>
                    <a:close/>
                    <a:moveTo>
                      <a:pt x="493" y="580"/>
                    </a:moveTo>
                    <a:lnTo>
                      <a:pt x="493" y="582"/>
                    </a:lnTo>
                    <a:lnTo>
                      <a:pt x="494" y="583"/>
                    </a:lnTo>
                    <a:lnTo>
                      <a:pt x="494" y="584"/>
                    </a:lnTo>
                    <a:lnTo>
                      <a:pt x="491" y="584"/>
                    </a:lnTo>
                    <a:lnTo>
                      <a:pt x="489" y="584"/>
                    </a:lnTo>
                    <a:lnTo>
                      <a:pt x="488" y="584"/>
                    </a:lnTo>
                    <a:lnTo>
                      <a:pt x="487" y="584"/>
                    </a:lnTo>
                    <a:lnTo>
                      <a:pt x="486" y="583"/>
                    </a:lnTo>
                    <a:lnTo>
                      <a:pt x="485" y="582"/>
                    </a:lnTo>
                    <a:lnTo>
                      <a:pt x="486" y="582"/>
                    </a:lnTo>
                    <a:lnTo>
                      <a:pt x="486" y="581"/>
                    </a:lnTo>
                    <a:lnTo>
                      <a:pt x="487" y="580"/>
                    </a:lnTo>
                    <a:lnTo>
                      <a:pt x="488" y="580"/>
                    </a:lnTo>
                    <a:lnTo>
                      <a:pt x="487" y="580"/>
                    </a:lnTo>
                    <a:lnTo>
                      <a:pt x="487" y="579"/>
                    </a:lnTo>
                    <a:lnTo>
                      <a:pt x="488" y="578"/>
                    </a:lnTo>
                    <a:lnTo>
                      <a:pt x="489" y="576"/>
                    </a:lnTo>
                    <a:lnTo>
                      <a:pt x="490" y="576"/>
                    </a:lnTo>
                    <a:lnTo>
                      <a:pt x="491" y="577"/>
                    </a:lnTo>
                    <a:lnTo>
                      <a:pt x="492" y="577"/>
                    </a:lnTo>
                    <a:lnTo>
                      <a:pt x="493" y="578"/>
                    </a:lnTo>
                    <a:lnTo>
                      <a:pt x="493" y="579"/>
                    </a:lnTo>
                    <a:lnTo>
                      <a:pt x="493" y="580"/>
                    </a:lnTo>
                    <a:close/>
                    <a:moveTo>
                      <a:pt x="579" y="508"/>
                    </a:moveTo>
                    <a:lnTo>
                      <a:pt x="578" y="508"/>
                    </a:lnTo>
                    <a:lnTo>
                      <a:pt x="578" y="510"/>
                    </a:lnTo>
                    <a:lnTo>
                      <a:pt x="577" y="510"/>
                    </a:lnTo>
                    <a:lnTo>
                      <a:pt x="569" y="515"/>
                    </a:lnTo>
                    <a:lnTo>
                      <a:pt x="569" y="516"/>
                    </a:lnTo>
                    <a:lnTo>
                      <a:pt x="569" y="517"/>
                    </a:lnTo>
                    <a:lnTo>
                      <a:pt x="568" y="517"/>
                    </a:lnTo>
                    <a:lnTo>
                      <a:pt x="567" y="517"/>
                    </a:lnTo>
                    <a:lnTo>
                      <a:pt x="567" y="518"/>
                    </a:lnTo>
                    <a:lnTo>
                      <a:pt x="566" y="518"/>
                    </a:lnTo>
                    <a:lnTo>
                      <a:pt x="565" y="517"/>
                    </a:lnTo>
                    <a:lnTo>
                      <a:pt x="565" y="516"/>
                    </a:lnTo>
                    <a:lnTo>
                      <a:pt x="565" y="515"/>
                    </a:lnTo>
                    <a:lnTo>
                      <a:pt x="564" y="514"/>
                    </a:lnTo>
                    <a:lnTo>
                      <a:pt x="565" y="513"/>
                    </a:lnTo>
                    <a:lnTo>
                      <a:pt x="566" y="513"/>
                    </a:lnTo>
                    <a:lnTo>
                      <a:pt x="567" y="512"/>
                    </a:lnTo>
                    <a:lnTo>
                      <a:pt x="568" y="512"/>
                    </a:lnTo>
                    <a:lnTo>
                      <a:pt x="569" y="512"/>
                    </a:lnTo>
                    <a:lnTo>
                      <a:pt x="571" y="510"/>
                    </a:lnTo>
                    <a:lnTo>
                      <a:pt x="573" y="510"/>
                    </a:lnTo>
                    <a:lnTo>
                      <a:pt x="574" y="510"/>
                    </a:lnTo>
                    <a:lnTo>
                      <a:pt x="575" y="508"/>
                    </a:lnTo>
                    <a:lnTo>
                      <a:pt x="576" y="508"/>
                    </a:lnTo>
                    <a:lnTo>
                      <a:pt x="578" y="507"/>
                    </a:lnTo>
                    <a:lnTo>
                      <a:pt x="579" y="507"/>
                    </a:lnTo>
                    <a:lnTo>
                      <a:pt x="579" y="508"/>
                    </a:lnTo>
                    <a:close/>
                    <a:moveTo>
                      <a:pt x="226" y="406"/>
                    </a:moveTo>
                    <a:lnTo>
                      <a:pt x="226" y="408"/>
                    </a:lnTo>
                    <a:lnTo>
                      <a:pt x="225" y="408"/>
                    </a:lnTo>
                    <a:lnTo>
                      <a:pt x="225" y="409"/>
                    </a:lnTo>
                    <a:lnTo>
                      <a:pt x="226" y="409"/>
                    </a:lnTo>
                    <a:lnTo>
                      <a:pt x="227" y="409"/>
                    </a:lnTo>
                    <a:lnTo>
                      <a:pt x="228" y="409"/>
                    </a:lnTo>
                    <a:lnTo>
                      <a:pt x="228" y="408"/>
                    </a:lnTo>
                    <a:lnTo>
                      <a:pt x="229" y="408"/>
                    </a:lnTo>
                    <a:lnTo>
                      <a:pt x="228" y="408"/>
                    </a:lnTo>
                    <a:lnTo>
                      <a:pt x="229" y="406"/>
                    </a:lnTo>
                    <a:lnTo>
                      <a:pt x="228" y="406"/>
                    </a:lnTo>
                    <a:lnTo>
                      <a:pt x="229" y="406"/>
                    </a:lnTo>
                    <a:lnTo>
                      <a:pt x="229" y="408"/>
                    </a:lnTo>
                    <a:lnTo>
                      <a:pt x="229" y="409"/>
                    </a:lnTo>
                    <a:lnTo>
                      <a:pt x="230" y="410"/>
                    </a:lnTo>
                    <a:lnTo>
                      <a:pt x="230" y="411"/>
                    </a:lnTo>
                    <a:lnTo>
                      <a:pt x="229" y="412"/>
                    </a:lnTo>
                    <a:lnTo>
                      <a:pt x="228" y="412"/>
                    </a:lnTo>
                    <a:lnTo>
                      <a:pt x="227" y="412"/>
                    </a:lnTo>
                    <a:lnTo>
                      <a:pt x="225" y="413"/>
                    </a:lnTo>
                    <a:lnTo>
                      <a:pt x="223" y="413"/>
                    </a:lnTo>
                    <a:lnTo>
                      <a:pt x="223" y="414"/>
                    </a:lnTo>
                    <a:lnTo>
                      <a:pt x="221" y="415"/>
                    </a:lnTo>
                    <a:lnTo>
                      <a:pt x="219" y="414"/>
                    </a:lnTo>
                    <a:lnTo>
                      <a:pt x="218" y="414"/>
                    </a:lnTo>
                    <a:lnTo>
                      <a:pt x="219" y="414"/>
                    </a:lnTo>
                    <a:lnTo>
                      <a:pt x="215" y="414"/>
                    </a:lnTo>
                    <a:lnTo>
                      <a:pt x="215" y="413"/>
                    </a:lnTo>
                    <a:lnTo>
                      <a:pt x="216" y="413"/>
                    </a:lnTo>
                    <a:lnTo>
                      <a:pt x="216" y="412"/>
                    </a:lnTo>
                    <a:lnTo>
                      <a:pt x="217" y="410"/>
                    </a:lnTo>
                    <a:lnTo>
                      <a:pt x="216" y="412"/>
                    </a:lnTo>
                    <a:lnTo>
                      <a:pt x="216" y="413"/>
                    </a:lnTo>
                    <a:lnTo>
                      <a:pt x="216" y="414"/>
                    </a:lnTo>
                    <a:lnTo>
                      <a:pt x="217" y="414"/>
                    </a:lnTo>
                    <a:lnTo>
                      <a:pt x="217" y="413"/>
                    </a:lnTo>
                    <a:lnTo>
                      <a:pt x="217" y="412"/>
                    </a:lnTo>
                    <a:lnTo>
                      <a:pt x="217" y="411"/>
                    </a:lnTo>
                    <a:lnTo>
                      <a:pt x="218" y="411"/>
                    </a:lnTo>
                    <a:lnTo>
                      <a:pt x="219" y="411"/>
                    </a:lnTo>
                    <a:lnTo>
                      <a:pt x="220" y="410"/>
                    </a:lnTo>
                    <a:lnTo>
                      <a:pt x="220" y="411"/>
                    </a:lnTo>
                    <a:lnTo>
                      <a:pt x="220" y="412"/>
                    </a:lnTo>
                    <a:lnTo>
                      <a:pt x="220" y="411"/>
                    </a:lnTo>
                    <a:lnTo>
                      <a:pt x="221" y="411"/>
                    </a:lnTo>
                    <a:lnTo>
                      <a:pt x="221" y="410"/>
                    </a:lnTo>
                    <a:lnTo>
                      <a:pt x="221" y="409"/>
                    </a:lnTo>
                    <a:lnTo>
                      <a:pt x="222" y="409"/>
                    </a:lnTo>
                    <a:lnTo>
                      <a:pt x="221" y="410"/>
                    </a:lnTo>
                    <a:lnTo>
                      <a:pt x="221" y="411"/>
                    </a:lnTo>
                    <a:lnTo>
                      <a:pt x="222" y="411"/>
                    </a:lnTo>
                    <a:lnTo>
                      <a:pt x="222" y="410"/>
                    </a:lnTo>
                    <a:lnTo>
                      <a:pt x="223" y="410"/>
                    </a:lnTo>
                    <a:lnTo>
                      <a:pt x="223" y="411"/>
                    </a:lnTo>
                    <a:lnTo>
                      <a:pt x="222" y="411"/>
                    </a:lnTo>
                    <a:lnTo>
                      <a:pt x="223" y="411"/>
                    </a:lnTo>
                    <a:lnTo>
                      <a:pt x="225" y="411"/>
                    </a:lnTo>
                    <a:lnTo>
                      <a:pt x="225" y="410"/>
                    </a:lnTo>
                    <a:lnTo>
                      <a:pt x="225" y="409"/>
                    </a:lnTo>
                    <a:lnTo>
                      <a:pt x="223" y="409"/>
                    </a:lnTo>
                    <a:lnTo>
                      <a:pt x="223" y="408"/>
                    </a:lnTo>
                    <a:lnTo>
                      <a:pt x="225" y="408"/>
                    </a:lnTo>
                    <a:lnTo>
                      <a:pt x="225" y="406"/>
                    </a:lnTo>
                    <a:lnTo>
                      <a:pt x="226" y="406"/>
                    </a:lnTo>
                    <a:lnTo>
                      <a:pt x="225" y="406"/>
                    </a:lnTo>
                    <a:lnTo>
                      <a:pt x="226" y="406"/>
                    </a:lnTo>
                    <a:close/>
                    <a:moveTo>
                      <a:pt x="574" y="507"/>
                    </a:moveTo>
                    <a:lnTo>
                      <a:pt x="575" y="507"/>
                    </a:lnTo>
                    <a:lnTo>
                      <a:pt x="576" y="507"/>
                    </a:lnTo>
                    <a:lnTo>
                      <a:pt x="576" y="506"/>
                    </a:lnTo>
                    <a:lnTo>
                      <a:pt x="576" y="507"/>
                    </a:lnTo>
                    <a:lnTo>
                      <a:pt x="576" y="506"/>
                    </a:lnTo>
                    <a:lnTo>
                      <a:pt x="576" y="507"/>
                    </a:lnTo>
                    <a:lnTo>
                      <a:pt x="577" y="507"/>
                    </a:lnTo>
                    <a:lnTo>
                      <a:pt x="576" y="508"/>
                    </a:lnTo>
                    <a:lnTo>
                      <a:pt x="575" y="508"/>
                    </a:lnTo>
                    <a:lnTo>
                      <a:pt x="574" y="508"/>
                    </a:lnTo>
                    <a:lnTo>
                      <a:pt x="573" y="508"/>
                    </a:lnTo>
                    <a:lnTo>
                      <a:pt x="571" y="508"/>
                    </a:lnTo>
                    <a:lnTo>
                      <a:pt x="571" y="510"/>
                    </a:lnTo>
                    <a:lnTo>
                      <a:pt x="570" y="510"/>
                    </a:lnTo>
                    <a:lnTo>
                      <a:pt x="570" y="511"/>
                    </a:lnTo>
                    <a:lnTo>
                      <a:pt x="569" y="511"/>
                    </a:lnTo>
                    <a:lnTo>
                      <a:pt x="568" y="512"/>
                    </a:lnTo>
                    <a:lnTo>
                      <a:pt x="567" y="512"/>
                    </a:lnTo>
                    <a:lnTo>
                      <a:pt x="567" y="511"/>
                    </a:lnTo>
                    <a:lnTo>
                      <a:pt x="566" y="512"/>
                    </a:lnTo>
                    <a:lnTo>
                      <a:pt x="565" y="511"/>
                    </a:lnTo>
                    <a:lnTo>
                      <a:pt x="565" y="512"/>
                    </a:lnTo>
                    <a:lnTo>
                      <a:pt x="564" y="512"/>
                    </a:lnTo>
                    <a:lnTo>
                      <a:pt x="564" y="513"/>
                    </a:lnTo>
                    <a:lnTo>
                      <a:pt x="563" y="513"/>
                    </a:lnTo>
                    <a:lnTo>
                      <a:pt x="562" y="514"/>
                    </a:lnTo>
                    <a:lnTo>
                      <a:pt x="562" y="513"/>
                    </a:lnTo>
                    <a:lnTo>
                      <a:pt x="562" y="514"/>
                    </a:lnTo>
                    <a:lnTo>
                      <a:pt x="562" y="515"/>
                    </a:lnTo>
                    <a:lnTo>
                      <a:pt x="561" y="515"/>
                    </a:lnTo>
                    <a:lnTo>
                      <a:pt x="562" y="515"/>
                    </a:lnTo>
                    <a:lnTo>
                      <a:pt x="562" y="516"/>
                    </a:lnTo>
                    <a:lnTo>
                      <a:pt x="561" y="516"/>
                    </a:lnTo>
                    <a:lnTo>
                      <a:pt x="561" y="517"/>
                    </a:lnTo>
                    <a:lnTo>
                      <a:pt x="560" y="517"/>
                    </a:lnTo>
                    <a:lnTo>
                      <a:pt x="558" y="517"/>
                    </a:lnTo>
                    <a:lnTo>
                      <a:pt x="558" y="518"/>
                    </a:lnTo>
                    <a:lnTo>
                      <a:pt x="557" y="517"/>
                    </a:lnTo>
                    <a:lnTo>
                      <a:pt x="557" y="516"/>
                    </a:lnTo>
                    <a:lnTo>
                      <a:pt x="557" y="515"/>
                    </a:lnTo>
                    <a:lnTo>
                      <a:pt x="558" y="515"/>
                    </a:lnTo>
                    <a:lnTo>
                      <a:pt x="558" y="514"/>
                    </a:lnTo>
                    <a:lnTo>
                      <a:pt x="560" y="514"/>
                    </a:lnTo>
                    <a:lnTo>
                      <a:pt x="561" y="513"/>
                    </a:lnTo>
                    <a:lnTo>
                      <a:pt x="561" y="512"/>
                    </a:lnTo>
                    <a:lnTo>
                      <a:pt x="562" y="511"/>
                    </a:lnTo>
                    <a:lnTo>
                      <a:pt x="564" y="508"/>
                    </a:lnTo>
                    <a:lnTo>
                      <a:pt x="565" y="507"/>
                    </a:lnTo>
                    <a:lnTo>
                      <a:pt x="566" y="507"/>
                    </a:lnTo>
                    <a:lnTo>
                      <a:pt x="566" y="508"/>
                    </a:lnTo>
                    <a:lnTo>
                      <a:pt x="567" y="508"/>
                    </a:lnTo>
                    <a:lnTo>
                      <a:pt x="567" y="510"/>
                    </a:lnTo>
                    <a:lnTo>
                      <a:pt x="568" y="510"/>
                    </a:lnTo>
                    <a:lnTo>
                      <a:pt x="568" y="511"/>
                    </a:lnTo>
                    <a:lnTo>
                      <a:pt x="568" y="510"/>
                    </a:lnTo>
                    <a:lnTo>
                      <a:pt x="569" y="510"/>
                    </a:lnTo>
                    <a:lnTo>
                      <a:pt x="569" y="508"/>
                    </a:lnTo>
                    <a:lnTo>
                      <a:pt x="570" y="507"/>
                    </a:lnTo>
                    <a:lnTo>
                      <a:pt x="571" y="507"/>
                    </a:lnTo>
                    <a:lnTo>
                      <a:pt x="573" y="506"/>
                    </a:lnTo>
                    <a:lnTo>
                      <a:pt x="574" y="506"/>
                    </a:lnTo>
                    <a:lnTo>
                      <a:pt x="574" y="507"/>
                    </a:lnTo>
                    <a:close/>
                    <a:moveTo>
                      <a:pt x="311" y="388"/>
                    </a:moveTo>
                    <a:lnTo>
                      <a:pt x="312" y="388"/>
                    </a:lnTo>
                    <a:lnTo>
                      <a:pt x="312" y="389"/>
                    </a:lnTo>
                    <a:lnTo>
                      <a:pt x="312" y="390"/>
                    </a:lnTo>
                    <a:lnTo>
                      <a:pt x="313" y="390"/>
                    </a:lnTo>
                    <a:lnTo>
                      <a:pt x="312" y="392"/>
                    </a:lnTo>
                    <a:lnTo>
                      <a:pt x="311" y="392"/>
                    </a:lnTo>
                    <a:lnTo>
                      <a:pt x="312" y="392"/>
                    </a:lnTo>
                    <a:lnTo>
                      <a:pt x="312" y="393"/>
                    </a:lnTo>
                    <a:lnTo>
                      <a:pt x="312" y="392"/>
                    </a:lnTo>
                    <a:lnTo>
                      <a:pt x="313" y="393"/>
                    </a:lnTo>
                    <a:lnTo>
                      <a:pt x="313" y="392"/>
                    </a:lnTo>
                    <a:lnTo>
                      <a:pt x="312" y="392"/>
                    </a:lnTo>
                    <a:lnTo>
                      <a:pt x="313" y="391"/>
                    </a:lnTo>
                    <a:lnTo>
                      <a:pt x="315" y="391"/>
                    </a:lnTo>
                    <a:lnTo>
                      <a:pt x="315" y="392"/>
                    </a:lnTo>
                    <a:lnTo>
                      <a:pt x="315" y="393"/>
                    </a:lnTo>
                    <a:lnTo>
                      <a:pt x="313" y="393"/>
                    </a:lnTo>
                    <a:lnTo>
                      <a:pt x="311" y="393"/>
                    </a:lnTo>
                    <a:lnTo>
                      <a:pt x="310" y="392"/>
                    </a:lnTo>
                    <a:lnTo>
                      <a:pt x="309" y="393"/>
                    </a:lnTo>
                    <a:lnTo>
                      <a:pt x="306" y="395"/>
                    </a:lnTo>
                    <a:lnTo>
                      <a:pt x="306" y="393"/>
                    </a:lnTo>
                    <a:lnTo>
                      <a:pt x="305" y="393"/>
                    </a:lnTo>
                    <a:lnTo>
                      <a:pt x="305" y="392"/>
                    </a:lnTo>
                    <a:lnTo>
                      <a:pt x="306" y="391"/>
                    </a:lnTo>
                    <a:lnTo>
                      <a:pt x="305" y="390"/>
                    </a:lnTo>
                    <a:lnTo>
                      <a:pt x="304" y="390"/>
                    </a:lnTo>
                    <a:lnTo>
                      <a:pt x="305" y="389"/>
                    </a:lnTo>
                    <a:lnTo>
                      <a:pt x="305" y="388"/>
                    </a:lnTo>
                    <a:lnTo>
                      <a:pt x="305" y="387"/>
                    </a:lnTo>
                    <a:lnTo>
                      <a:pt x="306" y="387"/>
                    </a:lnTo>
                    <a:lnTo>
                      <a:pt x="307" y="387"/>
                    </a:lnTo>
                    <a:lnTo>
                      <a:pt x="307" y="388"/>
                    </a:lnTo>
                    <a:lnTo>
                      <a:pt x="308" y="388"/>
                    </a:lnTo>
                    <a:lnTo>
                      <a:pt x="309" y="387"/>
                    </a:lnTo>
                    <a:lnTo>
                      <a:pt x="310" y="387"/>
                    </a:lnTo>
                    <a:lnTo>
                      <a:pt x="311" y="387"/>
                    </a:lnTo>
                    <a:lnTo>
                      <a:pt x="311" y="388"/>
                    </a:lnTo>
                    <a:close/>
                    <a:moveTo>
                      <a:pt x="539" y="626"/>
                    </a:moveTo>
                    <a:lnTo>
                      <a:pt x="540" y="626"/>
                    </a:lnTo>
                    <a:lnTo>
                      <a:pt x="541" y="626"/>
                    </a:lnTo>
                    <a:lnTo>
                      <a:pt x="543" y="627"/>
                    </a:lnTo>
                    <a:lnTo>
                      <a:pt x="546" y="629"/>
                    </a:lnTo>
                    <a:lnTo>
                      <a:pt x="551" y="632"/>
                    </a:lnTo>
                    <a:lnTo>
                      <a:pt x="552" y="632"/>
                    </a:lnTo>
                    <a:lnTo>
                      <a:pt x="553" y="632"/>
                    </a:lnTo>
                    <a:lnTo>
                      <a:pt x="553" y="633"/>
                    </a:lnTo>
                    <a:lnTo>
                      <a:pt x="556" y="634"/>
                    </a:lnTo>
                    <a:lnTo>
                      <a:pt x="558" y="635"/>
                    </a:lnTo>
                    <a:lnTo>
                      <a:pt x="560" y="636"/>
                    </a:lnTo>
                    <a:lnTo>
                      <a:pt x="562" y="636"/>
                    </a:lnTo>
                    <a:lnTo>
                      <a:pt x="563" y="637"/>
                    </a:lnTo>
                    <a:lnTo>
                      <a:pt x="562" y="639"/>
                    </a:lnTo>
                    <a:lnTo>
                      <a:pt x="561" y="639"/>
                    </a:lnTo>
                    <a:lnTo>
                      <a:pt x="557" y="636"/>
                    </a:lnTo>
                    <a:lnTo>
                      <a:pt x="552" y="634"/>
                    </a:lnTo>
                    <a:lnTo>
                      <a:pt x="546" y="632"/>
                    </a:lnTo>
                    <a:lnTo>
                      <a:pt x="542" y="629"/>
                    </a:lnTo>
                    <a:lnTo>
                      <a:pt x="538" y="627"/>
                    </a:lnTo>
                    <a:lnTo>
                      <a:pt x="537" y="626"/>
                    </a:lnTo>
                    <a:lnTo>
                      <a:pt x="538" y="626"/>
                    </a:lnTo>
                    <a:lnTo>
                      <a:pt x="539" y="626"/>
                    </a:lnTo>
                    <a:close/>
                    <a:moveTo>
                      <a:pt x="486" y="592"/>
                    </a:moveTo>
                    <a:lnTo>
                      <a:pt x="487" y="592"/>
                    </a:lnTo>
                    <a:lnTo>
                      <a:pt x="488" y="592"/>
                    </a:lnTo>
                    <a:lnTo>
                      <a:pt x="488" y="593"/>
                    </a:lnTo>
                    <a:lnTo>
                      <a:pt x="488" y="594"/>
                    </a:lnTo>
                    <a:lnTo>
                      <a:pt x="488" y="595"/>
                    </a:lnTo>
                    <a:lnTo>
                      <a:pt x="488" y="596"/>
                    </a:lnTo>
                    <a:lnTo>
                      <a:pt x="488" y="595"/>
                    </a:lnTo>
                    <a:lnTo>
                      <a:pt x="487" y="595"/>
                    </a:lnTo>
                    <a:lnTo>
                      <a:pt x="486" y="595"/>
                    </a:lnTo>
                    <a:lnTo>
                      <a:pt x="486" y="596"/>
                    </a:lnTo>
                    <a:lnTo>
                      <a:pt x="486" y="597"/>
                    </a:lnTo>
                    <a:lnTo>
                      <a:pt x="485" y="597"/>
                    </a:lnTo>
                    <a:lnTo>
                      <a:pt x="484" y="597"/>
                    </a:lnTo>
                    <a:lnTo>
                      <a:pt x="484" y="596"/>
                    </a:lnTo>
                    <a:lnTo>
                      <a:pt x="484" y="595"/>
                    </a:lnTo>
                    <a:lnTo>
                      <a:pt x="485" y="595"/>
                    </a:lnTo>
                    <a:lnTo>
                      <a:pt x="486" y="595"/>
                    </a:lnTo>
                    <a:lnTo>
                      <a:pt x="486" y="594"/>
                    </a:lnTo>
                    <a:lnTo>
                      <a:pt x="485" y="594"/>
                    </a:lnTo>
                    <a:lnTo>
                      <a:pt x="485" y="595"/>
                    </a:lnTo>
                    <a:lnTo>
                      <a:pt x="484" y="595"/>
                    </a:lnTo>
                    <a:lnTo>
                      <a:pt x="484" y="594"/>
                    </a:lnTo>
                    <a:lnTo>
                      <a:pt x="484" y="595"/>
                    </a:lnTo>
                    <a:lnTo>
                      <a:pt x="484" y="596"/>
                    </a:lnTo>
                    <a:lnTo>
                      <a:pt x="484" y="597"/>
                    </a:lnTo>
                    <a:lnTo>
                      <a:pt x="481" y="597"/>
                    </a:lnTo>
                    <a:lnTo>
                      <a:pt x="480" y="597"/>
                    </a:lnTo>
                    <a:lnTo>
                      <a:pt x="480" y="598"/>
                    </a:lnTo>
                    <a:lnTo>
                      <a:pt x="479" y="598"/>
                    </a:lnTo>
                    <a:lnTo>
                      <a:pt x="480" y="598"/>
                    </a:lnTo>
                    <a:lnTo>
                      <a:pt x="479" y="598"/>
                    </a:lnTo>
                    <a:lnTo>
                      <a:pt x="479" y="600"/>
                    </a:lnTo>
                    <a:lnTo>
                      <a:pt x="478" y="600"/>
                    </a:lnTo>
                    <a:lnTo>
                      <a:pt x="478" y="598"/>
                    </a:lnTo>
                    <a:lnTo>
                      <a:pt x="477" y="598"/>
                    </a:lnTo>
                    <a:lnTo>
                      <a:pt x="477" y="597"/>
                    </a:lnTo>
                    <a:lnTo>
                      <a:pt x="478" y="595"/>
                    </a:lnTo>
                    <a:lnTo>
                      <a:pt x="478" y="594"/>
                    </a:lnTo>
                    <a:lnTo>
                      <a:pt x="478" y="593"/>
                    </a:lnTo>
                    <a:lnTo>
                      <a:pt x="479" y="592"/>
                    </a:lnTo>
                    <a:lnTo>
                      <a:pt x="480" y="592"/>
                    </a:lnTo>
                    <a:lnTo>
                      <a:pt x="481" y="592"/>
                    </a:lnTo>
                    <a:lnTo>
                      <a:pt x="483" y="592"/>
                    </a:lnTo>
                    <a:lnTo>
                      <a:pt x="484" y="592"/>
                    </a:lnTo>
                    <a:lnTo>
                      <a:pt x="485" y="592"/>
                    </a:lnTo>
                    <a:lnTo>
                      <a:pt x="486" y="592"/>
                    </a:lnTo>
                    <a:close/>
                    <a:moveTo>
                      <a:pt x="246" y="267"/>
                    </a:moveTo>
                    <a:lnTo>
                      <a:pt x="247" y="267"/>
                    </a:lnTo>
                    <a:lnTo>
                      <a:pt x="246" y="267"/>
                    </a:lnTo>
                    <a:lnTo>
                      <a:pt x="245" y="267"/>
                    </a:lnTo>
                    <a:lnTo>
                      <a:pt x="245" y="268"/>
                    </a:lnTo>
                    <a:lnTo>
                      <a:pt x="246" y="268"/>
                    </a:lnTo>
                    <a:lnTo>
                      <a:pt x="247" y="268"/>
                    </a:lnTo>
                    <a:lnTo>
                      <a:pt x="246" y="268"/>
                    </a:lnTo>
                    <a:lnTo>
                      <a:pt x="247" y="268"/>
                    </a:lnTo>
                    <a:lnTo>
                      <a:pt x="247" y="269"/>
                    </a:lnTo>
                    <a:lnTo>
                      <a:pt x="247" y="268"/>
                    </a:lnTo>
                    <a:lnTo>
                      <a:pt x="247" y="267"/>
                    </a:lnTo>
                    <a:lnTo>
                      <a:pt x="248" y="267"/>
                    </a:lnTo>
                    <a:lnTo>
                      <a:pt x="248" y="268"/>
                    </a:lnTo>
                    <a:lnTo>
                      <a:pt x="249" y="268"/>
                    </a:lnTo>
                    <a:lnTo>
                      <a:pt x="249" y="269"/>
                    </a:lnTo>
                    <a:lnTo>
                      <a:pt x="251" y="270"/>
                    </a:lnTo>
                    <a:lnTo>
                      <a:pt x="252" y="270"/>
                    </a:lnTo>
                    <a:lnTo>
                      <a:pt x="253" y="269"/>
                    </a:lnTo>
                    <a:lnTo>
                      <a:pt x="253" y="268"/>
                    </a:lnTo>
                    <a:lnTo>
                      <a:pt x="253" y="267"/>
                    </a:lnTo>
                    <a:lnTo>
                      <a:pt x="252" y="267"/>
                    </a:lnTo>
                    <a:lnTo>
                      <a:pt x="252" y="266"/>
                    </a:lnTo>
                    <a:lnTo>
                      <a:pt x="253" y="266"/>
                    </a:lnTo>
                    <a:lnTo>
                      <a:pt x="253" y="267"/>
                    </a:lnTo>
                    <a:lnTo>
                      <a:pt x="254" y="267"/>
                    </a:lnTo>
                    <a:lnTo>
                      <a:pt x="255" y="267"/>
                    </a:lnTo>
                    <a:lnTo>
                      <a:pt x="255" y="268"/>
                    </a:lnTo>
                    <a:lnTo>
                      <a:pt x="256" y="269"/>
                    </a:lnTo>
                    <a:lnTo>
                      <a:pt x="255" y="269"/>
                    </a:lnTo>
                    <a:lnTo>
                      <a:pt x="255" y="270"/>
                    </a:lnTo>
                    <a:lnTo>
                      <a:pt x="254" y="270"/>
                    </a:lnTo>
                    <a:lnTo>
                      <a:pt x="254" y="269"/>
                    </a:lnTo>
                    <a:lnTo>
                      <a:pt x="253" y="269"/>
                    </a:lnTo>
                    <a:lnTo>
                      <a:pt x="253" y="270"/>
                    </a:lnTo>
                    <a:lnTo>
                      <a:pt x="252" y="270"/>
                    </a:lnTo>
                    <a:lnTo>
                      <a:pt x="251" y="270"/>
                    </a:lnTo>
                    <a:lnTo>
                      <a:pt x="249" y="270"/>
                    </a:lnTo>
                    <a:lnTo>
                      <a:pt x="249" y="271"/>
                    </a:lnTo>
                    <a:lnTo>
                      <a:pt x="248" y="270"/>
                    </a:lnTo>
                    <a:lnTo>
                      <a:pt x="248" y="271"/>
                    </a:lnTo>
                    <a:lnTo>
                      <a:pt x="249" y="271"/>
                    </a:lnTo>
                    <a:lnTo>
                      <a:pt x="249" y="272"/>
                    </a:lnTo>
                    <a:lnTo>
                      <a:pt x="251" y="272"/>
                    </a:lnTo>
                    <a:lnTo>
                      <a:pt x="252" y="272"/>
                    </a:lnTo>
                    <a:lnTo>
                      <a:pt x="251" y="273"/>
                    </a:lnTo>
                    <a:lnTo>
                      <a:pt x="252" y="273"/>
                    </a:lnTo>
                    <a:lnTo>
                      <a:pt x="251" y="273"/>
                    </a:lnTo>
                    <a:lnTo>
                      <a:pt x="251" y="274"/>
                    </a:lnTo>
                    <a:lnTo>
                      <a:pt x="249" y="274"/>
                    </a:lnTo>
                    <a:lnTo>
                      <a:pt x="249" y="273"/>
                    </a:lnTo>
                    <a:lnTo>
                      <a:pt x="248" y="273"/>
                    </a:lnTo>
                    <a:lnTo>
                      <a:pt x="248" y="272"/>
                    </a:lnTo>
                    <a:lnTo>
                      <a:pt x="247" y="272"/>
                    </a:lnTo>
                    <a:lnTo>
                      <a:pt x="246" y="272"/>
                    </a:lnTo>
                    <a:lnTo>
                      <a:pt x="246" y="271"/>
                    </a:lnTo>
                    <a:lnTo>
                      <a:pt x="245" y="271"/>
                    </a:lnTo>
                    <a:lnTo>
                      <a:pt x="244" y="271"/>
                    </a:lnTo>
                    <a:lnTo>
                      <a:pt x="244" y="270"/>
                    </a:lnTo>
                    <a:lnTo>
                      <a:pt x="244" y="271"/>
                    </a:lnTo>
                    <a:lnTo>
                      <a:pt x="245" y="271"/>
                    </a:lnTo>
                    <a:lnTo>
                      <a:pt x="244" y="271"/>
                    </a:lnTo>
                    <a:lnTo>
                      <a:pt x="243" y="270"/>
                    </a:lnTo>
                    <a:lnTo>
                      <a:pt x="242" y="269"/>
                    </a:lnTo>
                    <a:lnTo>
                      <a:pt x="241" y="269"/>
                    </a:lnTo>
                    <a:lnTo>
                      <a:pt x="241" y="268"/>
                    </a:lnTo>
                    <a:lnTo>
                      <a:pt x="243" y="267"/>
                    </a:lnTo>
                    <a:lnTo>
                      <a:pt x="243" y="266"/>
                    </a:lnTo>
                    <a:lnTo>
                      <a:pt x="244" y="266"/>
                    </a:lnTo>
                    <a:lnTo>
                      <a:pt x="244" y="264"/>
                    </a:lnTo>
                    <a:lnTo>
                      <a:pt x="245" y="264"/>
                    </a:lnTo>
                    <a:lnTo>
                      <a:pt x="246" y="267"/>
                    </a:lnTo>
                    <a:close/>
                    <a:moveTo>
                      <a:pt x="548" y="547"/>
                    </a:moveTo>
                    <a:lnTo>
                      <a:pt x="549" y="549"/>
                    </a:lnTo>
                    <a:lnTo>
                      <a:pt x="549" y="547"/>
                    </a:lnTo>
                    <a:lnTo>
                      <a:pt x="548" y="546"/>
                    </a:lnTo>
                    <a:lnTo>
                      <a:pt x="548" y="545"/>
                    </a:lnTo>
                    <a:lnTo>
                      <a:pt x="546" y="545"/>
                    </a:lnTo>
                    <a:lnTo>
                      <a:pt x="548" y="545"/>
                    </a:lnTo>
                    <a:lnTo>
                      <a:pt x="550" y="546"/>
                    </a:lnTo>
                    <a:lnTo>
                      <a:pt x="551" y="546"/>
                    </a:lnTo>
                    <a:lnTo>
                      <a:pt x="552" y="546"/>
                    </a:lnTo>
                    <a:lnTo>
                      <a:pt x="552" y="547"/>
                    </a:lnTo>
                    <a:lnTo>
                      <a:pt x="552" y="546"/>
                    </a:lnTo>
                    <a:lnTo>
                      <a:pt x="549" y="546"/>
                    </a:lnTo>
                    <a:lnTo>
                      <a:pt x="548" y="545"/>
                    </a:lnTo>
                    <a:lnTo>
                      <a:pt x="548" y="546"/>
                    </a:lnTo>
                    <a:lnTo>
                      <a:pt x="549" y="546"/>
                    </a:lnTo>
                    <a:lnTo>
                      <a:pt x="549" y="547"/>
                    </a:lnTo>
                    <a:lnTo>
                      <a:pt x="549" y="549"/>
                    </a:lnTo>
                    <a:lnTo>
                      <a:pt x="551" y="550"/>
                    </a:lnTo>
                    <a:lnTo>
                      <a:pt x="550" y="550"/>
                    </a:lnTo>
                    <a:lnTo>
                      <a:pt x="549" y="550"/>
                    </a:lnTo>
                    <a:lnTo>
                      <a:pt x="548" y="551"/>
                    </a:lnTo>
                    <a:lnTo>
                      <a:pt x="546" y="551"/>
                    </a:lnTo>
                    <a:lnTo>
                      <a:pt x="546" y="552"/>
                    </a:lnTo>
                    <a:lnTo>
                      <a:pt x="546" y="553"/>
                    </a:lnTo>
                    <a:lnTo>
                      <a:pt x="545" y="553"/>
                    </a:lnTo>
                    <a:lnTo>
                      <a:pt x="545" y="552"/>
                    </a:lnTo>
                    <a:lnTo>
                      <a:pt x="544" y="552"/>
                    </a:lnTo>
                    <a:lnTo>
                      <a:pt x="544" y="553"/>
                    </a:lnTo>
                    <a:lnTo>
                      <a:pt x="545" y="553"/>
                    </a:lnTo>
                    <a:lnTo>
                      <a:pt x="546" y="553"/>
                    </a:lnTo>
                    <a:lnTo>
                      <a:pt x="546" y="554"/>
                    </a:lnTo>
                    <a:lnTo>
                      <a:pt x="545" y="553"/>
                    </a:lnTo>
                    <a:lnTo>
                      <a:pt x="544" y="553"/>
                    </a:lnTo>
                    <a:lnTo>
                      <a:pt x="543" y="552"/>
                    </a:lnTo>
                    <a:lnTo>
                      <a:pt x="543" y="551"/>
                    </a:lnTo>
                    <a:lnTo>
                      <a:pt x="542" y="550"/>
                    </a:lnTo>
                    <a:lnTo>
                      <a:pt x="542" y="549"/>
                    </a:lnTo>
                    <a:lnTo>
                      <a:pt x="541" y="549"/>
                    </a:lnTo>
                    <a:lnTo>
                      <a:pt x="542" y="549"/>
                    </a:lnTo>
                    <a:lnTo>
                      <a:pt x="541" y="547"/>
                    </a:lnTo>
                    <a:lnTo>
                      <a:pt x="540" y="547"/>
                    </a:lnTo>
                    <a:lnTo>
                      <a:pt x="540" y="546"/>
                    </a:lnTo>
                    <a:lnTo>
                      <a:pt x="541" y="545"/>
                    </a:lnTo>
                    <a:lnTo>
                      <a:pt x="542" y="545"/>
                    </a:lnTo>
                    <a:lnTo>
                      <a:pt x="543" y="544"/>
                    </a:lnTo>
                    <a:lnTo>
                      <a:pt x="544" y="544"/>
                    </a:lnTo>
                    <a:lnTo>
                      <a:pt x="545" y="544"/>
                    </a:lnTo>
                    <a:lnTo>
                      <a:pt x="545" y="545"/>
                    </a:lnTo>
                    <a:lnTo>
                      <a:pt x="546" y="545"/>
                    </a:lnTo>
                    <a:lnTo>
                      <a:pt x="548" y="546"/>
                    </a:lnTo>
                    <a:lnTo>
                      <a:pt x="548" y="547"/>
                    </a:lnTo>
                    <a:close/>
                    <a:moveTo>
                      <a:pt x="241" y="205"/>
                    </a:moveTo>
                    <a:lnTo>
                      <a:pt x="242" y="205"/>
                    </a:lnTo>
                    <a:lnTo>
                      <a:pt x="242" y="206"/>
                    </a:lnTo>
                    <a:lnTo>
                      <a:pt x="242" y="207"/>
                    </a:lnTo>
                    <a:lnTo>
                      <a:pt x="243" y="207"/>
                    </a:lnTo>
                    <a:lnTo>
                      <a:pt x="243" y="208"/>
                    </a:lnTo>
                    <a:lnTo>
                      <a:pt x="244" y="208"/>
                    </a:lnTo>
                    <a:lnTo>
                      <a:pt x="244" y="209"/>
                    </a:lnTo>
                    <a:lnTo>
                      <a:pt x="245" y="209"/>
                    </a:lnTo>
                    <a:lnTo>
                      <a:pt x="245" y="208"/>
                    </a:lnTo>
                    <a:lnTo>
                      <a:pt x="246" y="208"/>
                    </a:lnTo>
                    <a:lnTo>
                      <a:pt x="246" y="209"/>
                    </a:lnTo>
                    <a:lnTo>
                      <a:pt x="247" y="209"/>
                    </a:lnTo>
                    <a:lnTo>
                      <a:pt x="246" y="209"/>
                    </a:lnTo>
                    <a:lnTo>
                      <a:pt x="246" y="210"/>
                    </a:lnTo>
                    <a:lnTo>
                      <a:pt x="245" y="210"/>
                    </a:lnTo>
                    <a:lnTo>
                      <a:pt x="245" y="211"/>
                    </a:lnTo>
                    <a:lnTo>
                      <a:pt x="244" y="211"/>
                    </a:lnTo>
                    <a:lnTo>
                      <a:pt x="243" y="211"/>
                    </a:lnTo>
                    <a:lnTo>
                      <a:pt x="242" y="211"/>
                    </a:lnTo>
                    <a:lnTo>
                      <a:pt x="241" y="211"/>
                    </a:lnTo>
                    <a:lnTo>
                      <a:pt x="240" y="211"/>
                    </a:lnTo>
                    <a:lnTo>
                      <a:pt x="239" y="211"/>
                    </a:lnTo>
                    <a:lnTo>
                      <a:pt x="240" y="211"/>
                    </a:lnTo>
                    <a:lnTo>
                      <a:pt x="239" y="211"/>
                    </a:lnTo>
                    <a:lnTo>
                      <a:pt x="239" y="210"/>
                    </a:lnTo>
                    <a:lnTo>
                      <a:pt x="238" y="210"/>
                    </a:lnTo>
                    <a:lnTo>
                      <a:pt x="236" y="210"/>
                    </a:lnTo>
                    <a:lnTo>
                      <a:pt x="235" y="210"/>
                    </a:lnTo>
                    <a:lnTo>
                      <a:pt x="235" y="211"/>
                    </a:lnTo>
                    <a:lnTo>
                      <a:pt x="234" y="211"/>
                    </a:lnTo>
                    <a:lnTo>
                      <a:pt x="234" y="210"/>
                    </a:lnTo>
                    <a:lnTo>
                      <a:pt x="235" y="210"/>
                    </a:lnTo>
                    <a:lnTo>
                      <a:pt x="236" y="210"/>
                    </a:lnTo>
                    <a:lnTo>
                      <a:pt x="235" y="210"/>
                    </a:lnTo>
                    <a:lnTo>
                      <a:pt x="236" y="210"/>
                    </a:lnTo>
                    <a:lnTo>
                      <a:pt x="236" y="209"/>
                    </a:lnTo>
                    <a:lnTo>
                      <a:pt x="236" y="208"/>
                    </a:lnTo>
                    <a:lnTo>
                      <a:pt x="236" y="207"/>
                    </a:lnTo>
                    <a:lnTo>
                      <a:pt x="236" y="208"/>
                    </a:lnTo>
                    <a:lnTo>
                      <a:pt x="238" y="208"/>
                    </a:lnTo>
                    <a:lnTo>
                      <a:pt x="238" y="209"/>
                    </a:lnTo>
                    <a:lnTo>
                      <a:pt x="239" y="209"/>
                    </a:lnTo>
                    <a:lnTo>
                      <a:pt x="238" y="209"/>
                    </a:lnTo>
                    <a:lnTo>
                      <a:pt x="238" y="210"/>
                    </a:lnTo>
                    <a:lnTo>
                      <a:pt x="238" y="209"/>
                    </a:lnTo>
                    <a:lnTo>
                      <a:pt x="238" y="210"/>
                    </a:lnTo>
                    <a:lnTo>
                      <a:pt x="236" y="209"/>
                    </a:lnTo>
                    <a:lnTo>
                      <a:pt x="236" y="210"/>
                    </a:lnTo>
                    <a:lnTo>
                      <a:pt x="238" y="210"/>
                    </a:lnTo>
                    <a:lnTo>
                      <a:pt x="238" y="209"/>
                    </a:lnTo>
                    <a:lnTo>
                      <a:pt x="239" y="209"/>
                    </a:lnTo>
                    <a:lnTo>
                      <a:pt x="240" y="209"/>
                    </a:lnTo>
                    <a:lnTo>
                      <a:pt x="239" y="209"/>
                    </a:lnTo>
                    <a:lnTo>
                      <a:pt x="239" y="208"/>
                    </a:lnTo>
                    <a:lnTo>
                      <a:pt x="238" y="208"/>
                    </a:lnTo>
                    <a:lnTo>
                      <a:pt x="238" y="207"/>
                    </a:lnTo>
                    <a:lnTo>
                      <a:pt x="236" y="207"/>
                    </a:lnTo>
                    <a:lnTo>
                      <a:pt x="236" y="206"/>
                    </a:lnTo>
                    <a:lnTo>
                      <a:pt x="238" y="206"/>
                    </a:lnTo>
                    <a:lnTo>
                      <a:pt x="238" y="205"/>
                    </a:lnTo>
                    <a:lnTo>
                      <a:pt x="239" y="205"/>
                    </a:lnTo>
                    <a:lnTo>
                      <a:pt x="239" y="206"/>
                    </a:lnTo>
                    <a:lnTo>
                      <a:pt x="239" y="205"/>
                    </a:lnTo>
                    <a:lnTo>
                      <a:pt x="239" y="206"/>
                    </a:lnTo>
                    <a:lnTo>
                      <a:pt x="238" y="206"/>
                    </a:lnTo>
                    <a:lnTo>
                      <a:pt x="238" y="207"/>
                    </a:lnTo>
                    <a:lnTo>
                      <a:pt x="239" y="207"/>
                    </a:lnTo>
                    <a:lnTo>
                      <a:pt x="239" y="206"/>
                    </a:lnTo>
                    <a:lnTo>
                      <a:pt x="239" y="205"/>
                    </a:lnTo>
                    <a:lnTo>
                      <a:pt x="240" y="205"/>
                    </a:lnTo>
                    <a:lnTo>
                      <a:pt x="240" y="204"/>
                    </a:lnTo>
                    <a:lnTo>
                      <a:pt x="240" y="203"/>
                    </a:lnTo>
                    <a:lnTo>
                      <a:pt x="241" y="203"/>
                    </a:lnTo>
                    <a:lnTo>
                      <a:pt x="241" y="204"/>
                    </a:lnTo>
                    <a:lnTo>
                      <a:pt x="241" y="205"/>
                    </a:lnTo>
                    <a:close/>
                    <a:moveTo>
                      <a:pt x="471" y="604"/>
                    </a:moveTo>
                    <a:lnTo>
                      <a:pt x="471" y="605"/>
                    </a:lnTo>
                    <a:lnTo>
                      <a:pt x="471" y="606"/>
                    </a:lnTo>
                    <a:lnTo>
                      <a:pt x="472" y="606"/>
                    </a:lnTo>
                    <a:lnTo>
                      <a:pt x="472" y="607"/>
                    </a:lnTo>
                    <a:lnTo>
                      <a:pt x="473" y="607"/>
                    </a:lnTo>
                    <a:lnTo>
                      <a:pt x="473" y="608"/>
                    </a:lnTo>
                    <a:lnTo>
                      <a:pt x="472" y="608"/>
                    </a:lnTo>
                    <a:lnTo>
                      <a:pt x="473" y="609"/>
                    </a:lnTo>
                    <a:lnTo>
                      <a:pt x="474" y="609"/>
                    </a:lnTo>
                    <a:lnTo>
                      <a:pt x="474" y="608"/>
                    </a:lnTo>
                    <a:lnTo>
                      <a:pt x="475" y="608"/>
                    </a:lnTo>
                    <a:lnTo>
                      <a:pt x="474" y="609"/>
                    </a:lnTo>
                    <a:lnTo>
                      <a:pt x="471" y="614"/>
                    </a:lnTo>
                    <a:lnTo>
                      <a:pt x="470" y="614"/>
                    </a:lnTo>
                    <a:lnTo>
                      <a:pt x="470" y="615"/>
                    </a:lnTo>
                    <a:lnTo>
                      <a:pt x="468" y="615"/>
                    </a:lnTo>
                    <a:lnTo>
                      <a:pt x="468" y="614"/>
                    </a:lnTo>
                    <a:lnTo>
                      <a:pt x="467" y="613"/>
                    </a:lnTo>
                    <a:lnTo>
                      <a:pt x="467" y="611"/>
                    </a:lnTo>
                    <a:lnTo>
                      <a:pt x="468" y="611"/>
                    </a:lnTo>
                    <a:lnTo>
                      <a:pt x="468" y="610"/>
                    </a:lnTo>
                    <a:lnTo>
                      <a:pt x="467" y="610"/>
                    </a:lnTo>
                    <a:lnTo>
                      <a:pt x="467" y="609"/>
                    </a:lnTo>
                    <a:lnTo>
                      <a:pt x="467" y="608"/>
                    </a:lnTo>
                    <a:lnTo>
                      <a:pt x="468" y="608"/>
                    </a:lnTo>
                    <a:lnTo>
                      <a:pt x="468" y="607"/>
                    </a:lnTo>
                    <a:lnTo>
                      <a:pt x="467" y="606"/>
                    </a:lnTo>
                    <a:lnTo>
                      <a:pt x="468" y="606"/>
                    </a:lnTo>
                    <a:lnTo>
                      <a:pt x="468" y="605"/>
                    </a:lnTo>
                    <a:lnTo>
                      <a:pt x="468" y="604"/>
                    </a:lnTo>
                    <a:lnTo>
                      <a:pt x="470" y="604"/>
                    </a:lnTo>
                    <a:lnTo>
                      <a:pt x="471" y="603"/>
                    </a:lnTo>
                    <a:lnTo>
                      <a:pt x="472" y="603"/>
                    </a:lnTo>
                    <a:lnTo>
                      <a:pt x="472" y="604"/>
                    </a:lnTo>
                    <a:lnTo>
                      <a:pt x="471" y="604"/>
                    </a:lnTo>
                    <a:close/>
                    <a:moveTo>
                      <a:pt x="558" y="526"/>
                    </a:moveTo>
                    <a:lnTo>
                      <a:pt x="560" y="526"/>
                    </a:lnTo>
                    <a:lnTo>
                      <a:pt x="560" y="527"/>
                    </a:lnTo>
                    <a:lnTo>
                      <a:pt x="561" y="527"/>
                    </a:lnTo>
                    <a:lnTo>
                      <a:pt x="562" y="528"/>
                    </a:lnTo>
                    <a:lnTo>
                      <a:pt x="563" y="528"/>
                    </a:lnTo>
                    <a:lnTo>
                      <a:pt x="563" y="529"/>
                    </a:lnTo>
                    <a:lnTo>
                      <a:pt x="562" y="529"/>
                    </a:lnTo>
                    <a:lnTo>
                      <a:pt x="560" y="529"/>
                    </a:lnTo>
                    <a:lnTo>
                      <a:pt x="558" y="528"/>
                    </a:lnTo>
                    <a:lnTo>
                      <a:pt x="555" y="528"/>
                    </a:lnTo>
                    <a:lnTo>
                      <a:pt x="554" y="527"/>
                    </a:lnTo>
                    <a:lnTo>
                      <a:pt x="553" y="527"/>
                    </a:lnTo>
                    <a:lnTo>
                      <a:pt x="553" y="528"/>
                    </a:lnTo>
                    <a:lnTo>
                      <a:pt x="556" y="528"/>
                    </a:lnTo>
                    <a:lnTo>
                      <a:pt x="561" y="529"/>
                    </a:lnTo>
                    <a:lnTo>
                      <a:pt x="562" y="529"/>
                    </a:lnTo>
                    <a:lnTo>
                      <a:pt x="561" y="529"/>
                    </a:lnTo>
                    <a:lnTo>
                      <a:pt x="561" y="530"/>
                    </a:lnTo>
                    <a:lnTo>
                      <a:pt x="561" y="529"/>
                    </a:lnTo>
                    <a:lnTo>
                      <a:pt x="562" y="529"/>
                    </a:lnTo>
                    <a:lnTo>
                      <a:pt x="563" y="529"/>
                    </a:lnTo>
                    <a:lnTo>
                      <a:pt x="563" y="528"/>
                    </a:lnTo>
                    <a:lnTo>
                      <a:pt x="563" y="529"/>
                    </a:lnTo>
                    <a:lnTo>
                      <a:pt x="564" y="530"/>
                    </a:lnTo>
                    <a:lnTo>
                      <a:pt x="564" y="531"/>
                    </a:lnTo>
                    <a:lnTo>
                      <a:pt x="565" y="531"/>
                    </a:lnTo>
                    <a:lnTo>
                      <a:pt x="565" y="532"/>
                    </a:lnTo>
                    <a:lnTo>
                      <a:pt x="565" y="533"/>
                    </a:lnTo>
                    <a:lnTo>
                      <a:pt x="566" y="534"/>
                    </a:lnTo>
                    <a:lnTo>
                      <a:pt x="566" y="537"/>
                    </a:lnTo>
                    <a:lnTo>
                      <a:pt x="567" y="538"/>
                    </a:lnTo>
                    <a:lnTo>
                      <a:pt x="566" y="538"/>
                    </a:lnTo>
                    <a:lnTo>
                      <a:pt x="561" y="537"/>
                    </a:lnTo>
                    <a:lnTo>
                      <a:pt x="557" y="538"/>
                    </a:lnTo>
                    <a:lnTo>
                      <a:pt x="557" y="537"/>
                    </a:lnTo>
                    <a:lnTo>
                      <a:pt x="558" y="537"/>
                    </a:lnTo>
                    <a:lnTo>
                      <a:pt x="560" y="537"/>
                    </a:lnTo>
                    <a:lnTo>
                      <a:pt x="561" y="537"/>
                    </a:lnTo>
                    <a:lnTo>
                      <a:pt x="562" y="537"/>
                    </a:lnTo>
                    <a:lnTo>
                      <a:pt x="563" y="537"/>
                    </a:lnTo>
                    <a:lnTo>
                      <a:pt x="563" y="538"/>
                    </a:lnTo>
                    <a:lnTo>
                      <a:pt x="564" y="538"/>
                    </a:lnTo>
                    <a:lnTo>
                      <a:pt x="565" y="538"/>
                    </a:lnTo>
                    <a:lnTo>
                      <a:pt x="566" y="538"/>
                    </a:lnTo>
                    <a:lnTo>
                      <a:pt x="566" y="537"/>
                    </a:lnTo>
                    <a:lnTo>
                      <a:pt x="566" y="536"/>
                    </a:lnTo>
                    <a:lnTo>
                      <a:pt x="565" y="536"/>
                    </a:lnTo>
                    <a:lnTo>
                      <a:pt x="565" y="534"/>
                    </a:lnTo>
                    <a:lnTo>
                      <a:pt x="564" y="534"/>
                    </a:lnTo>
                    <a:lnTo>
                      <a:pt x="563" y="534"/>
                    </a:lnTo>
                    <a:lnTo>
                      <a:pt x="564" y="533"/>
                    </a:lnTo>
                    <a:lnTo>
                      <a:pt x="564" y="532"/>
                    </a:lnTo>
                    <a:lnTo>
                      <a:pt x="563" y="532"/>
                    </a:lnTo>
                    <a:lnTo>
                      <a:pt x="564" y="532"/>
                    </a:lnTo>
                    <a:lnTo>
                      <a:pt x="564" y="531"/>
                    </a:lnTo>
                    <a:lnTo>
                      <a:pt x="563" y="531"/>
                    </a:lnTo>
                    <a:lnTo>
                      <a:pt x="562" y="531"/>
                    </a:lnTo>
                    <a:lnTo>
                      <a:pt x="562" y="530"/>
                    </a:lnTo>
                    <a:lnTo>
                      <a:pt x="561" y="530"/>
                    </a:lnTo>
                    <a:lnTo>
                      <a:pt x="560" y="530"/>
                    </a:lnTo>
                    <a:lnTo>
                      <a:pt x="560" y="529"/>
                    </a:lnTo>
                    <a:lnTo>
                      <a:pt x="561" y="529"/>
                    </a:lnTo>
                    <a:lnTo>
                      <a:pt x="560" y="529"/>
                    </a:lnTo>
                    <a:lnTo>
                      <a:pt x="557" y="529"/>
                    </a:lnTo>
                    <a:lnTo>
                      <a:pt x="553" y="528"/>
                    </a:lnTo>
                    <a:lnTo>
                      <a:pt x="552" y="527"/>
                    </a:lnTo>
                    <a:lnTo>
                      <a:pt x="551" y="527"/>
                    </a:lnTo>
                    <a:lnTo>
                      <a:pt x="551" y="528"/>
                    </a:lnTo>
                    <a:lnTo>
                      <a:pt x="551" y="527"/>
                    </a:lnTo>
                    <a:lnTo>
                      <a:pt x="551" y="526"/>
                    </a:lnTo>
                    <a:lnTo>
                      <a:pt x="551" y="527"/>
                    </a:lnTo>
                    <a:lnTo>
                      <a:pt x="552" y="527"/>
                    </a:lnTo>
                    <a:lnTo>
                      <a:pt x="553" y="526"/>
                    </a:lnTo>
                    <a:lnTo>
                      <a:pt x="554" y="526"/>
                    </a:lnTo>
                    <a:lnTo>
                      <a:pt x="555" y="526"/>
                    </a:lnTo>
                    <a:lnTo>
                      <a:pt x="556" y="526"/>
                    </a:lnTo>
                    <a:lnTo>
                      <a:pt x="557" y="526"/>
                    </a:lnTo>
                    <a:lnTo>
                      <a:pt x="558" y="526"/>
                    </a:lnTo>
                    <a:close/>
                    <a:moveTo>
                      <a:pt x="236" y="417"/>
                    </a:moveTo>
                    <a:lnTo>
                      <a:pt x="239" y="417"/>
                    </a:lnTo>
                    <a:lnTo>
                      <a:pt x="240" y="417"/>
                    </a:lnTo>
                    <a:lnTo>
                      <a:pt x="241" y="417"/>
                    </a:lnTo>
                    <a:lnTo>
                      <a:pt x="242" y="418"/>
                    </a:lnTo>
                    <a:lnTo>
                      <a:pt x="243" y="418"/>
                    </a:lnTo>
                    <a:lnTo>
                      <a:pt x="245" y="418"/>
                    </a:lnTo>
                    <a:lnTo>
                      <a:pt x="244" y="421"/>
                    </a:lnTo>
                    <a:lnTo>
                      <a:pt x="244" y="422"/>
                    </a:lnTo>
                    <a:lnTo>
                      <a:pt x="244" y="423"/>
                    </a:lnTo>
                    <a:lnTo>
                      <a:pt x="244" y="424"/>
                    </a:lnTo>
                    <a:lnTo>
                      <a:pt x="244" y="425"/>
                    </a:lnTo>
                    <a:lnTo>
                      <a:pt x="243" y="425"/>
                    </a:lnTo>
                    <a:lnTo>
                      <a:pt x="243" y="426"/>
                    </a:lnTo>
                    <a:lnTo>
                      <a:pt x="243" y="427"/>
                    </a:lnTo>
                    <a:lnTo>
                      <a:pt x="242" y="427"/>
                    </a:lnTo>
                    <a:lnTo>
                      <a:pt x="242" y="428"/>
                    </a:lnTo>
                    <a:lnTo>
                      <a:pt x="241" y="429"/>
                    </a:lnTo>
                    <a:lnTo>
                      <a:pt x="240" y="430"/>
                    </a:lnTo>
                    <a:lnTo>
                      <a:pt x="239" y="429"/>
                    </a:lnTo>
                    <a:lnTo>
                      <a:pt x="238" y="429"/>
                    </a:lnTo>
                    <a:lnTo>
                      <a:pt x="236" y="428"/>
                    </a:lnTo>
                    <a:lnTo>
                      <a:pt x="235" y="428"/>
                    </a:lnTo>
                    <a:lnTo>
                      <a:pt x="234" y="428"/>
                    </a:lnTo>
                    <a:lnTo>
                      <a:pt x="233" y="427"/>
                    </a:lnTo>
                    <a:lnTo>
                      <a:pt x="232" y="427"/>
                    </a:lnTo>
                    <a:lnTo>
                      <a:pt x="231" y="427"/>
                    </a:lnTo>
                    <a:lnTo>
                      <a:pt x="229" y="426"/>
                    </a:lnTo>
                    <a:lnTo>
                      <a:pt x="228" y="426"/>
                    </a:lnTo>
                    <a:lnTo>
                      <a:pt x="228" y="425"/>
                    </a:lnTo>
                    <a:lnTo>
                      <a:pt x="229" y="425"/>
                    </a:lnTo>
                    <a:lnTo>
                      <a:pt x="230" y="425"/>
                    </a:lnTo>
                    <a:lnTo>
                      <a:pt x="230" y="426"/>
                    </a:lnTo>
                    <a:lnTo>
                      <a:pt x="231" y="426"/>
                    </a:lnTo>
                    <a:lnTo>
                      <a:pt x="232" y="426"/>
                    </a:lnTo>
                    <a:lnTo>
                      <a:pt x="233" y="427"/>
                    </a:lnTo>
                    <a:lnTo>
                      <a:pt x="234" y="427"/>
                    </a:lnTo>
                    <a:lnTo>
                      <a:pt x="235" y="427"/>
                    </a:lnTo>
                    <a:lnTo>
                      <a:pt x="236" y="427"/>
                    </a:lnTo>
                    <a:lnTo>
                      <a:pt x="236" y="428"/>
                    </a:lnTo>
                    <a:lnTo>
                      <a:pt x="238" y="428"/>
                    </a:lnTo>
                    <a:lnTo>
                      <a:pt x="239" y="428"/>
                    </a:lnTo>
                    <a:lnTo>
                      <a:pt x="240" y="428"/>
                    </a:lnTo>
                    <a:lnTo>
                      <a:pt x="241" y="428"/>
                    </a:lnTo>
                    <a:lnTo>
                      <a:pt x="241" y="427"/>
                    </a:lnTo>
                    <a:lnTo>
                      <a:pt x="240" y="426"/>
                    </a:lnTo>
                    <a:lnTo>
                      <a:pt x="241" y="426"/>
                    </a:lnTo>
                    <a:lnTo>
                      <a:pt x="241" y="425"/>
                    </a:lnTo>
                    <a:lnTo>
                      <a:pt x="242" y="425"/>
                    </a:lnTo>
                    <a:lnTo>
                      <a:pt x="243" y="425"/>
                    </a:lnTo>
                    <a:lnTo>
                      <a:pt x="243" y="424"/>
                    </a:lnTo>
                    <a:lnTo>
                      <a:pt x="243" y="423"/>
                    </a:lnTo>
                    <a:lnTo>
                      <a:pt x="242" y="422"/>
                    </a:lnTo>
                    <a:lnTo>
                      <a:pt x="242" y="421"/>
                    </a:lnTo>
                    <a:lnTo>
                      <a:pt x="242" y="420"/>
                    </a:lnTo>
                    <a:lnTo>
                      <a:pt x="242" y="418"/>
                    </a:lnTo>
                    <a:lnTo>
                      <a:pt x="241" y="418"/>
                    </a:lnTo>
                    <a:lnTo>
                      <a:pt x="240" y="418"/>
                    </a:lnTo>
                    <a:lnTo>
                      <a:pt x="239" y="417"/>
                    </a:lnTo>
                    <a:lnTo>
                      <a:pt x="238" y="417"/>
                    </a:lnTo>
                    <a:lnTo>
                      <a:pt x="238" y="418"/>
                    </a:lnTo>
                    <a:lnTo>
                      <a:pt x="236" y="418"/>
                    </a:lnTo>
                    <a:lnTo>
                      <a:pt x="236" y="417"/>
                    </a:lnTo>
                    <a:close/>
                    <a:moveTo>
                      <a:pt x="253" y="413"/>
                    </a:moveTo>
                    <a:lnTo>
                      <a:pt x="254" y="413"/>
                    </a:lnTo>
                    <a:lnTo>
                      <a:pt x="253" y="413"/>
                    </a:lnTo>
                    <a:lnTo>
                      <a:pt x="254" y="414"/>
                    </a:lnTo>
                    <a:lnTo>
                      <a:pt x="253" y="414"/>
                    </a:lnTo>
                    <a:lnTo>
                      <a:pt x="252" y="414"/>
                    </a:lnTo>
                    <a:lnTo>
                      <a:pt x="252" y="415"/>
                    </a:lnTo>
                    <a:lnTo>
                      <a:pt x="251" y="415"/>
                    </a:lnTo>
                    <a:lnTo>
                      <a:pt x="251" y="416"/>
                    </a:lnTo>
                    <a:lnTo>
                      <a:pt x="249" y="416"/>
                    </a:lnTo>
                    <a:lnTo>
                      <a:pt x="249" y="417"/>
                    </a:lnTo>
                    <a:lnTo>
                      <a:pt x="248" y="417"/>
                    </a:lnTo>
                    <a:lnTo>
                      <a:pt x="248" y="418"/>
                    </a:lnTo>
                    <a:lnTo>
                      <a:pt x="247" y="418"/>
                    </a:lnTo>
                    <a:lnTo>
                      <a:pt x="246" y="418"/>
                    </a:lnTo>
                    <a:lnTo>
                      <a:pt x="246" y="417"/>
                    </a:lnTo>
                    <a:lnTo>
                      <a:pt x="246" y="416"/>
                    </a:lnTo>
                    <a:lnTo>
                      <a:pt x="246" y="415"/>
                    </a:lnTo>
                    <a:lnTo>
                      <a:pt x="245" y="415"/>
                    </a:lnTo>
                    <a:lnTo>
                      <a:pt x="245" y="414"/>
                    </a:lnTo>
                    <a:lnTo>
                      <a:pt x="246" y="414"/>
                    </a:lnTo>
                    <a:lnTo>
                      <a:pt x="246" y="412"/>
                    </a:lnTo>
                    <a:lnTo>
                      <a:pt x="246" y="413"/>
                    </a:lnTo>
                    <a:lnTo>
                      <a:pt x="246" y="414"/>
                    </a:lnTo>
                    <a:lnTo>
                      <a:pt x="247" y="415"/>
                    </a:lnTo>
                    <a:lnTo>
                      <a:pt x="247" y="414"/>
                    </a:lnTo>
                    <a:lnTo>
                      <a:pt x="247" y="413"/>
                    </a:lnTo>
                    <a:lnTo>
                      <a:pt x="248" y="413"/>
                    </a:lnTo>
                    <a:lnTo>
                      <a:pt x="248" y="412"/>
                    </a:lnTo>
                    <a:lnTo>
                      <a:pt x="249" y="412"/>
                    </a:lnTo>
                    <a:lnTo>
                      <a:pt x="248" y="412"/>
                    </a:lnTo>
                    <a:lnTo>
                      <a:pt x="248" y="411"/>
                    </a:lnTo>
                    <a:lnTo>
                      <a:pt x="248" y="410"/>
                    </a:lnTo>
                    <a:lnTo>
                      <a:pt x="249" y="410"/>
                    </a:lnTo>
                    <a:lnTo>
                      <a:pt x="254" y="410"/>
                    </a:lnTo>
                    <a:lnTo>
                      <a:pt x="254" y="411"/>
                    </a:lnTo>
                    <a:lnTo>
                      <a:pt x="254" y="412"/>
                    </a:lnTo>
                    <a:lnTo>
                      <a:pt x="253" y="413"/>
                    </a:lnTo>
                    <a:close/>
                    <a:moveTo>
                      <a:pt x="566" y="446"/>
                    </a:moveTo>
                    <a:lnTo>
                      <a:pt x="566" y="447"/>
                    </a:lnTo>
                    <a:lnTo>
                      <a:pt x="566" y="446"/>
                    </a:lnTo>
                    <a:lnTo>
                      <a:pt x="567" y="446"/>
                    </a:lnTo>
                    <a:lnTo>
                      <a:pt x="568" y="446"/>
                    </a:lnTo>
                    <a:lnTo>
                      <a:pt x="568" y="447"/>
                    </a:lnTo>
                    <a:lnTo>
                      <a:pt x="567" y="447"/>
                    </a:lnTo>
                    <a:lnTo>
                      <a:pt x="567" y="448"/>
                    </a:lnTo>
                    <a:lnTo>
                      <a:pt x="566" y="448"/>
                    </a:lnTo>
                    <a:lnTo>
                      <a:pt x="566" y="449"/>
                    </a:lnTo>
                    <a:lnTo>
                      <a:pt x="565" y="450"/>
                    </a:lnTo>
                    <a:lnTo>
                      <a:pt x="564" y="450"/>
                    </a:lnTo>
                    <a:lnTo>
                      <a:pt x="563" y="450"/>
                    </a:lnTo>
                    <a:lnTo>
                      <a:pt x="562" y="451"/>
                    </a:lnTo>
                    <a:lnTo>
                      <a:pt x="561" y="452"/>
                    </a:lnTo>
                    <a:lnTo>
                      <a:pt x="560" y="452"/>
                    </a:lnTo>
                    <a:lnTo>
                      <a:pt x="558" y="453"/>
                    </a:lnTo>
                    <a:lnTo>
                      <a:pt x="557" y="453"/>
                    </a:lnTo>
                    <a:lnTo>
                      <a:pt x="557" y="454"/>
                    </a:lnTo>
                    <a:lnTo>
                      <a:pt x="556" y="454"/>
                    </a:lnTo>
                    <a:lnTo>
                      <a:pt x="555" y="454"/>
                    </a:lnTo>
                    <a:lnTo>
                      <a:pt x="554" y="455"/>
                    </a:lnTo>
                    <a:lnTo>
                      <a:pt x="554" y="456"/>
                    </a:lnTo>
                    <a:lnTo>
                      <a:pt x="554" y="455"/>
                    </a:lnTo>
                    <a:lnTo>
                      <a:pt x="554" y="454"/>
                    </a:lnTo>
                    <a:lnTo>
                      <a:pt x="555" y="454"/>
                    </a:lnTo>
                    <a:lnTo>
                      <a:pt x="555" y="453"/>
                    </a:lnTo>
                    <a:lnTo>
                      <a:pt x="556" y="453"/>
                    </a:lnTo>
                    <a:lnTo>
                      <a:pt x="557" y="451"/>
                    </a:lnTo>
                    <a:lnTo>
                      <a:pt x="557" y="450"/>
                    </a:lnTo>
                    <a:lnTo>
                      <a:pt x="558" y="449"/>
                    </a:lnTo>
                    <a:lnTo>
                      <a:pt x="560" y="449"/>
                    </a:lnTo>
                    <a:lnTo>
                      <a:pt x="561" y="448"/>
                    </a:lnTo>
                    <a:lnTo>
                      <a:pt x="562" y="448"/>
                    </a:lnTo>
                    <a:lnTo>
                      <a:pt x="563" y="448"/>
                    </a:lnTo>
                    <a:lnTo>
                      <a:pt x="564" y="447"/>
                    </a:lnTo>
                    <a:lnTo>
                      <a:pt x="565" y="447"/>
                    </a:lnTo>
                    <a:lnTo>
                      <a:pt x="565" y="446"/>
                    </a:lnTo>
                    <a:lnTo>
                      <a:pt x="566" y="446"/>
                    </a:lnTo>
                    <a:close/>
                    <a:moveTo>
                      <a:pt x="220" y="421"/>
                    </a:moveTo>
                    <a:lnTo>
                      <a:pt x="220" y="422"/>
                    </a:lnTo>
                    <a:lnTo>
                      <a:pt x="220" y="423"/>
                    </a:lnTo>
                    <a:lnTo>
                      <a:pt x="221" y="423"/>
                    </a:lnTo>
                    <a:lnTo>
                      <a:pt x="222" y="424"/>
                    </a:lnTo>
                    <a:lnTo>
                      <a:pt x="222" y="425"/>
                    </a:lnTo>
                    <a:lnTo>
                      <a:pt x="221" y="425"/>
                    </a:lnTo>
                    <a:lnTo>
                      <a:pt x="221" y="424"/>
                    </a:lnTo>
                    <a:lnTo>
                      <a:pt x="220" y="424"/>
                    </a:lnTo>
                    <a:lnTo>
                      <a:pt x="216" y="423"/>
                    </a:lnTo>
                    <a:lnTo>
                      <a:pt x="215" y="423"/>
                    </a:lnTo>
                    <a:lnTo>
                      <a:pt x="214" y="423"/>
                    </a:lnTo>
                    <a:lnTo>
                      <a:pt x="212" y="422"/>
                    </a:lnTo>
                    <a:lnTo>
                      <a:pt x="210" y="422"/>
                    </a:lnTo>
                    <a:lnTo>
                      <a:pt x="209" y="421"/>
                    </a:lnTo>
                    <a:lnTo>
                      <a:pt x="208" y="421"/>
                    </a:lnTo>
                    <a:lnTo>
                      <a:pt x="208" y="420"/>
                    </a:lnTo>
                    <a:lnTo>
                      <a:pt x="209" y="420"/>
                    </a:lnTo>
                    <a:lnTo>
                      <a:pt x="210" y="421"/>
                    </a:lnTo>
                    <a:lnTo>
                      <a:pt x="212" y="421"/>
                    </a:lnTo>
                    <a:lnTo>
                      <a:pt x="213" y="421"/>
                    </a:lnTo>
                    <a:lnTo>
                      <a:pt x="214" y="421"/>
                    </a:lnTo>
                    <a:lnTo>
                      <a:pt x="215" y="421"/>
                    </a:lnTo>
                    <a:lnTo>
                      <a:pt x="215" y="422"/>
                    </a:lnTo>
                    <a:lnTo>
                      <a:pt x="215" y="421"/>
                    </a:lnTo>
                    <a:lnTo>
                      <a:pt x="216" y="422"/>
                    </a:lnTo>
                    <a:lnTo>
                      <a:pt x="217" y="422"/>
                    </a:lnTo>
                    <a:lnTo>
                      <a:pt x="218" y="423"/>
                    </a:lnTo>
                    <a:lnTo>
                      <a:pt x="220" y="423"/>
                    </a:lnTo>
                    <a:lnTo>
                      <a:pt x="219" y="423"/>
                    </a:lnTo>
                    <a:lnTo>
                      <a:pt x="219" y="422"/>
                    </a:lnTo>
                    <a:lnTo>
                      <a:pt x="220" y="422"/>
                    </a:lnTo>
                    <a:lnTo>
                      <a:pt x="219" y="422"/>
                    </a:lnTo>
                    <a:lnTo>
                      <a:pt x="219" y="423"/>
                    </a:lnTo>
                    <a:lnTo>
                      <a:pt x="219" y="422"/>
                    </a:lnTo>
                    <a:lnTo>
                      <a:pt x="219" y="421"/>
                    </a:lnTo>
                    <a:lnTo>
                      <a:pt x="219" y="420"/>
                    </a:lnTo>
                    <a:lnTo>
                      <a:pt x="219" y="418"/>
                    </a:lnTo>
                    <a:lnTo>
                      <a:pt x="220" y="418"/>
                    </a:lnTo>
                    <a:lnTo>
                      <a:pt x="220" y="417"/>
                    </a:lnTo>
                    <a:lnTo>
                      <a:pt x="221" y="416"/>
                    </a:lnTo>
                    <a:lnTo>
                      <a:pt x="221" y="415"/>
                    </a:lnTo>
                    <a:lnTo>
                      <a:pt x="227" y="416"/>
                    </a:lnTo>
                    <a:lnTo>
                      <a:pt x="226" y="416"/>
                    </a:lnTo>
                    <a:lnTo>
                      <a:pt x="225" y="417"/>
                    </a:lnTo>
                    <a:lnTo>
                      <a:pt x="222" y="418"/>
                    </a:lnTo>
                    <a:lnTo>
                      <a:pt x="221" y="420"/>
                    </a:lnTo>
                    <a:lnTo>
                      <a:pt x="220" y="421"/>
                    </a:lnTo>
                    <a:close/>
                    <a:moveTo>
                      <a:pt x="571" y="498"/>
                    </a:moveTo>
                    <a:lnTo>
                      <a:pt x="573" y="496"/>
                    </a:lnTo>
                    <a:lnTo>
                      <a:pt x="573" y="498"/>
                    </a:lnTo>
                    <a:lnTo>
                      <a:pt x="571" y="498"/>
                    </a:lnTo>
                    <a:lnTo>
                      <a:pt x="571" y="499"/>
                    </a:lnTo>
                    <a:lnTo>
                      <a:pt x="571" y="500"/>
                    </a:lnTo>
                    <a:lnTo>
                      <a:pt x="570" y="500"/>
                    </a:lnTo>
                    <a:lnTo>
                      <a:pt x="570" y="501"/>
                    </a:lnTo>
                    <a:lnTo>
                      <a:pt x="570" y="502"/>
                    </a:lnTo>
                    <a:lnTo>
                      <a:pt x="571" y="502"/>
                    </a:lnTo>
                    <a:lnTo>
                      <a:pt x="573" y="502"/>
                    </a:lnTo>
                    <a:lnTo>
                      <a:pt x="571" y="502"/>
                    </a:lnTo>
                    <a:lnTo>
                      <a:pt x="571" y="503"/>
                    </a:lnTo>
                    <a:lnTo>
                      <a:pt x="570" y="504"/>
                    </a:lnTo>
                    <a:lnTo>
                      <a:pt x="570" y="505"/>
                    </a:lnTo>
                    <a:lnTo>
                      <a:pt x="569" y="505"/>
                    </a:lnTo>
                    <a:lnTo>
                      <a:pt x="568" y="505"/>
                    </a:lnTo>
                    <a:lnTo>
                      <a:pt x="568" y="506"/>
                    </a:lnTo>
                    <a:lnTo>
                      <a:pt x="569" y="506"/>
                    </a:lnTo>
                    <a:lnTo>
                      <a:pt x="570" y="507"/>
                    </a:lnTo>
                    <a:lnTo>
                      <a:pt x="571" y="507"/>
                    </a:lnTo>
                    <a:lnTo>
                      <a:pt x="571" y="506"/>
                    </a:lnTo>
                    <a:lnTo>
                      <a:pt x="573" y="505"/>
                    </a:lnTo>
                    <a:lnTo>
                      <a:pt x="574" y="505"/>
                    </a:lnTo>
                    <a:lnTo>
                      <a:pt x="574" y="504"/>
                    </a:lnTo>
                    <a:lnTo>
                      <a:pt x="573" y="504"/>
                    </a:lnTo>
                    <a:lnTo>
                      <a:pt x="573" y="503"/>
                    </a:lnTo>
                    <a:lnTo>
                      <a:pt x="573" y="502"/>
                    </a:lnTo>
                    <a:lnTo>
                      <a:pt x="574" y="502"/>
                    </a:lnTo>
                    <a:lnTo>
                      <a:pt x="575" y="503"/>
                    </a:lnTo>
                    <a:lnTo>
                      <a:pt x="576" y="503"/>
                    </a:lnTo>
                    <a:lnTo>
                      <a:pt x="577" y="503"/>
                    </a:lnTo>
                    <a:lnTo>
                      <a:pt x="577" y="502"/>
                    </a:lnTo>
                    <a:lnTo>
                      <a:pt x="577" y="501"/>
                    </a:lnTo>
                    <a:lnTo>
                      <a:pt x="577" y="502"/>
                    </a:lnTo>
                    <a:lnTo>
                      <a:pt x="577" y="503"/>
                    </a:lnTo>
                    <a:lnTo>
                      <a:pt x="577" y="504"/>
                    </a:lnTo>
                    <a:lnTo>
                      <a:pt x="577" y="505"/>
                    </a:lnTo>
                    <a:lnTo>
                      <a:pt x="576" y="506"/>
                    </a:lnTo>
                    <a:lnTo>
                      <a:pt x="576" y="505"/>
                    </a:lnTo>
                    <a:lnTo>
                      <a:pt x="575" y="505"/>
                    </a:lnTo>
                    <a:lnTo>
                      <a:pt x="575" y="504"/>
                    </a:lnTo>
                    <a:lnTo>
                      <a:pt x="575" y="505"/>
                    </a:lnTo>
                    <a:lnTo>
                      <a:pt x="574" y="505"/>
                    </a:lnTo>
                    <a:lnTo>
                      <a:pt x="573" y="506"/>
                    </a:lnTo>
                    <a:lnTo>
                      <a:pt x="571" y="506"/>
                    </a:lnTo>
                    <a:lnTo>
                      <a:pt x="571" y="507"/>
                    </a:lnTo>
                    <a:lnTo>
                      <a:pt x="570" y="507"/>
                    </a:lnTo>
                    <a:lnTo>
                      <a:pt x="569" y="507"/>
                    </a:lnTo>
                    <a:lnTo>
                      <a:pt x="569" y="508"/>
                    </a:lnTo>
                    <a:lnTo>
                      <a:pt x="568" y="508"/>
                    </a:lnTo>
                    <a:lnTo>
                      <a:pt x="567" y="508"/>
                    </a:lnTo>
                    <a:lnTo>
                      <a:pt x="567" y="510"/>
                    </a:lnTo>
                    <a:lnTo>
                      <a:pt x="567" y="508"/>
                    </a:lnTo>
                    <a:lnTo>
                      <a:pt x="566" y="508"/>
                    </a:lnTo>
                    <a:lnTo>
                      <a:pt x="566" y="507"/>
                    </a:lnTo>
                    <a:lnTo>
                      <a:pt x="567" y="506"/>
                    </a:lnTo>
                    <a:lnTo>
                      <a:pt x="568" y="505"/>
                    </a:lnTo>
                    <a:lnTo>
                      <a:pt x="569" y="504"/>
                    </a:lnTo>
                    <a:lnTo>
                      <a:pt x="569" y="503"/>
                    </a:lnTo>
                    <a:lnTo>
                      <a:pt x="569" y="501"/>
                    </a:lnTo>
                    <a:lnTo>
                      <a:pt x="569" y="500"/>
                    </a:lnTo>
                    <a:lnTo>
                      <a:pt x="570" y="499"/>
                    </a:lnTo>
                    <a:lnTo>
                      <a:pt x="569" y="499"/>
                    </a:lnTo>
                    <a:lnTo>
                      <a:pt x="570" y="498"/>
                    </a:lnTo>
                    <a:lnTo>
                      <a:pt x="571" y="496"/>
                    </a:lnTo>
                    <a:lnTo>
                      <a:pt x="573" y="495"/>
                    </a:lnTo>
                    <a:lnTo>
                      <a:pt x="573" y="496"/>
                    </a:lnTo>
                    <a:lnTo>
                      <a:pt x="571" y="498"/>
                    </a:lnTo>
                    <a:close/>
                    <a:moveTo>
                      <a:pt x="571" y="531"/>
                    </a:moveTo>
                    <a:lnTo>
                      <a:pt x="580" y="534"/>
                    </a:lnTo>
                    <a:lnTo>
                      <a:pt x="581" y="534"/>
                    </a:lnTo>
                    <a:lnTo>
                      <a:pt x="582" y="534"/>
                    </a:lnTo>
                    <a:lnTo>
                      <a:pt x="583" y="536"/>
                    </a:lnTo>
                    <a:lnTo>
                      <a:pt x="584" y="536"/>
                    </a:lnTo>
                    <a:lnTo>
                      <a:pt x="584" y="537"/>
                    </a:lnTo>
                    <a:lnTo>
                      <a:pt x="584" y="536"/>
                    </a:lnTo>
                    <a:lnTo>
                      <a:pt x="586" y="536"/>
                    </a:lnTo>
                    <a:lnTo>
                      <a:pt x="588" y="537"/>
                    </a:lnTo>
                    <a:lnTo>
                      <a:pt x="587" y="537"/>
                    </a:lnTo>
                    <a:lnTo>
                      <a:pt x="586" y="537"/>
                    </a:lnTo>
                    <a:lnTo>
                      <a:pt x="584" y="538"/>
                    </a:lnTo>
                    <a:lnTo>
                      <a:pt x="584" y="537"/>
                    </a:lnTo>
                    <a:lnTo>
                      <a:pt x="583" y="537"/>
                    </a:lnTo>
                    <a:lnTo>
                      <a:pt x="582" y="537"/>
                    </a:lnTo>
                    <a:lnTo>
                      <a:pt x="582" y="536"/>
                    </a:lnTo>
                    <a:lnTo>
                      <a:pt x="581" y="536"/>
                    </a:lnTo>
                    <a:lnTo>
                      <a:pt x="580" y="534"/>
                    </a:lnTo>
                    <a:lnTo>
                      <a:pt x="580" y="536"/>
                    </a:lnTo>
                    <a:lnTo>
                      <a:pt x="580" y="534"/>
                    </a:lnTo>
                    <a:lnTo>
                      <a:pt x="579" y="534"/>
                    </a:lnTo>
                    <a:lnTo>
                      <a:pt x="579" y="536"/>
                    </a:lnTo>
                    <a:lnTo>
                      <a:pt x="579" y="534"/>
                    </a:lnTo>
                    <a:lnTo>
                      <a:pt x="578" y="534"/>
                    </a:lnTo>
                    <a:lnTo>
                      <a:pt x="578" y="536"/>
                    </a:lnTo>
                    <a:lnTo>
                      <a:pt x="578" y="537"/>
                    </a:lnTo>
                    <a:lnTo>
                      <a:pt x="579" y="537"/>
                    </a:lnTo>
                    <a:lnTo>
                      <a:pt x="579" y="536"/>
                    </a:lnTo>
                    <a:lnTo>
                      <a:pt x="580" y="536"/>
                    </a:lnTo>
                    <a:lnTo>
                      <a:pt x="580" y="537"/>
                    </a:lnTo>
                    <a:lnTo>
                      <a:pt x="580" y="536"/>
                    </a:lnTo>
                    <a:lnTo>
                      <a:pt x="580" y="537"/>
                    </a:lnTo>
                    <a:lnTo>
                      <a:pt x="579" y="537"/>
                    </a:lnTo>
                    <a:lnTo>
                      <a:pt x="578" y="537"/>
                    </a:lnTo>
                    <a:lnTo>
                      <a:pt x="575" y="536"/>
                    </a:lnTo>
                    <a:lnTo>
                      <a:pt x="574" y="536"/>
                    </a:lnTo>
                    <a:lnTo>
                      <a:pt x="574" y="534"/>
                    </a:lnTo>
                    <a:lnTo>
                      <a:pt x="571" y="534"/>
                    </a:lnTo>
                    <a:lnTo>
                      <a:pt x="573" y="533"/>
                    </a:lnTo>
                    <a:lnTo>
                      <a:pt x="573" y="532"/>
                    </a:lnTo>
                    <a:lnTo>
                      <a:pt x="573" y="533"/>
                    </a:lnTo>
                    <a:lnTo>
                      <a:pt x="571" y="533"/>
                    </a:lnTo>
                    <a:lnTo>
                      <a:pt x="571" y="534"/>
                    </a:lnTo>
                    <a:lnTo>
                      <a:pt x="570" y="533"/>
                    </a:lnTo>
                    <a:lnTo>
                      <a:pt x="570" y="532"/>
                    </a:lnTo>
                    <a:lnTo>
                      <a:pt x="571" y="531"/>
                    </a:lnTo>
                    <a:close/>
                    <a:moveTo>
                      <a:pt x="112" y="314"/>
                    </a:moveTo>
                    <a:lnTo>
                      <a:pt x="112" y="315"/>
                    </a:lnTo>
                    <a:lnTo>
                      <a:pt x="113" y="315"/>
                    </a:lnTo>
                    <a:lnTo>
                      <a:pt x="112" y="315"/>
                    </a:lnTo>
                    <a:lnTo>
                      <a:pt x="112" y="316"/>
                    </a:lnTo>
                    <a:lnTo>
                      <a:pt x="112" y="318"/>
                    </a:lnTo>
                    <a:lnTo>
                      <a:pt x="111" y="318"/>
                    </a:lnTo>
                    <a:lnTo>
                      <a:pt x="111" y="316"/>
                    </a:lnTo>
                    <a:lnTo>
                      <a:pt x="111" y="318"/>
                    </a:lnTo>
                    <a:lnTo>
                      <a:pt x="112" y="318"/>
                    </a:lnTo>
                    <a:lnTo>
                      <a:pt x="111" y="318"/>
                    </a:lnTo>
                    <a:lnTo>
                      <a:pt x="111" y="319"/>
                    </a:lnTo>
                    <a:lnTo>
                      <a:pt x="111" y="320"/>
                    </a:lnTo>
                    <a:lnTo>
                      <a:pt x="110" y="320"/>
                    </a:lnTo>
                    <a:lnTo>
                      <a:pt x="109" y="320"/>
                    </a:lnTo>
                    <a:lnTo>
                      <a:pt x="109" y="321"/>
                    </a:lnTo>
                    <a:lnTo>
                      <a:pt x="106" y="321"/>
                    </a:lnTo>
                    <a:lnTo>
                      <a:pt x="106" y="322"/>
                    </a:lnTo>
                    <a:lnTo>
                      <a:pt x="106" y="324"/>
                    </a:lnTo>
                    <a:lnTo>
                      <a:pt x="105" y="324"/>
                    </a:lnTo>
                    <a:lnTo>
                      <a:pt x="105" y="325"/>
                    </a:lnTo>
                    <a:lnTo>
                      <a:pt x="106" y="325"/>
                    </a:lnTo>
                    <a:lnTo>
                      <a:pt x="106" y="324"/>
                    </a:lnTo>
                    <a:lnTo>
                      <a:pt x="107" y="324"/>
                    </a:lnTo>
                    <a:lnTo>
                      <a:pt x="107" y="325"/>
                    </a:lnTo>
                    <a:lnTo>
                      <a:pt x="106" y="326"/>
                    </a:lnTo>
                    <a:lnTo>
                      <a:pt x="105" y="326"/>
                    </a:lnTo>
                    <a:lnTo>
                      <a:pt x="104" y="327"/>
                    </a:lnTo>
                    <a:lnTo>
                      <a:pt x="103" y="327"/>
                    </a:lnTo>
                    <a:lnTo>
                      <a:pt x="103" y="326"/>
                    </a:lnTo>
                    <a:lnTo>
                      <a:pt x="104" y="325"/>
                    </a:lnTo>
                    <a:lnTo>
                      <a:pt x="105" y="324"/>
                    </a:lnTo>
                    <a:lnTo>
                      <a:pt x="105" y="323"/>
                    </a:lnTo>
                    <a:lnTo>
                      <a:pt x="104" y="323"/>
                    </a:lnTo>
                    <a:lnTo>
                      <a:pt x="103" y="323"/>
                    </a:lnTo>
                    <a:lnTo>
                      <a:pt x="103" y="322"/>
                    </a:lnTo>
                    <a:lnTo>
                      <a:pt x="104" y="322"/>
                    </a:lnTo>
                    <a:lnTo>
                      <a:pt x="104" y="321"/>
                    </a:lnTo>
                    <a:lnTo>
                      <a:pt x="105" y="320"/>
                    </a:lnTo>
                    <a:lnTo>
                      <a:pt x="106" y="319"/>
                    </a:lnTo>
                    <a:lnTo>
                      <a:pt x="107" y="318"/>
                    </a:lnTo>
                    <a:lnTo>
                      <a:pt x="107" y="316"/>
                    </a:lnTo>
                    <a:lnTo>
                      <a:pt x="107" y="318"/>
                    </a:lnTo>
                    <a:lnTo>
                      <a:pt x="109" y="318"/>
                    </a:lnTo>
                    <a:lnTo>
                      <a:pt x="109" y="316"/>
                    </a:lnTo>
                    <a:lnTo>
                      <a:pt x="110" y="316"/>
                    </a:lnTo>
                    <a:lnTo>
                      <a:pt x="110" y="315"/>
                    </a:lnTo>
                    <a:lnTo>
                      <a:pt x="111" y="315"/>
                    </a:lnTo>
                    <a:lnTo>
                      <a:pt x="111" y="314"/>
                    </a:lnTo>
                    <a:lnTo>
                      <a:pt x="112" y="314"/>
                    </a:lnTo>
                    <a:lnTo>
                      <a:pt x="112" y="313"/>
                    </a:lnTo>
                    <a:lnTo>
                      <a:pt x="112" y="314"/>
                    </a:lnTo>
                    <a:close/>
                    <a:moveTo>
                      <a:pt x="332" y="346"/>
                    </a:moveTo>
                    <a:lnTo>
                      <a:pt x="332" y="347"/>
                    </a:lnTo>
                    <a:lnTo>
                      <a:pt x="331" y="346"/>
                    </a:lnTo>
                    <a:lnTo>
                      <a:pt x="331" y="347"/>
                    </a:lnTo>
                    <a:lnTo>
                      <a:pt x="330" y="347"/>
                    </a:lnTo>
                    <a:lnTo>
                      <a:pt x="330" y="348"/>
                    </a:lnTo>
                    <a:lnTo>
                      <a:pt x="330" y="347"/>
                    </a:lnTo>
                    <a:lnTo>
                      <a:pt x="329" y="348"/>
                    </a:lnTo>
                    <a:lnTo>
                      <a:pt x="329" y="349"/>
                    </a:lnTo>
                    <a:lnTo>
                      <a:pt x="328" y="350"/>
                    </a:lnTo>
                    <a:lnTo>
                      <a:pt x="329" y="350"/>
                    </a:lnTo>
                    <a:lnTo>
                      <a:pt x="328" y="350"/>
                    </a:lnTo>
                    <a:lnTo>
                      <a:pt x="330" y="350"/>
                    </a:lnTo>
                    <a:lnTo>
                      <a:pt x="329" y="350"/>
                    </a:lnTo>
                    <a:lnTo>
                      <a:pt x="329" y="349"/>
                    </a:lnTo>
                    <a:lnTo>
                      <a:pt x="330" y="349"/>
                    </a:lnTo>
                    <a:lnTo>
                      <a:pt x="331" y="349"/>
                    </a:lnTo>
                    <a:lnTo>
                      <a:pt x="331" y="350"/>
                    </a:lnTo>
                    <a:lnTo>
                      <a:pt x="330" y="350"/>
                    </a:lnTo>
                    <a:lnTo>
                      <a:pt x="331" y="351"/>
                    </a:lnTo>
                    <a:lnTo>
                      <a:pt x="331" y="350"/>
                    </a:lnTo>
                    <a:lnTo>
                      <a:pt x="331" y="349"/>
                    </a:lnTo>
                    <a:lnTo>
                      <a:pt x="332" y="349"/>
                    </a:lnTo>
                    <a:lnTo>
                      <a:pt x="332" y="348"/>
                    </a:lnTo>
                    <a:lnTo>
                      <a:pt x="333" y="349"/>
                    </a:lnTo>
                    <a:lnTo>
                      <a:pt x="334" y="348"/>
                    </a:lnTo>
                    <a:lnTo>
                      <a:pt x="335" y="350"/>
                    </a:lnTo>
                    <a:lnTo>
                      <a:pt x="335" y="349"/>
                    </a:lnTo>
                    <a:lnTo>
                      <a:pt x="334" y="349"/>
                    </a:lnTo>
                    <a:lnTo>
                      <a:pt x="334" y="350"/>
                    </a:lnTo>
                    <a:lnTo>
                      <a:pt x="334" y="349"/>
                    </a:lnTo>
                    <a:lnTo>
                      <a:pt x="333" y="349"/>
                    </a:lnTo>
                    <a:lnTo>
                      <a:pt x="332" y="349"/>
                    </a:lnTo>
                    <a:lnTo>
                      <a:pt x="332" y="350"/>
                    </a:lnTo>
                    <a:lnTo>
                      <a:pt x="333" y="350"/>
                    </a:lnTo>
                    <a:lnTo>
                      <a:pt x="333" y="351"/>
                    </a:lnTo>
                    <a:lnTo>
                      <a:pt x="333" y="350"/>
                    </a:lnTo>
                    <a:lnTo>
                      <a:pt x="333" y="351"/>
                    </a:lnTo>
                    <a:lnTo>
                      <a:pt x="334" y="351"/>
                    </a:lnTo>
                    <a:lnTo>
                      <a:pt x="335" y="351"/>
                    </a:lnTo>
                    <a:lnTo>
                      <a:pt x="335" y="352"/>
                    </a:lnTo>
                    <a:lnTo>
                      <a:pt x="336" y="353"/>
                    </a:lnTo>
                    <a:lnTo>
                      <a:pt x="337" y="353"/>
                    </a:lnTo>
                    <a:lnTo>
                      <a:pt x="338" y="353"/>
                    </a:lnTo>
                    <a:lnTo>
                      <a:pt x="339" y="353"/>
                    </a:lnTo>
                    <a:lnTo>
                      <a:pt x="339" y="354"/>
                    </a:lnTo>
                    <a:lnTo>
                      <a:pt x="339" y="356"/>
                    </a:lnTo>
                    <a:lnTo>
                      <a:pt x="339" y="357"/>
                    </a:lnTo>
                    <a:lnTo>
                      <a:pt x="338" y="357"/>
                    </a:lnTo>
                    <a:lnTo>
                      <a:pt x="338" y="356"/>
                    </a:lnTo>
                    <a:lnTo>
                      <a:pt x="338" y="354"/>
                    </a:lnTo>
                    <a:lnTo>
                      <a:pt x="337" y="354"/>
                    </a:lnTo>
                    <a:lnTo>
                      <a:pt x="336" y="354"/>
                    </a:lnTo>
                    <a:lnTo>
                      <a:pt x="336" y="353"/>
                    </a:lnTo>
                    <a:lnTo>
                      <a:pt x="334" y="353"/>
                    </a:lnTo>
                    <a:lnTo>
                      <a:pt x="334" y="352"/>
                    </a:lnTo>
                    <a:lnTo>
                      <a:pt x="334" y="353"/>
                    </a:lnTo>
                    <a:lnTo>
                      <a:pt x="333" y="353"/>
                    </a:lnTo>
                    <a:lnTo>
                      <a:pt x="333" y="352"/>
                    </a:lnTo>
                    <a:lnTo>
                      <a:pt x="332" y="352"/>
                    </a:lnTo>
                    <a:lnTo>
                      <a:pt x="331" y="352"/>
                    </a:lnTo>
                    <a:lnTo>
                      <a:pt x="331" y="351"/>
                    </a:lnTo>
                    <a:lnTo>
                      <a:pt x="330" y="352"/>
                    </a:lnTo>
                    <a:lnTo>
                      <a:pt x="330" y="351"/>
                    </a:lnTo>
                    <a:lnTo>
                      <a:pt x="329" y="351"/>
                    </a:lnTo>
                    <a:lnTo>
                      <a:pt x="329" y="350"/>
                    </a:lnTo>
                    <a:lnTo>
                      <a:pt x="328" y="350"/>
                    </a:lnTo>
                    <a:lnTo>
                      <a:pt x="328" y="351"/>
                    </a:lnTo>
                    <a:lnTo>
                      <a:pt x="329" y="351"/>
                    </a:lnTo>
                    <a:lnTo>
                      <a:pt x="328" y="351"/>
                    </a:lnTo>
                    <a:lnTo>
                      <a:pt x="328" y="352"/>
                    </a:lnTo>
                    <a:lnTo>
                      <a:pt x="326" y="352"/>
                    </a:lnTo>
                    <a:lnTo>
                      <a:pt x="325" y="352"/>
                    </a:lnTo>
                    <a:lnTo>
                      <a:pt x="325" y="353"/>
                    </a:lnTo>
                    <a:lnTo>
                      <a:pt x="325" y="352"/>
                    </a:lnTo>
                    <a:lnTo>
                      <a:pt x="325" y="351"/>
                    </a:lnTo>
                    <a:lnTo>
                      <a:pt x="325" y="350"/>
                    </a:lnTo>
                    <a:lnTo>
                      <a:pt x="324" y="350"/>
                    </a:lnTo>
                    <a:lnTo>
                      <a:pt x="325" y="350"/>
                    </a:lnTo>
                    <a:lnTo>
                      <a:pt x="325" y="349"/>
                    </a:lnTo>
                    <a:lnTo>
                      <a:pt x="325" y="348"/>
                    </a:lnTo>
                    <a:lnTo>
                      <a:pt x="325" y="347"/>
                    </a:lnTo>
                    <a:lnTo>
                      <a:pt x="326" y="347"/>
                    </a:lnTo>
                    <a:lnTo>
                      <a:pt x="326" y="348"/>
                    </a:lnTo>
                    <a:lnTo>
                      <a:pt x="328" y="349"/>
                    </a:lnTo>
                    <a:lnTo>
                      <a:pt x="329" y="349"/>
                    </a:lnTo>
                    <a:lnTo>
                      <a:pt x="328" y="349"/>
                    </a:lnTo>
                    <a:lnTo>
                      <a:pt x="329" y="348"/>
                    </a:lnTo>
                    <a:lnTo>
                      <a:pt x="329" y="347"/>
                    </a:lnTo>
                    <a:lnTo>
                      <a:pt x="330" y="347"/>
                    </a:lnTo>
                    <a:lnTo>
                      <a:pt x="330" y="346"/>
                    </a:lnTo>
                    <a:lnTo>
                      <a:pt x="330" y="347"/>
                    </a:lnTo>
                    <a:lnTo>
                      <a:pt x="330" y="346"/>
                    </a:lnTo>
                    <a:lnTo>
                      <a:pt x="331" y="346"/>
                    </a:lnTo>
                    <a:lnTo>
                      <a:pt x="332" y="346"/>
                    </a:lnTo>
                    <a:lnTo>
                      <a:pt x="331" y="345"/>
                    </a:lnTo>
                    <a:lnTo>
                      <a:pt x="332" y="345"/>
                    </a:lnTo>
                    <a:lnTo>
                      <a:pt x="332" y="346"/>
                    </a:lnTo>
                    <a:close/>
                    <a:moveTo>
                      <a:pt x="268" y="203"/>
                    </a:moveTo>
                    <a:lnTo>
                      <a:pt x="269" y="204"/>
                    </a:lnTo>
                    <a:lnTo>
                      <a:pt x="270" y="204"/>
                    </a:lnTo>
                    <a:lnTo>
                      <a:pt x="271" y="204"/>
                    </a:lnTo>
                    <a:lnTo>
                      <a:pt x="272" y="205"/>
                    </a:lnTo>
                    <a:lnTo>
                      <a:pt x="273" y="205"/>
                    </a:lnTo>
                    <a:lnTo>
                      <a:pt x="273" y="206"/>
                    </a:lnTo>
                    <a:lnTo>
                      <a:pt x="274" y="206"/>
                    </a:lnTo>
                    <a:lnTo>
                      <a:pt x="274" y="207"/>
                    </a:lnTo>
                    <a:lnTo>
                      <a:pt x="276" y="207"/>
                    </a:lnTo>
                    <a:lnTo>
                      <a:pt x="276" y="208"/>
                    </a:lnTo>
                    <a:lnTo>
                      <a:pt x="277" y="208"/>
                    </a:lnTo>
                    <a:lnTo>
                      <a:pt x="277" y="207"/>
                    </a:lnTo>
                    <a:lnTo>
                      <a:pt x="278" y="207"/>
                    </a:lnTo>
                    <a:lnTo>
                      <a:pt x="278" y="208"/>
                    </a:lnTo>
                    <a:lnTo>
                      <a:pt x="279" y="208"/>
                    </a:lnTo>
                    <a:lnTo>
                      <a:pt x="278" y="208"/>
                    </a:lnTo>
                    <a:lnTo>
                      <a:pt x="278" y="209"/>
                    </a:lnTo>
                    <a:lnTo>
                      <a:pt x="278" y="208"/>
                    </a:lnTo>
                    <a:lnTo>
                      <a:pt x="279" y="208"/>
                    </a:lnTo>
                    <a:lnTo>
                      <a:pt x="278" y="209"/>
                    </a:lnTo>
                    <a:lnTo>
                      <a:pt x="278" y="210"/>
                    </a:lnTo>
                    <a:lnTo>
                      <a:pt x="279" y="210"/>
                    </a:lnTo>
                    <a:lnTo>
                      <a:pt x="279" y="211"/>
                    </a:lnTo>
                    <a:lnTo>
                      <a:pt x="278" y="211"/>
                    </a:lnTo>
                    <a:lnTo>
                      <a:pt x="277" y="211"/>
                    </a:lnTo>
                    <a:lnTo>
                      <a:pt x="276" y="210"/>
                    </a:lnTo>
                    <a:lnTo>
                      <a:pt x="277" y="210"/>
                    </a:lnTo>
                    <a:lnTo>
                      <a:pt x="277" y="209"/>
                    </a:lnTo>
                    <a:lnTo>
                      <a:pt x="276" y="209"/>
                    </a:lnTo>
                    <a:lnTo>
                      <a:pt x="276" y="208"/>
                    </a:lnTo>
                    <a:lnTo>
                      <a:pt x="274" y="208"/>
                    </a:lnTo>
                    <a:lnTo>
                      <a:pt x="273" y="208"/>
                    </a:lnTo>
                    <a:lnTo>
                      <a:pt x="272" y="209"/>
                    </a:lnTo>
                    <a:lnTo>
                      <a:pt x="272" y="210"/>
                    </a:lnTo>
                    <a:lnTo>
                      <a:pt x="273" y="210"/>
                    </a:lnTo>
                    <a:lnTo>
                      <a:pt x="273" y="211"/>
                    </a:lnTo>
                    <a:lnTo>
                      <a:pt x="274" y="211"/>
                    </a:lnTo>
                    <a:lnTo>
                      <a:pt x="274" y="212"/>
                    </a:lnTo>
                    <a:lnTo>
                      <a:pt x="273" y="212"/>
                    </a:lnTo>
                    <a:lnTo>
                      <a:pt x="273" y="211"/>
                    </a:lnTo>
                    <a:lnTo>
                      <a:pt x="273" y="210"/>
                    </a:lnTo>
                    <a:lnTo>
                      <a:pt x="272" y="210"/>
                    </a:lnTo>
                    <a:lnTo>
                      <a:pt x="271" y="210"/>
                    </a:lnTo>
                    <a:lnTo>
                      <a:pt x="271" y="209"/>
                    </a:lnTo>
                    <a:lnTo>
                      <a:pt x="270" y="209"/>
                    </a:lnTo>
                    <a:lnTo>
                      <a:pt x="271" y="208"/>
                    </a:lnTo>
                    <a:lnTo>
                      <a:pt x="271" y="209"/>
                    </a:lnTo>
                    <a:lnTo>
                      <a:pt x="271" y="208"/>
                    </a:lnTo>
                    <a:lnTo>
                      <a:pt x="272" y="208"/>
                    </a:lnTo>
                    <a:lnTo>
                      <a:pt x="273" y="208"/>
                    </a:lnTo>
                    <a:lnTo>
                      <a:pt x="272" y="208"/>
                    </a:lnTo>
                    <a:lnTo>
                      <a:pt x="271" y="208"/>
                    </a:lnTo>
                    <a:lnTo>
                      <a:pt x="272" y="207"/>
                    </a:lnTo>
                    <a:lnTo>
                      <a:pt x="272" y="206"/>
                    </a:lnTo>
                    <a:lnTo>
                      <a:pt x="271" y="206"/>
                    </a:lnTo>
                    <a:lnTo>
                      <a:pt x="270" y="206"/>
                    </a:lnTo>
                    <a:lnTo>
                      <a:pt x="271" y="206"/>
                    </a:lnTo>
                    <a:lnTo>
                      <a:pt x="272" y="206"/>
                    </a:lnTo>
                    <a:lnTo>
                      <a:pt x="272" y="207"/>
                    </a:lnTo>
                    <a:lnTo>
                      <a:pt x="271" y="207"/>
                    </a:lnTo>
                    <a:lnTo>
                      <a:pt x="270" y="207"/>
                    </a:lnTo>
                    <a:lnTo>
                      <a:pt x="270" y="208"/>
                    </a:lnTo>
                    <a:lnTo>
                      <a:pt x="270" y="207"/>
                    </a:lnTo>
                    <a:lnTo>
                      <a:pt x="269" y="207"/>
                    </a:lnTo>
                    <a:lnTo>
                      <a:pt x="268" y="207"/>
                    </a:lnTo>
                    <a:lnTo>
                      <a:pt x="267" y="207"/>
                    </a:lnTo>
                    <a:lnTo>
                      <a:pt x="268" y="206"/>
                    </a:lnTo>
                    <a:lnTo>
                      <a:pt x="267" y="206"/>
                    </a:lnTo>
                    <a:lnTo>
                      <a:pt x="267" y="205"/>
                    </a:lnTo>
                    <a:lnTo>
                      <a:pt x="268" y="205"/>
                    </a:lnTo>
                    <a:lnTo>
                      <a:pt x="269" y="205"/>
                    </a:lnTo>
                    <a:lnTo>
                      <a:pt x="268" y="204"/>
                    </a:lnTo>
                    <a:lnTo>
                      <a:pt x="267" y="204"/>
                    </a:lnTo>
                    <a:lnTo>
                      <a:pt x="268" y="204"/>
                    </a:lnTo>
                    <a:lnTo>
                      <a:pt x="267" y="204"/>
                    </a:lnTo>
                    <a:lnTo>
                      <a:pt x="268" y="204"/>
                    </a:lnTo>
                    <a:lnTo>
                      <a:pt x="268" y="205"/>
                    </a:lnTo>
                    <a:lnTo>
                      <a:pt x="267" y="205"/>
                    </a:lnTo>
                    <a:lnTo>
                      <a:pt x="267" y="204"/>
                    </a:lnTo>
                    <a:lnTo>
                      <a:pt x="267" y="203"/>
                    </a:lnTo>
                    <a:lnTo>
                      <a:pt x="266" y="203"/>
                    </a:lnTo>
                    <a:lnTo>
                      <a:pt x="267" y="203"/>
                    </a:lnTo>
                    <a:lnTo>
                      <a:pt x="268" y="203"/>
                    </a:lnTo>
                    <a:close/>
                    <a:moveTo>
                      <a:pt x="242" y="393"/>
                    </a:moveTo>
                    <a:lnTo>
                      <a:pt x="243" y="393"/>
                    </a:lnTo>
                    <a:lnTo>
                      <a:pt x="243" y="395"/>
                    </a:lnTo>
                    <a:lnTo>
                      <a:pt x="244" y="395"/>
                    </a:lnTo>
                    <a:lnTo>
                      <a:pt x="245" y="396"/>
                    </a:lnTo>
                    <a:lnTo>
                      <a:pt x="244" y="396"/>
                    </a:lnTo>
                    <a:lnTo>
                      <a:pt x="243" y="397"/>
                    </a:lnTo>
                    <a:lnTo>
                      <a:pt x="242" y="397"/>
                    </a:lnTo>
                    <a:lnTo>
                      <a:pt x="242" y="396"/>
                    </a:lnTo>
                    <a:lnTo>
                      <a:pt x="242" y="397"/>
                    </a:lnTo>
                    <a:lnTo>
                      <a:pt x="241" y="397"/>
                    </a:lnTo>
                    <a:lnTo>
                      <a:pt x="241" y="396"/>
                    </a:lnTo>
                    <a:lnTo>
                      <a:pt x="241" y="397"/>
                    </a:lnTo>
                    <a:lnTo>
                      <a:pt x="240" y="396"/>
                    </a:lnTo>
                    <a:lnTo>
                      <a:pt x="240" y="397"/>
                    </a:lnTo>
                    <a:lnTo>
                      <a:pt x="239" y="397"/>
                    </a:lnTo>
                    <a:lnTo>
                      <a:pt x="239" y="398"/>
                    </a:lnTo>
                    <a:lnTo>
                      <a:pt x="239" y="397"/>
                    </a:lnTo>
                    <a:lnTo>
                      <a:pt x="238" y="398"/>
                    </a:lnTo>
                    <a:lnTo>
                      <a:pt x="240" y="398"/>
                    </a:lnTo>
                    <a:lnTo>
                      <a:pt x="241" y="398"/>
                    </a:lnTo>
                    <a:lnTo>
                      <a:pt x="234" y="398"/>
                    </a:lnTo>
                    <a:lnTo>
                      <a:pt x="235" y="398"/>
                    </a:lnTo>
                    <a:lnTo>
                      <a:pt x="235" y="397"/>
                    </a:lnTo>
                    <a:lnTo>
                      <a:pt x="235" y="396"/>
                    </a:lnTo>
                    <a:lnTo>
                      <a:pt x="234" y="396"/>
                    </a:lnTo>
                    <a:lnTo>
                      <a:pt x="233" y="397"/>
                    </a:lnTo>
                    <a:lnTo>
                      <a:pt x="233" y="396"/>
                    </a:lnTo>
                    <a:lnTo>
                      <a:pt x="232" y="396"/>
                    </a:lnTo>
                    <a:lnTo>
                      <a:pt x="231" y="397"/>
                    </a:lnTo>
                    <a:lnTo>
                      <a:pt x="230" y="397"/>
                    </a:lnTo>
                    <a:lnTo>
                      <a:pt x="232" y="396"/>
                    </a:lnTo>
                    <a:lnTo>
                      <a:pt x="232" y="395"/>
                    </a:lnTo>
                    <a:lnTo>
                      <a:pt x="233" y="393"/>
                    </a:lnTo>
                    <a:lnTo>
                      <a:pt x="234" y="393"/>
                    </a:lnTo>
                    <a:lnTo>
                      <a:pt x="234" y="392"/>
                    </a:lnTo>
                    <a:lnTo>
                      <a:pt x="235" y="392"/>
                    </a:lnTo>
                    <a:lnTo>
                      <a:pt x="236" y="392"/>
                    </a:lnTo>
                    <a:lnTo>
                      <a:pt x="236" y="393"/>
                    </a:lnTo>
                    <a:lnTo>
                      <a:pt x="236" y="392"/>
                    </a:lnTo>
                    <a:lnTo>
                      <a:pt x="238" y="392"/>
                    </a:lnTo>
                    <a:lnTo>
                      <a:pt x="238" y="393"/>
                    </a:lnTo>
                    <a:lnTo>
                      <a:pt x="238" y="395"/>
                    </a:lnTo>
                    <a:lnTo>
                      <a:pt x="238" y="396"/>
                    </a:lnTo>
                    <a:lnTo>
                      <a:pt x="239" y="397"/>
                    </a:lnTo>
                    <a:lnTo>
                      <a:pt x="239" y="396"/>
                    </a:lnTo>
                    <a:lnTo>
                      <a:pt x="240" y="395"/>
                    </a:lnTo>
                    <a:lnTo>
                      <a:pt x="241" y="395"/>
                    </a:lnTo>
                    <a:lnTo>
                      <a:pt x="241" y="393"/>
                    </a:lnTo>
                    <a:lnTo>
                      <a:pt x="241" y="392"/>
                    </a:lnTo>
                    <a:lnTo>
                      <a:pt x="242" y="392"/>
                    </a:lnTo>
                    <a:lnTo>
                      <a:pt x="243" y="392"/>
                    </a:lnTo>
                    <a:lnTo>
                      <a:pt x="242" y="392"/>
                    </a:lnTo>
                    <a:lnTo>
                      <a:pt x="242" y="393"/>
                    </a:lnTo>
                    <a:close/>
                    <a:moveTo>
                      <a:pt x="197" y="414"/>
                    </a:moveTo>
                    <a:lnTo>
                      <a:pt x="199" y="414"/>
                    </a:lnTo>
                    <a:lnTo>
                      <a:pt x="202" y="414"/>
                    </a:lnTo>
                    <a:lnTo>
                      <a:pt x="203" y="414"/>
                    </a:lnTo>
                    <a:lnTo>
                      <a:pt x="202" y="414"/>
                    </a:lnTo>
                    <a:lnTo>
                      <a:pt x="203" y="414"/>
                    </a:lnTo>
                    <a:lnTo>
                      <a:pt x="204" y="414"/>
                    </a:lnTo>
                    <a:lnTo>
                      <a:pt x="204" y="415"/>
                    </a:lnTo>
                    <a:lnTo>
                      <a:pt x="205" y="415"/>
                    </a:lnTo>
                    <a:lnTo>
                      <a:pt x="204" y="416"/>
                    </a:lnTo>
                    <a:lnTo>
                      <a:pt x="204" y="417"/>
                    </a:lnTo>
                    <a:lnTo>
                      <a:pt x="204" y="418"/>
                    </a:lnTo>
                    <a:lnTo>
                      <a:pt x="203" y="418"/>
                    </a:lnTo>
                    <a:lnTo>
                      <a:pt x="202" y="418"/>
                    </a:lnTo>
                    <a:lnTo>
                      <a:pt x="202" y="417"/>
                    </a:lnTo>
                    <a:lnTo>
                      <a:pt x="201" y="417"/>
                    </a:lnTo>
                    <a:lnTo>
                      <a:pt x="202" y="418"/>
                    </a:lnTo>
                    <a:lnTo>
                      <a:pt x="201" y="418"/>
                    </a:lnTo>
                    <a:lnTo>
                      <a:pt x="200" y="418"/>
                    </a:lnTo>
                    <a:lnTo>
                      <a:pt x="199" y="418"/>
                    </a:lnTo>
                    <a:lnTo>
                      <a:pt x="197" y="418"/>
                    </a:lnTo>
                    <a:lnTo>
                      <a:pt x="196" y="417"/>
                    </a:lnTo>
                    <a:lnTo>
                      <a:pt x="195" y="416"/>
                    </a:lnTo>
                    <a:lnTo>
                      <a:pt x="196" y="415"/>
                    </a:lnTo>
                    <a:lnTo>
                      <a:pt x="197" y="415"/>
                    </a:lnTo>
                    <a:lnTo>
                      <a:pt x="199" y="415"/>
                    </a:lnTo>
                    <a:lnTo>
                      <a:pt x="199" y="414"/>
                    </a:lnTo>
                    <a:lnTo>
                      <a:pt x="197" y="414"/>
                    </a:lnTo>
                    <a:lnTo>
                      <a:pt x="196" y="414"/>
                    </a:lnTo>
                    <a:lnTo>
                      <a:pt x="197" y="414"/>
                    </a:lnTo>
                    <a:close/>
                    <a:moveTo>
                      <a:pt x="621" y="505"/>
                    </a:moveTo>
                    <a:lnTo>
                      <a:pt x="623" y="505"/>
                    </a:lnTo>
                    <a:lnTo>
                      <a:pt x="625" y="505"/>
                    </a:lnTo>
                    <a:lnTo>
                      <a:pt x="626" y="505"/>
                    </a:lnTo>
                    <a:lnTo>
                      <a:pt x="625" y="505"/>
                    </a:lnTo>
                    <a:lnTo>
                      <a:pt x="625" y="506"/>
                    </a:lnTo>
                    <a:lnTo>
                      <a:pt x="623" y="506"/>
                    </a:lnTo>
                    <a:lnTo>
                      <a:pt x="622" y="506"/>
                    </a:lnTo>
                    <a:lnTo>
                      <a:pt x="621" y="506"/>
                    </a:lnTo>
                    <a:lnTo>
                      <a:pt x="620" y="506"/>
                    </a:lnTo>
                    <a:lnTo>
                      <a:pt x="620" y="507"/>
                    </a:lnTo>
                    <a:lnTo>
                      <a:pt x="621" y="507"/>
                    </a:lnTo>
                    <a:lnTo>
                      <a:pt x="621" y="508"/>
                    </a:lnTo>
                    <a:lnTo>
                      <a:pt x="621" y="510"/>
                    </a:lnTo>
                    <a:lnTo>
                      <a:pt x="621" y="512"/>
                    </a:lnTo>
                    <a:lnTo>
                      <a:pt x="623" y="514"/>
                    </a:lnTo>
                    <a:lnTo>
                      <a:pt x="623" y="515"/>
                    </a:lnTo>
                    <a:lnTo>
                      <a:pt x="622" y="514"/>
                    </a:lnTo>
                    <a:lnTo>
                      <a:pt x="622" y="513"/>
                    </a:lnTo>
                    <a:lnTo>
                      <a:pt x="621" y="513"/>
                    </a:lnTo>
                    <a:lnTo>
                      <a:pt x="621" y="512"/>
                    </a:lnTo>
                    <a:lnTo>
                      <a:pt x="621" y="511"/>
                    </a:lnTo>
                    <a:lnTo>
                      <a:pt x="620" y="510"/>
                    </a:lnTo>
                    <a:lnTo>
                      <a:pt x="620" y="511"/>
                    </a:lnTo>
                    <a:lnTo>
                      <a:pt x="620" y="512"/>
                    </a:lnTo>
                    <a:lnTo>
                      <a:pt x="619" y="513"/>
                    </a:lnTo>
                    <a:lnTo>
                      <a:pt x="619" y="512"/>
                    </a:lnTo>
                    <a:lnTo>
                      <a:pt x="620" y="512"/>
                    </a:lnTo>
                    <a:lnTo>
                      <a:pt x="620" y="511"/>
                    </a:lnTo>
                    <a:lnTo>
                      <a:pt x="619" y="511"/>
                    </a:lnTo>
                    <a:lnTo>
                      <a:pt x="619" y="510"/>
                    </a:lnTo>
                    <a:lnTo>
                      <a:pt x="619" y="511"/>
                    </a:lnTo>
                    <a:lnTo>
                      <a:pt x="619" y="512"/>
                    </a:lnTo>
                    <a:lnTo>
                      <a:pt x="618" y="512"/>
                    </a:lnTo>
                    <a:lnTo>
                      <a:pt x="618" y="511"/>
                    </a:lnTo>
                    <a:lnTo>
                      <a:pt x="617" y="510"/>
                    </a:lnTo>
                    <a:lnTo>
                      <a:pt x="617" y="511"/>
                    </a:lnTo>
                    <a:lnTo>
                      <a:pt x="616" y="510"/>
                    </a:lnTo>
                    <a:lnTo>
                      <a:pt x="616" y="508"/>
                    </a:lnTo>
                    <a:lnTo>
                      <a:pt x="616" y="507"/>
                    </a:lnTo>
                    <a:lnTo>
                      <a:pt x="615" y="507"/>
                    </a:lnTo>
                    <a:lnTo>
                      <a:pt x="616" y="506"/>
                    </a:lnTo>
                    <a:lnTo>
                      <a:pt x="618" y="505"/>
                    </a:lnTo>
                    <a:lnTo>
                      <a:pt x="620" y="505"/>
                    </a:lnTo>
                    <a:lnTo>
                      <a:pt x="621" y="505"/>
                    </a:lnTo>
                    <a:close/>
                    <a:moveTo>
                      <a:pt x="178" y="409"/>
                    </a:moveTo>
                    <a:lnTo>
                      <a:pt x="178" y="410"/>
                    </a:lnTo>
                    <a:lnTo>
                      <a:pt x="177" y="410"/>
                    </a:lnTo>
                    <a:lnTo>
                      <a:pt x="178" y="410"/>
                    </a:lnTo>
                    <a:lnTo>
                      <a:pt x="177" y="410"/>
                    </a:lnTo>
                    <a:lnTo>
                      <a:pt x="178" y="410"/>
                    </a:lnTo>
                    <a:lnTo>
                      <a:pt x="177" y="410"/>
                    </a:lnTo>
                    <a:lnTo>
                      <a:pt x="177" y="411"/>
                    </a:lnTo>
                    <a:lnTo>
                      <a:pt x="176" y="411"/>
                    </a:lnTo>
                    <a:lnTo>
                      <a:pt x="176" y="412"/>
                    </a:lnTo>
                    <a:lnTo>
                      <a:pt x="175" y="412"/>
                    </a:lnTo>
                    <a:lnTo>
                      <a:pt x="174" y="412"/>
                    </a:lnTo>
                    <a:lnTo>
                      <a:pt x="174" y="413"/>
                    </a:lnTo>
                    <a:lnTo>
                      <a:pt x="173" y="413"/>
                    </a:lnTo>
                    <a:lnTo>
                      <a:pt x="171" y="413"/>
                    </a:lnTo>
                    <a:lnTo>
                      <a:pt x="170" y="413"/>
                    </a:lnTo>
                    <a:lnTo>
                      <a:pt x="170" y="414"/>
                    </a:lnTo>
                    <a:lnTo>
                      <a:pt x="169" y="414"/>
                    </a:lnTo>
                    <a:lnTo>
                      <a:pt x="168" y="415"/>
                    </a:lnTo>
                    <a:lnTo>
                      <a:pt x="167" y="415"/>
                    </a:lnTo>
                    <a:lnTo>
                      <a:pt x="168" y="415"/>
                    </a:lnTo>
                    <a:lnTo>
                      <a:pt x="169" y="415"/>
                    </a:lnTo>
                    <a:lnTo>
                      <a:pt x="169" y="414"/>
                    </a:lnTo>
                    <a:lnTo>
                      <a:pt x="170" y="414"/>
                    </a:lnTo>
                    <a:lnTo>
                      <a:pt x="171" y="414"/>
                    </a:lnTo>
                    <a:lnTo>
                      <a:pt x="171" y="415"/>
                    </a:lnTo>
                    <a:lnTo>
                      <a:pt x="171" y="416"/>
                    </a:lnTo>
                    <a:lnTo>
                      <a:pt x="171" y="415"/>
                    </a:lnTo>
                    <a:lnTo>
                      <a:pt x="173" y="415"/>
                    </a:lnTo>
                    <a:lnTo>
                      <a:pt x="173" y="416"/>
                    </a:lnTo>
                    <a:lnTo>
                      <a:pt x="174" y="416"/>
                    </a:lnTo>
                    <a:lnTo>
                      <a:pt x="175" y="415"/>
                    </a:lnTo>
                    <a:lnTo>
                      <a:pt x="176" y="415"/>
                    </a:lnTo>
                    <a:lnTo>
                      <a:pt x="177" y="415"/>
                    </a:lnTo>
                    <a:lnTo>
                      <a:pt x="178" y="415"/>
                    </a:lnTo>
                    <a:lnTo>
                      <a:pt x="178" y="414"/>
                    </a:lnTo>
                    <a:lnTo>
                      <a:pt x="178" y="415"/>
                    </a:lnTo>
                    <a:lnTo>
                      <a:pt x="177" y="415"/>
                    </a:lnTo>
                    <a:lnTo>
                      <a:pt x="177" y="416"/>
                    </a:lnTo>
                    <a:lnTo>
                      <a:pt x="176" y="416"/>
                    </a:lnTo>
                    <a:lnTo>
                      <a:pt x="173" y="416"/>
                    </a:lnTo>
                    <a:lnTo>
                      <a:pt x="171" y="416"/>
                    </a:lnTo>
                    <a:lnTo>
                      <a:pt x="170" y="416"/>
                    </a:lnTo>
                    <a:lnTo>
                      <a:pt x="168" y="415"/>
                    </a:lnTo>
                    <a:lnTo>
                      <a:pt x="167" y="415"/>
                    </a:lnTo>
                    <a:lnTo>
                      <a:pt x="166" y="415"/>
                    </a:lnTo>
                    <a:lnTo>
                      <a:pt x="165" y="415"/>
                    </a:lnTo>
                    <a:lnTo>
                      <a:pt x="160" y="415"/>
                    </a:lnTo>
                    <a:lnTo>
                      <a:pt x="161" y="415"/>
                    </a:lnTo>
                    <a:lnTo>
                      <a:pt x="162" y="414"/>
                    </a:lnTo>
                    <a:lnTo>
                      <a:pt x="163" y="414"/>
                    </a:lnTo>
                    <a:lnTo>
                      <a:pt x="166" y="413"/>
                    </a:lnTo>
                    <a:lnTo>
                      <a:pt x="165" y="413"/>
                    </a:lnTo>
                    <a:lnTo>
                      <a:pt x="165" y="414"/>
                    </a:lnTo>
                    <a:lnTo>
                      <a:pt x="164" y="414"/>
                    </a:lnTo>
                    <a:lnTo>
                      <a:pt x="165" y="414"/>
                    </a:lnTo>
                    <a:lnTo>
                      <a:pt x="166" y="414"/>
                    </a:lnTo>
                    <a:lnTo>
                      <a:pt x="166" y="413"/>
                    </a:lnTo>
                    <a:lnTo>
                      <a:pt x="166" y="414"/>
                    </a:lnTo>
                    <a:lnTo>
                      <a:pt x="167" y="414"/>
                    </a:lnTo>
                    <a:lnTo>
                      <a:pt x="167" y="413"/>
                    </a:lnTo>
                    <a:lnTo>
                      <a:pt x="168" y="413"/>
                    </a:lnTo>
                    <a:lnTo>
                      <a:pt x="168" y="414"/>
                    </a:lnTo>
                    <a:lnTo>
                      <a:pt x="168" y="413"/>
                    </a:lnTo>
                    <a:lnTo>
                      <a:pt x="169" y="413"/>
                    </a:lnTo>
                    <a:lnTo>
                      <a:pt x="170" y="413"/>
                    </a:lnTo>
                    <a:lnTo>
                      <a:pt x="170" y="412"/>
                    </a:lnTo>
                    <a:lnTo>
                      <a:pt x="171" y="412"/>
                    </a:lnTo>
                    <a:lnTo>
                      <a:pt x="173" y="412"/>
                    </a:lnTo>
                    <a:lnTo>
                      <a:pt x="174" y="412"/>
                    </a:lnTo>
                    <a:lnTo>
                      <a:pt x="176" y="412"/>
                    </a:lnTo>
                    <a:lnTo>
                      <a:pt x="176" y="411"/>
                    </a:lnTo>
                    <a:lnTo>
                      <a:pt x="174" y="412"/>
                    </a:lnTo>
                    <a:lnTo>
                      <a:pt x="173" y="412"/>
                    </a:lnTo>
                    <a:lnTo>
                      <a:pt x="173" y="411"/>
                    </a:lnTo>
                    <a:lnTo>
                      <a:pt x="174" y="411"/>
                    </a:lnTo>
                    <a:lnTo>
                      <a:pt x="174" y="410"/>
                    </a:lnTo>
                    <a:lnTo>
                      <a:pt x="173" y="410"/>
                    </a:lnTo>
                    <a:lnTo>
                      <a:pt x="174" y="410"/>
                    </a:lnTo>
                    <a:lnTo>
                      <a:pt x="176" y="410"/>
                    </a:lnTo>
                    <a:lnTo>
                      <a:pt x="173" y="410"/>
                    </a:lnTo>
                    <a:lnTo>
                      <a:pt x="176" y="410"/>
                    </a:lnTo>
                    <a:lnTo>
                      <a:pt x="177" y="410"/>
                    </a:lnTo>
                    <a:lnTo>
                      <a:pt x="176" y="409"/>
                    </a:lnTo>
                    <a:lnTo>
                      <a:pt x="177" y="409"/>
                    </a:lnTo>
                    <a:lnTo>
                      <a:pt x="178" y="409"/>
                    </a:lnTo>
                    <a:lnTo>
                      <a:pt x="177" y="409"/>
                    </a:lnTo>
                    <a:lnTo>
                      <a:pt x="178" y="409"/>
                    </a:lnTo>
                    <a:close/>
                    <a:moveTo>
                      <a:pt x="541" y="579"/>
                    </a:moveTo>
                    <a:lnTo>
                      <a:pt x="542" y="580"/>
                    </a:lnTo>
                    <a:lnTo>
                      <a:pt x="541" y="580"/>
                    </a:lnTo>
                    <a:lnTo>
                      <a:pt x="541" y="579"/>
                    </a:lnTo>
                    <a:lnTo>
                      <a:pt x="540" y="579"/>
                    </a:lnTo>
                    <a:lnTo>
                      <a:pt x="539" y="579"/>
                    </a:lnTo>
                    <a:lnTo>
                      <a:pt x="539" y="580"/>
                    </a:lnTo>
                    <a:lnTo>
                      <a:pt x="538" y="580"/>
                    </a:lnTo>
                    <a:lnTo>
                      <a:pt x="538" y="581"/>
                    </a:lnTo>
                    <a:lnTo>
                      <a:pt x="539" y="582"/>
                    </a:lnTo>
                    <a:lnTo>
                      <a:pt x="540" y="582"/>
                    </a:lnTo>
                    <a:lnTo>
                      <a:pt x="541" y="581"/>
                    </a:lnTo>
                    <a:lnTo>
                      <a:pt x="541" y="582"/>
                    </a:lnTo>
                    <a:lnTo>
                      <a:pt x="540" y="583"/>
                    </a:lnTo>
                    <a:lnTo>
                      <a:pt x="539" y="584"/>
                    </a:lnTo>
                    <a:lnTo>
                      <a:pt x="538" y="584"/>
                    </a:lnTo>
                    <a:lnTo>
                      <a:pt x="538" y="585"/>
                    </a:lnTo>
                    <a:lnTo>
                      <a:pt x="538" y="586"/>
                    </a:lnTo>
                    <a:lnTo>
                      <a:pt x="539" y="586"/>
                    </a:lnTo>
                    <a:lnTo>
                      <a:pt x="541" y="588"/>
                    </a:lnTo>
                    <a:lnTo>
                      <a:pt x="541" y="589"/>
                    </a:lnTo>
                    <a:lnTo>
                      <a:pt x="542" y="588"/>
                    </a:lnTo>
                    <a:lnTo>
                      <a:pt x="542" y="589"/>
                    </a:lnTo>
                    <a:lnTo>
                      <a:pt x="542" y="590"/>
                    </a:lnTo>
                    <a:lnTo>
                      <a:pt x="542" y="591"/>
                    </a:lnTo>
                    <a:lnTo>
                      <a:pt x="542" y="590"/>
                    </a:lnTo>
                    <a:lnTo>
                      <a:pt x="541" y="590"/>
                    </a:lnTo>
                    <a:lnTo>
                      <a:pt x="540" y="589"/>
                    </a:lnTo>
                    <a:lnTo>
                      <a:pt x="539" y="588"/>
                    </a:lnTo>
                    <a:lnTo>
                      <a:pt x="538" y="588"/>
                    </a:lnTo>
                    <a:lnTo>
                      <a:pt x="538" y="586"/>
                    </a:lnTo>
                    <a:lnTo>
                      <a:pt x="537" y="586"/>
                    </a:lnTo>
                    <a:lnTo>
                      <a:pt x="537" y="584"/>
                    </a:lnTo>
                    <a:lnTo>
                      <a:pt x="536" y="583"/>
                    </a:lnTo>
                    <a:lnTo>
                      <a:pt x="536" y="582"/>
                    </a:lnTo>
                    <a:lnTo>
                      <a:pt x="535" y="582"/>
                    </a:lnTo>
                    <a:lnTo>
                      <a:pt x="535" y="581"/>
                    </a:lnTo>
                    <a:lnTo>
                      <a:pt x="533" y="581"/>
                    </a:lnTo>
                    <a:lnTo>
                      <a:pt x="536" y="581"/>
                    </a:lnTo>
                    <a:lnTo>
                      <a:pt x="537" y="580"/>
                    </a:lnTo>
                    <a:lnTo>
                      <a:pt x="537" y="579"/>
                    </a:lnTo>
                    <a:lnTo>
                      <a:pt x="538" y="578"/>
                    </a:lnTo>
                    <a:lnTo>
                      <a:pt x="539" y="578"/>
                    </a:lnTo>
                    <a:lnTo>
                      <a:pt x="540" y="578"/>
                    </a:lnTo>
                    <a:lnTo>
                      <a:pt x="541" y="579"/>
                    </a:lnTo>
                    <a:close/>
                    <a:moveTo>
                      <a:pt x="424" y="364"/>
                    </a:moveTo>
                    <a:lnTo>
                      <a:pt x="425" y="364"/>
                    </a:lnTo>
                    <a:lnTo>
                      <a:pt x="425" y="365"/>
                    </a:lnTo>
                    <a:lnTo>
                      <a:pt x="425" y="366"/>
                    </a:lnTo>
                    <a:lnTo>
                      <a:pt x="425" y="367"/>
                    </a:lnTo>
                    <a:lnTo>
                      <a:pt x="425" y="369"/>
                    </a:lnTo>
                    <a:lnTo>
                      <a:pt x="424" y="369"/>
                    </a:lnTo>
                    <a:lnTo>
                      <a:pt x="424" y="370"/>
                    </a:lnTo>
                    <a:lnTo>
                      <a:pt x="423" y="370"/>
                    </a:lnTo>
                    <a:lnTo>
                      <a:pt x="423" y="369"/>
                    </a:lnTo>
                    <a:lnTo>
                      <a:pt x="423" y="370"/>
                    </a:lnTo>
                    <a:lnTo>
                      <a:pt x="424" y="370"/>
                    </a:lnTo>
                    <a:lnTo>
                      <a:pt x="424" y="371"/>
                    </a:lnTo>
                    <a:lnTo>
                      <a:pt x="423" y="371"/>
                    </a:lnTo>
                    <a:lnTo>
                      <a:pt x="423" y="372"/>
                    </a:lnTo>
                    <a:lnTo>
                      <a:pt x="423" y="371"/>
                    </a:lnTo>
                    <a:lnTo>
                      <a:pt x="422" y="371"/>
                    </a:lnTo>
                    <a:lnTo>
                      <a:pt x="422" y="372"/>
                    </a:lnTo>
                    <a:lnTo>
                      <a:pt x="422" y="371"/>
                    </a:lnTo>
                    <a:lnTo>
                      <a:pt x="422" y="370"/>
                    </a:lnTo>
                    <a:lnTo>
                      <a:pt x="422" y="371"/>
                    </a:lnTo>
                    <a:lnTo>
                      <a:pt x="423" y="371"/>
                    </a:lnTo>
                    <a:lnTo>
                      <a:pt x="423" y="370"/>
                    </a:lnTo>
                    <a:lnTo>
                      <a:pt x="422" y="370"/>
                    </a:lnTo>
                    <a:lnTo>
                      <a:pt x="422" y="369"/>
                    </a:lnTo>
                    <a:lnTo>
                      <a:pt x="421" y="369"/>
                    </a:lnTo>
                    <a:lnTo>
                      <a:pt x="422" y="369"/>
                    </a:lnTo>
                    <a:lnTo>
                      <a:pt x="422" y="370"/>
                    </a:lnTo>
                    <a:lnTo>
                      <a:pt x="423" y="370"/>
                    </a:lnTo>
                    <a:lnTo>
                      <a:pt x="423" y="371"/>
                    </a:lnTo>
                    <a:lnTo>
                      <a:pt x="422" y="370"/>
                    </a:lnTo>
                    <a:lnTo>
                      <a:pt x="422" y="371"/>
                    </a:lnTo>
                    <a:lnTo>
                      <a:pt x="421" y="371"/>
                    </a:lnTo>
                    <a:lnTo>
                      <a:pt x="421" y="370"/>
                    </a:lnTo>
                    <a:lnTo>
                      <a:pt x="422" y="370"/>
                    </a:lnTo>
                    <a:lnTo>
                      <a:pt x="421" y="370"/>
                    </a:lnTo>
                    <a:lnTo>
                      <a:pt x="421" y="369"/>
                    </a:lnTo>
                    <a:lnTo>
                      <a:pt x="421" y="370"/>
                    </a:lnTo>
                    <a:lnTo>
                      <a:pt x="421" y="369"/>
                    </a:lnTo>
                    <a:lnTo>
                      <a:pt x="420" y="369"/>
                    </a:lnTo>
                    <a:lnTo>
                      <a:pt x="420" y="367"/>
                    </a:lnTo>
                    <a:lnTo>
                      <a:pt x="419" y="367"/>
                    </a:lnTo>
                    <a:lnTo>
                      <a:pt x="419" y="369"/>
                    </a:lnTo>
                    <a:lnTo>
                      <a:pt x="420" y="369"/>
                    </a:lnTo>
                    <a:lnTo>
                      <a:pt x="419" y="369"/>
                    </a:lnTo>
                    <a:lnTo>
                      <a:pt x="418" y="370"/>
                    </a:lnTo>
                    <a:lnTo>
                      <a:pt x="419" y="370"/>
                    </a:lnTo>
                    <a:lnTo>
                      <a:pt x="419" y="371"/>
                    </a:lnTo>
                    <a:lnTo>
                      <a:pt x="419" y="370"/>
                    </a:lnTo>
                    <a:lnTo>
                      <a:pt x="418" y="370"/>
                    </a:lnTo>
                    <a:lnTo>
                      <a:pt x="418" y="371"/>
                    </a:lnTo>
                    <a:lnTo>
                      <a:pt x="419" y="371"/>
                    </a:lnTo>
                    <a:lnTo>
                      <a:pt x="418" y="371"/>
                    </a:lnTo>
                    <a:lnTo>
                      <a:pt x="419" y="371"/>
                    </a:lnTo>
                    <a:lnTo>
                      <a:pt x="418" y="371"/>
                    </a:lnTo>
                    <a:lnTo>
                      <a:pt x="419" y="372"/>
                    </a:lnTo>
                    <a:lnTo>
                      <a:pt x="418" y="371"/>
                    </a:lnTo>
                    <a:lnTo>
                      <a:pt x="419" y="371"/>
                    </a:lnTo>
                    <a:lnTo>
                      <a:pt x="420" y="372"/>
                    </a:lnTo>
                    <a:lnTo>
                      <a:pt x="419" y="372"/>
                    </a:lnTo>
                    <a:lnTo>
                      <a:pt x="419" y="373"/>
                    </a:lnTo>
                    <a:lnTo>
                      <a:pt x="418" y="373"/>
                    </a:lnTo>
                    <a:lnTo>
                      <a:pt x="419" y="372"/>
                    </a:lnTo>
                    <a:lnTo>
                      <a:pt x="418" y="372"/>
                    </a:lnTo>
                    <a:lnTo>
                      <a:pt x="416" y="372"/>
                    </a:lnTo>
                    <a:lnTo>
                      <a:pt x="418" y="372"/>
                    </a:lnTo>
                    <a:lnTo>
                      <a:pt x="416" y="372"/>
                    </a:lnTo>
                    <a:lnTo>
                      <a:pt x="416" y="373"/>
                    </a:lnTo>
                    <a:lnTo>
                      <a:pt x="418" y="373"/>
                    </a:lnTo>
                    <a:lnTo>
                      <a:pt x="416" y="373"/>
                    </a:lnTo>
                    <a:lnTo>
                      <a:pt x="415" y="373"/>
                    </a:lnTo>
                    <a:lnTo>
                      <a:pt x="415" y="372"/>
                    </a:lnTo>
                    <a:lnTo>
                      <a:pt x="416" y="371"/>
                    </a:lnTo>
                    <a:lnTo>
                      <a:pt x="416" y="370"/>
                    </a:lnTo>
                    <a:lnTo>
                      <a:pt x="416" y="369"/>
                    </a:lnTo>
                    <a:lnTo>
                      <a:pt x="418" y="369"/>
                    </a:lnTo>
                    <a:lnTo>
                      <a:pt x="418" y="367"/>
                    </a:lnTo>
                    <a:lnTo>
                      <a:pt x="419" y="367"/>
                    </a:lnTo>
                    <a:lnTo>
                      <a:pt x="419" y="366"/>
                    </a:lnTo>
                    <a:lnTo>
                      <a:pt x="420" y="366"/>
                    </a:lnTo>
                    <a:lnTo>
                      <a:pt x="421" y="366"/>
                    </a:lnTo>
                    <a:lnTo>
                      <a:pt x="421" y="367"/>
                    </a:lnTo>
                    <a:lnTo>
                      <a:pt x="422" y="367"/>
                    </a:lnTo>
                    <a:lnTo>
                      <a:pt x="422" y="366"/>
                    </a:lnTo>
                    <a:lnTo>
                      <a:pt x="422" y="367"/>
                    </a:lnTo>
                    <a:lnTo>
                      <a:pt x="422" y="366"/>
                    </a:lnTo>
                    <a:lnTo>
                      <a:pt x="423" y="366"/>
                    </a:lnTo>
                    <a:lnTo>
                      <a:pt x="424" y="366"/>
                    </a:lnTo>
                    <a:lnTo>
                      <a:pt x="425" y="366"/>
                    </a:lnTo>
                    <a:lnTo>
                      <a:pt x="424" y="365"/>
                    </a:lnTo>
                    <a:lnTo>
                      <a:pt x="424" y="366"/>
                    </a:lnTo>
                    <a:lnTo>
                      <a:pt x="423" y="366"/>
                    </a:lnTo>
                    <a:lnTo>
                      <a:pt x="423" y="365"/>
                    </a:lnTo>
                    <a:lnTo>
                      <a:pt x="422" y="365"/>
                    </a:lnTo>
                    <a:lnTo>
                      <a:pt x="423" y="365"/>
                    </a:lnTo>
                    <a:lnTo>
                      <a:pt x="423" y="364"/>
                    </a:lnTo>
                    <a:lnTo>
                      <a:pt x="423" y="365"/>
                    </a:lnTo>
                    <a:lnTo>
                      <a:pt x="424" y="365"/>
                    </a:lnTo>
                    <a:lnTo>
                      <a:pt x="423" y="365"/>
                    </a:lnTo>
                    <a:lnTo>
                      <a:pt x="423" y="364"/>
                    </a:lnTo>
                    <a:lnTo>
                      <a:pt x="424" y="364"/>
                    </a:lnTo>
                    <a:close/>
                    <a:moveTo>
                      <a:pt x="209" y="416"/>
                    </a:moveTo>
                    <a:lnTo>
                      <a:pt x="208" y="417"/>
                    </a:lnTo>
                    <a:lnTo>
                      <a:pt x="210" y="415"/>
                    </a:lnTo>
                    <a:lnTo>
                      <a:pt x="210" y="414"/>
                    </a:lnTo>
                    <a:lnTo>
                      <a:pt x="212" y="414"/>
                    </a:lnTo>
                    <a:lnTo>
                      <a:pt x="213" y="415"/>
                    </a:lnTo>
                    <a:lnTo>
                      <a:pt x="215" y="415"/>
                    </a:lnTo>
                    <a:lnTo>
                      <a:pt x="215" y="418"/>
                    </a:lnTo>
                    <a:lnTo>
                      <a:pt x="215" y="420"/>
                    </a:lnTo>
                    <a:lnTo>
                      <a:pt x="215" y="421"/>
                    </a:lnTo>
                    <a:lnTo>
                      <a:pt x="214" y="421"/>
                    </a:lnTo>
                    <a:lnTo>
                      <a:pt x="213" y="420"/>
                    </a:lnTo>
                    <a:lnTo>
                      <a:pt x="212" y="418"/>
                    </a:lnTo>
                    <a:lnTo>
                      <a:pt x="210" y="418"/>
                    </a:lnTo>
                    <a:lnTo>
                      <a:pt x="209" y="418"/>
                    </a:lnTo>
                    <a:lnTo>
                      <a:pt x="208" y="418"/>
                    </a:lnTo>
                    <a:lnTo>
                      <a:pt x="207" y="417"/>
                    </a:lnTo>
                    <a:lnTo>
                      <a:pt x="207" y="418"/>
                    </a:lnTo>
                    <a:lnTo>
                      <a:pt x="207" y="417"/>
                    </a:lnTo>
                    <a:lnTo>
                      <a:pt x="206" y="418"/>
                    </a:lnTo>
                    <a:lnTo>
                      <a:pt x="206" y="417"/>
                    </a:lnTo>
                    <a:lnTo>
                      <a:pt x="207" y="416"/>
                    </a:lnTo>
                    <a:lnTo>
                      <a:pt x="207" y="414"/>
                    </a:lnTo>
                    <a:lnTo>
                      <a:pt x="210" y="414"/>
                    </a:lnTo>
                    <a:lnTo>
                      <a:pt x="210" y="415"/>
                    </a:lnTo>
                    <a:lnTo>
                      <a:pt x="209" y="415"/>
                    </a:lnTo>
                    <a:lnTo>
                      <a:pt x="209" y="416"/>
                    </a:lnTo>
                    <a:close/>
                    <a:moveTo>
                      <a:pt x="150" y="408"/>
                    </a:moveTo>
                    <a:lnTo>
                      <a:pt x="151" y="408"/>
                    </a:lnTo>
                    <a:lnTo>
                      <a:pt x="152" y="408"/>
                    </a:lnTo>
                    <a:lnTo>
                      <a:pt x="153" y="408"/>
                    </a:lnTo>
                    <a:lnTo>
                      <a:pt x="153" y="409"/>
                    </a:lnTo>
                    <a:lnTo>
                      <a:pt x="152" y="409"/>
                    </a:lnTo>
                    <a:lnTo>
                      <a:pt x="151" y="410"/>
                    </a:lnTo>
                    <a:lnTo>
                      <a:pt x="150" y="410"/>
                    </a:lnTo>
                    <a:lnTo>
                      <a:pt x="150" y="411"/>
                    </a:lnTo>
                    <a:lnTo>
                      <a:pt x="149" y="411"/>
                    </a:lnTo>
                    <a:lnTo>
                      <a:pt x="148" y="411"/>
                    </a:lnTo>
                    <a:lnTo>
                      <a:pt x="148" y="412"/>
                    </a:lnTo>
                    <a:lnTo>
                      <a:pt x="147" y="412"/>
                    </a:lnTo>
                    <a:lnTo>
                      <a:pt x="145" y="412"/>
                    </a:lnTo>
                    <a:lnTo>
                      <a:pt x="144" y="413"/>
                    </a:lnTo>
                    <a:lnTo>
                      <a:pt x="143" y="413"/>
                    </a:lnTo>
                    <a:lnTo>
                      <a:pt x="142" y="413"/>
                    </a:lnTo>
                    <a:lnTo>
                      <a:pt x="142" y="412"/>
                    </a:lnTo>
                    <a:lnTo>
                      <a:pt x="141" y="411"/>
                    </a:lnTo>
                    <a:lnTo>
                      <a:pt x="142" y="411"/>
                    </a:lnTo>
                    <a:lnTo>
                      <a:pt x="142" y="410"/>
                    </a:lnTo>
                    <a:lnTo>
                      <a:pt x="143" y="410"/>
                    </a:lnTo>
                    <a:lnTo>
                      <a:pt x="144" y="410"/>
                    </a:lnTo>
                    <a:lnTo>
                      <a:pt x="144" y="409"/>
                    </a:lnTo>
                    <a:lnTo>
                      <a:pt x="145" y="409"/>
                    </a:lnTo>
                    <a:lnTo>
                      <a:pt x="145" y="408"/>
                    </a:lnTo>
                    <a:lnTo>
                      <a:pt x="147" y="408"/>
                    </a:lnTo>
                    <a:lnTo>
                      <a:pt x="148" y="409"/>
                    </a:lnTo>
                    <a:lnTo>
                      <a:pt x="149" y="409"/>
                    </a:lnTo>
                    <a:lnTo>
                      <a:pt x="149" y="408"/>
                    </a:lnTo>
                    <a:lnTo>
                      <a:pt x="148" y="408"/>
                    </a:lnTo>
                    <a:lnTo>
                      <a:pt x="149" y="408"/>
                    </a:lnTo>
                    <a:lnTo>
                      <a:pt x="149" y="406"/>
                    </a:lnTo>
                    <a:lnTo>
                      <a:pt x="150" y="406"/>
                    </a:lnTo>
                    <a:lnTo>
                      <a:pt x="150" y="408"/>
                    </a:lnTo>
                    <a:close/>
                    <a:moveTo>
                      <a:pt x="539" y="526"/>
                    </a:moveTo>
                    <a:lnTo>
                      <a:pt x="538" y="527"/>
                    </a:lnTo>
                    <a:lnTo>
                      <a:pt x="537" y="528"/>
                    </a:lnTo>
                    <a:lnTo>
                      <a:pt x="537" y="529"/>
                    </a:lnTo>
                    <a:lnTo>
                      <a:pt x="537" y="528"/>
                    </a:lnTo>
                    <a:lnTo>
                      <a:pt x="538" y="528"/>
                    </a:lnTo>
                    <a:lnTo>
                      <a:pt x="538" y="529"/>
                    </a:lnTo>
                    <a:lnTo>
                      <a:pt x="538" y="528"/>
                    </a:lnTo>
                    <a:lnTo>
                      <a:pt x="539" y="528"/>
                    </a:lnTo>
                    <a:lnTo>
                      <a:pt x="538" y="529"/>
                    </a:lnTo>
                    <a:lnTo>
                      <a:pt x="537" y="530"/>
                    </a:lnTo>
                    <a:lnTo>
                      <a:pt x="536" y="531"/>
                    </a:lnTo>
                    <a:lnTo>
                      <a:pt x="535" y="532"/>
                    </a:lnTo>
                    <a:lnTo>
                      <a:pt x="533" y="532"/>
                    </a:lnTo>
                    <a:lnTo>
                      <a:pt x="533" y="531"/>
                    </a:lnTo>
                    <a:lnTo>
                      <a:pt x="533" y="532"/>
                    </a:lnTo>
                    <a:lnTo>
                      <a:pt x="532" y="532"/>
                    </a:lnTo>
                    <a:lnTo>
                      <a:pt x="531" y="532"/>
                    </a:lnTo>
                    <a:lnTo>
                      <a:pt x="531" y="533"/>
                    </a:lnTo>
                    <a:lnTo>
                      <a:pt x="530" y="533"/>
                    </a:lnTo>
                    <a:lnTo>
                      <a:pt x="529" y="533"/>
                    </a:lnTo>
                    <a:lnTo>
                      <a:pt x="527" y="533"/>
                    </a:lnTo>
                    <a:lnTo>
                      <a:pt x="526" y="533"/>
                    </a:lnTo>
                    <a:lnTo>
                      <a:pt x="524" y="533"/>
                    </a:lnTo>
                    <a:lnTo>
                      <a:pt x="523" y="533"/>
                    </a:lnTo>
                    <a:lnTo>
                      <a:pt x="522" y="533"/>
                    </a:lnTo>
                    <a:lnTo>
                      <a:pt x="522" y="532"/>
                    </a:lnTo>
                    <a:lnTo>
                      <a:pt x="520" y="532"/>
                    </a:lnTo>
                    <a:lnTo>
                      <a:pt x="520" y="531"/>
                    </a:lnTo>
                    <a:lnTo>
                      <a:pt x="522" y="531"/>
                    </a:lnTo>
                    <a:lnTo>
                      <a:pt x="522" y="532"/>
                    </a:lnTo>
                    <a:lnTo>
                      <a:pt x="523" y="532"/>
                    </a:lnTo>
                    <a:lnTo>
                      <a:pt x="524" y="532"/>
                    </a:lnTo>
                    <a:lnTo>
                      <a:pt x="524" y="531"/>
                    </a:lnTo>
                    <a:lnTo>
                      <a:pt x="525" y="531"/>
                    </a:lnTo>
                    <a:lnTo>
                      <a:pt x="526" y="531"/>
                    </a:lnTo>
                    <a:lnTo>
                      <a:pt x="525" y="531"/>
                    </a:lnTo>
                    <a:lnTo>
                      <a:pt x="525" y="532"/>
                    </a:lnTo>
                    <a:lnTo>
                      <a:pt x="524" y="532"/>
                    </a:lnTo>
                    <a:lnTo>
                      <a:pt x="524" y="533"/>
                    </a:lnTo>
                    <a:lnTo>
                      <a:pt x="524" y="532"/>
                    </a:lnTo>
                    <a:lnTo>
                      <a:pt x="524" y="533"/>
                    </a:lnTo>
                    <a:lnTo>
                      <a:pt x="525" y="533"/>
                    </a:lnTo>
                    <a:lnTo>
                      <a:pt x="525" y="532"/>
                    </a:lnTo>
                    <a:lnTo>
                      <a:pt x="526" y="532"/>
                    </a:lnTo>
                    <a:lnTo>
                      <a:pt x="526" y="533"/>
                    </a:lnTo>
                    <a:lnTo>
                      <a:pt x="526" y="532"/>
                    </a:lnTo>
                    <a:lnTo>
                      <a:pt x="527" y="532"/>
                    </a:lnTo>
                    <a:lnTo>
                      <a:pt x="528" y="532"/>
                    </a:lnTo>
                    <a:lnTo>
                      <a:pt x="529" y="532"/>
                    </a:lnTo>
                    <a:lnTo>
                      <a:pt x="530" y="532"/>
                    </a:lnTo>
                    <a:lnTo>
                      <a:pt x="530" y="531"/>
                    </a:lnTo>
                    <a:lnTo>
                      <a:pt x="531" y="531"/>
                    </a:lnTo>
                    <a:lnTo>
                      <a:pt x="532" y="530"/>
                    </a:lnTo>
                    <a:lnTo>
                      <a:pt x="532" y="529"/>
                    </a:lnTo>
                    <a:lnTo>
                      <a:pt x="533" y="530"/>
                    </a:lnTo>
                    <a:lnTo>
                      <a:pt x="533" y="529"/>
                    </a:lnTo>
                    <a:lnTo>
                      <a:pt x="533" y="528"/>
                    </a:lnTo>
                    <a:lnTo>
                      <a:pt x="533" y="529"/>
                    </a:lnTo>
                    <a:lnTo>
                      <a:pt x="535" y="529"/>
                    </a:lnTo>
                    <a:lnTo>
                      <a:pt x="536" y="529"/>
                    </a:lnTo>
                    <a:lnTo>
                      <a:pt x="536" y="528"/>
                    </a:lnTo>
                    <a:lnTo>
                      <a:pt x="536" y="527"/>
                    </a:lnTo>
                    <a:lnTo>
                      <a:pt x="537" y="527"/>
                    </a:lnTo>
                    <a:lnTo>
                      <a:pt x="538" y="527"/>
                    </a:lnTo>
                    <a:lnTo>
                      <a:pt x="539" y="526"/>
                    </a:lnTo>
                    <a:lnTo>
                      <a:pt x="541" y="525"/>
                    </a:lnTo>
                    <a:lnTo>
                      <a:pt x="540" y="525"/>
                    </a:lnTo>
                    <a:lnTo>
                      <a:pt x="539" y="526"/>
                    </a:lnTo>
                    <a:close/>
                    <a:moveTo>
                      <a:pt x="302" y="288"/>
                    </a:moveTo>
                    <a:lnTo>
                      <a:pt x="302" y="289"/>
                    </a:lnTo>
                    <a:lnTo>
                      <a:pt x="303" y="289"/>
                    </a:lnTo>
                    <a:lnTo>
                      <a:pt x="304" y="289"/>
                    </a:lnTo>
                    <a:lnTo>
                      <a:pt x="304" y="290"/>
                    </a:lnTo>
                    <a:lnTo>
                      <a:pt x="305" y="290"/>
                    </a:lnTo>
                    <a:lnTo>
                      <a:pt x="306" y="290"/>
                    </a:lnTo>
                    <a:lnTo>
                      <a:pt x="306" y="289"/>
                    </a:lnTo>
                    <a:lnTo>
                      <a:pt x="306" y="290"/>
                    </a:lnTo>
                    <a:lnTo>
                      <a:pt x="307" y="290"/>
                    </a:lnTo>
                    <a:lnTo>
                      <a:pt x="308" y="290"/>
                    </a:lnTo>
                    <a:lnTo>
                      <a:pt x="308" y="289"/>
                    </a:lnTo>
                    <a:lnTo>
                      <a:pt x="308" y="288"/>
                    </a:lnTo>
                    <a:lnTo>
                      <a:pt x="308" y="289"/>
                    </a:lnTo>
                    <a:lnTo>
                      <a:pt x="309" y="289"/>
                    </a:lnTo>
                    <a:lnTo>
                      <a:pt x="310" y="289"/>
                    </a:lnTo>
                    <a:lnTo>
                      <a:pt x="309" y="289"/>
                    </a:lnTo>
                    <a:lnTo>
                      <a:pt x="309" y="290"/>
                    </a:lnTo>
                    <a:lnTo>
                      <a:pt x="309" y="292"/>
                    </a:lnTo>
                    <a:lnTo>
                      <a:pt x="310" y="293"/>
                    </a:lnTo>
                    <a:lnTo>
                      <a:pt x="309" y="294"/>
                    </a:lnTo>
                    <a:lnTo>
                      <a:pt x="308" y="294"/>
                    </a:lnTo>
                    <a:lnTo>
                      <a:pt x="307" y="295"/>
                    </a:lnTo>
                    <a:lnTo>
                      <a:pt x="307" y="294"/>
                    </a:lnTo>
                    <a:lnTo>
                      <a:pt x="307" y="293"/>
                    </a:lnTo>
                    <a:lnTo>
                      <a:pt x="306" y="293"/>
                    </a:lnTo>
                    <a:lnTo>
                      <a:pt x="305" y="293"/>
                    </a:lnTo>
                    <a:lnTo>
                      <a:pt x="304" y="293"/>
                    </a:lnTo>
                    <a:lnTo>
                      <a:pt x="303" y="293"/>
                    </a:lnTo>
                    <a:lnTo>
                      <a:pt x="303" y="294"/>
                    </a:lnTo>
                    <a:lnTo>
                      <a:pt x="303" y="295"/>
                    </a:lnTo>
                    <a:lnTo>
                      <a:pt x="302" y="294"/>
                    </a:lnTo>
                    <a:lnTo>
                      <a:pt x="300" y="294"/>
                    </a:lnTo>
                    <a:lnTo>
                      <a:pt x="300" y="293"/>
                    </a:lnTo>
                    <a:lnTo>
                      <a:pt x="300" y="294"/>
                    </a:lnTo>
                    <a:lnTo>
                      <a:pt x="302" y="294"/>
                    </a:lnTo>
                    <a:lnTo>
                      <a:pt x="302" y="293"/>
                    </a:lnTo>
                    <a:lnTo>
                      <a:pt x="302" y="292"/>
                    </a:lnTo>
                    <a:lnTo>
                      <a:pt x="302" y="290"/>
                    </a:lnTo>
                    <a:lnTo>
                      <a:pt x="300" y="290"/>
                    </a:lnTo>
                    <a:lnTo>
                      <a:pt x="300" y="289"/>
                    </a:lnTo>
                    <a:lnTo>
                      <a:pt x="302" y="289"/>
                    </a:lnTo>
                    <a:lnTo>
                      <a:pt x="300" y="289"/>
                    </a:lnTo>
                    <a:lnTo>
                      <a:pt x="299" y="289"/>
                    </a:lnTo>
                    <a:lnTo>
                      <a:pt x="300" y="289"/>
                    </a:lnTo>
                    <a:lnTo>
                      <a:pt x="300" y="288"/>
                    </a:lnTo>
                    <a:lnTo>
                      <a:pt x="302" y="288"/>
                    </a:lnTo>
                    <a:close/>
                    <a:moveTo>
                      <a:pt x="230" y="398"/>
                    </a:moveTo>
                    <a:lnTo>
                      <a:pt x="229" y="398"/>
                    </a:lnTo>
                    <a:lnTo>
                      <a:pt x="228" y="398"/>
                    </a:lnTo>
                    <a:lnTo>
                      <a:pt x="227" y="398"/>
                    </a:lnTo>
                    <a:lnTo>
                      <a:pt x="226" y="398"/>
                    </a:lnTo>
                    <a:lnTo>
                      <a:pt x="225" y="398"/>
                    </a:lnTo>
                    <a:lnTo>
                      <a:pt x="225" y="397"/>
                    </a:lnTo>
                    <a:lnTo>
                      <a:pt x="228" y="392"/>
                    </a:lnTo>
                    <a:lnTo>
                      <a:pt x="228" y="391"/>
                    </a:lnTo>
                    <a:lnTo>
                      <a:pt x="229" y="390"/>
                    </a:lnTo>
                    <a:lnTo>
                      <a:pt x="230" y="390"/>
                    </a:lnTo>
                    <a:lnTo>
                      <a:pt x="230" y="391"/>
                    </a:lnTo>
                    <a:lnTo>
                      <a:pt x="231" y="391"/>
                    </a:lnTo>
                    <a:lnTo>
                      <a:pt x="231" y="392"/>
                    </a:lnTo>
                    <a:lnTo>
                      <a:pt x="231" y="393"/>
                    </a:lnTo>
                    <a:lnTo>
                      <a:pt x="232" y="393"/>
                    </a:lnTo>
                    <a:lnTo>
                      <a:pt x="231" y="396"/>
                    </a:lnTo>
                    <a:lnTo>
                      <a:pt x="230" y="397"/>
                    </a:lnTo>
                    <a:lnTo>
                      <a:pt x="230" y="398"/>
                    </a:lnTo>
                    <a:close/>
                    <a:moveTo>
                      <a:pt x="548" y="405"/>
                    </a:moveTo>
                    <a:lnTo>
                      <a:pt x="549" y="405"/>
                    </a:lnTo>
                    <a:lnTo>
                      <a:pt x="549" y="406"/>
                    </a:lnTo>
                    <a:lnTo>
                      <a:pt x="550" y="406"/>
                    </a:lnTo>
                    <a:lnTo>
                      <a:pt x="549" y="406"/>
                    </a:lnTo>
                    <a:lnTo>
                      <a:pt x="549" y="408"/>
                    </a:lnTo>
                    <a:lnTo>
                      <a:pt x="550" y="408"/>
                    </a:lnTo>
                    <a:lnTo>
                      <a:pt x="551" y="409"/>
                    </a:lnTo>
                    <a:lnTo>
                      <a:pt x="552" y="409"/>
                    </a:lnTo>
                    <a:lnTo>
                      <a:pt x="551" y="410"/>
                    </a:lnTo>
                    <a:lnTo>
                      <a:pt x="550" y="410"/>
                    </a:lnTo>
                    <a:lnTo>
                      <a:pt x="550" y="411"/>
                    </a:lnTo>
                    <a:lnTo>
                      <a:pt x="549" y="411"/>
                    </a:lnTo>
                    <a:lnTo>
                      <a:pt x="549" y="412"/>
                    </a:lnTo>
                    <a:lnTo>
                      <a:pt x="548" y="412"/>
                    </a:lnTo>
                    <a:lnTo>
                      <a:pt x="548" y="411"/>
                    </a:lnTo>
                    <a:lnTo>
                      <a:pt x="548" y="412"/>
                    </a:lnTo>
                    <a:lnTo>
                      <a:pt x="546" y="411"/>
                    </a:lnTo>
                    <a:lnTo>
                      <a:pt x="545" y="411"/>
                    </a:lnTo>
                    <a:lnTo>
                      <a:pt x="545" y="412"/>
                    </a:lnTo>
                    <a:lnTo>
                      <a:pt x="545" y="411"/>
                    </a:lnTo>
                    <a:lnTo>
                      <a:pt x="545" y="409"/>
                    </a:lnTo>
                    <a:lnTo>
                      <a:pt x="545" y="408"/>
                    </a:lnTo>
                    <a:lnTo>
                      <a:pt x="545" y="406"/>
                    </a:lnTo>
                    <a:lnTo>
                      <a:pt x="545" y="405"/>
                    </a:lnTo>
                    <a:lnTo>
                      <a:pt x="545" y="404"/>
                    </a:lnTo>
                    <a:lnTo>
                      <a:pt x="546" y="404"/>
                    </a:lnTo>
                    <a:lnTo>
                      <a:pt x="548" y="404"/>
                    </a:lnTo>
                    <a:lnTo>
                      <a:pt x="548" y="405"/>
                    </a:lnTo>
                    <a:close/>
                    <a:moveTo>
                      <a:pt x="251" y="387"/>
                    </a:moveTo>
                    <a:lnTo>
                      <a:pt x="252" y="387"/>
                    </a:lnTo>
                    <a:lnTo>
                      <a:pt x="252" y="388"/>
                    </a:lnTo>
                    <a:lnTo>
                      <a:pt x="251" y="388"/>
                    </a:lnTo>
                    <a:lnTo>
                      <a:pt x="252" y="388"/>
                    </a:lnTo>
                    <a:lnTo>
                      <a:pt x="251" y="389"/>
                    </a:lnTo>
                    <a:lnTo>
                      <a:pt x="252" y="389"/>
                    </a:lnTo>
                    <a:lnTo>
                      <a:pt x="252" y="388"/>
                    </a:lnTo>
                    <a:lnTo>
                      <a:pt x="252" y="389"/>
                    </a:lnTo>
                    <a:lnTo>
                      <a:pt x="253" y="388"/>
                    </a:lnTo>
                    <a:lnTo>
                      <a:pt x="253" y="387"/>
                    </a:lnTo>
                    <a:lnTo>
                      <a:pt x="254" y="387"/>
                    </a:lnTo>
                    <a:lnTo>
                      <a:pt x="254" y="388"/>
                    </a:lnTo>
                    <a:lnTo>
                      <a:pt x="255" y="388"/>
                    </a:lnTo>
                    <a:lnTo>
                      <a:pt x="255" y="387"/>
                    </a:lnTo>
                    <a:lnTo>
                      <a:pt x="255" y="386"/>
                    </a:lnTo>
                    <a:lnTo>
                      <a:pt x="256" y="386"/>
                    </a:lnTo>
                    <a:lnTo>
                      <a:pt x="257" y="386"/>
                    </a:lnTo>
                    <a:lnTo>
                      <a:pt x="258" y="386"/>
                    </a:lnTo>
                    <a:lnTo>
                      <a:pt x="259" y="387"/>
                    </a:lnTo>
                    <a:lnTo>
                      <a:pt x="258" y="386"/>
                    </a:lnTo>
                    <a:lnTo>
                      <a:pt x="258" y="387"/>
                    </a:lnTo>
                    <a:lnTo>
                      <a:pt x="257" y="387"/>
                    </a:lnTo>
                    <a:lnTo>
                      <a:pt x="257" y="388"/>
                    </a:lnTo>
                    <a:lnTo>
                      <a:pt x="256" y="389"/>
                    </a:lnTo>
                    <a:lnTo>
                      <a:pt x="257" y="389"/>
                    </a:lnTo>
                    <a:lnTo>
                      <a:pt x="257" y="390"/>
                    </a:lnTo>
                    <a:lnTo>
                      <a:pt x="256" y="390"/>
                    </a:lnTo>
                    <a:lnTo>
                      <a:pt x="256" y="391"/>
                    </a:lnTo>
                    <a:lnTo>
                      <a:pt x="256" y="392"/>
                    </a:lnTo>
                    <a:lnTo>
                      <a:pt x="255" y="391"/>
                    </a:lnTo>
                    <a:lnTo>
                      <a:pt x="255" y="392"/>
                    </a:lnTo>
                    <a:lnTo>
                      <a:pt x="255" y="391"/>
                    </a:lnTo>
                    <a:lnTo>
                      <a:pt x="254" y="391"/>
                    </a:lnTo>
                    <a:lnTo>
                      <a:pt x="254" y="392"/>
                    </a:lnTo>
                    <a:lnTo>
                      <a:pt x="253" y="392"/>
                    </a:lnTo>
                    <a:lnTo>
                      <a:pt x="252" y="392"/>
                    </a:lnTo>
                    <a:lnTo>
                      <a:pt x="251" y="392"/>
                    </a:lnTo>
                    <a:lnTo>
                      <a:pt x="252" y="392"/>
                    </a:lnTo>
                    <a:lnTo>
                      <a:pt x="252" y="391"/>
                    </a:lnTo>
                    <a:lnTo>
                      <a:pt x="253" y="391"/>
                    </a:lnTo>
                    <a:lnTo>
                      <a:pt x="253" y="390"/>
                    </a:lnTo>
                    <a:lnTo>
                      <a:pt x="254" y="390"/>
                    </a:lnTo>
                    <a:lnTo>
                      <a:pt x="253" y="390"/>
                    </a:lnTo>
                    <a:lnTo>
                      <a:pt x="254" y="389"/>
                    </a:lnTo>
                    <a:lnTo>
                      <a:pt x="255" y="389"/>
                    </a:lnTo>
                    <a:lnTo>
                      <a:pt x="255" y="388"/>
                    </a:lnTo>
                    <a:lnTo>
                      <a:pt x="254" y="389"/>
                    </a:lnTo>
                    <a:lnTo>
                      <a:pt x="252" y="389"/>
                    </a:lnTo>
                    <a:lnTo>
                      <a:pt x="252" y="390"/>
                    </a:lnTo>
                    <a:lnTo>
                      <a:pt x="253" y="390"/>
                    </a:lnTo>
                    <a:lnTo>
                      <a:pt x="251" y="390"/>
                    </a:lnTo>
                    <a:lnTo>
                      <a:pt x="251" y="391"/>
                    </a:lnTo>
                    <a:lnTo>
                      <a:pt x="249" y="391"/>
                    </a:lnTo>
                    <a:lnTo>
                      <a:pt x="249" y="390"/>
                    </a:lnTo>
                    <a:lnTo>
                      <a:pt x="249" y="389"/>
                    </a:lnTo>
                    <a:lnTo>
                      <a:pt x="251" y="388"/>
                    </a:lnTo>
                    <a:lnTo>
                      <a:pt x="251" y="387"/>
                    </a:lnTo>
                    <a:lnTo>
                      <a:pt x="249" y="386"/>
                    </a:lnTo>
                    <a:lnTo>
                      <a:pt x="249" y="385"/>
                    </a:lnTo>
                    <a:lnTo>
                      <a:pt x="251" y="386"/>
                    </a:lnTo>
                    <a:lnTo>
                      <a:pt x="251" y="387"/>
                    </a:lnTo>
                    <a:close/>
                    <a:moveTo>
                      <a:pt x="196" y="352"/>
                    </a:moveTo>
                    <a:lnTo>
                      <a:pt x="196" y="353"/>
                    </a:lnTo>
                    <a:lnTo>
                      <a:pt x="196" y="354"/>
                    </a:lnTo>
                    <a:lnTo>
                      <a:pt x="197" y="356"/>
                    </a:lnTo>
                    <a:lnTo>
                      <a:pt x="197" y="357"/>
                    </a:lnTo>
                    <a:lnTo>
                      <a:pt x="196" y="357"/>
                    </a:lnTo>
                    <a:lnTo>
                      <a:pt x="196" y="356"/>
                    </a:lnTo>
                    <a:lnTo>
                      <a:pt x="196" y="354"/>
                    </a:lnTo>
                    <a:lnTo>
                      <a:pt x="195" y="354"/>
                    </a:lnTo>
                    <a:lnTo>
                      <a:pt x="194" y="354"/>
                    </a:lnTo>
                    <a:lnTo>
                      <a:pt x="194" y="356"/>
                    </a:lnTo>
                    <a:lnTo>
                      <a:pt x="194" y="357"/>
                    </a:lnTo>
                    <a:lnTo>
                      <a:pt x="194" y="358"/>
                    </a:lnTo>
                    <a:lnTo>
                      <a:pt x="195" y="358"/>
                    </a:lnTo>
                    <a:lnTo>
                      <a:pt x="195" y="359"/>
                    </a:lnTo>
                    <a:lnTo>
                      <a:pt x="194" y="359"/>
                    </a:lnTo>
                    <a:lnTo>
                      <a:pt x="194" y="358"/>
                    </a:lnTo>
                    <a:lnTo>
                      <a:pt x="193" y="358"/>
                    </a:lnTo>
                    <a:lnTo>
                      <a:pt x="192" y="358"/>
                    </a:lnTo>
                    <a:lnTo>
                      <a:pt x="193" y="359"/>
                    </a:lnTo>
                    <a:lnTo>
                      <a:pt x="192" y="359"/>
                    </a:lnTo>
                    <a:lnTo>
                      <a:pt x="191" y="357"/>
                    </a:lnTo>
                    <a:lnTo>
                      <a:pt x="192" y="357"/>
                    </a:lnTo>
                    <a:lnTo>
                      <a:pt x="192" y="358"/>
                    </a:lnTo>
                    <a:lnTo>
                      <a:pt x="192" y="357"/>
                    </a:lnTo>
                    <a:lnTo>
                      <a:pt x="191" y="357"/>
                    </a:lnTo>
                    <a:lnTo>
                      <a:pt x="190" y="356"/>
                    </a:lnTo>
                    <a:lnTo>
                      <a:pt x="189" y="356"/>
                    </a:lnTo>
                    <a:lnTo>
                      <a:pt x="189" y="354"/>
                    </a:lnTo>
                    <a:lnTo>
                      <a:pt x="188" y="354"/>
                    </a:lnTo>
                    <a:lnTo>
                      <a:pt x="188" y="353"/>
                    </a:lnTo>
                    <a:lnTo>
                      <a:pt x="189" y="353"/>
                    </a:lnTo>
                    <a:lnTo>
                      <a:pt x="189" y="354"/>
                    </a:lnTo>
                    <a:lnTo>
                      <a:pt x="190" y="353"/>
                    </a:lnTo>
                    <a:lnTo>
                      <a:pt x="192" y="352"/>
                    </a:lnTo>
                    <a:lnTo>
                      <a:pt x="193" y="352"/>
                    </a:lnTo>
                    <a:lnTo>
                      <a:pt x="192" y="352"/>
                    </a:lnTo>
                    <a:lnTo>
                      <a:pt x="192" y="353"/>
                    </a:lnTo>
                    <a:lnTo>
                      <a:pt x="191" y="354"/>
                    </a:lnTo>
                    <a:lnTo>
                      <a:pt x="193" y="352"/>
                    </a:lnTo>
                    <a:lnTo>
                      <a:pt x="193" y="353"/>
                    </a:lnTo>
                    <a:lnTo>
                      <a:pt x="194" y="353"/>
                    </a:lnTo>
                    <a:lnTo>
                      <a:pt x="194" y="352"/>
                    </a:lnTo>
                    <a:lnTo>
                      <a:pt x="195" y="352"/>
                    </a:lnTo>
                    <a:lnTo>
                      <a:pt x="195" y="351"/>
                    </a:lnTo>
                    <a:lnTo>
                      <a:pt x="196" y="351"/>
                    </a:lnTo>
                    <a:lnTo>
                      <a:pt x="195" y="350"/>
                    </a:lnTo>
                    <a:lnTo>
                      <a:pt x="196" y="351"/>
                    </a:lnTo>
                    <a:lnTo>
                      <a:pt x="196" y="352"/>
                    </a:lnTo>
                    <a:close/>
                    <a:moveTo>
                      <a:pt x="579" y="511"/>
                    </a:moveTo>
                    <a:lnTo>
                      <a:pt x="579" y="512"/>
                    </a:lnTo>
                    <a:lnTo>
                      <a:pt x="578" y="513"/>
                    </a:lnTo>
                    <a:lnTo>
                      <a:pt x="579" y="514"/>
                    </a:lnTo>
                    <a:lnTo>
                      <a:pt x="578" y="514"/>
                    </a:lnTo>
                    <a:lnTo>
                      <a:pt x="578" y="515"/>
                    </a:lnTo>
                    <a:lnTo>
                      <a:pt x="577" y="515"/>
                    </a:lnTo>
                    <a:lnTo>
                      <a:pt x="576" y="515"/>
                    </a:lnTo>
                    <a:lnTo>
                      <a:pt x="575" y="516"/>
                    </a:lnTo>
                    <a:lnTo>
                      <a:pt x="574" y="516"/>
                    </a:lnTo>
                    <a:lnTo>
                      <a:pt x="573" y="516"/>
                    </a:lnTo>
                    <a:lnTo>
                      <a:pt x="570" y="517"/>
                    </a:lnTo>
                    <a:lnTo>
                      <a:pt x="570" y="516"/>
                    </a:lnTo>
                    <a:lnTo>
                      <a:pt x="569" y="516"/>
                    </a:lnTo>
                    <a:lnTo>
                      <a:pt x="569" y="515"/>
                    </a:lnTo>
                    <a:lnTo>
                      <a:pt x="577" y="511"/>
                    </a:lnTo>
                    <a:lnTo>
                      <a:pt x="578" y="511"/>
                    </a:lnTo>
                    <a:lnTo>
                      <a:pt x="579" y="511"/>
                    </a:lnTo>
                    <a:lnTo>
                      <a:pt x="579" y="510"/>
                    </a:lnTo>
                    <a:lnTo>
                      <a:pt x="579" y="511"/>
                    </a:lnTo>
                    <a:close/>
                    <a:moveTo>
                      <a:pt x="487" y="589"/>
                    </a:moveTo>
                    <a:lnTo>
                      <a:pt x="488" y="590"/>
                    </a:lnTo>
                    <a:lnTo>
                      <a:pt x="487" y="590"/>
                    </a:lnTo>
                    <a:lnTo>
                      <a:pt x="486" y="590"/>
                    </a:lnTo>
                    <a:lnTo>
                      <a:pt x="485" y="590"/>
                    </a:lnTo>
                    <a:lnTo>
                      <a:pt x="484" y="590"/>
                    </a:lnTo>
                    <a:lnTo>
                      <a:pt x="484" y="591"/>
                    </a:lnTo>
                    <a:lnTo>
                      <a:pt x="483" y="592"/>
                    </a:lnTo>
                    <a:lnTo>
                      <a:pt x="481" y="592"/>
                    </a:lnTo>
                    <a:lnTo>
                      <a:pt x="480" y="591"/>
                    </a:lnTo>
                    <a:lnTo>
                      <a:pt x="480" y="592"/>
                    </a:lnTo>
                    <a:lnTo>
                      <a:pt x="479" y="592"/>
                    </a:lnTo>
                    <a:lnTo>
                      <a:pt x="478" y="591"/>
                    </a:lnTo>
                    <a:lnTo>
                      <a:pt x="478" y="590"/>
                    </a:lnTo>
                    <a:lnTo>
                      <a:pt x="479" y="590"/>
                    </a:lnTo>
                    <a:lnTo>
                      <a:pt x="479" y="591"/>
                    </a:lnTo>
                    <a:lnTo>
                      <a:pt x="480" y="591"/>
                    </a:lnTo>
                    <a:lnTo>
                      <a:pt x="480" y="590"/>
                    </a:lnTo>
                    <a:lnTo>
                      <a:pt x="480" y="589"/>
                    </a:lnTo>
                    <a:lnTo>
                      <a:pt x="479" y="589"/>
                    </a:lnTo>
                    <a:lnTo>
                      <a:pt x="480" y="588"/>
                    </a:lnTo>
                    <a:lnTo>
                      <a:pt x="481" y="586"/>
                    </a:lnTo>
                    <a:lnTo>
                      <a:pt x="483" y="585"/>
                    </a:lnTo>
                    <a:lnTo>
                      <a:pt x="484" y="585"/>
                    </a:lnTo>
                    <a:lnTo>
                      <a:pt x="485" y="586"/>
                    </a:lnTo>
                    <a:lnTo>
                      <a:pt x="486" y="588"/>
                    </a:lnTo>
                    <a:lnTo>
                      <a:pt x="487" y="588"/>
                    </a:lnTo>
                    <a:lnTo>
                      <a:pt x="487" y="589"/>
                    </a:lnTo>
                    <a:close/>
                    <a:moveTo>
                      <a:pt x="217" y="415"/>
                    </a:moveTo>
                    <a:lnTo>
                      <a:pt x="220" y="415"/>
                    </a:lnTo>
                    <a:lnTo>
                      <a:pt x="221" y="415"/>
                    </a:lnTo>
                    <a:lnTo>
                      <a:pt x="220" y="416"/>
                    </a:lnTo>
                    <a:lnTo>
                      <a:pt x="220" y="417"/>
                    </a:lnTo>
                    <a:lnTo>
                      <a:pt x="220" y="416"/>
                    </a:lnTo>
                    <a:lnTo>
                      <a:pt x="219" y="416"/>
                    </a:lnTo>
                    <a:lnTo>
                      <a:pt x="218" y="416"/>
                    </a:lnTo>
                    <a:lnTo>
                      <a:pt x="218" y="415"/>
                    </a:lnTo>
                    <a:lnTo>
                      <a:pt x="217" y="415"/>
                    </a:lnTo>
                    <a:lnTo>
                      <a:pt x="217" y="416"/>
                    </a:lnTo>
                    <a:lnTo>
                      <a:pt x="217" y="415"/>
                    </a:lnTo>
                    <a:lnTo>
                      <a:pt x="218" y="415"/>
                    </a:lnTo>
                    <a:lnTo>
                      <a:pt x="218" y="416"/>
                    </a:lnTo>
                    <a:lnTo>
                      <a:pt x="219" y="416"/>
                    </a:lnTo>
                    <a:lnTo>
                      <a:pt x="219" y="417"/>
                    </a:lnTo>
                    <a:lnTo>
                      <a:pt x="220" y="417"/>
                    </a:lnTo>
                    <a:lnTo>
                      <a:pt x="219" y="417"/>
                    </a:lnTo>
                    <a:lnTo>
                      <a:pt x="219" y="418"/>
                    </a:lnTo>
                    <a:lnTo>
                      <a:pt x="219" y="420"/>
                    </a:lnTo>
                    <a:lnTo>
                      <a:pt x="219" y="421"/>
                    </a:lnTo>
                    <a:lnTo>
                      <a:pt x="218" y="421"/>
                    </a:lnTo>
                    <a:lnTo>
                      <a:pt x="218" y="422"/>
                    </a:lnTo>
                    <a:lnTo>
                      <a:pt x="217" y="422"/>
                    </a:lnTo>
                    <a:lnTo>
                      <a:pt x="216" y="422"/>
                    </a:lnTo>
                    <a:lnTo>
                      <a:pt x="216" y="421"/>
                    </a:lnTo>
                    <a:lnTo>
                      <a:pt x="215" y="421"/>
                    </a:lnTo>
                    <a:lnTo>
                      <a:pt x="215" y="420"/>
                    </a:lnTo>
                    <a:lnTo>
                      <a:pt x="215" y="415"/>
                    </a:lnTo>
                    <a:lnTo>
                      <a:pt x="217" y="415"/>
                    </a:lnTo>
                    <a:close/>
                    <a:moveTo>
                      <a:pt x="562" y="538"/>
                    </a:moveTo>
                    <a:lnTo>
                      <a:pt x="561" y="538"/>
                    </a:lnTo>
                    <a:lnTo>
                      <a:pt x="561" y="539"/>
                    </a:lnTo>
                    <a:lnTo>
                      <a:pt x="561" y="538"/>
                    </a:lnTo>
                    <a:lnTo>
                      <a:pt x="562" y="538"/>
                    </a:lnTo>
                    <a:lnTo>
                      <a:pt x="563" y="538"/>
                    </a:lnTo>
                    <a:lnTo>
                      <a:pt x="566" y="538"/>
                    </a:lnTo>
                    <a:lnTo>
                      <a:pt x="567" y="539"/>
                    </a:lnTo>
                    <a:lnTo>
                      <a:pt x="566" y="539"/>
                    </a:lnTo>
                    <a:lnTo>
                      <a:pt x="566" y="540"/>
                    </a:lnTo>
                    <a:lnTo>
                      <a:pt x="565" y="540"/>
                    </a:lnTo>
                    <a:lnTo>
                      <a:pt x="565" y="541"/>
                    </a:lnTo>
                    <a:lnTo>
                      <a:pt x="564" y="541"/>
                    </a:lnTo>
                    <a:lnTo>
                      <a:pt x="563" y="541"/>
                    </a:lnTo>
                    <a:lnTo>
                      <a:pt x="564" y="541"/>
                    </a:lnTo>
                    <a:lnTo>
                      <a:pt x="564" y="542"/>
                    </a:lnTo>
                    <a:lnTo>
                      <a:pt x="565" y="542"/>
                    </a:lnTo>
                    <a:lnTo>
                      <a:pt x="566" y="542"/>
                    </a:lnTo>
                    <a:lnTo>
                      <a:pt x="566" y="543"/>
                    </a:lnTo>
                    <a:lnTo>
                      <a:pt x="565" y="543"/>
                    </a:lnTo>
                    <a:lnTo>
                      <a:pt x="566" y="543"/>
                    </a:lnTo>
                    <a:lnTo>
                      <a:pt x="567" y="544"/>
                    </a:lnTo>
                    <a:lnTo>
                      <a:pt x="567" y="545"/>
                    </a:lnTo>
                    <a:lnTo>
                      <a:pt x="566" y="545"/>
                    </a:lnTo>
                    <a:lnTo>
                      <a:pt x="565" y="544"/>
                    </a:lnTo>
                    <a:lnTo>
                      <a:pt x="565" y="543"/>
                    </a:lnTo>
                    <a:lnTo>
                      <a:pt x="564" y="543"/>
                    </a:lnTo>
                    <a:lnTo>
                      <a:pt x="565" y="542"/>
                    </a:lnTo>
                    <a:lnTo>
                      <a:pt x="564" y="542"/>
                    </a:lnTo>
                    <a:lnTo>
                      <a:pt x="563" y="542"/>
                    </a:lnTo>
                    <a:lnTo>
                      <a:pt x="563" y="541"/>
                    </a:lnTo>
                    <a:lnTo>
                      <a:pt x="562" y="541"/>
                    </a:lnTo>
                    <a:lnTo>
                      <a:pt x="561" y="542"/>
                    </a:lnTo>
                    <a:lnTo>
                      <a:pt x="561" y="541"/>
                    </a:lnTo>
                    <a:lnTo>
                      <a:pt x="561" y="540"/>
                    </a:lnTo>
                    <a:lnTo>
                      <a:pt x="560" y="540"/>
                    </a:lnTo>
                    <a:lnTo>
                      <a:pt x="560" y="539"/>
                    </a:lnTo>
                    <a:lnTo>
                      <a:pt x="560" y="538"/>
                    </a:lnTo>
                    <a:lnTo>
                      <a:pt x="558" y="538"/>
                    </a:lnTo>
                    <a:lnTo>
                      <a:pt x="560" y="538"/>
                    </a:lnTo>
                    <a:lnTo>
                      <a:pt x="562" y="538"/>
                    </a:lnTo>
                    <a:close/>
                    <a:moveTo>
                      <a:pt x="193" y="404"/>
                    </a:moveTo>
                    <a:lnTo>
                      <a:pt x="192" y="404"/>
                    </a:lnTo>
                    <a:lnTo>
                      <a:pt x="193" y="404"/>
                    </a:lnTo>
                    <a:lnTo>
                      <a:pt x="192" y="404"/>
                    </a:lnTo>
                    <a:lnTo>
                      <a:pt x="192" y="405"/>
                    </a:lnTo>
                    <a:lnTo>
                      <a:pt x="193" y="405"/>
                    </a:lnTo>
                    <a:lnTo>
                      <a:pt x="192" y="405"/>
                    </a:lnTo>
                    <a:lnTo>
                      <a:pt x="193" y="406"/>
                    </a:lnTo>
                    <a:lnTo>
                      <a:pt x="193" y="408"/>
                    </a:lnTo>
                    <a:lnTo>
                      <a:pt x="193" y="409"/>
                    </a:lnTo>
                    <a:lnTo>
                      <a:pt x="193" y="408"/>
                    </a:lnTo>
                    <a:lnTo>
                      <a:pt x="194" y="408"/>
                    </a:lnTo>
                    <a:lnTo>
                      <a:pt x="193" y="408"/>
                    </a:lnTo>
                    <a:lnTo>
                      <a:pt x="193" y="406"/>
                    </a:lnTo>
                    <a:lnTo>
                      <a:pt x="194" y="406"/>
                    </a:lnTo>
                    <a:lnTo>
                      <a:pt x="194" y="405"/>
                    </a:lnTo>
                    <a:lnTo>
                      <a:pt x="194" y="404"/>
                    </a:lnTo>
                    <a:lnTo>
                      <a:pt x="195" y="404"/>
                    </a:lnTo>
                    <a:lnTo>
                      <a:pt x="194" y="404"/>
                    </a:lnTo>
                    <a:lnTo>
                      <a:pt x="194" y="405"/>
                    </a:lnTo>
                    <a:lnTo>
                      <a:pt x="194" y="404"/>
                    </a:lnTo>
                    <a:lnTo>
                      <a:pt x="194" y="405"/>
                    </a:lnTo>
                    <a:lnTo>
                      <a:pt x="195" y="405"/>
                    </a:lnTo>
                    <a:lnTo>
                      <a:pt x="194" y="405"/>
                    </a:lnTo>
                    <a:lnTo>
                      <a:pt x="194" y="406"/>
                    </a:lnTo>
                    <a:lnTo>
                      <a:pt x="195" y="406"/>
                    </a:lnTo>
                    <a:lnTo>
                      <a:pt x="194" y="406"/>
                    </a:lnTo>
                    <a:lnTo>
                      <a:pt x="194" y="408"/>
                    </a:lnTo>
                    <a:lnTo>
                      <a:pt x="194" y="409"/>
                    </a:lnTo>
                    <a:lnTo>
                      <a:pt x="195" y="409"/>
                    </a:lnTo>
                    <a:lnTo>
                      <a:pt x="197" y="406"/>
                    </a:lnTo>
                    <a:lnTo>
                      <a:pt x="197" y="408"/>
                    </a:lnTo>
                    <a:lnTo>
                      <a:pt x="199" y="406"/>
                    </a:lnTo>
                    <a:lnTo>
                      <a:pt x="199" y="408"/>
                    </a:lnTo>
                    <a:lnTo>
                      <a:pt x="197" y="408"/>
                    </a:lnTo>
                    <a:lnTo>
                      <a:pt x="199" y="408"/>
                    </a:lnTo>
                    <a:lnTo>
                      <a:pt x="197" y="408"/>
                    </a:lnTo>
                    <a:lnTo>
                      <a:pt x="196" y="408"/>
                    </a:lnTo>
                    <a:lnTo>
                      <a:pt x="197" y="408"/>
                    </a:lnTo>
                    <a:lnTo>
                      <a:pt x="196" y="408"/>
                    </a:lnTo>
                    <a:lnTo>
                      <a:pt x="195" y="408"/>
                    </a:lnTo>
                    <a:lnTo>
                      <a:pt x="195" y="409"/>
                    </a:lnTo>
                    <a:lnTo>
                      <a:pt x="196" y="408"/>
                    </a:lnTo>
                    <a:lnTo>
                      <a:pt x="196" y="409"/>
                    </a:lnTo>
                    <a:lnTo>
                      <a:pt x="196" y="408"/>
                    </a:lnTo>
                    <a:lnTo>
                      <a:pt x="196" y="409"/>
                    </a:lnTo>
                    <a:lnTo>
                      <a:pt x="195" y="409"/>
                    </a:lnTo>
                    <a:lnTo>
                      <a:pt x="194" y="410"/>
                    </a:lnTo>
                    <a:lnTo>
                      <a:pt x="195" y="410"/>
                    </a:lnTo>
                    <a:lnTo>
                      <a:pt x="195" y="409"/>
                    </a:lnTo>
                    <a:lnTo>
                      <a:pt x="196" y="409"/>
                    </a:lnTo>
                    <a:lnTo>
                      <a:pt x="197" y="409"/>
                    </a:lnTo>
                    <a:lnTo>
                      <a:pt x="196" y="409"/>
                    </a:lnTo>
                    <a:lnTo>
                      <a:pt x="196" y="410"/>
                    </a:lnTo>
                    <a:lnTo>
                      <a:pt x="195" y="410"/>
                    </a:lnTo>
                    <a:lnTo>
                      <a:pt x="195" y="411"/>
                    </a:lnTo>
                    <a:lnTo>
                      <a:pt x="195" y="410"/>
                    </a:lnTo>
                    <a:lnTo>
                      <a:pt x="196" y="410"/>
                    </a:lnTo>
                    <a:lnTo>
                      <a:pt x="197" y="410"/>
                    </a:lnTo>
                    <a:lnTo>
                      <a:pt x="199" y="410"/>
                    </a:lnTo>
                    <a:lnTo>
                      <a:pt x="199" y="409"/>
                    </a:lnTo>
                    <a:lnTo>
                      <a:pt x="197" y="409"/>
                    </a:lnTo>
                    <a:lnTo>
                      <a:pt x="197" y="410"/>
                    </a:lnTo>
                    <a:lnTo>
                      <a:pt x="197" y="409"/>
                    </a:lnTo>
                    <a:lnTo>
                      <a:pt x="199" y="409"/>
                    </a:lnTo>
                    <a:lnTo>
                      <a:pt x="200" y="409"/>
                    </a:lnTo>
                    <a:lnTo>
                      <a:pt x="199" y="409"/>
                    </a:lnTo>
                    <a:lnTo>
                      <a:pt x="200" y="409"/>
                    </a:lnTo>
                    <a:lnTo>
                      <a:pt x="199" y="410"/>
                    </a:lnTo>
                    <a:lnTo>
                      <a:pt x="197" y="411"/>
                    </a:lnTo>
                    <a:lnTo>
                      <a:pt x="197" y="412"/>
                    </a:lnTo>
                    <a:lnTo>
                      <a:pt x="196" y="412"/>
                    </a:lnTo>
                    <a:lnTo>
                      <a:pt x="192" y="412"/>
                    </a:lnTo>
                    <a:lnTo>
                      <a:pt x="192" y="411"/>
                    </a:lnTo>
                    <a:lnTo>
                      <a:pt x="192" y="410"/>
                    </a:lnTo>
                    <a:lnTo>
                      <a:pt x="192" y="406"/>
                    </a:lnTo>
                    <a:lnTo>
                      <a:pt x="192" y="405"/>
                    </a:lnTo>
                    <a:lnTo>
                      <a:pt x="192" y="404"/>
                    </a:lnTo>
                    <a:lnTo>
                      <a:pt x="194" y="404"/>
                    </a:lnTo>
                    <a:lnTo>
                      <a:pt x="193" y="404"/>
                    </a:lnTo>
                    <a:close/>
                    <a:moveTo>
                      <a:pt x="499" y="592"/>
                    </a:moveTo>
                    <a:lnTo>
                      <a:pt x="499" y="593"/>
                    </a:lnTo>
                    <a:lnTo>
                      <a:pt x="500" y="594"/>
                    </a:lnTo>
                    <a:lnTo>
                      <a:pt x="499" y="594"/>
                    </a:lnTo>
                    <a:lnTo>
                      <a:pt x="499" y="593"/>
                    </a:lnTo>
                    <a:lnTo>
                      <a:pt x="498" y="593"/>
                    </a:lnTo>
                    <a:lnTo>
                      <a:pt x="497" y="593"/>
                    </a:lnTo>
                    <a:lnTo>
                      <a:pt x="496" y="593"/>
                    </a:lnTo>
                    <a:lnTo>
                      <a:pt x="496" y="592"/>
                    </a:lnTo>
                    <a:lnTo>
                      <a:pt x="494" y="592"/>
                    </a:lnTo>
                    <a:lnTo>
                      <a:pt x="494" y="593"/>
                    </a:lnTo>
                    <a:lnTo>
                      <a:pt x="493" y="593"/>
                    </a:lnTo>
                    <a:lnTo>
                      <a:pt x="493" y="594"/>
                    </a:lnTo>
                    <a:lnTo>
                      <a:pt x="493" y="595"/>
                    </a:lnTo>
                    <a:lnTo>
                      <a:pt x="492" y="595"/>
                    </a:lnTo>
                    <a:lnTo>
                      <a:pt x="491" y="595"/>
                    </a:lnTo>
                    <a:lnTo>
                      <a:pt x="491" y="596"/>
                    </a:lnTo>
                    <a:lnTo>
                      <a:pt x="490" y="596"/>
                    </a:lnTo>
                    <a:lnTo>
                      <a:pt x="489" y="596"/>
                    </a:lnTo>
                    <a:lnTo>
                      <a:pt x="489" y="594"/>
                    </a:lnTo>
                    <a:lnTo>
                      <a:pt x="489" y="593"/>
                    </a:lnTo>
                    <a:lnTo>
                      <a:pt x="489" y="592"/>
                    </a:lnTo>
                    <a:lnTo>
                      <a:pt x="491" y="592"/>
                    </a:lnTo>
                    <a:lnTo>
                      <a:pt x="492" y="592"/>
                    </a:lnTo>
                    <a:lnTo>
                      <a:pt x="493" y="592"/>
                    </a:lnTo>
                    <a:lnTo>
                      <a:pt x="493" y="591"/>
                    </a:lnTo>
                    <a:lnTo>
                      <a:pt x="494" y="591"/>
                    </a:lnTo>
                    <a:lnTo>
                      <a:pt x="496" y="590"/>
                    </a:lnTo>
                    <a:lnTo>
                      <a:pt x="497" y="591"/>
                    </a:lnTo>
                    <a:lnTo>
                      <a:pt x="498" y="592"/>
                    </a:lnTo>
                    <a:lnTo>
                      <a:pt x="499" y="592"/>
                    </a:lnTo>
                    <a:close/>
                    <a:moveTo>
                      <a:pt x="460" y="469"/>
                    </a:moveTo>
                    <a:lnTo>
                      <a:pt x="461" y="469"/>
                    </a:lnTo>
                    <a:lnTo>
                      <a:pt x="466" y="469"/>
                    </a:lnTo>
                    <a:lnTo>
                      <a:pt x="467" y="469"/>
                    </a:lnTo>
                    <a:lnTo>
                      <a:pt x="468" y="469"/>
                    </a:lnTo>
                    <a:lnTo>
                      <a:pt x="468" y="470"/>
                    </a:lnTo>
                    <a:lnTo>
                      <a:pt x="467" y="470"/>
                    </a:lnTo>
                    <a:lnTo>
                      <a:pt x="466" y="472"/>
                    </a:lnTo>
                    <a:lnTo>
                      <a:pt x="466" y="473"/>
                    </a:lnTo>
                    <a:lnTo>
                      <a:pt x="465" y="474"/>
                    </a:lnTo>
                    <a:lnTo>
                      <a:pt x="464" y="475"/>
                    </a:lnTo>
                    <a:lnTo>
                      <a:pt x="464" y="474"/>
                    </a:lnTo>
                    <a:lnTo>
                      <a:pt x="463" y="474"/>
                    </a:lnTo>
                    <a:lnTo>
                      <a:pt x="463" y="473"/>
                    </a:lnTo>
                    <a:lnTo>
                      <a:pt x="463" y="472"/>
                    </a:lnTo>
                    <a:lnTo>
                      <a:pt x="463" y="473"/>
                    </a:lnTo>
                    <a:lnTo>
                      <a:pt x="462" y="473"/>
                    </a:lnTo>
                    <a:lnTo>
                      <a:pt x="462" y="472"/>
                    </a:lnTo>
                    <a:lnTo>
                      <a:pt x="461" y="472"/>
                    </a:lnTo>
                    <a:lnTo>
                      <a:pt x="462" y="472"/>
                    </a:lnTo>
                    <a:lnTo>
                      <a:pt x="462" y="470"/>
                    </a:lnTo>
                    <a:lnTo>
                      <a:pt x="461" y="469"/>
                    </a:lnTo>
                    <a:lnTo>
                      <a:pt x="460" y="469"/>
                    </a:lnTo>
                    <a:lnTo>
                      <a:pt x="461" y="470"/>
                    </a:lnTo>
                    <a:lnTo>
                      <a:pt x="460" y="470"/>
                    </a:lnTo>
                    <a:lnTo>
                      <a:pt x="459" y="470"/>
                    </a:lnTo>
                    <a:lnTo>
                      <a:pt x="458" y="469"/>
                    </a:lnTo>
                    <a:lnTo>
                      <a:pt x="458" y="468"/>
                    </a:lnTo>
                    <a:lnTo>
                      <a:pt x="459" y="468"/>
                    </a:lnTo>
                    <a:lnTo>
                      <a:pt x="460" y="469"/>
                    </a:lnTo>
                    <a:close/>
                    <a:moveTo>
                      <a:pt x="431" y="655"/>
                    </a:moveTo>
                    <a:lnTo>
                      <a:pt x="431" y="657"/>
                    </a:lnTo>
                    <a:lnTo>
                      <a:pt x="431" y="658"/>
                    </a:lnTo>
                    <a:lnTo>
                      <a:pt x="431" y="659"/>
                    </a:lnTo>
                    <a:lnTo>
                      <a:pt x="431" y="660"/>
                    </a:lnTo>
                    <a:lnTo>
                      <a:pt x="429" y="660"/>
                    </a:lnTo>
                    <a:lnTo>
                      <a:pt x="431" y="659"/>
                    </a:lnTo>
                    <a:lnTo>
                      <a:pt x="429" y="659"/>
                    </a:lnTo>
                    <a:lnTo>
                      <a:pt x="429" y="660"/>
                    </a:lnTo>
                    <a:lnTo>
                      <a:pt x="428" y="660"/>
                    </a:lnTo>
                    <a:lnTo>
                      <a:pt x="427" y="660"/>
                    </a:lnTo>
                    <a:lnTo>
                      <a:pt x="428" y="660"/>
                    </a:lnTo>
                    <a:lnTo>
                      <a:pt x="428" y="661"/>
                    </a:lnTo>
                    <a:lnTo>
                      <a:pt x="428" y="660"/>
                    </a:lnTo>
                    <a:lnTo>
                      <a:pt x="429" y="661"/>
                    </a:lnTo>
                    <a:lnTo>
                      <a:pt x="428" y="661"/>
                    </a:lnTo>
                    <a:lnTo>
                      <a:pt x="428" y="662"/>
                    </a:lnTo>
                    <a:lnTo>
                      <a:pt x="427" y="662"/>
                    </a:lnTo>
                    <a:lnTo>
                      <a:pt x="426" y="661"/>
                    </a:lnTo>
                    <a:lnTo>
                      <a:pt x="426" y="662"/>
                    </a:lnTo>
                    <a:lnTo>
                      <a:pt x="427" y="662"/>
                    </a:lnTo>
                    <a:lnTo>
                      <a:pt x="427" y="663"/>
                    </a:lnTo>
                    <a:lnTo>
                      <a:pt x="426" y="663"/>
                    </a:lnTo>
                    <a:lnTo>
                      <a:pt x="427" y="663"/>
                    </a:lnTo>
                    <a:lnTo>
                      <a:pt x="427" y="665"/>
                    </a:lnTo>
                    <a:lnTo>
                      <a:pt x="426" y="666"/>
                    </a:lnTo>
                    <a:lnTo>
                      <a:pt x="426" y="667"/>
                    </a:lnTo>
                    <a:lnTo>
                      <a:pt x="426" y="666"/>
                    </a:lnTo>
                    <a:lnTo>
                      <a:pt x="426" y="665"/>
                    </a:lnTo>
                    <a:lnTo>
                      <a:pt x="427" y="665"/>
                    </a:lnTo>
                    <a:lnTo>
                      <a:pt x="426" y="665"/>
                    </a:lnTo>
                    <a:lnTo>
                      <a:pt x="426" y="663"/>
                    </a:lnTo>
                    <a:lnTo>
                      <a:pt x="425" y="663"/>
                    </a:lnTo>
                    <a:lnTo>
                      <a:pt x="425" y="665"/>
                    </a:lnTo>
                    <a:lnTo>
                      <a:pt x="425" y="663"/>
                    </a:lnTo>
                    <a:lnTo>
                      <a:pt x="424" y="663"/>
                    </a:lnTo>
                    <a:lnTo>
                      <a:pt x="424" y="662"/>
                    </a:lnTo>
                    <a:lnTo>
                      <a:pt x="425" y="661"/>
                    </a:lnTo>
                    <a:lnTo>
                      <a:pt x="426" y="660"/>
                    </a:lnTo>
                    <a:lnTo>
                      <a:pt x="426" y="659"/>
                    </a:lnTo>
                    <a:lnTo>
                      <a:pt x="427" y="659"/>
                    </a:lnTo>
                    <a:lnTo>
                      <a:pt x="428" y="658"/>
                    </a:lnTo>
                    <a:lnTo>
                      <a:pt x="427" y="657"/>
                    </a:lnTo>
                    <a:lnTo>
                      <a:pt x="428" y="657"/>
                    </a:lnTo>
                    <a:lnTo>
                      <a:pt x="428" y="656"/>
                    </a:lnTo>
                    <a:lnTo>
                      <a:pt x="429" y="655"/>
                    </a:lnTo>
                    <a:lnTo>
                      <a:pt x="431" y="655"/>
                    </a:lnTo>
                    <a:close/>
                    <a:moveTo>
                      <a:pt x="291" y="392"/>
                    </a:moveTo>
                    <a:lnTo>
                      <a:pt x="292" y="392"/>
                    </a:lnTo>
                    <a:lnTo>
                      <a:pt x="293" y="392"/>
                    </a:lnTo>
                    <a:lnTo>
                      <a:pt x="293" y="393"/>
                    </a:lnTo>
                    <a:lnTo>
                      <a:pt x="292" y="393"/>
                    </a:lnTo>
                    <a:lnTo>
                      <a:pt x="293" y="395"/>
                    </a:lnTo>
                    <a:lnTo>
                      <a:pt x="293" y="396"/>
                    </a:lnTo>
                    <a:lnTo>
                      <a:pt x="292" y="396"/>
                    </a:lnTo>
                    <a:lnTo>
                      <a:pt x="291" y="396"/>
                    </a:lnTo>
                    <a:lnTo>
                      <a:pt x="290" y="396"/>
                    </a:lnTo>
                    <a:lnTo>
                      <a:pt x="290" y="397"/>
                    </a:lnTo>
                    <a:lnTo>
                      <a:pt x="290" y="396"/>
                    </a:lnTo>
                    <a:lnTo>
                      <a:pt x="289" y="396"/>
                    </a:lnTo>
                    <a:lnTo>
                      <a:pt x="287" y="396"/>
                    </a:lnTo>
                    <a:lnTo>
                      <a:pt x="286" y="396"/>
                    </a:lnTo>
                    <a:lnTo>
                      <a:pt x="286" y="395"/>
                    </a:lnTo>
                    <a:lnTo>
                      <a:pt x="285" y="395"/>
                    </a:lnTo>
                    <a:lnTo>
                      <a:pt x="285" y="393"/>
                    </a:lnTo>
                    <a:lnTo>
                      <a:pt x="284" y="393"/>
                    </a:lnTo>
                    <a:lnTo>
                      <a:pt x="284" y="395"/>
                    </a:lnTo>
                    <a:lnTo>
                      <a:pt x="284" y="393"/>
                    </a:lnTo>
                    <a:lnTo>
                      <a:pt x="285" y="393"/>
                    </a:lnTo>
                    <a:lnTo>
                      <a:pt x="285" y="392"/>
                    </a:lnTo>
                    <a:lnTo>
                      <a:pt x="285" y="391"/>
                    </a:lnTo>
                    <a:lnTo>
                      <a:pt x="286" y="391"/>
                    </a:lnTo>
                    <a:lnTo>
                      <a:pt x="287" y="391"/>
                    </a:lnTo>
                    <a:lnTo>
                      <a:pt x="289" y="391"/>
                    </a:lnTo>
                    <a:lnTo>
                      <a:pt x="289" y="392"/>
                    </a:lnTo>
                    <a:lnTo>
                      <a:pt x="290" y="392"/>
                    </a:lnTo>
                    <a:lnTo>
                      <a:pt x="291" y="392"/>
                    </a:lnTo>
                    <a:close/>
                    <a:moveTo>
                      <a:pt x="560" y="433"/>
                    </a:moveTo>
                    <a:lnTo>
                      <a:pt x="561" y="433"/>
                    </a:lnTo>
                    <a:lnTo>
                      <a:pt x="560" y="433"/>
                    </a:lnTo>
                    <a:lnTo>
                      <a:pt x="560" y="431"/>
                    </a:lnTo>
                    <a:lnTo>
                      <a:pt x="561" y="433"/>
                    </a:lnTo>
                    <a:lnTo>
                      <a:pt x="562" y="433"/>
                    </a:lnTo>
                    <a:lnTo>
                      <a:pt x="561" y="433"/>
                    </a:lnTo>
                    <a:lnTo>
                      <a:pt x="560" y="434"/>
                    </a:lnTo>
                    <a:lnTo>
                      <a:pt x="560" y="435"/>
                    </a:lnTo>
                    <a:lnTo>
                      <a:pt x="558" y="435"/>
                    </a:lnTo>
                    <a:lnTo>
                      <a:pt x="557" y="436"/>
                    </a:lnTo>
                    <a:lnTo>
                      <a:pt x="556" y="437"/>
                    </a:lnTo>
                    <a:lnTo>
                      <a:pt x="556" y="438"/>
                    </a:lnTo>
                    <a:lnTo>
                      <a:pt x="555" y="438"/>
                    </a:lnTo>
                    <a:lnTo>
                      <a:pt x="555" y="439"/>
                    </a:lnTo>
                    <a:lnTo>
                      <a:pt x="555" y="440"/>
                    </a:lnTo>
                    <a:lnTo>
                      <a:pt x="555" y="441"/>
                    </a:lnTo>
                    <a:lnTo>
                      <a:pt x="555" y="442"/>
                    </a:lnTo>
                    <a:lnTo>
                      <a:pt x="554" y="443"/>
                    </a:lnTo>
                    <a:lnTo>
                      <a:pt x="554" y="444"/>
                    </a:lnTo>
                    <a:lnTo>
                      <a:pt x="554" y="446"/>
                    </a:lnTo>
                    <a:lnTo>
                      <a:pt x="553" y="446"/>
                    </a:lnTo>
                    <a:lnTo>
                      <a:pt x="553" y="444"/>
                    </a:lnTo>
                    <a:lnTo>
                      <a:pt x="553" y="443"/>
                    </a:lnTo>
                    <a:lnTo>
                      <a:pt x="554" y="443"/>
                    </a:lnTo>
                    <a:lnTo>
                      <a:pt x="554" y="442"/>
                    </a:lnTo>
                    <a:lnTo>
                      <a:pt x="554" y="441"/>
                    </a:lnTo>
                    <a:lnTo>
                      <a:pt x="553" y="441"/>
                    </a:lnTo>
                    <a:lnTo>
                      <a:pt x="553" y="440"/>
                    </a:lnTo>
                    <a:lnTo>
                      <a:pt x="553" y="439"/>
                    </a:lnTo>
                    <a:lnTo>
                      <a:pt x="554" y="438"/>
                    </a:lnTo>
                    <a:lnTo>
                      <a:pt x="554" y="437"/>
                    </a:lnTo>
                    <a:lnTo>
                      <a:pt x="555" y="436"/>
                    </a:lnTo>
                    <a:lnTo>
                      <a:pt x="556" y="435"/>
                    </a:lnTo>
                    <a:lnTo>
                      <a:pt x="556" y="434"/>
                    </a:lnTo>
                    <a:lnTo>
                      <a:pt x="558" y="433"/>
                    </a:lnTo>
                    <a:lnTo>
                      <a:pt x="560" y="433"/>
                    </a:lnTo>
                    <a:lnTo>
                      <a:pt x="560" y="431"/>
                    </a:lnTo>
                    <a:lnTo>
                      <a:pt x="560" y="433"/>
                    </a:lnTo>
                    <a:close/>
                    <a:moveTo>
                      <a:pt x="116" y="312"/>
                    </a:moveTo>
                    <a:lnTo>
                      <a:pt x="117" y="312"/>
                    </a:lnTo>
                    <a:lnTo>
                      <a:pt x="117" y="313"/>
                    </a:lnTo>
                    <a:lnTo>
                      <a:pt x="117" y="314"/>
                    </a:lnTo>
                    <a:lnTo>
                      <a:pt x="118" y="314"/>
                    </a:lnTo>
                    <a:lnTo>
                      <a:pt x="117" y="314"/>
                    </a:lnTo>
                    <a:lnTo>
                      <a:pt x="116" y="314"/>
                    </a:lnTo>
                    <a:lnTo>
                      <a:pt x="117" y="314"/>
                    </a:lnTo>
                    <a:lnTo>
                      <a:pt x="117" y="315"/>
                    </a:lnTo>
                    <a:lnTo>
                      <a:pt x="118" y="315"/>
                    </a:lnTo>
                    <a:lnTo>
                      <a:pt x="117" y="315"/>
                    </a:lnTo>
                    <a:lnTo>
                      <a:pt x="116" y="315"/>
                    </a:lnTo>
                    <a:lnTo>
                      <a:pt x="115" y="315"/>
                    </a:lnTo>
                    <a:lnTo>
                      <a:pt x="114" y="315"/>
                    </a:lnTo>
                    <a:lnTo>
                      <a:pt x="114" y="316"/>
                    </a:lnTo>
                    <a:lnTo>
                      <a:pt x="113" y="316"/>
                    </a:lnTo>
                    <a:lnTo>
                      <a:pt x="112" y="316"/>
                    </a:lnTo>
                    <a:lnTo>
                      <a:pt x="113" y="316"/>
                    </a:lnTo>
                    <a:lnTo>
                      <a:pt x="113" y="315"/>
                    </a:lnTo>
                    <a:lnTo>
                      <a:pt x="113" y="314"/>
                    </a:lnTo>
                    <a:lnTo>
                      <a:pt x="112" y="314"/>
                    </a:lnTo>
                    <a:lnTo>
                      <a:pt x="113" y="314"/>
                    </a:lnTo>
                    <a:lnTo>
                      <a:pt x="113" y="313"/>
                    </a:lnTo>
                    <a:lnTo>
                      <a:pt x="113" y="314"/>
                    </a:lnTo>
                    <a:lnTo>
                      <a:pt x="113" y="313"/>
                    </a:lnTo>
                    <a:lnTo>
                      <a:pt x="112" y="313"/>
                    </a:lnTo>
                    <a:lnTo>
                      <a:pt x="111" y="313"/>
                    </a:lnTo>
                    <a:lnTo>
                      <a:pt x="112" y="313"/>
                    </a:lnTo>
                    <a:lnTo>
                      <a:pt x="111" y="313"/>
                    </a:lnTo>
                    <a:lnTo>
                      <a:pt x="111" y="314"/>
                    </a:lnTo>
                    <a:lnTo>
                      <a:pt x="110" y="314"/>
                    </a:lnTo>
                    <a:lnTo>
                      <a:pt x="110" y="315"/>
                    </a:lnTo>
                    <a:lnTo>
                      <a:pt x="110" y="316"/>
                    </a:lnTo>
                    <a:lnTo>
                      <a:pt x="109" y="316"/>
                    </a:lnTo>
                    <a:lnTo>
                      <a:pt x="109" y="315"/>
                    </a:lnTo>
                    <a:lnTo>
                      <a:pt x="109" y="314"/>
                    </a:lnTo>
                    <a:lnTo>
                      <a:pt x="110" y="314"/>
                    </a:lnTo>
                    <a:lnTo>
                      <a:pt x="110" y="313"/>
                    </a:lnTo>
                    <a:lnTo>
                      <a:pt x="111" y="313"/>
                    </a:lnTo>
                    <a:lnTo>
                      <a:pt x="111" y="312"/>
                    </a:lnTo>
                    <a:lnTo>
                      <a:pt x="112" y="312"/>
                    </a:lnTo>
                    <a:lnTo>
                      <a:pt x="113" y="312"/>
                    </a:lnTo>
                    <a:lnTo>
                      <a:pt x="114" y="312"/>
                    </a:lnTo>
                    <a:lnTo>
                      <a:pt x="114" y="311"/>
                    </a:lnTo>
                    <a:lnTo>
                      <a:pt x="115" y="312"/>
                    </a:lnTo>
                    <a:lnTo>
                      <a:pt x="116" y="312"/>
                    </a:lnTo>
                    <a:close/>
                    <a:moveTo>
                      <a:pt x="582" y="456"/>
                    </a:moveTo>
                    <a:lnTo>
                      <a:pt x="582" y="457"/>
                    </a:lnTo>
                    <a:lnTo>
                      <a:pt x="583" y="457"/>
                    </a:lnTo>
                    <a:lnTo>
                      <a:pt x="583" y="456"/>
                    </a:lnTo>
                    <a:lnTo>
                      <a:pt x="582" y="456"/>
                    </a:lnTo>
                    <a:lnTo>
                      <a:pt x="583" y="456"/>
                    </a:lnTo>
                    <a:lnTo>
                      <a:pt x="584" y="456"/>
                    </a:lnTo>
                    <a:lnTo>
                      <a:pt x="584" y="457"/>
                    </a:lnTo>
                    <a:lnTo>
                      <a:pt x="583" y="457"/>
                    </a:lnTo>
                    <a:lnTo>
                      <a:pt x="583" y="459"/>
                    </a:lnTo>
                    <a:lnTo>
                      <a:pt x="582" y="459"/>
                    </a:lnTo>
                    <a:lnTo>
                      <a:pt x="582" y="460"/>
                    </a:lnTo>
                    <a:lnTo>
                      <a:pt x="581" y="460"/>
                    </a:lnTo>
                    <a:lnTo>
                      <a:pt x="581" y="461"/>
                    </a:lnTo>
                    <a:lnTo>
                      <a:pt x="580" y="461"/>
                    </a:lnTo>
                    <a:lnTo>
                      <a:pt x="580" y="462"/>
                    </a:lnTo>
                    <a:lnTo>
                      <a:pt x="579" y="462"/>
                    </a:lnTo>
                    <a:lnTo>
                      <a:pt x="578" y="462"/>
                    </a:lnTo>
                    <a:lnTo>
                      <a:pt x="577" y="462"/>
                    </a:lnTo>
                    <a:lnTo>
                      <a:pt x="577" y="463"/>
                    </a:lnTo>
                    <a:lnTo>
                      <a:pt x="575" y="463"/>
                    </a:lnTo>
                    <a:lnTo>
                      <a:pt x="573" y="463"/>
                    </a:lnTo>
                    <a:lnTo>
                      <a:pt x="570" y="463"/>
                    </a:lnTo>
                    <a:lnTo>
                      <a:pt x="569" y="463"/>
                    </a:lnTo>
                    <a:lnTo>
                      <a:pt x="569" y="462"/>
                    </a:lnTo>
                    <a:lnTo>
                      <a:pt x="569" y="461"/>
                    </a:lnTo>
                    <a:lnTo>
                      <a:pt x="569" y="462"/>
                    </a:lnTo>
                    <a:lnTo>
                      <a:pt x="570" y="462"/>
                    </a:lnTo>
                    <a:lnTo>
                      <a:pt x="571" y="462"/>
                    </a:lnTo>
                    <a:lnTo>
                      <a:pt x="573" y="462"/>
                    </a:lnTo>
                    <a:lnTo>
                      <a:pt x="573" y="461"/>
                    </a:lnTo>
                    <a:lnTo>
                      <a:pt x="574" y="461"/>
                    </a:lnTo>
                    <a:lnTo>
                      <a:pt x="574" y="462"/>
                    </a:lnTo>
                    <a:lnTo>
                      <a:pt x="575" y="462"/>
                    </a:lnTo>
                    <a:lnTo>
                      <a:pt x="575" y="461"/>
                    </a:lnTo>
                    <a:lnTo>
                      <a:pt x="574" y="461"/>
                    </a:lnTo>
                    <a:lnTo>
                      <a:pt x="575" y="461"/>
                    </a:lnTo>
                    <a:lnTo>
                      <a:pt x="574" y="460"/>
                    </a:lnTo>
                    <a:lnTo>
                      <a:pt x="575" y="460"/>
                    </a:lnTo>
                    <a:lnTo>
                      <a:pt x="575" y="461"/>
                    </a:lnTo>
                    <a:lnTo>
                      <a:pt x="576" y="461"/>
                    </a:lnTo>
                    <a:lnTo>
                      <a:pt x="575" y="461"/>
                    </a:lnTo>
                    <a:lnTo>
                      <a:pt x="575" y="462"/>
                    </a:lnTo>
                    <a:lnTo>
                      <a:pt x="576" y="462"/>
                    </a:lnTo>
                    <a:lnTo>
                      <a:pt x="576" y="461"/>
                    </a:lnTo>
                    <a:lnTo>
                      <a:pt x="577" y="462"/>
                    </a:lnTo>
                    <a:lnTo>
                      <a:pt x="577" y="461"/>
                    </a:lnTo>
                    <a:lnTo>
                      <a:pt x="577" y="462"/>
                    </a:lnTo>
                    <a:lnTo>
                      <a:pt x="577" y="461"/>
                    </a:lnTo>
                    <a:lnTo>
                      <a:pt x="577" y="462"/>
                    </a:lnTo>
                    <a:lnTo>
                      <a:pt x="577" y="461"/>
                    </a:lnTo>
                    <a:lnTo>
                      <a:pt x="578" y="461"/>
                    </a:lnTo>
                    <a:lnTo>
                      <a:pt x="578" y="460"/>
                    </a:lnTo>
                    <a:lnTo>
                      <a:pt x="579" y="460"/>
                    </a:lnTo>
                    <a:lnTo>
                      <a:pt x="578" y="460"/>
                    </a:lnTo>
                    <a:lnTo>
                      <a:pt x="579" y="460"/>
                    </a:lnTo>
                    <a:lnTo>
                      <a:pt x="579" y="459"/>
                    </a:lnTo>
                    <a:lnTo>
                      <a:pt x="579" y="460"/>
                    </a:lnTo>
                    <a:lnTo>
                      <a:pt x="579" y="459"/>
                    </a:lnTo>
                    <a:lnTo>
                      <a:pt x="579" y="460"/>
                    </a:lnTo>
                    <a:lnTo>
                      <a:pt x="579" y="459"/>
                    </a:lnTo>
                    <a:lnTo>
                      <a:pt x="579" y="460"/>
                    </a:lnTo>
                    <a:lnTo>
                      <a:pt x="580" y="460"/>
                    </a:lnTo>
                    <a:lnTo>
                      <a:pt x="580" y="459"/>
                    </a:lnTo>
                    <a:lnTo>
                      <a:pt x="579" y="459"/>
                    </a:lnTo>
                    <a:lnTo>
                      <a:pt x="580" y="459"/>
                    </a:lnTo>
                    <a:lnTo>
                      <a:pt x="580" y="457"/>
                    </a:lnTo>
                    <a:lnTo>
                      <a:pt x="580" y="459"/>
                    </a:lnTo>
                    <a:lnTo>
                      <a:pt x="581" y="459"/>
                    </a:lnTo>
                    <a:lnTo>
                      <a:pt x="582" y="459"/>
                    </a:lnTo>
                    <a:lnTo>
                      <a:pt x="582" y="457"/>
                    </a:lnTo>
                    <a:lnTo>
                      <a:pt x="581" y="457"/>
                    </a:lnTo>
                    <a:lnTo>
                      <a:pt x="581" y="456"/>
                    </a:lnTo>
                    <a:lnTo>
                      <a:pt x="582" y="456"/>
                    </a:lnTo>
                    <a:close/>
                    <a:moveTo>
                      <a:pt x="86" y="319"/>
                    </a:moveTo>
                    <a:lnTo>
                      <a:pt x="87" y="319"/>
                    </a:lnTo>
                    <a:lnTo>
                      <a:pt x="86" y="320"/>
                    </a:lnTo>
                    <a:lnTo>
                      <a:pt x="86" y="321"/>
                    </a:lnTo>
                    <a:lnTo>
                      <a:pt x="85" y="321"/>
                    </a:lnTo>
                    <a:lnTo>
                      <a:pt x="85" y="322"/>
                    </a:lnTo>
                    <a:lnTo>
                      <a:pt x="85" y="323"/>
                    </a:lnTo>
                    <a:lnTo>
                      <a:pt x="85" y="322"/>
                    </a:lnTo>
                    <a:lnTo>
                      <a:pt x="85" y="321"/>
                    </a:lnTo>
                    <a:lnTo>
                      <a:pt x="86" y="321"/>
                    </a:lnTo>
                    <a:lnTo>
                      <a:pt x="86" y="322"/>
                    </a:lnTo>
                    <a:lnTo>
                      <a:pt x="86" y="323"/>
                    </a:lnTo>
                    <a:lnTo>
                      <a:pt x="87" y="323"/>
                    </a:lnTo>
                    <a:lnTo>
                      <a:pt x="87" y="324"/>
                    </a:lnTo>
                    <a:lnTo>
                      <a:pt x="87" y="325"/>
                    </a:lnTo>
                    <a:lnTo>
                      <a:pt x="87" y="324"/>
                    </a:lnTo>
                    <a:lnTo>
                      <a:pt x="88" y="324"/>
                    </a:lnTo>
                    <a:lnTo>
                      <a:pt x="89" y="324"/>
                    </a:lnTo>
                    <a:lnTo>
                      <a:pt x="89" y="323"/>
                    </a:lnTo>
                    <a:lnTo>
                      <a:pt x="89" y="322"/>
                    </a:lnTo>
                    <a:lnTo>
                      <a:pt x="89" y="321"/>
                    </a:lnTo>
                    <a:lnTo>
                      <a:pt x="88" y="321"/>
                    </a:lnTo>
                    <a:lnTo>
                      <a:pt x="88" y="320"/>
                    </a:lnTo>
                    <a:lnTo>
                      <a:pt x="89" y="321"/>
                    </a:lnTo>
                    <a:lnTo>
                      <a:pt x="90" y="321"/>
                    </a:lnTo>
                    <a:lnTo>
                      <a:pt x="90" y="322"/>
                    </a:lnTo>
                    <a:lnTo>
                      <a:pt x="91" y="322"/>
                    </a:lnTo>
                    <a:lnTo>
                      <a:pt x="91" y="321"/>
                    </a:lnTo>
                    <a:lnTo>
                      <a:pt x="92" y="321"/>
                    </a:lnTo>
                    <a:lnTo>
                      <a:pt x="93" y="321"/>
                    </a:lnTo>
                    <a:lnTo>
                      <a:pt x="93" y="320"/>
                    </a:lnTo>
                    <a:lnTo>
                      <a:pt x="94" y="320"/>
                    </a:lnTo>
                    <a:lnTo>
                      <a:pt x="94" y="321"/>
                    </a:lnTo>
                    <a:lnTo>
                      <a:pt x="96" y="321"/>
                    </a:lnTo>
                    <a:lnTo>
                      <a:pt x="94" y="321"/>
                    </a:lnTo>
                    <a:lnTo>
                      <a:pt x="94" y="322"/>
                    </a:lnTo>
                    <a:lnTo>
                      <a:pt x="92" y="322"/>
                    </a:lnTo>
                    <a:lnTo>
                      <a:pt x="91" y="322"/>
                    </a:lnTo>
                    <a:lnTo>
                      <a:pt x="91" y="323"/>
                    </a:lnTo>
                    <a:lnTo>
                      <a:pt x="90" y="323"/>
                    </a:lnTo>
                    <a:lnTo>
                      <a:pt x="90" y="324"/>
                    </a:lnTo>
                    <a:lnTo>
                      <a:pt x="89" y="324"/>
                    </a:lnTo>
                    <a:lnTo>
                      <a:pt x="88" y="324"/>
                    </a:lnTo>
                    <a:lnTo>
                      <a:pt x="88" y="325"/>
                    </a:lnTo>
                    <a:lnTo>
                      <a:pt x="87" y="326"/>
                    </a:lnTo>
                    <a:lnTo>
                      <a:pt x="86" y="326"/>
                    </a:lnTo>
                    <a:lnTo>
                      <a:pt x="85" y="325"/>
                    </a:lnTo>
                    <a:lnTo>
                      <a:pt x="85" y="324"/>
                    </a:lnTo>
                    <a:lnTo>
                      <a:pt x="85" y="323"/>
                    </a:lnTo>
                    <a:lnTo>
                      <a:pt x="84" y="322"/>
                    </a:lnTo>
                    <a:lnTo>
                      <a:pt x="84" y="321"/>
                    </a:lnTo>
                    <a:lnTo>
                      <a:pt x="83" y="320"/>
                    </a:lnTo>
                    <a:lnTo>
                      <a:pt x="84" y="320"/>
                    </a:lnTo>
                    <a:lnTo>
                      <a:pt x="85" y="320"/>
                    </a:lnTo>
                    <a:lnTo>
                      <a:pt x="85" y="319"/>
                    </a:lnTo>
                    <a:lnTo>
                      <a:pt x="86" y="319"/>
                    </a:lnTo>
                    <a:close/>
                    <a:moveTo>
                      <a:pt x="461" y="475"/>
                    </a:moveTo>
                    <a:lnTo>
                      <a:pt x="462" y="475"/>
                    </a:lnTo>
                    <a:lnTo>
                      <a:pt x="463" y="474"/>
                    </a:lnTo>
                    <a:lnTo>
                      <a:pt x="462" y="474"/>
                    </a:lnTo>
                    <a:lnTo>
                      <a:pt x="463" y="474"/>
                    </a:lnTo>
                    <a:lnTo>
                      <a:pt x="464" y="474"/>
                    </a:lnTo>
                    <a:lnTo>
                      <a:pt x="464" y="475"/>
                    </a:lnTo>
                    <a:lnTo>
                      <a:pt x="463" y="476"/>
                    </a:lnTo>
                    <a:lnTo>
                      <a:pt x="463" y="477"/>
                    </a:lnTo>
                    <a:lnTo>
                      <a:pt x="462" y="477"/>
                    </a:lnTo>
                    <a:lnTo>
                      <a:pt x="462" y="478"/>
                    </a:lnTo>
                    <a:lnTo>
                      <a:pt x="461" y="478"/>
                    </a:lnTo>
                    <a:lnTo>
                      <a:pt x="460" y="478"/>
                    </a:lnTo>
                    <a:lnTo>
                      <a:pt x="460" y="477"/>
                    </a:lnTo>
                    <a:lnTo>
                      <a:pt x="459" y="477"/>
                    </a:lnTo>
                    <a:lnTo>
                      <a:pt x="459" y="476"/>
                    </a:lnTo>
                    <a:lnTo>
                      <a:pt x="458" y="475"/>
                    </a:lnTo>
                    <a:lnTo>
                      <a:pt x="458" y="474"/>
                    </a:lnTo>
                    <a:lnTo>
                      <a:pt x="458" y="473"/>
                    </a:lnTo>
                    <a:lnTo>
                      <a:pt x="459" y="472"/>
                    </a:lnTo>
                    <a:lnTo>
                      <a:pt x="459" y="473"/>
                    </a:lnTo>
                    <a:lnTo>
                      <a:pt x="460" y="473"/>
                    </a:lnTo>
                    <a:lnTo>
                      <a:pt x="461" y="474"/>
                    </a:lnTo>
                    <a:lnTo>
                      <a:pt x="461" y="475"/>
                    </a:lnTo>
                    <a:close/>
                    <a:moveTo>
                      <a:pt x="437" y="493"/>
                    </a:moveTo>
                    <a:lnTo>
                      <a:pt x="438" y="493"/>
                    </a:lnTo>
                    <a:lnTo>
                      <a:pt x="439" y="493"/>
                    </a:lnTo>
                    <a:lnTo>
                      <a:pt x="440" y="493"/>
                    </a:lnTo>
                    <a:lnTo>
                      <a:pt x="440" y="492"/>
                    </a:lnTo>
                    <a:lnTo>
                      <a:pt x="440" y="493"/>
                    </a:lnTo>
                    <a:lnTo>
                      <a:pt x="440" y="494"/>
                    </a:lnTo>
                    <a:lnTo>
                      <a:pt x="439" y="495"/>
                    </a:lnTo>
                    <a:lnTo>
                      <a:pt x="439" y="496"/>
                    </a:lnTo>
                    <a:lnTo>
                      <a:pt x="439" y="498"/>
                    </a:lnTo>
                    <a:lnTo>
                      <a:pt x="438" y="498"/>
                    </a:lnTo>
                    <a:lnTo>
                      <a:pt x="438" y="499"/>
                    </a:lnTo>
                    <a:lnTo>
                      <a:pt x="437" y="501"/>
                    </a:lnTo>
                    <a:lnTo>
                      <a:pt x="437" y="502"/>
                    </a:lnTo>
                    <a:lnTo>
                      <a:pt x="436" y="503"/>
                    </a:lnTo>
                    <a:lnTo>
                      <a:pt x="436" y="504"/>
                    </a:lnTo>
                    <a:lnTo>
                      <a:pt x="435" y="504"/>
                    </a:lnTo>
                    <a:lnTo>
                      <a:pt x="435" y="505"/>
                    </a:lnTo>
                    <a:lnTo>
                      <a:pt x="435" y="504"/>
                    </a:lnTo>
                    <a:lnTo>
                      <a:pt x="435" y="503"/>
                    </a:lnTo>
                    <a:lnTo>
                      <a:pt x="434" y="503"/>
                    </a:lnTo>
                    <a:lnTo>
                      <a:pt x="433" y="502"/>
                    </a:lnTo>
                    <a:lnTo>
                      <a:pt x="434" y="502"/>
                    </a:lnTo>
                    <a:lnTo>
                      <a:pt x="435" y="502"/>
                    </a:lnTo>
                    <a:lnTo>
                      <a:pt x="435" y="503"/>
                    </a:lnTo>
                    <a:lnTo>
                      <a:pt x="436" y="503"/>
                    </a:lnTo>
                    <a:lnTo>
                      <a:pt x="436" y="502"/>
                    </a:lnTo>
                    <a:lnTo>
                      <a:pt x="436" y="501"/>
                    </a:lnTo>
                    <a:lnTo>
                      <a:pt x="437" y="501"/>
                    </a:lnTo>
                    <a:lnTo>
                      <a:pt x="437" y="500"/>
                    </a:lnTo>
                    <a:lnTo>
                      <a:pt x="437" y="499"/>
                    </a:lnTo>
                    <a:lnTo>
                      <a:pt x="438" y="499"/>
                    </a:lnTo>
                    <a:lnTo>
                      <a:pt x="438" y="498"/>
                    </a:lnTo>
                    <a:lnTo>
                      <a:pt x="438" y="496"/>
                    </a:lnTo>
                    <a:lnTo>
                      <a:pt x="438" y="495"/>
                    </a:lnTo>
                    <a:lnTo>
                      <a:pt x="439" y="495"/>
                    </a:lnTo>
                    <a:lnTo>
                      <a:pt x="439" y="494"/>
                    </a:lnTo>
                    <a:lnTo>
                      <a:pt x="438" y="494"/>
                    </a:lnTo>
                    <a:lnTo>
                      <a:pt x="437" y="494"/>
                    </a:lnTo>
                    <a:lnTo>
                      <a:pt x="437" y="493"/>
                    </a:lnTo>
                    <a:lnTo>
                      <a:pt x="436" y="493"/>
                    </a:lnTo>
                    <a:lnTo>
                      <a:pt x="435" y="493"/>
                    </a:lnTo>
                    <a:lnTo>
                      <a:pt x="435" y="495"/>
                    </a:lnTo>
                    <a:lnTo>
                      <a:pt x="435" y="498"/>
                    </a:lnTo>
                    <a:lnTo>
                      <a:pt x="435" y="499"/>
                    </a:lnTo>
                    <a:lnTo>
                      <a:pt x="434" y="499"/>
                    </a:lnTo>
                    <a:lnTo>
                      <a:pt x="434" y="498"/>
                    </a:lnTo>
                    <a:lnTo>
                      <a:pt x="434" y="496"/>
                    </a:lnTo>
                    <a:lnTo>
                      <a:pt x="434" y="495"/>
                    </a:lnTo>
                    <a:lnTo>
                      <a:pt x="434" y="494"/>
                    </a:lnTo>
                    <a:lnTo>
                      <a:pt x="434" y="493"/>
                    </a:lnTo>
                    <a:lnTo>
                      <a:pt x="434" y="492"/>
                    </a:lnTo>
                    <a:lnTo>
                      <a:pt x="433" y="492"/>
                    </a:lnTo>
                    <a:lnTo>
                      <a:pt x="432" y="492"/>
                    </a:lnTo>
                    <a:lnTo>
                      <a:pt x="433" y="492"/>
                    </a:lnTo>
                    <a:lnTo>
                      <a:pt x="433" y="491"/>
                    </a:lnTo>
                    <a:lnTo>
                      <a:pt x="434" y="491"/>
                    </a:lnTo>
                    <a:lnTo>
                      <a:pt x="434" y="492"/>
                    </a:lnTo>
                    <a:lnTo>
                      <a:pt x="435" y="492"/>
                    </a:lnTo>
                    <a:lnTo>
                      <a:pt x="436" y="492"/>
                    </a:lnTo>
                    <a:lnTo>
                      <a:pt x="437" y="492"/>
                    </a:lnTo>
                    <a:lnTo>
                      <a:pt x="437" y="493"/>
                    </a:lnTo>
                    <a:close/>
                    <a:moveTo>
                      <a:pt x="278" y="259"/>
                    </a:moveTo>
                    <a:lnTo>
                      <a:pt x="279" y="259"/>
                    </a:lnTo>
                    <a:lnTo>
                      <a:pt x="280" y="260"/>
                    </a:lnTo>
                    <a:lnTo>
                      <a:pt x="281" y="260"/>
                    </a:lnTo>
                    <a:lnTo>
                      <a:pt x="282" y="260"/>
                    </a:lnTo>
                    <a:lnTo>
                      <a:pt x="282" y="259"/>
                    </a:lnTo>
                    <a:lnTo>
                      <a:pt x="283" y="259"/>
                    </a:lnTo>
                    <a:lnTo>
                      <a:pt x="284" y="259"/>
                    </a:lnTo>
                    <a:lnTo>
                      <a:pt x="285" y="259"/>
                    </a:lnTo>
                    <a:lnTo>
                      <a:pt x="284" y="260"/>
                    </a:lnTo>
                    <a:lnTo>
                      <a:pt x="283" y="260"/>
                    </a:lnTo>
                    <a:lnTo>
                      <a:pt x="283" y="261"/>
                    </a:lnTo>
                    <a:lnTo>
                      <a:pt x="282" y="261"/>
                    </a:lnTo>
                    <a:lnTo>
                      <a:pt x="283" y="261"/>
                    </a:lnTo>
                    <a:lnTo>
                      <a:pt x="282" y="261"/>
                    </a:lnTo>
                    <a:lnTo>
                      <a:pt x="282" y="262"/>
                    </a:lnTo>
                    <a:lnTo>
                      <a:pt x="283" y="262"/>
                    </a:lnTo>
                    <a:lnTo>
                      <a:pt x="283" y="263"/>
                    </a:lnTo>
                    <a:lnTo>
                      <a:pt x="282" y="263"/>
                    </a:lnTo>
                    <a:lnTo>
                      <a:pt x="281" y="263"/>
                    </a:lnTo>
                    <a:lnTo>
                      <a:pt x="281" y="262"/>
                    </a:lnTo>
                    <a:lnTo>
                      <a:pt x="280" y="262"/>
                    </a:lnTo>
                    <a:lnTo>
                      <a:pt x="280" y="261"/>
                    </a:lnTo>
                    <a:lnTo>
                      <a:pt x="280" y="260"/>
                    </a:lnTo>
                    <a:lnTo>
                      <a:pt x="279" y="260"/>
                    </a:lnTo>
                    <a:lnTo>
                      <a:pt x="279" y="261"/>
                    </a:lnTo>
                    <a:lnTo>
                      <a:pt x="278" y="260"/>
                    </a:lnTo>
                    <a:lnTo>
                      <a:pt x="278" y="261"/>
                    </a:lnTo>
                    <a:lnTo>
                      <a:pt x="277" y="261"/>
                    </a:lnTo>
                    <a:lnTo>
                      <a:pt x="276" y="261"/>
                    </a:lnTo>
                    <a:lnTo>
                      <a:pt x="276" y="262"/>
                    </a:lnTo>
                    <a:lnTo>
                      <a:pt x="276" y="263"/>
                    </a:lnTo>
                    <a:lnTo>
                      <a:pt x="276" y="264"/>
                    </a:lnTo>
                    <a:lnTo>
                      <a:pt x="274" y="264"/>
                    </a:lnTo>
                    <a:lnTo>
                      <a:pt x="274" y="263"/>
                    </a:lnTo>
                    <a:lnTo>
                      <a:pt x="273" y="262"/>
                    </a:lnTo>
                    <a:lnTo>
                      <a:pt x="273" y="261"/>
                    </a:lnTo>
                    <a:lnTo>
                      <a:pt x="274" y="261"/>
                    </a:lnTo>
                    <a:lnTo>
                      <a:pt x="276" y="261"/>
                    </a:lnTo>
                    <a:lnTo>
                      <a:pt x="276" y="260"/>
                    </a:lnTo>
                    <a:lnTo>
                      <a:pt x="277" y="259"/>
                    </a:lnTo>
                    <a:lnTo>
                      <a:pt x="276" y="259"/>
                    </a:lnTo>
                    <a:lnTo>
                      <a:pt x="276" y="260"/>
                    </a:lnTo>
                    <a:lnTo>
                      <a:pt x="274" y="261"/>
                    </a:lnTo>
                    <a:lnTo>
                      <a:pt x="273" y="261"/>
                    </a:lnTo>
                    <a:lnTo>
                      <a:pt x="273" y="260"/>
                    </a:lnTo>
                    <a:lnTo>
                      <a:pt x="274" y="260"/>
                    </a:lnTo>
                    <a:lnTo>
                      <a:pt x="276" y="260"/>
                    </a:lnTo>
                    <a:lnTo>
                      <a:pt x="276" y="259"/>
                    </a:lnTo>
                    <a:lnTo>
                      <a:pt x="277" y="259"/>
                    </a:lnTo>
                    <a:lnTo>
                      <a:pt x="277" y="258"/>
                    </a:lnTo>
                    <a:lnTo>
                      <a:pt x="278" y="259"/>
                    </a:lnTo>
                    <a:close/>
                    <a:moveTo>
                      <a:pt x="193" y="415"/>
                    </a:moveTo>
                    <a:lnTo>
                      <a:pt x="194" y="415"/>
                    </a:lnTo>
                    <a:lnTo>
                      <a:pt x="194" y="416"/>
                    </a:lnTo>
                    <a:lnTo>
                      <a:pt x="195" y="416"/>
                    </a:lnTo>
                    <a:lnTo>
                      <a:pt x="195" y="417"/>
                    </a:lnTo>
                    <a:lnTo>
                      <a:pt x="196" y="417"/>
                    </a:lnTo>
                    <a:lnTo>
                      <a:pt x="195" y="417"/>
                    </a:lnTo>
                    <a:lnTo>
                      <a:pt x="196" y="417"/>
                    </a:lnTo>
                    <a:lnTo>
                      <a:pt x="196" y="418"/>
                    </a:lnTo>
                    <a:lnTo>
                      <a:pt x="197" y="418"/>
                    </a:lnTo>
                    <a:lnTo>
                      <a:pt x="199" y="420"/>
                    </a:lnTo>
                    <a:lnTo>
                      <a:pt x="200" y="420"/>
                    </a:lnTo>
                    <a:lnTo>
                      <a:pt x="201" y="420"/>
                    </a:lnTo>
                    <a:lnTo>
                      <a:pt x="202" y="418"/>
                    </a:lnTo>
                    <a:lnTo>
                      <a:pt x="203" y="418"/>
                    </a:lnTo>
                    <a:lnTo>
                      <a:pt x="204" y="418"/>
                    </a:lnTo>
                    <a:lnTo>
                      <a:pt x="204" y="417"/>
                    </a:lnTo>
                    <a:lnTo>
                      <a:pt x="204" y="418"/>
                    </a:lnTo>
                    <a:lnTo>
                      <a:pt x="206" y="420"/>
                    </a:lnTo>
                    <a:lnTo>
                      <a:pt x="204" y="420"/>
                    </a:lnTo>
                    <a:lnTo>
                      <a:pt x="203" y="420"/>
                    </a:lnTo>
                    <a:lnTo>
                      <a:pt x="206" y="420"/>
                    </a:lnTo>
                    <a:lnTo>
                      <a:pt x="207" y="420"/>
                    </a:lnTo>
                    <a:lnTo>
                      <a:pt x="208" y="420"/>
                    </a:lnTo>
                    <a:lnTo>
                      <a:pt x="208" y="421"/>
                    </a:lnTo>
                    <a:lnTo>
                      <a:pt x="207" y="421"/>
                    </a:lnTo>
                    <a:lnTo>
                      <a:pt x="206" y="421"/>
                    </a:lnTo>
                    <a:lnTo>
                      <a:pt x="205" y="421"/>
                    </a:lnTo>
                    <a:lnTo>
                      <a:pt x="203" y="421"/>
                    </a:lnTo>
                    <a:lnTo>
                      <a:pt x="202" y="421"/>
                    </a:lnTo>
                    <a:lnTo>
                      <a:pt x="201" y="420"/>
                    </a:lnTo>
                    <a:lnTo>
                      <a:pt x="199" y="420"/>
                    </a:lnTo>
                    <a:lnTo>
                      <a:pt x="197" y="420"/>
                    </a:lnTo>
                    <a:lnTo>
                      <a:pt x="196" y="420"/>
                    </a:lnTo>
                    <a:lnTo>
                      <a:pt x="195" y="418"/>
                    </a:lnTo>
                    <a:lnTo>
                      <a:pt x="193" y="418"/>
                    </a:lnTo>
                    <a:lnTo>
                      <a:pt x="192" y="418"/>
                    </a:lnTo>
                    <a:lnTo>
                      <a:pt x="192" y="417"/>
                    </a:lnTo>
                    <a:lnTo>
                      <a:pt x="193" y="417"/>
                    </a:lnTo>
                    <a:lnTo>
                      <a:pt x="194" y="417"/>
                    </a:lnTo>
                    <a:lnTo>
                      <a:pt x="193" y="417"/>
                    </a:lnTo>
                    <a:lnTo>
                      <a:pt x="192" y="417"/>
                    </a:lnTo>
                    <a:lnTo>
                      <a:pt x="192" y="415"/>
                    </a:lnTo>
                    <a:lnTo>
                      <a:pt x="193" y="415"/>
                    </a:lnTo>
                    <a:close/>
                    <a:moveTo>
                      <a:pt x="248" y="383"/>
                    </a:moveTo>
                    <a:lnTo>
                      <a:pt x="248" y="384"/>
                    </a:lnTo>
                    <a:lnTo>
                      <a:pt x="248" y="385"/>
                    </a:lnTo>
                    <a:lnTo>
                      <a:pt x="249" y="387"/>
                    </a:lnTo>
                    <a:lnTo>
                      <a:pt x="249" y="388"/>
                    </a:lnTo>
                    <a:lnTo>
                      <a:pt x="249" y="389"/>
                    </a:lnTo>
                    <a:lnTo>
                      <a:pt x="248" y="390"/>
                    </a:lnTo>
                    <a:lnTo>
                      <a:pt x="248" y="391"/>
                    </a:lnTo>
                    <a:lnTo>
                      <a:pt x="248" y="392"/>
                    </a:lnTo>
                    <a:lnTo>
                      <a:pt x="247" y="392"/>
                    </a:lnTo>
                    <a:lnTo>
                      <a:pt x="247" y="391"/>
                    </a:lnTo>
                    <a:lnTo>
                      <a:pt x="245" y="391"/>
                    </a:lnTo>
                    <a:lnTo>
                      <a:pt x="245" y="390"/>
                    </a:lnTo>
                    <a:lnTo>
                      <a:pt x="244" y="390"/>
                    </a:lnTo>
                    <a:lnTo>
                      <a:pt x="245" y="390"/>
                    </a:lnTo>
                    <a:lnTo>
                      <a:pt x="245" y="389"/>
                    </a:lnTo>
                    <a:lnTo>
                      <a:pt x="244" y="389"/>
                    </a:lnTo>
                    <a:lnTo>
                      <a:pt x="244" y="388"/>
                    </a:lnTo>
                    <a:lnTo>
                      <a:pt x="245" y="388"/>
                    </a:lnTo>
                    <a:lnTo>
                      <a:pt x="246" y="388"/>
                    </a:lnTo>
                    <a:lnTo>
                      <a:pt x="247" y="387"/>
                    </a:lnTo>
                    <a:lnTo>
                      <a:pt x="247" y="386"/>
                    </a:lnTo>
                    <a:lnTo>
                      <a:pt x="247" y="385"/>
                    </a:lnTo>
                    <a:lnTo>
                      <a:pt x="247" y="384"/>
                    </a:lnTo>
                    <a:lnTo>
                      <a:pt x="247" y="383"/>
                    </a:lnTo>
                    <a:lnTo>
                      <a:pt x="248" y="383"/>
                    </a:lnTo>
                    <a:lnTo>
                      <a:pt x="248" y="382"/>
                    </a:lnTo>
                    <a:lnTo>
                      <a:pt x="249" y="382"/>
                    </a:lnTo>
                    <a:lnTo>
                      <a:pt x="249" y="383"/>
                    </a:lnTo>
                    <a:lnTo>
                      <a:pt x="248" y="383"/>
                    </a:lnTo>
                    <a:close/>
                    <a:moveTo>
                      <a:pt x="123" y="325"/>
                    </a:moveTo>
                    <a:lnTo>
                      <a:pt x="123" y="326"/>
                    </a:lnTo>
                    <a:lnTo>
                      <a:pt x="123" y="327"/>
                    </a:lnTo>
                    <a:lnTo>
                      <a:pt x="122" y="327"/>
                    </a:lnTo>
                    <a:lnTo>
                      <a:pt x="122" y="328"/>
                    </a:lnTo>
                    <a:lnTo>
                      <a:pt x="120" y="327"/>
                    </a:lnTo>
                    <a:lnTo>
                      <a:pt x="120" y="326"/>
                    </a:lnTo>
                    <a:lnTo>
                      <a:pt x="119" y="326"/>
                    </a:lnTo>
                    <a:lnTo>
                      <a:pt x="119" y="327"/>
                    </a:lnTo>
                    <a:lnTo>
                      <a:pt x="120" y="327"/>
                    </a:lnTo>
                    <a:lnTo>
                      <a:pt x="120" y="328"/>
                    </a:lnTo>
                    <a:lnTo>
                      <a:pt x="119" y="328"/>
                    </a:lnTo>
                    <a:lnTo>
                      <a:pt x="118" y="328"/>
                    </a:lnTo>
                    <a:lnTo>
                      <a:pt x="118" y="329"/>
                    </a:lnTo>
                    <a:lnTo>
                      <a:pt x="117" y="329"/>
                    </a:lnTo>
                    <a:lnTo>
                      <a:pt x="117" y="331"/>
                    </a:lnTo>
                    <a:lnTo>
                      <a:pt x="117" y="329"/>
                    </a:lnTo>
                    <a:lnTo>
                      <a:pt x="117" y="328"/>
                    </a:lnTo>
                    <a:lnTo>
                      <a:pt x="118" y="328"/>
                    </a:lnTo>
                    <a:lnTo>
                      <a:pt x="118" y="327"/>
                    </a:lnTo>
                    <a:lnTo>
                      <a:pt x="119" y="327"/>
                    </a:lnTo>
                    <a:lnTo>
                      <a:pt x="118" y="327"/>
                    </a:lnTo>
                    <a:lnTo>
                      <a:pt x="118" y="326"/>
                    </a:lnTo>
                    <a:lnTo>
                      <a:pt x="119" y="327"/>
                    </a:lnTo>
                    <a:lnTo>
                      <a:pt x="119" y="326"/>
                    </a:lnTo>
                    <a:lnTo>
                      <a:pt x="118" y="326"/>
                    </a:lnTo>
                    <a:lnTo>
                      <a:pt x="118" y="325"/>
                    </a:lnTo>
                    <a:lnTo>
                      <a:pt x="118" y="326"/>
                    </a:lnTo>
                    <a:lnTo>
                      <a:pt x="119" y="326"/>
                    </a:lnTo>
                    <a:lnTo>
                      <a:pt x="118" y="326"/>
                    </a:lnTo>
                    <a:lnTo>
                      <a:pt x="118" y="327"/>
                    </a:lnTo>
                    <a:lnTo>
                      <a:pt x="119" y="327"/>
                    </a:lnTo>
                    <a:lnTo>
                      <a:pt x="118" y="327"/>
                    </a:lnTo>
                    <a:lnTo>
                      <a:pt x="118" y="328"/>
                    </a:lnTo>
                    <a:lnTo>
                      <a:pt x="118" y="327"/>
                    </a:lnTo>
                    <a:lnTo>
                      <a:pt x="118" y="328"/>
                    </a:lnTo>
                    <a:lnTo>
                      <a:pt x="117" y="328"/>
                    </a:lnTo>
                    <a:lnTo>
                      <a:pt x="117" y="327"/>
                    </a:lnTo>
                    <a:lnTo>
                      <a:pt x="118" y="326"/>
                    </a:lnTo>
                    <a:lnTo>
                      <a:pt x="118" y="325"/>
                    </a:lnTo>
                    <a:lnTo>
                      <a:pt x="118" y="324"/>
                    </a:lnTo>
                    <a:lnTo>
                      <a:pt x="119" y="324"/>
                    </a:lnTo>
                    <a:lnTo>
                      <a:pt x="120" y="323"/>
                    </a:lnTo>
                    <a:lnTo>
                      <a:pt x="122" y="323"/>
                    </a:lnTo>
                    <a:lnTo>
                      <a:pt x="123" y="323"/>
                    </a:lnTo>
                    <a:lnTo>
                      <a:pt x="124" y="324"/>
                    </a:lnTo>
                    <a:lnTo>
                      <a:pt x="123" y="325"/>
                    </a:lnTo>
                    <a:close/>
                    <a:moveTo>
                      <a:pt x="644" y="491"/>
                    </a:moveTo>
                    <a:lnTo>
                      <a:pt x="643" y="491"/>
                    </a:lnTo>
                    <a:lnTo>
                      <a:pt x="643" y="492"/>
                    </a:lnTo>
                    <a:lnTo>
                      <a:pt x="642" y="492"/>
                    </a:lnTo>
                    <a:lnTo>
                      <a:pt x="641" y="492"/>
                    </a:lnTo>
                    <a:lnTo>
                      <a:pt x="641" y="493"/>
                    </a:lnTo>
                    <a:lnTo>
                      <a:pt x="640" y="493"/>
                    </a:lnTo>
                    <a:lnTo>
                      <a:pt x="639" y="494"/>
                    </a:lnTo>
                    <a:lnTo>
                      <a:pt x="638" y="495"/>
                    </a:lnTo>
                    <a:lnTo>
                      <a:pt x="638" y="496"/>
                    </a:lnTo>
                    <a:lnTo>
                      <a:pt x="636" y="496"/>
                    </a:lnTo>
                    <a:lnTo>
                      <a:pt x="636" y="495"/>
                    </a:lnTo>
                    <a:lnTo>
                      <a:pt x="635" y="495"/>
                    </a:lnTo>
                    <a:lnTo>
                      <a:pt x="635" y="496"/>
                    </a:lnTo>
                    <a:lnTo>
                      <a:pt x="634" y="498"/>
                    </a:lnTo>
                    <a:lnTo>
                      <a:pt x="635" y="498"/>
                    </a:lnTo>
                    <a:lnTo>
                      <a:pt x="635" y="499"/>
                    </a:lnTo>
                    <a:lnTo>
                      <a:pt x="635" y="500"/>
                    </a:lnTo>
                    <a:lnTo>
                      <a:pt x="634" y="500"/>
                    </a:lnTo>
                    <a:lnTo>
                      <a:pt x="634" y="499"/>
                    </a:lnTo>
                    <a:lnTo>
                      <a:pt x="633" y="499"/>
                    </a:lnTo>
                    <a:lnTo>
                      <a:pt x="633" y="500"/>
                    </a:lnTo>
                    <a:lnTo>
                      <a:pt x="632" y="501"/>
                    </a:lnTo>
                    <a:lnTo>
                      <a:pt x="632" y="502"/>
                    </a:lnTo>
                    <a:lnTo>
                      <a:pt x="632" y="501"/>
                    </a:lnTo>
                    <a:lnTo>
                      <a:pt x="632" y="502"/>
                    </a:lnTo>
                    <a:lnTo>
                      <a:pt x="633" y="502"/>
                    </a:lnTo>
                    <a:lnTo>
                      <a:pt x="634" y="503"/>
                    </a:lnTo>
                    <a:lnTo>
                      <a:pt x="633" y="503"/>
                    </a:lnTo>
                    <a:lnTo>
                      <a:pt x="630" y="501"/>
                    </a:lnTo>
                    <a:lnTo>
                      <a:pt x="630" y="500"/>
                    </a:lnTo>
                    <a:lnTo>
                      <a:pt x="633" y="498"/>
                    </a:lnTo>
                    <a:lnTo>
                      <a:pt x="634" y="496"/>
                    </a:lnTo>
                    <a:lnTo>
                      <a:pt x="639" y="493"/>
                    </a:lnTo>
                    <a:lnTo>
                      <a:pt x="641" y="492"/>
                    </a:lnTo>
                    <a:lnTo>
                      <a:pt x="643" y="491"/>
                    </a:lnTo>
                    <a:lnTo>
                      <a:pt x="644" y="491"/>
                    </a:lnTo>
                    <a:close/>
                    <a:moveTo>
                      <a:pt x="491" y="443"/>
                    </a:moveTo>
                    <a:lnTo>
                      <a:pt x="491" y="444"/>
                    </a:lnTo>
                    <a:lnTo>
                      <a:pt x="491" y="443"/>
                    </a:lnTo>
                    <a:lnTo>
                      <a:pt x="491" y="444"/>
                    </a:lnTo>
                    <a:lnTo>
                      <a:pt x="492" y="446"/>
                    </a:lnTo>
                    <a:lnTo>
                      <a:pt x="492" y="447"/>
                    </a:lnTo>
                    <a:lnTo>
                      <a:pt x="492" y="448"/>
                    </a:lnTo>
                    <a:lnTo>
                      <a:pt x="492" y="449"/>
                    </a:lnTo>
                    <a:lnTo>
                      <a:pt x="491" y="449"/>
                    </a:lnTo>
                    <a:lnTo>
                      <a:pt x="491" y="450"/>
                    </a:lnTo>
                    <a:lnTo>
                      <a:pt x="491" y="451"/>
                    </a:lnTo>
                    <a:lnTo>
                      <a:pt x="491" y="452"/>
                    </a:lnTo>
                    <a:lnTo>
                      <a:pt x="490" y="452"/>
                    </a:lnTo>
                    <a:lnTo>
                      <a:pt x="491" y="452"/>
                    </a:lnTo>
                    <a:lnTo>
                      <a:pt x="490" y="452"/>
                    </a:lnTo>
                    <a:lnTo>
                      <a:pt x="489" y="452"/>
                    </a:lnTo>
                    <a:lnTo>
                      <a:pt x="489" y="451"/>
                    </a:lnTo>
                    <a:lnTo>
                      <a:pt x="489" y="450"/>
                    </a:lnTo>
                    <a:lnTo>
                      <a:pt x="489" y="449"/>
                    </a:lnTo>
                    <a:lnTo>
                      <a:pt x="488" y="449"/>
                    </a:lnTo>
                    <a:lnTo>
                      <a:pt x="488" y="448"/>
                    </a:lnTo>
                    <a:lnTo>
                      <a:pt x="489" y="448"/>
                    </a:lnTo>
                    <a:lnTo>
                      <a:pt x="489" y="447"/>
                    </a:lnTo>
                    <a:lnTo>
                      <a:pt x="489" y="446"/>
                    </a:lnTo>
                    <a:lnTo>
                      <a:pt x="489" y="444"/>
                    </a:lnTo>
                    <a:lnTo>
                      <a:pt x="489" y="443"/>
                    </a:lnTo>
                    <a:lnTo>
                      <a:pt x="490" y="443"/>
                    </a:lnTo>
                    <a:lnTo>
                      <a:pt x="491" y="443"/>
                    </a:lnTo>
                    <a:close/>
                    <a:moveTo>
                      <a:pt x="556" y="424"/>
                    </a:moveTo>
                    <a:lnTo>
                      <a:pt x="558" y="425"/>
                    </a:lnTo>
                    <a:lnTo>
                      <a:pt x="557" y="425"/>
                    </a:lnTo>
                    <a:lnTo>
                      <a:pt x="557" y="424"/>
                    </a:lnTo>
                    <a:lnTo>
                      <a:pt x="556" y="424"/>
                    </a:lnTo>
                    <a:lnTo>
                      <a:pt x="555" y="425"/>
                    </a:lnTo>
                    <a:lnTo>
                      <a:pt x="555" y="426"/>
                    </a:lnTo>
                    <a:lnTo>
                      <a:pt x="555" y="427"/>
                    </a:lnTo>
                    <a:lnTo>
                      <a:pt x="555" y="428"/>
                    </a:lnTo>
                    <a:lnTo>
                      <a:pt x="556" y="428"/>
                    </a:lnTo>
                    <a:lnTo>
                      <a:pt x="556" y="427"/>
                    </a:lnTo>
                    <a:lnTo>
                      <a:pt x="557" y="427"/>
                    </a:lnTo>
                    <a:lnTo>
                      <a:pt x="558" y="427"/>
                    </a:lnTo>
                    <a:lnTo>
                      <a:pt x="558" y="428"/>
                    </a:lnTo>
                    <a:lnTo>
                      <a:pt x="557" y="429"/>
                    </a:lnTo>
                    <a:lnTo>
                      <a:pt x="557" y="430"/>
                    </a:lnTo>
                    <a:lnTo>
                      <a:pt x="558" y="430"/>
                    </a:lnTo>
                    <a:lnTo>
                      <a:pt x="558" y="431"/>
                    </a:lnTo>
                    <a:lnTo>
                      <a:pt x="558" y="430"/>
                    </a:lnTo>
                    <a:lnTo>
                      <a:pt x="555" y="429"/>
                    </a:lnTo>
                    <a:lnTo>
                      <a:pt x="554" y="429"/>
                    </a:lnTo>
                    <a:lnTo>
                      <a:pt x="553" y="428"/>
                    </a:lnTo>
                    <a:lnTo>
                      <a:pt x="552" y="428"/>
                    </a:lnTo>
                    <a:lnTo>
                      <a:pt x="551" y="428"/>
                    </a:lnTo>
                    <a:lnTo>
                      <a:pt x="551" y="427"/>
                    </a:lnTo>
                    <a:lnTo>
                      <a:pt x="552" y="427"/>
                    </a:lnTo>
                    <a:lnTo>
                      <a:pt x="553" y="425"/>
                    </a:lnTo>
                    <a:lnTo>
                      <a:pt x="554" y="425"/>
                    </a:lnTo>
                    <a:lnTo>
                      <a:pt x="555" y="424"/>
                    </a:lnTo>
                    <a:lnTo>
                      <a:pt x="556" y="423"/>
                    </a:lnTo>
                    <a:lnTo>
                      <a:pt x="556" y="424"/>
                    </a:lnTo>
                    <a:close/>
                    <a:moveTo>
                      <a:pt x="573" y="437"/>
                    </a:moveTo>
                    <a:lnTo>
                      <a:pt x="573" y="438"/>
                    </a:lnTo>
                    <a:lnTo>
                      <a:pt x="574" y="438"/>
                    </a:lnTo>
                    <a:lnTo>
                      <a:pt x="573" y="438"/>
                    </a:lnTo>
                    <a:lnTo>
                      <a:pt x="571" y="438"/>
                    </a:lnTo>
                    <a:lnTo>
                      <a:pt x="573" y="438"/>
                    </a:lnTo>
                    <a:lnTo>
                      <a:pt x="571" y="438"/>
                    </a:lnTo>
                    <a:lnTo>
                      <a:pt x="573" y="439"/>
                    </a:lnTo>
                    <a:lnTo>
                      <a:pt x="571" y="439"/>
                    </a:lnTo>
                    <a:lnTo>
                      <a:pt x="571" y="438"/>
                    </a:lnTo>
                    <a:lnTo>
                      <a:pt x="571" y="439"/>
                    </a:lnTo>
                    <a:lnTo>
                      <a:pt x="571" y="440"/>
                    </a:lnTo>
                    <a:lnTo>
                      <a:pt x="570" y="440"/>
                    </a:lnTo>
                    <a:lnTo>
                      <a:pt x="570" y="441"/>
                    </a:lnTo>
                    <a:lnTo>
                      <a:pt x="571" y="441"/>
                    </a:lnTo>
                    <a:lnTo>
                      <a:pt x="570" y="441"/>
                    </a:lnTo>
                    <a:lnTo>
                      <a:pt x="570" y="442"/>
                    </a:lnTo>
                    <a:lnTo>
                      <a:pt x="570" y="443"/>
                    </a:lnTo>
                    <a:lnTo>
                      <a:pt x="569" y="443"/>
                    </a:lnTo>
                    <a:lnTo>
                      <a:pt x="569" y="444"/>
                    </a:lnTo>
                    <a:lnTo>
                      <a:pt x="568" y="443"/>
                    </a:lnTo>
                    <a:lnTo>
                      <a:pt x="567" y="443"/>
                    </a:lnTo>
                    <a:lnTo>
                      <a:pt x="567" y="444"/>
                    </a:lnTo>
                    <a:lnTo>
                      <a:pt x="566" y="444"/>
                    </a:lnTo>
                    <a:lnTo>
                      <a:pt x="567" y="444"/>
                    </a:lnTo>
                    <a:lnTo>
                      <a:pt x="567" y="446"/>
                    </a:lnTo>
                    <a:lnTo>
                      <a:pt x="566" y="446"/>
                    </a:lnTo>
                    <a:lnTo>
                      <a:pt x="567" y="446"/>
                    </a:lnTo>
                    <a:lnTo>
                      <a:pt x="568" y="446"/>
                    </a:lnTo>
                    <a:lnTo>
                      <a:pt x="567" y="444"/>
                    </a:lnTo>
                    <a:lnTo>
                      <a:pt x="568" y="444"/>
                    </a:lnTo>
                    <a:lnTo>
                      <a:pt x="567" y="444"/>
                    </a:lnTo>
                    <a:lnTo>
                      <a:pt x="568" y="444"/>
                    </a:lnTo>
                    <a:lnTo>
                      <a:pt x="569" y="444"/>
                    </a:lnTo>
                    <a:lnTo>
                      <a:pt x="568" y="444"/>
                    </a:lnTo>
                    <a:lnTo>
                      <a:pt x="568" y="446"/>
                    </a:lnTo>
                    <a:lnTo>
                      <a:pt x="569" y="446"/>
                    </a:lnTo>
                    <a:lnTo>
                      <a:pt x="569" y="444"/>
                    </a:lnTo>
                    <a:lnTo>
                      <a:pt x="570" y="444"/>
                    </a:lnTo>
                    <a:lnTo>
                      <a:pt x="569" y="444"/>
                    </a:lnTo>
                    <a:lnTo>
                      <a:pt x="570" y="443"/>
                    </a:lnTo>
                    <a:lnTo>
                      <a:pt x="570" y="444"/>
                    </a:lnTo>
                    <a:lnTo>
                      <a:pt x="570" y="443"/>
                    </a:lnTo>
                    <a:lnTo>
                      <a:pt x="570" y="444"/>
                    </a:lnTo>
                    <a:lnTo>
                      <a:pt x="570" y="443"/>
                    </a:lnTo>
                    <a:lnTo>
                      <a:pt x="571" y="442"/>
                    </a:lnTo>
                    <a:lnTo>
                      <a:pt x="573" y="442"/>
                    </a:lnTo>
                    <a:lnTo>
                      <a:pt x="573" y="443"/>
                    </a:lnTo>
                    <a:lnTo>
                      <a:pt x="571" y="443"/>
                    </a:lnTo>
                    <a:lnTo>
                      <a:pt x="571" y="444"/>
                    </a:lnTo>
                    <a:lnTo>
                      <a:pt x="570" y="444"/>
                    </a:lnTo>
                    <a:lnTo>
                      <a:pt x="570" y="446"/>
                    </a:lnTo>
                    <a:lnTo>
                      <a:pt x="569" y="446"/>
                    </a:lnTo>
                    <a:lnTo>
                      <a:pt x="568" y="446"/>
                    </a:lnTo>
                    <a:lnTo>
                      <a:pt x="566" y="446"/>
                    </a:lnTo>
                    <a:lnTo>
                      <a:pt x="566" y="444"/>
                    </a:lnTo>
                    <a:lnTo>
                      <a:pt x="568" y="442"/>
                    </a:lnTo>
                    <a:lnTo>
                      <a:pt x="568" y="441"/>
                    </a:lnTo>
                    <a:lnTo>
                      <a:pt x="569" y="440"/>
                    </a:lnTo>
                    <a:lnTo>
                      <a:pt x="569" y="439"/>
                    </a:lnTo>
                    <a:lnTo>
                      <a:pt x="570" y="439"/>
                    </a:lnTo>
                    <a:lnTo>
                      <a:pt x="570" y="438"/>
                    </a:lnTo>
                    <a:lnTo>
                      <a:pt x="570" y="437"/>
                    </a:lnTo>
                    <a:lnTo>
                      <a:pt x="571" y="437"/>
                    </a:lnTo>
                    <a:lnTo>
                      <a:pt x="573" y="436"/>
                    </a:lnTo>
                    <a:lnTo>
                      <a:pt x="573" y="437"/>
                    </a:lnTo>
                    <a:close/>
                    <a:moveTo>
                      <a:pt x="259" y="387"/>
                    </a:moveTo>
                    <a:lnTo>
                      <a:pt x="261" y="389"/>
                    </a:lnTo>
                    <a:lnTo>
                      <a:pt x="262" y="390"/>
                    </a:lnTo>
                    <a:lnTo>
                      <a:pt x="265" y="392"/>
                    </a:lnTo>
                    <a:lnTo>
                      <a:pt x="264" y="392"/>
                    </a:lnTo>
                    <a:lnTo>
                      <a:pt x="262" y="392"/>
                    </a:lnTo>
                    <a:lnTo>
                      <a:pt x="261" y="392"/>
                    </a:lnTo>
                    <a:lnTo>
                      <a:pt x="262" y="392"/>
                    </a:lnTo>
                    <a:lnTo>
                      <a:pt x="262" y="391"/>
                    </a:lnTo>
                    <a:lnTo>
                      <a:pt x="262" y="392"/>
                    </a:lnTo>
                    <a:lnTo>
                      <a:pt x="262" y="391"/>
                    </a:lnTo>
                    <a:lnTo>
                      <a:pt x="261" y="391"/>
                    </a:lnTo>
                    <a:lnTo>
                      <a:pt x="261" y="392"/>
                    </a:lnTo>
                    <a:lnTo>
                      <a:pt x="261" y="391"/>
                    </a:lnTo>
                    <a:lnTo>
                      <a:pt x="261" y="390"/>
                    </a:lnTo>
                    <a:lnTo>
                      <a:pt x="260" y="390"/>
                    </a:lnTo>
                    <a:lnTo>
                      <a:pt x="260" y="391"/>
                    </a:lnTo>
                    <a:lnTo>
                      <a:pt x="259" y="391"/>
                    </a:lnTo>
                    <a:lnTo>
                      <a:pt x="258" y="391"/>
                    </a:lnTo>
                    <a:lnTo>
                      <a:pt x="258" y="392"/>
                    </a:lnTo>
                    <a:lnTo>
                      <a:pt x="257" y="391"/>
                    </a:lnTo>
                    <a:lnTo>
                      <a:pt x="257" y="392"/>
                    </a:lnTo>
                    <a:lnTo>
                      <a:pt x="256" y="392"/>
                    </a:lnTo>
                    <a:lnTo>
                      <a:pt x="255" y="392"/>
                    </a:lnTo>
                    <a:lnTo>
                      <a:pt x="256" y="392"/>
                    </a:lnTo>
                    <a:lnTo>
                      <a:pt x="256" y="391"/>
                    </a:lnTo>
                    <a:lnTo>
                      <a:pt x="257" y="391"/>
                    </a:lnTo>
                    <a:lnTo>
                      <a:pt x="256" y="391"/>
                    </a:lnTo>
                    <a:lnTo>
                      <a:pt x="256" y="390"/>
                    </a:lnTo>
                    <a:lnTo>
                      <a:pt x="257" y="390"/>
                    </a:lnTo>
                    <a:lnTo>
                      <a:pt x="257" y="389"/>
                    </a:lnTo>
                    <a:lnTo>
                      <a:pt x="258" y="389"/>
                    </a:lnTo>
                    <a:lnTo>
                      <a:pt x="258" y="388"/>
                    </a:lnTo>
                    <a:lnTo>
                      <a:pt x="258" y="389"/>
                    </a:lnTo>
                    <a:lnTo>
                      <a:pt x="259" y="389"/>
                    </a:lnTo>
                    <a:lnTo>
                      <a:pt x="258" y="389"/>
                    </a:lnTo>
                    <a:lnTo>
                      <a:pt x="259" y="388"/>
                    </a:lnTo>
                    <a:lnTo>
                      <a:pt x="258" y="388"/>
                    </a:lnTo>
                    <a:lnTo>
                      <a:pt x="259" y="388"/>
                    </a:lnTo>
                    <a:lnTo>
                      <a:pt x="259" y="387"/>
                    </a:lnTo>
                    <a:close/>
                    <a:moveTo>
                      <a:pt x="615" y="506"/>
                    </a:moveTo>
                    <a:lnTo>
                      <a:pt x="615" y="508"/>
                    </a:lnTo>
                    <a:lnTo>
                      <a:pt x="615" y="510"/>
                    </a:lnTo>
                    <a:lnTo>
                      <a:pt x="615" y="511"/>
                    </a:lnTo>
                    <a:lnTo>
                      <a:pt x="616" y="511"/>
                    </a:lnTo>
                    <a:lnTo>
                      <a:pt x="615" y="511"/>
                    </a:lnTo>
                    <a:lnTo>
                      <a:pt x="614" y="511"/>
                    </a:lnTo>
                    <a:lnTo>
                      <a:pt x="614" y="512"/>
                    </a:lnTo>
                    <a:lnTo>
                      <a:pt x="613" y="512"/>
                    </a:lnTo>
                    <a:lnTo>
                      <a:pt x="613" y="513"/>
                    </a:lnTo>
                    <a:lnTo>
                      <a:pt x="613" y="514"/>
                    </a:lnTo>
                    <a:lnTo>
                      <a:pt x="612" y="514"/>
                    </a:lnTo>
                    <a:lnTo>
                      <a:pt x="610" y="513"/>
                    </a:lnTo>
                    <a:lnTo>
                      <a:pt x="612" y="513"/>
                    </a:lnTo>
                    <a:lnTo>
                      <a:pt x="612" y="512"/>
                    </a:lnTo>
                    <a:lnTo>
                      <a:pt x="613" y="512"/>
                    </a:lnTo>
                    <a:lnTo>
                      <a:pt x="613" y="511"/>
                    </a:lnTo>
                    <a:lnTo>
                      <a:pt x="613" y="510"/>
                    </a:lnTo>
                    <a:lnTo>
                      <a:pt x="612" y="511"/>
                    </a:lnTo>
                    <a:lnTo>
                      <a:pt x="612" y="510"/>
                    </a:lnTo>
                    <a:lnTo>
                      <a:pt x="610" y="510"/>
                    </a:lnTo>
                    <a:lnTo>
                      <a:pt x="612" y="510"/>
                    </a:lnTo>
                    <a:lnTo>
                      <a:pt x="612" y="508"/>
                    </a:lnTo>
                    <a:lnTo>
                      <a:pt x="612" y="507"/>
                    </a:lnTo>
                    <a:lnTo>
                      <a:pt x="613" y="507"/>
                    </a:lnTo>
                    <a:lnTo>
                      <a:pt x="612" y="507"/>
                    </a:lnTo>
                    <a:lnTo>
                      <a:pt x="610" y="507"/>
                    </a:lnTo>
                    <a:lnTo>
                      <a:pt x="610" y="508"/>
                    </a:lnTo>
                    <a:lnTo>
                      <a:pt x="609" y="507"/>
                    </a:lnTo>
                    <a:lnTo>
                      <a:pt x="613" y="506"/>
                    </a:lnTo>
                    <a:lnTo>
                      <a:pt x="614" y="506"/>
                    </a:lnTo>
                    <a:lnTo>
                      <a:pt x="615" y="506"/>
                    </a:lnTo>
                    <a:close/>
                    <a:moveTo>
                      <a:pt x="344" y="184"/>
                    </a:moveTo>
                    <a:lnTo>
                      <a:pt x="343" y="184"/>
                    </a:lnTo>
                    <a:lnTo>
                      <a:pt x="343" y="185"/>
                    </a:lnTo>
                    <a:lnTo>
                      <a:pt x="343" y="186"/>
                    </a:lnTo>
                    <a:lnTo>
                      <a:pt x="343" y="185"/>
                    </a:lnTo>
                    <a:lnTo>
                      <a:pt x="342" y="185"/>
                    </a:lnTo>
                    <a:lnTo>
                      <a:pt x="341" y="185"/>
                    </a:lnTo>
                    <a:lnTo>
                      <a:pt x="339" y="185"/>
                    </a:lnTo>
                    <a:lnTo>
                      <a:pt x="339" y="184"/>
                    </a:lnTo>
                    <a:lnTo>
                      <a:pt x="338" y="184"/>
                    </a:lnTo>
                    <a:lnTo>
                      <a:pt x="338" y="183"/>
                    </a:lnTo>
                    <a:lnTo>
                      <a:pt x="337" y="183"/>
                    </a:lnTo>
                    <a:lnTo>
                      <a:pt x="337" y="182"/>
                    </a:lnTo>
                    <a:lnTo>
                      <a:pt x="338" y="183"/>
                    </a:lnTo>
                    <a:lnTo>
                      <a:pt x="338" y="182"/>
                    </a:lnTo>
                    <a:lnTo>
                      <a:pt x="339" y="182"/>
                    </a:lnTo>
                    <a:lnTo>
                      <a:pt x="341" y="181"/>
                    </a:lnTo>
                    <a:lnTo>
                      <a:pt x="339" y="181"/>
                    </a:lnTo>
                    <a:lnTo>
                      <a:pt x="339" y="180"/>
                    </a:lnTo>
                    <a:lnTo>
                      <a:pt x="338" y="180"/>
                    </a:lnTo>
                    <a:lnTo>
                      <a:pt x="338" y="179"/>
                    </a:lnTo>
                    <a:lnTo>
                      <a:pt x="337" y="179"/>
                    </a:lnTo>
                    <a:lnTo>
                      <a:pt x="336" y="179"/>
                    </a:lnTo>
                    <a:lnTo>
                      <a:pt x="336" y="178"/>
                    </a:lnTo>
                    <a:lnTo>
                      <a:pt x="336" y="179"/>
                    </a:lnTo>
                    <a:lnTo>
                      <a:pt x="338" y="179"/>
                    </a:lnTo>
                    <a:lnTo>
                      <a:pt x="339" y="179"/>
                    </a:lnTo>
                    <a:lnTo>
                      <a:pt x="341" y="180"/>
                    </a:lnTo>
                    <a:lnTo>
                      <a:pt x="342" y="181"/>
                    </a:lnTo>
                    <a:lnTo>
                      <a:pt x="343" y="182"/>
                    </a:lnTo>
                    <a:lnTo>
                      <a:pt x="343" y="183"/>
                    </a:lnTo>
                    <a:lnTo>
                      <a:pt x="344" y="184"/>
                    </a:lnTo>
                    <a:close/>
                    <a:moveTo>
                      <a:pt x="305" y="388"/>
                    </a:moveTo>
                    <a:lnTo>
                      <a:pt x="304" y="389"/>
                    </a:lnTo>
                    <a:lnTo>
                      <a:pt x="305" y="389"/>
                    </a:lnTo>
                    <a:lnTo>
                      <a:pt x="304" y="389"/>
                    </a:lnTo>
                    <a:lnTo>
                      <a:pt x="304" y="390"/>
                    </a:lnTo>
                    <a:lnTo>
                      <a:pt x="305" y="390"/>
                    </a:lnTo>
                    <a:lnTo>
                      <a:pt x="305" y="391"/>
                    </a:lnTo>
                    <a:lnTo>
                      <a:pt x="305" y="392"/>
                    </a:lnTo>
                    <a:lnTo>
                      <a:pt x="304" y="392"/>
                    </a:lnTo>
                    <a:lnTo>
                      <a:pt x="303" y="392"/>
                    </a:lnTo>
                    <a:lnTo>
                      <a:pt x="303" y="391"/>
                    </a:lnTo>
                    <a:lnTo>
                      <a:pt x="303" y="390"/>
                    </a:lnTo>
                    <a:lnTo>
                      <a:pt x="302" y="390"/>
                    </a:lnTo>
                    <a:lnTo>
                      <a:pt x="303" y="389"/>
                    </a:lnTo>
                    <a:lnTo>
                      <a:pt x="303" y="388"/>
                    </a:lnTo>
                    <a:lnTo>
                      <a:pt x="302" y="389"/>
                    </a:lnTo>
                    <a:lnTo>
                      <a:pt x="303" y="389"/>
                    </a:lnTo>
                    <a:lnTo>
                      <a:pt x="302" y="389"/>
                    </a:lnTo>
                    <a:lnTo>
                      <a:pt x="302" y="390"/>
                    </a:lnTo>
                    <a:lnTo>
                      <a:pt x="302" y="389"/>
                    </a:lnTo>
                    <a:lnTo>
                      <a:pt x="302" y="388"/>
                    </a:lnTo>
                    <a:lnTo>
                      <a:pt x="300" y="388"/>
                    </a:lnTo>
                    <a:lnTo>
                      <a:pt x="302" y="388"/>
                    </a:lnTo>
                    <a:lnTo>
                      <a:pt x="305" y="383"/>
                    </a:lnTo>
                    <a:lnTo>
                      <a:pt x="306" y="383"/>
                    </a:lnTo>
                    <a:lnTo>
                      <a:pt x="305" y="384"/>
                    </a:lnTo>
                    <a:lnTo>
                      <a:pt x="305" y="385"/>
                    </a:lnTo>
                    <a:lnTo>
                      <a:pt x="305" y="387"/>
                    </a:lnTo>
                    <a:lnTo>
                      <a:pt x="305" y="388"/>
                    </a:lnTo>
                    <a:close/>
                    <a:moveTo>
                      <a:pt x="253" y="247"/>
                    </a:moveTo>
                    <a:lnTo>
                      <a:pt x="254" y="248"/>
                    </a:lnTo>
                    <a:lnTo>
                      <a:pt x="254" y="247"/>
                    </a:lnTo>
                    <a:lnTo>
                      <a:pt x="255" y="247"/>
                    </a:lnTo>
                    <a:lnTo>
                      <a:pt x="255" y="248"/>
                    </a:lnTo>
                    <a:lnTo>
                      <a:pt x="256" y="248"/>
                    </a:lnTo>
                    <a:lnTo>
                      <a:pt x="256" y="249"/>
                    </a:lnTo>
                    <a:lnTo>
                      <a:pt x="256" y="250"/>
                    </a:lnTo>
                    <a:lnTo>
                      <a:pt x="256" y="251"/>
                    </a:lnTo>
                    <a:lnTo>
                      <a:pt x="256" y="253"/>
                    </a:lnTo>
                    <a:lnTo>
                      <a:pt x="255" y="253"/>
                    </a:lnTo>
                    <a:lnTo>
                      <a:pt x="254" y="253"/>
                    </a:lnTo>
                    <a:lnTo>
                      <a:pt x="254" y="251"/>
                    </a:lnTo>
                    <a:lnTo>
                      <a:pt x="253" y="251"/>
                    </a:lnTo>
                    <a:lnTo>
                      <a:pt x="253" y="250"/>
                    </a:lnTo>
                    <a:lnTo>
                      <a:pt x="252" y="250"/>
                    </a:lnTo>
                    <a:lnTo>
                      <a:pt x="251" y="250"/>
                    </a:lnTo>
                    <a:lnTo>
                      <a:pt x="251" y="249"/>
                    </a:lnTo>
                    <a:lnTo>
                      <a:pt x="251" y="248"/>
                    </a:lnTo>
                    <a:lnTo>
                      <a:pt x="251" y="247"/>
                    </a:lnTo>
                    <a:lnTo>
                      <a:pt x="251" y="248"/>
                    </a:lnTo>
                    <a:lnTo>
                      <a:pt x="251" y="247"/>
                    </a:lnTo>
                    <a:lnTo>
                      <a:pt x="252" y="247"/>
                    </a:lnTo>
                    <a:lnTo>
                      <a:pt x="251" y="248"/>
                    </a:lnTo>
                    <a:lnTo>
                      <a:pt x="252" y="248"/>
                    </a:lnTo>
                    <a:lnTo>
                      <a:pt x="252" y="247"/>
                    </a:lnTo>
                    <a:lnTo>
                      <a:pt x="253" y="247"/>
                    </a:lnTo>
                    <a:close/>
                    <a:moveTo>
                      <a:pt x="158" y="386"/>
                    </a:moveTo>
                    <a:lnTo>
                      <a:pt x="160" y="386"/>
                    </a:lnTo>
                    <a:lnTo>
                      <a:pt x="158" y="386"/>
                    </a:lnTo>
                    <a:lnTo>
                      <a:pt x="158" y="385"/>
                    </a:lnTo>
                    <a:lnTo>
                      <a:pt x="160" y="386"/>
                    </a:lnTo>
                    <a:lnTo>
                      <a:pt x="161" y="387"/>
                    </a:lnTo>
                    <a:lnTo>
                      <a:pt x="162" y="387"/>
                    </a:lnTo>
                    <a:lnTo>
                      <a:pt x="163" y="388"/>
                    </a:lnTo>
                    <a:lnTo>
                      <a:pt x="163" y="389"/>
                    </a:lnTo>
                    <a:lnTo>
                      <a:pt x="164" y="389"/>
                    </a:lnTo>
                    <a:lnTo>
                      <a:pt x="166" y="389"/>
                    </a:lnTo>
                    <a:lnTo>
                      <a:pt x="166" y="388"/>
                    </a:lnTo>
                    <a:lnTo>
                      <a:pt x="166" y="389"/>
                    </a:lnTo>
                    <a:lnTo>
                      <a:pt x="165" y="389"/>
                    </a:lnTo>
                    <a:lnTo>
                      <a:pt x="165" y="390"/>
                    </a:lnTo>
                    <a:lnTo>
                      <a:pt x="164" y="390"/>
                    </a:lnTo>
                    <a:lnTo>
                      <a:pt x="163" y="390"/>
                    </a:lnTo>
                    <a:lnTo>
                      <a:pt x="163" y="389"/>
                    </a:lnTo>
                    <a:lnTo>
                      <a:pt x="163" y="388"/>
                    </a:lnTo>
                    <a:lnTo>
                      <a:pt x="163" y="389"/>
                    </a:lnTo>
                    <a:lnTo>
                      <a:pt x="162" y="389"/>
                    </a:lnTo>
                    <a:lnTo>
                      <a:pt x="162" y="388"/>
                    </a:lnTo>
                    <a:lnTo>
                      <a:pt x="162" y="389"/>
                    </a:lnTo>
                    <a:lnTo>
                      <a:pt x="161" y="390"/>
                    </a:lnTo>
                    <a:lnTo>
                      <a:pt x="160" y="390"/>
                    </a:lnTo>
                    <a:lnTo>
                      <a:pt x="156" y="387"/>
                    </a:lnTo>
                    <a:lnTo>
                      <a:pt x="157" y="387"/>
                    </a:lnTo>
                    <a:lnTo>
                      <a:pt x="157" y="388"/>
                    </a:lnTo>
                    <a:lnTo>
                      <a:pt x="157" y="387"/>
                    </a:lnTo>
                    <a:lnTo>
                      <a:pt x="158" y="387"/>
                    </a:lnTo>
                    <a:lnTo>
                      <a:pt x="158" y="388"/>
                    </a:lnTo>
                    <a:lnTo>
                      <a:pt x="157" y="388"/>
                    </a:lnTo>
                    <a:lnTo>
                      <a:pt x="158" y="388"/>
                    </a:lnTo>
                    <a:lnTo>
                      <a:pt x="158" y="387"/>
                    </a:lnTo>
                    <a:lnTo>
                      <a:pt x="157" y="387"/>
                    </a:lnTo>
                    <a:lnTo>
                      <a:pt x="157" y="386"/>
                    </a:lnTo>
                    <a:lnTo>
                      <a:pt x="156" y="386"/>
                    </a:lnTo>
                    <a:lnTo>
                      <a:pt x="157" y="386"/>
                    </a:lnTo>
                    <a:lnTo>
                      <a:pt x="157" y="385"/>
                    </a:lnTo>
                    <a:lnTo>
                      <a:pt x="158" y="385"/>
                    </a:lnTo>
                    <a:lnTo>
                      <a:pt x="158" y="386"/>
                    </a:lnTo>
                    <a:close/>
                    <a:moveTo>
                      <a:pt x="192" y="400"/>
                    </a:moveTo>
                    <a:lnTo>
                      <a:pt x="192" y="401"/>
                    </a:lnTo>
                    <a:lnTo>
                      <a:pt x="192" y="402"/>
                    </a:lnTo>
                    <a:lnTo>
                      <a:pt x="192" y="403"/>
                    </a:lnTo>
                    <a:lnTo>
                      <a:pt x="192" y="404"/>
                    </a:lnTo>
                    <a:lnTo>
                      <a:pt x="192" y="405"/>
                    </a:lnTo>
                    <a:lnTo>
                      <a:pt x="191" y="405"/>
                    </a:lnTo>
                    <a:lnTo>
                      <a:pt x="191" y="404"/>
                    </a:lnTo>
                    <a:lnTo>
                      <a:pt x="190" y="404"/>
                    </a:lnTo>
                    <a:lnTo>
                      <a:pt x="188" y="404"/>
                    </a:lnTo>
                    <a:lnTo>
                      <a:pt x="188" y="403"/>
                    </a:lnTo>
                    <a:lnTo>
                      <a:pt x="188" y="402"/>
                    </a:lnTo>
                    <a:lnTo>
                      <a:pt x="189" y="402"/>
                    </a:lnTo>
                    <a:lnTo>
                      <a:pt x="190" y="402"/>
                    </a:lnTo>
                    <a:lnTo>
                      <a:pt x="189" y="402"/>
                    </a:lnTo>
                    <a:lnTo>
                      <a:pt x="188" y="402"/>
                    </a:lnTo>
                    <a:lnTo>
                      <a:pt x="188" y="403"/>
                    </a:lnTo>
                    <a:lnTo>
                      <a:pt x="189" y="403"/>
                    </a:lnTo>
                    <a:lnTo>
                      <a:pt x="188" y="403"/>
                    </a:lnTo>
                    <a:lnTo>
                      <a:pt x="189" y="403"/>
                    </a:lnTo>
                    <a:lnTo>
                      <a:pt x="190" y="403"/>
                    </a:lnTo>
                    <a:lnTo>
                      <a:pt x="190" y="402"/>
                    </a:lnTo>
                    <a:lnTo>
                      <a:pt x="190" y="401"/>
                    </a:lnTo>
                    <a:lnTo>
                      <a:pt x="190" y="402"/>
                    </a:lnTo>
                    <a:lnTo>
                      <a:pt x="189" y="402"/>
                    </a:lnTo>
                    <a:lnTo>
                      <a:pt x="188" y="402"/>
                    </a:lnTo>
                    <a:lnTo>
                      <a:pt x="188" y="403"/>
                    </a:lnTo>
                    <a:lnTo>
                      <a:pt x="188" y="404"/>
                    </a:lnTo>
                    <a:lnTo>
                      <a:pt x="187" y="404"/>
                    </a:lnTo>
                    <a:lnTo>
                      <a:pt x="187" y="403"/>
                    </a:lnTo>
                    <a:lnTo>
                      <a:pt x="187" y="402"/>
                    </a:lnTo>
                    <a:lnTo>
                      <a:pt x="187" y="401"/>
                    </a:lnTo>
                    <a:lnTo>
                      <a:pt x="188" y="401"/>
                    </a:lnTo>
                    <a:lnTo>
                      <a:pt x="187" y="400"/>
                    </a:lnTo>
                    <a:lnTo>
                      <a:pt x="188" y="400"/>
                    </a:lnTo>
                    <a:lnTo>
                      <a:pt x="188" y="401"/>
                    </a:lnTo>
                    <a:lnTo>
                      <a:pt x="189" y="401"/>
                    </a:lnTo>
                    <a:lnTo>
                      <a:pt x="189" y="400"/>
                    </a:lnTo>
                    <a:lnTo>
                      <a:pt x="189" y="401"/>
                    </a:lnTo>
                    <a:lnTo>
                      <a:pt x="188" y="401"/>
                    </a:lnTo>
                    <a:lnTo>
                      <a:pt x="189" y="401"/>
                    </a:lnTo>
                    <a:lnTo>
                      <a:pt x="190" y="401"/>
                    </a:lnTo>
                    <a:lnTo>
                      <a:pt x="191" y="401"/>
                    </a:lnTo>
                    <a:lnTo>
                      <a:pt x="188" y="400"/>
                    </a:lnTo>
                    <a:lnTo>
                      <a:pt x="192" y="401"/>
                    </a:lnTo>
                    <a:lnTo>
                      <a:pt x="192" y="400"/>
                    </a:lnTo>
                    <a:lnTo>
                      <a:pt x="189" y="400"/>
                    </a:lnTo>
                    <a:lnTo>
                      <a:pt x="188" y="400"/>
                    </a:lnTo>
                    <a:lnTo>
                      <a:pt x="190" y="400"/>
                    </a:lnTo>
                    <a:lnTo>
                      <a:pt x="191" y="400"/>
                    </a:lnTo>
                    <a:lnTo>
                      <a:pt x="191" y="399"/>
                    </a:lnTo>
                    <a:lnTo>
                      <a:pt x="192" y="399"/>
                    </a:lnTo>
                    <a:lnTo>
                      <a:pt x="192" y="398"/>
                    </a:lnTo>
                    <a:lnTo>
                      <a:pt x="192" y="397"/>
                    </a:lnTo>
                    <a:lnTo>
                      <a:pt x="192" y="396"/>
                    </a:lnTo>
                    <a:lnTo>
                      <a:pt x="193" y="396"/>
                    </a:lnTo>
                    <a:lnTo>
                      <a:pt x="193" y="395"/>
                    </a:lnTo>
                    <a:lnTo>
                      <a:pt x="193" y="396"/>
                    </a:lnTo>
                    <a:lnTo>
                      <a:pt x="193" y="397"/>
                    </a:lnTo>
                    <a:lnTo>
                      <a:pt x="192" y="397"/>
                    </a:lnTo>
                    <a:lnTo>
                      <a:pt x="192" y="398"/>
                    </a:lnTo>
                    <a:lnTo>
                      <a:pt x="192" y="399"/>
                    </a:lnTo>
                    <a:lnTo>
                      <a:pt x="192" y="400"/>
                    </a:lnTo>
                    <a:close/>
                    <a:moveTo>
                      <a:pt x="210" y="410"/>
                    </a:moveTo>
                    <a:lnTo>
                      <a:pt x="212" y="410"/>
                    </a:lnTo>
                    <a:lnTo>
                      <a:pt x="213" y="410"/>
                    </a:lnTo>
                    <a:lnTo>
                      <a:pt x="214" y="410"/>
                    </a:lnTo>
                    <a:lnTo>
                      <a:pt x="214" y="411"/>
                    </a:lnTo>
                    <a:lnTo>
                      <a:pt x="214" y="412"/>
                    </a:lnTo>
                    <a:lnTo>
                      <a:pt x="214" y="413"/>
                    </a:lnTo>
                    <a:lnTo>
                      <a:pt x="215" y="413"/>
                    </a:lnTo>
                    <a:lnTo>
                      <a:pt x="215" y="412"/>
                    </a:lnTo>
                    <a:lnTo>
                      <a:pt x="215" y="411"/>
                    </a:lnTo>
                    <a:lnTo>
                      <a:pt x="214" y="411"/>
                    </a:lnTo>
                    <a:lnTo>
                      <a:pt x="215" y="411"/>
                    </a:lnTo>
                    <a:lnTo>
                      <a:pt x="215" y="410"/>
                    </a:lnTo>
                    <a:lnTo>
                      <a:pt x="215" y="413"/>
                    </a:lnTo>
                    <a:lnTo>
                      <a:pt x="214" y="413"/>
                    </a:lnTo>
                    <a:lnTo>
                      <a:pt x="212" y="413"/>
                    </a:lnTo>
                    <a:lnTo>
                      <a:pt x="213" y="412"/>
                    </a:lnTo>
                    <a:lnTo>
                      <a:pt x="214" y="411"/>
                    </a:lnTo>
                    <a:lnTo>
                      <a:pt x="214" y="410"/>
                    </a:lnTo>
                    <a:lnTo>
                      <a:pt x="212" y="413"/>
                    </a:lnTo>
                    <a:lnTo>
                      <a:pt x="209" y="413"/>
                    </a:lnTo>
                    <a:lnTo>
                      <a:pt x="208" y="413"/>
                    </a:lnTo>
                    <a:lnTo>
                      <a:pt x="208" y="412"/>
                    </a:lnTo>
                    <a:lnTo>
                      <a:pt x="208" y="410"/>
                    </a:lnTo>
                    <a:lnTo>
                      <a:pt x="209" y="410"/>
                    </a:lnTo>
                    <a:lnTo>
                      <a:pt x="209" y="409"/>
                    </a:lnTo>
                    <a:lnTo>
                      <a:pt x="210" y="409"/>
                    </a:lnTo>
                    <a:lnTo>
                      <a:pt x="210" y="410"/>
                    </a:lnTo>
                    <a:close/>
                    <a:moveTo>
                      <a:pt x="292" y="457"/>
                    </a:moveTo>
                    <a:lnTo>
                      <a:pt x="292" y="459"/>
                    </a:lnTo>
                    <a:lnTo>
                      <a:pt x="293" y="459"/>
                    </a:lnTo>
                    <a:lnTo>
                      <a:pt x="292" y="459"/>
                    </a:lnTo>
                    <a:lnTo>
                      <a:pt x="293" y="459"/>
                    </a:lnTo>
                    <a:lnTo>
                      <a:pt x="297" y="460"/>
                    </a:lnTo>
                    <a:lnTo>
                      <a:pt x="298" y="460"/>
                    </a:lnTo>
                    <a:lnTo>
                      <a:pt x="304" y="462"/>
                    </a:lnTo>
                    <a:lnTo>
                      <a:pt x="310" y="463"/>
                    </a:lnTo>
                    <a:lnTo>
                      <a:pt x="309" y="463"/>
                    </a:lnTo>
                    <a:lnTo>
                      <a:pt x="308" y="463"/>
                    </a:lnTo>
                    <a:lnTo>
                      <a:pt x="307" y="463"/>
                    </a:lnTo>
                    <a:lnTo>
                      <a:pt x="306" y="463"/>
                    </a:lnTo>
                    <a:lnTo>
                      <a:pt x="306" y="462"/>
                    </a:lnTo>
                    <a:lnTo>
                      <a:pt x="305" y="462"/>
                    </a:lnTo>
                    <a:lnTo>
                      <a:pt x="304" y="462"/>
                    </a:lnTo>
                    <a:lnTo>
                      <a:pt x="302" y="462"/>
                    </a:lnTo>
                    <a:lnTo>
                      <a:pt x="300" y="461"/>
                    </a:lnTo>
                    <a:lnTo>
                      <a:pt x="299" y="461"/>
                    </a:lnTo>
                    <a:lnTo>
                      <a:pt x="298" y="461"/>
                    </a:lnTo>
                    <a:lnTo>
                      <a:pt x="295" y="460"/>
                    </a:lnTo>
                    <a:lnTo>
                      <a:pt x="294" y="460"/>
                    </a:lnTo>
                    <a:lnTo>
                      <a:pt x="293" y="460"/>
                    </a:lnTo>
                    <a:lnTo>
                      <a:pt x="289" y="459"/>
                    </a:lnTo>
                    <a:lnTo>
                      <a:pt x="287" y="459"/>
                    </a:lnTo>
                    <a:lnTo>
                      <a:pt x="286" y="459"/>
                    </a:lnTo>
                    <a:lnTo>
                      <a:pt x="286" y="457"/>
                    </a:lnTo>
                    <a:lnTo>
                      <a:pt x="287" y="457"/>
                    </a:lnTo>
                    <a:lnTo>
                      <a:pt x="287" y="456"/>
                    </a:lnTo>
                    <a:lnTo>
                      <a:pt x="289" y="456"/>
                    </a:lnTo>
                    <a:lnTo>
                      <a:pt x="290" y="457"/>
                    </a:lnTo>
                    <a:lnTo>
                      <a:pt x="291" y="457"/>
                    </a:lnTo>
                    <a:lnTo>
                      <a:pt x="292" y="457"/>
                    </a:lnTo>
                    <a:close/>
                    <a:moveTo>
                      <a:pt x="256" y="165"/>
                    </a:moveTo>
                    <a:lnTo>
                      <a:pt x="257" y="165"/>
                    </a:lnTo>
                    <a:lnTo>
                      <a:pt x="258" y="165"/>
                    </a:lnTo>
                    <a:lnTo>
                      <a:pt x="259" y="165"/>
                    </a:lnTo>
                    <a:lnTo>
                      <a:pt x="260" y="165"/>
                    </a:lnTo>
                    <a:lnTo>
                      <a:pt x="260" y="166"/>
                    </a:lnTo>
                    <a:lnTo>
                      <a:pt x="259" y="166"/>
                    </a:lnTo>
                    <a:lnTo>
                      <a:pt x="260" y="167"/>
                    </a:lnTo>
                    <a:lnTo>
                      <a:pt x="260" y="168"/>
                    </a:lnTo>
                    <a:lnTo>
                      <a:pt x="260" y="169"/>
                    </a:lnTo>
                    <a:lnTo>
                      <a:pt x="260" y="170"/>
                    </a:lnTo>
                    <a:lnTo>
                      <a:pt x="260" y="171"/>
                    </a:lnTo>
                    <a:lnTo>
                      <a:pt x="259" y="171"/>
                    </a:lnTo>
                    <a:lnTo>
                      <a:pt x="258" y="171"/>
                    </a:lnTo>
                    <a:lnTo>
                      <a:pt x="258" y="170"/>
                    </a:lnTo>
                    <a:lnTo>
                      <a:pt x="258" y="171"/>
                    </a:lnTo>
                    <a:lnTo>
                      <a:pt x="257" y="171"/>
                    </a:lnTo>
                    <a:lnTo>
                      <a:pt x="256" y="171"/>
                    </a:lnTo>
                    <a:lnTo>
                      <a:pt x="257" y="171"/>
                    </a:lnTo>
                    <a:lnTo>
                      <a:pt x="257" y="170"/>
                    </a:lnTo>
                    <a:lnTo>
                      <a:pt x="256" y="170"/>
                    </a:lnTo>
                    <a:lnTo>
                      <a:pt x="256" y="169"/>
                    </a:lnTo>
                    <a:lnTo>
                      <a:pt x="256" y="168"/>
                    </a:lnTo>
                    <a:lnTo>
                      <a:pt x="257" y="168"/>
                    </a:lnTo>
                    <a:lnTo>
                      <a:pt x="257" y="169"/>
                    </a:lnTo>
                    <a:lnTo>
                      <a:pt x="258" y="169"/>
                    </a:lnTo>
                    <a:lnTo>
                      <a:pt x="257" y="169"/>
                    </a:lnTo>
                    <a:lnTo>
                      <a:pt x="257" y="168"/>
                    </a:lnTo>
                    <a:lnTo>
                      <a:pt x="258" y="168"/>
                    </a:lnTo>
                    <a:lnTo>
                      <a:pt x="258" y="167"/>
                    </a:lnTo>
                    <a:lnTo>
                      <a:pt x="258" y="166"/>
                    </a:lnTo>
                    <a:lnTo>
                      <a:pt x="257" y="166"/>
                    </a:lnTo>
                    <a:lnTo>
                      <a:pt x="257" y="167"/>
                    </a:lnTo>
                    <a:lnTo>
                      <a:pt x="256" y="166"/>
                    </a:lnTo>
                    <a:lnTo>
                      <a:pt x="256" y="165"/>
                    </a:lnTo>
                    <a:lnTo>
                      <a:pt x="255" y="165"/>
                    </a:lnTo>
                    <a:lnTo>
                      <a:pt x="256" y="165"/>
                    </a:lnTo>
                    <a:close/>
                    <a:moveTo>
                      <a:pt x="473" y="598"/>
                    </a:moveTo>
                    <a:lnTo>
                      <a:pt x="473" y="600"/>
                    </a:lnTo>
                    <a:lnTo>
                      <a:pt x="474" y="600"/>
                    </a:lnTo>
                    <a:lnTo>
                      <a:pt x="474" y="601"/>
                    </a:lnTo>
                    <a:lnTo>
                      <a:pt x="475" y="601"/>
                    </a:lnTo>
                    <a:lnTo>
                      <a:pt x="474" y="600"/>
                    </a:lnTo>
                    <a:lnTo>
                      <a:pt x="475" y="600"/>
                    </a:lnTo>
                    <a:lnTo>
                      <a:pt x="475" y="598"/>
                    </a:lnTo>
                    <a:lnTo>
                      <a:pt x="475" y="600"/>
                    </a:lnTo>
                    <a:lnTo>
                      <a:pt x="475" y="598"/>
                    </a:lnTo>
                    <a:lnTo>
                      <a:pt x="476" y="598"/>
                    </a:lnTo>
                    <a:lnTo>
                      <a:pt x="476" y="597"/>
                    </a:lnTo>
                    <a:lnTo>
                      <a:pt x="477" y="598"/>
                    </a:lnTo>
                    <a:lnTo>
                      <a:pt x="476" y="598"/>
                    </a:lnTo>
                    <a:lnTo>
                      <a:pt x="477" y="598"/>
                    </a:lnTo>
                    <a:lnTo>
                      <a:pt x="477" y="600"/>
                    </a:lnTo>
                    <a:lnTo>
                      <a:pt x="476" y="600"/>
                    </a:lnTo>
                    <a:lnTo>
                      <a:pt x="476" y="601"/>
                    </a:lnTo>
                    <a:lnTo>
                      <a:pt x="477" y="601"/>
                    </a:lnTo>
                    <a:lnTo>
                      <a:pt x="477" y="600"/>
                    </a:lnTo>
                    <a:lnTo>
                      <a:pt x="478" y="601"/>
                    </a:lnTo>
                    <a:lnTo>
                      <a:pt x="477" y="601"/>
                    </a:lnTo>
                    <a:lnTo>
                      <a:pt x="476" y="602"/>
                    </a:lnTo>
                    <a:lnTo>
                      <a:pt x="476" y="601"/>
                    </a:lnTo>
                    <a:lnTo>
                      <a:pt x="476" y="602"/>
                    </a:lnTo>
                    <a:lnTo>
                      <a:pt x="475" y="602"/>
                    </a:lnTo>
                    <a:lnTo>
                      <a:pt x="474" y="602"/>
                    </a:lnTo>
                    <a:lnTo>
                      <a:pt x="474" y="603"/>
                    </a:lnTo>
                    <a:lnTo>
                      <a:pt x="473" y="603"/>
                    </a:lnTo>
                    <a:lnTo>
                      <a:pt x="472" y="602"/>
                    </a:lnTo>
                    <a:lnTo>
                      <a:pt x="473" y="602"/>
                    </a:lnTo>
                    <a:lnTo>
                      <a:pt x="472" y="602"/>
                    </a:lnTo>
                    <a:lnTo>
                      <a:pt x="471" y="602"/>
                    </a:lnTo>
                    <a:lnTo>
                      <a:pt x="471" y="603"/>
                    </a:lnTo>
                    <a:lnTo>
                      <a:pt x="470" y="603"/>
                    </a:lnTo>
                    <a:lnTo>
                      <a:pt x="470" y="604"/>
                    </a:lnTo>
                    <a:lnTo>
                      <a:pt x="470" y="603"/>
                    </a:lnTo>
                    <a:lnTo>
                      <a:pt x="470" y="602"/>
                    </a:lnTo>
                    <a:lnTo>
                      <a:pt x="471" y="602"/>
                    </a:lnTo>
                    <a:lnTo>
                      <a:pt x="470" y="602"/>
                    </a:lnTo>
                    <a:lnTo>
                      <a:pt x="471" y="601"/>
                    </a:lnTo>
                    <a:lnTo>
                      <a:pt x="471" y="600"/>
                    </a:lnTo>
                    <a:lnTo>
                      <a:pt x="471" y="601"/>
                    </a:lnTo>
                    <a:lnTo>
                      <a:pt x="472" y="600"/>
                    </a:lnTo>
                    <a:lnTo>
                      <a:pt x="472" y="601"/>
                    </a:lnTo>
                    <a:lnTo>
                      <a:pt x="473" y="601"/>
                    </a:lnTo>
                    <a:lnTo>
                      <a:pt x="473" y="600"/>
                    </a:lnTo>
                    <a:lnTo>
                      <a:pt x="472" y="600"/>
                    </a:lnTo>
                    <a:lnTo>
                      <a:pt x="472" y="598"/>
                    </a:lnTo>
                    <a:lnTo>
                      <a:pt x="472" y="597"/>
                    </a:lnTo>
                    <a:lnTo>
                      <a:pt x="473" y="598"/>
                    </a:lnTo>
                    <a:close/>
                    <a:moveTo>
                      <a:pt x="409" y="671"/>
                    </a:moveTo>
                    <a:lnTo>
                      <a:pt x="409" y="672"/>
                    </a:lnTo>
                    <a:lnTo>
                      <a:pt x="410" y="672"/>
                    </a:lnTo>
                    <a:lnTo>
                      <a:pt x="411" y="672"/>
                    </a:lnTo>
                    <a:lnTo>
                      <a:pt x="411" y="673"/>
                    </a:lnTo>
                    <a:lnTo>
                      <a:pt x="410" y="673"/>
                    </a:lnTo>
                    <a:lnTo>
                      <a:pt x="410" y="674"/>
                    </a:lnTo>
                    <a:lnTo>
                      <a:pt x="410" y="673"/>
                    </a:lnTo>
                    <a:lnTo>
                      <a:pt x="409" y="673"/>
                    </a:lnTo>
                    <a:lnTo>
                      <a:pt x="409" y="674"/>
                    </a:lnTo>
                    <a:lnTo>
                      <a:pt x="410" y="674"/>
                    </a:lnTo>
                    <a:lnTo>
                      <a:pt x="410" y="675"/>
                    </a:lnTo>
                    <a:lnTo>
                      <a:pt x="409" y="675"/>
                    </a:lnTo>
                    <a:lnTo>
                      <a:pt x="408" y="677"/>
                    </a:lnTo>
                    <a:lnTo>
                      <a:pt x="408" y="678"/>
                    </a:lnTo>
                    <a:lnTo>
                      <a:pt x="408" y="679"/>
                    </a:lnTo>
                    <a:lnTo>
                      <a:pt x="407" y="680"/>
                    </a:lnTo>
                    <a:lnTo>
                      <a:pt x="406" y="680"/>
                    </a:lnTo>
                    <a:lnTo>
                      <a:pt x="404" y="679"/>
                    </a:lnTo>
                    <a:lnTo>
                      <a:pt x="404" y="678"/>
                    </a:lnTo>
                    <a:lnTo>
                      <a:pt x="406" y="678"/>
                    </a:lnTo>
                    <a:lnTo>
                      <a:pt x="406" y="677"/>
                    </a:lnTo>
                    <a:lnTo>
                      <a:pt x="407" y="675"/>
                    </a:lnTo>
                    <a:lnTo>
                      <a:pt x="407" y="674"/>
                    </a:lnTo>
                    <a:lnTo>
                      <a:pt x="408" y="674"/>
                    </a:lnTo>
                    <a:lnTo>
                      <a:pt x="408" y="673"/>
                    </a:lnTo>
                    <a:lnTo>
                      <a:pt x="408" y="672"/>
                    </a:lnTo>
                    <a:lnTo>
                      <a:pt x="409" y="671"/>
                    </a:lnTo>
                    <a:close/>
                    <a:moveTo>
                      <a:pt x="444" y="530"/>
                    </a:moveTo>
                    <a:lnTo>
                      <a:pt x="445" y="530"/>
                    </a:lnTo>
                    <a:lnTo>
                      <a:pt x="445" y="532"/>
                    </a:lnTo>
                    <a:lnTo>
                      <a:pt x="445" y="533"/>
                    </a:lnTo>
                    <a:lnTo>
                      <a:pt x="445" y="534"/>
                    </a:lnTo>
                    <a:lnTo>
                      <a:pt x="445" y="536"/>
                    </a:lnTo>
                    <a:lnTo>
                      <a:pt x="445" y="537"/>
                    </a:lnTo>
                    <a:lnTo>
                      <a:pt x="444" y="537"/>
                    </a:lnTo>
                    <a:lnTo>
                      <a:pt x="444" y="538"/>
                    </a:lnTo>
                    <a:lnTo>
                      <a:pt x="444" y="539"/>
                    </a:lnTo>
                    <a:lnTo>
                      <a:pt x="442" y="540"/>
                    </a:lnTo>
                    <a:lnTo>
                      <a:pt x="442" y="539"/>
                    </a:lnTo>
                    <a:lnTo>
                      <a:pt x="442" y="538"/>
                    </a:lnTo>
                    <a:lnTo>
                      <a:pt x="442" y="537"/>
                    </a:lnTo>
                    <a:lnTo>
                      <a:pt x="444" y="537"/>
                    </a:lnTo>
                    <a:lnTo>
                      <a:pt x="444" y="536"/>
                    </a:lnTo>
                    <a:lnTo>
                      <a:pt x="442" y="534"/>
                    </a:lnTo>
                    <a:lnTo>
                      <a:pt x="442" y="536"/>
                    </a:lnTo>
                    <a:lnTo>
                      <a:pt x="441" y="536"/>
                    </a:lnTo>
                    <a:lnTo>
                      <a:pt x="441" y="537"/>
                    </a:lnTo>
                    <a:lnTo>
                      <a:pt x="440" y="537"/>
                    </a:lnTo>
                    <a:lnTo>
                      <a:pt x="440" y="538"/>
                    </a:lnTo>
                    <a:lnTo>
                      <a:pt x="440" y="537"/>
                    </a:lnTo>
                    <a:lnTo>
                      <a:pt x="439" y="537"/>
                    </a:lnTo>
                    <a:lnTo>
                      <a:pt x="440" y="534"/>
                    </a:lnTo>
                    <a:lnTo>
                      <a:pt x="439" y="534"/>
                    </a:lnTo>
                    <a:lnTo>
                      <a:pt x="438" y="536"/>
                    </a:lnTo>
                    <a:lnTo>
                      <a:pt x="439" y="533"/>
                    </a:lnTo>
                    <a:lnTo>
                      <a:pt x="440" y="533"/>
                    </a:lnTo>
                    <a:lnTo>
                      <a:pt x="439" y="533"/>
                    </a:lnTo>
                    <a:lnTo>
                      <a:pt x="440" y="533"/>
                    </a:lnTo>
                    <a:lnTo>
                      <a:pt x="441" y="533"/>
                    </a:lnTo>
                    <a:lnTo>
                      <a:pt x="442" y="533"/>
                    </a:lnTo>
                    <a:lnTo>
                      <a:pt x="442" y="534"/>
                    </a:lnTo>
                    <a:lnTo>
                      <a:pt x="444" y="534"/>
                    </a:lnTo>
                    <a:lnTo>
                      <a:pt x="444" y="533"/>
                    </a:lnTo>
                    <a:lnTo>
                      <a:pt x="444" y="532"/>
                    </a:lnTo>
                    <a:lnTo>
                      <a:pt x="442" y="532"/>
                    </a:lnTo>
                    <a:lnTo>
                      <a:pt x="442" y="531"/>
                    </a:lnTo>
                    <a:lnTo>
                      <a:pt x="444" y="530"/>
                    </a:lnTo>
                    <a:lnTo>
                      <a:pt x="442" y="530"/>
                    </a:lnTo>
                    <a:lnTo>
                      <a:pt x="444" y="530"/>
                    </a:lnTo>
                    <a:close/>
                    <a:moveTo>
                      <a:pt x="507" y="553"/>
                    </a:moveTo>
                    <a:lnTo>
                      <a:pt x="507" y="554"/>
                    </a:lnTo>
                    <a:lnTo>
                      <a:pt x="507" y="553"/>
                    </a:lnTo>
                    <a:lnTo>
                      <a:pt x="509" y="554"/>
                    </a:lnTo>
                    <a:lnTo>
                      <a:pt x="509" y="555"/>
                    </a:lnTo>
                    <a:lnTo>
                      <a:pt x="510" y="555"/>
                    </a:lnTo>
                    <a:lnTo>
                      <a:pt x="509" y="555"/>
                    </a:lnTo>
                    <a:lnTo>
                      <a:pt x="510" y="556"/>
                    </a:lnTo>
                    <a:lnTo>
                      <a:pt x="510" y="557"/>
                    </a:lnTo>
                    <a:lnTo>
                      <a:pt x="510" y="558"/>
                    </a:lnTo>
                    <a:lnTo>
                      <a:pt x="511" y="559"/>
                    </a:lnTo>
                    <a:lnTo>
                      <a:pt x="510" y="559"/>
                    </a:lnTo>
                    <a:lnTo>
                      <a:pt x="510" y="558"/>
                    </a:lnTo>
                    <a:lnTo>
                      <a:pt x="509" y="558"/>
                    </a:lnTo>
                    <a:lnTo>
                      <a:pt x="509" y="557"/>
                    </a:lnTo>
                    <a:lnTo>
                      <a:pt x="507" y="557"/>
                    </a:lnTo>
                    <a:lnTo>
                      <a:pt x="507" y="556"/>
                    </a:lnTo>
                    <a:lnTo>
                      <a:pt x="506" y="555"/>
                    </a:lnTo>
                    <a:lnTo>
                      <a:pt x="507" y="555"/>
                    </a:lnTo>
                    <a:lnTo>
                      <a:pt x="507" y="554"/>
                    </a:lnTo>
                    <a:lnTo>
                      <a:pt x="506" y="554"/>
                    </a:lnTo>
                    <a:lnTo>
                      <a:pt x="506" y="555"/>
                    </a:lnTo>
                    <a:lnTo>
                      <a:pt x="506" y="556"/>
                    </a:lnTo>
                    <a:lnTo>
                      <a:pt x="506" y="557"/>
                    </a:lnTo>
                    <a:lnTo>
                      <a:pt x="505" y="557"/>
                    </a:lnTo>
                    <a:lnTo>
                      <a:pt x="506" y="557"/>
                    </a:lnTo>
                    <a:lnTo>
                      <a:pt x="506" y="558"/>
                    </a:lnTo>
                    <a:lnTo>
                      <a:pt x="506" y="557"/>
                    </a:lnTo>
                    <a:lnTo>
                      <a:pt x="507" y="557"/>
                    </a:lnTo>
                    <a:lnTo>
                      <a:pt x="507" y="558"/>
                    </a:lnTo>
                    <a:lnTo>
                      <a:pt x="506" y="558"/>
                    </a:lnTo>
                    <a:lnTo>
                      <a:pt x="505" y="558"/>
                    </a:lnTo>
                    <a:lnTo>
                      <a:pt x="505" y="559"/>
                    </a:lnTo>
                    <a:lnTo>
                      <a:pt x="506" y="559"/>
                    </a:lnTo>
                    <a:lnTo>
                      <a:pt x="506" y="560"/>
                    </a:lnTo>
                    <a:lnTo>
                      <a:pt x="507" y="560"/>
                    </a:lnTo>
                    <a:lnTo>
                      <a:pt x="506" y="559"/>
                    </a:lnTo>
                    <a:lnTo>
                      <a:pt x="505" y="559"/>
                    </a:lnTo>
                    <a:lnTo>
                      <a:pt x="505" y="558"/>
                    </a:lnTo>
                    <a:lnTo>
                      <a:pt x="505" y="557"/>
                    </a:lnTo>
                    <a:lnTo>
                      <a:pt x="505" y="556"/>
                    </a:lnTo>
                    <a:lnTo>
                      <a:pt x="505" y="555"/>
                    </a:lnTo>
                    <a:lnTo>
                      <a:pt x="506" y="554"/>
                    </a:lnTo>
                    <a:lnTo>
                      <a:pt x="506" y="553"/>
                    </a:lnTo>
                    <a:lnTo>
                      <a:pt x="507" y="553"/>
                    </a:lnTo>
                    <a:close/>
                    <a:moveTo>
                      <a:pt x="164" y="392"/>
                    </a:moveTo>
                    <a:lnTo>
                      <a:pt x="163" y="392"/>
                    </a:lnTo>
                    <a:lnTo>
                      <a:pt x="163" y="393"/>
                    </a:lnTo>
                    <a:lnTo>
                      <a:pt x="162" y="392"/>
                    </a:lnTo>
                    <a:lnTo>
                      <a:pt x="162" y="393"/>
                    </a:lnTo>
                    <a:lnTo>
                      <a:pt x="163" y="393"/>
                    </a:lnTo>
                    <a:lnTo>
                      <a:pt x="163" y="395"/>
                    </a:lnTo>
                    <a:lnTo>
                      <a:pt x="162" y="395"/>
                    </a:lnTo>
                    <a:lnTo>
                      <a:pt x="163" y="395"/>
                    </a:lnTo>
                    <a:lnTo>
                      <a:pt x="162" y="393"/>
                    </a:lnTo>
                    <a:lnTo>
                      <a:pt x="162" y="395"/>
                    </a:lnTo>
                    <a:lnTo>
                      <a:pt x="161" y="395"/>
                    </a:lnTo>
                    <a:lnTo>
                      <a:pt x="162" y="395"/>
                    </a:lnTo>
                    <a:lnTo>
                      <a:pt x="162" y="396"/>
                    </a:lnTo>
                    <a:lnTo>
                      <a:pt x="161" y="395"/>
                    </a:lnTo>
                    <a:lnTo>
                      <a:pt x="161" y="396"/>
                    </a:lnTo>
                    <a:lnTo>
                      <a:pt x="161" y="397"/>
                    </a:lnTo>
                    <a:lnTo>
                      <a:pt x="162" y="397"/>
                    </a:lnTo>
                    <a:lnTo>
                      <a:pt x="161" y="398"/>
                    </a:lnTo>
                    <a:lnTo>
                      <a:pt x="160" y="398"/>
                    </a:lnTo>
                    <a:lnTo>
                      <a:pt x="160" y="397"/>
                    </a:lnTo>
                    <a:lnTo>
                      <a:pt x="158" y="397"/>
                    </a:lnTo>
                    <a:lnTo>
                      <a:pt x="157" y="397"/>
                    </a:lnTo>
                    <a:lnTo>
                      <a:pt x="157" y="396"/>
                    </a:lnTo>
                    <a:lnTo>
                      <a:pt x="158" y="396"/>
                    </a:lnTo>
                    <a:lnTo>
                      <a:pt x="158" y="395"/>
                    </a:lnTo>
                    <a:lnTo>
                      <a:pt x="157" y="395"/>
                    </a:lnTo>
                    <a:lnTo>
                      <a:pt x="157" y="393"/>
                    </a:lnTo>
                    <a:lnTo>
                      <a:pt x="158" y="393"/>
                    </a:lnTo>
                    <a:lnTo>
                      <a:pt x="160" y="393"/>
                    </a:lnTo>
                    <a:lnTo>
                      <a:pt x="160" y="395"/>
                    </a:lnTo>
                    <a:lnTo>
                      <a:pt x="160" y="393"/>
                    </a:lnTo>
                    <a:lnTo>
                      <a:pt x="160" y="395"/>
                    </a:lnTo>
                    <a:lnTo>
                      <a:pt x="161" y="395"/>
                    </a:lnTo>
                    <a:lnTo>
                      <a:pt x="161" y="393"/>
                    </a:lnTo>
                    <a:lnTo>
                      <a:pt x="160" y="393"/>
                    </a:lnTo>
                    <a:lnTo>
                      <a:pt x="161" y="393"/>
                    </a:lnTo>
                    <a:lnTo>
                      <a:pt x="160" y="393"/>
                    </a:lnTo>
                    <a:lnTo>
                      <a:pt x="160" y="392"/>
                    </a:lnTo>
                    <a:lnTo>
                      <a:pt x="160" y="393"/>
                    </a:lnTo>
                    <a:lnTo>
                      <a:pt x="160" y="392"/>
                    </a:lnTo>
                    <a:lnTo>
                      <a:pt x="161" y="392"/>
                    </a:lnTo>
                    <a:lnTo>
                      <a:pt x="160" y="392"/>
                    </a:lnTo>
                    <a:lnTo>
                      <a:pt x="160" y="391"/>
                    </a:lnTo>
                    <a:lnTo>
                      <a:pt x="161" y="391"/>
                    </a:lnTo>
                    <a:lnTo>
                      <a:pt x="162" y="391"/>
                    </a:lnTo>
                    <a:lnTo>
                      <a:pt x="164" y="392"/>
                    </a:lnTo>
                    <a:close/>
                    <a:moveTo>
                      <a:pt x="279" y="268"/>
                    </a:moveTo>
                    <a:lnTo>
                      <a:pt x="279" y="269"/>
                    </a:lnTo>
                    <a:lnTo>
                      <a:pt x="280" y="269"/>
                    </a:lnTo>
                    <a:lnTo>
                      <a:pt x="280" y="270"/>
                    </a:lnTo>
                    <a:lnTo>
                      <a:pt x="281" y="270"/>
                    </a:lnTo>
                    <a:lnTo>
                      <a:pt x="282" y="270"/>
                    </a:lnTo>
                    <a:lnTo>
                      <a:pt x="283" y="270"/>
                    </a:lnTo>
                    <a:lnTo>
                      <a:pt x="283" y="271"/>
                    </a:lnTo>
                    <a:lnTo>
                      <a:pt x="284" y="271"/>
                    </a:lnTo>
                    <a:lnTo>
                      <a:pt x="285" y="271"/>
                    </a:lnTo>
                    <a:lnTo>
                      <a:pt x="286" y="271"/>
                    </a:lnTo>
                    <a:lnTo>
                      <a:pt x="287" y="271"/>
                    </a:lnTo>
                    <a:lnTo>
                      <a:pt x="286" y="271"/>
                    </a:lnTo>
                    <a:lnTo>
                      <a:pt x="286" y="272"/>
                    </a:lnTo>
                    <a:lnTo>
                      <a:pt x="285" y="273"/>
                    </a:lnTo>
                    <a:lnTo>
                      <a:pt x="286" y="273"/>
                    </a:lnTo>
                    <a:lnTo>
                      <a:pt x="285" y="273"/>
                    </a:lnTo>
                    <a:lnTo>
                      <a:pt x="285" y="274"/>
                    </a:lnTo>
                    <a:lnTo>
                      <a:pt x="284" y="274"/>
                    </a:lnTo>
                    <a:lnTo>
                      <a:pt x="284" y="273"/>
                    </a:lnTo>
                    <a:lnTo>
                      <a:pt x="283" y="273"/>
                    </a:lnTo>
                    <a:lnTo>
                      <a:pt x="283" y="274"/>
                    </a:lnTo>
                    <a:lnTo>
                      <a:pt x="282" y="274"/>
                    </a:lnTo>
                    <a:lnTo>
                      <a:pt x="282" y="273"/>
                    </a:lnTo>
                    <a:lnTo>
                      <a:pt x="282" y="274"/>
                    </a:lnTo>
                    <a:lnTo>
                      <a:pt x="281" y="273"/>
                    </a:lnTo>
                    <a:lnTo>
                      <a:pt x="281" y="272"/>
                    </a:lnTo>
                    <a:lnTo>
                      <a:pt x="282" y="272"/>
                    </a:lnTo>
                    <a:lnTo>
                      <a:pt x="281" y="272"/>
                    </a:lnTo>
                    <a:lnTo>
                      <a:pt x="281" y="271"/>
                    </a:lnTo>
                    <a:lnTo>
                      <a:pt x="281" y="272"/>
                    </a:lnTo>
                    <a:lnTo>
                      <a:pt x="281" y="271"/>
                    </a:lnTo>
                    <a:lnTo>
                      <a:pt x="280" y="271"/>
                    </a:lnTo>
                    <a:lnTo>
                      <a:pt x="280" y="270"/>
                    </a:lnTo>
                    <a:lnTo>
                      <a:pt x="279" y="270"/>
                    </a:lnTo>
                    <a:lnTo>
                      <a:pt x="279" y="269"/>
                    </a:lnTo>
                    <a:lnTo>
                      <a:pt x="278" y="269"/>
                    </a:lnTo>
                    <a:lnTo>
                      <a:pt x="278" y="268"/>
                    </a:lnTo>
                    <a:lnTo>
                      <a:pt x="279" y="268"/>
                    </a:lnTo>
                    <a:close/>
                    <a:moveTo>
                      <a:pt x="310" y="296"/>
                    </a:moveTo>
                    <a:lnTo>
                      <a:pt x="311" y="297"/>
                    </a:lnTo>
                    <a:lnTo>
                      <a:pt x="310" y="297"/>
                    </a:lnTo>
                    <a:lnTo>
                      <a:pt x="310" y="298"/>
                    </a:lnTo>
                    <a:lnTo>
                      <a:pt x="310" y="297"/>
                    </a:lnTo>
                    <a:lnTo>
                      <a:pt x="309" y="297"/>
                    </a:lnTo>
                    <a:lnTo>
                      <a:pt x="308" y="297"/>
                    </a:lnTo>
                    <a:lnTo>
                      <a:pt x="307" y="297"/>
                    </a:lnTo>
                    <a:lnTo>
                      <a:pt x="306" y="297"/>
                    </a:lnTo>
                    <a:lnTo>
                      <a:pt x="305" y="297"/>
                    </a:lnTo>
                    <a:lnTo>
                      <a:pt x="306" y="298"/>
                    </a:lnTo>
                    <a:lnTo>
                      <a:pt x="307" y="298"/>
                    </a:lnTo>
                    <a:lnTo>
                      <a:pt x="308" y="298"/>
                    </a:lnTo>
                    <a:lnTo>
                      <a:pt x="309" y="298"/>
                    </a:lnTo>
                    <a:lnTo>
                      <a:pt x="309" y="299"/>
                    </a:lnTo>
                    <a:lnTo>
                      <a:pt x="308" y="299"/>
                    </a:lnTo>
                    <a:lnTo>
                      <a:pt x="307" y="299"/>
                    </a:lnTo>
                    <a:lnTo>
                      <a:pt x="307" y="298"/>
                    </a:lnTo>
                    <a:lnTo>
                      <a:pt x="306" y="298"/>
                    </a:lnTo>
                    <a:lnTo>
                      <a:pt x="305" y="298"/>
                    </a:lnTo>
                    <a:lnTo>
                      <a:pt x="305" y="297"/>
                    </a:lnTo>
                    <a:lnTo>
                      <a:pt x="304" y="297"/>
                    </a:lnTo>
                    <a:lnTo>
                      <a:pt x="303" y="297"/>
                    </a:lnTo>
                    <a:lnTo>
                      <a:pt x="303" y="296"/>
                    </a:lnTo>
                    <a:lnTo>
                      <a:pt x="303" y="297"/>
                    </a:lnTo>
                    <a:lnTo>
                      <a:pt x="303" y="296"/>
                    </a:lnTo>
                    <a:lnTo>
                      <a:pt x="303" y="295"/>
                    </a:lnTo>
                    <a:lnTo>
                      <a:pt x="304" y="295"/>
                    </a:lnTo>
                    <a:lnTo>
                      <a:pt x="304" y="296"/>
                    </a:lnTo>
                    <a:lnTo>
                      <a:pt x="305" y="296"/>
                    </a:lnTo>
                    <a:lnTo>
                      <a:pt x="306" y="295"/>
                    </a:lnTo>
                    <a:lnTo>
                      <a:pt x="306" y="296"/>
                    </a:lnTo>
                    <a:lnTo>
                      <a:pt x="307" y="296"/>
                    </a:lnTo>
                    <a:lnTo>
                      <a:pt x="308" y="296"/>
                    </a:lnTo>
                    <a:lnTo>
                      <a:pt x="309" y="295"/>
                    </a:lnTo>
                    <a:lnTo>
                      <a:pt x="309" y="294"/>
                    </a:lnTo>
                    <a:lnTo>
                      <a:pt x="310" y="294"/>
                    </a:lnTo>
                    <a:lnTo>
                      <a:pt x="310" y="295"/>
                    </a:lnTo>
                    <a:lnTo>
                      <a:pt x="310" y="296"/>
                    </a:lnTo>
                    <a:close/>
                    <a:moveTo>
                      <a:pt x="358" y="466"/>
                    </a:moveTo>
                    <a:lnTo>
                      <a:pt x="359" y="466"/>
                    </a:lnTo>
                    <a:lnTo>
                      <a:pt x="359" y="468"/>
                    </a:lnTo>
                    <a:lnTo>
                      <a:pt x="359" y="469"/>
                    </a:lnTo>
                    <a:lnTo>
                      <a:pt x="358" y="469"/>
                    </a:lnTo>
                    <a:lnTo>
                      <a:pt x="359" y="469"/>
                    </a:lnTo>
                    <a:lnTo>
                      <a:pt x="358" y="469"/>
                    </a:lnTo>
                    <a:lnTo>
                      <a:pt x="358" y="470"/>
                    </a:lnTo>
                    <a:lnTo>
                      <a:pt x="357" y="470"/>
                    </a:lnTo>
                    <a:lnTo>
                      <a:pt x="356" y="472"/>
                    </a:lnTo>
                    <a:lnTo>
                      <a:pt x="355" y="473"/>
                    </a:lnTo>
                    <a:lnTo>
                      <a:pt x="355" y="472"/>
                    </a:lnTo>
                    <a:lnTo>
                      <a:pt x="355" y="470"/>
                    </a:lnTo>
                    <a:lnTo>
                      <a:pt x="356" y="469"/>
                    </a:lnTo>
                    <a:lnTo>
                      <a:pt x="356" y="468"/>
                    </a:lnTo>
                    <a:lnTo>
                      <a:pt x="356" y="467"/>
                    </a:lnTo>
                    <a:lnTo>
                      <a:pt x="356" y="466"/>
                    </a:lnTo>
                    <a:lnTo>
                      <a:pt x="357" y="465"/>
                    </a:lnTo>
                    <a:lnTo>
                      <a:pt x="357" y="466"/>
                    </a:lnTo>
                    <a:lnTo>
                      <a:pt x="358" y="466"/>
                    </a:lnTo>
                    <a:close/>
                    <a:moveTo>
                      <a:pt x="243" y="229"/>
                    </a:moveTo>
                    <a:lnTo>
                      <a:pt x="243" y="230"/>
                    </a:lnTo>
                    <a:lnTo>
                      <a:pt x="244" y="230"/>
                    </a:lnTo>
                    <a:lnTo>
                      <a:pt x="244" y="229"/>
                    </a:lnTo>
                    <a:lnTo>
                      <a:pt x="244" y="228"/>
                    </a:lnTo>
                    <a:lnTo>
                      <a:pt x="245" y="229"/>
                    </a:lnTo>
                    <a:lnTo>
                      <a:pt x="245" y="230"/>
                    </a:lnTo>
                    <a:lnTo>
                      <a:pt x="244" y="231"/>
                    </a:lnTo>
                    <a:lnTo>
                      <a:pt x="243" y="231"/>
                    </a:lnTo>
                    <a:lnTo>
                      <a:pt x="242" y="231"/>
                    </a:lnTo>
                    <a:lnTo>
                      <a:pt x="242" y="232"/>
                    </a:lnTo>
                    <a:lnTo>
                      <a:pt x="242" y="231"/>
                    </a:lnTo>
                    <a:lnTo>
                      <a:pt x="241" y="231"/>
                    </a:lnTo>
                    <a:lnTo>
                      <a:pt x="241" y="232"/>
                    </a:lnTo>
                    <a:lnTo>
                      <a:pt x="242" y="232"/>
                    </a:lnTo>
                    <a:lnTo>
                      <a:pt x="241" y="232"/>
                    </a:lnTo>
                    <a:lnTo>
                      <a:pt x="240" y="231"/>
                    </a:lnTo>
                    <a:lnTo>
                      <a:pt x="239" y="230"/>
                    </a:lnTo>
                    <a:lnTo>
                      <a:pt x="238" y="230"/>
                    </a:lnTo>
                    <a:lnTo>
                      <a:pt x="239" y="229"/>
                    </a:lnTo>
                    <a:lnTo>
                      <a:pt x="239" y="230"/>
                    </a:lnTo>
                    <a:lnTo>
                      <a:pt x="239" y="229"/>
                    </a:lnTo>
                    <a:lnTo>
                      <a:pt x="240" y="229"/>
                    </a:lnTo>
                    <a:lnTo>
                      <a:pt x="240" y="228"/>
                    </a:lnTo>
                    <a:lnTo>
                      <a:pt x="241" y="228"/>
                    </a:lnTo>
                    <a:lnTo>
                      <a:pt x="242" y="228"/>
                    </a:lnTo>
                    <a:lnTo>
                      <a:pt x="242" y="229"/>
                    </a:lnTo>
                    <a:lnTo>
                      <a:pt x="243" y="229"/>
                    </a:lnTo>
                    <a:close/>
                    <a:moveTo>
                      <a:pt x="577" y="495"/>
                    </a:moveTo>
                    <a:lnTo>
                      <a:pt x="578" y="495"/>
                    </a:lnTo>
                    <a:lnTo>
                      <a:pt x="578" y="496"/>
                    </a:lnTo>
                    <a:lnTo>
                      <a:pt x="578" y="498"/>
                    </a:lnTo>
                    <a:lnTo>
                      <a:pt x="577" y="498"/>
                    </a:lnTo>
                    <a:lnTo>
                      <a:pt x="576" y="498"/>
                    </a:lnTo>
                    <a:lnTo>
                      <a:pt x="576" y="496"/>
                    </a:lnTo>
                    <a:lnTo>
                      <a:pt x="575" y="496"/>
                    </a:lnTo>
                    <a:lnTo>
                      <a:pt x="574" y="496"/>
                    </a:lnTo>
                    <a:lnTo>
                      <a:pt x="574" y="495"/>
                    </a:lnTo>
                    <a:lnTo>
                      <a:pt x="574" y="494"/>
                    </a:lnTo>
                    <a:lnTo>
                      <a:pt x="574" y="493"/>
                    </a:lnTo>
                    <a:lnTo>
                      <a:pt x="576" y="492"/>
                    </a:lnTo>
                    <a:lnTo>
                      <a:pt x="577" y="493"/>
                    </a:lnTo>
                    <a:lnTo>
                      <a:pt x="577" y="494"/>
                    </a:lnTo>
                    <a:lnTo>
                      <a:pt x="577" y="495"/>
                    </a:lnTo>
                    <a:close/>
                    <a:moveTo>
                      <a:pt x="270" y="235"/>
                    </a:moveTo>
                    <a:lnTo>
                      <a:pt x="271" y="236"/>
                    </a:lnTo>
                    <a:lnTo>
                      <a:pt x="272" y="236"/>
                    </a:lnTo>
                    <a:lnTo>
                      <a:pt x="271" y="236"/>
                    </a:lnTo>
                    <a:lnTo>
                      <a:pt x="272" y="236"/>
                    </a:lnTo>
                    <a:lnTo>
                      <a:pt x="273" y="235"/>
                    </a:lnTo>
                    <a:lnTo>
                      <a:pt x="273" y="236"/>
                    </a:lnTo>
                    <a:lnTo>
                      <a:pt x="272" y="237"/>
                    </a:lnTo>
                    <a:lnTo>
                      <a:pt x="271" y="237"/>
                    </a:lnTo>
                    <a:lnTo>
                      <a:pt x="270" y="237"/>
                    </a:lnTo>
                    <a:lnTo>
                      <a:pt x="270" y="238"/>
                    </a:lnTo>
                    <a:lnTo>
                      <a:pt x="269" y="238"/>
                    </a:lnTo>
                    <a:lnTo>
                      <a:pt x="268" y="238"/>
                    </a:lnTo>
                    <a:lnTo>
                      <a:pt x="268" y="237"/>
                    </a:lnTo>
                    <a:lnTo>
                      <a:pt x="267" y="237"/>
                    </a:lnTo>
                    <a:lnTo>
                      <a:pt x="267" y="238"/>
                    </a:lnTo>
                    <a:lnTo>
                      <a:pt x="266" y="239"/>
                    </a:lnTo>
                    <a:lnTo>
                      <a:pt x="265" y="239"/>
                    </a:lnTo>
                    <a:lnTo>
                      <a:pt x="265" y="241"/>
                    </a:lnTo>
                    <a:lnTo>
                      <a:pt x="264" y="239"/>
                    </a:lnTo>
                    <a:lnTo>
                      <a:pt x="264" y="238"/>
                    </a:lnTo>
                    <a:lnTo>
                      <a:pt x="265" y="238"/>
                    </a:lnTo>
                    <a:lnTo>
                      <a:pt x="265" y="239"/>
                    </a:lnTo>
                    <a:lnTo>
                      <a:pt x="265" y="238"/>
                    </a:lnTo>
                    <a:lnTo>
                      <a:pt x="266" y="237"/>
                    </a:lnTo>
                    <a:lnTo>
                      <a:pt x="267" y="237"/>
                    </a:lnTo>
                    <a:lnTo>
                      <a:pt x="268" y="237"/>
                    </a:lnTo>
                    <a:lnTo>
                      <a:pt x="268" y="236"/>
                    </a:lnTo>
                    <a:lnTo>
                      <a:pt x="269" y="236"/>
                    </a:lnTo>
                    <a:lnTo>
                      <a:pt x="270" y="236"/>
                    </a:lnTo>
                    <a:lnTo>
                      <a:pt x="270" y="235"/>
                    </a:lnTo>
                    <a:close/>
                    <a:moveTo>
                      <a:pt x="247" y="262"/>
                    </a:moveTo>
                    <a:lnTo>
                      <a:pt x="248" y="262"/>
                    </a:lnTo>
                    <a:lnTo>
                      <a:pt x="249" y="262"/>
                    </a:lnTo>
                    <a:lnTo>
                      <a:pt x="251" y="262"/>
                    </a:lnTo>
                    <a:lnTo>
                      <a:pt x="251" y="263"/>
                    </a:lnTo>
                    <a:lnTo>
                      <a:pt x="249" y="263"/>
                    </a:lnTo>
                    <a:lnTo>
                      <a:pt x="249" y="262"/>
                    </a:lnTo>
                    <a:lnTo>
                      <a:pt x="248" y="262"/>
                    </a:lnTo>
                    <a:lnTo>
                      <a:pt x="247" y="262"/>
                    </a:lnTo>
                    <a:lnTo>
                      <a:pt x="247" y="263"/>
                    </a:lnTo>
                    <a:lnTo>
                      <a:pt x="248" y="262"/>
                    </a:lnTo>
                    <a:lnTo>
                      <a:pt x="248" y="263"/>
                    </a:lnTo>
                    <a:lnTo>
                      <a:pt x="249" y="263"/>
                    </a:lnTo>
                    <a:lnTo>
                      <a:pt x="249" y="264"/>
                    </a:lnTo>
                    <a:lnTo>
                      <a:pt x="251" y="266"/>
                    </a:lnTo>
                    <a:lnTo>
                      <a:pt x="251" y="267"/>
                    </a:lnTo>
                    <a:lnTo>
                      <a:pt x="249" y="267"/>
                    </a:lnTo>
                    <a:lnTo>
                      <a:pt x="249" y="268"/>
                    </a:lnTo>
                    <a:lnTo>
                      <a:pt x="249" y="267"/>
                    </a:lnTo>
                    <a:lnTo>
                      <a:pt x="248" y="267"/>
                    </a:lnTo>
                    <a:lnTo>
                      <a:pt x="247" y="267"/>
                    </a:lnTo>
                    <a:lnTo>
                      <a:pt x="246" y="267"/>
                    </a:lnTo>
                    <a:lnTo>
                      <a:pt x="246" y="266"/>
                    </a:lnTo>
                    <a:lnTo>
                      <a:pt x="245" y="264"/>
                    </a:lnTo>
                    <a:lnTo>
                      <a:pt x="245" y="263"/>
                    </a:lnTo>
                    <a:lnTo>
                      <a:pt x="245" y="262"/>
                    </a:lnTo>
                    <a:lnTo>
                      <a:pt x="245" y="263"/>
                    </a:lnTo>
                    <a:lnTo>
                      <a:pt x="246" y="263"/>
                    </a:lnTo>
                    <a:lnTo>
                      <a:pt x="246" y="264"/>
                    </a:lnTo>
                    <a:lnTo>
                      <a:pt x="247" y="264"/>
                    </a:lnTo>
                    <a:lnTo>
                      <a:pt x="247" y="263"/>
                    </a:lnTo>
                    <a:lnTo>
                      <a:pt x="246" y="262"/>
                    </a:lnTo>
                    <a:lnTo>
                      <a:pt x="247" y="262"/>
                    </a:lnTo>
                    <a:close/>
                    <a:moveTo>
                      <a:pt x="564" y="551"/>
                    </a:moveTo>
                    <a:lnTo>
                      <a:pt x="563" y="551"/>
                    </a:lnTo>
                    <a:lnTo>
                      <a:pt x="563" y="552"/>
                    </a:lnTo>
                    <a:lnTo>
                      <a:pt x="562" y="552"/>
                    </a:lnTo>
                    <a:lnTo>
                      <a:pt x="561" y="552"/>
                    </a:lnTo>
                    <a:lnTo>
                      <a:pt x="562" y="552"/>
                    </a:lnTo>
                    <a:lnTo>
                      <a:pt x="564" y="553"/>
                    </a:lnTo>
                    <a:lnTo>
                      <a:pt x="564" y="554"/>
                    </a:lnTo>
                    <a:lnTo>
                      <a:pt x="563" y="554"/>
                    </a:lnTo>
                    <a:lnTo>
                      <a:pt x="562" y="554"/>
                    </a:lnTo>
                    <a:lnTo>
                      <a:pt x="563" y="554"/>
                    </a:lnTo>
                    <a:lnTo>
                      <a:pt x="563" y="555"/>
                    </a:lnTo>
                    <a:lnTo>
                      <a:pt x="563" y="556"/>
                    </a:lnTo>
                    <a:lnTo>
                      <a:pt x="562" y="555"/>
                    </a:lnTo>
                    <a:lnTo>
                      <a:pt x="561" y="555"/>
                    </a:lnTo>
                    <a:lnTo>
                      <a:pt x="561" y="554"/>
                    </a:lnTo>
                    <a:lnTo>
                      <a:pt x="561" y="555"/>
                    </a:lnTo>
                    <a:lnTo>
                      <a:pt x="560" y="555"/>
                    </a:lnTo>
                    <a:lnTo>
                      <a:pt x="560" y="554"/>
                    </a:lnTo>
                    <a:lnTo>
                      <a:pt x="558" y="553"/>
                    </a:lnTo>
                    <a:lnTo>
                      <a:pt x="560" y="553"/>
                    </a:lnTo>
                    <a:lnTo>
                      <a:pt x="560" y="552"/>
                    </a:lnTo>
                    <a:lnTo>
                      <a:pt x="558" y="553"/>
                    </a:lnTo>
                    <a:lnTo>
                      <a:pt x="558" y="554"/>
                    </a:lnTo>
                    <a:lnTo>
                      <a:pt x="557" y="553"/>
                    </a:lnTo>
                    <a:lnTo>
                      <a:pt x="558" y="553"/>
                    </a:lnTo>
                    <a:lnTo>
                      <a:pt x="558" y="552"/>
                    </a:lnTo>
                    <a:lnTo>
                      <a:pt x="560" y="552"/>
                    </a:lnTo>
                    <a:lnTo>
                      <a:pt x="561" y="552"/>
                    </a:lnTo>
                    <a:lnTo>
                      <a:pt x="560" y="552"/>
                    </a:lnTo>
                    <a:lnTo>
                      <a:pt x="561" y="552"/>
                    </a:lnTo>
                    <a:lnTo>
                      <a:pt x="561" y="551"/>
                    </a:lnTo>
                    <a:lnTo>
                      <a:pt x="562" y="551"/>
                    </a:lnTo>
                    <a:lnTo>
                      <a:pt x="564" y="550"/>
                    </a:lnTo>
                    <a:lnTo>
                      <a:pt x="564" y="551"/>
                    </a:lnTo>
                    <a:close/>
                    <a:moveTo>
                      <a:pt x="207" y="410"/>
                    </a:moveTo>
                    <a:lnTo>
                      <a:pt x="206" y="410"/>
                    </a:lnTo>
                    <a:lnTo>
                      <a:pt x="206" y="411"/>
                    </a:lnTo>
                    <a:lnTo>
                      <a:pt x="205" y="412"/>
                    </a:lnTo>
                    <a:lnTo>
                      <a:pt x="204" y="413"/>
                    </a:lnTo>
                    <a:lnTo>
                      <a:pt x="201" y="413"/>
                    </a:lnTo>
                    <a:lnTo>
                      <a:pt x="200" y="413"/>
                    </a:lnTo>
                    <a:lnTo>
                      <a:pt x="201" y="412"/>
                    </a:lnTo>
                    <a:lnTo>
                      <a:pt x="201" y="411"/>
                    </a:lnTo>
                    <a:lnTo>
                      <a:pt x="202" y="411"/>
                    </a:lnTo>
                    <a:lnTo>
                      <a:pt x="201" y="411"/>
                    </a:lnTo>
                    <a:lnTo>
                      <a:pt x="202" y="410"/>
                    </a:lnTo>
                    <a:lnTo>
                      <a:pt x="203" y="410"/>
                    </a:lnTo>
                    <a:lnTo>
                      <a:pt x="204" y="410"/>
                    </a:lnTo>
                    <a:lnTo>
                      <a:pt x="205" y="409"/>
                    </a:lnTo>
                    <a:lnTo>
                      <a:pt x="206" y="410"/>
                    </a:lnTo>
                    <a:lnTo>
                      <a:pt x="206" y="409"/>
                    </a:lnTo>
                    <a:lnTo>
                      <a:pt x="207" y="410"/>
                    </a:lnTo>
                    <a:close/>
                    <a:moveTo>
                      <a:pt x="516" y="507"/>
                    </a:moveTo>
                    <a:lnTo>
                      <a:pt x="517" y="508"/>
                    </a:lnTo>
                    <a:lnTo>
                      <a:pt x="518" y="508"/>
                    </a:lnTo>
                    <a:lnTo>
                      <a:pt x="519" y="508"/>
                    </a:lnTo>
                    <a:lnTo>
                      <a:pt x="522" y="508"/>
                    </a:lnTo>
                    <a:lnTo>
                      <a:pt x="523" y="510"/>
                    </a:lnTo>
                    <a:lnTo>
                      <a:pt x="525" y="510"/>
                    </a:lnTo>
                    <a:lnTo>
                      <a:pt x="527" y="510"/>
                    </a:lnTo>
                    <a:lnTo>
                      <a:pt x="529" y="511"/>
                    </a:lnTo>
                    <a:lnTo>
                      <a:pt x="531" y="511"/>
                    </a:lnTo>
                    <a:lnTo>
                      <a:pt x="532" y="510"/>
                    </a:lnTo>
                    <a:lnTo>
                      <a:pt x="532" y="511"/>
                    </a:lnTo>
                    <a:lnTo>
                      <a:pt x="531" y="511"/>
                    </a:lnTo>
                    <a:lnTo>
                      <a:pt x="530" y="511"/>
                    </a:lnTo>
                    <a:lnTo>
                      <a:pt x="529" y="511"/>
                    </a:lnTo>
                    <a:lnTo>
                      <a:pt x="528" y="511"/>
                    </a:lnTo>
                    <a:lnTo>
                      <a:pt x="527" y="511"/>
                    </a:lnTo>
                    <a:lnTo>
                      <a:pt x="526" y="511"/>
                    </a:lnTo>
                    <a:lnTo>
                      <a:pt x="525" y="510"/>
                    </a:lnTo>
                    <a:lnTo>
                      <a:pt x="524" y="511"/>
                    </a:lnTo>
                    <a:lnTo>
                      <a:pt x="523" y="511"/>
                    </a:lnTo>
                    <a:lnTo>
                      <a:pt x="522" y="510"/>
                    </a:lnTo>
                    <a:lnTo>
                      <a:pt x="520" y="510"/>
                    </a:lnTo>
                    <a:lnTo>
                      <a:pt x="519" y="510"/>
                    </a:lnTo>
                    <a:lnTo>
                      <a:pt x="519" y="508"/>
                    </a:lnTo>
                    <a:lnTo>
                      <a:pt x="518" y="508"/>
                    </a:lnTo>
                    <a:lnTo>
                      <a:pt x="517" y="508"/>
                    </a:lnTo>
                    <a:lnTo>
                      <a:pt x="516" y="508"/>
                    </a:lnTo>
                    <a:lnTo>
                      <a:pt x="517" y="508"/>
                    </a:lnTo>
                    <a:lnTo>
                      <a:pt x="517" y="510"/>
                    </a:lnTo>
                    <a:lnTo>
                      <a:pt x="518" y="510"/>
                    </a:lnTo>
                    <a:lnTo>
                      <a:pt x="518" y="511"/>
                    </a:lnTo>
                    <a:lnTo>
                      <a:pt x="517" y="511"/>
                    </a:lnTo>
                    <a:lnTo>
                      <a:pt x="516" y="511"/>
                    </a:lnTo>
                    <a:lnTo>
                      <a:pt x="516" y="510"/>
                    </a:lnTo>
                    <a:lnTo>
                      <a:pt x="515" y="510"/>
                    </a:lnTo>
                    <a:lnTo>
                      <a:pt x="514" y="508"/>
                    </a:lnTo>
                    <a:lnTo>
                      <a:pt x="516" y="507"/>
                    </a:lnTo>
                    <a:close/>
                    <a:moveTo>
                      <a:pt x="284" y="216"/>
                    </a:moveTo>
                    <a:lnTo>
                      <a:pt x="285" y="217"/>
                    </a:lnTo>
                    <a:lnTo>
                      <a:pt x="285" y="218"/>
                    </a:lnTo>
                    <a:lnTo>
                      <a:pt x="285" y="219"/>
                    </a:lnTo>
                    <a:lnTo>
                      <a:pt x="285" y="220"/>
                    </a:lnTo>
                    <a:lnTo>
                      <a:pt x="284" y="220"/>
                    </a:lnTo>
                    <a:lnTo>
                      <a:pt x="284" y="221"/>
                    </a:lnTo>
                    <a:lnTo>
                      <a:pt x="283" y="221"/>
                    </a:lnTo>
                    <a:lnTo>
                      <a:pt x="283" y="222"/>
                    </a:lnTo>
                    <a:lnTo>
                      <a:pt x="284" y="223"/>
                    </a:lnTo>
                    <a:lnTo>
                      <a:pt x="283" y="223"/>
                    </a:lnTo>
                    <a:lnTo>
                      <a:pt x="284" y="224"/>
                    </a:lnTo>
                    <a:lnTo>
                      <a:pt x="283" y="224"/>
                    </a:lnTo>
                    <a:lnTo>
                      <a:pt x="283" y="223"/>
                    </a:lnTo>
                    <a:lnTo>
                      <a:pt x="282" y="223"/>
                    </a:lnTo>
                    <a:lnTo>
                      <a:pt x="282" y="222"/>
                    </a:lnTo>
                    <a:lnTo>
                      <a:pt x="283" y="222"/>
                    </a:lnTo>
                    <a:lnTo>
                      <a:pt x="283" y="221"/>
                    </a:lnTo>
                    <a:lnTo>
                      <a:pt x="283" y="220"/>
                    </a:lnTo>
                    <a:lnTo>
                      <a:pt x="284" y="220"/>
                    </a:lnTo>
                    <a:lnTo>
                      <a:pt x="284" y="219"/>
                    </a:lnTo>
                    <a:lnTo>
                      <a:pt x="284" y="218"/>
                    </a:lnTo>
                    <a:lnTo>
                      <a:pt x="283" y="218"/>
                    </a:lnTo>
                    <a:lnTo>
                      <a:pt x="282" y="217"/>
                    </a:lnTo>
                    <a:lnTo>
                      <a:pt x="281" y="216"/>
                    </a:lnTo>
                    <a:lnTo>
                      <a:pt x="280" y="216"/>
                    </a:lnTo>
                    <a:lnTo>
                      <a:pt x="280" y="217"/>
                    </a:lnTo>
                    <a:lnTo>
                      <a:pt x="280" y="216"/>
                    </a:lnTo>
                    <a:lnTo>
                      <a:pt x="282" y="215"/>
                    </a:lnTo>
                    <a:lnTo>
                      <a:pt x="283" y="216"/>
                    </a:lnTo>
                    <a:lnTo>
                      <a:pt x="284" y="216"/>
                    </a:lnTo>
                    <a:close/>
                    <a:moveTo>
                      <a:pt x="446" y="370"/>
                    </a:moveTo>
                    <a:lnTo>
                      <a:pt x="447" y="370"/>
                    </a:lnTo>
                    <a:lnTo>
                      <a:pt x="446" y="370"/>
                    </a:lnTo>
                    <a:lnTo>
                      <a:pt x="446" y="371"/>
                    </a:lnTo>
                    <a:lnTo>
                      <a:pt x="447" y="372"/>
                    </a:lnTo>
                    <a:lnTo>
                      <a:pt x="446" y="373"/>
                    </a:lnTo>
                    <a:lnTo>
                      <a:pt x="447" y="373"/>
                    </a:lnTo>
                    <a:lnTo>
                      <a:pt x="448" y="374"/>
                    </a:lnTo>
                    <a:lnTo>
                      <a:pt x="449" y="373"/>
                    </a:lnTo>
                    <a:lnTo>
                      <a:pt x="449" y="374"/>
                    </a:lnTo>
                    <a:lnTo>
                      <a:pt x="448" y="374"/>
                    </a:lnTo>
                    <a:lnTo>
                      <a:pt x="447" y="374"/>
                    </a:lnTo>
                    <a:lnTo>
                      <a:pt x="446" y="374"/>
                    </a:lnTo>
                    <a:lnTo>
                      <a:pt x="446" y="375"/>
                    </a:lnTo>
                    <a:lnTo>
                      <a:pt x="445" y="375"/>
                    </a:lnTo>
                    <a:lnTo>
                      <a:pt x="445" y="374"/>
                    </a:lnTo>
                    <a:lnTo>
                      <a:pt x="444" y="374"/>
                    </a:lnTo>
                    <a:lnTo>
                      <a:pt x="444" y="373"/>
                    </a:lnTo>
                    <a:lnTo>
                      <a:pt x="444" y="372"/>
                    </a:lnTo>
                    <a:lnTo>
                      <a:pt x="442" y="372"/>
                    </a:lnTo>
                    <a:lnTo>
                      <a:pt x="442" y="371"/>
                    </a:lnTo>
                    <a:lnTo>
                      <a:pt x="441" y="371"/>
                    </a:lnTo>
                    <a:lnTo>
                      <a:pt x="441" y="372"/>
                    </a:lnTo>
                    <a:lnTo>
                      <a:pt x="441" y="371"/>
                    </a:lnTo>
                    <a:lnTo>
                      <a:pt x="441" y="370"/>
                    </a:lnTo>
                    <a:lnTo>
                      <a:pt x="442" y="370"/>
                    </a:lnTo>
                    <a:lnTo>
                      <a:pt x="444" y="370"/>
                    </a:lnTo>
                    <a:lnTo>
                      <a:pt x="445" y="370"/>
                    </a:lnTo>
                    <a:lnTo>
                      <a:pt x="446" y="370"/>
                    </a:lnTo>
                    <a:close/>
                    <a:moveTo>
                      <a:pt x="268" y="404"/>
                    </a:moveTo>
                    <a:lnTo>
                      <a:pt x="272" y="410"/>
                    </a:lnTo>
                    <a:lnTo>
                      <a:pt x="273" y="410"/>
                    </a:lnTo>
                    <a:lnTo>
                      <a:pt x="272" y="410"/>
                    </a:lnTo>
                    <a:lnTo>
                      <a:pt x="271" y="410"/>
                    </a:lnTo>
                    <a:lnTo>
                      <a:pt x="271" y="409"/>
                    </a:lnTo>
                    <a:lnTo>
                      <a:pt x="271" y="410"/>
                    </a:lnTo>
                    <a:lnTo>
                      <a:pt x="270" y="410"/>
                    </a:lnTo>
                    <a:lnTo>
                      <a:pt x="270" y="409"/>
                    </a:lnTo>
                    <a:lnTo>
                      <a:pt x="271" y="410"/>
                    </a:lnTo>
                    <a:lnTo>
                      <a:pt x="271" y="409"/>
                    </a:lnTo>
                    <a:lnTo>
                      <a:pt x="270" y="409"/>
                    </a:lnTo>
                    <a:lnTo>
                      <a:pt x="270" y="408"/>
                    </a:lnTo>
                    <a:lnTo>
                      <a:pt x="269" y="408"/>
                    </a:lnTo>
                    <a:lnTo>
                      <a:pt x="269" y="409"/>
                    </a:lnTo>
                    <a:lnTo>
                      <a:pt x="268" y="408"/>
                    </a:lnTo>
                    <a:lnTo>
                      <a:pt x="267" y="406"/>
                    </a:lnTo>
                    <a:lnTo>
                      <a:pt x="266" y="406"/>
                    </a:lnTo>
                    <a:lnTo>
                      <a:pt x="266" y="405"/>
                    </a:lnTo>
                    <a:lnTo>
                      <a:pt x="265" y="405"/>
                    </a:lnTo>
                    <a:lnTo>
                      <a:pt x="264" y="406"/>
                    </a:lnTo>
                    <a:lnTo>
                      <a:pt x="264" y="405"/>
                    </a:lnTo>
                    <a:lnTo>
                      <a:pt x="265" y="405"/>
                    </a:lnTo>
                    <a:lnTo>
                      <a:pt x="265" y="404"/>
                    </a:lnTo>
                    <a:lnTo>
                      <a:pt x="266" y="405"/>
                    </a:lnTo>
                    <a:lnTo>
                      <a:pt x="267" y="405"/>
                    </a:lnTo>
                    <a:lnTo>
                      <a:pt x="268" y="405"/>
                    </a:lnTo>
                    <a:lnTo>
                      <a:pt x="269" y="405"/>
                    </a:lnTo>
                    <a:lnTo>
                      <a:pt x="269" y="404"/>
                    </a:lnTo>
                    <a:lnTo>
                      <a:pt x="268" y="404"/>
                    </a:lnTo>
                    <a:close/>
                    <a:moveTo>
                      <a:pt x="231" y="228"/>
                    </a:moveTo>
                    <a:lnTo>
                      <a:pt x="232" y="228"/>
                    </a:lnTo>
                    <a:lnTo>
                      <a:pt x="233" y="228"/>
                    </a:lnTo>
                    <a:lnTo>
                      <a:pt x="234" y="228"/>
                    </a:lnTo>
                    <a:lnTo>
                      <a:pt x="233" y="228"/>
                    </a:lnTo>
                    <a:lnTo>
                      <a:pt x="233" y="229"/>
                    </a:lnTo>
                    <a:lnTo>
                      <a:pt x="233" y="230"/>
                    </a:lnTo>
                    <a:lnTo>
                      <a:pt x="233" y="229"/>
                    </a:lnTo>
                    <a:lnTo>
                      <a:pt x="233" y="230"/>
                    </a:lnTo>
                    <a:lnTo>
                      <a:pt x="234" y="230"/>
                    </a:lnTo>
                    <a:lnTo>
                      <a:pt x="235" y="230"/>
                    </a:lnTo>
                    <a:lnTo>
                      <a:pt x="235" y="229"/>
                    </a:lnTo>
                    <a:lnTo>
                      <a:pt x="236" y="229"/>
                    </a:lnTo>
                    <a:lnTo>
                      <a:pt x="236" y="230"/>
                    </a:lnTo>
                    <a:lnTo>
                      <a:pt x="235" y="230"/>
                    </a:lnTo>
                    <a:lnTo>
                      <a:pt x="236" y="230"/>
                    </a:lnTo>
                    <a:lnTo>
                      <a:pt x="236" y="229"/>
                    </a:lnTo>
                    <a:lnTo>
                      <a:pt x="238" y="229"/>
                    </a:lnTo>
                    <a:lnTo>
                      <a:pt x="238" y="230"/>
                    </a:lnTo>
                    <a:lnTo>
                      <a:pt x="236" y="230"/>
                    </a:lnTo>
                    <a:lnTo>
                      <a:pt x="238" y="230"/>
                    </a:lnTo>
                    <a:lnTo>
                      <a:pt x="238" y="231"/>
                    </a:lnTo>
                    <a:lnTo>
                      <a:pt x="236" y="230"/>
                    </a:lnTo>
                    <a:lnTo>
                      <a:pt x="236" y="231"/>
                    </a:lnTo>
                    <a:lnTo>
                      <a:pt x="238" y="231"/>
                    </a:lnTo>
                    <a:lnTo>
                      <a:pt x="239" y="231"/>
                    </a:lnTo>
                    <a:lnTo>
                      <a:pt x="239" y="232"/>
                    </a:lnTo>
                    <a:lnTo>
                      <a:pt x="240" y="232"/>
                    </a:lnTo>
                    <a:lnTo>
                      <a:pt x="240" y="233"/>
                    </a:lnTo>
                    <a:lnTo>
                      <a:pt x="240" y="232"/>
                    </a:lnTo>
                    <a:lnTo>
                      <a:pt x="241" y="232"/>
                    </a:lnTo>
                    <a:lnTo>
                      <a:pt x="242" y="232"/>
                    </a:lnTo>
                    <a:lnTo>
                      <a:pt x="242" y="233"/>
                    </a:lnTo>
                    <a:lnTo>
                      <a:pt x="241" y="233"/>
                    </a:lnTo>
                    <a:lnTo>
                      <a:pt x="241" y="234"/>
                    </a:lnTo>
                    <a:lnTo>
                      <a:pt x="240" y="233"/>
                    </a:lnTo>
                    <a:lnTo>
                      <a:pt x="239" y="233"/>
                    </a:lnTo>
                    <a:lnTo>
                      <a:pt x="239" y="232"/>
                    </a:lnTo>
                    <a:lnTo>
                      <a:pt x="238" y="231"/>
                    </a:lnTo>
                    <a:lnTo>
                      <a:pt x="236" y="231"/>
                    </a:lnTo>
                    <a:lnTo>
                      <a:pt x="235" y="231"/>
                    </a:lnTo>
                    <a:lnTo>
                      <a:pt x="234" y="231"/>
                    </a:lnTo>
                    <a:lnTo>
                      <a:pt x="233" y="231"/>
                    </a:lnTo>
                    <a:lnTo>
                      <a:pt x="233" y="230"/>
                    </a:lnTo>
                    <a:lnTo>
                      <a:pt x="232" y="230"/>
                    </a:lnTo>
                    <a:lnTo>
                      <a:pt x="231" y="230"/>
                    </a:lnTo>
                    <a:lnTo>
                      <a:pt x="231" y="229"/>
                    </a:lnTo>
                    <a:lnTo>
                      <a:pt x="231" y="228"/>
                    </a:lnTo>
                    <a:close/>
                    <a:moveTo>
                      <a:pt x="223" y="218"/>
                    </a:moveTo>
                    <a:lnTo>
                      <a:pt x="223" y="219"/>
                    </a:lnTo>
                    <a:lnTo>
                      <a:pt x="223" y="218"/>
                    </a:lnTo>
                    <a:lnTo>
                      <a:pt x="225" y="219"/>
                    </a:lnTo>
                    <a:lnTo>
                      <a:pt x="225" y="218"/>
                    </a:lnTo>
                    <a:lnTo>
                      <a:pt x="223" y="218"/>
                    </a:lnTo>
                    <a:lnTo>
                      <a:pt x="225" y="218"/>
                    </a:lnTo>
                    <a:lnTo>
                      <a:pt x="226" y="218"/>
                    </a:lnTo>
                    <a:lnTo>
                      <a:pt x="227" y="218"/>
                    </a:lnTo>
                    <a:lnTo>
                      <a:pt x="228" y="218"/>
                    </a:lnTo>
                    <a:lnTo>
                      <a:pt x="228" y="219"/>
                    </a:lnTo>
                    <a:lnTo>
                      <a:pt x="229" y="219"/>
                    </a:lnTo>
                    <a:lnTo>
                      <a:pt x="229" y="218"/>
                    </a:lnTo>
                    <a:lnTo>
                      <a:pt x="229" y="219"/>
                    </a:lnTo>
                    <a:lnTo>
                      <a:pt x="230" y="219"/>
                    </a:lnTo>
                    <a:lnTo>
                      <a:pt x="230" y="220"/>
                    </a:lnTo>
                    <a:lnTo>
                      <a:pt x="229" y="220"/>
                    </a:lnTo>
                    <a:lnTo>
                      <a:pt x="229" y="219"/>
                    </a:lnTo>
                    <a:lnTo>
                      <a:pt x="228" y="219"/>
                    </a:lnTo>
                    <a:lnTo>
                      <a:pt x="227" y="219"/>
                    </a:lnTo>
                    <a:lnTo>
                      <a:pt x="228" y="219"/>
                    </a:lnTo>
                    <a:lnTo>
                      <a:pt x="228" y="220"/>
                    </a:lnTo>
                    <a:lnTo>
                      <a:pt x="229" y="220"/>
                    </a:lnTo>
                    <a:lnTo>
                      <a:pt x="228" y="220"/>
                    </a:lnTo>
                    <a:lnTo>
                      <a:pt x="229" y="221"/>
                    </a:lnTo>
                    <a:lnTo>
                      <a:pt x="228" y="221"/>
                    </a:lnTo>
                    <a:lnTo>
                      <a:pt x="228" y="220"/>
                    </a:lnTo>
                    <a:lnTo>
                      <a:pt x="227" y="220"/>
                    </a:lnTo>
                    <a:lnTo>
                      <a:pt x="227" y="219"/>
                    </a:lnTo>
                    <a:lnTo>
                      <a:pt x="226" y="219"/>
                    </a:lnTo>
                    <a:lnTo>
                      <a:pt x="225" y="219"/>
                    </a:lnTo>
                    <a:lnTo>
                      <a:pt x="223" y="220"/>
                    </a:lnTo>
                    <a:lnTo>
                      <a:pt x="223" y="219"/>
                    </a:lnTo>
                    <a:lnTo>
                      <a:pt x="222" y="219"/>
                    </a:lnTo>
                    <a:lnTo>
                      <a:pt x="222" y="220"/>
                    </a:lnTo>
                    <a:lnTo>
                      <a:pt x="221" y="220"/>
                    </a:lnTo>
                    <a:lnTo>
                      <a:pt x="221" y="221"/>
                    </a:lnTo>
                    <a:lnTo>
                      <a:pt x="220" y="221"/>
                    </a:lnTo>
                    <a:lnTo>
                      <a:pt x="220" y="220"/>
                    </a:lnTo>
                    <a:lnTo>
                      <a:pt x="220" y="219"/>
                    </a:lnTo>
                    <a:lnTo>
                      <a:pt x="219" y="220"/>
                    </a:lnTo>
                    <a:lnTo>
                      <a:pt x="220" y="219"/>
                    </a:lnTo>
                    <a:lnTo>
                      <a:pt x="220" y="218"/>
                    </a:lnTo>
                    <a:lnTo>
                      <a:pt x="221" y="218"/>
                    </a:lnTo>
                    <a:lnTo>
                      <a:pt x="222" y="219"/>
                    </a:lnTo>
                    <a:lnTo>
                      <a:pt x="222" y="218"/>
                    </a:lnTo>
                    <a:lnTo>
                      <a:pt x="223" y="218"/>
                    </a:lnTo>
                    <a:close/>
                    <a:moveTo>
                      <a:pt x="494" y="584"/>
                    </a:moveTo>
                    <a:lnTo>
                      <a:pt x="494" y="585"/>
                    </a:lnTo>
                    <a:lnTo>
                      <a:pt x="496" y="585"/>
                    </a:lnTo>
                    <a:lnTo>
                      <a:pt x="497" y="588"/>
                    </a:lnTo>
                    <a:lnTo>
                      <a:pt x="497" y="589"/>
                    </a:lnTo>
                    <a:lnTo>
                      <a:pt x="496" y="590"/>
                    </a:lnTo>
                    <a:lnTo>
                      <a:pt x="494" y="590"/>
                    </a:lnTo>
                    <a:lnTo>
                      <a:pt x="493" y="591"/>
                    </a:lnTo>
                    <a:lnTo>
                      <a:pt x="493" y="592"/>
                    </a:lnTo>
                    <a:lnTo>
                      <a:pt x="492" y="592"/>
                    </a:lnTo>
                    <a:lnTo>
                      <a:pt x="491" y="592"/>
                    </a:lnTo>
                    <a:lnTo>
                      <a:pt x="491" y="591"/>
                    </a:lnTo>
                    <a:lnTo>
                      <a:pt x="490" y="591"/>
                    </a:lnTo>
                    <a:lnTo>
                      <a:pt x="490" y="592"/>
                    </a:lnTo>
                    <a:lnTo>
                      <a:pt x="490" y="591"/>
                    </a:lnTo>
                    <a:lnTo>
                      <a:pt x="491" y="591"/>
                    </a:lnTo>
                    <a:lnTo>
                      <a:pt x="492" y="591"/>
                    </a:lnTo>
                    <a:lnTo>
                      <a:pt x="492" y="590"/>
                    </a:lnTo>
                    <a:lnTo>
                      <a:pt x="493" y="590"/>
                    </a:lnTo>
                    <a:lnTo>
                      <a:pt x="493" y="591"/>
                    </a:lnTo>
                    <a:lnTo>
                      <a:pt x="494" y="590"/>
                    </a:lnTo>
                    <a:lnTo>
                      <a:pt x="496" y="590"/>
                    </a:lnTo>
                    <a:lnTo>
                      <a:pt x="496" y="589"/>
                    </a:lnTo>
                    <a:lnTo>
                      <a:pt x="496" y="588"/>
                    </a:lnTo>
                    <a:lnTo>
                      <a:pt x="494" y="588"/>
                    </a:lnTo>
                    <a:lnTo>
                      <a:pt x="493" y="586"/>
                    </a:lnTo>
                    <a:lnTo>
                      <a:pt x="493" y="585"/>
                    </a:lnTo>
                    <a:lnTo>
                      <a:pt x="492" y="585"/>
                    </a:lnTo>
                    <a:lnTo>
                      <a:pt x="491" y="585"/>
                    </a:lnTo>
                    <a:lnTo>
                      <a:pt x="490" y="585"/>
                    </a:lnTo>
                    <a:lnTo>
                      <a:pt x="489" y="585"/>
                    </a:lnTo>
                    <a:lnTo>
                      <a:pt x="491" y="585"/>
                    </a:lnTo>
                    <a:lnTo>
                      <a:pt x="494" y="584"/>
                    </a:lnTo>
                    <a:close/>
                    <a:moveTo>
                      <a:pt x="451" y="615"/>
                    </a:moveTo>
                    <a:lnTo>
                      <a:pt x="452" y="615"/>
                    </a:lnTo>
                    <a:lnTo>
                      <a:pt x="452" y="616"/>
                    </a:lnTo>
                    <a:lnTo>
                      <a:pt x="451" y="617"/>
                    </a:lnTo>
                    <a:lnTo>
                      <a:pt x="450" y="618"/>
                    </a:lnTo>
                    <a:lnTo>
                      <a:pt x="450" y="619"/>
                    </a:lnTo>
                    <a:lnTo>
                      <a:pt x="449" y="619"/>
                    </a:lnTo>
                    <a:lnTo>
                      <a:pt x="449" y="620"/>
                    </a:lnTo>
                    <a:lnTo>
                      <a:pt x="448" y="620"/>
                    </a:lnTo>
                    <a:lnTo>
                      <a:pt x="448" y="621"/>
                    </a:lnTo>
                    <a:lnTo>
                      <a:pt x="448" y="622"/>
                    </a:lnTo>
                    <a:lnTo>
                      <a:pt x="447" y="622"/>
                    </a:lnTo>
                    <a:lnTo>
                      <a:pt x="447" y="621"/>
                    </a:lnTo>
                    <a:lnTo>
                      <a:pt x="446" y="621"/>
                    </a:lnTo>
                    <a:lnTo>
                      <a:pt x="446" y="620"/>
                    </a:lnTo>
                    <a:lnTo>
                      <a:pt x="447" y="619"/>
                    </a:lnTo>
                    <a:lnTo>
                      <a:pt x="447" y="620"/>
                    </a:lnTo>
                    <a:lnTo>
                      <a:pt x="447" y="619"/>
                    </a:lnTo>
                    <a:lnTo>
                      <a:pt x="448" y="618"/>
                    </a:lnTo>
                    <a:lnTo>
                      <a:pt x="449" y="618"/>
                    </a:lnTo>
                    <a:lnTo>
                      <a:pt x="448" y="618"/>
                    </a:lnTo>
                    <a:lnTo>
                      <a:pt x="449" y="618"/>
                    </a:lnTo>
                    <a:lnTo>
                      <a:pt x="448" y="618"/>
                    </a:lnTo>
                    <a:lnTo>
                      <a:pt x="448" y="619"/>
                    </a:lnTo>
                    <a:lnTo>
                      <a:pt x="448" y="618"/>
                    </a:lnTo>
                    <a:lnTo>
                      <a:pt x="449" y="618"/>
                    </a:lnTo>
                    <a:lnTo>
                      <a:pt x="449" y="617"/>
                    </a:lnTo>
                    <a:lnTo>
                      <a:pt x="449" y="616"/>
                    </a:lnTo>
                    <a:lnTo>
                      <a:pt x="450" y="616"/>
                    </a:lnTo>
                    <a:lnTo>
                      <a:pt x="450" y="615"/>
                    </a:lnTo>
                    <a:lnTo>
                      <a:pt x="451" y="615"/>
                    </a:lnTo>
                    <a:close/>
                    <a:moveTo>
                      <a:pt x="446" y="518"/>
                    </a:moveTo>
                    <a:lnTo>
                      <a:pt x="446" y="519"/>
                    </a:lnTo>
                    <a:lnTo>
                      <a:pt x="445" y="520"/>
                    </a:lnTo>
                    <a:lnTo>
                      <a:pt x="445" y="521"/>
                    </a:lnTo>
                    <a:lnTo>
                      <a:pt x="445" y="523"/>
                    </a:lnTo>
                    <a:lnTo>
                      <a:pt x="445" y="524"/>
                    </a:lnTo>
                    <a:lnTo>
                      <a:pt x="445" y="525"/>
                    </a:lnTo>
                    <a:lnTo>
                      <a:pt x="445" y="526"/>
                    </a:lnTo>
                    <a:lnTo>
                      <a:pt x="445" y="527"/>
                    </a:lnTo>
                    <a:lnTo>
                      <a:pt x="444" y="527"/>
                    </a:lnTo>
                    <a:lnTo>
                      <a:pt x="444" y="526"/>
                    </a:lnTo>
                    <a:lnTo>
                      <a:pt x="442" y="526"/>
                    </a:lnTo>
                    <a:lnTo>
                      <a:pt x="441" y="526"/>
                    </a:lnTo>
                    <a:lnTo>
                      <a:pt x="442" y="526"/>
                    </a:lnTo>
                    <a:lnTo>
                      <a:pt x="442" y="525"/>
                    </a:lnTo>
                    <a:lnTo>
                      <a:pt x="441" y="525"/>
                    </a:lnTo>
                    <a:lnTo>
                      <a:pt x="440" y="525"/>
                    </a:lnTo>
                    <a:lnTo>
                      <a:pt x="440" y="524"/>
                    </a:lnTo>
                    <a:lnTo>
                      <a:pt x="441" y="524"/>
                    </a:lnTo>
                    <a:lnTo>
                      <a:pt x="442" y="524"/>
                    </a:lnTo>
                    <a:lnTo>
                      <a:pt x="442" y="523"/>
                    </a:lnTo>
                    <a:lnTo>
                      <a:pt x="442" y="524"/>
                    </a:lnTo>
                    <a:lnTo>
                      <a:pt x="444" y="524"/>
                    </a:lnTo>
                    <a:lnTo>
                      <a:pt x="444" y="523"/>
                    </a:lnTo>
                    <a:lnTo>
                      <a:pt x="445" y="523"/>
                    </a:lnTo>
                    <a:lnTo>
                      <a:pt x="445" y="521"/>
                    </a:lnTo>
                    <a:lnTo>
                      <a:pt x="444" y="521"/>
                    </a:lnTo>
                    <a:lnTo>
                      <a:pt x="444" y="520"/>
                    </a:lnTo>
                    <a:lnTo>
                      <a:pt x="444" y="519"/>
                    </a:lnTo>
                    <a:lnTo>
                      <a:pt x="442" y="519"/>
                    </a:lnTo>
                    <a:lnTo>
                      <a:pt x="444" y="519"/>
                    </a:lnTo>
                    <a:lnTo>
                      <a:pt x="444" y="518"/>
                    </a:lnTo>
                    <a:lnTo>
                      <a:pt x="445" y="518"/>
                    </a:lnTo>
                    <a:lnTo>
                      <a:pt x="445" y="517"/>
                    </a:lnTo>
                    <a:lnTo>
                      <a:pt x="446" y="518"/>
                    </a:lnTo>
                    <a:close/>
                    <a:moveTo>
                      <a:pt x="244" y="211"/>
                    </a:moveTo>
                    <a:lnTo>
                      <a:pt x="245" y="212"/>
                    </a:lnTo>
                    <a:lnTo>
                      <a:pt x="245" y="213"/>
                    </a:lnTo>
                    <a:lnTo>
                      <a:pt x="246" y="213"/>
                    </a:lnTo>
                    <a:lnTo>
                      <a:pt x="247" y="213"/>
                    </a:lnTo>
                    <a:lnTo>
                      <a:pt x="247" y="212"/>
                    </a:lnTo>
                    <a:lnTo>
                      <a:pt x="247" y="213"/>
                    </a:lnTo>
                    <a:lnTo>
                      <a:pt x="247" y="215"/>
                    </a:lnTo>
                    <a:lnTo>
                      <a:pt x="246" y="215"/>
                    </a:lnTo>
                    <a:lnTo>
                      <a:pt x="246" y="216"/>
                    </a:lnTo>
                    <a:lnTo>
                      <a:pt x="245" y="216"/>
                    </a:lnTo>
                    <a:lnTo>
                      <a:pt x="244" y="216"/>
                    </a:lnTo>
                    <a:lnTo>
                      <a:pt x="244" y="215"/>
                    </a:lnTo>
                    <a:lnTo>
                      <a:pt x="243" y="215"/>
                    </a:lnTo>
                    <a:lnTo>
                      <a:pt x="243" y="213"/>
                    </a:lnTo>
                    <a:lnTo>
                      <a:pt x="242" y="213"/>
                    </a:lnTo>
                    <a:lnTo>
                      <a:pt x="242" y="215"/>
                    </a:lnTo>
                    <a:lnTo>
                      <a:pt x="241" y="215"/>
                    </a:lnTo>
                    <a:lnTo>
                      <a:pt x="241" y="213"/>
                    </a:lnTo>
                    <a:lnTo>
                      <a:pt x="241" y="212"/>
                    </a:lnTo>
                    <a:lnTo>
                      <a:pt x="242" y="211"/>
                    </a:lnTo>
                    <a:lnTo>
                      <a:pt x="243" y="211"/>
                    </a:lnTo>
                    <a:lnTo>
                      <a:pt x="244" y="211"/>
                    </a:lnTo>
                    <a:close/>
                    <a:moveTo>
                      <a:pt x="231" y="402"/>
                    </a:moveTo>
                    <a:lnTo>
                      <a:pt x="232" y="402"/>
                    </a:lnTo>
                    <a:lnTo>
                      <a:pt x="232" y="401"/>
                    </a:lnTo>
                    <a:lnTo>
                      <a:pt x="233" y="401"/>
                    </a:lnTo>
                    <a:lnTo>
                      <a:pt x="233" y="402"/>
                    </a:lnTo>
                    <a:lnTo>
                      <a:pt x="234" y="402"/>
                    </a:lnTo>
                    <a:lnTo>
                      <a:pt x="233" y="402"/>
                    </a:lnTo>
                    <a:lnTo>
                      <a:pt x="232" y="402"/>
                    </a:lnTo>
                    <a:lnTo>
                      <a:pt x="231" y="402"/>
                    </a:lnTo>
                    <a:lnTo>
                      <a:pt x="231" y="403"/>
                    </a:lnTo>
                    <a:lnTo>
                      <a:pt x="232" y="403"/>
                    </a:lnTo>
                    <a:lnTo>
                      <a:pt x="231" y="403"/>
                    </a:lnTo>
                    <a:lnTo>
                      <a:pt x="231" y="402"/>
                    </a:lnTo>
                    <a:lnTo>
                      <a:pt x="232" y="402"/>
                    </a:lnTo>
                    <a:lnTo>
                      <a:pt x="232" y="403"/>
                    </a:lnTo>
                    <a:lnTo>
                      <a:pt x="232" y="404"/>
                    </a:lnTo>
                    <a:lnTo>
                      <a:pt x="231" y="404"/>
                    </a:lnTo>
                    <a:lnTo>
                      <a:pt x="231" y="405"/>
                    </a:lnTo>
                    <a:lnTo>
                      <a:pt x="232" y="405"/>
                    </a:lnTo>
                    <a:lnTo>
                      <a:pt x="232" y="404"/>
                    </a:lnTo>
                    <a:lnTo>
                      <a:pt x="233" y="404"/>
                    </a:lnTo>
                    <a:lnTo>
                      <a:pt x="232" y="404"/>
                    </a:lnTo>
                    <a:lnTo>
                      <a:pt x="233" y="404"/>
                    </a:lnTo>
                    <a:lnTo>
                      <a:pt x="232" y="404"/>
                    </a:lnTo>
                    <a:lnTo>
                      <a:pt x="232" y="403"/>
                    </a:lnTo>
                    <a:lnTo>
                      <a:pt x="233" y="403"/>
                    </a:lnTo>
                    <a:lnTo>
                      <a:pt x="233" y="404"/>
                    </a:lnTo>
                    <a:lnTo>
                      <a:pt x="234" y="404"/>
                    </a:lnTo>
                    <a:lnTo>
                      <a:pt x="234" y="403"/>
                    </a:lnTo>
                    <a:lnTo>
                      <a:pt x="235" y="403"/>
                    </a:lnTo>
                    <a:lnTo>
                      <a:pt x="235" y="402"/>
                    </a:lnTo>
                    <a:lnTo>
                      <a:pt x="236" y="402"/>
                    </a:lnTo>
                    <a:lnTo>
                      <a:pt x="236" y="403"/>
                    </a:lnTo>
                    <a:lnTo>
                      <a:pt x="235" y="404"/>
                    </a:lnTo>
                    <a:lnTo>
                      <a:pt x="234" y="404"/>
                    </a:lnTo>
                    <a:lnTo>
                      <a:pt x="233" y="404"/>
                    </a:lnTo>
                    <a:lnTo>
                      <a:pt x="232" y="405"/>
                    </a:lnTo>
                    <a:lnTo>
                      <a:pt x="233" y="405"/>
                    </a:lnTo>
                    <a:lnTo>
                      <a:pt x="233" y="406"/>
                    </a:lnTo>
                    <a:lnTo>
                      <a:pt x="234" y="406"/>
                    </a:lnTo>
                    <a:lnTo>
                      <a:pt x="235" y="406"/>
                    </a:lnTo>
                    <a:lnTo>
                      <a:pt x="232" y="406"/>
                    </a:lnTo>
                    <a:lnTo>
                      <a:pt x="230" y="406"/>
                    </a:lnTo>
                    <a:lnTo>
                      <a:pt x="230" y="405"/>
                    </a:lnTo>
                    <a:lnTo>
                      <a:pt x="230" y="404"/>
                    </a:lnTo>
                    <a:lnTo>
                      <a:pt x="230" y="402"/>
                    </a:lnTo>
                    <a:lnTo>
                      <a:pt x="231" y="401"/>
                    </a:lnTo>
                    <a:lnTo>
                      <a:pt x="231" y="402"/>
                    </a:lnTo>
                    <a:close/>
                    <a:moveTo>
                      <a:pt x="272" y="180"/>
                    </a:moveTo>
                    <a:lnTo>
                      <a:pt x="273" y="180"/>
                    </a:lnTo>
                    <a:lnTo>
                      <a:pt x="274" y="180"/>
                    </a:lnTo>
                    <a:lnTo>
                      <a:pt x="276" y="179"/>
                    </a:lnTo>
                    <a:lnTo>
                      <a:pt x="277" y="180"/>
                    </a:lnTo>
                    <a:lnTo>
                      <a:pt x="277" y="181"/>
                    </a:lnTo>
                    <a:lnTo>
                      <a:pt x="278" y="181"/>
                    </a:lnTo>
                    <a:lnTo>
                      <a:pt x="280" y="181"/>
                    </a:lnTo>
                    <a:lnTo>
                      <a:pt x="282" y="181"/>
                    </a:lnTo>
                    <a:lnTo>
                      <a:pt x="282" y="182"/>
                    </a:lnTo>
                    <a:lnTo>
                      <a:pt x="281" y="182"/>
                    </a:lnTo>
                    <a:lnTo>
                      <a:pt x="280" y="182"/>
                    </a:lnTo>
                    <a:lnTo>
                      <a:pt x="278" y="182"/>
                    </a:lnTo>
                    <a:lnTo>
                      <a:pt x="277" y="182"/>
                    </a:lnTo>
                    <a:lnTo>
                      <a:pt x="276" y="182"/>
                    </a:lnTo>
                    <a:lnTo>
                      <a:pt x="273" y="181"/>
                    </a:lnTo>
                    <a:lnTo>
                      <a:pt x="272" y="181"/>
                    </a:lnTo>
                    <a:lnTo>
                      <a:pt x="272" y="180"/>
                    </a:lnTo>
                    <a:lnTo>
                      <a:pt x="271" y="180"/>
                    </a:lnTo>
                    <a:lnTo>
                      <a:pt x="271" y="179"/>
                    </a:lnTo>
                    <a:lnTo>
                      <a:pt x="270" y="179"/>
                    </a:lnTo>
                    <a:lnTo>
                      <a:pt x="271" y="179"/>
                    </a:lnTo>
                    <a:lnTo>
                      <a:pt x="272" y="179"/>
                    </a:lnTo>
                    <a:lnTo>
                      <a:pt x="272" y="180"/>
                    </a:lnTo>
                    <a:close/>
                    <a:moveTo>
                      <a:pt x="307" y="250"/>
                    </a:moveTo>
                    <a:lnTo>
                      <a:pt x="308" y="250"/>
                    </a:lnTo>
                    <a:lnTo>
                      <a:pt x="309" y="250"/>
                    </a:lnTo>
                    <a:lnTo>
                      <a:pt x="309" y="251"/>
                    </a:lnTo>
                    <a:lnTo>
                      <a:pt x="309" y="253"/>
                    </a:lnTo>
                    <a:lnTo>
                      <a:pt x="310" y="253"/>
                    </a:lnTo>
                    <a:lnTo>
                      <a:pt x="311" y="253"/>
                    </a:lnTo>
                    <a:lnTo>
                      <a:pt x="312" y="253"/>
                    </a:lnTo>
                    <a:lnTo>
                      <a:pt x="312" y="254"/>
                    </a:lnTo>
                    <a:lnTo>
                      <a:pt x="312" y="255"/>
                    </a:lnTo>
                    <a:lnTo>
                      <a:pt x="312" y="256"/>
                    </a:lnTo>
                    <a:lnTo>
                      <a:pt x="311" y="255"/>
                    </a:lnTo>
                    <a:lnTo>
                      <a:pt x="310" y="255"/>
                    </a:lnTo>
                    <a:lnTo>
                      <a:pt x="309" y="254"/>
                    </a:lnTo>
                    <a:lnTo>
                      <a:pt x="309" y="253"/>
                    </a:lnTo>
                    <a:lnTo>
                      <a:pt x="309" y="251"/>
                    </a:lnTo>
                    <a:lnTo>
                      <a:pt x="308" y="251"/>
                    </a:lnTo>
                    <a:lnTo>
                      <a:pt x="307" y="251"/>
                    </a:lnTo>
                    <a:lnTo>
                      <a:pt x="306" y="251"/>
                    </a:lnTo>
                    <a:lnTo>
                      <a:pt x="305" y="251"/>
                    </a:lnTo>
                    <a:lnTo>
                      <a:pt x="304" y="251"/>
                    </a:lnTo>
                    <a:lnTo>
                      <a:pt x="304" y="253"/>
                    </a:lnTo>
                    <a:lnTo>
                      <a:pt x="304" y="251"/>
                    </a:lnTo>
                    <a:lnTo>
                      <a:pt x="305" y="251"/>
                    </a:lnTo>
                    <a:lnTo>
                      <a:pt x="305" y="250"/>
                    </a:lnTo>
                    <a:lnTo>
                      <a:pt x="306" y="250"/>
                    </a:lnTo>
                    <a:lnTo>
                      <a:pt x="307" y="250"/>
                    </a:lnTo>
                    <a:lnTo>
                      <a:pt x="307" y="249"/>
                    </a:lnTo>
                    <a:lnTo>
                      <a:pt x="307" y="250"/>
                    </a:lnTo>
                    <a:close/>
                    <a:moveTo>
                      <a:pt x="487" y="585"/>
                    </a:moveTo>
                    <a:lnTo>
                      <a:pt x="488" y="585"/>
                    </a:lnTo>
                    <a:lnTo>
                      <a:pt x="489" y="585"/>
                    </a:lnTo>
                    <a:lnTo>
                      <a:pt x="488" y="585"/>
                    </a:lnTo>
                    <a:lnTo>
                      <a:pt x="488" y="586"/>
                    </a:lnTo>
                    <a:lnTo>
                      <a:pt x="489" y="586"/>
                    </a:lnTo>
                    <a:lnTo>
                      <a:pt x="489" y="588"/>
                    </a:lnTo>
                    <a:lnTo>
                      <a:pt x="489" y="589"/>
                    </a:lnTo>
                    <a:lnTo>
                      <a:pt x="488" y="589"/>
                    </a:lnTo>
                    <a:lnTo>
                      <a:pt x="487" y="589"/>
                    </a:lnTo>
                    <a:lnTo>
                      <a:pt x="487" y="588"/>
                    </a:lnTo>
                    <a:lnTo>
                      <a:pt x="487" y="586"/>
                    </a:lnTo>
                    <a:lnTo>
                      <a:pt x="486" y="586"/>
                    </a:lnTo>
                    <a:lnTo>
                      <a:pt x="487" y="586"/>
                    </a:lnTo>
                    <a:lnTo>
                      <a:pt x="487" y="585"/>
                    </a:lnTo>
                    <a:lnTo>
                      <a:pt x="486" y="585"/>
                    </a:lnTo>
                    <a:lnTo>
                      <a:pt x="486" y="586"/>
                    </a:lnTo>
                    <a:lnTo>
                      <a:pt x="485" y="586"/>
                    </a:lnTo>
                    <a:lnTo>
                      <a:pt x="484" y="585"/>
                    </a:lnTo>
                    <a:lnTo>
                      <a:pt x="484" y="584"/>
                    </a:lnTo>
                    <a:lnTo>
                      <a:pt x="485" y="583"/>
                    </a:lnTo>
                    <a:lnTo>
                      <a:pt x="486" y="583"/>
                    </a:lnTo>
                    <a:lnTo>
                      <a:pt x="487" y="584"/>
                    </a:lnTo>
                    <a:lnTo>
                      <a:pt x="487" y="585"/>
                    </a:lnTo>
                    <a:close/>
                    <a:moveTo>
                      <a:pt x="472" y="438"/>
                    </a:moveTo>
                    <a:lnTo>
                      <a:pt x="472" y="439"/>
                    </a:lnTo>
                    <a:lnTo>
                      <a:pt x="471" y="439"/>
                    </a:lnTo>
                    <a:lnTo>
                      <a:pt x="471" y="440"/>
                    </a:lnTo>
                    <a:lnTo>
                      <a:pt x="470" y="440"/>
                    </a:lnTo>
                    <a:lnTo>
                      <a:pt x="471" y="441"/>
                    </a:lnTo>
                    <a:lnTo>
                      <a:pt x="472" y="441"/>
                    </a:lnTo>
                    <a:lnTo>
                      <a:pt x="473" y="441"/>
                    </a:lnTo>
                    <a:lnTo>
                      <a:pt x="474" y="442"/>
                    </a:lnTo>
                    <a:lnTo>
                      <a:pt x="475" y="442"/>
                    </a:lnTo>
                    <a:lnTo>
                      <a:pt x="474" y="442"/>
                    </a:lnTo>
                    <a:lnTo>
                      <a:pt x="473" y="442"/>
                    </a:lnTo>
                    <a:lnTo>
                      <a:pt x="472" y="442"/>
                    </a:lnTo>
                    <a:lnTo>
                      <a:pt x="472" y="443"/>
                    </a:lnTo>
                    <a:lnTo>
                      <a:pt x="471" y="443"/>
                    </a:lnTo>
                    <a:lnTo>
                      <a:pt x="470" y="443"/>
                    </a:lnTo>
                    <a:lnTo>
                      <a:pt x="468" y="443"/>
                    </a:lnTo>
                    <a:lnTo>
                      <a:pt x="468" y="442"/>
                    </a:lnTo>
                    <a:lnTo>
                      <a:pt x="470" y="442"/>
                    </a:lnTo>
                    <a:lnTo>
                      <a:pt x="470" y="439"/>
                    </a:lnTo>
                    <a:lnTo>
                      <a:pt x="470" y="438"/>
                    </a:lnTo>
                    <a:lnTo>
                      <a:pt x="471" y="438"/>
                    </a:lnTo>
                    <a:lnTo>
                      <a:pt x="471" y="436"/>
                    </a:lnTo>
                    <a:lnTo>
                      <a:pt x="472" y="436"/>
                    </a:lnTo>
                    <a:lnTo>
                      <a:pt x="472" y="437"/>
                    </a:lnTo>
                    <a:lnTo>
                      <a:pt x="473" y="437"/>
                    </a:lnTo>
                    <a:lnTo>
                      <a:pt x="473" y="438"/>
                    </a:lnTo>
                    <a:lnTo>
                      <a:pt x="472" y="438"/>
                    </a:lnTo>
                    <a:close/>
                    <a:moveTo>
                      <a:pt x="163" y="412"/>
                    </a:moveTo>
                    <a:lnTo>
                      <a:pt x="164" y="412"/>
                    </a:lnTo>
                    <a:lnTo>
                      <a:pt x="163" y="412"/>
                    </a:lnTo>
                    <a:lnTo>
                      <a:pt x="163" y="413"/>
                    </a:lnTo>
                    <a:lnTo>
                      <a:pt x="162" y="413"/>
                    </a:lnTo>
                    <a:lnTo>
                      <a:pt x="161" y="414"/>
                    </a:lnTo>
                    <a:lnTo>
                      <a:pt x="162" y="413"/>
                    </a:lnTo>
                    <a:lnTo>
                      <a:pt x="163" y="413"/>
                    </a:lnTo>
                    <a:lnTo>
                      <a:pt x="164" y="413"/>
                    </a:lnTo>
                    <a:lnTo>
                      <a:pt x="165" y="413"/>
                    </a:lnTo>
                    <a:lnTo>
                      <a:pt x="165" y="412"/>
                    </a:lnTo>
                    <a:lnTo>
                      <a:pt x="166" y="413"/>
                    </a:lnTo>
                    <a:lnTo>
                      <a:pt x="167" y="412"/>
                    </a:lnTo>
                    <a:lnTo>
                      <a:pt x="168" y="412"/>
                    </a:lnTo>
                    <a:lnTo>
                      <a:pt x="167" y="412"/>
                    </a:lnTo>
                    <a:lnTo>
                      <a:pt x="167" y="413"/>
                    </a:lnTo>
                    <a:lnTo>
                      <a:pt x="166" y="413"/>
                    </a:lnTo>
                    <a:lnTo>
                      <a:pt x="165" y="413"/>
                    </a:lnTo>
                    <a:lnTo>
                      <a:pt x="164" y="414"/>
                    </a:lnTo>
                    <a:lnTo>
                      <a:pt x="163" y="414"/>
                    </a:lnTo>
                    <a:lnTo>
                      <a:pt x="162" y="414"/>
                    </a:lnTo>
                    <a:lnTo>
                      <a:pt x="161" y="414"/>
                    </a:lnTo>
                    <a:lnTo>
                      <a:pt x="161" y="415"/>
                    </a:lnTo>
                    <a:lnTo>
                      <a:pt x="160" y="415"/>
                    </a:lnTo>
                    <a:lnTo>
                      <a:pt x="158" y="414"/>
                    </a:lnTo>
                    <a:lnTo>
                      <a:pt x="157" y="414"/>
                    </a:lnTo>
                    <a:lnTo>
                      <a:pt x="156" y="414"/>
                    </a:lnTo>
                    <a:lnTo>
                      <a:pt x="156" y="413"/>
                    </a:lnTo>
                    <a:lnTo>
                      <a:pt x="157" y="413"/>
                    </a:lnTo>
                    <a:lnTo>
                      <a:pt x="157" y="414"/>
                    </a:lnTo>
                    <a:lnTo>
                      <a:pt x="157" y="413"/>
                    </a:lnTo>
                    <a:lnTo>
                      <a:pt x="158" y="413"/>
                    </a:lnTo>
                    <a:lnTo>
                      <a:pt x="160" y="413"/>
                    </a:lnTo>
                    <a:lnTo>
                      <a:pt x="161" y="412"/>
                    </a:lnTo>
                    <a:lnTo>
                      <a:pt x="162" y="412"/>
                    </a:lnTo>
                    <a:lnTo>
                      <a:pt x="163" y="412"/>
                    </a:lnTo>
                    <a:close/>
                    <a:moveTo>
                      <a:pt x="302" y="397"/>
                    </a:moveTo>
                    <a:lnTo>
                      <a:pt x="303" y="398"/>
                    </a:lnTo>
                    <a:lnTo>
                      <a:pt x="303" y="399"/>
                    </a:lnTo>
                    <a:lnTo>
                      <a:pt x="302" y="399"/>
                    </a:lnTo>
                    <a:lnTo>
                      <a:pt x="302" y="400"/>
                    </a:lnTo>
                    <a:lnTo>
                      <a:pt x="303" y="400"/>
                    </a:lnTo>
                    <a:lnTo>
                      <a:pt x="302" y="400"/>
                    </a:lnTo>
                    <a:lnTo>
                      <a:pt x="302" y="399"/>
                    </a:lnTo>
                    <a:lnTo>
                      <a:pt x="302" y="398"/>
                    </a:lnTo>
                    <a:lnTo>
                      <a:pt x="300" y="398"/>
                    </a:lnTo>
                    <a:lnTo>
                      <a:pt x="299" y="398"/>
                    </a:lnTo>
                    <a:lnTo>
                      <a:pt x="298" y="398"/>
                    </a:lnTo>
                    <a:lnTo>
                      <a:pt x="299" y="397"/>
                    </a:lnTo>
                    <a:lnTo>
                      <a:pt x="299" y="396"/>
                    </a:lnTo>
                    <a:lnTo>
                      <a:pt x="299" y="395"/>
                    </a:lnTo>
                    <a:lnTo>
                      <a:pt x="299" y="393"/>
                    </a:lnTo>
                    <a:lnTo>
                      <a:pt x="300" y="392"/>
                    </a:lnTo>
                    <a:lnTo>
                      <a:pt x="300" y="393"/>
                    </a:lnTo>
                    <a:lnTo>
                      <a:pt x="302" y="393"/>
                    </a:lnTo>
                    <a:lnTo>
                      <a:pt x="302" y="395"/>
                    </a:lnTo>
                    <a:lnTo>
                      <a:pt x="303" y="396"/>
                    </a:lnTo>
                    <a:lnTo>
                      <a:pt x="302" y="396"/>
                    </a:lnTo>
                    <a:lnTo>
                      <a:pt x="302" y="397"/>
                    </a:lnTo>
                    <a:close/>
                    <a:moveTo>
                      <a:pt x="156" y="399"/>
                    </a:moveTo>
                    <a:lnTo>
                      <a:pt x="155" y="400"/>
                    </a:lnTo>
                    <a:lnTo>
                      <a:pt x="155" y="401"/>
                    </a:lnTo>
                    <a:lnTo>
                      <a:pt x="155" y="400"/>
                    </a:lnTo>
                    <a:lnTo>
                      <a:pt x="155" y="401"/>
                    </a:lnTo>
                    <a:lnTo>
                      <a:pt x="154" y="401"/>
                    </a:lnTo>
                    <a:lnTo>
                      <a:pt x="153" y="402"/>
                    </a:lnTo>
                    <a:lnTo>
                      <a:pt x="153" y="403"/>
                    </a:lnTo>
                    <a:lnTo>
                      <a:pt x="152" y="403"/>
                    </a:lnTo>
                    <a:lnTo>
                      <a:pt x="151" y="403"/>
                    </a:lnTo>
                    <a:lnTo>
                      <a:pt x="150" y="403"/>
                    </a:lnTo>
                    <a:lnTo>
                      <a:pt x="149" y="403"/>
                    </a:lnTo>
                    <a:lnTo>
                      <a:pt x="149" y="404"/>
                    </a:lnTo>
                    <a:lnTo>
                      <a:pt x="148" y="404"/>
                    </a:lnTo>
                    <a:lnTo>
                      <a:pt x="148" y="403"/>
                    </a:lnTo>
                    <a:lnTo>
                      <a:pt x="147" y="403"/>
                    </a:lnTo>
                    <a:lnTo>
                      <a:pt x="148" y="402"/>
                    </a:lnTo>
                    <a:lnTo>
                      <a:pt x="148" y="403"/>
                    </a:lnTo>
                    <a:lnTo>
                      <a:pt x="148" y="402"/>
                    </a:lnTo>
                    <a:lnTo>
                      <a:pt x="148" y="403"/>
                    </a:lnTo>
                    <a:lnTo>
                      <a:pt x="149" y="403"/>
                    </a:lnTo>
                    <a:lnTo>
                      <a:pt x="149" y="402"/>
                    </a:lnTo>
                    <a:lnTo>
                      <a:pt x="149" y="401"/>
                    </a:lnTo>
                    <a:lnTo>
                      <a:pt x="150" y="401"/>
                    </a:lnTo>
                    <a:lnTo>
                      <a:pt x="150" y="400"/>
                    </a:lnTo>
                    <a:lnTo>
                      <a:pt x="151" y="400"/>
                    </a:lnTo>
                    <a:lnTo>
                      <a:pt x="151" y="401"/>
                    </a:lnTo>
                    <a:lnTo>
                      <a:pt x="152" y="401"/>
                    </a:lnTo>
                    <a:lnTo>
                      <a:pt x="152" y="402"/>
                    </a:lnTo>
                    <a:lnTo>
                      <a:pt x="152" y="401"/>
                    </a:lnTo>
                    <a:lnTo>
                      <a:pt x="153" y="401"/>
                    </a:lnTo>
                    <a:lnTo>
                      <a:pt x="154" y="401"/>
                    </a:lnTo>
                    <a:lnTo>
                      <a:pt x="154" y="400"/>
                    </a:lnTo>
                    <a:lnTo>
                      <a:pt x="155" y="400"/>
                    </a:lnTo>
                    <a:lnTo>
                      <a:pt x="155" y="399"/>
                    </a:lnTo>
                    <a:lnTo>
                      <a:pt x="156" y="399"/>
                    </a:lnTo>
                    <a:close/>
                    <a:moveTo>
                      <a:pt x="563" y="517"/>
                    </a:moveTo>
                    <a:lnTo>
                      <a:pt x="564" y="517"/>
                    </a:lnTo>
                    <a:lnTo>
                      <a:pt x="565" y="517"/>
                    </a:lnTo>
                    <a:lnTo>
                      <a:pt x="566" y="518"/>
                    </a:lnTo>
                    <a:lnTo>
                      <a:pt x="565" y="518"/>
                    </a:lnTo>
                    <a:lnTo>
                      <a:pt x="564" y="518"/>
                    </a:lnTo>
                    <a:lnTo>
                      <a:pt x="563" y="518"/>
                    </a:lnTo>
                    <a:lnTo>
                      <a:pt x="563" y="519"/>
                    </a:lnTo>
                    <a:lnTo>
                      <a:pt x="562" y="519"/>
                    </a:lnTo>
                    <a:lnTo>
                      <a:pt x="561" y="520"/>
                    </a:lnTo>
                    <a:lnTo>
                      <a:pt x="561" y="519"/>
                    </a:lnTo>
                    <a:lnTo>
                      <a:pt x="561" y="520"/>
                    </a:lnTo>
                    <a:lnTo>
                      <a:pt x="560" y="520"/>
                    </a:lnTo>
                    <a:lnTo>
                      <a:pt x="560" y="519"/>
                    </a:lnTo>
                    <a:lnTo>
                      <a:pt x="560" y="520"/>
                    </a:lnTo>
                    <a:lnTo>
                      <a:pt x="558" y="520"/>
                    </a:lnTo>
                    <a:lnTo>
                      <a:pt x="557" y="521"/>
                    </a:lnTo>
                    <a:lnTo>
                      <a:pt x="558" y="521"/>
                    </a:lnTo>
                    <a:lnTo>
                      <a:pt x="557" y="521"/>
                    </a:lnTo>
                    <a:lnTo>
                      <a:pt x="557" y="520"/>
                    </a:lnTo>
                    <a:lnTo>
                      <a:pt x="557" y="519"/>
                    </a:lnTo>
                    <a:lnTo>
                      <a:pt x="558" y="519"/>
                    </a:lnTo>
                    <a:lnTo>
                      <a:pt x="561" y="518"/>
                    </a:lnTo>
                    <a:lnTo>
                      <a:pt x="562" y="518"/>
                    </a:lnTo>
                    <a:lnTo>
                      <a:pt x="562" y="517"/>
                    </a:lnTo>
                    <a:lnTo>
                      <a:pt x="562" y="516"/>
                    </a:lnTo>
                    <a:lnTo>
                      <a:pt x="563" y="517"/>
                    </a:lnTo>
                    <a:close/>
                    <a:moveTo>
                      <a:pt x="476" y="593"/>
                    </a:moveTo>
                    <a:lnTo>
                      <a:pt x="476" y="592"/>
                    </a:lnTo>
                    <a:lnTo>
                      <a:pt x="476" y="593"/>
                    </a:lnTo>
                    <a:lnTo>
                      <a:pt x="477" y="593"/>
                    </a:lnTo>
                    <a:lnTo>
                      <a:pt x="476" y="593"/>
                    </a:lnTo>
                    <a:lnTo>
                      <a:pt x="476" y="594"/>
                    </a:lnTo>
                    <a:lnTo>
                      <a:pt x="477" y="594"/>
                    </a:lnTo>
                    <a:lnTo>
                      <a:pt x="477" y="595"/>
                    </a:lnTo>
                    <a:lnTo>
                      <a:pt x="477" y="596"/>
                    </a:lnTo>
                    <a:lnTo>
                      <a:pt x="476" y="596"/>
                    </a:lnTo>
                    <a:lnTo>
                      <a:pt x="477" y="596"/>
                    </a:lnTo>
                    <a:lnTo>
                      <a:pt x="476" y="596"/>
                    </a:lnTo>
                    <a:lnTo>
                      <a:pt x="476" y="597"/>
                    </a:lnTo>
                    <a:lnTo>
                      <a:pt x="475" y="598"/>
                    </a:lnTo>
                    <a:lnTo>
                      <a:pt x="474" y="598"/>
                    </a:lnTo>
                    <a:lnTo>
                      <a:pt x="474" y="597"/>
                    </a:lnTo>
                    <a:lnTo>
                      <a:pt x="473" y="597"/>
                    </a:lnTo>
                    <a:lnTo>
                      <a:pt x="474" y="596"/>
                    </a:lnTo>
                    <a:lnTo>
                      <a:pt x="474" y="595"/>
                    </a:lnTo>
                    <a:lnTo>
                      <a:pt x="475" y="595"/>
                    </a:lnTo>
                    <a:lnTo>
                      <a:pt x="474" y="594"/>
                    </a:lnTo>
                    <a:lnTo>
                      <a:pt x="475" y="594"/>
                    </a:lnTo>
                    <a:lnTo>
                      <a:pt x="476" y="594"/>
                    </a:lnTo>
                    <a:lnTo>
                      <a:pt x="475" y="593"/>
                    </a:lnTo>
                    <a:lnTo>
                      <a:pt x="476" y="592"/>
                    </a:lnTo>
                    <a:lnTo>
                      <a:pt x="476" y="593"/>
                    </a:lnTo>
                    <a:close/>
                    <a:moveTo>
                      <a:pt x="243" y="220"/>
                    </a:moveTo>
                    <a:lnTo>
                      <a:pt x="243" y="221"/>
                    </a:lnTo>
                    <a:lnTo>
                      <a:pt x="244" y="221"/>
                    </a:lnTo>
                    <a:lnTo>
                      <a:pt x="244" y="222"/>
                    </a:lnTo>
                    <a:lnTo>
                      <a:pt x="245" y="222"/>
                    </a:lnTo>
                    <a:lnTo>
                      <a:pt x="246" y="222"/>
                    </a:lnTo>
                    <a:lnTo>
                      <a:pt x="245" y="222"/>
                    </a:lnTo>
                    <a:lnTo>
                      <a:pt x="244" y="222"/>
                    </a:lnTo>
                    <a:lnTo>
                      <a:pt x="243" y="222"/>
                    </a:lnTo>
                    <a:lnTo>
                      <a:pt x="244" y="222"/>
                    </a:lnTo>
                    <a:lnTo>
                      <a:pt x="245" y="223"/>
                    </a:lnTo>
                    <a:lnTo>
                      <a:pt x="244" y="223"/>
                    </a:lnTo>
                    <a:lnTo>
                      <a:pt x="243" y="223"/>
                    </a:lnTo>
                    <a:lnTo>
                      <a:pt x="243" y="222"/>
                    </a:lnTo>
                    <a:lnTo>
                      <a:pt x="242" y="222"/>
                    </a:lnTo>
                    <a:lnTo>
                      <a:pt x="242" y="223"/>
                    </a:lnTo>
                    <a:lnTo>
                      <a:pt x="242" y="224"/>
                    </a:lnTo>
                    <a:lnTo>
                      <a:pt x="241" y="223"/>
                    </a:lnTo>
                    <a:lnTo>
                      <a:pt x="241" y="222"/>
                    </a:lnTo>
                    <a:lnTo>
                      <a:pt x="240" y="222"/>
                    </a:lnTo>
                    <a:lnTo>
                      <a:pt x="240" y="221"/>
                    </a:lnTo>
                    <a:lnTo>
                      <a:pt x="239" y="221"/>
                    </a:lnTo>
                    <a:lnTo>
                      <a:pt x="238" y="221"/>
                    </a:lnTo>
                    <a:lnTo>
                      <a:pt x="239" y="221"/>
                    </a:lnTo>
                    <a:lnTo>
                      <a:pt x="240" y="221"/>
                    </a:lnTo>
                    <a:lnTo>
                      <a:pt x="240" y="220"/>
                    </a:lnTo>
                    <a:lnTo>
                      <a:pt x="240" y="221"/>
                    </a:lnTo>
                    <a:lnTo>
                      <a:pt x="241" y="221"/>
                    </a:lnTo>
                    <a:lnTo>
                      <a:pt x="242" y="222"/>
                    </a:lnTo>
                    <a:lnTo>
                      <a:pt x="242" y="221"/>
                    </a:lnTo>
                    <a:lnTo>
                      <a:pt x="241" y="221"/>
                    </a:lnTo>
                    <a:lnTo>
                      <a:pt x="240" y="221"/>
                    </a:lnTo>
                    <a:lnTo>
                      <a:pt x="240" y="220"/>
                    </a:lnTo>
                    <a:lnTo>
                      <a:pt x="241" y="220"/>
                    </a:lnTo>
                    <a:lnTo>
                      <a:pt x="241" y="219"/>
                    </a:lnTo>
                    <a:lnTo>
                      <a:pt x="242" y="219"/>
                    </a:lnTo>
                    <a:lnTo>
                      <a:pt x="243" y="220"/>
                    </a:lnTo>
                    <a:close/>
                    <a:moveTo>
                      <a:pt x="213" y="388"/>
                    </a:moveTo>
                    <a:lnTo>
                      <a:pt x="213" y="389"/>
                    </a:lnTo>
                    <a:lnTo>
                      <a:pt x="213" y="388"/>
                    </a:lnTo>
                    <a:lnTo>
                      <a:pt x="212" y="384"/>
                    </a:lnTo>
                    <a:lnTo>
                      <a:pt x="212" y="383"/>
                    </a:lnTo>
                    <a:lnTo>
                      <a:pt x="213" y="382"/>
                    </a:lnTo>
                    <a:lnTo>
                      <a:pt x="214" y="382"/>
                    </a:lnTo>
                    <a:lnTo>
                      <a:pt x="214" y="380"/>
                    </a:lnTo>
                    <a:lnTo>
                      <a:pt x="215" y="380"/>
                    </a:lnTo>
                    <a:lnTo>
                      <a:pt x="214" y="387"/>
                    </a:lnTo>
                    <a:lnTo>
                      <a:pt x="213" y="388"/>
                    </a:lnTo>
                    <a:close/>
                    <a:moveTo>
                      <a:pt x="358" y="412"/>
                    </a:moveTo>
                    <a:lnTo>
                      <a:pt x="359" y="412"/>
                    </a:lnTo>
                    <a:lnTo>
                      <a:pt x="361" y="413"/>
                    </a:lnTo>
                    <a:lnTo>
                      <a:pt x="361" y="414"/>
                    </a:lnTo>
                    <a:lnTo>
                      <a:pt x="362" y="415"/>
                    </a:lnTo>
                    <a:lnTo>
                      <a:pt x="362" y="416"/>
                    </a:lnTo>
                    <a:lnTo>
                      <a:pt x="362" y="417"/>
                    </a:lnTo>
                    <a:lnTo>
                      <a:pt x="361" y="417"/>
                    </a:lnTo>
                    <a:lnTo>
                      <a:pt x="361" y="416"/>
                    </a:lnTo>
                    <a:lnTo>
                      <a:pt x="360" y="416"/>
                    </a:lnTo>
                    <a:lnTo>
                      <a:pt x="361" y="415"/>
                    </a:lnTo>
                    <a:lnTo>
                      <a:pt x="360" y="415"/>
                    </a:lnTo>
                    <a:lnTo>
                      <a:pt x="360" y="416"/>
                    </a:lnTo>
                    <a:lnTo>
                      <a:pt x="360" y="415"/>
                    </a:lnTo>
                    <a:lnTo>
                      <a:pt x="360" y="414"/>
                    </a:lnTo>
                    <a:lnTo>
                      <a:pt x="360" y="415"/>
                    </a:lnTo>
                    <a:lnTo>
                      <a:pt x="359" y="415"/>
                    </a:lnTo>
                    <a:lnTo>
                      <a:pt x="359" y="416"/>
                    </a:lnTo>
                    <a:lnTo>
                      <a:pt x="359" y="415"/>
                    </a:lnTo>
                    <a:lnTo>
                      <a:pt x="359" y="416"/>
                    </a:lnTo>
                    <a:lnTo>
                      <a:pt x="358" y="415"/>
                    </a:lnTo>
                    <a:lnTo>
                      <a:pt x="359" y="415"/>
                    </a:lnTo>
                    <a:lnTo>
                      <a:pt x="359" y="414"/>
                    </a:lnTo>
                    <a:lnTo>
                      <a:pt x="358" y="414"/>
                    </a:lnTo>
                    <a:lnTo>
                      <a:pt x="358" y="413"/>
                    </a:lnTo>
                    <a:lnTo>
                      <a:pt x="357" y="414"/>
                    </a:lnTo>
                    <a:lnTo>
                      <a:pt x="357" y="413"/>
                    </a:lnTo>
                    <a:lnTo>
                      <a:pt x="358" y="413"/>
                    </a:lnTo>
                    <a:lnTo>
                      <a:pt x="358" y="412"/>
                    </a:lnTo>
                    <a:close/>
                    <a:moveTo>
                      <a:pt x="439" y="646"/>
                    </a:moveTo>
                    <a:lnTo>
                      <a:pt x="440" y="647"/>
                    </a:lnTo>
                    <a:lnTo>
                      <a:pt x="439" y="646"/>
                    </a:lnTo>
                    <a:lnTo>
                      <a:pt x="439" y="647"/>
                    </a:lnTo>
                    <a:lnTo>
                      <a:pt x="438" y="647"/>
                    </a:lnTo>
                    <a:lnTo>
                      <a:pt x="437" y="648"/>
                    </a:lnTo>
                    <a:lnTo>
                      <a:pt x="437" y="649"/>
                    </a:lnTo>
                    <a:lnTo>
                      <a:pt x="436" y="650"/>
                    </a:lnTo>
                    <a:lnTo>
                      <a:pt x="436" y="652"/>
                    </a:lnTo>
                    <a:lnTo>
                      <a:pt x="435" y="652"/>
                    </a:lnTo>
                    <a:lnTo>
                      <a:pt x="435" y="653"/>
                    </a:lnTo>
                    <a:lnTo>
                      <a:pt x="434" y="653"/>
                    </a:lnTo>
                    <a:lnTo>
                      <a:pt x="434" y="654"/>
                    </a:lnTo>
                    <a:lnTo>
                      <a:pt x="433" y="655"/>
                    </a:lnTo>
                    <a:lnTo>
                      <a:pt x="433" y="656"/>
                    </a:lnTo>
                    <a:lnTo>
                      <a:pt x="432" y="656"/>
                    </a:lnTo>
                    <a:lnTo>
                      <a:pt x="433" y="657"/>
                    </a:lnTo>
                    <a:lnTo>
                      <a:pt x="434" y="656"/>
                    </a:lnTo>
                    <a:lnTo>
                      <a:pt x="434" y="655"/>
                    </a:lnTo>
                    <a:lnTo>
                      <a:pt x="435" y="655"/>
                    </a:lnTo>
                    <a:lnTo>
                      <a:pt x="435" y="654"/>
                    </a:lnTo>
                    <a:lnTo>
                      <a:pt x="435" y="653"/>
                    </a:lnTo>
                    <a:lnTo>
                      <a:pt x="436" y="653"/>
                    </a:lnTo>
                    <a:lnTo>
                      <a:pt x="436" y="652"/>
                    </a:lnTo>
                    <a:lnTo>
                      <a:pt x="437" y="652"/>
                    </a:lnTo>
                    <a:lnTo>
                      <a:pt x="437" y="650"/>
                    </a:lnTo>
                    <a:lnTo>
                      <a:pt x="438" y="650"/>
                    </a:lnTo>
                    <a:lnTo>
                      <a:pt x="438" y="649"/>
                    </a:lnTo>
                    <a:lnTo>
                      <a:pt x="439" y="648"/>
                    </a:lnTo>
                    <a:lnTo>
                      <a:pt x="439" y="647"/>
                    </a:lnTo>
                    <a:lnTo>
                      <a:pt x="440" y="647"/>
                    </a:lnTo>
                    <a:lnTo>
                      <a:pt x="440" y="648"/>
                    </a:lnTo>
                    <a:lnTo>
                      <a:pt x="439" y="649"/>
                    </a:lnTo>
                    <a:lnTo>
                      <a:pt x="438" y="650"/>
                    </a:lnTo>
                    <a:lnTo>
                      <a:pt x="437" y="652"/>
                    </a:lnTo>
                    <a:lnTo>
                      <a:pt x="436" y="653"/>
                    </a:lnTo>
                    <a:lnTo>
                      <a:pt x="436" y="654"/>
                    </a:lnTo>
                    <a:lnTo>
                      <a:pt x="435" y="655"/>
                    </a:lnTo>
                    <a:lnTo>
                      <a:pt x="434" y="656"/>
                    </a:lnTo>
                    <a:lnTo>
                      <a:pt x="434" y="657"/>
                    </a:lnTo>
                    <a:lnTo>
                      <a:pt x="433" y="658"/>
                    </a:lnTo>
                    <a:lnTo>
                      <a:pt x="433" y="659"/>
                    </a:lnTo>
                    <a:lnTo>
                      <a:pt x="432" y="660"/>
                    </a:lnTo>
                    <a:lnTo>
                      <a:pt x="432" y="659"/>
                    </a:lnTo>
                    <a:lnTo>
                      <a:pt x="432" y="658"/>
                    </a:lnTo>
                    <a:lnTo>
                      <a:pt x="433" y="658"/>
                    </a:lnTo>
                    <a:lnTo>
                      <a:pt x="433" y="657"/>
                    </a:lnTo>
                    <a:lnTo>
                      <a:pt x="432" y="656"/>
                    </a:lnTo>
                    <a:lnTo>
                      <a:pt x="432" y="655"/>
                    </a:lnTo>
                    <a:lnTo>
                      <a:pt x="433" y="655"/>
                    </a:lnTo>
                    <a:lnTo>
                      <a:pt x="435" y="652"/>
                    </a:lnTo>
                    <a:lnTo>
                      <a:pt x="435" y="650"/>
                    </a:lnTo>
                    <a:lnTo>
                      <a:pt x="436" y="650"/>
                    </a:lnTo>
                    <a:lnTo>
                      <a:pt x="437" y="649"/>
                    </a:lnTo>
                    <a:lnTo>
                      <a:pt x="437" y="648"/>
                    </a:lnTo>
                    <a:lnTo>
                      <a:pt x="439" y="646"/>
                    </a:lnTo>
                    <a:close/>
                    <a:moveTo>
                      <a:pt x="202" y="347"/>
                    </a:moveTo>
                    <a:lnTo>
                      <a:pt x="203" y="347"/>
                    </a:lnTo>
                    <a:lnTo>
                      <a:pt x="203" y="348"/>
                    </a:lnTo>
                    <a:lnTo>
                      <a:pt x="204" y="348"/>
                    </a:lnTo>
                    <a:lnTo>
                      <a:pt x="204" y="349"/>
                    </a:lnTo>
                    <a:lnTo>
                      <a:pt x="205" y="350"/>
                    </a:lnTo>
                    <a:lnTo>
                      <a:pt x="205" y="351"/>
                    </a:lnTo>
                    <a:lnTo>
                      <a:pt x="204" y="351"/>
                    </a:lnTo>
                    <a:lnTo>
                      <a:pt x="204" y="352"/>
                    </a:lnTo>
                    <a:lnTo>
                      <a:pt x="204" y="353"/>
                    </a:lnTo>
                    <a:lnTo>
                      <a:pt x="203" y="353"/>
                    </a:lnTo>
                    <a:lnTo>
                      <a:pt x="202" y="353"/>
                    </a:lnTo>
                    <a:lnTo>
                      <a:pt x="203" y="353"/>
                    </a:lnTo>
                    <a:lnTo>
                      <a:pt x="203" y="352"/>
                    </a:lnTo>
                    <a:lnTo>
                      <a:pt x="203" y="351"/>
                    </a:lnTo>
                    <a:lnTo>
                      <a:pt x="204" y="351"/>
                    </a:lnTo>
                    <a:lnTo>
                      <a:pt x="204" y="350"/>
                    </a:lnTo>
                    <a:lnTo>
                      <a:pt x="203" y="350"/>
                    </a:lnTo>
                    <a:lnTo>
                      <a:pt x="204" y="350"/>
                    </a:lnTo>
                    <a:lnTo>
                      <a:pt x="204" y="349"/>
                    </a:lnTo>
                    <a:lnTo>
                      <a:pt x="203" y="349"/>
                    </a:lnTo>
                    <a:lnTo>
                      <a:pt x="203" y="348"/>
                    </a:lnTo>
                    <a:lnTo>
                      <a:pt x="203" y="349"/>
                    </a:lnTo>
                    <a:lnTo>
                      <a:pt x="203" y="348"/>
                    </a:lnTo>
                    <a:lnTo>
                      <a:pt x="202" y="348"/>
                    </a:lnTo>
                    <a:lnTo>
                      <a:pt x="201" y="348"/>
                    </a:lnTo>
                    <a:lnTo>
                      <a:pt x="201" y="347"/>
                    </a:lnTo>
                    <a:lnTo>
                      <a:pt x="202" y="347"/>
                    </a:lnTo>
                    <a:lnTo>
                      <a:pt x="201" y="347"/>
                    </a:lnTo>
                    <a:lnTo>
                      <a:pt x="200" y="348"/>
                    </a:lnTo>
                    <a:lnTo>
                      <a:pt x="201" y="348"/>
                    </a:lnTo>
                    <a:lnTo>
                      <a:pt x="202" y="348"/>
                    </a:lnTo>
                    <a:lnTo>
                      <a:pt x="202" y="349"/>
                    </a:lnTo>
                    <a:lnTo>
                      <a:pt x="201" y="349"/>
                    </a:lnTo>
                    <a:lnTo>
                      <a:pt x="201" y="348"/>
                    </a:lnTo>
                    <a:lnTo>
                      <a:pt x="201" y="349"/>
                    </a:lnTo>
                    <a:lnTo>
                      <a:pt x="200" y="349"/>
                    </a:lnTo>
                    <a:lnTo>
                      <a:pt x="200" y="348"/>
                    </a:lnTo>
                    <a:lnTo>
                      <a:pt x="200" y="347"/>
                    </a:lnTo>
                    <a:lnTo>
                      <a:pt x="201" y="347"/>
                    </a:lnTo>
                    <a:lnTo>
                      <a:pt x="201" y="346"/>
                    </a:lnTo>
                    <a:lnTo>
                      <a:pt x="202" y="346"/>
                    </a:lnTo>
                    <a:lnTo>
                      <a:pt x="202" y="347"/>
                    </a:lnTo>
                    <a:close/>
                    <a:moveTo>
                      <a:pt x="638" y="490"/>
                    </a:moveTo>
                    <a:lnTo>
                      <a:pt x="638" y="491"/>
                    </a:lnTo>
                    <a:lnTo>
                      <a:pt x="636" y="491"/>
                    </a:lnTo>
                    <a:lnTo>
                      <a:pt x="636" y="492"/>
                    </a:lnTo>
                    <a:lnTo>
                      <a:pt x="635" y="492"/>
                    </a:lnTo>
                    <a:lnTo>
                      <a:pt x="635" y="493"/>
                    </a:lnTo>
                    <a:lnTo>
                      <a:pt x="633" y="493"/>
                    </a:lnTo>
                    <a:lnTo>
                      <a:pt x="633" y="494"/>
                    </a:lnTo>
                    <a:lnTo>
                      <a:pt x="632" y="494"/>
                    </a:lnTo>
                    <a:lnTo>
                      <a:pt x="632" y="493"/>
                    </a:lnTo>
                    <a:lnTo>
                      <a:pt x="631" y="492"/>
                    </a:lnTo>
                    <a:lnTo>
                      <a:pt x="632" y="492"/>
                    </a:lnTo>
                    <a:lnTo>
                      <a:pt x="632" y="491"/>
                    </a:lnTo>
                    <a:lnTo>
                      <a:pt x="633" y="491"/>
                    </a:lnTo>
                    <a:lnTo>
                      <a:pt x="633" y="492"/>
                    </a:lnTo>
                    <a:lnTo>
                      <a:pt x="634" y="492"/>
                    </a:lnTo>
                    <a:lnTo>
                      <a:pt x="634" y="491"/>
                    </a:lnTo>
                    <a:lnTo>
                      <a:pt x="635" y="491"/>
                    </a:lnTo>
                    <a:lnTo>
                      <a:pt x="635" y="490"/>
                    </a:lnTo>
                    <a:lnTo>
                      <a:pt x="636" y="490"/>
                    </a:lnTo>
                    <a:lnTo>
                      <a:pt x="636" y="489"/>
                    </a:lnTo>
                    <a:lnTo>
                      <a:pt x="638" y="490"/>
                    </a:lnTo>
                    <a:close/>
                    <a:moveTo>
                      <a:pt x="267" y="378"/>
                    </a:moveTo>
                    <a:lnTo>
                      <a:pt x="267" y="379"/>
                    </a:lnTo>
                    <a:lnTo>
                      <a:pt x="268" y="380"/>
                    </a:lnTo>
                    <a:lnTo>
                      <a:pt x="268" y="382"/>
                    </a:lnTo>
                    <a:lnTo>
                      <a:pt x="269" y="382"/>
                    </a:lnTo>
                    <a:lnTo>
                      <a:pt x="268" y="382"/>
                    </a:lnTo>
                    <a:lnTo>
                      <a:pt x="269" y="382"/>
                    </a:lnTo>
                    <a:lnTo>
                      <a:pt x="268" y="382"/>
                    </a:lnTo>
                    <a:lnTo>
                      <a:pt x="267" y="382"/>
                    </a:lnTo>
                    <a:lnTo>
                      <a:pt x="267" y="383"/>
                    </a:lnTo>
                    <a:lnTo>
                      <a:pt x="266" y="383"/>
                    </a:lnTo>
                    <a:lnTo>
                      <a:pt x="266" y="384"/>
                    </a:lnTo>
                    <a:lnTo>
                      <a:pt x="266" y="383"/>
                    </a:lnTo>
                    <a:lnTo>
                      <a:pt x="266" y="382"/>
                    </a:lnTo>
                    <a:lnTo>
                      <a:pt x="265" y="382"/>
                    </a:lnTo>
                    <a:lnTo>
                      <a:pt x="264" y="382"/>
                    </a:lnTo>
                    <a:lnTo>
                      <a:pt x="264" y="380"/>
                    </a:lnTo>
                    <a:lnTo>
                      <a:pt x="265" y="380"/>
                    </a:lnTo>
                    <a:lnTo>
                      <a:pt x="265" y="379"/>
                    </a:lnTo>
                    <a:lnTo>
                      <a:pt x="266" y="378"/>
                    </a:lnTo>
                    <a:lnTo>
                      <a:pt x="265" y="378"/>
                    </a:lnTo>
                    <a:lnTo>
                      <a:pt x="266" y="378"/>
                    </a:lnTo>
                    <a:lnTo>
                      <a:pt x="266" y="377"/>
                    </a:lnTo>
                    <a:lnTo>
                      <a:pt x="266" y="378"/>
                    </a:lnTo>
                    <a:lnTo>
                      <a:pt x="267" y="378"/>
                    </a:lnTo>
                    <a:close/>
                    <a:moveTo>
                      <a:pt x="241" y="213"/>
                    </a:moveTo>
                    <a:lnTo>
                      <a:pt x="240" y="213"/>
                    </a:lnTo>
                    <a:lnTo>
                      <a:pt x="239" y="213"/>
                    </a:lnTo>
                    <a:lnTo>
                      <a:pt x="238" y="213"/>
                    </a:lnTo>
                    <a:lnTo>
                      <a:pt x="238" y="215"/>
                    </a:lnTo>
                    <a:lnTo>
                      <a:pt x="239" y="215"/>
                    </a:lnTo>
                    <a:lnTo>
                      <a:pt x="239" y="216"/>
                    </a:lnTo>
                    <a:lnTo>
                      <a:pt x="240" y="216"/>
                    </a:lnTo>
                    <a:lnTo>
                      <a:pt x="241" y="216"/>
                    </a:lnTo>
                    <a:lnTo>
                      <a:pt x="241" y="217"/>
                    </a:lnTo>
                    <a:lnTo>
                      <a:pt x="241" y="218"/>
                    </a:lnTo>
                    <a:lnTo>
                      <a:pt x="241" y="219"/>
                    </a:lnTo>
                    <a:lnTo>
                      <a:pt x="240" y="219"/>
                    </a:lnTo>
                    <a:lnTo>
                      <a:pt x="239" y="219"/>
                    </a:lnTo>
                    <a:lnTo>
                      <a:pt x="238" y="219"/>
                    </a:lnTo>
                    <a:lnTo>
                      <a:pt x="238" y="218"/>
                    </a:lnTo>
                    <a:lnTo>
                      <a:pt x="239" y="218"/>
                    </a:lnTo>
                    <a:lnTo>
                      <a:pt x="239" y="219"/>
                    </a:lnTo>
                    <a:lnTo>
                      <a:pt x="240" y="218"/>
                    </a:lnTo>
                    <a:lnTo>
                      <a:pt x="240" y="219"/>
                    </a:lnTo>
                    <a:lnTo>
                      <a:pt x="240" y="218"/>
                    </a:lnTo>
                    <a:lnTo>
                      <a:pt x="241" y="217"/>
                    </a:lnTo>
                    <a:lnTo>
                      <a:pt x="240" y="217"/>
                    </a:lnTo>
                    <a:lnTo>
                      <a:pt x="239" y="217"/>
                    </a:lnTo>
                    <a:lnTo>
                      <a:pt x="239" y="216"/>
                    </a:lnTo>
                    <a:lnTo>
                      <a:pt x="238" y="216"/>
                    </a:lnTo>
                    <a:lnTo>
                      <a:pt x="238" y="215"/>
                    </a:lnTo>
                    <a:lnTo>
                      <a:pt x="236" y="215"/>
                    </a:lnTo>
                    <a:lnTo>
                      <a:pt x="236" y="213"/>
                    </a:lnTo>
                    <a:lnTo>
                      <a:pt x="238" y="213"/>
                    </a:lnTo>
                    <a:lnTo>
                      <a:pt x="238" y="212"/>
                    </a:lnTo>
                    <a:lnTo>
                      <a:pt x="239" y="212"/>
                    </a:lnTo>
                    <a:lnTo>
                      <a:pt x="240" y="212"/>
                    </a:lnTo>
                    <a:lnTo>
                      <a:pt x="241" y="212"/>
                    </a:lnTo>
                    <a:lnTo>
                      <a:pt x="241" y="213"/>
                    </a:lnTo>
                    <a:close/>
                    <a:moveTo>
                      <a:pt x="548" y="521"/>
                    </a:moveTo>
                    <a:lnTo>
                      <a:pt x="548" y="523"/>
                    </a:lnTo>
                    <a:lnTo>
                      <a:pt x="546" y="524"/>
                    </a:lnTo>
                    <a:lnTo>
                      <a:pt x="545" y="524"/>
                    </a:lnTo>
                    <a:lnTo>
                      <a:pt x="545" y="523"/>
                    </a:lnTo>
                    <a:lnTo>
                      <a:pt x="545" y="524"/>
                    </a:lnTo>
                    <a:lnTo>
                      <a:pt x="544" y="524"/>
                    </a:lnTo>
                    <a:lnTo>
                      <a:pt x="543" y="524"/>
                    </a:lnTo>
                    <a:lnTo>
                      <a:pt x="542" y="524"/>
                    </a:lnTo>
                    <a:lnTo>
                      <a:pt x="542" y="525"/>
                    </a:lnTo>
                    <a:lnTo>
                      <a:pt x="541" y="525"/>
                    </a:lnTo>
                    <a:lnTo>
                      <a:pt x="541" y="524"/>
                    </a:lnTo>
                    <a:lnTo>
                      <a:pt x="542" y="524"/>
                    </a:lnTo>
                    <a:lnTo>
                      <a:pt x="542" y="523"/>
                    </a:lnTo>
                    <a:lnTo>
                      <a:pt x="543" y="523"/>
                    </a:lnTo>
                    <a:lnTo>
                      <a:pt x="543" y="521"/>
                    </a:lnTo>
                    <a:lnTo>
                      <a:pt x="544" y="521"/>
                    </a:lnTo>
                    <a:lnTo>
                      <a:pt x="544" y="520"/>
                    </a:lnTo>
                    <a:lnTo>
                      <a:pt x="544" y="521"/>
                    </a:lnTo>
                    <a:lnTo>
                      <a:pt x="545" y="521"/>
                    </a:lnTo>
                    <a:lnTo>
                      <a:pt x="546" y="521"/>
                    </a:lnTo>
                    <a:lnTo>
                      <a:pt x="546" y="520"/>
                    </a:lnTo>
                    <a:lnTo>
                      <a:pt x="546" y="521"/>
                    </a:lnTo>
                    <a:lnTo>
                      <a:pt x="548" y="521"/>
                    </a:lnTo>
                    <a:close/>
                    <a:moveTo>
                      <a:pt x="497" y="577"/>
                    </a:moveTo>
                    <a:lnTo>
                      <a:pt x="496" y="577"/>
                    </a:lnTo>
                    <a:lnTo>
                      <a:pt x="496" y="578"/>
                    </a:lnTo>
                    <a:lnTo>
                      <a:pt x="497" y="578"/>
                    </a:lnTo>
                    <a:lnTo>
                      <a:pt x="497" y="579"/>
                    </a:lnTo>
                    <a:lnTo>
                      <a:pt x="496" y="579"/>
                    </a:lnTo>
                    <a:lnTo>
                      <a:pt x="497" y="580"/>
                    </a:lnTo>
                    <a:lnTo>
                      <a:pt x="496" y="581"/>
                    </a:lnTo>
                    <a:lnTo>
                      <a:pt x="496" y="582"/>
                    </a:lnTo>
                    <a:lnTo>
                      <a:pt x="496" y="583"/>
                    </a:lnTo>
                    <a:lnTo>
                      <a:pt x="496" y="584"/>
                    </a:lnTo>
                    <a:lnTo>
                      <a:pt x="497" y="584"/>
                    </a:lnTo>
                    <a:lnTo>
                      <a:pt x="497" y="585"/>
                    </a:lnTo>
                    <a:lnTo>
                      <a:pt x="498" y="585"/>
                    </a:lnTo>
                    <a:lnTo>
                      <a:pt x="499" y="585"/>
                    </a:lnTo>
                    <a:lnTo>
                      <a:pt x="499" y="584"/>
                    </a:lnTo>
                    <a:lnTo>
                      <a:pt x="500" y="584"/>
                    </a:lnTo>
                    <a:lnTo>
                      <a:pt x="500" y="583"/>
                    </a:lnTo>
                    <a:lnTo>
                      <a:pt x="501" y="583"/>
                    </a:lnTo>
                    <a:lnTo>
                      <a:pt x="502" y="583"/>
                    </a:lnTo>
                    <a:lnTo>
                      <a:pt x="502" y="582"/>
                    </a:lnTo>
                    <a:lnTo>
                      <a:pt x="501" y="582"/>
                    </a:lnTo>
                    <a:lnTo>
                      <a:pt x="502" y="582"/>
                    </a:lnTo>
                    <a:lnTo>
                      <a:pt x="502" y="583"/>
                    </a:lnTo>
                    <a:lnTo>
                      <a:pt x="503" y="583"/>
                    </a:lnTo>
                    <a:lnTo>
                      <a:pt x="502" y="583"/>
                    </a:lnTo>
                    <a:lnTo>
                      <a:pt x="502" y="584"/>
                    </a:lnTo>
                    <a:lnTo>
                      <a:pt x="501" y="584"/>
                    </a:lnTo>
                    <a:lnTo>
                      <a:pt x="500" y="584"/>
                    </a:lnTo>
                    <a:lnTo>
                      <a:pt x="500" y="585"/>
                    </a:lnTo>
                    <a:lnTo>
                      <a:pt x="500" y="586"/>
                    </a:lnTo>
                    <a:lnTo>
                      <a:pt x="501" y="586"/>
                    </a:lnTo>
                    <a:lnTo>
                      <a:pt x="501" y="585"/>
                    </a:lnTo>
                    <a:lnTo>
                      <a:pt x="501" y="586"/>
                    </a:lnTo>
                    <a:lnTo>
                      <a:pt x="500" y="586"/>
                    </a:lnTo>
                    <a:lnTo>
                      <a:pt x="499" y="586"/>
                    </a:lnTo>
                    <a:lnTo>
                      <a:pt x="498" y="586"/>
                    </a:lnTo>
                    <a:lnTo>
                      <a:pt x="497" y="586"/>
                    </a:lnTo>
                    <a:lnTo>
                      <a:pt x="497" y="585"/>
                    </a:lnTo>
                    <a:lnTo>
                      <a:pt x="497" y="584"/>
                    </a:lnTo>
                    <a:lnTo>
                      <a:pt x="496" y="584"/>
                    </a:lnTo>
                    <a:lnTo>
                      <a:pt x="496" y="583"/>
                    </a:lnTo>
                    <a:lnTo>
                      <a:pt x="494" y="582"/>
                    </a:lnTo>
                    <a:lnTo>
                      <a:pt x="496" y="582"/>
                    </a:lnTo>
                    <a:lnTo>
                      <a:pt x="496" y="581"/>
                    </a:lnTo>
                    <a:lnTo>
                      <a:pt x="494" y="581"/>
                    </a:lnTo>
                    <a:lnTo>
                      <a:pt x="496" y="581"/>
                    </a:lnTo>
                    <a:lnTo>
                      <a:pt x="496" y="580"/>
                    </a:lnTo>
                    <a:lnTo>
                      <a:pt x="496" y="579"/>
                    </a:lnTo>
                    <a:lnTo>
                      <a:pt x="496" y="578"/>
                    </a:lnTo>
                    <a:lnTo>
                      <a:pt x="496" y="577"/>
                    </a:lnTo>
                    <a:lnTo>
                      <a:pt x="496" y="576"/>
                    </a:lnTo>
                    <a:lnTo>
                      <a:pt x="497" y="577"/>
                    </a:lnTo>
                    <a:close/>
                    <a:moveTo>
                      <a:pt x="264" y="374"/>
                    </a:moveTo>
                    <a:lnTo>
                      <a:pt x="262" y="374"/>
                    </a:lnTo>
                    <a:lnTo>
                      <a:pt x="262" y="375"/>
                    </a:lnTo>
                    <a:lnTo>
                      <a:pt x="261" y="375"/>
                    </a:lnTo>
                    <a:lnTo>
                      <a:pt x="261" y="376"/>
                    </a:lnTo>
                    <a:lnTo>
                      <a:pt x="262" y="376"/>
                    </a:lnTo>
                    <a:lnTo>
                      <a:pt x="262" y="375"/>
                    </a:lnTo>
                    <a:lnTo>
                      <a:pt x="264" y="376"/>
                    </a:lnTo>
                    <a:lnTo>
                      <a:pt x="265" y="376"/>
                    </a:lnTo>
                    <a:lnTo>
                      <a:pt x="266" y="376"/>
                    </a:lnTo>
                    <a:lnTo>
                      <a:pt x="266" y="377"/>
                    </a:lnTo>
                    <a:lnTo>
                      <a:pt x="266" y="376"/>
                    </a:lnTo>
                    <a:lnTo>
                      <a:pt x="265" y="376"/>
                    </a:lnTo>
                    <a:lnTo>
                      <a:pt x="265" y="377"/>
                    </a:lnTo>
                    <a:lnTo>
                      <a:pt x="266" y="377"/>
                    </a:lnTo>
                    <a:lnTo>
                      <a:pt x="265" y="377"/>
                    </a:lnTo>
                    <a:lnTo>
                      <a:pt x="265" y="378"/>
                    </a:lnTo>
                    <a:lnTo>
                      <a:pt x="264" y="378"/>
                    </a:lnTo>
                    <a:lnTo>
                      <a:pt x="264" y="379"/>
                    </a:lnTo>
                    <a:lnTo>
                      <a:pt x="265" y="379"/>
                    </a:lnTo>
                    <a:lnTo>
                      <a:pt x="264" y="379"/>
                    </a:lnTo>
                    <a:lnTo>
                      <a:pt x="264" y="380"/>
                    </a:lnTo>
                    <a:lnTo>
                      <a:pt x="262" y="379"/>
                    </a:lnTo>
                    <a:lnTo>
                      <a:pt x="262" y="378"/>
                    </a:lnTo>
                    <a:lnTo>
                      <a:pt x="264" y="378"/>
                    </a:lnTo>
                    <a:lnTo>
                      <a:pt x="264" y="377"/>
                    </a:lnTo>
                    <a:lnTo>
                      <a:pt x="262" y="377"/>
                    </a:lnTo>
                    <a:lnTo>
                      <a:pt x="261" y="377"/>
                    </a:lnTo>
                    <a:lnTo>
                      <a:pt x="261" y="376"/>
                    </a:lnTo>
                    <a:lnTo>
                      <a:pt x="261" y="375"/>
                    </a:lnTo>
                    <a:lnTo>
                      <a:pt x="262" y="374"/>
                    </a:lnTo>
                    <a:lnTo>
                      <a:pt x="262" y="373"/>
                    </a:lnTo>
                    <a:lnTo>
                      <a:pt x="264" y="373"/>
                    </a:lnTo>
                    <a:lnTo>
                      <a:pt x="264" y="374"/>
                    </a:lnTo>
                    <a:close/>
                    <a:moveTo>
                      <a:pt x="187" y="403"/>
                    </a:moveTo>
                    <a:lnTo>
                      <a:pt x="187" y="404"/>
                    </a:lnTo>
                    <a:lnTo>
                      <a:pt x="186" y="405"/>
                    </a:lnTo>
                    <a:lnTo>
                      <a:pt x="186" y="406"/>
                    </a:lnTo>
                    <a:lnTo>
                      <a:pt x="184" y="408"/>
                    </a:lnTo>
                    <a:lnTo>
                      <a:pt x="184" y="409"/>
                    </a:lnTo>
                    <a:lnTo>
                      <a:pt x="183" y="409"/>
                    </a:lnTo>
                    <a:lnTo>
                      <a:pt x="182" y="409"/>
                    </a:lnTo>
                    <a:lnTo>
                      <a:pt x="182" y="410"/>
                    </a:lnTo>
                    <a:lnTo>
                      <a:pt x="181" y="410"/>
                    </a:lnTo>
                    <a:lnTo>
                      <a:pt x="181" y="409"/>
                    </a:lnTo>
                    <a:lnTo>
                      <a:pt x="182" y="409"/>
                    </a:lnTo>
                    <a:lnTo>
                      <a:pt x="183" y="409"/>
                    </a:lnTo>
                    <a:lnTo>
                      <a:pt x="183" y="408"/>
                    </a:lnTo>
                    <a:lnTo>
                      <a:pt x="184" y="408"/>
                    </a:lnTo>
                    <a:lnTo>
                      <a:pt x="184" y="406"/>
                    </a:lnTo>
                    <a:lnTo>
                      <a:pt x="183" y="406"/>
                    </a:lnTo>
                    <a:lnTo>
                      <a:pt x="183" y="408"/>
                    </a:lnTo>
                    <a:lnTo>
                      <a:pt x="183" y="409"/>
                    </a:lnTo>
                    <a:lnTo>
                      <a:pt x="182" y="409"/>
                    </a:lnTo>
                    <a:lnTo>
                      <a:pt x="183" y="408"/>
                    </a:lnTo>
                    <a:lnTo>
                      <a:pt x="182" y="408"/>
                    </a:lnTo>
                    <a:lnTo>
                      <a:pt x="182" y="406"/>
                    </a:lnTo>
                    <a:lnTo>
                      <a:pt x="182" y="405"/>
                    </a:lnTo>
                    <a:lnTo>
                      <a:pt x="182" y="404"/>
                    </a:lnTo>
                    <a:lnTo>
                      <a:pt x="183" y="404"/>
                    </a:lnTo>
                    <a:lnTo>
                      <a:pt x="184" y="404"/>
                    </a:lnTo>
                    <a:lnTo>
                      <a:pt x="186" y="404"/>
                    </a:lnTo>
                    <a:lnTo>
                      <a:pt x="186" y="405"/>
                    </a:lnTo>
                    <a:lnTo>
                      <a:pt x="184" y="405"/>
                    </a:lnTo>
                    <a:lnTo>
                      <a:pt x="184" y="404"/>
                    </a:lnTo>
                    <a:lnTo>
                      <a:pt x="184" y="405"/>
                    </a:lnTo>
                    <a:lnTo>
                      <a:pt x="183" y="405"/>
                    </a:lnTo>
                    <a:lnTo>
                      <a:pt x="183" y="406"/>
                    </a:lnTo>
                    <a:lnTo>
                      <a:pt x="184" y="405"/>
                    </a:lnTo>
                    <a:lnTo>
                      <a:pt x="184" y="406"/>
                    </a:lnTo>
                    <a:lnTo>
                      <a:pt x="186" y="406"/>
                    </a:lnTo>
                    <a:lnTo>
                      <a:pt x="186" y="405"/>
                    </a:lnTo>
                    <a:lnTo>
                      <a:pt x="186" y="404"/>
                    </a:lnTo>
                    <a:lnTo>
                      <a:pt x="186" y="403"/>
                    </a:lnTo>
                    <a:lnTo>
                      <a:pt x="184" y="404"/>
                    </a:lnTo>
                    <a:lnTo>
                      <a:pt x="184" y="403"/>
                    </a:lnTo>
                    <a:lnTo>
                      <a:pt x="186" y="403"/>
                    </a:lnTo>
                    <a:lnTo>
                      <a:pt x="186" y="402"/>
                    </a:lnTo>
                    <a:lnTo>
                      <a:pt x="187" y="402"/>
                    </a:lnTo>
                    <a:lnTo>
                      <a:pt x="187" y="401"/>
                    </a:lnTo>
                    <a:lnTo>
                      <a:pt x="187" y="402"/>
                    </a:lnTo>
                    <a:lnTo>
                      <a:pt x="187" y="403"/>
                    </a:lnTo>
                    <a:close/>
                    <a:moveTo>
                      <a:pt x="570" y="647"/>
                    </a:moveTo>
                    <a:lnTo>
                      <a:pt x="570" y="648"/>
                    </a:lnTo>
                    <a:lnTo>
                      <a:pt x="569" y="648"/>
                    </a:lnTo>
                    <a:lnTo>
                      <a:pt x="568" y="649"/>
                    </a:lnTo>
                    <a:lnTo>
                      <a:pt x="568" y="650"/>
                    </a:lnTo>
                    <a:lnTo>
                      <a:pt x="567" y="652"/>
                    </a:lnTo>
                    <a:lnTo>
                      <a:pt x="566" y="652"/>
                    </a:lnTo>
                    <a:lnTo>
                      <a:pt x="566" y="653"/>
                    </a:lnTo>
                    <a:lnTo>
                      <a:pt x="565" y="653"/>
                    </a:lnTo>
                    <a:lnTo>
                      <a:pt x="565" y="652"/>
                    </a:lnTo>
                    <a:lnTo>
                      <a:pt x="566" y="652"/>
                    </a:lnTo>
                    <a:lnTo>
                      <a:pt x="566" y="650"/>
                    </a:lnTo>
                    <a:lnTo>
                      <a:pt x="567" y="649"/>
                    </a:lnTo>
                    <a:lnTo>
                      <a:pt x="568" y="649"/>
                    </a:lnTo>
                    <a:lnTo>
                      <a:pt x="568" y="648"/>
                    </a:lnTo>
                    <a:lnTo>
                      <a:pt x="568" y="647"/>
                    </a:lnTo>
                    <a:lnTo>
                      <a:pt x="569" y="647"/>
                    </a:lnTo>
                    <a:lnTo>
                      <a:pt x="568" y="647"/>
                    </a:lnTo>
                    <a:lnTo>
                      <a:pt x="569" y="647"/>
                    </a:lnTo>
                    <a:lnTo>
                      <a:pt x="570" y="646"/>
                    </a:lnTo>
                    <a:lnTo>
                      <a:pt x="570" y="645"/>
                    </a:lnTo>
                    <a:lnTo>
                      <a:pt x="570" y="644"/>
                    </a:lnTo>
                    <a:lnTo>
                      <a:pt x="571" y="644"/>
                    </a:lnTo>
                    <a:lnTo>
                      <a:pt x="571" y="643"/>
                    </a:lnTo>
                    <a:lnTo>
                      <a:pt x="571" y="642"/>
                    </a:lnTo>
                    <a:lnTo>
                      <a:pt x="573" y="642"/>
                    </a:lnTo>
                    <a:lnTo>
                      <a:pt x="573" y="643"/>
                    </a:lnTo>
                    <a:lnTo>
                      <a:pt x="571" y="644"/>
                    </a:lnTo>
                    <a:lnTo>
                      <a:pt x="571" y="645"/>
                    </a:lnTo>
                    <a:lnTo>
                      <a:pt x="571" y="646"/>
                    </a:lnTo>
                    <a:lnTo>
                      <a:pt x="570" y="647"/>
                    </a:lnTo>
                    <a:close/>
                    <a:moveTo>
                      <a:pt x="245" y="399"/>
                    </a:moveTo>
                    <a:lnTo>
                      <a:pt x="245" y="400"/>
                    </a:lnTo>
                    <a:lnTo>
                      <a:pt x="245" y="401"/>
                    </a:lnTo>
                    <a:lnTo>
                      <a:pt x="245" y="402"/>
                    </a:lnTo>
                    <a:lnTo>
                      <a:pt x="245" y="403"/>
                    </a:lnTo>
                    <a:lnTo>
                      <a:pt x="245" y="404"/>
                    </a:lnTo>
                    <a:lnTo>
                      <a:pt x="246" y="405"/>
                    </a:lnTo>
                    <a:lnTo>
                      <a:pt x="247" y="405"/>
                    </a:lnTo>
                    <a:lnTo>
                      <a:pt x="247" y="406"/>
                    </a:lnTo>
                    <a:lnTo>
                      <a:pt x="247" y="408"/>
                    </a:lnTo>
                    <a:lnTo>
                      <a:pt x="246" y="408"/>
                    </a:lnTo>
                    <a:lnTo>
                      <a:pt x="245" y="408"/>
                    </a:lnTo>
                    <a:lnTo>
                      <a:pt x="245" y="409"/>
                    </a:lnTo>
                    <a:lnTo>
                      <a:pt x="246" y="409"/>
                    </a:lnTo>
                    <a:lnTo>
                      <a:pt x="244" y="409"/>
                    </a:lnTo>
                    <a:lnTo>
                      <a:pt x="244" y="408"/>
                    </a:lnTo>
                    <a:lnTo>
                      <a:pt x="244" y="406"/>
                    </a:lnTo>
                    <a:lnTo>
                      <a:pt x="245" y="406"/>
                    </a:lnTo>
                    <a:lnTo>
                      <a:pt x="245" y="405"/>
                    </a:lnTo>
                    <a:lnTo>
                      <a:pt x="245" y="404"/>
                    </a:lnTo>
                    <a:lnTo>
                      <a:pt x="244" y="404"/>
                    </a:lnTo>
                    <a:lnTo>
                      <a:pt x="244" y="403"/>
                    </a:lnTo>
                    <a:lnTo>
                      <a:pt x="244" y="402"/>
                    </a:lnTo>
                    <a:lnTo>
                      <a:pt x="245" y="402"/>
                    </a:lnTo>
                    <a:lnTo>
                      <a:pt x="244" y="402"/>
                    </a:lnTo>
                    <a:lnTo>
                      <a:pt x="245" y="402"/>
                    </a:lnTo>
                    <a:lnTo>
                      <a:pt x="245" y="401"/>
                    </a:lnTo>
                    <a:lnTo>
                      <a:pt x="244" y="401"/>
                    </a:lnTo>
                    <a:lnTo>
                      <a:pt x="245" y="400"/>
                    </a:lnTo>
                    <a:lnTo>
                      <a:pt x="245" y="401"/>
                    </a:lnTo>
                    <a:lnTo>
                      <a:pt x="245" y="400"/>
                    </a:lnTo>
                    <a:lnTo>
                      <a:pt x="245" y="399"/>
                    </a:lnTo>
                    <a:close/>
                    <a:moveTo>
                      <a:pt x="499" y="456"/>
                    </a:moveTo>
                    <a:lnTo>
                      <a:pt x="499" y="455"/>
                    </a:lnTo>
                    <a:lnTo>
                      <a:pt x="499" y="454"/>
                    </a:lnTo>
                    <a:lnTo>
                      <a:pt x="500" y="454"/>
                    </a:lnTo>
                    <a:lnTo>
                      <a:pt x="500" y="455"/>
                    </a:lnTo>
                    <a:lnTo>
                      <a:pt x="500" y="456"/>
                    </a:lnTo>
                    <a:lnTo>
                      <a:pt x="500" y="457"/>
                    </a:lnTo>
                    <a:lnTo>
                      <a:pt x="500" y="459"/>
                    </a:lnTo>
                    <a:lnTo>
                      <a:pt x="500" y="457"/>
                    </a:lnTo>
                    <a:lnTo>
                      <a:pt x="499" y="457"/>
                    </a:lnTo>
                    <a:lnTo>
                      <a:pt x="499" y="459"/>
                    </a:lnTo>
                    <a:lnTo>
                      <a:pt x="498" y="459"/>
                    </a:lnTo>
                    <a:lnTo>
                      <a:pt x="498" y="460"/>
                    </a:lnTo>
                    <a:lnTo>
                      <a:pt x="498" y="459"/>
                    </a:lnTo>
                    <a:lnTo>
                      <a:pt x="497" y="459"/>
                    </a:lnTo>
                    <a:lnTo>
                      <a:pt x="497" y="457"/>
                    </a:lnTo>
                    <a:lnTo>
                      <a:pt x="496" y="457"/>
                    </a:lnTo>
                    <a:lnTo>
                      <a:pt x="496" y="456"/>
                    </a:lnTo>
                    <a:lnTo>
                      <a:pt x="497" y="455"/>
                    </a:lnTo>
                    <a:lnTo>
                      <a:pt x="497" y="454"/>
                    </a:lnTo>
                    <a:lnTo>
                      <a:pt x="498" y="454"/>
                    </a:lnTo>
                    <a:lnTo>
                      <a:pt x="498" y="455"/>
                    </a:lnTo>
                    <a:lnTo>
                      <a:pt x="499" y="455"/>
                    </a:lnTo>
                    <a:lnTo>
                      <a:pt x="499" y="456"/>
                    </a:lnTo>
                    <a:close/>
                    <a:moveTo>
                      <a:pt x="205" y="406"/>
                    </a:moveTo>
                    <a:lnTo>
                      <a:pt x="206" y="406"/>
                    </a:lnTo>
                    <a:lnTo>
                      <a:pt x="207" y="408"/>
                    </a:lnTo>
                    <a:lnTo>
                      <a:pt x="208" y="409"/>
                    </a:lnTo>
                    <a:lnTo>
                      <a:pt x="207" y="409"/>
                    </a:lnTo>
                    <a:lnTo>
                      <a:pt x="206" y="409"/>
                    </a:lnTo>
                    <a:lnTo>
                      <a:pt x="206" y="410"/>
                    </a:lnTo>
                    <a:lnTo>
                      <a:pt x="206" y="409"/>
                    </a:lnTo>
                    <a:lnTo>
                      <a:pt x="207" y="408"/>
                    </a:lnTo>
                    <a:lnTo>
                      <a:pt x="206" y="408"/>
                    </a:lnTo>
                    <a:lnTo>
                      <a:pt x="206" y="409"/>
                    </a:lnTo>
                    <a:lnTo>
                      <a:pt x="205" y="409"/>
                    </a:lnTo>
                    <a:lnTo>
                      <a:pt x="203" y="409"/>
                    </a:lnTo>
                    <a:lnTo>
                      <a:pt x="202" y="410"/>
                    </a:lnTo>
                    <a:lnTo>
                      <a:pt x="201" y="410"/>
                    </a:lnTo>
                    <a:lnTo>
                      <a:pt x="200" y="410"/>
                    </a:lnTo>
                    <a:lnTo>
                      <a:pt x="201" y="409"/>
                    </a:lnTo>
                    <a:lnTo>
                      <a:pt x="202" y="408"/>
                    </a:lnTo>
                    <a:lnTo>
                      <a:pt x="203" y="408"/>
                    </a:lnTo>
                    <a:lnTo>
                      <a:pt x="203" y="409"/>
                    </a:lnTo>
                    <a:lnTo>
                      <a:pt x="204" y="409"/>
                    </a:lnTo>
                    <a:lnTo>
                      <a:pt x="204" y="408"/>
                    </a:lnTo>
                    <a:lnTo>
                      <a:pt x="205" y="408"/>
                    </a:lnTo>
                    <a:lnTo>
                      <a:pt x="205" y="406"/>
                    </a:lnTo>
                    <a:close/>
                    <a:moveTo>
                      <a:pt x="276" y="390"/>
                    </a:moveTo>
                    <a:lnTo>
                      <a:pt x="276" y="391"/>
                    </a:lnTo>
                    <a:lnTo>
                      <a:pt x="276" y="392"/>
                    </a:lnTo>
                    <a:lnTo>
                      <a:pt x="277" y="392"/>
                    </a:lnTo>
                    <a:lnTo>
                      <a:pt x="277" y="393"/>
                    </a:lnTo>
                    <a:lnTo>
                      <a:pt x="276" y="393"/>
                    </a:lnTo>
                    <a:lnTo>
                      <a:pt x="274" y="393"/>
                    </a:lnTo>
                    <a:lnTo>
                      <a:pt x="273" y="395"/>
                    </a:lnTo>
                    <a:lnTo>
                      <a:pt x="273" y="393"/>
                    </a:lnTo>
                    <a:lnTo>
                      <a:pt x="273" y="392"/>
                    </a:lnTo>
                    <a:lnTo>
                      <a:pt x="272" y="392"/>
                    </a:lnTo>
                    <a:lnTo>
                      <a:pt x="272" y="391"/>
                    </a:lnTo>
                    <a:lnTo>
                      <a:pt x="271" y="391"/>
                    </a:lnTo>
                    <a:lnTo>
                      <a:pt x="272" y="391"/>
                    </a:lnTo>
                    <a:lnTo>
                      <a:pt x="273" y="390"/>
                    </a:lnTo>
                    <a:lnTo>
                      <a:pt x="273" y="391"/>
                    </a:lnTo>
                    <a:lnTo>
                      <a:pt x="274" y="390"/>
                    </a:lnTo>
                    <a:lnTo>
                      <a:pt x="274" y="391"/>
                    </a:lnTo>
                    <a:lnTo>
                      <a:pt x="274" y="390"/>
                    </a:lnTo>
                    <a:lnTo>
                      <a:pt x="274" y="391"/>
                    </a:lnTo>
                    <a:lnTo>
                      <a:pt x="276" y="391"/>
                    </a:lnTo>
                    <a:lnTo>
                      <a:pt x="274" y="390"/>
                    </a:lnTo>
                    <a:lnTo>
                      <a:pt x="276" y="390"/>
                    </a:lnTo>
                    <a:close/>
                    <a:moveTo>
                      <a:pt x="578" y="505"/>
                    </a:moveTo>
                    <a:lnTo>
                      <a:pt x="579" y="505"/>
                    </a:lnTo>
                    <a:lnTo>
                      <a:pt x="580" y="505"/>
                    </a:lnTo>
                    <a:lnTo>
                      <a:pt x="581" y="506"/>
                    </a:lnTo>
                    <a:lnTo>
                      <a:pt x="582" y="506"/>
                    </a:lnTo>
                    <a:lnTo>
                      <a:pt x="582" y="507"/>
                    </a:lnTo>
                    <a:lnTo>
                      <a:pt x="581" y="507"/>
                    </a:lnTo>
                    <a:lnTo>
                      <a:pt x="580" y="507"/>
                    </a:lnTo>
                    <a:lnTo>
                      <a:pt x="579" y="507"/>
                    </a:lnTo>
                    <a:lnTo>
                      <a:pt x="578" y="507"/>
                    </a:lnTo>
                    <a:lnTo>
                      <a:pt x="577" y="507"/>
                    </a:lnTo>
                    <a:lnTo>
                      <a:pt x="576" y="507"/>
                    </a:lnTo>
                    <a:lnTo>
                      <a:pt x="576" y="506"/>
                    </a:lnTo>
                    <a:lnTo>
                      <a:pt x="577" y="505"/>
                    </a:lnTo>
                    <a:lnTo>
                      <a:pt x="578" y="505"/>
                    </a:lnTo>
                    <a:close/>
                    <a:moveTo>
                      <a:pt x="255" y="225"/>
                    </a:moveTo>
                    <a:lnTo>
                      <a:pt x="255" y="226"/>
                    </a:lnTo>
                    <a:lnTo>
                      <a:pt x="254" y="226"/>
                    </a:lnTo>
                    <a:lnTo>
                      <a:pt x="255" y="226"/>
                    </a:lnTo>
                    <a:lnTo>
                      <a:pt x="256" y="226"/>
                    </a:lnTo>
                    <a:lnTo>
                      <a:pt x="256" y="225"/>
                    </a:lnTo>
                    <a:lnTo>
                      <a:pt x="256" y="226"/>
                    </a:lnTo>
                    <a:lnTo>
                      <a:pt x="256" y="228"/>
                    </a:lnTo>
                    <a:lnTo>
                      <a:pt x="255" y="228"/>
                    </a:lnTo>
                    <a:lnTo>
                      <a:pt x="255" y="229"/>
                    </a:lnTo>
                    <a:lnTo>
                      <a:pt x="256" y="229"/>
                    </a:lnTo>
                    <a:lnTo>
                      <a:pt x="255" y="230"/>
                    </a:lnTo>
                    <a:lnTo>
                      <a:pt x="256" y="230"/>
                    </a:lnTo>
                    <a:lnTo>
                      <a:pt x="256" y="231"/>
                    </a:lnTo>
                    <a:lnTo>
                      <a:pt x="255" y="230"/>
                    </a:lnTo>
                    <a:lnTo>
                      <a:pt x="254" y="230"/>
                    </a:lnTo>
                    <a:lnTo>
                      <a:pt x="254" y="229"/>
                    </a:lnTo>
                    <a:lnTo>
                      <a:pt x="253" y="229"/>
                    </a:lnTo>
                    <a:lnTo>
                      <a:pt x="254" y="229"/>
                    </a:lnTo>
                    <a:lnTo>
                      <a:pt x="254" y="228"/>
                    </a:lnTo>
                    <a:lnTo>
                      <a:pt x="253" y="226"/>
                    </a:lnTo>
                    <a:lnTo>
                      <a:pt x="254" y="226"/>
                    </a:lnTo>
                    <a:lnTo>
                      <a:pt x="255" y="226"/>
                    </a:lnTo>
                    <a:lnTo>
                      <a:pt x="254" y="226"/>
                    </a:lnTo>
                    <a:lnTo>
                      <a:pt x="253" y="226"/>
                    </a:lnTo>
                    <a:lnTo>
                      <a:pt x="253" y="225"/>
                    </a:lnTo>
                    <a:lnTo>
                      <a:pt x="253" y="226"/>
                    </a:lnTo>
                    <a:lnTo>
                      <a:pt x="253" y="225"/>
                    </a:lnTo>
                    <a:lnTo>
                      <a:pt x="254" y="225"/>
                    </a:lnTo>
                    <a:lnTo>
                      <a:pt x="253" y="225"/>
                    </a:lnTo>
                    <a:lnTo>
                      <a:pt x="253" y="224"/>
                    </a:lnTo>
                    <a:lnTo>
                      <a:pt x="254" y="224"/>
                    </a:lnTo>
                    <a:lnTo>
                      <a:pt x="255" y="224"/>
                    </a:lnTo>
                    <a:lnTo>
                      <a:pt x="255" y="225"/>
                    </a:lnTo>
                    <a:close/>
                    <a:moveTo>
                      <a:pt x="125" y="412"/>
                    </a:moveTo>
                    <a:lnTo>
                      <a:pt x="125" y="413"/>
                    </a:lnTo>
                    <a:lnTo>
                      <a:pt x="126" y="412"/>
                    </a:lnTo>
                    <a:lnTo>
                      <a:pt x="126" y="413"/>
                    </a:lnTo>
                    <a:lnTo>
                      <a:pt x="126" y="412"/>
                    </a:lnTo>
                    <a:lnTo>
                      <a:pt x="126" y="413"/>
                    </a:lnTo>
                    <a:lnTo>
                      <a:pt x="125" y="413"/>
                    </a:lnTo>
                    <a:lnTo>
                      <a:pt x="124" y="413"/>
                    </a:lnTo>
                    <a:lnTo>
                      <a:pt x="125" y="413"/>
                    </a:lnTo>
                    <a:lnTo>
                      <a:pt x="124" y="412"/>
                    </a:lnTo>
                    <a:lnTo>
                      <a:pt x="123" y="412"/>
                    </a:lnTo>
                    <a:lnTo>
                      <a:pt x="124" y="412"/>
                    </a:lnTo>
                    <a:lnTo>
                      <a:pt x="124" y="413"/>
                    </a:lnTo>
                    <a:lnTo>
                      <a:pt x="123" y="413"/>
                    </a:lnTo>
                    <a:lnTo>
                      <a:pt x="122" y="413"/>
                    </a:lnTo>
                    <a:lnTo>
                      <a:pt x="122" y="412"/>
                    </a:lnTo>
                    <a:lnTo>
                      <a:pt x="122" y="413"/>
                    </a:lnTo>
                    <a:lnTo>
                      <a:pt x="122" y="412"/>
                    </a:lnTo>
                    <a:lnTo>
                      <a:pt x="120" y="412"/>
                    </a:lnTo>
                    <a:lnTo>
                      <a:pt x="120" y="413"/>
                    </a:lnTo>
                    <a:lnTo>
                      <a:pt x="119" y="413"/>
                    </a:lnTo>
                    <a:lnTo>
                      <a:pt x="119" y="414"/>
                    </a:lnTo>
                    <a:lnTo>
                      <a:pt x="118" y="413"/>
                    </a:lnTo>
                    <a:lnTo>
                      <a:pt x="118" y="412"/>
                    </a:lnTo>
                    <a:lnTo>
                      <a:pt x="118" y="413"/>
                    </a:lnTo>
                    <a:lnTo>
                      <a:pt x="117" y="413"/>
                    </a:lnTo>
                    <a:lnTo>
                      <a:pt x="118" y="413"/>
                    </a:lnTo>
                    <a:lnTo>
                      <a:pt x="117" y="413"/>
                    </a:lnTo>
                    <a:lnTo>
                      <a:pt x="117" y="412"/>
                    </a:lnTo>
                    <a:lnTo>
                      <a:pt x="116" y="412"/>
                    </a:lnTo>
                    <a:lnTo>
                      <a:pt x="116" y="413"/>
                    </a:lnTo>
                    <a:lnTo>
                      <a:pt x="116" y="412"/>
                    </a:lnTo>
                    <a:lnTo>
                      <a:pt x="117" y="412"/>
                    </a:lnTo>
                    <a:lnTo>
                      <a:pt x="124" y="411"/>
                    </a:lnTo>
                    <a:lnTo>
                      <a:pt x="124" y="412"/>
                    </a:lnTo>
                    <a:lnTo>
                      <a:pt x="125" y="412"/>
                    </a:lnTo>
                    <a:close/>
                    <a:moveTo>
                      <a:pt x="203" y="403"/>
                    </a:moveTo>
                    <a:lnTo>
                      <a:pt x="204" y="403"/>
                    </a:lnTo>
                    <a:lnTo>
                      <a:pt x="204" y="404"/>
                    </a:lnTo>
                    <a:lnTo>
                      <a:pt x="205" y="404"/>
                    </a:lnTo>
                    <a:lnTo>
                      <a:pt x="206" y="404"/>
                    </a:lnTo>
                    <a:lnTo>
                      <a:pt x="206" y="405"/>
                    </a:lnTo>
                    <a:lnTo>
                      <a:pt x="205" y="405"/>
                    </a:lnTo>
                    <a:lnTo>
                      <a:pt x="206" y="405"/>
                    </a:lnTo>
                    <a:lnTo>
                      <a:pt x="206" y="404"/>
                    </a:lnTo>
                    <a:lnTo>
                      <a:pt x="206" y="405"/>
                    </a:lnTo>
                    <a:lnTo>
                      <a:pt x="207" y="405"/>
                    </a:lnTo>
                    <a:lnTo>
                      <a:pt x="208" y="405"/>
                    </a:lnTo>
                    <a:lnTo>
                      <a:pt x="208" y="406"/>
                    </a:lnTo>
                    <a:lnTo>
                      <a:pt x="207" y="406"/>
                    </a:lnTo>
                    <a:lnTo>
                      <a:pt x="208" y="406"/>
                    </a:lnTo>
                    <a:lnTo>
                      <a:pt x="208" y="405"/>
                    </a:lnTo>
                    <a:lnTo>
                      <a:pt x="209" y="406"/>
                    </a:lnTo>
                    <a:lnTo>
                      <a:pt x="208" y="406"/>
                    </a:lnTo>
                    <a:lnTo>
                      <a:pt x="208" y="408"/>
                    </a:lnTo>
                    <a:lnTo>
                      <a:pt x="207" y="406"/>
                    </a:lnTo>
                    <a:lnTo>
                      <a:pt x="206" y="406"/>
                    </a:lnTo>
                    <a:lnTo>
                      <a:pt x="205" y="406"/>
                    </a:lnTo>
                    <a:lnTo>
                      <a:pt x="204" y="406"/>
                    </a:lnTo>
                    <a:lnTo>
                      <a:pt x="203" y="408"/>
                    </a:lnTo>
                    <a:lnTo>
                      <a:pt x="203" y="406"/>
                    </a:lnTo>
                    <a:lnTo>
                      <a:pt x="203" y="405"/>
                    </a:lnTo>
                    <a:lnTo>
                      <a:pt x="202" y="405"/>
                    </a:lnTo>
                    <a:lnTo>
                      <a:pt x="202" y="404"/>
                    </a:lnTo>
                    <a:lnTo>
                      <a:pt x="203" y="404"/>
                    </a:lnTo>
                    <a:lnTo>
                      <a:pt x="203" y="405"/>
                    </a:lnTo>
                    <a:lnTo>
                      <a:pt x="204" y="405"/>
                    </a:lnTo>
                    <a:lnTo>
                      <a:pt x="204" y="404"/>
                    </a:lnTo>
                    <a:lnTo>
                      <a:pt x="203" y="404"/>
                    </a:lnTo>
                    <a:lnTo>
                      <a:pt x="203" y="403"/>
                    </a:lnTo>
                    <a:close/>
                    <a:moveTo>
                      <a:pt x="114" y="323"/>
                    </a:moveTo>
                    <a:lnTo>
                      <a:pt x="115" y="323"/>
                    </a:lnTo>
                    <a:lnTo>
                      <a:pt x="114" y="323"/>
                    </a:lnTo>
                    <a:lnTo>
                      <a:pt x="114" y="324"/>
                    </a:lnTo>
                    <a:lnTo>
                      <a:pt x="115" y="324"/>
                    </a:lnTo>
                    <a:lnTo>
                      <a:pt x="116" y="324"/>
                    </a:lnTo>
                    <a:lnTo>
                      <a:pt x="117" y="324"/>
                    </a:lnTo>
                    <a:lnTo>
                      <a:pt x="117" y="325"/>
                    </a:lnTo>
                    <a:lnTo>
                      <a:pt x="117" y="324"/>
                    </a:lnTo>
                    <a:lnTo>
                      <a:pt x="118" y="324"/>
                    </a:lnTo>
                    <a:lnTo>
                      <a:pt x="119" y="324"/>
                    </a:lnTo>
                    <a:lnTo>
                      <a:pt x="118" y="324"/>
                    </a:lnTo>
                    <a:lnTo>
                      <a:pt x="118" y="325"/>
                    </a:lnTo>
                    <a:lnTo>
                      <a:pt x="118" y="326"/>
                    </a:lnTo>
                    <a:lnTo>
                      <a:pt x="117" y="327"/>
                    </a:lnTo>
                    <a:lnTo>
                      <a:pt x="117" y="328"/>
                    </a:lnTo>
                    <a:lnTo>
                      <a:pt x="116" y="328"/>
                    </a:lnTo>
                    <a:lnTo>
                      <a:pt x="116" y="327"/>
                    </a:lnTo>
                    <a:lnTo>
                      <a:pt x="116" y="328"/>
                    </a:lnTo>
                    <a:lnTo>
                      <a:pt x="117" y="328"/>
                    </a:lnTo>
                    <a:lnTo>
                      <a:pt x="117" y="327"/>
                    </a:lnTo>
                    <a:lnTo>
                      <a:pt x="117" y="326"/>
                    </a:lnTo>
                    <a:lnTo>
                      <a:pt x="116" y="326"/>
                    </a:lnTo>
                    <a:lnTo>
                      <a:pt x="117" y="327"/>
                    </a:lnTo>
                    <a:lnTo>
                      <a:pt x="116" y="327"/>
                    </a:lnTo>
                    <a:lnTo>
                      <a:pt x="117" y="327"/>
                    </a:lnTo>
                    <a:lnTo>
                      <a:pt x="116" y="327"/>
                    </a:lnTo>
                    <a:lnTo>
                      <a:pt x="117" y="327"/>
                    </a:lnTo>
                    <a:lnTo>
                      <a:pt x="117" y="328"/>
                    </a:lnTo>
                    <a:lnTo>
                      <a:pt x="116" y="327"/>
                    </a:lnTo>
                    <a:lnTo>
                      <a:pt x="116" y="325"/>
                    </a:lnTo>
                    <a:lnTo>
                      <a:pt x="115" y="325"/>
                    </a:lnTo>
                    <a:lnTo>
                      <a:pt x="115" y="324"/>
                    </a:lnTo>
                    <a:lnTo>
                      <a:pt x="114" y="324"/>
                    </a:lnTo>
                    <a:lnTo>
                      <a:pt x="113" y="324"/>
                    </a:lnTo>
                    <a:lnTo>
                      <a:pt x="112" y="324"/>
                    </a:lnTo>
                    <a:lnTo>
                      <a:pt x="111" y="324"/>
                    </a:lnTo>
                    <a:lnTo>
                      <a:pt x="113" y="323"/>
                    </a:lnTo>
                    <a:lnTo>
                      <a:pt x="114" y="323"/>
                    </a:lnTo>
                    <a:close/>
                    <a:moveTo>
                      <a:pt x="579" y="502"/>
                    </a:moveTo>
                    <a:lnTo>
                      <a:pt x="580" y="503"/>
                    </a:lnTo>
                    <a:lnTo>
                      <a:pt x="580" y="504"/>
                    </a:lnTo>
                    <a:lnTo>
                      <a:pt x="581" y="504"/>
                    </a:lnTo>
                    <a:lnTo>
                      <a:pt x="581" y="505"/>
                    </a:lnTo>
                    <a:lnTo>
                      <a:pt x="582" y="505"/>
                    </a:lnTo>
                    <a:lnTo>
                      <a:pt x="582" y="506"/>
                    </a:lnTo>
                    <a:lnTo>
                      <a:pt x="581" y="506"/>
                    </a:lnTo>
                    <a:lnTo>
                      <a:pt x="580" y="505"/>
                    </a:lnTo>
                    <a:lnTo>
                      <a:pt x="579" y="505"/>
                    </a:lnTo>
                    <a:lnTo>
                      <a:pt x="578" y="505"/>
                    </a:lnTo>
                    <a:lnTo>
                      <a:pt x="578" y="504"/>
                    </a:lnTo>
                    <a:lnTo>
                      <a:pt x="577" y="505"/>
                    </a:lnTo>
                    <a:lnTo>
                      <a:pt x="578" y="502"/>
                    </a:lnTo>
                    <a:lnTo>
                      <a:pt x="578" y="503"/>
                    </a:lnTo>
                    <a:lnTo>
                      <a:pt x="577" y="501"/>
                    </a:lnTo>
                    <a:lnTo>
                      <a:pt x="578" y="501"/>
                    </a:lnTo>
                    <a:lnTo>
                      <a:pt x="578" y="502"/>
                    </a:lnTo>
                    <a:lnTo>
                      <a:pt x="579" y="502"/>
                    </a:lnTo>
                    <a:close/>
                    <a:moveTo>
                      <a:pt x="292" y="276"/>
                    </a:moveTo>
                    <a:lnTo>
                      <a:pt x="292" y="277"/>
                    </a:lnTo>
                    <a:lnTo>
                      <a:pt x="292" y="279"/>
                    </a:lnTo>
                    <a:lnTo>
                      <a:pt x="292" y="280"/>
                    </a:lnTo>
                    <a:lnTo>
                      <a:pt x="291" y="280"/>
                    </a:lnTo>
                    <a:lnTo>
                      <a:pt x="290" y="280"/>
                    </a:lnTo>
                    <a:lnTo>
                      <a:pt x="290" y="279"/>
                    </a:lnTo>
                    <a:lnTo>
                      <a:pt x="289" y="279"/>
                    </a:lnTo>
                    <a:lnTo>
                      <a:pt x="287" y="279"/>
                    </a:lnTo>
                    <a:lnTo>
                      <a:pt x="287" y="277"/>
                    </a:lnTo>
                    <a:lnTo>
                      <a:pt x="289" y="277"/>
                    </a:lnTo>
                    <a:lnTo>
                      <a:pt x="290" y="277"/>
                    </a:lnTo>
                    <a:lnTo>
                      <a:pt x="290" y="276"/>
                    </a:lnTo>
                    <a:lnTo>
                      <a:pt x="291" y="276"/>
                    </a:lnTo>
                    <a:lnTo>
                      <a:pt x="292" y="276"/>
                    </a:lnTo>
                    <a:lnTo>
                      <a:pt x="292" y="275"/>
                    </a:lnTo>
                    <a:lnTo>
                      <a:pt x="293" y="275"/>
                    </a:lnTo>
                    <a:lnTo>
                      <a:pt x="293" y="276"/>
                    </a:lnTo>
                    <a:lnTo>
                      <a:pt x="292" y="276"/>
                    </a:lnTo>
                    <a:close/>
                    <a:moveTo>
                      <a:pt x="491" y="438"/>
                    </a:moveTo>
                    <a:lnTo>
                      <a:pt x="490" y="439"/>
                    </a:lnTo>
                    <a:lnTo>
                      <a:pt x="491" y="438"/>
                    </a:lnTo>
                    <a:lnTo>
                      <a:pt x="491" y="439"/>
                    </a:lnTo>
                    <a:lnTo>
                      <a:pt x="491" y="440"/>
                    </a:lnTo>
                    <a:lnTo>
                      <a:pt x="490" y="440"/>
                    </a:lnTo>
                    <a:lnTo>
                      <a:pt x="491" y="440"/>
                    </a:lnTo>
                    <a:lnTo>
                      <a:pt x="490" y="441"/>
                    </a:lnTo>
                    <a:lnTo>
                      <a:pt x="490" y="442"/>
                    </a:lnTo>
                    <a:lnTo>
                      <a:pt x="490" y="443"/>
                    </a:lnTo>
                    <a:lnTo>
                      <a:pt x="490" y="442"/>
                    </a:lnTo>
                    <a:lnTo>
                      <a:pt x="489" y="442"/>
                    </a:lnTo>
                    <a:lnTo>
                      <a:pt x="489" y="443"/>
                    </a:lnTo>
                    <a:lnTo>
                      <a:pt x="489" y="442"/>
                    </a:lnTo>
                    <a:lnTo>
                      <a:pt x="489" y="441"/>
                    </a:lnTo>
                    <a:lnTo>
                      <a:pt x="488" y="441"/>
                    </a:lnTo>
                    <a:lnTo>
                      <a:pt x="489" y="441"/>
                    </a:lnTo>
                    <a:lnTo>
                      <a:pt x="488" y="441"/>
                    </a:lnTo>
                    <a:lnTo>
                      <a:pt x="489" y="440"/>
                    </a:lnTo>
                    <a:lnTo>
                      <a:pt x="489" y="439"/>
                    </a:lnTo>
                    <a:lnTo>
                      <a:pt x="490" y="439"/>
                    </a:lnTo>
                    <a:lnTo>
                      <a:pt x="489" y="439"/>
                    </a:lnTo>
                    <a:lnTo>
                      <a:pt x="489" y="438"/>
                    </a:lnTo>
                    <a:lnTo>
                      <a:pt x="489" y="437"/>
                    </a:lnTo>
                    <a:lnTo>
                      <a:pt x="489" y="436"/>
                    </a:lnTo>
                    <a:lnTo>
                      <a:pt x="490" y="436"/>
                    </a:lnTo>
                    <a:lnTo>
                      <a:pt x="490" y="437"/>
                    </a:lnTo>
                    <a:lnTo>
                      <a:pt x="491" y="437"/>
                    </a:lnTo>
                    <a:lnTo>
                      <a:pt x="491" y="438"/>
                    </a:lnTo>
                    <a:close/>
                    <a:moveTo>
                      <a:pt x="566" y="556"/>
                    </a:moveTo>
                    <a:lnTo>
                      <a:pt x="567" y="556"/>
                    </a:lnTo>
                    <a:lnTo>
                      <a:pt x="567" y="557"/>
                    </a:lnTo>
                    <a:lnTo>
                      <a:pt x="568" y="557"/>
                    </a:lnTo>
                    <a:lnTo>
                      <a:pt x="568" y="556"/>
                    </a:lnTo>
                    <a:lnTo>
                      <a:pt x="568" y="557"/>
                    </a:lnTo>
                    <a:lnTo>
                      <a:pt x="569" y="557"/>
                    </a:lnTo>
                    <a:lnTo>
                      <a:pt x="568" y="557"/>
                    </a:lnTo>
                    <a:lnTo>
                      <a:pt x="569" y="558"/>
                    </a:lnTo>
                    <a:lnTo>
                      <a:pt x="569" y="557"/>
                    </a:lnTo>
                    <a:lnTo>
                      <a:pt x="569" y="556"/>
                    </a:lnTo>
                    <a:lnTo>
                      <a:pt x="570" y="556"/>
                    </a:lnTo>
                    <a:lnTo>
                      <a:pt x="570" y="557"/>
                    </a:lnTo>
                    <a:lnTo>
                      <a:pt x="570" y="558"/>
                    </a:lnTo>
                    <a:lnTo>
                      <a:pt x="570" y="559"/>
                    </a:lnTo>
                    <a:lnTo>
                      <a:pt x="570" y="560"/>
                    </a:lnTo>
                    <a:lnTo>
                      <a:pt x="569" y="560"/>
                    </a:lnTo>
                    <a:lnTo>
                      <a:pt x="569" y="559"/>
                    </a:lnTo>
                    <a:lnTo>
                      <a:pt x="568" y="559"/>
                    </a:lnTo>
                    <a:lnTo>
                      <a:pt x="568" y="558"/>
                    </a:lnTo>
                    <a:lnTo>
                      <a:pt x="569" y="558"/>
                    </a:lnTo>
                    <a:lnTo>
                      <a:pt x="568" y="558"/>
                    </a:lnTo>
                    <a:lnTo>
                      <a:pt x="567" y="558"/>
                    </a:lnTo>
                    <a:lnTo>
                      <a:pt x="566" y="558"/>
                    </a:lnTo>
                    <a:lnTo>
                      <a:pt x="565" y="558"/>
                    </a:lnTo>
                    <a:lnTo>
                      <a:pt x="565" y="557"/>
                    </a:lnTo>
                    <a:lnTo>
                      <a:pt x="565" y="556"/>
                    </a:lnTo>
                    <a:lnTo>
                      <a:pt x="566" y="556"/>
                    </a:lnTo>
                    <a:close/>
                    <a:moveTo>
                      <a:pt x="414" y="543"/>
                    </a:moveTo>
                    <a:lnTo>
                      <a:pt x="414" y="544"/>
                    </a:lnTo>
                    <a:lnTo>
                      <a:pt x="415" y="543"/>
                    </a:lnTo>
                    <a:lnTo>
                      <a:pt x="415" y="544"/>
                    </a:lnTo>
                    <a:lnTo>
                      <a:pt x="416" y="543"/>
                    </a:lnTo>
                    <a:lnTo>
                      <a:pt x="416" y="544"/>
                    </a:lnTo>
                    <a:lnTo>
                      <a:pt x="416" y="545"/>
                    </a:lnTo>
                    <a:lnTo>
                      <a:pt x="415" y="545"/>
                    </a:lnTo>
                    <a:lnTo>
                      <a:pt x="415" y="544"/>
                    </a:lnTo>
                    <a:lnTo>
                      <a:pt x="414" y="544"/>
                    </a:lnTo>
                    <a:lnTo>
                      <a:pt x="414" y="545"/>
                    </a:lnTo>
                    <a:lnTo>
                      <a:pt x="415" y="545"/>
                    </a:lnTo>
                    <a:lnTo>
                      <a:pt x="415" y="546"/>
                    </a:lnTo>
                    <a:lnTo>
                      <a:pt x="414" y="546"/>
                    </a:lnTo>
                    <a:lnTo>
                      <a:pt x="414" y="547"/>
                    </a:lnTo>
                    <a:lnTo>
                      <a:pt x="413" y="547"/>
                    </a:lnTo>
                    <a:lnTo>
                      <a:pt x="414" y="547"/>
                    </a:lnTo>
                    <a:lnTo>
                      <a:pt x="415" y="547"/>
                    </a:lnTo>
                    <a:lnTo>
                      <a:pt x="414" y="546"/>
                    </a:lnTo>
                    <a:lnTo>
                      <a:pt x="415" y="546"/>
                    </a:lnTo>
                    <a:lnTo>
                      <a:pt x="415" y="547"/>
                    </a:lnTo>
                    <a:lnTo>
                      <a:pt x="415" y="549"/>
                    </a:lnTo>
                    <a:lnTo>
                      <a:pt x="414" y="549"/>
                    </a:lnTo>
                    <a:lnTo>
                      <a:pt x="415" y="549"/>
                    </a:lnTo>
                    <a:lnTo>
                      <a:pt x="414" y="549"/>
                    </a:lnTo>
                    <a:lnTo>
                      <a:pt x="413" y="549"/>
                    </a:lnTo>
                    <a:lnTo>
                      <a:pt x="413" y="547"/>
                    </a:lnTo>
                    <a:lnTo>
                      <a:pt x="412" y="546"/>
                    </a:lnTo>
                    <a:lnTo>
                      <a:pt x="413" y="546"/>
                    </a:lnTo>
                    <a:lnTo>
                      <a:pt x="413" y="545"/>
                    </a:lnTo>
                    <a:lnTo>
                      <a:pt x="412" y="545"/>
                    </a:lnTo>
                    <a:lnTo>
                      <a:pt x="412" y="544"/>
                    </a:lnTo>
                    <a:lnTo>
                      <a:pt x="413" y="544"/>
                    </a:lnTo>
                    <a:lnTo>
                      <a:pt x="412" y="544"/>
                    </a:lnTo>
                    <a:lnTo>
                      <a:pt x="412" y="543"/>
                    </a:lnTo>
                    <a:lnTo>
                      <a:pt x="413" y="543"/>
                    </a:lnTo>
                    <a:lnTo>
                      <a:pt x="414" y="543"/>
                    </a:lnTo>
                    <a:close/>
                    <a:moveTo>
                      <a:pt x="641" y="487"/>
                    </a:moveTo>
                    <a:lnTo>
                      <a:pt x="642" y="488"/>
                    </a:lnTo>
                    <a:lnTo>
                      <a:pt x="641" y="488"/>
                    </a:lnTo>
                    <a:lnTo>
                      <a:pt x="640" y="489"/>
                    </a:lnTo>
                    <a:lnTo>
                      <a:pt x="640" y="490"/>
                    </a:lnTo>
                    <a:lnTo>
                      <a:pt x="639" y="490"/>
                    </a:lnTo>
                    <a:lnTo>
                      <a:pt x="639" y="491"/>
                    </a:lnTo>
                    <a:lnTo>
                      <a:pt x="638" y="491"/>
                    </a:lnTo>
                    <a:lnTo>
                      <a:pt x="638" y="490"/>
                    </a:lnTo>
                    <a:lnTo>
                      <a:pt x="638" y="489"/>
                    </a:lnTo>
                    <a:lnTo>
                      <a:pt x="636" y="489"/>
                    </a:lnTo>
                    <a:lnTo>
                      <a:pt x="638" y="489"/>
                    </a:lnTo>
                    <a:lnTo>
                      <a:pt x="638" y="488"/>
                    </a:lnTo>
                    <a:lnTo>
                      <a:pt x="638" y="487"/>
                    </a:lnTo>
                    <a:lnTo>
                      <a:pt x="638" y="488"/>
                    </a:lnTo>
                    <a:lnTo>
                      <a:pt x="639" y="487"/>
                    </a:lnTo>
                    <a:lnTo>
                      <a:pt x="640" y="487"/>
                    </a:lnTo>
                    <a:lnTo>
                      <a:pt x="641" y="487"/>
                    </a:lnTo>
                    <a:close/>
                    <a:moveTo>
                      <a:pt x="632" y="493"/>
                    </a:moveTo>
                    <a:lnTo>
                      <a:pt x="632" y="494"/>
                    </a:lnTo>
                    <a:lnTo>
                      <a:pt x="631" y="495"/>
                    </a:lnTo>
                    <a:lnTo>
                      <a:pt x="630" y="495"/>
                    </a:lnTo>
                    <a:lnTo>
                      <a:pt x="629" y="495"/>
                    </a:lnTo>
                    <a:lnTo>
                      <a:pt x="629" y="494"/>
                    </a:lnTo>
                    <a:lnTo>
                      <a:pt x="628" y="493"/>
                    </a:lnTo>
                    <a:lnTo>
                      <a:pt x="628" y="492"/>
                    </a:lnTo>
                    <a:lnTo>
                      <a:pt x="629" y="492"/>
                    </a:lnTo>
                    <a:lnTo>
                      <a:pt x="630" y="493"/>
                    </a:lnTo>
                    <a:lnTo>
                      <a:pt x="631" y="492"/>
                    </a:lnTo>
                    <a:lnTo>
                      <a:pt x="632" y="493"/>
                    </a:lnTo>
                    <a:close/>
                    <a:moveTo>
                      <a:pt x="332" y="339"/>
                    </a:moveTo>
                    <a:lnTo>
                      <a:pt x="332" y="340"/>
                    </a:lnTo>
                    <a:lnTo>
                      <a:pt x="331" y="340"/>
                    </a:lnTo>
                    <a:lnTo>
                      <a:pt x="331" y="341"/>
                    </a:lnTo>
                    <a:lnTo>
                      <a:pt x="332" y="341"/>
                    </a:lnTo>
                    <a:lnTo>
                      <a:pt x="332" y="340"/>
                    </a:lnTo>
                    <a:lnTo>
                      <a:pt x="332" y="339"/>
                    </a:lnTo>
                    <a:lnTo>
                      <a:pt x="333" y="340"/>
                    </a:lnTo>
                    <a:lnTo>
                      <a:pt x="333" y="341"/>
                    </a:lnTo>
                    <a:lnTo>
                      <a:pt x="332" y="341"/>
                    </a:lnTo>
                    <a:lnTo>
                      <a:pt x="333" y="341"/>
                    </a:lnTo>
                    <a:lnTo>
                      <a:pt x="334" y="341"/>
                    </a:lnTo>
                    <a:lnTo>
                      <a:pt x="334" y="343"/>
                    </a:lnTo>
                    <a:lnTo>
                      <a:pt x="335" y="343"/>
                    </a:lnTo>
                    <a:lnTo>
                      <a:pt x="335" y="344"/>
                    </a:lnTo>
                    <a:lnTo>
                      <a:pt x="334" y="344"/>
                    </a:lnTo>
                    <a:lnTo>
                      <a:pt x="333" y="344"/>
                    </a:lnTo>
                    <a:lnTo>
                      <a:pt x="332" y="344"/>
                    </a:lnTo>
                    <a:lnTo>
                      <a:pt x="332" y="343"/>
                    </a:lnTo>
                    <a:lnTo>
                      <a:pt x="332" y="341"/>
                    </a:lnTo>
                    <a:lnTo>
                      <a:pt x="332" y="343"/>
                    </a:lnTo>
                    <a:lnTo>
                      <a:pt x="331" y="343"/>
                    </a:lnTo>
                    <a:lnTo>
                      <a:pt x="331" y="344"/>
                    </a:lnTo>
                    <a:lnTo>
                      <a:pt x="332" y="343"/>
                    </a:lnTo>
                    <a:lnTo>
                      <a:pt x="332" y="341"/>
                    </a:lnTo>
                    <a:lnTo>
                      <a:pt x="331" y="341"/>
                    </a:lnTo>
                    <a:lnTo>
                      <a:pt x="330" y="341"/>
                    </a:lnTo>
                    <a:lnTo>
                      <a:pt x="330" y="343"/>
                    </a:lnTo>
                    <a:lnTo>
                      <a:pt x="329" y="341"/>
                    </a:lnTo>
                    <a:lnTo>
                      <a:pt x="329" y="340"/>
                    </a:lnTo>
                    <a:lnTo>
                      <a:pt x="330" y="340"/>
                    </a:lnTo>
                    <a:lnTo>
                      <a:pt x="331" y="339"/>
                    </a:lnTo>
                    <a:lnTo>
                      <a:pt x="332" y="339"/>
                    </a:lnTo>
                    <a:close/>
                    <a:moveTo>
                      <a:pt x="622" y="499"/>
                    </a:moveTo>
                    <a:lnTo>
                      <a:pt x="621" y="499"/>
                    </a:lnTo>
                    <a:lnTo>
                      <a:pt x="622" y="499"/>
                    </a:lnTo>
                    <a:lnTo>
                      <a:pt x="623" y="498"/>
                    </a:lnTo>
                    <a:lnTo>
                      <a:pt x="625" y="498"/>
                    </a:lnTo>
                    <a:lnTo>
                      <a:pt x="625" y="496"/>
                    </a:lnTo>
                    <a:lnTo>
                      <a:pt x="625" y="495"/>
                    </a:lnTo>
                    <a:lnTo>
                      <a:pt x="626" y="495"/>
                    </a:lnTo>
                    <a:lnTo>
                      <a:pt x="627" y="495"/>
                    </a:lnTo>
                    <a:lnTo>
                      <a:pt x="627" y="494"/>
                    </a:lnTo>
                    <a:lnTo>
                      <a:pt x="627" y="493"/>
                    </a:lnTo>
                    <a:lnTo>
                      <a:pt x="626" y="493"/>
                    </a:lnTo>
                    <a:lnTo>
                      <a:pt x="626" y="492"/>
                    </a:lnTo>
                    <a:lnTo>
                      <a:pt x="627" y="492"/>
                    </a:lnTo>
                    <a:lnTo>
                      <a:pt x="628" y="495"/>
                    </a:lnTo>
                    <a:lnTo>
                      <a:pt x="628" y="496"/>
                    </a:lnTo>
                    <a:lnTo>
                      <a:pt x="627" y="498"/>
                    </a:lnTo>
                    <a:lnTo>
                      <a:pt x="625" y="498"/>
                    </a:lnTo>
                    <a:lnTo>
                      <a:pt x="625" y="499"/>
                    </a:lnTo>
                    <a:lnTo>
                      <a:pt x="622" y="499"/>
                    </a:lnTo>
                    <a:close/>
                    <a:moveTo>
                      <a:pt x="404" y="683"/>
                    </a:moveTo>
                    <a:lnTo>
                      <a:pt x="403" y="683"/>
                    </a:lnTo>
                    <a:lnTo>
                      <a:pt x="403" y="684"/>
                    </a:lnTo>
                    <a:lnTo>
                      <a:pt x="402" y="685"/>
                    </a:lnTo>
                    <a:lnTo>
                      <a:pt x="402" y="684"/>
                    </a:lnTo>
                    <a:lnTo>
                      <a:pt x="401" y="684"/>
                    </a:lnTo>
                    <a:lnTo>
                      <a:pt x="401" y="683"/>
                    </a:lnTo>
                    <a:lnTo>
                      <a:pt x="402" y="683"/>
                    </a:lnTo>
                    <a:lnTo>
                      <a:pt x="402" y="682"/>
                    </a:lnTo>
                    <a:lnTo>
                      <a:pt x="403" y="682"/>
                    </a:lnTo>
                    <a:lnTo>
                      <a:pt x="403" y="681"/>
                    </a:lnTo>
                    <a:lnTo>
                      <a:pt x="403" y="680"/>
                    </a:lnTo>
                    <a:lnTo>
                      <a:pt x="404" y="680"/>
                    </a:lnTo>
                    <a:lnTo>
                      <a:pt x="404" y="679"/>
                    </a:lnTo>
                    <a:lnTo>
                      <a:pt x="404" y="680"/>
                    </a:lnTo>
                    <a:lnTo>
                      <a:pt x="406" y="680"/>
                    </a:lnTo>
                    <a:lnTo>
                      <a:pt x="406" y="681"/>
                    </a:lnTo>
                    <a:lnTo>
                      <a:pt x="406" y="682"/>
                    </a:lnTo>
                    <a:lnTo>
                      <a:pt x="404" y="683"/>
                    </a:lnTo>
                    <a:close/>
                    <a:moveTo>
                      <a:pt x="349" y="455"/>
                    </a:moveTo>
                    <a:lnTo>
                      <a:pt x="350" y="455"/>
                    </a:lnTo>
                    <a:lnTo>
                      <a:pt x="350" y="454"/>
                    </a:lnTo>
                    <a:lnTo>
                      <a:pt x="351" y="454"/>
                    </a:lnTo>
                    <a:lnTo>
                      <a:pt x="351" y="455"/>
                    </a:lnTo>
                    <a:lnTo>
                      <a:pt x="352" y="455"/>
                    </a:lnTo>
                    <a:lnTo>
                      <a:pt x="352" y="456"/>
                    </a:lnTo>
                    <a:lnTo>
                      <a:pt x="351" y="456"/>
                    </a:lnTo>
                    <a:lnTo>
                      <a:pt x="350" y="456"/>
                    </a:lnTo>
                    <a:lnTo>
                      <a:pt x="350" y="457"/>
                    </a:lnTo>
                    <a:lnTo>
                      <a:pt x="349" y="457"/>
                    </a:lnTo>
                    <a:lnTo>
                      <a:pt x="347" y="457"/>
                    </a:lnTo>
                    <a:lnTo>
                      <a:pt x="346" y="457"/>
                    </a:lnTo>
                    <a:lnTo>
                      <a:pt x="346" y="456"/>
                    </a:lnTo>
                    <a:lnTo>
                      <a:pt x="346" y="457"/>
                    </a:lnTo>
                    <a:lnTo>
                      <a:pt x="347" y="457"/>
                    </a:lnTo>
                    <a:lnTo>
                      <a:pt x="347" y="456"/>
                    </a:lnTo>
                    <a:lnTo>
                      <a:pt x="348" y="457"/>
                    </a:lnTo>
                    <a:lnTo>
                      <a:pt x="348" y="456"/>
                    </a:lnTo>
                    <a:lnTo>
                      <a:pt x="348" y="455"/>
                    </a:lnTo>
                    <a:lnTo>
                      <a:pt x="348" y="454"/>
                    </a:lnTo>
                    <a:lnTo>
                      <a:pt x="349" y="454"/>
                    </a:lnTo>
                    <a:lnTo>
                      <a:pt x="349" y="455"/>
                    </a:lnTo>
                    <a:close/>
                    <a:moveTo>
                      <a:pt x="414" y="364"/>
                    </a:moveTo>
                    <a:lnTo>
                      <a:pt x="414" y="365"/>
                    </a:lnTo>
                    <a:lnTo>
                      <a:pt x="414" y="366"/>
                    </a:lnTo>
                    <a:lnTo>
                      <a:pt x="413" y="367"/>
                    </a:lnTo>
                    <a:lnTo>
                      <a:pt x="412" y="367"/>
                    </a:lnTo>
                    <a:lnTo>
                      <a:pt x="413" y="366"/>
                    </a:lnTo>
                    <a:lnTo>
                      <a:pt x="413" y="365"/>
                    </a:lnTo>
                    <a:lnTo>
                      <a:pt x="412" y="365"/>
                    </a:lnTo>
                    <a:lnTo>
                      <a:pt x="412" y="366"/>
                    </a:lnTo>
                    <a:lnTo>
                      <a:pt x="412" y="365"/>
                    </a:lnTo>
                    <a:lnTo>
                      <a:pt x="411" y="365"/>
                    </a:lnTo>
                    <a:lnTo>
                      <a:pt x="410" y="365"/>
                    </a:lnTo>
                    <a:lnTo>
                      <a:pt x="410" y="366"/>
                    </a:lnTo>
                    <a:lnTo>
                      <a:pt x="410" y="365"/>
                    </a:lnTo>
                    <a:lnTo>
                      <a:pt x="409" y="365"/>
                    </a:lnTo>
                    <a:lnTo>
                      <a:pt x="410" y="365"/>
                    </a:lnTo>
                    <a:lnTo>
                      <a:pt x="409" y="365"/>
                    </a:lnTo>
                    <a:lnTo>
                      <a:pt x="409" y="364"/>
                    </a:lnTo>
                    <a:lnTo>
                      <a:pt x="410" y="364"/>
                    </a:lnTo>
                    <a:lnTo>
                      <a:pt x="409" y="364"/>
                    </a:lnTo>
                    <a:lnTo>
                      <a:pt x="410" y="364"/>
                    </a:lnTo>
                    <a:lnTo>
                      <a:pt x="409" y="364"/>
                    </a:lnTo>
                    <a:lnTo>
                      <a:pt x="410" y="364"/>
                    </a:lnTo>
                    <a:lnTo>
                      <a:pt x="411" y="364"/>
                    </a:lnTo>
                    <a:lnTo>
                      <a:pt x="410" y="364"/>
                    </a:lnTo>
                    <a:lnTo>
                      <a:pt x="411" y="364"/>
                    </a:lnTo>
                    <a:lnTo>
                      <a:pt x="411" y="363"/>
                    </a:lnTo>
                    <a:lnTo>
                      <a:pt x="412" y="363"/>
                    </a:lnTo>
                    <a:lnTo>
                      <a:pt x="412" y="364"/>
                    </a:lnTo>
                    <a:lnTo>
                      <a:pt x="413" y="364"/>
                    </a:lnTo>
                    <a:lnTo>
                      <a:pt x="414" y="363"/>
                    </a:lnTo>
                    <a:lnTo>
                      <a:pt x="414" y="364"/>
                    </a:lnTo>
                    <a:close/>
                    <a:moveTo>
                      <a:pt x="191" y="415"/>
                    </a:moveTo>
                    <a:lnTo>
                      <a:pt x="192" y="415"/>
                    </a:lnTo>
                    <a:lnTo>
                      <a:pt x="192" y="416"/>
                    </a:lnTo>
                    <a:lnTo>
                      <a:pt x="192" y="417"/>
                    </a:lnTo>
                    <a:lnTo>
                      <a:pt x="192" y="416"/>
                    </a:lnTo>
                    <a:lnTo>
                      <a:pt x="191" y="416"/>
                    </a:lnTo>
                    <a:lnTo>
                      <a:pt x="191" y="417"/>
                    </a:lnTo>
                    <a:lnTo>
                      <a:pt x="190" y="417"/>
                    </a:lnTo>
                    <a:lnTo>
                      <a:pt x="189" y="417"/>
                    </a:lnTo>
                    <a:lnTo>
                      <a:pt x="190" y="417"/>
                    </a:lnTo>
                    <a:lnTo>
                      <a:pt x="191" y="417"/>
                    </a:lnTo>
                    <a:lnTo>
                      <a:pt x="192" y="417"/>
                    </a:lnTo>
                    <a:lnTo>
                      <a:pt x="192" y="418"/>
                    </a:lnTo>
                    <a:lnTo>
                      <a:pt x="190" y="418"/>
                    </a:lnTo>
                    <a:lnTo>
                      <a:pt x="190" y="417"/>
                    </a:lnTo>
                    <a:lnTo>
                      <a:pt x="189" y="418"/>
                    </a:lnTo>
                    <a:lnTo>
                      <a:pt x="189" y="417"/>
                    </a:lnTo>
                    <a:lnTo>
                      <a:pt x="188" y="417"/>
                    </a:lnTo>
                    <a:lnTo>
                      <a:pt x="187" y="417"/>
                    </a:lnTo>
                    <a:lnTo>
                      <a:pt x="188" y="416"/>
                    </a:lnTo>
                    <a:lnTo>
                      <a:pt x="189" y="416"/>
                    </a:lnTo>
                    <a:lnTo>
                      <a:pt x="190" y="415"/>
                    </a:lnTo>
                    <a:lnTo>
                      <a:pt x="191" y="415"/>
                    </a:lnTo>
                    <a:close/>
                    <a:moveTo>
                      <a:pt x="247" y="418"/>
                    </a:moveTo>
                    <a:lnTo>
                      <a:pt x="248" y="420"/>
                    </a:lnTo>
                    <a:lnTo>
                      <a:pt x="247" y="421"/>
                    </a:lnTo>
                    <a:lnTo>
                      <a:pt x="247" y="422"/>
                    </a:lnTo>
                    <a:lnTo>
                      <a:pt x="246" y="422"/>
                    </a:lnTo>
                    <a:lnTo>
                      <a:pt x="246" y="423"/>
                    </a:lnTo>
                    <a:lnTo>
                      <a:pt x="245" y="423"/>
                    </a:lnTo>
                    <a:lnTo>
                      <a:pt x="245" y="424"/>
                    </a:lnTo>
                    <a:lnTo>
                      <a:pt x="245" y="425"/>
                    </a:lnTo>
                    <a:lnTo>
                      <a:pt x="244" y="426"/>
                    </a:lnTo>
                    <a:lnTo>
                      <a:pt x="243" y="426"/>
                    </a:lnTo>
                    <a:lnTo>
                      <a:pt x="244" y="424"/>
                    </a:lnTo>
                    <a:lnTo>
                      <a:pt x="244" y="423"/>
                    </a:lnTo>
                    <a:lnTo>
                      <a:pt x="245" y="423"/>
                    </a:lnTo>
                    <a:lnTo>
                      <a:pt x="245" y="422"/>
                    </a:lnTo>
                    <a:lnTo>
                      <a:pt x="246" y="421"/>
                    </a:lnTo>
                    <a:lnTo>
                      <a:pt x="246" y="420"/>
                    </a:lnTo>
                    <a:lnTo>
                      <a:pt x="246" y="418"/>
                    </a:lnTo>
                    <a:lnTo>
                      <a:pt x="247" y="418"/>
                    </a:lnTo>
                    <a:close/>
                    <a:moveTo>
                      <a:pt x="563" y="547"/>
                    </a:moveTo>
                    <a:lnTo>
                      <a:pt x="563" y="549"/>
                    </a:lnTo>
                    <a:lnTo>
                      <a:pt x="562" y="549"/>
                    </a:lnTo>
                    <a:lnTo>
                      <a:pt x="563" y="549"/>
                    </a:lnTo>
                    <a:lnTo>
                      <a:pt x="564" y="549"/>
                    </a:lnTo>
                    <a:lnTo>
                      <a:pt x="564" y="550"/>
                    </a:lnTo>
                    <a:lnTo>
                      <a:pt x="563" y="550"/>
                    </a:lnTo>
                    <a:lnTo>
                      <a:pt x="562" y="551"/>
                    </a:lnTo>
                    <a:lnTo>
                      <a:pt x="561" y="551"/>
                    </a:lnTo>
                    <a:lnTo>
                      <a:pt x="561" y="552"/>
                    </a:lnTo>
                    <a:lnTo>
                      <a:pt x="560" y="552"/>
                    </a:lnTo>
                    <a:lnTo>
                      <a:pt x="558" y="552"/>
                    </a:lnTo>
                    <a:lnTo>
                      <a:pt x="557" y="552"/>
                    </a:lnTo>
                    <a:lnTo>
                      <a:pt x="556" y="552"/>
                    </a:lnTo>
                    <a:lnTo>
                      <a:pt x="557" y="552"/>
                    </a:lnTo>
                    <a:lnTo>
                      <a:pt x="558" y="552"/>
                    </a:lnTo>
                    <a:lnTo>
                      <a:pt x="558" y="551"/>
                    </a:lnTo>
                    <a:lnTo>
                      <a:pt x="560" y="551"/>
                    </a:lnTo>
                    <a:lnTo>
                      <a:pt x="561" y="550"/>
                    </a:lnTo>
                    <a:lnTo>
                      <a:pt x="562" y="549"/>
                    </a:lnTo>
                    <a:lnTo>
                      <a:pt x="562" y="547"/>
                    </a:lnTo>
                    <a:lnTo>
                      <a:pt x="563" y="547"/>
                    </a:lnTo>
                    <a:lnTo>
                      <a:pt x="564" y="547"/>
                    </a:lnTo>
                    <a:lnTo>
                      <a:pt x="563" y="547"/>
                    </a:lnTo>
                    <a:close/>
                    <a:moveTo>
                      <a:pt x="446" y="640"/>
                    </a:moveTo>
                    <a:lnTo>
                      <a:pt x="446" y="641"/>
                    </a:lnTo>
                    <a:lnTo>
                      <a:pt x="445" y="641"/>
                    </a:lnTo>
                    <a:lnTo>
                      <a:pt x="445" y="642"/>
                    </a:lnTo>
                    <a:lnTo>
                      <a:pt x="444" y="642"/>
                    </a:lnTo>
                    <a:lnTo>
                      <a:pt x="444" y="643"/>
                    </a:lnTo>
                    <a:lnTo>
                      <a:pt x="441" y="646"/>
                    </a:lnTo>
                    <a:lnTo>
                      <a:pt x="440" y="646"/>
                    </a:lnTo>
                    <a:lnTo>
                      <a:pt x="439" y="646"/>
                    </a:lnTo>
                    <a:lnTo>
                      <a:pt x="439" y="645"/>
                    </a:lnTo>
                    <a:lnTo>
                      <a:pt x="440" y="645"/>
                    </a:lnTo>
                    <a:lnTo>
                      <a:pt x="440" y="644"/>
                    </a:lnTo>
                    <a:lnTo>
                      <a:pt x="441" y="644"/>
                    </a:lnTo>
                    <a:lnTo>
                      <a:pt x="441" y="643"/>
                    </a:lnTo>
                    <a:lnTo>
                      <a:pt x="441" y="644"/>
                    </a:lnTo>
                    <a:lnTo>
                      <a:pt x="442" y="644"/>
                    </a:lnTo>
                    <a:lnTo>
                      <a:pt x="442" y="643"/>
                    </a:lnTo>
                    <a:lnTo>
                      <a:pt x="442" y="644"/>
                    </a:lnTo>
                    <a:lnTo>
                      <a:pt x="442" y="643"/>
                    </a:lnTo>
                    <a:lnTo>
                      <a:pt x="444" y="643"/>
                    </a:lnTo>
                    <a:lnTo>
                      <a:pt x="444" y="642"/>
                    </a:lnTo>
                    <a:lnTo>
                      <a:pt x="444" y="641"/>
                    </a:lnTo>
                    <a:lnTo>
                      <a:pt x="445" y="641"/>
                    </a:lnTo>
                    <a:lnTo>
                      <a:pt x="445" y="640"/>
                    </a:lnTo>
                    <a:lnTo>
                      <a:pt x="444" y="640"/>
                    </a:lnTo>
                    <a:lnTo>
                      <a:pt x="444" y="641"/>
                    </a:lnTo>
                    <a:lnTo>
                      <a:pt x="442" y="642"/>
                    </a:lnTo>
                    <a:lnTo>
                      <a:pt x="442" y="643"/>
                    </a:lnTo>
                    <a:lnTo>
                      <a:pt x="441" y="643"/>
                    </a:lnTo>
                    <a:lnTo>
                      <a:pt x="441" y="642"/>
                    </a:lnTo>
                    <a:lnTo>
                      <a:pt x="442" y="641"/>
                    </a:lnTo>
                    <a:lnTo>
                      <a:pt x="444" y="641"/>
                    </a:lnTo>
                    <a:lnTo>
                      <a:pt x="445" y="640"/>
                    </a:lnTo>
                    <a:lnTo>
                      <a:pt x="445" y="641"/>
                    </a:lnTo>
                    <a:lnTo>
                      <a:pt x="445" y="642"/>
                    </a:lnTo>
                    <a:lnTo>
                      <a:pt x="445" y="641"/>
                    </a:lnTo>
                    <a:lnTo>
                      <a:pt x="445" y="640"/>
                    </a:lnTo>
                    <a:lnTo>
                      <a:pt x="445" y="639"/>
                    </a:lnTo>
                    <a:lnTo>
                      <a:pt x="446" y="639"/>
                    </a:lnTo>
                    <a:lnTo>
                      <a:pt x="446" y="640"/>
                    </a:lnTo>
                    <a:close/>
                    <a:moveTo>
                      <a:pt x="400" y="513"/>
                    </a:moveTo>
                    <a:lnTo>
                      <a:pt x="401" y="513"/>
                    </a:lnTo>
                    <a:lnTo>
                      <a:pt x="402" y="513"/>
                    </a:lnTo>
                    <a:lnTo>
                      <a:pt x="401" y="514"/>
                    </a:lnTo>
                    <a:lnTo>
                      <a:pt x="401" y="515"/>
                    </a:lnTo>
                    <a:lnTo>
                      <a:pt x="401" y="516"/>
                    </a:lnTo>
                    <a:lnTo>
                      <a:pt x="401" y="517"/>
                    </a:lnTo>
                    <a:lnTo>
                      <a:pt x="400" y="517"/>
                    </a:lnTo>
                    <a:lnTo>
                      <a:pt x="399" y="517"/>
                    </a:lnTo>
                    <a:lnTo>
                      <a:pt x="399" y="516"/>
                    </a:lnTo>
                    <a:lnTo>
                      <a:pt x="400" y="516"/>
                    </a:lnTo>
                    <a:lnTo>
                      <a:pt x="401" y="515"/>
                    </a:lnTo>
                    <a:lnTo>
                      <a:pt x="400" y="515"/>
                    </a:lnTo>
                    <a:lnTo>
                      <a:pt x="400" y="514"/>
                    </a:lnTo>
                    <a:lnTo>
                      <a:pt x="399" y="514"/>
                    </a:lnTo>
                    <a:lnTo>
                      <a:pt x="399" y="513"/>
                    </a:lnTo>
                    <a:lnTo>
                      <a:pt x="399" y="512"/>
                    </a:lnTo>
                    <a:lnTo>
                      <a:pt x="400" y="513"/>
                    </a:lnTo>
                    <a:close/>
                    <a:moveTo>
                      <a:pt x="247" y="395"/>
                    </a:moveTo>
                    <a:lnTo>
                      <a:pt x="246" y="395"/>
                    </a:lnTo>
                    <a:lnTo>
                      <a:pt x="246" y="396"/>
                    </a:lnTo>
                    <a:lnTo>
                      <a:pt x="246" y="397"/>
                    </a:lnTo>
                    <a:lnTo>
                      <a:pt x="245" y="397"/>
                    </a:lnTo>
                    <a:lnTo>
                      <a:pt x="244" y="397"/>
                    </a:lnTo>
                    <a:lnTo>
                      <a:pt x="243" y="397"/>
                    </a:lnTo>
                    <a:lnTo>
                      <a:pt x="242" y="397"/>
                    </a:lnTo>
                    <a:lnTo>
                      <a:pt x="243" y="397"/>
                    </a:lnTo>
                    <a:lnTo>
                      <a:pt x="243" y="396"/>
                    </a:lnTo>
                    <a:lnTo>
                      <a:pt x="244" y="396"/>
                    </a:lnTo>
                    <a:lnTo>
                      <a:pt x="245" y="396"/>
                    </a:lnTo>
                    <a:lnTo>
                      <a:pt x="245" y="395"/>
                    </a:lnTo>
                    <a:lnTo>
                      <a:pt x="244" y="395"/>
                    </a:lnTo>
                    <a:lnTo>
                      <a:pt x="243" y="395"/>
                    </a:lnTo>
                    <a:lnTo>
                      <a:pt x="244" y="395"/>
                    </a:lnTo>
                    <a:lnTo>
                      <a:pt x="245" y="395"/>
                    </a:lnTo>
                    <a:lnTo>
                      <a:pt x="245" y="393"/>
                    </a:lnTo>
                    <a:lnTo>
                      <a:pt x="243" y="392"/>
                    </a:lnTo>
                    <a:lnTo>
                      <a:pt x="247" y="393"/>
                    </a:lnTo>
                    <a:lnTo>
                      <a:pt x="247" y="395"/>
                    </a:lnTo>
                    <a:close/>
                    <a:moveTo>
                      <a:pt x="192" y="405"/>
                    </a:moveTo>
                    <a:lnTo>
                      <a:pt x="192" y="406"/>
                    </a:lnTo>
                    <a:lnTo>
                      <a:pt x="192" y="410"/>
                    </a:lnTo>
                    <a:lnTo>
                      <a:pt x="191" y="410"/>
                    </a:lnTo>
                    <a:lnTo>
                      <a:pt x="191" y="411"/>
                    </a:lnTo>
                    <a:lnTo>
                      <a:pt x="191" y="412"/>
                    </a:lnTo>
                    <a:lnTo>
                      <a:pt x="190" y="411"/>
                    </a:lnTo>
                    <a:lnTo>
                      <a:pt x="189" y="411"/>
                    </a:lnTo>
                    <a:lnTo>
                      <a:pt x="188" y="411"/>
                    </a:lnTo>
                    <a:lnTo>
                      <a:pt x="189" y="411"/>
                    </a:lnTo>
                    <a:lnTo>
                      <a:pt x="189" y="410"/>
                    </a:lnTo>
                    <a:lnTo>
                      <a:pt x="190" y="410"/>
                    </a:lnTo>
                    <a:lnTo>
                      <a:pt x="190" y="409"/>
                    </a:lnTo>
                    <a:lnTo>
                      <a:pt x="191" y="408"/>
                    </a:lnTo>
                    <a:lnTo>
                      <a:pt x="190" y="406"/>
                    </a:lnTo>
                    <a:lnTo>
                      <a:pt x="191" y="406"/>
                    </a:lnTo>
                    <a:lnTo>
                      <a:pt x="190" y="406"/>
                    </a:lnTo>
                    <a:lnTo>
                      <a:pt x="191" y="406"/>
                    </a:lnTo>
                    <a:lnTo>
                      <a:pt x="191" y="405"/>
                    </a:lnTo>
                    <a:lnTo>
                      <a:pt x="192" y="405"/>
                    </a:lnTo>
                    <a:close/>
                    <a:moveTo>
                      <a:pt x="502" y="586"/>
                    </a:moveTo>
                    <a:lnTo>
                      <a:pt x="501" y="586"/>
                    </a:lnTo>
                    <a:lnTo>
                      <a:pt x="500" y="586"/>
                    </a:lnTo>
                    <a:lnTo>
                      <a:pt x="500" y="588"/>
                    </a:lnTo>
                    <a:lnTo>
                      <a:pt x="500" y="589"/>
                    </a:lnTo>
                    <a:lnTo>
                      <a:pt x="500" y="590"/>
                    </a:lnTo>
                    <a:lnTo>
                      <a:pt x="500" y="591"/>
                    </a:lnTo>
                    <a:lnTo>
                      <a:pt x="499" y="591"/>
                    </a:lnTo>
                    <a:lnTo>
                      <a:pt x="500" y="591"/>
                    </a:lnTo>
                    <a:lnTo>
                      <a:pt x="500" y="592"/>
                    </a:lnTo>
                    <a:lnTo>
                      <a:pt x="499" y="592"/>
                    </a:lnTo>
                    <a:lnTo>
                      <a:pt x="499" y="591"/>
                    </a:lnTo>
                    <a:lnTo>
                      <a:pt x="498" y="591"/>
                    </a:lnTo>
                    <a:lnTo>
                      <a:pt x="498" y="590"/>
                    </a:lnTo>
                    <a:lnTo>
                      <a:pt x="497" y="588"/>
                    </a:lnTo>
                    <a:lnTo>
                      <a:pt x="498" y="588"/>
                    </a:lnTo>
                    <a:lnTo>
                      <a:pt x="499" y="586"/>
                    </a:lnTo>
                    <a:lnTo>
                      <a:pt x="500" y="586"/>
                    </a:lnTo>
                    <a:lnTo>
                      <a:pt x="501" y="586"/>
                    </a:lnTo>
                    <a:lnTo>
                      <a:pt x="502" y="586"/>
                    </a:lnTo>
                    <a:close/>
                    <a:moveTo>
                      <a:pt x="487" y="505"/>
                    </a:moveTo>
                    <a:lnTo>
                      <a:pt x="486" y="504"/>
                    </a:lnTo>
                    <a:lnTo>
                      <a:pt x="486" y="503"/>
                    </a:lnTo>
                    <a:lnTo>
                      <a:pt x="485" y="502"/>
                    </a:lnTo>
                    <a:lnTo>
                      <a:pt x="485" y="501"/>
                    </a:lnTo>
                    <a:lnTo>
                      <a:pt x="484" y="500"/>
                    </a:lnTo>
                    <a:lnTo>
                      <a:pt x="485" y="499"/>
                    </a:lnTo>
                    <a:lnTo>
                      <a:pt x="486" y="500"/>
                    </a:lnTo>
                    <a:lnTo>
                      <a:pt x="486" y="501"/>
                    </a:lnTo>
                    <a:lnTo>
                      <a:pt x="487" y="502"/>
                    </a:lnTo>
                    <a:lnTo>
                      <a:pt x="488" y="503"/>
                    </a:lnTo>
                    <a:lnTo>
                      <a:pt x="488" y="504"/>
                    </a:lnTo>
                    <a:lnTo>
                      <a:pt x="487" y="505"/>
                    </a:lnTo>
                    <a:close/>
                    <a:moveTo>
                      <a:pt x="543" y="398"/>
                    </a:moveTo>
                    <a:lnTo>
                      <a:pt x="544" y="399"/>
                    </a:lnTo>
                    <a:lnTo>
                      <a:pt x="545" y="399"/>
                    </a:lnTo>
                    <a:lnTo>
                      <a:pt x="545" y="398"/>
                    </a:lnTo>
                    <a:lnTo>
                      <a:pt x="545" y="399"/>
                    </a:lnTo>
                    <a:lnTo>
                      <a:pt x="545" y="400"/>
                    </a:lnTo>
                    <a:lnTo>
                      <a:pt x="545" y="401"/>
                    </a:lnTo>
                    <a:lnTo>
                      <a:pt x="544" y="401"/>
                    </a:lnTo>
                    <a:lnTo>
                      <a:pt x="543" y="403"/>
                    </a:lnTo>
                    <a:lnTo>
                      <a:pt x="542" y="403"/>
                    </a:lnTo>
                    <a:lnTo>
                      <a:pt x="542" y="402"/>
                    </a:lnTo>
                    <a:lnTo>
                      <a:pt x="543" y="401"/>
                    </a:lnTo>
                    <a:lnTo>
                      <a:pt x="543" y="402"/>
                    </a:lnTo>
                    <a:lnTo>
                      <a:pt x="543" y="401"/>
                    </a:lnTo>
                    <a:lnTo>
                      <a:pt x="544" y="401"/>
                    </a:lnTo>
                    <a:lnTo>
                      <a:pt x="544" y="400"/>
                    </a:lnTo>
                    <a:lnTo>
                      <a:pt x="543" y="400"/>
                    </a:lnTo>
                    <a:lnTo>
                      <a:pt x="543" y="399"/>
                    </a:lnTo>
                    <a:lnTo>
                      <a:pt x="543" y="400"/>
                    </a:lnTo>
                    <a:lnTo>
                      <a:pt x="542" y="400"/>
                    </a:lnTo>
                    <a:lnTo>
                      <a:pt x="542" y="399"/>
                    </a:lnTo>
                    <a:lnTo>
                      <a:pt x="542" y="398"/>
                    </a:lnTo>
                    <a:lnTo>
                      <a:pt x="543" y="398"/>
                    </a:lnTo>
                    <a:close/>
                    <a:moveTo>
                      <a:pt x="284" y="206"/>
                    </a:moveTo>
                    <a:lnTo>
                      <a:pt x="285" y="206"/>
                    </a:lnTo>
                    <a:lnTo>
                      <a:pt x="286" y="207"/>
                    </a:lnTo>
                    <a:lnTo>
                      <a:pt x="286" y="206"/>
                    </a:lnTo>
                    <a:lnTo>
                      <a:pt x="286" y="207"/>
                    </a:lnTo>
                    <a:lnTo>
                      <a:pt x="287" y="207"/>
                    </a:lnTo>
                    <a:lnTo>
                      <a:pt x="289" y="207"/>
                    </a:lnTo>
                    <a:lnTo>
                      <a:pt x="287" y="207"/>
                    </a:lnTo>
                    <a:lnTo>
                      <a:pt x="286" y="207"/>
                    </a:lnTo>
                    <a:lnTo>
                      <a:pt x="285" y="207"/>
                    </a:lnTo>
                    <a:lnTo>
                      <a:pt x="284" y="207"/>
                    </a:lnTo>
                    <a:lnTo>
                      <a:pt x="283" y="207"/>
                    </a:lnTo>
                    <a:lnTo>
                      <a:pt x="283" y="208"/>
                    </a:lnTo>
                    <a:lnTo>
                      <a:pt x="282" y="209"/>
                    </a:lnTo>
                    <a:lnTo>
                      <a:pt x="281" y="209"/>
                    </a:lnTo>
                    <a:lnTo>
                      <a:pt x="281" y="210"/>
                    </a:lnTo>
                    <a:lnTo>
                      <a:pt x="281" y="209"/>
                    </a:lnTo>
                    <a:lnTo>
                      <a:pt x="281" y="210"/>
                    </a:lnTo>
                    <a:lnTo>
                      <a:pt x="280" y="210"/>
                    </a:lnTo>
                    <a:lnTo>
                      <a:pt x="280" y="209"/>
                    </a:lnTo>
                    <a:lnTo>
                      <a:pt x="281" y="209"/>
                    </a:lnTo>
                    <a:lnTo>
                      <a:pt x="281" y="208"/>
                    </a:lnTo>
                    <a:lnTo>
                      <a:pt x="282" y="208"/>
                    </a:lnTo>
                    <a:lnTo>
                      <a:pt x="282" y="209"/>
                    </a:lnTo>
                    <a:lnTo>
                      <a:pt x="282" y="208"/>
                    </a:lnTo>
                    <a:lnTo>
                      <a:pt x="283" y="208"/>
                    </a:lnTo>
                    <a:lnTo>
                      <a:pt x="282" y="208"/>
                    </a:lnTo>
                    <a:lnTo>
                      <a:pt x="282" y="207"/>
                    </a:lnTo>
                    <a:lnTo>
                      <a:pt x="283" y="207"/>
                    </a:lnTo>
                    <a:lnTo>
                      <a:pt x="282" y="207"/>
                    </a:lnTo>
                    <a:lnTo>
                      <a:pt x="282" y="206"/>
                    </a:lnTo>
                    <a:lnTo>
                      <a:pt x="282" y="207"/>
                    </a:lnTo>
                    <a:lnTo>
                      <a:pt x="281" y="207"/>
                    </a:lnTo>
                    <a:lnTo>
                      <a:pt x="281" y="206"/>
                    </a:lnTo>
                    <a:lnTo>
                      <a:pt x="282" y="206"/>
                    </a:lnTo>
                    <a:lnTo>
                      <a:pt x="283" y="205"/>
                    </a:lnTo>
                    <a:lnTo>
                      <a:pt x="283" y="206"/>
                    </a:lnTo>
                    <a:lnTo>
                      <a:pt x="284" y="206"/>
                    </a:lnTo>
                    <a:close/>
                    <a:moveTo>
                      <a:pt x="557" y="517"/>
                    </a:moveTo>
                    <a:lnTo>
                      <a:pt x="557" y="518"/>
                    </a:lnTo>
                    <a:lnTo>
                      <a:pt x="557" y="519"/>
                    </a:lnTo>
                    <a:lnTo>
                      <a:pt x="556" y="519"/>
                    </a:lnTo>
                    <a:lnTo>
                      <a:pt x="555" y="519"/>
                    </a:lnTo>
                    <a:lnTo>
                      <a:pt x="555" y="518"/>
                    </a:lnTo>
                    <a:lnTo>
                      <a:pt x="555" y="519"/>
                    </a:lnTo>
                    <a:lnTo>
                      <a:pt x="554" y="519"/>
                    </a:lnTo>
                    <a:lnTo>
                      <a:pt x="553" y="519"/>
                    </a:lnTo>
                    <a:lnTo>
                      <a:pt x="553" y="518"/>
                    </a:lnTo>
                    <a:lnTo>
                      <a:pt x="552" y="518"/>
                    </a:lnTo>
                    <a:lnTo>
                      <a:pt x="553" y="518"/>
                    </a:lnTo>
                    <a:lnTo>
                      <a:pt x="553" y="517"/>
                    </a:lnTo>
                    <a:lnTo>
                      <a:pt x="554" y="517"/>
                    </a:lnTo>
                    <a:lnTo>
                      <a:pt x="555" y="517"/>
                    </a:lnTo>
                    <a:lnTo>
                      <a:pt x="556" y="516"/>
                    </a:lnTo>
                    <a:lnTo>
                      <a:pt x="556" y="517"/>
                    </a:lnTo>
                    <a:lnTo>
                      <a:pt x="557" y="517"/>
                    </a:lnTo>
                    <a:close/>
                    <a:moveTo>
                      <a:pt x="571" y="547"/>
                    </a:moveTo>
                    <a:lnTo>
                      <a:pt x="570" y="547"/>
                    </a:lnTo>
                    <a:lnTo>
                      <a:pt x="570" y="549"/>
                    </a:lnTo>
                    <a:lnTo>
                      <a:pt x="569" y="549"/>
                    </a:lnTo>
                    <a:lnTo>
                      <a:pt x="568" y="549"/>
                    </a:lnTo>
                    <a:lnTo>
                      <a:pt x="567" y="549"/>
                    </a:lnTo>
                    <a:lnTo>
                      <a:pt x="567" y="547"/>
                    </a:lnTo>
                    <a:lnTo>
                      <a:pt x="567" y="546"/>
                    </a:lnTo>
                    <a:lnTo>
                      <a:pt x="568" y="546"/>
                    </a:lnTo>
                    <a:lnTo>
                      <a:pt x="569" y="546"/>
                    </a:lnTo>
                    <a:lnTo>
                      <a:pt x="570" y="546"/>
                    </a:lnTo>
                    <a:lnTo>
                      <a:pt x="571" y="546"/>
                    </a:lnTo>
                    <a:lnTo>
                      <a:pt x="571" y="547"/>
                    </a:lnTo>
                    <a:close/>
                    <a:moveTo>
                      <a:pt x="503" y="552"/>
                    </a:moveTo>
                    <a:lnTo>
                      <a:pt x="503" y="553"/>
                    </a:lnTo>
                    <a:lnTo>
                      <a:pt x="503" y="552"/>
                    </a:lnTo>
                    <a:lnTo>
                      <a:pt x="504" y="552"/>
                    </a:lnTo>
                    <a:lnTo>
                      <a:pt x="504" y="553"/>
                    </a:lnTo>
                    <a:lnTo>
                      <a:pt x="505" y="553"/>
                    </a:lnTo>
                    <a:lnTo>
                      <a:pt x="506" y="553"/>
                    </a:lnTo>
                    <a:lnTo>
                      <a:pt x="505" y="554"/>
                    </a:lnTo>
                    <a:lnTo>
                      <a:pt x="505" y="555"/>
                    </a:lnTo>
                    <a:lnTo>
                      <a:pt x="504" y="555"/>
                    </a:lnTo>
                    <a:lnTo>
                      <a:pt x="504" y="554"/>
                    </a:lnTo>
                    <a:lnTo>
                      <a:pt x="504" y="555"/>
                    </a:lnTo>
                    <a:lnTo>
                      <a:pt x="503" y="554"/>
                    </a:lnTo>
                    <a:lnTo>
                      <a:pt x="503" y="553"/>
                    </a:lnTo>
                    <a:lnTo>
                      <a:pt x="503" y="554"/>
                    </a:lnTo>
                    <a:lnTo>
                      <a:pt x="503" y="553"/>
                    </a:lnTo>
                    <a:lnTo>
                      <a:pt x="502" y="553"/>
                    </a:lnTo>
                    <a:lnTo>
                      <a:pt x="502" y="554"/>
                    </a:lnTo>
                    <a:lnTo>
                      <a:pt x="503" y="554"/>
                    </a:lnTo>
                    <a:lnTo>
                      <a:pt x="503" y="555"/>
                    </a:lnTo>
                    <a:lnTo>
                      <a:pt x="502" y="556"/>
                    </a:lnTo>
                    <a:lnTo>
                      <a:pt x="502" y="555"/>
                    </a:lnTo>
                    <a:lnTo>
                      <a:pt x="502" y="554"/>
                    </a:lnTo>
                    <a:lnTo>
                      <a:pt x="502" y="555"/>
                    </a:lnTo>
                    <a:lnTo>
                      <a:pt x="502" y="554"/>
                    </a:lnTo>
                    <a:lnTo>
                      <a:pt x="501" y="554"/>
                    </a:lnTo>
                    <a:lnTo>
                      <a:pt x="501" y="553"/>
                    </a:lnTo>
                    <a:lnTo>
                      <a:pt x="502" y="553"/>
                    </a:lnTo>
                    <a:lnTo>
                      <a:pt x="502" y="552"/>
                    </a:lnTo>
                    <a:lnTo>
                      <a:pt x="501" y="553"/>
                    </a:lnTo>
                    <a:lnTo>
                      <a:pt x="501" y="552"/>
                    </a:lnTo>
                    <a:lnTo>
                      <a:pt x="502" y="552"/>
                    </a:lnTo>
                    <a:lnTo>
                      <a:pt x="503" y="552"/>
                    </a:lnTo>
                    <a:close/>
                    <a:moveTo>
                      <a:pt x="294" y="393"/>
                    </a:moveTo>
                    <a:lnTo>
                      <a:pt x="294" y="395"/>
                    </a:lnTo>
                    <a:lnTo>
                      <a:pt x="295" y="395"/>
                    </a:lnTo>
                    <a:lnTo>
                      <a:pt x="295" y="396"/>
                    </a:lnTo>
                    <a:lnTo>
                      <a:pt x="294" y="396"/>
                    </a:lnTo>
                    <a:lnTo>
                      <a:pt x="294" y="397"/>
                    </a:lnTo>
                    <a:lnTo>
                      <a:pt x="294" y="398"/>
                    </a:lnTo>
                    <a:lnTo>
                      <a:pt x="294" y="399"/>
                    </a:lnTo>
                    <a:lnTo>
                      <a:pt x="294" y="400"/>
                    </a:lnTo>
                    <a:lnTo>
                      <a:pt x="294" y="401"/>
                    </a:lnTo>
                    <a:lnTo>
                      <a:pt x="293" y="402"/>
                    </a:lnTo>
                    <a:lnTo>
                      <a:pt x="293" y="403"/>
                    </a:lnTo>
                    <a:lnTo>
                      <a:pt x="292" y="403"/>
                    </a:lnTo>
                    <a:lnTo>
                      <a:pt x="291" y="403"/>
                    </a:lnTo>
                    <a:lnTo>
                      <a:pt x="292" y="402"/>
                    </a:lnTo>
                    <a:lnTo>
                      <a:pt x="293" y="401"/>
                    </a:lnTo>
                    <a:lnTo>
                      <a:pt x="293" y="400"/>
                    </a:lnTo>
                    <a:lnTo>
                      <a:pt x="294" y="400"/>
                    </a:lnTo>
                    <a:lnTo>
                      <a:pt x="294" y="399"/>
                    </a:lnTo>
                    <a:lnTo>
                      <a:pt x="294" y="398"/>
                    </a:lnTo>
                    <a:lnTo>
                      <a:pt x="294" y="397"/>
                    </a:lnTo>
                    <a:lnTo>
                      <a:pt x="294" y="396"/>
                    </a:lnTo>
                    <a:lnTo>
                      <a:pt x="293" y="395"/>
                    </a:lnTo>
                    <a:lnTo>
                      <a:pt x="293" y="393"/>
                    </a:lnTo>
                    <a:lnTo>
                      <a:pt x="294" y="393"/>
                    </a:lnTo>
                    <a:lnTo>
                      <a:pt x="294" y="392"/>
                    </a:lnTo>
                    <a:lnTo>
                      <a:pt x="293" y="392"/>
                    </a:lnTo>
                    <a:lnTo>
                      <a:pt x="294" y="392"/>
                    </a:lnTo>
                    <a:lnTo>
                      <a:pt x="294" y="393"/>
                    </a:lnTo>
                    <a:close/>
                    <a:moveTo>
                      <a:pt x="304" y="230"/>
                    </a:moveTo>
                    <a:lnTo>
                      <a:pt x="305" y="230"/>
                    </a:lnTo>
                    <a:lnTo>
                      <a:pt x="306" y="230"/>
                    </a:lnTo>
                    <a:lnTo>
                      <a:pt x="307" y="230"/>
                    </a:lnTo>
                    <a:lnTo>
                      <a:pt x="307" y="231"/>
                    </a:lnTo>
                    <a:lnTo>
                      <a:pt x="308" y="231"/>
                    </a:lnTo>
                    <a:lnTo>
                      <a:pt x="308" y="232"/>
                    </a:lnTo>
                    <a:lnTo>
                      <a:pt x="309" y="232"/>
                    </a:lnTo>
                    <a:lnTo>
                      <a:pt x="310" y="232"/>
                    </a:lnTo>
                    <a:lnTo>
                      <a:pt x="309" y="232"/>
                    </a:lnTo>
                    <a:lnTo>
                      <a:pt x="309" y="233"/>
                    </a:lnTo>
                    <a:lnTo>
                      <a:pt x="308" y="233"/>
                    </a:lnTo>
                    <a:lnTo>
                      <a:pt x="308" y="232"/>
                    </a:lnTo>
                    <a:lnTo>
                      <a:pt x="307" y="232"/>
                    </a:lnTo>
                    <a:lnTo>
                      <a:pt x="307" y="233"/>
                    </a:lnTo>
                    <a:lnTo>
                      <a:pt x="306" y="233"/>
                    </a:lnTo>
                    <a:lnTo>
                      <a:pt x="306" y="232"/>
                    </a:lnTo>
                    <a:lnTo>
                      <a:pt x="306" y="233"/>
                    </a:lnTo>
                    <a:lnTo>
                      <a:pt x="306" y="232"/>
                    </a:lnTo>
                    <a:lnTo>
                      <a:pt x="306" y="231"/>
                    </a:lnTo>
                    <a:lnTo>
                      <a:pt x="306" y="230"/>
                    </a:lnTo>
                    <a:lnTo>
                      <a:pt x="305" y="231"/>
                    </a:lnTo>
                    <a:lnTo>
                      <a:pt x="305" y="230"/>
                    </a:lnTo>
                    <a:lnTo>
                      <a:pt x="304" y="230"/>
                    </a:lnTo>
                    <a:lnTo>
                      <a:pt x="304" y="231"/>
                    </a:lnTo>
                    <a:lnTo>
                      <a:pt x="303" y="231"/>
                    </a:lnTo>
                    <a:lnTo>
                      <a:pt x="303" y="230"/>
                    </a:lnTo>
                    <a:lnTo>
                      <a:pt x="302" y="230"/>
                    </a:lnTo>
                    <a:lnTo>
                      <a:pt x="303" y="230"/>
                    </a:lnTo>
                    <a:lnTo>
                      <a:pt x="304" y="230"/>
                    </a:lnTo>
                    <a:close/>
                    <a:moveTo>
                      <a:pt x="266" y="244"/>
                    </a:moveTo>
                    <a:lnTo>
                      <a:pt x="267" y="244"/>
                    </a:lnTo>
                    <a:lnTo>
                      <a:pt x="266" y="244"/>
                    </a:lnTo>
                    <a:lnTo>
                      <a:pt x="266" y="245"/>
                    </a:lnTo>
                    <a:lnTo>
                      <a:pt x="267" y="246"/>
                    </a:lnTo>
                    <a:lnTo>
                      <a:pt x="266" y="247"/>
                    </a:lnTo>
                    <a:lnTo>
                      <a:pt x="264" y="247"/>
                    </a:lnTo>
                    <a:lnTo>
                      <a:pt x="264" y="246"/>
                    </a:lnTo>
                    <a:lnTo>
                      <a:pt x="264" y="245"/>
                    </a:lnTo>
                    <a:lnTo>
                      <a:pt x="262" y="245"/>
                    </a:lnTo>
                    <a:lnTo>
                      <a:pt x="264" y="245"/>
                    </a:lnTo>
                    <a:lnTo>
                      <a:pt x="264" y="244"/>
                    </a:lnTo>
                    <a:lnTo>
                      <a:pt x="265" y="244"/>
                    </a:lnTo>
                    <a:lnTo>
                      <a:pt x="266" y="244"/>
                    </a:lnTo>
                    <a:close/>
                    <a:moveTo>
                      <a:pt x="193" y="350"/>
                    </a:moveTo>
                    <a:lnTo>
                      <a:pt x="193" y="351"/>
                    </a:lnTo>
                    <a:lnTo>
                      <a:pt x="192" y="351"/>
                    </a:lnTo>
                    <a:lnTo>
                      <a:pt x="192" y="350"/>
                    </a:lnTo>
                    <a:lnTo>
                      <a:pt x="192" y="351"/>
                    </a:lnTo>
                    <a:lnTo>
                      <a:pt x="190" y="353"/>
                    </a:lnTo>
                    <a:lnTo>
                      <a:pt x="189" y="353"/>
                    </a:lnTo>
                    <a:lnTo>
                      <a:pt x="188" y="353"/>
                    </a:lnTo>
                    <a:lnTo>
                      <a:pt x="189" y="353"/>
                    </a:lnTo>
                    <a:lnTo>
                      <a:pt x="189" y="352"/>
                    </a:lnTo>
                    <a:lnTo>
                      <a:pt x="190" y="351"/>
                    </a:lnTo>
                    <a:lnTo>
                      <a:pt x="191" y="350"/>
                    </a:lnTo>
                    <a:lnTo>
                      <a:pt x="193" y="349"/>
                    </a:lnTo>
                    <a:lnTo>
                      <a:pt x="194" y="349"/>
                    </a:lnTo>
                    <a:lnTo>
                      <a:pt x="194" y="350"/>
                    </a:lnTo>
                    <a:lnTo>
                      <a:pt x="193" y="350"/>
                    </a:lnTo>
                    <a:close/>
                    <a:moveTo>
                      <a:pt x="448" y="524"/>
                    </a:moveTo>
                    <a:lnTo>
                      <a:pt x="447" y="524"/>
                    </a:lnTo>
                    <a:lnTo>
                      <a:pt x="447" y="523"/>
                    </a:lnTo>
                    <a:lnTo>
                      <a:pt x="447" y="521"/>
                    </a:lnTo>
                    <a:lnTo>
                      <a:pt x="447" y="520"/>
                    </a:lnTo>
                    <a:lnTo>
                      <a:pt x="447" y="519"/>
                    </a:lnTo>
                    <a:lnTo>
                      <a:pt x="448" y="519"/>
                    </a:lnTo>
                    <a:lnTo>
                      <a:pt x="448" y="518"/>
                    </a:lnTo>
                    <a:lnTo>
                      <a:pt x="448" y="517"/>
                    </a:lnTo>
                    <a:lnTo>
                      <a:pt x="448" y="516"/>
                    </a:lnTo>
                    <a:lnTo>
                      <a:pt x="449" y="516"/>
                    </a:lnTo>
                    <a:lnTo>
                      <a:pt x="450" y="517"/>
                    </a:lnTo>
                    <a:lnTo>
                      <a:pt x="449" y="517"/>
                    </a:lnTo>
                    <a:lnTo>
                      <a:pt x="449" y="518"/>
                    </a:lnTo>
                    <a:lnTo>
                      <a:pt x="449" y="519"/>
                    </a:lnTo>
                    <a:lnTo>
                      <a:pt x="448" y="519"/>
                    </a:lnTo>
                    <a:lnTo>
                      <a:pt x="448" y="520"/>
                    </a:lnTo>
                    <a:lnTo>
                      <a:pt x="448" y="521"/>
                    </a:lnTo>
                    <a:lnTo>
                      <a:pt x="448" y="523"/>
                    </a:lnTo>
                    <a:lnTo>
                      <a:pt x="448" y="524"/>
                    </a:lnTo>
                    <a:close/>
                    <a:moveTo>
                      <a:pt x="229" y="399"/>
                    </a:moveTo>
                    <a:lnTo>
                      <a:pt x="228" y="400"/>
                    </a:lnTo>
                    <a:lnTo>
                      <a:pt x="227" y="400"/>
                    </a:lnTo>
                    <a:lnTo>
                      <a:pt x="228" y="400"/>
                    </a:lnTo>
                    <a:lnTo>
                      <a:pt x="228" y="401"/>
                    </a:lnTo>
                    <a:lnTo>
                      <a:pt x="229" y="401"/>
                    </a:lnTo>
                    <a:lnTo>
                      <a:pt x="230" y="401"/>
                    </a:lnTo>
                    <a:lnTo>
                      <a:pt x="230" y="402"/>
                    </a:lnTo>
                    <a:lnTo>
                      <a:pt x="230" y="403"/>
                    </a:lnTo>
                    <a:lnTo>
                      <a:pt x="230" y="404"/>
                    </a:lnTo>
                    <a:lnTo>
                      <a:pt x="229" y="405"/>
                    </a:lnTo>
                    <a:lnTo>
                      <a:pt x="228" y="405"/>
                    </a:lnTo>
                    <a:lnTo>
                      <a:pt x="229" y="405"/>
                    </a:lnTo>
                    <a:lnTo>
                      <a:pt x="229" y="404"/>
                    </a:lnTo>
                    <a:lnTo>
                      <a:pt x="228" y="404"/>
                    </a:lnTo>
                    <a:lnTo>
                      <a:pt x="228" y="403"/>
                    </a:lnTo>
                    <a:lnTo>
                      <a:pt x="228" y="402"/>
                    </a:lnTo>
                    <a:lnTo>
                      <a:pt x="229" y="402"/>
                    </a:lnTo>
                    <a:lnTo>
                      <a:pt x="229" y="403"/>
                    </a:lnTo>
                    <a:lnTo>
                      <a:pt x="229" y="402"/>
                    </a:lnTo>
                    <a:lnTo>
                      <a:pt x="229" y="401"/>
                    </a:lnTo>
                    <a:lnTo>
                      <a:pt x="228" y="401"/>
                    </a:lnTo>
                    <a:lnTo>
                      <a:pt x="228" y="402"/>
                    </a:lnTo>
                    <a:lnTo>
                      <a:pt x="228" y="401"/>
                    </a:lnTo>
                    <a:lnTo>
                      <a:pt x="227" y="401"/>
                    </a:lnTo>
                    <a:lnTo>
                      <a:pt x="227" y="400"/>
                    </a:lnTo>
                    <a:lnTo>
                      <a:pt x="227" y="399"/>
                    </a:lnTo>
                    <a:lnTo>
                      <a:pt x="226" y="399"/>
                    </a:lnTo>
                    <a:lnTo>
                      <a:pt x="227" y="399"/>
                    </a:lnTo>
                    <a:lnTo>
                      <a:pt x="228" y="399"/>
                    </a:lnTo>
                    <a:lnTo>
                      <a:pt x="229" y="399"/>
                    </a:lnTo>
                    <a:close/>
                    <a:moveTo>
                      <a:pt x="272" y="215"/>
                    </a:moveTo>
                    <a:lnTo>
                      <a:pt x="273" y="215"/>
                    </a:lnTo>
                    <a:lnTo>
                      <a:pt x="273" y="216"/>
                    </a:lnTo>
                    <a:lnTo>
                      <a:pt x="273" y="217"/>
                    </a:lnTo>
                    <a:lnTo>
                      <a:pt x="273" y="218"/>
                    </a:lnTo>
                    <a:lnTo>
                      <a:pt x="273" y="217"/>
                    </a:lnTo>
                    <a:lnTo>
                      <a:pt x="272" y="217"/>
                    </a:lnTo>
                    <a:lnTo>
                      <a:pt x="271" y="217"/>
                    </a:lnTo>
                    <a:lnTo>
                      <a:pt x="271" y="218"/>
                    </a:lnTo>
                    <a:lnTo>
                      <a:pt x="270" y="218"/>
                    </a:lnTo>
                    <a:lnTo>
                      <a:pt x="269" y="218"/>
                    </a:lnTo>
                    <a:lnTo>
                      <a:pt x="268" y="218"/>
                    </a:lnTo>
                    <a:lnTo>
                      <a:pt x="268" y="217"/>
                    </a:lnTo>
                    <a:lnTo>
                      <a:pt x="269" y="217"/>
                    </a:lnTo>
                    <a:lnTo>
                      <a:pt x="270" y="216"/>
                    </a:lnTo>
                    <a:lnTo>
                      <a:pt x="271" y="215"/>
                    </a:lnTo>
                    <a:lnTo>
                      <a:pt x="272" y="215"/>
                    </a:lnTo>
                    <a:close/>
                    <a:moveTo>
                      <a:pt x="210" y="404"/>
                    </a:moveTo>
                    <a:lnTo>
                      <a:pt x="212" y="404"/>
                    </a:lnTo>
                    <a:lnTo>
                      <a:pt x="210" y="405"/>
                    </a:lnTo>
                    <a:lnTo>
                      <a:pt x="212" y="405"/>
                    </a:lnTo>
                    <a:lnTo>
                      <a:pt x="213" y="405"/>
                    </a:lnTo>
                    <a:lnTo>
                      <a:pt x="213" y="404"/>
                    </a:lnTo>
                    <a:lnTo>
                      <a:pt x="213" y="405"/>
                    </a:lnTo>
                    <a:lnTo>
                      <a:pt x="214" y="405"/>
                    </a:lnTo>
                    <a:lnTo>
                      <a:pt x="215" y="405"/>
                    </a:lnTo>
                    <a:lnTo>
                      <a:pt x="215" y="406"/>
                    </a:lnTo>
                    <a:lnTo>
                      <a:pt x="214" y="406"/>
                    </a:lnTo>
                    <a:lnTo>
                      <a:pt x="213" y="406"/>
                    </a:lnTo>
                    <a:lnTo>
                      <a:pt x="212" y="406"/>
                    </a:lnTo>
                    <a:lnTo>
                      <a:pt x="210" y="406"/>
                    </a:lnTo>
                    <a:lnTo>
                      <a:pt x="209" y="406"/>
                    </a:lnTo>
                    <a:lnTo>
                      <a:pt x="210" y="406"/>
                    </a:lnTo>
                    <a:lnTo>
                      <a:pt x="209" y="405"/>
                    </a:lnTo>
                    <a:lnTo>
                      <a:pt x="210" y="404"/>
                    </a:lnTo>
                    <a:close/>
                    <a:moveTo>
                      <a:pt x="235" y="391"/>
                    </a:moveTo>
                    <a:lnTo>
                      <a:pt x="234" y="392"/>
                    </a:lnTo>
                    <a:lnTo>
                      <a:pt x="233" y="393"/>
                    </a:lnTo>
                    <a:lnTo>
                      <a:pt x="232" y="393"/>
                    </a:lnTo>
                    <a:lnTo>
                      <a:pt x="231" y="392"/>
                    </a:lnTo>
                    <a:lnTo>
                      <a:pt x="231" y="391"/>
                    </a:lnTo>
                    <a:lnTo>
                      <a:pt x="231" y="390"/>
                    </a:lnTo>
                    <a:lnTo>
                      <a:pt x="230" y="390"/>
                    </a:lnTo>
                    <a:lnTo>
                      <a:pt x="230" y="389"/>
                    </a:lnTo>
                    <a:lnTo>
                      <a:pt x="230" y="390"/>
                    </a:lnTo>
                    <a:lnTo>
                      <a:pt x="231" y="390"/>
                    </a:lnTo>
                    <a:lnTo>
                      <a:pt x="231" y="391"/>
                    </a:lnTo>
                    <a:lnTo>
                      <a:pt x="232" y="391"/>
                    </a:lnTo>
                    <a:lnTo>
                      <a:pt x="232" y="390"/>
                    </a:lnTo>
                    <a:lnTo>
                      <a:pt x="233" y="390"/>
                    </a:lnTo>
                    <a:lnTo>
                      <a:pt x="233" y="392"/>
                    </a:lnTo>
                    <a:lnTo>
                      <a:pt x="234" y="392"/>
                    </a:lnTo>
                    <a:lnTo>
                      <a:pt x="234" y="391"/>
                    </a:lnTo>
                    <a:lnTo>
                      <a:pt x="235" y="390"/>
                    </a:lnTo>
                    <a:lnTo>
                      <a:pt x="234" y="389"/>
                    </a:lnTo>
                    <a:lnTo>
                      <a:pt x="235" y="389"/>
                    </a:lnTo>
                    <a:lnTo>
                      <a:pt x="235" y="390"/>
                    </a:lnTo>
                    <a:lnTo>
                      <a:pt x="235" y="391"/>
                    </a:lnTo>
                    <a:close/>
                    <a:moveTo>
                      <a:pt x="189" y="413"/>
                    </a:moveTo>
                    <a:lnTo>
                      <a:pt x="190" y="414"/>
                    </a:lnTo>
                    <a:lnTo>
                      <a:pt x="190" y="415"/>
                    </a:lnTo>
                    <a:lnTo>
                      <a:pt x="189" y="415"/>
                    </a:lnTo>
                    <a:lnTo>
                      <a:pt x="189" y="416"/>
                    </a:lnTo>
                    <a:lnTo>
                      <a:pt x="188" y="416"/>
                    </a:lnTo>
                    <a:lnTo>
                      <a:pt x="187" y="416"/>
                    </a:lnTo>
                    <a:lnTo>
                      <a:pt x="187" y="417"/>
                    </a:lnTo>
                    <a:lnTo>
                      <a:pt x="186" y="417"/>
                    </a:lnTo>
                    <a:lnTo>
                      <a:pt x="183" y="416"/>
                    </a:lnTo>
                    <a:lnTo>
                      <a:pt x="183" y="415"/>
                    </a:lnTo>
                    <a:lnTo>
                      <a:pt x="182" y="415"/>
                    </a:lnTo>
                    <a:lnTo>
                      <a:pt x="181" y="415"/>
                    </a:lnTo>
                    <a:lnTo>
                      <a:pt x="180" y="414"/>
                    </a:lnTo>
                    <a:lnTo>
                      <a:pt x="181" y="414"/>
                    </a:lnTo>
                    <a:lnTo>
                      <a:pt x="182" y="415"/>
                    </a:lnTo>
                    <a:lnTo>
                      <a:pt x="183" y="415"/>
                    </a:lnTo>
                    <a:lnTo>
                      <a:pt x="183" y="416"/>
                    </a:lnTo>
                    <a:lnTo>
                      <a:pt x="184" y="416"/>
                    </a:lnTo>
                    <a:lnTo>
                      <a:pt x="184" y="415"/>
                    </a:lnTo>
                    <a:lnTo>
                      <a:pt x="184" y="416"/>
                    </a:lnTo>
                    <a:lnTo>
                      <a:pt x="186" y="416"/>
                    </a:lnTo>
                    <a:lnTo>
                      <a:pt x="184" y="416"/>
                    </a:lnTo>
                    <a:lnTo>
                      <a:pt x="186" y="416"/>
                    </a:lnTo>
                    <a:lnTo>
                      <a:pt x="187" y="416"/>
                    </a:lnTo>
                    <a:lnTo>
                      <a:pt x="188" y="416"/>
                    </a:lnTo>
                    <a:lnTo>
                      <a:pt x="188" y="415"/>
                    </a:lnTo>
                    <a:lnTo>
                      <a:pt x="188" y="414"/>
                    </a:lnTo>
                    <a:lnTo>
                      <a:pt x="188" y="413"/>
                    </a:lnTo>
                    <a:lnTo>
                      <a:pt x="189" y="413"/>
                    </a:lnTo>
                    <a:close/>
                    <a:moveTo>
                      <a:pt x="254" y="262"/>
                    </a:moveTo>
                    <a:lnTo>
                      <a:pt x="254" y="263"/>
                    </a:lnTo>
                    <a:lnTo>
                      <a:pt x="255" y="263"/>
                    </a:lnTo>
                    <a:lnTo>
                      <a:pt x="255" y="264"/>
                    </a:lnTo>
                    <a:lnTo>
                      <a:pt x="254" y="264"/>
                    </a:lnTo>
                    <a:lnTo>
                      <a:pt x="253" y="266"/>
                    </a:lnTo>
                    <a:lnTo>
                      <a:pt x="252" y="264"/>
                    </a:lnTo>
                    <a:lnTo>
                      <a:pt x="251" y="264"/>
                    </a:lnTo>
                    <a:lnTo>
                      <a:pt x="251" y="263"/>
                    </a:lnTo>
                    <a:lnTo>
                      <a:pt x="249" y="263"/>
                    </a:lnTo>
                    <a:lnTo>
                      <a:pt x="248" y="263"/>
                    </a:lnTo>
                    <a:lnTo>
                      <a:pt x="249" y="263"/>
                    </a:lnTo>
                    <a:lnTo>
                      <a:pt x="251" y="263"/>
                    </a:lnTo>
                    <a:lnTo>
                      <a:pt x="252" y="263"/>
                    </a:lnTo>
                    <a:lnTo>
                      <a:pt x="253" y="263"/>
                    </a:lnTo>
                    <a:lnTo>
                      <a:pt x="253" y="262"/>
                    </a:lnTo>
                    <a:lnTo>
                      <a:pt x="254" y="262"/>
                    </a:lnTo>
                    <a:lnTo>
                      <a:pt x="254" y="263"/>
                    </a:lnTo>
                    <a:lnTo>
                      <a:pt x="254" y="262"/>
                    </a:lnTo>
                    <a:close/>
                    <a:moveTo>
                      <a:pt x="156" y="344"/>
                    </a:moveTo>
                    <a:lnTo>
                      <a:pt x="157" y="344"/>
                    </a:lnTo>
                    <a:lnTo>
                      <a:pt x="156" y="344"/>
                    </a:lnTo>
                    <a:lnTo>
                      <a:pt x="157" y="345"/>
                    </a:lnTo>
                    <a:lnTo>
                      <a:pt x="157" y="344"/>
                    </a:lnTo>
                    <a:lnTo>
                      <a:pt x="158" y="344"/>
                    </a:lnTo>
                    <a:lnTo>
                      <a:pt x="160" y="344"/>
                    </a:lnTo>
                    <a:lnTo>
                      <a:pt x="160" y="345"/>
                    </a:lnTo>
                    <a:lnTo>
                      <a:pt x="158" y="345"/>
                    </a:lnTo>
                    <a:lnTo>
                      <a:pt x="157" y="345"/>
                    </a:lnTo>
                    <a:lnTo>
                      <a:pt x="156" y="345"/>
                    </a:lnTo>
                    <a:lnTo>
                      <a:pt x="155" y="345"/>
                    </a:lnTo>
                    <a:lnTo>
                      <a:pt x="155" y="344"/>
                    </a:lnTo>
                    <a:lnTo>
                      <a:pt x="155" y="343"/>
                    </a:lnTo>
                    <a:lnTo>
                      <a:pt x="156" y="343"/>
                    </a:lnTo>
                    <a:lnTo>
                      <a:pt x="156" y="341"/>
                    </a:lnTo>
                    <a:lnTo>
                      <a:pt x="156" y="343"/>
                    </a:lnTo>
                    <a:lnTo>
                      <a:pt x="156" y="344"/>
                    </a:lnTo>
                    <a:close/>
                    <a:moveTo>
                      <a:pt x="538" y="622"/>
                    </a:moveTo>
                    <a:lnTo>
                      <a:pt x="537" y="622"/>
                    </a:lnTo>
                    <a:lnTo>
                      <a:pt x="535" y="621"/>
                    </a:lnTo>
                    <a:lnTo>
                      <a:pt x="533" y="621"/>
                    </a:lnTo>
                    <a:lnTo>
                      <a:pt x="532" y="621"/>
                    </a:lnTo>
                    <a:lnTo>
                      <a:pt x="530" y="620"/>
                    </a:lnTo>
                    <a:lnTo>
                      <a:pt x="529" y="619"/>
                    </a:lnTo>
                    <a:lnTo>
                      <a:pt x="527" y="619"/>
                    </a:lnTo>
                    <a:lnTo>
                      <a:pt x="526" y="619"/>
                    </a:lnTo>
                    <a:lnTo>
                      <a:pt x="526" y="618"/>
                    </a:lnTo>
                    <a:lnTo>
                      <a:pt x="527" y="618"/>
                    </a:lnTo>
                    <a:lnTo>
                      <a:pt x="528" y="619"/>
                    </a:lnTo>
                    <a:lnTo>
                      <a:pt x="531" y="620"/>
                    </a:lnTo>
                    <a:lnTo>
                      <a:pt x="535" y="621"/>
                    </a:lnTo>
                    <a:lnTo>
                      <a:pt x="537" y="621"/>
                    </a:lnTo>
                    <a:lnTo>
                      <a:pt x="538" y="622"/>
                    </a:lnTo>
                    <a:close/>
                    <a:moveTo>
                      <a:pt x="475" y="607"/>
                    </a:moveTo>
                    <a:lnTo>
                      <a:pt x="473" y="604"/>
                    </a:lnTo>
                    <a:lnTo>
                      <a:pt x="474" y="603"/>
                    </a:lnTo>
                    <a:lnTo>
                      <a:pt x="475" y="603"/>
                    </a:lnTo>
                    <a:lnTo>
                      <a:pt x="476" y="604"/>
                    </a:lnTo>
                    <a:lnTo>
                      <a:pt x="476" y="605"/>
                    </a:lnTo>
                    <a:lnTo>
                      <a:pt x="476" y="606"/>
                    </a:lnTo>
                    <a:lnTo>
                      <a:pt x="475" y="606"/>
                    </a:lnTo>
                    <a:lnTo>
                      <a:pt x="475" y="607"/>
                    </a:lnTo>
                    <a:close/>
                    <a:moveTo>
                      <a:pt x="242" y="226"/>
                    </a:moveTo>
                    <a:lnTo>
                      <a:pt x="242" y="225"/>
                    </a:lnTo>
                    <a:lnTo>
                      <a:pt x="243" y="225"/>
                    </a:lnTo>
                    <a:lnTo>
                      <a:pt x="243" y="226"/>
                    </a:lnTo>
                    <a:lnTo>
                      <a:pt x="244" y="226"/>
                    </a:lnTo>
                    <a:lnTo>
                      <a:pt x="245" y="226"/>
                    </a:lnTo>
                    <a:lnTo>
                      <a:pt x="246" y="226"/>
                    </a:lnTo>
                    <a:lnTo>
                      <a:pt x="246" y="228"/>
                    </a:lnTo>
                    <a:lnTo>
                      <a:pt x="247" y="228"/>
                    </a:lnTo>
                    <a:lnTo>
                      <a:pt x="248" y="226"/>
                    </a:lnTo>
                    <a:lnTo>
                      <a:pt x="248" y="228"/>
                    </a:lnTo>
                    <a:lnTo>
                      <a:pt x="249" y="228"/>
                    </a:lnTo>
                    <a:lnTo>
                      <a:pt x="249" y="229"/>
                    </a:lnTo>
                    <a:lnTo>
                      <a:pt x="248" y="228"/>
                    </a:lnTo>
                    <a:lnTo>
                      <a:pt x="247" y="228"/>
                    </a:lnTo>
                    <a:lnTo>
                      <a:pt x="248" y="228"/>
                    </a:lnTo>
                    <a:lnTo>
                      <a:pt x="248" y="229"/>
                    </a:lnTo>
                    <a:lnTo>
                      <a:pt x="247" y="229"/>
                    </a:lnTo>
                    <a:lnTo>
                      <a:pt x="247" y="228"/>
                    </a:lnTo>
                    <a:lnTo>
                      <a:pt x="246" y="228"/>
                    </a:lnTo>
                    <a:lnTo>
                      <a:pt x="247" y="228"/>
                    </a:lnTo>
                    <a:lnTo>
                      <a:pt x="246" y="228"/>
                    </a:lnTo>
                    <a:lnTo>
                      <a:pt x="245" y="228"/>
                    </a:lnTo>
                    <a:lnTo>
                      <a:pt x="244" y="228"/>
                    </a:lnTo>
                    <a:lnTo>
                      <a:pt x="243" y="228"/>
                    </a:lnTo>
                    <a:lnTo>
                      <a:pt x="242" y="228"/>
                    </a:lnTo>
                    <a:lnTo>
                      <a:pt x="242" y="226"/>
                    </a:lnTo>
                    <a:lnTo>
                      <a:pt x="241" y="226"/>
                    </a:lnTo>
                    <a:lnTo>
                      <a:pt x="241" y="225"/>
                    </a:lnTo>
                    <a:lnTo>
                      <a:pt x="242" y="225"/>
                    </a:lnTo>
                    <a:lnTo>
                      <a:pt x="241" y="225"/>
                    </a:lnTo>
                    <a:lnTo>
                      <a:pt x="242" y="225"/>
                    </a:lnTo>
                    <a:lnTo>
                      <a:pt x="242" y="226"/>
                    </a:lnTo>
                    <a:close/>
                    <a:moveTo>
                      <a:pt x="213" y="393"/>
                    </a:moveTo>
                    <a:lnTo>
                      <a:pt x="213" y="395"/>
                    </a:lnTo>
                    <a:lnTo>
                      <a:pt x="213" y="393"/>
                    </a:lnTo>
                    <a:lnTo>
                      <a:pt x="212" y="393"/>
                    </a:lnTo>
                    <a:lnTo>
                      <a:pt x="212" y="392"/>
                    </a:lnTo>
                    <a:lnTo>
                      <a:pt x="210" y="391"/>
                    </a:lnTo>
                    <a:lnTo>
                      <a:pt x="210" y="390"/>
                    </a:lnTo>
                    <a:lnTo>
                      <a:pt x="210" y="389"/>
                    </a:lnTo>
                    <a:lnTo>
                      <a:pt x="212" y="389"/>
                    </a:lnTo>
                    <a:lnTo>
                      <a:pt x="213" y="389"/>
                    </a:lnTo>
                    <a:lnTo>
                      <a:pt x="213" y="390"/>
                    </a:lnTo>
                    <a:lnTo>
                      <a:pt x="213" y="392"/>
                    </a:lnTo>
                    <a:lnTo>
                      <a:pt x="213" y="393"/>
                    </a:lnTo>
                    <a:close/>
                    <a:moveTo>
                      <a:pt x="216" y="379"/>
                    </a:moveTo>
                    <a:lnTo>
                      <a:pt x="215" y="387"/>
                    </a:lnTo>
                    <a:lnTo>
                      <a:pt x="215" y="388"/>
                    </a:lnTo>
                    <a:lnTo>
                      <a:pt x="214" y="388"/>
                    </a:lnTo>
                    <a:lnTo>
                      <a:pt x="214" y="387"/>
                    </a:lnTo>
                    <a:lnTo>
                      <a:pt x="215" y="380"/>
                    </a:lnTo>
                    <a:lnTo>
                      <a:pt x="216" y="380"/>
                    </a:lnTo>
                    <a:lnTo>
                      <a:pt x="216" y="379"/>
                    </a:lnTo>
                    <a:close/>
                    <a:moveTo>
                      <a:pt x="525" y="618"/>
                    </a:moveTo>
                    <a:lnTo>
                      <a:pt x="525" y="619"/>
                    </a:lnTo>
                    <a:lnTo>
                      <a:pt x="525" y="618"/>
                    </a:lnTo>
                    <a:lnTo>
                      <a:pt x="524" y="618"/>
                    </a:lnTo>
                    <a:lnTo>
                      <a:pt x="523" y="617"/>
                    </a:lnTo>
                    <a:lnTo>
                      <a:pt x="523" y="616"/>
                    </a:lnTo>
                    <a:lnTo>
                      <a:pt x="523" y="615"/>
                    </a:lnTo>
                    <a:lnTo>
                      <a:pt x="524" y="615"/>
                    </a:lnTo>
                    <a:lnTo>
                      <a:pt x="525" y="615"/>
                    </a:lnTo>
                    <a:lnTo>
                      <a:pt x="525" y="616"/>
                    </a:lnTo>
                    <a:lnTo>
                      <a:pt x="525" y="617"/>
                    </a:lnTo>
                    <a:lnTo>
                      <a:pt x="525" y="618"/>
                    </a:lnTo>
                    <a:close/>
                    <a:moveTo>
                      <a:pt x="234" y="216"/>
                    </a:moveTo>
                    <a:lnTo>
                      <a:pt x="234" y="217"/>
                    </a:lnTo>
                    <a:lnTo>
                      <a:pt x="233" y="217"/>
                    </a:lnTo>
                    <a:lnTo>
                      <a:pt x="234" y="217"/>
                    </a:lnTo>
                    <a:lnTo>
                      <a:pt x="235" y="217"/>
                    </a:lnTo>
                    <a:lnTo>
                      <a:pt x="236" y="217"/>
                    </a:lnTo>
                    <a:lnTo>
                      <a:pt x="236" y="218"/>
                    </a:lnTo>
                    <a:lnTo>
                      <a:pt x="236" y="219"/>
                    </a:lnTo>
                    <a:lnTo>
                      <a:pt x="235" y="218"/>
                    </a:lnTo>
                    <a:lnTo>
                      <a:pt x="234" y="218"/>
                    </a:lnTo>
                    <a:lnTo>
                      <a:pt x="233" y="218"/>
                    </a:lnTo>
                    <a:lnTo>
                      <a:pt x="232" y="218"/>
                    </a:lnTo>
                    <a:lnTo>
                      <a:pt x="231" y="218"/>
                    </a:lnTo>
                    <a:lnTo>
                      <a:pt x="232" y="217"/>
                    </a:lnTo>
                    <a:lnTo>
                      <a:pt x="232" y="218"/>
                    </a:lnTo>
                    <a:lnTo>
                      <a:pt x="232" y="217"/>
                    </a:lnTo>
                    <a:lnTo>
                      <a:pt x="232" y="216"/>
                    </a:lnTo>
                    <a:lnTo>
                      <a:pt x="232" y="217"/>
                    </a:lnTo>
                    <a:lnTo>
                      <a:pt x="232" y="216"/>
                    </a:lnTo>
                    <a:lnTo>
                      <a:pt x="233" y="216"/>
                    </a:lnTo>
                    <a:lnTo>
                      <a:pt x="234" y="216"/>
                    </a:lnTo>
                    <a:close/>
                    <a:moveTo>
                      <a:pt x="300" y="383"/>
                    </a:moveTo>
                    <a:lnTo>
                      <a:pt x="300" y="384"/>
                    </a:lnTo>
                    <a:lnTo>
                      <a:pt x="300" y="385"/>
                    </a:lnTo>
                    <a:lnTo>
                      <a:pt x="302" y="385"/>
                    </a:lnTo>
                    <a:lnTo>
                      <a:pt x="300" y="385"/>
                    </a:lnTo>
                    <a:lnTo>
                      <a:pt x="300" y="386"/>
                    </a:lnTo>
                    <a:lnTo>
                      <a:pt x="300" y="387"/>
                    </a:lnTo>
                    <a:lnTo>
                      <a:pt x="300" y="386"/>
                    </a:lnTo>
                    <a:lnTo>
                      <a:pt x="299" y="386"/>
                    </a:lnTo>
                    <a:lnTo>
                      <a:pt x="299" y="387"/>
                    </a:lnTo>
                    <a:lnTo>
                      <a:pt x="299" y="386"/>
                    </a:lnTo>
                    <a:lnTo>
                      <a:pt x="298" y="386"/>
                    </a:lnTo>
                    <a:lnTo>
                      <a:pt x="299" y="386"/>
                    </a:lnTo>
                    <a:lnTo>
                      <a:pt x="299" y="385"/>
                    </a:lnTo>
                    <a:lnTo>
                      <a:pt x="298" y="385"/>
                    </a:lnTo>
                    <a:lnTo>
                      <a:pt x="298" y="384"/>
                    </a:lnTo>
                    <a:lnTo>
                      <a:pt x="299" y="384"/>
                    </a:lnTo>
                    <a:lnTo>
                      <a:pt x="300" y="384"/>
                    </a:lnTo>
                    <a:lnTo>
                      <a:pt x="300" y="383"/>
                    </a:lnTo>
                    <a:lnTo>
                      <a:pt x="299" y="383"/>
                    </a:lnTo>
                    <a:lnTo>
                      <a:pt x="300" y="382"/>
                    </a:lnTo>
                    <a:lnTo>
                      <a:pt x="302" y="382"/>
                    </a:lnTo>
                    <a:lnTo>
                      <a:pt x="302" y="383"/>
                    </a:lnTo>
                    <a:lnTo>
                      <a:pt x="300" y="383"/>
                    </a:lnTo>
                    <a:close/>
                    <a:moveTo>
                      <a:pt x="235" y="223"/>
                    </a:moveTo>
                    <a:lnTo>
                      <a:pt x="235" y="224"/>
                    </a:lnTo>
                    <a:lnTo>
                      <a:pt x="235" y="223"/>
                    </a:lnTo>
                    <a:lnTo>
                      <a:pt x="235" y="224"/>
                    </a:lnTo>
                    <a:lnTo>
                      <a:pt x="236" y="224"/>
                    </a:lnTo>
                    <a:lnTo>
                      <a:pt x="236" y="225"/>
                    </a:lnTo>
                    <a:lnTo>
                      <a:pt x="238" y="224"/>
                    </a:lnTo>
                    <a:lnTo>
                      <a:pt x="238" y="225"/>
                    </a:lnTo>
                    <a:lnTo>
                      <a:pt x="238" y="226"/>
                    </a:lnTo>
                    <a:lnTo>
                      <a:pt x="236" y="225"/>
                    </a:lnTo>
                    <a:lnTo>
                      <a:pt x="235" y="225"/>
                    </a:lnTo>
                    <a:lnTo>
                      <a:pt x="235" y="224"/>
                    </a:lnTo>
                    <a:lnTo>
                      <a:pt x="234" y="224"/>
                    </a:lnTo>
                    <a:lnTo>
                      <a:pt x="235" y="224"/>
                    </a:lnTo>
                    <a:lnTo>
                      <a:pt x="235" y="225"/>
                    </a:lnTo>
                    <a:lnTo>
                      <a:pt x="234" y="225"/>
                    </a:lnTo>
                    <a:lnTo>
                      <a:pt x="233" y="225"/>
                    </a:lnTo>
                    <a:lnTo>
                      <a:pt x="233" y="224"/>
                    </a:lnTo>
                    <a:lnTo>
                      <a:pt x="233" y="223"/>
                    </a:lnTo>
                    <a:lnTo>
                      <a:pt x="234" y="223"/>
                    </a:lnTo>
                    <a:lnTo>
                      <a:pt x="234" y="222"/>
                    </a:lnTo>
                    <a:lnTo>
                      <a:pt x="234" y="221"/>
                    </a:lnTo>
                    <a:lnTo>
                      <a:pt x="235" y="221"/>
                    </a:lnTo>
                    <a:lnTo>
                      <a:pt x="236" y="222"/>
                    </a:lnTo>
                    <a:lnTo>
                      <a:pt x="235" y="222"/>
                    </a:lnTo>
                    <a:lnTo>
                      <a:pt x="235" y="223"/>
                    </a:lnTo>
                    <a:close/>
                    <a:moveTo>
                      <a:pt x="273" y="213"/>
                    </a:moveTo>
                    <a:lnTo>
                      <a:pt x="274" y="213"/>
                    </a:lnTo>
                    <a:lnTo>
                      <a:pt x="276" y="213"/>
                    </a:lnTo>
                    <a:lnTo>
                      <a:pt x="277" y="213"/>
                    </a:lnTo>
                    <a:lnTo>
                      <a:pt x="278" y="213"/>
                    </a:lnTo>
                    <a:lnTo>
                      <a:pt x="279" y="213"/>
                    </a:lnTo>
                    <a:lnTo>
                      <a:pt x="279" y="215"/>
                    </a:lnTo>
                    <a:lnTo>
                      <a:pt x="280" y="215"/>
                    </a:lnTo>
                    <a:lnTo>
                      <a:pt x="281" y="215"/>
                    </a:lnTo>
                    <a:lnTo>
                      <a:pt x="280" y="216"/>
                    </a:lnTo>
                    <a:lnTo>
                      <a:pt x="279" y="215"/>
                    </a:lnTo>
                    <a:lnTo>
                      <a:pt x="278" y="215"/>
                    </a:lnTo>
                    <a:lnTo>
                      <a:pt x="277" y="215"/>
                    </a:lnTo>
                    <a:lnTo>
                      <a:pt x="276" y="213"/>
                    </a:lnTo>
                    <a:lnTo>
                      <a:pt x="274" y="213"/>
                    </a:lnTo>
                    <a:lnTo>
                      <a:pt x="273" y="213"/>
                    </a:lnTo>
                    <a:lnTo>
                      <a:pt x="272" y="213"/>
                    </a:lnTo>
                    <a:lnTo>
                      <a:pt x="272" y="215"/>
                    </a:lnTo>
                    <a:lnTo>
                      <a:pt x="272" y="213"/>
                    </a:lnTo>
                    <a:lnTo>
                      <a:pt x="272" y="212"/>
                    </a:lnTo>
                    <a:lnTo>
                      <a:pt x="273" y="213"/>
                    </a:lnTo>
                    <a:close/>
                    <a:moveTo>
                      <a:pt x="168" y="348"/>
                    </a:moveTo>
                    <a:lnTo>
                      <a:pt x="168" y="349"/>
                    </a:lnTo>
                    <a:lnTo>
                      <a:pt x="167" y="350"/>
                    </a:lnTo>
                    <a:lnTo>
                      <a:pt x="167" y="349"/>
                    </a:lnTo>
                    <a:lnTo>
                      <a:pt x="166" y="349"/>
                    </a:lnTo>
                    <a:lnTo>
                      <a:pt x="166" y="350"/>
                    </a:lnTo>
                    <a:lnTo>
                      <a:pt x="166" y="351"/>
                    </a:lnTo>
                    <a:lnTo>
                      <a:pt x="165" y="351"/>
                    </a:lnTo>
                    <a:lnTo>
                      <a:pt x="164" y="351"/>
                    </a:lnTo>
                    <a:lnTo>
                      <a:pt x="164" y="350"/>
                    </a:lnTo>
                    <a:lnTo>
                      <a:pt x="165" y="350"/>
                    </a:lnTo>
                    <a:lnTo>
                      <a:pt x="166" y="349"/>
                    </a:lnTo>
                    <a:lnTo>
                      <a:pt x="166" y="348"/>
                    </a:lnTo>
                    <a:lnTo>
                      <a:pt x="167" y="348"/>
                    </a:lnTo>
                    <a:lnTo>
                      <a:pt x="167" y="347"/>
                    </a:lnTo>
                    <a:lnTo>
                      <a:pt x="168" y="347"/>
                    </a:lnTo>
                    <a:lnTo>
                      <a:pt x="168" y="348"/>
                    </a:lnTo>
                    <a:close/>
                    <a:moveTo>
                      <a:pt x="176" y="406"/>
                    </a:moveTo>
                    <a:lnTo>
                      <a:pt x="176" y="408"/>
                    </a:lnTo>
                    <a:lnTo>
                      <a:pt x="175" y="408"/>
                    </a:lnTo>
                    <a:lnTo>
                      <a:pt x="174" y="408"/>
                    </a:lnTo>
                    <a:lnTo>
                      <a:pt x="174" y="409"/>
                    </a:lnTo>
                    <a:lnTo>
                      <a:pt x="173" y="409"/>
                    </a:lnTo>
                    <a:lnTo>
                      <a:pt x="171" y="409"/>
                    </a:lnTo>
                    <a:lnTo>
                      <a:pt x="171" y="410"/>
                    </a:lnTo>
                    <a:lnTo>
                      <a:pt x="170" y="410"/>
                    </a:lnTo>
                    <a:lnTo>
                      <a:pt x="171" y="410"/>
                    </a:lnTo>
                    <a:lnTo>
                      <a:pt x="173" y="410"/>
                    </a:lnTo>
                    <a:lnTo>
                      <a:pt x="168" y="410"/>
                    </a:lnTo>
                    <a:lnTo>
                      <a:pt x="169" y="410"/>
                    </a:lnTo>
                    <a:lnTo>
                      <a:pt x="169" y="409"/>
                    </a:lnTo>
                    <a:lnTo>
                      <a:pt x="169" y="410"/>
                    </a:lnTo>
                    <a:lnTo>
                      <a:pt x="170" y="409"/>
                    </a:lnTo>
                    <a:lnTo>
                      <a:pt x="170" y="410"/>
                    </a:lnTo>
                    <a:lnTo>
                      <a:pt x="170" y="409"/>
                    </a:lnTo>
                    <a:lnTo>
                      <a:pt x="171" y="409"/>
                    </a:lnTo>
                    <a:lnTo>
                      <a:pt x="171" y="408"/>
                    </a:lnTo>
                    <a:lnTo>
                      <a:pt x="173" y="408"/>
                    </a:lnTo>
                    <a:lnTo>
                      <a:pt x="173" y="409"/>
                    </a:lnTo>
                    <a:lnTo>
                      <a:pt x="174" y="408"/>
                    </a:lnTo>
                    <a:lnTo>
                      <a:pt x="173" y="408"/>
                    </a:lnTo>
                    <a:lnTo>
                      <a:pt x="174" y="408"/>
                    </a:lnTo>
                    <a:lnTo>
                      <a:pt x="173" y="408"/>
                    </a:lnTo>
                    <a:lnTo>
                      <a:pt x="170" y="409"/>
                    </a:lnTo>
                    <a:lnTo>
                      <a:pt x="170" y="408"/>
                    </a:lnTo>
                    <a:lnTo>
                      <a:pt x="173" y="408"/>
                    </a:lnTo>
                    <a:lnTo>
                      <a:pt x="175" y="406"/>
                    </a:lnTo>
                    <a:lnTo>
                      <a:pt x="176" y="406"/>
                    </a:lnTo>
                    <a:close/>
                    <a:moveTo>
                      <a:pt x="556" y="537"/>
                    </a:moveTo>
                    <a:lnTo>
                      <a:pt x="556" y="538"/>
                    </a:lnTo>
                    <a:lnTo>
                      <a:pt x="555" y="538"/>
                    </a:lnTo>
                    <a:lnTo>
                      <a:pt x="555" y="539"/>
                    </a:lnTo>
                    <a:lnTo>
                      <a:pt x="556" y="538"/>
                    </a:lnTo>
                    <a:lnTo>
                      <a:pt x="556" y="539"/>
                    </a:lnTo>
                    <a:lnTo>
                      <a:pt x="556" y="540"/>
                    </a:lnTo>
                    <a:lnTo>
                      <a:pt x="555" y="539"/>
                    </a:lnTo>
                    <a:lnTo>
                      <a:pt x="554" y="539"/>
                    </a:lnTo>
                    <a:lnTo>
                      <a:pt x="554" y="538"/>
                    </a:lnTo>
                    <a:lnTo>
                      <a:pt x="555" y="538"/>
                    </a:lnTo>
                    <a:lnTo>
                      <a:pt x="555" y="537"/>
                    </a:lnTo>
                    <a:lnTo>
                      <a:pt x="554" y="537"/>
                    </a:lnTo>
                    <a:lnTo>
                      <a:pt x="554" y="536"/>
                    </a:lnTo>
                    <a:lnTo>
                      <a:pt x="553" y="536"/>
                    </a:lnTo>
                    <a:lnTo>
                      <a:pt x="554" y="534"/>
                    </a:lnTo>
                    <a:lnTo>
                      <a:pt x="555" y="534"/>
                    </a:lnTo>
                    <a:lnTo>
                      <a:pt x="555" y="536"/>
                    </a:lnTo>
                    <a:lnTo>
                      <a:pt x="556" y="536"/>
                    </a:lnTo>
                    <a:lnTo>
                      <a:pt x="556" y="537"/>
                    </a:lnTo>
                    <a:close/>
                    <a:moveTo>
                      <a:pt x="449" y="511"/>
                    </a:moveTo>
                    <a:lnTo>
                      <a:pt x="450" y="511"/>
                    </a:lnTo>
                    <a:lnTo>
                      <a:pt x="450" y="512"/>
                    </a:lnTo>
                    <a:lnTo>
                      <a:pt x="449" y="511"/>
                    </a:lnTo>
                    <a:lnTo>
                      <a:pt x="449" y="512"/>
                    </a:lnTo>
                    <a:lnTo>
                      <a:pt x="449" y="513"/>
                    </a:lnTo>
                    <a:lnTo>
                      <a:pt x="449" y="514"/>
                    </a:lnTo>
                    <a:lnTo>
                      <a:pt x="450" y="515"/>
                    </a:lnTo>
                    <a:lnTo>
                      <a:pt x="450" y="516"/>
                    </a:lnTo>
                    <a:lnTo>
                      <a:pt x="449" y="516"/>
                    </a:lnTo>
                    <a:lnTo>
                      <a:pt x="449" y="515"/>
                    </a:lnTo>
                    <a:lnTo>
                      <a:pt x="448" y="514"/>
                    </a:lnTo>
                    <a:lnTo>
                      <a:pt x="448" y="513"/>
                    </a:lnTo>
                    <a:lnTo>
                      <a:pt x="448" y="512"/>
                    </a:lnTo>
                    <a:lnTo>
                      <a:pt x="448" y="511"/>
                    </a:lnTo>
                    <a:lnTo>
                      <a:pt x="448" y="510"/>
                    </a:lnTo>
                    <a:lnTo>
                      <a:pt x="449" y="510"/>
                    </a:lnTo>
                    <a:lnTo>
                      <a:pt x="449" y="511"/>
                    </a:lnTo>
                    <a:close/>
                    <a:moveTo>
                      <a:pt x="160" y="350"/>
                    </a:moveTo>
                    <a:lnTo>
                      <a:pt x="161" y="350"/>
                    </a:lnTo>
                    <a:lnTo>
                      <a:pt x="162" y="351"/>
                    </a:lnTo>
                    <a:lnTo>
                      <a:pt x="163" y="351"/>
                    </a:lnTo>
                    <a:lnTo>
                      <a:pt x="162" y="351"/>
                    </a:lnTo>
                    <a:lnTo>
                      <a:pt x="161" y="351"/>
                    </a:lnTo>
                    <a:lnTo>
                      <a:pt x="160" y="351"/>
                    </a:lnTo>
                    <a:lnTo>
                      <a:pt x="158" y="352"/>
                    </a:lnTo>
                    <a:lnTo>
                      <a:pt x="158" y="351"/>
                    </a:lnTo>
                    <a:lnTo>
                      <a:pt x="158" y="350"/>
                    </a:lnTo>
                    <a:lnTo>
                      <a:pt x="157" y="351"/>
                    </a:lnTo>
                    <a:lnTo>
                      <a:pt x="156" y="351"/>
                    </a:lnTo>
                    <a:lnTo>
                      <a:pt x="155" y="351"/>
                    </a:lnTo>
                    <a:lnTo>
                      <a:pt x="156" y="351"/>
                    </a:lnTo>
                    <a:lnTo>
                      <a:pt x="156" y="350"/>
                    </a:lnTo>
                    <a:lnTo>
                      <a:pt x="157" y="350"/>
                    </a:lnTo>
                    <a:lnTo>
                      <a:pt x="158" y="350"/>
                    </a:lnTo>
                    <a:lnTo>
                      <a:pt x="158" y="349"/>
                    </a:lnTo>
                    <a:lnTo>
                      <a:pt x="160" y="350"/>
                    </a:lnTo>
                    <a:close/>
                    <a:moveTo>
                      <a:pt x="418" y="543"/>
                    </a:moveTo>
                    <a:lnTo>
                      <a:pt x="419" y="543"/>
                    </a:lnTo>
                    <a:lnTo>
                      <a:pt x="420" y="543"/>
                    </a:lnTo>
                    <a:lnTo>
                      <a:pt x="420" y="544"/>
                    </a:lnTo>
                    <a:lnTo>
                      <a:pt x="419" y="545"/>
                    </a:lnTo>
                    <a:lnTo>
                      <a:pt x="418" y="545"/>
                    </a:lnTo>
                    <a:lnTo>
                      <a:pt x="419" y="546"/>
                    </a:lnTo>
                    <a:lnTo>
                      <a:pt x="418" y="546"/>
                    </a:lnTo>
                    <a:lnTo>
                      <a:pt x="418" y="547"/>
                    </a:lnTo>
                    <a:lnTo>
                      <a:pt x="416" y="547"/>
                    </a:lnTo>
                    <a:lnTo>
                      <a:pt x="415" y="547"/>
                    </a:lnTo>
                    <a:lnTo>
                      <a:pt x="415" y="546"/>
                    </a:lnTo>
                    <a:lnTo>
                      <a:pt x="415" y="545"/>
                    </a:lnTo>
                    <a:lnTo>
                      <a:pt x="415" y="546"/>
                    </a:lnTo>
                    <a:lnTo>
                      <a:pt x="416" y="546"/>
                    </a:lnTo>
                    <a:lnTo>
                      <a:pt x="418" y="545"/>
                    </a:lnTo>
                    <a:lnTo>
                      <a:pt x="416" y="545"/>
                    </a:lnTo>
                    <a:lnTo>
                      <a:pt x="418" y="545"/>
                    </a:lnTo>
                    <a:lnTo>
                      <a:pt x="418" y="544"/>
                    </a:lnTo>
                    <a:lnTo>
                      <a:pt x="419" y="544"/>
                    </a:lnTo>
                    <a:lnTo>
                      <a:pt x="418" y="544"/>
                    </a:lnTo>
                    <a:lnTo>
                      <a:pt x="418" y="543"/>
                    </a:lnTo>
                    <a:lnTo>
                      <a:pt x="416" y="543"/>
                    </a:lnTo>
                    <a:lnTo>
                      <a:pt x="418" y="543"/>
                    </a:lnTo>
                    <a:close/>
                    <a:moveTo>
                      <a:pt x="454" y="631"/>
                    </a:moveTo>
                    <a:lnTo>
                      <a:pt x="454" y="632"/>
                    </a:lnTo>
                    <a:lnTo>
                      <a:pt x="453" y="633"/>
                    </a:lnTo>
                    <a:lnTo>
                      <a:pt x="452" y="634"/>
                    </a:lnTo>
                    <a:lnTo>
                      <a:pt x="450" y="635"/>
                    </a:lnTo>
                    <a:lnTo>
                      <a:pt x="450" y="636"/>
                    </a:lnTo>
                    <a:lnTo>
                      <a:pt x="449" y="637"/>
                    </a:lnTo>
                    <a:lnTo>
                      <a:pt x="447" y="639"/>
                    </a:lnTo>
                    <a:lnTo>
                      <a:pt x="447" y="640"/>
                    </a:lnTo>
                    <a:lnTo>
                      <a:pt x="446" y="640"/>
                    </a:lnTo>
                    <a:lnTo>
                      <a:pt x="446" y="639"/>
                    </a:lnTo>
                    <a:lnTo>
                      <a:pt x="446" y="637"/>
                    </a:lnTo>
                    <a:lnTo>
                      <a:pt x="447" y="637"/>
                    </a:lnTo>
                    <a:lnTo>
                      <a:pt x="446" y="637"/>
                    </a:lnTo>
                    <a:lnTo>
                      <a:pt x="446" y="639"/>
                    </a:lnTo>
                    <a:lnTo>
                      <a:pt x="447" y="639"/>
                    </a:lnTo>
                    <a:lnTo>
                      <a:pt x="448" y="637"/>
                    </a:lnTo>
                    <a:lnTo>
                      <a:pt x="449" y="637"/>
                    </a:lnTo>
                    <a:lnTo>
                      <a:pt x="449" y="636"/>
                    </a:lnTo>
                    <a:lnTo>
                      <a:pt x="450" y="635"/>
                    </a:lnTo>
                    <a:lnTo>
                      <a:pt x="450" y="634"/>
                    </a:lnTo>
                    <a:lnTo>
                      <a:pt x="451" y="634"/>
                    </a:lnTo>
                    <a:lnTo>
                      <a:pt x="452" y="634"/>
                    </a:lnTo>
                    <a:lnTo>
                      <a:pt x="453" y="632"/>
                    </a:lnTo>
                    <a:lnTo>
                      <a:pt x="454" y="632"/>
                    </a:lnTo>
                    <a:lnTo>
                      <a:pt x="454" y="631"/>
                    </a:lnTo>
                    <a:close/>
                    <a:moveTo>
                      <a:pt x="260" y="224"/>
                    </a:moveTo>
                    <a:lnTo>
                      <a:pt x="260" y="225"/>
                    </a:lnTo>
                    <a:lnTo>
                      <a:pt x="259" y="225"/>
                    </a:lnTo>
                    <a:lnTo>
                      <a:pt x="258" y="225"/>
                    </a:lnTo>
                    <a:lnTo>
                      <a:pt x="257" y="226"/>
                    </a:lnTo>
                    <a:lnTo>
                      <a:pt x="257" y="225"/>
                    </a:lnTo>
                    <a:lnTo>
                      <a:pt x="257" y="224"/>
                    </a:lnTo>
                    <a:lnTo>
                      <a:pt x="256" y="224"/>
                    </a:lnTo>
                    <a:lnTo>
                      <a:pt x="257" y="224"/>
                    </a:lnTo>
                    <a:lnTo>
                      <a:pt x="258" y="224"/>
                    </a:lnTo>
                    <a:lnTo>
                      <a:pt x="259" y="224"/>
                    </a:lnTo>
                    <a:lnTo>
                      <a:pt x="259" y="223"/>
                    </a:lnTo>
                    <a:lnTo>
                      <a:pt x="260" y="224"/>
                    </a:lnTo>
                    <a:close/>
                    <a:moveTo>
                      <a:pt x="562" y="428"/>
                    </a:moveTo>
                    <a:lnTo>
                      <a:pt x="562" y="429"/>
                    </a:lnTo>
                    <a:lnTo>
                      <a:pt x="562" y="430"/>
                    </a:lnTo>
                    <a:lnTo>
                      <a:pt x="561" y="430"/>
                    </a:lnTo>
                    <a:lnTo>
                      <a:pt x="560" y="431"/>
                    </a:lnTo>
                    <a:lnTo>
                      <a:pt x="558" y="431"/>
                    </a:lnTo>
                    <a:lnTo>
                      <a:pt x="558" y="430"/>
                    </a:lnTo>
                    <a:lnTo>
                      <a:pt x="560" y="429"/>
                    </a:lnTo>
                    <a:lnTo>
                      <a:pt x="558" y="429"/>
                    </a:lnTo>
                    <a:lnTo>
                      <a:pt x="560" y="428"/>
                    </a:lnTo>
                    <a:lnTo>
                      <a:pt x="561" y="428"/>
                    </a:lnTo>
                    <a:lnTo>
                      <a:pt x="562" y="427"/>
                    </a:lnTo>
                    <a:lnTo>
                      <a:pt x="562" y="428"/>
                    </a:lnTo>
                    <a:close/>
                    <a:moveTo>
                      <a:pt x="101" y="307"/>
                    </a:moveTo>
                    <a:lnTo>
                      <a:pt x="102" y="307"/>
                    </a:lnTo>
                    <a:lnTo>
                      <a:pt x="102" y="308"/>
                    </a:lnTo>
                    <a:lnTo>
                      <a:pt x="101" y="308"/>
                    </a:lnTo>
                    <a:lnTo>
                      <a:pt x="102" y="308"/>
                    </a:lnTo>
                    <a:lnTo>
                      <a:pt x="101" y="308"/>
                    </a:lnTo>
                    <a:lnTo>
                      <a:pt x="101" y="309"/>
                    </a:lnTo>
                    <a:lnTo>
                      <a:pt x="101" y="308"/>
                    </a:lnTo>
                    <a:lnTo>
                      <a:pt x="102" y="308"/>
                    </a:lnTo>
                    <a:lnTo>
                      <a:pt x="101" y="309"/>
                    </a:lnTo>
                    <a:lnTo>
                      <a:pt x="101" y="310"/>
                    </a:lnTo>
                    <a:lnTo>
                      <a:pt x="100" y="310"/>
                    </a:lnTo>
                    <a:lnTo>
                      <a:pt x="100" y="309"/>
                    </a:lnTo>
                    <a:lnTo>
                      <a:pt x="100" y="308"/>
                    </a:lnTo>
                    <a:lnTo>
                      <a:pt x="100" y="307"/>
                    </a:lnTo>
                    <a:lnTo>
                      <a:pt x="101" y="307"/>
                    </a:lnTo>
                    <a:close/>
                    <a:moveTo>
                      <a:pt x="303" y="393"/>
                    </a:moveTo>
                    <a:lnTo>
                      <a:pt x="304" y="393"/>
                    </a:lnTo>
                    <a:lnTo>
                      <a:pt x="304" y="395"/>
                    </a:lnTo>
                    <a:lnTo>
                      <a:pt x="305" y="395"/>
                    </a:lnTo>
                    <a:lnTo>
                      <a:pt x="305" y="396"/>
                    </a:lnTo>
                    <a:lnTo>
                      <a:pt x="304" y="396"/>
                    </a:lnTo>
                    <a:lnTo>
                      <a:pt x="304" y="397"/>
                    </a:lnTo>
                    <a:lnTo>
                      <a:pt x="304" y="398"/>
                    </a:lnTo>
                    <a:lnTo>
                      <a:pt x="303" y="398"/>
                    </a:lnTo>
                    <a:lnTo>
                      <a:pt x="303" y="397"/>
                    </a:lnTo>
                    <a:lnTo>
                      <a:pt x="302" y="397"/>
                    </a:lnTo>
                    <a:lnTo>
                      <a:pt x="303" y="397"/>
                    </a:lnTo>
                    <a:lnTo>
                      <a:pt x="303" y="396"/>
                    </a:lnTo>
                    <a:lnTo>
                      <a:pt x="303" y="395"/>
                    </a:lnTo>
                    <a:lnTo>
                      <a:pt x="303" y="393"/>
                    </a:lnTo>
                    <a:lnTo>
                      <a:pt x="302" y="393"/>
                    </a:lnTo>
                    <a:lnTo>
                      <a:pt x="303" y="393"/>
                    </a:lnTo>
                    <a:lnTo>
                      <a:pt x="303" y="392"/>
                    </a:lnTo>
                    <a:lnTo>
                      <a:pt x="303" y="393"/>
                    </a:lnTo>
                    <a:close/>
                    <a:moveTo>
                      <a:pt x="245" y="410"/>
                    </a:moveTo>
                    <a:lnTo>
                      <a:pt x="246" y="410"/>
                    </a:lnTo>
                    <a:lnTo>
                      <a:pt x="246" y="411"/>
                    </a:lnTo>
                    <a:lnTo>
                      <a:pt x="245" y="412"/>
                    </a:lnTo>
                    <a:lnTo>
                      <a:pt x="245" y="413"/>
                    </a:lnTo>
                    <a:lnTo>
                      <a:pt x="245" y="414"/>
                    </a:lnTo>
                    <a:lnTo>
                      <a:pt x="244" y="415"/>
                    </a:lnTo>
                    <a:lnTo>
                      <a:pt x="245" y="416"/>
                    </a:lnTo>
                    <a:lnTo>
                      <a:pt x="244" y="416"/>
                    </a:lnTo>
                    <a:lnTo>
                      <a:pt x="244" y="414"/>
                    </a:lnTo>
                    <a:lnTo>
                      <a:pt x="244" y="413"/>
                    </a:lnTo>
                    <a:lnTo>
                      <a:pt x="244" y="412"/>
                    </a:lnTo>
                    <a:lnTo>
                      <a:pt x="244" y="411"/>
                    </a:lnTo>
                    <a:lnTo>
                      <a:pt x="244" y="410"/>
                    </a:lnTo>
                    <a:lnTo>
                      <a:pt x="245" y="410"/>
                    </a:lnTo>
                    <a:close/>
                    <a:moveTo>
                      <a:pt x="470" y="436"/>
                    </a:moveTo>
                    <a:lnTo>
                      <a:pt x="471" y="436"/>
                    </a:lnTo>
                    <a:lnTo>
                      <a:pt x="471" y="437"/>
                    </a:lnTo>
                    <a:lnTo>
                      <a:pt x="470" y="438"/>
                    </a:lnTo>
                    <a:lnTo>
                      <a:pt x="470" y="439"/>
                    </a:lnTo>
                    <a:lnTo>
                      <a:pt x="468" y="438"/>
                    </a:lnTo>
                    <a:lnTo>
                      <a:pt x="468" y="437"/>
                    </a:lnTo>
                    <a:lnTo>
                      <a:pt x="468" y="438"/>
                    </a:lnTo>
                    <a:lnTo>
                      <a:pt x="467" y="438"/>
                    </a:lnTo>
                    <a:lnTo>
                      <a:pt x="467" y="437"/>
                    </a:lnTo>
                    <a:lnTo>
                      <a:pt x="468" y="437"/>
                    </a:lnTo>
                    <a:lnTo>
                      <a:pt x="467" y="436"/>
                    </a:lnTo>
                    <a:lnTo>
                      <a:pt x="468" y="436"/>
                    </a:lnTo>
                    <a:lnTo>
                      <a:pt x="468" y="435"/>
                    </a:lnTo>
                    <a:lnTo>
                      <a:pt x="468" y="436"/>
                    </a:lnTo>
                    <a:lnTo>
                      <a:pt x="470" y="436"/>
                    </a:lnTo>
                    <a:close/>
                    <a:moveTo>
                      <a:pt x="308" y="386"/>
                    </a:moveTo>
                    <a:lnTo>
                      <a:pt x="308" y="387"/>
                    </a:lnTo>
                    <a:lnTo>
                      <a:pt x="308" y="386"/>
                    </a:lnTo>
                    <a:lnTo>
                      <a:pt x="309" y="387"/>
                    </a:lnTo>
                    <a:lnTo>
                      <a:pt x="309" y="386"/>
                    </a:lnTo>
                    <a:lnTo>
                      <a:pt x="309" y="387"/>
                    </a:lnTo>
                    <a:lnTo>
                      <a:pt x="308" y="387"/>
                    </a:lnTo>
                    <a:lnTo>
                      <a:pt x="307" y="387"/>
                    </a:lnTo>
                    <a:lnTo>
                      <a:pt x="306" y="387"/>
                    </a:lnTo>
                    <a:lnTo>
                      <a:pt x="306" y="386"/>
                    </a:lnTo>
                    <a:lnTo>
                      <a:pt x="305" y="385"/>
                    </a:lnTo>
                    <a:lnTo>
                      <a:pt x="306" y="384"/>
                    </a:lnTo>
                    <a:lnTo>
                      <a:pt x="307" y="384"/>
                    </a:lnTo>
                    <a:lnTo>
                      <a:pt x="307" y="385"/>
                    </a:lnTo>
                    <a:lnTo>
                      <a:pt x="307" y="386"/>
                    </a:lnTo>
                    <a:lnTo>
                      <a:pt x="308" y="386"/>
                    </a:lnTo>
                    <a:close/>
                    <a:moveTo>
                      <a:pt x="448" y="513"/>
                    </a:moveTo>
                    <a:lnTo>
                      <a:pt x="448" y="514"/>
                    </a:lnTo>
                    <a:lnTo>
                      <a:pt x="448" y="516"/>
                    </a:lnTo>
                    <a:lnTo>
                      <a:pt x="447" y="517"/>
                    </a:lnTo>
                    <a:lnTo>
                      <a:pt x="447" y="516"/>
                    </a:lnTo>
                    <a:lnTo>
                      <a:pt x="447" y="515"/>
                    </a:lnTo>
                    <a:lnTo>
                      <a:pt x="447" y="514"/>
                    </a:lnTo>
                    <a:lnTo>
                      <a:pt x="446" y="514"/>
                    </a:lnTo>
                    <a:lnTo>
                      <a:pt x="446" y="515"/>
                    </a:lnTo>
                    <a:lnTo>
                      <a:pt x="446" y="516"/>
                    </a:lnTo>
                    <a:lnTo>
                      <a:pt x="445" y="516"/>
                    </a:lnTo>
                    <a:lnTo>
                      <a:pt x="445" y="515"/>
                    </a:lnTo>
                    <a:lnTo>
                      <a:pt x="446" y="515"/>
                    </a:lnTo>
                    <a:lnTo>
                      <a:pt x="445" y="515"/>
                    </a:lnTo>
                    <a:lnTo>
                      <a:pt x="446" y="515"/>
                    </a:lnTo>
                    <a:lnTo>
                      <a:pt x="446" y="514"/>
                    </a:lnTo>
                    <a:lnTo>
                      <a:pt x="446" y="513"/>
                    </a:lnTo>
                    <a:lnTo>
                      <a:pt x="446" y="512"/>
                    </a:lnTo>
                    <a:lnTo>
                      <a:pt x="447" y="511"/>
                    </a:lnTo>
                    <a:lnTo>
                      <a:pt x="448" y="512"/>
                    </a:lnTo>
                    <a:lnTo>
                      <a:pt x="448" y="513"/>
                    </a:lnTo>
                    <a:close/>
                    <a:moveTo>
                      <a:pt x="319" y="347"/>
                    </a:moveTo>
                    <a:lnTo>
                      <a:pt x="319" y="348"/>
                    </a:lnTo>
                    <a:lnTo>
                      <a:pt x="320" y="348"/>
                    </a:lnTo>
                    <a:lnTo>
                      <a:pt x="320" y="349"/>
                    </a:lnTo>
                    <a:lnTo>
                      <a:pt x="319" y="349"/>
                    </a:lnTo>
                    <a:lnTo>
                      <a:pt x="319" y="350"/>
                    </a:lnTo>
                    <a:lnTo>
                      <a:pt x="318" y="350"/>
                    </a:lnTo>
                    <a:lnTo>
                      <a:pt x="318" y="349"/>
                    </a:lnTo>
                    <a:lnTo>
                      <a:pt x="318" y="348"/>
                    </a:lnTo>
                    <a:lnTo>
                      <a:pt x="318" y="347"/>
                    </a:lnTo>
                    <a:lnTo>
                      <a:pt x="317" y="347"/>
                    </a:lnTo>
                    <a:lnTo>
                      <a:pt x="318" y="346"/>
                    </a:lnTo>
                    <a:lnTo>
                      <a:pt x="319" y="346"/>
                    </a:lnTo>
                    <a:lnTo>
                      <a:pt x="318" y="346"/>
                    </a:lnTo>
                    <a:lnTo>
                      <a:pt x="318" y="347"/>
                    </a:lnTo>
                    <a:lnTo>
                      <a:pt x="319" y="347"/>
                    </a:lnTo>
                    <a:close/>
                    <a:moveTo>
                      <a:pt x="166" y="390"/>
                    </a:moveTo>
                    <a:lnTo>
                      <a:pt x="166" y="391"/>
                    </a:lnTo>
                    <a:lnTo>
                      <a:pt x="165" y="391"/>
                    </a:lnTo>
                    <a:lnTo>
                      <a:pt x="165" y="392"/>
                    </a:lnTo>
                    <a:lnTo>
                      <a:pt x="164" y="392"/>
                    </a:lnTo>
                    <a:lnTo>
                      <a:pt x="163" y="392"/>
                    </a:lnTo>
                    <a:lnTo>
                      <a:pt x="162" y="391"/>
                    </a:lnTo>
                    <a:lnTo>
                      <a:pt x="162" y="390"/>
                    </a:lnTo>
                    <a:lnTo>
                      <a:pt x="163" y="390"/>
                    </a:lnTo>
                    <a:lnTo>
                      <a:pt x="164" y="390"/>
                    </a:lnTo>
                    <a:lnTo>
                      <a:pt x="165" y="390"/>
                    </a:lnTo>
                    <a:lnTo>
                      <a:pt x="166" y="390"/>
                    </a:lnTo>
                    <a:close/>
                    <a:moveTo>
                      <a:pt x="568" y="558"/>
                    </a:moveTo>
                    <a:lnTo>
                      <a:pt x="568" y="559"/>
                    </a:lnTo>
                    <a:lnTo>
                      <a:pt x="568" y="560"/>
                    </a:lnTo>
                    <a:lnTo>
                      <a:pt x="567" y="560"/>
                    </a:lnTo>
                    <a:lnTo>
                      <a:pt x="566" y="560"/>
                    </a:lnTo>
                    <a:lnTo>
                      <a:pt x="566" y="562"/>
                    </a:lnTo>
                    <a:lnTo>
                      <a:pt x="566" y="560"/>
                    </a:lnTo>
                    <a:lnTo>
                      <a:pt x="566" y="559"/>
                    </a:lnTo>
                    <a:lnTo>
                      <a:pt x="566" y="560"/>
                    </a:lnTo>
                    <a:lnTo>
                      <a:pt x="565" y="560"/>
                    </a:lnTo>
                    <a:lnTo>
                      <a:pt x="566" y="560"/>
                    </a:lnTo>
                    <a:lnTo>
                      <a:pt x="566" y="562"/>
                    </a:lnTo>
                    <a:lnTo>
                      <a:pt x="566" y="563"/>
                    </a:lnTo>
                    <a:lnTo>
                      <a:pt x="565" y="563"/>
                    </a:lnTo>
                    <a:lnTo>
                      <a:pt x="565" y="562"/>
                    </a:lnTo>
                    <a:lnTo>
                      <a:pt x="565" y="560"/>
                    </a:lnTo>
                    <a:lnTo>
                      <a:pt x="565" y="559"/>
                    </a:lnTo>
                    <a:lnTo>
                      <a:pt x="566" y="559"/>
                    </a:lnTo>
                    <a:lnTo>
                      <a:pt x="565" y="559"/>
                    </a:lnTo>
                    <a:lnTo>
                      <a:pt x="565" y="558"/>
                    </a:lnTo>
                    <a:lnTo>
                      <a:pt x="566" y="558"/>
                    </a:lnTo>
                    <a:lnTo>
                      <a:pt x="566" y="559"/>
                    </a:lnTo>
                    <a:lnTo>
                      <a:pt x="566" y="558"/>
                    </a:lnTo>
                    <a:lnTo>
                      <a:pt x="567" y="558"/>
                    </a:lnTo>
                    <a:lnTo>
                      <a:pt x="568" y="558"/>
                    </a:lnTo>
                    <a:lnTo>
                      <a:pt x="567" y="558"/>
                    </a:lnTo>
                    <a:lnTo>
                      <a:pt x="568" y="558"/>
                    </a:lnTo>
                    <a:close/>
                    <a:moveTo>
                      <a:pt x="182" y="412"/>
                    </a:moveTo>
                    <a:lnTo>
                      <a:pt x="181" y="412"/>
                    </a:lnTo>
                    <a:lnTo>
                      <a:pt x="180" y="412"/>
                    </a:lnTo>
                    <a:lnTo>
                      <a:pt x="180" y="413"/>
                    </a:lnTo>
                    <a:lnTo>
                      <a:pt x="179" y="413"/>
                    </a:lnTo>
                    <a:lnTo>
                      <a:pt x="179" y="412"/>
                    </a:lnTo>
                    <a:lnTo>
                      <a:pt x="178" y="412"/>
                    </a:lnTo>
                    <a:lnTo>
                      <a:pt x="178" y="413"/>
                    </a:lnTo>
                    <a:lnTo>
                      <a:pt x="179" y="413"/>
                    </a:lnTo>
                    <a:lnTo>
                      <a:pt x="180" y="413"/>
                    </a:lnTo>
                    <a:lnTo>
                      <a:pt x="181" y="413"/>
                    </a:lnTo>
                    <a:lnTo>
                      <a:pt x="182" y="413"/>
                    </a:lnTo>
                    <a:lnTo>
                      <a:pt x="183" y="413"/>
                    </a:lnTo>
                    <a:lnTo>
                      <a:pt x="184" y="413"/>
                    </a:lnTo>
                    <a:lnTo>
                      <a:pt x="184" y="414"/>
                    </a:lnTo>
                    <a:lnTo>
                      <a:pt x="184" y="415"/>
                    </a:lnTo>
                    <a:lnTo>
                      <a:pt x="183" y="415"/>
                    </a:lnTo>
                    <a:lnTo>
                      <a:pt x="184" y="415"/>
                    </a:lnTo>
                    <a:lnTo>
                      <a:pt x="183" y="415"/>
                    </a:lnTo>
                    <a:lnTo>
                      <a:pt x="184" y="415"/>
                    </a:lnTo>
                    <a:lnTo>
                      <a:pt x="184" y="414"/>
                    </a:lnTo>
                    <a:lnTo>
                      <a:pt x="183" y="414"/>
                    </a:lnTo>
                    <a:lnTo>
                      <a:pt x="182" y="414"/>
                    </a:lnTo>
                    <a:lnTo>
                      <a:pt x="181" y="413"/>
                    </a:lnTo>
                    <a:lnTo>
                      <a:pt x="180" y="413"/>
                    </a:lnTo>
                    <a:lnTo>
                      <a:pt x="179" y="414"/>
                    </a:lnTo>
                    <a:lnTo>
                      <a:pt x="180" y="414"/>
                    </a:lnTo>
                    <a:lnTo>
                      <a:pt x="180" y="415"/>
                    </a:lnTo>
                    <a:lnTo>
                      <a:pt x="179" y="414"/>
                    </a:lnTo>
                    <a:lnTo>
                      <a:pt x="178" y="413"/>
                    </a:lnTo>
                    <a:lnTo>
                      <a:pt x="178" y="412"/>
                    </a:lnTo>
                    <a:lnTo>
                      <a:pt x="182" y="412"/>
                    </a:lnTo>
                    <a:close/>
                    <a:moveTo>
                      <a:pt x="102" y="312"/>
                    </a:moveTo>
                    <a:lnTo>
                      <a:pt x="103" y="312"/>
                    </a:lnTo>
                    <a:lnTo>
                      <a:pt x="103" y="313"/>
                    </a:lnTo>
                    <a:lnTo>
                      <a:pt x="103" y="314"/>
                    </a:lnTo>
                    <a:lnTo>
                      <a:pt x="102" y="314"/>
                    </a:lnTo>
                    <a:lnTo>
                      <a:pt x="101" y="314"/>
                    </a:lnTo>
                    <a:lnTo>
                      <a:pt x="100" y="314"/>
                    </a:lnTo>
                    <a:lnTo>
                      <a:pt x="99" y="314"/>
                    </a:lnTo>
                    <a:lnTo>
                      <a:pt x="99" y="313"/>
                    </a:lnTo>
                    <a:lnTo>
                      <a:pt x="100" y="313"/>
                    </a:lnTo>
                    <a:lnTo>
                      <a:pt x="101" y="313"/>
                    </a:lnTo>
                    <a:lnTo>
                      <a:pt x="102" y="312"/>
                    </a:lnTo>
                    <a:lnTo>
                      <a:pt x="101" y="312"/>
                    </a:lnTo>
                    <a:lnTo>
                      <a:pt x="102" y="312"/>
                    </a:lnTo>
                    <a:lnTo>
                      <a:pt x="102" y="311"/>
                    </a:lnTo>
                    <a:lnTo>
                      <a:pt x="102" y="312"/>
                    </a:lnTo>
                    <a:close/>
                    <a:moveTo>
                      <a:pt x="453" y="369"/>
                    </a:moveTo>
                    <a:lnTo>
                      <a:pt x="454" y="369"/>
                    </a:lnTo>
                    <a:lnTo>
                      <a:pt x="454" y="370"/>
                    </a:lnTo>
                    <a:lnTo>
                      <a:pt x="455" y="370"/>
                    </a:lnTo>
                    <a:lnTo>
                      <a:pt x="454" y="371"/>
                    </a:lnTo>
                    <a:lnTo>
                      <a:pt x="454" y="370"/>
                    </a:lnTo>
                    <a:lnTo>
                      <a:pt x="454" y="371"/>
                    </a:lnTo>
                    <a:lnTo>
                      <a:pt x="453" y="370"/>
                    </a:lnTo>
                    <a:lnTo>
                      <a:pt x="452" y="371"/>
                    </a:lnTo>
                    <a:lnTo>
                      <a:pt x="451" y="371"/>
                    </a:lnTo>
                    <a:lnTo>
                      <a:pt x="450" y="370"/>
                    </a:lnTo>
                    <a:lnTo>
                      <a:pt x="450" y="369"/>
                    </a:lnTo>
                    <a:lnTo>
                      <a:pt x="451" y="369"/>
                    </a:lnTo>
                    <a:lnTo>
                      <a:pt x="452" y="369"/>
                    </a:lnTo>
                    <a:lnTo>
                      <a:pt x="453" y="369"/>
                    </a:lnTo>
                    <a:close/>
                    <a:moveTo>
                      <a:pt x="441" y="389"/>
                    </a:moveTo>
                    <a:lnTo>
                      <a:pt x="442" y="389"/>
                    </a:lnTo>
                    <a:lnTo>
                      <a:pt x="442" y="390"/>
                    </a:lnTo>
                    <a:lnTo>
                      <a:pt x="444" y="390"/>
                    </a:lnTo>
                    <a:lnTo>
                      <a:pt x="445" y="390"/>
                    </a:lnTo>
                    <a:lnTo>
                      <a:pt x="444" y="390"/>
                    </a:lnTo>
                    <a:lnTo>
                      <a:pt x="444" y="391"/>
                    </a:lnTo>
                    <a:lnTo>
                      <a:pt x="442" y="392"/>
                    </a:lnTo>
                    <a:lnTo>
                      <a:pt x="442" y="393"/>
                    </a:lnTo>
                    <a:lnTo>
                      <a:pt x="441" y="393"/>
                    </a:lnTo>
                    <a:lnTo>
                      <a:pt x="441" y="392"/>
                    </a:lnTo>
                    <a:lnTo>
                      <a:pt x="441" y="391"/>
                    </a:lnTo>
                    <a:lnTo>
                      <a:pt x="441" y="390"/>
                    </a:lnTo>
                    <a:lnTo>
                      <a:pt x="441" y="391"/>
                    </a:lnTo>
                    <a:lnTo>
                      <a:pt x="441" y="392"/>
                    </a:lnTo>
                    <a:lnTo>
                      <a:pt x="441" y="391"/>
                    </a:lnTo>
                    <a:lnTo>
                      <a:pt x="440" y="391"/>
                    </a:lnTo>
                    <a:lnTo>
                      <a:pt x="441" y="390"/>
                    </a:lnTo>
                    <a:lnTo>
                      <a:pt x="440" y="390"/>
                    </a:lnTo>
                    <a:lnTo>
                      <a:pt x="440" y="389"/>
                    </a:lnTo>
                    <a:lnTo>
                      <a:pt x="441" y="389"/>
                    </a:lnTo>
                    <a:close/>
                    <a:moveTo>
                      <a:pt x="180" y="409"/>
                    </a:moveTo>
                    <a:lnTo>
                      <a:pt x="180" y="410"/>
                    </a:lnTo>
                    <a:lnTo>
                      <a:pt x="178" y="410"/>
                    </a:lnTo>
                    <a:lnTo>
                      <a:pt x="178" y="409"/>
                    </a:lnTo>
                    <a:lnTo>
                      <a:pt x="179" y="409"/>
                    </a:lnTo>
                    <a:lnTo>
                      <a:pt x="179" y="408"/>
                    </a:lnTo>
                    <a:lnTo>
                      <a:pt x="179" y="409"/>
                    </a:lnTo>
                    <a:lnTo>
                      <a:pt x="179" y="410"/>
                    </a:lnTo>
                    <a:lnTo>
                      <a:pt x="179" y="409"/>
                    </a:lnTo>
                    <a:lnTo>
                      <a:pt x="180" y="409"/>
                    </a:lnTo>
                    <a:lnTo>
                      <a:pt x="180" y="408"/>
                    </a:lnTo>
                    <a:lnTo>
                      <a:pt x="181" y="408"/>
                    </a:lnTo>
                    <a:lnTo>
                      <a:pt x="181" y="406"/>
                    </a:lnTo>
                    <a:lnTo>
                      <a:pt x="181" y="405"/>
                    </a:lnTo>
                    <a:lnTo>
                      <a:pt x="181" y="404"/>
                    </a:lnTo>
                    <a:lnTo>
                      <a:pt x="181" y="405"/>
                    </a:lnTo>
                    <a:lnTo>
                      <a:pt x="181" y="406"/>
                    </a:lnTo>
                    <a:lnTo>
                      <a:pt x="182" y="408"/>
                    </a:lnTo>
                    <a:lnTo>
                      <a:pt x="181" y="409"/>
                    </a:lnTo>
                    <a:lnTo>
                      <a:pt x="180" y="409"/>
                    </a:lnTo>
                    <a:close/>
                    <a:moveTo>
                      <a:pt x="292" y="457"/>
                    </a:moveTo>
                    <a:lnTo>
                      <a:pt x="291" y="457"/>
                    </a:lnTo>
                    <a:lnTo>
                      <a:pt x="290" y="456"/>
                    </a:lnTo>
                    <a:lnTo>
                      <a:pt x="287" y="456"/>
                    </a:lnTo>
                    <a:lnTo>
                      <a:pt x="287" y="455"/>
                    </a:lnTo>
                    <a:lnTo>
                      <a:pt x="289" y="454"/>
                    </a:lnTo>
                    <a:lnTo>
                      <a:pt x="290" y="454"/>
                    </a:lnTo>
                    <a:lnTo>
                      <a:pt x="290" y="455"/>
                    </a:lnTo>
                    <a:lnTo>
                      <a:pt x="291" y="455"/>
                    </a:lnTo>
                    <a:lnTo>
                      <a:pt x="291" y="456"/>
                    </a:lnTo>
                    <a:lnTo>
                      <a:pt x="291" y="457"/>
                    </a:lnTo>
                    <a:lnTo>
                      <a:pt x="292" y="457"/>
                    </a:lnTo>
                    <a:close/>
                    <a:moveTo>
                      <a:pt x="432" y="659"/>
                    </a:moveTo>
                    <a:lnTo>
                      <a:pt x="432" y="660"/>
                    </a:lnTo>
                    <a:lnTo>
                      <a:pt x="432" y="661"/>
                    </a:lnTo>
                    <a:lnTo>
                      <a:pt x="431" y="661"/>
                    </a:lnTo>
                    <a:lnTo>
                      <a:pt x="431" y="662"/>
                    </a:lnTo>
                    <a:lnTo>
                      <a:pt x="429" y="663"/>
                    </a:lnTo>
                    <a:lnTo>
                      <a:pt x="428" y="665"/>
                    </a:lnTo>
                    <a:lnTo>
                      <a:pt x="427" y="666"/>
                    </a:lnTo>
                    <a:lnTo>
                      <a:pt x="427" y="667"/>
                    </a:lnTo>
                    <a:lnTo>
                      <a:pt x="426" y="667"/>
                    </a:lnTo>
                    <a:lnTo>
                      <a:pt x="427" y="666"/>
                    </a:lnTo>
                    <a:lnTo>
                      <a:pt x="427" y="665"/>
                    </a:lnTo>
                    <a:lnTo>
                      <a:pt x="427" y="666"/>
                    </a:lnTo>
                    <a:lnTo>
                      <a:pt x="427" y="665"/>
                    </a:lnTo>
                    <a:lnTo>
                      <a:pt x="427" y="663"/>
                    </a:lnTo>
                    <a:lnTo>
                      <a:pt x="427" y="665"/>
                    </a:lnTo>
                    <a:lnTo>
                      <a:pt x="428" y="665"/>
                    </a:lnTo>
                    <a:lnTo>
                      <a:pt x="428" y="663"/>
                    </a:lnTo>
                    <a:lnTo>
                      <a:pt x="429" y="663"/>
                    </a:lnTo>
                    <a:lnTo>
                      <a:pt x="431" y="662"/>
                    </a:lnTo>
                    <a:lnTo>
                      <a:pt x="431" y="661"/>
                    </a:lnTo>
                    <a:lnTo>
                      <a:pt x="431" y="660"/>
                    </a:lnTo>
                    <a:lnTo>
                      <a:pt x="432" y="660"/>
                    </a:lnTo>
                    <a:lnTo>
                      <a:pt x="431" y="660"/>
                    </a:lnTo>
                    <a:lnTo>
                      <a:pt x="429" y="661"/>
                    </a:lnTo>
                    <a:lnTo>
                      <a:pt x="428" y="662"/>
                    </a:lnTo>
                    <a:lnTo>
                      <a:pt x="428" y="663"/>
                    </a:lnTo>
                    <a:lnTo>
                      <a:pt x="427" y="663"/>
                    </a:lnTo>
                    <a:lnTo>
                      <a:pt x="428" y="662"/>
                    </a:lnTo>
                    <a:lnTo>
                      <a:pt x="428" y="661"/>
                    </a:lnTo>
                    <a:lnTo>
                      <a:pt x="429" y="661"/>
                    </a:lnTo>
                    <a:lnTo>
                      <a:pt x="431" y="660"/>
                    </a:lnTo>
                    <a:lnTo>
                      <a:pt x="431" y="659"/>
                    </a:lnTo>
                    <a:lnTo>
                      <a:pt x="431" y="658"/>
                    </a:lnTo>
                    <a:lnTo>
                      <a:pt x="432" y="658"/>
                    </a:lnTo>
                    <a:lnTo>
                      <a:pt x="432" y="659"/>
                    </a:lnTo>
                    <a:close/>
                    <a:moveTo>
                      <a:pt x="150" y="404"/>
                    </a:moveTo>
                    <a:lnTo>
                      <a:pt x="150" y="405"/>
                    </a:lnTo>
                    <a:lnTo>
                      <a:pt x="150" y="406"/>
                    </a:lnTo>
                    <a:lnTo>
                      <a:pt x="149" y="406"/>
                    </a:lnTo>
                    <a:lnTo>
                      <a:pt x="148" y="406"/>
                    </a:lnTo>
                    <a:lnTo>
                      <a:pt x="147" y="406"/>
                    </a:lnTo>
                    <a:lnTo>
                      <a:pt x="147" y="405"/>
                    </a:lnTo>
                    <a:lnTo>
                      <a:pt x="148" y="405"/>
                    </a:lnTo>
                    <a:lnTo>
                      <a:pt x="148" y="404"/>
                    </a:lnTo>
                    <a:lnTo>
                      <a:pt x="149" y="404"/>
                    </a:lnTo>
                    <a:lnTo>
                      <a:pt x="150" y="403"/>
                    </a:lnTo>
                    <a:lnTo>
                      <a:pt x="150" y="404"/>
                    </a:lnTo>
                    <a:close/>
                    <a:moveTo>
                      <a:pt x="154" y="387"/>
                    </a:moveTo>
                    <a:lnTo>
                      <a:pt x="157" y="388"/>
                    </a:lnTo>
                    <a:lnTo>
                      <a:pt x="157" y="389"/>
                    </a:lnTo>
                    <a:lnTo>
                      <a:pt x="157" y="390"/>
                    </a:lnTo>
                    <a:lnTo>
                      <a:pt x="157" y="389"/>
                    </a:lnTo>
                    <a:lnTo>
                      <a:pt x="157" y="388"/>
                    </a:lnTo>
                    <a:lnTo>
                      <a:pt x="160" y="390"/>
                    </a:lnTo>
                    <a:lnTo>
                      <a:pt x="158" y="390"/>
                    </a:lnTo>
                    <a:lnTo>
                      <a:pt x="158" y="391"/>
                    </a:lnTo>
                    <a:lnTo>
                      <a:pt x="157" y="390"/>
                    </a:lnTo>
                    <a:lnTo>
                      <a:pt x="157" y="391"/>
                    </a:lnTo>
                    <a:lnTo>
                      <a:pt x="156" y="391"/>
                    </a:lnTo>
                    <a:lnTo>
                      <a:pt x="155" y="391"/>
                    </a:lnTo>
                    <a:lnTo>
                      <a:pt x="156" y="391"/>
                    </a:lnTo>
                    <a:lnTo>
                      <a:pt x="156" y="390"/>
                    </a:lnTo>
                    <a:lnTo>
                      <a:pt x="157" y="389"/>
                    </a:lnTo>
                    <a:lnTo>
                      <a:pt x="156" y="389"/>
                    </a:lnTo>
                    <a:lnTo>
                      <a:pt x="156" y="388"/>
                    </a:lnTo>
                    <a:lnTo>
                      <a:pt x="155" y="388"/>
                    </a:lnTo>
                    <a:lnTo>
                      <a:pt x="156" y="388"/>
                    </a:lnTo>
                    <a:lnTo>
                      <a:pt x="155" y="388"/>
                    </a:lnTo>
                    <a:lnTo>
                      <a:pt x="155" y="387"/>
                    </a:lnTo>
                    <a:lnTo>
                      <a:pt x="154" y="387"/>
                    </a:lnTo>
                    <a:lnTo>
                      <a:pt x="154" y="386"/>
                    </a:lnTo>
                    <a:lnTo>
                      <a:pt x="154" y="387"/>
                    </a:lnTo>
                    <a:close/>
                    <a:moveTo>
                      <a:pt x="442" y="393"/>
                    </a:moveTo>
                    <a:lnTo>
                      <a:pt x="444" y="393"/>
                    </a:lnTo>
                    <a:lnTo>
                      <a:pt x="445" y="395"/>
                    </a:lnTo>
                    <a:lnTo>
                      <a:pt x="445" y="396"/>
                    </a:lnTo>
                    <a:lnTo>
                      <a:pt x="446" y="396"/>
                    </a:lnTo>
                    <a:lnTo>
                      <a:pt x="445" y="396"/>
                    </a:lnTo>
                    <a:lnTo>
                      <a:pt x="444" y="396"/>
                    </a:lnTo>
                    <a:lnTo>
                      <a:pt x="444" y="395"/>
                    </a:lnTo>
                    <a:lnTo>
                      <a:pt x="442" y="396"/>
                    </a:lnTo>
                    <a:lnTo>
                      <a:pt x="442" y="395"/>
                    </a:lnTo>
                    <a:lnTo>
                      <a:pt x="442" y="396"/>
                    </a:lnTo>
                    <a:lnTo>
                      <a:pt x="441" y="396"/>
                    </a:lnTo>
                    <a:lnTo>
                      <a:pt x="442" y="396"/>
                    </a:lnTo>
                    <a:lnTo>
                      <a:pt x="442" y="397"/>
                    </a:lnTo>
                    <a:lnTo>
                      <a:pt x="441" y="397"/>
                    </a:lnTo>
                    <a:lnTo>
                      <a:pt x="442" y="397"/>
                    </a:lnTo>
                    <a:lnTo>
                      <a:pt x="442" y="398"/>
                    </a:lnTo>
                    <a:lnTo>
                      <a:pt x="441" y="398"/>
                    </a:lnTo>
                    <a:lnTo>
                      <a:pt x="441" y="397"/>
                    </a:lnTo>
                    <a:lnTo>
                      <a:pt x="441" y="396"/>
                    </a:lnTo>
                    <a:lnTo>
                      <a:pt x="441" y="395"/>
                    </a:lnTo>
                    <a:lnTo>
                      <a:pt x="441" y="393"/>
                    </a:lnTo>
                    <a:lnTo>
                      <a:pt x="442" y="393"/>
                    </a:lnTo>
                    <a:lnTo>
                      <a:pt x="442" y="392"/>
                    </a:lnTo>
                    <a:lnTo>
                      <a:pt x="442" y="393"/>
                    </a:lnTo>
                    <a:close/>
                    <a:moveTo>
                      <a:pt x="153" y="388"/>
                    </a:moveTo>
                    <a:lnTo>
                      <a:pt x="153" y="387"/>
                    </a:lnTo>
                    <a:lnTo>
                      <a:pt x="154" y="387"/>
                    </a:lnTo>
                    <a:lnTo>
                      <a:pt x="153" y="388"/>
                    </a:lnTo>
                    <a:lnTo>
                      <a:pt x="154" y="388"/>
                    </a:lnTo>
                    <a:lnTo>
                      <a:pt x="154" y="387"/>
                    </a:lnTo>
                    <a:lnTo>
                      <a:pt x="155" y="387"/>
                    </a:lnTo>
                    <a:lnTo>
                      <a:pt x="155" y="388"/>
                    </a:lnTo>
                    <a:lnTo>
                      <a:pt x="156" y="388"/>
                    </a:lnTo>
                    <a:lnTo>
                      <a:pt x="156" y="389"/>
                    </a:lnTo>
                    <a:lnTo>
                      <a:pt x="156" y="390"/>
                    </a:lnTo>
                    <a:lnTo>
                      <a:pt x="155" y="389"/>
                    </a:lnTo>
                    <a:lnTo>
                      <a:pt x="155" y="390"/>
                    </a:lnTo>
                    <a:lnTo>
                      <a:pt x="155" y="389"/>
                    </a:lnTo>
                    <a:lnTo>
                      <a:pt x="154" y="389"/>
                    </a:lnTo>
                    <a:lnTo>
                      <a:pt x="153" y="389"/>
                    </a:lnTo>
                    <a:lnTo>
                      <a:pt x="154" y="389"/>
                    </a:lnTo>
                    <a:lnTo>
                      <a:pt x="154" y="390"/>
                    </a:lnTo>
                    <a:lnTo>
                      <a:pt x="153" y="390"/>
                    </a:lnTo>
                    <a:lnTo>
                      <a:pt x="153" y="389"/>
                    </a:lnTo>
                    <a:lnTo>
                      <a:pt x="153" y="388"/>
                    </a:lnTo>
                    <a:lnTo>
                      <a:pt x="153" y="387"/>
                    </a:lnTo>
                    <a:lnTo>
                      <a:pt x="153" y="388"/>
                    </a:lnTo>
                    <a:close/>
                    <a:moveTo>
                      <a:pt x="313" y="462"/>
                    </a:moveTo>
                    <a:lnTo>
                      <a:pt x="317" y="463"/>
                    </a:lnTo>
                    <a:lnTo>
                      <a:pt x="317" y="464"/>
                    </a:lnTo>
                    <a:lnTo>
                      <a:pt x="317" y="465"/>
                    </a:lnTo>
                    <a:lnTo>
                      <a:pt x="316" y="465"/>
                    </a:lnTo>
                    <a:lnTo>
                      <a:pt x="316" y="464"/>
                    </a:lnTo>
                    <a:lnTo>
                      <a:pt x="316" y="465"/>
                    </a:lnTo>
                    <a:lnTo>
                      <a:pt x="317" y="465"/>
                    </a:lnTo>
                    <a:lnTo>
                      <a:pt x="317" y="466"/>
                    </a:lnTo>
                    <a:lnTo>
                      <a:pt x="316" y="466"/>
                    </a:lnTo>
                    <a:lnTo>
                      <a:pt x="316" y="465"/>
                    </a:lnTo>
                    <a:lnTo>
                      <a:pt x="315" y="463"/>
                    </a:lnTo>
                    <a:lnTo>
                      <a:pt x="313" y="463"/>
                    </a:lnTo>
                    <a:lnTo>
                      <a:pt x="313" y="462"/>
                    </a:lnTo>
                    <a:lnTo>
                      <a:pt x="312" y="462"/>
                    </a:lnTo>
                    <a:lnTo>
                      <a:pt x="313" y="462"/>
                    </a:lnTo>
                    <a:close/>
                    <a:moveTo>
                      <a:pt x="509" y="551"/>
                    </a:moveTo>
                    <a:lnTo>
                      <a:pt x="509" y="552"/>
                    </a:lnTo>
                    <a:lnTo>
                      <a:pt x="509" y="553"/>
                    </a:lnTo>
                    <a:lnTo>
                      <a:pt x="509" y="554"/>
                    </a:lnTo>
                    <a:lnTo>
                      <a:pt x="509" y="553"/>
                    </a:lnTo>
                    <a:lnTo>
                      <a:pt x="507" y="553"/>
                    </a:lnTo>
                    <a:lnTo>
                      <a:pt x="506" y="553"/>
                    </a:lnTo>
                    <a:lnTo>
                      <a:pt x="506" y="552"/>
                    </a:lnTo>
                    <a:lnTo>
                      <a:pt x="505" y="552"/>
                    </a:lnTo>
                    <a:lnTo>
                      <a:pt x="504" y="553"/>
                    </a:lnTo>
                    <a:lnTo>
                      <a:pt x="504" y="552"/>
                    </a:lnTo>
                    <a:lnTo>
                      <a:pt x="503" y="552"/>
                    </a:lnTo>
                    <a:lnTo>
                      <a:pt x="506" y="552"/>
                    </a:lnTo>
                    <a:lnTo>
                      <a:pt x="507" y="552"/>
                    </a:lnTo>
                    <a:lnTo>
                      <a:pt x="507" y="553"/>
                    </a:lnTo>
                    <a:lnTo>
                      <a:pt x="507" y="552"/>
                    </a:lnTo>
                    <a:lnTo>
                      <a:pt x="506" y="552"/>
                    </a:lnTo>
                    <a:lnTo>
                      <a:pt x="505" y="552"/>
                    </a:lnTo>
                    <a:lnTo>
                      <a:pt x="504" y="552"/>
                    </a:lnTo>
                    <a:lnTo>
                      <a:pt x="504" y="551"/>
                    </a:lnTo>
                    <a:lnTo>
                      <a:pt x="506" y="552"/>
                    </a:lnTo>
                    <a:lnTo>
                      <a:pt x="507" y="552"/>
                    </a:lnTo>
                    <a:lnTo>
                      <a:pt x="509" y="552"/>
                    </a:lnTo>
                    <a:lnTo>
                      <a:pt x="509" y="551"/>
                    </a:lnTo>
                    <a:lnTo>
                      <a:pt x="509" y="550"/>
                    </a:lnTo>
                    <a:lnTo>
                      <a:pt x="507" y="550"/>
                    </a:lnTo>
                    <a:lnTo>
                      <a:pt x="507" y="549"/>
                    </a:lnTo>
                    <a:lnTo>
                      <a:pt x="509" y="549"/>
                    </a:lnTo>
                    <a:lnTo>
                      <a:pt x="509" y="550"/>
                    </a:lnTo>
                    <a:lnTo>
                      <a:pt x="509" y="551"/>
                    </a:lnTo>
                    <a:close/>
                    <a:moveTo>
                      <a:pt x="192" y="413"/>
                    </a:moveTo>
                    <a:lnTo>
                      <a:pt x="192" y="414"/>
                    </a:lnTo>
                    <a:lnTo>
                      <a:pt x="192" y="415"/>
                    </a:lnTo>
                    <a:lnTo>
                      <a:pt x="190" y="414"/>
                    </a:lnTo>
                    <a:lnTo>
                      <a:pt x="190" y="413"/>
                    </a:lnTo>
                    <a:lnTo>
                      <a:pt x="189" y="413"/>
                    </a:lnTo>
                    <a:lnTo>
                      <a:pt x="189" y="412"/>
                    </a:lnTo>
                    <a:lnTo>
                      <a:pt x="188" y="412"/>
                    </a:lnTo>
                    <a:lnTo>
                      <a:pt x="189" y="412"/>
                    </a:lnTo>
                    <a:lnTo>
                      <a:pt x="191" y="412"/>
                    </a:lnTo>
                    <a:lnTo>
                      <a:pt x="192" y="413"/>
                    </a:lnTo>
                    <a:close/>
                    <a:moveTo>
                      <a:pt x="308" y="459"/>
                    </a:moveTo>
                    <a:lnTo>
                      <a:pt x="308" y="460"/>
                    </a:lnTo>
                    <a:lnTo>
                      <a:pt x="307" y="460"/>
                    </a:lnTo>
                    <a:lnTo>
                      <a:pt x="307" y="461"/>
                    </a:lnTo>
                    <a:lnTo>
                      <a:pt x="307" y="462"/>
                    </a:lnTo>
                    <a:lnTo>
                      <a:pt x="303" y="461"/>
                    </a:lnTo>
                    <a:lnTo>
                      <a:pt x="302" y="461"/>
                    </a:lnTo>
                    <a:lnTo>
                      <a:pt x="298" y="460"/>
                    </a:lnTo>
                    <a:lnTo>
                      <a:pt x="302" y="461"/>
                    </a:lnTo>
                    <a:lnTo>
                      <a:pt x="303" y="461"/>
                    </a:lnTo>
                    <a:lnTo>
                      <a:pt x="303" y="460"/>
                    </a:lnTo>
                    <a:lnTo>
                      <a:pt x="303" y="461"/>
                    </a:lnTo>
                    <a:lnTo>
                      <a:pt x="304" y="461"/>
                    </a:lnTo>
                    <a:lnTo>
                      <a:pt x="304" y="460"/>
                    </a:lnTo>
                    <a:lnTo>
                      <a:pt x="304" y="461"/>
                    </a:lnTo>
                    <a:lnTo>
                      <a:pt x="304" y="460"/>
                    </a:lnTo>
                    <a:lnTo>
                      <a:pt x="304" y="461"/>
                    </a:lnTo>
                    <a:lnTo>
                      <a:pt x="305" y="461"/>
                    </a:lnTo>
                    <a:lnTo>
                      <a:pt x="305" y="462"/>
                    </a:lnTo>
                    <a:lnTo>
                      <a:pt x="306" y="462"/>
                    </a:lnTo>
                    <a:lnTo>
                      <a:pt x="306" y="461"/>
                    </a:lnTo>
                    <a:lnTo>
                      <a:pt x="305" y="461"/>
                    </a:lnTo>
                    <a:lnTo>
                      <a:pt x="306" y="461"/>
                    </a:lnTo>
                    <a:lnTo>
                      <a:pt x="306" y="460"/>
                    </a:lnTo>
                    <a:lnTo>
                      <a:pt x="307" y="460"/>
                    </a:lnTo>
                    <a:lnTo>
                      <a:pt x="307" y="459"/>
                    </a:lnTo>
                    <a:lnTo>
                      <a:pt x="308" y="459"/>
                    </a:lnTo>
                    <a:close/>
                    <a:moveTo>
                      <a:pt x="168" y="347"/>
                    </a:moveTo>
                    <a:lnTo>
                      <a:pt x="169" y="347"/>
                    </a:lnTo>
                    <a:lnTo>
                      <a:pt x="170" y="347"/>
                    </a:lnTo>
                    <a:lnTo>
                      <a:pt x="171" y="347"/>
                    </a:lnTo>
                    <a:lnTo>
                      <a:pt x="171" y="348"/>
                    </a:lnTo>
                    <a:lnTo>
                      <a:pt x="171" y="349"/>
                    </a:lnTo>
                    <a:lnTo>
                      <a:pt x="170" y="349"/>
                    </a:lnTo>
                    <a:lnTo>
                      <a:pt x="169" y="350"/>
                    </a:lnTo>
                    <a:lnTo>
                      <a:pt x="168" y="350"/>
                    </a:lnTo>
                    <a:lnTo>
                      <a:pt x="168" y="349"/>
                    </a:lnTo>
                    <a:lnTo>
                      <a:pt x="169" y="349"/>
                    </a:lnTo>
                    <a:lnTo>
                      <a:pt x="169" y="348"/>
                    </a:lnTo>
                    <a:lnTo>
                      <a:pt x="168" y="347"/>
                    </a:lnTo>
                    <a:close/>
                    <a:moveTo>
                      <a:pt x="244" y="429"/>
                    </a:moveTo>
                    <a:lnTo>
                      <a:pt x="245" y="430"/>
                    </a:lnTo>
                    <a:lnTo>
                      <a:pt x="245" y="431"/>
                    </a:lnTo>
                    <a:lnTo>
                      <a:pt x="244" y="430"/>
                    </a:lnTo>
                    <a:lnTo>
                      <a:pt x="243" y="430"/>
                    </a:lnTo>
                    <a:lnTo>
                      <a:pt x="242" y="430"/>
                    </a:lnTo>
                    <a:lnTo>
                      <a:pt x="242" y="429"/>
                    </a:lnTo>
                    <a:lnTo>
                      <a:pt x="242" y="428"/>
                    </a:lnTo>
                    <a:lnTo>
                      <a:pt x="243" y="428"/>
                    </a:lnTo>
                    <a:lnTo>
                      <a:pt x="244" y="428"/>
                    </a:lnTo>
                    <a:lnTo>
                      <a:pt x="244" y="429"/>
                    </a:lnTo>
                    <a:close/>
                    <a:moveTo>
                      <a:pt x="232" y="222"/>
                    </a:moveTo>
                    <a:lnTo>
                      <a:pt x="233" y="222"/>
                    </a:lnTo>
                    <a:lnTo>
                      <a:pt x="232" y="223"/>
                    </a:lnTo>
                    <a:lnTo>
                      <a:pt x="233" y="223"/>
                    </a:lnTo>
                    <a:lnTo>
                      <a:pt x="233" y="224"/>
                    </a:lnTo>
                    <a:lnTo>
                      <a:pt x="233" y="225"/>
                    </a:lnTo>
                    <a:lnTo>
                      <a:pt x="232" y="224"/>
                    </a:lnTo>
                    <a:lnTo>
                      <a:pt x="231" y="224"/>
                    </a:lnTo>
                    <a:lnTo>
                      <a:pt x="230" y="223"/>
                    </a:lnTo>
                    <a:lnTo>
                      <a:pt x="231" y="223"/>
                    </a:lnTo>
                    <a:lnTo>
                      <a:pt x="230" y="223"/>
                    </a:lnTo>
                    <a:lnTo>
                      <a:pt x="231" y="223"/>
                    </a:lnTo>
                    <a:lnTo>
                      <a:pt x="231" y="222"/>
                    </a:lnTo>
                    <a:lnTo>
                      <a:pt x="232" y="222"/>
                    </a:lnTo>
                    <a:lnTo>
                      <a:pt x="232" y="221"/>
                    </a:lnTo>
                    <a:lnTo>
                      <a:pt x="232" y="222"/>
                    </a:lnTo>
                    <a:close/>
                    <a:moveTo>
                      <a:pt x="165" y="347"/>
                    </a:moveTo>
                    <a:lnTo>
                      <a:pt x="166" y="347"/>
                    </a:lnTo>
                    <a:lnTo>
                      <a:pt x="167" y="347"/>
                    </a:lnTo>
                    <a:lnTo>
                      <a:pt x="166" y="347"/>
                    </a:lnTo>
                    <a:lnTo>
                      <a:pt x="166" y="348"/>
                    </a:lnTo>
                    <a:lnTo>
                      <a:pt x="165" y="349"/>
                    </a:lnTo>
                    <a:lnTo>
                      <a:pt x="164" y="350"/>
                    </a:lnTo>
                    <a:lnTo>
                      <a:pt x="163" y="350"/>
                    </a:lnTo>
                    <a:lnTo>
                      <a:pt x="164" y="350"/>
                    </a:lnTo>
                    <a:lnTo>
                      <a:pt x="164" y="349"/>
                    </a:lnTo>
                    <a:lnTo>
                      <a:pt x="165" y="349"/>
                    </a:lnTo>
                    <a:lnTo>
                      <a:pt x="164" y="349"/>
                    </a:lnTo>
                    <a:lnTo>
                      <a:pt x="164" y="348"/>
                    </a:lnTo>
                    <a:lnTo>
                      <a:pt x="163" y="348"/>
                    </a:lnTo>
                    <a:lnTo>
                      <a:pt x="164" y="348"/>
                    </a:lnTo>
                    <a:lnTo>
                      <a:pt x="164" y="349"/>
                    </a:lnTo>
                    <a:lnTo>
                      <a:pt x="163" y="349"/>
                    </a:lnTo>
                    <a:lnTo>
                      <a:pt x="163" y="348"/>
                    </a:lnTo>
                    <a:lnTo>
                      <a:pt x="164" y="347"/>
                    </a:lnTo>
                    <a:lnTo>
                      <a:pt x="165" y="347"/>
                    </a:lnTo>
                    <a:close/>
                    <a:moveTo>
                      <a:pt x="162" y="347"/>
                    </a:moveTo>
                    <a:lnTo>
                      <a:pt x="163" y="348"/>
                    </a:lnTo>
                    <a:lnTo>
                      <a:pt x="163" y="349"/>
                    </a:lnTo>
                    <a:lnTo>
                      <a:pt x="162" y="349"/>
                    </a:lnTo>
                    <a:lnTo>
                      <a:pt x="163" y="349"/>
                    </a:lnTo>
                    <a:lnTo>
                      <a:pt x="163" y="350"/>
                    </a:lnTo>
                    <a:lnTo>
                      <a:pt x="162" y="350"/>
                    </a:lnTo>
                    <a:lnTo>
                      <a:pt x="161" y="350"/>
                    </a:lnTo>
                    <a:lnTo>
                      <a:pt x="161" y="349"/>
                    </a:lnTo>
                    <a:lnTo>
                      <a:pt x="161" y="350"/>
                    </a:lnTo>
                    <a:lnTo>
                      <a:pt x="160" y="349"/>
                    </a:lnTo>
                    <a:lnTo>
                      <a:pt x="161" y="349"/>
                    </a:lnTo>
                    <a:lnTo>
                      <a:pt x="161" y="348"/>
                    </a:lnTo>
                    <a:lnTo>
                      <a:pt x="161" y="347"/>
                    </a:lnTo>
                    <a:lnTo>
                      <a:pt x="161" y="348"/>
                    </a:lnTo>
                    <a:lnTo>
                      <a:pt x="161" y="347"/>
                    </a:lnTo>
                    <a:lnTo>
                      <a:pt x="162" y="347"/>
                    </a:lnTo>
                    <a:close/>
                    <a:moveTo>
                      <a:pt x="225" y="399"/>
                    </a:moveTo>
                    <a:lnTo>
                      <a:pt x="226" y="399"/>
                    </a:lnTo>
                    <a:lnTo>
                      <a:pt x="226" y="400"/>
                    </a:lnTo>
                    <a:lnTo>
                      <a:pt x="225" y="400"/>
                    </a:lnTo>
                    <a:lnTo>
                      <a:pt x="225" y="401"/>
                    </a:lnTo>
                    <a:lnTo>
                      <a:pt x="225" y="402"/>
                    </a:lnTo>
                    <a:lnTo>
                      <a:pt x="225" y="401"/>
                    </a:lnTo>
                    <a:lnTo>
                      <a:pt x="223" y="401"/>
                    </a:lnTo>
                    <a:lnTo>
                      <a:pt x="225" y="401"/>
                    </a:lnTo>
                    <a:lnTo>
                      <a:pt x="225" y="400"/>
                    </a:lnTo>
                    <a:lnTo>
                      <a:pt x="221" y="401"/>
                    </a:lnTo>
                    <a:lnTo>
                      <a:pt x="221" y="400"/>
                    </a:lnTo>
                    <a:lnTo>
                      <a:pt x="222" y="400"/>
                    </a:lnTo>
                    <a:lnTo>
                      <a:pt x="223" y="400"/>
                    </a:lnTo>
                    <a:lnTo>
                      <a:pt x="225" y="400"/>
                    </a:lnTo>
                    <a:lnTo>
                      <a:pt x="226" y="400"/>
                    </a:lnTo>
                    <a:lnTo>
                      <a:pt x="225" y="399"/>
                    </a:lnTo>
                    <a:lnTo>
                      <a:pt x="225" y="400"/>
                    </a:lnTo>
                    <a:lnTo>
                      <a:pt x="223" y="400"/>
                    </a:lnTo>
                    <a:lnTo>
                      <a:pt x="222" y="400"/>
                    </a:lnTo>
                    <a:lnTo>
                      <a:pt x="223" y="400"/>
                    </a:lnTo>
                    <a:lnTo>
                      <a:pt x="223" y="399"/>
                    </a:lnTo>
                    <a:lnTo>
                      <a:pt x="222" y="399"/>
                    </a:lnTo>
                    <a:lnTo>
                      <a:pt x="222" y="400"/>
                    </a:lnTo>
                    <a:lnTo>
                      <a:pt x="222" y="399"/>
                    </a:lnTo>
                    <a:lnTo>
                      <a:pt x="221" y="400"/>
                    </a:lnTo>
                    <a:lnTo>
                      <a:pt x="221" y="399"/>
                    </a:lnTo>
                    <a:lnTo>
                      <a:pt x="222" y="399"/>
                    </a:lnTo>
                    <a:lnTo>
                      <a:pt x="225" y="399"/>
                    </a:lnTo>
                    <a:close/>
                    <a:moveTo>
                      <a:pt x="215" y="396"/>
                    </a:moveTo>
                    <a:lnTo>
                      <a:pt x="215" y="397"/>
                    </a:lnTo>
                    <a:lnTo>
                      <a:pt x="215" y="398"/>
                    </a:lnTo>
                    <a:lnTo>
                      <a:pt x="215" y="397"/>
                    </a:lnTo>
                    <a:lnTo>
                      <a:pt x="214" y="397"/>
                    </a:lnTo>
                    <a:lnTo>
                      <a:pt x="214" y="396"/>
                    </a:lnTo>
                    <a:lnTo>
                      <a:pt x="213" y="396"/>
                    </a:lnTo>
                    <a:lnTo>
                      <a:pt x="213" y="395"/>
                    </a:lnTo>
                    <a:lnTo>
                      <a:pt x="213" y="391"/>
                    </a:lnTo>
                    <a:lnTo>
                      <a:pt x="214" y="391"/>
                    </a:lnTo>
                    <a:lnTo>
                      <a:pt x="215" y="396"/>
                    </a:lnTo>
                    <a:close/>
                    <a:moveTo>
                      <a:pt x="251" y="397"/>
                    </a:moveTo>
                    <a:lnTo>
                      <a:pt x="247" y="398"/>
                    </a:lnTo>
                    <a:lnTo>
                      <a:pt x="247" y="397"/>
                    </a:lnTo>
                    <a:lnTo>
                      <a:pt x="247" y="396"/>
                    </a:lnTo>
                    <a:lnTo>
                      <a:pt x="248" y="395"/>
                    </a:lnTo>
                    <a:lnTo>
                      <a:pt x="249" y="395"/>
                    </a:lnTo>
                    <a:lnTo>
                      <a:pt x="249" y="396"/>
                    </a:lnTo>
                    <a:lnTo>
                      <a:pt x="249" y="397"/>
                    </a:lnTo>
                    <a:lnTo>
                      <a:pt x="251" y="397"/>
                    </a:lnTo>
                    <a:close/>
                    <a:moveTo>
                      <a:pt x="122" y="331"/>
                    </a:moveTo>
                    <a:lnTo>
                      <a:pt x="120" y="331"/>
                    </a:lnTo>
                    <a:lnTo>
                      <a:pt x="119" y="331"/>
                    </a:lnTo>
                    <a:lnTo>
                      <a:pt x="117" y="331"/>
                    </a:lnTo>
                    <a:lnTo>
                      <a:pt x="118" y="331"/>
                    </a:lnTo>
                    <a:lnTo>
                      <a:pt x="117" y="331"/>
                    </a:lnTo>
                    <a:lnTo>
                      <a:pt x="118" y="331"/>
                    </a:lnTo>
                    <a:lnTo>
                      <a:pt x="118" y="329"/>
                    </a:lnTo>
                    <a:lnTo>
                      <a:pt x="118" y="328"/>
                    </a:lnTo>
                    <a:lnTo>
                      <a:pt x="119" y="328"/>
                    </a:lnTo>
                    <a:lnTo>
                      <a:pt x="119" y="329"/>
                    </a:lnTo>
                    <a:lnTo>
                      <a:pt x="120" y="331"/>
                    </a:lnTo>
                    <a:lnTo>
                      <a:pt x="119" y="329"/>
                    </a:lnTo>
                    <a:lnTo>
                      <a:pt x="119" y="328"/>
                    </a:lnTo>
                    <a:lnTo>
                      <a:pt x="120" y="328"/>
                    </a:lnTo>
                    <a:lnTo>
                      <a:pt x="122" y="328"/>
                    </a:lnTo>
                    <a:lnTo>
                      <a:pt x="122" y="329"/>
                    </a:lnTo>
                    <a:lnTo>
                      <a:pt x="122" y="331"/>
                    </a:lnTo>
                    <a:close/>
                    <a:moveTo>
                      <a:pt x="245" y="392"/>
                    </a:moveTo>
                    <a:lnTo>
                      <a:pt x="245" y="391"/>
                    </a:lnTo>
                    <a:lnTo>
                      <a:pt x="246" y="391"/>
                    </a:lnTo>
                    <a:lnTo>
                      <a:pt x="246" y="392"/>
                    </a:lnTo>
                    <a:lnTo>
                      <a:pt x="247" y="392"/>
                    </a:lnTo>
                    <a:lnTo>
                      <a:pt x="248" y="392"/>
                    </a:lnTo>
                    <a:lnTo>
                      <a:pt x="247" y="392"/>
                    </a:lnTo>
                    <a:lnTo>
                      <a:pt x="247" y="393"/>
                    </a:lnTo>
                    <a:lnTo>
                      <a:pt x="244" y="392"/>
                    </a:lnTo>
                    <a:lnTo>
                      <a:pt x="244" y="391"/>
                    </a:lnTo>
                    <a:lnTo>
                      <a:pt x="245" y="391"/>
                    </a:lnTo>
                    <a:lnTo>
                      <a:pt x="245" y="392"/>
                    </a:lnTo>
                    <a:close/>
                    <a:moveTo>
                      <a:pt x="240" y="245"/>
                    </a:moveTo>
                    <a:lnTo>
                      <a:pt x="241" y="245"/>
                    </a:lnTo>
                    <a:lnTo>
                      <a:pt x="241" y="246"/>
                    </a:lnTo>
                    <a:lnTo>
                      <a:pt x="242" y="246"/>
                    </a:lnTo>
                    <a:lnTo>
                      <a:pt x="242" y="247"/>
                    </a:lnTo>
                    <a:lnTo>
                      <a:pt x="241" y="247"/>
                    </a:lnTo>
                    <a:lnTo>
                      <a:pt x="241" y="246"/>
                    </a:lnTo>
                    <a:lnTo>
                      <a:pt x="240" y="246"/>
                    </a:lnTo>
                    <a:lnTo>
                      <a:pt x="240" y="245"/>
                    </a:lnTo>
                    <a:lnTo>
                      <a:pt x="240" y="246"/>
                    </a:lnTo>
                    <a:lnTo>
                      <a:pt x="240" y="245"/>
                    </a:lnTo>
                    <a:lnTo>
                      <a:pt x="239" y="245"/>
                    </a:lnTo>
                    <a:lnTo>
                      <a:pt x="239" y="246"/>
                    </a:lnTo>
                    <a:lnTo>
                      <a:pt x="240" y="246"/>
                    </a:lnTo>
                    <a:lnTo>
                      <a:pt x="240" y="247"/>
                    </a:lnTo>
                    <a:lnTo>
                      <a:pt x="239" y="247"/>
                    </a:lnTo>
                    <a:lnTo>
                      <a:pt x="239" y="246"/>
                    </a:lnTo>
                    <a:lnTo>
                      <a:pt x="239" y="245"/>
                    </a:lnTo>
                    <a:lnTo>
                      <a:pt x="238" y="245"/>
                    </a:lnTo>
                    <a:lnTo>
                      <a:pt x="238" y="244"/>
                    </a:lnTo>
                    <a:lnTo>
                      <a:pt x="239" y="244"/>
                    </a:lnTo>
                    <a:lnTo>
                      <a:pt x="240" y="244"/>
                    </a:lnTo>
                    <a:lnTo>
                      <a:pt x="240" y="245"/>
                    </a:lnTo>
                    <a:close/>
                    <a:moveTo>
                      <a:pt x="481" y="603"/>
                    </a:moveTo>
                    <a:lnTo>
                      <a:pt x="480" y="604"/>
                    </a:lnTo>
                    <a:lnTo>
                      <a:pt x="478" y="605"/>
                    </a:lnTo>
                    <a:lnTo>
                      <a:pt x="477" y="605"/>
                    </a:lnTo>
                    <a:lnTo>
                      <a:pt x="477" y="606"/>
                    </a:lnTo>
                    <a:lnTo>
                      <a:pt x="476" y="606"/>
                    </a:lnTo>
                    <a:lnTo>
                      <a:pt x="476" y="605"/>
                    </a:lnTo>
                    <a:lnTo>
                      <a:pt x="477" y="603"/>
                    </a:lnTo>
                    <a:lnTo>
                      <a:pt x="478" y="603"/>
                    </a:lnTo>
                    <a:lnTo>
                      <a:pt x="479" y="603"/>
                    </a:lnTo>
                    <a:lnTo>
                      <a:pt x="480" y="603"/>
                    </a:lnTo>
                    <a:lnTo>
                      <a:pt x="481" y="603"/>
                    </a:lnTo>
                    <a:close/>
                    <a:moveTo>
                      <a:pt x="470" y="439"/>
                    </a:moveTo>
                    <a:lnTo>
                      <a:pt x="468" y="442"/>
                    </a:lnTo>
                    <a:lnTo>
                      <a:pt x="468" y="443"/>
                    </a:lnTo>
                    <a:lnTo>
                      <a:pt x="467" y="442"/>
                    </a:lnTo>
                    <a:lnTo>
                      <a:pt x="466" y="442"/>
                    </a:lnTo>
                    <a:lnTo>
                      <a:pt x="466" y="441"/>
                    </a:lnTo>
                    <a:lnTo>
                      <a:pt x="467" y="440"/>
                    </a:lnTo>
                    <a:lnTo>
                      <a:pt x="468" y="440"/>
                    </a:lnTo>
                    <a:lnTo>
                      <a:pt x="468" y="441"/>
                    </a:lnTo>
                    <a:lnTo>
                      <a:pt x="468" y="440"/>
                    </a:lnTo>
                    <a:lnTo>
                      <a:pt x="470" y="440"/>
                    </a:lnTo>
                    <a:lnTo>
                      <a:pt x="470" y="439"/>
                    </a:lnTo>
                    <a:close/>
                    <a:moveTo>
                      <a:pt x="363" y="482"/>
                    </a:moveTo>
                    <a:lnTo>
                      <a:pt x="363" y="483"/>
                    </a:lnTo>
                    <a:lnTo>
                      <a:pt x="363" y="485"/>
                    </a:lnTo>
                    <a:lnTo>
                      <a:pt x="362" y="485"/>
                    </a:lnTo>
                    <a:lnTo>
                      <a:pt x="361" y="483"/>
                    </a:lnTo>
                    <a:lnTo>
                      <a:pt x="360" y="483"/>
                    </a:lnTo>
                    <a:lnTo>
                      <a:pt x="360" y="482"/>
                    </a:lnTo>
                    <a:lnTo>
                      <a:pt x="361" y="482"/>
                    </a:lnTo>
                    <a:lnTo>
                      <a:pt x="361" y="481"/>
                    </a:lnTo>
                    <a:lnTo>
                      <a:pt x="362" y="481"/>
                    </a:lnTo>
                    <a:lnTo>
                      <a:pt x="362" y="482"/>
                    </a:lnTo>
                    <a:lnTo>
                      <a:pt x="363" y="482"/>
                    </a:lnTo>
                    <a:close/>
                    <a:moveTo>
                      <a:pt x="165" y="351"/>
                    </a:moveTo>
                    <a:lnTo>
                      <a:pt x="165" y="352"/>
                    </a:lnTo>
                    <a:lnTo>
                      <a:pt x="166" y="352"/>
                    </a:lnTo>
                    <a:lnTo>
                      <a:pt x="166" y="353"/>
                    </a:lnTo>
                    <a:lnTo>
                      <a:pt x="165" y="353"/>
                    </a:lnTo>
                    <a:lnTo>
                      <a:pt x="165" y="352"/>
                    </a:lnTo>
                    <a:lnTo>
                      <a:pt x="164" y="351"/>
                    </a:lnTo>
                    <a:lnTo>
                      <a:pt x="164" y="352"/>
                    </a:lnTo>
                    <a:lnTo>
                      <a:pt x="163" y="352"/>
                    </a:lnTo>
                    <a:lnTo>
                      <a:pt x="163" y="353"/>
                    </a:lnTo>
                    <a:lnTo>
                      <a:pt x="163" y="352"/>
                    </a:lnTo>
                    <a:lnTo>
                      <a:pt x="162" y="352"/>
                    </a:lnTo>
                    <a:lnTo>
                      <a:pt x="162" y="353"/>
                    </a:lnTo>
                    <a:lnTo>
                      <a:pt x="162" y="352"/>
                    </a:lnTo>
                    <a:lnTo>
                      <a:pt x="161" y="352"/>
                    </a:lnTo>
                    <a:lnTo>
                      <a:pt x="161" y="353"/>
                    </a:lnTo>
                    <a:lnTo>
                      <a:pt x="161" y="354"/>
                    </a:lnTo>
                    <a:lnTo>
                      <a:pt x="161" y="353"/>
                    </a:lnTo>
                    <a:lnTo>
                      <a:pt x="162" y="353"/>
                    </a:lnTo>
                    <a:lnTo>
                      <a:pt x="162" y="354"/>
                    </a:lnTo>
                    <a:lnTo>
                      <a:pt x="161" y="354"/>
                    </a:lnTo>
                    <a:lnTo>
                      <a:pt x="160" y="354"/>
                    </a:lnTo>
                    <a:lnTo>
                      <a:pt x="160" y="356"/>
                    </a:lnTo>
                    <a:lnTo>
                      <a:pt x="160" y="354"/>
                    </a:lnTo>
                    <a:lnTo>
                      <a:pt x="160" y="353"/>
                    </a:lnTo>
                    <a:lnTo>
                      <a:pt x="161" y="352"/>
                    </a:lnTo>
                    <a:lnTo>
                      <a:pt x="162" y="352"/>
                    </a:lnTo>
                    <a:lnTo>
                      <a:pt x="161" y="352"/>
                    </a:lnTo>
                    <a:lnTo>
                      <a:pt x="162" y="352"/>
                    </a:lnTo>
                    <a:lnTo>
                      <a:pt x="163" y="352"/>
                    </a:lnTo>
                    <a:lnTo>
                      <a:pt x="163" y="351"/>
                    </a:lnTo>
                    <a:lnTo>
                      <a:pt x="164" y="351"/>
                    </a:lnTo>
                    <a:lnTo>
                      <a:pt x="165" y="351"/>
                    </a:lnTo>
                    <a:close/>
                    <a:moveTo>
                      <a:pt x="115" y="411"/>
                    </a:moveTo>
                    <a:lnTo>
                      <a:pt x="116" y="411"/>
                    </a:lnTo>
                    <a:lnTo>
                      <a:pt x="116" y="410"/>
                    </a:lnTo>
                    <a:lnTo>
                      <a:pt x="116" y="411"/>
                    </a:lnTo>
                    <a:lnTo>
                      <a:pt x="111" y="411"/>
                    </a:lnTo>
                    <a:lnTo>
                      <a:pt x="110" y="411"/>
                    </a:lnTo>
                    <a:lnTo>
                      <a:pt x="110" y="410"/>
                    </a:lnTo>
                    <a:lnTo>
                      <a:pt x="111" y="410"/>
                    </a:lnTo>
                    <a:lnTo>
                      <a:pt x="112" y="410"/>
                    </a:lnTo>
                    <a:lnTo>
                      <a:pt x="113" y="410"/>
                    </a:lnTo>
                    <a:lnTo>
                      <a:pt x="114" y="410"/>
                    </a:lnTo>
                    <a:lnTo>
                      <a:pt x="115" y="411"/>
                    </a:lnTo>
                    <a:close/>
                    <a:moveTo>
                      <a:pt x="205" y="390"/>
                    </a:moveTo>
                    <a:lnTo>
                      <a:pt x="206" y="390"/>
                    </a:lnTo>
                    <a:lnTo>
                      <a:pt x="206" y="391"/>
                    </a:lnTo>
                    <a:lnTo>
                      <a:pt x="205" y="391"/>
                    </a:lnTo>
                    <a:lnTo>
                      <a:pt x="205" y="390"/>
                    </a:lnTo>
                    <a:lnTo>
                      <a:pt x="204" y="390"/>
                    </a:lnTo>
                    <a:lnTo>
                      <a:pt x="203" y="390"/>
                    </a:lnTo>
                    <a:lnTo>
                      <a:pt x="202" y="390"/>
                    </a:lnTo>
                    <a:lnTo>
                      <a:pt x="203" y="389"/>
                    </a:lnTo>
                    <a:lnTo>
                      <a:pt x="204" y="389"/>
                    </a:lnTo>
                    <a:lnTo>
                      <a:pt x="205" y="388"/>
                    </a:lnTo>
                    <a:lnTo>
                      <a:pt x="205" y="386"/>
                    </a:lnTo>
                    <a:lnTo>
                      <a:pt x="205" y="387"/>
                    </a:lnTo>
                    <a:lnTo>
                      <a:pt x="205" y="388"/>
                    </a:lnTo>
                    <a:lnTo>
                      <a:pt x="205" y="389"/>
                    </a:lnTo>
                    <a:lnTo>
                      <a:pt x="206" y="389"/>
                    </a:lnTo>
                    <a:lnTo>
                      <a:pt x="205" y="390"/>
                    </a:lnTo>
                    <a:close/>
                    <a:moveTo>
                      <a:pt x="239" y="379"/>
                    </a:moveTo>
                    <a:lnTo>
                      <a:pt x="239" y="380"/>
                    </a:lnTo>
                    <a:lnTo>
                      <a:pt x="239" y="382"/>
                    </a:lnTo>
                    <a:lnTo>
                      <a:pt x="238" y="382"/>
                    </a:lnTo>
                    <a:lnTo>
                      <a:pt x="238" y="383"/>
                    </a:lnTo>
                    <a:lnTo>
                      <a:pt x="236" y="383"/>
                    </a:lnTo>
                    <a:lnTo>
                      <a:pt x="236" y="382"/>
                    </a:lnTo>
                    <a:lnTo>
                      <a:pt x="238" y="379"/>
                    </a:lnTo>
                    <a:lnTo>
                      <a:pt x="239" y="379"/>
                    </a:lnTo>
                    <a:close/>
                    <a:moveTo>
                      <a:pt x="182" y="346"/>
                    </a:moveTo>
                    <a:lnTo>
                      <a:pt x="182" y="347"/>
                    </a:lnTo>
                    <a:lnTo>
                      <a:pt x="182" y="348"/>
                    </a:lnTo>
                    <a:lnTo>
                      <a:pt x="182" y="349"/>
                    </a:lnTo>
                    <a:lnTo>
                      <a:pt x="182" y="350"/>
                    </a:lnTo>
                    <a:lnTo>
                      <a:pt x="182" y="351"/>
                    </a:lnTo>
                    <a:lnTo>
                      <a:pt x="181" y="350"/>
                    </a:lnTo>
                    <a:lnTo>
                      <a:pt x="180" y="351"/>
                    </a:lnTo>
                    <a:lnTo>
                      <a:pt x="180" y="350"/>
                    </a:lnTo>
                    <a:lnTo>
                      <a:pt x="181" y="350"/>
                    </a:lnTo>
                    <a:lnTo>
                      <a:pt x="180" y="349"/>
                    </a:lnTo>
                    <a:lnTo>
                      <a:pt x="181" y="349"/>
                    </a:lnTo>
                    <a:lnTo>
                      <a:pt x="181" y="348"/>
                    </a:lnTo>
                    <a:lnTo>
                      <a:pt x="181" y="347"/>
                    </a:lnTo>
                    <a:lnTo>
                      <a:pt x="180" y="348"/>
                    </a:lnTo>
                    <a:lnTo>
                      <a:pt x="180" y="349"/>
                    </a:lnTo>
                    <a:lnTo>
                      <a:pt x="180" y="348"/>
                    </a:lnTo>
                    <a:lnTo>
                      <a:pt x="180" y="347"/>
                    </a:lnTo>
                    <a:lnTo>
                      <a:pt x="181" y="347"/>
                    </a:lnTo>
                    <a:lnTo>
                      <a:pt x="181" y="346"/>
                    </a:lnTo>
                    <a:lnTo>
                      <a:pt x="182" y="346"/>
                    </a:lnTo>
                    <a:close/>
                    <a:moveTo>
                      <a:pt x="206" y="414"/>
                    </a:moveTo>
                    <a:lnTo>
                      <a:pt x="206" y="415"/>
                    </a:lnTo>
                    <a:lnTo>
                      <a:pt x="207" y="415"/>
                    </a:lnTo>
                    <a:lnTo>
                      <a:pt x="207" y="416"/>
                    </a:lnTo>
                    <a:lnTo>
                      <a:pt x="206" y="416"/>
                    </a:lnTo>
                    <a:lnTo>
                      <a:pt x="206" y="417"/>
                    </a:lnTo>
                    <a:lnTo>
                      <a:pt x="206" y="418"/>
                    </a:lnTo>
                    <a:lnTo>
                      <a:pt x="205" y="418"/>
                    </a:lnTo>
                    <a:lnTo>
                      <a:pt x="205" y="417"/>
                    </a:lnTo>
                    <a:lnTo>
                      <a:pt x="205" y="416"/>
                    </a:lnTo>
                    <a:lnTo>
                      <a:pt x="205" y="415"/>
                    </a:lnTo>
                    <a:lnTo>
                      <a:pt x="205" y="414"/>
                    </a:lnTo>
                    <a:lnTo>
                      <a:pt x="206" y="414"/>
                    </a:lnTo>
                    <a:close/>
                    <a:moveTo>
                      <a:pt x="497" y="463"/>
                    </a:moveTo>
                    <a:lnTo>
                      <a:pt x="497" y="464"/>
                    </a:lnTo>
                    <a:lnTo>
                      <a:pt x="497" y="465"/>
                    </a:lnTo>
                    <a:lnTo>
                      <a:pt x="498" y="465"/>
                    </a:lnTo>
                    <a:lnTo>
                      <a:pt x="498" y="464"/>
                    </a:lnTo>
                    <a:lnTo>
                      <a:pt x="498" y="465"/>
                    </a:lnTo>
                    <a:lnTo>
                      <a:pt x="498" y="466"/>
                    </a:lnTo>
                    <a:lnTo>
                      <a:pt x="499" y="465"/>
                    </a:lnTo>
                    <a:lnTo>
                      <a:pt x="499" y="466"/>
                    </a:lnTo>
                    <a:lnTo>
                      <a:pt x="498" y="466"/>
                    </a:lnTo>
                    <a:lnTo>
                      <a:pt x="497" y="466"/>
                    </a:lnTo>
                    <a:lnTo>
                      <a:pt x="497" y="465"/>
                    </a:lnTo>
                    <a:lnTo>
                      <a:pt x="497" y="464"/>
                    </a:lnTo>
                    <a:lnTo>
                      <a:pt x="496" y="464"/>
                    </a:lnTo>
                    <a:lnTo>
                      <a:pt x="496" y="463"/>
                    </a:lnTo>
                    <a:lnTo>
                      <a:pt x="496" y="462"/>
                    </a:lnTo>
                    <a:lnTo>
                      <a:pt x="496" y="463"/>
                    </a:lnTo>
                    <a:lnTo>
                      <a:pt x="496" y="462"/>
                    </a:lnTo>
                    <a:lnTo>
                      <a:pt x="497" y="462"/>
                    </a:lnTo>
                    <a:lnTo>
                      <a:pt x="497" y="463"/>
                    </a:lnTo>
                    <a:close/>
                    <a:moveTo>
                      <a:pt x="255" y="395"/>
                    </a:moveTo>
                    <a:lnTo>
                      <a:pt x="256" y="395"/>
                    </a:lnTo>
                    <a:lnTo>
                      <a:pt x="255" y="395"/>
                    </a:lnTo>
                    <a:lnTo>
                      <a:pt x="256" y="395"/>
                    </a:lnTo>
                    <a:lnTo>
                      <a:pt x="256" y="396"/>
                    </a:lnTo>
                    <a:lnTo>
                      <a:pt x="256" y="397"/>
                    </a:lnTo>
                    <a:lnTo>
                      <a:pt x="255" y="397"/>
                    </a:lnTo>
                    <a:lnTo>
                      <a:pt x="253" y="396"/>
                    </a:lnTo>
                    <a:lnTo>
                      <a:pt x="254" y="395"/>
                    </a:lnTo>
                    <a:lnTo>
                      <a:pt x="255" y="395"/>
                    </a:lnTo>
                    <a:close/>
                    <a:moveTo>
                      <a:pt x="251" y="236"/>
                    </a:moveTo>
                    <a:lnTo>
                      <a:pt x="251" y="237"/>
                    </a:lnTo>
                    <a:lnTo>
                      <a:pt x="252" y="236"/>
                    </a:lnTo>
                    <a:lnTo>
                      <a:pt x="251" y="237"/>
                    </a:lnTo>
                    <a:lnTo>
                      <a:pt x="252" y="237"/>
                    </a:lnTo>
                    <a:lnTo>
                      <a:pt x="252" y="238"/>
                    </a:lnTo>
                    <a:lnTo>
                      <a:pt x="251" y="238"/>
                    </a:lnTo>
                    <a:lnTo>
                      <a:pt x="252" y="239"/>
                    </a:lnTo>
                    <a:lnTo>
                      <a:pt x="251" y="239"/>
                    </a:lnTo>
                    <a:lnTo>
                      <a:pt x="249" y="239"/>
                    </a:lnTo>
                    <a:lnTo>
                      <a:pt x="248" y="238"/>
                    </a:lnTo>
                    <a:lnTo>
                      <a:pt x="249" y="238"/>
                    </a:lnTo>
                    <a:lnTo>
                      <a:pt x="249" y="237"/>
                    </a:lnTo>
                    <a:lnTo>
                      <a:pt x="251" y="237"/>
                    </a:lnTo>
                    <a:lnTo>
                      <a:pt x="251" y="236"/>
                    </a:lnTo>
                    <a:lnTo>
                      <a:pt x="249" y="236"/>
                    </a:lnTo>
                    <a:lnTo>
                      <a:pt x="251" y="236"/>
                    </a:lnTo>
                    <a:close/>
                    <a:moveTo>
                      <a:pt x="217" y="223"/>
                    </a:moveTo>
                    <a:lnTo>
                      <a:pt x="217" y="224"/>
                    </a:lnTo>
                    <a:lnTo>
                      <a:pt x="218" y="224"/>
                    </a:lnTo>
                    <a:lnTo>
                      <a:pt x="219" y="224"/>
                    </a:lnTo>
                    <a:lnTo>
                      <a:pt x="220" y="224"/>
                    </a:lnTo>
                    <a:lnTo>
                      <a:pt x="221" y="224"/>
                    </a:lnTo>
                    <a:lnTo>
                      <a:pt x="222" y="224"/>
                    </a:lnTo>
                    <a:lnTo>
                      <a:pt x="223" y="224"/>
                    </a:lnTo>
                    <a:lnTo>
                      <a:pt x="225" y="224"/>
                    </a:lnTo>
                    <a:lnTo>
                      <a:pt x="225" y="225"/>
                    </a:lnTo>
                    <a:lnTo>
                      <a:pt x="223" y="225"/>
                    </a:lnTo>
                    <a:lnTo>
                      <a:pt x="223" y="224"/>
                    </a:lnTo>
                    <a:lnTo>
                      <a:pt x="221" y="224"/>
                    </a:lnTo>
                    <a:lnTo>
                      <a:pt x="220" y="224"/>
                    </a:lnTo>
                    <a:lnTo>
                      <a:pt x="219" y="224"/>
                    </a:lnTo>
                    <a:lnTo>
                      <a:pt x="218" y="225"/>
                    </a:lnTo>
                    <a:lnTo>
                      <a:pt x="217" y="225"/>
                    </a:lnTo>
                    <a:lnTo>
                      <a:pt x="217" y="224"/>
                    </a:lnTo>
                    <a:lnTo>
                      <a:pt x="217" y="223"/>
                    </a:lnTo>
                    <a:close/>
                    <a:moveTo>
                      <a:pt x="215" y="401"/>
                    </a:moveTo>
                    <a:lnTo>
                      <a:pt x="215" y="402"/>
                    </a:lnTo>
                    <a:lnTo>
                      <a:pt x="214" y="402"/>
                    </a:lnTo>
                    <a:lnTo>
                      <a:pt x="212" y="402"/>
                    </a:lnTo>
                    <a:lnTo>
                      <a:pt x="210" y="402"/>
                    </a:lnTo>
                    <a:lnTo>
                      <a:pt x="210" y="401"/>
                    </a:lnTo>
                    <a:lnTo>
                      <a:pt x="212" y="401"/>
                    </a:lnTo>
                    <a:lnTo>
                      <a:pt x="213" y="401"/>
                    </a:lnTo>
                    <a:lnTo>
                      <a:pt x="214" y="401"/>
                    </a:lnTo>
                    <a:lnTo>
                      <a:pt x="213" y="401"/>
                    </a:lnTo>
                    <a:lnTo>
                      <a:pt x="214" y="400"/>
                    </a:lnTo>
                    <a:lnTo>
                      <a:pt x="214" y="401"/>
                    </a:lnTo>
                    <a:lnTo>
                      <a:pt x="215" y="400"/>
                    </a:lnTo>
                    <a:lnTo>
                      <a:pt x="215" y="401"/>
                    </a:lnTo>
                    <a:close/>
                    <a:moveTo>
                      <a:pt x="238" y="399"/>
                    </a:moveTo>
                    <a:lnTo>
                      <a:pt x="239" y="400"/>
                    </a:lnTo>
                    <a:lnTo>
                      <a:pt x="238" y="400"/>
                    </a:lnTo>
                    <a:lnTo>
                      <a:pt x="236" y="400"/>
                    </a:lnTo>
                    <a:lnTo>
                      <a:pt x="236" y="401"/>
                    </a:lnTo>
                    <a:lnTo>
                      <a:pt x="235" y="401"/>
                    </a:lnTo>
                    <a:lnTo>
                      <a:pt x="236" y="401"/>
                    </a:lnTo>
                    <a:lnTo>
                      <a:pt x="236" y="402"/>
                    </a:lnTo>
                    <a:lnTo>
                      <a:pt x="235" y="402"/>
                    </a:lnTo>
                    <a:lnTo>
                      <a:pt x="235" y="401"/>
                    </a:lnTo>
                    <a:lnTo>
                      <a:pt x="234" y="401"/>
                    </a:lnTo>
                    <a:lnTo>
                      <a:pt x="233" y="401"/>
                    </a:lnTo>
                    <a:lnTo>
                      <a:pt x="233" y="400"/>
                    </a:lnTo>
                    <a:lnTo>
                      <a:pt x="235" y="399"/>
                    </a:lnTo>
                    <a:lnTo>
                      <a:pt x="236" y="399"/>
                    </a:lnTo>
                    <a:lnTo>
                      <a:pt x="238" y="399"/>
                    </a:lnTo>
                    <a:close/>
                    <a:moveTo>
                      <a:pt x="241" y="225"/>
                    </a:moveTo>
                    <a:lnTo>
                      <a:pt x="240" y="226"/>
                    </a:lnTo>
                    <a:lnTo>
                      <a:pt x="241" y="228"/>
                    </a:lnTo>
                    <a:lnTo>
                      <a:pt x="240" y="228"/>
                    </a:lnTo>
                    <a:lnTo>
                      <a:pt x="239" y="228"/>
                    </a:lnTo>
                    <a:lnTo>
                      <a:pt x="239" y="226"/>
                    </a:lnTo>
                    <a:lnTo>
                      <a:pt x="238" y="226"/>
                    </a:lnTo>
                    <a:lnTo>
                      <a:pt x="239" y="226"/>
                    </a:lnTo>
                    <a:lnTo>
                      <a:pt x="239" y="225"/>
                    </a:lnTo>
                    <a:lnTo>
                      <a:pt x="238" y="225"/>
                    </a:lnTo>
                    <a:lnTo>
                      <a:pt x="239" y="225"/>
                    </a:lnTo>
                    <a:lnTo>
                      <a:pt x="240" y="225"/>
                    </a:lnTo>
                    <a:lnTo>
                      <a:pt x="240" y="224"/>
                    </a:lnTo>
                    <a:lnTo>
                      <a:pt x="241" y="224"/>
                    </a:lnTo>
                    <a:lnTo>
                      <a:pt x="240" y="225"/>
                    </a:lnTo>
                    <a:lnTo>
                      <a:pt x="241" y="225"/>
                    </a:lnTo>
                    <a:close/>
                    <a:moveTo>
                      <a:pt x="223" y="395"/>
                    </a:moveTo>
                    <a:lnTo>
                      <a:pt x="225" y="395"/>
                    </a:lnTo>
                    <a:lnTo>
                      <a:pt x="226" y="395"/>
                    </a:lnTo>
                    <a:lnTo>
                      <a:pt x="227" y="393"/>
                    </a:lnTo>
                    <a:lnTo>
                      <a:pt x="227" y="392"/>
                    </a:lnTo>
                    <a:lnTo>
                      <a:pt x="228" y="392"/>
                    </a:lnTo>
                    <a:lnTo>
                      <a:pt x="226" y="396"/>
                    </a:lnTo>
                    <a:lnTo>
                      <a:pt x="225" y="396"/>
                    </a:lnTo>
                    <a:lnTo>
                      <a:pt x="225" y="395"/>
                    </a:lnTo>
                    <a:lnTo>
                      <a:pt x="223" y="395"/>
                    </a:lnTo>
                    <a:lnTo>
                      <a:pt x="222" y="395"/>
                    </a:lnTo>
                    <a:lnTo>
                      <a:pt x="222" y="393"/>
                    </a:lnTo>
                    <a:lnTo>
                      <a:pt x="221" y="393"/>
                    </a:lnTo>
                    <a:lnTo>
                      <a:pt x="221" y="392"/>
                    </a:lnTo>
                    <a:lnTo>
                      <a:pt x="221" y="391"/>
                    </a:lnTo>
                    <a:lnTo>
                      <a:pt x="221" y="390"/>
                    </a:lnTo>
                    <a:lnTo>
                      <a:pt x="221" y="389"/>
                    </a:lnTo>
                    <a:lnTo>
                      <a:pt x="221" y="390"/>
                    </a:lnTo>
                    <a:lnTo>
                      <a:pt x="221" y="391"/>
                    </a:lnTo>
                    <a:lnTo>
                      <a:pt x="222" y="392"/>
                    </a:lnTo>
                    <a:lnTo>
                      <a:pt x="222" y="393"/>
                    </a:lnTo>
                    <a:lnTo>
                      <a:pt x="223" y="393"/>
                    </a:lnTo>
                    <a:lnTo>
                      <a:pt x="223" y="395"/>
                    </a:lnTo>
                    <a:close/>
                    <a:moveTo>
                      <a:pt x="556" y="546"/>
                    </a:moveTo>
                    <a:lnTo>
                      <a:pt x="557" y="546"/>
                    </a:lnTo>
                    <a:lnTo>
                      <a:pt x="558" y="546"/>
                    </a:lnTo>
                    <a:lnTo>
                      <a:pt x="558" y="547"/>
                    </a:lnTo>
                    <a:lnTo>
                      <a:pt x="557" y="547"/>
                    </a:lnTo>
                    <a:lnTo>
                      <a:pt x="556" y="547"/>
                    </a:lnTo>
                    <a:lnTo>
                      <a:pt x="555" y="547"/>
                    </a:lnTo>
                    <a:lnTo>
                      <a:pt x="555" y="546"/>
                    </a:lnTo>
                    <a:lnTo>
                      <a:pt x="554" y="546"/>
                    </a:lnTo>
                    <a:lnTo>
                      <a:pt x="553" y="546"/>
                    </a:lnTo>
                    <a:lnTo>
                      <a:pt x="554" y="546"/>
                    </a:lnTo>
                    <a:lnTo>
                      <a:pt x="555" y="546"/>
                    </a:lnTo>
                    <a:lnTo>
                      <a:pt x="556" y="546"/>
                    </a:lnTo>
                    <a:close/>
                    <a:moveTo>
                      <a:pt x="504" y="452"/>
                    </a:moveTo>
                    <a:lnTo>
                      <a:pt x="505" y="452"/>
                    </a:lnTo>
                    <a:lnTo>
                      <a:pt x="505" y="453"/>
                    </a:lnTo>
                    <a:lnTo>
                      <a:pt x="504" y="453"/>
                    </a:lnTo>
                    <a:lnTo>
                      <a:pt x="504" y="454"/>
                    </a:lnTo>
                    <a:lnTo>
                      <a:pt x="503" y="454"/>
                    </a:lnTo>
                    <a:lnTo>
                      <a:pt x="503" y="453"/>
                    </a:lnTo>
                    <a:lnTo>
                      <a:pt x="503" y="454"/>
                    </a:lnTo>
                    <a:lnTo>
                      <a:pt x="502" y="454"/>
                    </a:lnTo>
                    <a:lnTo>
                      <a:pt x="502" y="453"/>
                    </a:lnTo>
                    <a:lnTo>
                      <a:pt x="503" y="453"/>
                    </a:lnTo>
                    <a:lnTo>
                      <a:pt x="503" y="452"/>
                    </a:lnTo>
                    <a:lnTo>
                      <a:pt x="504" y="452"/>
                    </a:lnTo>
                    <a:close/>
                    <a:moveTo>
                      <a:pt x="360" y="455"/>
                    </a:moveTo>
                    <a:lnTo>
                      <a:pt x="362" y="455"/>
                    </a:lnTo>
                    <a:lnTo>
                      <a:pt x="363" y="455"/>
                    </a:lnTo>
                    <a:lnTo>
                      <a:pt x="362" y="455"/>
                    </a:lnTo>
                    <a:lnTo>
                      <a:pt x="363" y="454"/>
                    </a:lnTo>
                    <a:lnTo>
                      <a:pt x="363" y="455"/>
                    </a:lnTo>
                    <a:lnTo>
                      <a:pt x="363" y="456"/>
                    </a:lnTo>
                    <a:lnTo>
                      <a:pt x="362" y="456"/>
                    </a:lnTo>
                    <a:lnTo>
                      <a:pt x="361" y="456"/>
                    </a:lnTo>
                    <a:lnTo>
                      <a:pt x="360" y="456"/>
                    </a:lnTo>
                    <a:lnTo>
                      <a:pt x="359" y="456"/>
                    </a:lnTo>
                    <a:lnTo>
                      <a:pt x="359" y="455"/>
                    </a:lnTo>
                    <a:lnTo>
                      <a:pt x="359" y="454"/>
                    </a:lnTo>
                    <a:lnTo>
                      <a:pt x="359" y="455"/>
                    </a:lnTo>
                    <a:lnTo>
                      <a:pt x="360" y="455"/>
                    </a:lnTo>
                    <a:close/>
                    <a:moveTo>
                      <a:pt x="476" y="372"/>
                    </a:moveTo>
                    <a:lnTo>
                      <a:pt x="477" y="372"/>
                    </a:lnTo>
                    <a:lnTo>
                      <a:pt x="476" y="372"/>
                    </a:lnTo>
                    <a:lnTo>
                      <a:pt x="477" y="373"/>
                    </a:lnTo>
                    <a:lnTo>
                      <a:pt x="476" y="373"/>
                    </a:lnTo>
                    <a:lnTo>
                      <a:pt x="475" y="373"/>
                    </a:lnTo>
                    <a:lnTo>
                      <a:pt x="474" y="373"/>
                    </a:lnTo>
                    <a:lnTo>
                      <a:pt x="474" y="372"/>
                    </a:lnTo>
                    <a:lnTo>
                      <a:pt x="474" y="371"/>
                    </a:lnTo>
                    <a:lnTo>
                      <a:pt x="475" y="371"/>
                    </a:lnTo>
                    <a:lnTo>
                      <a:pt x="476" y="371"/>
                    </a:lnTo>
                    <a:lnTo>
                      <a:pt x="476" y="372"/>
                    </a:lnTo>
                    <a:close/>
                    <a:moveTo>
                      <a:pt x="418" y="376"/>
                    </a:moveTo>
                    <a:lnTo>
                      <a:pt x="419" y="377"/>
                    </a:lnTo>
                    <a:lnTo>
                      <a:pt x="418" y="377"/>
                    </a:lnTo>
                    <a:lnTo>
                      <a:pt x="418" y="378"/>
                    </a:lnTo>
                    <a:lnTo>
                      <a:pt x="419" y="377"/>
                    </a:lnTo>
                    <a:lnTo>
                      <a:pt x="419" y="378"/>
                    </a:lnTo>
                    <a:lnTo>
                      <a:pt x="418" y="378"/>
                    </a:lnTo>
                    <a:lnTo>
                      <a:pt x="418" y="377"/>
                    </a:lnTo>
                    <a:lnTo>
                      <a:pt x="418" y="376"/>
                    </a:lnTo>
                    <a:lnTo>
                      <a:pt x="416" y="376"/>
                    </a:lnTo>
                    <a:lnTo>
                      <a:pt x="415" y="376"/>
                    </a:lnTo>
                    <a:lnTo>
                      <a:pt x="414" y="376"/>
                    </a:lnTo>
                    <a:lnTo>
                      <a:pt x="414" y="375"/>
                    </a:lnTo>
                    <a:lnTo>
                      <a:pt x="413" y="375"/>
                    </a:lnTo>
                    <a:lnTo>
                      <a:pt x="414" y="375"/>
                    </a:lnTo>
                    <a:lnTo>
                      <a:pt x="415" y="374"/>
                    </a:lnTo>
                    <a:lnTo>
                      <a:pt x="416" y="375"/>
                    </a:lnTo>
                    <a:lnTo>
                      <a:pt x="418" y="375"/>
                    </a:lnTo>
                    <a:lnTo>
                      <a:pt x="418" y="376"/>
                    </a:lnTo>
                    <a:close/>
                    <a:moveTo>
                      <a:pt x="472" y="431"/>
                    </a:moveTo>
                    <a:lnTo>
                      <a:pt x="472" y="434"/>
                    </a:lnTo>
                    <a:lnTo>
                      <a:pt x="471" y="434"/>
                    </a:lnTo>
                    <a:lnTo>
                      <a:pt x="471" y="435"/>
                    </a:lnTo>
                    <a:lnTo>
                      <a:pt x="471" y="436"/>
                    </a:lnTo>
                    <a:lnTo>
                      <a:pt x="471" y="435"/>
                    </a:lnTo>
                    <a:lnTo>
                      <a:pt x="470" y="435"/>
                    </a:lnTo>
                    <a:lnTo>
                      <a:pt x="468" y="434"/>
                    </a:lnTo>
                    <a:lnTo>
                      <a:pt x="470" y="434"/>
                    </a:lnTo>
                    <a:lnTo>
                      <a:pt x="471" y="435"/>
                    </a:lnTo>
                    <a:lnTo>
                      <a:pt x="471" y="434"/>
                    </a:lnTo>
                    <a:lnTo>
                      <a:pt x="471" y="433"/>
                    </a:lnTo>
                    <a:lnTo>
                      <a:pt x="472" y="433"/>
                    </a:lnTo>
                    <a:lnTo>
                      <a:pt x="472" y="431"/>
                    </a:lnTo>
                    <a:close/>
                    <a:moveTo>
                      <a:pt x="181" y="415"/>
                    </a:moveTo>
                    <a:lnTo>
                      <a:pt x="182" y="416"/>
                    </a:lnTo>
                    <a:lnTo>
                      <a:pt x="184" y="417"/>
                    </a:lnTo>
                    <a:lnTo>
                      <a:pt x="183" y="417"/>
                    </a:lnTo>
                    <a:lnTo>
                      <a:pt x="182" y="417"/>
                    </a:lnTo>
                    <a:lnTo>
                      <a:pt x="182" y="416"/>
                    </a:lnTo>
                    <a:lnTo>
                      <a:pt x="181" y="416"/>
                    </a:lnTo>
                    <a:lnTo>
                      <a:pt x="180" y="416"/>
                    </a:lnTo>
                    <a:lnTo>
                      <a:pt x="179" y="415"/>
                    </a:lnTo>
                    <a:lnTo>
                      <a:pt x="180" y="415"/>
                    </a:lnTo>
                    <a:lnTo>
                      <a:pt x="181" y="415"/>
                    </a:lnTo>
                    <a:close/>
                    <a:moveTo>
                      <a:pt x="618" y="499"/>
                    </a:moveTo>
                    <a:lnTo>
                      <a:pt x="619" y="500"/>
                    </a:lnTo>
                    <a:lnTo>
                      <a:pt x="618" y="501"/>
                    </a:lnTo>
                    <a:lnTo>
                      <a:pt x="615" y="502"/>
                    </a:lnTo>
                    <a:lnTo>
                      <a:pt x="615" y="501"/>
                    </a:lnTo>
                    <a:lnTo>
                      <a:pt x="616" y="501"/>
                    </a:lnTo>
                    <a:lnTo>
                      <a:pt x="616" y="500"/>
                    </a:lnTo>
                    <a:lnTo>
                      <a:pt x="617" y="500"/>
                    </a:lnTo>
                    <a:lnTo>
                      <a:pt x="618" y="499"/>
                    </a:lnTo>
                    <a:close/>
                    <a:moveTo>
                      <a:pt x="413" y="374"/>
                    </a:moveTo>
                    <a:lnTo>
                      <a:pt x="414" y="374"/>
                    </a:lnTo>
                    <a:lnTo>
                      <a:pt x="414" y="375"/>
                    </a:lnTo>
                    <a:lnTo>
                      <a:pt x="413" y="375"/>
                    </a:lnTo>
                    <a:lnTo>
                      <a:pt x="413" y="376"/>
                    </a:lnTo>
                    <a:lnTo>
                      <a:pt x="413" y="377"/>
                    </a:lnTo>
                    <a:lnTo>
                      <a:pt x="412" y="377"/>
                    </a:lnTo>
                    <a:lnTo>
                      <a:pt x="411" y="376"/>
                    </a:lnTo>
                    <a:lnTo>
                      <a:pt x="412" y="376"/>
                    </a:lnTo>
                    <a:lnTo>
                      <a:pt x="412" y="377"/>
                    </a:lnTo>
                    <a:lnTo>
                      <a:pt x="412" y="376"/>
                    </a:lnTo>
                    <a:lnTo>
                      <a:pt x="411" y="376"/>
                    </a:lnTo>
                    <a:lnTo>
                      <a:pt x="411" y="375"/>
                    </a:lnTo>
                    <a:lnTo>
                      <a:pt x="412" y="375"/>
                    </a:lnTo>
                    <a:lnTo>
                      <a:pt x="413" y="374"/>
                    </a:lnTo>
                    <a:lnTo>
                      <a:pt x="412" y="374"/>
                    </a:lnTo>
                    <a:lnTo>
                      <a:pt x="411" y="374"/>
                    </a:lnTo>
                    <a:lnTo>
                      <a:pt x="411" y="375"/>
                    </a:lnTo>
                    <a:lnTo>
                      <a:pt x="410" y="375"/>
                    </a:lnTo>
                    <a:lnTo>
                      <a:pt x="409" y="375"/>
                    </a:lnTo>
                    <a:lnTo>
                      <a:pt x="408" y="374"/>
                    </a:lnTo>
                    <a:lnTo>
                      <a:pt x="409" y="374"/>
                    </a:lnTo>
                    <a:lnTo>
                      <a:pt x="409" y="375"/>
                    </a:lnTo>
                    <a:lnTo>
                      <a:pt x="410" y="375"/>
                    </a:lnTo>
                    <a:lnTo>
                      <a:pt x="411" y="375"/>
                    </a:lnTo>
                    <a:lnTo>
                      <a:pt x="411" y="374"/>
                    </a:lnTo>
                    <a:lnTo>
                      <a:pt x="412" y="374"/>
                    </a:lnTo>
                    <a:lnTo>
                      <a:pt x="413" y="374"/>
                    </a:lnTo>
                    <a:close/>
                    <a:moveTo>
                      <a:pt x="328" y="468"/>
                    </a:moveTo>
                    <a:lnTo>
                      <a:pt x="329" y="468"/>
                    </a:lnTo>
                    <a:lnTo>
                      <a:pt x="330" y="468"/>
                    </a:lnTo>
                    <a:lnTo>
                      <a:pt x="330" y="469"/>
                    </a:lnTo>
                    <a:lnTo>
                      <a:pt x="330" y="470"/>
                    </a:lnTo>
                    <a:lnTo>
                      <a:pt x="329" y="469"/>
                    </a:lnTo>
                    <a:lnTo>
                      <a:pt x="328" y="469"/>
                    </a:lnTo>
                    <a:lnTo>
                      <a:pt x="326" y="469"/>
                    </a:lnTo>
                    <a:lnTo>
                      <a:pt x="325" y="468"/>
                    </a:lnTo>
                    <a:lnTo>
                      <a:pt x="326" y="468"/>
                    </a:lnTo>
                    <a:lnTo>
                      <a:pt x="328" y="468"/>
                    </a:lnTo>
                    <a:close/>
                    <a:moveTo>
                      <a:pt x="126" y="411"/>
                    </a:moveTo>
                    <a:lnTo>
                      <a:pt x="123" y="411"/>
                    </a:lnTo>
                    <a:lnTo>
                      <a:pt x="116" y="411"/>
                    </a:lnTo>
                    <a:lnTo>
                      <a:pt x="117" y="410"/>
                    </a:lnTo>
                    <a:lnTo>
                      <a:pt x="118" y="410"/>
                    </a:lnTo>
                    <a:lnTo>
                      <a:pt x="118" y="411"/>
                    </a:lnTo>
                    <a:lnTo>
                      <a:pt x="119" y="411"/>
                    </a:lnTo>
                    <a:lnTo>
                      <a:pt x="122" y="411"/>
                    </a:lnTo>
                    <a:lnTo>
                      <a:pt x="123" y="411"/>
                    </a:lnTo>
                    <a:lnTo>
                      <a:pt x="123" y="410"/>
                    </a:lnTo>
                    <a:lnTo>
                      <a:pt x="124" y="410"/>
                    </a:lnTo>
                    <a:lnTo>
                      <a:pt x="125" y="409"/>
                    </a:lnTo>
                    <a:lnTo>
                      <a:pt x="125" y="410"/>
                    </a:lnTo>
                    <a:lnTo>
                      <a:pt x="126" y="410"/>
                    </a:lnTo>
                    <a:lnTo>
                      <a:pt x="126" y="411"/>
                    </a:lnTo>
                    <a:close/>
                    <a:moveTo>
                      <a:pt x="553" y="518"/>
                    </a:moveTo>
                    <a:lnTo>
                      <a:pt x="552" y="518"/>
                    </a:lnTo>
                    <a:lnTo>
                      <a:pt x="552" y="517"/>
                    </a:lnTo>
                    <a:lnTo>
                      <a:pt x="552" y="516"/>
                    </a:lnTo>
                    <a:lnTo>
                      <a:pt x="553" y="516"/>
                    </a:lnTo>
                    <a:lnTo>
                      <a:pt x="553" y="515"/>
                    </a:lnTo>
                    <a:lnTo>
                      <a:pt x="554" y="515"/>
                    </a:lnTo>
                    <a:lnTo>
                      <a:pt x="555" y="515"/>
                    </a:lnTo>
                    <a:lnTo>
                      <a:pt x="554" y="515"/>
                    </a:lnTo>
                    <a:lnTo>
                      <a:pt x="554" y="516"/>
                    </a:lnTo>
                    <a:lnTo>
                      <a:pt x="554" y="517"/>
                    </a:lnTo>
                    <a:lnTo>
                      <a:pt x="553" y="517"/>
                    </a:lnTo>
                    <a:lnTo>
                      <a:pt x="553" y="518"/>
                    </a:lnTo>
                    <a:close/>
                    <a:moveTo>
                      <a:pt x="256" y="170"/>
                    </a:moveTo>
                    <a:lnTo>
                      <a:pt x="256" y="171"/>
                    </a:lnTo>
                    <a:lnTo>
                      <a:pt x="255" y="171"/>
                    </a:lnTo>
                    <a:lnTo>
                      <a:pt x="255" y="170"/>
                    </a:lnTo>
                    <a:lnTo>
                      <a:pt x="254" y="170"/>
                    </a:lnTo>
                    <a:lnTo>
                      <a:pt x="255" y="170"/>
                    </a:lnTo>
                    <a:lnTo>
                      <a:pt x="254" y="170"/>
                    </a:lnTo>
                    <a:lnTo>
                      <a:pt x="254" y="169"/>
                    </a:lnTo>
                    <a:lnTo>
                      <a:pt x="254" y="168"/>
                    </a:lnTo>
                    <a:lnTo>
                      <a:pt x="255" y="168"/>
                    </a:lnTo>
                    <a:lnTo>
                      <a:pt x="255" y="167"/>
                    </a:lnTo>
                    <a:lnTo>
                      <a:pt x="256" y="168"/>
                    </a:lnTo>
                    <a:lnTo>
                      <a:pt x="255" y="168"/>
                    </a:lnTo>
                    <a:lnTo>
                      <a:pt x="255" y="169"/>
                    </a:lnTo>
                    <a:lnTo>
                      <a:pt x="256" y="169"/>
                    </a:lnTo>
                    <a:lnTo>
                      <a:pt x="255" y="170"/>
                    </a:lnTo>
                    <a:lnTo>
                      <a:pt x="256" y="170"/>
                    </a:lnTo>
                    <a:close/>
                    <a:moveTo>
                      <a:pt x="259" y="393"/>
                    </a:moveTo>
                    <a:lnTo>
                      <a:pt x="260" y="395"/>
                    </a:lnTo>
                    <a:lnTo>
                      <a:pt x="259" y="395"/>
                    </a:lnTo>
                    <a:lnTo>
                      <a:pt x="258" y="395"/>
                    </a:lnTo>
                    <a:lnTo>
                      <a:pt x="257" y="395"/>
                    </a:lnTo>
                    <a:lnTo>
                      <a:pt x="255" y="395"/>
                    </a:lnTo>
                    <a:lnTo>
                      <a:pt x="255" y="393"/>
                    </a:lnTo>
                    <a:lnTo>
                      <a:pt x="256" y="393"/>
                    </a:lnTo>
                    <a:lnTo>
                      <a:pt x="257" y="393"/>
                    </a:lnTo>
                    <a:lnTo>
                      <a:pt x="258" y="392"/>
                    </a:lnTo>
                    <a:lnTo>
                      <a:pt x="259" y="393"/>
                    </a:lnTo>
                    <a:close/>
                    <a:moveTo>
                      <a:pt x="362" y="418"/>
                    </a:moveTo>
                    <a:lnTo>
                      <a:pt x="363" y="420"/>
                    </a:lnTo>
                    <a:lnTo>
                      <a:pt x="363" y="421"/>
                    </a:lnTo>
                    <a:lnTo>
                      <a:pt x="362" y="421"/>
                    </a:lnTo>
                    <a:lnTo>
                      <a:pt x="361" y="421"/>
                    </a:lnTo>
                    <a:lnTo>
                      <a:pt x="361" y="420"/>
                    </a:lnTo>
                    <a:lnTo>
                      <a:pt x="360" y="420"/>
                    </a:lnTo>
                    <a:lnTo>
                      <a:pt x="361" y="420"/>
                    </a:lnTo>
                    <a:lnTo>
                      <a:pt x="361" y="418"/>
                    </a:lnTo>
                    <a:lnTo>
                      <a:pt x="360" y="420"/>
                    </a:lnTo>
                    <a:lnTo>
                      <a:pt x="360" y="418"/>
                    </a:lnTo>
                    <a:lnTo>
                      <a:pt x="361" y="418"/>
                    </a:lnTo>
                    <a:lnTo>
                      <a:pt x="361" y="417"/>
                    </a:lnTo>
                    <a:lnTo>
                      <a:pt x="362" y="418"/>
                    </a:lnTo>
                    <a:close/>
                    <a:moveTo>
                      <a:pt x="201" y="410"/>
                    </a:moveTo>
                    <a:lnTo>
                      <a:pt x="201" y="411"/>
                    </a:lnTo>
                    <a:lnTo>
                      <a:pt x="200" y="411"/>
                    </a:lnTo>
                    <a:lnTo>
                      <a:pt x="200" y="412"/>
                    </a:lnTo>
                    <a:lnTo>
                      <a:pt x="197" y="412"/>
                    </a:lnTo>
                    <a:lnTo>
                      <a:pt x="197" y="411"/>
                    </a:lnTo>
                    <a:lnTo>
                      <a:pt x="199" y="411"/>
                    </a:lnTo>
                    <a:lnTo>
                      <a:pt x="199" y="412"/>
                    </a:lnTo>
                    <a:lnTo>
                      <a:pt x="199" y="411"/>
                    </a:lnTo>
                    <a:lnTo>
                      <a:pt x="200" y="411"/>
                    </a:lnTo>
                    <a:lnTo>
                      <a:pt x="201" y="411"/>
                    </a:lnTo>
                    <a:lnTo>
                      <a:pt x="201" y="410"/>
                    </a:lnTo>
                    <a:lnTo>
                      <a:pt x="200" y="411"/>
                    </a:lnTo>
                    <a:lnTo>
                      <a:pt x="199" y="411"/>
                    </a:lnTo>
                    <a:lnTo>
                      <a:pt x="199" y="410"/>
                    </a:lnTo>
                    <a:lnTo>
                      <a:pt x="200" y="410"/>
                    </a:lnTo>
                    <a:lnTo>
                      <a:pt x="201" y="410"/>
                    </a:lnTo>
                    <a:close/>
                    <a:moveTo>
                      <a:pt x="552" y="552"/>
                    </a:moveTo>
                    <a:lnTo>
                      <a:pt x="553" y="552"/>
                    </a:lnTo>
                    <a:lnTo>
                      <a:pt x="554" y="552"/>
                    </a:lnTo>
                    <a:lnTo>
                      <a:pt x="555" y="552"/>
                    </a:lnTo>
                    <a:lnTo>
                      <a:pt x="554" y="552"/>
                    </a:lnTo>
                    <a:lnTo>
                      <a:pt x="553" y="552"/>
                    </a:lnTo>
                    <a:lnTo>
                      <a:pt x="552" y="553"/>
                    </a:lnTo>
                    <a:lnTo>
                      <a:pt x="551" y="553"/>
                    </a:lnTo>
                    <a:lnTo>
                      <a:pt x="550" y="553"/>
                    </a:lnTo>
                    <a:lnTo>
                      <a:pt x="549" y="553"/>
                    </a:lnTo>
                    <a:lnTo>
                      <a:pt x="549" y="552"/>
                    </a:lnTo>
                    <a:lnTo>
                      <a:pt x="550" y="552"/>
                    </a:lnTo>
                    <a:lnTo>
                      <a:pt x="552" y="551"/>
                    </a:lnTo>
                    <a:lnTo>
                      <a:pt x="552" y="552"/>
                    </a:lnTo>
                    <a:close/>
                    <a:moveTo>
                      <a:pt x="217" y="405"/>
                    </a:moveTo>
                    <a:lnTo>
                      <a:pt x="217" y="406"/>
                    </a:lnTo>
                    <a:lnTo>
                      <a:pt x="216" y="406"/>
                    </a:lnTo>
                    <a:lnTo>
                      <a:pt x="216" y="405"/>
                    </a:lnTo>
                    <a:lnTo>
                      <a:pt x="216" y="406"/>
                    </a:lnTo>
                    <a:lnTo>
                      <a:pt x="215" y="406"/>
                    </a:lnTo>
                    <a:lnTo>
                      <a:pt x="216" y="406"/>
                    </a:lnTo>
                    <a:lnTo>
                      <a:pt x="215" y="406"/>
                    </a:lnTo>
                    <a:lnTo>
                      <a:pt x="215" y="404"/>
                    </a:lnTo>
                    <a:lnTo>
                      <a:pt x="218" y="404"/>
                    </a:lnTo>
                    <a:lnTo>
                      <a:pt x="217" y="405"/>
                    </a:lnTo>
                    <a:close/>
                    <a:moveTo>
                      <a:pt x="424" y="525"/>
                    </a:moveTo>
                    <a:lnTo>
                      <a:pt x="424" y="526"/>
                    </a:lnTo>
                    <a:lnTo>
                      <a:pt x="423" y="526"/>
                    </a:lnTo>
                    <a:lnTo>
                      <a:pt x="422" y="527"/>
                    </a:lnTo>
                    <a:lnTo>
                      <a:pt x="422" y="526"/>
                    </a:lnTo>
                    <a:lnTo>
                      <a:pt x="422" y="525"/>
                    </a:lnTo>
                    <a:lnTo>
                      <a:pt x="423" y="525"/>
                    </a:lnTo>
                    <a:lnTo>
                      <a:pt x="424" y="525"/>
                    </a:lnTo>
                    <a:lnTo>
                      <a:pt x="424" y="524"/>
                    </a:lnTo>
                    <a:lnTo>
                      <a:pt x="425" y="523"/>
                    </a:lnTo>
                    <a:lnTo>
                      <a:pt x="426" y="523"/>
                    </a:lnTo>
                    <a:lnTo>
                      <a:pt x="426" y="524"/>
                    </a:lnTo>
                    <a:lnTo>
                      <a:pt x="425" y="524"/>
                    </a:lnTo>
                    <a:lnTo>
                      <a:pt x="425" y="525"/>
                    </a:lnTo>
                    <a:lnTo>
                      <a:pt x="424" y="525"/>
                    </a:lnTo>
                    <a:close/>
                    <a:moveTo>
                      <a:pt x="413" y="370"/>
                    </a:moveTo>
                    <a:lnTo>
                      <a:pt x="412" y="370"/>
                    </a:lnTo>
                    <a:lnTo>
                      <a:pt x="412" y="371"/>
                    </a:lnTo>
                    <a:lnTo>
                      <a:pt x="412" y="372"/>
                    </a:lnTo>
                    <a:lnTo>
                      <a:pt x="411" y="372"/>
                    </a:lnTo>
                    <a:lnTo>
                      <a:pt x="410" y="373"/>
                    </a:lnTo>
                    <a:lnTo>
                      <a:pt x="410" y="372"/>
                    </a:lnTo>
                    <a:lnTo>
                      <a:pt x="410" y="373"/>
                    </a:lnTo>
                    <a:lnTo>
                      <a:pt x="411" y="372"/>
                    </a:lnTo>
                    <a:lnTo>
                      <a:pt x="411" y="371"/>
                    </a:lnTo>
                    <a:lnTo>
                      <a:pt x="411" y="370"/>
                    </a:lnTo>
                    <a:lnTo>
                      <a:pt x="410" y="370"/>
                    </a:lnTo>
                    <a:lnTo>
                      <a:pt x="410" y="371"/>
                    </a:lnTo>
                    <a:lnTo>
                      <a:pt x="409" y="371"/>
                    </a:lnTo>
                    <a:lnTo>
                      <a:pt x="408" y="371"/>
                    </a:lnTo>
                    <a:lnTo>
                      <a:pt x="408" y="370"/>
                    </a:lnTo>
                    <a:lnTo>
                      <a:pt x="408" y="371"/>
                    </a:lnTo>
                    <a:lnTo>
                      <a:pt x="409" y="370"/>
                    </a:lnTo>
                    <a:lnTo>
                      <a:pt x="410" y="370"/>
                    </a:lnTo>
                    <a:lnTo>
                      <a:pt x="411" y="369"/>
                    </a:lnTo>
                    <a:lnTo>
                      <a:pt x="412" y="369"/>
                    </a:lnTo>
                    <a:lnTo>
                      <a:pt x="413" y="369"/>
                    </a:lnTo>
                    <a:lnTo>
                      <a:pt x="413" y="370"/>
                    </a:lnTo>
                    <a:close/>
                    <a:moveTo>
                      <a:pt x="229" y="226"/>
                    </a:moveTo>
                    <a:lnTo>
                      <a:pt x="230" y="228"/>
                    </a:lnTo>
                    <a:lnTo>
                      <a:pt x="230" y="226"/>
                    </a:lnTo>
                    <a:lnTo>
                      <a:pt x="231" y="228"/>
                    </a:lnTo>
                    <a:lnTo>
                      <a:pt x="231" y="229"/>
                    </a:lnTo>
                    <a:lnTo>
                      <a:pt x="230" y="229"/>
                    </a:lnTo>
                    <a:lnTo>
                      <a:pt x="229" y="229"/>
                    </a:lnTo>
                    <a:lnTo>
                      <a:pt x="229" y="228"/>
                    </a:lnTo>
                    <a:lnTo>
                      <a:pt x="228" y="228"/>
                    </a:lnTo>
                    <a:lnTo>
                      <a:pt x="228" y="226"/>
                    </a:lnTo>
                    <a:lnTo>
                      <a:pt x="227" y="226"/>
                    </a:lnTo>
                    <a:lnTo>
                      <a:pt x="228" y="226"/>
                    </a:lnTo>
                    <a:lnTo>
                      <a:pt x="229" y="226"/>
                    </a:lnTo>
                    <a:close/>
                    <a:moveTo>
                      <a:pt x="270" y="425"/>
                    </a:moveTo>
                    <a:lnTo>
                      <a:pt x="270" y="426"/>
                    </a:lnTo>
                    <a:lnTo>
                      <a:pt x="270" y="427"/>
                    </a:lnTo>
                    <a:lnTo>
                      <a:pt x="267" y="426"/>
                    </a:lnTo>
                    <a:lnTo>
                      <a:pt x="268" y="426"/>
                    </a:lnTo>
                    <a:lnTo>
                      <a:pt x="269" y="426"/>
                    </a:lnTo>
                    <a:lnTo>
                      <a:pt x="269" y="425"/>
                    </a:lnTo>
                    <a:lnTo>
                      <a:pt x="270" y="425"/>
                    </a:lnTo>
                    <a:close/>
                    <a:moveTo>
                      <a:pt x="247" y="170"/>
                    </a:moveTo>
                    <a:lnTo>
                      <a:pt x="248" y="170"/>
                    </a:lnTo>
                    <a:lnTo>
                      <a:pt x="248" y="169"/>
                    </a:lnTo>
                    <a:lnTo>
                      <a:pt x="248" y="170"/>
                    </a:lnTo>
                    <a:lnTo>
                      <a:pt x="248" y="169"/>
                    </a:lnTo>
                    <a:lnTo>
                      <a:pt x="249" y="169"/>
                    </a:lnTo>
                    <a:lnTo>
                      <a:pt x="249" y="170"/>
                    </a:lnTo>
                    <a:lnTo>
                      <a:pt x="248" y="170"/>
                    </a:lnTo>
                    <a:lnTo>
                      <a:pt x="249" y="170"/>
                    </a:lnTo>
                    <a:lnTo>
                      <a:pt x="251" y="170"/>
                    </a:lnTo>
                    <a:lnTo>
                      <a:pt x="251" y="171"/>
                    </a:lnTo>
                    <a:lnTo>
                      <a:pt x="252" y="171"/>
                    </a:lnTo>
                    <a:lnTo>
                      <a:pt x="251" y="171"/>
                    </a:lnTo>
                    <a:lnTo>
                      <a:pt x="249" y="171"/>
                    </a:lnTo>
                    <a:lnTo>
                      <a:pt x="248" y="171"/>
                    </a:lnTo>
                    <a:lnTo>
                      <a:pt x="248" y="170"/>
                    </a:lnTo>
                    <a:lnTo>
                      <a:pt x="249" y="170"/>
                    </a:lnTo>
                    <a:lnTo>
                      <a:pt x="248" y="170"/>
                    </a:lnTo>
                    <a:lnTo>
                      <a:pt x="248" y="171"/>
                    </a:lnTo>
                    <a:lnTo>
                      <a:pt x="247" y="171"/>
                    </a:lnTo>
                    <a:lnTo>
                      <a:pt x="247" y="170"/>
                    </a:lnTo>
                    <a:lnTo>
                      <a:pt x="246" y="170"/>
                    </a:lnTo>
                    <a:lnTo>
                      <a:pt x="246" y="169"/>
                    </a:lnTo>
                    <a:lnTo>
                      <a:pt x="246" y="170"/>
                    </a:lnTo>
                    <a:lnTo>
                      <a:pt x="247" y="170"/>
                    </a:lnTo>
                    <a:close/>
                    <a:moveTo>
                      <a:pt x="435" y="388"/>
                    </a:moveTo>
                    <a:lnTo>
                      <a:pt x="436" y="388"/>
                    </a:lnTo>
                    <a:lnTo>
                      <a:pt x="437" y="388"/>
                    </a:lnTo>
                    <a:lnTo>
                      <a:pt x="438" y="388"/>
                    </a:lnTo>
                    <a:lnTo>
                      <a:pt x="438" y="389"/>
                    </a:lnTo>
                    <a:lnTo>
                      <a:pt x="439" y="389"/>
                    </a:lnTo>
                    <a:lnTo>
                      <a:pt x="438" y="389"/>
                    </a:lnTo>
                    <a:lnTo>
                      <a:pt x="438" y="390"/>
                    </a:lnTo>
                    <a:lnTo>
                      <a:pt x="438" y="389"/>
                    </a:lnTo>
                    <a:lnTo>
                      <a:pt x="437" y="389"/>
                    </a:lnTo>
                    <a:lnTo>
                      <a:pt x="437" y="388"/>
                    </a:lnTo>
                    <a:lnTo>
                      <a:pt x="436" y="388"/>
                    </a:lnTo>
                    <a:lnTo>
                      <a:pt x="436" y="389"/>
                    </a:lnTo>
                    <a:lnTo>
                      <a:pt x="436" y="390"/>
                    </a:lnTo>
                    <a:lnTo>
                      <a:pt x="435" y="390"/>
                    </a:lnTo>
                    <a:lnTo>
                      <a:pt x="434" y="390"/>
                    </a:lnTo>
                    <a:lnTo>
                      <a:pt x="435" y="390"/>
                    </a:lnTo>
                    <a:lnTo>
                      <a:pt x="436" y="390"/>
                    </a:lnTo>
                    <a:lnTo>
                      <a:pt x="436" y="389"/>
                    </a:lnTo>
                    <a:lnTo>
                      <a:pt x="435" y="388"/>
                    </a:lnTo>
                    <a:lnTo>
                      <a:pt x="434" y="388"/>
                    </a:lnTo>
                    <a:lnTo>
                      <a:pt x="434" y="389"/>
                    </a:lnTo>
                    <a:lnTo>
                      <a:pt x="434" y="388"/>
                    </a:lnTo>
                    <a:lnTo>
                      <a:pt x="434" y="387"/>
                    </a:lnTo>
                    <a:lnTo>
                      <a:pt x="435" y="388"/>
                    </a:lnTo>
                    <a:close/>
                    <a:moveTo>
                      <a:pt x="564" y="428"/>
                    </a:moveTo>
                    <a:lnTo>
                      <a:pt x="564" y="429"/>
                    </a:lnTo>
                    <a:lnTo>
                      <a:pt x="563" y="429"/>
                    </a:lnTo>
                    <a:lnTo>
                      <a:pt x="563" y="430"/>
                    </a:lnTo>
                    <a:lnTo>
                      <a:pt x="562" y="430"/>
                    </a:lnTo>
                    <a:lnTo>
                      <a:pt x="563" y="430"/>
                    </a:lnTo>
                    <a:lnTo>
                      <a:pt x="563" y="431"/>
                    </a:lnTo>
                    <a:lnTo>
                      <a:pt x="562" y="431"/>
                    </a:lnTo>
                    <a:lnTo>
                      <a:pt x="562" y="433"/>
                    </a:lnTo>
                    <a:lnTo>
                      <a:pt x="561" y="433"/>
                    </a:lnTo>
                    <a:lnTo>
                      <a:pt x="560" y="431"/>
                    </a:lnTo>
                    <a:lnTo>
                      <a:pt x="561" y="431"/>
                    </a:lnTo>
                    <a:lnTo>
                      <a:pt x="562" y="430"/>
                    </a:lnTo>
                    <a:lnTo>
                      <a:pt x="562" y="429"/>
                    </a:lnTo>
                    <a:lnTo>
                      <a:pt x="563" y="428"/>
                    </a:lnTo>
                    <a:lnTo>
                      <a:pt x="564" y="428"/>
                    </a:lnTo>
                    <a:close/>
                    <a:moveTo>
                      <a:pt x="292" y="436"/>
                    </a:moveTo>
                    <a:lnTo>
                      <a:pt x="292" y="434"/>
                    </a:lnTo>
                    <a:lnTo>
                      <a:pt x="292" y="433"/>
                    </a:lnTo>
                    <a:lnTo>
                      <a:pt x="292" y="431"/>
                    </a:lnTo>
                    <a:lnTo>
                      <a:pt x="292" y="433"/>
                    </a:lnTo>
                    <a:lnTo>
                      <a:pt x="293" y="434"/>
                    </a:lnTo>
                    <a:lnTo>
                      <a:pt x="293" y="436"/>
                    </a:lnTo>
                    <a:lnTo>
                      <a:pt x="292" y="436"/>
                    </a:lnTo>
                    <a:close/>
                    <a:moveTo>
                      <a:pt x="180" y="410"/>
                    </a:moveTo>
                    <a:lnTo>
                      <a:pt x="181" y="410"/>
                    </a:lnTo>
                    <a:lnTo>
                      <a:pt x="182" y="410"/>
                    </a:lnTo>
                    <a:lnTo>
                      <a:pt x="181" y="410"/>
                    </a:lnTo>
                    <a:lnTo>
                      <a:pt x="182" y="411"/>
                    </a:lnTo>
                    <a:lnTo>
                      <a:pt x="181" y="411"/>
                    </a:lnTo>
                    <a:lnTo>
                      <a:pt x="181" y="412"/>
                    </a:lnTo>
                    <a:lnTo>
                      <a:pt x="178" y="412"/>
                    </a:lnTo>
                    <a:lnTo>
                      <a:pt x="178" y="411"/>
                    </a:lnTo>
                    <a:lnTo>
                      <a:pt x="179" y="411"/>
                    </a:lnTo>
                    <a:lnTo>
                      <a:pt x="178" y="411"/>
                    </a:lnTo>
                    <a:lnTo>
                      <a:pt x="179" y="411"/>
                    </a:lnTo>
                    <a:lnTo>
                      <a:pt x="179" y="410"/>
                    </a:lnTo>
                    <a:lnTo>
                      <a:pt x="178" y="410"/>
                    </a:lnTo>
                    <a:lnTo>
                      <a:pt x="179" y="410"/>
                    </a:lnTo>
                    <a:lnTo>
                      <a:pt x="180" y="410"/>
                    </a:lnTo>
                    <a:lnTo>
                      <a:pt x="180" y="411"/>
                    </a:lnTo>
                    <a:lnTo>
                      <a:pt x="181" y="411"/>
                    </a:lnTo>
                    <a:lnTo>
                      <a:pt x="180" y="411"/>
                    </a:lnTo>
                    <a:lnTo>
                      <a:pt x="180" y="410"/>
                    </a:lnTo>
                    <a:lnTo>
                      <a:pt x="179" y="410"/>
                    </a:lnTo>
                    <a:lnTo>
                      <a:pt x="178" y="410"/>
                    </a:lnTo>
                    <a:lnTo>
                      <a:pt x="179" y="410"/>
                    </a:lnTo>
                    <a:lnTo>
                      <a:pt x="180" y="410"/>
                    </a:lnTo>
                    <a:close/>
                    <a:moveTo>
                      <a:pt x="566" y="552"/>
                    </a:moveTo>
                    <a:lnTo>
                      <a:pt x="567" y="552"/>
                    </a:lnTo>
                    <a:lnTo>
                      <a:pt x="567" y="553"/>
                    </a:lnTo>
                    <a:lnTo>
                      <a:pt x="566" y="553"/>
                    </a:lnTo>
                    <a:lnTo>
                      <a:pt x="567" y="553"/>
                    </a:lnTo>
                    <a:lnTo>
                      <a:pt x="567" y="554"/>
                    </a:lnTo>
                    <a:lnTo>
                      <a:pt x="566" y="554"/>
                    </a:lnTo>
                    <a:lnTo>
                      <a:pt x="566" y="555"/>
                    </a:lnTo>
                    <a:lnTo>
                      <a:pt x="565" y="554"/>
                    </a:lnTo>
                    <a:lnTo>
                      <a:pt x="565" y="553"/>
                    </a:lnTo>
                    <a:lnTo>
                      <a:pt x="565" y="552"/>
                    </a:lnTo>
                    <a:lnTo>
                      <a:pt x="566" y="552"/>
                    </a:lnTo>
                    <a:close/>
                    <a:moveTo>
                      <a:pt x="217" y="397"/>
                    </a:moveTo>
                    <a:lnTo>
                      <a:pt x="217" y="398"/>
                    </a:lnTo>
                    <a:lnTo>
                      <a:pt x="217" y="399"/>
                    </a:lnTo>
                    <a:lnTo>
                      <a:pt x="218" y="399"/>
                    </a:lnTo>
                    <a:lnTo>
                      <a:pt x="218" y="398"/>
                    </a:lnTo>
                    <a:lnTo>
                      <a:pt x="218" y="399"/>
                    </a:lnTo>
                    <a:lnTo>
                      <a:pt x="219" y="399"/>
                    </a:lnTo>
                    <a:lnTo>
                      <a:pt x="219" y="400"/>
                    </a:lnTo>
                    <a:lnTo>
                      <a:pt x="218" y="400"/>
                    </a:lnTo>
                    <a:lnTo>
                      <a:pt x="217" y="400"/>
                    </a:lnTo>
                    <a:lnTo>
                      <a:pt x="217" y="399"/>
                    </a:lnTo>
                    <a:lnTo>
                      <a:pt x="217" y="398"/>
                    </a:lnTo>
                    <a:lnTo>
                      <a:pt x="217" y="397"/>
                    </a:lnTo>
                    <a:lnTo>
                      <a:pt x="216" y="398"/>
                    </a:lnTo>
                    <a:lnTo>
                      <a:pt x="216" y="397"/>
                    </a:lnTo>
                    <a:lnTo>
                      <a:pt x="217" y="397"/>
                    </a:lnTo>
                    <a:close/>
                    <a:moveTo>
                      <a:pt x="339" y="346"/>
                    </a:moveTo>
                    <a:lnTo>
                      <a:pt x="338" y="347"/>
                    </a:lnTo>
                    <a:lnTo>
                      <a:pt x="338" y="346"/>
                    </a:lnTo>
                    <a:lnTo>
                      <a:pt x="337" y="346"/>
                    </a:lnTo>
                    <a:lnTo>
                      <a:pt x="337" y="347"/>
                    </a:lnTo>
                    <a:lnTo>
                      <a:pt x="336" y="347"/>
                    </a:lnTo>
                    <a:lnTo>
                      <a:pt x="336" y="346"/>
                    </a:lnTo>
                    <a:lnTo>
                      <a:pt x="336" y="345"/>
                    </a:lnTo>
                    <a:lnTo>
                      <a:pt x="337" y="345"/>
                    </a:lnTo>
                    <a:lnTo>
                      <a:pt x="338" y="345"/>
                    </a:lnTo>
                    <a:lnTo>
                      <a:pt x="338" y="346"/>
                    </a:lnTo>
                    <a:lnTo>
                      <a:pt x="339" y="346"/>
                    </a:lnTo>
                    <a:close/>
                    <a:moveTo>
                      <a:pt x="497" y="444"/>
                    </a:moveTo>
                    <a:lnTo>
                      <a:pt x="498" y="444"/>
                    </a:lnTo>
                    <a:lnTo>
                      <a:pt x="498" y="446"/>
                    </a:lnTo>
                    <a:lnTo>
                      <a:pt x="498" y="444"/>
                    </a:lnTo>
                    <a:lnTo>
                      <a:pt x="498" y="446"/>
                    </a:lnTo>
                    <a:lnTo>
                      <a:pt x="497" y="446"/>
                    </a:lnTo>
                    <a:lnTo>
                      <a:pt x="498" y="446"/>
                    </a:lnTo>
                    <a:lnTo>
                      <a:pt x="497" y="446"/>
                    </a:lnTo>
                    <a:lnTo>
                      <a:pt x="497" y="444"/>
                    </a:lnTo>
                    <a:lnTo>
                      <a:pt x="496" y="446"/>
                    </a:lnTo>
                    <a:lnTo>
                      <a:pt x="496" y="444"/>
                    </a:lnTo>
                    <a:lnTo>
                      <a:pt x="494" y="444"/>
                    </a:lnTo>
                    <a:lnTo>
                      <a:pt x="493" y="443"/>
                    </a:lnTo>
                    <a:lnTo>
                      <a:pt x="494" y="443"/>
                    </a:lnTo>
                    <a:lnTo>
                      <a:pt x="496" y="443"/>
                    </a:lnTo>
                    <a:lnTo>
                      <a:pt x="494" y="444"/>
                    </a:lnTo>
                    <a:lnTo>
                      <a:pt x="496" y="444"/>
                    </a:lnTo>
                    <a:lnTo>
                      <a:pt x="496" y="443"/>
                    </a:lnTo>
                    <a:lnTo>
                      <a:pt x="497" y="443"/>
                    </a:lnTo>
                    <a:lnTo>
                      <a:pt x="497" y="444"/>
                    </a:lnTo>
                    <a:close/>
                    <a:moveTo>
                      <a:pt x="321" y="266"/>
                    </a:moveTo>
                    <a:lnTo>
                      <a:pt x="320" y="264"/>
                    </a:lnTo>
                    <a:lnTo>
                      <a:pt x="321" y="264"/>
                    </a:lnTo>
                    <a:lnTo>
                      <a:pt x="320" y="263"/>
                    </a:lnTo>
                    <a:lnTo>
                      <a:pt x="319" y="263"/>
                    </a:lnTo>
                    <a:lnTo>
                      <a:pt x="319" y="262"/>
                    </a:lnTo>
                    <a:lnTo>
                      <a:pt x="318" y="262"/>
                    </a:lnTo>
                    <a:lnTo>
                      <a:pt x="318" y="261"/>
                    </a:lnTo>
                    <a:lnTo>
                      <a:pt x="318" y="260"/>
                    </a:lnTo>
                    <a:lnTo>
                      <a:pt x="318" y="261"/>
                    </a:lnTo>
                    <a:lnTo>
                      <a:pt x="319" y="261"/>
                    </a:lnTo>
                    <a:lnTo>
                      <a:pt x="319" y="262"/>
                    </a:lnTo>
                    <a:lnTo>
                      <a:pt x="320" y="263"/>
                    </a:lnTo>
                    <a:lnTo>
                      <a:pt x="321" y="263"/>
                    </a:lnTo>
                    <a:lnTo>
                      <a:pt x="322" y="264"/>
                    </a:lnTo>
                    <a:lnTo>
                      <a:pt x="321" y="266"/>
                    </a:lnTo>
                    <a:close/>
                    <a:moveTo>
                      <a:pt x="266" y="276"/>
                    </a:moveTo>
                    <a:lnTo>
                      <a:pt x="265" y="275"/>
                    </a:lnTo>
                    <a:lnTo>
                      <a:pt x="265" y="274"/>
                    </a:lnTo>
                    <a:lnTo>
                      <a:pt x="267" y="274"/>
                    </a:lnTo>
                    <a:lnTo>
                      <a:pt x="267" y="275"/>
                    </a:lnTo>
                    <a:lnTo>
                      <a:pt x="267" y="276"/>
                    </a:lnTo>
                    <a:lnTo>
                      <a:pt x="266" y="276"/>
                    </a:lnTo>
                    <a:close/>
                    <a:moveTo>
                      <a:pt x="228" y="225"/>
                    </a:moveTo>
                    <a:lnTo>
                      <a:pt x="229" y="225"/>
                    </a:lnTo>
                    <a:lnTo>
                      <a:pt x="230" y="225"/>
                    </a:lnTo>
                    <a:lnTo>
                      <a:pt x="230" y="226"/>
                    </a:lnTo>
                    <a:lnTo>
                      <a:pt x="231" y="226"/>
                    </a:lnTo>
                    <a:lnTo>
                      <a:pt x="230" y="226"/>
                    </a:lnTo>
                    <a:lnTo>
                      <a:pt x="229" y="226"/>
                    </a:lnTo>
                    <a:lnTo>
                      <a:pt x="228" y="225"/>
                    </a:lnTo>
                    <a:lnTo>
                      <a:pt x="227" y="225"/>
                    </a:lnTo>
                    <a:lnTo>
                      <a:pt x="228" y="224"/>
                    </a:lnTo>
                    <a:lnTo>
                      <a:pt x="228" y="225"/>
                    </a:lnTo>
                    <a:close/>
                    <a:moveTo>
                      <a:pt x="276" y="416"/>
                    </a:moveTo>
                    <a:lnTo>
                      <a:pt x="274" y="416"/>
                    </a:lnTo>
                    <a:lnTo>
                      <a:pt x="273" y="416"/>
                    </a:lnTo>
                    <a:lnTo>
                      <a:pt x="273" y="417"/>
                    </a:lnTo>
                    <a:lnTo>
                      <a:pt x="273" y="416"/>
                    </a:lnTo>
                    <a:lnTo>
                      <a:pt x="273" y="415"/>
                    </a:lnTo>
                    <a:lnTo>
                      <a:pt x="273" y="416"/>
                    </a:lnTo>
                    <a:lnTo>
                      <a:pt x="273" y="415"/>
                    </a:lnTo>
                    <a:lnTo>
                      <a:pt x="273" y="414"/>
                    </a:lnTo>
                    <a:lnTo>
                      <a:pt x="274" y="414"/>
                    </a:lnTo>
                    <a:lnTo>
                      <a:pt x="276" y="416"/>
                    </a:lnTo>
                    <a:close/>
                    <a:moveTo>
                      <a:pt x="349" y="457"/>
                    </a:moveTo>
                    <a:lnTo>
                      <a:pt x="350" y="459"/>
                    </a:lnTo>
                    <a:lnTo>
                      <a:pt x="349" y="459"/>
                    </a:lnTo>
                    <a:lnTo>
                      <a:pt x="350" y="459"/>
                    </a:lnTo>
                    <a:lnTo>
                      <a:pt x="350" y="460"/>
                    </a:lnTo>
                    <a:lnTo>
                      <a:pt x="349" y="460"/>
                    </a:lnTo>
                    <a:lnTo>
                      <a:pt x="348" y="460"/>
                    </a:lnTo>
                    <a:lnTo>
                      <a:pt x="348" y="459"/>
                    </a:lnTo>
                    <a:lnTo>
                      <a:pt x="347" y="459"/>
                    </a:lnTo>
                    <a:lnTo>
                      <a:pt x="347" y="460"/>
                    </a:lnTo>
                    <a:lnTo>
                      <a:pt x="346" y="460"/>
                    </a:lnTo>
                    <a:lnTo>
                      <a:pt x="346" y="461"/>
                    </a:lnTo>
                    <a:lnTo>
                      <a:pt x="345" y="460"/>
                    </a:lnTo>
                    <a:lnTo>
                      <a:pt x="345" y="459"/>
                    </a:lnTo>
                    <a:lnTo>
                      <a:pt x="346" y="459"/>
                    </a:lnTo>
                    <a:lnTo>
                      <a:pt x="345" y="460"/>
                    </a:lnTo>
                    <a:lnTo>
                      <a:pt x="346" y="460"/>
                    </a:lnTo>
                    <a:lnTo>
                      <a:pt x="347" y="459"/>
                    </a:lnTo>
                    <a:lnTo>
                      <a:pt x="348" y="459"/>
                    </a:lnTo>
                    <a:lnTo>
                      <a:pt x="349" y="459"/>
                    </a:lnTo>
                    <a:lnTo>
                      <a:pt x="349" y="457"/>
                    </a:lnTo>
                    <a:lnTo>
                      <a:pt x="348" y="457"/>
                    </a:lnTo>
                    <a:lnTo>
                      <a:pt x="347" y="459"/>
                    </a:lnTo>
                    <a:lnTo>
                      <a:pt x="346" y="459"/>
                    </a:lnTo>
                    <a:lnTo>
                      <a:pt x="347" y="457"/>
                    </a:lnTo>
                    <a:lnTo>
                      <a:pt x="348" y="457"/>
                    </a:lnTo>
                    <a:lnTo>
                      <a:pt x="349" y="457"/>
                    </a:lnTo>
                    <a:close/>
                    <a:moveTo>
                      <a:pt x="317" y="356"/>
                    </a:moveTo>
                    <a:lnTo>
                      <a:pt x="316" y="356"/>
                    </a:lnTo>
                    <a:lnTo>
                      <a:pt x="315" y="356"/>
                    </a:lnTo>
                    <a:lnTo>
                      <a:pt x="316" y="356"/>
                    </a:lnTo>
                    <a:lnTo>
                      <a:pt x="316" y="354"/>
                    </a:lnTo>
                    <a:lnTo>
                      <a:pt x="317" y="354"/>
                    </a:lnTo>
                    <a:lnTo>
                      <a:pt x="317" y="353"/>
                    </a:lnTo>
                    <a:lnTo>
                      <a:pt x="318" y="353"/>
                    </a:lnTo>
                    <a:lnTo>
                      <a:pt x="318" y="354"/>
                    </a:lnTo>
                    <a:lnTo>
                      <a:pt x="318" y="356"/>
                    </a:lnTo>
                    <a:lnTo>
                      <a:pt x="317" y="356"/>
                    </a:lnTo>
                    <a:close/>
                    <a:moveTo>
                      <a:pt x="433" y="517"/>
                    </a:moveTo>
                    <a:lnTo>
                      <a:pt x="432" y="518"/>
                    </a:lnTo>
                    <a:lnTo>
                      <a:pt x="432" y="519"/>
                    </a:lnTo>
                    <a:lnTo>
                      <a:pt x="431" y="518"/>
                    </a:lnTo>
                    <a:lnTo>
                      <a:pt x="431" y="519"/>
                    </a:lnTo>
                    <a:lnTo>
                      <a:pt x="429" y="520"/>
                    </a:lnTo>
                    <a:lnTo>
                      <a:pt x="428" y="520"/>
                    </a:lnTo>
                    <a:lnTo>
                      <a:pt x="428" y="519"/>
                    </a:lnTo>
                    <a:lnTo>
                      <a:pt x="429" y="519"/>
                    </a:lnTo>
                    <a:lnTo>
                      <a:pt x="429" y="518"/>
                    </a:lnTo>
                    <a:lnTo>
                      <a:pt x="431" y="518"/>
                    </a:lnTo>
                    <a:lnTo>
                      <a:pt x="431" y="517"/>
                    </a:lnTo>
                    <a:lnTo>
                      <a:pt x="432" y="517"/>
                    </a:lnTo>
                    <a:lnTo>
                      <a:pt x="433" y="516"/>
                    </a:lnTo>
                    <a:lnTo>
                      <a:pt x="433" y="517"/>
                    </a:lnTo>
                    <a:close/>
                    <a:moveTo>
                      <a:pt x="569" y="434"/>
                    </a:moveTo>
                    <a:lnTo>
                      <a:pt x="569" y="435"/>
                    </a:lnTo>
                    <a:lnTo>
                      <a:pt x="569" y="436"/>
                    </a:lnTo>
                    <a:lnTo>
                      <a:pt x="570" y="436"/>
                    </a:lnTo>
                    <a:lnTo>
                      <a:pt x="569" y="436"/>
                    </a:lnTo>
                    <a:lnTo>
                      <a:pt x="569" y="435"/>
                    </a:lnTo>
                    <a:lnTo>
                      <a:pt x="570" y="434"/>
                    </a:lnTo>
                    <a:lnTo>
                      <a:pt x="570" y="435"/>
                    </a:lnTo>
                    <a:lnTo>
                      <a:pt x="570" y="436"/>
                    </a:lnTo>
                    <a:lnTo>
                      <a:pt x="570" y="437"/>
                    </a:lnTo>
                    <a:lnTo>
                      <a:pt x="569" y="437"/>
                    </a:lnTo>
                    <a:lnTo>
                      <a:pt x="569" y="436"/>
                    </a:lnTo>
                    <a:lnTo>
                      <a:pt x="567" y="436"/>
                    </a:lnTo>
                    <a:lnTo>
                      <a:pt x="567" y="435"/>
                    </a:lnTo>
                    <a:lnTo>
                      <a:pt x="566" y="435"/>
                    </a:lnTo>
                    <a:lnTo>
                      <a:pt x="567" y="435"/>
                    </a:lnTo>
                    <a:lnTo>
                      <a:pt x="567" y="434"/>
                    </a:lnTo>
                    <a:lnTo>
                      <a:pt x="568" y="435"/>
                    </a:lnTo>
                    <a:lnTo>
                      <a:pt x="568" y="434"/>
                    </a:lnTo>
                    <a:lnTo>
                      <a:pt x="568" y="435"/>
                    </a:lnTo>
                    <a:lnTo>
                      <a:pt x="568" y="434"/>
                    </a:lnTo>
                    <a:lnTo>
                      <a:pt x="569" y="434"/>
                    </a:lnTo>
                    <a:close/>
                    <a:moveTo>
                      <a:pt x="243" y="390"/>
                    </a:moveTo>
                    <a:lnTo>
                      <a:pt x="243" y="391"/>
                    </a:lnTo>
                    <a:lnTo>
                      <a:pt x="244" y="391"/>
                    </a:lnTo>
                    <a:lnTo>
                      <a:pt x="244" y="390"/>
                    </a:lnTo>
                    <a:lnTo>
                      <a:pt x="244" y="391"/>
                    </a:lnTo>
                    <a:lnTo>
                      <a:pt x="244" y="392"/>
                    </a:lnTo>
                    <a:lnTo>
                      <a:pt x="243" y="392"/>
                    </a:lnTo>
                    <a:lnTo>
                      <a:pt x="242" y="391"/>
                    </a:lnTo>
                    <a:lnTo>
                      <a:pt x="242" y="390"/>
                    </a:lnTo>
                    <a:lnTo>
                      <a:pt x="241" y="389"/>
                    </a:lnTo>
                    <a:lnTo>
                      <a:pt x="242" y="389"/>
                    </a:lnTo>
                    <a:lnTo>
                      <a:pt x="242" y="390"/>
                    </a:lnTo>
                    <a:lnTo>
                      <a:pt x="243" y="390"/>
                    </a:lnTo>
                    <a:close/>
                    <a:moveTo>
                      <a:pt x="235" y="386"/>
                    </a:moveTo>
                    <a:lnTo>
                      <a:pt x="236" y="386"/>
                    </a:lnTo>
                    <a:lnTo>
                      <a:pt x="236" y="387"/>
                    </a:lnTo>
                    <a:lnTo>
                      <a:pt x="233" y="385"/>
                    </a:lnTo>
                    <a:lnTo>
                      <a:pt x="234" y="384"/>
                    </a:lnTo>
                    <a:lnTo>
                      <a:pt x="235" y="385"/>
                    </a:lnTo>
                    <a:lnTo>
                      <a:pt x="235" y="386"/>
                    </a:lnTo>
                    <a:close/>
                    <a:moveTo>
                      <a:pt x="303" y="383"/>
                    </a:moveTo>
                    <a:lnTo>
                      <a:pt x="303" y="384"/>
                    </a:lnTo>
                    <a:lnTo>
                      <a:pt x="304" y="384"/>
                    </a:lnTo>
                    <a:lnTo>
                      <a:pt x="304" y="383"/>
                    </a:lnTo>
                    <a:lnTo>
                      <a:pt x="304" y="384"/>
                    </a:lnTo>
                    <a:lnTo>
                      <a:pt x="304" y="385"/>
                    </a:lnTo>
                    <a:lnTo>
                      <a:pt x="303" y="385"/>
                    </a:lnTo>
                    <a:lnTo>
                      <a:pt x="303" y="386"/>
                    </a:lnTo>
                    <a:lnTo>
                      <a:pt x="303" y="385"/>
                    </a:lnTo>
                    <a:lnTo>
                      <a:pt x="302" y="385"/>
                    </a:lnTo>
                    <a:lnTo>
                      <a:pt x="302" y="384"/>
                    </a:lnTo>
                    <a:lnTo>
                      <a:pt x="302" y="383"/>
                    </a:lnTo>
                    <a:lnTo>
                      <a:pt x="303" y="383"/>
                    </a:lnTo>
                    <a:close/>
                    <a:moveTo>
                      <a:pt x="192" y="412"/>
                    </a:moveTo>
                    <a:lnTo>
                      <a:pt x="196" y="412"/>
                    </a:lnTo>
                    <a:lnTo>
                      <a:pt x="196" y="413"/>
                    </a:lnTo>
                    <a:lnTo>
                      <a:pt x="196" y="412"/>
                    </a:lnTo>
                    <a:lnTo>
                      <a:pt x="195" y="412"/>
                    </a:lnTo>
                    <a:lnTo>
                      <a:pt x="195" y="413"/>
                    </a:lnTo>
                    <a:lnTo>
                      <a:pt x="196" y="413"/>
                    </a:lnTo>
                    <a:lnTo>
                      <a:pt x="195" y="413"/>
                    </a:lnTo>
                    <a:lnTo>
                      <a:pt x="193" y="413"/>
                    </a:lnTo>
                    <a:lnTo>
                      <a:pt x="193" y="412"/>
                    </a:lnTo>
                    <a:lnTo>
                      <a:pt x="193" y="413"/>
                    </a:lnTo>
                    <a:lnTo>
                      <a:pt x="192" y="412"/>
                    </a:lnTo>
                    <a:close/>
                    <a:moveTo>
                      <a:pt x="136" y="380"/>
                    </a:moveTo>
                    <a:lnTo>
                      <a:pt x="137" y="382"/>
                    </a:lnTo>
                    <a:lnTo>
                      <a:pt x="138" y="382"/>
                    </a:lnTo>
                    <a:lnTo>
                      <a:pt x="137" y="382"/>
                    </a:lnTo>
                    <a:lnTo>
                      <a:pt x="137" y="383"/>
                    </a:lnTo>
                    <a:lnTo>
                      <a:pt x="136" y="383"/>
                    </a:lnTo>
                    <a:lnTo>
                      <a:pt x="136" y="382"/>
                    </a:lnTo>
                    <a:lnTo>
                      <a:pt x="136" y="380"/>
                    </a:lnTo>
                    <a:lnTo>
                      <a:pt x="135" y="380"/>
                    </a:lnTo>
                    <a:lnTo>
                      <a:pt x="133" y="379"/>
                    </a:lnTo>
                    <a:lnTo>
                      <a:pt x="135" y="379"/>
                    </a:lnTo>
                    <a:lnTo>
                      <a:pt x="136" y="379"/>
                    </a:lnTo>
                    <a:lnTo>
                      <a:pt x="136" y="380"/>
                    </a:lnTo>
                    <a:close/>
                    <a:moveTo>
                      <a:pt x="565" y="546"/>
                    </a:moveTo>
                    <a:lnTo>
                      <a:pt x="566" y="546"/>
                    </a:lnTo>
                    <a:lnTo>
                      <a:pt x="566" y="547"/>
                    </a:lnTo>
                    <a:lnTo>
                      <a:pt x="566" y="546"/>
                    </a:lnTo>
                    <a:lnTo>
                      <a:pt x="565" y="546"/>
                    </a:lnTo>
                    <a:lnTo>
                      <a:pt x="565" y="547"/>
                    </a:lnTo>
                    <a:lnTo>
                      <a:pt x="564" y="547"/>
                    </a:lnTo>
                    <a:lnTo>
                      <a:pt x="564" y="546"/>
                    </a:lnTo>
                    <a:lnTo>
                      <a:pt x="563" y="546"/>
                    </a:lnTo>
                    <a:lnTo>
                      <a:pt x="563" y="545"/>
                    </a:lnTo>
                    <a:lnTo>
                      <a:pt x="564" y="545"/>
                    </a:lnTo>
                    <a:lnTo>
                      <a:pt x="565" y="545"/>
                    </a:lnTo>
                    <a:lnTo>
                      <a:pt x="565" y="546"/>
                    </a:lnTo>
                    <a:close/>
                    <a:moveTo>
                      <a:pt x="473" y="431"/>
                    </a:moveTo>
                    <a:lnTo>
                      <a:pt x="473" y="433"/>
                    </a:lnTo>
                    <a:lnTo>
                      <a:pt x="473" y="434"/>
                    </a:lnTo>
                    <a:lnTo>
                      <a:pt x="472" y="435"/>
                    </a:lnTo>
                    <a:lnTo>
                      <a:pt x="472" y="436"/>
                    </a:lnTo>
                    <a:lnTo>
                      <a:pt x="471" y="436"/>
                    </a:lnTo>
                    <a:lnTo>
                      <a:pt x="471" y="435"/>
                    </a:lnTo>
                    <a:lnTo>
                      <a:pt x="472" y="434"/>
                    </a:lnTo>
                    <a:lnTo>
                      <a:pt x="472" y="431"/>
                    </a:lnTo>
                    <a:lnTo>
                      <a:pt x="473" y="431"/>
                    </a:lnTo>
                    <a:close/>
                    <a:moveTo>
                      <a:pt x="432" y="366"/>
                    </a:moveTo>
                    <a:lnTo>
                      <a:pt x="433" y="366"/>
                    </a:lnTo>
                    <a:lnTo>
                      <a:pt x="433" y="367"/>
                    </a:lnTo>
                    <a:lnTo>
                      <a:pt x="433" y="369"/>
                    </a:lnTo>
                    <a:lnTo>
                      <a:pt x="432" y="369"/>
                    </a:lnTo>
                    <a:lnTo>
                      <a:pt x="431" y="369"/>
                    </a:lnTo>
                    <a:lnTo>
                      <a:pt x="431" y="367"/>
                    </a:lnTo>
                    <a:lnTo>
                      <a:pt x="431" y="366"/>
                    </a:lnTo>
                    <a:lnTo>
                      <a:pt x="429" y="366"/>
                    </a:lnTo>
                    <a:lnTo>
                      <a:pt x="432" y="366"/>
                    </a:lnTo>
                    <a:close/>
                    <a:moveTo>
                      <a:pt x="422" y="378"/>
                    </a:moveTo>
                    <a:lnTo>
                      <a:pt x="423" y="378"/>
                    </a:lnTo>
                    <a:lnTo>
                      <a:pt x="424" y="378"/>
                    </a:lnTo>
                    <a:lnTo>
                      <a:pt x="424" y="379"/>
                    </a:lnTo>
                    <a:lnTo>
                      <a:pt x="423" y="379"/>
                    </a:lnTo>
                    <a:lnTo>
                      <a:pt x="423" y="378"/>
                    </a:lnTo>
                    <a:lnTo>
                      <a:pt x="422" y="378"/>
                    </a:lnTo>
                    <a:lnTo>
                      <a:pt x="421" y="378"/>
                    </a:lnTo>
                    <a:lnTo>
                      <a:pt x="422" y="378"/>
                    </a:lnTo>
                    <a:lnTo>
                      <a:pt x="422" y="379"/>
                    </a:lnTo>
                    <a:lnTo>
                      <a:pt x="421" y="379"/>
                    </a:lnTo>
                    <a:lnTo>
                      <a:pt x="421" y="378"/>
                    </a:lnTo>
                    <a:lnTo>
                      <a:pt x="421" y="379"/>
                    </a:lnTo>
                    <a:lnTo>
                      <a:pt x="422" y="379"/>
                    </a:lnTo>
                    <a:lnTo>
                      <a:pt x="422" y="380"/>
                    </a:lnTo>
                    <a:lnTo>
                      <a:pt x="422" y="379"/>
                    </a:lnTo>
                    <a:lnTo>
                      <a:pt x="421" y="379"/>
                    </a:lnTo>
                    <a:lnTo>
                      <a:pt x="421" y="378"/>
                    </a:lnTo>
                    <a:lnTo>
                      <a:pt x="420" y="378"/>
                    </a:lnTo>
                    <a:lnTo>
                      <a:pt x="419" y="378"/>
                    </a:lnTo>
                    <a:lnTo>
                      <a:pt x="420" y="378"/>
                    </a:lnTo>
                    <a:lnTo>
                      <a:pt x="421" y="378"/>
                    </a:lnTo>
                    <a:lnTo>
                      <a:pt x="421" y="377"/>
                    </a:lnTo>
                    <a:lnTo>
                      <a:pt x="422" y="377"/>
                    </a:lnTo>
                    <a:lnTo>
                      <a:pt x="422" y="378"/>
                    </a:lnTo>
                    <a:close/>
                    <a:moveTo>
                      <a:pt x="196" y="414"/>
                    </a:moveTo>
                    <a:lnTo>
                      <a:pt x="197" y="414"/>
                    </a:lnTo>
                    <a:lnTo>
                      <a:pt x="197" y="415"/>
                    </a:lnTo>
                    <a:lnTo>
                      <a:pt x="196" y="415"/>
                    </a:lnTo>
                    <a:lnTo>
                      <a:pt x="195" y="415"/>
                    </a:lnTo>
                    <a:lnTo>
                      <a:pt x="195" y="416"/>
                    </a:lnTo>
                    <a:lnTo>
                      <a:pt x="194" y="415"/>
                    </a:lnTo>
                    <a:lnTo>
                      <a:pt x="194" y="414"/>
                    </a:lnTo>
                    <a:lnTo>
                      <a:pt x="195" y="414"/>
                    </a:lnTo>
                    <a:lnTo>
                      <a:pt x="196" y="414"/>
                    </a:lnTo>
                    <a:lnTo>
                      <a:pt x="195" y="414"/>
                    </a:lnTo>
                    <a:lnTo>
                      <a:pt x="195" y="413"/>
                    </a:lnTo>
                    <a:lnTo>
                      <a:pt x="196" y="414"/>
                    </a:lnTo>
                    <a:close/>
                    <a:moveTo>
                      <a:pt x="505" y="454"/>
                    </a:moveTo>
                    <a:lnTo>
                      <a:pt x="505" y="456"/>
                    </a:lnTo>
                    <a:lnTo>
                      <a:pt x="505" y="455"/>
                    </a:lnTo>
                    <a:lnTo>
                      <a:pt x="505" y="456"/>
                    </a:lnTo>
                    <a:lnTo>
                      <a:pt x="505" y="457"/>
                    </a:lnTo>
                    <a:lnTo>
                      <a:pt x="504" y="457"/>
                    </a:lnTo>
                    <a:lnTo>
                      <a:pt x="504" y="456"/>
                    </a:lnTo>
                    <a:lnTo>
                      <a:pt x="505" y="456"/>
                    </a:lnTo>
                    <a:lnTo>
                      <a:pt x="505" y="455"/>
                    </a:lnTo>
                    <a:lnTo>
                      <a:pt x="505" y="456"/>
                    </a:lnTo>
                    <a:lnTo>
                      <a:pt x="504" y="456"/>
                    </a:lnTo>
                    <a:lnTo>
                      <a:pt x="503" y="456"/>
                    </a:lnTo>
                    <a:lnTo>
                      <a:pt x="504" y="456"/>
                    </a:lnTo>
                    <a:lnTo>
                      <a:pt x="504" y="455"/>
                    </a:lnTo>
                    <a:lnTo>
                      <a:pt x="504" y="454"/>
                    </a:lnTo>
                    <a:lnTo>
                      <a:pt x="505" y="454"/>
                    </a:lnTo>
                    <a:close/>
                    <a:moveTo>
                      <a:pt x="220" y="401"/>
                    </a:moveTo>
                    <a:lnTo>
                      <a:pt x="220" y="402"/>
                    </a:lnTo>
                    <a:lnTo>
                      <a:pt x="219" y="402"/>
                    </a:lnTo>
                    <a:lnTo>
                      <a:pt x="219" y="403"/>
                    </a:lnTo>
                    <a:lnTo>
                      <a:pt x="218" y="403"/>
                    </a:lnTo>
                    <a:lnTo>
                      <a:pt x="218" y="402"/>
                    </a:lnTo>
                    <a:lnTo>
                      <a:pt x="217" y="402"/>
                    </a:lnTo>
                    <a:lnTo>
                      <a:pt x="216" y="402"/>
                    </a:lnTo>
                    <a:lnTo>
                      <a:pt x="217" y="402"/>
                    </a:lnTo>
                    <a:lnTo>
                      <a:pt x="216" y="402"/>
                    </a:lnTo>
                    <a:lnTo>
                      <a:pt x="216" y="403"/>
                    </a:lnTo>
                    <a:lnTo>
                      <a:pt x="217" y="403"/>
                    </a:lnTo>
                    <a:lnTo>
                      <a:pt x="216" y="403"/>
                    </a:lnTo>
                    <a:lnTo>
                      <a:pt x="215" y="403"/>
                    </a:lnTo>
                    <a:lnTo>
                      <a:pt x="215" y="402"/>
                    </a:lnTo>
                    <a:lnTo>
                      <a:pt x="217" y="402"/>
                    </a:lnTo>
                    <a:lnTo>
                      <a:pt x="218" y="402"/>
                    </a:lnTo>
                    <a:lnTo>
                      <a:pt x="219" y="402"/>
                    </a:lnTo>
                    <a:lnTo>
                      <a:pt x="218" y="402"/>
                    </a:lnTo>
                    <a:lnTo>
                      <a:pt x="219" y="402"/>
                    </a:lnTo>
                    <a:lnTo>
                      <a:pt x="220" y="402"/>
                    </a:lnTo>
                    <a:lnTo>
                      <a:pt x="220" y="401"/>
                    </a:lnTo>
                    <a:lnTo>
                      <a:pt x="217" y="402"/>
                    </a:lnTo>
                    <a:lnTo>
                      <a:pt x="219" y="401"/>
                    </a:lnTo>
                    <a:lnTo>
                      <a:pt x="220" y="401"/>
                    </a:lnTo>
                    <a:close/>
                    <a:moveTo>
                      <a:pt x="317" y="460"/>
                    </a:moveTo>
                    <a:lnTo>
                      <a:pt x="316" y="460"/>
                    </a:lnTo>
                    <a:lnTo>
                      <a:pt x="316" y="461"/>
                    </a:lnTo>
                    <a:lnTo>
                      <a:pt x="317" y="461"/>
                    </a:lnTo>
                    <a:lnTo>
                      <a:pt x="316" y="461"/>
                    </a:lnTo>
                    <a:lnTo>
                      <a:pt x="316" y="462"/>
                    </a:lnTo>
                    <a:lnTo>
                      <a:pt x="318" y="463"/>
                    </a:lnTo>
                    <a:lnTo>
                      <a:pt x="316" y="462"/>
                    </a:lnTo>
                    <a:lnTo>
                      <a:pt x="315" y="462"/>
                    </a:lnTo>
                    <a:lnTo>
                      <a:pt x="315" y="461"/>
                    </a:lnTo>
                    <a:lnTo>
                      <a:pt x="316" y="460"/>
                    </a:lnTo>
                    <a:lnTo>
                      <a:pt x="317" y="459"/>
                    </a:lnTo>
                    <a:lnTo>
                      <a:pt x="317" y="460"/>
                    </a:lnTo>
                    <a:close/>
                    <a:moveTo>
                      <a:pt x="300" y="269"/>
                    </a:moveTo>
                    <a:lnTo>
                      <a:pt x="303" y="269"/>
                    </a:lnTo>
                    <a:lnTo>
                      <a:pt x="303" y="270"/>
                    </a:lnTo>
                    <a:lnTo>
                      <a:pt x="302" y="270"/>
                    </a:lnTo>
                    <a:lnTo>
                      <a:pt x="300" y="270"/>
                    </a:lnTo>
                    <a:lnTo>
                      <a:pt x="299" y="270"/>
                    </a:lnTo>
                    <a:lnTo>
                      <a:pt x="300" y="269"/>
                    </a:lnTo>
                    <a:close/>
                    <a:moveTo>
                      <a:pt x="554" y="513"/>
                    </a:moveTo>
                    <a:lnTo>
                      <a:pt x="556" y="514"/>
                    </a:lnTo>
                    <a:lnTo>
                      <a:pt x="556" y="515"/>
                    </a:lnTo>
                    <a:lnTo>
                      <a:pt x="555" y="515"/>
                    </a:lnTo>
                    <a:lnTo>
                      <a:pt x="554" y="514"/>
                    </a:lnTo>
                    <a:lnTo>
                      <a:pt x="554" y="513"/>
                    </a:lnTo>
                    <a:lnTo>
                      <a:pt x="554" y="514"/>
                    </a:lnTo>
                    <a:lnTo>
                      <a:pt x="553" y="514"/>
                    </a:lnTo>
                    <a:lnTo>
                      <a:pt x="553" y="513"/>
                    </a:lnTo>
                    <a:lnTo>
                      <a:pt x="554" y="513"/>
                    </a:lnTo>
                    <a:close/>
                    <a:moveTo>
                      <a:pt x="553" y="536"/>
                    </a:moveTo>
                    <a:lnTo>
                      <a:pt x="553" y="537"/>
                    </a:lnTo>
                    <a:lnTo>
                      <a:pt x="552" y="537"/>
                    </a:lnTo>
                    <a:lnTo>
                      <a:pt x="552" y="538"/>
                    </a:lnTo>
                    <a:lnTo>
                      <a:pt x="551" y="537"/>
                    </a:lnTo>
                    <a:lnTo>
                      <a:pt x="551" y="536"/>
                    </a:lnTo>
                    <a:lnTo>
                      <a:pt x="552" y="536"/>
                    </a:lnTo>
                    <a:lnTo>
                      <a:pt x="553" y="536"/>
                    </a:lnTo>
                    <a:lnTo>
                      <a:pt x="553" y="534"/>
                    </a:lnTo>
                    <a:lnTo>
                      <a:pt x="553" y="536"/>
                    </a:lnTo>
                    <a:close/>
                    <a:moveTo>
                      <a:pt x="212" y="387"/>
                    </a:moveTo>
                    <a:lnTo>
                      <a:pt x="213" y="389"/>
                    </a:lnTo>
                    <a:lnTo>
                      <a:pt x="212" y="389"/>
                    </a:lnTo>
                    <a:lnTo>
                      <a:pt x="210" y="389"/>
                    </a:lnTo>
                    <a:lnTo>
                      <a:pt x="208" y="390"/>
                    </a:lnTo>
                    <a:lnTo>
                      <a:pt x="208" y="389"/>
                    </a:lnTo>
                    <a:lnTo>
                      <a:pt x="209" y="389"/>
                    </a:lnTo>
                    <a:lnTo>
                      <a:pt x="209" y="388"/>
                    </a:lnTo>
                    <a:lnTo>
                      <a:pt x="210" y="389"/>
                    </a:lnTo>
                    <a:lnTo>
                      <a:pt x="212" y="389"/>
                    </a:lnTo>
                    <a:lnTo>
                      <a:pt x="212" y="386"/>
                    </a:lnTo>
                    <a:lnTo>
                      <a:pt x="212" y="387"/>
                    </a:lnTo>
                    <a:close/>
                    <a:moveTo>
                      <a:pt x="233" y="400"/>
                    </a:moveTo>
                    <a:lnTo>
                      <a:pt x="233" y="401"/>
                    </a:lnTo>
                    <a:lnTo>
                      <a:pt x="232" y="401"/>
                    </a:lnTo>
                    <a:lnTo>
                      <a:pt x="231" y="401"/>
                    </a:lnTo>
                    <a:lnTo>
                      <a:pt x="232" y="401"/>
                    </a:lnTo>
                    <a:lnTo>
                      <a:pt x="232" y="400"/>
                    </a:lnTo>
                    <a:lnTo>
                      <a:pt x="231" y="400"/>
                    </a:lnTo>
                    <a:lnTo>
                      <a:pt x="230" y="400"/>
                    </a:lnTo>
                    <a:lnTo>
                      <a:pt x="230" y="401"/>
                    </a:lnTo>
                    <a:lnTo>
                      <a:pt x="231" y="401"/>
                    </a:lnTo>
                    <a:lnTo>
                      <a:pt x="230" y="401"/>
                    </a:lnTo>
                    <a:lnTo>
                      <a:pt x="230" y="402"/>
                    </a:lnTo>
                    <a:lnTo>
                      <a:pt x="230" y="401"/>
                    </a:lnTo>
                    <a:lnTo>
                      <a:pt x="229" y="400"/>
                    </a:lnTo>
                    <a:lnTo>
                      <a:pt x="233" y="400"/>
                    </a:lnTo>
                    <a:close/>
                    <a:moveTo>
                      <a:pt x="305" y="261"/>
                    </a:moveTo>
                    <a:lnTo>
                      <a:pt x="305" y="262"/>
                    </a:lnTo>
                    <a:lnTo>
                      <a:pt x="304" y="262"/>
                    </a:lnTo>
                    <a:lnTo>
                      <a:pt x="303" y="262"/>
                    </a:lnTo>
                    <a:lnTo>
                      <a:pt x="302" y="262"/>
                    </a:lnTo>
                    <a:lnTo>
                      <a:pt x="300" y="262"/>
                    </a:lnTo>
                    <a:lnTo>
                      <a:pt x="302" y="261"/>
                    </a:lnTo>
                    <a:lnTo>
                      <a:pt x="303" y="261"/>
                    </a:lnTo>
                    <a:lnTo>
                      <a:pt x="304" y="261"/>
                    </a:lnTo>
                    <a:lnTo>
                      <a:pt x="305" y="261"/>
                    </a:lnTo>
                    <a:close/>
                    <a:moveTo>
                      <a:pt x="493" y="449"/>
                    </a:moveTo>
                    <a:lnTo>
                      <a:pt x="494" y="449"/>
                    </a:lnTo>
                    <a:lnTo>
                      <a:pt x="494" y="450"/>
                    </a:lnTo>
                    <a:lnTo>
                      <a:pt x="493" y="450"/>
                    </a:lnTo>
                    <a:lnTo>
                      <a:pt x="493" y="451"/>
                    </a:lnTo>
                    <a:lnTo>
                      <a:pt x="492" y="451"/>
                    </a:lnTo>
                    <a:lnTo>
                      <a:pt x="492" y="450"/>
                    </a:lnTo>
                    <a:lnTo>
                      <a:pt x="492" y="449"/>
                    </a:lnTo>
                    <a:lnTo>
                      <a:pt x="493" y="449"/>
                    </a:lnTo>
                    <a:close/>
                    <a:moveTo>
                      <a:pt x="216" y="401"/>
                    </a:moveTo>
                    <a:lnTo>
                      <a:pt x="219" y="401"/>
                    </a:lnTo>
                    <a:lnTo>
                      <a:pt x="219" y="400"/>
                    </a:lnTo>
                    <a:lnTo>
                      <a:pt x="220" y="400"/>
                    </a:lnTo>
                    <a:lnTo>
                      <a:pt x="221" y="400"/>
                    </a:lnTo>
                    <a:lnTo>
                      <a:pt x="220" y="401"/>
                    </a:lnTo>
                    <a:lnTo>
                      <a:pt x="215" y="402"/>
                    </a:lnTo>
                    <a:lnTo>
                      <a:pt x="215" y="400"/>
                    </a:lnTo>
                    <a:lnTo>
                      <a:pt x="216" y="400"/>
                    </a:lnTo>
                    <a:lnTo>
                      <a:pt x="216" y="399"/>
                    </a:lnTo>
                    <a:lnTo>
                      <a:pt x="217" y="400"/>
                    </a:lnTo>
                    <a:lnTo>
                      <a:pt x="216" y="400"/>
                    </a:lnTo>
                    <a:lnTo>
                      <a:pt x="216" y="401"/>
                    </a:lnTo>
                    <a:lnTo>
                      <a:pt x="215" y="401"/>
                    </a:lnTo>
                    <a:lnTo>
                      <a:pt x="216" y="401"/>
                    </a:lnTo>
                    <a:close/>
                    <a:moveTo>
                      <a:pt x="505" y="555"/>
                    </a:moveTo>
                    <a:lnTo>
                      <a:pt x="504" y="556"/>
                    </a:lnTo>
                    <a:lnTo>
                      <a:pt x="504" y="557"/>
                    </a:lnTo>
                    <a:lnTo>
                      <a:pt x="505" y="558"/>
                    </a:lnTo>
                    <a:lnTo>
                      <a:pt x="505" y="559"/>
                    </a:lnTo>
                    <a:lnTo>
                      <a:pt x="505" y="560"/>
                    </a:lnTo>
                    <a:lnTo>
                      <a:pt x="504" y="560"/>
                    </a:lnTo>
                    <a:lnTo>
                      <a:pt x="503" y="560"/>
                    </a:lnTo>
                    <a:lnTo>
                      <a:pt x="504" y="560"/>
                    </a:lnTo>
                    <a:lnTo>
                      <a:pt x="504" y="559"/>
                    </a:lnTo>
                    <a:lnTo>
                      <a:pt x="504" y="558"/>
                    </a:lnTo>
                    <a:lnTo>
                      <a:pt x="504" y="557"/>
                    </a:lnTo>
                    <a:lnTo>
                      <a:pt x="504" y="556"/>
                    </a:lnTo>
                    <a:lnTo>
                      <a:pt x="503" y="556"/>
                    </a:lnTo>
                    <a:lnTo>
                      <a:pt x="504" y="556"/>
                    </a:lnTo>
                    <a:lnTo>
                      <a:pt x="504" y="555"/>
                    </a:lnTo>
                    <a:lnTo>
                      <a:pt x="505" y="555"/>
                    </a:lnTo>
                    <a:close/>
                    <a:moveTo>
                      <a:pt x="464" y="620"/>
                    </a:moveTo>
                    <a:lnTo>
                      <a:pt x="463" y="621"/>
                    </a:lnTo>
                    <a:lnTo>
                      <a:pt x="463" y="620"/>
                    </a:lnTo>
                    <a:lnTo>
                      <a:pt x="463" y="621"/>
                    </a:lnTo>
                    <a:lnTo>
                      <a:pt x="462" y="622"/>
                    </a:lnTo>
                    <a:lnTo>
                      <a:pt x="461" y="623"/>
                    </a:lnTo>
                    <a:lnTo>
                      <a:pt x="460" y="624"/>
                    </a:lnTo>
                    <a:lnTo>
                      <a:pt x="458" y="627"/>
                    </a:lnTo>
                    <a:lnTo>
                      <a:pt x="458" y="626"/>
                    </a:lnTo>
                    <a:lnTo>
                      <a:pt x="459" y="626"/>
                    </a:lnTo>
                    <a:lnTo>
                      <a:pt x="459" y="624"/>
                    </a:lnTo>
                    <a:lnTo>
                      <a:pt x="460" y="624"/>
                    </a:lnTo>
                    <a:lnTo>
                      <a:pt x="460" y="623"/>
                    </a:lnTo>
                    <a:lnTo>
                      <a:pt x="461" y="623"/>
                    </a:lnTo>
                    <a:lnTo>
                      <a:pt x="462" y="622"/>
                    </a:lnTo>
                    <a:lnTo>
                      <a:pt x="462" y="621"/>
                    </a:lnTo>
                    <a:lnTo>
                      <a:pt x="463" y="620"/>
                    </a:lnTo>
                    <a:lnTo>
                      <a:pt x="464" y="620"/>
                    </a:lnTo>
                    <a:close/>
                    <a:moveTo>
                      <a:pt x="496" y="454"/>
                    </a:moveTo>
                    <a:lnTo>
                      <a:pt x="494" y="454"/>
                    </a:lnTo>
                    <a:lnTo>
                      <a:pt x="494" y="453"/>
                    </a:lnTo>
                    <a:lnTo>
                      <a:pt x="494" y="452"/>
                    </a:lnTo>
                    <a:lnTo>
                      <a:pt x="496" y="451"/>
                    </a:lnTo>
                    <a:lnTo>
                      <a:pt x="496" y="452"/>
                    </a:lnTo>
                    <a:lnTo>
                      <a:pt x="496" y="453"/>
                    </a:lnTo>
                    <a:lnTo>
                      <a:pt x="496" y="454"/>
                    </a:lnTo>
                    <a:close/>
                    <a:moveTo>
                      <a:pt x="476" y="367"/>
                    </a:moveTo>
                    <a:lnTo>
                      <a:pt x="476" y="369"/>
                    </a:lnTo>
                    <a:lnTo>
                      <a:pt x="475" y="369"/>
                    </a:lnTo>
                    <a:lnTo>
                      <a:pt x="475" y="367"/>
                    </a:lnTo>
                    <a:lnTo>
                      <a:pt x="474" y="367"/>
                    </a:lnTo>
                    <a:lnTo>
                      <a:pt x="474" y="366"/>
                    </a:lnTo>
                    <a:lnTo>
                      <a:pt x="475" y="366"/>
                    </a:lnTo>
                    <a:lnTo>
                      <a:pt x="475" y="365"/>
                    </a:lnTo>
                    <a:lnTo>
                      <a:pt x="475" y="366"/>
                    </a:lnTo>
                    <a:lnTo>
                      <a:pt x="476" y="366"/>
                    </a:lnTo>
                    <a:lnTo>
                      <a:pt x="476" y="367"/>
                    </a:lnTo>
                    <a:close/>
                    <a:moveTo>
                      <a:pt x="195" y="391"/>
                    </a:moveTo>
                    <a:lnTo>
                      <a:pt x="195" y="392"/>
                    </a:lnTo>
                    <a:lnTo>
                      <a:pt x="195" y="393"/>
                    </a:lnTo>
                    <a:lnTo>
                      <a:pt x="195" y="395"/>
                    </a:lnTo>
                    <a:lnTo>
                      <a:pt x="194" y="395"/>
                    </a:lnTo>
                    <a:lnTo>
                      <a:pt x="195" y="395"/>
                    </a:lnTo>
                    <a:lnTo>
                      <a:pt x="195" y="393"/>
                    </a:lnTo>
                    <a:lnTo>
                      <a:pt x="195" y="392"/>
                    </a:lnTo>
                    <a:lnTo>
                      <a:pt x="194" y="392"/>
                    </a:lnTo>
                    <a:lnTo>
                      <a:pt x="194" y="393"/>
                    </a:lnTo>
                    <a:lnTo>
                      <a:pt x="193" y="395"/>
                    </a:lnTo>
                    <a:lnTo>
                      <a:pt x="193" y="396"/>
                    </a:lnTo>
                    <a:lnTo>
                      <a:pt x="193" y="397"/>
                    </a:lnTo>
                    <a:lnTo>
                      <a:pt x="193" y="398"/>
                    </a:lnTo>
                    <a:lnTo>
                      <a:pt x="193" y="399"/>
                    </a:lnTo>
                    <a:lnTo>
                      <a:pt x="193" y="400"/>
                    </a:lnTo>
                    <a:lnTo>
                      <a:pt x="194" y="400"/>
                    </a:lnTo>
                    <a:lnTo>
                      <a:pt x="194" y="401"/>
                    </a:lnTo>
                    <a:lnTo>
                      <a:pt x="193" y="400"/>
                    </a:lnTo>
                    <a:lnTo>
                      <a:pt x="192" y="400"/>
                    </a:lnTo>
                    <a:lnTo>
                      <a:pt x="192" y="399"/>
                    </a:lnTo>
                    <a:lnTo>
                      <a:pt x="193" y="399"/>
                    </a:lnTo>
                    <a:lnTo>
                      <a:pt x="193" y="398"/>
                    </a:lnTo>
                    <a:lnTo>
                      <a:pt x="193" y="397"/>
                    </a:lnTo>
                    <a:lnTo>
                      <a:pt x="193" y="396"/>
                    </a:lnTo>
                    <a:lnTo>
                      <a:pt x="193" y="395"/>
                    </a:lnTo>
                    <a:lnTo>
                      <a:pt x="194" y="393"/>
                    </a:lnTo>
                    <a:lnTo>
                      <a:pt x="194" y="392"/>
                    </a:lnTo>
                    <a:lnTo>
                      <a:pt x="194" y="391"/>
                    </a:lnTo>
                    <a:lnTo>
                      <a:pt x="195" y="391"/>
                    </a:lnTo>
                    <a:close/>
                    <a:moveTo>
                      <a:pt x="447" y="369"/>
                    </a:moveTo>
                    <a:lnTo>
                      <a:pt x="448" y="369"/>
                    </a:lnTo>
                    <a:lnTo>
                      <a:pt x="449" y="369"/>
                    </a:lnTo>
                    <a:lnTo>
                      <a:pt x="450" y="369"/>
                    </a:lnTo>
                    <a:lnTo>
                      <a:pt x="450" y="370"/>
                    </a:lnTo>
                    <a:lnTo>
                      <a:pt x="448" y="370"/>
                    </a:lnTo>
                    <a:lnTo>
                      <a:pt x="447" y="370"/>
                    </a:lnTo>
                    <a:lnTo>
                      <a:pt x="447" y="369"/>
                    </a:lnTo>
                    <a:lnTo>
                      <a:pt x="447" y="370"/>
                    </a:lnTo>
                    <a:lnTo>
                      <a:pt x="446" y="370"/>
                    </a:lnTo>
                    <a:lnTo>
                      <a:pt x="446" y="369"/>
                    </a:lnTo>
                    <a:lnTo>
                      <a:pt x="447" y="369"/>
                    </a:lnTo>
                    <a:close/>
                    <a:moveTo>
                      <a:pt x="183" y="403"/>
                    </a:moveTo>
                    <a:lnTo>
                      <a:pt x="182" y="403"/>
                    </a:lnTo>
                    <a:lnTo>
                      <a:pt x="182" y="404"/>
                    </a:lnTo>
                    <a:lnTo>
                      <a:pt x="181" y="404"/>
                    </a:lnTo>
                    <a:lnTo>
                      <a:pt x="181" y="405"/>
                    </a:lnTo>
                    <a:lnTo>
                      <a:pt x="180" y="405"/>
                    </a:lnTo>
                    <a:lnTo>
                      <a:pt x="180" y="406"/>
                    </a:lnTo>
                    <a:lnTo>
                      <a:pt x="179" y="406"/>
                    </a:lnTo>
                    <a:lnTo>
                      <a:pt x="180" y="405"/>
                    </a:lnTo>
                    <a:lnTo>
                      <a:pt x="179" y="405"/>
                    </a:lnTo>
                    <a:lnTo>
                      <a:pt x="178" y="405"/>
                    </a:lnTo>
                    <a:lnTo>
                      <a:pt x="180" y="405"/>
                    </a:lnTo>
                    <a:lnTo>
                      <a:pt x="180" y="404"/>
                    </a:lnTo>
                    <a:lnTo>
                      <a:pt x="179" y="405"/>
                    </a:lnTo>
                    <a:lnTo>
                      <a:pt x="180" y="404"/>
                    </a:lnTo>
                    <a:lnTo>
                      <a:pt x="181" y="403"/>
                    </a:lnTo>
                    <a:lnTo>
                      <a:pt x="182" y="403"/>
                    </a:lnTo>
                    <a:lnTo>
                      <a:pt x="183" y="403"/>
                    </a:lnTo>
                    <a:close/>
                    <a:moveTo>
                      <a:pt x="500" y="576"/>
                    </a:moveTo>
                    <a:lnTo>
                      <a:pt x="499" y="576"/>
                    </a:lnTo>
                    <a:lnTo>
                      <a:pt x="499" y="577"/>
                    </a:lnTo>
                    <a:lnTo>
                      <a:pt x="499" y="576"/>
                    </a:lnTo>
                    <a:lnTo>
                      <a:pt x="498" y="576"/>
                    </a:lnTo>
                    <a:lnTo>
                      <a:pt x="498" y="577"/>
                    </a:lnTo>
                    <a:lnTo>
                      <a:pt x="497" y="577"/>
                    </a:lnTo>
                    <a:lnTo>
                      <a:pt x="498" y="577"/>
                    </a:lnTo>
                    <a:lnTo>
                      <a:pt x="498" y="578"/>
                    </a:lnTo>
                    <a:lnTo>
                      <a:pt x="497" y="577"/>
                    </a:lnTo>
                    <a:lnTo>
                      <a:pt x="497" y="576"/>
                    </a:lnTo>
                    <a:lnTo>
                      <a:pt x="498" y="576"/>
                    </a:lnTo>
                    <a:lnTo>
                      <a:pt x="499" y="575"/>
                    </a:lnTo>
                    <a:lnTo>
                      <a:pt x="500" y="575"/>
                    </a:lnTo>
                    <a:lnTo>
                      <a:pt x="501" y="573"/>
                    </a:lnTo>
                    <a:lnTo>
                      <a:pt x="500" y="575"/>
                    </a:lnTo>
                    <a:lnTo>
                      <a:pt x="499" y="575"/>
                    </a:lnTo>
                    <a:lnTo>
                      <a:pt x="500" y="575"/>
                    </a:lnTo>
                    <a:lnTo>
                      <a:pt x="500" y="576"/>
                    </a:lnTo>
                    <a:close/>
                    <a:moveTo>
                      <a:pt x="434" y="369"/>
                    </a:moveTo>
                    <a:lnTo>
                      <a:pt x="435" y="369"/>
                    </a:lnTo>
                    <a:lnTo>
                      <a:pt x="436" y="369"/>
                    </a:lnTo>
                    <a:lnTo>
                      <a:pt x="436" y="370"/>
                    </a:lnTo>
                    <a:lnTo>
                      <a:pt x="436" y="371"/>
                    </a:lnTo>
                    <a:lnTo>
                      <a:pt x="436" y="372"/>
                    </a:lnTo>
                    <a:lnTo>
                      <a:pt x="435" y="371"/>
                    </a:lnTo>
                    <a:lnTo>
                      <a:pt x="436" y="371"/>
                    </a:lnTo>
                    <a:lnTo>
                      <a:pt x="436" y="370"/>
                    </a:lnTo>
                    <a:lnTo>
                      <a:pt x="435" y="370"/>
                    </a:lnTo>
                    <a:lnTo>
                      <a:pt x="436" y="370"/>
                    </a:lnTo>
                    <a:lnTo>
                      <a:pt x="435" y="370"/>
                    </a:lnTo>
                    <a:lnTo>
                      <a:pt x="434" y="370"/>
                    </a:lnTo>
                    <a:lnTo>
                      <a:pt x="434" y="369"/>
                    </a:lnTo>
                    <a:lnTo>
                      <a:pt x="434" y="370"/>
                    </a:lnTo>
                    <a:lnTo>
                      <a:pt x="433" y="370"/>
                    </a:lnTo>
                    <a:lnTo>
                      <a:pt x="433" y="371"/>
                    </a:lnTo>
                    <a:lnTo>
                      <a:pt x="434" y="371"/>
                    </a:lnTo>
                    <a:lnTo>
                      <a:pt x="433" y="371"/>
                    </a:lnTo>
                    <a:lnTo>
                      <a:pt x="433" y="370"/>
                    </a:lnTo>
                    <a:lnTo>
                      <a:pt x="432" y="370"/>
                    </a:lnTo>
                    <a:lnTo>
                      <a:pt x="432" y="369"/>
                    </a:lnTo>
                    <a:lnTo>
                      <a:pt x="434" y="369"/>
                    </a:lnTo>
                    <a:close/>
                    <a:moveTo>
                      <a:pt x="200" y="359"/>
                    </a:moveTo>
                    <a:lnTo>
                      <a:pt x="200" y="360"/>
                    </a:lnTo>
                    <a:lnTo>
                      <a:pt x="201" y="359"/>
                    </a:lnTo>
                    <a:lnTo>
                      <a:pt x="201" y="360"/>
                    </a:lnTo>
                    <a:lnTo>
                      <a:pt x="200" y="360"/>
                    </a:lnTo>
                    <a:lnTo>
                      <a:pt x="199" y="360"/>
                    </a:lnTo>
                    <a:lnTo>
                      <a:pt x="199" y="358"/>
                    </a:lnTo>
                    <a:lnTo>
                      <a:pt x="199" y="357"/>
                    </a:lnTo>
                    <a:lnTo>
                      <a:pt x="200" y="357"/>
                    </a:lnTo>
                    <a:lnTo>
                      <a:pt x="200" y="358"/>
                    </a:lnTo>
                    <a:lnTo>
                      <a:pt x="200" y="359"/>
                    </a:lnTo>
                    <a:close/>
                    <a:moveTo>
                      <a:pt x="225" y="220"/>
                    </a:moveTo>
                    <a:lnTo>
                      <a:pt x="226" y="220"/>
                    </a:lnTo>
                    <a:lnTo>
                      <a:pt x="226" y="221"/>
                    </a:lnTo>
                    <a:lnTo>
                      <a:pt x="226" y="222"/>
                    </a:lnTo>
                    <a:lnTo>
                      <a:pt x="226" y="223"/>
                    </a:lnTo>
                    <a:lnTo>
                      <a:pt x="226" y="222"/>
                    </a:lnTo>
                    <a:lnTo>
                      <a:pt x="225" y="222"/>
                    </a:lnTo>
                    <a:lnTo>
                      <a:pt x="225" y="223"/>
                    </a:lnTo>
                    <a:lnTo>
                      <a:pt x="225" y="222"/>
                    </a:lnTo>
                    <a:lnTo>
                      <a:pt x="225" y="221"/>
                    </a:lnTo>
                    <a:lnTo>
                      <a:pt x="223" y="221"/>
                    </a:lnTo>
                    <a:lnTo>
                      <a:pt x="222" y="221"/>
                    </a:lnTo>
                    <a:lnTo>
                      <a:pt x="222" y="220"/>
                    </a:lnTo>
                    <a:lnTo>
                      <a:pt x="223" y="220"/>
                    </a:lnTo>
                    <a:lnTo>
                      <a:pt x="225" y="220"/>
                    </a:lnTo>
                    <a:close/>
                    <a:moveTo>
                      <a:pt x="564" y="554"/>
                    </a:moveTo>
                    <a:lnTo>
                      <a:pt x="564" y="555"/>
                    </a:lnTo>
                    <a:lnTo>
                      <a:pt x="564" y="556"/>
                    </a:lnTo>
                    <a:lnTo>
                      <a:pt x="564" y="555"/>
                    </a:lnTo>
                    <a:lnTo>
                      <a:pt x="564" y="556"/>
                    </a:lnTo>
                    <a:lnTo>
                      <a:pt x="565" y="556"/>
                    </a:lnTo>
                    <a:lnTo>
                      <a:pt x="564" y="556"/>
                    </a:lnTo>
                    <a:lnTo>
                      <a:pt x="564" y="557"/>
                    </a:lnTo>
                    <a:lnTo>
                      <a:pt x="565" y="557"/>
                    </a:lnTo>
                    <a:lnTo>
                      <a:pt x="565" y="556"/>
                    </a:lnTo>
                    <a:lnTo>
                      <a:pt x="565" y="557"/>
                    </a:lnTo>
                    <a:lnTo>
                      <a:pt x="565" y="558"/>
                    </a:lnTo>
                    <a:lnTo>
                      <a:pt x="565" y="557"/>
                    </a:lnTo>
                    <a:lnTo>
                      <a:pt x="564" y="557"/>
                    </a:lnTo>
                    <a:lnTo>
                      <a:pt x="564" y="556"/>
                    </a:lnTo>
                    <a:lnTo>
                      <a:pt x="564" y="555"/>
                    </a:lnTo>
                    <a:lnTo>
                      <a:pt x="564" y="554"/>
                    </a:lnTo>
                    <a:lnTo>
                      <a:pt x="564" y="553"/>
                    </a:lnTo>
                    <a:lnTo>
                      <a:pt x="565" y="554"/>
                    </a:lnTo>
                    <a:lnTo>
                      <a:pt x="564" y="554"/>
                    </a:lnTo>
                    <a:close/>
                    <a:moveTo>
                      <a:pt x="470" y="491"/>
                    </a:moveTo>
                    <a:lnTo>
                      <a:pt x="468" y="491"/>
                    </a:lnTo>
                    <a:lnTo>
                      <a:pt x="468" y="490"/>
                    </a:lnTo>
                    <a:lnTo>
                      <a:pt x="468" y="489"/>
                    </a:lnTo>
                    <a:lnTo>
                      <a:pt x="470" y="489"/>
                    </a:lnTo>
                    <a:lnTo>
                      <a:pt x="470" y="490"/>
                    </a:lnTo>
                    <a:lnTo>
                      <a:pt x="470" y="491"/>
                    </a:lnTo>
                    <a:close/>
                    <a:moveTo>
                      <a:pt x="215" y="408"/>
                    </a:moveTo>
                    <a:lnTo>
                      <a:pt x="216" y="408"/>
                    </a:lnTo>
                    <a:lnTo>
                      <a:pt x="217" y="408"/>
                    </a:lnTo>
                    <a:lnTo>
                      <a:pt x="218" y="408"/>
                    </a:lnTo>
                    <a:lnTo>
                      <a:pt x="217" y="409"/>
                    </a:lnTo>
                    <a:lnTo>
                      <a:pt x="217" y="410"/>
                    </a:lnTo>
                    <a:lnTo>
                      <a:pt x="216" y="410"/>
                    </a:lnTo>
                    <a:lnTo>
                      <a:pt x="215" y="410"/>
                    </a:lnTo>
                    <a:lnTo>
                      <a:pt x="215" y="409"/>
                    </a:lnTo>
                    <a:lnTo>
                      <a:pt x="216" y="409"/>
                    </a:lnTo>
                    <a:lnTo>
                      <a:pt x="216" y="410"/>
                    </a:lnTo>
                    <a:lnTo>
                      <a:pt x="216" y="409"/>
                    </a:lnTo>
                    <a:lnTo>
                      <a:pt x="217" y="409"/>
                    </a:lnTo>
                    <a:lnTo>
                      <a:pt x="216" y="409"/>
                    </a:lnTo>
                    <a:lnTo>
                      <a:pt x="217" y="409"/>
                    </a:lnTo>
                    <a:lnTo>
                      <a:pt x="217" y="408"/>
                    </a:lnTo>
                    <a:lnTo>
                      <a:pt x="216" y="408"/>
                    </a:lnTo>
                    <a:lnTo>
                      <a:pt x="216" y="409"/>
                    </a:lnTo>
                    <a:lnTo>
                      <a:pt x="216" y="408"/>
                    </a:lnTo>
                    <a:lnTo>
                      <a:pt x="215" y="408"/>
                    </a:lnTo>
                    <a:lnTo>
                      <a:pt x="215" y="409"/>
                    </a:lnTo>
                    <a:lnTo>
                      <a:pt x="215" y="408"/>
                    </a:lnTo>
                    <a:close/>
                    <a:moveTo>
                      <a:pt x="208" y="418"/>
                    </a:moveTo>
                    <a:lnTo>
                      <a:pt x="209" y="418"/>
                    </a:lnTo>
                    <a:lnTo>
                      <a:pt x="209" y="420"/>
                    </a:lnTo>
                    <a:lnTo>
                      <a:pt x="210" y="420"/>
                    </a:lnTo>
                    <a:lnTo>
                      <a:pt x="212" y="420"/>
                    </a:lnTo>
                    <a:lnTo>
                      <a:pt x="213" y="420"/>
                    </a:lnTo>
                    <a:lnTo>
                      <a:pt x="213" y="421"/>
                    </a:lnTo>
                    <a:lnTo>
                      <a:pt x="210" y="421"/>
                    </a:lnTo>
                    <a:lnTo>
                      <a:pt x="210" y="420"/>
                    </a:lnTo>
                    <a:lnTo>
                      <a:pt x="209" y="420"/>
                    </a:lnTo>
                    <a:lnTo>
                      <a:pt x="208" y="420"/>
                    </a:lnTo>
                    <a:lnTo>
                      <a:pt x="207" y="418"/>
                    </a:lnTo>
                    <a:lnTo>
                      <a:pt x="208" y="418"/>
                    </a:lnTo>
                    <a:close/>
                    <a:moveTo>
                      <a:pt x="239" y="402"/>
                    </a:moveTo>
                    <a:lnTo>
                      <a:pt x="240" y="402"/>
                    </a:lnTo>
                    <a:lnTo>
                      <a:pt x="239" y="403"/>
                    </a:lnTo>
                    <a:lnTo>
                      <a:pt x="240" y="403"/>
                    </a:lnTo>
                    <a:lnTo>
                      <a:pt x="241" y="403"/>
                    </a:lnTo>
                    <a:lnTo>
                      <a:pt x="242" y="403"/>
                    </a:lnTo>
                    <a:lnTo>
                      <a:pt x="243" y="403"/>
                    </a:lnTo>
                    <a:lnTo>
                      <a:pt x="242" y="404"/>
                    </a:lnTo>
                    <a:lnTo>
                      <a:pt x="241" y="404"/>
                    </a:lnTo>
                    <a:lnTo>
                      <a:pt x="240" y="404"/>
                    </a:lnTo>
                    <a:lnTo>
                      <a:pt x="239" y="404"/>
                    </a:lnTo>
                    <a:lnTo>
                      <a:pt x="239" y="403"/>
                    </a:lnTo>
                    <a:lnTo>
                      <a:pt x="238" y="403"/>
                    </a:lnTo>
                    <a:lnTo>
                      <a:pt x="239" y="403"/>
                    </a:lnTo>
                    <a:lnTo>
                      <a:pt x="239" y="402"/>
                    </a:lnTo>
                    <a:close/>
                    <a:moveTo>
                      <a:pt x="488" y="590"/>
                    </a:moveTo>
                    <a:lnTo>
                      <a:pt x="488" y="591"/>
                    </a:lnTo>
                    <a:lnTo>
                      <a:pt x="488" y="592"/>
                    </a:lnTo>
                    <a:lnTo>
                      <a:pt x="487" y="592"/>
                    </a:lnTo>
                    <a:lnTo>
                      <a:pt x="487" y="591"/>
                    </a:lnTo>
                    <a:lnTo>
                      <a:pt x="487" y="592"/>
                    </a:lnTo>
                    <a:lnTo>
                      <a:pt x="486" y="592"/>
                    </a:lnTo>
                    <a:lnTo>
                      <a:pt x="486" y="591"/>
                    </a:lnTo>
                    <a:lnTo>
                      <a:pt x="486" y="590"/>
                    </a:lnTo>
                    <a:lnTo>
                      <a:pt x="487" y="590"/>
                    </a:lnTo>
                    <a:lnTo>
                      <a:pt x="486" y="591"/>
                    </a:lnTo>
                    <a:lnTo>
                      <a:pt x="487" y="591"/>
                    </a:lnTo>
                    <a:lnTo>
                      <a:pt x="487" y="590"/>
                    </a:lnTo>
                    <a:lnTo>
                      <a:pt x="488" y="591"/>
                    </a:lnTo>
                    <a:lnTo>
                      <a:pt x="488" y="590"/>
                    </a:lnTo>
                    <a:close/>
                    <a:moveTo>
                      <a:pt x="210" y="403"/>
                    </a:moveTo>
                    <a:lnTo>
                      <a:pt x="213" y="403"/>
                    </a:lnTo>
                    <a:lnTo>
                      <a:pt x="215" y="404"/>
                    </a:lnTo>
                    <a:lnTo>
                      <a:pt x="214" y="405"/>
                    </a:lnTo>
                    <a:lnTo>
                      <a:pt x="214" y="404"/>
                    </a:lnTo>
                    <a:lnTo>
                      <a:pt x="213" y="404"/>
                    </a:lnTo>
                    <a:lnTo>
                      <a:pt x="212" y="404"/>
                    </a:lnTo>
                    <a:lnTo>
                      <a:pt x="210" y="404"/>
                    </a:lnTo>
                    <a:lnTo>
                      <a:pt x="212" y="404"/>
                    </a:lnTo>
                    <a:lnTo>
                      <a:pt x="210" y="403"/>
                    </a:lnTo>
                    <a:lnTo>
                      <a:pt x="210" y="404"/>
                    </a:lnTo>
                    <a:lnTo>
                      <a:pt x="210" y="403"/>
                    </a:lnTo>
                    <a:close/>
                    <a:moveTo>
                      <a:pt x="338" y="470"/>
                    </a:moveTo>
                    <a:lnTo>
                      <a:pt x="338" y="472"/>
                    </a:lnTo>
                    <a:lnTo>
                      <a:pt x="339" y="472"/>
                    </a:lnTo>
                    <a:lnTo>
                      <a:pt x="341" y="472"/>
                    </a:lnTo>
                    <a:lnTo>
                      <a:pt x="339" y="472"/>
                    </a:lnTo>
                    <a:lnTo>
                      <a:pt x="341" y="472"/>
                    </a:lnTo>
                    <a:lnTo>
                      <a:pt x="339" y="473"/>
                    </a:lnTo>
                    <a:lnTo>
                      <a:pt x="338" y="473"/>
                    </a:lnTo>
                    <a:lnTo>
                      <a:pt x="338" y="472"/>
                    </a:lnTo>
                    <a:lnTo>
                      <a:pt x="337" y="472"/>
                    </a:lnTo>
                    <a:lnTo>
                      <a:pt x="337" y="470"/>
                    </a:lnTo>
                    <a:lnTo>
                      <a:pt x="338" y="470"/>
                    </a:lnTo>
                    <a:close/>
                    <a:moveTo>
                      <a:pt x="245" y="237"/>
                    </a:moveTo>
                    <a:lnTo>
                      <a:pt x="245" y="238"/>
                    </a:lnTo>
                    <a:lnTo>
                      <a:pt x="244" y="238"/>
                    </a:lnTo>
                    <a:lnTo>
                      <a:pt x="243" y="238"/>
                    </a:lnTo>
                    <a:lnTo>
                      <a:pt x="243" y="237"/>
                    </a:lnTo>
                    <a:lnTo>
                      <a:pt x="242" y="237"/>
                    </a:lnTo>
                    <a:lnTo>
                      <a:pt x="242" y="236"/>
                    </a:lnTo>
                    <a:lnTo>
                      <a:pt x="243" y="236"/>
                    </a:lnTo>
                    <a:lnTo>
                      <a:pt x="244" y="236"/>
                    </a:lnTo>
                    <a:lnTo>
                      <a:pt x="244" y="237"/>
                    </a:lnTo>
                    <a:lnTo>
                      <a:pt x="245" y="237"/>
                    </a:lnTo>
                    <a:close/>
                    <a:moveTo>
                      <a:pt x="497" y="459"/>
                    </a:moveTo>
                    <a:lnTo>
                      <a:pt x="498" y="459"/>
                    </a:lnTo>
                    <a:lnTo>
                      <a:pt x="497" y="459"/>
                    </a:lnTo>
                    <a:lnTo>
                      <a:pt x="497" y="460"/>
                    </a:lnTo>
                    <a:lnTo>
                      <a:pt x="498" y="460"/>
                    </a:lnTo>
                    <a:lnTo>
                      <a:pt x="497" y="460"/>
                    </a:lnTo>
                    <a:lnTo>
                      <a:pt x="496" y="460"/>
                    </a:lnTo>
                    <a:lnTo>
                      <a:pt x="496" y="461"/>
                    </a:lnTo>
                    <a:lnTo>
                      <a:pt x="496" y="460"/>
                    </a:lnTo>
                    <a:lnTo>
                      <a:pt x="496" y="459"/>
                    </a:lnTo>
                    <a:lnTo>
                      <a:pt x="497" y="459"/>
                    </a:lnTo>
                    <a:close/>
                    <a:moveTo>
                      <a:pt x="291" y="382"/>
                    </a:moveTo>
                    <a:lnTo>
                      <a:pt x="291" y="383"/>
                    </a:lnTo>
                    <a:lnTo>
                      <a:pt x="292" y="383"/>
                    </a:lnTo>
                    <a:lnTo>
                      <a:pt x="291" y="383"/>
                    </a:lnTo>
                    <a:lnTo>
                      <a:pt x="290" y="383"/>
                    </a:lnTo>
                    <a:lnTo>
                      <a:pt x="289" y="382"/>
                    </a:lnTo>
                    <a:lnTo>
                      <a:pt x="290" y="382"/>
                    </a:lnTo>
                    <a:lnTo>
                      <a:pt x="290" y="380"/>
                    </a:lnTo>
                    <a:lnTo>
                      <a:pt x="291" y="380"/>
                    </a:lnTo>
                    <a:lnTo>
                      <a:pt x="291" y="382"/>
                    </a:lnTo>
                    <a:close/>
                    <a:moveTo>
                      <a:pt x="332" y="344"/>
                    </a:moveTo>
                    <a:lnTo>
                      <a:pt x="333" y="344"/>
                    </a:lnTo>
                    <a:lnTo>
                      <a:pt x="334" y="344"/>
                    </a:lnTo>
                    <a:lnTo>
                      <a:pt x="335" y="345"/>
                    </a:lnTo>
                    <a:lnTo>
                      <a:pt x="335" y="344"/>
                    </a:lnTo>
                    <a:lnTo>
                      <a:pt x="335" y="345"/>
                    </a:lnTo>
                    <a:lnTo>
                      <a:pt x="335" y="346"/>
                    </a:lnTo>
                    <a:lnTo>
                      <a:pt x="334" y="345"/>
                    </a:lnTo>
                    <a:lnTo>
                      <a:pt x="333" y="345"/>
                    </a:lnTo>
                    <a:lnTo>
                      <a:pt x="332" y="345"/>
                    </a:lnTo>
                    <a:lnTo>
                      <a:pt x="332" y="344"/>
                    </a:lnTo>
                    <a:close/>
                    <a:moveTo>
                      <a:pt x="412" y="546"/>
                    </a:moveTo>
                    <a:lnTo>
                      <a:pt x="411" y="546"/>
                    </a:lnTo>
                    <a:lnTo>
                      <a:pt x="412" y="546"/>
                    </a:lnTo>
                    <a:lnTo>
                      <a:pt x="412" y="547"/>
                    </a:lnTo>
                    <a:lnTo>
                      <a:pt x="412" y="549"/>
                    </a:lnTo>
                    <a:lnTo>
                      <a:pt x="412" y="547"/>
                    </a:lnTo>
                    <a:lnTo>
                      <a:pt x="413" y="547"/>
                    </a:lnTo>
                    <a:lnTo>
                      <a:pt x="413" y="549"/>
                    </a:lnTo>
                    <a:lnTo>
                      <a:pt x="412" y="549"/>
                    </a:lnTo>
                    <a:lnTo>
                      <a:pt x="411" y="547"/>
                    </a:lnTo>
                    <a:lnTo>
                      <a:pt x="411" y="546"/>
                    </a:lnTo>
                    <a:lnTo>
                      <a:pt x="410" y="546"/>
                    </a:lnTo>
                    <a:lnTo>
                      <a:pt x="411" y="546"/>
                    </a:lnTo>
                    <a:lnTo>
                      <a:pt x="410" y="546"/>
                    </a:lnTo>
                    <a:lnTo>
                      <a:pt x="410" y="545"/>
                    </a:lnTo>
                    <a:lnTo>
                      <a:pt x="411" y="545"/>
                    </a:lnTo>
                    <a:lnTo>
                      <a:pt x="412" y="545"/>
                    </a:lnTo>
                    <a:lnTo>
                      <a:pt x="412" y="546"/>
                    </a:lnTo>
                    <a:close/>
                    <a:moveTo>
                      <a:pt x="464" y="620"/>
                    </a:moveTo>
                    <a:lnTo>
                      <a:pt x="464" y="619"/>
                    </a:lnTo>
                    <a:lnTo>
                      <a:pt x="465" y="618"/>
                    </a:lnTo>
                    <a:lnTo>
                      <a:pt x="465" y="617"/>
                    </a:lnTo>
                    <a:lnTo>
                      <a:pt x="466" y="617"/>
                    </a:lnTo>
                    <a:lnTo>
                      <a:pt x="466" y="615"/>
                    </a:lnTo>
                    <a:lnTo>
                      <a:pt x="467" y="615"/>
                    </a:lnTo>
                    <a:lnTo>
                      <a:pt x="467" y="616"/>
                    </a:lnTo>
                    <a:lnTo>
                      <a:pt x="466" y="617"/>
                    </a:lnTo>
                    <a:lnTo>
                      <a:pt x="465" y="619"/>
                    </a:lnTo>
                    <a:lnTo>
                      <a:pt x="464" y="620"/>
                    </a:lnTo>
                    <a:close/>
                    <a:moveTo>
                      <a:pt x="573" y="553"/>
                    </a:moveTo>
                    <a:lnTo>
                      <a:pt x="574" y="553"/>
                    </a:lnTo>
                    <a:lnTo>
                      <a:pt x="573" y="553"/>
                    </a:lnTo>
                    <a:lnTo>
                      <a:pt x="574" y="553"/>
                    </a:lnTo>
                    <a:lnTo>
                      <a:pt x="574" y="554"/>
                    </a:lnTo>
                    <a:lnTo>
                      <a:pt x="573" y="554"/>
                    </a:lnTo>
                    <a:lnTo>
                      <a:pt x="574" y="554"/>
                    </a:lnTo>
                    <a:lnTo>
                      <a:pt x="573" y="554"/>
                    </a:lnTo>
                    <a:lnTo>
                      <a:pt x="573" y="553"/>
                    </a:lnTo>
                    <a:lnTo>
                      <a:pt x="573" y="554"/>
                    </a:lnTo>
                    <a:lnTo>
                      <a:pt x="571" y="554"/>
                    </a:lnTo>
                    <a:lnTo>
                      <a:pt x="571" y="553"/>
                    </a:lnTo>
                    <a:lnTo>
                      <a:pt x="571" y="552"/>
                    </a:lnTo>
                    <a:lnTo>
                      <a:pt x="571" y="553"/>
                    </a:lnTo>
                    <a:lnTo>
                      <a:pt x="571" y="552"/>
                    </a:lnTo>
                    <a:lnTo>
                      <a:pt x="573" y="552"/>
                    </a:lnTo>
                    <a:lnTo>
                      <a:pt x="573" y="553"/>
                    </a:lnTo>
                    <a:close/>
                    <a:moveTo>
                      <a:pt x="423" y="379"/>
                    </a:moveTo>
                    <a:lnTo>
                      <a:pt x="424" y="379"/>
                    </a:lnTo>
                    <a:lnTo>
                      <a:pt x="423" y="380"/>
                    </a:lnTo>
                    <a:lnTo>
                      <a:pt x="423" y="382"/>
                    </a:lnTo>
                    <a:lnTo>
                      <a:pt x="424" y="382"/>
                    </a:lnTo>
                    <a:lnTo>
                      <a:pt x="423" y="382"/>
                    </a:lnTo>
                    <a:lnTo>
                      <a:pt x="422" y="382"/>
                    </a:lnTo>
                    <a:lnTo>
                      <a:pt x="422" y="380"/>
                    </a:lnTo>
                    <a:lnTo>
                      <a:pt x="422" y="379"/>
                    </a:lnTo>
                    <a:lnTo>
                      <a:pt x="421" y="379"/>
                    </a:lnTo>
                    <a:lnTo>
                      <a:pt x="422" y="379"/>
                    </a:lnTo>
                    <a:lnTo>
                      <a:pt x="423" y="379"/>
                    </a:lnTo>
                    <a:close/>
                    <a:moveTo>
                      <a:pt x="556" y="516"/>
                    </a:moveTo>
                    <a:lnTo>
                      <a:pt x="555" y="516"/>
                    </a:lnTo>
                    <a:lnTo>
                      <a:pt x="556" y="515"/>
                    </a:lnTo>
                    <a:lnTo>
                      <a:pt x="556" y="514"/>
                    </a:lnTo>
                    <a:lnTo>
                      <a:pt x="558" y="514"/>
                    </a:lnTo>
                    <a:lnTo>
                      <a:pt x="558" y="515"/>
                    </a:lnTo>
                    <a:lnTo>
                      <a:pt x="557" y="515"/>
                    </a:lnTo>
                    <a:lnTo>
                      <a:pt x="557" y="516"/>
                    </a:lnTo>
                    <a:lnTo>
                      <a:pt x="556" y="516"/>
                    </a:lnTo>
                    <a:close/>
                    <a:moveTo>
                      <a:pt x="312" y="462"/>
                    </a:moveTo>
                    <a:lnTo>
                      <a:pt x="311" y="463"/>
                    </a:lnTo>
                    <a:lnTo>
                      <a:pt x="307" y="462"/>
                    </a:lnTo>
                    <a:lnTo>
                      <a:pt x="308" y="462"/>
                    </a:lnTo>
                    <a:lnTo>
                      <a:pt x="308" y="463"/>
                    </a:lnTo>
                    <a:lnTo>
                      <a:pt x="309" y="463"/>
                    </a:lnTo>
                    <a:lnTo>
                      <a:pt x="309" y="462"/>
                    </a:lnTo>
                    <a:lnTo>
                      <a:pt x="309" y="463"/>
                    </a:lnTo>
                    <a:lnTo>
                      <a:pt x="310" y="463"/>
                    </a:lnTo>
                    <a:lnTo>
                      <a:pt x="311" y="462"/>
                    </a:lnTo>
                    <a:lnTo>
                      <a:pt x="311" y="463"/>
                    </a:lnTo>
                    <a:lnTo>
                      <a:pt x="311" y="462"/>
                    </a:lnTo>
                    <a:lnTo>
                      <a:pt x="311" y="461"/>
                    </a:lnTo>
                    <a:lnTo>
                      <a:pt x="311" y="460"/>
                    </a:lnTo>
                    <a:lnTo>
                      <a:pt x="312" y="461"/>
                    </a:lnTo>
                    <a:lnTo>
                      <a:pt x="312" y="462"/>
                    </a:lnTo>
                    <a:close/>
                    <a:moveTo>
                      <a:pt x="501" y="552"/>
                    </a:moveTo>
                    <a:lnTo>
                      <a:pt x="502" y="552"/>
                    </a:lnTo>
                    <a:lnTo>
                      <a:pt x="503" y="552"/>
                    </a:lnTo>
                    <a:lnTo>
                      <a:pt x="502" y="552"/>
                    </a:lnTo>
                    <a:lnTo>
                      <a:pt x="501" y="552"/>
                    </a:lnTo>
                    <a:lnTo>
                      <a:pt x="501" y="553"/>
                    </a:lnTo>
                    <a:lnTo>
                      <a:pt x="501" y="554"/>
                    </a:lnTo>
                    <a:lnTo>
                      <a:pt x="501" y="553"/>
                    </a:lnTo>
                    <a:lnTo>
                      <a:pt x="501" y="554"/>
                    </a:lnTo>
                    <a:lnTo>
                      <a:pt x="500" y="555"/>
                    </a:lnTo>
                    <a:lnTo>
                      <a:pt x="501" y="555"/>
                    </a:lnTo>
                    <a:lnTo>
                      <a:pt x="500" y="555"/>
                    </a:lnTo>
                    <a:lnTo>
                      <a:pt x="500" y="556"/>
                    </a:lnTo>
                    <a:lnTo>
                      <a:pt x="500" y="557"/>
                    </a:lnTo>
                    <a:lnTo>
                      <a:pt x="500" y="558"/>
                    </a:lnTo>
                    <a:lnTo>
                      <a:pt x="499" y="558"/>
                    </a:lnTo>
                    <a:lnTo>
                      <a:pt x="500" y="557"/>
                    </a:lnTo>
                    <a:lnTo>
                      <a:pt x="500" y="556"/>
                    </a:lnTo>
                    <a:lnTo>
                      <a:pt x="500" y="555"/>
                    </a:lnTo>
                    <a:lnTo>
                      <a:pt x="500" y="554"/>
                    </a:lnTo>
                    <a:lnTo>
                      <a:pt x="501" y="553"/>
                    </a:lnTo>
                    <a:lnTo>
                      <a:pt x="501" y="552"/>
                    </a:lnTo>
                    <a:close/>
                    <a:moveTo>
                      <a:pt x="424" y="375"/>
                    </a:moveTo>
                    <a:lnTo>
                      <a:pt x="424" y="376"/>
                    </a:lnTo>
                    <a:lnTo>
                      <a:pt x="423" y="376"/>
                    </a:lnTo>
                    <a:lnTo>
                      <a:pt x="424" y="376"/>
                    </a:lnTo>
                    <a:lnTo>
                      <a:pt x="424" y="375"/>
                    </a:lnTo>
                    <a:lnTo>
                      <a:pt x="423" y="375"/>
                    </a:lnTo>
                    <a:lnTo>
                      <a:pt x="422" y="375"/>
                    </a:lnTo>
                    <a:lnTo>
                      <a:pt x="422" y="376"/>
                    </a:lnTo>
                    <a:lnTo>
                      <a:pt x="423" y="376"/>
                    </a:lnTo>
                    <a:lnTo>
                      <a:pt x="423" y="375"/>
                    </a:lnTo>
                    <a:lnTo>
                      <a:pt x="423" y="376"/>
                    </a:lnTo>
                    <a:lnTo>
                      <a:pt x="423" y="375"/>
                    </a:lnTo>
                    <a:lnTo>
                      <a:pt x="423" y="376"/>
                    </a:lnTo>
                    <a:lnTo>
                      <a:pt x="422" y="376"/>
                    </a:lnTo>
                    <a:lnTo>
                      <a:pt x="422" y="377"/>
                    </a:lnTo>
                    <a:lnTo>
                      <a:pt x="423" y="377"/>
                    </a:lnTo>
                    <a:lnTo>
                      <a:pt x="423" y="376"/>
                    </a:lnTo>
                    <a:lnTo>
                      <a:pt x="424" y="376"/>
                    </a:lnTo>
                    <a:lnTo>
                      <a:pt x="424" y="377"/>
                    </a:lnTo>
                    <a:lnTo>
                      <a:pt x="424" y="378"/>
                    </a:lnTo>
                    <a:lnTo>
                      <a:pt x="423" y="378"/>
                    </a:lnTo>
                    <a:lnTo>
                      <a:pt x="422" y="377"/>
                    </a:lnTo>
                    <a:lnTo>
                      <a:pt x="422" y="376"/>
                    </a:lnTo>
                    <a:lnTo>
                      <a:pt x="422" y="375"/>
                    </a:lnTo>
                    <a:lnTo>
                      <a:pt x="422" y="374"/>
                    </a:lnTo>
                    <a:lnTo>
                      <a:pt x="422" y="375"/>
                    </a:lnTo>
                    <a:lnTo>
                      <a:pt x="423" y="375"/>
                    </a:lnTo>
                    <a:lnTo>
                      <a:pt x="424" y="375"/>
                    </a:lnTo>
                    <a:close/>
                    <a:moveTo>
                      <a:pt x="564" y="515"/>
                    </a:moveTo>
                    <a:lnTo>
                      <a:pt x="563" y="515"/>
                    </a:lnTo>
                    <a:lnTo>
                      <a:pt x="563" y="514"/>
                    </a:lnTo>
                    <a:lnTo>
                      <a:pt x="563" y="513"/>
                    </a:lnTo>
                    <a:lnTo>
                      <a:pt x="564" y="513"/>
                    </a:lnTo>
                    <a:lnTo>
                      <a:pt x="565" y="513"/>
                    </a:lnTo>
                    <a:lnTo>
                      <a:pt x="564" y="514"/>
                    </a:lnTo>
                    <a:lnTo>
                      <a:pt x="564" y="515"/>
                    </a:lnTo>
                    <a:close/>
                    <a:moveTo>
                      <a:pt x="316" y="454"/>
                    </a:moveTo>
                    <a:lnTo>
                      <a:pt x="316" y="456"/>
                    </a:lnTo>
                    <a:lnTo>
                      <a:pt x="316" y="457"/>
                    </a:lnTo>
                    <a:lnTo>
                      <a:pt x="315" y="456"/>
                    </a:lnTo>
                    <a:lnTo>
                      <a:pt x="316" y="455"/>
                    </a:lnTo>
                    <a:lnTo>
                      <a:pt x="315" y="453"/>
                    </a:lnTo>
                    <a:lnTo>
                      <a:pt x="316" y="452"/>
                    </a:lnTo>
                    <a:lnTo>
                      <a:pt x="316" y="451"/>
                    </a:lnTo>
                    <a:lnTo>
                      <a:pt x="317" y="451"/>
                    </a:lnTo>
                    <a:lnTo>
                      <a:pt x="316" y="452"/>
                    </a:lnTo>
                    <a:lnTo>
                      <a:pt x="316" y="453"/>
                    </a:lnTo>
                    <a:lnTo>
                      <a:pt x="316" y="454"/>
                    </a:lnTo>
                    <a:close/>
                    <a:moveTo>
                      <a:pt x="245" y="417"/>
                    </a:moveTo>
                    <a:lnTo>
                      <a:pt x="244" y="417"/>
                    </a:lnTo>
                    <a:lnTo>
                      <a:pt x="243" y="417"/>
                    </a:lnTo>
                    <a:lnTo>
                      <a:pt x="242" y="417"/>
                    </a:lnTo>
                    <a:lnTo>
                      <a:pt x="240" y="417"/>
                    </a:lnTo>
                    <a:lnTo>
                      <a:pt x="239" y="416"/>
                    </a:lnTo>
                    <a:lnTo>
                      <a:pt x="240" y="417"/>
                    </a:lnTo>
                    <a:lnTo>
                      <a:pt x="245" y="417"/>
                    </a:lnTo>
                    <a:close/>
                    <a:moveTo>
                      <a:pt x="574" y="494"/>
                    </a:moveTo>
                    <a:lnTo>
                      <a:pt x="574" y="495"/>
                    </a:lnTo>
                    <a:lnTo>
                      <a:pt x="574" y="496"/>
                    </a:lnTo>
                    <a:lnTo>
                      <a:pt x="575" y="496"/>
                    </a:lnTo>
                    <a:lnTo>
                      <a:pt x="575" y="498"/>
                    </a:lnTo>
                    <a:lnTo>
                      <a:pt x="575" y="496"/>
                    </a:lnTo>
                    <a:lnTo>
                      <a:pt x="574" y="496"/>
                    </a:lnTo>
                    <a:lnTo>
                      <a:pt x="574" y="495"/>
                    </a:lnTo>
                    <a:lnTo>
                      <a:pt x="573" y="494"/>
                    </a:lnTo>
                    <a:lnTo>
                      <a:pt x="573" y="495"/>
                    </a:lnTo>
                    <a:lnTo>
                      <a:pt x="574" y="496"/>
                    </a:lnTo>
                    <a:lnTo>
                      <a:pt x="574" y="498"/>
                    </a:lnTo>
                    <a:lnTo>
                      <a:pt x="574" y="499"/>
                    </a:lnTo>
                    <a:lnTo>
                      <a:pt x="574" y="500"/>
                    </a:lnTo>
                    <a:lnTo>
                      <a:pt x="574" y="499"/>
                    </a:lnTo>
                    <a:lnTo>
                      <a:pt x="573" y="495"/>
                    </a:lnTo>
                    <a:lnTo>
                      <a:pt x="573" y="494"/>
                    </a:lnTo>
                    <a:lnTo>
                      <a:pt x="574" y="494"/>
                    </a:lnTo>
                    <a:close/>
                    <a:moveTo>
                      <a:pt x="213" y="406"/>
                    </a:moveTo>
                    <a:lnTo>
                      <a:pt x="214" y="406"/>
                    </a:lnTo>
                    <a:lnTo>
                      <a:pt x="215" y="406"/>
                    </a:lnTo>
                    <a:lnTo>
                      <a:pt x="214" y="406"/>
                    </a:lnTo>
                    <a:lnTo>
                      <a:pt x="214" y="408"/>
                    </a:lnTo>
                    <a:lnTo>
                      <a:pt x="213" y="408"/>
                    </a:lnTo>
                    <a:lnTo>
                      <a:pt x="214" y="408"/>
                    </a:lnTo>
                    <a:lnTo>
                      <a:pt x="213" y="408"/>
                    </a:lnTo>
                    <a:lnTo>
                      <a:pt x="212" y="408"/>
                    </a:lnTo>
                    <a:lnTo>
                      <a:pt x="210" y="408"/>
                    </a:lnTo>
                    <a:lnTo>
                      <a:pt x="212" y="408"/>
                    </a:lnTo>
                    <a:lnTo>
                      <a:pt x="210" y="408"/>
                    </a:lnTo>
                    <a:lnTo>
                      <a:pt x="209" y="408"/>
                    </a:lnTo>
                    <a:lnTo>
                      <a:pt x="209" y="406"/>
                    </a:lnTo>
                    <a:lnTo>
                      <a:pt x="210" y="406"/>
                    </a:lnTo>
                    <a:lnTo>
                      <a:pt x="212" y="406"/>
                    </a:lnTo>
                    <a:lnTo>
                      <a:pt x="213" y="406"/>
                    </a:lnTo>
                    <a:close/>
                    <a:moveTo>
                      <a:pt x="257" y="372"/>
                    </a:moveTo>
                    <a:lnTo>
                      <a:pt x="257" y="373"/>
                    </a:lnTo>
                    <a:lnTo>
                      <a:pt x="256" y="373"/>
                    </a:lnTo>
                    <a:lnTo>
                      <a:pt x="255" y="372"/>
                    </a:lnTo>
                    <a:lnTo>
                      <a:pt x="254" y="372"/>
                    </a:lnTo>
                    <a:lnTo>
                      <a:pt x="255" y="372"/>
                    </a:lnTo>
                    <a:lnTo>
                      <a:pt x="256" y="372"/>
                    </a:lnTo>
                    <a:lnTo>
                      <a:pt x="256" y="373"/>
                    </a:lnTo>
                    <a:lnTo>
                      <a:pt x="256" y="372"/>
                    </a:lnTo>
                    <a:lnTo>
                      <a:pt x="257" y="372"/>
                    </a:lnTo>
                    <a:lnTo>
                      <a:pt x="257" y="371"/>
                    </a:lnTo>
                    <a:lnTo>
                      <a:pt x="257" y="370"/>
                    </a:lnTo>
                    <a:lnTo>
                      <a:pt x="258" y="371"/>
                    </a:lnTo>
                    <a:lnTo>
                      <a:pt x="257" y="372"/>
                    </a:lnTo>
                    <a:close/>
                    <a:moveTo>
                      <a:pt x="125" y="411"/>
                    </a:moveTo>
                    <a:lnTo>
                      <a:pt x="124" y="411"/>
                    </a:lnTo>
                    <a:lnTo>
                      <a:pt x="123" y="411"/>
                    </a:lnTo>
                    <a:lnTo>
                      <a:pt x="116" y="411"/>
                    </a:lnTo>
                    <a:lnTo>
                      <a:pt x="124" y="411"/>
                    </a:lnTo>
                    <a:lnTo>
                      <a:pt x="125" y="411"/>
                    </a:lnTo>
                    <a:close/>
                    <a:moveTo>
                      <a:pt x="331" y="284"/>
                    </a:moveTo>
                    <a:lnTo>
                      <a:pt x="330" y="284"/>
                    </a:lnTo>
                    <a:lnTo>
                      <a:pt x="330" y="283"/>
                    </a:lnTo>
                    <a:lnTo>
                      <a:pt x="330" y="282"/>
                    </a:lnTo>
                    <a:lnTo>
                      <a:pt x="330" y="283"/>
                    </a:lnTo>
                    <a:lnTo>
                      <a:pt x="331" y="283"/>
                    </a:lnTo>
                    <a:lnTo>
                      <a:pt x="332" y="283"/>
                    </a:lnTo>
                    <a:lnTo>
                      <a:pt x="331" y="284"/>
                    </a:lnTo>
                    <a:close/>
                    <a:moveTo>
                      <a:pt x="313" y="460"/>
                    </a:moveTo>
                    <a:lnTo>
                      <a:pt x="313" y="461"/>
                    </a:lnTo>
                    <a:lnTo>
                      <a:pt x="312" y="461"/>
                    </a:lnTo>
                    <a:lnTo>
                      <a:pt x="311" y="459"/>
                    </a:lnTo>
                    <a:lnTo>
                      <a:pt x="312" y="461"/>
                    </a:lnTo>
                    <a:lnTo>
                      <a:pt x="312" y="460"/>
                    </a:lnTo>
                    <a:lnTo>
                      <a:pt x="313" y="460"/>
                    </a:lnTo>
                    <a:lnTo>
                      <a:pt x="313" y="459"/>
                    </a:lnTo>
                    <a:lnTo>
                      <a:pt x="315" y="459"/>
                    </a:lnTo>
                    <a:lnTo>
                      <a:pt x="316" y="457"/>
                    </a:lnTo>
                    <a:lnTo>
                      <a:pt x="315" y="457"/>
                    </a:lnTo>
                    <a:lnTo>
                      <a:pt x="316" y="457"/>
                    </a:lnTo>
                    <a:lnTo>
                      <a:pt x="316" y="459"/>
                    </a:lnTo>
                    <a:lnTo>
                      <a:pt x="315" y="460"/>
                    </a:lnTo>
                    <a:lnTo>
                      <a:pt x="313" y="460"/>
                    </a:lnTo>
                    <a:close/>
                    <a:moveTo>
                      <a:pt x="334" y="466"/>
                    </a:moveTo>
                    <a:lnTo>
                      <a:pt x="333" y="467"/>
                    </a:lnTo>
                    <a:lnTo>
                      <a:pt x="333" y="466"/>
                    </a:lnTo>
                    <a:lnTo>
                      <a:pt x="332" y="466"/>
                    </a:lnTo>
                    <a:lnTo>
                      <a:pt x="332" y="467"/>
                    </a:lnTo>
                    <a:lnTo>
                      <a:pt x="331" y="467"/>
                    </a:lnTo>
                    <a:lnTo>
                      <a:pt x="331" y="468"/>
                    </a:lnTo>
                    <a:lnTo>
                      <a:pt x="330" y="469"/>
                    </a:lnTo>
                    <a:lnTo>
                      <a:pt x="329" y="468"/>
                    </a:lnTo>
                    <a:lnTo>
                      <a:pt x="328" y="468"/>
                    </a:lnTo>
                    <a:lnTo>
                      <a:pt x="329" y="468"/>
                    </a:lnTo>
                    <a:lnTo>
                      <a:pt x="329" y="467"/>
                    </a:lnTo>
                    <a:lnTo>
                      <a:pt x="330" y="467"/>
                    </a:lnTo>
                    <a:lnTo>
                      <a:pt x="331" y="467"/>
                    </a:lnTo>
                    <a:lnTo>
                      <a:pt x="332" y="467"/>
                    </a:lnTo>
                    <a:lnTo>
                      <a:pt x="332" y="466"/>
                    </a:lnTo>
                    <a:lnTo>
                      <a:pt x="333" y="466"/>
                    </a:lnTo>
                    <a:lnTo>
                      <a:pt x="334" y="466"/>
                    </a:lnTo>
                    <a:close/>
                    <a:moveTo>
                      <a:pt x="265" y="390"/>
                    </a:moveTo>
                    <a:lnTo>
                      <a:pt x="264" y="390"/>
                    </a:lnTo>
                    <a:lnTo>
                      <a:pt x="264" y="391"/>
                    </a:lnTo>
                    <a:lnTo>
                      <a:pt x="265" y="391"/>
                    </a:lnTo>
                    <a:lnTo>
                      <a:pt x="266" y="391"/>
                    </a:lnTo>
                    <a:lnTo>
                      <a:pt x="267" y="391"/>
                    </a:lnTo>
                    <a:lnTo>
                      <a:pt x="266" y="392"/>
                    </a:lnTo>
                    <a:lnTo>
                      <a:pt x="265" y="392"/>
                    </a:lnTo>
                    <a:lnTo>
                      <a:pt x="265" y="391"/>
                    </a:lnTo>
                    <a:lnTo>
                      <a:pt x="264" y="390"/>
                    </a:lnTo>
                    <a:lnTo>
                      <a:pt x="265" y="390"/>
                    </a:lnTo>
                    <a:close/>
                    <a:moveTo>
                      <a:pt x="201" y="405"/>
                    </a:moveTo>
                    <a:lnTo>
                      <a:pt x="202" y="405"/>
                    </a:lnTo>
                    <a:lnTo>
                      <a:pt x="202" y="406"/>
                    </a:lnTo>
                    <a:lnTo>
                      <a:pt x="201" y="406"/>
                    </a:lnTo>
                    <a:lnTo>
                      <a:pt x="200" y="405"/>
                    </a:lnTo>
                    <a:lnTo>
                      <a:pt x="201" y="404"/>
                    </a:lnTo>
                    <a:lnTo>
                      <a:pt x="200" y="405"/>
                    </a:lnTo>
                    <a:lnTo>
                      <a:pt x="201" y="405"/>
                    </a:lnTo>
                    <a:lnTo>
                      <a:pt x="201" y="404"/>
                    </a:lnTo>
                    <a:lnTo>
                      <a:pt x="202" y="404"/>
                    </a:lnTo>
                    <a:lnTo>
                      <a:pt x="202" y="403"/>
                    </a:lnTo>
                    <a:lnTo>
                      <a:pt x="202" y="404"/>
                    </a:lnTo>
                    <a:lnTo>
                      <a:pt x="202" y="405"/>
                    </a:lnTo>
                    <a:lnTo>
                      <a:pt x="201" y="405"/>
                    </a:lnTo>
                    <a:close/>
                    <a:moveTo>
                      <a:pt x="331" y="399"/>
                    </a:moveTo>
                    <a:lnTo>
                      <a:pt x="332" y="400"/>
                    </a:lnTo>
                    <a:lnTo>
                      <a:pt x="332" y="399"/>
                    </a:lnTo>
                    <a:lnTo>
                      <a:pt x="332" y="400"/>
                    </a:lnTo>
                    <a:lnTo>
                      <a:pt x="331" y="400"/>
                    </a:lnTo>
                    <a:lnTo>
                      <a:pt x="329" y="400"/>
                    </a:lnTo>
                    <a:lnTo>
                      <a:pt x="328" y="399"/>
                    </a:lnTo>
                    <a:lnTo>
                      <a:pt x="329" y="399"/>
                    </a:lnTo>
                    <a:lnTo>
                      <a:pt x="330" y="399"/>
                    </a:lnTo>
                    <a:lnTo>
                      <a:pt x="331" y="399"/>
                    </a:lnTo>
                    <a:close/>
                    <a:moveTo>
                      <a:pt x="127" y="391"/>
                    </a:moveTo>
                    <a:lnTo>
                      <a:pt x="128" y="391"/>
                    </a:lnTo>
                    <a:lnTo>
                      <a:pt x="128" y="392"/>
                    </a:lnTo>
                    <a:lnTo>
                      <a:pt x="127" y="393"/>
                    </a:lnTo>
                    <a:lnTo>
                      <a:pt x="128" y="393"/>
                    </a:lnTo>
                    <a:lnTo>
                      <a:pt x="127" y="393"/>
                    </a:lnTo>
                    <a:lnTo>
                      <a:pt x="126" y="393"/>
                    </a:lnTo>
                    <a:lnTo>
                      <a:pt x="127" y="393"/>
                    </a:lnTo>
                    <a:lnTo>
                      <a:pt x="127" y="392"/>
                    </a:lnTo>
                    <a:lnTo>
                      <a:pt x="127" y="391"/>
                    </a:lnTo>
                    <a:close/>
                    <a:moveTo>
                      <a:pt x="555" y="521"/>
                    </a:moveTo>
                    <a:lnTo>
                      <a:pt x="556" y="521"/>
                    </a:lnTo>
                    <a:lnTo>
                      <a:pt x="556" y="523"/>
                    </a:lnTo>
                    <a:lnTo>
                      <a:pt x="555" y="524"/>
                    </a:lnTo>
                    <a:lnTo>
                      <a:pt x="554" y="523"/>
                    </a:lnTo>
                    <a:lnTo>
                      <a:pt x="555" y="521"/>
                    </a:lnTo>
                    <a:close/>
                    <a:moveTo>
                      <a:pt x="421" y="371"/>
                    </a:moveTo>
                    <a:lnTo>
                      <a:pt x="422" y="371"/>
                    </a:lnTo>
                    <a:lnTo>
                      <a:pt x="422" y="372"/>
                    </a:lnTo>
                    <a:lnTo>
                      <a:pt x="423" y="372"/>
                    </a:lnTo>
                    <a:lnTo>
                      <a:pt x="422" y="372"/>
                    </a:lnTo>
                    <a:lnTo>
                      <a:pt x="422" y="373"/>
                    </a:lnTo>
                    <a:lnTo>
                      <a:pt x="422" y="372"/>
                    </a:lnTo>
                    <a:lnTo>
                      <a:pt x="422" y="373"/>
                    </a:lnTo>
                    <a:lnTo>
                      <a:pt x="421" y="373"/>
                    </a:lnTo>
                    <a:lnTo>
                      <a:pt x="421" y="372"/>
                    </a:lnTo>
                    <a:lnTo>
                      <a:pt x="420" y="372"/>
                    </a:lnTo>
                    <a:lnTo>
                      <a:pt x="420" y="371"/>
                    </a:lnTo>
                    <a:lnTo>
                      <a:pt x="420" y="372"/>
                    </a:lnTo>
                    <a:lnTo>
                      <a:pt x="421" y="372"/>
                    </a:lnTo>
                    <a:lnTo>
                      <a:pt x="421" y="371"/>
                    </a:lnTo>
                    <a:lnTo>
                      <a:pt x="421" y="372"/>
                    </a:lnTo>
                    <a:lnTo>
                      <a:pt x="421" y="371"/>
                    </a:lnTo>
                    <a:close/>
                    <a:moveTo>
                      <a:pt x="317" y="452"/>
                    </a:moveTo>
                    <a:lnTo>
                      <a:pt x="316" y="453"/>
                    </a:lnTo>
                    <a:lnTo>
                      <a:pt x="316" y="454"/>
                    </a:lnTo>
                    <a:lnTo>
                      <a:pt x="317" y="454"/>
                    </a:lnTo>
                    <a:lnTo>
                      <a:pt x="317" y="455"/>
                    </a:lnTo>
                    <a:lnTo>
                      <a:pt x="317" y="456"/>
                    </a:lnTo>
                    <a:lnTo>
                      <a:pt x="318" y="456"/>
                    </a:lnTo>
                    <a:lnTo>
                      <a:pt x="319" y="456"/>
                    </a:lnTo>
                    <a:lnTo>
                      <a:pt x="319" y="455"/>
                    </a:lnTo>
                    <a:lnTo>
                      <a:pt x="319" y="456"/>
                    </a:lnTo>
                    <a:lnTo>
                      <a:pt x="318" y="456"/>
                    </a:lnTo>
                    <a:lnTo>
                      <a:pt x="317" y="456"/>
                    </a:lnTo>
                    <a:lnTo>
                      <a:pt x="316" y="455"/>
                    </a:lnTo>
                    <a:lnTo>
                      <a:pt x="316" y="454"/>
                    </a:lnTo>
                    <a:lnTo>
                      <a:pt x="316" y="453"/>
                    </a:lnTo>
                    <a:lnTo>
                      <a:pt x="317" y="452"/>
                    </a:lnTo>
                    <a:close/>
                    <a:moveTo>
                      <a:pt x="235" y="389"/>
                    </a:moveTo>
                    <a:lnTo>
                      <a:pt x="234" y="389"/>
                    </a:lnTo>
                    <a:lnTo>
                      <a:pt x="235" y="388"/>
                    </a:lnTo>
                    <a:lnTo>
                      <a:pt x="235" y="387"/>
                    </a:lnTo>
                    <a:lnTo>
                      <a:pt x="234" y="387"/>
                    </a:lnTo>
                    <a:lnTo>
                      <a:pt x="234" y="386"/>
                    </a:lnTo>
                    <a:lnTo>
                      <a:pt x="234" y="387"/>
                    </a:lnTo>
                    <a:lnTo>
                      <a:pt x="235" y="387"/>
                    </a:lnTo>
                    <a:lnTo>
                      <a:pt x="236" y="387"/>
                    </a:lnTo>
                    <a:lnTo>
                      <a:pt x="235" y="388"/>
                    </a:lnTo>
                    <a:lnTo>
                      <a:pt x="235" y="389"/>
                    </a:lnTo>
                    <a:close/>
                    <a:moveTo>
                      <a:pt x="195" y="413"/>
                    </a:moveTo>
                    <a:lnTo>
                      <a:pt x="194" y="413"/>
                    </a:lnTo>
                    <a:lnTo>
                      <a:pt x="194" y="414"/>
                    </a:lnTo>
                    <a:lnTo>
                      <a:pt x="194" y="415"/>
                    </a:lnTo>
                    <a:lnTo>
                      <a:pt x="193" y="415"/>
                    </a:lnTo>
                    <a:lnTo>
                      <a:pt x="193" y="413"/>
                    </a:lnTo>
                    <a:lnTo>
                      <a:pt x="195" y="413"/>
                    </a:lnTo>
                    <a:close/>
                    <a:moveTo>
                      <a:pt x="190" y="357"/>
                    </a:moveTo>
                    <a:lnTo>
                      <a:pt x="193" y="359"/>
                    </a:lnTo>
                    <a:lnTo>
                      <a:pt x="192" y="359"/>
                    </a:lnTo>
                    <a:lnTo>
                      <a:pt x="191" y="359"/>
                    </a:lnTo>
                    <a:lnTo>
                      <a:pt x="191" y="358"/>
                    </a:lnTo>
                    <a:lnTo>
                      <a:pt x="190" y="359"/>
                    </a:lnTo>
                    <a:lnTo>
                      <a:pt x="190" y="358"/>
                    </a:lnTo>
                    <a:lnTo>
                      <a:pt x="190" y="357"/>
                    </a:lnTo>
                    <a:close/>
                    <a:moveTo>
                      <a:pt x="260" y="259"/>
                    </a:moveTo>
                    <a:lnTo>
                      <a:pt x="260" y="260"/>
                    </a:lnTo>
                    <a:lnTo>
                      <a:pt x="261" y="260"/>
                    </a:lnTo>
                    <a:lnTo>
                      <a:pt x="260" y="260"/>
                    </a:lnTo>
                    <a:lnTo>
                      <a:pt x="259" y="260"/>
                    </a:lnTo>
                    <a:lnTo>
                      <a:pt x="258" y="260"/>
                    </a:lnTo>
                    <a:lnTo>
                      <a:pt x="258" y="259"/>
                    </a:lnTo>
                    <a:lnTo>
                      <a:pt x="260" y="259"/>
                    </a:lnTo>
                    <a:close/>
                    <a:moveTo>
                      <a:pt x="238" y="379"/>
                    </a:moveTo>
                    <a:lnTo>
                      <a:pt x="236" y="380"/>
                    </a:lnTo>
                    <a:lnTo>
                      <a:pt x="235" y="380"/>
                    </a:lnTo>
                    <a:lnTo>
                      <a:pt x="233" y="380"/>
                    </a:lnTo>
                    <a:lnTo>
                      <a:pt x="233" y="379"/>
                    </a:lnTo>
                    <a:lnTo>
                      <a:pt x="234" y="379"/>
                    </a:lnTo>
                    <a:lnTo>
                      <a:pt x="234" y="380"/>
                    </a:lnTo>
                    <a:lnTo>
                      <a:pt x="235" y="380"/>
                    </a:lnTo>
                    <a:lnTo>
                      <a:pt x="235" y="379"/>
                    </a:lnTo>
                    <a:lnTo>
                      <a:pt x="236" y="379"/>
                    </a:lnTo>
                    <a:lnTo>
                      <a:pt x="235" y="379"/>
                    </a:lnTo>
                    <a:lnTo>
                      <a:pt x="235" y="378"/>
                    </a:lnTo>
                    <a:lnTo>
                      <a:pt x="236" y="378"/>
                    </a:lnTo>
                    <a:lnTo>
                      <a:pt x="236" y="379"/>
                    </a:lnTo>
                    <a:lnTo>
                      <a:pt x="238" y="379"/>
                    </a:lnTo>
                    <a:close/>
                    <a:moveTo>
                      <a:pt x="491" y="474"/>
                    </a:moveTo>
                    <a:lnTo>
                      <a:pt x="492" y="474"/>
                    </a:lnTo>
                    <a:lnTo>
                      <a:pt x="492" y="475"/>
                    </a:lnTo>
                    <a:lnTo>
                      <a:pt x="491" y="475"/>
                    </a:lnTo>
                    <a:lnTo>
                      <a:pt x="490" y="475"/>
                    </a:lnTo>
                    <a:lnTo>
                      <a:pt x="491" y="475"/>
                    </a:lnTo>
                    <a:lnTo>
                      <a:pt x="490" y="474"/>
                    </a:lnTo>
                    <a:lnTo>
                      <a:pt x="491" y="474"/>
                    </a:lnTo>
                    <a:lnTo>
                      <a:pt x="490" y="473"/>
                    </a:lnTo>
                    <a:lnTo>
                      <a:pt x="491" y="473"/>
                    </a:lnTo>
                    <a:lnTo>
                      <a:pt x="491" y="474"/>
                    </a:lnTo>
                    <a:close/>
                    <a:moveTo>
                      <a:pt x="413" y="375"/>
                    </a:moveTo>
                    <a:lnTo>
                      <a:pt x="414" y="375"/>
                    </a:lnTo>
                    <a:lnTo>
                      <a:pt x="414" y="376"/>
                    </a:lnTo>
                    <a:lnTo>
                      <a:pt x="414" y="377"/>
                    </a:lnTo>
                    <a:lnTo>
                      <a:pt x="414" y="378"/>
                    </a:lnTo>
                    <a:lnTo>
                      <a:pt x="414" y="377"/>
                    </a:lnTo>
                    <a:lnTo>
                      <a:pt x="413" y="377"/>
                    </a:lnTo>
                    <a:lnTo>
                      <a:pt x="413" y="376"/>
                    </a:lnTo>
                    <a:lnTo>
                      <a:pt x="413" y="377"/>
                    </a:lnTo>
                    <a:lnTo>
                      <a:pt x="413" y="378"/>
                    </a:lnTo>
                    <a:lnTo>
                      <a:pt x="413" y="377"/>
                    </a:lnTo>
                    <a:lnTo>
                      <a:pt x="412" y="377"/>
                    </a:lnTo>
                    <a:lnTo>
                      <a:pt x="413" y="377"/>
                    </a:lnTo>
                    <a:lnTo>
                      <a:pt x="413" y="376"/>
                    </a:lnTo>
                    <a:lnTo>
                      <a:pt x="413" y="375"/>
                    </a:lnTo>
                    <a:close/>
                    <a:moveTo>
                      <a:pt x="276" y="423"/>
                    </a:moveTo>
                    <a:lnTo>
                      <a:pt x="274" y="423"/>
                    </a:lnTo>
                    <a:lnTo>
                      <a:pt x="272" y="422"/>
                    </a:lnTo>
                    <a:lnTo>
                      <a:pt x="272" y="421"/>
                    </a:lnTo>
                    <a:lnTo>
                      <a:pt x="273" y="421"/>
                    </a:lnTo>
                    <a:lnTo>
                      <a:pt x="273" y="422"/>
                    </a:lnTo>
                    <a:lnTo>
                      <a:pt x="274" y="422"/>
                    </a:lnTo>
                    <a:lnTo>
                      <a:pt x="276" y="423"/>
                    </a:lnTo>
                    <a:close/>
                    <a:moveTo>
                      <a:pt x="190" y="361"/>
                    </a:moveTo>
                    <a:lnTo>
                      <a:pt x="189" y="361"/>
                    </a:lnTo>
                    <a:lnTo>
                      <a:pt x="189" y="362"/>
                    </a:lnTo>
                    <a:lnTo>
                      <a:pt x="188" y="362"/>
                    </a:lnTo>
                    <a:lnTo>
                      <a:pt x="188" y="361"/>
                    </a:lnTo>
                    <a:lnTo>
                      <a:pt x="188" y="360"/>
                    </a:lnTo>
                    <a:lnTo>
                      <a:pt x="188" y="359"/>
                    </a:lnTo>
                    <a:lnTo>
                      <a:pt x="189" y="359"/>
                    </a:lnTo>
                    <a:lnTo>
                      <a:pt x="189" y="360"/>
                    </a:lnTo>
                    <a:lnTo>
                      <a:pt x="189" y="361"/>
                    </a:lnTo>
                    <a:lnTo>
                      <a:pt x="190" y="361"/>
                    </a:lnTo>
                    <a:close/>
                    <a:moveTo>
                      <a:pt x="278" y="405"/>
                    </a:moveTo>
                    <a:lnTo>
                      <a:pt x="281" y="409"/>
                    </a:lnTo>
                    <a:lnTo>
                      <a:pt x="280" y="408"/>
                    </a:lnTo>
                    <a:lnTo>
                      <a:pt x="279" y="408"/>
                    </a:lnTo>
                    <a:lnTo>
                      <a:pt x="279" y="409"/>
                    </a:lnTo>
                    <a:lnTo>
                      <a:pt x="279" y="410"/>
                    </a:lnTo>
                    <a:lnTo>
                      <a:pt x="279" y="409"/>
                    </a:lnTo>
                    <a:lnTo>
                      <a:pt x="278" y="409"/>
                    </a:lnTo>
                    <a:lnTo>
                      <a:pt x="279" y="408"/>
                    </a:lnTo>
                    <a:lnTo>
                      <a:pt x="278" y="408"/>
                    </a:lnTo>
                    <a:lnTo>
                      <a:pt x="279" y="408"/>
                    </a:lnTo>
                    <a:lnTo>
                      <a:pt x="279" y="406"/>
                    </a:lnTo>
                    <a:lnTo>
                      <a:pt x="279" y="405"/>
                    </a:lnTo>
                    <a:lnTo>
                      <a:pt x="278" y="405"/>
                    </a:lnTo>
                    <a:close/>
                    <a:moveTo>
                      <a:pt x="219" y="378"/>
                    </a:moveTo>
                    <a:lnTo>
                      <a:pt x="218" y="378"/>
                    </a:lnTo>
                    <a:lnTo>
                      <a:pt x="218" y="377"/>
                    </a:lnTo>
                    <a:lnTo>
                      <a:pt x="217" y="377"/>
                    </a:lnTo>
                    <a:lnTo>
                      <a:pt x="217" y="376"/>
                    </a:lnTo>
                    <a:lnTo>
                      <a:pt x="218" y="376"/>
                    </a:lnTo>
                    <a:lnTo>
                      <a:pt x="218" y="375"/>
                    </a:lnTo>
                    <a:lnTo>
                      <a:pt x="218" y="376"/>
                    </a:lnTo>
                    <a:lnTo>
                      <a:pt x="218" y="377"/>
                    </a:lnTo>
                    <a:lnTo>
                      <a:pt x="219" y="377"/>
                    </a:lnTo>
                    <a:lnTo>
                      <a:pt x="219" y="378"/>
                    </a:lnTo>
                    <a:close/>
                    <a:moveTo>
                      <a:pt x="555" y="540"/>
                    </a:moveTo>
                    <a:lnTo>
                      <a:pt x="554" y="540"/>
                    </a:lnTo>
                    <a:lnTo>
                      <a:pt x="554" y="541"/>
                    </a:lnTo>
                    <a:lnTo>
                      <a:pt x="553" y="541"/>
                    </a:lnTo>
                    <a:lnTo>
                      <a:pt x="553" y="540"/>
                    </a:lnTo>
                    <a:lnTo>
                      <a:pt x="554" y="540"/>
                    </a:lnTo>
                    <a:lnTo>
                      <a:pt x="554" y="539"/>
                    </a:lnTo>
                    <a:lnTo>
                      <a:pt x="555" y="539"/>
                    </a:lnTo>
                    <a:lnTo>
                      <a:pt x="555" y="540"/>
                    </a:lnTo>
                    <a:close/>
                    <a:moveTo>
                      <a:pt x="214" y="402"/>
                    </a:moveTo>
                    <a:lnTo>
                      <a:pt x="214" y="403"/>
                    </a:lnTo>
                    <a:lnTo>
                      <a:pt x="213" y="403"/>
                    </a:lnTo>
                    <a:lnTo>
                      <a:pt x="213" y="402"/>
                    </a:lnTo>
                    <a:lnTo>
                      <a:pt x="213" y="403"/>
                    </a:lnTo>
                    <a:lnTo>
                      <a:pt x="210" y="403"/>
                    </a:lnTo>
                    <a:lnTo>
                      <a:pt x="210" y="402"/>
                    </a:lnTo>
                    <a:lnTo>
                      <a:pt x="214" y="402"/>
                    </a:lnTo>
                    <a:close/>
                    <a:moveTo>
                      <a:pt x="215" y="408"/>
                    </a:moveTo>
                    <a:lnTo>
                      <a:pt x="215" y="409"/>
                    </a:lnTo>
                    <a:lnTo>
                      <a:pt x="215" y="408"/>
                    </a:lnTo>
                    <a:lnTo>
                      <a:pt x="214" y="408"/>
                    </a:lnTo>
                    <a:lnTo>
                      <a:pt x="214" y="409"/>
                    </a:lnTo>
                    <a:lnTo>
                      <a:pt x="214" y="408"/>
                    </a:lnTo>
                    <a:lnTo>
                      <a:pt x="213" y="408"/>
                    </a:lnTo>
                    <a:lnTo>
                      <a:pt x="213" y="409"/>
                    </a:lnTo>
                    <a:lnTo>
                      <a:pt x="214" y="409"/>
                    </a:lnTo>
                    <a:lnTo>
                      <a:pt x="213" y="409"/>
                    </a:lnTo>
                    <a:lnTo>
                      <a:pt x="212" y="409"/>
                    </a:lnTo>
                    <a:lnTo>
                      <a:pt x="212" y="408"/>
                    </a:lnTo>
                    <a:lnTo>
                      <a:pt x="213" y="408"/>
                    </a:lnTo>
                    <a:lnTo>
                      <a:pt x="213" y="409"/>
                    </a:lnTo>
                    <a:lnTo>
                      <a:pt x="213" y="408"/>
                    </a:lnTo>
                    <a:lnTo>
                      <a:pt x="214" y="408"/>
                    </a:lnTo>
                    <a:lnTo>
                      <a:pt x="215" y="408"/>
                    </a:lnTo>
                    <a:close/>
                    <a:moveTo>
                      <a:pt x="297" y="387"/>
                    </a:moveTo>
                    <a:lnTo>
                      <a:pt x="298" y="387"/>
                    </a:lnTo>
                    <a:lnTo>
                      <a:pt x="297" y="387"/>
                    </a:lnTo>
                    <a:lnTo>
                      <a:pt x="297" y="388"/>
                    </a:lnTo>
                    <a:lnTo>
                      <a:pt x="296" y="388"/>
                    </a:lnTo>
                    <a:lnTo>
                      <a:pt x="295" y="388"/>
                    </a:lnTo>
                    <a:lnTo>
                      <a:pt x="295" y="389"/>
                    </a:lnTo>
                    <a:lnTo>
                      <a:pt x="296" y="389"/>
                    </a:lnTo>
                    <a:lnTo>
                      <a:pt x="295" y="389"/>
                    </a:lnTo>
                    <a:lnTo>
                      <a:pt x="295" y="388"/>
                    </a:lnTo>
                    <a:lnTo>
                      <a:pt x="295" y="387"/>
                    </a:lnTo>
                    <a:lnTo>
                      <a:pt x="296" y="387"/>
                    </a:lnTo>
                    <a:lnTo>
                      <a:pt x="296" y="388"/>
                    </a:lnTo>
                    <a:lnTo>
                      <a:pt x="297" y="388"/>
                    </a:lnTo>
                    <a:lnTo>
                      <a:pt x="297" y="387"/>
                    </a:lnTo>
                    <a:close/>
                    <a:moveTo>
                      <a:pt x="245" y="409"/>
                    </a:moveTo>
                    <a:lnTo>
                      <a:pt x="244" y="409"/>
                    </a:lnTo>
                    <a:lnTo>
                      <a:pt x="244" y="410"/>
                    </a:lnTo>
                    <a:lnTo>
                      <a:pt x="243" y="410"/>
                    </a:lnTo>
                    <a:lnTo>
                      <a:pt x="242" y="409"/>
                    </a:lnTo>
                    <a:lnTo>
                      <a:pt x="241" y="409"/>
                    </a:lnTo>
                    <a:lnTo>
                      <a:pt x="241" y="408"/>
                    </a:lnTo>
                    <a:lnTo>
                      <a:pt x="243" y="409"/>
                    </a:lnTo>
                    <a:lnTo>
                      <a:pt x="245" y="409"/>
                    </a:lnTo>
                    <a:close/>
                    <a:moveTo>
                      <a:pt x="500" y="462"/>
                    </a:moveTo>
                    <a:lnTo>
                      <a:pt x="500" y="463"/>
                    </a:lnTo>
                    <a:lnTo>
                      <a:pt x="500" y="464"/>
                    </a:lnTo>
                    <a:lnTo>
                      <a:pt x="501" y="464"/>
                    </a:lnTo>
                    <a:lnTo>
                      <a:pt x="500" y="465"/>
                    </a:lnTo>
                    <a:lnTo>
                      <a:pt x="499" y="465"/>
                    </a:lnTo>
                    <a:lnTo>
                      <a:pt x="499" y="464"/>
                    </a:lnTo>
                    <a:lnTo>
                      <a:pt x="500" y="464"/>
                    </a:lnTo>
                    <a:lnTo>
                      <a:pt x="500" y="463"/>
                    </a:lnTo>
                    <a:lnTo>
                      <a:pt x="500" y="462"/>
                    </a:lnTo>
                    <a:close/>
                    <a:moveTo>
                      <a:pt x="497" y="443"/>
                    </a:moveTo>
                    <a:lnTo>
                      <a:pt x="496" y="443"/>
                    </a:lnTo>
                    <a:lnTo>
                      <a:pt x="496" y="442"/>
                    </a:lnTo>
                    <a:lnTo>
                      <a:pt x="497" y="442"/>
                    </a:lnTo>
                    <a:lnTo>
                      <a:pt x="497" y="441"/>
                    </a:lnTo>
                    <a:lnTo>
                      <a:pt x="498" y="441"/>
                    </a:lnTo>
                    <a:lnTo>
                      <a:pt x="498" y="440"/>
                    </a:lnTo>
                    <a:lnTo>
                      <a:pt x="498" y="441"/>
                    </a:lnTo>
                    <a:lnTo>
                      <a:pt x="497" y="441"/>
                    </a:lnTo>
                    <a:lnTo>
                      <a:pt x="497" y="442"/>
                    </a:lnTo>
                    <a:lnTo>
                      <a:pt x="497" y="443"/>
                    </a:lnTo>
                    <a:close/>
                    <a:moveTo>
                      <a:pt x="304" y="268"/>
                    </a:moveTo>
                    <a:lnTo>
                      <a:pt x="305" y="268"/>
                    </a:lnTo>
                    <a:lnTo>
                      <a:pt x="304" y="269"/>
                    </a:lnTo>
                    <a:lnTo>
                      <a:pt x="305" y="269"/>
                    </a:lnTo>
                    <a:lnTo>
                      <a:pt x="305" y="270"/>
                    </a:lnTo>
                    <a:lnTo>
                      <a:pt x="304" y="270"/>
                    </a:lnTo>
                    <a:lnTo>
                      <a:pt x="304" y="269"/>
                    </a:lnTo>
                    <a:lnTo>
                      <a:pt x="303" y="268"/>
                    </a:lnTo>
                    <a:lnTo>
                      <a:pt x="304" y="268"/>
                    </a:lnTo>
                    <a:close/>
                    <a:moveTo>
                      <a:pt x="171" y="347"/>
                    </a:moveTo>
                    <a:lnTo>
                      <a:pt x="173" y="347"/>
                    </a:lnTo>
                    <a:lnTo>
                      <a:pt x="173" y="348"/>
                    </a:lnTo>
                    <a:lnTo>
                      <a:pt x="174" y="348"/>
                    </a:lnTo>
                    <a:lnTo>
                      <a:pt x="173" y="349"/>
                    </a:lnTo>
                    <a:lnTo>
                      <a:pt x="171" y="348"/>
                    </a:lnTo>
                    <a:lnTo>
                      <a:pt x="171" y="347"/>
                    </a:lnTo>
                    <a:close/>
                    <a:moveTo>
                      <a:pt x="504" y="459"/>
                    </a:moveTo>
                    <a:lnTo>
                      <a:pt x="504" y="460"/>
                    </a:lnTo>
                    <a:lnTo>
                      <a:pt x="504" y="459"/>
                    </a:lnTo>
                    <a:lnTo>
                      <a:pt x="504" y="460"/>
                    </a:lnTo>
                    <a:lnTo>
                      <a:pt x="503" y="460"/>
                    </a:lnTo>
                    <a:lnTo>
                      <a:pt x="503" y="459"/>
                    </a:lnTo>
                    <a:lnTo>
                      <a:pt x="503" y="460"/>
                    </a:lnTo>
                    <a:lnTo>
                      <a:pt x="502" y="460"/>
                    </a:lnTo>
                    <a:lnTo>
                      <a:pt x="502" y="459"/>
                    </a:lnTo>
                    <a:lnTo>
                      <a:pt x="503" y="459"/>
                    </a:lnTo>
                    <a:lnTo>
                      <a:pt x="502" y="459"/>
                    </a:lnTo>
                    <a:lnTo>
                      <a:pt x="503" y="459"/>
                    </a:lnTo>
                    <a:lnTo>
                      <a:pt x="503" y="457"/>
                    </a:lnTo>
                    <a:lnTo>
                      <a:pt x="503" y="459"/>
                    </a:lnTo>
                    <a:lnTo>
                      <a:pt x="504" y="457"/>
                    </a:lnTo>
                    <a:lnTo>
                      <a:pt x="504" y="459"/>
                    </a:lnTo>
                    <a:close/>
                    <a:moveTo>
                      <a:pt x="181" y="369"/>
                    </a:moveTo>
                    <a:lnTo>
                      <a:pt x="180" y="369"/>
                    </a:lnTo>
                    <a:lnTo>
                      <a:pt x="180" y="370"/>
                    </a:lnTo>
                    <a:lnTo>
                      <a:pt x="181" y="370"/>
                    </a:lnTo>
                    <a:lnTo>
                      <a:pt x="181" y="371"/>
                    </a:lnTo>
                    <a:lnTo>
                      <a:pt x="180" y="371"/>
                    </a:lnTo>
                    <a:lnTo>
                      <a:pt x="180" y="370"/>
                    </a:lnTo>
                    <a:lnTo>
                      <a:pt x="179" y="370"/>
                    </a:lnTo>
                    <a:lnTo>
                      <a:pt x="179" y="369"/>
                    </a:lnTo>
                    <a:lnTo>
                      <a:pt x="180" y="369"/>
                    </a:lnTo>
                    <a:lnTo>
                      <a:pt x="181" y="369"/>
                    </a:lnTo>
                    <a:close/>
                    <a:moveTo>
                      <a:pt x="210" y="401"/>
                    </a:moveTo>
                    <a:lnTo>
                      <a:pt x="210" y="402"/>
                    </a:lnTo>
                    <a:lnTo>
                      <a:pt x="209" y="402"/>
                    </a:lnTo>
                    <a:lnTo>
                      <a:pt x="208" y="402"/>
                    </a:lnTo>
                    <a:lnTo>
                      <a:pt x="207" y="402"/>
                    </a:lnTo>
                    <a:lnTo>
                      <a:pt x="207" y="401"/>
                    </a:lnTo>
                    <a:lnTo>
                      <a:pt x="208" y="401"/>
                    </a:lnTo>
                    <a:lnTo>
                      <a:pt x="208" y="402"/>
                    </a:lnTo>
                    <a:lnTo>
                      <a:pt x="209" y="402"/>
                    </a:lnTo>
                    <a:lnTo>
                      <a:pt x="209" y="401"/>
                    </a:lnTo>
                    <a:lnTo>
                      <a:pt x="210" y="401"/>
                    </a:lnTo>
                    <a:lnTo>
                      <a:pt x="210" y="400"/>
                    </a:lnTo>
                    <a:lnTo>
                      <a:pt x="210" y="401"/>
                    </a:lnTo>
                    <a:close/>
                    <a:moveTo>
                      <a:pt x="502" y="578"/>
                    </a:moveTo>
                    <a:lnTo>
                      <a:pt x="502" y="579"/>
                    </a:lnTo>
                    <a:lnTo>
                      <a:pt x="501" y="579"/>
                    </a:lnTo>
                    <a:lnTo>
                      <a:pt x="501" y="580"/>
                    </a:lnTo>
                    <a:lnTo>
                      <a:pt x="502" y="581"/>
                    </a:lnTo>
                    <a:lnTo>
                      <a:pt x="501" y="581"/>
                    </a:lnTo>
                    <a:lnTo>
                      <a:pt x="501" y="580"/>
                    </a:lnTo>
                    <a:lnTo>
                      <a:pt x="500" y="580"/>
                    </a:lnTo>
                    <a:lnTo>
                      <a:pt x="501" y="580"/>
                    </a:lnTo>
                    <a:lnTo>
                      <a:pt x="501" y="579"/>
                    </a:lnTo>
                    <a:lnTo>
                      <a:pt x="501" y="578"/>
                    </a:lnTo>
                    <a:lnTo>
                      <a:pt x="502" y="578"/>
                    </a:lnTo>
                    <a:close/>
                    <a:moveTo>
                      <a:pt x="561" y="545"/>
                    </a:moveTo>
                    <a:lnTo>
                      <a:pt x="562" y="545"/>
                    </a:lnTo>
                    <a:lnTo>
                      <a:pt x="563" y="545"/>
                    </a:lnTo>
                    <a:lnTo>
                      <a:pt x="564" y="545"/>
                    </a:lnTo>
                    <a:lnTo>
                      <a:pt x="562" y="545"/>
                    </a:lnTo>
                    <a:lnTo>
                      <a:pt x="560" y="545"/>
                    </a:lnTo>
                    <a:lnTo>
                      <a:pt x="558" y="545"/>
                    </a:lnTo>
                    <a:lnTo>
                      <a:pt x="557" y="545"/>
                    </a:lnTo>
                    <a:lnTo>
                      <a:pt x="558" y="545"/>
                    </a:lnTo>
                    <a:lnTo>
                      <a:pt x="558" y="544"/>
                    </a:lnTo>
                    <a:lnTo>
                      <a:pt x="560" y="544"/>
                    </a:lnTo>
                    <a:lnTo>
                      <a:pt x="561" y="544"/>
                    </a:lnTo>
                    <a:lnTo>
                      <a:pt x="560" y="544"/>
                    </a:lnTo>
                    <a:lnTo>
                      <a:pt x="561" y="545"/>
                    </a:lnTo>
                    <a:close/>
                    <a:moveTo>
                      <a:pt x="419" y="375"/>
                    </a:moveTo>
                    <a:lnTo>
                      <a:pt x="418" y="375"/>
                    </a:lnTo>
                    <a:lnTo>
                      <a:pt x="416" y="375"/>
                    </a:lnTo>
                    <a:lnTo>
                      <a:pt x="416" y="374"/>
                    </a:lnTo>
                    <a:lnTo>
                      <a:pt x="416" y="373"/>
                    </a:lnTo>
                    <a:lnTo>
                      <a:pt x="418" y="373"/>
                    </a:lnTo>
                    <a:lnTo>
                      <a:pt x="418" y="374"/>
                    </a:lnTo>
                    <a:lnTo>
                      <a:pt x="418" y="375"/>
                    </a:lnTo>
                    <a:lnTo>
                      <a:pt x="419" y="375"/>
                    </a:lnTo>
                    <a:close/>
                    <a:moveTo>
                      <a:pt x="555" y="534"/>
                    </a:moveTo>
                    <a:lnTo>
                      <a:pt x="555" y="533"/>
                    </a:lnTo>
                    <a:lnTo>
                      <a:pt x="555" y="532"/>
                    </a:lnTo>
                    <a:lnTo>
                      <a:pt x="555" y="531"/>
                    </a:lnTo>
                    <a:lnTo>
                      <a:pt x="556" y="531"/>
                    </a:lnTo>
                    <a:lnTo>
                      <a:pt x="556" y="532"/>
                    </a:lnTo>
                    <a:lnTo>
                      <a:pt x="556" y="533"/>
                    </a:lnTo>
                    <a:lnTo>
                      <a:pt x="556" y="534"/>
                    </a:lnTo>
                    <a:lnTo>
                      <a:pt x="555" y="534"/>
                    </a:lnTo>
                    <a:close/>
                    <a:moveTo>
                      <a:pt x="182" y="348"/>
                    </a:moveTo>
                    <a:lnTo>
                      <a:pt x="182" y="350"/>
                    </a:lnTo>
                    <a:lnTo>
                      <a:pt x="182" y="347"/>
                    </a:lnTo>
                    <a:lnTo>
                      <a:pt x="182" y="346"/>
                    </a:lnTo>
                    <a:lnTo>
                      <a:pt x="182" y="347"/>
                    </a:lnTo>
                    <a:lnTo>
                      <a:pt x="182" y="348"/>
                    </a:lnTo>
                    <a:close/>
                    <a:moveTo>
                      <a:pt x="261" y="361"/>
                    </a:moveTo>
                    <a:lnTo>
                      <a:pt x="264" y="362"/>
                    </a:lnTo>
                    <a:lnTo>
                      <a:pt x="262" y="362"/>
                    </a:lnTo>
                    <a:lnTo>
                      <a:pt x="261" y="362"/>
                    </a:lnTo>
                    <a:lnTo>
                      <a:pt x="260" y="360"/>
                    </a:lnTo>
                    <a:lnTo>
                      <a:pt x="261" y="360"/>
                    </a:lnTo>
                    <a:lnTo>
                      <a:pt x="261" y="361"/>
                    </a:lnTo>
                    <a:close/>
                    <a:moveTo>
                      <a:pt x="273" y="400"/>
                    </a:moveTo>
                    <a:lnTo>
                      <a:pt x="276" y="402"/>
                    </a:lnTo>
                    <a:lnTo>
                      <a:pt x="277" y="403"/>
                    </a:lnTo>
                    <a:lnTo>
                      <a:pt x="278" y="404"/>
                    </a:lnTo>
                    <a:lnTo>
                      <a:pt x="276" y="404"/>
                    </a:lnTo>
                    <a:lnTo>
                      <a:pt x="277" y="404"/>
                    </a:lnTo>
                    <a:lnTo>
                      <a:pt x="277" y="403"/>
                    </a:lnTo>
                    <a:lnTo>
                      <a:pt x="276" y="402"/>
                    </a:lnTo>
                    <a:lnTo>
                      <a:pt x="274" y="402"/>
                    </a:lnTo>
                    <a:lnTo>
                      <a:pt x="274" y="401"/>
                    </a:lnTo>
                    <a:lnTo>
                      <a:pt x="273" y="402"/>
                    </a:lnTo>
                    <a:lnTo>
                      <a:pt x="273" y="401"/>
                    </a:lnTo>
                    <a:lnTo>
                      <a:pt x="273" y="400"/>
                    </a:lnTo>
                    <a:lnTo>
                      <a:pt x="272" y="400"/>
                    </a:lnTo>
                    <a:lnTo>
                      <a:pt x="273" y="400"/>
                    </a:lnTo>
                    <a:close/>
                    <a:moveTo>
                      <a:pt x="296" y="393"/>
                    </a:moveTo>
                    <a:lnTo>
                      <a:pt x="296" y="395"/>
                    </a:lnTo>
                    <a:lnTo>
                      <a:pt x="296" y="393"/>
                    </a:lnTo>
                    <a:lnTo>
                      <a:pt x="295" y="393"/>
                    </a:lnTo>
                    <a:lnTo>
                      <a:pt x="295" y="392"/>
                    </a:lnTo>
                    <a:lnTo>
                      <a:pt x="295" y="391"/>
                    </a:lnTo>
                    <a:lnTo>
                      <a:pt x="295" y="390"/>
                    </a:lnTo>
                    <a:lnTo>
                      <a:pt x="296" y="390"/>
                    </a:lnTo>
                    <a:lnTo>
                      <a:pt x="296" y="391"/>
                    </a:lnTo>
                    <a:lnTo>
                      <a:pt x="296" y="392"/>
                    </a:lnTo>
                    <a:lnTo>
                      <a:pt x="296" y="393"/>
                    </a:lnTo>
                    <a:close/>
                    <a:moveTo>
                      <a:pt x="128" y="378"/>
                    </a:moveTo>
                    <a:lnTo>
                      <a:pt x="129" y="378"/>
                    </a:lnTo>
                    <a:lnTo>
                      <a:pt x="129" y="380"/>
                    </a:lnTo>
                    <a:lnTo>
                      <a:pt x="128" y="380"/>
                    </a:lnTo>
                    <a:lnTo>
                      <a:pt x="128" y="378"/>
                    </a:lnTo>
                    <a:close/>
                    <a:moveTo>
                      <a:pt x="437" y="370"/>
                    </a:moveTo>
                    <a:lnTo>
                      <a:pt x="437" y="371"/>
                    </a:lnTo>
                    <a:lnTo>
                      <a:pt x="438" y="370"/>
                    </a:lnTo>
                    <a:lnTo>
                      <a:pt x="437" y="370"/>
                    </a:lnTo>
                    <a:lnTo>
                      <a:pt x="438" y="370"/>
                    </a:lnTo>
                    <a:lnTo>
                      <a:pt x="438" y="371"/>
                    </a:lnTo>
                    <a:lnTo>
                      <a:pt x="437" y="371"/>
                    </a:lnTo>
                    <a:lnTo>
                      <a:pt x="437" y="372"/>
                    </a:lnTo>
                    <a:lnTo>
                      <a:pt x="436" y="372"/>
                    </a:lnTo>
                    <a:lnTo>
                      <a:pt x="436" y="371"/>
                    </a:lnTo>
                    <a:lnTo>
                      <a:pt x="436" y="370"/>
                    </a:lnTo>
                    <a:lnTo>
                      <a:pt x="437" y="370"/>
                    </a:lnTo>
                    <a:close/>
                    <a:moveTo>
                      <a:pt x="203" y="413"/>
                    </a:moveTo>
                    <a:lnTo>
                      <a:pt x="203" y="414"/>
                    </a:lnTo>
                    <a:lnTo>
                      <a:pt x="200" y="413"/>
                    </a:lnTo>
                    <a:lnTo>
                      <a:pt x="199" y="413"/>
                    </a:lnTo>
                    <a:lnTo>
                      <a:pt x="200" y="413"/>
                    </a:lnTo>
                    <a:lnTo>
                      <a:pt x="203" y="413"/>
                    </a:lnTo>
                    <a:close/>
                    <a:moveTo>
                      <a:pt x="553" y="521"/>
                    </a:moveTo>
                    <a:lnTo>
                      <a:pt x="555" y="521"/>
                    </a:lnTo>
                    <a:lnTo>
                      <a:pt x="555" y="524"/>
                    </a:lnTo>
                    <a:lnTo>
                      <a:pt x="553" y="524"/>
                    </a:lnTo>
                    <a:lnTo>
                      <a:pt x="553" y="521"/>
                    </a:lnTo>
                    <a:close/>
                    <a:moveTo>
                      <a:pt x="277" y="415"/>
                    </a:moveTo>
                    <a:lnTo>
                      <a:pt x="276" y="415"/>
                    </a:lnTo>
                    <a:lnTo>
                      <a:pt x="274" y="414"/>
                    </a:lnTo>
                    <a:lnTo>
                      <a:pt x="276" y="414"/>
                    </a:lnTo>
                    <a:lnTo>
                      <a:pt x="278" y="415"/>
                    </a:lnTo>
                    <a:lnTo>
                      <a:pt x="277" y="415"/>
                    </a:lnTo>
                    <a:close/>
                    <a:moveTo>
                      <a:pt x="486" y="591"/>
                    </a:moveTo>
                    <a:lnTo>
                      <a:pt x="486" y="592"/>
                    </a:lnTo>
                    <a:lnTo>
                      <a:pt x="485" y="592"/>
                    </a:lnTo>
                    <a:lnTo>
                      <a:pt x="484" y="592"/>
                    </a:lnTo>
                    <a:lnTo>
                      <a:pt x="484" y="591"/>
                    </a:lnTo>
                    <a:lnTo>
                      <a:pt x="484" y="590"/>
                    </a:lnTo>
                    <a:lnTo>
                      <a:pt x="485" y="591"/>
                    </a:lnTo>
                    <a:lnTo>
                      <a:pt x="486" y="591"/>
                    </a:lnTo>
                    <a:close/>
                    <a:moveTo>
                      <a:pt x="255" y="392"/>
                    </a:moveTo>
                    <a:lnTo>
                      <a:pt x="255" y="393"/>
                    </a:lnTo>
                    <a:lnTo>
                      <a:pt x="254" y="393"/>
                    </a:lnTo>
                    <a:lnTo>
                      <a:pt x="254" y="392"/>
                    </a:lnTo>
                    <a:lnTo>
                      <a:pt x="254" y="393"/>
                    </a:lnTo>
                    <a:lnTo>
                      <a:pt x="252" y="393"/>
                    </a:lnTo>
                    <a:lnTo>
                      <a:pt x="253" y="393"/>
                    </a:lnTo>
                    <a:lnTo>
                      <a:pt x="253" y="392"/>
                    </a:lnTo>
                    <a:lnTo>
                      <a:pt x="254" y="392"/>
                    </a:lnTo>
                    <a:lnTo>
                      <a:pt x="255" y="392"/>
                    </a:lnTo>
                    <a:close/>
                    <a:moveTo>
                      <a:pt x="209" y="390"/>
                    </a:moveTo>
                    <a:lnTo>
                      <a:pt x="209" y="391"/>
                    </a:lnTo>
                    <a:lnTo>
                      <a:pt x="209" y="392"/>
                    </a:lnTo>
                    <a:lnTo>
                      <a:pt x="208" y="392"/>
                    </a:lnTo>
                    <a:lnTo>
                      <a:pt x="208" y="391"/>
                    </a:lnTo>
                    <a:lnTo>
                      <a:pt x="209" y="391"/>
                    </a:lnTo>
                    <a:lnTo>
                      <a:pt x="209" y="390"/>
                    </a:lnTo>
                    <a:lnTo>
                      <a:pt x="208" y="390"/>
                    </a:lnTo>
                    <a:lnTo>
                      <a:pt x="207" y="390"/>
                    </a:lnTo>
                    <a:lnTo>
                      <a:pt x="209" y="390"/>
                    </a:lnTo>
                    <a:close/>
                    <a:moveTo>
                      <a:pt x="148" y="393"/>
                    </a:moveTo>
                    <a:lnTo>
                      <a:pt x="148" y="395"/>
                    </a:lnTo>
                    <a:lnTo>
                      <a:pt x="147" y="395"/>
                    </a:lnTo>
                    <a:lnTo>
                      <a:pt x="145" y="395"/>
                    </a:lnTo>
                    <a:lnTo>
                      <a:pt x="145" y="393"/>
                    </a:lnTo>
                    <a:lnTo>
                      <a:pt x="147" y="393"/>
                    </a:lnTo>
                    <a:lnTo>
                      <a:pt x="148" y="393"/>
                    </a:lnTo>
                    <a:close/>
                    <a:moveTo>
                      <a:pt x="148" y="378"/>
                    </a:moveTo>
                    <a:lnTo>
                      <a:pt x="148" y="379"/>
                    </a:lnTo>
                    <a:lnTo>
                      <a:pt x="147" y="379"/>
                    </a:lnTo>
                    <a:lnTo>
                      <a:pt x="145" y="379"/>
                    </a:lnTo>
                    <a:lnTo>
                      <a:pt x="145" y="378"/>
                    </a:lnTo>
                    <a:lnTo>
                      <a:pt x="147" y="378"/>
                    </a:lnTo>
                    <a:lnTo>
                      <a:pt x="148" y="378"/>
                    </a:lnTo>
                    <a:lnTo>
                      <a:pt x="148" y="377"/>
                    </a:lnTo>
                    <a:lnTo>
                      <a:pt x="148" y="378"/>
                    </a:lnTo>
                    <a:close/>
                    <a:moveTo>
                      <a:pt x="281" y="435"/>
                    </a:moveTo>
                    <a:lnTo>
                      <a:pt x="282" y="435"/>
                    </a:lnTo>
                    <a:lnTo>
                      <a:pt x="282" y="436"/>
                    </a:lnTo>
                    <a:lnTo>
                      <a:pt x="281" y="436"/>
                    </a:lnTo>
                    <a:lnTo>
                      <a:pt x="280" y="435"/>
                    </a:lnTo>
                    <a:lnTo>
                      <a:pt x="280" y="434"/>
                    </a:lnTo>
                    <a:lnTo>
                      <a:pt x="281" y="434"/>
                    </a:lnTo>
                    <a:lnTo>
                      <a:pt x="281" y="435"/>
                    </a:lnTo>
                    <a:close/>
                    <a:moveTo>
                      <a:pt x="274" y="388"/>
                    </a:moveTo>
                    <a:lnTo>
                      <a:pt x="274" y="389"/>
                    </a:lnTo>
                    <a:lnTo>
                      <a:pt x="274" y="388"/>
                    </a:lnTo>
                    <a:lnTo>
                      <a:pt x="274" y="389"/>
                    </a:lnTo>
                    <a:lnTo>
                      <a:pt x="273" y="389"/>
                    </a:lnTo>
                    <a:lnTo>
                      <a:pt x="273" y="390"/>
                    </a:lnTo>
                    <a:lnTo>
                      <a:pt x="273" y="389"/>
                    </a:lnTo>
                    <a:lnTo>
                      <a:pt x="273" y="388"/>
                    </a:lnTo>
                    <a:lnTo>
                      <a:pt x="273" y="387"/>
                    </a:lnTo>
                    <a:lnTo>
                      <a:pt x="272" y="387"/>
                    </a:lnTo>
                    <a:lnTo>
                      <a:pt x="273" y="387"/>
                    </a:lnTo>
                    <a:lnTo>
                      <a:pt x="274" y="388"/>
                    </a:lnTo>
                    <a:lnTo>
                      <a:pt x="273" y="388"/>
                    </a:lnTo>
                    <a:lnTo>
                      <a:pt x="274" y="388"/>
                    </a:lnTo>
                    <a:close/>
                    <a:moveTo>
                      <a:pt x="253" y="246"/>
                    </a:moveTo>
                    <a:lnTo>
                      <a:pt x="253" y="247"/>
                    </a:lnTo>
                    <a:lnTo>
                      <a:pt x="254" y="247"/>
                    </a:lnTo>
                    <a:lnTo>
                      <a:pt x="253" y="247"/>
                    </a:lnTo>
                    <a:lnTo>
                      <a:pt x="253" y="246"/>
                    </a:lnTo>
                    <a:lnTo>
                      <a:pt x="252" y="246"/>
                    </a:lnTo>
                    <a:lnTo>
                      <a:pt x="252" y="247"/>
                    </a:lnTo>
                    <a:lnTo>
                      <a:pt x="251" y="247"/>
                    </a:lnTo>
                    <a:lnTo>
                      <a:pt x="251" y="246"/>
                    </a:lnTo>
                    <a:lnTo>
                      <a:pt x="252" y="246"/>
                    </a:lnTo>
                    <a:lnTo>
                      <a:pt x="252" y="245"/>
                    </a:lnTo>
                    <a:lnTo>
                      <a:pt x="253" y="246"/>
                    </a:lnTo>
                    <a:close/>
                    <a:moveTo>
                      <a:pt x="252" y="170"/>
                    </a:moveTo>
                    <a:lnTo>
                      <a:pt x="253" y="171"/>
                    </a:lnTo>
                    <a:lnTo>
                      <a:pt x="252" y="170"/>
                    </a:lnTo>
                    <a:lnTo>
                      <a:pt x="251" y="170"/>
                    </a:lnTo>
                    <a:lnTo>
                      <a:pt x="251" y="169"/>
                    </a:lnTo>
                    <a:lnTo>
                      <a:pt x="249" y="169"/>
                    </a:lnTo>
                    <a:lnTo>
                      <a:pt x="251" y="169"/>
                    </a:lnTo>
                    <a:lnTo>
                      <a:pt x="252" y="169"/>
                    </a:lnTo>
                    <a:lnTo>
                      <a:pt x="252" y="170"/>
                    </a:lnTo>
                    <a:close/>
                    <a:moveTo>
                      <a:pt x="345" y="456"/>
                    </a:moveTo>
                    <a:lnTo>
                      <a:pt x="345" y="457"/>
                    </a:lnTo>
                    <a:lnTo>
                      <a:pt x="345" y="456"/>
                    </a:lnTo>
                    <a:lnTo>
                      <a:pt x="344" y="456"/>
                    </a:lnTo>
                    <a:lnTo>
                      <a:pt x="344" y="455"/>
                    </a:lnTo>
                    <a:lnTo>
                      <a:pt x="345" y="455"/>
                    </a:lnTo>
                    <a:lnTo>
                      <a:pt x="345" y="456"/>
                    </a:lnTo>
                    <a:close/>
                    <a:moveTo>
                      <a:pt x="433" y="366"/>
                    </a:moveTo>
                    <a:lnTo>
                      <a:pt x="434" y="366"/>
                    </a:lnTo>
                    <a:lnTo>
                      <a:pt x="434" y="369"/>
                    </a:lnTo>
                    <a:lnTo>
                      <a:pt x="433" y="369"/>
                    </a:lnTo>
                    <a:lnTo>
                      <a:pt x="433" y="366"/>
                    </a:lnTo>
                    <a:close/>
                    <a:moveTo>
                      <a:pt x="208" y="386"/>
                    </a:moveTo>
                    <a:lnTo>
                      <a:pt x="208" y="387"/>
                    </a:lnTo>
                    <a:lnTo>
                      <a:pt x="207" y="387"/>
                    </a:lnTo>
                    <a:lnTo>
                      <a:pt x="206" y="387"/>
                    </a:lnTo>
                    <a:lnTo>
                      <a:pt x="206" y="386"/>
                    </a:lnTo>
                    <a:lnTo>
                      <a:pt x="207" y="386"/>
                    </a:lnTo>
                    <a:lnTo>
                      <a:pt x="208" y="386"/>
                    </a:lnTo>
                    <a:close/>
                    <a:moveTo>
                      <a:pt x="295" y="457"/>
                    </a:moveTo>
                    <a:lnTo>
                      <a:pt x="295" y="459"/>
                    </a:lnTo>
                    <a:lnTo>
                      <a:pt x="296" y="459"/>
                    </a:lnTo>
                    <a:lnTo>
                      <a:pt x="297" y="459"/>
                    </a:lnTo>
                    <a:lnTo>
                      <a:pt x="297" y="460"/>
                    </a:lnTo>
                    <a:lnTo>
                      <a:pt x="298" y="460"/>
                    </a:lnTo>
                    <a:lnTo>
                      <a:pt x="293" y="459"/>
                    </a:lnTo>
                    <a:lnTo>
                      <a:pt x="293" y="457"/>
                    </a:lnTo>
                    <a:lnTo>
                      <a:pt x="294" y="457"/>
                    </a:lnTo>
                    <a:lnTo>
                      <a:pt x="295" y="457"/>
                    </a:lnTo>
                    <a:close/>
                    <a:moveTo>
                      <a:pt x="329" y="398"/>
                    </a:moveTo>
                    <a:lnTo>
                      <a:pt x="328" y="399"/>
                    </a:lnTo>
                    <a:lnTo>
                      <a:pt x="328" y="398"/>
                    </a:lnTo>
                    <a:lnTo>
                      <a:pt x="326" y="398"/>
                    </a:lnTo>
                    <a:lnTo>
                      <a:pt x="326" y="397"/>
                    </a:lnTo>
                    <a:lnTo>
                      <a:pt x="328" y="397"/>
                    </a:lnTo>
                    <a:lnTo>
                      <a:pt x="329" y="397"/>
                    </a:lnTo>
                    <a:lnTo>
                      <a:pt x="329" y="398"/>
                    </a:lnTo>
                    <a:close/>
                    <a:moveTo>
                      <a:pt x="268" y="384"/>
                    </a:moveTo>
                    <a:lnTo>
                      <a:pt x="268" y="385"/>
                    </a:lnTo>
                    <a:lnTo>
                      <a:pt x="267" y="384"/>
                    </a:lnTo>
                    <a:lnTo>
                      <a:pt x="266" y="384"/>
                    </a:lnTo>
                    <a:lnTo>
                      <a:pt x="267" y="383"/>
                    </a:lnTo>
                    <a:lnTo>
                      <a:pt x="267" y="384"/>
                    </a:lnTo>
                    <a:lnTo>
                      <a:pt x="267" y="383"/>
                    </a:lnTo>
                    <a:lnTo>
                      <a:pt x="268" y="383"/>
                    </a:lnTo>
                    <a:lnTo>
                      <a:pt x="268" y="384"/>
                    </a:lnTo>
                    <a:close/>
                    <a:moveTo>
                      <a:pt x="197" y="352"/>
                    </a:moveTo>
                    <a:lnTo>
                      <a:pt x="197" y="353"/>
                    </a:lnTo>
                    <a:lnTo>
                      <a:pt x="197" y="356"/>
                    </a:lnTo>
                    <a:lnTo>
                      <a:pt x="197" y="354"/>
                    </a:lnTo>
                    <a:lnTo>
                      <a:pt x="197" y="353"/>
                    </a:lnTo>
                    <a:lnTo>
                      <a:pt x="196" y="353"/>
                    </a:lnTo>
                    <a:lnTo>
                      <a:pt x="196" y="352"/>
                    </a:lnTo>
                    <a:lnTo>
                      <a:pt x="197" y="352"/>
                    </a:lnTo>
                    <a:close/>
                    <a:moveTo>
                      <a:pt x="115" y="411"/>
                    </a:moveTo>
                    <a:lnTo>
                      <a:pt x="110" y="411"/>
                    </a:lnTo>
                    <a:lnTo>
                      <a:pt x="116" y="411"/>
                    </a:lnTo>
                    <a:lnTo>
                      <a:pt x="115" y="411"/>
                    </a:lnTo>
                    <a:lnTo>
                      <a:pt x="116" y="411"/>
                    </a:lnTo>
                    <a:lnTo>
                      <a:pt x="115" y="411"/>
                    </a:lnTo>
                    <a:close/>
                    <a:moveTo>
                      <a:pt x="212" y="409"/>
                    </a:moveTo>
                    <a:lnTo>
                      <a:pt x="213" y="409"/>
                    </a:lnTo>
                    <a:lnTo>
                      <a:pt x="214" y="409"/>
                    </a:lnTo>
                    <a:lnTo>
                      <a:pt x="215" y="410"/>
                    </a:lnTo>
                    <a:lnTo>
                      <a:pt x="214" y="410"/>
                    </a:lnTo>
                    <a:lnTo>
                      <a:pt x="214" y="409"/>
                    </a:lnTo>
                    <a:lnTo>
                      <a:pt x="213" y="410"/>
                    </a:lnTo>
                    <a:lnTo>
                      <a:pt x="213" y="409"/>
                    </a:lnTo>
                    <a:lnTo>
                      <a:pt x="212" y="410"/>
                    </a:lnTo>
                    <a:lnTo>
                      <a:pt x="210" y="410"/>
                    </a:lnTo>
                    <a:lnTo>
                      <a:pt x="210" y="409"/>
                    </a:lnTo>
                    <a:lnTo>
                      <a:pt x="212" y="409"/>
                    </a:lnTo>
                    <a:close/>
                    <a:moveTo>
                      <a:pt x="281" y="364"/>
                    </a:moveTo>
                    <a:lnTo>
                      <a:pt x="282" y="364"/>
                    </a:lnTo>
                    <a:lnTo>
                      <a:pt x="282" y="365"/>
                    </a:lnTo>
                    <a:lnTo>
                      <a:pt x="281" y="365"/>
                    </a:lnTo>
                    <a:lnTo>
                      <a:pt x="281" y="366"/>
                    </a:lnTo>
                    <a:lnTo>
                      <a:pt x="280" y="366"/>
                    </a:lnTo>
                    <a:lnTo>
                      <a:pt x="280" y="365"/>
                    </a:lnTo>
                    <a:lnTo>
                      <a:pt x="281" y="365"/>
                    </a:lnTo>
                    <a:lnTo>
                      <a:pt x="280" y="365"/>
                    </a:lnTo>
                    <a:lnTo>
                      <a:pt x="280" y="364"/>
                    </a:lnTo>
                    <a:lnTo>
                      <a:pt x="281" y="364"/>
                    </a:lnTo>
                    <a:close/>
                    <a:moveTo>
                      <a:pt x="493" y="434"/>
                    </a:moveTo>
                    <a:lnTo>
                      <a:pt x="496" y="434"/>
                    </a:lnTo>
                    <a:lnTo>
                      <a:pt x="496" y="436"/>
                    </a:lnTo>
                    <a:lnTo>
                      <a:pt x="493" y="436"/>
                    </a:lnTo>
                    <a:lnTo>
                      <a:pt x="493" y="434"/>
                    </a:lnTo>
                    <a:close/>
                    <a:moveTo>
                      <a:pt x="202" y="399"/>
                    </a:moveTo>
                    <a:lnTo>
                      <a:pt x="201" y="399"/>
                    </a:lnTo>
                    <a:lnTo>
                      <a:pt x="201" y="398"/>
                    </a:lnTo>
                    <a:lnTo>
                      <a:pt x="201" y="397"/>
                    </a:lnTo>
                    <a:lnTo>
                      <a:pt x="200" y="396"/>
                    </a:lnTo>
                    <a:lnTo>
                      <a:pt x="201" y="396"/>
                    </a:lnTo>
                    <a:lnTo>
                      <a:pt x="201" y="397"/>
                    </a:lnTo>
                    <a:lnTo>
                      <a:pt x="202" y="398"/>
                    </a:lnTo>
                    <a:lnTo>
                      <a:pt x="202" y="399"/>
                    </a:lnTo>
                    <a:close/>
                    <a:moveTo>
                      <a:pt x="564" y="544"/>
                    </a:moveTo>
                    <a:lnTo>
                      <a:pt x="563" y="544"/>
                    </a:lnTo>
                    <a:lnTo>
                      <a:pt x="563" y="543"/>
                    </a:lnTo>
                    <a:lnTo>
                      <a:pt x="563" y="542"/>
                    </a:lnTo>
                    <a:lnTo>
                      <a:pt x="564" y="542"/>
                    </a:lnTo>
                    <a:lnTo>
                      <a:pt x="564" y="543"/>
                    </a:lnTo>
                    <a:lnTo>
                      <a:pt x="564" y="544"/>
                    </a:lnTo>
                    <a:close/>
                    <a:moveTo>
                      <a:pt x="494" y="572"/>
                    </a:moveTo>
                    <a:lnTo>
                      <a:pt x="496" y="572"/>
                    </a:lnTo>
                    <a:lnTo>
                      <a:pt x="496" y="573"/>
                    </a:lnTo>
                    <a:lnTo>
                      <a:pt x="496" y="575"/>
                    </a:lnTo>
                    <a:lnTo>
                      <a:pt x="496" y="576"/>
                    </a:lnTo>
                    <a:lnTo>
                      <a:pt x="493" y="576"/>
                    </a:lnTo>
                    <a:lnTo>
                      <a:pt x="494" y="576"/>
                    </a:lnTo>
                    <a:lnTo>
                      <a:pt x="496" y="576"/>
                    </a:lnTo>
                    <a:lnTo>
                      <a:pt x="496" y="575"/>
                    </a:lnTo>
                    <a:lnTo>
                      <a:pt x="496" y="573"/>
                    </a:lnTo>
                    <a:lnTo>
                      <a:pt x="494" y="573"/>
                    </a:lnTo>
                    <a:lnTo>
                      <a:pt x="494" y="572"/>
                    </a:lnTo>
                    <a:lnTo>
                      <a:pt x="493" y="572"/>
                    </a:lnTo>
                    <a:lnTo>
                      <a:pt x="494" y="572"/>
                    </a:lnTo>
                    <a:close/>
                    <a:moveTo>
                      <a:pt x="294" y="388"/>
                    </a:moveTo>
                    <a:lnTo>
                      <a:pt x="294" y="389"/>
                    </a:lnTo>
                    <a:lnTo>
                      <a:pt x="293" y="390"/>
                    </a:lnTo>
                    <a:lnTo>
                      <a:pt x="293" y="389"/>
                    </a:lnTo>
                    <a:lnTo>
                      <a:pt x="293" y="388"/>
                    </a:lnTo>
                    <a:lnTo>
                      <a:pt x="293" y="387"/>
                    </a:lnTo>
                    <a:lnTo>
                      <a:pt x="292" y="387"/>
                    </a:lnTo>
                    <a:lnTo>
                      <a:pt x="293" y="386"/>
                    </a:lnTo>
                    <a:lnTo>
                      <a:pt x="293" y="387"/>
                    </a:lnTo>
                    <a:lnTo>
                      <a:pt x="294" y="388"/>
                    </a:lnTo>
                    <a:close/>
                    <a:moveTo>
                      <a:pt x="220" y="374"/>
                    </a:moveTo>
                    <a:lnTo>
                      <a:pt x="222" y="374"/>
                    </a:lnTo>
                    <a:lnTo>
                      <a:pt x="222" y="376"/>
                    </a:lnTo>
                    <a:lnTo>
                      <a:pt x="220" y="376"/>
                    </a:lnTo>
                    <a:lnTo>
                      <a:pt x="220" y="374"/>
                    </a:lnTo>
                    <a:close/>
                    <a:moveTo>
                      <a:pt x="124" y="414"/>
                    </a:moveTo>
                    <a:lnTo>
                      <a:pt x="125" y="414"/>
                    </a:lnTo>
                    <a:lnTo>
                      <a:pt x="126" y="414"/>
                    </a:lnTo>
                    <a:lnTo>
                      <a:pt x="127" y="414"/>
                    </a:lnTo>
                    <a:lnTo>
                      <a:pt x="127" y="415"/>
                    </a:lnTo>
                    <a:lnTo>
                      <a:pt x="128" y="415"/>
                    </a:lnTo>
                    <a:lnTo>
                      <a:pt x="127" y="415"/>
                    </a:lnTo>
                    <a:lnTo>
                      <a:pt x="128" y="415"/>
                    </a:lnTo>
                    <a:lnTo>
                      <a:pt x="128" y="416"/>
                    </a:lnTo>
                    <a:lnTo>
                      <a:pt x="127" y="415"/>
                    </a:lnTo>
                    <a:lnTo>
                      <a:pt x="126" y="414"/>
                    </a:lnTo>
                    <a:lnTo>
                      <a:pt x="125" y="414"/>
                    </a:lnTo>
                    <a:lnTo>
                      <a:pt x="124" y="414"/>
                    </a:lnTo>
                    <a:close/>
                    <a:moveTo>
                      <a:pt x="396" y="362"/>
                    </a:moveTo>
                    <a:lnTo>
                      <a:pt x="397" y="362"/>
                    </a:lnTo>
                    <a:lnTo>
                      <a:pt x="397" y="363"/>
                    </a:lnTo>
                    <a:lnTo>
                      <a:pt x="397" y="362"/>
                    </a:lnTo>
                    <a:lnTo>
                      <a:pt x="397" y="363"/>
                    </a:lnTo>
                    <a:lnTo>
                      <a:pt x="398" y="363"/>
                    </a:lnTo>
                    <a:lnTo>
                      <a:pt x="399" y="363"/>
                    </a:lnTo>
                    <a:lnTo>
                      <a:pt x="399" y="364"/>
                    </a:lnTo>
                    <a:lnTo>
                      <a:pt x="398" y="364"/>
                    </a:lnTo>
                    <a:lnTo>
                      <a:pt x="399" y="364"/>
                    </a:lnTo>
                    <a:lnTo>
                      <a:pt x="398" y="364"/>
                    </a:lnTo>
                    <a:lnTo>
                      <a:pt x="398" y="363"/>
                    </a:lnTo>
                    <a:lnTo>
                      <a:pt x="397" y="363"/>
                    </a:lnTo>
                    <a:lnTo>
                      <a:pt x="396" y="363"/>
                    </a:lnTo>
                    <a:lnTo>
                      <a:pt x="395" y="363"/>
                    </a:lnTo>
                    <a:lnTo>
                      <a:pt x="396" y="363"/>
                    </a:lnTo>
                    <a:lnTo>
                      <a:pt x="396" y="362"/>
                    </a:lnTo>
                    <a:lnTo>
                      <a:pt x="396" y="363"/>
                    </a:lnTo>
                    <a:lnTo>
                      <a:pt x="396" y="362"/>
                    </a:lnTo>
                    <a:close/>
                    <a:moveTo>
                      <a:pt x="287" y="390"/>
                    </a:moveTo>
                    <a:lnTo>
                      <a:pt x="286" y="390"/>
                    </a:lnTo>
                    <a:lnTo>
                      <a:pt x="287" y="390"/>
                    </a:lnTo>
                    <a:lnTo>
                      <a:pt x="289" y="390"/>
                    </a:lnTo>
                    <a:lnTo>
                      <a:pt x="287" y="390"/>
                    </a:lnTo>
                    <a:lnTo>
                      <a:pt x="289" y="390"/>
                    </a:lnTo>
                    <a:lnTo>
                      <a:pt x="285" y="391"/>
                    </a:lnTo>
                    <a:lnTo>
                      <a:pt x="286" y="390"/>
                    </a:lnTo>
                    <a:lnTo>
                      <a:pt x="286" y="389"/>
                    </a:lnTo>
                    <a:lnTo>
                      <a:pt x="287" y="389"/>
                    </a:lnTo>
                    <a:lnTo>
                      <a:pt x="287" y="390"/>
                    </a:lnTo>
                    <a:lnTo>
                      <a:pt x="286" y="390"/>
                    </a:lnTo>
                    <a:lnTo>
                      <a:pt x="287" y="390"/>
                    </a:lnTo>
                    <a:close/>
                    <a:moveTo>
                      <a:pt x="272" y="423"/>
                    </a:moveTo>
                    <a:lnTo>
                      <a:pt x="273" y="423"/>
                    </a:lnTo>
                    <a:lnTo>
                      <a:pt x="274" y="423"/>
                    </a:lnTo>
                    <a:lnTo>
                      <a:pt x="273" y="424"/>
                    </a:lnTo>
                    <a:lnTo>
                      <a:pt x="272" y="424"/>
                    </a:lnTo>
                    <a:lnTo>
                      <a:pt x="272" y="423"/>
                    </a:lnTo>
                    <a:lnTo>
                      <a:pt x="271" y="423"/>
                    </a:lnTo>
                    <a:lnTo>
                      <a:pt x="272" y="423"/>
                    </a:lnTo>
                    <a:close/>
                    <a:moveTo>
                      <a:pt x="249" y="392"/>
                    </a:moveTo>
                    <a:lnTo>
                      <a:pt x="251" y="392"/>
                    </a:lnTo>
                    <a:lnTo>
                      <a:pt x="249" y="392"/>
                    </a:lnTo>
                    <a:lnTo>
                      <a:pt x="248" y="392"/>
                    </a:lnTo>
                    <a:lnTo>
                      <a:pt x="248" y="393"/>
                    </a:lnTo>
                    <a:lnTo>
                      <a:pt x="249" y="393"/>
                    </a:lnTo>
                    <a:lnTo>
                      <a:pt x="249" y="392"/>
                    </a:lnTo>
                    <a:lnTo>
                      <a:pt x="249" y="393"/>
                    </a:lnTo>
                    <a:lnTo>
                      <a:pt x="251" y="393"/>
                    </a:lnTo>
                    <a:lnTo>
                      <a:pt x="249" y="393"/>
                    </a:lnTo>
                    <a:lnTo>
                      <a:pt x="249" y="395"/>
                    </a:lnTo>
                    <a:lnTo>
                      <a:pt x="248" y="395"/>
                    </a:lnTo>
                    <a:lnTo>
                      <a:pt x="248" y="393"/>
                    </a:lnTo>
                    <a:lnTo>
                      <a:pt x="248" y="392"/>
                    </a:lnTo>
                    <a:lnTo>
                      <a:pt x="249" y="392"/>
                    </a:lnTo>
                    <a:close/>
                    <a:moveTo>
                      <a:pt x="268" y="430"/>
                    </a:moveTo>
                    <a:lnTo>
                      <a:pt x="269" y="431"/>
                    </a:lnTo>
                    <a:lnTo>
                      <a:pt x="269" y="433"/>
                    </a:lnTo>
                    <a:lnTo>
                      <a:pt x="268" y="433"/>
                    </a:lnTo>
                    <a:lnTo>
                      <a:pt x="268" y="431"/>
                    </a:lnTo>
                    <a:lnTo>
                      <a:pt x="267" y="431"/>
                    </a:lnTo>
                    <a:lnTo>
                      <a:pt x="268" y="430"/>
                    </a:lnTo>
                    <a:close/>
                    <a:moveTo>
                      <a:pt x="276" y="404"/>
                    </a:moveTo>
                    <a:lnTo>
                      <a:pt x="274" y="405"/>
                    </a:lnTo>
                    <a:lnTo>
                      <a:pt x="273" y="405"/>
                    </a:lnTo>
                    <a:lnTo>
                      <a:pt x="273" y="406"/>
                    </a:lnTo>
                    <a:lnTo>
                      <a:pt x="272" y="406"/>
                    </a:lnTo>
                    <a:lnTo>
                      <a:pt x="272" y="405"/>
                    </a:lnTo>
                    <a:lnTo>
                      <a:pt x="272" y="406"/>
                    </a:lnTo>
                    <a:lnTo>
                      <a:pt x="272" y="405"/>
                    </a:lnTo>
                    <a:lnTo>
                      <a:pt x="273" y="405"/>
                    </a:lnTo>
                    <a:lnTo>
                      <a:pt x="274" y="404"/>
                    </a:lnTo>
                    <a:lnTo>
                      <a:pt x="276" y="404"/>
                    </a:lnTo>
                    <a:close/>
                    <a:moveTo>
                      <a:pt x="619" y="513"/>
                    </a:moveTo>
                    <a:lnTo>
                      <a:pt x="619" y="514"/>
                    </a:lnTo>
                    <a:lnTo>
                      <a:pt x="618" y="514"/>
                    </a:lnTo>
                    <a:lnTo>
                      <a:pt x="618" y="513"/>
                    </a:lnTo>
                    <a:lnTo>
                      <a:pt x="617" y="513"/>
                    </a:lnTo>
                    <a:lnTo>
                      <a:pt x="617" y="512"/>
                    </a:lnTo>
                    <a:lnTo>
                      <a:pt x="618" y="512"/>
                    </a:lnTo>
                    <a:lnTo>
                      <a:pt x="618" y="513"/>
                    </a:lnTo>
                    <a:lnTo>
                      <a:pt x="619" y="513"/>
                    </a:lnTo>
                    <a:close/>
                    <a:moveTo>
                      <a:pt x="566" y="476"/>
                    </a:moveTo>
                    <a:lnTo>
                      <a:pt x="566" y="477"/>
                    </a:lnTo>
                    <a:lnTo>
                      <a:pt x="565" y="477"/>
                    </a:lnTo>
                    <a:lnTo>
                      <a:pt x="564" y="477"/>
                    </a:lnTo>
                    <a:lnTo>
                      <a:pt x="564" y="476"/>
                    </a:lnTo>
                    <a:lnTo>
                      <a:pt x="565" y="477"/>
                    </a:lnTo>
                    <a:lnTo>
                      <a:pt x="565" y="476"/>
                    </a:lnTo>
                    <a:lnTo>
                      <a:pt x="566" y="476"/>
                    </a:lnTo>
                    <a:close/>
                    <a:moveTo>
                      <a:pt x="244" y="388"/>
                    </a:moveTo>
                    <a:lnTo>
                      <a:pt x="243" y="388"/>
                    </a:lnTo>
                    <a:lnTo>
                      <a:pt x="243" y="389"/>
                    </a:lnTo>
                    <a:lnTo>
                      <a:pt x="242" y="389"/>
                    </a:lnTo>
                    <a:lnTo>
                      <a:pt x="242" y="388"/>
                    </a:lnTo>
                    <a:lnTo>
                      <a:pt x="243" y="388"/>
                    </a:lnTo>
                    <a:lnTo>
                      <a:pt x="244" y="388"/>
                    </a:lnTo>
                    <a:lnTo>
                      <a:pt x="245" y="388"/>
                    </a:lnTo>
                    <a:lnTo>
                      <a:pt x="244" y="388"/>
                    </a:lnTo>
                    <a:close/>
                    <a:moveTo>
                      <a:pt x="562" y="546"/>
                    </a:moveTo>
                    <a:lnTo>
                      <a:pt x="563" y="547"/>
                    </a:lnTo>
                    <a:lnTo>
                      <a:pt x="562" y="547"/>
                    </a:lnTo>
                    <a:lnTo>
                      <a:pt x="562" y="546"/>
                    </a:lnTo>
                    <a:lnTo>
                      <a:pt x="561" y="546"/>
                    </a:lnTo>
                    <a:lnTo>
                      <a:pt x="561" y="547"/>
                    </a:lnTo>
                    <a:lnTo>
                      <a:pt x="560" y="547"/>
                    </a:lnTo>
                    <a:lnTo>
                      <a:pt x="560" y="546"/>
                    </a:lnTo>
                    <a:lnTo>
                      <a:pt x="558" y="546"/>
                    </a:lnTo>
                    <a:lnTo>
                      <a:pt x="560" y="546"/>
                    </a:lnTo>
                    <a:lnTo>
                      <a:pt x="561" y="546"/>
                    </a:lnTo>
                    <a:lnTo>
                      <a:pt x="562" y="546"/>
                    </a:lnTo>
                    <a:close/>
                    <a:moveTo>
                      <a:pt x="354" y="457"/>
                    </a:moveTo>
                    <a:lnTo>
                      <a:pt x="354" y="459"/>
                    </a:lnTo>
                    <a:lnTo>
                      <a:pt x="352" y="457"/>
                    </a:lnTo>
                    <a:lnTo>
                      <a:pt x="351" y="459"/>
                    </a:lnTo>
                    <a:lnTo>
                      <a:pt x="350" y="460"/>
                    </a:lnTo>
                    <a:lnTo>
                      <a:pt x="350" y="459"/>
                    </a:lnTo>
                    <a:lnTo>
                      <a:pt x="351" y="459"/>
                    </a:lnTo>
                    <a:lnTo>
                      <a:pt x="351" y="457"/>
                    </a:lnTo>
                    <a:lnTo>
                      <a:pt x="352" y="457"/>
                    </a:lnTo>
                    <a:lnTo>
                      <a:pt x="354" y="457"/>
                    </a:lnTo>
                    <a:close/>
                    <a:moveTo>
                      <a:pt x="571" y="566"/>
                    </a:moveTo>
                    <a:lnTo>
                      <a:pt x="573" y="566"/>
                    </a:lnTo>
                    <a:lnTo>
                      <a:pt x="573" y="568"/>
                    </a:lnTo>
                    <a:lnTo>
                      <a:pt x="571" y="568"/>
                    </a:lnTo>
                    <a:lnTo>
                      <a:pt x="571" y="566"/>
                    </a:lnTo>
                    <a:close/>
                    <a:moveTo>
                      <a:pt x="265" y="279"/>
                    </a:moveTo>
                    <a:lnTo>
                      <a:pt x="266" y="280"/>
                    </a:lnTo>
                    <a:lnTo>
                      <a:pt x="266" y="281"/>
                    </a:lnTo>
                    <a:lnTo>
                      <a:pt x="265" y="281"/>
                    </a:lnTo>
                    <a:lnTo>
                      <a:pt x="265" y="280"/>
                    </a:lnTo>
                    <a:lnTo>
                      <a:pt x="264" y="280"/>
                    </a:lnTo>
                    <a:lnTo>
                      <a:pt x="265" y="280"/>
                    </a:lnTo>
                    <a:lnTo>
                      <a:pt x="265" y="279"/>
                    </a:lnTo>
                    <a:lnTo>
                      <a:pt x="264" y="279"/>
                    </a:lnTo>
                    <a:lnTo>
                      <a:pt x="265" y="279"/>
                    </a:lnTo>
                    <a:close/>
                    <a:moveTo>
                      <a:pt x="416" y="380"/>
                    </a:moveTo>
                    <a:lnTo>
                      <a:pt x="416" y="382"/>
                    </a:lnTo>
                    <a:lnTo>
                      <a:pt x="416" y="383"/>
                    </a:lnTo>
                    <a:lnTo>
                      <a:pt x="418" y="383"/>
                    </a:lnTo>
                    <a:lnTo>
                      <a:pt x="416" y="383"/>
                    </a:lnTo>
                    <a:lnTo>
                      <a:pt x="415" y="382"/>
                    </a:lnTo>
                    <a:lnTo>
                      <a:pt x="414" y="382"/>
                    </a:lnTo>
                    <a:lnTo>
                      <a:pt x="415" y="382"/>
                    </a:lnTo>
                    <a:lnTo>
                      <a:pt x="415" y="380"/>
                    </a:lnTo>
                    <a:lnTo>
                      <a:pt x="416" y="380"/>
                    </a:lnTo>
                    <a:close/>
                    <a:moveTo>
                      <a:pt x="332" y="466"/>
                    </a:moveTo>
                    <a:lnTo>
                      <a:pt x="333" y="467"/>
                    </a:lnTo>
                    <a:lnTo>
                      <a:pt x="332" y="467"/>
                    </a:lnTo>
                    <a:lnTo>
                      <a:pt x="332" y="468"/>
                    </a:lnTo>
                    <a:lnTo>
                      <a:pt x="331" y="469"/>
                    </a:lnTo>
                    <a:lnTo>
                      <a:pt x="331" y="468"/>
                    </a:lnTo>
                    <a:lnTo>
                      <a:pt x="331" y="467"/>
                    </a:lnTo>
                    <a:lnTo>
                      <a:pt x="332" y="467"/>
                    </a:lnTo>
                    <a:lnTo>
                      <a:pt x="332" y="466"/>
                    </a:lnTo>
                    <a:close/>
                    <a:moveTo>
                      <a:pt x="422" y="376"/>
                    </a:moveTo>
                    <a:lnTo>
                      <a:pt x="421" y="376"/>
                    </a:lnTo>
                    <a:lnTo>
                      <a:pt x="421" y="377"/>
                    </a:lnTo>
                    <a:lnTo>
                      <a:pt x="420" y="377"/>
                    </a:lnTo>
                    <a:lnTo>
                      <a:pt x="420" y="376"/>
                    </a:lnTo>
                    <a:lnTo>
                      <a:pt x="421" y="376"/>
                    </a:lnTo>
                    <a:lnTo>
                      <a:pt x="421" y="375"/>
                    </a:lnTo>
                    <a:lnTo>
                      <a:pt x="422" y="375"/>
                    </a:lnTo>
                    <a:lnTo>
                      <a:pt x="422" y="376"/>
                    </a:lnTo>
                    <a:close/>
                    <a:moveTo>
                      <a:pt x="584" y="455"/>
                    </a:moveTo>
                    <a:lnTo>
                      <a:pt x="586" y="455"/>
                    </a:lnTo>
                    <a:lnTo>
                      <a:pt x="586" y="456"/>
                    </a:lnTo>
                    <a:lnTo>
                      <a:pt x="584" y="456"/>
                    </a:lnTo>
                    <a:lnTo>
                      <a:pt x="584" y="455"/>
                    </a:lnTo>
                    <a:close/>
                    <a:moveTo>
                      <a:pt x="215" y="410"/>
                    </a:moveTo>
                    <a:lnTo>
                      <a:pt x="216" y="411"/>
                    </a:lnTo>
                    <a:lnTo>
                      <a:pt x="216" y="410"/>
                    </a:lnTo>
                    <a:lnTo>
                      <a:pt x="216" y="411"/>
                    </a:lnTo>
                    <a:lnTo>
                      <a:pt x="216" y="412"/>
                    </a:lnTo>
                    <a:lnTo>
                      <a:pt x="215" y="413"/>
                    </a:lnTo>
                    <a:lnTo>
                      <a:pt x="215" y="412"/>
                    </a:lnTo>
                    <a:lnTo>
                      <a:pt x="215" y="411"/>
                    </a:lnTo>
                    <a:lnTo>
                      <a:pt x="215" y="410"/>
                    </a:lnTo>
                    <a:close/>
                    <a:moveTo>
                      <a:pt x="247" y="431"/>
                    </a:moveTo>
                    <a:lnTo>
                      <a:pt x="246" y="431"/>
                    </a:lnTo>
                    <a:lnTo>
                      <a:pt x="246" y="430"/>
                    </a:lnTo>
                    <a:lnTo>
                      <a:pt x="246" y="429"/>
                    </a:lnTo>
                    <a:lnTo>
                      <a:pt x="247" y="429"/>
                    </a:lnTo>
                    <a:lnTo>
                      <a:pt x="247" y="430"/>
                    </a:lnTo>
                    <a:lnTo>
                      <a:pt x="247" y="431"/>
                    </a:lnTo>
                    <a:close/>
                    <a:moveTo>
                      <a:pt x="551" y="521"/>
                    </a:moveTo>
                    <a:lnTo>
                      <a:pt x="552" y="521"/>
                    </a:lnTo>
                    <a:lnTo>
                      <a:pt x="552" y="524"/>
                    </a:lnTo>
                    <a:lnTo>
                      <a:pt x="551" y="524"/>
                    </a:lnTo>
                    <a:lnTo>
                      <a:pt x="551" y="521"/>
                    </a:lnTo>
                    <a:close/>
                    <a:moveTo>
                      <a:pt x="303" y="386"/>
                    </a:moveTo>
                    <a:lnTo>
                      <a:pt x="302" y="386"/>
                    </a:lnTo>
                    <a:lnTo>
                      <a:pt x="302" y="387"/>
                    </a:lnTo>
                    <a:lnTo>
                      <a:pt x="302" y="388"/>
                    </a:lnTo>
                    <a:lnTo>
                      <a:pt x="300" y="388"/>
                    </a:lnTo>
                    <a:lnTo>
                      <a:pt x="300" y="387"/>
                    </a:lnTo>
                    <a:lnTo>
                      <a:pt x="302" y="386"/>
                    </a:lnTo>
                    <a:lnTo>
                      <a:pt x="303" y="386"/>
                    </a:lnTo>
                    <a:close/>
                    <a:moveTo>
                      <a:pt x="494" y="578"/>
                    </a:moveTo>
                    <a:lnTo>
                      <a:pt x="496" y="578"/>
                    </a:lnTo>
                    <a:lnTo>
                      <a:pt x="496" y="580"/>
                    </a:lnTo>
                    <a:lnTo>
                      <a:pt x="494" y="580"/>
                    </a:lnTo>
                    <a:lnTo>
                      <a:pt x="494" y="578"/>
                    </a:lnTo>
                    <a:close/>
                    <a:moveTo>
                      <a:pt x="560" y="551"/>
                    </a:moveTo>
                    <a:lnTo>
                      <a:pt x="558" y="551"/>
                    </a:lnTo>
                    <a:lnTo>
                      <a:pt x="557" y="551"/>
                    </a:lnTo>
                    <a:lnTo>
                      <a:pt x="555" y="551"/>
                    </a:lnTo>
                    <a:lnTo>
                      <a:pt x="554" y="551"/>
                    </a:lnTo>
                    <a:lnTo>
                      <a:pt x="553" y="551"/>
                    </a:lnTo>
                    <a:lnTo>
                      <a:pt x="552" y="551"/>
                    </a:lnTo>
                    <a:lnTo>
                      <a:pt x="552" y="550"/>
                    </a:lnTo>
                    <a:lnTo>
                      <a:pt x="553" y="550"/>
                    </a:lnTo>
                    <a:lnTo>
                      <a:pt x="552" y="550"/>
                    </a:lnTo>
                    <a:lnTo>
                      <a:pt x="553" y="551"/>
                    </a:lnTo>
                    <a:lnTo>
                      <a:pt x="554" y="551"/>
                    </a:lnTo>
                    <a:lnTo>
                      <a:pt x="555" y="551"/>
                    </a:lnTo>
                    <a:lnTo>
                      <a:pt x="556" y="551"/>
                    </a:lnTo>
                    <a:lnTo>
                      <a:pt x="557" y="551"/>
                    </a:lnTo>
                    <a:lnTo>
                      <a:pt x="558" y="551"/>
                    </a:lnTo>
                    <a:lnTo>
                      <a:pt x="560" y="551"/>
                    </a:lnTo>
                    <a:lnTo>
                      <a:pt x="560" y="550"/>
                    </a:lnTo>
                    <a:lnTo>
                      <a:pt x="561" y="549"/>
                    </a:lnTo>
                    <a:lnTo>
                      <a:pt x="561" y="550"/>
                    </a:lnTo>
                    <a:lnTo>
                      <a:pt x="560" y="551"/>
                    </a:lnTo>
                    <a:close/>
                    <a:moveTo>
                      <a:pt x="507" y="566"/>
                    </a:moveTo>
                    <a:lnTo>
                      <a:pt x="506" y="566"/>
                    </a:lnTo>
                    <a:lnTo>
                      <a:pt x="506" y="567"/>
                    </a:lnTo>
                    <a:lnTo>
                      <a:pt x="506" y="566"/>
                    </a:lnTo>
                    <a:lnTo>
                      <a:pt x="505" y="566"/>
                    </a:lnTo>
                    <a:lnTo>
                      <a:pt x="506" y="566"/>
                    </a:lnTo>
                    <a:lnTo>
                      <a:pt x="506" y="565"/>
                    </a:lnTo>
                    <a:lnTo>
                      <a:pt x="507" y="565"/>
                    </a:lnTo>
                    <a:lnTo>
                      <a:pt x="507" y="566"/>
                    </a:lnTo>
                    <a:close/>
                    <a:moveTo>
                      <a:pt x="269" y="383"/>
                    </a:moveTo>
                    <a:lnTo>
                      <a:pt x="270" y="384"/>
                    </a:lnTo>
                    <a:lnTo>
                      <a:pt x="269" y="384"/>
                    </a:lnTo>
                    <a:lnTo>
                      <a:pt x="268" y="384"/>
                    </a:lnTo>
                    <a:lnTo>
                      <a:pt x="268" y="383"/>
                    </a:lnTo>
                    <a:lnTo>
                      <a:pt x="269" y="383"/>
                    </a:lnTo>
                    <a:lnTo>
                      <a:pt x="269" y="382"/>
                    </a:lnTo>
                    <a:lnTo>
                      <a:pt x="269" y="383"/>
                    </a:lnTo>
                    <a:close/>
                    <a:moveTo>
                      <a:pt x="565" y="545"/>
                    </a:moveTo>
                    <a:lnTo>
                      <a:pt x="566" y="545"/>
                    </a:lnTo>
                    <a:lnTo>
                      <a:pt x="565" y="545"/>
                    </a:lnTo>
                    <a:lnTo>
                      <a:pt x="564" y="545"/>
                    </a:lnTo>
                    <a:lnTo>
                      <a:pt x="564" y="544"/>
                    </a:lnTo>
                    <a:lnTo>
                      <a:pt x="563" y="544"/>
                    </a:lnTo>
                    <a:lnTo>
                      <a:pt x="564" y="544"/>
                    </a:lnTo>
                    <a:lnTo>
                      <a:pt x="565" y="544"/>
                    </a:lnTo>
                    <a:lnTo>
                      <a:pt x="565" y="545"/>
                    </a:lnTo>
                    <a:close/>
                    <a:moveTo>
                      <a:pt x="188" y="354"/>
                    </a:moveTo>
                    <a:lnTo>
                      <a:pt x="188" y="356"/>
                    </a:lnTo>
                    <a:lnTo>
                      <a:pt x="189" y="356"/>
                    </a:lnTo>
                    <a:lnTo>
                      <a:pt x="188" y="356"/>
                    </a:lnTo>
                    <a:lnTo>
                      <a:pt x="188" y="357"/>
                    </a:lnTo>
                    <a:lnTo>
                      <a:pt x="188" y="356"/>
                    </a:lnTo>
                    <a:lnTo>
                      <a:pt x="187" y="356"/>
                    </a:lnTo>
                    <a:lnTo>
                      <a:pt x="187" y="354"/>
                    </a:lnTo>
                    <a:lnTo>
                      <a:pt x="188" y="354"/>
                    </a:lnTo>
                    <a:lnTo>
                      <a:pt x="187" y="354"/>
                    </a:lnTo>
                    <a:lnTo>
                      <a:pt x="187" y="353"/>
                    </a:lnTo>
                    <a:lnTo>
                      <a:pt x="188" y="353"/>
                    </a:lnTo>
                    <a:lnTo>
                      <a:pt x="188" y="354"/>
                    </a:lnTo>
                    <a:close/>
                    <a:moveTo>
                      <a:pt x="462" y="611"/>
                    </a:moveTo>
                    <a:lnTo>
                      <a:pt x="463" y="613"/>
                    </a:lnTo>
                    <a:lnTo>
                      <a:pt x="463" y="611"/>
                    </a:lnTo>
                    <a:lnTo>
                      <a:pt x="462" y="611"/>
                    </a:lnTo>
                    <a:lnTo>
                      <a:pt x="462" y="613"/>
                    </a:lnTo>
                    <a:lnTo>
                      <a:pt x="463" y="614"/>
                    </a:lnTo>
                    <a:lnTo>
                      <a:pt x="462" y="613"/>
                    </a:lnTo>
                    <a:lnTo>
                      <a:pt x="461" y="613"/>
                    </a:lnTo>
                    <a:lnTo>
                      <a:pt x="461" y="611"/>
                    </a:lnTo>
                    <a:lnTo>
                      <a:pt x="462" y="611"/>
                    </a:lnTo>
                    <a:close/>
                    <a:moveTo>
                      <a:pt x="467" y="365"/>
                    </a:moveTo>
                    <a:lnTo>
                      <a:pt x="466" y="366"/>
                    </a:lnTo>
                    <a:lnTo>
                      <a:pt x="466" y="365"/>
                    </a:lnTo>
                    <a:lnTo>
                      <a:pt x="466" y="364"/>
                    </a:lnTo>
                    <a:lnTo>
                      <a:pt x="467" y="364"/>
                    </a:lnTo>
                    <a:lnTo>
                      <a:pt x="467" y="363"/>
                    </a:lnTo>
                    <a:lnTo>
                      <a:pt x="467" y="364"/>
                    </a:lnTo>
                    <a:lnTo>
                      <a:pt x="467" y="365"/>
                    </a:lnTo>
                    <a:close/>
                    <a:moveTo>
                      <a:pt x="102" y="301"/>
                    </a:moveTo>
                    <a:lnTo>
                      <a:pt x="102" y="302"/>
                    </a:lnTo>
                    <a:lnTo>
                      <a:pt x="102" y="303"/>
                    </a:lnTo>
                    <a:lnTo>
                      <a:pt x="102" y="302"/>
                    </a:lnTo>
                    <a:lnTo>
                      <a:pt x="101" y="302"/>
                    </a:lnTo>
                    <a:lnTo>
                      <a:pt x="100" y="302"/>
                    </a:lnTo>
                    <a:lnTo>
                      <a:pt x="101" y="301"/>
                    </a:lnTo>
                    <a:lnTo>
                      <a:pt x="101" y="302"/>
                    </a:lnTo>
                    <a:lnTo>
                      <a:pt x="101" y="301"/>
                    </a:lnTo>
                    <a:lnTo>
                      <a:pt x="102" y="301"/>
                    </a:lnTo>
                    <a:close/>
                    <a:moveTo>
                      <a:pt x="506" y="446"/>
                    </a:moveTo>
                    <a:lnTo>
                      <a:pt x="506" y="447"/>
                    </a:lnTo>
                    <a:lnTo>
                      <a:pt x="506" y="448"/>
                    </a:lnTo>
                    <a:lnTo>
                      <a:pt x="505" y="448"/>
                    </a:lnTo>
                    <a:lnTo>
                      <a:pt x="505" y="447"/>
                    </a:lnTo>
                    <a:lnTo>
                      <a:pt x="504" y="447"/>
                    </a:lnTo>
                    <a:lnTo>
                      <a:pt x="505" y="447"/>
                    </a:lnTo>
                    <a:lnTo>
                      <a:pt x="504" y="447"/>
                    </a:lnTo>
                    <a:lnTo>
                      <a:pt x="505" y="447"/>
                    </a:lnTo>
                    <a:lnTo>
                      <a:pt x="505" y="446"/>
                    </a:lnTo>
                    <a:lnTo>
                      <a:pt x="506" y="446"/>
                    </a:lnTo>
                    <a:close/>
                    <a:moveTo>
                      <a:pt x="429" y="390"/>
                    </a:moveTo>
                    <a:lnTo>
                      <a:pt x="431" y="390"/>
                    </a:lnTo>
                    <a:lnTo>
                      <a:pt x="431" y="391"/>
                    </a:lnTo>
                    <a:lnTo>
                      <a:pt x="431" y="392"/>
                    </a:lnTo>
                    <a:lnTo>
                      <a:pt x="429" y="391"/>
                    </a:lnTo>
                    <a:lnTo>
                      <a:pt x="431" y="391"/>
                    </a:lnTo>
                    <a:lnTo>
                      <a:pt x="429" y="391"/>
                    </a:lnTo>
                    <a:lnTo>
                      <a:pt x="429" y="390"/>
                    </a:lnTo>
                    <a:lnTo>
                      <a:pt x="428" y="390"/>
                    </a:lnTo>
                    <a:lnTo>
                      <a:pt x="429" y="390"/>
                    </a:lnTo>
                    <a:close/>
                    <a:moveTo>
                      <a:pt x="101" y="328"/>
                    </a:moveTo>
                    <a:lnTo>
                      <a:pt x="101" y="329"/>
                    </a:lnTo>
                    <a:lnTo>
                      <a:pt x="100" y="329"/>
                    </a:lnTo>
                    <a:lnTo>
                      <a:pt x="100" y="328"/>
                    </a:lnTo>
                    <a:lnTo>
                      <a:pt x="100" y="327"/>
                    </a:lnTo>
                    <a:lnTo>
                      <a:pt x="101" y="328"/>
                    </a:lnTo>
                    <a:close/>
                    <a:moveTo>
                      <a:pt x="294" y="392"/>
                    </a:moveTo>
                    <a:lnTo>
                      <a:pt x="293" y="392"/>
                    </a:lnTo>
                    <a:lnTo>
                      <a:pt x="293" y="391"/>
                    </a:lnTo>
                    <a:lnTo>
                      <a:pt x="293" y="390"/>
                    </a:lnTo>
                    <a:lnTo>
                      <a:pt x="294" y="390"/>
                    </a:lnTo>
                    <a:lnTo>
                      <a:pt x="294" y="391"/>
                    </a:lnTo>
                    <a:lnTo>
                      <a:pt x="294" y="392"/>
                    </a:lnTo>
                    <a:close/>
                    <a:moveTo>
                      <a:pt x="204" y="402"/>
                    </a:moveTo>
                    <a:lnTo>
                      <a:pt x="204" y="403"/>
                    </a:lnTo>
                    <a:lnTo>
                      <a:pt x="203" y="403"/>
                    </a:lnTo>
                    <a:lnTo>
                      <a:pt x="203" y="402"/>
                    </a:lnTo>
                    <a:lnTo>
                      <a:pt x="203" y="403"/>
                    </a:lnTo>
                    <a:lnTo>
                      <a:pt x="202" y="403"/>
                    </a:lnTo>
                    <a:lnTo>
                      <a:pt x="202" y="402"/>
                    </a:lnTo>
                    <a:lnTo>
                      <a:pt x="203" y="402"/>
                    </a:lnTo>
                    <a:lnTo>
                      <a:pt x="204" y="402"/>
                    </a:lnTo>
                    <a:close/>
                    <a:moveTo>
                      <a:pt x="423" y="393"/>
                    </a:moveTo>
                    <a:lnTo>
                      <a:pt x="423" y="395"/>
                    </a:lnTo>
                    <a:lnTo>
                      <a:pt x="424" y="395"/>
                    </a:lnTo>
                    <a:lnTo>
                      <a:pt x="423" y="395"/>
                    </a:lnTo>
                    <a:lnTo>
                      <a:pt x="422" y="395"/>
                    </a:lnTo>
                    <a:lnTo>
                      <a:pt x="422" y="396"/>
                    </a:lnTo>
                    <a:lnTo>
                      <a:pt x="423" y="396"/>
                    </a:lnTo>
                    <a:lnTo>
                      <a:pt x="423" y="395"/>
                    </a:lnTo>
                    <a:lnTo>
                      <a:pt x="423" y="396"/>
                    </a:lnTo>
                    <a:lnTo>
                      <a:pt x="423" y="395"/>
                    </a:lnTo>
                    <a:lnTo>
                      <a:pt x="424" y="395"/>
                    </a:lnTo>
                    <a:lnTo>
                      <a:pt x="424" y="396"/>
                    </a:lnTo>
                    <a:lnTo>
                      <a:pt x="424" y="395"/>
                    </a:lnTo>
                    <a:lnTo>
                      <a:pt x="423" y="396"/>
                    </a:lnTo>
                    <a:lnTo>
                      <a:pt x="424" y="396"/>
                    </a:lnTo>
                    <a:lnTo>
                      <a:pt x="423" y="396"/>
                    </a:lnTo>
                    <a:lnTo>
                      <a:pt x="422" y="396"/>
                    </a:lnTo>
                    <a:lnTo>
                      <a:pt x="422" y="395"/>
                    </a:lnTo>
                    <a:lnTo>
                      <a:pt x="422" y="396"/>
                    </a:lnTo>
                    <a:lnTo>
                      <a:pt x="421" y="396"/>
                    </a:lnTo>
                    <a:lnTo>
                      <a:pt x="421" y="395"/>
                    </a:lnTo>
                    <a:lnTo>
                      <a:pt x="422" y="395"/>
                    </a:lnTo>
                    <a:lnTo>
                      <a:pt x="423" y="395"/>
                    </a:lnTo>
                    <a:lnTo>
                      <a:pt x="422" y="395"/>
                    </a:lnTo>
                    <a:lnTo>
                      <a:pt x="423" y="395"/>
                    </a:lnTo>
                    <a:lnTo>
                      <a:pt x="423" y="393"/>
                    </a:lnTo>
                    <a:close/>
                    <a:moveTo>
                      <a:pt x="200" y="413"/>
                    </a:moveTo>
                    <a:lnTo>
                      <a:pt x="199" y="413"/>
                    </a:lnTo>
                    <a:lnTo>
                      <a:pt x="196" y="413"/>
                    </a:lnTo>
                    <a:lnTo>
                      <a:pt x="197" y="412"/>
                    </a:lnTo>
                    <a:lnTo>
                      <a:pt x="199" y="413"/>
                    </a:lnTo>
                    <a:lnTo>
                      <a:pt x="200" y="413"/>
                    </a:lnTo>
                    <a:close/>
                    <a:moveTo>
                      <a:pt x="239" y="399"/>
                    </a:moveTo>
                    <a:lnTo>
                      <a:pt x="236" y="399"/>
                    </a:lnTo>
                    <a:lnTo>
                      <a:pt x="235" y="399"/>
                    </a:lnTo>
                    <a:lnTo>
                      <a:pt x="234" y="399"/>
                    </a:lnTo>
                    <a:lnTo>
                      <a:pt x="236" y="399"/>
                    </a:lnTo>
                    <a:lnTo>
                      <a:pt x="239" y="399"/>
                    </a:lnTo>
                    <a:lnTo>
                      <a:pt x="234" y="399"/>
                    </a:lnTo>
                    <a:lnTo>
                      <a:pt x="240" y="398"/>
                    </a:lnTo>
                    <a:lnTo>
                      <a:pt x="240" y="399"/>
                    </a:lnTo>
                    <a:lnTo>
                      <a:pt x="239" y="399"/>
                    </a:lnTo>
                    <a:close/>
                    <a:moveTo>
                      <a:pt x="242" y="223"/>
                    </a:moveTo>
                    <a:lnTo>
                      <a:pt x="244" y="223"/>
                    </a:lnTo>
                    <a:lnTo>
                      <a:pt x="244" y="224"/>
                    </a:lnTo>
                    <a:lnTo>
                      <a:pt x="242" y="224"/>
                    </a:lnTo>
                    <a:lnTo>
                      <a:pt x="242" y="223"/>
                    </a:lnTo>
                    <a:close/>
                    <a:moveTo>
                      <a:pt x="490" y="421"/>
                    </a:moveTo>
                    <a:lnTo>
                      <a:pt x="489" y="421"/>
                    </a:lnTo>
                    <a:lnTo>
                      <a:pt x="490" y="421"/>
                    </a:lnTo>
                    <a:lnTo>
                      <a:pt x="490" y="422"/>
                    </a:lnTo>
                    <a:lnTo>
                      <a:pt x="490" y="421"/>
                    </a:lnTo>
                    <a:lnTo>
                      <a:pt x="489" y="421"/>
                    </a:lnTo>
                    <a:lnTo>
                      <a:pt x="488" y="421"/>
                    </a:lnTo>
                    <a:lnTo>
                      <a:pt x="488" y="420"/>
                    </a:lnTo>
                    <a:lnTo>
                      <a:pt x="490" y="420"/>
                    </a:lnTo>
                    <a:lnTo>
                      <a:pt x="490" y="421"/>
                    </a:lnTo>
                    <a:close/>
                    <a:moveTo>
                      <a:pt x="569" y="555"/>
                    </a:moveTo>
                    <a:lnTo>
                      <a:pt x="570" y="555"/>
                    </a:lnTo>
                    <a:lnTo>
                      <a:pt x="570" y="556"/>
                    </a:lnTo>
                    <a:lnTo>
                      <a:pt x="569" y="556"/>
                    </a:lnTo>
                    <a:lnTo>
                      <a:pt x="569" y="555"/>
                    </a:lnTo>
                    <a:close/>
                    <a:moveTo>
                      <a:pt x="309" y="268"/>
                    </a:moveTo>
                    <a:lnTo>
                      <a:pt x="309" y="269"/>
                    </a:lnTo>
                    <a:lnTo>
                      <a:pt x="308" y="269"/>
                    </a:lnTo>
                    <a:lnTo>
                      <a:pt x="308" y="268"/>
                    </a:lnTo>
                    <a:lnTo>
                      <a:pt x="307" y="268"/>
                    </a:lnTo>
                    <a:lnTo>
                      <a:pt x="308" y="268"/>
                    </a:lnTo>
                    <a:lnTo>
                      <a:pt x="308" y="267"/>
                    </a:lnTo>
                    <a:lnTo>
                      <a:pt x="308" y="268"/>
                    </a:lnTo>
                    <a:lnTo>
                      <a:pt x="309" y="268"/>
                    </a:lnTo>
                    <a:close/>
                    <a:moveTo>
                      <a:pt x="563" y="545"/>
                    </a:moveTo>
                    <a:lnTo>
                      <a:pt x="563" y="546"/>
                    </a:lnTo>
                    <a:lnTo>
                      <a:pt x="562" y="545"/>
                    </a:lnTo>
                    <a:lnTo>
                      <a:pt x="561" y="545"/>
                    </a:lnTo>
                    <a:lnTo>
                      <a:pt x="560" y="545"/>
                    </a:lnTo>
                    <a:lnTo>
                      <a:pt x="560" y="546"/>
                    </a:lnTo>
                    <a:lnTo>
                      <a:pt x="558" y="546"/>
                    </a:lnTo>
                    <a:lnTo>
                      <a:pt x="558" y="545"/>
                    </a:lnTo>
                    <a:lnTo>
                      <a:pt x="560" y="545"/>
                    </a:lnTo>
                    <a:lnTo>
                      <a:pt x="561" y="545"/>
                    </a:lnTo>
                    <a:lnTo>
                      <a:pt x="562" y="545"/>
                    </a:lnTo>
                    <a:lnTo>
                      <a:pt x="563" y="545"/>
                    </a:lnTo>
                    <a:close/>
                    <a:moveTo>
                      <a:pt x="437" y="547"/>
                    </a:moveTo>
                    <a:lnTo>
                      <a:pt x="437" y="546"/>
                    </a:lnTo>
                    <a:lnTo>
                      <a:pt x="438" y="546"/>
                    </a:lnTo>
                    <a:lnTo>
                      <a:pt x="438" y="545"/>
                    </a:lnTo>
                    <a:lnTo>
                      <a:pt x="439" y="545"/>
                    </a:lnTo>
                    <a:lnTo>
                      <a:pt x="438" y="545"/>
                    </a:lnTo>
                    <a:lnTo>
                      <a:pt x="438" y="546"/>
                    </a:lnTo>
                    <a:lnTo>
                      <a:pt x="438" y="547"/>
                    </a:lnTo>
                    <a:lnTo>
                      <a:pt x="437" y="547"/>
                    </a:lnTo>
                    <a:close/>
                    <a:moveTo>
                      <a:pt x="200" y="405"/>
                    </a:moveTo>
                    <a:lnTo>
                      <a:pt x="201" y="406"/>
                    </a:lnTo>
                    <a:lnTo>
                      <a:pt x="201" y="408"/>
                    </a:lnTo>
                    <a:lnTo>
                      <a:pt x="200" y="408"/>
                    </a:lnTo>
                    <a:lnTo>
                      <a:pt x="199" y="408"/>
                    </a:lnTo>
                    <a:lnTo>
                      <a:pt x="200" y="408"/>
                    </a:lnTo>
                    <a:lnTo>
                      <a:pt x="200" y="406"/>
                    </a:lnTo>
                    <a:lnTo>
                      <a:pt x="199" y="408"/>
                    </a:lnTo>
                    <a:lnTo>
                      <a:pt x="199" y="406"/>
                    </a:lnTo>
                    <a:lnTo>
                      <a:pt x="200" y="406"/>
                    </a:lnTo>
                    <a:lnTo>
                      <a:pt x="199" y="406"/>
                    </a:lnTo>
                    <a:lnTo>
                      <a:pt x="200" y="406"/>
                    </a:lnTo>
                    <a:lnTo>
                      <a:pt x="200" y="405"/>
                    </a:lnTo>
                    <a:close/>
                    <a:moveTo>
                      <a:pt x="571" y="553"/>
                    </a:moveTo>
                    <a:lnTo>
                      <a:pt x="570" y="553"/>
                    </a:lnTo>
                    <a:lnTo>
                      <a:pt x="570" y="554"/>
                    </a:lnTo>
                    <a:lnTo>
                      <a:pt x="569" y="553"/>
                    </a:lnTo>
                    <a:lnTo>
                      <a:pt x="570" y="553"/>
                    </a:lnTo>
                    <a:lnTo>
                      <a:pt x="570" y="552"/>
                    </a:lnTo>
                    <a:lnTo>
                      <a:pt x="571" y="552"/>
                    </a:lnTo>
                    <a:lnTo>
                      <a:pt x="571" y="553"/>
                    </a:lnTo>
                    <a:close/>
                    <a:moveTo>
                      <a:pt x="269" y="403"/>
                    </a:moveTo>
                    <a:lnTo>
                      <a:pt x="270" y="404"/>
                    </a:lnTo>
                    <a:lnTo>
                      <a:pt x="271" y="404"/>
                    </a:lnTo>
                    <a:lnTo>
                      <a:pt x="270" y="404"/>
                    </a:lnTo>
                    <a:lnTo>
                      <a:pt x="269" y="404"/>
                    </a:lnTo>
                    <a:lnTo>
                      <a:pt x="270" y="406"/>
                    </a:lnTo>
                    <a:lnTo>
                      <a:pt x="271" y="406"/>
                    </a:lnTo>
                    <a:lnTo>
                      <a:pt x="271" y="408"/>
                    </a:lnTo>
                    <a:lnTo>
                      <a:pt x="273" y="410"/>
                    </a:lnTo>
                    <a:lnTo>
                      <a:pt x="272" y="410"/>
                    </a:lnTo>
                    <a:lnTo>
                      <a:pt x="268" y="403"/>
                    </a:lnTo>
                    <a:lnTo>
                      <a:pt x="269" y="403"/>
                    </a:lnTo>
                    <a:close/>
                    <a:moveTo>
                      <a:pt x="291" y="448"/>
                    </a:moveTo>
                    <a:lnTo>
                      <a:pt x="293" y="448"/>
                    </a:lnTo>
                    <a:lnTo>
                      <a:pt x="293" y="449"/>
                    </a:lnTo>
                    <a:lnTo>
                      <a:pt x="291" y="449"/>
                    </a:lnTo>
                    <a:lnTo>
                      <a:pt x="291" y="448"/>
                    </a:lnTo>
                    <a:close/>
                    <a:moveTo>
                      <a:pt x="219" y="220"/>
                    </a:moveTo>
                    <a:lnTo>
                      <a:pt x="218" y="220"/>
                    </a:lnTo>
                    <a:lnTo>
                      <a:pt x="217" y="220"/>
                    </a:lnTo>
                    <a:lnTo>
                      <a:pt x="217" y="221"/>
                    </a:lnTo>
                    <a:lnTo>
                      <a:pt x="217" y="220"/>
                    </a:lnTo>
                    <a:lnTo>
                      <a:pt x="216" y="220"/>
                    </a:lnTo>
                    <a:lnTo>
                      <a:pt x="217" y="220"/>
                    </a:lnTo>
                    <a:lnTo>
                      <a:pt x="218" y="220"/>
                    </a:lnTo>
                    <a:lnTo>
                      <a:pt x="218" y="219"/>
                    </a:lnTo>
                    <a:lnTo>
                      <a:pt x="219" y="220"/>
                    </a:lnTo>
                    <a:close/>
                    <a:moveTo>
                      <a:pt x="409" y="685"/>
                    </a:moveTo>
                    <a:lnTo>
                      <a:pt x="409" y="684"/>
                    </a:lnTo>
                    <a:lnTo>
                      <a:pt x="410" y="683"/>
                    </a:lnTo>
                    <a:lnTo>
                      <a:pt x="411" y="683"/>
                    </a:lnTo>
                    <a:lnTo>
                      <a:pt x="410" y="683"/>
                    </a:lnTo>
                    <a:lnTo>
                      <a:pt x="410" y="684"/>
                    </a:lnTo>
                    <a:lnTo>
                      <a:pt x="410" y="685"/>
                    </a:lnTo>
                    <a:lnTo>
                      <a:pt x="409" y="685"/>
                    </a:lnTo>
                    <a:close/>
                    <a:moveTo>
                      <a:pt x="279" y="405"/>
                    </a:moveTo>
                    <a:lnTo>
                      <a:pt x="280" y="408"/>
                    </a:lnTo>
                    <a:lnTo>
                      <a:pt x="281" y="408"/>
                    </a:lnTo>
                    <a:lnTo>
                      <a:pt x="281" y="406"/>
                    </a:lnTo>
                    <a:lnTo>
                      <a:pt x="281" y="408"/>
                    </a:lnTo>
                    <a:lnTo>
                      <a:pt x="281" y="409"/>
                    </a:lnTo>
                    <a:lnTo>
                      <a:pt x="282" y="410"/>
                    </a:lnTo>
                    <a:lnTo>
                      <a:pt x="279" y="405"/>
                    </a:lnTo>
                    <a:lnTo>
                      <a:pt x="279" y="404"/>
                    </a:lnTo>
                    <a:lnTo>
                      <a:pt x="279" y="405"/>
                    </a:lnTo>
                    <a:close/>
                    <a:moveTo>
                      <a:pt x="422" y="544"/>
                    </a:moveTo>
                    <a:lnTo>
                      <a:pt x="423" y="544"/>
                    </a:lnTo>
                    <a:lnTo>
                      <a:pt x="422" y="544"/>
                    </a:lnTo>
                    <a:lnTo>
                      <a:pt x="422" y="545"/>
                    </a:lnTo>
                    <a:lnTo>
                      <a:pt x="421" y="545"/>
                    </a:lnTo>
                    <a:lnTo>
                      <a:pt x="421" y="544"/>
                    </a:lnTo>
                    <a:lnTo>
                      <a:pt x="421" y="543"/>
                    </a:lnTo>
                    <a:lnTo>
                      <a:pt x="422" y="543"/>
                    </a:lnTo>
                    <a:lnTo>
                      <a:pt x="422" y="544"/>
                    </a:lnTo>
                    <a:close/>
                    <a:moveTo>
                      <a:pt x="553" y="442"/>
                    </a:moveTo>
                    <a:lnTo>
                      <a:pt x="553" y="443"/>
                    </a:lnTo>
                    <a:lnTo>
                      <a:pt x="553" y="444"/>
                    </a:lnTo>
                    <a:lnTo>
                      <a:pt x="552" y="444"/>
                    </a:lnTo>
                    <a:lnTo>
                      <a:pt x="553" y="444"/>
                    </a:lnTo>
                    <a:lnTo>
                      <a:pt x="553" y="446"/>
                    </a:lnTo>
                    <a:lnTo>
                      <a:pt x="552" y="446"/>
                    </a:lnTo>
                    <a:lnTo>
                      <a:pt x="553" y="446"/>
                    </a:lnTo>
                    <a:lnTo>
                      <a:pt x="553" y="447"/>
                    </a:lnTo>
                    <a:lnTo>
                      <a:pt x="553" y="446"/>
                    </a:lnTo>
                    <a:lnTo>
                      <a:pt x="552" y="446"/>
                    </a:lnTo>
                    <a:lnTo>
                      <a:pt x="552" y="444"/>
                    </a:lnTo>
                    <a:lnTo>
                      <a:pt x="552" y="443"/>
                    </a:lnTo>
                    <a:lnTo>
                      <a:pt x="553" y="442"/>
                    </a:lnTo>
                    <a:close/>
                    <a:moveTo>
                      <a:pt x="318" y="395"/>
                    </a:moveTo>
                    <a:lnTo>
                      <a:pt x="319" y="395"/>
                    </a:lnTo>
                    <a:lnTo>
                      <a:pt x="320" y="395"/>
                    </a:lnTo>
                    <a:lnTo>
                      <a:pt x="320" y="396"/>
                    </a:lnTo>
                    <a:lnTo>
                      <a:pt x="318" y="395"/>
                    </a:lnTo>
                    <a:lnTo>
                      <a:pt x="317" y="395"/>
                    </a:lnTo>
                    <a:lnTo>
                      <a:pt x="317" y="393"/>
                    </a:lnTo>
                    <a:lnTo>
                      <a:pt x="318" y="393"/>
                    </a:lnTo>
                    <a:lnTo>
                      <a:pt x="318" y="395"/>
                    </a:lnTo>
                    <a:close/>
                    <a:moveTo>
                      <a:pt x="208" y="403"/>
                    </a:moveTo>
                    <a:lnTo>
                      <a:pt x="208" y="404"/>
                    </a:lnTo>
                    <a:lnTo>
                      <a:pt x="207" y="405"/>
                    </a:lnTo>
                    <a:lnTo>
                      <a:pt x="207" y="404"/>
                    </a:lnTo>
                    <a:lnTo>
                      <a:pt x="206" y="404"/>
                    </a:lnTo>
                    <a:lnTo>
                      <a:pt x="205" y="404"/>
                    </a:lnTo>
                    <a:lnTo>
                      <a:pt x="206" y="404"/>
                    </a:lnTo>
                    <a:lnTo>
                      <a:pt x="207" y="404"/>
                    </a:lnTo>
                    <a:lnTo>
                      <a:pt x="207" y="403"/>
                    </a:lnTo>
                    <a:lnTo>
                      <a:pt x="208" y="403"/>
                    </a:lnTo>
                    <a:close/>
                    <a:moveTo>
                      <a:pt x="503" y="450"/>
                    </a:moveTo>
                    <a:lnTo>
                      <a:pt x="504" y="450"/>
                    </a:lnTo>
                    <a:lnTo>
                      <a:pt x="505" y="450"/>
                    </a:lnTo>
                    <a:lnTo>
                      <a:pt x="505" y="451"/>
                    </a:lnTo>
                    <a:lnTo>
                      <a:pt x="505" y="452"/>
                    </a:lnTo>
                    <a:lnTo>
                      <a:pt x="504" y="451"/>
                    </a:lnTo>
                    <a:lnTo>
                      <a:pt x="503" y="451"/>
                    </a:lnTo>
                    <a:lnTo>
                      <a:pt x="503" y="450"/>
                    </a:lnTo>
                    <a:close/>
                    <a:moveTo>
                      <a:pt x="197" y="360"/>
                    </a:moveTo>
                    <a:lnTo>
                      <a:pt x="196" y="360"/>
                    </a:lnTo>
                    <a:lnTo>
                      <a:pt x="197" y="359"/>
                    </a:lnTo>
                    <a:lnTo>
                      <a:pt x="197" y="358"/>
                    </a:lnTo>
                    <a:lnTo>
                      <a:pt x="197" y="360"/>
                    </a:lnTo>
                    <a:close/>
                    <a:moveTo>
                      <a:pt x="567" y="550"/>
                    </a:moveTo>
                    <a:lnTo>
                      <a:pt x="566" y="551"/>
                    </a:lnTo>
                    <a:lnTo>
                      <a:pt x="566" y="550"/>
                    </a:lnTo>
                    <a:lnTo>
                      <a:pt x="565" y="550"/>
                    </a:lnTo>
                    <a:lnTo>
                      <a:pt x="565" y="549"/>
                    </a:lnTo>
                    <a:lnTo>
                      <a:pt x="566" y="550"/>
                    </a:lnTo>
                    <a:lnTo>
                      <a:pt x="567" y="550"/>
                    </a:lnTo>
                    <a:close/>
                    <a:moveTo>
                      <a:pt x="319" y="456"/>
                    </a:moveTo>
                    <a:lnTo>
                      <a:pt x="321" y="456"/>
                    </a:lnTo>
                    <a:lnTo>
                      <a:pt x="319" y="456"/>
                    </a:lnTo>
                    <a:lnTo>
                      <a:pt x="318" y="456"/>
                    </a:lnTo>
                    <a:lnTo>
                      <a:pt x="318" y="457"/>
                    </a:lnTo>
                    <a:lnTo>
                      <a:pt x="319" y="457"/>
                    </a:lnTo>
                    <a:lnTo>
                      <a:pt x="318" y="457"/>
                    </a:lnTo>
                    <a:lnTo>
                      <a:pt x="317" y="457"/>
                    </a:lnTo>
                    <a:lnTo>
                      <a:pt x="317" y="456"/>
                    </a:lnTo>
                    <a:lnTo>
                      <a:pt x="318" y="456"/>
                    </a:lnTo>
                    <a:lnTo>
                      <a:pt x="319" y="456"/>
                    </a:lnTo>
                    <a:close/>
                    <a:moveTo>
                      <a:pt x="475" y="359"/>
                    </a:moveTo>
                    <a:lnTo>
                      <a:pt x="474" y="359"/>
                    </a:lnTo>
                    <a:lnTo>
                      <a:pt x="474" y="358"/>
                    </a:lnTo>
                    <a:lnTo>
                      <a:pt x="475" y="358"/>
                    </a:lnTo>
                    <a:lnTo>
                      <a:pt x="476" y="358"/>
                    </a:lnTo>
                    <a:lnTo>
                      <a:pt x="476" y="359"/>
                    </a:lnTo>
                    <a:lnTo>
                      <a:pt x="475" y="359"/>
                    </a:lnTo>
                    <a:close/>
                    <a:moveTo>
                      <a:pt x="245" y="260"/>
                    </a:moveTo>
                    <a:lnTo>
                      <a:pt x="247" y="260"/>
                    </a:lnTo>
                    <a:lnTo>
                      <a:pt x="247" y="262"/>
                    </a:lnTo>
                    <a:lnTo>
                      <a:pt x="245" y="262"/>
                    </a:lnTo>
                    <a:lnTo>
                      <a:pt x="245" y="260"/>
                    </a:lnTo>
                    <a:close/>
                    <a:moveTo>
                      <a:pt x="414" y="373"/>
                    </a:moveTo>
                    <a:lnTo>
                      <a:pt x="415" y="374"/>
                    </a:lnTo>
                    <a:lnTo>
                      <a:pt x="412" y="374"/>
                    </a:lnTo>
                    <a:lnTo>
                      <a:pt x="412" y="373"/>
                    </a:lnTo>
                    <a:lnTo>
                      <a:pt x="413" y="373"/>
                    </a:lnTo>
                    <a:lnTo>
                      <a:pt x="414" y="373"/>
                    </a:lnTo>
                    <a:close/>
                    <a:moveTo>
                      <a:pt x="227" y="398"/>
                    </a:moveTo>
                    <a:lnTo>
                      <a:pt x="228" y="398"/>
                    </a:lnTo>
                    <a:lnTo>
                      <a:pt x="229" y="398"/>
                    </a:lnTo>
                    <a:lnTo>
                      <a:pt x="228" y="399"/>
                    </a:lnTo>
                    <a:lnTo>
                      <a:pt x="227" y="398"/>
                    </a:lnTo>
                    <a:lnTo>
                      <a:pt x="227" y="399"/>
                    </a:lnTo>
                    <a:lnTo>
                      <a:pt x="226" y="399"/>
                    </a:lnTo>
                    <a:lnTo>
                      <a:pt x="226" y="398"/>
                    </a:lnTo>
                    <a:lnTo>
                      <a:pt x="227" y="398"/>
                    </a:lnTo>
                    <a:close/>
                    <a:moveTo>
                      <a:pt x="539" y="507"/>
                    </a:moveTo>
                    <a:lnTo>
                      <a:pt x="539" y="508"/>
                    </a:lnTo>
                    <a:lnTo>
                      <a:pt x="538" y="508"/>
                    </a:lnTo>
                    <a:lnTo>
                      <a:pt x="538" y="507"/>
                    </a:lnTo>
                    <a:lnTo>
                      <a:pt x="537" y="508"/>
                    </a:lnTo>
                    <a:lnTo>
                      <a:pt x="536" y="508"/>
                    </a:lnTo>
                    <a:lnTo>
                      <a:pt x="535" y="508"/>
                    </a:lnTo>
                    <a:lnTo>
                      <a:pt x="532" y="510"/>
                    </a:lnTo>
                    <a:lnTo>
                      <a:pt x="532" y="511"/>
                    </a:lnTo>
                    <a:lnTo>
                      <a:pt x="533" y="511"/>
                    </a:lnTo>
                    <a:lnTo>
                      <a:pt x="532" y="511"/>
                    </a:lnTo>
                    <a:lnTo>
                      <a:pt x="532" y="510"/>
                    </a:lnTo>
                    <a:lnTo>
                      <a:pt x="533" y="510"/>
                    </a:lnTo>
                    <a:lnTo>
                      <a:pt x="535" y="508"/>
                    </a:lnTo>
                    <a:lnTo>
                      <a:pt x="536" y="508"/>
                    </a:lnTo>
                    <a:lnTo>
                      <a:pt x="537" y="507"/>
                    </a:lnTo>
                    <a:lnTo>
                      <a:pt x="538" y="507"/>
                    </a:lnTo>
                    <a:lnTo>
                      <a:pt x="539" y="507"/>
                    </a:lnTo>
                    <a:close/>
                    <a:moveTo>
                      <a:pt x="178" y="405"/>
                    </a:moveTo>
                    <a:lnTo>
                      <a:pt x="179" y="405"/>
                    </a:lnTo>
                    <a:lnTo>
                      <a:pt x="178" y="405"/>
                    </a:lnTo>
                    <a:lnTo>
                      <a:pt x="178" y="406"/>
                    </a:lnTo>
                    <a:lnTo>
                      <a:pt x="177" y="406"/>
                    </a:lnTo>
                    <a:lnTo>
                      <a:pt x="177" y="405"/>
                    </a:lnTo>
                    <a:lnTo>
                      <a:pt x="178" y="405"/>
                    </a:lnTo>
                    <a:lnTo>
                      <a:pt x="177" y="405"/>
                    </a:lnTo>
                    <a:lnTo>
                      <a:pt x="178" y="405"/>
                    </a:lnTo>
                    <a:lnTo>
                      <a:pt x="178" y="404"/>
                    </a:lnTo>
                    <a:lnTo>
                      <a:pt x="178" y="405"/>
                    </a:lnTo>
                    <a:close/>
                    <a:moveTo>
                      <a:pt x="279" y="435"/>
                    </a:moveTo>
                    <a:lnTo>
                      <a:pt x="279" y="436"/>
                    </a:lnTo>
                    <a:lnTo>
                      <a:pt x="279" y="435"/>
                    </a:lnTo>
                    <a:lnTo>
                      <a:pt x="278" y="434"/>
                    </a:lnTo>
                    <a:lnTo>
                      <a:pt x="279" y="434"/>
                    </a:lnTo>
                    <a:lnTo>
                      <a:pt x="280" y="435"/>
                    </a:lnTo>
                    <a:lnTo>
                      <a:pt x="279" y="435"/>
                    </a:lnTo>
                    <a:close/>
                    <a:moveTo>
                      <a:pt x="179" y="356"/>
                    </a:moveTo>
                    <a:lnTo>
                      <a:pt x="181" y="356"/>
                    </a:lnTo>
                    <a:lnTo>
                      <a:pt x="181" y="357"/>
                    </a:lnTo>
                    <a:lnTo>
                      <a:pt x="179" y="357"/>
                    </a:lnTo>
                    <a:lnTo>
                      <a:pt x="179" y="359"/>
                    </a:lnTo>
                    <a:lnTo>
                      <a:pt x="179" y="361"/>
                    </a:lnTo>
                    <a:lnTo>
                      <a:pt x="180" y="361"/>
                    </a:lnTo>
                    <a:lnTo>
                      <a:pt x="181" y="361"/>
                    </a:lnTo>
                    <a:lnTo>
                      <a:pt x="180" y="361"/>
                    </a:lnTo>
                    <a:lnTo>
                      <a:pt x="180" y="362"/>
                    </a:lnTo>
                    <a:lnTo>
                      <a:pt x="180" y="363"/>
                    </a:lnTo>
                    <a:lnTo>
                      <a:pt x="180" y="361"/>
                    </a:lnTo>
                    <a:lnTo>
                      <a:pt x="179" y="361"/>
                    </a:lnTo>
                    <a:lnTo>
                      <a:pt x="179" y="359"/>
                    </a:lnTo>
                    <a:lnTo>
                      <a:pt x="179" y="357"/>
                    </a:lnTo>
                    <a:lnTo>
                      <a:pt x="178" y="357"/>
                    </a:lnTo>
                    <a:lnTo>
                      <a:pt x="179" y="357"/>
                    </a:lnTo>
                    <a:lnTo>
                      <a:pt x="178" y="357"/>
                    </a:lnTo>
                    <a:lnTo>
                      <a:pt x="178" y="356"/>
                    </a:lnTo>
                    <a:lnTo>
                      <a:pt x="179" y="356"/>
                    </a:lnTo>
                    <a:close/>
                    <a:moveTo>
                      <a:pt x="111" y="374"/>
                    </a:moveTo>
                    <a:lnTo>
                      <a:pt x="112" y="374"/>
                    </a:lnTo>
                    <a:lnTo>
                      <a:pt x="112" y="375"/>
                    </a:lnTo>
                    <a:lnTo>
                      <a:pt x="111" y="375"/>
                    </a:lnTo>
                    <a:lnTo>
                      <a:pt x="111" y="374"/>
                    </a:lnTo>
                    <a:close/>
                    <a:moveTo>
                      <a:pt x="190" y="358"/>
                    </a:moveTo>
                    <a:lnTo>
                      <a:pt x="189" y="358"/>
                    </a:lnTo>
                    <a:lnTo>
                      <a:pt x="188" y="357"/>
                    </a:lnTo>
                    <a:lnTo>
                      <a:pt x="189" y="357"/>
                    </a:lnTo>
                    <a:lnTo>
                      <a:pt x="188" y="357"/>
                    </a:lnTo>
                    <a:lnTo>
                      <a:pt x="189" y="357"/>
                    </a:lnTo>
                    <a:lnTo>
                      <a:pt x="189" y="356"/>
                    </a:lnTo>
                    <a:lnTo>
                      <a:pt x="189" y="357"/>
                    </a:lnTo>
                    <a:lnTo>
                      <a:pt x="190" y="357"/>
                    </a:lnTo>
                    <a:lnTo>
                      <a:pt x="190" y="358"/>
                    </a:lnTo>
                    <a:close/>
                    <a:moveTo>
                      <a:pt x="255" y="397"/>
                    </a:moveTo>
                    <a:lnTo>
                      <a:pt x="252" y="397"/>
                    </a:lnTo>
                    <a:lnTo>
                      <a:pt x="253" y="397"/>
                    </a:lnTo>
                    <a:lnTo>
                      <a:pt x="253" y="396"/>
                    </a:lnTo>
                    <a:lnTo>
                      <a:pt x="255" y="397"/>
                    </a:lnTo>
                    <a:close/>
                    <a:moveTo>
                      <a:pt x="232" y="215"/>
                    </a:moveTo>
                    <a:lnTo>
                      <a:pt x="233" y="215"/>
                    </a:lnTo>
                    <a:lnTo>
                      <a:pt x="233" y="213"/>
                    </a:lnTo>
                    <a:lnTo>
                      <a:pt x="233" y="215"/>
                    </a:lnTo>
                    <a:lnTo>
                      <a:pt x="232" y="215"/>
                    </a:lnTo>
                    <a:lnTo>
                      <a:pt x="231" y="216"/>
                    </a:lnTo>
                    <a:lnTo>
                      <a:pt x="231" y="215"/>
                    </a:lnTo>
                    <a:lnTo>
                      <a:pt x="232" y="213"/>
                    </a:lnTo>
                    <a:lnTo>
                      <a:pt x="232" y="215"/>
                    </a:lnTo>
                    <a:lnTo>
                      <a:pt x="232" y="213"/>
                    </a:lnTo>
                    <a:lnTo>
                      <a:pt x="232" y="215"/>
                    </a:lnTo>
                    <a:close/>
                    <a:moveTo>
                      <a:pt x="412" y="377"/>
                    </a:moveTo>
                    <a:lnTo>
                      <a:pt x="411" y="377"/>
                    </a:lnTo>
                    <a:lnTo>
                      <a:pt x="411" y="378"/>
                    </a:lnTo>
                    <a:lnTo>
                      <a:pt x="410" y="378"/>
                    </a:lnTo>
                    <a:lnTo>
                      <a:pt x="409" y="378"/>
                    </a:lnTo>
                    <a:lnTo>
                      <a:pt x="410" y="378"/>
                    </a:lnTo>
                    <a:lnTo>
                      <a:pt x="411" y="378"/>
                    </a:lnTo>
                    <a:lnTo>
                      <a:pt x="411" y="377"/>
                    </a:lnTo>
                    <a:lnTo>
                      <a:pt x="409" y="378"/>
                    </a:lnTo>
                    <a:lnTo>
                      <a:pt x="408" y="378"/>
                    </a:lnTo>
                    <a:lnTo>
                      <a:pt x="407" y="378"/>
                    </a:lnTo>
                    <a:lnTo>
                      <a:pt x="407" y="377"/>
                    </a:lnTo>
                    <a:lnTo>
                      <a:pt x="407" y="378"/>
                    </a:lnTo>
                    <a:lnTo>
                      <a:pt x="408" y="378"/>
                    </a:lnTo>
                    <a:lnTo>
                      <a:pt x="408" y="377"/>
                    </a:lnTo>
                    <a:lnTo>
                      <a:pt x="408" y="378"/>
                    </a:lnTo>
                    <a:lnTo>
                      <a:pt x="410" y="377"/>
                    </a:lnTo>
                    <a:lnTo>
                      <a:pt x="411" y="377"/>
                    </a:lnTo>
                    <a:lnTo>
                      <a:pt x="412" y="377"/>
                    </a:lnTo>
                    <a:close/>
                    <a:moveTo>
                      <a:pt x="567" y="456"/>
                    </a:moveTo>
                    <a:lnTo>
                      <a:pt x="568" y="456"/>
                    </a:lnTo>
                    <a:lnTo>
                      <a:pt x="567" y="456"/>
                    </a:lnTo>
                    <a:lnTo>
                      <a:pt x="567" y="457"/>
                    </a:lnTo>
                    <a:lnTo>
                      <a:pt x="567" y="456"/>
                    </a:lnTo>
                    <a:lnTo>
                      <a:pt x="567" y="457"/>
                    </a:lnTo>
                    <a:lnTo>
                      <a:pt x="566" y="457"/>
                    </a:lnTo>
                    <a:lnTo>
                      <a:pt x="565" y="457"/>
                    </a:lnTo>
                    <a:lnTo>
                      <a:pt x="566" y="457"/>
                    </a:lnTo>
                    <a:lnTo>
                      <a:pt x="565" y="457"/>
                    </a:lnTo>
                    <a:lnTo>
                      <a:pt x="565" y="459"/>
                    </a:lnTo>
                    <a:lnTo>
                      <a:pt x="565" y="457"/>
                    </a:lnTo>
                    <a:lnTo>
                      <a:pt x="566" y="457"/>
                    </a:lnTo>
                    <a:lnTo>
                      <a:pt x="567" y="456"/>
                    </a:lnTo>
                    <a:close/>
                    <a:moveTo>
                      <a:pt x="157" y="397"/>
                    </a:moveTo>
                    <a:lnTo>
                      <a:pt x="160" y="397"/>
                    </a:lnTo>
                    <a:lnTo>
                      <a:pt x="160" y="399"/>
                    </a:lnTo>
                    <a:lnTo>
                      <a:pt x="157" y="399"/>
                    </a:lnTo>
                    <a:lnTo>
                      <a:pt x="157" y="397"/>
                    </a:lnTo>
                    <a:close/>
                    <a:moveTo>
                      <a:pt x="222" y="405"/>
                    </a:moveTo>
                    <a:lnTo>
                      <a:pt x="220" y="404"/>
                    </a:lnTo>
                    <a:lnTo>
                      <a:pt x="221" y="404"/>
                    </a:lnTo>
                    <a:lnTo>
                      <a:pt x="221" y="403"/>
                    </a:lnTo>
                    <a:lnTo>
                      <a:pt x="221" y="404"/>
                    </a:lnTo>
                    <a:lnTo>
                      <a:pt x="222" y="404"/>
                    </a:lnTo>
                    <a:lnTo>
                      <a:pt x="222" y="405"/>
                    </a:lnTo>
                    <a:close/>
                    <a:moveTo>
                      <a:pt x="437" y="396"/>
                    </a:moveTo>
                    <a:lnTo>
                      <a:pt x="438" y="396"/>
                    </a:lnTo>
                    <a:lnTo>
                      <a:pt x="439" y="396"/>
                    </a:lnTo>
                    <a:lnTo>
                      <a:pt x="438" y="396"/>
                    </a:lnTo>
                    <a:lnTo>
                      <a:pt x="438" y="397"/>
                    </a:lnTo>
                    <a:lnTo>
                      <a:pt x="437" y="397"/>
                    </a:lnTo>
                    <a:lnTo>
                      <a:pt x="437" y="396"/>
                    </a:lnTo>
                    <a:lnTo>
                      <a:pt x="437" y="395"/>
                    </a:lnTo>
                    <a:lnTo>
                      <a:pt x="437" y="396"/>
                    </a:lnTo>
                    <a:close/>
                    <a:moveTo>
                      <a:pt x="570" y="555"/>
                    </a:moveTo>
                    <a:lnTo>
                      <a:pt x="573" y="555"/>
                    </a:lnTo>
                    <a:lnTo>
                      <a:pt x="573" y="556"/>
                    </a:lnTo>
                    <a:lnTo>
                      <a:pt x="570" y="556"/>
                    </a:lnTo>
                    <a:lnTo>
                      <a:pt x="570" y="555"/>
                    </a:lnTo>
                    <a:close/>
                    <a:moveTo>
                      <a:pt x="228" y="229"/>
                    </a:moveTo>
                    <a:lnTo>
                      <a:pt x="230" y="229"/>
                    </a:lnTo>
                    <a:lnTo>
                      <a:pt x="230" y="231"/>
                    </a:lnTo>
                    <a:lnTo>
                      <a:pt x="228" y="231"/>
                    </a:lnTo>
                    <a:lnTo>
                      <a:pt x="228" y="229"/>
                    </a:lnTo>
                    <a:close/>
                    <a:moveTo>
                      <a:pt x="584" y="454"/>
                    </a:moveTo>
                    <a:lnTo>
                      <a:pt x="584" y="455"/>
                    </a:lnTo>
                    <a:lnTo>
                      <a:pt x="584" y="456"/>
                    </a:lnTo>
                    <a:lnTo>
                      <a:pt x="583" y="456"/>
                    </a:lnTo>
                    <a:lnTo>
                      <a:pt x="583" y="455"/>
                    </a:lnTo>
                    <a:lnTo>
                      <a:pt x="583" y="456"/>
                    </a:lnTo>
                    <a:lnTo>
                      <a:pt x="583" y="455"/>
                    </a:lnTo>
                    <a:lnTo>
                      <a:pt x="584" y="455"/>
                    </a:lnTo>
                    <a:lnTo>
                      <a:pt x="583" y="455"/>
                    </a:lnTo>
                    <a:lnTo>
                      <a:pt x="583" y="454"/>
                    </a:lnTo>
                    <a:lnTo>
                      <a:pt x="584" y="454"/>
                    </a:lnTo>
                    <a:lnTo>
                      <a:pt x="583" y="454"/>
                    </a:lnTo>
                    <a:lnTo>
                      <a:pt x="584" y="454"/>
                    </a:lnTo>
                    <a:lnTo>
                      <a:pt x="583" y="454"/>
                    </a:lnTo>
                    <a:lnTo>
                      <a:pt x="584" y="454"/>
                    </a:lnTo>
                    <a:close/>
                    <a:moveTo>
                      <a:pt x="412" y="372"/>
                    </a:moveTo>
                    <a:lnTo>
                      <a:pt x="412" y="373"/>
                    </a:lnTo>
                    <a:lnTo>
                      <a:pt x="413" y="373"/>
                    </a:lnTo>
                    <a:lnTo>
                      <a:pt x="412" y="373"/>
                    </a:lnTo>
                    <a:lnTo>
                      <a:pt x="411" y="374"/>
                    </a:lnTo>
                    <a:lnTo>
                      <a:pt x="410" y="373"/>
                    </a:lnTo>
                    <a:lnTo>
                      <a:pt x="411" y="373"/>
                    </a:lnTo>
                    <a:lnTo>
                      <a:pt x="411" y="372"/>
                    </a:lnTo>
                    <a:lnTo>
                      <a:pt x="412" y="372"/>
                    </a:lnTo>
                    <a:close/>
                    <a:moveTo>
                      <a:pt x="617" y="513"/>
                    </a:moveTo>
                    <a:lnTo>
                      <a:pt x="616" y="513"/>
                    </a:lnTo>
                    <a:lnTo>
                      <a:pt x="617" y="512"/>
                    </a:lnTo>
                    <a:lnTo>
                      <a:pt x="616" y="512"/>
                    </a:lnTo>
                    <a:lnTo>
                      <a:pt x="616" y="511"/>
                    </a:lnTo>
                    <a:lnTo>
                      <a:pt x="617" y="511"/>
                    </a:lnTo>
                    <a:lnTo>
                      <a:pt x="617" y="512"/>
                    </a:lnTo>
                    <a:lnTo>
                      <a:pt x="617" y="513"/>
                    </a:lnTo>
                    <a:close/>
                    <a:moveTo>
                      <a:pt x="549" y="552"/>
                    </a:moveTo>
                    <a:lnTo>
                      <a:pt x="548" y="553"/>
                    </a:lnTo>
                    <a:lnTo>
                      <a:pt x="546" y="553"/>
                    </a:lnTo>
                    <a:lnTo>
                      <a:pt x="546" y="552"/>
                    </a:lnTo>
                    <a:lnTo>
                      <a:pt x="548" y="552"/>
                    </a:lnTo>
                    <a:lnTo>
                      <a:pt x="549" y="552"/>
                    </a:lnTo>
                    <a:lnTo>
                      <a:pt x="550" y="551"/>
                    </a:lnTo>
                    <a:lnTo>
                      <a:pt x="550" y="552"/>
                    </a:lnTo>
                    <a:lnTo>
                      <a:pt x="549" y="552"/>
                    </a:lnTo>
                    <a:close/>
                    <a:moveTo>
                      <a:pt x="125" y="403"/>
                    </a:moveTo>
                    <a:lnTo>
                      <a:pt x="125" y="402"/>
                    </a:lnTo>
                    <a:lnTo>
                      <a:pt x="124" y="401"/>
                    </a:lnTo>
                    <a:lnTo>
                      <a:pt x="125" y="401"/>
                    </a:lnTo>
                    <a:lnTo>
                      <a:pt x="125" y="402"/>
                    </a:lnTo>
                    <a:lnTo>
                      <a:pt x="125" y="403"/>
                    </a:lnTo>
                    <a:close/>
                    <a:moveTo>
                      <a:pt x="420" y="372"/>
                    </a:moveTo>
                    <a:lnTo>
                      <a:pt x="421" y="373"/>
                    </a:lnTo>
                    <a:lnTo>
                      <a:pt x="421" y="374"/>
                    </a:lnTo>
                    <a:lnTo>
                      <a:pt x="420" y="374"/>
                    </a:lnTo>
                    <a:lnTo>
                      <a:pt x="420" y="373"/>
                    </a:lnTo>
                    <a:lnTo>
                      <a:pt x="420" y="374"/>
                    </a:lnTo>
                    <a:lnTo>
                      <a:pt x="421" y="374"/>
                    </a:lnTo>
                    <a:lnTo>
                      <a:pt x="420" y="373"/>
                    </a:lnTo>
                    <a:lnTo>
                      <a:pt x="421" y="373"/>
                    </a:lnTo>
                    <a:lnTo>
                      <a:pt x="420" y="373"/>
                    </a:lnTo>
                    <a:lnTo>
                      <a:pt x="420" y="372"/>
                    </a:lnTo>
                    <a:lnTo>
                      <a:pt x="420" y="373"/>
                    </a:lnTo>
                    <a:lnTo>
                      <a:pt x="420" y="372"/>
                    </a:lnTo>
                    <a:lnTo>
                      <a:pt x="419" y="372"/>
                    </a:lnTo>
                    <a:lnTo>
                      <a:pt x="420" y="372"/>
                    </a:lnTo>
                    <a:close/>
                    <a:moveTo>
                      <a:pt x="475" y="422"/>
                    </a:moveTo>
                    <a:lnTo>
                      <a:pt x="476" y="423"/>
                    </a:lnTo>
                    <a:lnTo>
                      <a:pt x="477" y="423"/>
                    </a:lnTo>
                    <a:lnTo>
                      <a:pt x="476" y="423"/>
                    </a:lnTo>
                    <a:lnTo>
                      <a:pt x="475" y="423"/>
                    </a:lnTo>
                    <a:lnTo>
                      <a:pt x="475" y="422"/>
                    </a:lnTo>
                    <a:lnTo>
                      <a:pt x="475" y="423"/>
                    </a:lnTo>
                    <a:lnTo>
                      <a:pt x="476" y="423"/>
                    </a:lnTo>
                    <a:lnTo>
                      <a:pt x="475" y="423"/>
                    </a:lnTo>
                    <a:lnTo>
                      <a:pt x="475" y="422"/>
                    </a:lnTo>
                    <a:lnTo>
                      <a:pt x="474" y="422"/>
                    </a:lnTo>
                    <a:lnTo>
                      <a:pt x="475" y="422"/>
                    </a:lnTo>
                    <a:close/>
                    <a:moveTo>
                      <a:pt x="192" y="402"/>
                    </a:moveTo>
                    <a:lnTo>
                      <a:pt x="194" y="402"/>
                    </a:lnTo>
                    <a:lnTo>
                      <a:pt x="194" y="403"/>
                    </a:lnTo>
                    <a:lnTo>
                      <a:pt x="192" y="403"/>
                    </a:lnTo>
                    <a:lnTo>
                      <a:pt x="192" y="402"/>
                    </a:lnTo>
                    <a:close/>
                    <a:moveTo>
                      <a:pt x="233" y="399"/>
                    </a:moveTo>
                    <a:lnTo>
                      <a:pt x="229" y="400"/>
                    </a:lnTo>
                    <a:lnTo>
                      <a:pt x="229" y="399"/>
                    </a:lnTo>
                    <a:lnTo>
                      <a:pt x="229" y="400"/>
                    </a:lnTo>
                    <a:lnTo>
                      <a:pt x="232" y="399"/>
                    </a:lnTo>
                    <a:lnTo>
                      <a:pt x="233" y="399"/>
                    </a:lnTo>
                    <a:close/>
                    <a:moveTo>
                      <a:pt x="150" y="356"/>
                    </a:moveTo>
                    <a:lnTo>
                      <a:pt x="150" y="357"/>
                    </a:lnTo>
                    <a:lnTo>
                      <a:pt x="149" y="357"/>
                    </a:lnTo>
                    <a:lnTo>
                      <a:pt x="149" y="358"/>
                    </a:lnTo>
                    <a:lnTo>
                      <a:pt x="149" y="357"/>
                    </a:lnTo>
                    <a:lnTo>
                      <a:pt x="149" y="356"/>
                    </a:lnTo>
                    <a:lnTo>
                      <a:pt x="150" y="356"/>
                    </a:lnTo>
                    <a:close/>
                    <a:moveTo>
                      <a:pt x="254" y="380"/>
                    </a:moveTo>
                    <a:lnTo>
                      <a:pt x="255" y="382"/>
                    </a:lnTo>
                    <a:lnTo>
                      <a:pt x="255" y="380"/>
                    </a:lnTo>
                    <a:lnTo>
                      <a:pt x="256" y="380"/>
                    </a:lnTo>
                    <a:lnTo>
                      <a:pt x="256" y="382"/>
                    </a:lnTo>
                    <a:lnTo>
                      <a:pt x="256" y="383"/>
                    </a:lnTo>
                    <a:lnTo>
                      <a:pt x="255" y="382"/>
                    </a:lnTo>
                    <a:lnTo>
                      <a:pt x="254" y="380"/>
                    </a:lnTo>
                    <a:close/>
                    <a:moveTo>
                      <a:pt x="433" y="390"/>
                    </a:moveTo>
                    <a:lnTo>
                      <a:pt x="432" y="390"/>
                    </a:lnTo>
                    <a:lnTo>
                      <a:pt x="431" y="390"/>
                    </a:lnTo>
                    <a:lnTo>
                      <a:pt x="432" y="390"/>
                    </a:lnTo>
                    <a:lnTo>
                      <a:pt x="433" y="390"/>
                    </a:lnTo>
                    <a:close/>
                    <a:moveTo>
                      <a:pt x="289" y="389"/>
                    </a:moveTo>
                    <a:lnTo>
                      <a:pt x="290" y="389"/>
                    </a:lnTo>
                    <a:lnTo>
                      <a:pt x="290" y="390"/>
                    </a:lnTo>
                    <a:lnTo>
                      <a:pt x="289" y="390"/>
                    </a:lnTo>
                    <a:lnTo>
                      <a:pt x="287" y="389"/>
                    </a:lnTo>
                    <a:lnTo>
                      <a:pt x="289" y="389"/>
                    </a:lnTo>
                    <a:close/>
                    <a:moveTo>
                      <a:pt x="177" y="414"/>
                    </a:moveTo>
                    <a:lnTo>
                      <a:pt x="176" y="415"/>
                    </a:lnTo>
                    <a:lnTo>
                      <a:pt x="175" y="415"/>
                    </a:lnTo>
                    <a:lnTo>
                      <a:pt x="174" y="415"/>
                    </a:lnTo>
                    <a:lnTo>
                      <a:pt x="173" y="415"/>
                    </a:lnTo>
                    <a:lnTo>
                      <a:pt x="174" y="415"/>
                    </a:lnTo>
                    <a:lnTo>
                      <a:pt x="175" y="415"/>
                    </a:lnTo>
                    <a:lnTo>
                      <a:pt x="175" y="414"/>
                    </a:lnTo>
                    <a:lnTo>
                      <a:pt x="176" y="414"/>
                    </a:lnTo>
                    <a:lnTo>
                      <a:pt x="176" y="415"/>
                    </a:lnTo>
                    <a:lnTo>
                      <a:pt x="177" y="414"/>
                    </a:lnTo>
                    <a:lnTo>
                      <a:pt x="178" y="414"/>
                    </a:lnTo>
                    <a:lnTo>
                      <a:pt x="177" y="414"/>
                    </a:lnTo>
                    <a:close/>
                    <a:moveTo>
                      <a:pt x="278" y="393"/>
                    </a:moveTo>
                    <a:lnTo>
                      <a:pt x="278" y="395"/>
                    </a:lnTo>
                    <a:lnTo>
                      <a:pt x="277" y="395"/>
                    </a:lnTo>
                    <a:lnTo>
                      <a:pt x="277" y="393"/>
                    </a:lnTo>
                    <a:lnTo>
                      <a:pt x="276" y="393"/>
                    </a:lnTo>
                    <a:lnTo>
                      <a:pt x="277" y="393"/>
                    </a:lnTo>
                    <a:lnTo>
                      <a:pt x="278" y="393"/>
                    </a:lnTo>
                    <a:close/>
                    <a:moveTo>
                      <a:pt x="290" y="383"/>
                    </a:moveTo>
                    <a:lnTo>
                      <a:pt x="290" y="384"/>
                    </a:lnTo>
                    <a:lnTo>
                      <a:pt x="290" y="383"/>
                    </a:lnTo>
                    <a:lnTo>
                      <a:pt x="290" y="384"/>
                    </a:lnTo>
                    <a:lnTo>
                      <a:pt x="289" y="384"/>
                    </a:lnTo>
                    <a:lnTo>
                      <a:pt x="290" y="384"/>
                    </a:lnTo>
                    <a:lnTo>
                      <a:pt x="290" y="385"/>
                    </a:lnTo>
                    <a:lnTo>
                      <a:pt x="289" y="384"/>
                    </a:lnTo>
                    <a:lnTo>
                      <a:pt x="289" y="385"/>
                    </a:lnTo>
                    <a:lnTo>
                      <a:pt x="289" y="384"/>
                    </a:lnTo>
                    <a:lnTo>
                      <a:pt x="289" y="383"/>
                    </a:lnTo>
                    <a:lnTo>
                      <a:pt x="290" y="383"/>
                    </a:lnTo>
                    <a:close/>
                    <a:moveTo>
                      <a:pt x="177" y="361"/>
                    </a:moveTo>
                    <a:lnTo>
                      <a:pt x="178" y="361"/>
                    </a:lnTo>
                    <a:lnTo>
                      <a:pt x="178" y="362"/>
                    </a:lnTo>
                    <a:lnTo>
                      <a:pt x="177" y="362"/>
                    </a:lnTo>
                    <a:lnTo>
                      <a:pt x="177" y="361"/>
                    </a:lnTo>
                    <a:close/>
                    <a:moveTo>
                      <a:pt x="550" y="521"/>
                    </a:moveTo>
                    <a:lnTo>
                      <a:pt x="550" y="523"/>
                    </a:lnTo>
                    <a:lnTo>
                      <a:pt x="550" y="524"/>
                    </a:lnTo>
                    <a:lnTo>
                      <a:pt x="550" y="523"/>
                    </a:lnTo>
                    <a:lnTo>
                      <a:pt x="549" y="523"/>
                    </a:lnTo>
                    <a:lnTo>
                      <a:pt x="549" y="521"/>
                    </a:lnTo>
                    <a:lnTo>
                      <a:pt x="550" y="521"/>
                    </a:lnTo>
                    <a:lnTo>
                      <a:pt x="549" y="521"/>
                    </a:lnTo>
                    <a:lnTo>
                      <a:pt x="550" y="521"/>
                    </a:lnTo>
                    <a:close/>
                    <a:moveTo>
                      <a:pt x="244" y="389"/>
                    </a:moveTo>
                    <a:lnTo>
                      <a:pt x="244" y="390"/>
                    </a:lnTo>
                    <a:lnTo>
                      <a:pt x="243" y="390"/>
                    </a:lnTo>
                    <a:lnTo>
                      <a:pt x="243" y="389"/>
                    </a:lnTo>
                    <a:lnTo>
                      <a:pt x="244" y="389"/>
                    </a:lnTo>
                    <a:lnTo>
                      <a:pt x="245" y="389"/>
                    </a:lnTo>
                    <a:lnTo>
                      <a:pt x="244" y="389"/>
                    </a:lnTo>
                    <a:close/>
                    <a:moveTo>
                      <a:pt x="552" y="513"/>
                    </a:moveTo>
                    <a:lnTo>
                      <a:pt x="551" y="513"/>
                    </a:lnTo>
                    <a:lnTo>
                      <a:pt x="551" y="512"/>
                    </a:lnTo>
                    <a:lnTo>
                      <a:pt x="553" y="512"/>
                    </a:lnTo>
                    <a:lnTo>
                      <a:pt x="553" y="513"/>
                    </a:lnTo>
                    <a:lnTo>
                      <a:pt x="552" y="513"/>
                    </a:lnTo>
                    <a:close/>
                    <a:moveTo>
                      <a:pt x="291" y="454"/>
                    </a:moveTo>
                    <a:lnTo>
                      <a:pt x="289" y="454"/>
                    </a:lnTo>
                    <a:lnTo>
                      <a:pt x="290" y="453"/>
                    </a:lnTo>
                    <a:lnTo>
                      <a:pt x="291" y="453"/>
                    </a:lnTo>
                    <a:lnTo>
                      <a:pt x="291" y="454"/>
                    </a:lnTo>
                    <a:close/>
                    <a:moveTo>
                      <a:pt x="216" y="403"/>
                    </a:moveTo>
                    <a:lnTo>
                      <a:pt x="217" y="403"/>
                    </a:lnTo>
                    <a:lnTo>
                      <a:pt x="217" y="404"/>
                    </a:lnTo>
                    <a:lnTo>
                      <a:pt x="218" y="404"/>
                    </a:lnTo>
                    <a:lnTo>
                      <a:pt x="219" y="404"/>
                    </a:lnTo>
                    <a:lnTo>
                      <a:pt x="218" y="404"/>
                    </a:lnTo>
                    <a:lnTo>
                      <a:pt x="215" y="404"/>
                    </a:lnTo>
                    <a:lnTo>
                      <a:pt x="215" y="403"/>
                    </a:lnTo>
                    <a:lnTo>
                      <a:pt x="216" y="403"/>
                    </a:lnTo>
                    <a:close/>
                    <a:moveTo>
                      <a:pt x="411" y="374"/>
                    </a:moveTo>
                    <a:lnTo>
                      <a:pt x="410" y="374"/>
                    </a:lnTo>
                    <a:lnTo>
                      <a:pt x="410" y="375"/>
                    </a:lnTo>
                    <a:lnTo>
                      <a:pt x="409" y="375"/>
                    </a:lnTo>
                    <a:lnTo>
                      <a:pt x="409" y="374"/>
                    </a:lnTo>
                    <a:lnTo>
                      <a:pt x="409" y="373"/>
                    </a:lnTo>
                    <a:lnTo>
                      <a:pt x="409" y="374"/>
                    </a:lnTo>
                    <a:lnTo>
                      <a:pt x="410" y="374"/>
                    </a:lnTo>
                    <a:lnTo>
                      <a:pt x="411" y="374"/>
                    </a:lnTo>
                    <a:lnTo>
                      <a:pt x="410" y="373"/>
                    </a:lnTo>
                    <a:lnTo>
                      <a:pt x="411" y="373"/>
                    </a:lnTo>
                    <a:lnTo>
                      <a:pt x="411" y="374"/>
                    </a:lnTo>
                    <a:close/>
                    <a:moveTo>
                      <a:pt x="334" y="469"/>
                    </a:moveTo>
                    <a:lnTo>
                      <a:pt x="335" y="469"/>
                    </a:lnTo>
                    <a:lnTo>
                      <a:pt x="335" y="472"/>
                    </a:lnTo>
                    <a:lnTo>
                      <a:pt x="334" y="472"/>
                    </a:lnTo>
                    <a:lnTo>
                      <a:pt x="334" y="469"/>
                    </a:lnTo>
                    <a:close/>
                    <a:moveTo>
                      <a:pt x="173" y="410"/>
                    </a:moveTo>
                    <a:lnTo>
                      <a:pt x="173" y="411"/>
                    </a:lnTo>
                    <a:lnTo>
                      <a:pt x="173" y="412"/>
                    </a:lnTo>
                    <a:lnTo>
                      <a:pt x="173" y="411"/>
                    </a:lnTo>
                    <a:lnTo>
                      <a:pt x="171" y="411"/>
                    </a:lnTo>
                    <a:lnTo>
                      <a:pt x="171" y="412"/>
                    </a:lnTo>
                    <a:lnTo>
                      <a:pt x="171" y="411"/>
                    </a:lnTo>
                    <a:lnTo>
                      <a:pt x="173" y="411"/>
                    </a:lnTo>
                    <a:lnTo>
                      <a:pt x="173" y="410"/>
                    </a:lnTo>
                    <a:lnTo>
                      <a:pt x="171" y="410"/>
                    </a:lnTo>
                    <a:lnTo>
                      <a:pt x="171" y="411"/>
                    </a:lnTo>
                    <a:lnTo>
                      <a:pt x="171" y="410"/>
                    </a:lnTo>
                    <a:lnTo>
                      <a:pt x="170" y="411"/>
                    </a:lnTo>
                    <a:lnTo>
                      <a:pt x="170" y="410"/>
                    </a:lnTo>
                    <a:lnTo>
                      <a:pt x="170" y="411"/>
                    </a:lnTo>
                    <a:lnTo>
                      <a:pt x="169" y="411"/>
                    </a:lnTo>
                    <a:lnTo>
                      <a:pt x="169" y="410"/>
                    </a:lnTo>
                    <a:lnTo>
                      <a:pt x="169" y="411"/>
                    </a:lnTo>
                    <a:lnTo>
                      <a:pt x="169" y="410"/>
                    </a:lnTo>
                    <a:lnTo>
                      <a:pt x="171" y="410"/>
                    </a:lnTo>
                    <a:lnTo>
                      <a:pt x="173" y="410"/>
                    </a:lnTo>
                    <a:close/>
                    <a:moveTo>
                      <a:pt x="233" y="220"/>
                    </a:moveTo>
                    <a:lnTo>
                      <a:pt x="234" y="220"/>
                    </a:lnTo>
                    <a:lnTo>
                      <a:pt x="234" y="221"/>
                    </a:lnTo>
                    <a:lnTo>
                      <a:pt x="234" y="222"/>
                    </a:lnTo>
                    <a:lnTo>
                      <a:pt x="233" y="222"/>
                    </a:lnTo>
                    <a:lnTo>
                      <a:pt x="233" y="221"/>
                    </a:lnTo>
                    <a:lnTo>
                      <a:pt x="233" y="220"/>
                    </a:lnTo>
                    <a:lnTo>
                      <a:pt x="232" y="220"/>
                    </a:lnTo>
                    <a:lnTo>
                      <a:pt x="233" y="220"/>
                    </a:lnTo>
                    <a:close/>
                    <a:moveTo>
                      <a:pt x="426" y="395"/>
                    </a:moveTo>
                    <a:lnTo>
                      <a:pt x="427" y="395"/>
                    </a:lnTo>
                    <a:lnTo>
                      <a:pt x="427" y="396"/>
                    </a:lnTo>
                    <a:lnTo>
                      <a:pt x="427" y="395"/>
                    </a:lnTo>
                    <a:lnTo>
                      <a:pt x="427" y="396"/>
                    </a:lnTo>
                    <a:lnTo>
                      <a:pt x="426" y="396"/>
                    </a:lnTo>
                    <a:lnTo>
                      <a:pt x="427" y="396"/>
                    </a:lnTo>
                    <a:lnTo>
                      <a:pt x="426" y="396"/>
                    </a:lnTo>
                    <a:lnTo>
                      <a:pt x="426" y="395"/>
                    </a:lnTo>
                    <a:lnTo>
                      <a:pt x="425" y="395"/>
                    </a:lnTo>
                    <a:lnTo>
                      <a:pt x="426" y="395"/>
                    </a:lnTo>
                    <a:close/>
                    <a:moveTo>
                      <a:pt x="566" y="545"/>
                    </a:moveTo>
                    <a:lnTo>
                      <a:pt x="568" y="545"/>
                    </a:lnTo>
                    <a:lnTo>
                      <a:pt x="568" y="546"/>
                    </a:lnTo>
                    <a:lnTo>
                      <a:pt x="566" y="546"/>
                    </a:lnTo>
                    <a:lnTo>
                      <a:pt x="566" y="545"/>
                    </a:lnTo>
                    <a:close/>
                    <a:moveTo>
                      <a:pt x="333" y="469"/>
                    </a:moveTo>
                    <a:lnTo>
                      <a:pt x="334" y="469"/>
                    </a:lnTo>
                    <a:lnTo>
                      <a:pt x="334" y="470"/>
                    </a:lnTo>
                    <a:lnTo>
                      <a:pt x="332" y="469"/>
                    </a:lnTo>
                    <a:lnTo>
                      <a:pt x="333" y="469"/>
                    </a:lnTo>
                    <a:lnTo>
                      <a:pt x="333" y="468"/>
                    </a:lnTo>
                    <a:lnTo>
                      <a:pt x="333" y="469"/>
                    </a:lnTo>
                    <a:close/>
                    <a:moveTo>
                      <a:pt x="608" y="507"/>
                    </a:moveTo>
                    <a:lnTo>
                      <a:pt x="609" y="507"/>
                    </a:lnTo>
                    <a:lnTo>
                      <a:pt x="609" y="508"/>
                    </a:lnTo>
                    <a:lnTo>
                      <a:pt x="608" y="508"/>
                    </a:lnTo>
                    <a:lnTo>
                      <a:pt x="608" y="507"/>
                    </a:lnTo>
                    <a:close/>
                    <a:moveTo>
                      <a:pt x="470" y="554"/>
                    </a:moveTo>
                    <a:lnTo>
                      <a:pt x="471" y="554"/>
                    </a:lnTo>
                    <a:lnTo>
                      <a:pt x="470" y="554"/>
                    </a:lnTo>
                    <a:lnTo>
                      <a:pt x="468" y="554"/>
                    </a:lnTo>
                    <a:lnTo>
                      <a:pt x="468" y="555"/>
                    </a:lnTo>
                    <a:lnTo>
                      <a:pt x="468" y="554"/>
                    </a:lnTo>
                    <a:lnTo>
                      <a:pt x="467" y="554"/>
                    </a:lnTo>
                    <a:lnTo>
                      <a:pt x="468" y="554"/>
                    </a:lnTo>
                    <a:lnTo>
                      <a:pt x="468" y="553"/>
                    </a:lnTo>
                    <a:lnTo>
                      <a:pt x="470" y="554"/>
                    </a:lnTo>
                    <a:close/>
                    <a:moveTo>
                      <a:pt x="352" y="459"/>
                    </a:moveTo>
                    <a:lnTo>
                      <a:pt x="351" y="460"/>
                    </a:lnTo>
                    <a:lnTo>
                      <a:pt x="352" y="460"/>
                    </a:lnTo>
                    <a:lnTo>
                      <a:pt x="352" y="461"/>
                    </a:lnTo>
                    <a:lnTo>
                      <a:pt x="351" y="461"/>
                    </a:lnTo>
                    <a:lnTo>
                      <a:pt x="351" y="460"/>
                    </a:lnTo>
                    <a:lnTo>
                      <a:pt x="350" y="460"/>
                    </a:lnTo>
                    <a:lnTo>
                      <a:pt x="351" y="459"/>
                    </a:lnTo>
                    <a:lnTo>
                      <a:pt x="352" y="459"/>
                    </a:lnTo>
                    <a:close/>
                    <a:moveTo>
                      <a:pt x="551" y="545"/>
                    </a:moveTo>
                    <a:lnTo>
                      <a:pt x="552" y="546"/>
                    </a:lnTo>
                    <a:lnTo>
                      <a:pt x="552" y="545"/>
                    </a:lnTo>
                    <a:lnTo>
                      <a:pt x="553" y="545"/>
                    </a:lnTo>
                    <a:lnTo>
                      <a:pt x="552" y="545"/>
                    </a:lnTo>
                    <a:lnTo>
                      <a:pt x="552" y="546"/>
                    </a:lnTo>
                    <a:lnTo>
                      <a:pt x="551" y="546"/>
                    </a:lnTo>
                    <a:lnTo>
                      <a:pt x="550" y="545"/>
                    </a:lnTo>
                    <a:lnTo>
                      <a:pt x="548" y="545"/>
                    </a:lnTo>
                    <a:lnTo>
                      <a:pt x="546" y="545"/>
                    </a:lnTo>
                    <a:lnTo>
                      <a:pt x="546" y="544"/>
                    </a:lnTo>
                    <a:lnTo>
                      <a:pt x="546" y="545"/>
                    </a:lnTo>
                    <a:lnTo>
                      <a:pt x="548" y="545"/>
                    </a:lnTo>
                    <a:lnTo>
                      <a:pt x="550" y="545"/>
                    </a:lnTo>
                    <a:lnTo>
                      <a:pt x="551" y="545"/>
                    </a:lnTo>
                    <a:close/>
                    <a:moveTo>
                      <a:pt x="570" y="456"/>
                    </a:moveTo>
                    <a:lnTo>
                      <a:pt x="571" y="456"/>
                    </a:lnTo>
                    <a:lnTo>
                      <a:pt x="573" y="456"/>
                    </a:lnTo>
                    <a:lnTo>
                      <a:pt x="574" y="456"/>
                    </a:lnTo>
                    <a:lnTo>
                      <a:pt x="573" y="456"/>
                    </a:lnTo>
                    <a:lnTo>
                      <a:pt x="574" y="456"/>
                    </a:lnTo>
                    <a:lnTo>
                      <a:pt x="573" y="457"/>
                    </a:lnTo>
                    <a:lnTo>
                      <a:pt x="573" y="456"/>
                    </a:lnTo>
                    <a:lnTo>
                      <a:pt x="571" y="456"/>
                    </a:lnTo>
                    <a:lnTo>
                      <a:pt x="570" y="456"/>
                    </a:lnTo>
                    <a:lnTo>
                      <a:pt x="569" y="456"/>
                    </a:lnTo>
                    <a:lnTo>
                      <a:pt x="568" y="456"/>
                    </a:lnTo>
                    <a:lnTo>
                      <a:pt x="569" y="456"/>
                    </a:lnTo>
                    <a:lnTo>
                      <a:pt x="570" y="456"/>
                    </a:lnTo>
                    <a:lnTo>
                      <a:pt x="570" y="455"/>
                    </a:lnTo>
                    <a:lnTo>
                      <a:pt x="570" y="456"/>
                    </a:lnTo>
                    <a:close/>
                    <a:moveTo>
                      <a:pt x="334" y="346"/>
                    </a:moveTo>
                    <a:lnTo>
                      <a:pt x="335" y="346"/>
                    </a:lnTo>
                    <a:lnTo>
                      <a:pt x="335" y="348"/>
                    </a:lnTo>
                    <a:lnTo>
                      <a:pt x="334" y="348"/>
                    </a:lnTo>
                    <a:lnTo>
                      <a:pt x="334" y="346"/>
                    </a:lnTo>
                    <a:close/>
                    <a:moveTo>
                      <a:pt x="431" y="657"/>
                    </a:moveTo>
                    <a:lnTo>
                      <a:pt x="432" y="657"/>
                    </a:lnTo>
                    <a:lnTo>
                      <a:pt x="432" y="658"/>
                    </a:lnTo>
                    <a:lnTo>
                      <a:pt x="431" y="658"/>
                    </a:lnTo>
                    <a:lnTo>
                      <a:pt x="431" y="657"/>
                    </a:lnTo>
                    <a:close/>
                    <a:moveTo>
                      <a:pt x="563" y="552"/>
                    </a:moveTo>
                    <a:lnTo>
                      <a:pt x="564" y="553"/>
                    </a:lnTo>
                    <a:lnTo>
                      <a:pt x="564" y="552"/>
                    </a:lnTo>
                    <a:lnTo>
                      <a:pt x="565" y="552"/>
                    </a:lnTo>
                    <a:lnTo>
                      <a:pt x="564" y="552"/>
                    </a:lnTo>
                    <a:lnTo>
                      <a:pt x="564" y="553"/>
                    </a:lnTo>
                    <a:lnTo>
                      <a:pt x="563" y="553"/>
                    </a:lnTo>
                    <a:lnTo>
                      <a:pt x="563" y="552"/>
                    </a:lnTo>
                    <a:lnTo>
                      <a:pt x="563" y="551"/>
                    </a:lnTo>
                    <a:lnTo>
                      <a:pt x="564" y="551"/>
                    </a:lnTo>
                    <a:lnTo>
                      <a:pt x="564" y="552"/>
                    </a:lnTo>
                    <a:lnTo>
                      <a:pt x="563" y="552"/>
                    </a:lnTo>
                    <a:close/>
                    <a:moveTo>
                      <a:pt x="197" y="375"/>
                    </a:moveTo>
                    <a:lnTo>
                      <a:pt x="200" y="375"/>
                    </a:lnTo>
                    <a:lnTo>
                      <a:pt x="200" y="377"/>
                    </a:lnTo>
                    <a:lnTo>
                      <a:pt x="197" y="377"/>
                    </a:lnTo>
                    <a:lnTo>
                      <a:pt x="197" y="375"/>
                    </a:lnTo>
                    <a:close/>
                    <a:moveTo>
                      <a:pt x="412" y="367"/>
                    </a:moveTo>
                    <a:lnTo>
                      <a:pt x="412" y="369"/>
                    </a:lnTo>
                    <a:lnTo>
                      <a:pt x="413" y="369"/>
                    </a:lnTo>
                    <a:lnTo>
                      <a:pt x="412" y="369"/>
                    </a:lnTo>
                    <a:lnTo>
                      <a:pt x="410" y="369"/>
                    </a:lnTo>
                    <a:lnTo>
                      <a:pt x="411" y="369"/>
                    </a:lnTo>
                    <a:lnTo>
                      <a:pt x="412" y="367"/>
                    </a:lnTo>
                    <a:close/>
                    <a:moveTo>
                      <a:pt x="256" y="398"/>
                    </a:moveTo>
                    <a:lnTo>
                      <a:pt x="255" y="398"/>
                    </a:lnTo>
                    <a:lnTo>
                      <a:pt x="254" y="398"/>
                    </a:lnTo>
                    <a:lnTo>
                      <a:pt x="254" y="397"/>
                    </a:lnTo>
                    <a:lnTo>
                      <a:pt x="255" y="397"/>
                    </a:lnTo>
                    <a:lnTo>
                      <a:pt x="256" y="397"/>
                    </a:lnTo>
                    <a:lnTo>
                      <a:pt x="256" y="398"/>
                    </a:lnTo>
                    <a:close/>
                    <a:moveTo>
                      <a:pt x="196" y="395"/>
                    </a:moveTo>
                    <a:lnTo>
                      <a:pt x="197" y="395"/>
                    </a:lnTo>
                    <a:lnTo>
                      <a:pt x="197" y="397"/>
                    </a:lnTo>
                    <a:lnTo>
                      <a:pt x="196" y="397"/>
                    </a:lnTo>
                    <a:lnTo>
                      <a:pt x="196" y="395"/>
                    </a:lnTo>
                    <a:close/>
                    <a:moveTo>
                      <a:pt x="410" y="369"/>
                    </a:moveTo>
                    <a:lnTo>
                      <a:pt x="410" y="370"/>
                    </a:lnTo>
                    <a:lnTo>
                      <a:pt x="409" y="370"/>
                    </a:lnTo>
                    <a:lnTo>
                      <a:pt x="408" y="370"/>
                    </a:lnTo>
                    <a:lnTo>
                      <a:pt x="409" y="370"/>
                    </a:lnTo>
                    <a:lnTo>
                      <a:pt x="410" y="370"/>
                    </a:lnTo>
                    <a:lnTo>
                      <a:pt x="410" y="369"/>
                    </a:lnTo>
                    <a:lnTo>
                      <a:pt x="410" y="370"/>
                    </a:lnTo>
                    <a:lnTo>
                      <a:pt x="409" y="370"/>
                    </a:lnTo>
                    <a:lnTo>
                      <a:pt x="409" y="369"/>
                    </a:lnTo>
                    <a:lnTo>
                      <a:pt x="409" y="370"/>
                    </a:lnTo>
                    <a:lnTo>
                      <a:pt x="409" y="369"/>
                    </a:lnTo>
                    <a:lnTo>
                      <a:pt x="410" y="369"/>
                    </a:lnTo>
                    <a:close/>
                    <a:moveTo>
                      <a:pt x="341" y="466"/>
                    </a:moveTo>
                    <a:lnTo>
                      <a:pt x="339" y="466"/>
                    </a:lnTo>
                    <a:lnTo>
                      <a:pt x="339" y="465"/>
                    </a:lnTo>
                    <a:lnTo>
                      <a:pt x="341" y="465"/>
                    </a:lnTo>
                    <a:lnTo>
                      <a:pt x="341" y="464"/>
                    </a:lnTo>
                    <a:lnTo>
                      <a:pt x="342" y="464"/>
                    </a:lnTo>
                    <a:lnTo>
                      <a:pt x="341" y="465"/>
                    </a:lnTo>
                    <a:lnTo>
                      <a:pt x="341" y="466"/>
                    </a:lnTo>
                    <a:close/>
                    <a:moveTo>
                      <a:pt x="126" y="395"/>
                    </a:moveTo>
                    <a:lnTo>
                      <a:pt x="125" y="395"/>
                    </a:lnTo>
                    <a:lnTo>
                      <a:pt x="125" y="396"/>
                    </a:lnTo>
                    <a:lnTo>
                      <a:pt x="126" y="396"/>
                    </a:lnTo>
                    <a:lnTo>
                      <a:pt x="125" y="397"/>
                    </a:lnTo>
                    <a:lnTo>
                      <a:pt x="125" y="396"/>
                    </a:lnTo>
                    <a:lnTo>
                      <a:pt x="125" y="395"/>
                    </a:lnTo>
                    <a:lnTo>
                      <a:pt x="126" y="395"/>
                    </a:lnTo>
                    <a:close/>
                    <a:moveTo>
                      <a:pt x="158" y="399"/>
                    </a:moveTo>
                    <a:lnTo>
                      <a:pt x="158" y="400"/>
                    </a:lnTo>
                    <a:lnTo>
                      <a:pt x="157" y="400"/>
                    </a:lnTo>
                    <a:lnTo>
                      <a:pt x="157" y="399"/>
                    </a:lnTo>
                    <a:lnTo>
                      <a:pt x="158" y="399"/>
                    </a:lnTo>
                    <a:lnTo>
                      <a:pt x="158" y="398"/>
                    </a:lnTo>
                    <a:lnTo>
                      <a:pt x="160" y="398"/>
                    </a:lnTo>
                    <a:lnTo>
                      <a:pt x="160" y="399"/>
                    </a:lnTo>
                    <a:lnTo>
                      <a:pt x="158" y="399"/>
                    </a:lnTo>
                    <a:close/>
                    <a:moveTo>
                      <a:pt x="269" y="396"/>
                    </a:moveTo>
                    <a:lnTo>
                      <a:pt x="271" y="396"/>
                    </a:lnTo>
                    <a:lnTo>
                      <a:pt x="271" y="397"/>
                    </a:lnTo>
                    <a:lnTo>
                      <a:pt x="269" y="397"/>
                    </a:lnTo>
                    <a:lnTo>
                      <a:pt x="269" y="396"/>
                    </a:lnTo>
                    <a:close/>
                    <a:moveTo>
                      <a:pt x="210" y="414"/>
                    </a:moveTo>
                    <a:lnTo>
                      <a:pt x="207" y="414"/>
                    </a:lnTo>
                    <a:lnTo>
                      <a:pt x="210" y="414"/>
                    </a:lnTo>
                    <a:close/>
                    <a:moveTo>
                      <a:pt x="558" y="542"/>
                    </a:moveTo>
                    <a:lnTo>
                      <a:pt x="560" y="542"/>
                    </a:lnTo>
                    <a:lnTo>
                      <a:pt x="560" y="543"/>
                    </a:lnTo>
                    <a:lnTo>
                      <a:pt x="558" y="543"/>
                    </a:lnTo>
                    <a:lnTo>
                      <a:pt x="558" y="542"/>
                    </a:lnTo>
                    <a:close/>
                    <a:moveTo>
                      <a:pt x="497" y="575"/>
                    </a:moveTo>
                    <a:lnTo>
                      <a:pt x="498" y="575"/>
                    </a:lnTo>
                    <a:lnTo>
                      <a:pt x="499" y="575"/>
                    </a:lnTo>
                    <a:lnTo>
                      <a:pt x="498" y="575"/>
                    </a:lnTo>
                    <a:lnTo>
                      <a:pt x="497" y="575"/>
                    </a:lnTo>
                    <a:lnTo>
                      <a:pt x="496" y="575"/>
                    </a:lnTo>
                    <a:lnTo>
                      <a:pt x="496" y="573"/>
                    </a:lnTo>
                    <a:lnTo>
                      <a:pt x="496" y="572"/>
                    </a:lnTo>
                    <a:lnTo>
                      <a:pt x="496" y="571"/>
                    </a:lnTo>
                    <a:lnTo>
                      <a:pt x="497" y="572"/>
                    </a:lnTo>
                    <a:lnTo>
                      <a:pt x="496" y="572"/>
                    </a:lnTo>
                    <a:lnTo>
                      <a:pt x="496" y="573"/>
                    </a:lnTo>
                    <a:lnTo>
                      <a:pt x="496" y="575"/>
                    </a:lnTo>
                    <a:lnTo>
                      <a:pt x="497" y="575"/>
                    </a:lnTo>
                    <a:close/>
                    <a:moveTo>
                      <a:pt x="226" y="222"/>
                    </a:moveTo>
                    <a:lnTo>
                      <a:pt x="228" y="222"/>
                    </a:lnTo>
                    <a:lnTo>
                      <a:pt x="228" y="223"/>
                    </a:lnTo>
                    <a:lnTo>
                      <a:pt x="226" y="223"/>
                    </a:lnTo>
                    <a:lnTo>
                      <a:pt x="226" y="222"/>
                    </a:lnTo>
                    <a:close/>
                    <a:moveTo>
                      <a:pt x="476" y="430"/>
                    </a:moveTo>
                    <a:lnTo>
                      <a:pt x="475" y="430"/>
                    </a:lnTo>
                    <a:lnTo>
                      <a:pt x="475" y="431"/>
                    </a:lnTo>
                    <a:lnTo>
                      <a:pt x="474" y="431"/>
                    </a:lnTo>
                    <a:lnTo>
                      <a:pt x="474" y="430"/>
                    </a:lnTo>
                    <a:lnTo>
                      <a:pt x="475" y="430"/>
                    </a:lnTo>
                    <a:lnTo>
                      <a:pt x="476" y="430"/>
                    </a:lnTo>
                    <a:close/>
                    <a:moveTo>
                      <a:pt x="574" y="567"/>
                    </a:moveTo>
                    <a:lnTo>
                      <a:pt x="575" y="567"/>
                    </a:lnTo>
                    <a:lnTo>
                      <a:pt x="575" y="568"/>
                    </a:lnTo>
                    <a:lnTo>
                      <a:pt x="574" y="568"/>
                    </a:lnTo>
                    <a:lnTo>
                      <a:pt x="574" y="567"/>
                    </a:lnTo>
                    <a:close/>
                    <a:moveTo>
                      <a:pt x="238" y="235"/>
                    </a:moveTo>
                    <a:lnTo>
                      <a:pt x="238" y="236"/>
                    </a:lnTo>
                    <a:lnTo>
                      <a:pt x="239" y="236"/>
                    </a:lnTo>
                    <a:lnTo>
                      <a:pt x="238" y="236"/>
                    </a:lnTo>
                    <a:lnTo>
                      <a:pt x="238" y="235"/>
                    </a:lnTo>
                    <a:lnTo>
                      <a:pt x="236" y="235"/>
                    </a:lnTo>
                    <a:lnTo>
                      <a:pt x="238" y="235"/>
                    </a:lnTo>
                    <a:lnTo>
                      <a:pt x="236" y="235"/>
                    </a:lnTo>
                    <a:lnTo>
                      <a:pt x="236" y="234"/>
                    </a:lnTo>
                    <a:lnTo>
                      <a:pt x="238" y="234"/>
                    </a:lnTo>
                    <a:lnTo>
                      <a:pt x="238" y="235"/>
                    </a:lnTo>
                    <a:close/>
                    <a:moveTo>
                      <a:pt x="448" y="636"/>
                    </a:moveTo>
                    <a:lnTo>
                      <a:pt x="447" y="637"/>
                    </a:lnTo>
                    <a:lnTo>
                      <a:pt x="447" y="636"/>
                    </a:lnTo>
                    <a:lnTo>
                      <a:pt x="448" y="636"/>
                    </a:lnTo>
                    <a:lnTo>
                      <a:pt x="449" y="636"/>
                    </a:lnTo>
                    <a:lnTo>
                      <a:pt x="449" y="635"/>
                    </a:lnTo>
                    <a:lnTo>
                      <a:pt x="450" y="633"/>
                    </a:lnTo>
                    <a:lnTo>
                      <a:pt x="451" y="631"/>
                    </a:lnTo>
                    <a:lnTo>
                      <a:pt x="452" y="628"/>
                    </a:lnTo>
                    <a:lnTo>
                      <a:pt x="452" y="629"/>
                    </a:lnTo>
                    <a:lnTo>
                      <a:pt x="451" y="629"/>
                    </a:lnTo>
                    <a:lnTo>
                      <a:pt x="450" y="632"/>
                    </a:lnTo>
                    <a:lnTo>
                      <a:pt x="450" y="633"/>
                    </a:lnTo>
                    <a:lnTo>
                      <a:pt x="450" y="634"/>
                    </a:lnTo>
                    <a:lnTo>
                      <a:pt x="449" y="634"/>
                    </a:lnTo>
                    <a:lnTo>
                      <a:pt x="449" y="635"/>
                    </a:lnTo>
                    <a:lnTo>
                      <a:pt x="448" y="636"/>
                    </a:lnTo>
                    <a:close/>
                    <a:moveTo>
                      <a:pt x="233" y="209"/>
                    </a:moveTo>
                    <a:lnTo>
                      <a:pt x="233" y="210"/>
                    </a:lnTo>
                    <a:lnTo>
                      <a:pt x="232" y="210"/>
                    </a:lnTo>
                    <a:lnTo>
                      <a:pt x="232" y="209"/>
                    </a:lnTo>
                    <a:lnTo>
                      <a:pt x="232" y="210"/>
                    </a:lnTo>
                    <a:lnTo>
                      <a:pt x="231" y="210"/>
                    </a:lnTo>
                    <a:lnTo>
                      <a:pt x="230" y="210"/>
                    </a:lnTo>
                    <a:lnTo>
                      <a:pt x="231" y="210"/>
                    </a:lnTo>
                    <a:lnTo>
                      <a:pt x="231" y="209"/>
                    </a:lnTo>
                    <a:lnTo>
                      <a:pt x="231" y="210"/>
                    </a:lnTo>
                    <a:lnTo>
                      <a:pt x="232" y="210"/>
                    </a:lnTo>
                    <a:lnTo>
                      <a:pt x="232" y="209"/>
                    </a:lnTo>
                    <a:lnTo>
                      <a:pt x="233" y="209"/>
                    </a:lnTo>
                    <a:close/>
                    <a:moveTo>
                      <a:pt x="309" y="412"/>
                    </a:moveTo>
                    <a:lnTo>
                      <a:pt x="310" y="412"/>
                    </a:lnTo>
                    <a:lnTo>
                      <a:pt x="310" y="413"/>
                    </a:lnTo>
                    <a:lnTo>
                      <a:pt x="309" y="413"/>
                    </a:lnTo>
                    <a:lnTo>
                      <a:pt x="309" y="412"/>
                    </a:lnTo>
                    <a:close/>
                    <a:moveTo>
                      <a:pt x="489" y="423"/>
                    </a:moveTo>
                    <a:lnTo>
                      <a:pt x="489" y="424"/>
                    </a:lnTo>
                    <a:lnTo>
                      <a:pt x="488" y="423"/>
                    </a:lnTo>
                    <a:lnTo>
                      <a:pt x="488" y="424"/>
                    </a:lnTo>
                    <a:lnTo>
                      <a:pt x="488" y="423"/>
                    </a:lnTo>
                    <a:lnTo>
                      <a:pt x="487" y="423"/>
                    </a:lnTo>
                    <a:lnTo>
                      <a:pt x="486" y="423"/>
                    </a:lnTo>
                    <a:lnTo>
                      <a:pt x="487" y="423"/>
                    </a:lnTo>
                    <a:lnTo>
                      <a:pt x="488" y="423"/>
                    </a:lnTo>
                    <a:lnTo>
                      <a:pt x="489" y="423"/>
                    </a:lnTo>
                    <a:lnTo>
                      <a:pt x="489" y="424"/>
                    </a:lnTo>
                    <a:lnTo>
                      <a:pt x="489" y="423"/>
                    </a:lnTo>
                    <a:lnTo>
                      <a:pt x="490" y="423"/>
                    </a:lnTo>
                    <a:lnTo>
                      <a:pt x="489" y="423"/>
                    </a:lnTo>
                    <a:lnTo>
                      <a:pt x="490" y="423"/>
                    </a:lnTo>
                    <a:lnTo>
                      <a:pt x="489" y="423"/>
                    </a:lnTo>
                    <a:close/>
                    <a:moveTo>
                      <a:pt x="498" y="576"/>
                    </a:moveTo>
                    <a:lnTo>
                      <a:pt x="497" y="576"/>
                    </a:lnTo>
                    <a:lnTo>
                      <a:pt x="496" y="576"/>
                    </a:lnTo>
                    <a:lnTo>
                      <a:pt x="498" y="576"/>
                    </a:lnTo>
                    <a:lnTo>
                      <a:pt x="498" y="575"/>
                    </a:lnTo>
                    <a:lnTo>
                      <a:pt x="498" y="576"/>
                    </a:lnTo>
                    <a:close/>
                    <a:moveTo>
                      <a:pt x="129" y="389"/>
                    </a:moveTo>
                    <a:lnTo>
                      <a:pt x="130" y="389"/>
                    </a:lnTo>
                    <a:lnTo>
                      <a:pt x="130" y="391"/>
                    </a:lnTo>
                    <a:lnTo>
                      <a:pt x="129" y="391"/>
                    </a:lnTo>
                    <a:lnTo>
                      <a:pt x="129" y="389"/>
                    </a:lnTo>
                    <a:close/>
                    <a:moveTo>
                      <a:pt x="244" y="247"/>
                    </a:moveTo>
                    <a:lnTo>
                      <a:pt x="244" y="248"/>
                    </a:lnTo>
                    <a:lnTo>
                      <a:pt x="244" y="249"/>
                    </a:lnTo>
                    <a:lnTo>
                      <a:pt x="244" y="250"/>
                    </a:lnTo>
                    <a:lnTo>
                      <a:pt x="244" y="249"/>
                    </a:lnTo>
                    <a:lnTo>
                      <a:pt x="244" y="248"/>
                    </a:lnTo>
                    <a:lnTo>
                      <a:pt x="244" y="247"/>
                    </a:lnTo>
                    <a:lnTo>
                      <a:pt x="243" y="247"/>
                    </a:lnTo>
                    <a:lnTo>
                      <a:pt x="244" y="247"/>
                    </a:lnTo>
                    <a:close/>
                    <a:moveTo>
                      <a:pt x="226" y="404"/>
                    </a:moveTo>
                    <a:lnTo>
                      <a:pt x="228" y="404"/>
                    </a:lnTo>
                    <a:lnTo>
                      <a:pt x="228" y="405"/>
                    </a:lnTo>
                    <a:lnTo>
                      <a:pt x="226" y="405"/>
                    </a:lnTo>
                    <a:lnTo>
                      <a:pt x="226" y="404"/>
                    </a:lnTo>
                    <a:close/>
                    <a:moveTo>
                      <a:pt x="264" y="243"/>
                    </a:moveTo>
                    <a:lnTo>
                      <a:pt x="264" y="244"/>
                    </a:lnTo>
                    <a:lnTo>
                      <a:pt x="262" y="244"/>
                    </a:lnTo>
                    <a:lnTo>
                      <a:pt x="264" y="244"/>
                    </a:lnTo>
                    <a:lnTo>
                      <a:pt x="262" y="244"/>
                    </a:lnTo>
                    <a:lnTo>
                      <a:pt x="262" y="243"/>
                    </a:lnTo>
                    <a:lnTo>
                      <a:pt x="264" y="243"/>
                    </a:lnTo>
                    <a:lnTo>
                      <a:pt x="264" y="242"/>
                    </a:lnTo>
                    <a:lnTo>
                      <a:pt x="264" y="243"/>
                    </a:lnTo>
                    <a:close/>
                    <a:moveTo>
                      <a:pt x="217" y="408"/>
                    </a:moveTo>
                    <a:lnTo>
                      <a:pt x="219" y="408"/>
                    </a:lnTo>
                    <a:lnTo>
                      <a:pt x="219" y="410"/>
                    </a:lnTo>
                    <a:lnTo>
                      <a:pt x="217" y="410"/>
                    </a:lnTo>
                    <a:lnTo>
                      <a:pt x="217" y="408"/>
                    </a:lnTo>
                    <a:close/>
                    <a:moveTo>
                      <a:pt x="280" y="433"/>
                    </a:moveTo>
                    <a:lnTo>
                      <a:pt x="280" y="434"/>
                    </a:lnTo>
                    <a:lnTo>
                      <a:pt x="279" y="434"/>
                    </a:lnTo>
                    <a:lnTo>
                      <a:pt x="279" y="433"/>
                    </a:lnTo>
                    <a:lnTo>
                      <a:pt x="279" y="434"/>
                    </a:lnTo>
                    <a:lnTo>
                      <a:pt x="279" y="433"/>
                    </a:lnTo>
                    <a:lnTo>
                      <a:pt x="280" y="433"/>
                    </a:lnTo>
                    <a:close/>
                    <a:moveTo>
                      <a:pt x="475" y="353"/>
                    </a:moveTo>
                    <a:lnTo>
                      <a:pt x="476" y="353"/>
                    </a:lnTo>
                    <a:lnTo>
                      <a:pt x="476" y="354"/>
                    </a:lnTo>
                    <a:lnTo>
                      <a:pt x="475" y="354"/>
                    </a:lnTo>
                    <a:lnTo>
                      <a:pt x="475" y="353"/>
                    </a:lnTo>
                    <a:close/>
                    <a:moveTo>
                      <a:pt x="227" y="210"/>
                    </a:moveTo>
                    <a:lnTo>
                      <a:pt x="227" y="211"/>
                    </a:lnTo>
                    <a:lnTo>
                      <a:pt x="226" y="211"/>
                    </a:lnTo>
                    <a:lnTo>
                      <a:pt x="226" y="210"/>
                    </a:lnTo>
                    <a:lnTo>
                      <a:pt x="226" y="211"/>
                    </a:lnTo>
                    <a:lnTo>
                      <a:pt x="226" y="210"/>
                    </a:lnTo>
                    <a:lnTo>
                      <a:pt x="227" y="210"/>
                    </a:lnTo>
                    <a:lnTo>
                      <a:pt x="228" y="210"/>
                    </a:lnTo>
                    <a:lnTo>
                      <a:pt x="227" y="210"/>
                    </a:lnTo>
                    <a:close/>
                    <a:moveTo>
                      <a:pt x="565" y="513"/>
                    </a:moveTo>
                    <a:lnTo>
                      <a:pt x="565" y="512"/>
                    </a:lnTo>
                    <a:lnTo>
                      <a:pt x="566" y="512"/>
                    </a:lnTo>
                    <a:lnTo>
                      <a:pt x="565" y="513"/>
                    </a:lnTo>
                    <a:close/>
                    <a:moveTo>
                      <a:pt x="558" y="532"/>
                    </a:moveTo>
                    <a:lnTo>
                      <a:pt x="560" y="532"/>
                    </a:lnTo>
                    <a:lnTo>
                      <a:pt x="560" y="533"/>
                    </a:lnTo>
                    <a:lnTo>
                      <a:pt x="558" y="533"/>
                    </a:lnTo>
                    <a:lnTo>
                      <a:pt x="558" y="532"/>
                    </a:lnTo>
                    <a:close/>
                    <a:moveTo>
                      <a:pt x="183" y="357"/>
                    </a:moveTo>
                    <a:lnTo>
                      <a:pt x="182" y="361"/>
                    </a:lnTo>
                    <a:lnTo>
                      <a:pt x="182" y="360"/>
                    </a:lnTo>
                    <a:lnTo>
                      <a:pt x="182" y="358"/>
                    </a:lnTo>
                    <a:lnTo>
                      <a:pt x="181" y="358"/>
                    </a:lnTo>
                    <a:lnTo>
                      <a:pt x="181" y="357"/>
                    </a:lnTo>
                    <a:lnTo>
                      <a:pt x="182" y="358"/>
                    </a:lnTo>
                    <a:lnTo>
                      <a:pt x="182" y="360"/>
                    </a:lnTo>
                    <a:lnTo>
                      <a:pt x="182" y="361"/>
                    </a:lnTo>
                    <a:lnTo>
                      <a:pt x="183" y="358"/>
                    </a:lnTo>
                    <a:lnTo>
                      <a:pt x="183" y="357"/>
                    </a:lnTo>
                    <a:close/>
                    <a:moveTo>
                      <a:pt x="209" y="408"/>
                    </a:moveTo>
                    <a:lnTo>
                      <a:pt x="210" y="408"/>
                    </a:lnTo>
                    <a:lnTo>
                      <a:pt x="210" y="409"/>
                    </a:lnTo>
                    <a:lnTo>
                      <a:pt x="209" y="409"/>
                    </a:lnTo>
                    <a:lnTo>
                      <a:pt x="209" y="408"/>
                    </a:lnTo>
                    <a:close/>
                    <a:moveTo>
                      <a:pt x="208" y="413"/>
                    </a:moveTo>
                    <a:lnTo>
                      <a:pt x="209" y="413"/>
                    </a:lnTo>
                    <a:lnTo>
                      <a:pt x="212" y="413"/>
                    </a:lnTo>
                    <a:lnTo>
                      <a:pt x="210" y="414"/>
                    </a:lnTo>
                    <a:lnTo>
                      <a:pt x="208" y="414"/>
                    </a:lnTo>
                    <a:lnTo>
                      <a:pt x="208" y="413"/>
                    </a:lnTo>
                    <a:close/>
                    <a:moveTo>
                      <a:pt x="236" y="405"/>
                    </a:moveTo>
                    <a:lnTo>
                      <a:pt x="235" y="405"/>
                    </a:lnTo>
                    <a:lnTo>
                      <a:pt x="235" y="406"/>
                    </a:lnTo>
                    <a:lnTo>
                      <a:pt x="235" y="405"/>
                    </a:lnTo>
                    <a:lnTo>
                      <a:pt x="234" y="405"/>
                    </a:lnTo>
                    <a:lnTo>
                      <a:pt x="235" y="404"/>
                    </a:lnTo>
                    <a:lnTo>
                      <a:pt x="236" y="404"/>
                    </a:lnTo>
                    <a:lnTo>
                      <a:pt x="235" y="404"/>
                    </a:lnTo>
                    <a:lnTo>
                      <a:pt x="236" y="405"/>
                    </a:lnTo>
                    <a:close/>
                    <a:moveTo>
                      <a:pt x="548" y="536"/>
                    </a:moveTo>
                    <a:lnTo>
                      <a:pt x="550" y="536"/>
                    </a:lnTo>
                    <a:lnTo>
                      <a:pt x="550" y="537"/>
                    </a:lnTo>
                    <a:lnTo>
                      <a:pt x="548" y="537"/>
                    </a:lnTo>
                    <a:lnTo>
                      <a:pt x="548" y="536"/>
                    </a:lnTo>
                    <a:close/>
                    <a:moveTo>
                      <a:pt x="403" y="375"/>
                    </a:moveTo>
                    <a:lnTo>
                      <a:pt x="404" y="375"/>
                    </a:lnTo>
                    <a:lnTo>
                      <a:pt x="403" y="375"/>
                    </a:lnTo>
                    <a:lnTo>
                      <a:pt x="403" y="373"/>
                    </a:lnTo>
                    <a:lnTo>
                      <a:pt x="404" y="372"/>
                    </a:lnTo>
                    <a:lnTo>
                      <a:pt x="406" y="372"/>
                    </a:lnTo>
                    <a:lnTo>
                      <a:pt x="404" y="372"/>
                    </a:lnTo>
                    <a:lnTo>
                      <a:pt x="404" y="373"/>
                    </a:lnTo>
                    <a:lnTo>
                      <a:pt x="403" y="374"/>
                    </a:lnTo>
                    <a:lnTo>
                      <a:pt x="403" y="375"/>
                    </a:lnTo>
                    <a:close/>
                    <a:moveTo>
                      <a:pt x="320" y="455"/>
                    </a:moveTo>
                    <a:lnTo>
                      <a:pt x="321" y="455"/>
                    </a:lnTo>
                    <a:lnTo>
                      <a:pt x="322" y="455"/>
                    </a:lnTo>
                    <a:lnTo>
                      <a:pt x="322" y="456"/>
                    </a:lnTo>
                    <a:lnTo>
                      <a:pt x="321" y="456"/>
                    </a:lnTo>
                    <a:lnTo>
                      <a:pt x="320" y="456"/>
                    </a:lnTo>
                    <a:lnTo>
                      <a:pt x="319" y="456"/>
                    </a:lnTo>
                    <a:lnTo>
                      <a:pt x="320" y="455"/>
                    </a:lnTo>
                    <a:close/>
                    <a:moveTo>
                      <a:pt x="186" y="404"/>
                    </a:moveTo>
                    <a:lnTo>
                      <a:pt x="187" y="404"/>
                    </a:lnTo>
                    <a:lnTo>
                      <a:pt x="187" y="406"/>
                    </a:lnTo>
                    <a:lnTo>
                      <a:pt x="186" y="406"/>
                    </a:lnTo>
                    <a:lnTo>
                      <a:pt x="186" y="404"/>
                    </a:lnTo>
                    <a:close/>
                    <a:moveTo>
                      <a:pt x="425" y="367"/>
                    </a:moveTo>
                    <a:lnTo>
                      <a:pt x="426" y="367"/>
                    </a:lnTo>
                    <a:lnTo>
                      <a:pt x="426" y="369"/>
                    </a:lnTo>
                    <a:lnTo>
                      <a:pt x="425" y="369"/>
                    </a:lnTo>
                    <a:lnTo>
                      <a:pt x="425" y="367"/>
                    </a:lnTo>
                    <a:close/>
                    <a:moveTo>
                      <a:pt x="345" y="460"/>
                    </a:moveTo>
                    <a:lnTo>
                      <a:pt x="344" y="461"/>
                    </a:lnTo>
                    <a:lnTo>
                      <a:pt x="344" y="460"/>
                    </a:lnTo>
                    <a:lnTo>
                      <a:pt x="343" y="460"/>
                    </a:lnTo>
                    <a:lnTo>
                      <a:pt x="343" y="461"/>
                    </a:lnTo>
                    <a:lnTo>
                      <a:pt x="343" y="460"/>
                    </a:lnTo>
                    <a:lnTo>
                      <a:pt x="344" y="460"/>
                    </a:lnTo>
                    <a:lnTo>
                      <a:pt x="344" y="459"/>
                    </a:lnTo>
                    <a:lnTo>
                      <a:pt x="345" y="459"/>
                    </a:lnTo>
                    <a:lnTo>
                      <a:pt x="345" y="460"/>
                    </a:lnTo>
                    <a:close/>
                    <a:moveTo>
                      <a:pt x="571" y="448"/>
                    </a:moveTo>
                    <a:lnTo>
                      <a:pt x="570" y="449"/>
                    </a:lnTo>
                    <a:lnTo>
                      <a:pt x="569" y="449"/>
                    </a:lnTo>
                    <a:lnTo>
                      <a:pt x="568" y="451"/>
                    </a:lnTo>
                    <a:lnTo>
                      <a:pt x="567" y="451"/>
                    </a:lnTo>
                    <a:lnTo>
                      <a:pt x="568" y="449"/>
                    </a:lnTo>
                    <a:lnTo>
                      <a:pt x="569" y="449"/>
                    </a:lnTo>
                    <a:lnTo>
                      <a:pt x="570" y="449"/>
                    </a:lnTo>
                    <a:lnTo>
                      <a:pt x="570" y="448"/>
                    </a:lnTo>
                    <a:lnTo>
                      <a:pt x="570" y="449"/>
                    </a:lnTo>
                    <a:lnTo>
                      <a:pt x="571" y="448"/>
                    </a:lnTo>
                    <a:close/>
                    <a:moveTo>
                      <a:pt x="206" y="412"/>
                    </a:moveTo>
                    <a:lnTo>
                      <a:pt x="208" y="412"/>
                    </a:lnTo>
                    <a:lnTo>
                      <a:pt x="208" y="413"/>
                    </a:lnTo>
                    <a:lnTo>
                      <a:pt x="206" y="413"/>
                    </a:lnTo>
                    <a:lnTo>
                      <a:pt x="206" y="412"/>
                    </a:lnTo>
                    <a:close/>
                    <a:moveTo>
                      <a:pt x="569" y="639"/>
                    </a:moveTo>
                    <a:lnTo>
                      <a:pt x="570" y="640"/>
                    </a:lnTo>
                    <a:lnTo>
                      <a:pt x="571" y="640"/>
                    </a:lnTo>
                    <a:lnTo>
                      <a:pt x="571" y="641"/>
                    </a:lnTo>
                    <a:lnTo>
                      <a:pt x="570" y="640"/>
                    </a:lnTo>
                    <a:lnTo>
                      <a:pt x="570" y="641"/>
                    </a:lnTo>
                    <a:lnTo>
                      <a:pt x="571" y="641"/>
                    </a:lnTo>
                    <a:lnTo>
                      <a:pt x="571" y="642"/>
                    </a:lnTo>
                    <a:lnTo>
                      <a:pt x="570" y="641"/>
                    </a:lnTo>
                    <a:lnTo>
                      <a:pt x="570" y="640"/>
                    </a:lnTo>
                    <a:lnTo>
                      <a:pt x="569" y="640"/>
                    </a:lnTo>
                    <a:lnTo>
                      <a:pt x="569" y="639"/>
                    </a:lnTo>
                    <a:close/>
                    <a:moveTo>
                      <a:pt x="221" y="415"/>
                    </a:moveTo>
                    <a:lnTo>
                      <a:pt x="215" y="414"/>
                    </a:lnTo>
                    <a:lnTo>
                      <a:pt x="216" y="414"/>
                    </a:lnTo>
                    <a:lnTo>
                      <a:pt x="221" y="415"/>
                    </a:lnTo>
                    <a:close/>
                    <a:moveTo>
                      <a:pt x="335" y="343"/>
                    </a:moveTo>
                    <a:lnTo>
                      <a:pt x="336" y="343"/>
                    </a:lnTo>
                    <a:lnTo>
                      <a:pt x="336" y="345"/>
                    </a:lnTo>
                    <a:lnTo>
                      <a:pt x="335" y="345"/>
                    </a:lnTo>
                    <a:lnTo>
                      <a:pt x="335" y="343"/>
                    </a:lnTo>
                    <a:close/>
                    <a:moveTo>
                      <a:pt x="554" y="521"/>
                    </a:moveTo>
                    <a:lnTo>
                      <a:pt x="553" y="521"/>
                    </a:lnTo>
                    <a:lnTo>
                      <a:pt x="552" y="523"/>
                    </a:lnTo>
                    <a:lnTo>
                      <a:pt x="552" y="521"/>
                    </a:lnTo>
                    <a:lnTo>
                      <a:pt x="553" y="521"/>
                    </a:lnTo>
                    <a:lnTo>
                      <a:pt x="554" y="521"/>
                    </a:lnTo>
                    <a:close/>
                    <a:moveTo>
                      <a:pt x="183" y="345"/>
                    </a:moveTo>
                    <a:lnTo>
                      <a:pt x="184" y="345"/>
                    </a:lnTo>
                    <a:lnTo>
                      <a:pt x="184" y="346"/>
                    </a:lnTo>
                    <a:lnTo>
                      <a:pt x="183" y="346"/>
                    </a:lnTo>
                    <a:lnTo>
                      <a:pt x="183" y="345"/>
                    </a:lnTo>
                    <a:close/>
                    <a:moveTo>
                      <a:pt x="454" y="528"/>
                    </a:moveTo>
                    <a:lnTo>
                      <a:pt x="455" y="529"/>
                    </a:lnTo>
                    <a:lnTo>
                      <a:pt x="454" y="528"/>
                    </a:lnTo>
                    <a:lnTo>
                      <a:pt x="452" y="530"/>
                    </a:lnTo>
                    <a:lnTo>
                      <a:pt x="453" y="530"/>
                    </a:lnTo>
                    <a:lnTo>
                      <a:pt x="453" y="531"/>
                    </a:lnTo>
                    <a:lnTo>
                      <a:pt x="452" y="531"/>
                    </a:lnTo>
                    <a:lnTo>
                      <a:pt x="453" y="531"/>
                    </a:lnTo>
                    <a:lnTo>
                      <a:pt x="452" y="531"/>
                    </a:lnTo>
                    <a:lnTo>
                      <a:pt x="452" y="530"/>
                    </a:lnTo>
                    <a:lnTo>
                      <a:pt x="454" y="528"/>
                    </a:lnTo>
                    <a:close/>
                    <a:moveTo>
                      <a:pt x="546" y="555"/>
                    </a:moveTo>
                    <a:lnTo>
                      <a:pt x="546" y="556"/>
                    </a:lnTo>
                    <a:lnTo>
                      <a:pt x="546" y="555"/>
                    </a:lnTo>
                    <a:lnTo>
                      <a:pt x="545" y="555"/>
                    </a:lnTo>
                    <a:lnTo>
                      <a:pt x="544" y="555"/>
                    </a:lnTo>
                    <a:lnTo>
                      <a:pt x="544" y="556"/>
                    </a:lnTo>
                    <a:lnTo>
                      <a:pt x="543" y="556"/>
                    </a:lnTo>
                    <a:lnTo>
                      <a:pt x="545" y="555"/>
                    </a:lnTo>
                    <a:lnTo>
                      <a:pt x="546" y="555"/>
                    </a:lnTo>
                    <a:close/>
                    <a:moveTo>
                      <a:pt x="338" y="352"/>
                    </a:moveTo>
                    <a:lnTo>
                      <a:pt x="339" y="352"/>
                    </a:lnTo>
                    <a:lnTo>
                      <a:pt x="339" y="353"/>
                    </a:lnTo>
                    <a:lnTo>
                      <a:pt x="338" y="353"/>
                    </a:lnTo>
                    <a:lnTo>
                      <a:pt x="338" y="352"/>
                    </a:lnTo>
                    <a:close/>
                    <a:moveTo>
                      <a:pt x="462" y="442"/>
                    </a:moveTo>
                    <a:lnTo>
                      <a:pt x="464" y="442"/>
                    </a:lnTo>
                    <a:lnTo>
                      <a:pt x="464" y="444"/>
                    </a:lnTo>
                    <a:lnTo>
                      <a:pt x="462" y="444"/>
                    </a:lnTo>
                    <a:lnTo>
                      <a:pt x="462" y="442"/>
                    </a:lnTo>
                    <a:close/>
                    <a:moveTo>
                      <a:pt x="500" y="431"/>
                    </a:moveTo>
                    <a:lnTo>
                      <a:pt x="502" y="431"/>
                    </a:lnTo>
                    <a:lnTo>
                      <a:pt x="502" y="433"/>
                    </a:lnTo>
                    <a:lnTo>
                      <a:pt x="500" y="433"/>
                    </a:lnTo>
                    <a:lnTo>
                      <a:pt x="500" y="431"/>
                    </a:lnTo>
                    <a:close/>
                    <a:moveTo>
                      <a:pt x="180" y="358"/>
                    </a:moveTo>
                    <a:lnTo>
                      <a:pt x="181" y="358"/>
                    </a:lnTo>
                    <a:lnTo>
                      <a:pt x="181" y="360"/>
                    </a:lnTo>
                    <a:lnTo>
                      <a:pt x="180" y="360"/>
                    </a:lnTo>
                    <a:lnTo>
                      <a:pt x="180" y="358"/>
                    </a:lnTo>
                    <a:close/>
                    <a:moveTo>
                      <a:pt x="493" y="431"/>
                    </a:moveTo>
                    <a:lnTo>
                      <a:pt x="494" y="431"/>
                    </a:lnTo>
                    <a:lnTo>
                      <a:pt x="494" y="434"/>
                    </a:lnTo>
                    <a:lnTo>
                      <a:pt x="493" y="434"/>
                    </a:lnTo>
                    <a:lnTo>
                      <a:pt x="493" y="431"/>
                    </a:lnTo>
                    <a:close/>
                    <a:moveTo>
                      <a:pt x="182" y="353"/>
                    </a:moveTo>
                    <a:lnTo>
                      <a:pt x="184" y="353"/>
                    </a:lnTo>
                    <a:lnTo>
                      <a:pt x="184" y="354"/>
                    </a:lnTo>
                    <a:lnTo>
                      <a:pt x="182" y="354"/>
                    </a:lnTo>
                    <a:lnTo>
                      <a:pt x="182" y="353"/>
                    </a:lnTo>
                    <a:close/>
                    <a:moveTo>
                      <a:pt x="543" y="544"/>
                    </a:moveTo>
                    <a:lnTo>
                      <a:pt x="544" y="544"/>
                    </a:lnTo>
                    <a:lnTo>
                      <a:pt x="545" y="544"/>
                    </a:lnTo>
                    <a:lnTo>
                      <a:pt x="546" y="542"/>
                    </a:lnTo>
                    <a:lnTo>
                      <a:pt x="545" y="544"/>
                    </a:lnTo>
                    <a:lnTo>
                      <a:pt x="543" y="544"/>
                    </a:lnTo>
                    <a:lnTo>
                      <a:pt x="542" y="544"/>
                    </a:lnTo>
                    <a:lnTo>
                      <a:pt x="542" y="543"/>
                    </a:lnTo>
                    <a:lnTo>
                      <a:pt x="542" y="542"/>
                    </a:lnTo>
                    <a:lnTo>
                      <a:pt x="542" y="543"/>
                    </a:lnTo>
                    <a:lnTo>
                      <a:pt x="542" y="544"/>
                    </a:lnTo>
                    <a:lnTo>
                      <a:pt x="543" y="544"/>
                    </a:lnTo>
                    <a:close/>
                    <a:moveTo>
                      <a:pt x="330" y="257"/>
                    </a:moveTo>
                    <a:lnTo>
                      <a:pt x="331" y="257"/>
                    </a:lnTo>
                    <a:lnTo>
                      <a:pt x="331" y="259"/>
                    </a:lnTo>
                    <a:lnTo>
                      <a:pt x="330" y="259"/>
                    </a:lnTo>
                    <a:lnTo>
                      <a:pt x="330" y="257"/>
                    </a:lnTo>
                    <a:close/>
                    <a:moveTo>
                      <a:pt x="176" y="412"/>
                    </a:moveTo>
                    <a:lnTo>
                      <a:pt x="178" y="412"/>
                    </a:lnTo>
                    <a:lnTo>
                      <a:pt x="178" y="413"/>
                    </a:lnTo>
                    <a:lnTo>
                      <a:pt x="176" y="413"/>
                    </a:lnTo>
                    <a:lnTo>
                      <a:pt x="176" y="412"/>
                    </a:lnTo>
                    <a:close/>
                    <a:moveTo>
                      <a:pt x="228" y="389"/>
                    </a:moveTo>
                    <a:lnTo>
                      <a:pt x="229" y="389"/>
                    </a:lnTo>
                    <a:lnTo>
                      <a:pt x="229" y="391"/>
                    </a:lnTo>
                    <a:lnTo>
                      <a:pt x="228" y="391"/>
                    </a:lnTo>
                    <a:lnTo>
                      <a:pt x="228" y="389"/>
                    </a:lnTo>
                    <a:close/>
                    <a:moveTo>
                      <a:pt x="180" y="351"/>
                    </a:moveTo>
                    <a:lnTo>
                      <a:pt x="182" y="351"/>
                    </a:lnTo>
                    <a:lnTo>
                      <a:pt x="182" y="352"/>
                    </a:lnTo>
                    <a:lnTo>
                      <a:pt x="180" y="352"/>
                    </a:lnTo>
                    <a:lnTo>
                      <a:pt x="180" y="351"/>
                    </a:lnTo>
                    <a:close/>
                    <a:moveTo>
                      <a:pt x="194" y="360"/>
                    </a:moveTo>
                    <a:lnTo>
                      <a:pt x="195" y="362"/>
                    </a:lnTo>
                    <a:lnTo>
                      <a:pt x="196" y="362"/>
                    </a:lnTo>
                    <a:lnTo>
                      <a:pt x="196" y="363"/>
                    </a:lnTo>
                    <a:lnTo>
                      <a:pt x="195" y="363"/>
                    </a:lnTo>
                    <a:lnTo>
                      <a:pt x="195" y="362"/>
                    </a:lnTo>
                    <a:lnTo>
                      <a:pt x="195" y="361"/>
                    </a:lnTo>
                    <a:lnTo>
                      <a:pt x="194" y="361"/>
                    </a:lnTo>
                    <a:lnTo>
                      <a:pt x="194" y="360"/>
                    </a:lnTo>
                    <a:close/>
                    <a:moveTo>
                      <a:pt x="566" y="564"/>
                    </a:moveTo>
                    <a:lnTo>
                      <a:pt x="566" y="565"/>
                    </a:lnTo>
                    <a:lnTo>
                      <a:pt x="567" y="565"/>
                    </a:lnTo>
                    <a:lnTo>
                      <a:pt x="567" y="566"/>
                    </a:lnTo>
                    <a:lnTo>
                      <a:pt x="567" y="565"/>
                    </a:lnTo>
                    <a:lnTo>
                      <a:pt x="566" y="565"/>
                    </a:lnTo>
                    <a:lnTo>
                      <a:pt x="566" y="564"/>
                    </a:lnTo>
                    <a:close/>
                    <a:moveTo>
                      <a:pt x="577" y="498"/>
                    </a:moveTo>
                    <a:lnTo>
                      <a:pt x="578" y="498"/>
                    </a:lnTo>
                    <a:lnTo>
                      <a:pt x="578" y="499"/>
                    </a:lnTo>
                    <a:lnTo>
                      <a:pt x="577" y="499"/>
                    </a:lnTo>
                    <a:lnTo>
                      <a:pt x="577" y="498"/>
                    </a:lnTo>
                    <a:close/>
                    <a:moveTo>
                      <a:pt x="207" y="403"/>
                    </a:moveTo>
                    <a:lnTo>
                      <a:pt x="208" y="403"/>
                    </a:lnTo>
                    <a:lnTo>
                      <a:pt x="210" y="403"/>
                    </a:lnTo>
                    <a:lnTo>
                      <a:pt x="209" y="404"/>
                    </a:lnTo>
                    <a:lnTo>
                      <a:pt x="209" y="403"/>
                    </a:lnTo>
                    <a:lnTo>
                      <a:pt x="208" y="403"/>
                    </a:lnTo>
                    <a:lnTo>
                      <a:pt x="207" y="403"/>
                    </a:lnTo>
                    <a:close/>
                    <a:moveTo>
                      <a:pt x="182" y="361"/>
                    </a:moveTo>
                    <a:lnTo>
                      <a:pt x="182" y="363"/>
                    </a:lnTo>
                    <a:lnTo>
                      <a:pt x="182" y="361"/>
                    </a:lnTo>
                    <a:lnTo>
                      <a:pt x="181" y="361"/>
                    </a:lnTo>
                    <a:lnTo>
                      <a:pt x="180" y="361"/>
                    </a:lnTo>
                    <a:lnTo>
                      <a:pt x="180" y="359"/>
                    </a:lnTo>
                    <a:lnTo>
                      <a:pt x="179" y="358"/>
                    </a:lnTo>
                    <a:lnTo>
                      <a:pt x="180" y="358"/>
                    </a:lnTo>
                    <a:lnTo>
                      <a:pt x="180" y="357"/>
                    </a:lnTo>
                    <a:lnTo>
                      <a:pt x="181" y="357"/>
                    </a:lnTo>
                    <a:lnTo>
                      <a:pt x="181" y="358"/>
                    </a:lnTo>
                    <a:lnTo>
                      <a:pt x="180" y="358"/>
                    </a:lnTo>
                    <a:lnTo>
                      <a:pt x="180" y="361"/>
                    </a:lnTo>
                    <a:lnTo>
                      <a:pt x="181" y="361"/>
                    </a:lnTo>
                    <a:lnTo>
                      <a:pt x="182" y="361"/>
                    </a:lnTo>
                    <a:close/>
                    <a:moveTo>
                      <a:pt x="568" y="563"/>
                    </a:moveTo>
                    <a:lnTo>
                      <a:pt x="569" y="563"/>
                    </a:lnTo>
                    <a:lnTo>
                      <a:pt x="569" y="564"/>
                    </a:lnTo>
                    <a:lnTo>
                      <a:pt x="568" y="564"/>
                    </a:lnTo>
                    <a:lnTo>
                      <a:pt x="568" y="563"/>
                    </a:lnTo>
                    <a:close/>
                    <a:moveTo>
                      <a:pt x="208" y="412"/>
                    </a:moveTo>
                    <a:lnTo>
                      <a:pt x="207" y="412"/>
                    </a:lnTo>
                    <a:lnTo>
                      <a:pt x="207" y="411"/>
                    </a:lnTo>
                    <a:lnTo>
                      <a:pt x="208" y="410"/>
                    </a:lnTo>
                    <a:lnTo>
                      <a:pt x="208" y="411"/>
                    </a:lnTo>
                    <a:lnTo>
                      <a:pt x="207" y="412"/>
                    </a:lnTo>
                    <a:lnTo>
                      <a:pt x="208" y="412"/>
                    </a:lnTo>
                    <a:close/>
                    <a:moveTo>
                      <a:pt x="257" y="171"/>
                    </a:moveTo>
                    <a:lnTo>
                      <a:pt x="259" y="171"/>
                    </a:lnTo>
                    <a:lnTo>
                      <a:pt x="259" y="172"/>
                    </a:lnTo>
                    <a:lnTo>
                      <a:pt x="257" y="172"/>
                    </a:lnTo>
                    <a:lnTo>
                      <a:pt x="257" y="171"/>
                    </a:lnTo>
                    <a:close/>
                    <a:moveTo>
                      <a:pt x="227" y="415"/>
                    </a:moveTo>
                    <a:lnTo>
                      <a:pt x="222" y="415"/>
                    </a:lnTo>
                    <a:lnTo>
                      <a:pt x="223" y="415"/>
                    </a:lnTo>
                    <a:lnTo>
                      <a:pt x="227" y="415"/>
                    </a:lnTo>
                    <a:close/>
                    <a:moveTo>
                      <a:pt x="499" y="468"/>
                    </a:moveTo>
                    <a:lnTo>
                      <a:pt x="500" y="468"/>
                    </a:lnTo>
                    <a:lnTo>
                      <a:pt x="500" y="469"/>
                    </a:lnTo>
                    <a:lnTo>
                      <a:pt x="499" y="469"/>
                    </a:lnTo>
                    <a:lnTo>
                      <a:pt x="499" y="468"/>
                    </a:lnTo>
                    <a:close/>
                    <a:moveTo>
                      <a:pt x="273" y="369"/>
                    </a:moveTo>
                    <a:lnTo>
                      <a:pt x="273" y="370"/>
                    </a:lnTo>
                    <a:lnTo>
                      <a:pt x="272" y="370"/>
                    </a:lnTo>
                    <a:lnTo>
                      <a:pt x="272" y="371"/>
                    </a:lnTo>
                    <a:lnTo>
                      <a:pt x="271" y="371"/>
                    </a:lnTo>
                    <a:lnTo>
                      <a:pt x="272" y="370"/>
                    </a:lnTo>
                    <a:lnTo>
                      <a:pt x="272" y="369"/>
                    </a:lnTo>
                    <a:lnTo>
                      <a:pt x="273" y="369"/>
                    </a:lnTo>
                    <a:close/>
                    <a:moveTo>
                      <a:pt x="206" y="390"/>
                    </a:moveTo>
                    <a:lnTo>
                      <a:pt x="207" y="390"/>
                    </a:lnTo>
                    <a:lnTo>
                      <a:pt x="207" y="392"/>
                    </a:lnTo>
                    <a:lnTo>
                      <a:pt x="206" y="392"/>
                    </a:lnTo>
                    <a:lnTo>
                      <a:pt x="206" y="390"/>
                    </a:lnTo>
                    <a:close/>
                    <a:moveTo>
                      <a:pt x="149" y="390"/>
                    </a:moveTo>
                    <a:lnTo>
                      <a:pt x="150" y="390"/>
                    </a:lnTo>
                    <a:lnTo>
                      <a:pt x="150" y="391"/>
                    </a:lnTo>
                    <a:lnTo>
                      <a:pt x="149" y="391"/>
                    </a:lnTo>
                    <a:lnTo>
                      <a:pt x="149" y="390"/>
                    </a:lnTo>
                    <a:close/>
                    <a:moveTo>
                      <a:pt x="328" y="331"/>
                    </a:moveTo>
                    <a:lnTo>
                      <a:pt x="328" y="332"/>
                    </a:lnTo>
                    <a:lnTo>
                      <a:pt x="326" y="332"/>
                    </a:lnTo>
                    <a:lnTo>
                      <a:pt x="325" y="332"/>
                    </a:lnTo>
                    <a:lnTo>
                      <a:pt x="326" y="331"/>
                    </a:lnTo>
                    <a:lnTo>
                      <a:pt x="328" y="331"/>
                    </a:lnTo>
                    <a:close/>
                    <a:moveTo>
                      <a:pt x="488" y="422"/>
                    </a:moveTo>
                    <a:lnTo>
                      <a:pt x="490" y="422"/>
                    </a:lnTo>
                    <a:lnTo>
                      <a:pt x="490" y="423"/>
                    </a:lnTo>
                    <a:lnTo>
                      <a:pt x="488" y="423"/>
                    </a:lnTo>
                    <a:lnTo>
                      <a:pt x="488" y="422"/>
                    </a:lnTo>
                    <a:close/>
                    <a:moveTo>
                      <a:pt x="223" y="396"/>
                    </a:moveTo>
                    <a:lnTo>
                      <a:pt x="225" y="396"/>
                    </a:lnTo>
                    <a:lnTo>
                      <a:pt x="225" y="397"/>
                    </a:lnTo>
                    <a:lnTo>
                      <a:pt x="225" y="398"/>
                    </a:lnTo>
                    <a:lnTo>
                      <a:pt x="223" y="398"/>
                    </a:lnTo>
                    <a:lnTo>
                      <a:pt x="225" y="397"/>
                    </a:lnTo>
                    <a:lnTo>
                      <a:pt x="223" y="398"/>
                    </a:lnTo>
                    <a:lnTo>
                      <a:pt x="225" y="397"/>
                    </a:lnTo>
                    <a:lnTo>
                      <a:pt x="225" y="396"/>
                    </a:lnTo>
                    <a:lnTo>
                      <a:pt x="223" y="396"/>
                    </a:lnTo>
                    <a:lnTo>
                      <a:pt x="223" y="397"/>
                    </a:lnTo>
                    <a:lnTo>
                      <a:pt x="225" y="397"/>
                    </a:lnTo>
                    <a:lnTo>
                      <a:pt x="223" y="397"/>
                    </a:lnTo>
                    <a:lnTo>
                      <a:pt x="223" y="396"/>
                    </a:lnTo>
                    <a:close/>
                    <a:moveTo>
                      <a:pt x="206" y="388"/>
                    </a:moveTo>
                    <a:lnTo>
                      <a:pt x="205" y="388"/>
                    </a:lnTo>
                    <a:lnTo>
                      <a:pt x="205" y="386"/>
                    </a:lnTo>
                    <a:lnTo>
                      <a:pt x="205" y="385"/>
                    </a:lnTo>
                    <a:lnTo>
                      <a:pt x="205" y="384"/>
                    </a:lnTo>
                    <a:lnTo>
                      <a:pt x="205" y="385"/>
                    </a:lnTo>
                    <a:lnTo>
                      <a:pt x="205" y="386"/>
                    </a:lnTo>
                    <a:lnTo>
                      <a:pt x="205" y="387"/>
                    </a:lnTo>
                    <a:lnTo>
                      <a:pt x="206" y="388"/>
                    </a:lnTo>
                    <a:close/>
                    <a:moveTo>
                      <a:pt x="465" y="609"/>
                    </a:moveTo>
                    <a:lnTo>
                      <a:pt x="464" y="609"/>
                    </a:lnTo>
                    <a:lnTo>
                      <a:pt x="465" y="610"/>
                    </a:lnTo>
                    <a:lnTo>
                      <a:pt x="465" y="611"/>
                    </a:lnTo>
                    <a:lnTo>
                      <a:pt x="465" y="610"/>
                    </a:lnTo>
                    <a:lnTo>
                      <a:pt x="464" y="609"/>
                    </a:lnTo>
                    <a:lnTo>
                      <a:pt x="465" y="608"/>
                    </a:lnTo>
                    <a:lnTo>
                      <a:pt x="465" y="609"/>
                    </a:lnTo>
                    <a:close/>
                    <a:moveTo>
                      <a:pt x="566" y="549"/>
                    </a:moveTo>
                    <a:lnTo>
                      <a:pt x="567" y="549"/>
                    </a:lnTo>
                    <a:lnTo>
                      <a:pt x="567" y="550"/>
                    </a:lnTo>
                    <a:lnTo>
                      <a:pt x="567" y="549"/>
                    </a:lnTo>
                    <a:lnTo>
                      <a:pt x="567" y="550"/>
                    </a:lnTo>
                    <a:lnTo>
                      <a:pt x="568" y="550"/>
                    </a:lnTo>
                    <a:lnTo>
                      <a:pt x="568" y="551"/>
                    </a:lnTo>
                    <a:lnTo>
                      <a:pt x="567" y="551"/>
                    </a:lnTo>
                    <a:lnTo>
                      <a:pt x="567" y="550"/>
                    </a:lnTo>
                    <a:lnTo>
                      <a:pt x="566" y="549"/>
                    </a:lnTo>
                    <a:lnTo>
                      <a:pt x="565" y="549"/>
                    </a:lnTo>
                    <a:lnTo>
                      <a:pt x="566" y="549"/>
                    </a:lnTo>
                    <a:close/>
                    <a:moveTo>
                      <a:pt x="195" y="392"/>
                    </a:moveTo>
                    <a:lnTo>
                      <a:pt x="196" y="392"/>
                    </a:lnTo>
                    <a:lnTo>
                      <a:pt x="196" y="393"/>
                    </a:lnTo>
                    <a:lnTo>
                      <a:pt x="195" y="393"/>
                    </a:lnTo>
                    <a:lnTo>
                      <a:pt x="195" y="392"/>
                    </a:lnTo>
                    <a:close/>
                    <a:moveTo>
                      <a:pt x="296" y="386"/>
                    </a:moveTo>
                    <a:lnTo>
                      <a:pt x="298" y="386"/>
                    </a:lnTo>
                    <a:lnTo>
                      <a:pt x="298" y="387"/>
                    </a:lnTo>
                    <a:lnTo>
                      <a:pt x="296" y="387"/>
                    </a:lnTo>
                    <a:lnTo>
                      <a:pt x="296" y="386"/>
                    </a:lnTo>
                    <a:close/>
                    <a:moveTo>
                      <a:pt x="418" y="549"/>
                    </a:moveTo>
                    <a:lnTo>
                      <a:pt x="419" y="549"/>
                    </a:lnTo>
                    <a:lnTo>
                      <a:pt x="419" y="550"/>
                    </a:lnTo>
                    <a:lnTo>
                      <a:pt x="418" y="550"/>
                    </a:lnTo>
                    <a:lnTo>
                      <a:pt x="418" y="549"/>
                    </a:lnTo>
                    <a:close/>
                    <a:moveTo>
                      <a:pt x="252" y="225"/>
                    </a:moveTo>
                    <a:lnTo>
                      <a:pt x="252" y="226"/>
                    </a:lnTo>
                    <a:lnTo>
                      <a:pt x="252" y="228"/>
                    </a:lnTo>
                    <a:lnTo>
                      <a:pt x="252" y="226"/>
                    </a:lnTo>
                    <a:lnTo>
                      <a:pt x="253" y="226"/>
                    </a:lnTo>
                    <a:lnTo>
                      <a:pt x="253" y="228"/>
                    </a:lnTo>
                    <a:lnTo>
                      <a:pt x="252" y="228"/>
                    </a:lnTo>
                    <a:lnTo>
                      <a:pt x="253" y="228"/>
                    </a:lnTo>
                    <a:lnTo>
                      <a:pt x="252" y="228"/>
                    </a:lnTo>
                    <a:lnTo>
                      <a:pt x="252" y="226"/>
                    </a:lnTo>
                    <a:lnTo>
                      <a:pt x="251" y="226"/>
                    </a:lnTo>
                    <a:lnTo>
                      <a:pt x="251" y="225"/>
                    </a:lnTo>
                    <a:lnTo>
                      <a:pt x="252" y="225"/>
                    </a:lnTo>
                    <a:close/>
                    <a:moveTo>
                      <a:pt x="498" y="570"/>
                    </a:moveTo>
                    <a:lnTo>
                      <a:pt x="499" y="570"/>
                    </a:lnTo>
                    <a:lnTo>
                      <a:pt x="499" y="571"/>
                    </a:lnTo>
                    <a:lnTo>
                      <a:pt x="498" y="571"/>
                    </a:lnTo>
                    <a:lnTo>
                      <a:pt x="498" y="570"/>
                    </a:lnTo>
                    <a:close/>
                    <a:moveTo>
                      <a:pt x="424" y="393"/>
                    </a:moveTo>
                    <a:lnTo>
                      <a:pt x="425" y="393"/>
                    </a:lnTo>
                    <a:lnTo>
                      <a:pt x="425" y="396"/>
                    </a:lnTo>
                    <a:lnTo>
                      <a:pt x="424" y="396"/>
                    </a:lnTo>
                    <a:lnTo>
                      <a:pt x="424" y="393"/>
                    </a:lnTo>
                    <a:close/>
                    <a:moveTo>
                      <a:pt x="270" y="274"/>
                    </a:moveTo>
                    <a:lnTo>
                      <a:pt x="271" y="274"/>
                    </a:lnTo>
                    <a:lnTo>
                      <a:pt x="272" y="274"/>
                    </a:lnTo>
                    <a:lnTo>
                      <a:pt x="272" y="275"/>
                    </a:lnTo>
                    <a:lnTo>
                      <a:pt x="271" y="275"/>
                    </a:lnTo>
                    <a:lnTo>
                      <a:pt x="270" y="275"/>
                    </a:lnTo>
                    <a:lnTo>
                      <a:pt x="270" y="274"/>
                    </a:lnTo>
                    <a:close/>
                    <a:moveTo>
                      <a:pt x="227" y="402"/>
                    </a:moveTo>
                    <a:lnTo>
                      <a:pt x="228" y="402"/>
                    </a:lnTo>
                    <a:lnTo>
                      <a:pt x="228" y="404"/>
                    </a:lnTo>
                    <a:lnTo>
                      <a:pt x="227" y="404"/>
                    </a:lnTo>
                    <a:lnTo>
                      <a:pt x="227" y="402"/>
                    </a:lnTo>
                    <a:close/>
                    <a:moveTo>
                      <a:pt x="557" y="540"/>
                    </a:moveTo>
                    <a:lnTo>
                      <a:pt x="558" y="540"/>
                    </a:lnTo>
                    <a:lnTo>
                      <a:pt x="558" y="541"/>
                    </a:lnTo>
                    <a:lnTo>
                      <a:pt x="557" y="541"/>
                    </a:lnTo>
                    <a:lnTo>
                      <a:pt x="557" y="540"/>
                    </a:lnTo>
                    <a:close/>
                    <a:moveTo>
                      <a:pt x="558" y="517"/>
                    </a:moveTo>
                    <a:lnTo>
                      <a:pt x="560" y="517"/>
                    </a:lnTo>
                    <a:lnTo>
                      <a:pt x="560" y="518"/>
                    </a:lnTo>
                    <a:lnTo>
                      <a:pt x="558" y="518"/>
                    </a:lnTo>
                    <a:lnTo>
                      <a:pt x="558" y="517"/>
                    </a:lnTo>
                    <a:close/>
                    <a:moveTo>
                      <a:pt x="499" y="427"/>
                    </a:moveTo>
                    <a:lnTo>
                      <a:pt x="501" y="427"/>
                    </a:lnTo>
                    <a:lnTo>
                      <a:pt x="501" y="428"/>
                    </a:lnTo>
                    <a:lnTo>
                      <a:pt x="499" y="428"/>
                    </a:lnTo>
                    <a:lnTo>
                      <a:pt x="499" y="427"/>
                    </a:lnTo>
                    <a:close/>
                    <a:moveTo>
                      <a:pt x="502" y="462"/>
                    </a:moveTo>
                    <a:lnTo>
                      <a:pt x="502" y="464"/>
                    </a:lnTo>
                    <a:lnTo>
                      <a:pt x="502" y="462"/>
                    </a:lnTo>
                    <a:close/>
                    <a:moveTo>
                      <a:pt x="252" y="272"/>
                    </a:moveTo>
                    <a:lnTo>
                      <a:pt x="254" y="272"/>
                    </a:lnTo>
                    <a:lnTo>
                      <a:pt x="254" y="273"/>
                    </a:lnTo>
                    <a:lnTo>
                      <a:pt x="252" y="273"/>
                    </a:lnTo>
                    <a:lnTo>
                      <a:pt x="252" y="272"/>
                    </a:lnTo>
                    <a:close/>
                    <a:moveTo>
                      <a:pt x="550" y="550"/>
                    </a:moveTo>
                    <a:lnTo>
                      <a:pt x="550" y="551"/>
                    </a:lnTo>
                    <a:lnTo>
                      <a:pt x="551" y="551"/>
                    </a:lnTo>
                    <a:lnTo>
                      <a:pt x="552" y="551"/>
                    </a:lnTo>
                    <a:lnTo>
                      <a:pt x="551" y="551"/>
                    </a:lnTo>
                    <a:lnTo>
                      <a:pt x="550" y="551"/>
                    </a:lnTo>
                    <a:lnTo>
                      <a:pt x="550" y="550"/>
                    </a:lnTo>
                    <a:close/>
                    <a:moveTo>
                      <a:pt x="161" y="389"/>
                    </a:moveTo>
                    <a:lnTo>
                      <a:pt x="163" y="389"/>
                    </a:lnTo>
                    <a:lnTo>
                      <a:pt x="163" y="390"/>
                    </a:lnTo>
                    <a:lnTo>
                      <a:pt x="161" y="390"/>
                    </a:lnTo>
                    <a:lnTo>
                      <a:pt x="161" y="389"/>
                    </a:lnTo>
                    <a:close/>
                    <a:moveTo>
                      <a:pt x="499" y="467"/>
                    </a:moveTo>
                    <a:lnTo>
                      <a:pt x="500" y="467"/>
                    </a:lnTo>
                    <a:lnTo>
                      <a:pt x="500" y="468"/>
                    </a:lnTo>
                    <a:lnTo>
                      <a:pt x="499" y="468"/>
                    </a:lnTo>
                    <a:lnTo>
                      <a:pt x="499" y="467"/>
                    </a:lnTo>
                    <a:close/>
                    <a:moveTo>
                      <a:pt x="242" y="406"/>
                    </a:moveTo>
                    <a:lnTo>
                      <a:pt x="244" y="406"/>
                    </a:lnTo>
                    <a:lnTo>
                      <a:pt x="244" y="408"/>
                    </a:lnTo>
                    <a:lnTo>
                      <a:pt x="242" y="408"/>
                    </a:lnTo>
                    <a:lnTo>
                      <a:pt x="242" y="406"/>
                    </a:lnTo>
                    <a:close/>
                    <a:moveTo>
                      <a:pt x="328" y="343"/>
                    </a:moveTo>
                    <a:lnTo>
                      <a:pt x="329" y="343"/>
                    </a:lnTo>
                    <a:lnTo>
                      <a:pt x="329" y="345"/>
                    </a:lnTo>
                    <a:lnTo>
                      <a:pt x="328" y="345"/>
                    </a:lnTo>
                    <a:lnTo>
                      <a:pt x="328" y="343"/>
                    </a:lnTo>
                    <a:close/>
                    <a:moveTo>
                      <a:pt x="382" y="363"/>
                    </a:moveTo>
                    <a:lnTo>
                      <a:pt x="381" y="363"/>
                    </a:lnTo>
                    <a:lnTo>
                      <a:pt x="382" y="363"/>
                    </a:lnTo>
                    <a:lnTo>
                      <a:pt x="382" y="362"/>
                    </a:lnTo>
                    <a:lnTo>
                      <a:pt x="382" y="363"/>
                    </a:lnTo>
                    <a:close/>
                    <a:moveTo>
                      <a:pt x="274" y="401"/>
                    </a:moveTo>
                    <a:lnTo>
                      <a:pt x="276" y="402"/>
                    </a:lnTo>
                    <a:lnTo>
                      <a:pt x="278" y="404"/>
                    </a:lnTo>
                    <a:lnTo>
                      <a:pt x="276" y="402"/>
                    </a:lnTo>
                    <a:lnTo>
                      <a:pt x="274" y="401"/>
                    </a:lnTo>
                    <a:close/>
                    <a:moveTo>
                      <a:pt x="500" y="460"/>
                    </a:moveTo>
                    <a:lnTo>
                      <a:pt x="501" y="460"/>
                    </a:lnTo>
                    <a:lnTo>
                      <a:pt x="501" y="461"/>
                    </a:lnTo>
                    <a:lnTo>
                      <a:pt x="500" y="461"/>
                    </a:lnTo>
                    <a:lnTo>
                      <a:pt x="500" y="460"/>
                    </a:lnTo>
                    <a:close/>
                    <a:moveTo>
                      <a:pt x="477" y="422"/>
                    </a:moveTo>
                    <a:lnTo>
                      <a:pt x="479" y="422"/>
                    </a:lnTo>
                    <a:lnTo>
                      <a:pt x="479" y="423"/>
                    </a:lnTo>
                    <a:lnTo>
                      <a:pt x="477" y="423"/>
                    </a:lnTo>
                    <a:lnTo>
                      <a:pt x="477" y="422"/>
                    </a:lnTo>
                    <a:close/>
                    <a:moveTo>
                      <a:pt x="179" y="362"/>
                    </a:moveTo>
                    <a:lnTo>
                      <a:pt x="180" y="362"/>
                    </a:lnTo>
                    <a:lnTo>
                      <a:pt x="179" y="362"/>
                    </a:lnTo>
                    <a:close/>
                    <a:moveTo>
                      <a:pt x="415" y="374"/>
                    </a:moveTo>
                    <a:lnTo>
                      <a:pt x="414" y="375"/>
                    </a:lnTo>
                    <a:lnTo>
                      <a:pt x="413" y="375"/>
                    </a:lnTo>
                    <a:lnTo>
                      <a:pt x="414" y="375"/>
                    </a:lnTo>
                    <a:lnTo>
                      <a:pt x="414" y="374"/>
                    </a:lnTo>
                    <a:lnTo>
                      <a:pt x="415" y="374"/>
                    </a:lnTo>
                    <a:close/>
                    <a:moveTo>
                      <a:pt x="269" y="430"/>
                    </a:moveTo>
                    <a:lnTo>
                      <a:pt x="268" y="430"/>
                    </a:lnTo>
                    <a:lnTo>
                      <a:pt x="267" y="430"/>
                    </a:lnTo>
                    <a:lnTo>
                      <a:pt x="267" y="429"/>
                    </a:lnTo>
                    <a:lnTo>
                      <a:pt x="268" y="429"/>
                    </a:lnTo>
                    <a:lnTo>
                      <a:pt x="267" y="429"/>
                    </a:lnTo>
                    <a:lnTo>
                      <a:pt x="269" y="429"/>
                    </a:lnTo>
                    <a:lnTo>
                      <a:pt x="269" y="430"/>
                    </a:lnTo>
                    <a:close/>
                    <a:moveTo>
                      <a:pt x="213" y="357"/>
                    </a:moveTo>
                    <a:lnTo>
                      <a:pt x="214" y="357"/>
                    </a:lnTo>
                    <a:lnTo>
                      <a:pt x="214" y="358"/>
                    </a:lnTo>
                    <a:lnTo>
                      <a:pt x="213" y="358"/>
                    </a:lnTo>
                    <a:lnTo>
                      <a:pt x="213" y="357"/>
                    </a:lnTo>
                    <a:close/>
                    <a:moveTo>
                      <a:pt x="241" y="204"/>
                    </a:moveTo>
                    <a:lnTo>
                      <a:pt x="242" y="204"/>
                    </a:lnTo>
                    <a:lnTo>
                      <a:pt x="243" y="204"/>
                    </a:lnTo>
                    <a:lnTo>
                      <a:pt x="243" y="205"/>
                    </a:lnTo>
                    <a:lnTo>
                      <a:pt x="242" y="204"/>
                    </a:lnTo>
                    <a:lnTo>
                      <a:pt x="241" y="204"/>
                    </a:lnTo>
                    <a:close/>
                    <a:moveTo>
                      <a:pt x="141" y="377"/>
                    </a:moveTo>
                    <a:lnTo>
                      <a:pt x="142" y="377"/>
                    </a:lnTo>
                    <a:lnTo>
                      <a:pt x="143" y="377"/>
                    </a:lnTo>
                    <a:lnTo>
                      <a:pt x="142" y="377"/>
                    </a:lnTo>
                    <a:lnTo>
                      <a:pt x="141" y="377"/>
                    </a:lnTo>
                    <a:lnTo>
                      <a:pt x="141" y="376"/>
                    </a:lnTo>
                    <a:lnTo>
                      <a:pt x="141" y="377"/>
                    </a:lnTo>
                    <a:close/>
                    <a:moveTo>
                      <a:pt x="174" y="347"/>
                    </a:moveTo>
                    <a:lnTo>
                      <a:pt x="175" y="347"/>
                    </a:lnTo>
                    <a:lnTo>
                      <a:pt x="175" y="348"/>
                    </a:lnTo>
                    <a:lnTo>
                      <a:pt x="174" y="348"/>
                    </a:lnTo>
                    <a:lnTo>
                      <a:pt x="174" y="347"/>
                    </a:lnTo>
                    <a:close/>
                    <a:moveTo>
                      <a:pt x="570" y="557"/>
                    </a:moveTo>
                    <a:lnTo>
                      <a:pt x="571" y="557"/>
                    </a:lnTo>
                    <a:lnTo>
                      <a:pt x="571" y="558"/>
                    </a:lnTo>
                    <a:lnTo>
                      <a:pt x="570" y="558"/>
                    </a:lnTo>
                    <a:lnTo>
                      <a:pt x="570" y="557"/>
                    </a:lnTo>
                    <a:close/>
                    <a:moveTo>
                      <a:pt x="235" y="237"/>
                    </a:moveTo>
                    <a:lnTo>
                      <a:pt x="234" y="236"/>
                    </a:lnTo>
                    <a:lnTo>
                      <a:pt x="233" y="236"/>
                    </a:lnTo>
                    <a:lnTo>
                      <a:pt x="234" y="235"/>
                    </a:lnTo>
                    <a:lnTo>
                      <a:pt x="234" y="236"/>
                    </a:lnTo>
                    <a:lnTo>
                      <a:pt x="235" y="236"/>
                    </a:lnTo>
                    <a:lnTo>
                      <a:pt x="235" y="237"/>
                    </a:lnTo>
                    <a:close/>
                    <a:moveTo>
                      <a:pt x="245" y="418"/>
                    </a:moveTo>
                    <a:lnTo>
                      <a:pt x="244" y="418"/>
                    </a:lnTo>
                    <a:lnTo>
                      <a:pt x="239" y="417"/>
                    </a:lnTo>
                    <a:lnTo>
                      <a:pt x="245" y="418"/>
                    </a:lnTo>
                    <a:close/>
                    <a:moveTo>
                      <a:pt x="568" y="556"/>
                    </a:moveTo>
                    <a:lnTo>
                      <a:pt x="567" y="556"/>
                    </a:lnTo>
                    <a:lnTo>
                      <a:pt x="566" y="556"/>
                    </a:lnTo>
                    <a:lnTo>
                      <a:pt x="566" y="555"/>
                    </a:lnTo>
                    <a:lnTo>
                      <a:pt x="567" y="555"/>
                    </a:lnTo>
                    <a:lnTo>
                      <a:pt x="566" y="555"/>
                    </a:lnTo>
                    <a:lnTo>
                      <a:pt x="567" y="555"/>
                    </a:lnTo>
                    <a:lnTo>
                      <a:pt x="567" y="556"/>
                    </a:lnTo>
                    <a:lnTo>
                      <a:pt x="568" y="556"/>
                    </a:lnTo>
                    <a:close/>
                    <a:moveTo>
                      <a:pt x="545" y="533"/>
                    </a:moveTo>
                    <a:lnTo>
                      <a:pt x="546" y="533"/>
                    </a:lnTo>
                    <a:lnTo>
                      <a:pt x="546" y="534"/>
                    </a:lnTo>
                    <a:lnTo>
                      <a:pt x="545" y="534"/>
                    </a:lnTo>
                    <a:lnTo>
                      <a:pt x="545" y="533"/>
                    </a:lnTo>
                    <a:close/>
                    <a:moveTo>
                      <a:pt x="191" y="412"/>
                    </a:moveTo>
                    <a:lnTo>
                      <a:pt x="190" y="412"/>
                    </a:lnTo>
                    <a:lnTo>
                      <a:pt x="189" y="412"/>
                    </a:lnTo>
                    <a:lnTo>
                      <a:pt x="191" y="412"/>
                    </a:lnTo>
                    <a:close/>
                    <a:moveTo>
                      <a:pt x="342" y="462"/>
                    </a:moveTo>
                    <a:lnTo>
                      <a:pt x="341" y="462"/>
                    </a:lnTo>
                    <a:lnTo>
                      <a:pt x="342" y="461"/>
                    </a:lnTo>
                    <a:lnTo>
                      <a:pt x="342" y="460"/>
                    </a:lnTo>
                    <a:lnTo>
                      <a:pt x="342" y="461"/>
                    </a:lnTo>
                    <a:lnTo>
                      <a:pt x="342" y="462"/>
                    </a:lnTo>
                    <a:close/>
                    <a:moveTo>
                      <a:pt x="500" y="470"/>
                    </a:moveTo>
                    <a:lnTo>
                      <a:pt x="501" y="470"/>
                    </a:lnTo>
                    <a:lnTo>
                      <a:pt x="501" y="473"/>
                    </a:lnTo>
                    <a:lnTo>
                      <a:pt x="500" y="473"/>
                    </a:lnTo>
                    <a:lnTo>
                      <a:pt x="500" y="470"/>
                    </a:lnTo>
                    <a:close/>
                    <a:moveTo>
                      <a:pt x="463" y="616"/>
                    </a:moveTo>
                    <a:lnTo>
                      <a:pt x="462" y="616"/>
                    </a:lnTo>
                    <a:lnTo>
                      <a:pt x="462" y="615"/>
                    </a:lnTo>
                    <a:lnTo>
                      <a:pt x="461" y="614"/>
                    </a:lnTo>
                    <a:lnTo>
                      <a:pt x="461" y="613"/>
                    </a:lnTo>
                    <a:lnTo>
                      <a:pt x="461" y="614"/>
                    </a:lnTo>
                    <a:lnTo>
                      <a:pt x="462" y="615"/>
                    </a:lnTo>
                    <a:lnTo>
                      <a:pt x="463" y="616"/>
                    </a:lnTo>
                    <a:close/>
                    <a:moveTo>
                      <a:pt x="422" y="383"/>
                    </a:moveTo>
                    <a:lnTo>
                      <a:pt x="422" y="384"/>
                    </a:lnTo>
                    <a:lnTo>
                      <a:pt x="423" y="384"/>
                    </a:lnTo>
                    <a:lnTo>
                      <a:pt x="422" y="385"/>
                    </a:lnTo>
                    <a:lnTo>
                      <a:pt x="423" y="386"/>
                    </a:lnTo>
                    <a:lnTo>
                      <a:pt x="422" y="386"/>
                    </a:lnTo>
                    <a:lnTo>
                      <a:pt x="422" y="385"/>
                    </a:lnTo>
                    <a:lnTo>
                      <a:pt x="422" y="384"/>
                    </a:lnTo>
                    <a:lnTo>
                      <a:pt x="422" y="383"/>
                    </a:lnTo>
                    <a:lnTo>
                      <a:pt x="421" y="384"/>
                    </a:lnTo>
                    <a:lnTo>
                      <a:pt x="421" y="383"/>
                    </a:lnTo>
                    <a:lnTo>
                      <a:pt x="422" y="383"/>
                    </a:lnTo>
                    <a:close/>
                    <a:moveTo>
                      <a:pt x="153" y="391"/>
                    </a:moveTo>
                    <a:lnTo>
                      <a:pt x="154" y="391"/>
                    </a:lnTo>
                    <a:lnTo>
                      <a:pt x="154" y="392"/>
                    </a:lnTo>
                    <a:lnTo>
                      <a:pt x="154" y="391"/>
                    </a:lnTo>
                    <a:lnTo>
                      <a:pt x="154" y="392"/>
                    </a:lnTo>
                    <a:lnTo>
                      <a:pt x="153" y="392"/>
                    </a:lnTo>
                    <a:lnTo>
                      <a:pt x="152" y="392"/>
                    </a:lnTo>
                    <a:lnTo>
                      <a:pt x="153" y="392"/>
                    </a:lnTo>
                    <a:lnTo>
                      <a:pt x="153" y="391"/>
                    </a:lnTo>
                    <a:close/>
                    <a:moveTo>
                      <a:pt x="261" y="373"/>
                    </a:moveTo>
                    <a:lnTo>
                      <a:pt x="262" y="373"/>
                    </a:lnTo>
                    <a:lnTo>
                      <a:pt x="262" y="374"/>
                    </a:lnTo>
                    <a:lnTo>
                      <a:pt x="261" y="374"/>
                    </a:lnTo>
                    <a:lnTo>
                      <a:pt x="261" y="373"/>
                    </a:lnTo>
                    <a:close/>
                    <a:moveTo>
                      <a:pt x="248" y="372"/>
                    </a:moveTo>
                    <a:lnTo>
                      <a:pt x="249" y="373"/>
                    </a:lnTo>
                    <a:lnTo>
                      <a:pt x="248" y="373"/>
                    </a:lnTo>
                    <a:lnTo>
                      <a:pt x="247" y="373"/>
                    </a:lnTo>
                    <a:lnTo>
                      <a:pt x="247" y="372"/>
                    </a:lnTo>
                    <a:lnTo>
                      <a:pt x="248" y="372"/>
                    </a:lnTo>
                    <a:close/>
                    <a:moveTo>
                      <a:pt x="204" y="413"/>
                    </a:moveTo>
                    <a:lnTo>
                      <a:pt x="205" y="413"/>
                    </a:lnTo>
                    <a:lnTo>
                      <a:pt x="206" y="414"/>
                    </a:lnTo>
                    <a:lnTo>
                      <a:pt x="207" y="414"/>
                    </a:lnTo>
                    <a:lnTo>
                      <a:pt x="206" y="414"/>
                    </a:lnTo>
                    <a:lnTo>
                      <a:pt x="205" y="414"/>
                    </a:lnTo>
                    <a:lnTo>
                      <a:pt x="204" y="414"/>
                    </a:lnTo>
                    <a:lnTo>
                      <a:pt x="204" y="413"/>
                    </a:lnTo>
                    <a:close/>
                    <a:moveTo>
                      <a:pt x="420" y="542"/>
                    </a:moveTo>
                    <a:lnTo>
                      <a:pt x="421" y="542"/>
                    </a:lnTo>
                    <a:lnTo>
                      <a:pt x="421" y="543"/>
                    </a:lnTo>
                    <a:lnTo>
                      <a:pt x="420" y="543"/>
                    </a:lnTo>
                    <a:lnTo>
                      <a:pt x="420" y="542"/>
                    </a:lnTo>
                    <a:close/>
                    <a:moveTo>
                      <a:pt x="153" y="390"/>
                    </a:moveTo>
                    <a:lnTo>
                      <a:pt x="154" y="390"/>
                    </a:lnTo>
                    <a:lnTo>
                      <a:pt x="154" y="391"/>
                    </a:lnTo>
                    <a:lnTo>
                      <a:pt x="153" y="391"/>
                    </a:lnTo>
                    <a:lnTo>
                      <a:pt x="153" y="390"/>
                    </a:lnTo>
                    <a:close/>
                    <a:moveTo>
                      <a:pt x="241" y="408"/>
                    </a:moveTo>
                    <a:lnTo>
                      <a:pt x="243" y="408"/>
                    </a:lnTo>
                    <a:lnTo>
                      <a:pt x="241" y="408"/>
                    </a:lnTo>
                    <a:close/>
                    <a:moveTo>
                      <a:pt x="240" y="378"/>
                    </a:moveTo>
                    <a:lnTo>
                      <a:pt x="241" y="378"/>
                    </a:lnTo>
                    <a:lnTo>
                      <a:pt x="241" y="380"/>
                    </a:lnTo>
                    <a:lnTo>
                      <a:pt x="240" y="380"/>
                    </a:lnTo>
                    <a:lnTo>
                      <a:pt x="240" y="378"/>
                    </a:lnTo>
                    <a:close/>
                    <a:moveTo>
                      <a:pt x="271" y="423"/>
                    </a:moveTo>
                    <a:lnTo>
                      <a:pt x="270" y="423"/>
                    </a:lnTo>
                    <a:lnTo>
                      <a:pt x="270" y="424"/>
                    </a:lnTo>
                    <a:lnTo>
                      <a:pt x="269" y="424"/>
                    </a:lnTo>
                    <a:lnTo>
                      <a:pt x="270" y="424"/>
                    </a:lnTo>
                    <a:lnTo>
                      <a:pt x="270" y="423"/>
                    </a:lnTo>
                    <a:lnTo>
                      <a:pt x="271" y="423"/>
                    </a:lnTo>
                    <a:close/>
                    <a:moveTo>
                      <a:pt x="475" y="362"/>
                    </a:moveTo>
                    <a:lnTo>
                      <a:pt x="475" y="364"/>
                    </a:lnTo>
                    <a:lnTo>
                      <a:pt x="475" y="362"/>
                    </a:lnTo>
                    <a:close/>
                    <a:moveTo>
                      <a:pt x="474" y="429"/>
                    </a:moveTo>
                    <a:lnTo>
                      <a:pt x="476" y="429"/>
                    </a:lnTo>
                    <a:lnTo>
                      <a:pt x="476" y="430"/>
                    </a:lnTo>
                    <a:lnTo>
                      <a:pt x="474" y="430"/>
                    </a:lnTo>
                    <a:lnTo>
                      <a:pt x="474" y="429"/>
                    </a:lnTo>
                    <a:close/>
                    <a:moveTo>
                      <a:pt x="182" y="397"/>
                    </a:moveTo>
                    <a:lnTo>
                      <a:pt x="184" y="397"/>
                    </a:lnTo>
                    <a:lnTo>
                      <a:pt x="184" y="398"/>
                    </a:lnTo>
                    <a:lnTo>
                      <a:pt x="182" y="398"/>
                    </a:lnTo>
                    <a:lnTo>
                      <a:pt x="182" y="397"/>
                    </a:lnTo>
                    <a:close/>
                    <a:moveTo>
                      <a:pt x="586" y="563"/>
                    </a:moveTo>
                    <a:lnTo>
                      <a:pt x="583" y="565"/>
                    </a:lnTo>
                    <a:lnTo>
                      <a:pt x="584" y="564"/>
                    </a:lnTo>
                    <a:lnTo>
                      <a:pt x="584" y="563"/>
                    </a:lnTo>
                    <a:lnTo>
                      <a:pt x="586" y="563"/>
                    </a:lnTo>
                    <a:close/>
                    <a:moveTo>
                      <a:pt x="192" y="413"/>
                    </a:moveTo>
                    <a:lnTo>
                      <a:pt x="193" y="413"/>
                    </a:lnTo>
                    <a:lnTo>
                      <a:pt x="193" y="414"/>
                    </a:lnTo>
                    <a:lnTo>
                      <a:pt x="192" y="414"/>
                    </a:lnTo>
                    <a:lnTo>
                      <a:pt x="192" y="413"/>
                    </a:lnTo>
                    <a:close/>
                    <a:moveTo>
                      <a:pt x="489" y="590"/>
                    </a:moveTo>
                    <a:lnTo>
                      <a:pt x="489" y="592"/>
                    </a:lnTo>
                    <a:lnTo>
                      <a:pt x="489" y="590"/>
                    </a:lnTo>
                    <a:close/>
                    <a:moveTo>
                      <a:pt x="491" y="586"/>
                    </a:moveTo>
                    <a:lnTo>
                      <a:pt x="492" y="586"/>
                    </a:lnTo>
                    <a:lnTo>
                      <a:pt x="492" y="588"/>
                    </a:lnTo>
                    <a:lnTo>
                      <a:pt x="491" y="588"/>
                    </a:lnTo>
                    <a:lnTo>
                      <a:pt x="491" y="586"/>
                    </a:lnTo>
                    <a:close/>
                    <a:moveTo>
                      <a:pt x="553" y="549"/>
                    </a:moveTo>
                    <a:lnTo>
                      <a:pt x="554" y="549"/>
                    </a:lnTo>
                    <a:lnTo>
                      <a:pt x="555" y="549"/>
                    </a:lnTo>
                    <a:lnTo>
                      <a:pt x="555" y="550"/>
                    </a:lnTo>
                    <a:lnTo>
                      <a:pt x="554" y="550"/>
                    </a:lnTo>
                    <a:lnTo>
                      <a:pt x="552" y="550"/>
                    </a:lnTo>
                    <a:lnTo>
                      <a:pt x="552" y="549"/>
                    </a:lnTo>
                    <a:lnTo>
                      <a:pt x="553" y="549"/>
                    </a:lnTo>
                    <a:lnTo>
                      <a:pt x="552" y="549"/>
                    </a:lnTo>
                    <a:lnTo>
                      <a:pt x="553" y="549"/>
                    </a:lnTo>
                    <a:close/>
                    <a:moveTo>
                      <a:pt x="324" y="332"/>
                    </a:moveTo>
                    <a:lnTo>
                      <a:pt x="326" y="332"/>
                    </a:lnTo>
                    <a:lnTo>
                      <a:pt x="326" y="334"/>
                    </a:lnTo>
                    <a:lnTo>
                      <a:pt x="324" y="334"/>
                    </a:lnTo>
                    <a:lnTo>
                      <a:pt x="324" y="332"/>
                    </a:lnTo>
                    <a:close/>
                    <a:moveTo>
                      <a:pt x="201" y="391"/>
                    </a:moveTo>
                    <a:lnTo>
                      <a:pt x="202" y="391"/>
                    </a:lnTo>
                    <a:lnTo>
                      <a:pt x="202" y="392"/>
                    </a:lnTo>
                    <a:lnTo>
                      <a:pt x="201" y="392"/>
                    </a:lnTo>
                    <a:lnTo>
                      <a:pt x="201" y="391"/>
                    </a:lnTo>
                    <a:close/>
                    <a:moveTo>
                      <a:pt x="499" y="460"/>
                    </a:moveTo>
                    <a:lnTo>
                      <a:pt x="500" y="460"/>
                    </a:lnTo>
                    <a:lnTo>
                      <a:pt x="500" y="461"/>
                    </a:lnTo>
                    <a:lnTo>
                      <a:pt x="499" y="461"/>
                    </a:lnTo>
                    <a:lnTo>
                      <a:pt x="499" y="460"/>
                    </a:lnTo>
                    <a:close/>
                    <a:moveTo>
                      <a:pt x="199" y="375"/>
                    </a:moveTo>
                    <a:lnTo>
                      <a:pt x="200" y="375"/>
                    </a:lnTo>
                    <a:lnTo>
                      <a:pt x="200" y="376"/>
                    </a:lnTo>
                    <a:lnTo>
                      <a:pt x="199" y="376"/>
                    </a:lnTo>
                    <a:lnTo>
                      <a:pt x="199" y="375"/>
                    </a:lnTo>
                    <a:close/>
                    <a:moveTo>
                      <a:pt x="229" y="222"/>
                    </a:moveTo>
                    <a:lnTo>
                      <a:pt x="231" y="222"/>
                    </a:lnTo>
                    <a:lnTo>
                      <a:pt x="231" y="223"/>
                    </a:lnTo>
                    <a:lnTo>
                      <a:pt x="229" y="223"/>
                    </a:lnTo>
                    <a:lnTo>
                      <a:pt x="229" y="222"/>
                    </a:lnTo>
                    <a:close/>
                    <a:moveTo>
                      <a:pt x="442" y="374"/>
                    </a:moveTo>
                    <a:lnTo>
                      <a:pt x="444" y="374"/>
                    </a:lnTo>
                    <a:lnTo>
                      <a:pt x="444" y="375"/>
                    </a:lnTo>
                    <a:lnTo>
                      <a:pt x="442" y="375"/>
                    </a:lnTo>
                    <a:lnTo>
                      <a:pt x="442" y="374"/>
                    </a:lnTo>
                    <a:close/>
                    <a:moveTo>
                      <a:pt x="500" y="438"/>
                    </a:moveTo>
                    <a:lnTo>
                      <a:pt x="501" y="438"/>
                    </a:lnTo>
                    <a:lnTo>
                      <a:pt x="501" y="439"/>
                    </a:lnTo>
                    <a:lnTo>
                      <a:pt x="500" y="439"/>
                    </a:lnTo>
                    <a:lnTo>
                      <a:pt x="500" y="440"/>
                    </a:lnTo>
                    <a:lnTo>
                      <a:pt x="501" y="440"/>
                    </a:lnTo>
                    <a:lnTo>
                      <a:pt x="500" y="440"/>
                    </a:lnTo>
                    <a:lnTo>
                      <a:pt x="500" y="439"/>
                    </a:lnTo>
                    <a:lnTo>
                      <a:pt x="500" y="438"/>
                    </a:lnTo>
                    <a:close/>
                    <a:moveTo>
                      <a:pt x="501" y="449"/>
                    </a:moveTo>
                    <a:lnTo>
                      <a:pt x="500" y="448"/>
                    </a:lnTo>
                    <a:lnTo>
                      <a:pt x="500" y="447"/>
                    </a:lnTo>
                    <a:lnTo>
                      <a:pt x="500" y="446"/>
                    </a:lnTo>
                    <a:lnTo>
                      <a:pt x="500" y="444"/>
                    </a:lnTo>
                    <a:lnTo>
                      <a:pt x="500" y="446"/>
                    </a:lnTo>
                    <a:lnTo>
                      <a:pt x="500" y="447"/>
                    </a:lnTo>
                    <a:lnTo>
                      <a:pt x="500" y="448"/>
                    </a:lnTo>
                    <a:lnTo>
                      <a:pt x="501" y="449"/>
                    </a:lnTo>
                    <a:close/>
                    <a:moveTo>
                      <a:pt x="335" y="347"/>
                    </a:moveTo>
                    <a:lnTo>
                      <a:pt x="336" y="347"/>
                    </a:lnTo>
                    <a:lnTo>
                      <a:pt x="336" y="348"/>
                    </a:lnTo>
                    <a:lnTo>
                      <a:pt x="335" y="348"/>
                    </a:lnTo>
                    <a:lnTo>
                      <a:pt x="335" y="347"/>
                    </a:lnTo>
                    <a:close/>
                    <a:moveTo>
                      <a:pt x="228" y="390"/>
                    </a:moveTo>
                    <a:lnTo>
                      <a:pt x="229" y="390"/>
                    </a:lnTo>
                    <a:lnTo>
                      <a:pt x="229" y="392"/>
                    </a:lnTo>
                    <a:lnTo>
                      <a:pt x="228" y="392"/>
                    </a:lnTo>
                    <a:lnTo>
                      <a:pt x="228" y="390"/>
                    </a:lnTo>
                    <a:close/>
                    <a:moveTo>
                      <a:pt x="252" y="207"/>
                    </a:moveTo>
                    <a:lnTo>
                      <a:pt x="251" y="207"/>
                    </a:lnTo>
                    <a:lnTo>
                      <a:pt x="249" y="207"/>
                    </a:lnTo>
                    <a:lnTo>
                      <a:pt x="249" y="206"/>
                    </a:lnTo>
                    <a:lnTo>
                      <a:pt x="251" y="206"/>
                    </a:lnTo>
                    <a:lnTo>
                      <a:pt x="252" y="207"/>
                    </a:lnTo>
                    <a:close/>
                    <a:moveTo>
                      <a:pt x="222" y="401"/>
                    </a:moveTo>
                    <a:lnTo>
                      <a:pt x="222" y="402"/>
                    </a:lnTo>
                    <a:lnTo>
                      <a:pt x="223" y="402"/>
                    </a:lnTo>
                    <a:lnTo>
                      <a:pt x="222" y="402"/>
                    </a:lnTo>
                    <a:lnTo>
                      <a:pt x="222" y="401"/>
                    </a:lnTo>
                    <a:lnTo>
                      <a:pt x="221" y="401"/>
                    </a:lnTo>
                    <a:lnTo>
                      <a:pt x="223" y="401"/>
                    </a:lnTo>
                    <a:lnTo>
                      <a:pt x="222" y="401"/>
                    </a:lnTo>
                    <a:close/>
                    <a:moveTo>
                      <a:pt x="226" y="405"/>
                    </a:moveTo>
                    <a:lnTo>
                      <a:pt x="223" y="405"/>
                    </a:lnTo>
                    <a:lnTo>
                      <a:pt x="223" y="404"/>
                    </a:lnTo>
                    <a:lnTo>
                      <a:pt x="223" y="405"/>
                    </a:lnTo>
                    <a:lnTo>
                      <a:pt x="225" y="405"/>
                    </a:lnTo>
                    <a:lnTo>
                      <a:pt x="225" y="404"/>
                    </a:lnTo>
                    <a:lnTo>
                      <a:pt x="225" y="405"/>
                    </a:lnTo>
                    <a:lnTo>
                      <a:pt x="225" y="404"/>
                    </a:lnTo>
                    <a:lnTo>
                      <a:pt x="226" y="404"/>
                    </a:lnTo>
                    <a:lnTo>
                      <a:pt x="226" y="405"/>
                    </a:lnTo>
                    <a:close/>
                    <a:moveTo>
                      <a:pt x="209" y="404"/>
                    </a:moveTo>
                    <a:lnTo>
                      <a:pt x="209" y="406"/>
                    </a:lnTo>
                    <a:lnTo>
                      <a:pt x="209" y="408"/>
                    </a:lnTo>
                    <a:lnTo>
                      <a:pt x="208" y="408"/>
                    </a:lnTo>
                    <a:lnTo>
                      <a:pt x="208" y="406"/>
                    </a:lnTo>
                    <a:lnTo>
                      <a:pt x="209" y="406"/>
                    </a:lnTo>
                    <a:lnTo>
                      <a:pt x="208" y="405"/>
                    </a:lnTo>
                    <a:lnTo>
                      <a:pt x="209" y="405"/>
                    </a:lnTo>
                    <a:lnTo>
                      <a:pt x="209" y="404"/>
                    </a:lnTo>
                    <a:close/>
                    <a:moveTo>
                      <a:pt x="187" y="414"/>
                    </a:moveTo>
                    <a:lnTo>
                      <a:pt x="188" y="414"/>
                    </a:lnTo>
                    <a:lnTo>
                      <a:pt x="188" y="415"/>
                    </a:lnTo>
                    <a:lnTo>
                      <a:pt x="187" y="415"/>
                    </a:lnTo>
                    <a:lnTo>
                      <a:pt x="187" y="414"/>
                    </a:lnTo>
                    <a:close/>
                    <a:moveTo>
                      <a:pt x="556" y="538"/>
                    </a:moveTo>
                    <a:lnTo>
                      <a:pt x="557" y="538"/>
                    </a:lnTo>
                    <a:lnTo>
                      <a:pt x="557" y="539"/>
                    </a:lnTo>
                    <a:lnTo>
                      <a:pt x="556" y="539"/>
                    </a:lnTo>
                    <a:lnTo>
                      <a:pt x="556" y="538"/>
                    </a:lnTo>
                    <a:close/>
                    <a:moveTo>
                      <a:pt x="432" y="369"/>
                    </a:moveTo>
                    <a:lnTo>
                      <a:pt x="433" y="369"/>
                    </a:lnTo>
                    <a:lnTo>
                      <a:pt x="433" y="371"/>
                    </a:lnTo>
                    <a:lnTo>
                      <a:pt x="432" y="371"/>
                    </a:lnTo>
                    <a:lnTo>
                      <a:pt x="432" y="369"/>
                    </a:lnTo>
                    <a:close/>
                    <a:moveTo>
                      <a:pt x="500" y="446"/>
                    </a:moveTo>
                    <a:lnTo>
                      <a:pt x="501" y="446"/>
                    </a:lnTo>
                    <a:lnTo>
                      <a:pt x="501" y="448"/>
                    </a:lnTo>
                    <a:lnTo>
                      <a:pt x="500" y="448"/>
                    </a:lnTo>
                    <a:lnTo>
                      <a:pt x="500" y="446"/>
                    </a:lnTo>
                    <a:close/>
                    <a:moveTo>
                      <a:pt x="554" y="422"/>
                    </a:moveTo>
                    <a:lnTo>
                      <a:pt x="555" y="422"/>
                    </a:lnTo>
                    <a:lnTo>
                      <a:pt x="555" y="423"/>
                    </a:lnTo>
                    <a:lnTo>
                      <a:pt x="554" y="423"/>
                    </a:lnTo>
                    <a:lnTo>
                      <a:pt x="554" y="422"/>
                    </a:lnTo>
                    <a:close/>
                    <a:moveTo>
                      <a:pt x="199" y="356"/>
                    </a:moveTo>
                    <a:lnTo>
                      <a:pt x="200" y="356"/>
                    </a:lnTo>
                    <a:lnTo>
                      <a:pt x="200" y="357"/>
                    </a:lnTo>
                    <a:lnTo>
                      <a:pt x="199" y="357"/>
                    </a:lnTo>
                    <a:lnTo>
                      <a:pt x="199" y="356"/>
                    </a:lnTo>
                    <a:close/>
                    <a:moveTo>
                      <a:pt x="548" y="540"/>
                    </a:moveTo>
                    <a:lnTo>
                      <a:pt x="548" y="539"/>
                    </a:lnTo>
                    <a:lnTo>
                      <a:pt x="546" y="539"/>
                    </a:lnTo>
                    <a:lnTo>
                      <a:pt x="546" y="538"/>
                    </a:lnTo>
                    <a:lnTo>
                      <a:pt x="548" y="539"/>
                    </a:lnTo>
                    <a:lnTo>
                      <a:pt x="548" y="540"/>
                    </a:lnTo>
                    <a:close/>
                    <a:moveTo>
                      <a:pt x="442" y="375"/>
                    </a:moveTo>
                    <a:lnTo>
                      <a:pt x="444" y="375"/>
                    </a:lnTo>
                    <a:lnTo>
                      <a:pt x="444" y="376"/>
                    </a:lnTo>
                    <a:lnTo>
                      <a:pt x="442" y="376"/>
                    </a:lnTo>
                    <a:lnTo>
                      <a:pt x="442" y="375"/>
                    </a:lnTo>
                    <a:close/>
                    <a:moveTo>
                      <a:pt x="505" y="562"/>
                    </a:moveTo>
                    <a:lnTo>
                      <a:pt x="506" y="562"/>
                    </a:lnTo>
                    <a:lnTo>
                      <a:pt x="506" y="564"/>
                    </a:lnTo>
                    <a:lnTo>
                      <a:pt x="505" y="564"/>
                    </a:lnTo>
                    <a:lnTo>
                      <a:pt x="505" y="562"/>
                    </a:lnTo>
                    <a:close/>
                    <a:moveTo>
                      <a:pt x="481" y="421"/>
                    </a:moveTo>
                    <a:lnTo>
                      <a:pt x="483" y="421"/>
                    </a:lnTo>
                    <a:lnTo>
                      <a:pt x="483" y="423"/>
                    </a:lnTo>
                    <a:lnTo>
                      <a:pt x="481" y="423"/>
                    </a:lnTo>
                    <a:lnTo>
                      <a:pt x="481" y="421"/>
                    </a:lnTo>
                    <a:close/>
                    <a:moveTo>
                      <a:pt x="484" y="542"/>
                    </a:moveTo>
                    <a:lnTo>
                      <a:pt x="484" y="543"/>
                    </a:lnTo>
                    <a:lnTo>
                      <a:pt x="484" y="542"/>
                    </a:lnTo>
                    <a:close/>
                    <a:moveTo>
                      <a:pt x="567" y="554"/>
                    </a:moveTo>
                    <a:lnTo>
                      <a:pt x="568" y="554"/>
                    </a:lnTo>
                    <a:lnTo>
                      <a:pt x="568" y="555"/>
                    </a:lnTo>
                    <a:lnTo>
                      <a:pt x="567" y="555"/>
                    </a:lnTo>
                    <a:lnTo>
                      <a:pt x="567" y="554"/>
                    </a:lnTo>
                    <a:close/>
                    <a:moveTo>
                      <a:pt x="556" y="440"/>
                    </a:moveTo>
                    <a:lnTo>
                      <a:pt x="557" y="440"/>
                    </a:lnTo>
                    <a:lnTo>
                      <a:pt x="557" y="441"/>
                    </a:lnTo>
                    <a:lnTo>
                      <a:pt x="556" y="441"/>
                    </a:lnTo>
                    <a:lnTo>
                      <a:pt x="556" y="440"/>
                    </a:lnTo>
                    <a:close/>
                    <a:moveTo>
                      <a:pt x="505" y="559"/>
                    </a:moveTo>
                    <a:lnTo>
                      <a:pt x="507" y="559"/>
                    </a:lnTo>
                    <a:lnTo>
                      <a:pt x="507" y="562"/>
                    </a:lnTo>
                    <a:lnTo>
                      <a:pt x="505" y="562"/>
                    </a:lnTo>
                    <a:lnTo>
                      <a:pt x="505" y="559"/>
                    </a:lnTo>
                    <a:close/>
                    <a:moveTo>
                      <a:pt x="413" y="384"/>
                    </a:moveTo>
                    <a:lnTo>
                      <a:pt x="414" y="384"/>
                    </a:lnTo>
                    <a:lnTo>
                      <a:pt x="414" y="386"/>
                    </a:lnTo>
                    <a:lnTo>
                      <a:pt x="413" y="386"/>
                    </a:lnTo>
                    <a:lnTo>
                      <a:pt x="413" y="384"/>
                    </a:lnTo>
                    <a:close/>
                    <a:moveTo>
                      <a:pt x="201" y="406"/>
                    </a:moveTo>
                    <a:lnTo>
                      <a:pt x="202" y="406"/>
                    </a:lnTo>
                    <a:lnTo>
                      <a:pt x="202" y="408"/>
                    </a:lnTo>
                    <a:lnTo>
                      <a:pt x="201" y="408"/>
                    </a:lnTo>
                    <a:lnTo>
                      <a:pt x="201" y="406"/>
                    </a:lnTo>
                    <a:close/>
                    <a:moveTo>
                      <a:pt x="142" y="401"/>
                    </a:moveTo>
                    <a:lnTo>
                      <a:pt x="144" y="401"/>
                    </a:lnTo>
                    <a:lnTo>
                      <a:pt x="144" y="403"/>
                    </a:lnTo>
                    <a:lnTo>
                      <a:pt x="142" y="403"/>
                    </a:lnTo>
                    <a:lnTo>
                      <a:pt x="142" y="401"/>
                    </a:lnTo>
                    <a:close/>
                    <a:moveTo>
                      <a:pt x="498" y="422"/>
                    </a:moveTo>
                    <a:lnTo>
                      <a:pt x="499" y="422"/>
                    </a:lnTo>
                    <a:lnTo>
                      <a:pt x="499" y="423"/>
                    </a:lnTo>
                    <a:lnTo>
                      <a:pt x="498" y="423"/>
                    </a:lnTo>
                    <a:lnTo>
                      <a:pt x="498" y="422"/>
                    </a:lnTo>
                    <a:close/>
                    <a:moveTo>
                      <a:pt x="480" y="417"/>
                    </a:moveTo>
                    <a:lnTo>
                      <a:pt x="483" y="417"/>
                    </a:lnTo>
                    <a:lnTo>
                      <a:pt x="483" y="418"/>
                    </a:lnTo>
                    <a:lnTo>
                      <a:pt x="480" y="418"/>
                    </a:lnTo>
                    <a:lnTo>
                      <a:pt x="480" y="417"/>
                    </a:lnTo>
                    <a:close/>
                    <a:moveTo>
                      <a:pt x="452" y="532"/>
                    </a:moveTo>
                    <a:lnTo>
                      <a:pt x="452" y="531"/>
                    </a:lnTo>
                    <a:lnTo>
                      <a:pt x="452" y="530"/>
                    </a:lnTo>
                    <a:lnTo>
                      <a:pt x="451" y="530"/>
                    </a:lnTo>
                    <a:lnTo>
                      <a:pt x="451" y="529"/>
                    </a:lnTo>
                    <a:lnTo>
                      <a:pt x="452" y="530"/>
                    </a:lnTo>
                    <a:lnTo>
                      <a:pt x="452" y="531"/>
                    </a:lnTo>
                    <a:lnTo>
                      <a:pt x="452" y="532"/>
                    </a:lnTo>
                    <a:close/>
                    <a:moveTo>
                      <a:pt x="328" y="333"/>
                    </a:moveTo>
                    <a:lnTo>
                      <a:pt x="329" y="333"/>
                    </a:lnTo>
                    <a:lnTo>
                      <a:pt x="329" y="334"/>
                    </a:lnTo>
                    <a:lnTo>
                      <a:pt x="328" y="334"/>
                    </a:lnTo>
                    <a:lnTo>
                      <a:pt x="328" y="333"/>
                    </a:lnTo>
                    <a:close/>
                    <a:moveTo>
                      <a:pt x="500" y="459"/>
                    </a:moveTo>
                    <a:lnTo>
                      <a:pt x="500" y="461"/>
                    </a:lnTo>
                    <a:lnTo>
                      <a:pt x="500" y="459"/>
                    </a:lnTo>
                    <a:close/>
                    <a:moveTo>
                      <a:pt x="496" y="434"/>
                    </a:moveTo>
                    <a:lnTo>
                      <a:pt x="497" y="434"/>
                    </a:lnTo>
                    <a:lnTo>
                      <a:pt x="497" y="436"/>
                    </a:lnTo>
                    <a:lnTo>
                      <a:pt x="496" y="436"/>
                    </a:lnTo>
                    <a:lnTo>
                      <a:pt x="496" y="434"/>
                    </a:lnTo>
                    <a:close/>
                    <a:moveTo>
                      <a:pt x="562" y="515"/>
                    </a:moveTo>
                    <a:lnTo>
                      <a:pt x="563" y="515"/>
                    </a:lnTo>
                    <a:lnTo>
                      <a:pt x="562" y="515"/>
                    </a:lnTo>
                    <a:close/>
                    <a:moveTo>
                      <a:pt x="490" y="454"/>
                    </a:moveTo>
                    <a:lnTo>
                      <a:pt x="491" y="454"/>
                    </a:lnTo>
                    <a:lnTo>
                      <a:pt x="491" y="455"/>
                    </a:lnTo>
                    <a:lnTo>
                      <a:pt x="490" y="455"/>
                    </a:lnTo>
                    <a:lnTo>
                      <a:pt x="490" y="454"/>
                    </a:lnTo>
                    <a:close/>
                    <a:moveTo>
                      <a:pt x="568" y="637"/>
                    </a:moveTo>
                    <a:lnTo>
                      <a:pt x="570" y="637"/>
                    </a:lnTo>
                    <a:lnTo>
                      <a:pt x="570" y="640"/>
                    </a:lnTo>
                    <a:lnTo>
                      <a:pt x="568" y="640"/>
                    </a:lnTo>
                    <a:lnTo>
                      <a:pt x="568" y="637"/>
                    </a:lnTo>
                    <a:close/>
                    <a:moveTo>
                      <a:pt x="500" y="463"/>
                    </a:moveTo>
                    <a:lnTo>
                      <a:pt x="501" y="463"/>
                    </a:lnTo>
                    <a:lnTo>
                      <a:pt x="500" y="463"/>
                    </a:lnTo>
                    <a:close/>
                    <a:moveTo>
                      <a:pt x="177" y="362"/>
                    </a:moveTo>
                    <a:lnTo>
                      <a:pt x="178" y="362"/>
                    </a:lnTo>
                    <a:lnTo>
                      <a:pt x="178" y="363"/>
                    </a:lnTo>
                    <a:lnTo>
                      <a:pt x="177" y="363"/>
                    </a:lnTo>
                    <a:lnTo>
                      <a:pt x="177" y="362"/>
                    </a:lnTo>
                    <a:close/>
                    <a:moveTo>
                      <a:pt x="178" y="406"/>
                    </a:moveTo>
                    <a:lnTo>
                      <a:pt x="179" y="406"/>
                    </a:lnTo>
                    <a:lnTo>
                      <a:pt x="180" y="406"/>
                    </a:lnTo>
                    <a:lnTo>
                      <a:pt x="179" y="406"/>
                    </a:lnTo>
                    <a:lnTo>
                      <a:pt x="178" y="408"/>
                    </a:lnTo>
                    <a:lnTo>
                      <a:pt x="178" y="406"/>
                    </a:lnTo>
                    <a:close/>
                    <a:moveTo>
                      <a:pt x="522" y="536"/>
                    </a:moveTo>
                    <a:lnTo>
                      <a:pt x="523" y="536"/>
                    </a:lnTo>
                    <a:lnTo>
                      <a:pt x="523" y="537"/>
                    </a:lnTo>
                    <a:lnTo>
                      <a:pt x="522" y="537"/>
                    </a:lnTo>
                    <a:lnTo>
                      <a:pt x="522" y="536"/>
                    </a:lnTo>
                    <a:close/>
                    <a:moveTo>
                      <a:pt x="421" y="390"/>
                    </a:moveTo>
                    <a:lnTo>
                      <a:pt x="422" y="390"/>
                    </a:lnTo>
                    <a:lnTo>
                      <a:pt x="421" y="390"/>
                    </a:lnTo>
                    <a:lnTo>
                      <a:pt x="420" y="390"/>
                    </a:lnTo>
                    <a:lnTo>
                      <a:pt x="419" y="390"/>
                    </a:lnTo>
                    <a:lnTo>
                      <a:pt x="418" y="390"/>
                    </a:lnTo>
                    <a:lnTo>
                      <a:pt x="419" y="390"/>
                    </a:lnTo>
                    <a:lnTo>
                      <a:pt x="420" y="390"/>
                    </a:lnTo>
                    <a:lnTo>
                      <a:pt x="421" y="390"/>
                    </a:lnTo>
                    <a:close/>
                    <a:moveTo>
                      <a:pt x="193" y="358"/>
                    </a:moveTo>
                    <a:lnTo>
                      <a:pt x="195" y="358"/>
                    </a:lnTo>
                    <a:lnTo>
                      <a:pt x="195" y="360"/>
                    </a:lnTo>
                    <a:lnTo>
                      <a:pt x="193" y="360"/>
                    </a:lnTo>
                    <a:lnTo>
                      <a:pt x="193" y="358"/>
                    </a:lnTo>
                    <a:close/>
                    <a:moveTo>
                      <a:pt x="277" y="431"/>
                    </a:moveTo>
                    <a:lnTo>
                      <a:pt x="278" y="433"/>
                    </a:lnTo>
                    <a:lnTo>
                      <a:pt x="279" y="433"/>
                    </a:lnTo>
                    <a:lnTo>
                      <a:pt x="278" y="433"/>
                    </a:lnTo>
                    <a:lnTo>
                      <a:pt x="276" y="431"/>
                    </a:lnTo>
                    <a:lnTo>
                      <a:pt x="277" y="430"/>
                    </a:lnTo>
                    <a:lnTo>
                      <a:pt x="277" y="431"/>
                    </a:lnTo>
                    <a:close/>
                    <a:moveTo>
                      <a:pt x="418" y="390"/>
                    </a:moveTo>
                    <a:lnTo>
                      <a:pt x="420" y="390"/>
                    </a:lnTo>
                    <a:lnTo>
                      <a:pt x="420" y="392"/>
                    </a:lnTo>
                    <a:lnTo>
                      <a:pt x="418" y="392"/>
                    </a:lnTo>
                    <a:lnTo>
                      <a:pt x="418" y="390"/>
                    </a:lnTo>
                    <a:close/>
                    <a:moveTo>
                      <a:pt x="530" y="550"/>
                    </a:moveTo>
                    <a:lnTo>
                      <a:pt x="531" y="551"/>
                    </a:lnTo>
                    <a:lnTo>
                      <a:pt x="530" y="551"/>
                    </a:lnTo>
                    <a:lnTo>
                      <a:pt x="530" y="550"/>
                    </a:lnTo>
                    <a:lnTo>
                      <a:pt x="530" y="551"/>
                    </a:lnTo>
                    <a:lnTo>
                      <a:pt x="531" y="551"/>
                    </a:lnTo>
                    <a:lnTo>
                      <a:pt x="531" y="552"/>
                    </a:lnTo>
                    <a:lnTo>
                      <a:pt x="530" y="552"/>
                    </a:lnTo>
                    <a:lnTo>
                      <a:pt x="530" y="551"/>
                    </a:lnTo>
                    <a:lnTo>
                      <a:pt x="530" y="550"/>
                    </a:lnTo>
                    <a:close/>
                    <a:moveTo>
                      <a:pt x="337" y="472"/>
                    </a:moveTo>
                    <a:lnTo>
                      <a:pt x="337" y="473"/>
                    </a:lnTo>
                    <a:lnTo>
                      <a:pt x="338" y="472"/>
                    </a:lnTo>
                    <a:lnTo>
                      <a:pt x="338" y="473"/>
                    </a:lnTo>
                    <a:lnTo>
                      <a:pt x="337" y="473"/>
                    </a:lnTo>
                    <a:lnTo>
                      <a:pt x="336" y="472"/>
                    </a:lnTo>
                    <a:lnTo>
                      <a:pt x="337" y="472"/>
                    </a:lnTo>
                    <a:close/>
                    <a:moveTo>
                      <a:pt x="214" y="403"/>
                    </a:moveTo>
                    <a:lnTo>
                      <a:pt x="215" y="403"/>
                    </a:lnTo>
                    <a:lnTo>
                      <a:pt x="215" y="404"/>
                    </a:lnTo>
                    <a:lnTo>
                      <a:pt x="214" y="404"/>
                    </a:lnTo>
                    <a:lnTo>
                      <a:pt x="214" y="403"/>
                    </a:lnTo>
                    <a:close/>
                    <a:moveTo>
                      <a:pt x="271" y="399"/>
                    </a:moveTo>
                    <a:lnTo>
                      <a:pt x="272" y="400"/>
                    </a:lnTo>
                    <a:lnTo>
                      <a:pt x="271" y="399"/>
                    </a:lnTo>
                    <a:lnTo>
                      <a:pt x="270" y="399"/>
                    </a:lnTo>
                    <a:lnTo>
                      <a:pt x="270" y="398"/>
                    </a:lnTo>
                    <a:lnTo>
                      <a:pt x="271" y="398"/>
                    </a:lnTo>
                    <a:lnTo>
                      <a:pt x="271" y="399"/>
                    </a:lnTo>
                    <a:close/>
                    <a:moveTo>
                      <a:pt x="177" y="405"/>
                    </a:moveTo>
                    <a:lnTo>
                      <a:pt x="176" y="405"/>
                    </a:lnTo>
                    <a:lnTo>
                      <a:pt x="176" y="406"/>
                    </a:lnTo>
                    <a:lnTo>
                      <a:pt x="176" y="405"/>
                    </a:lnTo>
                    <a:lnTo>
                      <a:pt x="177" y="405"/>
                    </a:lnTo>
                    <a:close/>
                    <a:moveTo>
                      <a:pt x="546" y="515"/>
                    </a:moveTo>
                    <a:lnTo>
                      <a:pt x="548" y="515"/>
                    </a:lnTo>
                    <a:lnTo>
                      <a:pt x="548" y="516"/>
                    </a:lnTo>
                    <a:lnTo>
                      <a:pt x="546" y="516"/>
                    </a:lnTo>
                    <a:lnTo>
                      <a:pt x="546" y="515"/>
                    </a:lnTo>
                    <a:close/>
                    <a:moveTo>
                      <a:pt x="493" y="451"/>
                    </a:moveTo>
                    <a:lnTo>
                      <a:pt x="494" y="451"/>
                    </a:lnTo>
                    <a:lnTo>
                      <a:pt x="494" y="452"/>
                    </a:lnTo>
                    <a:lnTo>
                      <a:pt x="493" y="452"/>
                    </a:lnTo>
                    <a:lnTo>
                      <a:pt x="493" y="451"/>
                    </a:lnTo>
                    <a:close/>
                    <a:moveTo>
                      <a:pt x="448" y="528"/>
                    </a:moveTo>
                    <a:lnTo>
                      <a:pt x="446" y="528"/>
                    </a:lnTo>
                    <a:lnTo>
                      <a:pt x="447" y="528"/>
                    </a:lnTo>
                    <a:lnTo>
                      <a:pt x="448" y="528"/>
                    </a:lnTo>
                    <a:close/>
                    <a:moveTo>
                      <a:pt x="247" y="205"/>
                    </a:moveTo>
                    <a:lnTo>
                      <a:pt x="248" y="205"/>
                    </a:lnTo>
                    <a:lnTo>
                      <a:pt x="248" y="206"/>
                    </a:lnTo>
                    <a:lnTo>
                      <a:pt x="247" y="206"/>
                    </a:lnTo>
                    <a:lnTo>
                      <a:pt x="247" y="205"/>
                    </a:lnTo>
                    <a:close/>
                    <a:moveTo>
                      <a:pt x="431" y="375"/>
                    </a:moveTo>
                    <a:lnTo>
                      <a:pt x="432" y="375"/>
                    </a:lnTo>
                    <a:lnTo>
                      <a:pt x="432" y="376"/>
                    </a:lnTo>
                    <a:lnTo>
                      <a:pt x="431" y="376"/>
                    </a:lnTo>
                    <a:lnTo>
                      <a:pt x="431" y="375"/>
                    </a:lnTo>
                    <a:close/>
                    <a:moveTo>
                      <a:pt x="178" y="363"/>
                    </a:moveTo>
                    <a:lnTo>
                      <a:pt x="180" y="363"/>
                    </a:lnTo>
                    <a:lnTo>
                      <a:pt x="178" y="363"/>
                    </a:lnTo>
                    <a:close/>
                    <a:moveTo>
                      <a:pt x="181" y="353"/>
                    </a:moveTo>
                    <a:lnTo>
                      <a:pt x="182" y="353"/>
                    </a:lnTo>
                    <a:lnTo>
                      <a:pt x="183" y="354"/>
                    </a:lnTo>
                    <a:lnTo>
                      <a:pt x="182" y="354"/>
                    </a:lnTo>
                    <a:lnTo>
                      <a:pt x="181" y="354"/>
                    </a:lnTo>
                    <a:lnTo>
                      <a:pt x="181" y="353"/>
                    </a:lnTo>
                    <a:lnTo>
                      <a:pt x="181" y="354"/>
                    </a:lnTo>
                    <a:lnTo>
                      <a:pt x="181" y="353"/>
                    </a:lnTo>
                    <a:close/>
                    <a:moveTo>
                      <a:pt x="503" y="424"/>
                    </a:moveTo>
                    <a:lnTo>
                      <a:pt x="505" y="424"/>
                    </a:lnTo>
                    <a:lnTo>
                      <a:pt x="505" y="426"/>
                    </a:lnTo>
                    <a:lnTo>
                      <a:pt x="503" y="426"/>
                    </a:lnTo>
                    <a:lnTo>
                      <a:pt x="503" y="424"/>
                    </a:lnTo>
                    <a:close/>
                    <a:moveTo>
                      <a:pt x="489" y="435"/>
                    </a:moveTo>
                    <a:lnTo>
                      <a:pt x="491" y="435"/>
                    </a:lnTo>
                    <a:lnTo>
                      <a:pt x="491" y="436"/>
                    </a:lnTo>
                    <a:lnTo>
                      <a:pt x="489" y="436"/>
                    </a:lnTo>
                    <a:lnTo>
                      <a:pt x="489" y="435"/>
                    </a:lnTo>
                    <a:close/>
                    <a:moveTo>
                      <a:pt x="487" y="421"/>
                    </a:moveTo>
                    <a:lnTo>
                      <a:pt x="488" y="421"/>
                    </a:lnTo>
                    <a:lnTo>
                      <a:pt x="488" y="423"/>
                    </a:lnTo>
                    <a:lnTo>
                      <a:pt x="487" y="423"/>
                    </a:lnTo>
                    <a:lnTo>
                      <a:pt x="487" y="421"/>
                    </a:lnTo>
                    <a:close/>
                    <a:moveTo>
                      <a:pt x="420" y="673"/>
                    </a:moveTo>
                    <a:lnTo>
                      <a:pt x="421" y="673"/>
                    </a:lnTo>
                    <a:lnTo>
                      <a:pt x="421" y="674"/>
                    </a:lnTo>
                    <a:lnTo>
                      <a:pt x="420" y="674"/>
                    </a:lnTo>
                    <a:lnTo>
                      <a:pt x="420" y="673"/>
                    </a:lnTo>
                    <a:close/>
                    <a:moveTo>
                      <a:pt x="489" y="472"/>
                    </a:moveTo>
                    <a:lnTo>
                      <a:pt x="490" y="472"/>
                    </a:lnTo>
                    <a:lnTo>
                      <a:pt x="490" y="473"/>
                    </a:lnTo>
                    <a:lnTo>
                      <a:pt x="489" y="473"/>
                    </a:lnTo>
                    <a:lnTo>
                      <a:pt x="489" y="472"/>
                    </a:lnTo>
                    <a:close/>
                    <a:moveTo>
                      <a:pt x="187" y="414"/>
                    </a:moveTo>
                    <a:lnTo>
                      <a:pt x="187" y="415"/>
                    </a:lnTo>
                    <a:lnTo>
                      <a:pt x="186" y="415"/>
                    </a:lnTo>
                    <a:lnTo>
                      <a:pt x="186" y="416"/>
                    </a:lnTo>
                    <a:lnTo>
                      <a:pt x="186" y="415"/>
                    </a:lnTo>
                    <a:lnTo>
                      <a:pt x="184" y="415"/>
                    </a:lnTo>
                    <a:lnTo>
                      <a:pt x="186" y="415"/>
                    </a:lnTo>
                    <a:lnTo>
                      <a:pt x="186" y="414"/>
                    </a:lnTo>
                    <a:lnTo>
                      <a:pt x="187" y="414"/>
                    </a:lnTo>
                    <a:close/>
                    <a:moveTo>
                      <a:pt x="500" y="421"/>
                    </a:moveTo>
                    <a:lnTo>
                      <a:pt x="502" y="421"/>
                    </a:lnTo>
                    <a:lnTo>
                      <a:pt x="500" y="421"/>
                    </a:lnTo>
                    <a:close/>
                    <a:moveTo>
                      <a:pt x="554" y="551"/>
                    </a:moveTo>
                    <a:lnTo>
                      <a:pt x="555" y="551"/>
                    </a:lnTo>
                    <a:lnTo>
                      <a:pt x="555" y="552"/>
                    </a:lnTo>
                    <a:lnTo>
                      <a:pt x="554" y="552"/>
                    </a:lnTo>
                    <a:lnTo>
                      <a:pt x="554" y="551"/>
                    </a:lnTo>
                    <a:lnTo>
                      <a:pt x="554" y="552"/>
                    </a:lnTo>
                    <a:lnTo>
                      <a:pt x="553" y="552"/>
                    </a:lnTo>
                    <a:lnTo>
                      <a:pt x="553" y="551"/>
                    </a:lnTo>
                    <a:lnTo>
                      <a:pt x="554" y="551"/>
                    </a:lnTo>
                    <a:close/>
                    <a:moveTo>
                      <a:pt x="546" y="536"/>
                    </a:moveTo>
                    <a:lnTo>
                      <a:pt x="548" y="536"/>
                    </a:lnTo>
                    <a:lnTo>
                      <a:pt x="548" y="537"/>
                    </a:lnTo>
                    <a:lnTo>
                      <a:pt x="546" y="537"/>
                    </a:lnTo>
                    <a:lnTo>
                      <a:pt x="546" y="536"/>
                    </a:lnTo>
                    <a:close/>
                    <a:moveTo>
                      <a:pt x="419" y="546"/>
                    </a:moveTo>
                    <a:lnTo>
                      <a:pt x="420" y="546"/>
                    </a:lnTo>
                    <a:lnTo>
                      <a:pt x="420" y="547"/>
                    </a:lnTo>
                    <a:lnTo>
                      <a:pt x="419" y="547"/>
                    </a:lnTo>
                    <a:lnTo>
                      <a:pt x="419" y="546"/>
                    </a:lnTo>
                    <a:close/>
                    <a:moveTo>
                      <a:pt x="181" y="352"/>
                    </a:moveTo>
                    <a:lnTo>
                      <a:pt x="182" y="352"/>
                    </a:lnTo>
                    <a:lnTo>
                      <a:pt x="182" y="353"/>
                    </a:lnTo>
                    <a:lnTo>
                      <a:pt x="181" y="353"/>
                    </a:lnTo>
                    <a:lnTo>
                      <a:pt x="181" y="352"/>
                    </a:lnTo>
                    <a:close/>
                    <a:moveTo>
                      <a:pt x="574" y="555"/>
                    </a:moveTo>
                    <a:lnTo>
                      <a:pt x="576" y="555"/>
                    </a:lnTo>
                    <a:lnTo>
                      <a:pt x="576" y="556"/>
                    </a:lnTo>
                    <a:lnTo>
                      <a:pt x="574" y="556"/>
                    </a:lnTo>
                    <a:lnTo>
                      <a:pt x="574" y="555"/>
                    </a:lnTo>
                    <a:close/>
                    <a:moveTo>
                      <a:pt x="473" y="440"/>
                    </a:moveTo>
                    <a:lnTo>
                      <a:pt x="474" y="440"/>
                    </a:lnTo>
                    <a:lnTo>
                      <a:pt x="474" y="441"/>
                    </a:lnTo>
                    <a:lnTo>
                      <a:pt x="473" y="441"/>
                    </a:lnTo>
                    <a:lnTo>
                      <a:pt x="473" y="440"/>
                    </a:lnTo>
                    <a:close/>
                    <a:moveTo>
                      <a:pt x="242" y="399"/>
                    </a:moveTo>
                    <a:lnTo>
                      <a:pt x="241" y="399"/>
                    </a:lnTo>
                    <a:lnTo>
                      <a:pt x="242" y="399"/>
                    </a:lnTo>
                    <a:lnTo>
                      <a:pt x="241" y="399"/>
                    </a:lnTo>
                    <a:lnTo>
                      <a:pt x="242" y="399"/>
                    </a:lnTo>
                    <a:lnTo>
                      <a:pt x="243" y="398"/>
                    </a:lnTo>
                    <a:lnTo>
                      <a:pt x="242" y="399"/>
                    </a:lnTo>
                    <a:close/>
                    <a:moveTo>
                      <a:pt x="463" y="609"/>
                    </a:moveTo>
                    <a:lnTo>
                      <a:pt x="464" y="609"/>
                    </a:lnTo>
                    <a:lnTo>
                      <a:pt x="464" y="611"/>
                    </a:lnTo>
                    <a:lnTo>
                      <a:pt x="463" y="611"/>
                    </a:lnTo>
                    <a:lnTo>
                      <a:pt x="463" y="609"/>
                    </a:lnTo>
                    <a:close/>
                    <a:moveTo>
                      <a:pt x="509" y="563"/>
                    </a:moveTo>
                    <a:lnTo>
                      <a:pt x="510" y="563"/>
                    </a:lnTo>
                    <a:lnTo>
                      <a:pt x="510" y="564"/>
                    </a:lnTo>
                    <a:lnTo>
                      <a:pt x="509" y="564"/>
                    </a:lnTo>
                    <a:lnTo>
                      <a:pt x="509" y="563"/>
                    </a:lnTo>
                    <a:close/>
                    <a:moveTo>
                      <a:pt x="496" y="413"/>
                    </a:moveTo>
                    <a:lnTo>
                      <a:pt x="497" y="413"/>
                    </a:lnTo>
                    <a:lnTo>
                      <a:pt x="497" y="414"/>
                    </a:lnTo>
                    <a:lnTo>
                      <a:pt x="496" y="414"/>
                    </a:lnTo>
                    <a:lnTo>
                      <a:pt x="496" y="413"/>
                    </a:lnTo>
                    <a:close/>
                    <a:moveTo>
                      <a:pt x="182" y="409"/>
                    </a:moveTo>
                    <a:lnTo>
                      <a:pt x="184" y="409"/>
                    </a:lnTo>
                    <a:lnTo>
                      <a:pt x="184" y="410"/>
                    </a:lnTo>
                    <a:lnTo>
                      <a:pt x="182" y="410"/>
                    </a:lnTo>
                    <a:lnTo>
                      <a:pt x="182" y="409"/>
                    </a:lnTo>
                    <a:close/>
                    <a:moveTo>
                      <a:pt x="587" y="550"/>
                    </a:moveTo>
                    <a:lnTo>
                      <a:pt x="588" y="550"/>
                    </a:lnTo>
                    <a:lnTo>
                      <a:pt x="588" y="551"/>
                    </a:lnTo>
                    <a:lnTo>
                      <a:pt x="587" y="551"/>
                    </a:lnTo>
                    <a:lnTo>
                      <a:pt x="587" y="550"/>
                    </a:lnTo>
                    <a:close/>
                    <a:moveTo>
                      <a:pt x="558" y="520"/>
                    </a:moveTo>
                    <a:lnTo>
                      <a:pt x="560" y="520"/>
                    </a:lnTo>
                    <a:lnTo>
                      <a:pt x="560" y="521"/>
                    </a:lnTo>
                    <a:lnTo>
                      <a:pt x="558" y="521"/>
                    </a:lnTo>
                    <a:lnTo>
                      <a:pt x="558" y="520"/>
                    </a:lnTo>
                    <a:close/>
                    <a:moveTo>
                      <a:pt x="236" y="222"/>
                    </a:moveTo>
                    <a:lnTo>
                      <a:pt x="239" y="222"/>
                    </a:lnTo>
                    <a:lnTo>
                      <a:pt x="239" y="224"/>
                    </a:lnTo>
                    <a:lnTo>
                      <a:pt x="236" y="224"/>
                    </a:lnTo>
                    <a:lnTo>
                      <a:pt x="236" y="222"/>
                    </a:lnTo>
                    <a:close/>
                    <a:moveTo>
                      <a:pt x="266" y="400"/>
                    </a:moveTo>
                    <a:lnTo>
                      <a:pt x="267" y="400"/>
                    </a:lnTo>
                    <a:lnTo>
                      <a:pt x="267" y="401"/>
                    </a:lnTo>
                    <a:lnTo>
                      <a:pt x="266" y="401"/>
                    </a:lnTo>
                    <a:lnTo>
                      <a:pt x="266" y="400"/>
                    </a:lnTo>
                    <a:close/>
                    <a:moveTo>
                      <a:pt x="504" y="444"/>
                    </a:moveTo>
                    <a:lnTo>
                      <a:pt x="505" y="444"/>
                    </a:lnTo>
                    <a:lnTo>
                      <a:pt x="505" y="446"/>
                    </a:lnTo>
                    <a:lnTo>
                      <a:pt x="504" y="446"/>
                    </a:lnTo>
                    <a:lnTo>
                      <a:pt x="504" y="444"/>
                    </a:lnTo>
                    <a:close/>
                    <a:moveTo>
                      <a:pt x="501" y="438"/>
                    </a:moveTo>
                    <a:lnTo>
                      <a:pt x="500" y="438"/>
                    </a:lnTo>
                    <a:lnTo>
                      <a:pt x="500" y="437"/>
                    </a:lnTo>
                    <a:lnTo>
                      <a:pt x="500" y="436"/>
                    </a:lnTo>
                    <a:lnTo>
                      <a:pt x="500" y="437"/>
                    </a:lnTo>
                    <a:lnTo>
                      <a:pt x="500" y="438"/>
                    </a:lnTo>
                    <a:lnTo>
                      <a:pt x="501" y="438"/>
                    </a:lnTo>
                    <a:close/>
                    <a:moveTo>
                      <a:pt x="550" y="516"/>
                    </a:moveTo>
                    <a:lnTo>
                      <a:pt x="552" y="516"/>
                    </a:lnTo>
                    <a:lnTo>
                      <a:pt x="552" y="517"/>
                    </a:lnTo>
                    <a:lnTo>
                      <a:pt x="550" y="517"/>
                    </a:lnTo>
                    <a:lnTo>
                      <a:pt x="550" y="516"/>
                    </a:lnTo>
                    <a:close/>
                    <a:moveTo>
                      <a:pt x="465" y="435"/>
                    </a:moveTo>
                    <a:lnTo>
                      <a:pt x="466" y="435"/>
                    </a:lnTo>
                    <a:lnTo>
                      <a:pt x="466" y="436"/>
                    </a:lnTo>
                    <a:lnTo>
                      <a:pt x="465" y="436"/>
                    </a:lnTo>
                    <a:lnTo>
                      <a:pt x="465" y="435"/>
                    </a:lnTo>
                    <a:close/>
                    <a:moveTo>
                      <a:pt x="411" y="376"/>
                    </a:moveTo>
                    <a:lnTo>
                      <a:pt x="411" y="377"/>
                    </a:lnTo>
                    <a:lnTo>
                      <a:pt x="410" y="377"/>
                    </a:lnTo>
                    <a:lnTo>
                      <a:pt x="409" y="377"/>
                    </a:lnTo>
                    <a:lnTo>
                      <a:pt x="410" y="377"/>
                    </a:lnTo>
                    <a:lnTo>
                      <a:pt x="410" y="376"/>
                    </a:lnTo>
                    <a:lnTo>
                      <a:pt x="411" y="376"/>
                    </a:lnTo>
                    <a:close/>
                    <a:moveTo>
                      <a:pt x="480" y="420"/>
                    </a:moveTo>
                    <a:lnTo>
                      <a:pt x="479" y="420"/>
                    </a:lnTo>
                    <a:lnTo>
                      <a:pt x="478" y="420"/>
                    </a:lnTo>
                    <a:lnTo>
                      <a:pt x="479" y="420"/>
                    </a:lnTo>
                    <a:lnTo>
                      <a:pt x="479" y="421"/>
                    </a:lnTo>
                    <a:lnTo>
                      <a:pt x="479" y="420"/>
                    </a:lnTo>
                    <a:lnTo>
                      <a:pt x="480" y="420"/>
                    </a:lnTo>
                    <a:lnTo>
                      <a:pt x="479" y="421"/>
                    </a:lnTo>
                    <a:lnTo>
                      <a:pt x="479" y="420"/>
                    </a:lnTo>
                    <a:lnTo>
                      <a:pt x="479" y="421"/>
                    </a:lnTo>
                    <a:lnTo>
                      <a:pt x="478" y="421"/>
                    </a:lnTo>
                    <a:lnTo>
                      <a:pt x="478" y="420"/>
                    </a:lnTo>
                    <a:lnTo>
                      <a:pt x="479" y="420"/>
                    </a:lnTo>
                    <a:lnTo>
                      <a:pt x="480" y="420"/>
                    </a:lnTo>
                    <a:lnTo>
                      <a:pt x="480" y="418"/>
                    </a:lnTo>
                    <a:lnTo>
                      <a:pt x="480" y="420"/>
                    </a:lnTo>
                    <a:close/>
                    <a:moveTo>
                      <a:pt x="166" y="395"/>
                    </a:moveTo>
                    <a:lnTo>
                      <a:pt x="167" y="395"/>
                    </a:lnTo>
                    <a:lnTo>
                      <a:pt x="167" y="396"/>
                    </a:lnTo>
                    <a:lnTo>
                      <a:pt x="166" y="396"/>
                    </a:lnTo>
                    <a:lnTo>
                      <a:pt x="166" y="395"/>
                    </a:lnTo>
                    <a:close/>
                    <a:moveTo>
                      <a:pt x="422" y="391"/>
                    </a:moveTo>
                    <a:lnTo>
                      <a:pt x="423" y="391"/>
                    </a:lnTo>
                    <a:lnTo>
                      <a:pt x="424" y="391"/>
                    </a:lnTo>
                    <a:lnTo>
                      <a:pt x="423" y="391"/>
                    </a:lnTo>
                    <a:lnTo>
                      <a:pt x="422" y="391"/>
                    </a:lnTo>
                    <a:close/>
                    <a:moveTo>
                      <a:pt x="183" y="352"/>
                    </a:moveTo>
                    <a:lnTo>
                      <a:pt x="184" y="352"/>
                    </a:lnTo>
                    <a:lnTo>
                      <a:pt x="184" y="353"/>
                    </a:lnTo>
                    <a:lnTo>
                      <a:pt x="183" y="353"/>
                    </a:lnTo>
                    <a:lnTo>
                      <a:pt x="183" y="352"/>
                    </a:lnTo>
                    <a:close/>
                    <a:moveTo>
                      <a:pt x="266" y="402"/>
                    </a:moveTo>
                    <a:lnTo>
                      <a:pt x="267" y="402"/>
                    </a:lnTo>
                    <a:lnTo>
                      <a:pt x="267" y="403"/>
                    </a:lnTo>
                    <a:lnTo>
                      <a:pt x="266" y="403"/>
                    </a:lnTo>
                    <a:lnTo>
                      <a:pt x="266" y="402"/>
                    </a:lnTo>
                    <a:close/>
                    <a:moveTo>
                      <a:pt x="124" y="413"/>
                    </a:moveTo>
                    <a:lnTo>
                      <a:pt x="123" y="413"/>
                    </a:lnTo>
                    <a:lnTo>
                      <a:pt x="122" y="414"/>
                    </a:lnTo>
                    <a:lnTo>
                      <a:pt x="122" y="413"/>
                    </a:lnTo>
                    <a:lnTo>
                      <a:pt x="123" y="413"/>
                    </a:lnTo>
                    <a:lnTo>
                      <a:pt x="124" y="413"/>
                    </a:lnTo>
                    <a:close/>
                    <a:moveTo>
                      <a:pt x="255" y="262"/>
                    </a:moveTo>
                    <a:lnTo>
                      <a:pt x="256" y="262"/>
                    </a:lnTo>
                    <a:lnTo>
                      <a:pt x="256" y="263"/>
                    </a:lnTo>
                    <a:lnTo>
                      <a:pt x="255" y="263"/>
                    </a:lnTo>
                    <a:lnTo>
                      <a:pt x="255" y="262"/>
                    </a:lnTo>
                    <a:close/>
                    <a:moveTo>
                      <a:pt x="575" y="565"/>
                    </a:moveTo>
                    <a:lnTo>
                      <a:pt x="575" y="567"/>
                    </a:lnTo>
                    <a:lnTo>
                      <a:pt x="575" y="565"/>
                    </a:lnTo>
                    <a:close/>
                    <a:moveTo>
                      <a:pt x="552" y="437"/>
                    </a:moveTo>
                    <a:lnTo>
                      <a:pt x="553" y="437"/>
                    </a:lnTo>
                    <a:lnTo>
                      <a:pt x="553" y="438"/>
                    </a:lnTo>
                    <a:lnTo>
                      <a:pt x="552" y="438"/>
                    </a:lnTo>
                    <a:lnTo>
                      <a:pt x="552" y="437"/>
                    </a:lnTo>
                    <a:close/>
                    <a:moveTo>
                      <a:pt x="155" y="386"/>
                    </a:moveTo>
                    <a:lnTo>
                      <a:pt x="156" y="386"/>
                    </a:lnTo>
                    <a:lnTo>
                      <a:pt x="156" y="387"/>
                    </a:lnTo>
                    <a:lnTo>
                      <a:pt x="155" y="387"/>
                    </a:lnTo>
                    <a:lnTo>
                      <a:pt x="155" y="386"/>
                    </a:lnTo>
                    <a:close/>
                    <a:moveTo>
                      <a:pt x="196" y="375"/>
                    </a:moveTo>
                    <a:lnTo>
                      <a:pt x="197" y="375"/>
                    </a:lnTo>
                    <a:lnTo>
                      <a:pt x="197" y="376"/>
                    </a:lnTo>
                    <a:lnTo>
                      <a:pt x="196" y="376"/>
                    </a:lnTo>
                    <a:lnTo>
                      <a:pt x="196" y="375"/>
                    </a:lnTo>
                    <a:close/>
                    <a:moveTo>
                      <a:pt x="199" y="353"/>
                    </a:moveTo>
                    <a:lnTo>
                      <a:pt x="199" y="356"/>
                    </a:lnTo>
                    <a:lnTo>
                      <a:pt x="199" y="353"/>
                    </a:lnTo>
                    <a:close/>
                    <a:moveTo>
                      <a:pt x="549" y="537"/>
                    </a:moveTo>
                    <a:lnTo>
                      <a:pt x="550" y="537"/>
                    </a:lnTo>
                    <a:lnTo>
                      <a:pt x="550" y="538"/>
                    </a:lnTo>
                    <a:lnTo>
                      <a:pt x="549" y="538"/>
                    </a:lnTo>
                    <a:lnTo>
                      <a:pt x="549" y="537"/>
                    </a:lnTo>
                    <a:close/>
                    <a:moveTo>
                      <a:pt x="239" y="237"/>
                    </a:moveTo>
                    <a:lnTo>
                      <a:pt x="240" y="237"/>
                    </a:lnTo>
                    <a:lnTo>
                      <a:pt x="240" y="238"/>
                    </a:lnTo>
                    <a:lnTo>
                      <a:pt x="239" y="238"/>
                    </a:lnTo>
                    <a:lnTo>
                      <a:pt x="239" y="237"/>
                    </a:lnTo>
                    <a:close/>
                    <a:moveTo>
                      <a:pt x="194" y="401"/>
                    </a:moveTo>
                    <a:lnTo>
                      <a:pt x="193" y="401"/>
                    </a:lnTo>
                    <a:lnTo>
                      <a:pt x="192" y="401"/>
                    </a:lnTo>
                    <a:lnTo>
                      <a:pt x="192" y="402"/>
                    </a:lnTo>
                    <a:lnTo>
                      <a:pt x="192" y="401"/>
                    </a:lnTo>
                    <a:lnTo>
                      <a:pt x="194" y="401"/>
                    </a:lnTo>
                    <a:close/>
                    <a:moveTo>
                      <a:pt x="569" y="545"/>
                    </a:moveTo>
                    <a:lnTo>
                      <a:pt x="570" y="545"/>
                    </a:lnTo>
                    <a:lnTo>
                      <a:pt x="569" y="545"/>
                    </a:lnTo>
                    <a:close/>
                    <a:moveTo>
                      <a:pt x="103" y="329"/>
                    </a:moveTo>
                    <a:lnTo>
                      <a:pt x="104" y="329"/>
                    </a:lnTo>
                    <a:lnTo>
                      <a:pt x="104" y="331"/>
                    </a:lnTo>
                    <a:lnTo>
                      <a:pt x="103" y="331"/>
                    </a:lnTo>
                    <a:lnTo>
                      <a:pt x="103" y="329"/>
                    </a:lnTo>
                    <a:close/>
                    <a:moveTo>
                      <a:pt x="182" y="351"/>
                    </a:moveTo>
                    <a:lnTo>
                      <a:pt x="183" y="351"/>
                    </a:lnTo>
                    <a:lnTo>
                      <a:pt x="183" y="352"/>
                    </a:lnTo>
                    <a:lnTo>
                      <a:pt x="182" y="352"/>
                    </a:lnTo>
                    <a:lnTo>
                      <a:pt x="182" y="351"/>
                    </a:lnTo>
                    <a:close/>
                    <a:moveTo>
                      <a:pt x="421" y="374"/>
                    </a:moveTo>
                    <a:lnTo>
                      <a:pt x="422" y="374"/>
                    </a:lnTo>
                    <a:lnTo>
                      <a:pt x="422" y="376"/>
                    </a:lnTo>
                    <a:lnTo>
                      <a:pt x="421" y="376"/>
                    </a:lnTo>
                    <a:lnTo>
                      <a:pt x="421" y="374"/>
                    </a:lnTo>
                    <a:close/>
                    <a:moveTo>
                      <a:pt x="158" y="348"/>
                    </a:moveTo>
                    <a:lnTo>
                      <a:pt x="160" y="348"/>
                    </a:lnTo>
                    <a:lnTo>
                      <a:pt x="160" y="349"/>
                    </a:lnTo>
                    <a:lnTo>
                      <a:pt x="158" y="349"/>
                    </a:lnTo>
                    <a:lnTo>
                      <a:pt x="158" y="348"/>
                    </a:lnTo>
                    <a:close/>
                    <a:moveTo>
                      <a:pt x="389" y="364"/>
                    </a:moveTo>
                    <a:lnTo>
                      <a:pt x="388" y="364"/>
                    </a:lnTo>
                    <a:lnTo>
                      <a:pt x="387" y="364"/>
                    </a:lnTo>
                    <a:lnTo>
                      <a:pt x="388" y="363"/>
                    </a:lnTo>
                    <a:lnTo>
                      <a:pt x="388" y="364"/>
                    </a:lnTo>
                    <a:lnTo>
                      <a:pt x="388" y="363"/>
                    </a:lnTo>
                    <a:lnTo>
                      <a:pt x="389" y="364"/>
                    </a:lnTo>
                    <a:lnTo>
                      <a:pt x="389" y="363"/>
                    </a:lnTo>
                    <a:lnTo>
                      <a:pt x="390" y="363"/>
                    </a:lnTo>
                    <a:lnTo>
                      <a:pt x="389" y="364"/>
                    </a:lnTo>
                    <a:close/>
                    <a:moveTo>
                      <a:pt x="492" y="570"/>
                    </a:moveTo>
                    <a:lnTo>
                      <a:pt x="493" y="570"/>
                    </a:lnTo>
                    <a:lnTo>
                      <a:pt x="493" y="571"/>
                    </a:lnTo>
                    <a:lnTo>
                      <a:pt x="492" y="571"/>
                    </a:lnTo>
                    <a:lnTo>
                      <a:pt x="492" y="570"/>
                    </a:lnTo>
                    <a:close/>
                    <a:moveTo>
                      <a:pt x="434" y="366"/>
                    </a:moveTo>
                    <a:lnTo>
                      <a:pt x="433" y="366"/>
                    </a:lnTo>
                    <a:lnTo>
                      <a:pt x="432" y="366"/>
                    </a:lnTo>
                    <a:lnTo>
                      <a:pt x="433" y="366"/>
                    </a:lnTo>
                    <a:lnTo>
                      <a:pt x="434" y="366"/>
                    </a:lnTo>
                    <a:close/>
                    <a:moveTo>
                      <a:pt x="480" y="424"/>
                    </a:moveTo>
                    <a:lnTo>
                      <a:pt x="480" y="423"/>
                    </a:lnTo>
                    <a:lnTo>
                      <a:pt x="480" y="422"/>
                    </a:lnTo>
                    <a:lnTo>
                      <a:pt x="481" y="422"/>
                    </a:lnTo>
                    <a:lnTo>
                      <a:pt x="480" y="422"/>
                    </a:lnTo>
                    <a:lnTo>
                      <a:pt x="481" y="422"/>
                    </a:lnTo>
                    <a:lnTo>
                      <a:pt x="480" y="422"/>
                    </a:lnTo>
                    <a:lnTo>
                      <a:pt x="481" y="421"/>
                    </a:lnTo>
                    <a:lnTo>
                      <a:pt x="483" y="420"/>
                    </a:lnTo>
                    <a:lnTo>
                      <a:pt x="481" y="420"/>
                    </a:lnTo>
                    <a:lnTo>
                      <a:pt x="483" y="420"/>
                    </a:lnTo>
                    <a:lnTo>
                      <a:pt x="481" y="421"/>
                    </a:lnTo>
                    <a:lnTo>
                      <a:pt x="481" y="422"/>
                    </a:lnTo>
                    <a:lnTo>
                      <a:pt x="480" y="423"/>
                    </a:lnTo>
                    <a:lnTo>
                      <a:pt x="480" y="424"/>
                    </a:lnTo>
                    <a:close/>
                    <a:moveTo>
                      <a:pt x="228" y="405"/>
                    </a:moveTo>
                    <a:lnTo>
                      <a:pt x="229" y="405"/>
                    </a:lnTo>
                    <a:lnTo>
                      <a:pt x="229" y="406"/>
                    </a:lnTo>
                    <a:lnTo>
                      <a:pt x="228" y="406"/>
                    </a:lnTo>
                    <a:lnTo>
                      <a:pt x="228" y="405"/>
                    </a:lnTo>
                    <a:close/>
                    <a:moveTo>
                      <a:pt x="423" y="386"/>
                    </a:moveTo>
                    <a:lnTo>
                      <a:pt x="423" y="385"/>
                    </a:lnTo>
                    <a:lnTo>
                      <a:pt x="423" y="384"/>
                    </a:lnTo>
                    <a:lnTo>
                      <a:pt x="423" y="385"/>
                    </a:lnTo>
                    <a:lnTo>
                      <a:pt x="423" y="386"/>
                    </a:lnTo>
                    <a:close/>
                    <a:moveTo>
                      <a:pt x="542" y="542"/>
                    </a:moveTo>
                    <a:lnTo>
                      <a:pt x="541" y="542"/>
                    </a:lnTo>
                    <a:lnTo>
                      <a:pt x="541" y="541"/>
                    </a:lnTo>
                    <a:lnTo>
                      <a:pt x="541" y="540"/>
                    </a:lnTo>
                    <a:lnTo>
                      <a:pt x="540" y="539"/>
                    </a:lnTo>
                    <a:lnTo>
                      <a:pt x="541" y="539"/>
                    </a:lnTo>
                    <a:lnTo>
                      <a:pt x="542" y="539"/>
                    </a:lnTo>
                    <a:lnTo>
                      <a:pt x="541" y="539"/>
                    </a:lnTo>
                    <a:lnTo>
                      <a:pt x="541" y="540"/>
                    </a:lnTo>
                    <a:lnTo>
                      <a:pt x="541" y="541"/>
                    </a:lnTo>
                    <a:lnTo>
                      <a:pt x="541" y="542"/>
                    </a:lnTo>
                    <a:lnTo>
                      <a:pt x="542" y="542"/>
                    </a:lnTo>
                    <a:close/>
                    <a:moveTo>
                      <a:pt x="543" y="554"/>
                    </a:moveTo>
                    <a:lnTo>
                      <a:pt x="544" y="554"/>
                    </a:lnTo>
                    <a:lnTo>
                      <a:pt x="544" y="555"/>
                    </a:lnTo>
                    <a:lnTo>
                      <a:pt x="543" y="555"/>
                    </a:lnTo>
                    <a:lnTo>
                      <a:pt x="543" y="554"/>
                    </a:lnTo>
                    <a:close/>
                    <a:moveTo>
                      <a:pt x="390" y="364"/>
                    </a:moveTo>
                    <a:lnTo>
                      <a:pt x="391" y="364"/>
                    </a:lnTo>
                    <a:lnTo>
                      <a:pt x="393" y="364"/>
                    </a:lnTo>
                    <a:lnTo>
                      <a:pt x="394" y="364"/>
                    </a:lnTo>
                    <a:lnTo>
                      <a:pt x="395" y="364"/>
                    </a:lnTo>
                    <a:lnTo>
                      <a:pt x="396" y="364"/>
                    </a:lnTo>
                    <a:lnTo>
                      <a:pt x="397" y="364"/>
                    </a:lnTo>
                    <a:lnTo>
                      <a:pt x="396" y="364"/>
                    </a:lnTo>
                    <a:lnTo>
                      <a:pt x="394" y="364"/>
                    </a:lnTo>
                    <a:lnTo>
                      <a:pt x="393" y="364"/>
                    </a:lnTo>
                    <a:lnTo>
                      <a:pt x="391" y="364"/>
                    </a:lnTo>
                    <a:lnTo>
                      <a:pt x="390" y="364"/>
                    </a:lnTo>
                    <a:lnTo>
                      <a:pt x="389" y="364"/>
                    </a:lnTo>
                    <a:lnTo>
                      <a:pt x="390" y="364"/>
                    </a:lnTo>
                    <a:close/>
                    <a:moveTo>
                      <a:pt x="404" y="371"/>
                    </a:moveTo>
                    <a:lnTo>
                      <a:pt x="406" y="371"/>
                    </a:lnTo>
                    <a:lnTo>
                      <a:pt x="407" y="371"/>
                    </a:lnTo>
                    <a:lnTo>
                      <a:pt x="408" y="371"/>
                    </a:lnTo>
                    <a:lnTo>
                      <a:pt x="407" y="371"/>
                    </a:lnTo>
                    <a:lnTo>
                      <a:pt x="406" y="371"/>
                    </a:lnTo>
                    <a:lnTo>
                      <a:pt x="404" y="371"/>
                    </a:lnTo>
                    <a:close/>
                    <a:moveTo>
                      <a:pt x="413" y="379"/>
                    </a:moveTo>
                    <a:lnTo>
                      <a:pt x="413" y="382"/>
                    </a:lnTo>
                    <a:lnTo>
                      <a:pt x="413" y="379"/>
                    </a:lnTo>
                    <a:close/>
                    <a:moveTo>
                      <a:pt x="408" y="365"/>
                    </a:moveTo>
                    <a:lnTo>
                      <a:pt x="409" y="365"/>
                    </a:lnTo>
                    <a:lnTo>
                      <a:pt x="408" y="365"/>
                    </a:lnTo>
                    <a:lnTo>
                      <a:pt x="408" y="366"/>
                    </a:lnTo>
                    <a:lnTo>
                      <a:pt x="408" y="365"/>
                    </a:lnTo>
                    <a:lnTo>
                      <a:pt x="408" y="364"/>
                    </a:lnTo>
                    <a:lnTo>
                      <a:pt x="409" y="364"/>
                    </a:lnTo>
                    <a:lnTo>
                      <a:pt x="408" y="364"/>
                    </a:lnTo>
                    <a:lnTo>
                      <a:pt x="408" y="365"/>
                    </a:lnTo>
                    <a:close/>
                    <a:moveTo>
                      <a:pt x="186" y="406"/>
                    </a:moveTo>
                    <a:lnTo>
                      <a:pt x="187" y="406"/>
                    </a:lnTo>
                    <a:lnTo>
                      <a:pt x="187" y="408"/>
                    </a:lnTo>
                    <a:lnTo>
                      <a:pt x="186" y="408"/>
                    </a:lnTo>
                    <a:lnTo>
                      <a:pt x="186" y="406"/>
                    </a:lnTo>
                    <a:close/>
                    <a:moveTo>
                      <a:pt x="419" y="377"/>
                    </a:moveTo>
                    <a:lnTo>
                      <a:pt x="421" y="377"/>
                    </a:lnTo>
                    <a:lnTo>
                      <a:pt x="421" y="378"/>
                    </a:lnTo>
                    <a:lnTo>
                      <a:pt x="419" y="378"/>
                    </a:lnTo>
                    <a:lnTo>
                      <a:pt x="419" y="377"/>
                    </a:lnTo>
                    <a:close/>
                    <a:moveTo>
                      <a:pt x="505" y="565"/>
                    </a:moveTo>
                    <a:lnTo>
                      <a:pt x="506" y="565"/>
                    </a:lnTo>
                    <a:lnTo>
                      <a:pt x="506" y="566"/>
                    </a:lnTo>
                    <a:lnTo>
                      <a:pt x="505" y="566"/>
                    </a:lnTo>
                    <a:lnTo>
                      <a:pt x="505" y="565"/>
                    </a:lnTo>
                    <a:close/>
                    <a:moveTo>
                      <a:pt x="450" y="371"/>
                    </a:moveTo>
                    <a:lnTo>
                      <a:pt x="452" y="371"/>
                    </a:lnTo>
                    <a:lnTo>
                      <a:pt x="450" y="371"/>
                    </a:lnTo>
                    <a:close/>
                    <a:moveTo>
                      <a:pt x="566" y="563"/>
                    </a:moveTo>
                    <a:lnTo>
                      <a:pt x="567" y="563"/>
                    </a:lnTo>
                    <a:lnTo>
                      <a:pt x="567" y="564"/>
                    </a:lnTo>
                    <a:lnTo>
                      <a:pt x="566" y="564"/>
                    </a:lnTo>
                    <a:lnTo>
                      <a:pt x="566" y="563"/>
                    </a:lnTo>
                    <a:close/>
                    <a:moveTo>
                      <a:pt x="289" y="430"/>
                    </a:moveTo>
                    <a:lnTo>
                      <a:pt x="291" y="430"/>
                    </a:lnTo>
                    <a:lnTo>
                      <a:pt x="291" y="433"/>
                    </a:lnTo>
                    <a:lnTo>
                      <a:pt x="289" y="433"/>
                    </a:lnTo>
                    <a:lnTo>
                      <a:pt x="289" y="430"/>
                    </a:lnTo>
                    <a:close/>
                    <a:moveTo>
                      <a:pt x="502" y="556"/>
                    </a:moveTo>
                    <a:lnTo>
                      <a:pt x="503" y="556"/>
                    </a:lnTo>
                    <a:lnTo>
                      <a:pt x="503" y="557"/>
                    </a:lnTo>
                    <a:lnTo>
                      <a:pt x="502" y="557"/>
                    </a:lnTo>
                    <a:lnTo>
                      <a:pt x="502" y="556"/>
                    </a:lnTo>
                    <a:close/>
                    <a:moveTo>
                      <a:pt x="422" y="382"/>
                    </a:moveTo>
                    <a:lnTo>
                      <a:pt x="423" y="382"/>
                    </a:lnTo>
                    <a:lnTo>
                      <a:pt x="423" y="383"/>
                    </a:lnTo>
                    <a:lnTo>
                      <a:pt x="422" y="383"/>
                    </a:lnTo>
                    <a:lnTo>
                      <a:pt x="422" y="382"/>
                    </a:lnTo>
                    <a:close/>
                    <a:moveTo>
                      <a:pt x="245" y="397"/>
                    </a:moveTo>
                    <a:lnTo>
                      <a:pt x="245" y="398"/>
                    </a:lnTo>
                    <a:lnTo>
                      <a:pt x="244" y="398"/>
                    </a:lnTo>
                    <a:lnTo>
                      <a:pt x="245" y="398"/>
                    </a:lnTo>
                    <a:lnTo>
                      <a:pt x="244" y="398"/>
                    </a:lnTo>
                    <a:lnTo>
                      <a:pt x="243" y="398"/>
                    </a:lnTo>
                    <a:lnTo>
                      <a:pt x="244" y="398"/>
                    </a:lnTo>
                    <a:lnTo>
                      <a:pt x="245" y="397"/>
                    </a:lnTo>
                    <a:close/>
                    <a:moveTo>
                      <a:pt x="448" y="374"/>
                    </a:moveTo>
                    <a:lnTo>
                      <a:pt x="449" y="374"/>
                    </a:lnTo>
                    <a:lnTo>
                      <a:pt x="449" y="376"/>
                    </a:lnTo>
                    <a:lnTo>
                      <a:pt x="448" y="376"/>
                    </a:lnTo>
                    <a:lnTo>
                      <a:pt x="448" y="374"/>
                    </a:lnTo>
                    <a:close/>
                    <a:moveTo>
                      <a:pt x="548" y="530"/>
                    </a:moveTo>
                    <a:lnTo>
                      <a:pt x="549" y="530"/>
                    </a:lnTo>
                    <a:lnTo>
                      <a:pt x="549" y="531"/>
                    </a:lnTo>
                    <a:lnTo>
                      <a:pt x="548" y="531"/>
                    </a:lnTo>
                    <a:lnTo>
                      <a:pt x="548" y="530"/>
                    </a:lnTo>
                    <a:close/>
                    <a:moveTo>
                      <a:pt x="273" y="412"/>
                    </a:moveTo>
                    <a:lnTo>
                      <a:pt x="274" y="412"/>
                    </a:lnTo>
                    <a:lnTo>
                      <a:pt x="274" y="413"/>
                    </a:lnTo>
                    <a:lnTo>
                      <a:pt x="273" y="413"/>
                    </a:lnTo>
                    <a:lnTo>
                      <a:pt x="273" y="412"/>
                    </a:lnTo>
                    <a:close/>
                    <a:moveTo>
                      <a:pt x="274" y="413"/>
                    </a:moveTo>
                    <a:lnTo>
                      <a:pt x="273" y="413"/>
                    </a:lnTo>
                    <a:lnTo>
                      <a:pt x="272" y="413"/>
                    </a:lnTo>
                    <a:lnTo>
                      <a:pt x="273" y="413"/>
                    </a:lnTo>
                    <a:lnTo>
                      <a:pt x="274" y="413"/>
                    </a:lnTo>
                    <a:close/>
                    <a:moveTo>
                      <a:pt x="552" y="538"/>
                    </a:moveTo>
                    <a:lnTo>
                      <a:pt x="552" y="539"/>
                    </a:lnTo>
                    <a:lnTo>
                      <a:pt x="552" y="538"/>
                    </a:lnTo>
                    <a:close/>
                    <a:moveTo>
                      <a:pt x="206" y="392"/>
                    </a:moveTo>
                    <a:lnTo>
                      <a:pt x="207" y="392"/>
                    </a:lnTo>
                    <a:lnTo>
                      <a:pt x="207" y="393"/>
                    </a:lnTo>
                    <a:lnTo>
                      <a:pt x="206" y="393"/>
                    </a:lnTo>
                    <a:lnTo>
                      <a:pt x="206" y="392"/>
                    </a:lnTo>
                    <a:close/>
                    <a:moveTo>
                      <a:pt x="208" y="406"/>
                    </a:moveTo>
                    <a:lnTo>
                      <a:pt x="209" y="406"/>
                    </a:lnTo>
                    <a:lnTo>
                      <a:pt x="209" y="408"/>
                    </a:lnTo>
                    <a:lnTo>
                      <a:pt x="208" y="408"/>
                    </a:lnTo>
                    <a:lnTo>
                      <a:pt x="208" y="406"/>
                    </a:lnTo>
                    <a:close/>
                    <a:moveTo>
                      <a:pt x="254" y="209"/>
                    </a:moveTo>
                    <a:lnTo>
                      <a:pt x="255" y="209"/>
                    </a:lnTo>
                    <a:lnTo>
                      <a:pt x="255" y="210"/>
                    </a:lnTo>
                    <a:lnTo>
                      <a:pt x="254" y="210"/>
                    </a:lnTo>
                    <a:lnTo>
                      <a:pt x="254" y="209"/>
                    </a:lnTo>
                    <a:close/>
                    <a:moveTo>
                      <a:pt x="499" y="453"/>
                    </a:moveTo>
                    <a:lnTo>
                      <a:pt x="500" y="453"/>
                    </a:lnTo>
                    <a:lnTo>
                      <a:pt x="500" y="454"/>
                    </a:lnTo>
                    <a:lnTo>
                      <a:pt x="499" y="454"/>
                    </a:lnTo>
                    <a:lnTo>
                      <a:pt x="499" y="453"/>
                    </a:lnTo>
                    <a:close/>
                    <a:moveTo>
                      <a:pt x="444" y="527"/>
                    </a:moveTo>
                    <a:lnTo>
                      <a:pt x="445" y="527"/>
                    </a:lnTo>
                    <a:lnTo>
                      <a:pt x="445" y="528"/>
                    </a:lnTo>
                    <a:lnTo>
                      <a:pt x="444" y="528"/>
                    </a:lnTo>
                    <a:lnTo>
                      <a:pt x="444" y="527"/>
                    </a:lnTo>
                    <a:close/>
                    <a:moveTo>
                      <a:pt x="233" y="397"/>
                    </a:moveTo>
                    <a:lnTo>
                      <a:pt x="235" y="397"/>
                    </a:lnTo>
                    <a:lnTo>
                      <a:pt x="235" y="398"/>
                    </a:lnTo>
                    <a:lnTo>
                      <a:pt x="233" y="398"/>
                    </a:lnTo>
                    <a:lnTo>
                      <a:pt x="233" y="397"/>
                    </a:lnTo>
                    <a:close/>
                    <a:moveTo>
                      <a:pt x="566" y="564"/>
                    </a:moveTo>
                    <a:lnTo>
                      <a:pt x="567" y="564"/>
                    </a:lnTo>
                    <a:lnTo>
                      <a:pt x="567" y="565"/>
                    </a:lnTo>
                    <a:lnTo>
                      <a:pt x="566" y="565"/>
                    </a:lnTo>
                    <a:lnTo>
                      <a:pt x="566" y="564"/>
                    </a:lnTo>
                    <a:close/>
                    <a:moveTo>
                      <a:pt x="201" y="390"/>
                    </a:moveTo>
                    <a:lnTo>
                      <a:pt x="202" y="390"/>
                    </a:lnTo>
                    <a:lnTo>
                      <a:pt x="202" y="391"/>
                    </a:lnTo>
                    <a:lnTo>
                      <a:pt x="201" y="391"/>
                    </a:lnTo>
                    <a:lnTo>
                      <a:pt x="201" y="390"/>
                    </a:lnTo>
                    <a:close/>
                    <a:moveTo>
                      <a:pt x="445" y="399"/>
                    </a:moveTo>
                    <a:lnTo>
                      <a:pt x="444" y="399"/>
                    </a:lnTo>
                    <a:lnTo>
                      <a:pt x="445" y="398"/>
                    </a:lnTo>
                    <a:lnTo>
                      <a:pt x="446" y="398"/>
                    </a:lnTo>
                    <a:lnTo>
                      <a:pt x="447" y="397"/>
                    </a:lnTo>
                    <a:lnTo>
                      <a:pt x="447" y="398"/>
                    </a:lnTo>
                    <a:lnTo>
                      <a:pt x="446" y="398"/>
                    </a:lnTo>
                    <a:lnTo>
                      <a:pt x="445" y="399"/>
                    </a:lnTo>
                    <a:close/>
                    <a:moveTo>
                      <a:pt x="447" y="528"/>
                    </a:moveTo>
                    <a:lnTo>
                      <a:pt x="448" y="528"/>
                    </a:lnTo>
                    <a:lnTo>
                      <a:pt x="448" y="529"/>
                    </a:lnTo>
                    <a:lnTo>
                      <a:pt x="447" y="529"/>
                    </a:lnTo>
                    <a:lnTo>
                      <a:pt x="447" y="528"/>
                    </a:lnTo>
                    <a:close/>
                    <a:moveTo>
                      <a:pt x="236" y="403"/>
                    </a:moveTo>
                    <a:lnTo>
                      <a:pt x="238" y="403"/>
                    </a:lnTo>
                    <a:lnTo>
                      <a:pt x="238" y="404"/>
                    </a:lnTo>
                    <a:lnTo>
                      <a:pt x="236" y="404"/>
                    </a:lnTo>
                    <a:lnTo>
                      <a:pt x="236" y="403"/>
                    </a:lnTo>
                    <a:close/>
                    <a:moveTo>
                      <a:pt x="293" y="437"/>
                    </a:moveTo>
                    <a:lnTo>
                      <a:pt x="293" y="436"/>
                    </a:lnTo>
                    <a:lnTo>
                      <a:pt x="293" y="435"/>
                    </a:lnTo>
                    <a:lnTo>
                      <a:pt x="293" y="434"/>
                    </a:lnTo>
                    <a:lnTo>
                      <a:pt x="293" y="433"/>
                    </a:lnTo>
                    <a:lnTo>
                      <a:pt x="293" y="434"/>
                    </a:lnTo>
                    <a:lnTo>
                      <a:pt x="293" y="435"/>
                    </a:lnTo>
                    <a:lnTo>
                      <a:pt x="293" y="436"/>
                    </a:lnTo>
                    <a:lnTo>
                      <a:pt x="293" y="437"/>
                    </a:lnTo>
                    <a:close/>
                    <a:moveTo>
                      <a:pt x="214" y="402"/>
                    </a:moveTo>
                    <a:lnTo>
                      <a:pt x="215" y="402"/>
                    </a:lnTo>
                    <a:lnTo>
                      <a:pt x="215" y="403"/>
                    </a:lnTo>
                    <a:lnTo>
                      <a:pt x="214" y="403"/>
                    </a:lnTo>
                    <a:lnTo>
                      <a:pt x="214" y="402"/>
                    </a:lnTo>
                    <a:close/>
                    <a:moveTo>
                      <a:pt x="221" y="403"/>
                    </a:moveTo>
                    <a:lnTo>
                      <a:pt x="222" y="403"/>
                    </a:lnTo>
                    <a:lnTo>
                      <a:pt x="222" y="404"/>
                    </a:lnTo>
                    <a:lnTo>
                      <a:pt x="221" y="404"/>
                    </a:lnTo>
                    <a:lnTo>
                      <a:pt x="221" y="403"/>
                    </a:lnTo>
                    <a:close/>
                    <a:moveTo>
                      <a:pt x="324" y="264"/>
                    </a:moveTo>
                    <a:lnTo>
                      <a:pt x="325" y="264"/>
                    </a:lnTo>
                    <a:lnTo>
                      <a:pt x="325" y="266"/>
                    </a:lnTo>
                    <a:lnTo>
                      <a:pt x="324" y="266"/>
                    </a:lnTo>
                    <a:lnTo>
                      <a:pt x="324" y="264"/>
                    </a:lnTo>
                    <a:close/>
                    <a:moveTo>
                      <a:pt x="177" y="360"/>
                    </a:moveTo>
                    <a:lnTo>
                      <a:pt x="178" y="360"/>
                    </a:lnTo>
                    <a:lnTo>
                      <a:pt x="177" y="360"/>
                    </a:lnTo>
                    <a:close/>
                    <a:moveTo>
                      <a:pt x="493" y="570"/>
                    </a:moveTo>
                    <a:lnTo>
                      <a:pt x="496" y="570"/>
                    </a:lnTo>
                    <a:lnTo>
                      <a:pt x="496" y="571"/>
                    </a:lnTo>
                    <a:lnTo>
                      <a:pt x="493" y="571"/>
                    </a:lnTo>
                    <a:lnTo>
                      <a:pt x="493" y="570"/>
                    </a:lnTo>
                    <a:close/>
                    <a:moveTo>
                      <a:pt x="161" y="356"/>
                    </a:moveTo>
                    <a:lnTo>
                      <a:pt x="160" y="356"/>
                    </a:lnTo>
                    <a:lnTo>
                      <a:pt x="158" y="356"/>
                    </a:lnTo>
                    <a:lnTo>
                      <a:pt x="160" y="356"/>
                    </a:lnTo>
                    <a:lnTo>
                      <a:pt x="161" y="356"/>
                    </a:lnTo>
                    <a:lnTo>
                      <a:pt x="161" y="354"/>
                    </a:lnTo>
                    <a:lnTo>
                      <a:pt x="161" y="356"/>
                    </a:lnTo>
                    <a:close/>
                    <a:moveTo>
                      <a:pt x="455" y="623"/>
                    </a:moveTo>
                    <a:lnTo>
                      <a:pt x="457" y="623"/>
                    </a:lnTo>
                    <a:lnTo>
                      <a:pt x="457" y="624"/>
                    </a:lnTo>
                    <a:lnTo>
                      <a:pt x="457" y="623"/>
                    </a:lnTo>
                    <a:lnTo>
                      <a:pt x="455" y="623"/>
                    </a:lnTo>
                    <a:lnTo>
                      <a:pt x="454" y="624"/>
                    </a:lnTo>
                    <a:lnTo>
                      <a:pt x="454" y="626"/>
                    </a:lnTo>
                    <a:lnTo>
                      <a:pt x="453" y="626"/>
                    </a:lnTo>
                    <a:lnTo>
                      <a:pt x="454" y="626"/>
                    </a:lnTo>
                    <a:lnTo>
                      <a:pt x="454" y="624"/>
                    </a:lnTo>
                    <a:lnTo>
                      <a:pt x="455" y="623"/>
                    </a:lnTo>
                    <a:close/>
                    <a:moveTo>
                      <a:pt x="455" y="622"/>
                    </a:moveTo>
                    <a:lnTo>
                      <a:pt x="457" y="622"/>
                    </a:lnTo>
                    <a:lnTo>
                      <a:pt x="457" y="623"/>
                    </a:lnTo>
                    <a:lnTo>
                      <a:pt x="455" y="623"/>
                    </a:lnTo>
                    <a:lnTo>
                      <a:pt x="455" y="622"/>
                    </a:lnTo>
                    <a:close/>
                    <a:moveTo>
                      <a:pt x="178" y="345"/>
                    </a:moveTo>
                    <a:lnTo>
                      <a:pt x="177" y="345"/>
                    </a:lnTo>
                    <a:lnTo>
                      <a:pt x="178" y="345"/>
                    </a:lnTo>
                    <a:lnTo>
                      <a:pt x="179" y="344"/>
                    </a:lnTo>
                    <a:lnTo>
                      <a:pt x="178" y="345"/>
                    </a:lnTo>
                    <a:close/>
                    <a:moveTo>
                      <a:pt x="549" y="530"/>
                    </a:moveTo>
                    <a:lnTo>
                      <a:pt x="551" y="528"/>
                    </a:lnTo>
                    <a:lnTo>
                      <a:pt x="549" y="530"/>
                    </a:lnTo>
                    <a:close/>
                    <a:moveTo>
                      <a:pt x="179" y="351"/>
                    </a:moveTo>
                    <a:lnTo>
                      <a:pt x="180" y="351"/>
                    </a:lnTo>
                    <a:lnTo>
                      <a:pt x="180" y="353"/>
                    </a:lnTo>
                    <a:lnTo>
                      <a:pt x="179" y="353"/>
                    </a:lnTo>
                    <a:lnTo>
                      <a:pt x="179" y="351"/>
                    </a:lnTo>
                    <a:close/>
                    <a:moveTo>
                      <a:pt x="110" y="300"/>
                    </a:moveTo>
                    <a:lnTo>
                      <a:pt x="111" y="300"/>
                    </a:lnTo>
                    <a:lnTo>
                      <a:pt x="111" y="301"/>
                    </a:lnTo>
                    <a:lnTo>
                      <a:pt x="110" y="301"/>
                    </a:lnTo>
                    <a:lnTo>
                      <a:pt x="110" y="300"/>
                    </a:lnTo>
                    <a:close/>
                    <a:moveTo>
                      <a:pt x="423" y="371"/>
                    </a:moveTo>
                    <a:lnTo>
                      <a:pt x="424" y="371"/>
                    </a:lnTo>
                    <a:lnTo>
                      <a:pt x="424" y="372"/>
                    </a:lnTo>
                    <a:lnTo>
                      <a:pt x="423" y="372"/>
                    </a:lnTo>
                    <a:lnTo>
                      <a:pt x="423" y="371"/>
                    </a:lnTo>
                    <a:close/>
                    <a:moveTo>
                      <a:pt x="205" y="391"/>
                    </a:moveTo>
                    <a:lnTo>
                      <a:pt x="206" y="391"/>
                    </a:lnTo>
                    <a:lnTo>
                      <a:pt x="206" y="392"/>
                    </a:lnTo>
                    <a:lnTo>
                      <a:pt x="205" y="392"/>
                    </a:lnTo>
                    <a:lnTo>
                      <a:pt x="205" y="391"/>
                    </a:lnTo>
                    <a:close/>
                    <a:moveTo>
                      <a:pt x="548" y="539"/>
                    </a:moveTo>
                    <a:lnTo>
                      <a:pt x="549" y="539"/>
                    </a:lnTo>
                    <a:lnTo>
                      <a:pt x="549" y="540"/>
                    </a:lnTo>
                    <a:lnTo>
                      <a:pt x="548" y="540"/>
                    </a:lnTo>
                    <a:lnTo>
                      <a:pt x="548" y="539"/>
                    </a:lnTo>
                    <a:close/>
                    <a:moveTo>
                      <a:pt x="243" y="228"/>
                    </a:moveTo>
                    <a:lnTo>
                      <a:pt x="244" y="228"/>
                    </a:lnTo>
                    <a:lnTo>
                      <a:pt x="245" y="228"/>
                    </a:lnTo>
                    <a:lnTo>
                      <a:pt x="245" y="229"/>
                    </a:lnTo>
                    <a:lnTo>
                      <a:pt x="245" y="228"/>
                    </a:lnTo>
                    <a:lnTo>
                      <a:pt x="244" y="228"/>
                    </a:lnTo>
                    <a:lnTo>
                      <a:pt x="243" y="228"/>
                    </a:lnTo>
                    <a:close/>
                    <a:moveTo>
                      <a:pt x="444" y="374"/>
                    </a:moveTo>
                    <a:lnTo>
                      <a:pt x="445" y="374"/>
                    </a:lnTo>
                    <a:lnTo>
                      <a:pt x="445" y="375"/>
                    </a:lnTo>
                    <a:lnTo>
                      <a:pt x="444" y="375"/>
                    </a:lnTo>
                    <a:lnTo>
                      <a:pt x="444" y="374"/>
                    </a:lnTo>
                    <a:close/>
                    <a:moveTo>
                      <a:pt x="569" y="554"/>
                    </a:moveTo>
                    <a:lnTo>
                      <a:pt x="569" y="555"/>
                    </a:lnTo>
                    <a:lnTo>
                      <a:pt x="569" y="554"/>
                    </a:lnTo>
                    <a:close/>
                    <a:moveTo>
                      <a:pt x="474" y="430"/>
                    </a:moveTo>
                    <a:lnTo>
                      <a:pt x="473" y="431"/>
                    </a:lnTo>
                    <a:lnTo>
                      <a:pt x="473" y="430"/>
                    </a:lnTo>
                    <a:lnTo>
                      <a:pt x="472" y="430"/>
                    </a:lnTo>
                    <a:lnTo>
                      <a:pt x="473" y="430"/>
                    </a:lnTo>
                    <a:lnTo>
                      <a:pt x="474" y="430"/>
                    </a:lnTo>
                    <a:lnTo>
                      <a:pt x="475" y="430"/>
                    </a:lnTo>
                    <a:lnTo>
                      <a:pt x="474" y="430"/>
                    </a:lnTo>
                    <a:close/>
                    <a:moveTo>
                      <a:pt x="407" y="369"/>
                    </a:moveTo>
                    <a:lnTo>
                      <a:pt x="406" y="369"/>
                    </a:lnTo>
                    <a:lnTo>
                      <a:pt x="406" y="370"/>
                    </a:lnTo>
                    <a:lnTo>
                      <a:pt x="404" y="370"/>
                    </a:lnTo>
                    <a:lnTo>
                      <a:pt x="404" y="371"/>
                    </a:lnTo>
                    <a:lnTo>
                      <a:pt x="404" y="370"/>
                    </a:lnTo>
                    <a:lnTo>
                      <a:pt x="406" y="370"/>
                    </a:lnTo>
                    <a:lnTo>
                      <a:pt x="406" y="369"/>
                    </a:lnTo>
                    <a:lnTo>
                      <a:pt x="407" y="369"/>
                    </a:lnTo>
                    <a:close/>
                    <a:moveTo>
                      <a:pt x="280" y="435"/>
                    </a:moveTo>
                    <a:lnTo>
                      <a:pt x="282" y="436"/>
                    </a:lnTo>
                    <a:lnTo>
                      <a:pt x="282" y="437"/>
                    </a:lnTo>
                    <a:lnTo>
                      <a:pt x="282" y="436"/>
                    </a:lnTo>
                    <a:lnTo>
                      <a:pt x="281" y="436"/>
                    </a:lnTo>
                    <a:lnTo>
                      <a:pt x="280" y="435"/>
                    </a:lnTo>
                    <a:close/>
                    <a:moveTo>
                      <a:pt x="307" y="411"/>
                    </a:moveTo>
                    <a:lnTo>
                      <a:pt x="304" y="411"/>
                    </a:lnTo>
                    <a:lnTo>
                      <a:pt x="304" y="410"/>
                    </a:lnTo>
                    <a:lnTo>
                      <a:pt x="307" y="411"/>
                    </a:lnTo>
                    <a:close/>
                    <a:moveTo>
                      <a:pt x="475" y="428"/>
                    </a:moveTo>
                    <a:lnTo>
                      <a:pt x="476" y="428"/>
                    </a:lnTo>
                    <a:lnTo>
                      <a:pt x="476" y="429"/>
                    </a:lnTo>
                    <a:lnTo>
                      <a:pt x="475" y="429"/>
                    </a:lnTo>
                    <a:lnTo>
                      <a:pt x="475" y="428"/>
                    </a:lnTo>
                    <a:close/>
                    <a:moveTo>
                      <a:pt x="179" y="350"/>
                    </a:moveTo>
                    <a:lnTo>
                      <a:pt x="180" y="350"/>
                    </a:lnTo>
                    <a:lnTo>
                      <a:pt x="180" y="351"/>
                    </a:lnTo>
                    <a:lnTo>
                      <a:pt x="179" y="351"/>
                    </a:lnTo>
                    <a:lnTo>
                      <a:pt x="179" y="350"/>
                    </a:lnTo>
                    <a:close/>
                    <a:moveTo>
                      <a:pt x="484" y="421"/>
                    </a:moveTo>
                    <a:lnTo>
                      <a:pt x="484" y="422"/>
                    </a:lnTo>
                    <a:lnTo>
                      <a:pt x="484" y="421"/>
                    </a:lnTo>
                    <a:close/>
                    <a:moveTo>
                      <a:pt x="171" y="412"/>
                    </a:moveTo>
                    <a:lnTo>
                      <a:pt x="170" y="412"/>
                    </a:lnTo>
                    <a:lnTo>
                      <a:pt x="170" y="411"/>
                    </a:lnTo>
                    <a:lnTo>
                      <a:pt x="170" y="412"/>
                    </a:lnTo>
                    <a:lnTo>
                      <a:pt x="171" y="412"/>
                    </a:lnTo>
                    <a:close/>
                    <a:moveTo>
                      <a:pt x="492" y="436"/>
                    </a:moveTo>
                    <a:lnTo>
                      <a:pt x="493" y="436"/>
                    </a:lnTo>
                    <a:lnTo>
                      <a:pt x="493" y="437"/>
                    </a:lnTo>
                    <a:lnTo>
                      <a:pt x="492" y="437"/>
                    </a:lnTo>
                    <a:lnTo>
                      <a:pt x="492" y="436"/>
                    </a:lnTo>
                    <a:close/>
                    <a:moveTo>
                      <a:pt x="553" y="521"/>
                    </a:moveTo>
                    <a:lnTo>
                      <a:pt x="553" y="524"/>
                    </a:lnTo>
                    <a:lnTo>
                      <a:pt x="553" y="521"/>
                    </a:lnTo>
                    <a:close/>
                    <a:moveTo>
                      <a:pt x="499" y="459"/>
                    </a:moveTo>
                    <a:lnTo>
                      <a:pt x="499" y="460"/>
                    </a:lnTo>
                    <a:lnTo>
                      <a:pt x="499" y="459"/>
                    </a:lnTo>
                    <a:close/>
                    <a:moveTo>
                      <a:pt x="242" y="374"/>
                    </a:moveTo>
                    <a:lnTo>
                      <a:pt x="243" y="374"/>
                    </a:lnTo>
                    <a:lnTo>
                      <a:pt x="243" y="375"/>
                    </a:lnTo>
                    <a:lnTo>
                      <a:pt x="242" y="375"/>
                    </a:lnTo>
                    <a:lnTo>
                      <a:pt x="242" y="374"/>
                    </a:lnTo>
                    <a:close/>
                    <a:moveTo>
                      <a:pt x="573" y="555"/>
                    </a:moveTo>
                    <a:lnTo>
                      <a:pt x="574" y="555"/>
                    </a:lnTo>
                    <a:lnTo>
                      <a:pt x="574" y="556"/>
                    </a:lnTo>
                    <a:lnTo>
                      <a:pt x="573" y="556"/>
                    </a:lnTo>
                    <a:lnTo>
                      <a:pt x="573" y="555"/>
                    </a:lnTo>
                    <a:close/>
                    <a:moveTo>
                      <a:pt x="279" y="415"/>
                    </a:moveTo>
                    <a:lnTo>
                      <a:pt x="278" y="415"/>
                    </a:lnTo>
                    <a:lnTo>
                      <a:pt x="276" y="414"/>
                    </a:lnTo>
                    <a:lnTo>
                      <a:pt x="274" y="414"/>
                    </a:lnTo>
                    <a:lnTo>
                      <a:pt x="276" y="414"/>
                    </a:lnTo>
                    <a:lnTo>
                      <a:pt x="278" y="415"/>
                    </a:lnTo>
                    <a:lnTo>
                      <a:pt x="279" y="415"/>
                    </a:lnTo>
                    <a:close/>
                    <a:moveTo>
                      <a:pt x="489" y="585"/>
                    </a:moveTo>
                    <a:lnTo>
                      <a:pt x="489" y="586"/>
                    </a:lnTo>
                    <a:lnTo>
                      <a:pt x="489" y="585"/>
                    </a:lnTo>
                    <a:close/>
                    <a:moveTo>
                      <a:pt x="493" y="417"/>
                    </a:moveTo>
                    <a:lnTo>
                      <a:pt x="494" y="417"/>
                    </a:lnTo>
                    <a:lnTo>
                      <a:pt x="494" y="418"/>
                    </a:lnTo>
                    <a:lnTo>
                      <a:pt x="493" y="418"/>
                    </a:lnTo>
                    <a:lnTo>
                      <a:pt x="493" y="417"/>
                    </a:lnTo>
                    <a:close/>
                    <a:moveTo>
                      <a:pt x="455" y="621"/>
                    </a:moveTo>
                    <a:lnTo>
                      <a:pt x="458" y="621"/>
                    </a:lnTo>
                    <a:lnTo>
                      <a:pt x="458" y="622"/>
                    </a:lnTo>
                    <a:lnTo>
                      <a:pt x="455" y="622"/>
                    </a:lnTo>
                    <a:lnTo>
                      <a:pt x="455" y="621"/>
                    </a:lnTo>
                    <a:close/>
                    <a:moveTo>
                      <a:pt x="194" y="361"/>
                    </a:moveTo>
                    <a:lnTo>
                      <a:pt x="196" y="361"/>
                    </a:lnTo>
                    <a:lnTo>
                      <a:pt x="196" y="362"/>
                    </a:lnTo>
                    <a:lnTo>
                      <a:pt x="194" y="362"/>
                    </a:lnTo>
                    <a:lnTo>
                      <a:pt x="194" y="361"/>
                    </a:lnTo>
                    <a:close/>
                    <a:moveTo>
                      <a:pt x="568" y="503"/>
                    </a:moveTo>
                    <a:lnTo>
                      <a:pt x="569" y="503"/>
                    </a:lnTo>
                    <a:lnTo>
                      <a:pt x="569" y="504"/>
                    </a:lnTo>
                    <a:lnTo>
                      <a:pt x="568" y="504"/>
                    </a:lnTo>
                    <a:lnTo>
                      <a:pt x="568" y="503"/>
                    </a:lnTo>
                    <a:close/>
                    <a:moveTo>
                      <a:pt x="339" y="469"/>
                    </a:moveTo>
                    <a:lnTo>
                      <a:pt x="341" y="469"/>
                    </a:lnTo>
                    <a:lnTo>
                      <a:pt x="341" y="470"/>
                    </a:lnTo>
                    <a:lnTo>
                      <a:pt x="339" y="470"/>
                    </a:lnTo>
                    <a:lnTo>
                      <a:pt x="339" y="469"/>
                    </a:lnTo>
                    <a:close/>
                    <a:moveTo>
                      <a:pt x="337" y="467"/>
                    </a:moveTo>
                    <a:lnTo>
                      <a:pt x="339" y="467"/>
                    </a:lnTo>
                    <a:lnTo>
                      <a:pt x="339" y="468"/>
                    </a:lnTo>
                    <a:lnTo>
                      <a:pt x="337" y="468"/>
                    </a:lnTo>
                    <a:lnTo>
                      <a:pt x="337" y="467"/>
                    </a:lnTo>
                    <a:close/>
                    <a:moveTo>
                      <a:pt x="214" y="413"/>
                    </a:moveTo>
                    <a:lnTo>
                      <a:pt x="212" y="413"/>
                    </a:lnTo>
                    <a:lnTo>
                      <a:pt x="212" y="414"/>
                    </a:lnTo>
                    <a:lnTo>
                      <a:pt x="213" y="414"/>
                    </a:lnTo>
                    <a:lnTo>
                      <a:pt x="212" y="414"/>
                    </a:lnTo>
                    <a:lnTo>
                      <a:pt x="212" y="413"/>
                    </a:lnTo>
                    <a:lnTo>
                      <a:pt x="214" y="413"/>
                    </a:lnTo>
                    <a:close/>
                    <a:moveTo>
                      <a:pt x="276" y="441"/>
                    </a:moveTo>
                    <a:lnTo>
                      <a:pt x="276" y="443"/>
                    </a:lnTo>
                    <a:lnTo>
                      <a:pt x="276" y="441"/>
                    </a:lnTo>
                    <a:close/>
                    <a:moveTo>
                      <a:pt x="444" y="550"/>
                    </a:moveTo>
                    <a:lnTo>
                      <a:pt x="445" y="550"/>
                    </a:lnTo>
                    <a:lnTo>
                      <a:pt x="444" y="550"/>
                    </a:lnTo>
                    <a:close/>
                    <a:moveTo>
                      <a:pt x="415" y="547"/>
                    </a:moveTo>
                    <a:lnTo>
                      <a:pt x="416" y="547"/>
                    </a:lnTo>
                    <a:lnTo>
                      <a:pt x="416" y="549"/>
                    </a:lnTo>
                    <a:lnTo>
                      <a:pt x="415" y="549"/>
                    </a:lnTo>
                    <a:lnTo>
                      <a:pt x="415" y="547"/>
                    </a:lnTo>
                    <a:close/>
                    <a:moveTo>
                      <a:pt x="323" y="466"/>
                    </a:moveTo>
                    <a:lnTo>
                      <a:pt x="323" y="467"/>
                    </a:lnTo>
                    <a:lnTo>
                      <a:pt x="323" y="466"/>
                    </a:lnTo>
                    <a:lnTo>
                      <a:pt x="322" y="466"/>
                    </a:lnTo>
                    <a:lnTo>
                      <a:pt x="321" y="465"/>
                    </a:lnTo>
                    <a:lnTo>
                      <a:pt x="322" y="466"/>
                    </a:lnTo>
                    <a:lnTo>
                      <a:pt x="323" y="466"/>
                    </a:lnTo>
                    <a:close/>
                    <a:moveTo>
                      <a:pt x="501" y="441"/>
                    </a:moveTo>
                    <a:lnTo>
                      <a:pt x="500" y="441"/>
                    </a:lnTo>
                    <a:lnTo>
                      <a:pt x="500" y="442"/>
                    </a:lnTo>
                    <a:lnTo>
                      <a:pt x="500" y="443"/>
                    </a:lnTo>
                    <a:lnTo>
                      <a:pt x="500" y="442"/>
                    </a:lnTo>
                    <a:lnTo>
                      <a:pt x="500" y="441"/>
                    </a:lnTo>
                    <a:lnTo>
                      <a:pt x="501" y="441"/>
                    </a:lnTo>
                    <a:close/>
                    <a:moveTo>
                      <a:pt x="423" y="390"/>
                    </a:moveTo>
                    <a:lnTo>
                      <a:pt x="425" y="390"/>
                    </a:lnTo>
                    <a:lnTo>
                      <a:pt x="425" y="391"/>
                    </a:lnTo>
                    <a:lnTo>
                      <a:pt x="423" y="391"/>
                    </a:lnTo>
                    <a:lnTo>
                      <a:pt x="423" y="390"/>
                    </a:lnTo>
                    <a:close/>
                    <a:moveTo>
                      <a:pt x="503" y="436"/>
                    </a:moveTo>
                    <a:lnTo>
                      <a:pt x="505" y="436"/>
                    </a:lnTo>
                    <a:lnTo>
                      <a:pt x="505" y="437"/>
                    </a:lnTo>
                    <a:lnTo>
                      <a:pt x="503" y="437"/>
                    </a:lnTo>
                    <a:lnTo>
                      <a:pt x="503" y="436"/>
                    </a:lnTo>
                    <a:close/>
                    <a:moveTo>
                      <a:pt x="471" y="454"/>
                    </a:moveTo>
                    <a:lnTo>
                      <a:pt x="471" y="455"/>
                    </a:lnTo>
                    <a:lnTo>
                      <a:pt x="471" y="454"/>
                    </a:lnTo>
                    <a:close/>
                    <a:moveTo>
                      <a:pt x="203" y="413"/>
                    </a:moveTo>
                    <a:lnTo>
                      <a:pt x="204" y="413"/>
                    </a:lnTo>
                    <a:lnTo>
                      <a:pt x="204" y="414"/>
                    </a:lnTo>
                    <a:lnTo>
                      <a:pt x="203" y="414"/>
                    </a:lnTo>
                    <a:lnTo>
                      <a:pt x="203" y="413"/>
                    </a:lnTo>
                    <a:close/>
                    <a:moveTo>
                      <a:pt x="576" y="501"/>
                    </a:moveTo>
                    <a:lnTo>
                      <a:pt x="577" y="501"/>
                    </a:lnTo>
                    <a:lnTo>
                      <a:pt x="576" y="501"/>
                    </a:lnTo>
                    <a:close/>
                    <a:moveTo>
                      <a:pt x="422" y="383"/>
                    </a:moveTo>
                    <a:lnTo>
                      <a:pt x="421" y="383"/>
                    </a:lnTo>
                    <a:lnTo>
                      <a:pt x="420" y="383"/>
                    </a:lnTo>
                    <a:lnTo>
                      <a:pt x="421" y="383"/>
                    </a:lnTo>
                    <a:lnTo>
                      <a:pt x="422" y="383"/>
                    </a:lnTo>
                    <a:lnTo>
                      <a:pt x="422" y="382"/>
                    </a:lnTo>
                    <a:lnTo>
                      <a:pt x="422" y="383"/>
                    </a:lnTo>
                    <a:close/>
                    <a:moveTo>
                      <a:pt x="448" y="370"/>
                    </a:moveTo>
                    <a:lnTo>
                      <a:pt x="450" y="370"/>
                    </a:lnTo>
                    <a:lnTo>
                      <a:pt x="450" y="371"/>
                    </a:lnTo>
                    <a:lnTo>
                      <a:pt x="448" y="371"/>
                    </a:lnTo>
                    <a:lnTo>
                      <a:pt x="448" y="370"/>
                    </a:lnTo>
                    <a:close/>
                    <a:moveTo>
                      <a:pt x="215" y="414"/>
                    </a:moveTo>
                    <a:lnTo>
                      <a:pt x="212" y="414"/>
                    </a:lnTo>
                    <a:lnTo>
                      <a:pt x="213" y="414"/>
                    </a:lnTo>
                    <a:lnTo>
                      <a:pt x="215" y="414"/>
                    </a:lnTo>
                    <a:close/>
                    <a:moveTo>
                      <a:pt x="575" y="567"/>
                    </a:moveTo>
                    <a:lnTo>
                      <a:pt x="576" y="567"/>
                    </a:lnTo>
                    <a:lnTo>
                      <a:pt x="576" y="568"/>
                    </a:lnTo>
                    <a:lnTo>
                      <a:pt x="575" y="568"/>
                    </a:lnTo>
                    <a:lnTo>
                      <a:pt x="575" y="567"/>
                    </a:lnTo>
                    <a:close/>
                    <a:moveTo>
                      <a:pt x="276" y="413"/>
                    </a:moveTo>
                    <a:lnTo>
                      <a:pt x="277" y="413"/>
                    </a:lnTo>
                    <a:lnTo>
                      <a:pt x="277" y="414"/>
                    </a:lnTo>
                    <a:lnTo>
                      <a:pt x="276" y="413"/>
                    </a:lnTo>
                    <a:lnTo>
                      <a:pt x="274" y="413"/>
                    </a:lnTo>
                    <a:lnTo>
                      <a:pt x="276" y="413"/>
                    </a:lnTo>
                    <a:close/>
                    <a:moveTo>
                      <a:pt x="236" y="388"/>
                    </a:moveTo>
                    <a:lnTo>
                      <a:pt x="236" y="390"/>
                    </a:lnTo>
                    <a:lnTo>
                      <a:pt x="236" y="388"/>
                    </a:lnTo>
                    <a:close/>
                    <a:moveTo>
                      <a:pt x="466" y="614"/>
                    </a:moveTo>
                    <a:lnTo>
                      <a:pt x="465" y="614"/>
                    </a:lnTo>
                    <a:lnTo>
                      <a:pt x="464" y="613"/>
                    </a:lnTo>
                    <a:lnTo>
                      <a:pt x="464" y="611"/>
                    </a:lnTo>
                    <a:lnTo>
                      <a:pt x="463" y="611"/>
                    </a:lnTo>
                    <a:lnTo>
                      <a:pt x="464" y="611"/>
                    </a:lnTo>
                    <a:lnTo>
                      <a:pt x="464" y="613"/>
                    </a:lnTo>
                    <a:lnTo>
                      <a:pt x="465" y="613"/>
                    </a:lnTo>
                    <a:lnTo>
                      <a:pt x="466" y="614"/>
                    </a:lnTo>
                    <a:close/>
                    <a:moveTo>
                      <a:pt x="182" y="350"/>
                    </a:moveTo>
                    <a:lnTo>
                      <a:pt x="183" y="350"/>
                    </a:lnTo>
                    <a:lnTo>
                      <a:pt x="183" y="351"/>
                    </a:lnTo>
                    <a:lnTo>
                      <a:pt x="182" y="351"/>
                    </a:lnTo>
                    <a:lnTo>
                      <a:pt x="182" y="350"/>
                    </a:lnTo>
                    <a:close/>
                    <a:moveTo>
                      <a:pt x="229" y="389"/>
                    </a:moveTo>
                    <a:lnTo>
                      <a:pt x="230" y="389"/>
                    </a:lnTo>
                    <a:lnTo>
                      <a:pt x="230" y="390"/>
                    </a:lnTo>
                    <a:lnTo>
                      <a:pt x="229" y="390"/>
                    </a:lnTo>
                    <a:lnTo>
                      <a:pt x="229" y="389"/>
                    </a:lnTo>
                    <a:close/>
                    <a:moveTo>
                      <a:pt x="276" y="431"/>
                    </a:moveTo>
                    <a:lnTo>
                      <a:pt x="278" y="433"/>
                    </a:lnTo>
                    <a:lnTo>
                      <a:pt x="276" y="431"/>
                    </a:lnTo>
                    <a:close/>
                    <a:moveTo>
                      <a:pt x="542" y="541"/>
                    </a:moveTo>
                    <a:lnTo>
                      <a:pt x="543" y="541"/>
                    </a:lnTo>
                    <a:lnTo>
                      <a:pt x="543" y="542"/>
                    </a:lnTo>
                    <a:lnTo>
                      <a:pt x="542" y="542"/>
                    </a:lnTo>
                    <a:lnTo>
                      <a:pt x="542" y="541"/>
                    </a:lnTo>
                    <a:close/>
                    <a:moveTo>
                      <a:pt x="155" y="373"/>
                    </a:moveTo>
                    <a:lnTo>
                      <a:pt x="157" y="373"/>
                    </a:lnTo>
                    <a:lnTo>
                      <a:pt x="157" y="374"/>
                    </a:lnTo>
                    <a:lnTo>
                      <a:pt x="155" y="374"/>
                    </a:lnTo>
                    <a:lnTo>
                      <a:pt x="155" y="373"/>
                    </a:lnTo>
                    <a:close/>
                    <a:moveTo>
                      <a:pt x="556" y="441"/>
                    </a:moveTo>
                    <a:lnTo>
                      <a:pt x="556" y="442"/>
                    </a:lnTo>
                    <a:lnTo>
                      <a:pt x="556" y="441"/>
                    </a:lnTo>
                    <a:close/>
                    <a:moveTo>
                      <a:pt x="568" y="551"/>
                    </a:moveTo>
                    <a:lnTo>
                      <a:pt x="569" y="551"/>
                    </a:lnTo>
                    <a:lnTo>
                      <a:pt x="569" y="552"/>
                    </a:lnTo>
                    <a:lnTo>
                      <a:pt x="568" y="552"/>
                    </a:lnTo>
                    <a:lnTo>
                      <a:pt x="568" y="551"/>
                    </a:lnTo>
                    <a:close/>
                    <a:moveTo>
                      <a:pt x="485" y="448"/>
                    </a:moveTo>
                    <a:lnTo>
                      <a:pt x="486" y="448"/>
                    </a:lnTo>
                    <a:lnTo>
                      <a:pt x="486" y="450"/>
                    </a:lnTo>
                    <a:lnTo>
                      <a:pt x="485" y="450"/>
                    </a:lnTo>
                    <a:lnTo>
                      <a:pt x="485" y="448"/>
                    </a:lnTo>
                    <a:close/>
                    <a:moveTo>
                      <a:pt x="277" y="443"/>
                    </a:moveTo>
                    <a:lnTo>
                      <a:pt x="276" y="443"/>
                    </a:lnTo>
                    <a:lnTo>
                      <a:pt x="277" y="442"/>
                    </a:lnTo>
                    <a:lnTo>
                      <a:pt x="277" y="440"/>
                    </a:lnTo>
                    <a:lnTo>
                      <a:pt x="278" y="440"/>
                    </a:lnTo>
                    <a:lnTo>
                      <a:pt x="277" y="443"/>
                    </a:lnTo>
                    <a:close/>
                    <a:moveTo>
                      <a:pt x="230" y="218"/>
                    </a:moveTo>
                    <a:lnTo>
                      <a:pt x="231" y="218"/>
                    </a:lnTo>
                    <a:lnTo>
                      <a:pt x="231" y="219"/>
                    </a:lnTo>
                    <a:lnTo>
                      <a:pt x="230" y="219"/>
                    </a:lnTo>
                    <a:lnTo>
                      <a:pt x="230" y="218"/>
                    </a:lnTo>
                    <a:close/>
                    <a:moveTo>
                      <a:pt x="229" y="220"/>
                    </a:moveTo>
                    <a:lnTo>
                      <a:pt x="229" y="221"/>
                    </a:lnTo>
                    <a:lnTo>
                      <a:pt x="229" y="220"/>
                    </a:lnTo>
                    <a:close/>
                    <a:moveTo>
                      <a:pt x="248" y="392"/>
                    </a:moveTo>
                    <a:lnTo>
                      <a:pt x="247" y="392"/>
                    </a:lnTo>
                    <a:lnTo>
                      <a:pt x="246" y="391"/>
                    </a:lnTo>
                    <a:lnTo>
                      <a:pt x="245" y="391"/>
                    </a:lnTo>
                    <a:lnTo>
                      <a:pt x="246" y="391"/>
                    </a:lnTo>
                    <a:lnTo>
                      <a:pt x="248" y="392"/>
                    </a:lnTo>
                    <a:close/>
                    <a:moveTo>
                      <a:pt x="500" y="422"/>
                    </a:moveTo>
                    <a:lnTo>
                      <a:pt x="500" y="423"/>
                    </a:lnTo>
                    <a:lnTo>
                      <a:pt x="500" y="422"/>
                    </a:lnTo>
                    <a:close/>
                    <a:moveTo>
                      <a:pt x="427" y="391"/>
                    </a:moveTo>
                    <a:lnTo>
                      <a:pt x="429" y="391"/>
                    </a:lnTo>
                    <a:lnTo>
                      <a:pt x="427" y="391"/>
                    </a:lnTo>
                    <a:close/>
                    <a:moveTo>
                      <a:pt x="333" y="469"/>
                    </a:moveTo>
                    <a:lnTo>
                      <a:pt x="334" y="469"/>
                    </a:lnTo>
                    <a:lnTo>
                      <a:pt x="334" y="468"/>
                    </a:lnTo>
                    <a:lnTo>
                      <a:pt x="335" y="468"/>
                    </a:lnTo>
                    <a:lnTo>
                      <a:pt x="336" y="468"/>
                    </a:lnTo>
                    <a:lnTo>
                      <a:pt x="335" y="468"/>
                    </a:lnTo>
                    <a:lnTo>
                      <a:pt x="334" y="469"/>
                    </a:lnTo>
                    <a:lnTo>
                      <a:pt x="333" y="469"/>
                    </a:lnTo>
                    <a:lnTo>
                      <a:pt x="333" y="468"/>
                    </a:lnTo>
                    <a:lnTo>
                      <a:pt x="333" y="469"/>
                    </a:lnTo>
                    <a:close/>
                    <a:moveTo>
                      <a:pt x="227" y="406"/>
                    </a:moveTo>
                    <a:lnTo>
                      <a:pt x="228" y="406"/>
                    </a:lnTo>
                    <a:lnTo>
                      <a:pt x="228" y="408"/>
                    </a:lnTo>
                    <a:lnTo>
                      <a:pt x="227" y="408"/>
                    </a:lnTo>
                    <a:lnTo>
                      <a:pt x="227" y="406"/>
                    </a:lnTo>
                    <a:close/>
                    <a:moveTo>
                      <a:pt x="202" y="349"/>
                    </a:moveTo>
                    <a:lnTo>
                      <a:pt x="203" y="349"/>
                    </a:lnTo>
                    <a:lnTo>
                      <a:pt x="202" y="349"/>
                    </a:lnTo>
                    <a:close/>
                    <a:moveTo>
                      <a:pt x="485" y="423"/>
                    </a:moveTo>
                    <a:lnTo>
                      <a:pt x="486" y="423"/>
                    </a:lnTo>
                    <a:lnTo>
                      <a:pt x="486" y="424"/>
                    </a:lnTo>
                    <a:lnTo>
                      <a:pt x="485" y="424"/>
                    </a:lnTo>
                    <a:lnTo>
                      <a:pt x="485" y="423"/>
                    </a:lnTo>
                    <a:close/>
                    <a:moveTo>
                      <a:pt x="219" y="404"/>
                    </a:moveTo>
                    <a:lnTo>
                      <a:pt x="218" y="405"/>
                    </a:lnTo>
                    <a:lnTo>
                      <a:pt x="218" y="408"/>
                    </a:lnTo>
                    <a:lnTo>
                      <a:pt x="217" y="406"/>
                    </a:lnTo>
                    <a:lnTo>
                      <a:pt x="218" y="406"/>
                    </a:lnTo>
                    <a:lnTo>
                      <a:pt x="218" y="405"/>
                    </a:lnTo>
                    <a:lnTo>
                      <a:pt x="218" y="404"/>
                    </a:lnTo>
                    <a:lnTo>
                      <a:pt x="219" y="404"/>
                    </a:lnTo>
                    <a:close/>
                    <a:moveTo>
                      <a:pt x="243" y="393"/>
                    </a:moveTo>
                    <a:lnTo>
                      <a:pt x="244" y="393"/>
                    </a:lnTo>
                    <a:lnTo>
                      <a:pt x="244" y="395"/>
                    </a:lnTo>
                    <a:lnTo>
                      <a:pt x="243" y="395"/>
                    </a:lnTo>
                    <a:lnTo>
                      <a:pt x="243" y="393"/>
                    </a:lnTo>
                    <a:close/>
                    <a:moveTo>
                      <a:pt x="427" y="364"/>
                    </a:moveTo>
                    <a:lnTo>
                      <a:pt x="426" y="364"/>
                    </a:lnTo>
                    <a:lnTo>
                      <a:pt x="426" y="363"/>
                    </a:lnTo>
                    <a:lnTo>
                      <a:pt x="425" y="362"/>
                    </a:lnTo>
                    <a:lnTo>
                      <a:pt x="426" y="362"/>
                    </a:lnTo>
                    <a:lnTo>
                      <a:pt x="427" y="364"/>
                    </a:lnTo>
                    <a:close/>
                    <a:moveTo>
                      <a:pt x="397" y="364"/>
                    </a:moveTo>
                    <a:lnTo>
                      <a:pt x="398" y="364"/>
                    </a:lnTo>
                    <a:lnTo>
                      <a:pt x="399" y="364"/>
                    </a:lnTo>
                    <a:lnTo>
                      <a:pt x="399" y="365"/>
                    </a:lnTo>
                    <a:lnTo>
                      <a:pt x="398" y="365"/>
                    </a:lnTo>
                    <a:lnTo>
                      <a:pt x="399" y="365"/>
                    </a:lnTo>
                    <a:lnTo>
                      <a:pt x="398" y="365"/>
                    </a:lnTo>
                    <a:lnTo>
                      <a:pt x="397" y="365"/>
                    </a:lnTo>
                    <a:lnTo>
                      <a:pt x="398" y="365"/>
                    </a:lnTo>
                    <a:lnTo>
                      <a:pt x="397" y="365"/>
                    </a:lnTo>
                    <a:lnTo>
                      <a:pt x="397" y="364"/>
                    </a:lnTo>
                    <a:close/>
                    <a:moveTo>
                      <a:pt x="196" y="361"/>
                    </a:moveTo>
                    <a:lnTo>
                      <a:pt x="197" y="361"/>
                    </a:lnTo>
                    <a:lnTo>
                      <a:pt x="197" y="362"/>
                    </a:lnTo>
                    <a:lnTo>
                      <a:pt x="196" y="362"/>
                    </a:lnTo>
                    <a:lnTo>
                      <a:pt x="196" y="361"/>
                    </a:lnTo>
                    <a:close/>
                    <a:moveTo>
                      <a:pt x="307" y="411"/>
                    </a:moveTo>
                    <a:lnTo>
                      <a:pt x="304" y="410"/>
                    </a:lnTo>
                    <a:lnTo>
                      <a:pt x="305" y="410"/>
                    </a:lnTo>
                    <a:lnTo>
                      <a:pt x="307" y="411"/>
                    </a:lnTo>
                    <a:close/>
                    <a:moveTo>
                      <a:pt x="187" y="356"/>
                    </a:moveTo>
                    <a:lnTo>
                      <a:pt x="188" y="356"/>
                    </a:lnTo>
                    <a:lnTo>
                      <a:pt x="188" y="357"/>
                    </a:lnTo>
                    <a:lnTo>
                      <a:pt x="187" y="357"/>
                    </a:lnTo>
                    <a:lnTo>
                      <a:pt x="187" y="356"/>
                    </a:lnTo>
                    <a:close/>
                    <a:moveTo>
                      <a:pt x="249" y="391"/>
                    </a:moveTo>
                    <a:lnTo>
                      <a:pt x="249" y="392"/>
                    </a:lnTo>
                    <a:lnTo>
                      <a:pt x="249" y="391"/>
                    </a:lnTo>
                    <a:close/>
                    <a:moveTo>
                      <a:pt x="502" y="558"/>
                    </a:moveTo>
                    <a:lnTo>
                      <a:pt x="503" y="558"/>
                    </a:lnTo>
                    <a:lnTo>
                      <a:pt x="502" y="558"/>
                    </a:lnTo>
                    <a:close/>
                    <a:moveTo>
                      <a:pt x="500" y="453"/>
                    </a:moveTo>
                    <a:lnTo>
                      <a:pt x="501" y="453"/>
                    </a:lnTo>
                    <a:lnTo>
                      <a:pt x="500" y="453"/>
                    </a:lnTo>
                    <a:close/>
                    <a:moveTo>
                      <a:pt x="177" y="352"/>
                    </a:moveTo>
                    <a:lnTo>
                      <a:pt x="178" y="352"/>
                    </a:lnTo>
                    <a:lnTo>
                      <a:pt x="177" y="352"/>
                    </a:lnTo>
                    <a:close/>
                    <a:moveTo>
                      <a:pt x="178" y="351"/>
                    </a:moveTo>
                    <a:lnTo>
                      <a:pt x="179" y="351"/>
                    </a:lnTo>
                    <a:lnTo>
                      <a:pt x="179" y="352"/>
                    </a:lnTo>
                    <a:lnTo>
                      <a:pt x="178" y="352"/>
                    </a:lnTo>
                    <a:lnTo>
                      <a:pt x="178" y="351"/>
                    </a:lnTo>
                    <a:close/>
                    <a:moveTo>
                      <a:pt x="408" y="379"/>
                    </a:moveTo>
                    <a:lnTo>
                      <a:pt x="407" y="379"/>
                    </a:lnTo>
                    <a:lnTo>
                      <a:pt x="408" y="379"/>
                    </a:lnTo>
                    <a:lnTo>
                      <a:pt x="408" y="378"/>
                    </a:lnTo>
                    <a:lnTo>
                      <a:pt x="409" y="378"/>
                    </a:lnTo>
                    <a:lnTo>
                      <a:pt x="408" y="378"/>
                    </a:lnTo>
                    <a:lnTo>
                      <a:pt x="408" y="379"/>
                    </a:lnTo>
                    <a:close/>
                    <a:moveTo>
                      <a:pt x="329" y="341"/>
                    </a:moveTo>
                    <a:lnTo>
                      <a:pt x="330" y="341"/>
                    </a:lnTo>
                    <a:lnTo>
                      <a:pt x="330" y="344"/>
                    </a:lnTo>
                    <a:lnTo>
                      <a:pt x="329" y="344"/>
                    </a:lnTo>
                    <a:lnTo>
                      <a:pt x="329" y="341"/>
                    </a:lnTo>
                    <a:close/>
                    <a:moveTo>
                      <a:pt x="380" y="363"/>
                    </a:moveTo>
                    <a:lnTo>
                      <a:pt x="381" y="363"/>
                    </a:lnTo>
                    <a:lnTo>
                      <a:pt x="381" y="364"/>
                    </a:lnTo>
                    <a:lnTo>
                      <a:pt x="380" y="364"/>
                    </a:lnTo>
                    <a:lnTo>
                      <a:pt x="380" y="363"/>
                    </a:lnTo>
                    <a:close/>
                    <a:moveTo>
                      <a:pt x="408" y="374"/>
                    </a:moveTo>
                    <a:lnTo>
                      <a:pt x="409" y="374"/>
                    </a:lnTo>
                    <a:lnTo>
                      <a:pt x="409" y="375"/>
                    </a:lnTo>
                    <a:lnTo>
                      <a:pt x="408" y="375"/>
                    </a:lnTo>
                    <a:lnTo>
                      <a:pt x="408" y="374"/>
                    </a:lnTo>
                    <a:close/>
                    <a:moveTo>
                      <a:pt x="496" y="566"/>
                    </a:moveTo>
                    <a:lnTo>
                      <a:pt x="494" y="566"/>
                    </a:lnTo>
                    <a:lnTo>
                      <a:pt x="493" y="566"/>
                    </a:lnTo>
                    <a:lnTo>
                      <a:pt x="493" y="565"/>
                    </a:lnTo>
                    <a:lnTo>
                      <a:pt x="494" y="566"/>
                    </a:lnTo>
                    <a:lnTo>
                      <a:pt x="496" y="566"/>
                    </a:lnTo>
                    <a:lnTo>
                      <a:pt x="496" y="565"/>
                    </a:lnTo>
                    <a:lnTo>
                      <a:pt x="496" y="566"/>
                    </a:lnTo>
                    <a:close/>
                    <a:moveTo>
                      <a:pt x="238" y="224"/>
                    </a:moveTo>
                    <a:lnTo>
                      <a:pt x="239" y="224"/>
                    </a:lnTo>
                    <a:lnTo>
                      <a:pt x="238" y="224"/>
                    </a:lnTo>
                    <a:close/>
                    <a:moveTo>
                      <a:pt x="393" y="365"/>
                    </a:moveTo>
                    <a:lnTo>
                      <a:pt x="395" y="365"/>
                    </a:lnTo>
                    <a:lnTo>
                      <a:pt x="395" y="366"/>
                    </a:lnTo>
                    <a:lnTo>
                      <a:pt x="393" y="366"/>
                    </a:lnTo>
                    <a:lnTo>
                      <a:pt x="393" y="365"/>
                    </a:lnTo>
                    <a:close/>
                    <a:moveTo>
                      <a:pt x="236" y="387"/>
                    </a:moveTo>
                    <a:lnTo>
                      <a:pt x="233" y="386"/>
                    </a:lnTo>
                    <a:lnTo>
                      <a:pt x="236" y="387"/>
                    </a:lnTo>
                    <a:close/>
                    <a:moveTo>
                      <a:pt x="461" y="443"/>
                    </a:moveTo>
                    <a:lnTo>
                      <a:pt x="462" y="443"/>
                    </a:lnTo>
                    <a:lnTo>
                      <a:pt x="462" y="444"/>
                    </a:lnTo>
                    <a:lnTo>
                      <a:pt x="461" y="444"/>
                    </a:lnTo>
                    <a:lnTo>
                      <a:pt x="461" y="443"/>
                    </a:lnTo>
                    <a:close/>
                    <a:moveTo>
                      <a:pt x="331" y="469"/>
                    </a:moveTo>
                    <a:lnTo>
                      <a:pt x="332" y="469"/>
                    </a:lnTo>
                    <a:lnTo>
                      <a:pt x="331" y="469"/>
                    </a:lnTo>
                    <a:close/>
                    <a:moveTo>
                      <a:pt x="500" y="443"/>
                    </a:moveTo>
                    <a:lnTo>
                      <a:pt x="500" y="444"/>
                    </a:lnTo>
                    <a:lnTo>
                      <a:pt x="500" y="443"/>
                    </a:lnTo>
                    <a:lnTo>
                      <a:pt x="499" y="443"/>
                    </a:lnTo>
                    <a:lnTo>
                      <a:pt x="498" y="443"/>
                    </a:lnTo>
                    <a:lnTo>
                      <a:pt x="499" y="443"/>
                    </a:lnTo>
                    <a:lnTo>
                      <a:pt x="500" y="443"/>
                    </a:lnTo>
                    <a:close/>
                    <a:moveTo>
                      <a:pt x="563" y="547"/>
                    </a:moveTo>
                    <a:lnTo>
                      <a:pt x="565" y="547"/>
                    </a:lnTo>
                    <a:lnTo>
                      <a:pt x="565" y="549"/>
                    </a:lnTo>
                    <a:lnTo>
                      <a:pt x="563" y="549"/>
                    </a:lnTo>
                    <a:lnTo>
                      <a:pt x="563" y="547"/>
                    </a:lnTo>
                    <a:close/>
                    <a:moveTo>
                      <a:pt x="427" y="366"/>
                    </a:moveTo>
                    <a:lnTo>
                      <a:pt x="428" y="366"/>
                    </a:lnTo>
                    <a:lnTo>
                      <a:pt x="428" y="367"/>
                    </a:lnTo>
                    <a:lnTo>
                      <a:pt x="427" y="367"/>
                    </a:lnTo>
                    <a:lnTo>
                      <a:pt x="427" y="366"/>
                    </a:lnTo>
                    <a:close/>
                    <a:moveTo>
                      <a:pt x="545" y="556"/>
                    </a:moveTo>
                    <a:lnTo>
                      <a:pt x="548" y="556"/>
                    </a:lnTo>
                    <a:lnTo>
                      <a:pt x="548" y="557"/>
                    </a:lnTo>
                    <a:lnTo>
                      <a:pt x="545" y="557"/>
                    </a:lnTo>
                    <a:lnTo>
                      <a:pt x="545" y="556"/>
                    </a:lnTo>
                    <a:close/>
                    <a:moveTo>
                      <a:pt x="176" y="408"/>
                    </a:moveTo>
                    <a:lnTo>
                      <a:pt x="178" y="408"/>
                    </a:lnTo>
                    <a:lnTo>
                      <a:pt x="176" y="408"/>
                    </a:lnTo>
                    <a:close/>
                    <a:moveTo>
                      <a:pt x="498" y="589"/>
                    </a:moveTo>
                    <a:lnTo>
                      <a:pt x="498" y="590"/>
                    </a:lnTo>
                    <a:lnTo>
                      <a:pt x="498" y="591"/>
                    </a:lnTo>
                    <a:lnTo>
                      <a:pt x="498" y="590"/>
                    </a:lnTo>
                    <a:lnTo>
                      <a:pt x="497" y="590"/>
                    </a:lnTo>
                    <a:lnTo>
                      <a:pt x="497" y="589"/>
                    </a:lnTo>
                    <a:lnTo>
                      <a:pt x="498" y="589"/>
                    </a:lnTo>
                    <a:close/>
                    <a:moveTo>
                      <a:pt x="510" y="455"/>
                    </a:moveTo>
                    <a:lnTo>
                      <a:pt x="511" y="455"/>
                    </a:lnTo>
                    <a:lnTo>
                      <a:pt x="511" y="457"/>
                    </a:lnTo>
                    <a:lnTo>
                      <a:pt x="510" y="457"/>
                    </a:lnTo>
                    <a:lnTo>
                      <a:pt x="510" y="455"/>
                    </a:lnTo>
                    <a:close/>
                    <a:moveTo>
                      <a:pt x="235" y="416"/>
                    </a:moveTo>
                    <a:lnTo>
                      <a:pt x="238" y="417"/>
                    </a:lnTo>
                    <a:lnTo>
                      <a:pt x="239" y="417"/>
                    </a:lnTo>
                    <a:lnTo>
                      <a:pt x="238" y="417"/>
                    </a:lnTo>
                    <a:lnTo>
                      <a:pt x="236" y="417"/>
                    </a:lnTo>
                    <a:lnTo>
                      <a:pt x="235" y="416"/>
                    </a:lnTo>
                    <a:close/>
                    <a:moveTo>
                      <a:pt x="556" y="543"/>
                    </a:moveTo>
                    <a:lnTo>
                      <a:pt x="557" y="543"/>
                    </a:lnTo>
                    <a:lnTo>
                      <a:pt x="557" y="544"/>
                    </a:lnTo>
                    <a:lnTo>
                      <a:pt x="556" y="544"/>
                    </a:lnTo>
                    <a:lnTo>
                      <a:pt x="556" y="543"/>
                    </a:lnTo>
                    <a:close/>
                    <a:moveTo>
                      <a:pt x="214" y="413"/>
                    </a:moveTo>
                    <a:lnTo>
                      <a:pt x="215" y="413"/>
                    </a:lnTo>
                    <a:lnTo>
                      <a:pt x="215" y="414"/>
                    </a:lnTo>
                    <a:lnTo>
                      <a:pt x="214" y="414"/>
                    </a:lnTo>
                    <a:lnTo>
                      <a:pt x="214" y="413"/>
                    </a:lnTo>
                    <a:close/>
                    <a:moveTo>
                      <a:pt x="412" y="385"/>
                    </a:moveTo>
                    <a:lnTo>
                      <a:pt x="413" y="385"/>
                    </a:lnTo>
                    <a:lnTo>
                      <a:pt x="413" y="386"/>
                    </a:lnTo>
                    <a:lnTo>
                      <a:pt x="412" y="386"/>
                    </a:lnTo>
                    <a:lnTo>
                      <a:pt x="412" y="385"/>
                    </a:lnTo>
                    <a:close/>
                    <a:moveTo>
                      <a:pt x="281" y="431"/>
                    </a:moveTo>
                    <a:lnTo>
                      <a:pt x="281" y="433"/>
                    </a:lnTo>
                    <a:lnTo>
                      <a:pt x="281" y="431"/>
                    </a:lnTo>
                    <a:close/>
                    <a:moveTo>
                      <a:pt x="206" y="388"/>
                    </a:moveTo>
                    <a:lnTo>
                      <a:pt x="207" y="388"/>
                    </a:lnTo>
                    <a:lnTo>
                      <a:pt x="207" y="390"/>
                    </a:lnTo>
                    <a:lnTo>
                      <a:pt x="206" y="390"/>
                    </a:lnTo>
                    <a:lnTo>
                      <a:pt x="206" y="388"/>
                    </a:lnTo>
                    <a:close/>
                    <a:moveTo>
                      <a:pt x="415" y="387"/>
                    </a:moveTo>
                    <a:lnTo>
                      <a:pt x="418" y="387"/>
                    </a:lnTo>
                    <a:lnTo>
                      <a:pt x="418" y="388"/>
                    </a:lnTo>
                    <a:lnTo>
                      <a:pt x="415" y="388"/>
                    </a:lnTo>
                    <a:lnTo>
                      <a:pt x="415" y="387"/>
                    </a:lnTo>
                    <a:close/>
                    <a:moveTo>
                      <a:pt x="255" y="373"/>
                    </a:moveTo>
                    <a:lnTo>
                      <a:pt x="257" y="373"/>
                    </a:lnTo>
                    <a:lnTo>
                      <a:pt x="257" y="374"/>
                    </a:lnTo>
                    <a:lnTo>
                      <a:pt x="255" y="374"/>
                    </a:lnTo>
                    <a:lnTo>
                      <a:pt x="255" y="373"/>
                    </a:lnTo>
                    <a:close/>
                    <a:moveTo>
                      <a:pt x="195" y="405"/>
                    </a:moveTo>
                    <a:lnTo>
                      <a:pt x="197" y="405"/>
                    </a:lnTo>
                    <a:lnTo>
                      <a:pt x="197" y="408"/>
                    </a:lnTo>
                    <a:lnTo>
                      <a:pt x="195" y="408"/>
                    </a:lnTo>
                    <a:lnTo>
                      <a:pt x="195" y="405"/>
                    </a:lnTo>
                    <a:close/>
                    <a:moveTo>
                      <a:pt x="472" y="431"/>
                    </a:moveTo>
                    <a:lnTo>
                      <a:pt x="473" y="431"/>
                    </a:lnTo>
                    <a:lnTo>
                      <a:pt x="472" y="431"/>
                    </a:lnTo>
                    <a:close/>
                    <a:moveTo>
                      <a:pt x="483" y="424"/>
                    </a:moveTo>
                    <a:lnTo>
                      <a:pt x="484" y="424"/>
                    </a:lnTo>
                    <a:lnTo>
                      <a:pt x="484" y="425"/>
                    </a:lnTo>
                    <a:lnTo>
                      <a:pt x="483" y="425"/>
                    </a:lnTo>
                    <a:lnTo>
                      <a:pt x="483" y="424"/>
                    </a:lnTo>
                    <a:close/>
                    <a:moveTo>
                      <a:pt x="483" y="420"/>
                    </a:moveTo>
                    <a:lnTo>
                      <a:pt x="484" y="420"/>
                    </a:lnTo>
                    <a:lnTo>
                      <a:pt x="484" y="421"/>
                    </a:lnTo>
                    <a:lnTo>
                      <a:pt x="483" y="421"/>
                    </a:lnTo>
                    <a:lnTo>
                      <a:pt x="483" y="420"/>
                    </a:lnTo>
                    <a:close/>
                    <a:moveTo>
                      <a:pt x="487" y="431"/>
                    </a:moveTo>
                    <a:lnTo>
                      <a:pt x="488" y="431"/>
                    </a:lnTo>
                    <a:lnTo>
                      <a:pt x="489" y="430"/>
                    </a:lnTo>
                    <a:lnTo>
                      <a:pt x="488" y="431"/>
                    </a:lnTo>
                    <a:lnTo>
                      <a:pt x="487" y="431"/>
                    </a:lnTo>
                    <a:close/>
                    <a:moveTo>
                      <a:pt x="493" y="411"/>
                    </a:moveTo>
                    <a:lnTo>
                      <a:pt x="494" y="411"/>
                    </a:lnTo>
                    <a:lnTo>
                      <a:pt x="494" y="412"/>
                    </a:lnTo>
                    <a:lnTo>
                      <a:pt x="493" y="412"/>
                    </a:lnTo>
                    <a:lnTo>
                      <a:pt x="493" y="411"/>
                    </a:lnTo>
                    <a:close/>
                    <a:moveTo>
                      <a:pt x="223" y="398"/>
                    </a:moveTo>
                    <a:lnTo>
                      <a:pt x="225" y="398"/>
                    </a:lnTo>
                    <a:lnTo>
                      <a:pt x="225" y="399"/>
                    </a:lnTo>
                    <a:lnTo>
                      <a:pt x="223" y="399"/>
                    </a:lnTo>
                    <a:lnTo>
                      <a:pt x="223" y="398"/>
                    </a:lnTo>
                    <a:lnTo>
                      <a:pt x="222" y="398"/>
                    </a:lnTo>
                    <a:lnTo>
                      <a:pt x="223" y="398"/>
                    </a:lnTo>
                    <a:close/>
                    <a:moveTo>
                      <a:pt x="551" y="549"/>
                    </a:moveTo>
                    <a:lnTo>
                      <a:pt x="552" y="549"/>
                    </a:lnTo>
                    <a:lnTo>
                      <a:pt x="552" y="550"/>
                    </a:lnTo>
                    <a:lnTo>
                      <a:pt x="551" y="550"/>
                    </a:lnTo>
                    <a:lnTo>
                      <a:pt x="551" y="549"/>
                    </a:lnTo>
                    <a:close/>
                    <a:moveTo>
                      <a:pt x="452" y="536"/>
                    </a:moveTo>
                    <a:lnTo>
                      <a:pt x="449" y="536"/>
                    </a:lnTo>
                    <a:lnTo>
                      <a:pt x="452" y="536"/>
                    </a:lnTo>
                    <a:lnTo>
                      <a:pt x="453" y="536"/>
                    </a:lnTo>
                    <a:lnTo>
                      <a:pt x="452" y="536"/>
                    </a:lnTo>
                    <a:close/>
                    <a:moveTo>
                      <a:pt x="480" y="424"/>
                    </a:moveTo>
                    <a:lnTo>
                      <a:pt x="483" y="424"/>
                    </a:lnTo>
                    <a:lnTo>
                      <a:pt x="483" y="426"/>
                    </a:lnTo>
                    <a:lnTo>
                      <a:pt x="480" y="426"/>
                    </a:lnTo>
                    <a:lnTo>
                      <a:pt x="480" y="424"/>
                    </a:lnTo>
                    <a:close/>
                    <a:moveTo>
                      <a:pt x="268" y="396"/>
                    </a:moveTo>
                    <a:lnTo>
                      <a:pt x="270" y="396"/>
                    </a:lnTo>
                    <a:lnTo>
                      <a:pt x="268" y="396"/>
                    </a:lnTo>
                    <a:close/>
                    <a:moveTo>
                      <a:pt x="422" y="386"/>
                    </a:moveTo>
                    <a:lnTo>
                      <a:pt x="423" y="386"/>
                    </a:lnTo>
                    <a:lnTo>
                      <a:pt x="423" y="388"/>
                    </a:lnTo>
                    <a:lnTo>
                      <a:pt x="422" y="388"/>
                    </a:lnTo>
                    <a:lnTo>
                      <a:pt x="422" y="386"/>
                    </a:lnTo>
                    <a:close/>
                    <a:moveTo>
                      <a:pt x="408" y="374"/>
                    </a:moveTo>
                    <a:lnTo>
                      <a:pt x="408" y="375"/>
                    </a:lnTo>
                    <a:lnTo>
                      <a:pt x="407" y="374"/>
                    </a:lnTo>
                    <a:lnTo>
                      <a:pt x="407" y="375"/>
                    </a:lnTo>
                    <a:lnTo>
                      <a:pt x="406" y="375"/>
                    </a:lnTo>
                    <a:lnTo>
                      <a:pt x="406" y="374"/>
                    </a:lnTo>
                    <a:lnTo>
                      <a:pt x="407" y="374"/>
                    </a:lnTo>
                    <a:lnTo>
                      <a:pt x="408" y="374"/>
                    </a:lnTo>
                    <a:close/>
                    <a:moveTo>
                      <a:pt x="499" y="437"/>
                    </a:moveTo>
                    <a:lnTo>
                      <a:pt x="500" y="437"/>
                    </a:lnTo>
                    <a:lnTo>
                      <a:pt x="500" y="438"/>
                    </a:lnTo>
                    <a:lnTo>
                      <a:pt x="499" y="438"/>
                    </a:lnTo>
                    <a:lnTo>
                      <a:pt x="499" y="437"/>
                    </a:lnTo>
                    <a:close/>
                    <a:moveTo>
                      <a:pt x="270" y="428"/>
                    </a:moveTo>
                    <a:lnTo>
                      <a:pt x="267" y="427"/>
                    </a:lnTo>
                    <a:lnTo>
                      <a:pt x="268" y="427"/>
                    </a:lnTo>
                    <a:lnTo>
                      <a:pt x="270" y="427"/>
                    </a:lnTo>
                    <a:lnTo>
                      <a:pt x="270" y="428"/>
                    </a:lnTo>
                    <a:close/>
                    <a:moveTo>
                      <a:pt x="548" y="533"/>
                    </a:moveTo>
                    <a:lnTo>
                      <a:pt x="549" y="533"/>
                    </a:lnTo>
                    <a:lnTo>
                      <a:pt x="549" y="534"/>
                    </a:lnTo>
                    <a:lnTo>
                      <a:pt x="548" y="534"/>
                    </a:lnTo>
                    <a:lnTo>
                      <a:pt x="548" y="533"/>
                    </a:lnTo>
                    <a:close/>
                    <a:moveTo>
                      <a:pt x="550" y="428"/>
                    </a:moveTo>
                    <a:lnTo>
                      <a:pt x="549" y="428"/>
                    </a:lnTo>
                    <a:lnTo>
                      <a:pt x="548" y="427"/>
                    </a:lnTo>
                    <a:lnTo>
                      <a:pt x="546" y="427"/>
                    </a:lnTo>
                    <a:lnTo>
                      <a:pt x="548" y="427"/>
                    </a:lnTo>
                    <a:lnTo>
                      <a:pt x="549" y="427"/>
                    </a:lnTo>
                    <a:lnTo>
                      <a:pt x="550" y="428"/>
                    </a:lnTo>
                    <a:close/>
                    <a:moveTo>
                      <a:pt x="254" y="208"/>
                    </a:moveTo>
                    <a:lnTo>
                      <a:pt x="255" y="208"/>
                    </a:lnTo>
                    <a:lnTo>
                      <a:pt x="254" y="208"/>
                    </a:lnTo>
                    <a:close/>
                    <a:moveTo>
                      <a:pt x="480" y="420"/>
                    </a:moveTo>
                    <a:lnTo>
                      <a:pt x="481" y="420"/>
                    </a:lnTo>
                    <a:lnTo>
                      <a:pt x="481" y="421"/>
                    </a:lnTo>
                    <a:lnTo>
                      <a:pt x="480" y="421"/>
                    </a:lnTo>
                    <a:lnTo>
                      <a:pt x="480" y="420"/>
                    </a:lnTo>
                    <a:close/>
                    <a:moveTo>
                      <a:pt x="498" y="435"/>
                    </a:moveTo>
                    <a:lnTo>
                      <a:pt x="499" y="435"/>
                    </a:lnTo>
                    <a:lnTo>
                      <a:pt x="499" y="436"/>
                    </a:lnTo>
                    <a:lnTo>
                      <a:pt x="498" y="436"/>
                    </a:lnTo>
                    <a:lnTo>
                      <a:pt x="498" y="435"/>
                    </a:lnTo>
                    <a:close/>
                    <a:moveTo>
                      <a:pt x="544" y="536"/>
                    </a:moveTo>
                    <a:lnTo>
                      <a:pt x="544" y="537"/>
                    </a:lnTo>
                    <a:lnTo>
                      <a:pt x="544" y="536"/>
                    </a:lnTo>
                    <a:close/>
                    <a:moveTo>
                      <a:pt x="277" y="443"/>
                    </a:moveTo>
                    <a:lnTo>
                      <a:pt x="277" y="442"/>
                    </a:lnTo>
                    <a:lnTo>
                      <a:pt x="278" y="441"/>
                    </a:lnTo>
                    <a:lnTo>
                      <a:pt x="277" y="442"/>
                    </a:lnTo>
                    <a:lnTo>
                      <a:pt x="277" y="443"/>
                    </a:lnTo>
                    <a:close/>
                    <a:moveTo>
                      <a:pt x="435" y="371"/>
                    </a:moveTo>
                    <a:lnTo>
                      <a:pt x="436" y="371"/>
                    </a:lnTo>
                    <a:lnTo>
                      <a:pt x="436" y="372"/>
                    </a:lnTo>
                    <a:lnTo>
                      <a:pt x="435" y="372"/>
                    </a:lnTo>
                    <a:lnTo>
                      <a:pt x="435" y="371"/>
                    </a:lnTo>
                    <a:close/>
                    <a:moveTo>
                      <a:pt x="475" y="423"/>
                    </a:moveTo>
                    <a:lnTo>
                      <a:pt x="476" y="423"/>
                    </a:lnTo>
                    <a:lnTo>
                      <a:pt x="476" y="424"/>
                    </a:lnTo>
                    <a:lnTo>
                      <a:pt x="475" y="424"/>
                    </a:lnTo>
                    <a:lnTo>
                      <a:pt x="475" y="423"/>
                    </a:lnTo>
                    <a:close/>
                    <a:moveTo>
                      <a:pt x="505" y="556"/>
                    </a:moveTo>
                    <a:lnTo>
                      <a:pt x="505" y="555"/>
                    </a:lnTo>
                    <a:lnTo>
                      <a:pt x="505" y="554"/>
                    </a:lnTo>
                    <a:lnTo>
                      <a:pt x="506" y="554"/>
                    </a:lnTo>
                    <a:lnTo>
                      <a:pt x="505" y="554"/>
                    </a:lnTo>
                    <a:lnTo>
                      <a:pt x="505" y="555"/>
                    </a:lnTo>
                    <a:lnTo>
                      <a:pt x="505" y="556"/>
                    </a:lnTo>
                    <a:close/>
                    <a:moveTo>
                      <a:pt x="577" y="499"/>
                    </a:moveTo>
                    <a:lnTo>
                      <a:pt x="578" y="499"/>
                    </a:lnTo>
                    <a:lnTo>
                      <a:pt x="578" y="500"/>
                    </a:lnTo>
                    <a:lnTo>
                      <a:pt x="577" y="500"/>
                    </a:lnTo>
                    <a:lnTo>
                      <a:pt x="577" y="499"/>
                    </a:lnTo>
                    <a:close/>
                    <a:moveTo>
                      <a:pt x="505" y="441"/>
                    </a:moveTo>
                    <a:lnTo>
                      <a:pt x="506" y="441"/>
                    </a:lnTo>
                    <a:lnTo>
                      <a:pt x="505" y="441"/>
                    </a:lnTo>
                    <a:close/>
                    <a:moveTo>
                      <a:pt x="412" y="666"/>
                    </a:moveTo>
                    <a:lnTo>
                      <a:pt x="412" y="667"/>
                    </a:lnTo>
                    <a:lnTo>
                      <a:pt x="412" y="666"/>
                    </a:lnTo>
                    <a:close/>
                    <a:moveTo>
                      <a:pt x="420" y="391"/>
                    </a:moveTo>
                    <a:lnTo>
                      <a:pt x="422" y="391"/>
                    </a:lnTo>
                    <a:lnTo>
                      <a:pt x="420" y="391"/>
                    </a:lnTo>
                    <a:close/>
                    <a:moveTo>
                      <a:pt x="485" y="423"/>
                    </a:moveTo>
                    <a:lnTo>
                      <a:pt x="485" y="424"/>
                    </a:lnTo>
                    <a:lnTo>
                      <a:pt x="485" y="423"/>
                    </a:lnTo>
                    <a:close/>
                    <a:moveTo>
                      <a:pt x="168" y="413"/>
                    </a:moveTo>
                    <a:lnTo>
                      <a:pt x="167" y="413"/>
                    </a:lnTo>
                    <a:lnTo>
                      <a:pt x="168" y="412"/>
                    </a:lnTo>
                    <a:lnTo>
                      <a:pt x="169" y="412"/>
                    </a:lnTo>
                    <a:lnTo>
                      <a:pt x="168" y="413"/>
                    </a:lnTo>
                    <a:close/>
                    <a:moveTo>
                      <a:pt x="499" y="420"/>
                    </a:moveTo>
                    <a:lnTo>
                      <a:pt x="500" y="420"/>
                    </a:lnTo>
                    <a:lnTo>
                      <a:pt x="500" y="421"/>
                    </a:lnTo>
                    <a:lnTo>
                      <a:pt x="499" y="421"/>
                    </a:lnTo>
                    <a:lnTo>
                      <a:pt x="499" y="420"/>
                    </a:lnTo>
                    <a:close/>
                    <a:moveTo>
                      <a:pt x="407" y="372"/>
                    </a:moveTo>
                    <a:lnTo>
                      <a:pt x="408" y="372"/>
                    </a:lnTo>
                    <a:lnTo>
                      <a:pt x="409" y="372"/>
                    </a:lnTo>
                    <a:lnTo>
                      <a:pt x="409" y="373"/>
                    </a:lnTo>
                    <a:lnTo>
                      <a:pt x="409" y="372"/>
                    </a:lnTo>
                    <a:lnTo>
                      <a:pt x="408" y="372"/>
                    </a:lnTo>
                    <a:lnTo>
                      <a:pt x="407" y="372"/>
                    </a:lnTo>
                    <a:close/>
                    <a:moveTo>
                      <a:pt x="238" y="221"/>
                    </a:moveTo>
                    <a:lnTo>
                      <a:pt x="239" y="221"/>
                    </a:lnTo>
                    <a:lnTo>
                      <a:pt x="239" y="222"/>
                    </a:lnTo>
                    <a:lnTo>
                      <a:pt x="238" y="222"/>
                    </a:lnTo>
                    <a:lnTo>
                      <a:pt x="238" y="221"/>
                    </a:lnTo>
                    <a:close/>
                    <a:moveTo>
                      <a:pt x="500" y="444"/>
                    </a:moveTo>
                    <a:lnTo>
                      <a:pt x="501" y="444"/>
                    </a:lnTo>
                    <a:lnTo>
                      <a:pt x="501" y="446"/>
                    </a:lnTo>
                    <a:lnTo>
                      <a:pt x="500" y="446"/>
                    </a:lnTo>
                    <a:lnTo>
                      <a:pt x="500" y="444"/>
                    </a:lnTo>
                    <a:close/>
                    <a:moveTo>
                      <a:pt x="415" y="379"/>
                    </a:moveTo>
                    <a:lnTo>
                      <a:pt x="418" y="379"/>
                    </a:lnTo>
                    <a:lnTo>
                      <a:pt x="418" y="380"/>
                    </a:lnTo>
                    <a:lnTo>
                      <a:pt x="415" y="380"/>
                    </a:lnTo>
                    <a:lnTo>
                      <a:pt x="415" y="379"/>
                    </a:lnTo>
                    <a:close/>
                    <a:moveTo>
                      <a:pt x="332" y="469"/>
                    </a:moveTo>
                    <a:lnTo>
                      <a:pt x="333" y="469"/>
                    </a:lnTo>
                    <a:lnTo>
                      <a:pt x="333" y="470"/>
                    </a:lnTo>
                    <a:lnTo>
                      <a:pt x="332" y="470"/>
                    </a:lnTo>
                    <a:lnTo>
                      <a:pt x="332" y="469"/>
                    </a:lnTo>
                    <a:close/>
                    <a:moveTo>
                      <a:pt x="505" y="564"/>
                    </a:moveTo>
                    <a:lnTo>
                      <a:pt x="506" y="564"/>
                    </a:lnTo>
                    <a:lnTo>
                      <a:pt x="505" y="564"/>
                    </a:lnTo>
                    <a:close/>
                    <a:moveTo>
                      <a:pt x="494" y="580"/>
                    </a:moveTo>
                    <a:lnTo>
                      <a:pt x="496" y="580"/>
                    </a:lnTo>
                    <a:lnTo>
                      <a:pt x="496" y="581"/>
                    </a:lnTo>
                    <a:lnTo>
                      <a:pt x="494" y="581"/>
                    </a:lnTo>
                    <a:lnTo>
                      <a:pt x="494" y="580"/>
                    </a:lnTo>
                    <a:close/>
                    <a:moveTo>
                      <a:pt x="192" y="345"/>
                    </a:moveTo>
                    <a:lnTo>
                      <a:pt x="193" y="345"/>
                    </a:lnTo>
                    <a:lnTo>
                      <a:pt x="193" y="346"/>
                    </a:lnTo>
                    <a:lnTo>
                      <a:pt x="192" y="346"/>
                    </a:lnTo>
                    <a:lnTo>
                      <a:pt x="192" y="345"/>
                    </a:lnTo>
                    <a:close/>
                    <a:moveTo>
                      <a:pt x="244" y="390"/>
                    </a:moveTo>
                    <a:lnTo>
                      <a:pt x="241" y="389"/>
                    </a:lnTo>
                    <a:lnTo>
                      <a:pt x="244" y="390"/>
                    </a:lnTo>
                    <a:close/>
                    <a:moveTo>
                      <a:pt x="566" y="656"/>
                    </a:moveTo>
                    <a:lnTo>
                      <a:pt x="566" y="657"/>
                    </a:lnTo>
                    <a:lnTo>
                      <a:pt x="565" y="656"/>
                    </a:lnTo>
                    <a:lnTo>
                      <a:pt x="565" y="655"/>
                    </a:lnTo>
                    <a:lnTo>
                      <a:pt x="565" y="654"/>
                    </a:lnTo>
                    <a:lnTo>
                      <a:pt x="565" y="655"/>
                    </a:lnTo>
                    <a:lnTo>
                      <a:pt x="565" y="656"/>
                    </a:lnTo>
                    <a:lnTo>
                      <a:pt x="566" y="656"/>
                    </a:lnTo>
                    <a:close/>
                    <a:moveTo>
                      <a:pt x="504" y="434"/>
                    </a:moveTo>
                    <a:lnTo>
                      <a:pt x="505" y="434"/>
                    </a:lnTo>
                    <a:lnTo>
                      <a:pt x="505" y="435"/>
                    </a:lnTo>
                    <a:lnTo>
                      <a:pt x="504" y="435"/>
                    </a:lnTo>
                    <a:lnTo>
                      <a:pt x="504" y="434"/>
                    </a:lnTo>
                    <a:close/>
                    <a:moveTo>
                      <a:pt x="230" y="398"/>
                    </a:moveTo>
                    <a:lnTo>
                      <a:pt x="231" y="398"/>
                    </a:lnTo>
                    <a:lnTo>
                      <a:pt x="230" y="398"/>
                    </a:lnTo>
                    <a:close/>
                    <a:moveTo>
                      <a:pt x="504" y="560"/>
                    </a:moveTo>
                    <a:lnTo>
                      <a:pt x="505" y="560"/>
                    </a:lnTo>
                    <a:lnTo>
                      <a:pt x="505" y="562"/>
                    </a:lnTo>
                    <a:lnTo>
                      <a:pt x="504" y="562"/>
                    </a:lnTo>
                    <a:lnTo>
                      <a:pt x="504" y="560"/>
                    </a:lnTo>
                    <a:close/>
                    <a:moveTo>
                      <a:pt x="422" y="376"/>
                    </a:moveTo>
                    <a:lnTo>
                      <a:pt x="422" y="377"/>
                    </a:lnTo>
                    <a:lnTo>
                      <a:pt x="422" y="376"/>
                    </a:lnTo>
                    <a:close/>
                    <a:moveTo>
                      <a:pt x="476" y="423"/>
                    </a:moveTo>
                    <a:lnTo>
                      <a:pt x="477" y="423"/>
                    </a:lnTo>
                    <a:lnTo>
                      <a:pt x="477" y="424"/>
                    </a:lnTo>
                    <a:lnTo>
                      <a:pt x="476" y="424"/>
                    </a:lnTo>
                    <a:lnTo>
                      <a:pt x="476" y="423"/>
                    </a:lnTo>
                    <a:close/>
                    <a:moveTo>
                      <a:pt x="418" y="384"/>
                    </a:moveTo>
                    <a:lnTo>
                      <a:pt x="419" y="384"/>
                    </a:lnTo>
                    <a:lnTo>
                      <a:pt x="418" y="384"/>
                    </a:lnTo>
                    <a:close/>
                    <a:moveTo>
                      <a:pt x="338" y="467"/>
                    </a:moveTo>
                    <a:lnTo>
                      <a:pt x="339" y="467"/>
                    </a:lnTo>
                    <a:lnTo>
                      <a:pt x="339" y="468"/>
                    </a:lnTo>
                    <a:lnTo>
                      <a:pt x="338" y="468"/>
                    </a:lnTo>
                    <a:lnTo>
                      <a:pt x="338" y="467"/>
                    </a:lnTo>
                    <a:close/>
                    <a:moveTo>
                      <a:pt x="427" y="392"/>
                    </a:moveTo>
                    <a:lnTo>
                      <a:pt x="429" y="392"/>
                    </a:lnTo>
                    <a:lnTo>
                      <a:pt x="427" y="392"/>
                    </a:lnTo>
                    <a:close/>
                    <a:moveTo>
                      <a:pt x="492" y="429"/>
                    </a:moveTo>
                    <a:lnTo>
                      <a:pt x="492" y="430"/>
                    </a:lnTo>
                    <a:lnTo>
                      <a:pt x="491" y="430"/>
                    </a:lnTo>
                    <a:lnTo>
                      <a:pt x="490" y="430"/>
                    </a:lnTo>
                    <a:lnTo>
                      <a:pt x="490" y="429"/>
                    </a:lnTo>
                    <a:lnTo>
                      <a:pt x="491" y="429"/>
                    </a:lnTo>
                    <a:lnTo>
                      <a:pt x="492" y="429"/>
                    </a:lnTo>
                    <a:close/>
                    <a:moveTo>
                      <a:pt x="199" y="349"/>
                    </a:moveTo>
                    <a:lnTo>
                      <a:pt x="200" y="349"/>
                    </a:lnTo>
                    <a:lnTo>
                      <a:pt x="200" y="350"/>
                    </a:lnTo>
                    <a:lnTo>
                      <a:pt x="199" y="350"/>
                    </a:lnTo>
                    <a:lnTo>
                      <a:pt x="199" y="349"/>
                    </a:lnTo>
                    <a:close/>
                    <a:moveTo>
                      <a:pt x="181" y="345"/>
                    </a:moveTo>
                    <a:lnTo>
                      <a:pt x="182" y="345"/>
                    </a:lnTo>
                    <a:lnTo>
                      <a:pt x="182" y="346"/>
                    </a:lnTo>
                    <a:lnTo>
                      <a:pt x="181" y="346"/>
                    </a:lnTo>
                    <a:lnTo>
                      <a:pt x="181" y="345"/>
                    </a:lnTo>
                    <a:close/>
                    <a:moveTo>
                      <a:pt x="507" y="460"/>
                    </a:moveTo>
                    <a:lnTo>
                      <a:pt x="509" y="460"/>
                    </a:lnTo>
                    <a:lnTo>
                      <a:pt x="509" y="461"/>
                    </a:lnTo>
                    <a:lnTo>
                      <a:pt x="507" y="461"/>
                    </a:lnTo>
                    <a:lnTo>
                      <a:pt x="507" y="460"/>
                    </a:lnTo>
                    <a:close/>
                    <a:moveTo>
                      <a:pt x="467" y="554"/>
                    </a:moveTo>
                    <a:lnTo>
                      <a:pt x="467" y="555"/>
                    </a:lnTo>
                    <a:lnTo>
                      <a:pt x="467" y="554"/>
                    </a:lnTo>
                    <a:close/>
                    <a:moveTo>
                      <a:pt x="209" y="418"/>
                    </a:moveTo>
                    <a:lnTo>
                      <a:pt x="210" y="418"/>
                    </a:lnTo>
                    <a:lnTo>
                      <a:pt x="210" y="420"/>
                    </a:lnTo>
                    <a:lnTo>
                      <a:pt x="209" y="420"/>
                    </a:lnTo>
                    <a:lnTo>
                      <a:pt x="209" y="418"/>
                    </a:lnTo>
                    <a:close/>
                    <a:moveTo>
                      <a:pt x="206" y="414"/>
                    </a:moveTo>
                    <a:lnTo>
                      <a:pt x="207" y="414"/>
                    </a:lnTo>
                    <a:lnTo>
                      <a:pt x="207" y="415"/>
                    </a:lnTo>
                    <a:lnTo>
                      <a:pt x="206" y="415"/>
                    </a:lnTo>
                    <a:lnTo>
                      <a:pt x="206" y="414"/>
                    </a:lnTo>
                    <a:close/>
                    <a:moveTo>
                      <a:pt x="441" y="371"/>
                    </a:moveTo>
                    <a:lnTo>
                      <a:pt x="442" y="371"/>
                    </a:lnTo>
                    <a:lnTo>
                      <a:pt x="442" y="372"/>
                    </a:lnTo>
                    <a:lnTo>
                      <a:pt x="441" y="372"/>
                    </a:lnTo>
                    <a:lnTo>
                      <a:pt x="441" y="371"/>
                    </a:lnTo>
                    <a:close/>
                    <a:moveTo>
                      <a:pt x="329" y="468"/>
                    </a:moveTo>
                    <a:lnTo>
                      <a:pt x="325" y="467"/>
                    </a:lnTo>
                    <a:lnTo>
                      <a:pt x="329" y="468"/>
                    </a:lnTo>
                    <a:close/>
                    <a:moveTo>
                      <a:pt x="463" y="617"/>
                    </a:moveTo>
                    <a:lnTo>
                      <a:pt x="464" y="617"/>
                    </a:lnTo>
                    <a:lnTo>
                      <a:pt x="464" y="618"/>
                    </a:lnTo>
                    <a:lnTo>
                      <a:pt x="463" y="618"/>
                    </a:lnTo>
                    <a:lnTo>
                      <a:pt x="463" y="617"/>
                    </a:lnTo>
                    <a:close/>
                    <a:moveTo>
                      <a:pt x="289" y="435"/>
                    </a:moveTo>
                    <a:lnTo>
                      <a:pt x="290" y="435"/>
                    </a:lnTo>
                    <a:lnTo>
                      <a:pt x="290" y="436"/>
                    </a:lnTo>
                    <a:lnTo>
                      <a:pt x="289" y="436"/>
                    </a:lnTo>
                    <a:lnTo>
                      <a:pt x="289" y="435"/>
                    </a:lnTo>
                    <a:close/>
                    <a:moveTo>
                      <a:pt x="209" y="354"/>
                    </a:moveTo>
                    <a:lnTo>
                      <a:pt x="210" y="354"/>
                    </a:lnTo>
                    <a:lnTo>
                      <a:pt x="209" y="354"/>
                    </a:lnTo>
                    <a:close/>
                    <a:moveTo>
                      <a:pt x="491" y="418"/>
                    </a:moveTo>
                    <a:lnTo>
                      <a:pt x="491" y="420"/>
                    </a:lnTo>
                    <a:lnTo>
                      <a:pt x="491" y="418"/>
                    </a:lnTo>
                    <a:close/>
                    <a:moveTo>
                      <a:pt x="478" y="592"/>
                    </a:moveTo>
                    <a:lnTo>
                      <a:pt x="478" y="593"/>
                    </a:lnTo>
                    <a:lnTo>
                      <a:pt x="478" y="592"/>
                    </a:lnTo>
                    <a:close/>
                    <a:moveTo>
                      <a:pt x="245" y="272"/>
                    </a:moveTo>
                    <a:lnTo>
                      <a:pt x="246" y="272"/>
                    </a:lnTo>
                    <a:lnTo>
                      <a:pt x="246" y="273"/>
                    </a:lnTo>
                    <a:lnTo>
                      <a:pt x="245" y="273"/>
                    </a:lnTo>
                    <a:lnTo>
                      <a:pt x="245" y="272"/>
                    </a:lnTo>
                    <a:close/>
                    <a:moveTo>
                      <a:pt x="489" y="476"/>
                    </a:moveTo>
                    <a:lnTo>
                      <a:pt x="490" y="476"/>
                    </a:lnTo>
                    <a:lnTo>
                      <a:pt x="490" y="478"/>
                    </a:lnTo>
                    <a:lnTo>
                      <a:pt x="489" y="478"/>
                    </a:lnTo>
                    <a:lnTo>
                      <a:pt x="489" y="476"/>
                    </a:lnTo>
                    <a:close/>
                    <a:moveTo>
                      <a:pt x="449" y="529"/>
                    </a:moveTo>
                    <a:lnTo>
                      <a:pt x="450" y="529"/>
                    </a:lnTo>
                    <a:lnTo>
                      <a:pt x="450" y="530"/>
                    </a:lnTo>
                    <a:lnTo>
                      <a:pt x="449" y="530"/>
                    </a:lnTo>
                    <a:lnTo>
                      <a:pt x="449" y="529"/>
                    </a:lnTo>
                    <a:close/>
                    <a:moveTo>
                      <a:pt x="494" y="417"/>
                    </a:moveTo>
                    <a:lnTo>
                      <a:pt x="496" y="417"/>
                    </a:lnTo>
                    <a:lnTo>
                      <a:pt x="496" y="418"/>
                    </a:lnTo>
                    <a:lnTo>
                      <a:pt x="494" y="418"/>
                    </a:lnTo>
                    <a:lnTo>
                      <a:pt x="494" y="417"/>
                    </a:lnTo>
                    <a:close/>
                    <a:moveTo>
                      <a:pt x="489" y="418"/>
                    </a:moveTo>
                    <a:lnTo>
                      <a:pt x="490" y="418"/>
                    </a:lnTo>
                    <a:lnTo>
                      <a:pt x="490" y="420"/>
                    </a:lnTo>
                    <a:lnTo>
                      <a:pt x="489" y="420"/>
                    </a:lnTo>
                    <a:lnTo>
                      <a:pt x="489" y="418"/>
                    </a:lnTo>
                    <a:close/>
                    <a:moveTo>
                      <a:pt x="452" y="529"/>
                    </a:moveTo>
                    <a:lnTo>
                      <a:pt x="451" y="528"/>
                    </a:lnTo>
                    <a:lnTo>
                      <a:pt x="450" y="528"/>
                    </a:lnTo>
                    <a:lnTo>
                      <a:pt x="451" y="528"/>
                    </a:lnTo>
                    <a:lnTo>
                      <a:pt x="451" y="529"/>
                    </a:lnTo>
                    <a:lnTo>
                      <a:pt x="452" y="529"/>
                    </a:lnTo>
                    <a:close/>
                    <a:moveTo>
                      <a:pt x="496" y="461"/>
                    </a:moveTo>
                    <a:lnTo>
                      <a:pt x="497" y="461"/>
                    </a:lnTo>
                    <a:lnTo>
                      <a:pt x="496" y="461"/>
                    </a:lnTo>
                    <a:close/>
                    <a:moveTo>
                      <a:pt x="431" y="390"/>
                    </a:moveTo>
                    <a:lnTo>
                      <a:pt x="432" y="390"/>
                    </a:lnTo>
                    <a:lnTo>
                      <a:pt x="432" y="391"/>
                    </a:lnTo>
                    <a:lnTo>
                      <a:pt x="431" y="391"/>
                    </a:lnTo>
                    <a:lnTo>
                      <a:pt x="431" y="390"/>
                    </a:lnTo>
                    <a:close/>
                    <a:moveTo>
                      <a:pt x="502" y="459"/>
                    </a:moveTo>
                    <a:lnTo>
                      <a:pt x="502" y="460"/>
                    </a:lnTo>
                    <a:lnTo>
                      <a:pt x="502" y="459"/>
                    </a:lnTo>
                    <a:close/>
                    <a:moveTo>
                      <a:pt x="566" y="512"/>
                    </a:moveTo>
                    <a:lnTo>
                      <a:pt x="567" y="512"/>
                    </a:lnTo>
                    <a:lnTo>
                      <a:pt x="566" y="512"/>
                    </a:lnTo>
                    <a:close/>
                    <a:moveTo>
                      <a:pt x="160" y="343"/>
                    </a:moveTo>
                    <a:lnTo>
                      <a:pt x="161" y="343"/>
                    </a:lnTo>
                    <a:lnTo>
                      <a:pt x="161" y="344"/>
                    </a:lnTo>
                    <a:lnTo>
                      <a:pt x="160" y="344"/>
                    </a:lnTo>
                    <a:lnTo>
                      <a:pt x="160" y="343"/>
                    </a:lnTo>
                    <a:close/>
                    <a:moveTo>
                      <a:pt x="234" y="401"/>
                    </a:moveTo>
                    <a:lnTo>
                      <a:pt x="235" y="401"/>
                    </a:lnTo>
                    <a:lnTo>
                      <a:pt x="235" y="402"/>
                    </a:lnTo>
                    <a:lnTo>
                      <a:pt x="234" y="402"/>
                    </a:lnTo>
                    <a:lnTo>
                      <a:pt x="234" y="401"/>
                    </a:lnTo>
                    <a:close/>
                    <a:moveTo>
                      <a:pt x="200" y="403"/>
                    </a:moveTo>
                    <a:lnTo>
                      <a:pt x="201" y="403"/>
                    </a:lnTo>
                    <a:lnTo>
                      <a:pt x="201" y="405"/>
                    </a:lnTo>
                    <a:lnTo>
                      <a:pt x="200" y="405"/>
                    </a:lnTo>
                    <a:lnTo>
                      <a:pt x="200" y="403"/>
                    </a:lnTo>
                    <a:close/>
                    <a:moveTo>
                      <a:pt x="473" y="440"/>
                    </a:moveTo>
                    <a:lnTo>
                      <a:pt x="475" y="440"/>
                    </a:lnTo>
                    <a:lnTo>
                      <a:pt x="473" y="440"/>
                    </a:lnTo>
                    <a:close/>
                    <a:moveTo>
                      <a:pt x="565" y="555"/>
                    </a:moveTo>
                    <a:lnTo>
                      <a:pt x="566" y="555"/>
                    </a:lnTo>
                    <a:lnTo>
                      <a:pt x="566" y="556"/>
                    </a:lnTo>
                    <a:lnTo>
                      <a:pt x="565" y="556"/>
                    </a:lnTo>
                    <a:lnTo>
                      <a:pt x="565" y="555"/>
                    </a:lnTo>
                    <a:close/>
                    <a:moveTo>
                      <a:pt x="502" y="585"/>
                    </a:moveTo>
                    <a:lnTo>
                      <a:pt x="503" y="585"/>
                    </a:lnTo>
                    <a:lnTo>
                      <a:pt x="503" y="586"/>
                    </a:lnTo>
                    <a:lnTo>
                      <a:pt x="502" y="586"/>
                    </a:lnTo>
                    <a:lnTo>
                      <a:pt x="502" y="585"/>
                    </a:lnTo>
                    <a:close/>
                    <a:moveTo>
                      <a:pt x="548" y="555"/>
                    </a:moveTo>
                    <a:lnTo>
                      <a:pt x="549" y="555"/>
                    </a:lnTo>
                    <a:lnTo>
                      <a:pt x="548" y="555"/>
                    </a:lnTo>
                    <a:close/>
                    <a:moveTo>
                      <a:pt x="235" y="226"/>
                    </a:moveTo>
                    <a:lnTo>
                      <a:pt x="236" y="226"/>
                    </a:lnTo>
                    <a:lnTo>
                      <a:pt x="236" y="228"/>
                    </a:lnTo>
                    <a:lnTo>
                      <a:pt x="235" y="228"/>
                    </a:lnTo>
                    <a:lnTo>
                      <a:pt x="235" y="226"/>
                    </a:lnTo>
                    <a:close/>
                    <a:moveTo>
                      <a:pt x="570" y="566"/>
                    </a:moveTo>
                    <a:lnTo>
                      <a:pt x="570" y="567"/>
                    </a:lnTo>
                    <a:lnTo>
                      <a:pt x="570" y="566"/>
                    </a:lnTo>
                    <a:close/>
                    <a:moveTo>
                      <a:pt x="192" y="414"/>
                    </a:moveTo>
                    <a:lnTo>
                      <a:pt x="193" y="414"/>
                    </a:lnTo>
                    <a:lnTo>
                      <a:pt x="193" y="415"/>
                    </a:lnTo>
                    <a:lnTo>
                      <a:pt x="192" y="415"/>
                    </a:lnTo>
                    <a:lnTo>
                      <a:pt x="192" y="414"/>
                    </a:lnTo>
                    <a:close/>
                    <a:moveTo>
                      <a:pt x="129" y="299"/>
                    </a:moveTo>
                    <a:lnTo>
                      <a:pt x="130" y="299"/>
                    </a:lnTo>
                    <a:lnTo>
                      <a:pt x="130" y="300"/>
                    </a:lnTo>
                    <a:lnTo>
                      <a:pt x="129" y="300"/>
                    </a:lnTo>
                    <a:lnTo>
                      <a:pt x="129" y="299"/>
                    </a:lnTo>
                    <a:close/>
                    <a:moveTo>
                      <a:pt x="542" y="508"/>
                    </a:moveTo>
                    <a:lnTo>
                      <a:pt x="541" y="508"/>
                    </a:lnTo>
                    <a:lnTo>
                      <a:pt x="540" y="507"/>
                    </a:lnTo>
                    <a:lnTo>
                      <a:pt x="541" y="508"/>
                    </a:lnTo>
                    <a:lnTo>
                      <a:pt x="542" y="508"/>
                    </a:lnTo>
                    <a:close/>
                    <a:moveTo>
                      <a:pt x="111" y="300"/>
                    </a:moveTo>
                    <a:lnTo>
                      <a:pt x="112" y="300"/>
                    </a:lnTo>
                    <a:lnTo>
                      <a:pt x="111" y="300"/>
                    </a:lnTo>
                    <a:close/>
                    <a:moveTo>
                      <a:pt x="423" y="372"/>
                    </a:moveTo>
                    <a:lnTo>
                      <a:pt x="423" y="373"/>
                    </a:lnTo>
                    <a:lnTo>
                      <a:pt x="423" y="372"/>
                    </a:lnTo>
                    <a:close/>
                    <a:moveTo>
                      <a:pt x="208" y="402"/>
                    </a:moveTo>
                    <a:lnTo>
                      <a:pt x="210" y="402"/>
                    </a:lnTo>
                    <a:lnTo>
                      <a:pt x="210" y="403"/>
                    </a:lnTo>
                    <a:lnTo>
                      <a:pt x="208" y="403"/>
                    </a:lnTo>
                    <a:lnTo>
                      <a:pt x="208" y="402"/>
                    </a:lnTo>
                    <a:close/>
                    <a:moveTo>
                      <a:pt x="222" y="405"/>
                    </a:moveTo>
                    <a:lnTo>
                      <a:pt x="220" y="405"/>
                    </a:lnTo>
                    <a:lnTo>
                      <a:pt x="222" y="405"/>
                    </a:lnTo>
                    <a:close/>
                    <a:moveTo>
                      <a:pt x="178" y="406"/>
                    </a:moveTo>
                    <a:lnTo>
                      <a:pt x="180" y="406"/>
                    </a:lnTo>
                    <a:lnTo>
                      <a:pt x="180" y="408"/>
                    </a:lnTo>
                    <a:lnTo>
                      <a:pt x="178" y="408"/>
                    </a:lnTo>
                    <a:lnTo>
                      <a:pt x="178" y="406"/>
                    </a:lnTo>
                    <a:close/>
                    <a:moveTo>
                      <a:pt x="584" y="547"/>
                    </a:moveTo>
                    <a:lnTo>
                      <a:pt x="586" y="547"/>
                    </a:lnTo>
                    <a:lnTo>
                      <a:pt x="586" y="549"/>
                    </a:lnTo>
                    <a:lnTo>
                      <a:pt x="584" y="549"/>
                    </a:lnTo>
                    <a:lnTo>
                      <a:pt x="584" y="547"/>
                    </a:lnTo>
                    <a:close/>
                    <a:moveTo>
                      <a:pt x="415" y="543"/>
                    </a:moveTo>
                    <a:lnTo>
                      <a:pt x="416" y="543"/>
                    </a:lnTo>
                    <a:lnTo>
                      <a:pt x="415" y="543"/>
                    </a:lnTo>
                    <a:close/>
                    <a:moveTo>
                      <a:pt x="552" y="549"/>
                    </a:moveTo>
                    <a:lnTo>
                      <a:pt x="552" y="547"/>
                    </a:lnTo>
                    <a:lnTo>
                      <a:pt x="551" y="547"/>
                    </a:lnTo>
                    <a:lnTo>
                      <a:pt x="550" y="547"/>
                    </a:lnTo>
                    <a:lnTo>
                      <a:pt x="550" y="546"/>
                    </a:lnTo>
                    <a:lnTo>
                      <a:pt x="550" y="547"/>
                    </a:lnTo>
                    <a:lnTo>
                      <a:pt x="551" y="547"/>
                    </a:lnTo>
                    <a:lnTo>
                      <a:pt x="552" y="547"/>
                    </a:lnTo>
                    <a:lnTo>
                      <a:pt x="552" y="549"/>
                    </a:lnTo>
                    <a:close/>
                    <a:moveTo>
                      <a:pt x="416" y="388"/>
                    </a:moveTo>
                    <a:lnTo>
                      <a:pt x="419" y="388"/>
                    </a:lnTo>
                    <a:lnTo>
                      <a:pt x="419" y="389"/>
                    </a:lnTo>
                    <a:lnTo>
                      <a:pt x="416" y="389"/>
                    </a:lnTo>
                    <a:lnTo>
                      <a:pt x="416" y="388"/>
                    </a:lnTo>
                    <a:close/>
                    <a:moveTo>
                      <a:pt x="291" y="453"/>
                    </a:moveTo>
                    <a:lnTo>
                      <a:pt x="291" y="454"/>
                    </a:lnTo>
                    <a:lnTo>
                      <a:pt x="291" y="453"/>
                    </a:lnTo>
                    <a:close/>
                    <a:moveTo>
                      <a:pt x="503" y="462"/>
                    </a:moveTo>
                    <a:lnTo>
                      <a:pt x="503" y="463"/>
                    </a:lnTo>
                    <a:lnTo>
                      <a:pt x="503" y="462"/>
                    </a:lnTo>
                    <a:close/>
                    <a:moveTo>
                      <a:pt x="208" y="404"/>
                    </a:moveTo>
                    <a:lnTo>
                      <a:pt x="208" y="405"/>
                    </a:lnTo>
                    <a:lnTo>
                      <a:pt x="208" y="404"/>
                    </a:lnTo>
                    <a:close/>
                    <a:moveTo>
                      <a:pt x="472" y="454"/>
                    </a:moveTo>
                    <a:lnTo>
                      <a:pt x="472" y="455"/>
                    </a:lnTo>
                    <a:lnTo>
                      <a:pt x="472" y="454"/>
                    </a:lnTo>
                    <a:close/>
                    <a:moveTo>
                      <a:pt x="315" y="352"/>
                    </a:moveTo>
                    <a:lnTo>
                      <a:pt x="316" y="352"/>
                    </a:lnTo>
                    <a:lnTo>
                      <a:pt x="315" y="352"/>
                    </a:lnTo>
                    <a:close/>
                    <a:moveTo>
                      <a:pt x="412" y="545"/>
                    </a:moveTo>
                    <a:lnTo>
                      <a:pt x="413" y="545"/>
                    </a:lnTo>
                    <a:lnTo>
                      <a:pt x="413" y="546"/>
                    </a:lnTo>
                    <a:lnTo>
                      <a:pt x="412" y="546"/>
                    </a:lnTo>
                    <a:lnTo>
                      <a:pt x="412" y="545"/>
                    </a:lnTo>
                    <a:close/>
                    <a:moveTo>
                      <a:pt x="184" y="344"/>
                    </a:moveTo>
                    <a:lnTo>
                      <a:pt x="186" y="344"/>
                    </a:lnTo>
                    <a:lnTo>
                      <a:pt x="186" y="346"/>
                    </a:lnTo>
                    <a:lnTo>
                      <a:pt x="184" y="346"/>
                    </a:lnTo>
                    <a:lnTo>
                      <a:pt x="184" y="344"/>
                    </a:lnTo>
                    <a:close/>
                    <a:moveTo>
                      <a:pt x="490" y="425"/>
                    </a:moveTo>
                    <a:lnTo>
                      <a:pt x="491" y="425"/>
                    </a:lnTo>
                    <a:lnTo>
                      <a:pt x="491" y="426"/>
                    </a:lnTo>
                    <a:lnTo>
                      <a:pt x="490" y="426"/>
                    </a:lnTo>
                    <a:lnTo>
                      <a:pt x="490" y="425"/>
                    </a:lnTo>
                    <a:close/>
                    <a:moveTo>
                      <a:pt x="499" y="441"/>
                    </a:moveTo>
                    <a:lnTo>
                      <a:pt x="500" y="441"/>
                    </a:lnTo>
                    <a:lnTo>
                      <a:pt x="499" y="441"/>
                    </a:lnTo>
                    <a:close/>
                    <a:moveTo>
                      <a:pt x="567" y="555"/>
                    </a:moveTo>
                    <a:lnTo>
                      <a:pt x="568" y="555"/>
                    </a:lnTo>
                    <a:lnTo>
                      <a:pt x="567" y="555"/>
                    </a:lnTo>
                    <a:close/>
                    <a:moveTo>
                      <a:pt x="217" y="405"/>
                    </a:moveTo>
                    <a:lnTo>
                      <a:pt x="218" y="405"/>
                    </a:lnTo>
                    <a:lnTo>
                      <a:pt x="218" y="406"/>
                    </a:lnTo>
                    <a:lnTo>
                      <a:pt x="217" y="406"/>
                    </a:lnTo>
                    <a:lnTo>
                      <a:pt x="217" y="405"/>
                    </a:lnTo>
                    <a:close/>
                    <a:moveTo>
                      <a:pt x="490" y="424"/>
                    </a:moveTo>
                    <a:lnTo>
                      <a:pt x="491" y="424"/>
                    </a:lnTo>
                    <a:lnTo>
                      <a:pt x="491" y="425"/>
                    </a:lnTo>
                    <a:lnTo>
                      <a:pt x="490" y="425"/>
                    </a:lnTo>
                    <a:lnTo>
                      <a:pt x="490" y="424"/>
                    </a:lnTo>
                    <a:close/>
                    <a:moveTo>
                      <a:pt x="473" y="424"/>
                    </a:moveTo>
                    <a:lnTo>
                      <a:pt x="474" y="424"/>
                    </a:lnTo>
                    <a:lnTo>
                      <a:pt x="474" y="425"/>
                    </a:lnTo>
                    <a:lnTo>
                      <a:pt x="473" y="425"/>
                    </a:lnTo>
                    <a:lnTo>
                      <a:pt x="473" y="424"/>
                    </a:lnTo>
                    <a:close/>
                    <a:moveTo>
                      <a:pt x="243" y="416"/>
                    </a:moveTo>
                    <a:lnTo>
                      <a:pt x="244" y="416"/>
                    </a:lnTo>
                    <a:lnTo>
                      <a:pt x="243" y="416"/>
                    </a:lnTo>
                    <a:lnTo>
                      <a:pt x="242" y="416"/>
                    </a:lnTo>
                    <a:lnTo>
                      <a:pt x="243" y="416"/>
                    </a:lnTo>
                    <a:close/>
                    <a:moveTo>
                      <a:pt x="422" y="669"/>
                    </a:moveTo>
                    <a:lnTo>
                      <a:pt x="423" y="669"/>
                    </a:lnTo>
                    <a:lnTo>
                      <a:pt x="423" y="670"/>
                    </a:lnTo>
                    <a:lnTo>
                      <a:pt x="422" y="670"/>
                    </a:lnTo>
                    <a:lnTo>
                      <a:pt x="422" y="669"/>
                    </a:lnTo>
                    <a:close/>
                    <a:moveTo>
                      <a:pt x="360" y="417"/>
                    </a:moveTo>
                    <a:lnTo>
                      <a:pt x="361" y="417"/>
                    </a:lnTo>
                    <a:lnTo>
                      <a:pt x="361" y="418"/>
                    </a:lnTo>
                    <a:lnTo>
                      <a:pt x="360" y="418"/>
                    </a:lnTo>
                    <a:lnTo>
                      <a:pt x="360" y="417"/>
                    </a:lnTo>
                    <a:close/>
                    <a:moveTo>
                      <a:pt x="501" y="461"/>
                    </a:moveTo>
                    <a:lnTo>
                      <a:pt x="502" y="461"/>
                    </a:lnTo>
                    <a:lnTo>
                      <a:pt x="501" y="461"/>
                    </a:lnTo>
                    <a:close/>
                    <a:moveTo>
                      <a:pt x="184" y="408"/>
                    </a:moveTo>
                    <a:lnTo>
                      <a:pt x="184" y="410"/>
                    </a:lnTo>
                    <a:lnTo>
                      <a:pt x="184" y="408"/>
                    </a:lnTo>
                    <a:close/>
                    <a:moveTo>
                      <a:pt x="490" y="469"/>
                    </a:moveTo>
                    <a:lnTo>
                      <a:pt x="491" y="469"/>
                    </a:lnTo>
                    <a:lnTo>
                      <a:pt x="491" y="470"/>
                    </a:lnTo>
                    <a:lnTo>
                      <a:pt x="490" y="470"/>
                    </a:lnTo>
                    <a:lnTo>
                      <a:pt x="490" y="469"/>
                    </a:lnTo>
                    <a:close/>
                    <a:moveTo>
                      <a:pt x="424" y="370"/>
                    </a:moveTo>
                    <a:lnTo>
                      <a:pt x="425" y="370"/>
                    </a:lnTo>
                    <a:lnTo>
                      <a:pt x="425" y="371"/>
                    </a:lnTo>
                    <a:lnTo>
                      <a:pt x="424" y="371"/>
                    </a:lnTo>
                    <a:lnTo>
                      <a:pt x="424" y="370"/>
                    </a:lnTo>
                    <a:close/>
                    <a:moveTo>
                      <a:pt x="174" y="405"/>
                    </a:moveTo>
                    <a:lnTo>
                      <a:pt x="173" y="405"/>
                    </a:lnTo>
                    <a:lnTo>
                      <a:pt x="173" y="404"/>
                    </a:lnTo>
                    <a:lnTo>
                      <a:pt x="171" y="404"/>
                    </a:lnTo>
                    <a:lnTo>
                      <a:pt x="174" y="405"/>
                    </a:lnTo>
                    <a:close/>
                    <a:moveTo>
                      <a:pt x="408" y="371"/>
                    </a:moveTo>
                    <a:lnTo>
                      <a:pt x="409" y="371"/>
                    </a:lnTo>
                    <a:lnTo>
                      <a:pt x="409" y="372"/>
                    </a:lnTo>
                    <a:lnTo>
                      <a:pt x="408" y="372"/>
                    </a:lnTo>
                    <a:lnTo>
                      <a:pt x="408" y="371"/>
                    </a:lnTo>
                    <a:close/>
                    <a:moveTo>
                      <a:pt x="203" y="398"/>
                    </a:moveTo>
                    <a:lnTo>
                      <a:pt x="203" y="399"/>
                    </a:lnTo>
                    <a:lnTo>
                      <a:pt x="203" y="398"/>
                    </a:lnTo>
                    <a:close/>
                    <a:moveTo>
                      <a:pt x="496" y="567"/>
                    </a:moveTo>
                    <a:lnTo>
                      <a:pt x="497" y="567"/>
                    </a:lnTo>
                    <a:lnTo>
                      <a:pt x="497" y="568"/>
                    </a:lnTo>
                    <a:lnTo>
                      <a:pt x="496" y="568"/>
                    </a:lnTo>
                    <a:lnTo>
                      <a:pt x="496" y="567"/>
                    </a:lnTo>
                    <a:close/>
                    <a:moveTo>
                      <a:pt x="329" y="468"/>
                    </a:moveTo>
                    <a:lnTo>
                      <a:pt x="325" y="468"/>
                    </a:lnTo>
                    <a:lnTo>
                      <a:pt x="329" y="468"/>
                    </a:lnTo>
                    <a:close/>
                    <a:moveTo>
                      <a:pt x="189" y="356"/>
                    </a:moveTo>
                    <a:lnTo>
                      <a:pt x="190" y="356"/>
                    </a:lnTo>
                    <a:lnTo>
                      <a:pt x="190" y="357"/>
                    </a:lnTo>
                    <a:lnTo>
                      <a:pt x="189" y="357"/>
                    </a:lnTo>
                    <a:lnTo>
                      <a:pt x="189" y="356"/>
                    </a:lnTo>
                    <a:close/>
                    <a:moveTo>
                      <a:pt x="317" y="464"/>
                    </a:moveTo>
                    <a:lnTo>
                      <a:pt x="318" y="464"/>
                    </a:lnTo>
                    <a:lnTo>
                      <a:pt x="318" y="465"/>
                    </a:lnTo>
                    <a:lnTo>
                      <a:pt x="317" y="465"/>
                    </a:lnTo>
                    <a:lnTo>
                      <a:pt x="317" y="464"/>
                    </a:lnTo>
                    <a:close/>
                    <a:moveTo>
                      <a:pt x="416" y="378"/>
                    </a:moveTo>
                    <a:lnTo>
                      <a:pt x="418" y="378"/>
                    </a:lnTo>
                    <a:lnTo>
                      <a:pt x="416" y="378"/>
                    </a:lnTo>
                    <a:close/>
                    <a:moveTo>
                      <a:pt x="400" y="687"/>
                    </a:moveTo>
                    <a:lnTo>
                      <a:pt x="400" y="688"/>
                    </a:lnTo>
                    <a:lnTo>
                      <a:pt x="400" y="687"/>
                    </a:lnTo>
                    <a:close/>
                    <a:moveTo>
                      <a:pt x="496" y="424"/>
                    </a:moveTo>
                    <a:lnTo>
                      <a:pt x="497" y="424"/>
                    </a:lnTo>
                    <a:lnTo>
                      <a:pt x="496" y="424"/>
                    </a:lnTo>
                    <a:close/>
                    <a:moveTo>
                      <a:pt x="442" y="374"/>
                    </a:moveTo>
                    <a:lnTo>
                      <a:pt x="444" y="374"/>
                    </a:lnTo>
                    <a:lnTo>
                      <a:pt x="444" y="375"/>
                    </a:lnTo>
                    <a:lnTo>
                      <a:pt x="442" y="375"/>
                    </a:lnTo>
                    <a:lnTo>
                      <a:pt x="442" y="374"/>
                    </a:lnTo>
                    <a:close/>
                    <a:moveTo>
                      <a:pt x="498" y="416"/>
                    </a:moveTo>
                    <a:lnTo>
                      <a:pt x="499" y="416"/>
                    </a:lnTo>
                    <a:lnTo>
                      <a:pt x="498" y="416"/>
                    </a:lnTo>
                    <a:close/>
                    <a:moveTo>
                      <a:pt x="489" y="424"/>
                    </a:moveTo>
                    <a:lnTo>
                      <a:pt x="490" y="424"/>
                    </a:lnTo>
                    <a:lnTo>
                      <a:pt x="490" y="425"/>
                    </a:lnTo>
                    <a:lnTo>
                      <a:pt x="489" y="425"/>
                    </a:lnTo>
                    <a:lnTo>
                      <a:pt x="489" y="424"/>
                    </a:lnTo>
                    <a:close/>
                    <a:moveTo>
                      <a:pt x="271" y="398"/>
                    </a:moveTo>
                    <a:lnTo>
                      <a:pt x="273" y="398"/>
                    </a:lnTo>
                    <a:lnTo>
                      <a:pt x="273" y="400"/>
                    </a:lnTo>
                    <a:lnTo>
                      <a:pt x="271" y="400"/>
                    </a:lnTo>
                    <a:lnTo>
                      <a:pt x="271" y="398"/>
                    </a:lnTo>
                    <a:close/>
                    <a:moveTo>
                      <a:pt x="418" y="383"/>
                    </a:moveTo>
                    <a:lnTo>
                      <a:pt x="420" y="383"/>
                    </a:lnTo>
                    <a:lnTo>
                      <a:pt x="420" y="384"/>
                    </a:lnTo>
                    <a:lnTo>
                      <a:pt x="418" y="384"/>
                    </a:lnTo>
                    <a:lnTo>
                      <a:pt x="418" y="383"/>
                    </a:lnTo>
                    <a:close/>
                    <a:moveTo>
                      <a:pt x="588" y="550"/>
                    </a:moveTo>
                    <a:lnTo>
                      <a:pt x="588" y="551"/>
                    </a:lnTo>
                    <a:lnTo>
                      <a:pt x="588" y="550"/>
                    </a:lnTo>
                    <a:close/>
                    <a:moveTo>
                      <a:pt x="429" y="365"/>
                    </a:moveTo>
                    <a:lnTo>
                      <a:pt x="431" y="365"/>
                    </a:lnTo>
                    <a:lnTo>
                      <a:pt x="431" y="366"/>
                    </a:lnTo>
                    <a:lnTo>
                      <a:pt x="429" y="366"/>
                    </a:lnTo>
                    <a:lnTo>
                      <a:pt x="429" y="365"/>
                    </a:lnTo>
                    <a:close/>
                    <a:moveTo>
                      <a:pt x="251" y="393"/>
                    </a:moveTo>
                    <a:lnTo>
                      <a:pt x="252" y="393"/>
                    </a:lnTo>
                    <a:lnTo>
                      <a:pt x="252" y="395"/>
                    </a:lnTo>
                    <a:lnTo>
                      <a:pt x="251" y="395"/>
                    </a:lnTo>
                    <a:lnTo>
                      <a:pt x="251" y="393"/>
                    </a:lnTo>
                    <a:close/>
                    <a:moveTo>
                      <a:pt x="503" y="449"/>
                    </a:moveTo>
                    <a:lnTo>
                      <a:pt x="504" y="449"/>
                    </a:lnTo>
                    <a:lnTo>
                      <a:pt x="503" y="449"/>
                    </a:lnTo>
                    <a:close/>
                    <a:moveTo>
                      <a:pt x="336" y="468"/>
                    </a:moveTo>
                    <a:lnTo>
                      <a:pt x="337" y="468"/>
                    </a:lnTo>
                    <a:lnTo>
                      <a:pt x="337" y="469"/>
                    </a:lnTo>
                    <a:lnTo>
                      <a:pt x="336" y="469"/>
                    </a:lnTo>
                    <a:lnTo>
                      <a:pt x="336" y="468"/>
                    </a:lnTo>
                    <a:close/>
                    <a:moveTo>
                      <a:pt x="187" y="413"/>
                    </a:moveTo>
                    <a:lnTo>
                      <a:pt x="188" y="413"/>
                    </a:lnTo>
                    <a:lnTo>
                      <a:pt x="187" y="413"/>
                    </a:lnTo>
                    <a:close/>
                    <a:moveTo>
                      <a:pt x="196" y="393"/>
                    </a:moveTo>
                    <a:lnTo>
                      <a:pt x="197" y="393"/>
                    </a:lnTo>
                    <a:lnTo>
                      <a:pt x="197" y="395"/>
                    </a:lnTo>
                    <a:lnTo>
                      <a:pt x="196" y="395"/>
                    </a:lnTo>
                    <a:lnTo>
                      <a:pt x="196" y="393"/>
                    </a:lnTo>
                    <a:close/>
                    <a:moveTo>
                      <a:pt x="499" y="440"/>
                    </a:moveTo>
                    <a:lnTo>
                      <a:pt x="500" y="440"/>
                    </a:lnTo>
                    <a:lnTo>
                      <a:pt x="500" y="441"/>
                    </a:lnTo>
                    <a:lnTo>
                      <a:pt x="499" y="441"/>
                    </a:lnTo>
                    <a:lnTo>
                      <a:pt x="499" y="440"/>
                    </a:lnTo>
                    <a:close/>
                    <a:moveTo>
                      <a:pt x="505" y="462"/>
                    </a:moveTo>
                    <a:lnTo>
                      <a:pt x="506" y="462"/>
                    </a:lnTo>
                    <a:lnTo>
                      <a:pt x="506" y="463"/>
                    </a:lnTo>
                    <a:lnTo>
                      <a:pt x="505" y="463"/>
                    </a:lnTo>
                    <a:lnTo>
                      <a:pt x="505" y="462"/>
                    </a:lnTo>
                    <a:close/>
                    <a:moveTo>
                      <a:pt x="233" y="399"/>
                    </a:moveTo>
                    <a:lnTo>
                      <a:pt x="231" y="399"/>
                    </a:lnTo>
                    <a:lnTo>
                      <a:pt x="233" y="399"/>
                    </a:lnTo>
                    <a:close/>
                    <a:moveTo>
                      <a:pt x="182" y="345"/>
                    </a:moveTo>
                    <a:lnTo>
                      <a:pt x="182" y="346"/>
                    </a:lnTo>
                    <a:lnTo>
                      <a:pt x="182" y="345"/>
                    </a:lnTo>
                    <a:close/>
                    <a:moveTo>
                      <a:pt x="552" y="547"/>
                    </a:moveTo>
                    <a:lnTo>
                      <a:pt x="554" y="547"/>
                    </a:lnTo>
                    <a:lnTo>
                      <a:pt x="552" y="547"/>
                    </a:lnTo>
                    <a:close/>
                    <a:moveTo>
                      <a:pt x="566" y="476"/>
                    </a:moveTo>
                    <a:lnTo>
                      <a:pt x="567" y="476"/>
                    </a:lnTo>
                    <a:lnTo>
                      <a:pt x="566" y="476"/>
                    </a:lnTo>
                    <a:close/>
                    <a:moveTo>
                      <a:pt x="489" y="470"/>
                    </a:moveTo>
                    <a:lnTo>
                      <a:pt x="490" y="470"/>
                    </a:lnTo>
                    <a:lnTo>
                      <a:pt x="489" y="470"/>
                    </a:lnTo>
                    <a:close/>
                    <a:moveTo>
                      <a:pt x="499" y="573"/>
                    </a:moveTo>
                    <a:lnTo>
                      <a:pt x="501" y="573"/>
                    </a:lnTo>
                    <a:lnTo>
                      <a:pt x="501" y="575"/>
                    </a:lnTo>
                    <a:lnTo>
                      <a:pt x="499" y="575"/>
                    </a:lnTo>
                    <a:lnTo>
                      <a:pt x="499" y="573"/>
                    </a:lnTo>
                    <a:close/>
                    <a:moveTo>
                      <a:pt x="358" y="416"/>
                    </a:moveTo>
                    <a:lnTo>
                      <a:pt x="359" y="416"/>
                    </a:lnTo>
                    <a:lnTo>
                      <a:pt x="358" y="416"/>
                    </a:lnTo>
                    <a:close/>
                    <a:moveTo>
                      <a:pt x="459" y="616"/>
                    </a:moveTo>
                    <a:lnTo>
                      <a:pt x="459" y="618"/>
                    </a:lnTo>
                    <a:lnTo>
                      <a:pt x="459" y="616"/>
                    </a:lnTo>
                    <a:close/>
                    <a:moveTo>
                      <a:pt x="289" y="435"/>
                    </a:moveTo>
                    <a:lnTo>
                      <a:pt x="290" y="435"/>
                    </a:lnTo>
                    <a:lnTo>
                      <a:pt x="289" y="435"/>
                    </a:lnTo>
                    <a:close/>
                    <a:moveTo>
                      <a:pt x="274" y="358"/>
                    </a:moveTo>
                    <a:lnTo>
                      <a:pt x="274" y="359"/>
                    </a:lnTo>
                    <a:lnTo>
                      <a:pt x="274" y="358"/>
                    </a:lnTo>
                    <a:close/>
                    <a:moveTo>
                      <a:pt x="427" y="392"/>
                    </a:moveTo>
                    <a:lnTo>
                      <a:pt x="427" y="393"/>
                    </a:lnTo>
                    <a:lnTo>
                      <a:pt x="427" y="392"/>
                    </a:lnTo>
                    <a:close/>
                    <a:moveTo>
                      <a:pt x="503" y="556"/>
                    </a:moveTo>
                    <a:lnTo>
                      <a:pt x="504" y="556"/>
                    </a:lnTo>
                    <a:lnTo>
                      <a:pt x="504" y="557"/>
                    </a:lnTo>
                    <a:lnTo>
                      <a:pt x="503" y="557"/>
                    </a:lnTo>
                    <a:lnTo>
                      <a:pt x="503" y="556"/>
                    </a:lnTo>
                    <a:close/>
                    <a:moveTo>
                      <a:pt x="244" y="404"/>
                    </a:moveTo>
                    <a:lnTo>
                      <a:pt x="245" y="404"/>
                    </a:lnTo>
                    <a:lnTo>
                      <a:pt x="245" y="405"/>
                    </a:lnTo>
                    <a:lnTo>
                      <a:pt x="244" y="405"/>
                    </a:lnTo>
                    <a:lnTo>
                      <a:pt x="244" y="404"/>
                    </a:lnTo>
                    <a:close/>
                    <a:moveTo>
                      <a:pt x="326" y="347"/>
                    </a:moveTo>
                    <a:lnTo>
                      <a:pt x="328" y="347"/>
                    </a:lnTo>
                    <a:lnTo>
                      <a:pt x="326" y="347"/>
                    </a:lnTo>
                    <a:close/>
                    <a:moveTo>
                      <a:pt x="424" y="392"/>
                    </a:moveTo>
                    <a:lnTo>
                      <a:pt x="425" y="392"/>
                    </a:lnTo>
                    <a:lnTo>
                      <a:pt x="424" y="392"/>
                    </a:lnTo>
                    <a:close/>
                    <a:moveTo>
                      <a:pt x="578" y="568"/>
                    </a:moveTo>
                    <a:lnTo>
                      <a:pt x="579" y="568"/>
                    </a:lnTo>
                    <a:lnTo>
                      <a:pt x="578" y="568"/>
                    </a:lnTo>
                    <a:close/>
                    <a:moveTo>
                      <a:pt x="491" y="436"/>
                    </a:moveTo>
                    <a:lnTo>
                      <a:pt x="492" y="436"/>
                    </a:lnTo>
                    <a:lnTo>
                      <a:pt x="491" y="436"/>
                    </a:lnTo>
                    <a:close/>
                    <a:moveTo>
                      <a:pt x="446" y="529"/>
                    </a:moveTo>
                    <a:lnTo>
                      <a:pt x="447" y="529"/>
                    </a:lnTo>
                    <a:lnTo>
                      <a:pt x="447" y="530"/>
                    </a:lnTo>
                    <a:lnTo>
                      <a:pt x="446" y="530"/>
                    </a:lnTo>
                    <a:lnTo>
                      <a:pt x="446" y="529"/>
                    </a:lnTo>
                    <a:close/>
                    <a:moveTo>
                      <a:pt x="552" y="422"/>
                    </a:moveTo>
                    <a:lnTo>
                      <a:pt x="553" y="422"/>
                    </a:lnTo>
                    <a:lnTo>
                      <a:pt x="552" y="422"/>
                    </a:lnTo>
                    <a:close/>
                    <a:moveTo>
                      <a:pt x="423" y="388"/>
                    </a:moveTo>
                    <a:lnTo>
                      <a:pt x="424" y="388"/>
                    </a:lnTo>
                    <a:lnTo>
                      <a:pt x="424" y="389"/>
                    </a:lnTo>
                    <a:lnTo>
                      <a:pt x="423" y="389"/>
                    </a:lnTo>
                    <a:lnTo>
                      <a:pt x="423" y="388"/>
                    </a:lnTo>
                    <a:close/>
                    <a:moveTo>
                      <a:pt x="197" y="399"/>
                    </a:moveTo>
                    <a:lnTo>
                      <a:pt x="197" y="400"/>
                    </a:lnTo>
                    <a:lnTo>
                      <a:pt x="197" y="399"/>
                    </a:lnTo>
                    <a:close/>
                    <a:moveTo>
                      <a:pt x="419" y="384"/>
                    </a:moveTo>
                    <a:lnTo>
                      <a:pt x="421" y="384"/>
                    </a:lnTo>
                    <a:lnTo>
                      <a:pt x="419" y="384"/>
                    </a:lnTo>
                    <a:close/>
                    <a:moveTo>
                      <a:pt x="276" y="404"/>
                    </a:moveTo>
                    <a:lnTo>
                      <a:pt x="278" y="404"/>
                    </a:lnTo>
                    <a:lnTo>
                      <a:pt x="278" y="405"/>
                    </a:lnTo>
                    <a:lnTo>
                      <a:pt x="276" y="405"/>
                    </a:lnTo>
                    <a:lnTo>
                      <a:pt x="276" y="404"/>
                    </a:lnTo>
                    <a:close/>
                    <a:moveTo>
                      <a:pt x="539" y="524"/>
                    </a:moveTo>
                    <a:lnTo>
                      <a:pt x="540" y="524"/>
                    </a:lnTo>
                    <a:lnTo>
                      <a:pt x="540" y="525"/>
                    </a:lnTo>
                    <a:lnTo>
                      <a:pt x="539" y="525"/>
                    </a:lnTo>
                    <a:lnTo>
                      <a:pt x="539" y="524"/>
                    </a:lnTo>
                    <a:close/>
                    <a:moveTo>
                      <a:pt x="391" y="364"/>
                    </a:moveTo>
                    <a:lnTo>
                      <a:pt x="394" y="364"/>
                    </a:lnTo>
                    <a:lnTo>
                      <a:pt x="394" y="365"/>
                    </a:lnTo>
                    <a:lnTo>
                      <a:pt x="391" y="365"/>
                    </a:lnTo>
                    <a:lnTo>
                      <a:pt x="391" y="364"/>
                    </a:lnTo>
                    <a:close/>
                    <a:moveTo>
                      <a:pt x="489" y="468"/>
                    </a:moveTo>
                    <a:lnTo>
                      <a:pt x="489" y="469"/>
                    </a:lnTo>
                    <a:lnTo>
                      <a:pt x="489" y="468"/>
                    </a:lnTo>
                    <a:close/>
                    <a:moveTo>
                      <a:pt x="477" y="593"/>
                    </a:moveTo>
                    <a:lnTo>
                      <a:pt x="478" y="593"/>
                    </a:lnTo>
                    <a:lnTo>
                      <a:pt x="478" y="594"/>
                    </a:lnTo>
                    <a:lnTo>
                      <a:pt x="477" y="594"/>
                    </a:lnTo>
                    <a:lnTo>
                      <a:pt x="477" y="593"/>
                    </a:lnTo>
                    <a:close/>
                    <a:moveTo>
                      <a:pt x="155" y="390"/>
                    </a:moveTo>
                    <a:lnTo>
                      <a:pt x="155" y="391"/>
                    </a:lnTo>
                    <a:lnTo>
                      <a:pt x="155" y="390"/>
                    </a:lnTo>
                    <a:close/>
                    <a:moveTo>
                      <a:pt x="550" y="546"/>
                    </a:moveTo>
                    <a:lnTo>
                      <a:pt x="552" y="546"/>
                    </a:lnTo>
                    <a:lnTo>
                      <a:pt x="552" y="547"/>
                    </a:lnTo>
                    <a:lnTo>
                      <a:pt x="550" y="547"/>
                    </a:lnTo>
                    <a:lnTo>
                      <a:pt x="550" y="546"/>
                    </a:lnTo>
                    <a:close/>
                    <a:moveTo>
                      <a:pt x="504" y="555"/>
                    </a:moveTo>
                    <a:lnTo>
                      <a:pt x="504" y="556"/>
                    </a:lnTo>
                    <a:lnTo>
                      <a:pt x="504" y="555"/>
                    </a:lnTo>
                    <a:close/>
                    <a:moveTo>
                      <a:pt x="408" y="686"/>
                    </a:moveTo>
                    <a:lnTo>
                      <a:pt x="409" y="686"/>
                    </a:lnTo>
                    <a:lnTo>
                      <a:pt x="409" y="687"/>
                    </a:lnTo>
                    <a:lnTo>
                      <a:pt x="408" y="687"/>
                    </a:lnTo>
                    <a:lnTo>
                      <a:pt x="408" y="686"/>
                    </a:lnTo>
                    <a:close/>
                    <a:moveTo>
                      <a:pt x="500" y="443"/>
                    </a:moveTo>
                    <a:lnTo>
                      <a:pt x="502" y="443"/>
                    </a:lnTo>
                    <a:lnTo>
                      <a:pt x="502" y="444"/>
                    </a:lnTo>
                    <a:lnTo>
                      <a:pt x="500" y="444"/>
                    </a:lnTo>
                    <a:lnTo>
                      <a:pt x="500" y="443"/>
                    </a:lnTo>
                    <a:close/>
                    <a:moveTo>
                      <a:pt x="415" y="653"/>
                    </a:moveTo>
                    <a:lnTo>
                      <a:pt x="416" y="653"/>
                    </a:lnTo>
                    <a:lnTo>
                      <a:pt x="415" y="653"/>
                    </a:lnTo>
                    <a:close/>
                    <a:moveTo>
                      <a:pt x="485" y="545"/>
                    </a:moveTo>
                    <a:lnTo>
                      <a:pt x="485" y="546"/>
                    </a:lnTo>
                    <a:lnTo>
                      <a:pt x="485" y="545"/>
                    </a:lnTo>
                    <a:close/>
                    <a:moveTo>
                      <a:pt x="208" y="408"/>
                    </a:moveTo>
                    <a:lnTo>
                      <a:pt x="209" y="408"/>
                    </a:lnTo>
                    <a:lnTo>
                      <a:pt x="209" y="409"/>
                    </a:lnTo>
                    <a:lnTo>
                      <a:pt x="208" y="409"/>
                    </a:lnTo>
                    <a:lnTo>
                      <a:pt x="208" y="408"/>
                    </a:lnTo>
                    <a:close/>
                    <a:moveTo>
                      <a:pt x="557" y="545"/>
                    </a:moveTo>
                    <a:lnTo>
                      <a:pt x="558" y="545"/>
                    </a:lnTo>
                    <a:lnTo>
                      <a:pt x="558" y="546"/>
                    </a:lnTo>
                    <a:lnTo>
                      <a:pt x="557" y="546"/>
                    </a:lnTo>
                    <a:lnTo>
                      <a:pt x="557" y="545"/>
                    </a:lnTo>
                    <a:close/>
                    <a:moveTo>
                      <a:pt x="216" y="406"/>
                    </a:moveTo>
                    <a:lnTo>
                      <a:pt x="217" y="406"/>
                    </a:lnTo>
                    <a:lnTo>
                      <a:pt x="217" y="408"/>
                    </a:lnTo>
                    <a:lnTo>
                      <a:pt x="216" y="408"/>
                    </a:lnTo>
                    <a:lnTo>
                      <a:pt x="216" y="406"/>
                    </a:lnTo>
                    <a:close/>
                    <a:moveTo>
                      <a:pt x="466" y="607"/>
                    </a:moveTo>
                    <a:lnTo>
                      <a:pt x="467" y="607"/>
                    </a:lnTo>
                    <a:lnTo>
                      <a:pt x="466" y="607"/>
                    </a:lnTo>
                    <a:close/>
                    <a:moveTo>
                      <a:pt x="511" y="460"/>
                    </a:moveTo>
                    <a:lnTo>
                      <a:pt x="511" y="461"/>
                    </a:lnTo>
                    <a:lnTo>
                      <a:pt x="511" y="460"/>
                    </a:lnTo>
                    <a:close/>
                    <a:moveTo>
                      <a:pt x="234" y="398"/>
                    </a:moveTo>
                    <a:lnTo>
                      <a:pt x="232" y="398"/>
                    </a:lnTo>
                    <a:lnTo>
                      <a:pt x="234" y="398"/>
                    </a:lnTo>
                    <a:close/>
                    <a:moveTo>
                      <a:pt x="279" y="431"/>
                    </a:moveTo>
                    <a:lnTo>
                      <a:pt x="280" y="431"/>
                    </a:lnTo>
                    <a:lnTo>
                      <a:pt x="280" y="433"/>
                    </a:lnTo>
                    <a:lnTo>
                      <a:pt x="279" y="433"/>
                    </a:lnTo>
                    <a:lnTo>
                      <a:pt x="279" y="431"/>
                    </a:lnTo>
                    <a:close/>
                    <a:moveTo>
                      <a:pt x="492" y="465"/>
                    </a:moveTo>
                    <a:lnTo>
                      <a:pt x="493" y="465"/>
                    </a:lnTo>
                    <a:lnTo>
                      <a:pt x="492" y="465"/>
                    </a:lnTo>
                    <a:close/>
                    <a:moveTo>
                      <a:pt x="394" y="374"/>
                    </a:moveTo>
                    <a:lnTo>
                      <a:pt x="395" y="374"/>
                    </a:lnTo>
                    <a:lnTo>
                      <a:pt x="395" y="375"/>
                    </a:lnTo>
                    <a:lnTo>
                      <a:pt x="394" y="375"/>
                    </a:lnTo>
                    <a:lnTo>
                      <a:pt x="394" y="374"/>
                    </a:lnTo>
                    <a:close/>
                    <a:moveTo>
                      <a:pt x="561" y="546"/>
                    </a:moveTo>
                    <a:lnTo>
                      <a:pt x="562" y="546"/>
                    </a:lnTo>
                    <a:lnTo>
                      <a:pt x="561" y="546"/>
                    </a:lnTo>
                    <a:close/>
                    <a:moveTo>
                      <a:pt x="486" y="512"/>
                    </a:moveTo>
                    <a:lnTo>
                      <a:pt x="487" y="512"/>
                    </a:lnTo>
                    <a:lnTo>
                      <a:pt x="486" y="512"/>
                    </a:lnTo>
                    <a:close/>
                    <a:moveTo>
                      <a:pt x="360" y="416"/>
                    </a:moveTo>
                    <a:lnTo>
                      <a:pt x="360" y="417"/>
                    </a:lnTo>
                    <a:lnTo>
                      <a:pt x="360" y="416"/>
                    </a:lnTo>
                    <a:close/>
                    <a:moveTo>
                      <a:pt x="493" y="390"/>
                    </a:moveTo>
                    <a:lnTo>
                      <a:pt x="494" y="390"/>
                    </a:lnTo>
                    <a:lnTo>
                      <a:pt x="494" y="391"/>
                    </a:lnTo>
                    <a:lnTo>
                      <a:pt x="493" y="391"/>
                    </a:lnTo>
                    <a:lnTo>
                      <a:pt x="493" y="390"/>
                    </a:lnTo>
                    <a:close/>
                    <a:moveTo>
                      <a:pt x="499" y="453"/>
                    </a:moveTo>
                    <a:lnTo>
                      <a:pt x="500" y="453"/>
                    </a:lnTo>
                    <a:lnTo>
                      <a:pt x="499" y="453"/>
                    </a:lnTo>
                    <a:close/>
                    <a:moveTo>
                      <a:pt x="420" y="371"/>
                    </a:moveTo>
                    <a:lnTo>
                      <a:pt x="421" y="371"/>
                    </a:lnTo>
                    <a:lnTo>
                      <a:pt x="420" y="371"/>
                    </a:lnTo>
                    <a:close/>
                    <a:moveTo>
                      <a:pt x="272" y="413"/>
                    </a:moveTo>
                    <a:lnTo>
                      <a:pt x="274" y="413"/>
                    </a:lnTo>
                    <a:lnTo>
                      <a:pt x="274" y="414"/>
                    </a:lnTo>
                    <a:lnTo>
                      <a:pt x="272" y="414"/>
                    </a:lnTo>
                    <a:lnTo>
                      <a:pt x="272" y="413"/>
                    </a:lnTo>
                    <a:close/>
                    <a:moveTo>
                      <a:pt x="333" y="467"/>
                    </a:moveTo>
                    <a:lnTo>
                      <a:pt x="334" y="467"/>
                    </a:lnTo>
                    <a:lnTo>
                      <a:pt x="333" y="467"/>
                    </a:lnTo>
                    <a:close/>
                    <a:moveTo>
                      <a:pt x="503" y="448"/>
                    </a:moveTo>
                    <a:lnTo>
                      <a:pt x="504" y="448"/>
                    </a:lnTo>
                    <a:lnTo>
                      <a:pt x="503" y="448"/>
                    </a:lnTo>
                    <a:close/>
                    <a:moveTo>
                      <a:pt x="271" y="424"/>
                    </a:moveTo>
                    <a:lnTo>
                      <a:pt x="272" y="424"/>
                    </a:lnTo>
                    <a:lnTo>
                      <a:pt x="272" y="425"/>
                    </a:lnTo>
                    <a:lnTo>
                      <a:pt x="271" y="425"/>
                    </a:lnTo>
                    <a:lnTo>
                      <a:pt x="271" y="424"/>
                    </a:lnTo>
                    <a:close/>
                    <a:moveTo>
                      <a:pt x="499" y="472"/>
                    </a:moveTo>
                    <a:lnTo>
                      <a:pt x="500" y="472"/>
                    </a:lnTo>
                    <a:lnTo>
                      <a:pt x="499" y="472"/>
                    </a:lnTo>
                    <a:close/>
                    <a:moveTo>
                      <a:pt x="457" y="525"/>
                    </a:moveTo>
                    <a:lnTo>
                      <a:pt x="455" y="527"/>
                    </a:lnTo>
                    <a:lnTo>
                      <a:pt x="457" y="525"/>
                    </a:lnTo>
                    <a:lnTo>
                      <a:pt x="457" y="523"/>
                    </a:lnTo>
                    <a:lnTo>
                      <a:pt x="457" y="525"/>
                    </a:lnTo>
                    <a:close/>
                    <a:moveTo>
                      <a:pt x="448" y="528"/>
                    </a:moveTo>
                    <a:lnTo>
                      <a:pt x="449" y="528"/>
                    </a:lnTo>
                    <a:lnTo>
                      <a:pt x="448" y="528"/>
                    </a:lnTo>
                    <a:close/>
                    <a:moveTo>
                      <a:pt x="239" y="222"/>
                    </a:moveTo>
                    <a:lnTo>
                      <a:pt x="240" y="222"/>
                    </a:lnTo>
                    <a:lnTo>
                      <a:pt x="240" y="223"/>
                    </a:lnTo>
                    <a:lnTo>
                      <a:pt x="239" y="223"/>
                    </a:lnTo>
                    <a:lnTo>
                      <a:pt x="239" y="222"/>
                    </a:lnTo>
                    <a:close/>
                    <a:moveTo>
                      <a:pt x="445" y="370"/>
                    </a:moveTo>
                    <a:lnTo>
                      <a:pt x="447" y="370"/>
                    </a:lnTo>
                    <a:lnTo>
                      <a:pt x="445" y="370"/>
                    </a:lnTo>
                    <a:close/>
                    <a:moveTo>
                      <a:pt x="426" y="393"/>
                    </a:moveTo>
                    <a:lnTo>
                      <a:pt x="426" y="395"/>
                    </a:lnTo>
                    <a:lnTo>
                      <a:pt x="426" y="393"/>
                    </a:lnTo>
                    <a:close/>
                    <a:moveTo>
                      <a:pt x="462" y="443"/>
                    </a:moveTo>
                    <a:lnTo>
                      <a:pt x="462" y="444"/>
                    </a:lnTo>
                    <a:lnTo>
                      <a:pt x="462" y="443"/>
                    </a:lnTo>
                    <a:close/>
                    <a:moveTo>
                      <a:pt x="323" y="351"/>
                    </a:moveTo>
                    <a:lnTo>
                      <a:pt x="324" y="351"/>
                    </a:lnTo>
                    <a:lnTo>
                      <a:pt x="323" y="351"/>
                    </a:lnTo>
                    <a:close/>
                    <a:moveTo>
                      <a:pt x="549" y="512"/>
                    </a:moveTo>
                    <a:lnTo>
                      <a:pt x="550" y="512"/>
                    </a:lnTo>
                    <a:lnTo>
                      <a:pt x="549" y="512"/>
                    </a:lnTo>
                    <a:close/>
                    <a:moveTo>
                      <a:pt x="500" y="452"/>
                    </a:moveTo>
                    <a:lnTo>
                      <a:pt x="501" y="452"/>
                    </a:lnTo>
                    <a:lnTo>
                      <a:pt x="500" y="452"/>
                    </a:lnTo>
                    <a:close/>
                    <a:moveTo>
                      <a:pt x="474" y="426"/>
                    </a:moveTo>
                    <a:lnTo>
                      <a:pt x="475" y="426"/>
                    </a:lnTo>
                    <a:lnTo>
                      <a:pt x="475" y="427"/>
                    </a:lnTo>
                    <a:lnTo>
                      <a:pt x="474" y="427"/>
                    </a:lnTo>
                    <a:lnTo>
                      <a:pt x="474" y="426"/>
                    </a:lnTo>
                    <a:close/>
                    <a:moveTo>
                      <a:pt x="502" y="426"/>
                    </a:moveTo>
                    <a:lnTo>
                      <a:pt x="503" y="426"/>
                    </a:lnTo>
                    <a:lnTo>
                      <a:pt x="503" y="427"/>
                    </a:lnTo>
                    <a:lnTo>
                      <a:pt x="502" y="427"/>
                    </a:lnTo>
                    <a:lnTo>
                      <a:pt x="502" y="426"/>
                    </a:lnTo>
                    <a:close/>
                    <a:moveTo>
                      <a:pt x="452" y="523"/>
                    </a:moveTo>
                    <a:lnTo>
                      <a:pt x="449" y="521"/>
                    </a:lnTo>
                    <a:lnTo>
                      <a:pt x="451" y="523"/>
                    </a:lnTo>
                    <a:lnTo>
                      <a:pt x="452" y="523"/>
                    </a:lnTo>
                    <a:close/>
                    <a:moveTo>
                      <a:pt x="178" y="408"/>
                    </a:moveTo>
                    <a:lnTo>
                      <a:pt x="179" y="408"/>
                    </a:lnTo>
                    <a:lnTo>
                      <a:pt x="178" y="408"/>
                    </a:lnTo>
                    <a:close/>
                    <a:moveTo>
                      <a:pt x="499" y="567"/>
                    </a:moveTo>
                    <a:lnTo>
                      <a:pt x="500" y="567"/>
                    </a:lnTo>
                    <a:lnTo>
                      <a:pt x="499" y="567"/>
                    </a:lnTo>
                    <a:close/>
                    <a:moveTo>
                      <a:pt x="462" y="610"/>
                    </a:moveTo>
                    <a:lnTo>
                      <a:pt x="463" y="610"/>
                    </a:lnTo>
                    <a:lnTo>
                      <a:pt x="463" y="611"/>
                    </a:lnTo>
                    <a:lnTo>
                      <a:pt x="462" y="611"/>
                    </a:lnTo>
                    <a:lnTo>
                      <a:pt x="462" y="610"/>
                    </a:lnTo>
                    <a:close/>
                    <a:moveTo>
                      <a:pt x="272" y="395"/>
                    </a:moveTo>
                    <a:lnTo>
                      <a:pt x="274" y="395"/>
                    </a:lnTo>
                    <a:lnTo>
                      <a:pt x="272" y="395"/>
                    </a:lnTo>
                    <a:close/>
                    <a:moveTo>
                      <a:pt x="276" y="430"/>
                    </a:moveTo>
                    <a:lnTo>
                      <a:pt x="277" y="430"/>
                    </a:lnTo>
                    <a:lnTo>
                      <a:pt x="277" y="431"/>
                    </a:lnTo>
                    <a:lnTo>
                      <a:pt x="276" y="431"/>
                    </a:lnTo>
                    <a:lnTo>
                      <a:pt x="276" y="430"/>
                    </a:lnTo>
                    <a:close/>
                    <a:moveTo>
                      <a:pt x="223" y="222"/>
                    </a:moveTo>
                    <a:lnTo>
                      <a:pt x="225" y="222"/>
                    </a:lnTo>
                    <a:lnTo>
                      <a:pt x="223" y="222"/>
                    </a:lnTo>
                    <a:close/>
                    <a:moveTo>
                      <a:pt x="409" y="367"/>
                    </a:moveTo>
                    <a:lnTo>
                      <a:pt x="410" y="367"/>
                    </a:lnTo>
                    <a:lnTo>
                      <a:pt x="410" y="369"/>
                    </a:lnTo>
                    <a:lnTo>
                      <a:pt x="409" y="369"/>
                    </a:lnTo>
                    <a:lnTo>
                      <a:pt x="409" y="367"/>
                    </a:lnTo>
                    <a:close/>
                    <a:moveTo>
                      <a:pt x="483" y="418"/>
                    </a:moveTo>
                    <a:lnTo>
                      <a:pt x="484" y="418"/>
                    </a:lnTo>
                    <a:lnTo>
                      <a:pt x="484" y="420"/>
                    </a:lnTo>
                    <a:lnTo>
                      <a:pt x="483" y="420"/>
                    </a:lnTo>
                    <a:lnTo>
                      <a:pt x="483" y="418"/>
                    </a:lnTo>
                    <a:close/>
                    <a:moveTo>
                      <a:pt x="397" y="365"/>
                    </a:moveTo>
                    <a:lnTo>
                      <a:pt x="399" y="365"/>
                    </a:lnTo>
                    <a:lnTo>
                      <a:pt x="397" y="365"/>
                    </a:lnTo>
                    <a:close/>
                    <a:moveTo>
                      <a:pt x="415" y="387"/>
                    </a:moveTo>
                    <a:lnTo>
                      <a:pt x="416" y="387"/>
                    </a:lnTo>
                    <a:lnTo>
                      <a:pt x="415" y="387"/>
                    </a:lnTo>
                    <a:close/>
                    <a:moveTo>
                      <a:pt x="420" y="391"/>
                    </a:moveTo>
                    <a:lnTo>
                      <a:pt x="421" y="391"/>
                    </a:lnTo>
                    <a:lnTo>
                      <a:pt x="420" y="391"/>
                    </a:lnTo>
                    <a:close/>
                    <a:moveTo>
                      <a:pt x="499" y="465"/>
                    </a:moveTo>
                    <a:lnTo>
                      <a:pt x="500" y="465"/>
                    </a:lnTo>
                    <a:lnTo>
                      <a:pt x="499" y="465"/>
                    </a:lnTo>
                    <a:close/>
                    <a:moveTo>
                      <a:pt x="503" y="435"/>
                    </a:moveTo>
                    <a:lnTo>
                      <a:pt x="504" y="435"/>
                    </a:lnTo>
                    <a:lnTo>
                      <a:pt x="504" y="436"/>
                    </a:lnTo>
                    <a:lnTo>
                      <a:pt x="503" y="436"/>
                    </a:lnTo>
                    <a:lnTo>
                      <a:pt x="503" y="435"/>
                    </a:lnTo>
                    <a:close/>
                    <a:moveTo>
                      <a:pt x="281" y="431"/>
                    </a:moveTo>
                    <a:lnTo>
                      <a:pt x="282" y="431"/>
                    </a:lnTo>
                    <a:lnTo>
                      <a:pt x="281" y="431"/>
                    </a:lnTo>
                    <a:close/>
                    <a:moveTo>
                      <a:pt x="488" y="418"/>
                    </a:moveTo>
                    <a:lnTo>
                      <a:pt x="489" y="418"/>
                    </a:lnTo>
                    <a:lnTo>
                      <a:pt x="489" y="420"/>
                    </a:lnTo>
                    <a:lnTo>
                      <a:pt x="488" y="420"/>
                    </a:lnTo>
                    <a:lnTo>
                      <a:pt x="488" y="418"/>
                    </a:lnTo>
                    <a:close/>
                    <a:moveTo>
                      <a:pt x="335" y="469"/>
                    </a:moveTo>
                    <a:lnTo>
                      <a:pt x="336" y="469"/>
                    </a:lnTo>
                    <a:lnTo>
                      <a:pt x="335" y="469"/>
                    </a:lnTo>
                    <a:close/>
                    <a:moveTo>
                      <a:pt x="499" y="439"/>
                    </a:moveTo>
                    <a:lnTo>
                      <a:pt x="500" y="439"/>
                    </a:lnTo>
                    <a:lnTo>
                      <a:pt x="500" y="440"/>
                    </a:lnTo>
                    <a:lnTo>
                      <a:pt x="499" y="440"/>
                    </a:lnTo>
                    <a:lnTo>
                      <a:pt x="499" y="439"/>
                    </a:lnTo>
                    <a:close/>
                    <a:moveTo>
                      <a:pt x="422" y="376"/>
                    </a:moveTo>
                    <a:lnTo>
                      <a:pt x="423" y="376"/>
                    </a:lnTo>
                    <a:lnTo>
                      <a:pt x="423" y="377"/>
                    </a:lnTo>
                    <a:lnTo>
                      <a:pt x="422" y="377"/>
                    </a:lnTo>
                    <a:lnTo>
                      <a:pt x="422" y="376"/>
                    </a:lnTo>
                    <a:close/>
                    <a:moveTo>
                      <a:pt x="344" y="462"/>
                    </a:moveTo>
                    <a:lnTo>
                      <a:pt x="344" y="463"/>
                    </a:lnTo>
                    <a:lnTo>
                      <a:pt x="344" y="462"/>
                    </a:lnTo>
                    <a:close/>
                    <a:moveTo>
                      <a:pt x="201" y="401"/>
                    </a:moveTo>
                    <a:lnTo>
                      <a:pt x="203" y="401"/>
                    </a:lnTo>
                    <a:lnTo>
                      <a:pt x="203" y="402"/>
                    </a:lnTo>
                    <a:lnTo>
                      <a:pt x="201" y="402"/>
                    </a:lnTo>
                    <a:lnTo>
                      <a:pt x="201" y="401"/>
                    </a:lnTo>
                    <a:close/>
                    <a:moveTo>
                      <a:pt x="419" y="376"/>
                    </a:moveTo>
                    <a:lnTo>
                      <a:pt x="419" y="377"/>
                    </a:lnTo>
                    <a:lnTo>
                      <a:pt x="419" y="376"/>
                    </a:lnTo>
                    <a:close/>
                    <a:moveTo>
                      <a:pt x="504" y="442"/>
                    </a:moveTo>
                    <a:lnTo>
                      <a:pt x="505" y="442"/>
                    </a:lnTo>
                    <a:lnTo>
                      <a:pt x="505" y="443"/>
                    </a:lnTo>
                    <a:lnTo>
                      <a:pt x="504" y="443"/>
                    </a:lnTo>
                    <a:lnTo>
                      <a:pt x="504" y="442"/>
                    </a:lnTo>
                    <a:close/>
                    <a:moveTo>
                      <a:pt x="501" y="442"/>
                    </a:moveTo>
                    <a:lnTo>
                      <a:pt x="501" y="443"/>
                    </a:lnTo>
                    <a:lnTo>
                      <a:pt x="501" y="442"/>
                    </a:lnTo>
                    <a:close/>
                    <a:moveTo>
                      <a:pt x="318" y="450"/>
                    </a:moveTo>
                    <a:lnTo>
                      <a:pt x="318" y="451"/>
                    </a:lnTo>
                    <a:lnTo>
                      <a:pt x="318" y="450"/>
                    </a:lnTo>
                    <a:close/>
                    <a:moveTo>
                      <a:pt x="459" y="615"/>
                    </a:moveTo>
                    <a:lnTo>
                      <a:pt x="460" y="615"/>
                    </a:lnTo>
                    <a:lnTo>
                      <a:pt x="460" y="616"/>
                    </a:lnTo>
                    <a:lnTo>
                      <a:pt x="459" y="616"/>
                    </a:lnTo>
                    <a:lnTo>
                      <a:pt x="459" y="615"/>
                    </a:lnTo>
                    <a:close/>
                    <a:moveTo>
                      <a:pt x="194" y="395"/>
                    </a:moveTo>
                    <a:lnTo>
                      <a:pt x="195" y="395"/>
                    </a:lnTo>
                    <a:lnTo>
                      <a:pt x="194" y="395"/>
                    </a:lnTo>
                    <a:close/>
                    <a:moveTo>
                      <a:pt x="339" y="467"/>
                    </a:moveTo>
                    <a:lnTo>
                      <a:pt x="339" y="468"/>
                    </a:lnTo>
                    <a:lnTo>
                      <a:pt x="339" y="467"/>
                    </a:lnTo>
                    <a:close/>
                    <a:moveTo>
                      <a:pt x="486" y="450"/>
                    </a:moveTo>
                    <a:lnTo>
                      <a:pt x="487" y="450"/>
                    </a:lnTo>
                    <a:lnTo>
                      <a:pt x="486" y="450"/>
                    </a:lnTo>
                    <a:close/>
                    <a:moveTo>
                      <a:pt x="394" y="374"/>
                    </a:moveTo>
                    <a:lnTo>
                      <a:pt x="395" y="374"/>
                    </a:lnTo>
                    <a:lnTo>
                      <a:pt x="394" y="374"/>
                    </a:lnTo>
                    <a:close/>
                    <a:moveTo>
                      <a:pt x="493" y="567"/>
                    </a:moveTo>
                    <a:lnTo>
                      <a:pt x="493" y="568"/>
                    </a:lnTo>
                    <a:lnTo>
                      <a:pt x="493" y="567"/>
                    </a:lnTo>
                    <a:close/>
                    <a:moveTo>
                      <a:pt x="157" y="337"/>
                    </a:moveTo>
                    <a:lnTo>
                      <a:pt x="158" y="337"/>
                    </a:lnTo>
                    <a:lnTo>
                      <a:pt x="157" y="337"/>
                    </a:lnTo>
                    <a:close/>
                    <a:moveTo>
                      <a:pt x="451" y="523"/>
                    </a:moveTo>
                    <a:lnTo>
                      <a:pt x="449" y="521"/>
                    </a:lnTo>
                    <a:lnTo>
                      <a:pt x="451" y="523"/>
                    </a:lnTo>
                    <a:close/>
                    <a:moveTo>
                      <a:pt x="565" y="541"/>
                    </a:moveTo>
                    <a:lnTo>
                      <a:pt x="566" y="541"/>
                    </a:lnTo>
                    <a:lnTo>
                      <a:pt x="565" y="541"/>
                    </a:lnTo>
                    <a:close/>
                    <a:moveTo>
                      <a:pt x="422" y="373"/>
                    </a:moveTo>
                    <a:lnTo>
                      <a:pt x="423" y="373"/>
                    </a:lnTo>
                    <a:lnTo>
                      <a:pt x="423" y="374"/>
                    </a:lnTo>
                    <a:lnTo>
                      <a:pt x="422" y="374"/>
                    </a:lnTo>
                    <a:lnTo>
                      <a:pt x="422" y="373"/>
                    </a:lnTo>
                    <a:close/>
                    <a:moveTo>
                      <a:pt x="553" y="545"/>
                    </a:moveTo>
                    <a:lnTo>
                      <a:pt x="554" y="545"/>
                    </a:lnTo>
                    <a:lnTo>
                      <a:pt x="553" y="545"/>
                    </a:lnTo>
                    <a:close/>
                    <a:moveTo>
                      <a:pt x="194" y="393"/>
                    </a:moveTo>
                    <a:lnTo>
                      <a:pt x="194" y="395"/>
                    </a:lnTo>
                    <a:lnTo>
                      <a:pt x="194" y="393"/>
                    </a:lnTo>
                    <a:close/>
                    <a:moveTo>
                      <a:pt x="177" y="351"/>
                    </a:moveTo>
                    <a:lnTo>
                      <a:pt x="178" y="351"/>
                    </a:lnTo>
                    <a:lnTo>
                      <a:pt x="178" y="352"/>
                    </a:lnTo>
                    <a:lnTo>
                      <a:pt x="177" y="352"/>
                    </a:lnTo>
                    <a:lnTo>
                      <a:pt x="177" y="351"/>
                    </a:lnTo>
                    <a:close/>
                    <a:moveTo>
                      <a:pt x="506" y="454"/>
                    </a:moveTo>
                    <a:lnTo>
                      <a:pt x="507" y="454"/>
                    </a:lnTo>
                    <a:lnTo>
                      <a:pt x="506" y="454"/>
                    </a:lnTo>
                    <a:close/>
                    <a:moveTo>
                      <a:pt x="252" y="393"/>
                    </a:moveTo>
                    <a:lnTo>
                      <a:pt x="254" y="393"/>
                    </a:lnTo>
                    <a:lnTo>
                      <a:pt x="252" y="393"/>
                    </a:lnTo>
                    <a:close/>
                    <a:moveTo>
                      <a:pt x="421" y="370"/>
                    </a:moveTo>
                    <a:lnTo>
                      <a:pt x="421" y="371"/>
                    </a:lnTo>
                    <a:lnTo>
                      <a:pt x="421" y="370"/>
                    </a:lnTo>
                    <a:close/>
                    <a:moveTo>
                      <a:pt x="492" y="568"/>
                    </a:moveTo>
                    <a:lnTo>
                      <a:pt x="494" y="568"/>
                    </a:lnTo>
                    <a:lnTo>
                      <a:pt x="492" y="568"/>
                    </a:lnTo>
                    <a:close/>
                    <a:moveTo>
                      <a:pt x="150" y="403"/>
                    </a:moveTo>
                    <a:lnTo>
                      <a:pt x="151" y="403"/>
                    </a:lnTo>
                    <a:lnTo>
                      <a:pt x="151" y="404"/>
                    </a:lnTo>
                    <a:lnTo>
                      <a:pt x="150" y="404"/>
                    </a:lnTo>
                    <a:lnTo>
                      <a:pt x="150" y="403"/>
                    </a:lnTo>
                    <a:close/>
                    <a:moveTo>
                      <a:pt x="154" y="390"/>
                    </a:moveTo>
                    <a:lnTo>
                      <a:pt x="155" y="390"/>
                    </a:lnTo>
                    <a:lnTo>
                      <a:pt x="155" y="391"/>
                    </a:lnTo>
                    <a:lnTo>
                      <a:pt x="154" y="391"/>
                    </a:lnTo>
                    <a:lnTo>
                      <a:pt x="154" y="390"/>
                    </a:lnTo>
                    <a:close/>
                    <a:moveTo>
                      <a:pt x="186" y="346"/>
                    </a:moveTo>
                    <a:lnTo>
                      <a:pt x="186" y="347"/>
                    </a:lnTo>
                    <a:lnTo>
                      <a:pt x="186" y="346"/>
                    </a:lnTo>
                    <a:close/>
                    <a:moveTo>
                      <a:pt x="252" y="378"/>
                    </a:moveTo>
                    <a:lnTo>
                      <a:pt x="253" y="378"/>
                    </a:lnTo>
                    <a:lnTo>
                      <a:pt x="253" y="379"/>
                    </a:lnTo>
                    <a:lnTo>
                      <a:pt x="252" y="379"/>
                    </a:lnTo>
                    <a:lnTo>
                      <a:pt x="252" y="378"/>
                    </a:lnTo>
                    <a:close/>
                    <a:moveTo>
                      <a:pt x="418" y="384"/>
                    </a:moveTo>
                    <a:lnTo>
                      <a:pt x="419" y="384"/>
                    </a:lnTo>
                    <a:lnTo>
                      <a:pt x="419" y="385"/>
                    </a:lnTo>
                    <a:lnTo>
                      <a:pt x="418" y="385"/>
                    </a:lnTo>
                    <a:lnTo>
                      <a:pt x="418" y="384"/>
                    </a:lnTo>
                    <a:close/>
                    <a:moveTo>
                      <a:pt x="546" y="466"/>
                    </a:moveTo>
                    <a:lnTo>
                      <a:pt x="546" y="467"/>
                    </a:lnTo>
                    <a:lnTo>
                      <a:pt x="546" y="466"/>
                    </a:lnTo>
                    <a:close/>
                    <a:moveTo>
                      <a:pt x="413" y="378"/>
                    </a:moveTo>
                    <a:lnTo>
                      <a:pt x="414" y="378"/>
                    </a:lnTo>
                    <a:lnTo>
                      <a:pt x="413" y="378"/>
                    </a:lnTo>
                    <a:close/>
                    <a:moveTo>
                      <a:pt x="220" y="400"/>
                    </a:moveTo>
                    <a:lnTo>
                      <a:pt x="221" y="400"/>
                    </a:lnTo>
                    <a:lnTo>
                      <a:pt x="221" y="401"/>
                    </a:lnTo>
                    <a:lnTo>
                      <a:pt x="220" y="401"/>
                    </a:lnTo>
                    <a:lnTo>
                      <a:pt x="220" y="400"/>
                    </a:lnTo>
                    <a:close/>
                    <a:moveTo>
                      <a:pt x="490" y="421"/>
                    </a:moveTo>
                    <a:lnTo>
                      <a:pt x="491" y="421"/>
                    </a:lnTo>
                    <a:lnTo>
                      <a:pt x="490" y="421"/>
                    </a:lnTo>
                    <a:close/>
                    <a:moveTo>
                      <a:pt x="321" y="465"/>
                    </a:moveTo>
                    <a:lnTo>
                      <a:pt x="322" y="465"/>
                    </a:lnTo>
                    <a:lnTo>
                      <a:pt x="322" y="466"/>
                    </a:lnTo>
                    <a:lnTo>
                      <a:pt x="321" y="466"/>
                    </a:lnTo>
                    <a:lnTo>
                      <a:pt x="321" y="465"/>
                    </a:lnTo>
                    <a:close/>
                    <a:moveTo>
                      <a:pt x="253" y="379"/>
                    </a:moveTo>
                    <a:lnTo>
                      <a:pt x="254" y="379"/>
                    </a:lnTo>
                    <a:lnTo>
                      <a:pt x="254" y="380"/>
                    </a:lnTo>
                    <a:lnTo>
                      <a:pt x="253" y="380"/>
                    </a:lnTo>
                    <a:lnTo>
                      <a:pt x="253" y="379"/>
                    </a:lnTo>
                    <a:close/>
                    <a:moveTo>
                      <a:pt x="438" y="369"/>
                    </a:moveTo>
                    <a:lnTo>
                      <a:pt x="438" y="370"/>
                    </a:lnTo>
                    <a:lnTo>
                      <a:pt x="438" y="369"/>
                    </a:lnTo>
                    <a:close/>
                    <a:moveTo>
                      <a:pt x="578" y="498"/>
                    </a:moveTo>
                    <a:lnTo>
                      <a:pt x="579" y="498"/>
                    </a:lnTo>
                    <a:lnTo>
                      <a:pt x="578" y="498"/>
                    </a:lnTo>
                    <a:close/>
                    <a:moveTo>
                      <a:pt x="501" y="457"/>
                    </a:moveTo>
                    <a:lnTo>
                      <a:pt x="501" y="459"/>
                    </a:lnTo>
                    <a:lnTo>
                      <a:pt x="501" y="457"/>
                    </a:lnTo>
                    <a:close/>
                    <a:moveTo>
                      <a:pt x="549" y="513"/>
                    </a:moveTo>
                    <a:lnTo>
                      <a:pt x="550" y="513"/>
                    </a:lnTo>
                    <a:lnTo>
                      <a:pt x="550" y="514"/>
                    </a:lnTo>
                    <a:lnTo>
                      <a:pt x="549" y="514"/>
                    </a:lnTo>
                    <a:lnTo>
                      <a:pt x="549" y="513"/>
                    </a:lnTo>
                    <a:close/>
                    <a:moveTo>
                      <a:pt x="433" y="388"/>
                    </a:moveTo>
                    <a:lnTo>
                      <a:pt x="434" y="388"/>
                    </a:lnTo>
                    <a:lnTo>
                      <a:pt x="434" y="389"/>
                    </a:lnTo>
                    <a:lnTo>
                      <a:pt x="433" y="389"/>
                    </a:lnTo>
                    <a:lnTo>
                      <a:pt x="433" y="388"/>
                    </a:lnTo>
                    <a:close/>
                    <a:moveTo>
                      <a:pt x="413" y="378"/>
                    </a:moveTo>
                    <a:lnTo>
                      <a:pt x="414" y="378"/>
                    </a:lnTo>
                    <a:lnTo>
                      <a:pt x="413" y="378"/>
                    </a:lnTo>
                    <a:close/>
                    <a:moveTo>
                      <a:pt x="542" y="538"/>
                    </a:moveTo>
                    <a:lnTo>
                      <a:pt x="543" y="538"/>
                    </a:lnTo>
                    <a:lnTo>
                      <a:pt x="543" y="539"/>
                    </a:lnTo>
                    <a:lnTo>
                      <a:pt x="542" y="539"/>
                    </a:lnTo>
                    <a:lnTo>
                      <a:pt x="542" y="538"/>
                    </a:lnTo>
                    <a:close/>
                    <a:moveTo>
                      <a:pt x="416" y="376"/>
                    </a:moveTo>
                    <a:lnTo>
                      <a:pt x="418" y="376"/>
                    </a:lnTo>
                    <a:lnTo>
                      <a:pt x="418" y="377"/>
                    </a:lnTo>
                    <a:lnTo>
                      <a:pt x="416" y="377"/>
                    </a:lnTo>
                    <a:lnTo>
                      <a:pt x="416" y="376"/>
                    </a:lnTo>
                    <a:close/>
                    <a:moveTo>
                      <a:pt x="223" y="404"/>
                    </a:moveTo>
                    <a:lnTo>
                      <a:pt x="225" y="404"/>
                    </a:lnTo>
                    <a:lnTo>
                      <a:pt x="223" y="404"/>
                    </a:lnTo>
                    <a:close/>
                    <a:moveTo>
                      <a:pt x="474" y="429"/>
                    </a:moveTo>
                    <a:lnTo>
                      <a:pt x="474" y="430"/>
                    </a:lnTo>
                    <a:lnTo>
                      <a:pt x="474" y="429"/>
                    </a:lnTo>
                    <a:close/>
                    <a:moveTo>
                      <a:pt x="283" y="259"/>
                    </a:moveTo>
                    <a:lnTo>
                      <a:pt x="284" y="259"/>
                    </a:lnTo>
                    <a:lnTo>
                      <a:pt x="283" y="259"/>
                    </a:lnTo>
                    <a:close/>
                    <a:moveTo>
                      <a:pt x="223" y="405"/>
                    </a:moveTo>
                    <a:lnTo>
                      <a:pt x="225" y="405"/>
                    </a:lnTo>
                    <a:lnTo>
                      <a:pt x="223" y="405"/>
                    </a:lnTo>
                    <a:close/>
                    <a:moveTo>
                      <a:pt x="504" y="437"/>
                    </a:moveTo>
                    <a:lnTo>
                      <a:pt x="505" y="437"/>
                    </a:lnTo>
                    <a:lnTo>
                      <a:pt x="505" y="438"/>
                    </a:lnTo>
                    <a:lnTo>
                      <a:pt x="504" y="438"/>
                    </a:lnTo>
                    <a:lnTo>
                      <a:pt x="504" y="437"/>
                    </a:lnTo>
                    <a:close/>
                    <a:moveTo>
                      <a:pt x="567" y="551"/>
                    </a:moveTo>
                    <a:lnTo>
                      <a:pt x="568" y="551"/>
                    </a:lnTo>
                    <a:lnTo>
                      <a:pt x="568" y="552"/>
                    </a:lnTo>
                    <a:lnTo>
                      <a:pt x="567" y="552"/>
                    </a:lnTo>
                    <a:lnTo>
                      <a:pt x="567" y="551"/>
                    </a:lnTo>
                    <a:close/>
                    <a:moveTo>
                      <a:pt x="174" y="406"/>
                    </a:moveTo>
                    <a:lnTo>
                      <a:pt x="175" y="406"/>
                    </a:lnTo>
                    <a:lnTo>
                      <a:pt x="174" y="406"/>
                    </a:lnTo>
                    <a:close/>
                    <a:moveTo>
                      <a:pt x="328" y="468"/>
                    </a:moveTo>
                    <a:lnTo>
                      <a:pt x="325" y="467"/>
                    </a:lnTo>
                    <a:lnTo>
                      <a:pt x="328" y="468"/>
                    </a:lnTo>
                    <a:close/>
                    <a:moveTo>
                      <a:pt x="257" y="385"/>
                    </a:moveTo>
                    <a:lnTo>
                      <a:pt x="258" y="385"/>
                    </a:lnTo>
                    <a:lnTo>
                      <a:pt x="257" y="385"/>
                    </a:lnTo>
                    <a:close/>
                    <a:moveTo>
                      <a:pt x="509" y="451"/>
                    </a:moveTo>
                    <a:lnTo>
                      <a:pt x="509" y="452"/>
                    </a:lnTo>
                    <a:lnTo>
                      <a:pt x="509" y="451"/>
                    </a:lnTo>
                    <a:close/>
                    <a:moveTo>
                      <a:pt x="226" y="399"/>
                    </a:moveTo>
                    <a:lnTo>
                      <a:pt x="226" y="400"/>
                    </a:lnTo>
                    <a:lnTo>
                      <a:pt x="226" y="399"/>
                    </a:lnTo>
                    <a:close/>
                    <a:moveTo>
                      <a:pt x="522" y="524"/>
                    </a:moveTo>
                    <a:lnTo>
                      <a:pt x="522" y="525"/>
                    </a:lnTo>
                    <a:lnTo>
                      <a:pt x="522" y="524"/>
                    </a:lnTo>
                    <a:close/>
                    <a:moveTo>
                      <a:pt x="501" y="453"/>
                    </a:moveTo>
                    <a:lnTo>
                      <a:pt x="502" y="453"/>
                    </a:lnTo>
                    <a:lnTo>
                      <a:pt x="502" y="454"/>
                    </a:lnTo>
                    <a:lnTo>
                      <a:pt x="501" y="454"/>
                    </a:lnTo>
                    <a:lnTo>
                      <a:pt x="501" y="453"/>
                    </a:lnTo>
                    <a:close/>
                    <a:moveTo>
                      <a:pt x="499" y="436"/>
                    </a:moveTo>
                    <a:lnTo>
                      <a:pt x="499" y="437"/>
                    </a:lnTo>
                    <a:lnTo>
                      <a:pt x="499" y="436"/>
                    </a:lnTo>
                    <a:close/>
                    <a:moveTo>
                      <a:pt x="320" y="466"/>
                    </a:moveTo>
                    <a:lnTo>
                      <a:pt x="322" y="466"/>
                    </a:lnTo>
                    <a:lnTo>
                      <a:pt x="320" y="466"/>
                    </a:lnTo>
                    <a:close/>
                    <a:moveTo>
                      <a:pt x="226" y="402"/>
                    </a:moveTo>
                    <a:lnTo>
                      <a:pt x="226" y="403"/>
                    </a:lnTo>
                    <a:lnTo>
                      <a:pt x="226" y="402"/>
                    </a:lnTo>
                    <a:close/>
                    <a:moveTo>
                      <a:pt x="489" y="425"/>
                    </a:moveTo>
                    <a:lnTo>
                      <a:pt x="490" y="425"/>
                    </a:lnTo>
                    <a:lnTo>
                      <a:pt x="490" y="426"/>
                    </a:lnTo>
                    <a:lnTo>
                      <a:pt x="489" y="426"/>
                    </a:lnTo>
                    <a:lnTo>
                      <a:pt x="489" y="425"/>
                    </a:lnTo>
                    <a:close/>
                    <a:moveTo>
                      <a:pt x="308" y="457"/>
                    </a:moveTo>
                    <a:lnTo>
                      <a:pt x="309" y="457"/>
                    </a:lnTo>
                    <a:lnTo>
                      <a:pt x="309" y="459"/>
                    </a:lnTo>
                    <a:lnTo>
                      <a:pt x="308" y="459"/>
                    </a:lnTo>
                    <a:lnTo>
                      <a:pt x="308" y="457"/>
                    </a:lnTo>
                    <a:close/>
                    <a:moveTo>
                      <a:pt x="493" y="429"/>
                    </a:moveTo>
                    <a:lnTo>
                      <a:pt x="494" y="429"/>
                    </a:lnTo>
                    <a:lnTo>
                      <a:pt x="493" y="429"/>
                    </a:lnTo>
                    <a:close/>
                    <a:moveTo>
                      <a:pt x="242" y="398"/>
                    </a:moveTo>
                    <a:lnTo>
                      <a:pt x="243" y="398"/>
                    </a:lnTo>
                    <a:lnTo>
                      <a:pt x="242" y="398"/>
                    </a:lnTo>
                    <a:close/>
                    <a:moveTo>
                      <a:pt x="457" y="619"/>
                    </a:moveTo>
                    <a:lnTo>
                      <a:pt x="458" y="619"/>
                    </a:lnTo>
                    <a:lnTo>
                      <a:pt x="458" y="620"/>
                    </a:lnTo>
                    <a:lnTo>
                      <a:pt x="457" y="620"/>
                    </a:lnTo>
                    <a:lnTo>
                      <a:pt x="457" y="619"/>
                    </a:lnTo>
                    <a:close/>
                    <a:moveTo>
                      <a:pt x="415" y="386"/>
                    </a:moveTo>
                    <a:lnTo>
                      <a:pt x="416" y="386"/>
                    </a:lnTo>
                    <a:lnTo>
                      <a:pt x="416" y="387"/>
                    </a:lnTo>
                    <a:lnTo>
                      <a:pt x="415" y="387"/>
                    </a:lnTo>
                    <a:lnTo>
                      <a:pt x="415" y="386"/>
                    </a:lnTo>
                    <a:close/>
                    <a:moveTo>
                      <a:pt x="557" y="517"/>
                    </a:moveTo>
                    <a:lnTo>
                      <a:pt x="557" y="518"/>
                    </a:lnTo>
                    <a:lnTo>
                      <a:pt x="557" y="517"/>
                    </a:lnTo>
                    <a:close/>
                    <a:moveTo>
                      <a:pt x="462" y="613"/>
                    </a:moveTo>
                    <a:lnTo>
                      <a:pt x="463" y="613"/>
                    </a:lnTo>
                    <a:lnTo>
                      <a:pt x="463" y="614"/>
                    </a:lnTo>
                    <a:lnTo>
                      <a:pt x="462" y="614"/>
                    </a:lnTo>
                    <a:lnTo>
                      <a:pt x="462" y="613"/>
                    </a:lnTo>
                    <a:close/>
                    <a:moveTo>
                      <a:pt x="565" y="563"/>
                    </a:moveTo>
                    <a:lnTo>
                      <a:pt x="566" y="563"/>
                    </a:lnTo>
                    <a:lnTo>
                      <a:pt x="566" y="564"/>
                    </a:lnTo>
                    <a:lnTo>
                      <a:pt x="565" y="564"/>
                    </a:lnTo>
                    <a:lnTo>
                      <a:pt x="565" y="563"/>
                    </a:lnTo>
                    <a:close/>
                    <a:moveTo>
                      <a:pt x="421" y="371"/>
                    </a:moveTo>
                    <a:lnTo>
                      <a:pt x="422" y="371"/>
                    </a:lnTo>
                    <a:lnTo>
                      <a:pt x="421" y="371"/>
                    </a:lnTo>
                    <a:close/>
                    <a:moveTo>
                      <a:pt x="479" y="459"/>
                    </a:moveTo>
                    <a:lnTo>
                      <a:pt x="479" y="460"/>
                    </a:lnTo>
                    <a:lnTo>
                      <a:pt x="479" y="459"/>
                    </a:lnTo>
                    <a:close/>
                    <a:moveTo>
                      <a:pt x="246" y="418"/>
                    </a:moveTo>
                    <a:lnTo>
                      <a:pt x="247" y="418"/>
                    </a:lnTo>
                    <a:lnTo>
                      <a:pt x="246" y="418"/>
                    </a:lnTo>
                    <a:close/>
                    <a:moveTo>
                      <a:pt x="210" y="414"/>
                    </a:moveTo>
                    <a:lnTo>
                      <a:pt x="212" y="414"/>
                    </a:lnTo>
                    <a:lnTo>
                      <a:pt x="210" y="414"/>
                    </a:lnTo>
                    <a:close/>
                    <a:moveTo>
                      <a:pt x="390" y="362"/>
                    </a:moveTo>
                    <a:lnTo>
                      <a:pt x="391" y="362"/>
                    </a:lnTo>
                    <a:lnTo>
                      <a:pt x="391" y="363"/>
                    </a:lnTo>
                    <a:lnTo>
                      <a:pt x="390" y="363"/>
                    </a:lnTo>
                    <a:lnTo>
                      <a:pt x="390" y="362"/>
                    </a:lnTo>
                    <a:close/>
                    <a:moveTo>
                      <a:pt x="274" y="412"/>
                    </a:moveTo>
                    <a:lnTo>
                      <a:pt x="276" y="412"/>
                    </a:lnTo>
                    <a:lnTo>
                      <a:pt x="276" y="413"/>
                    </a:lnTo>
                    <a:lnTo>
                      <a:pt x="274" y="413"/>
                    </a:lnTo>
                    <a:lnTo>
                      <a:pt x="274" y="412"/>
                    </a:lnTo>
                    <a:close/>
                    <a:moveTo>
                      <a:pt x="413" y="543"/>
                    </a:moveTo>
                    <a:lnTo>
                      <a:pt x="414" y="543"/>
                    </a:lnTo>
                    <a:lnTo>
                      <a:pt x="413" y="543"/>
                    </a:lnTo>
                    <a:close/>
                    <a:moveTo>
                      <a:pt x="360" y="416"/>
                    </a:moveTo>
                    <a:lnTo>
                      <a:pt x="361" y="416"/>
                    </a:lnTo>
                    <a:lnTo>
                      <a:pt x="361" y="417"/>
                    </a:lnTo>
                    <a:lnTo>
                      <a:pt x="360" y="417"/>
                    </a:lnTo>
                    <a:lnTo>
                      <a:pt x="360" y="416"/>
                    </a:lnTo>
                    <a:close/>
                    <a:moveTo>
                      <a:pt x="439" y="533"/>
                    </a:moveTo>
                    <a:lnTo>
                      <a:pt x="439" y="534"/>
                    </a:lnTo>
                    <a:lnTo>
                      <a:pt x="439" y="533"/>
                    </a:lnTo>
                    <a:close/>
                    <a:moveTo>
                      <a:pt x="300" y="391"/>
                    </a:moveTo>
                    <a:lnTo>
                      <a:pt x="302" y="391"/>
                    </a:lnTo>
                    <a:lnTo>
                      <a:pt x="302" y="392"/>
                    </a:lnTo>
                    <a:lnTo>
                      <a:pt x="300" y="392"/>
                    </a:lnTo>
                    <a:lnTo>
                      <a:pt x="300" y="391"/>
                    </a:lnTo>
                    <a:close/>
                    <a:moveTo>
                      <a:pt x="317" y="451"/>
                    </a:moveTo>
                    <a:lnTo>
                      <a:pt x="318" y="451"/>
                    </a:lnTo>
                    <a:lnTo>
                      <a:pt x="318" y="452"/>
                    </a:lnTo>
                    <a:lnTo>
                      <a:pt x="317" y="452"/>
                    </a:lnTo>
                    <a:lnTo>
                      <a:pt x="317" y="451"/>
                    </a:lnTo>
                    <a:close/>
                    <a:moveTo>
                      <a:pt x="457" y="468"/>
                    </a:moveTo>
                    <a:lnTo>
                      <a:pt x="458" y="468"/>
                    </a:lnTo>
                    <a:lnTo>
                      <a:pt x="458" y="469"/>
                    </a:lnTo>
                    <a:lnTo>
                      <a:pt x="457" y="469"/>
                    </a:lnTo>
                    <a:lnTo>
                      <a:pt x="457" y="468"/>
                    </a:lnTo>
                    <a:close/>
                    <a:moveTo>
                      <a:pt x="503" y="443"/>
                    </a:moveTo>
                    <a:lnTo>
                      <a:pt x="504" y="443"/>
                    </a:lnTo>
                    <a:lnTo>
                      <a:pt x="503" y="443"/>
                    </a:lnTo>
                    <a:close/>
                    <a:moveTo>
                      <a:pt x="299" y="388"/>
                    </a:moveTo>
                    <a:lnTo>
                      <a:pt x="300" y="388"/>
                    </a:lnTo>
                    <a:lnTo>
                      <a:pt x="299" y="388"/>
                    </a:lnTo>
                    <a:close/>
                    <a:moveTo>
                      <a:pt x="177" y="345"/>
                    </a:moveTo>
                    <a:lnTo>
                      <a:pt x="177" y="346"/>
                    </a:lnTo>
                    <a:lnTo>
                      <a:pt x="177" y="345"/>
                    </a:lnTo>
                    <a:close/>
                    <a:moveTo>
                      <a:pt x="442" y="372"/>
                    </a:moveTo>
                    <a:lnTo>
                      <a:pt x="442" y="373"/>
                    </a:lnTo>
                    <a:lnTo>
                      <a:pt x="442" y="372"/>
                    </a:lnTo>
                    <a:close/>
                    <a:moveTo>
                      <a:pt x="448" y="529"/>
                    </a:moveTo>
                    <a:lnTo>
                      <a:pt x="449" y="529"/>
                    </a:lnTo>
                    <a:lnTo>
                      <a:pt x="448" y="529"/>
                    </a:lnTo>
                    <a:close/>
                    <a:moveTo>
                      <a:pt x="568" y="553"/>
                    </a:moveTo>
                    <a:lnTo>
                      <a:pt x="569" y="553"/>
                    </a:lnTo>
                    <a:lnTo>
                      <a:pt x="568" y="553"/>
                    </a:lnTo>
                    <a:close/>
                    <a:moveTo>
                      <a:pt x="178" y="364"/>
                    </a:moveTo>
                    <a:lnTo>
                      <a:pt x="180" y="364"/>
                    </a:lnTo>
                    <a:lnTo>
                      <a:pt x="178" y="364"/>
                    </a:lnTo>
                    <a:close/>
                    <a:moveTo>
                      <a:pt x="571" y="556"/>
                    </a:moveTo>
                    <a:lnTo>
                      <a:pt x="571" y="557"/>
                    </a:lnTo>
                    <a:lnTo>
                      <a:pt x="571" y="556"/>
                    </a:lnTo>
                    <a:close/>
                    <a:moveTo>
                      <a:pt x="564" y="552"/>
                    </a:moveTo>
                    <a:lnTo>
                      <a:pt x="565" y="552"/>
                    </a:lnTo>
                    <a:lnTo>
                      <a:pt x="565" y="553"/>
                    </a:lnTo>
                    <a:lnTo>
                      <a:pt x="564" y="553"/>
                    </a:lnTo>
                    <a:lnTo>
                      <a:pt x="564" y="552"/>
                    </a:lnTo>
                    <a:close/>
                    <a:moveTo>
                      <a:pt x="553" y="441"/>
                    </a:moveTo>
                    <a:lnTo>
                      <a:pt x="553" y="442"/>
                    </a:lnTo>
                    <a:lnTo>
                      <a:pt x="553" y="441"/>
                    </a:lnTo>
                    <a:close/>
                    <a:moveTo>
                      <a:pt x="498" y="572"/>
                    </a:moveTo>
                    <a:lnTo>
                      <a:pt x="499" y="572"/>
                    </a:lnTo>
                    <a:lnTo>
                      <a:pt x="498" y="572"/>
                    </a:lnTo>
                    <a:close/>
                    <a:moveTo>
                      <a:pt x="502" y="433"/>
                    </a:moveTo>
                    <a:lnTo>
                      <a:pt x="502" y="434"/>
                    </a:lnTo>
                    <a:lnTo>
                      <a:pt x="502" y="433"/>
                    </a:lnTo>
                    <a:close/>
                    <a:moveTo>
                      <a:pt x="571" y="642"/>
                    </a:moveTo>
                    <a:lnTo>
                      <a:pt x="571" y="643"/>
                    </a:lnTo>
                    <a:lnTo>
                      <a:pt x="571" y="642"/>
                    </a:lnTo>
                    <a:close/>
                    <a:moveTo>
                      <a:pt x="550" y="536"/>
                    </a:moveTo>
                    <a:lnTo>
                      <a:pt x="550" y="537"/>
                    </a:lnTo>
                    <a:lnTo>
                      <a:pt x="550" y="536"/>
                    </a:lnTo>
                    <a:close/>
                    <a:moveTo>
                      <a:pt x="218" y="405"/>
                    </a:moveTo>
                    <a:lnTo>
                      <a:pt x="219" y="405"/>
                    </a:lnTo>
                    <a:lnTo>
                      <a:pt x="219" y="406"/>
                    </a:lnTo>
                    <a:lnTo>
                      <a:pt x="218" y="406"/>
                    </a:lnTo>
                    <a:lnTo>
                      <a:pt x="218" y="405"/>
                    </a:lnTo>
                    <a:close/>
                    <a:moveTo>
                      <a:pt x="502" y="464"/>
                    </a:moveTo>
                    <a:lnTo>
                      <a:pt x="503" y="464"/>
                    </a:lnTo>
                    <a:lnTo>
                      <a:pt x="503" y="465"/>
                    </a:lnTo>
                    <a:lnTo>
                      <a:pt x="502" y="465"/>
                    </a:lnTo>
                    <a:lnTo>
                      <a:pt x="502" y="464"/>
                    </a:lnTo>
                    <a:close/>
                    <a:moveTo>
                      <a:pt x="380" y="362"/>
                    </a:moveTo>
                    <a:lnTo>
                      <a:pt x="381" y="362"/>
                    </a:lnTo>
                    <a:lnTo>
                      <a:pt x="380" y="362"/>
                    </a:lnTo>
                    <a:close/>
                    <a:moveTo>
                      <a:pt x="447" y="536"/>
                    </a:moveTo>
                    <a:lnTo>
                      <a:pt x="448" y="536"/>
                    </a:lnTo>
                    <a:lnTo>
                      <a:pt x="447" y="536"/>
                    </a:lnTo>
                    <a:close/>
                    <a:moveTo>
                      <a:pt x="274" y="356"/>
                    </a:moveTo>
                    <a:lnTo>
                      <a:pt x="274" y="357"/>
                    </a:lnTo>
                    <a:lnTo>
                      <a:pt x="274" y="356"/>
                    </a:lnTo>
                    <a:close/>
                    <a:moveTo>
                      <a:pt x="236" y="226"/>
                    </a:moveTo>
                    <a:lnTo>
                      <a:pt x="238" y="226"/>
                    </a:lnTo>
                    <a:lnTo>
                      <a:pt x="236" y="226"/>
                    </a:lnTo>
                    <a:close/>
                    <a:moveTo>
                      <a:pt x="553" y="438"/>
                    </a:moveTo>
                    <a:lnTo>
                      <a:pt x="553" y="439"/>
                    </a:lnTo>
                    <a:lnTo>
                      <a:pt x="553" y="438"/>
                    </a:lnTo>
                    <a:close/>
                    <a:moveTo>
                      <a:pt x="543" y="537"/>
                    </a:moveTo>
                    <a:lnTo>
                      <a:pt x="543" y="538"/>
                    </a:lnTo>
                    <a:lnTo>
                      <a:pt x="543" y="537"/>
                    </a:lnTo>
                    <a:close/>
                    <a:moveTo>
                      <a:pt x="324" y="466"/>
                    </a:moveTo>
                    <a:lnTo>
                      <a:pt x="325" y="466"/>
                    </a:lnTo>
                    <a:lnTo>
                      <a:pt x="325" y="467"/>
                    </a:lnTo>
                    <a:lnTo>
                      <a:pt x="324" y="467"/>
                    </a:lnTo>
                    <a:lnTo>
                      <a:pt x="324" y="466"/>
                    </a:lnTo>
                    <a:close/>
                    <a:moveTo>
                      <a:pt x="245" y="222"/>
                    </a:moveTo>
                    <a:lnTo>
                      <a:pt x="245" y="223"/>
                    </a:lnTo>
                    <a:lnTo>
                      <a:pt x="245" y="222"/>
                    </a:lnTo>
                    <a:close/>
                    <a:moveTo>
                      <a:pt x="503" y="462"/>
                    </a:moveTo>
                    <a:lnTo>
                      <a:pt x="504" y="462"/>
                    </a:lnTo>
                    <a:lnTo>
                      <a:pt x="503" y="462"/>
                    </a:lnTo>
                    <a:close/>
                    <a:moveTo>
                      <a:pt x="290" y="379"/>
                    </a:moveTo>
                    <a:lnTo>
                      <a:pt x="291" y="379"/>
                    </a:lnTo>
                    <a:lnTo>
                      <a:pt x="290" y="379"/>
                    </a:lnTo>
                    <a:close/>
                    <a:moveTo>
                      <a:pt x="576" y="501"/>
                    </a:moveTo>
                    <a:lnTo>
                      <a:pt x="577" y="501"/>
                    </a:lnTo>
                    <a:lnTo>
                      <a:pt x="577" y="502"/>
                    </a:lnTo>
                    <a:lnTo>
                      <a:pt x="576" y="502"/>
                    </a:lnTo>
                    <a:lnTo>
                      <a:pt x="576" y="501"/>
                    </a:lnTo>
                    <a:close/>
                    <a:moveTo>
                      <a:pt x="492" y="393"/>
                    </a:moveTo>
                    <a:lnTo>
                      <a:pt x="493" y="393"/>
                    </a:lnTo>
                    <a:lnTo>
                      <a:pt x="493" y="395"/>
                    </a:lnTo>
                    <a:lnTo>
                      <a:pt x="492" y="395"/>
                    </a:lnTo>
                    <a:lnTo>
                      <a:pt x="492" y="393"/>
                    </a:lnTo>
                    <a:close/>
                    <a:moveTo>
                      <a:pt x="490" y="472"/>
                    </a:moveTo>
                    <a:lnTo>
                      <a:pt x="490" y="473"/>
                    </a:lnTo>
                    <a:lnTo>
                      <a:pt x="490" y="472"/>
                    </a:lnTo>
                    <a:close/>
                    <a:moveTo>
                      <a:pt x="507" y="451"/>
                    </a:moveTo>
                    <a:lnTo>
                      <a:pt x="509" y="451"/>
                    </a:lnTo>
                    <a:lnTo>
                      <a:pt x="507" y="451"/>
                    </a:lnTo>
                    <a:close/>
                    <a:moveTo>
                      <a:pt x="215" y="420"/>
                    </a:moveTo>
                    <a:lnTo>
                      <a:pt x="215" y="421"/>
                    </a:lnTo>
                    <a:lnTo>
                      <a:pt x="215" y="420"/>
                    </a:lnTo>
                    <a:close/>
                    <a:moveTo>
                      <a:pt x="207" y="402"/>
                    </a:moveTo>
                    <a:lnTo>
                      <a:pt x="207" y="403"/>
                    </a:lnTo>
                    <a:lnTo>
                      <a:pt x="207" y="402"/>
                    </a:lnTo>
                    <a:close/>
                    <a:moveTo>
                      <a:pt x="492" y="466"/>
                    </a:moveTo>
                    <a:lnTo>
                      <a:pt x="492" y="467"/>
                    </a:lnTo>
                    <a:lnTo>
                      <a:pt x="492" y="466"/>
                    </a:lnTo>
                    <a:close/>
                    <a:moveTo>
                      <a:pt x="207" y="390"/>
                    </a:moveTo>
                    <a:lnTo>
                      <a:pt x="208" y="390"/>
                    </a:lnTo>
                    <a:lnTo>
                      <a:pt x="207" y="390"/>
                    </a:lnTo>
                    <a:close/>
                    <a:moveTo>
                      <a:pt x="396" y="364"/>
                    </a:moveTo>
                    <a:lnTo>
                      <a:pt x="397" y="364"/>
                    </a:lnTo>
                    <a:lnTo>
                      <a:pt x="397" y="365"/>
                    </a:lnTo>
                    <a:lnTo>
                      <a:pt x="396" y="365"/>
                    </a:lnTo>
                    <a:lnTo>
                      <a:pt x="396" y="364"/>
                    </a:lnTo>
                    <a:close/>
                    <a:moveTo>
                      <a:pt x="484" y="545"/>
                    </a:moveTo>
                    <a:lnTo>
                      <a:pt x="484" y="546"/>
                    </a:lnTo>
                    <a:lnTo>
                      <a:pt x="484" y="545"/>
                    </a:lnTo>
                    <a:close/>
                    <a:moveTo>
                      <a:pt x="206" y="415"/>
                    </a:moveTo>
                    <a:lnTo>
                      <a:pt x="207" y="415"/>
                    </a:lnTo>
                    <a:lnTo>
                      <a:pt x="206" y="415"/>
                    </a:lnTo>
                    <a:close/>
                    <a:moveTo>
                      <a:pt x="505" y="462"/>
                    </a:moveTo>
                    <a:lnTo>
                      <a:pt x="505" y="463"/>
                    </a:lnTo>
                    <a:lnTo>
                      <a:pt x="505" y="462"/>
                    </a:lnTo>
                    <a:close/>
                    <a:moveTo>
                      <a:pt x="505" y="508"/>
                    </a:moveTo>
                    <a:lnTo>
                      <a:pt x="505" y="510"/>
                    </a:lnTo>
                    <a:lnTo>
                      <a:pt x="505" y="508"/>
                    </a:lnTo>
                    <a:close/>
                    <a:moveTo>
                      <a:pt x="475" y="425"/>
                    </a:moveTo>
                    <a:lnTo>
                      <a:pt x="476" y="425"/>
                    </a:lnTo>
                    <a:lnTo>
                      <a:pt x="475" y="425"/>
                    </a:lnTo>
                    <a:close/>
                    <a:moveTo>
                      <a:pt x="474" y="428"/>
                    </a:moveTo>
                    <a:lnTo>
                      <a:pt x="475" y="428"/>
                    </a:lnTo>
                    <a:lnTo>
                      <a:pt x="475" y="429"/>
                    </a:lnTo>
                    <a:lnTo>
                      <a:pt x="474" y="429"/>
                    </a:lnTo>
                    <a:lnTo>
                      <a:pt x="474" y="428"/>
                    </a:lnTo>
                    <a:close/>
                    <a:moveTo>
                      <a:pt x="290" y="390"/>
                    </a:moveTo>
                    <a:lnTo>
                      <a:pt x="290" y="391"/>
                    </a:lnTo>
                    <a:lnTo>
                      <a:pt x="290" y="390"/>
                    </a:lnTo>
                    <a:close/>
                    <a:moveTo>
                      <a:pt x="213" y="403"/>
                    </a:moveTo>
                    <a:lnTo>
                      <a:pt x="214" y="403"/>
                    </a:lnTo>
                    <a:lnTo>
                      <a:pt x="213" y="403"/>
                    </a:lnTo>
                    <a:close/>
                    <a:moveTo>
                      <a:pt x="230" y="399"/>
                    </a:moveTo>
                    <a:lnTo>
                      <a:pt x="231" y="399"/>
                    </a:lnTo>
                    <a:lnTo>
                      <a:pt x="230" y="399"/>
                    </a:lnTo>
                    <a:close/>
                    <a:moveTo>
                      <a:pt x="554" y="523"/>
                    </a:moveTo>
                    <a:lnTo>
                      <a:pt x="554" y="524"/>
                    </a:lnTo>
                    <a:lnTo>
                      <a:pt x="554" y="523"/>
                    </a:lnTo>
                    <a:close/>
                    <a:moveTo>
                      <a:pt x="241" y="406"/>
                    </a:moveTo>
                    <a:lnTo>
                      <a:pt x="242" y="406"/>
                    </a:lnTo>
                    <a:lnTo>
                      <a:pt x="242" y="408"/>
                    </a:lnTo>
                    <a:lnTo>
                      <a:pt x="241" y="408"/>
                    </a:lnTo>
                    <a:lnTo>
                      <a:pt x="241" y="406"/>
                    </a:lnTo>
                    <a:close/>
                    <a:moveTo>
                      <a:pt x="412" y="379"/>
                    </a:moveTo>
                    <a:lnTo>
                      <a:pt x="413" y="379"/>
                    </a:lnTo>
                    <a:lnTo>
                      <a:pt x="413" y="380"/>
                    </a:lnTo>
                    <a:lnTo>
                      <a:pt x="412" y="380"/>
                    </a:lnTo>
                    <a:lnTo>
                      <a:pt x="412" y="379"/>
                    </a:lnTo>
                    <a:close/>
                    <a:moveTo>
                      <a:pt x="460" y="614"/>
                    </a:moveTo>
                    <a:lnTo>
                      <a:pt x="461" y="614"/>
                    </a:lnTo>
                    <a:lnTo>
                      <a:pt x="461" y="615"/>
                    </a:lnTo>
                    <a:lnTo>
                      <a:pt x="460" y="615"/>
                    </a:lnTo>
                    <a:lnTo>
                      <a:pt x="460" y="614"/>
                    </a:lnTo>
                    <a:close/>
                    <a:moveTo>
                      <a:pt x="320" y="466"/>
                    </a:moveTo>
                    <a:lnTo>
                      <a:pt x="321" y="466"/>
                    </a:lnTo>
                    <a:lnTo>
                      <a:pt x="320" y="466"/>
                    </a:lnTo>
                    <a:close/>
                    <a:moveTo>
                      <a:pt x="420" y="375"/>
                    </a:moveTo>
                    <a:lnTo>
                      <a:pt x="421" y="375"/>
                    </a:lnTo>
                    <a:lnTo>
                      <a:pt x="420" y="375"/>
                    </a:lnTo>
                    <a:close/>
                    <a:moveTo>
                      <a:pt x="491" y="470"/>
                    </a:moveTo>
                    <a:lnTo>
                      <a:pt x="491" y="472"/>
                    </a:lnTo>
                    <a:lnTo>
                      <a:pt x="491" y="470"/>
                    </a:lnTo>
                    <a:close/>
                    <a:moveTo>
                      <a:pt x="333" y="470"/>
                    </a:moveTo>
                    <a:lnTo>
                      <a:pt x="334" y="470"/>
                    </a:lnTo>
                    <a:lnTo>
                      <a:pt x="333" y="470"/>
                    </a:lnTo>
                    <a:close/>
                    <a:moveTo>
                      <a:pt x="220" y="401"/>
                    </a:moveTo>
                    <a:lnTo>
                      <a:pt x="221" y="401"/>
                    </a:lnTo>
                    <a:lnTo>
                      <a:pt x="221" y="402"/>
                    </a:lnTo>
                    <a:lnTo>
                      <a:pt x="220" y="402"/>
                    </a:lnTo>
                    <a:lnTo>
                      <a:pt x="220" y="401"/>
                    </a:lnTo>
                    <a:close/>
                    <a:moveTo>
                      <a:pt x="424" y="391"/>
                    </a:moveTo>
                    <a:lnTo>
                      <a:pt x="425" y="391"/>
                    </a:lnTo>
                    <a:lnTo>
                      <a:pt x="425" y="392"/>
                    </a:lnTo>
                    <a:lnTo>
                      <a:pt x="424" y="392"/>
                    </a:lnTo>
                    <a:lnTo>
                      <a:pt x="424" y="391"/>
                    </a:lnTo>
                    <a:close/>
                    <a:moveTo>
                      <a:pt x="497" y="590"/>
                    </a:moveTo>
                    <a:lnTo>
                      <a:pt x="498" y="590"/>
                    </a:lnTo>
                    <a:lnTo>
                      <a:pt x="498" y="591"/>
                    </a:lnTo>
                    <a:lnTo>
                      <a:pt x="497" y="591"/>
                    </a:lnTo>
                    <a:lnTo>
                      <a:pt x="497" y="590"/>
                    </a:lnTo>
                    <a:close/>
                    <a:moveTo>
                      <a:pt x="551" y="550"/>
                    </a:moveTo>
                    <a:lnTo>
                      <a:pt x="551" y="551"/>
                    </a:lnTo>
                    <a:lnTo>
                      <a:pt x="551" y="550"/>
                    </a:lnTo>
                    <a:close/>
                    <a:moveTo>
                      <a:pt x="494" y="472"/>
                    </a:moveTo>
                    <a:lnTo>
                      <a:pt x="496" y="472"/>
                    </a:lnTo>
                    <a:lnTo>
                      <a:pt x="494" y="472"/>
                    </a:lnTo>
                    <a:close/>
                    <a:moveTo>
                      <a:pt x="318" y="463"/>
                    </a:moveTo>
                    <a:lnTo>
                      <a:pt x="319" y="463"/>
                    </a:lnTo>
                    <a:lnTo>
                      <a:pt x="319" y="464"/>
                    </a:lnTo>
                    <a:lnTo>
                      <a:pt x="318" y="464"/>
                    </a:lnTo>
                    <a:lnTo>
                      <a:pt x="318" y="463"/>
                    </a:lnTo>
                    <a:close/>
                    <a:moveTo>
                      <a:pt x="487" y="425"/>
                    </a:moveTo>
                    <a:lnTo>
                      <a:pt x="488" y="425"/>
                    </a:lnTo>
                    <a:lnTo>
                      <a:pt x="487" y="425"/>
                    </a:lnTo>
                    <a:close/>
                    <a:moveTo>
                      <a:pt x="291" y="391"/>
                    </a:moveTo>
                    <a:lnTo>
                      <a:pt x="292" y="391"/>
                    </a:lnTo>
                    <a:lnTo>
                      <a:pt x="292" y="392"/>
                    </a:lnTo>
                    <a:lnTo>
                      <a:pt x="291" y="392"/>
                    </a:lnTo>
                    <a:lnTo>
                      <a:pt x="291" y="391"/>
                    </a:lnTo>
                    <a:close/>
                    <a:moveTo>
                      <a:pt x="450" y="600"/>
                    </a:moveTo>
                    <a:lnTo>
                      <a:pt x="451" y="600"/>
                    </a:lnTo>
                    <a:lnTo>
                      <a:pt x="450" y="600"/>
                    </a:lnTo>
                    <a:close/>
                    <a:moveTo>
                      <a:pt x="326" y="387"/>
                    </a:moveTo>
                    <a:lnTo>
                      <a:pt x="328" y="387"/>
                    </a:lnTo>
                    <a:lnTo>
                      <a:pt x="328" y="388"/>
                    </a:lnTo>
                    <a:lnTo>
                      <a:pt x="326" y="388"/>
                    </a:lnTo>
                    <a:lnTo>
                      <a:pt x="326" y="387"/>
                    </a:lnTo>
                    <a:close/>
                    <a:moveTo>
                      <a:pt x="193" y="348"/>
                    </a:moveTo>
                    <a:lnTo>
                      <a:pt x="193" y="349"/>
                    </a:lnTo>
                    <a:lnTo>
                      <a:pt x="193" y="348"/>
                    </a:lnTo>
                    <a:close/>
                    <a:moveTo>
                      <a:pt x="483" y="424"/>
                    </a:moveTo>
                    <a:lnTo>
                      <a:pt x="484" y="424"/>
                    </a:lnTo>
                    <a:lnTo>
                      <a:pt x="483" y="424"/>
                    </a:lnTo>
                    <a:close/>
                    <a:moveTo>
                      <a:pt x="215" y="421"/>
                    </a:moveTo>
                    <a:lnTo>
                      <a:pt x="216" y="421"/>
                    </a:lnTo>
                    <a:lnTo>
                      <a:pt x="215" y="421"/>
                    </a:lnTo>
                    <a:close/>
                    <a:moveTo>
                      <a:pt x="503" y="437"/>
                    </a:moveTo>
                    <a:lnTo>
                      <a:pt x="504" y="437"/>
                    </a:lnTo>
                    <a:lnTo>
                      <a:pt x="503" y="437"/>
                    </a:lnTo>
                    <a:close/>
                    <a:moveTo>
                      <a:pt x="157" y="354"/>
                    </a:moveTo>
                    <a:lnTo>
                      <a:pt x="158" y="354"/>
                    </a:lnTo>
                    <a:lnTo>
                      <a:pt x="158" y="356"/>
                    </a:lnTo>
                    <a:lnTo>
                      <a:pt x="157" y="356"/>
                    </a:lnTo>
                    <a:lnTo>
                      <a:pt x="157" y="354"/>
                    </a:lnTo>
                    <a:close/>
                    <a:moveTo>
                      <a:pt x="580" y="568"/>
                    </a:moveTo>
                    <a:lnTo>
                      <a:pt x="581" y="568"/>
                    </a:lnTo>
                    <a:lnTo>
                      <a:pt x="581" y="569"/>
                    </a:lnTo>
                    <a:lnTo>
                      <a:pt x="580" y="569"/>
                    </a:lnTo>
                    <a:lnTo>
                      <a:pt x="580" y="568"/>
                    </a:lnTo>
                    <a:close/>
                    <a:moveTo>
                      <a:pt x="573" y="567"/>
                    </a:moveTo>
                    <a:lnTo>
                      <a:pt x="574" y="567"/>
                    </a:lnTo>
                    <a:lnTo>
                      <a:pt x="574" y="568"/>
                    </a:lnTo>
                    <a:lnTo>
                      <a:pt x="573" y="568"/>
                    </a:lnTo>
                    <a:lnTo>
                      <a:pt x="573" y="567"/>
                    </a:lnTo>
                    <a:close/>
                    <a:moveTo>
                      <a:pt x="553" y="423"/>
                    </a:moveTo>
                    <a:lnTo>
                      <a:pt x="554" y="423"/>
                    </a:lnTo>
                    <a:lnTo>
                      <a:pt x="553" y="423"/>
                    </a:lnTo>
                    <a:close/>
                    <a:moveTo>
                      <a:pt x="506" y="462"/>
                    </a:moveTo>
                    <a:lnTo>
                      <a:pt x="506" y="463"/>
                    </a:lnTo>
                    <a:lnTo>
                      <a:pt x="506" y="462"/>
                    </a:lnTo>
                    <a:close/>
                    <a:moveTo>
                      <a:pt x="276" y="416"/>
                    </a:moveTo>
                    <a:lnTo>
                      <a:pt x="277" y="416"/>
                    </a:lnTo>
                    <a:lnTo>
                      <a:pt x="277" y="417"/>
                    </a:lnTo>
                    <a:lnTo>
                      <a:pt x="276" y="417"/>
                    </a:lnTo>
                    <a:lnTo>
                      <a:pt x="276" y="416"/>
                    </a:lnTo>
                    <a:close/>
                    <a:moveTo>
                      <a:pt x="236" y="228"/>
                    </a:moveTo>
                    <a:lnTo>
                      <a:pt x="238" y="228"/>
                    </a:lnTo>
                    <a:lnTo>
                      <a:pt x="238" y="229"/>
                    </a:lnTo>
                    <a:lnTo>
                      <a:pt x="236" y="229"/>
                    </a:lnTo>
                    <a:lnTo>
                      <a:pt x="236" y="228"/>
                    </a:lnTo>
                    <a:close/>
                    <a:moveTo>
                      <a:pt x="564" y="478"/>
                    </a:moveTo>
                    <a:lnTo>
                      <a:pt x="565" y="478"/>
                    </a:lnTo>
                    <a:lnTo>
                      <a:pt x="564" y="478"/>
                    </a:lnTo>
                    <a:close/>
                    <a:moveTo>
                      <a:pt x="458" y="617"/>
                    </a:moveTo>
                    <a:lnTo>
                      <a:pt x="458" y="618"/>
                    </a:lnTo>
                    <a:lnTo>
                      <a:pt x="458" y="617"/>
                    </a:lnTo>
                    <a:close/>
                    <a:moveTo>
                      <a:pt x="195" y="348"/>
                    </a:moveTo>
                    <a:lnTo>
                      <a:pt x="195" y="349"/>
                    </a:lnTo>
                    <a:lnTo>
                      <a:pt x="195" y="348"/>
                    </a:lnTo>
                    <a:close/>
                    <a:moveTo>
                      <a:pt x="574" y="553"/>
                    </a:moveTo>
                    <a:lnTo>
                      <a:pt x="575" y="553"/>
                    </a:lnTo>
                    <a:lnTo>
                      <a:pt x="575" y="554"/>
                    </a:lnTo>
                    <a:lnTo>
                      <a:pt x="574" y="554"/>
                    </a:lnTo>
                    <a:lnTo>
                      <a:pt x="574" y="553"/>
                    </a:lnTo>
                    <a:close/>
                    <a:moveTo>
                      <a:pt x="290" y="390"/>
                    </a:moveTo>
                    <a:lnTo>
                      <a:pt x="291" y="390"/>
                    </a:lnTo>
                    <a:lnTo>
                      <a:pt x="290" y="390"/>
                    </a:lnTo>
                    <a:close/>
                    <a:moveTo>
                      <a:pt x="509" y="462"/>
                    </a:moveTo>
                    <a:lnTo>
                      <a:pt x="510" y="462"/>
                    </a:lnTo>
                    <a:lnTo>
                      <a:pt x="509" y="462"/>
                    </a:lnTo>
                    <a:close/>
                    <a:moveTo>
                      <a:pt x="500" y="436"/>
                    </a:moveTo>
                    <a:lnTo>
                      <a:pt x="501" y="436"/>
                    </a:lnTo>
                    <a:lnTo>
                      <a:pt x="500" y="436"/>
                    </a:lnTo>
                    <a:close/>
                    <a:moveTo>
                      <a:pt x="268" y="396"/>
                    </a:moveTo>
                    <a:lnTo>
                      <a:pt x="269" y="396"/>
                    </a:lnTo>
                    <a:lnTo>
                      <a:pt x="268" y="396"/>
                    </a:lnTo>
                    <a:close/>
                    <a:moveTo>
                      <a:pt x="272" y="412"/>
                    </a:moveTo>
                    <a:lnTo>
                      <a:pt x="273" y="412"/>
                    </a:lnTo>
                    <a:lnTo>
                      <a:pt x="272" y="412"/>
                    </a:lnTo>
                    <a:close/>
                    <a:moveTo>
                      <a:pt x="317" y="457"/>
                    </a:moveTo>
                    <a:lnTo>
                      <a:pt x="318" y="457"/>
                    </a:lnTo>
                    <a:lnTo>
                      <a:pt x="317" y="457"/>
                    </a:lnTo>
                    <a:close/>
                    <a:moveTo>
                      <a:pt x="497" y="582"/>
                    </a:moveTo>
                    <a:lnTo>
                      <a:pt x="497" y="583"/>
                    </a:lnTo>
                    <a:lnTo>
                      <a:pt x="497" y="582"/>
                    </a:lnTo>
                    <a:close/>
                    <a:moveTo>
                      <a:pt x="487" y="430"/>
                    </a:moveTo>
                    <a:lnTo>
                      <a:pt x="487" y="431"/>
                    </a:lnTo>
                    <a:lnTo>
                      <a:pt x="487" y="430"/>
                    </a:lnTo>
                    <a:close/>
                    <a:moveTo>
                      <a:pt x="480" y="421"/>
                    </a:moveTo>
                    <a:lnTo>
                      <a:pt x="480" y="422"/>
                    </a:lnTo>
                    <a:lnTo>
                      <a:pt x="480" y="421"/>
                    </a:lnTo>
                    <a:close/>
                    <a:moveTo>
                      <a:pt x="412" y="378"/>
                    </a:moveTo>
                    <a:lnTo>
                      <a:pt x="413" y="378"/>
                    </a:lnTo>
                    <a:lnTo>
                      <a:pt x="412" y="378"/>
                    </a:lnTo>
                    <a:close/>
                    <a:moveTo>
                      <a:pt x="270" y="399"/>
                    </a:moveTo>
                    <a:lnTo>
                      <a:pt x="271" y="399"/>
                    </a:lnTo>
                    <a:lnTo>
                      <a:pt x="271" y="400"/>
                    </a:lnTo>
                    <a:lnTo>
                      <a:pt x="270" y="400"/>
                    </a:lnTo>
                    <a:lnTo>
                      <a:pt x="270" y="399"/>
                    </a:lnTo>
                    <a:close/>
                    <a:moveTo>
                      <a:pt x="486" y="430"/>
                    </a:moveTo>
                    <a:lnTo>
                      <a:pt x="487" y="430"/>
                    </a:lnTo>
                    <a:lnTo>
                      <a:pt x="486" y="430"/>
                    </a:lnTo>
                    <a:close/>
                    <a:moveTo>
                      <a:pt x="499" y="450"/>
                    </a:moveTo>
                    <a:lnTo>
                      <a:pt x="500" y="450"/>
                    </a:lnTo>
                    <a:lnTo>
                      <a:pt x="499" y="450"/>
                    </a:lnTo>
                    <a:close/>
                    <a:moveTo>
                      <a:pt x="177" y="411"/>
                    </a:moveTo>
                    <a:lnTo>
                      <a:pt x="178" y="411"/>
                    </a:lnTo>
                    <a:lnTo>
                      <a:pt x="178" y="412"/>
                    </a:lnTo>
                    <a:lnTo>
                      <a:pt x="177" y="412"/>
                    </a:lnTo>
                    <a:lnTo>
                      <a:pt x="177" y="411"/>
                    </a:lnTo>
                    <a:close/>
                    <a:moveTo>
                      <a:pt x="447" y="397"/>
                    </a:moveTo>
                    <a:lnTo>
                      <a:pt x="448" y="397"/>
                    </a:lnTo>
                    <a:lnTo>
                      <a:pt x="447" y="397"/>
                    </a:lnTo>
                    <a:close/>
                    <a:moveTo>
                      <a:pt x="244" y="390"/>
                    </a:moveTo>
                    <a:lnTo>
                      <a:pt x="245" y="390"/>
                    </a:lnTo>
                    <a:lnTo>
                      <a:pt x="244" y="390"/>
                    </a:lnTo>
                    <a:close/>
                    <a:moveTo>
                      <a:pt x="448" y="371"/>
                    </a:moveTo>
                    <a:lnTo>
                      <a:pt x="449" y="371"/>
                    </a:lnTo>
                    <a:lnTo>
                      <a:pt x="448" y="371"/>
                    </a:lnTo>
                    <a:close/>
                    <a:moveTo>
                      <a:pt x="199" y="350"/>
                    </a:moveTo>
                    <a:lnTo>
                      <a:pt x="199" y="351"/>
                    </a:lnTo>
                    <a:lnTo>
                      <a:pt x="199" y="350"/>
                    </a:lnTo>
                    <a:close/>
                    <a:moveTo>
                      <a:pt x="219" y="403"/>
                    </a:moveTo>
                    <a:lnTo>
                      <a:pt x="220" y="403"/>
                    </a:lnTo>
                    <a:lnTo>
                      <a:pt x="220" y="404"/>
                    </a:lnTo>
                    <a:lnTo>
                      <a:pt x="219" y="404"/>
                    </a:lnTo>
                    <a:lnTo>
                      <a:pt x="219" y="403"/>
                    </a:lnTo>
                    <a:close/>
                    <a:moveTo>
                      <a:pt x="475" y="427"/>
                    </a:moveTo>
                    <a:lnTo>
                      <a:pt x="476" y="427"/>
                    </a:lnTo>
                    <a:lnTo>
                      <a:pt x="475" y="427"/>
                    </a:lnTo>
                    <a:close/>
                    <a:moveTo>
                      <a:pt x="485" y="424"/>
                    </a:moveTo>
                    <a:lnTo>
                      <a:pt x="486" y="424"/>
                    </a:lnTo>
                    <a:lnTo>
                      <a:pt x="486" y="425"/>
                    </a:lnTo>
                    <a:lnTo>
                      <a:pt x="485" y="425"/>
                    </a:lnTo>
                    <a:lnTo>
                      <a:pt x="485" y="424"/>
                    </a:lnTo>
                    <a:close/>
                    <a:moveTo>
                      <a:pt x="490" y="473"/>
                    </a:moveTo>
                    <a:lnTo>
                      <a:pt x="490" y="474"/>
                    </a:lnTo>
                    <a:lnTo>
                      <a:pt x="490" y="473"/>
                    </a:lnTo>
                    <a:close/>
                    <a:moveTo>
                      <a:pt x="494" y="569"/>
                    </a:moveTo>
                    <a:lnTo>
                      <a:pt x="496" y="569"/>
                    </a:lnTo>
                    <a:lnTo>
                      <a:pt x="494" y="569"/>
                    </a:lnTo>
                    <a:close/>
                    <a:moveTo>
                      <a:pt x="474" y="429"/>
                    </a:moveTo>
                    <a:lnTo>
                      <a:pt x="474" y="430"/>
                    </a:lnTo>
                    <a:lnTo>
                      <a:pt x="474" y="429"/>
                    </a:lnTo>
                    <a:close/>
                    <a:moveTo>
                      <a:pt x="421" y="390"/>
                    </a:moveTo>
                    <a:lnTo>
                      <a:pt x="422" y="390"/>
                    </a:lnTo>
                    <a:lnTo>
                      <a:pt x="421" y="390"/>
                    </a:lnTo>
                    <a:close/>
                    <a:moveTo>
                      <a:pt x="501" y="581"/>
                    </a:moveTo>
                    <a:lnTo>
                      <a:pt x="502" y="581"/>
                    </a:lnTo>
                    <a:lnTo>
                      <a:pt x="501" y="581"/>
                    </a:lnTo>
                    <a:close/>
                    <a:moveTo>
                      <a:pt x="570" y="556"/>
                    </a:moveTo>
                    <a:lnTo>
                      <a:pt x="571" y="556"/>
                    </a:lnTo>
                    <a:lnTo>
                      <a:pt x="570" y="556"/>
                    </a:lnTo>
                    <a:close/>
                    <a:moveTo>
                      <a:pt x="583" y="453"/>
                    </a:moveTo>
                    <a:lnTo>
                      <a:pt x="584" y="453"/>
                    </a:lnTo>
                    <a:lnTo>
                      <a:pt x="584" y="454"/>
                    </a:lnTo>
                    <a:lnTo>
                      <a:pt x="583" y="454"/>
                    </a:lnTo>
                    <a:lnTo>
                      <a:pt x="583" y="453"/>
                    </a:lnTo>
                    <a:close/>
                    <a:moveTo>
                      <a:pt x="500" y="474"/>
                    </a:moveTo>
                    <a:lnTo>
                      <a:pt x="501" y="474"/>
                    </a:lnTo>
                    <a:lnTo>
                      <a:pt x="501" y="475"/>
                    </a:lnTo>
                    <a:lnTo>
                      <a:pt x="500" y="475"/>
                    </a:lnTo>
                    <a:lnTo>
                      <a:pt x="500" y="474"/>
                    </a:lnTo>
                    <a:close/>
                    <a:moveTo>
                      <a:pt x="440" y="525"/>
                    </a:moveTo>
                    <a:lnTo>
                      <a:pt x="440" y="526"/>
                    </a:lnTo>
                    <a:lnTo>
                      <a:pt x="440" y="525"/>
                    </a:lnTo>
                    <a:close/>
                    <a:moveTo>
                      <a:pt x="267" y="425"/>
                    </a:moveTo>
                    <a:lnTo>
                      <a:pt x="268" y="425"/>
                    </a:lnTo>
                    <a:lnTo>
                      <a:pt x="268" y="426"/>
                    </a:lnTo>
                    <a:lnTo>
                      <a:pt x="267" y="426"/>
                    </a:lnTo>
                    <a:lnTo>
                      <a:pt x="267" y="425"/>
                    </a:lnTo>
                    <a:close/>
                    <a:moveTo>
                      <a:pt x="427" y="390"/>
                    </a:moveTo>
                    <a:lnTo>
                      <a:pt x="427" y="391"/>
                    </a:lnTo>
                    <a:lnTo>
                      <a:pt x="427" y="390"/>
                    </a:lnTo>
                    <a:close/>
                    <a:moveTo>
                      <a:pt x="317" y="465"/>
                    </a:moveTo>
                    <a:lnTo>
                      <a:pt x="318" y="465"/>
                    </a:lnTo>
                    <a:lnTo>
                      <a:pt x="317" y="465"/>
                    </a:lnTo>
                    <a:close/>
                    <a:moveTo>
                      <a:pt x="305" y="392"/>
                    </a:moveTo>
                    <a:lnTo>
                      <a:pt x="305" y="393"/>
                    </a:lnTo>
                    <a:lnTo>
                      <a:pt x="305" y="392"/>
                    </a:lnTo>
                    <a:close/>
                    <a:moveTo>
                      <a:pt x="240" y="400"/>
                    </a:moveTo>
                    <a:lnTo>
                      <a:pt x="241" y="400"/>
                    </a:lnTo>
                    <a:lnTo>
                      <a:pt x="240" y="400"/>
                    </a:lnTo>
                    <a:close/>
                    <a:moveTo>
                      <a:pt x="570" y="554"/>
                    </a:moveTo>
                    <a:lnTo>
                      <a:pt x="571" y="554"/>
                    </a:lnTo>
                    <a:lnTo>
                      <a:pt x="570" y="554"/>
                    </a:lnTo>
                    <a:close/>
                    <a:moveTo>
                      <a:pt x="408" y="367"/>
                    </a:moveTo>
                    <a:lnTo>
                      <a:pt x="409" y="367"/>
                    </a:lnTo>
                    <a:lnTo>
                      <a:pt x="409" y="369"/>
                    </a:lnTo>
                    <a:lnTo>
                      <a:pt x="408" y="369"/>
                    </a:lnTo>
                    <a:lnTo>
                      <a:pt x="408" y="367"/>
                    </a:lnTo>
                    <a:close/>
                    <a:moveTo>
                      <a:pt x="450" y="529"/>
                    </a:moveTo>
                    <a:lnTo>
                      <a:pt x="451" y="529"/>
                    </a:lnTo>
                    <a:lnTo>
                      <a:pt x="450" y="529"/>
                    </a:lnTo>
                    <a:close/>
                    <a:moveTo>
                      <a:pt x="556" y="482"/>
                    </a:moveTo>
                    <a:lnTo>
                      <a:pt x="557" y="482"/>
                    </a:lnTo>
                    <a:lnTo>
                      <a:pt x="556" y="482"/>
                    </a:lnTo>
                    <a:close/>
                    <a:moveTo>
                      <a:pt x="570" y="565"/>
                    </a:moveTo>
                    <a:lnTo>
                      <a:pt x="571" y="565"/>
                    </a:lnTo>
                    <a:lnTo>
                      <a:pt x="571" y="566"/>
                    </a:lnTo>
                    <a:lnTo>
                      <a:pt x="570" y="566"/>
                    </a:lnTo>
                    <a:lnTo>
                      <a:pt x="570" y="565"/>
                    </a:lnTo>
                    <a:close/>
                    <a:moveTo>
                      <a:pt x="496" y="568"/>
                    </a:moveTo>
                    <a:lnTo>
                      <a:pt x="497" y="568"/>
                    </a:lnTo>
                    <a:lnTo>
                      <a:pt x="497" y="569"/>
                    </a:lnTo>
                    <a:lnTo>
                      <a:pt x="496" y="569"/>
                    </a:lnTo>
                    <a:lnTo>
                      <a:pt x="496" y="568"/>
                    </a:lnTo>
                    <a:close/>
                    <a:moveTo>
                      <a:pt x="194" y="402"/>
                    </a:moveTo>
                    <a:lnTo>
                      <a:pt x="194" y="403"/>
                    </a:lnTo>
                    <a:lnTo>
                      <a:pt x="194" y="402"/>
                    </a:lnTo>
                    <a:close/>
                    <a:moveTo>
                      <a:pt x="406" y="379"/>
                    </a:moveTo>
                    <a:lnTo>
                      <a:pt x="407" y="379"/>
                    </a:lnTo>
                    <a:lnTo>
                      <a:pt x="406" y="379"/>
                    </a:lnTo>
                    <a:close/>
                    <a:moveTo>
                      <a:pt x="208" y="411"/>
                    </a:moveTo>
                    <a:lnTo>
                      <a:pt x="208" y="412"/>
                    </a:lnTo>
                    <a:lnTo>
                      <a:pt x="208" y="411"/>
                    </a:lnTo>
                    <a:close/>
                    <a:moveTo>
                      <a:pt x="502" y="425"/>
                    </a:moveTo>
                    <a:lnTo>
                      <a:pt x="503" y="425"/>
                    </a:lnTo>
                    <a:lnTo>
                      <a:pt x="503" y="426"/>
                    </a:lnTo>
                    <a:lnTo>
                      <a:pt x="502" y="426"/>
                    </a:lnTo>
                    <a:lnTo>
                      <a:pt x="502" y="425"/>
                    </a:lnTo>
                    <a:close/>
                    <a:moveTo>
                      <a:pt x="600" y="510"/>
                    </a:moveTo>
                    <a:lnTo>
                      <a:pt x="601" y="510"/>
                    </a:lnTo>
                    <a:lnTo>
                      <a:pt x="600" y="510"/>
                    </a:lnTo>
                    <a:close/>
                    <a:moveTo>
                      <a:pt x="551" y="549"/>
                    </a:moveTo>
                    <a:lnTo>
                      <a:pt x="551" y="550"/>
                    </a:lnTo>
                    <a:lnTo>
                      <a:pt x="551" y="549"/>
                    </a:lnTo>
                    <a:close/>
                    <a:moveTo>
                      <a:pt x="269" y="399"/>
                    </a:moveTo>
                    <a:lnTo>
                      <a:pt x="270" y="399"/>
                    </a:lnTo>
                    <a:lnTo>
                      <a:pt x="270" y="400"/>
                    </a:lnTo>
                    <a:lnTo>
                      <a:pt x="269" y="400"/>
                    </a:lnTo>
                    <a:lnTo>
                      <a:pt x="269" y="399"/>
                    </a:lnTo>
                    <a:close/>
                    <a:moveTo>
                      <a:pt x="485" y="421"/>
                    </a:moveTo>
                    <a:lnTo>
                      <a:pt x="486" y="421"/>
                    </a:lnTo>
                    <a:lnTo>
                      <a:pt x="486" y="422"/>
                    </a:lnTo>
                    <a:lnTo>
                      <a:pt x="485" y="422"/>
                    </a:lnTo>
                    <a:lnTo>
                      <a:pt x="485" y="421"/>
                    </a:lnTo>
                    <a:close/>
                    <a:moveTo>
                      <a:pt x="321" y="466"/>
                    </a:moveTo>
                    <a:lnTo>
                      <a:pt x="323" y="466"/>
                    </a:lnTo>
                    <a:lnTo>
                      <a:pt x="323" y="467"/>
                    </a:lnTo>
                    <a:lnTo>
                      <a:pt x="321" y="467"/>
                    </a:lnTo>
                    <a:lnTo>
                      <a:pt x="321" y="466"/>
                    </a:lnTo>
                    <a:close/>
                    <a:moveTo>
                      <a:pt x="409" y="373"/>
                    </a:moveTo>
                    <a:lnTo>
                      <a:pt x="410" y="373"/>
                    </a:lnTo>
                    <a:lnTo>
                      <a:pt x="409" y="373"/>
                    </a:lnTo>
                    <a:close/>
                    <a:moveTo>
                      <a:pt x="291" y="391"/>
                    </a:moveTo>
                    <a:lnTo>
                      <a:pt x="292" y="391"/>
                    </a:lnTo>
                    <a:lnTo>
                      <a:pt x="291" y="391"/>
                    </a:lnTo>
                    <a:close/>
                    <a:moveTo>
                      <a:pt x="225" y="404"/>
                    </a:moveTo>
                    <a:lnTo>
                      <a:pt x="226" y="404"/>
                    </a:lnTo>
                    <a:lnTo>
                      <a:pt x="225" y="404"/>
                    </a:lnTo>
                    <a:close/>
                    <a:moveTo>
                      <a:pt x="270" y="399"/>
                    </a:moveTo>
                    <a:lnTo>
                      <a:pt x="271" y="399"/>
                    </a:lnTo>
                    <a:lnTo>
                      <a:pt x="271" y="400"/>
                    </a:lnTo>
                    <a:lnTo>
                      <a:pt x="270" y="400"/>
                    </a:lnTo>
                    <a:lnTo>
                      <a:pt x="270" y="399"/>
                    </a:lnTo>
                    <a:close/>
                    <a:moveTo>
                      <a:pt x="324" y="467"/>
                    </a:moveTo>
                    <a:lnTo>
                      <a:pt x="325" y="467"/>
                    </a:lnTo>
                    <a:lnTo>
                      <a:pt x="324" y="467"/>
                    </a:lnTo>
                    <a:close/>
                    <a:moveTo>
                      <a:pt x="290" y="391"/>
                    </a:moveTo>
                    <a:lnTo>
                      <a:pt x="291" y="391"/>
                    </a:lnTo>
                    <a:lnTo>
                      <a:pt x="290" y="391"/>
                    </a:lnTo>
                    <a:close/>
                    <a:moveTo>
                      <a:pt x="408" y="367"/>
                    </a:moveTo>
                    <a:lnTo>
                      <a:pt x="409" y="367"/>
                    </a:lnTo>
                    <a:lnTo>
                      <a:pt x="408" y="367"/>
                    </a:lnTo>
                    <a:close/>
                    <a:moveTo>
                      <a:pt x="490" y="443"/>
                    </a:moveTo>
                    <a:lnTo>
                      <a:pt x="491" y="443"/>
                    </a:lnTo>
                    <a:lnTo>
                      <a:pt x="490" y="443"/>
                    </a:lnTo>
                    <a:close/>
                    <a:moveTo>
                      <a:pt x="549" y="549"/>
                    </a:moveTo>
                    <a:lnTo>
                      <a:pt x="551" y="549"/>
                    </a:lnTo>
                    <a:lnTo>
                      <a:pt x="549" y="549"/>
                    </a:lnTo>
                    <a:close/>
                    <a:moveTo>
                      <a:pt x="395" y="364"/>
                    </a:moveTo>
                    <a:lnTo>
                      <a:pt x="396" y="364"/>
                    </a:lnTo>
                    <a:lnTo>
                      <a:pt x="395" y="364"/>
                    </a:lnTo>
                    <a:close/>
                    <a:moveTo>
                      <a:pt x="154" y="390"/>
                    </a:moveTo>
                    <a:lnTo>
                      <a:pt x="155" y="390"/>
                    </a:lnTo>
                    <a:lnTo>
                      <a:pt x="154" y="390"/>
                    </a:lnTo>
                    <a:close/>
                    <a:moveTo>
                      <a:pt x="492" y="429"/>
                    </a:moveTo>
                    <a:lnTo>
                      <a:pt x="493" y="429"/>
                    </a:lnTo>
                    <a:lnTo>
                      <a:pt x="492" y="429"/>
                    </a:lnTo>
                    <a:close/>
                    <a:moveTo>
                      <a:pt x="478" y="421"/>
                    </a:moveTo>
                    <a:lnTo>
                      <a:pt x="479" y="421"/>
                    </a:lnTo>
                    <a:lnTo>
                      <a:pt x="478" y="421"/>
                    </a:lnTo>
                    <a:close/>
                    <a:moveTo>
                      <a:pt x="484" y="418"/>
                    </a:moveTo>
                    <a:lnTo>
                      <a:pt x="484" y="420"/>
                    </a:lnTo>
                    <a:lnTo>
                      <a:pt x="484" y="418"/>
                    </a:lnTo>
                    <a:close/>
                    <a:moveTo>
                      <a:pt x="197" y="404"/>
                    </a:moveTo>
                    <a:lnTo>
                      <a:pt x="197" y="405"/>
                    </a:lnTo>
                    <a:lnTo>
                      <a:pt x="197" y="404"/>
                    </a:lnTo>
                    <a:close/>
                    <a:moveTo>
                      <a:pt x="451" y="596"/>
                    </a:moveTo>
                    <a:lnTo>
                      <a:pt x="451" y="597"/>
                    </a:lnTo>
                    <a:lnTo>
                      <a:pt x="451" y="596"/>
                    </a:lnTo>
                    <a:close/>
                    <a:moveTo>
                      <a:pt x="179" y="351"/>
                    </a:moveTo>
                    <a:lnTo>
                      <a:pt x="180" y="351"/>
                    </a:lnTo>
                    <a:lnTo>
                      <a:pt x="179" y="351"/>
                    </a:lnTo>
                    <a:close/>
                    <a:moveTo>
                      <a:pt x="244" y="390"/>
                    </a:moveTo>
                    <a:lnTo>
                      <a:pt x="245" y="390"/>
                    </a:lnTo>
                    <a:lnTo>
                      <a:pt x="245" y="391"/>
                    </a:lnTo>
                    <a:lnTo>
                      <a:pt x="244" y="391"/>
                    </a:lnTo>
                    <a:lnTo>
                      <a:pt x="244" y="390"/>
                    </a:lnTo>
                    <a:close/>
                    <a:moveTo>
                      <a:pt x="407" y="369"/>
                    </a:moveTo>
                    <a:lnTo>
                      <a:pt x="408" y="369"/>
                    </a:lnTo>
                    <a:lnTo>
                      <a:pt x="407" y="369"/>
                    </a:lnTo>
                    <a:close/>
                    <a:moveTo>
                      <a:pt x="499" y="434"/>
                    </a:moveTo>
                    <a:lnTo>
                      <a:pt x="500" y="434"/>
                    </a:lnTo>
                    <a:lnTo>
                      <a:pt x="500" y="435"/>
                    </a:lnTo>
                    <a:lnTo>
                      <a:pt x="499" y="435"/>
                    </a:lnTo>
                    <a:lnTo>
                      <a:pt x="499" y="434"/>
                    </a:lnTo>
                    <a:close/>
                    <a:moveTo>
                      <a:pt x="564" y="515"/>
                    </a:moveTo>
                    <a:lnTo>
                      <a:pt x="564" y="516"/>
                    </a:lnTo>
                    <a:lnTo>
                      <a:pt x="564" y="515"/>
                    </a:lnTo>
                    <a:close/>
                    <a:moveTo>
                      <a:pt x="485" y="453"/>
                    </a:moveTo>
                    <a:lnTo>
                      <a:pt x="486" y="453"/>
                    </a:lnTo>
                    <a:lnTo>
                      <a:pt x="486" y="454"/>
                    </a:lnTo>
                    <a:lnTo>
                      <a:pt x="485" y="454"/>
                    </a:lnTo>
                    <a:lnTo>
                      <a:pt x="485" y="453"/>
                    </a:lnTo>
                    <a:close/>
                    <a:moveTo>
                      <a:pt x="499" y="438"/>
                    </a:moveTo>
                    <a:lnTo>
                      <a:pt x="500" y="438"/>
                    </a:lnTo>
                    <a:lnTo>
                      <a:pt x="500" y="439"/>
                    </a:lnTo>
                    <a:lnTo>
                      <a:pt x="499" y="439"/>
                    </a:lnTo>
                    <a:lnTo>
                      <a:pt x="499" y="438"/>
                    </a:lnTo>
                    <a:close/>
                    <a:moveTo>
                      <a:pt x="319" y="466"/>
                    </a:moveTo>
                    <a:lnTo>
                      <a:pt x="320" y="466"/>
                    </a:lnTo>
                    <a:lnTo>
                      <a:pt x="319" y="466"/>
                    </a:lnTo>
                    <a:close/>
                    <a:moveTo>
                      <a:pt x="244" y="398"/>
                    </a:moveTo>
                    <a:lnTo>
                      <a:pt x="245" y="398"/>
                    </a:lnTo>
                    <a:lnTo>
                      <a:pt x="245" y="399"/>
                    </a:lnTo>
                    <a:lnTo>
                      <a:pt x="244" y="399"/>
                    </a:lnTo>
                    <a:lnTo>
                      <a:pt x="244" y="398"/>
                    </a:lnTo>
                    <a:close/>
                    <a:moveTo>
                      <a:pt x="243" y="392"/>
                    </a:moveTo>
                    <a:lnTo>
                      <a:pt x="243" y="393"/>
                    </a:lnTo>
                    <a:lnTo>
                      <a:pt x="243" y="392"/>
                    </a:lnTo>
                    <a:close/>
                    <a:moveTo>
                      <a:pt x="501" y="442"/>
                    </a:moveTo>
                    <a:lnTo>
                      <a:pt x="502" y="442"/>
                    </a:lnTo>
                    <a:lnTo>
                      <a:pt x="502" y="443"/>
                    </a:lnTo>
                    <a:lnTo>
                      <a:pt x="501" y="443"/>
                    </a:lnTo>
                    <a:lnTo>
                      <a:pt x="501" y="442"/>
                    </a:lnTo>
                    <a:close/>
                    <a:moveTo>
                      <a:pt x="243" y="390"/>
                    </a:moveTo>
                    <a:lnTo>
                      <a:pt x="244" y="390"/>
                    </a:lnTo>
                    <a:lnTo>
                      <a:pt x="244" y="391"/>
                    </a:lnTo>
                    <a:lnTo>
                      <a:pt x="243" y="391"/>
                    </a:lnTo>
                    <a:lnTo>
                      <a:pt x="243" y="390"/>
                    </a:lnTo>
                    <a:close/>
                    <a:moveTo>
                      <a:pt x="481" y="418"/>
                    </a:moveTo>
                    <a:lnTo>
                      <a:pt x="483" y="418"/>
                    </a:lnTo>
                    <a:lnTo>
                      <a:pt x="483" y="420"/>
                    </a:lnTo>
                    <a:lnTo>
                      <a:pt x="481" y="420"/>
                    </a:lnTo>
                    <a:lnTo>
                      <a:pt x="481" y="418"/>
                    </a:lnTo>
                    <a:close/>
                    <a:moveTo>
                      <a:pt x="255" y="397"/>
                    </a:moveTo>
                    <a:lnTo>
                      <a:pt x="256" y="397"/>
                    </a:lnTo>
                    <a:lnTo>
                      <a:pt x="255" y="397"/>
                    </a:lnTo>
                    <a:close/>
                    <a:moveTo>
                      <a:pt x="188" y="358"/>
                    </a:moveTo>
                    <a:lnTo>
                      <a:pt x="189" y="358"/>
                    </a:lnTo>
                    <a:lnTo>
                      <a:pt x="188" y="358"/>
                    </a:lnTo>
                    <a:close/>
                    <a:moveTo>
                      <a:pt x="154" y="389"/>
                    </a:moveTo>
                    <a:lnTo>
                      <a:pt x="155" y="389"/>
                    </a:lnTo>
                    <a:lnTo>
                      <a:pt x="155" y="390"/>
                    </a:lnTo>
                    <a:lnTo>
                      <a:pt x="154" y="390"/>
                    </a:lnTo>
                    <a:lnTo>
                      <a:pt x="154" y="389"/>
                    </a:lnTo>
                    <a:close/>
                    <a:moveTo>
                      <a:pt x="509" y="453"/>
                    </a:moveTo>
                    <a:lnTo>
                      <a:pt x="509" y="454"/>
                    </a:lnTo>
                    <a:lnTo>
                      <a:pt x="509" y="453"/>
                    </a:lnTo>
                    <a:close/>
                    <a:moveTo>
                      <a:pt x="413" y="549"/>
                    </a:moveTo>
                    <a:lnTo>
                      <a:pt x="413" y="550"/>
                    </a:lnTo>
                    <a:lnTo>
                      <a:pt x="413" y="549"/>
                    </a:lnTo>
                    <a:close/>
                    <a:moveTo>
                      <a:pt x="219" y="404"/>
                    </a:moveTo>
                    <a:lnTo>
                      <a:pt x="219" y="405"/>
                    </a:lnTo>
                    <a:lnTo>
                      <a:pt x="219" y="404"/>
                    </a:lnTo>
                    <a:close/>
                    <a:moveTo>
                      <a:pt x="395" y="366"/>
                    </a:moveTo>
                    <a:lnTo>
                      <a:pt x="395" y="367"/>
                    </a:lnTo>
                    <a:lnTo>
                      <a:pt x="395" y="366"/>
                    </a:lnTo>
                    <a:close/>
                    <a:moveTo>
                      <a:pt x="203" y="402"/>
                    </a:moveTo>
                    <a:lnTo>
                      <a:pt x="204" y="402"/>
                    </a:lnTo>
                    <a:lnTo>
                      <a:pt x="203" y="402"/>
                    </a:lnTo>
                    <a:close/>
                    <a:moveTo>
                      <a:pt x="244" y="398"/>
                    </a:moveTo>
                    <a:lnTo>
                      <a:pt x="244" y="399"/>
                    </a:lnTo>
                    <a:lnTo>
                      <a:pt x="244" y="398"/>
                    </a:lnTo>
                    <a:close/>
                    <a:moveTo>
                      <a:pt x="407" y="376"/>
                    </a:moveTo>
                    <a:lnTo>
                      <a:pt x="408" y="376"/>
                    </a:lnTo>
                    <a:lnTo>
                      <a:pt x="408" y="377"/>
                    </a:lnTo>
                    <a:lnTo>
                      <a:pt x="407" y="377"/>
                    </a:lnTo>
                    <a:lnTo>
                      <a:pt x="407" y="376"/>
                    </a:lnTo>
                    <a:close/>
                    <a:moveTo>
                      <a:pt x="295" y="389"/>
                    </a:moveTo>
                    <a:lnTo>
                      <a:pt x="296" y="389"/>
                    </a:lnTo>
                    <a:lnTo>
                      <a:pt x="295" y="389"/>
                    </a:lnTo>
                    <a:close/>
                    <a:moveTo>
                      <a:pt x="472" y="439"/>
                    </a:moveTo>
                    <a:lnTo>
                      <a:pt x="473" y="439"/>
                    </a:lnTo>
                    <a:lnTo>
                      <a:pt x="472" y="439"/>
                    </a:lnTo>
                    <a:close/>
                    <a:moveTo>
                      <a:pt x="575" y="556"/>
                    </a:moveTo>
                    <a:lnTo>
                      <a:pt x="576" y="556"/>
                    </a:lnTo>
                    <a:lnTo>
                      <a:pt x="575" y="556"/>
                    </a:lnTo>
                    <a:close/>
                    <a:moveTo>
                      <a:pt x="412" y="365"/>
                    </a:moveTo>
                    <a:lnTo>
                      <a:pt x="413" y="365"/>
                    </a:lnTo>
                    <a:lnTo>
                      <a:pt x="413" y="366"/>
                    </a:lnTo>
                    <a:lnTo>
                      <a:pt x="412" y="366"/>
                    </a:lnTo>
                    <a:lnTo>
                      <a:pt x="412" y="365"/>
                    </a:lnTo>
                    <a:close/>
                    <a:moveTo>
                      <a:pt x="555" y="549"/>
                    </a:moveTo>
                    <a:lnTo>
                      <a:pt x="556" y="549"/>
                    </a:lnTo>
                    <a:lnTo>
                      <a:pt x="555" y="549"/>
                    </a:lnTo>
                    <a:close/>
                    <a:moveTo>
                      <a:pt x="233" y="218"/>
                    </a:moveTo>
                    <a:lnTo>
                      <a:pt x="233" y="219"/>
                    </a:lnTo>
                    <a:lnTo>
                      <a:pt x="233" y="218"/>
                    </a:lnTo>
                    <a:close/>
                    <a:moveTo>
                      <a:pt x="337" y="469"/>
                    </a:moveTo>
                    <a:lnTo>
                      <a:pt x="338" y="469"/>
                    </a:lnTo>
                    <a:lnTo>
                      <a:pt x="337" y="469"/>
                    </a:lnTo>
                    <a:close/>
                    <a:moveTo>
                      <a:pt x="435" y="390"/>
                    </a:moveTo>
                    <a:lnTo>
                      <a:pt x="436" y="390"/>
                    </a:lnTo>
                    <a:lnTo>
                      <a:pt x="436" y="391"/>
                    </a:lnTo>
                    <a:lnTo>
                      <a:pt x="435" y="391"/>
                    </a:lnTo>
                    <a:lnTo>
                      <a:pt x="435" y="390"/>
                    </a:lnTo>
                    <a:close/>
                    <a:moveTo>
                      <a:pt x="490" y="472"/>
                    </a:moveTo>
                    <a:lnTo>
                      <a:pt x="491" y="472"/>
                    </a:lnTo>
                    <a:lnTo>
                      <a:pt x="491" y="473"/>
                    </a:lnTo>
                    <a:lnTo>
                      <a:pt x="490" y="473"/>
                    </a:lnTo>
                    <a:lnTo>
                      <a:pt x="490" y="472"/>
                    </a:lnTo>
                    <a:close/>
                    <a:moveTo>
                      <a:pt x="503" y="455"/>
                    </a:moveTo>
                    <a:lnTo>
                      <a:pt x="504" y="455"/>
                    </a:lnTo>
                    <a:lnTo>
                      <a:pt x="504" y="456"/>
                    </a:lnTo>
                    <a:lnTo>
                      <a:pt x="503" y="456"/>
                    </a:lnTo>
                    <a:lnTo>
                      <a:pt x="503" y="455"/>
                    </a:lnTo>
                    <a:close/>
                    <a:moveTo>
                      <a:pt x="433" y="396"/>
                    </a:moveTo>
                    <a:lnTo>
                      <a:pt x="433" y="398"/>
                    </a:lnTo>
                    <a:lnTo>
                      <a:pt x="433" y="396"/>
                    </a:lnTo>
                    <a:close/>
                    <a:moveTo>
                      <a:pt x="179" y="364"/>
                    </a:moveTo>
                    <a:lnTo>
                      <a:pt x="180" y="364"/>
                    </a:lnTo>
                    <a:lnTo>
                      <a:pt x="179" y="364"/>
                    </a:lnTo>
                    <a:close/>
                    <a:moveTo>
                      <a:pt x="419" y="547"/>
                    </a:moveTo>
                    <a:lnTo>
                      <a:pt x="419" y="549"/>
                    </a:lnTo>
                    <a:lnTo>
                      <a:pt x="419" y="547"/>
                    </a:lnTo>
                    <a:close/>
                    <a:moveTo>
                      <a:pt x="222" y="408"/>
                    </a:moveTo>
                    <a:lnTo>
                      <a:pt x="223" y="408"/>
                    </a:lnTo>
                    <a:lnTo>
                      <a:pt x="223" y="409"/>
                    </a:lnTo>
                    <a:lnTo>
                      <a:pt x="222" y="409"/>
                    </a:lnTo>
                    <a:lnTo>
                      <a:pt x="222" y="408"/>
                    </a:lnTo>
                    <a:close/>
                    <a:moveTo>
                      <a:pt x="568" y="552"/>
                    </a:moveTo>
                    <a:lnTo>
                      <a:pt x="568" y="553"/>
                    </a:lnTo>
                    <a:lnTo>
                      <a:pt x="568" y="552"/>
                    </a:lnTo>
                    <a:close/>
                    <a:moveTo>
                      <a:pt x="269" y="399"/>
                    </a:moveTo>
                    <a:lnTo>
                      <a:pt x="270" y="399"/>
                    </a:lnTo>
                    <a:lnTo>
                      <a:pt x="269" y="399"/>
                    </a:lnTo>
                    <a:close/>
                    <a:moveTo>
                      <a:pt x="510" y="452"/>
                    </a:moveTo>
                    <a:lnTo>
                      <a:pt x="510" y="453"/>
                    </a:lnTo>
                    <a:lnTo>
                      <a:pt x="510" y="452"/>
                    </a:lnTo>
                    <a:close/>
                    <a:moveTo>
                      <a:pt x="195" y="405"/>
                    </a:moveTo>
                    <a:lnTo>
                      <a:pt x="196" y="405"/>
                    </a:lnTo>
                    <a:lnTo>
                      <a:pt x="196" y="406"/>
                    </a:lnTo>
                    <a:lnTo>
                      <a:pt x="195" y="406"/>
                    </a:lnTo>
                    <a:lnTo>
                      <a:pt x="195" y="405"/>
                    </a:lnTo>
                    <a:close/>
                    <a:moveTo>
                      <a:pt x="500" y="434"/>
                    </a:moveTo>
                    <a:lnTo>
                      <a:pt x="500" y="435"/>
                    </a:lnTo>
                    <a:lnTo>
                      <a:pt x="500" y="434"/>
                    </a:lnTo>
                    <a:close/>
                    <a:moveTo>
                      <a:pt x="271" y="422"/>
                    </a:moveTo>
                    <a:lnTo>
                      <a:pt x="271" y="423"/>
                    </a:lnTo>
                    <a:lnTo>
                      <a:pt x="271" y="422"/>
                    </a:lnTo>
                    <a:close/>
                    <a:moveTo>
                      <a:pt x="574" y="553"/>
                    </a:moveTo>
                    <a:lnTo>
                      <a:pt x="575" y="553"/>
                    </a:lnTo>
                    <a:lnTo>
                      <a:pt x="575" y="554"/>
                    </a:lnTo>
                    <a:lnTo>
                      <a:pt x="574" y="554"/>
                    </a:lnTo>
                    <a:lnTo>
                      <a:pt x="574" y="553"/>
                    </a:lnTo>
                    <a:close/>
                    <a:moveTo>
                      <a:pt x="484" y="424"/>
                    </a:moveTo>
                    <a:lnTo>
                      <a:pt x="484" y="425"/>
                    </a:lnTo>
                    <a:lnTo>
                      <a:pt x="484" y="424"/>
                    </a:lnTo>
                    <a:close/>
                    <a:moveTo>
                      <a:pt x="412" y="549"/>
                    </a:moveTo>
                    <a:lnTo>
                      <a:pt x="413" y="549"/>
                    </a:lnTo>
                    <a:lnTo>
                      <a:pt x="412" y="549"/>
                    </a:lnTo>
                    <a:close/>
                    <a:moveTo>
                      <a:pt x="269" y="409"/>
                    </a:moveTo>
                    <a:lnTo>
                      <a:pt x="270" y="409"/>
                    </a:lnTo>
                    <a:lnTo>
                      <a:pt x="269" y="409"/>
                    </a:lnTo>
                    <a:close/>
                    <a:moveTo>
                      <a:pt x="242" y="406"/>
                    </a:moveTo>
                    <a:lnTo>
                      <a:pt x="243" y="406"/>
                    </a:lnTo>
                    <a:lnTo>
                      <a:pt x="242" y="406"/>
                    </a:lnTo>
                    <a:close/>
                    <a:moveTo>
                      <a:pt x="568" y="550"/>
                    </a:moveTo>
                    <a:lnTo>
                      <a:pt x="568" y="551"/>
                    </a:lnTo>
                    <a:lnTo>
                      <a:pt x="568" y="550"/>
                    </a:lnTo>
                    <a:close/>
                    <a:moveTo>
                      <a:pt x="168" y="412"/>
                    </a:moveTo>
                    <a:lnTo>
                      <a:pt x="169" y="412"/>
                    </a:lnTo>
                    <a:lnTo>
                      <a:pt x="168" y="412"/>
                    </a:lnTo>
                    <a:close/>
                    <a:moveTo>
                      <a:pt x="475" y="426"/>
                    </a:moveTo>
                    <a:lnTo>
                      <a:pt x="475" y="427"/>
                    </a:lnTo>
                    <a:lnTo>
                      <a:pt x="475" y="426"/>
                    </a:lnTo>
                    <a:close/>
                    <a:moveTo>
                      <a:pt x="475" y="603"/>
                    </a:moveTo>
                    <a:lnTo>
                      <a:pt x="476" y="603"/>
                    </a:lnTo>
                    <a:lnTo>
                      <a:pt x="475" y="603"/>
                    </a:lnTo>
                    <a:close/>
                    <a:moveTo>
                      <a:pt x="406" y="378"/>
                    </a:moveTo>
                    <a:lnTo>
                      <a:pt x="407" y="378"/>
                    </a:lnTo>
                    <a:lnTo>
                      <a:pt x="406" y="378"/>
                    </a:lnTo>
                    <a:close/>
                    <a:moveTo>
                      <a:pt x="484" y="420"/>
                    </a:moveTo>
                    <a:lnTo>
                      <a:pt x="484" y="421"/>
                    </a:lnTo>
                    <a:lnTo>
                      <a:pt x="484" y="420"/>
                    </a:lnTo>
                    <a:close/>
                    <a:moveTo>
                      <a:pt x="320" y="466"/>
                    </a:moveTo>
                    <a:lnTo>
                      <a:pt x="321" y="466"/>
                    </a:lnTo>
                    <a:lnTo>
                      <a:pt x="320" y="466"/>
                    </a:lnTo>
                    <a:close/>
                    <a:moveTo>
                      <a:pt x="241" y="204"/>
                    </a:moveTo>
                    <a:lnTo>
                      <a:pt x="242" y="204"/>
                    </a:lnTo>
                    <a:lnTo>
                      <a:pt x="242" y="205"/>
                    </a:lnTo>
                    <a:lnTo>
                      <a:pt x="241" y="205"/>
                    </a:lnTo>
                    <a:lnTo>
                      <a:pt x="241" y="204"/>
                    </a:lnTo>
                    <a:close/>
                    <a:moveTo>
                      <a:pt x="409" y="369"/>
                    </a:moveTo>
                    <a:lnTo>
                      <a:pt x="410" y="369"/>
                    </a:lnTo>
                    <a:lnTo>
                      <a:pt x="409" y="369"/>
                    </a:lnTo>
                    <a:close/>
                    <a:moveTo>
                      <a:pt x="322" y="466"/>
                    </a:moveTo>
                    <a:lnTo>
                      <a:pt x="323" y="466"/>
                    </a:lnTo>
                    <a:lnTo>
                      <a:pt x="322" y="466"/>
                    </a:lnTo>
                    <a:close/>
                    <a:moveTo>
                      <a:pt x="127" y="382"/>
                    </a:moveTo>
                    <a:lnTo>
                      <a:pt x="128" y="382"/>
                    </a:lnTo>
                    <a:lnTo>
                      <a:pt x="127" y="382"/>
                    </a:lnTo>
                    <a:close/>
                    <a:moveTo>
                      <a:pt x="220" y="403"/>
                    </a:moveTo>
                    <a:lnTo>
                      <a:pt x="221" y="403"/>
                    </a:lnTo>
                    <a:lnTo>
                      <a:pt x="220" y="403"/>
                    </a:lnTo>
                    <a:close/>
                    <a:moveTo>
                      <a:pt x="331" y="338"/>
                    </a:moveTo>
                    <a:lnTo>
                      <a:pt x="331" y="339"/>
                    </a:lnTo>
                    <a:lnTo>
                      <a:pt x="331" y="338"/>
                    </a:lnTo>
                    <a:close/>
                    <a:moveTo>
                      <a:pt x="503" y="557"/>
                    </a:moveTo>
                    <a:lnTo>
                      <a:pt x="503" y="558"/>
                    </a:lnTo>
                    <a:lnTo>
                      <a:pt x="503" y="557"/>
                    </a:lnTo>
                    <a:close/>
                    <a:moveTo>
                      <a:pt x="586" y="506"/>
                    </a:moveTo>
                    <a:lnTo>
                      <a:pt x="586" y="507"/>
                    </a:lnTo>
                    <a:lnTo>
                      <a:pt x="586" y="506"/>
                    </a:lnTo>
                    <a:close/>
                    <a:moveTo>
                      <a:pt x="496" y="566"/>
                    </a:moveTo>
                    <a:lnTo>
                      <a:pt x="496" y="567"/>
                    </a:lnTo>
                    <a:lnTo>
                      <a:pt x="496" y="566"/>
                    </a:lnTo>
                    <a:close/>
                    <a:moveTo>
                      <a:pt x="490" y="425"/>
                    </a:moveTo>
                    <a:lnTo>
                      <a:pt x="491" y="425"/>
                    </a:lnTo>
                    <a:lnTo>
                      <a:pt x="490" y="425"/>
                    </a:lnTo>
                    <a:close/>
                    <a:moveTo>
                      <a:pt x="505" y="453"/>
                    </a:moveTo>
                    <a:lnTo>
                      <a:pt x="506" y="453"/>
                    </a:lnTo>
                    <a:lnTo>
                      <a:pt x="506" y="454"/>
                    </a:lnTo>
                    <a:lnTo>
                      <a:pt x="505" y="454"/>
                    </a:lnTo>
                    <a:lnTo>
                      <a:pt x="505" y="453"/>
                    </a:lnTo>
                    <a:close/>
                    <a:moveTo>
                      <a:pt x="506" y="559"/>
                    </a:moveTo>
                    <a:lnTo>
                      <a:pt x="507" y="559"/>
                    </a:lnTo>
                    <a:lnTo>
                      <a:pt x="506" y="559"/>
                    </a:lnTo>
                    <a:close/>
                    <a:moveTo>
                      <a:pt x="449" y="598"/>
                    </a:moveTo>
                    <a:lnTo>
                      <a:pt x="449" y="600"/>
                    </a:lnTo>
                    <a:lnTo>
                      <a:pt x="449" y="598"/>
                    </a:lnTo>
                    <a:close/>
                    <a:moveTo>
                      <a:pt x="567" y="460"/>
                    </a:moveTo>
                    <a:lnTo>
                      <a:pt x="567" y="461"/>
                    </a:lnTo>
                    <a:lnTo>
                      <a:pt x="567" y="460"/>
                    </a:lnTo>
                    <a:close/>
                    <a:moveTo>
                      <a:pt x="188" y="354"/>
                    </a:moveTo>
                    <a:lnTo>
                      <a:pt x="189" y="354"/>
                    </a:lnTo>
                    <a:lnTo>
                      <a:pt x="189" y="356"/>
                    </a:lnTo>
                    <a:lnTo>
                      <a:pt x="188" y="356"/>
                    </a:lnTo>
                    <a:lnTo>
                      <a:pt x="188" y="354"/>
                    </a:lnTo>
                    <a:close/>
                    <a:moveTo>
                      <a:pt x="552" y="547"/>
                    </a:moveTo>
                    <a:lnTo>
                      <a:pt x="552" y="549"/>
                    </a:lnTo>
                    <a:lnTo>
                      <a:pt x="552" y="547"/>
                    </a:lnTo>
                    <a:close/>
                    <a:moveTo>
                      <a:pt x="461" y="615"/>
                    </a:moveTo>
                    <a:lnTo>
                      <a:pt x="462" y="615"/>
                    </a:lnTo>
                    <a:lnTo>
                      <a:pt x="462" y="616"/>
                    </a:lnTo>
                    <a:lnTo>
                      <a:pt x="461" y="616"/>
                    </a:lnTo>
                    <a:lnTo>
                      <a:pt x="461" y="615"/>
                    </a:lnTo>
                    <a:close/>
                    <a:moveTo>
                      <a:pt x="394" y="366"/>
                    </a:moveTo>
                    <a:lnTo>
                      <a:pt x="394" y="367"/>
                    </a:lnTo>
                    <a:lnTo>
                      <a:pt x="394" y="366"/>
                    </a:lnTo>
                    <a:close/>
                    <a:moveTo>
                      <a:pt x="447" y="370"/>
                    </a:moveTo>
                    <a:lnTo>
                      <a:pt x="447" y="371"/>
                    </a:lnTo>
                    <a:lnTo>
                      <a:pt x="447" y="370"/>
                    </a:lnTo>
                    <a:close/>
                    <a:moveTo>
                      <a:pt x="323" y="466"/>
                    </a:moveTo>
                    <a:lnTo>
                      <a:pt x="324" y="466"/>
                    </a:lnTo>
                    <a:lnTo>
                      <a:pt x="323" y="466"/>
                    </a:lnTo>
                    <a:close/>
                    <a:moveTo>
                      <a:pt x="569" y="566"/>
                    </a:moveTo>
                    <a:lnTo>
                      <a:pt x="569" y="567"/>
                    </a:lnTo>
                    <a:lnTo>
                      <a:pt x="569" y="566"/>
                    </a:lnTo>
                    <a:close/>
                    <a:moveTo>
                      <a:pt x="488" y="465"/>
                    </a:moveTo>
                    <a:lnTo>
                      <a:pt x="489" y="465"/>
                    </a:lnTo>
                    <a:lnTo>
                      <a:pt x="488" y="465"/>
                    </a:lnTo>
                    <a:close/>
                    <a:moveTo>
                      <a:pt x="161" y="390"/>
                    </a:moveTo>
                    <a:lnTo>
                      <a:pt x="162" y="390"/>
                    </a:lnTo>
                    <a:lnTo>
                      <a:pt x="162" y="391"/>
                    </a:lnTo>
                    <a:lnTo>
                      <a:pt x="161" y="391"/>
                    </a:lnTo>
                    <a:lnTo>
                      <a:pt x="161" y="390"/>
                    </a:lnTo>
                    <a:close/>
                    <a:moveTo>
                      <a:pt x="254" y="398"/>
                    </a:moveTo>
                    <a:lnTo>
                      <a:pt x="255" y="398"/>
                    </a:lnTo>
                    <a:lnTo>
                      <a:pt x="254" y="398"/>
                    </a:lnTo>
                    <a:close/>
                    <a:moveTo>
                      <a:pt x="232" y="225"/>
                    </a:moveTo>
                    <a:lnTo>
                      <a:pt x="233" y="225"/>
                    </a:lnTo>
                    <a:lnTo>
                      <a:pt x="232" y="225"/>
                    </a:lnTo>
                    <a:close/>
                    <a:moveTo>
                      <a:pt x="416" y="543"/>
                    </a:moveTo>
                    <a:lnTo>
                      <a:pt x="418" y="543"/>
                    </a:lnTo>
                    <a:lnTo>
                      <a:pt x="418" y="544"/>
                    </a:lnTo>
                    <a:lnTo>
                      <a:pt x="416" y="544"/>
                    </a:lnTo>
                    <a:lnTo>
                      <a:pt x="416" y="543"/>
                    </a:lnTo>
                    <a:close/>
                    <a:moveTo>
                      <a:pt x="407" y="370"/>
                    </a:moveTo>
                    <a:lnTo>
                      <a:pt x="408" y="370"/>
                    </a:lnTo>
                    <a:lnTo>
                      <a:pt x="407" y="370"/>
                    </a:lnTo>
                    <a:close/>
                    <a:moveTo>
                      <a:pt x="494" y="429"/>
                    </a:moveTo>
                    <a:lnTo>
                      <a:pt x="496" y="429"/>
                    </a:lnTo>
                    <a:lnTo>
                      <a:pt x="494" y="429"/>
                    </a:lnTo>
                    <a:close/>
                    <a:moveTo>
                      <a:pt x="574" y="556"/>
                    </a:moveTo>
                    <a:lnTo>
                      <a:pt x="575" y="556"/>
                    </a:lnTo>
                    <a:lnTo>
                      <a:pt x="575" y="557"/>
                    </a:lnTo>
                    <a:lnTo>
                      <a:pt x="574" y="557"/>
                    </a:lnTo>
                    <a:lnTo>
                      <a:pt x="574" y="556"/>
                    </a:lnTo>
                    <a:close/>
                    <a:moveTo>
                      <a:pt x="554" y="547"/>
                    </a:moveTo>
                    <a:lnTo>
                      <a:pt x="555" y="547"/>
                    </a:lnTo>
                    <a:lnTo>
                      <a:pt x="554" y="547"/>
                    </a:lnTo>
                    <a:close/>
                    <a:moveTo>
                      <a:pt x="549" y="546"/>
                    </a:moveTo>
                    <a:lnTo>
                      <a:pt x="550" y="546"/>
                    </a:lnTo>
                    <a:lnTo>
                      <a:pt x="549" y="546"/>
                    </a:lnTo>
                    <a:close/>
                    <a:moveTo>
                      <a:pt x="556" y="551"/>
                    </a:moveTo>
                    <a:lnTo>
                      <a:pt x="556" y="552"/>
                    </a:lnTo>
                    <a:lnTo>
                      <a:pt x="556" y="551"/>
                    </a:lnTo>
                    <a:close/>
                    <a:moveTo>
                      <a:pt x="182" y="356"/>
                    </a:moveTo>
                    <a:lnTo>
                      <a:pt x="183" y="356"/>
                    </a:lnTo>
                    <a:lnTo>
                      <a:pt x="183" y="357"/>
                    </a:lnTo>
                    <a:lnTo>
                      <a:pt x="182" y="357"/>
                    </a:lnTo>
                    <a:lnTo>
                      <a:pt x="182" y="356"/>
                    </a:lnTo>
                    <a:close/>
                    <a:moveTo>
                      <a:pt x="463" y="443"/>
                    </a:moveTo>
                    <a:lnTo>
                      <a:pt x="464" y="443"/>
                    </a:lnTo>
                    <a:lnTo>
                      <a:pt x="464" y="444"/>
                    </a:lnTo>
                    <a:lnTo>
                      <a:pt x="463" y="444"/>
                    </a:lnTo>
                    <a:lnTo>
                      <a:pt x="463" y="443"/>
                    </a:lnTo>
                    <a:close/>
                    <a:moveTo>
                      <a:pt x="473" y="552"/>
                    </a:moveTo>
                    <a:lnTo>
                      <a:pt x="474" y="552"/>
                    </a:lnTo>
                    <a:lnTo>
                      <a:pt x="473" y="552"/>
                    </a:lnTo>
                    <a:close/>
                    <a:moveTo>
                      <a:pt x="490" y="462"/>
                    </a:moveTo>
                    <a:lnTo>
                      <a:pt x="490" y="463"/>
                    </a:lnTo>
                    <a:lnTo>
                      <a:pt x="490" y="462"/>
                    </a:lnTo>
                    <a:close/>
                    <a:moveTo>
                      <a:pt x="390" y="362"/>
                    </a:moveTo>
                    <a:lnTo>
                      <a:pt x="391" y="362"/>
                    </a:lnTo>
                    <a:lnTo>
                      <a:pt x="390" y="362"/>
                    </a:lnTo>
                    <a:close/>
                    <a:moveTo>
                      <a:pt x="468" y="596"/>
                    </a:moveTo>
                    <a:lnTo>
                      <a:pt x="470" y="596"/>
                    </a:lnTo>
                    <a:lnTo>
                      <a:pt x="470" y="597"/>
                    </a:lnTo>
                    <a:lnTo>
                      <a:pt x="468" y="597"/>
                    </a:lnTo>
                    <a:lnTo>
                      <a:pt x="468" y="596"/>
                    </a:lnTo>
                    <a:close/>
                    <a:moveTo>
                      <a:pt x="413" y="365"/>
                    </a:moveTo>
                    <a:lnTo>
                      <a:pt x="413" y="366"/>
                    </a:lnTo>
                    <a:lnTo>
                      <a:pt x="413" y="365"/>
                    </a:lnTo>
                    <a:close/>
                    <a:moveTo>
                      <a:pt x="426" y="392"/>
                    </a:moveTo>
                    <a:lnTo>
                      <a:pt x="426" y="393"/>
                    </a:lnTo>
                    <a:lnTo>
                      <a:pt x="426" y="392"/>
                    </a:lnTo>
                    <a:close/>
                    <a:moveTo>
                      <a:pt x="330" y="343"/>
                    </a:moveTo>
                    <a:lnTo>
                      <a:pt x="331" y="343"/>
                    </a:lnTo>
                    <a:lnTo>
                      <a:pt x="330" y="343"/>
                    </a:lnTo>
                    <a:close/>
                    <a:moveTo>
                      <a:pt x="322" y="467"/>
                    </a:moveTo>
                    <a:lnTo>
                      <a:pt x="323" y="467"/>
                    </a:lnTo>
                    <a:lnTo>
                      <a:pt x="322" y="467"/>
                    </a:lnTo>
                    <a:close/>
                    <a:moveTo>
                      <a:pt x="313" y="456"/>
                    </a:moveTo>
                    <a:lnTo>
                      <a:pt x="315" y="456"/>
                    </a:lnTo>
                    <a:lnTo>
                      <a:pt x="313" y="456"/>
                    </a:lnTo>
                    <a:close/>
                    <a:moveTo>
                      <a:pt x="436" y="526"/>
                    </a:moveTo>
                    <a:lnTo>
                      <a:pt x="436" y="527"/>
                    </a:lnTo>
                    <a:lnTo>
                      <a:pt x="436" y="526"/>
                    </a:lnTo>
                    <a:close/>
                    <a:moveTo>
                      <a:pt x="178" y="412"/>
                    </a:moveTo>
                    <a:lnTo>
                      <a:pt x="179" y="412"/>
                    </a:lnTo>
                    <a:lnTo>
                      <a:pt x="179" y="413"/>
                    </a:lnTo>
                    <a:lnTo>
                      <a:pt x="178" y="413"/>
                    </a:lnTo>
                    <a:lnTo>
                      <a:pt x="178" y="412"/>
                    </a:lnTo>
                    <a:close/>
                    <a:moveTo>
                      <a:pt x="325" y="466"/>
                    </a:moveTo>
                    <a:lnTo>
                      <a:pt x="325" y="467"/>
                    </a:lnTo>
                    <a:lnTo>
                      <a:pt x="325" y="466"/>
                    </a:lnTo>
                    <a:close/>
                    <a:moveTo>
                      <a:pt x="309" y="457"/>
                    </a:moveTo>
                    <a:lnTo>
                      <a:pt x="310" y="457"/>
                    </a:lnTo>
                    <a:lnTo>
                      <a:pt x="310" y="459"/>
                    </a:lnTo>
                    <a:lnTo>
                      <a:pt x="309" y="459"/>
                    </a:lnTo>
                    <a:lnTo>
                      <a:pt x="309" y="457"/>
                    </a:lnTo>
                    <a:close/>
                    <a:moveTo>
                      <a:pt x="447" y="530"/>
                    </a:moveTo>
                    <a:lnTo>
                      <a:pt x="448" y="530"/>
                    </a:lnTo>
                    <a:lnTo>
                      <a:pt x="448" y="531"/>
                    </a:lnTo>
                    <a:lnTo>
                      <a:pt x="447" y="531"/>
                    </a:lnTo>
                    <a:lnTo>
                      <a:pt x="447" y="530"/>
                    </a:lnTo>
                    <a:close/>
                    <a:moveTo>
                      <a:pt x="452" y="596"/>
                    </a:moveTo>
                    <a:lnTo>
                      <a:pt x="453" y="596"/>
                    </a:lnTo>
                    <a:lnTo>
                      <a:pt x="452" y="596"/>
                    </a:lnTo>
                    <a:close/>
                    <a:moveTo>
                      <a:pt x="416" y="388"/>
                    </a:moveTo>
                    <a:lnTo>
                      <a:pt x="416" y="389"/>
                    </a:lnTo>
                    <a:lnTo>
                      <a:pt x="416" y="388"/>
                    </a:lnTo>
                    <a:close/>
                    <a:moveTo>
                      <a:pt x="423" y="378"/>
                    </a:moveTo>
                    <a:lnTo>
                      <a:pt x="423" y="379"/>
                    </a:lnTo>
                    <a:lnTo>
                      <a:pt x="423" y="378"/>
                    </a:lnTo>
                    <a:close/>
                    <a:moveTo>
                      <a:pt x="206" y="415"/>
                    </a:moveTo>
                    <a:lnTo>
                      <a:pt x="207" y="415"/>
                    </a:lnTo>
                    <a:lnTo>
                      <a:pt x="206" y="415"/>
                    </a:lnTo>
                    <a:close/>
                    <a:moveTo>
                      <a:pt x="477" y="547"/>
                    </a:moveTo>
                    <a:lnTo>
                      <a:pt x="477" y="549"/>
                    </a:lnTo>
                    <a:lnTo>
                      <a:pt x="477" y="547"/>
                    </a:lnTo>
                    <a:close/>
                    <a:moveTo>
                      <a:pt x="445" y="516"/>
                    </a:moveTo>
                    <a:lnTo>
                      <a:pt x="446" y="516"/>
                    </a:lnTo>
                    <a:lnTo>
                      <a:pt x="445" y="516"/>
                    </a:lnTo>
                    <a:close/>
                    <a:moveTo>
                      <a:pt x="242" y="399"/>
                    </a:moveTo>
                    <a:lnTo>
                      <a:pt x="243" y="399"/>
                    </a:lnTo>
                    <a:lnTo>
                      <a:pt x="242" y="399"/>
                    </a:lnTo>
                    <a:close/>
                    <a:moveTo>
                      <a:pt x="437" y="536"/>
                    </a:moveTo>
                    <a:lnTo>
                      <a:pt x="438" y="536"/>
                    </a:lnTo>
                    <a:lnTo>
                      <a:pt x="437" y="536"/>
                    </a:lnTo>
                    <a:close/>
                    <a:moveTo>
                      <a:pt x="193" y="351"/>
                    </a:moveTo>
                    <a:lnTo>
                      <a:pt x="194" y="351"/>
                    </a:lnTo>
                    <a:lnTo>
                      <a:pt x="193" y="351"/>
                    </a:lnTo>
                    <a:close/>
                    <a:moveTo>
                      <a:pt x="483" y="426"/>
                    </a:moveTo>
                    <a:lnTo>
                      <a:pt x="484" y="426"/>
                    </a:lnTo>
                    <a:lnTo>
                      <a:pt x="484" y="427"/>
                    </a:lnTo>
                    <a:lnTo>
                      <a:pt x="483" y="427"/>
                    </a:lnTo>
                    <a:lnTo>
                      <a:pt x="483" y="426"/>
                    </a:lnTo>
                    <a:close/>
                    <a:moveTo>
                      <a:pt x="235" y="391"/>
                    </a:moveTo>
                    <a:lnTo>
                      <a:pt x="236" y="391"/>
                    </a:lnTo>
                    <a:lnTo>
                      <a:pt x="235" y="391"/>
                    </a:lnTo>
                    <a:close/>
                    <a:moveTo>
                      <a:pt x="156" y="390"/>
                    </a:moveTo>
                    <a:lnTo>
                      <a:pt x="156" y="391"/>
                    </a:lnTo>
                    <a:lnTo>
                      <a:pt x="156" y="390"/>
                    </a:lnTo>
                    <a:close/>
                    <a:moveTo>
                      <a:pt x="210" y="418"/>
                    </a:moveTo>
                    <a:lnTo>
                      <a:pt x="210" y="420"/>
                    </a:lnTo>
                    <a:lnTo>
                      <a:pt x="210" y="418"/>
                    </a:lnTo>
                    <a:close/>
                    <a:moveTo>
                      <a:pt x="502" y="592"/>
                    </a:moveTo>
                    <a:lnTo>
                      <a:pt x="503" y="592"/>
                    </a:lnTo>
                    <a:lnTo>
                      <a:pt x="502" y="592"/>
                    </a:lnTo>
                    <a:close/>
                    <a:moveTo>
                      <a:pt x="503" y="562"/>
                    </a:moveTo>
                    <a:lnTo>
                      <a:pt x="504" y="562"/>
                    </a:lnTo>
                    <a:lnTo>
                      <a:pt x="503" y="562"/>
                    </a:lnTo>
                    <a:close/>
                    <a:moveTo>
                      <a:pt x="188" y="352"/>
                    </a:moveTo>
                    <a:lnTo>
                      <a:pt x="189" y="352"/>
                    </a:lnTo>
                    <a:lnTo>
                      <a:pt x="188" y="352"/>
                    </a:lnTo>
                    <a:close/>
                    <a:moveTo>
                      <a:pt x="404" y="375"/>
                    </a:moveTo>
                    <a:lnTo>
                      <a:pt x="406" y="375"/>
                    </a:lnTo>
                    <a:lnTo>
                      <a:pt x="406" y="376"/>
                    </a:lnTo>
                    <a:lnTo>
                      <a:pt x="404" y="376"/>
                    </a:lnTo>
                    <a:lnTo>
                      <a:pt x="404" y="375"/>
                    </a:lnTo>
                    <a:close/>
                    <a:moveTo>
                      <a:pt x="498" y="434"/>
                    </a:moveTo>
                    <a:lnTo>
                      <a:pt x="498" y="435"/>
                    </a:lnTo>
                    <a:lnTo>
                      <a:pt x="498" y="434"/>
                    </a:lnTo>
                    <a:close/>
                    <a:moveTo>
                      <a:pt x="442" y="540"/>
                    </a:moveTo>
                    <a:lnTo>
                      <a:pt x="442" y="541"/>
                    </a:lnTo>
                    <a:lnTo>
                      <a:pt x="442" y="540"/>
                    </a:lnTo>
                    <a:close/>
                    <a:moveTo>
                      <a:pt x="236" y="387"/>
                    </a:moveTo>
                    <a:lnTo>
                      <a:pt x="236" y="388"/>
                    </a:lnTo>
                    <a:lnTo>
                      <a:pt x="236" y="387"/>
                    </a:lnTo>
                    <a:close/>
                    <a:moveTo>
                      <a:pt x="395" y="366"/>
                    </a:moveTo>
                    <a:lnTo>
                      <a:pt x="396" y="366"/>
                    </a:lnTo>
                    <a:lnTo>
                      <a:pt x="396" y="367"/>
                    </a:lnTo>
                    <a:lnTo>
                      <a:pt x="395" y="367"/>
                    </a:lnTo>
                    <a:lnTo>
                      <a:pt x="395" y="366"/>
                    </a:lnTo>
                    <a:close/>
                    <a:moveTo>
                      <a:pt x="503" y="551"/>
                    </a:moveTo>
                    <a:lnTo>
                      <a:pt x="503" y="552"/>
                    </a:lnTo>
                    <a:lnTo>
                      <a:pt x="503" y="551"/>
                    </a:lnTo>
                    <a:close/>
                    <a:moveTo>
                      <a:pt x="504" y="435"/>
                    </a:moveTo>
                    <a:lnTo>
                      <a:pt x="505" y="435"/>
                    </a:lnTo>
                    <a:lnTo>
                      <a:pt x="505" y="436"/>
                    </a:lnTo>
                    <a:lnTo>
                      <a:pt x="504" y="436"/>
                    </a:lnTo>
                    <a:lnTo>
                      <a:pt x="504" y="435"/>
                    </a:lnTo>
                    <a:close/>
                    <a:moveTo>
                      <a:pt x="410" y="371"/>
                    </a:moveTo>
                    <a:lnTo>
                      <a:pt x="411" y="371"/>
                    </a:lnTo>
                    <a:lnTo>
                      <a:pt x="411" y="372"/>
                    </a:lnTo>
                    <a:lnTo>
                      <a:pt x="410" y="372"/>
                    </a:lnTo>
                    <a:lnTo>
                      <a:pt x="410" y="371"/>
                    </a:lnTo>
                    <a:close/>
                    <a:moveTo>
                      <a:pt x="325" y="467"/>
                    </a:moveTo>
                    <a:lnTo>
                      <a:pt x="325" y="468"/>
                    </a:lnTo>
                    <a:lnTo>
                      <a:pt x="325" y="467"/>
                    </a:lnTo>
                    <a:close/>
                    <a:moveTo>
                      <a:pt x="195" y="405"/>
                    </a:moveTo>
                    <a:lnTo>
                      <a:pt x="195" y="406"/>
                    </a:lnTo>
                    <a:lnTo>
                      <a:pt x="195" y="405"/>
                    </a:lnTo>
                    <a:close/>
                    <a:moveTo>
                      <a:pt x="408" y="378"/>
                    </a:moveTo>
                    <a:lnTo>
                      <a:pt x="408" y="379"/>
                    </a:lnTo>
                    <a:lnTo>
                      <a:pt x="408" y="378"/>
                    </a:lnTo>
                    <a:close/>
                    <a:moveTo>
                      <a:pt x="544" y="554"/>
                    </a:moveTo>
                    <a:lnTo>
                      <a:pt x="545" y="554"/>
                    </a:lnTo>
                    <a:lnTo>
                      <a:pt x="545" y="555"/>
                    </a:lnTo>
                    <a:lnTo>
                      <a:pt x="544" y="555"/>
                    </a:lnTo>
                    <a:lnTo>
                      <a:pt x="544" y="554"/>
                    </a:lnTo>
                    <a:close/>
                    <a:moveTo>
                      <a:pt x="416" y="653"/>
                    </a:moveTo>
                    <a:lnTo>
                      <a:pt x="416" y="654"/>
                    </a:lnTo>
                    <a:lnTo>
                      <a:pt x="416" y="653"/>
                    </a:lnTo>
                    <a:close/>
                    <a:moveTo>
                      <a:pt x="486" y="547"/>
                    </a:moveTo>
                    <a:lnTo>
                      <a:pt x="486" y="549"/>
                    </a:lnTo>
                    <a:lnTo>
                      <a:pt x="486" y="547"/>
                    </a:lnTo>
                    <a:close/>
                    <a:moveTo>
                      <a:pt x="240" y="399"/>
                    </a:moveTo>
                    <a:lnTo>
                      <a:pt x="241" y="399"/>
                    </a:lnTo>
                    <a:lnTo>
                      <a:pt x="240" y="399"/>
                    </a:lnTo>
                    <a:close/>
                    <a:moveTo>
                      <a:pt x="221" y="402"/>
                    </a:moveTo>
                    <a:lnTo>
                      <a:pt x="222" y="402"/>
                    </a:lnTo>
                    <a:lnTo>
                      <a:pt x="222" y="403"/>
                    </a:lnTo>
                    <a:lnTo>
                      <a:pt x="221" y="403"/>
                    </a:lnTo>
                    <a:lnTo>
                      <a:pt x="221" y="402"/>
                    </a:lnTo>
                    <a:close/>
                    <a:moveTo>
                      <a:pt x="490" y="427"/>
                    </a:moveTo>
                    <a:lnTo>
                      <a:pt x="490" y="428"/>
                    </a:lnTo>
                    <a:lnTo>
                      <a:pt x="490" y="427"/>
                    </a:lnTo>
                    <a:close/>
                    <a:moveTo>
                      <a:pt x="434" y="371"/>
                    </a:moveTo>
                    <a:lnTo>
                      <a:pt x="435" y="371"/>
                    </a:lnTo>
                    <a:lnTo>
                      <a:pt x="434" y="371"/>
                    </a:lnTo>
                    <a:close/>
                    <a:moveTo>
                      <a:pt x="220" y="408"/>
                    </a:moveTo>
                    <a:lnTo>
                      <a:pt x="221" y="408"/>
                    </a:lnTo>
                    <a:lnTo>
                      <a:pt x="220" y="408"/>
                    </a:lnTo>
                    <a:close/>
                    <a:moveTo>
                      <a:pt x="219" y="404"/>
                    </a:moveTo>
                    <a:lnTo>
                      <a:pt x="220" y="404"/>
                    </a:lnTo>
                    <a:lnTo>
                      <a:pt x="219" y="404"/>
                    </a:lnTo>
                    <a:close/>
                    <a:moveTo>
                      <a:pt x="252" y="273"/>
                    </a:moveTo>
                    <a:lnTo>
                      <a:pt x="252" y="274"/>
                    </a:lnTo>
                    <a:lnTo>
                      <a:pt x="252" y="273"/>
                    </a:lnTo>
                    <a:close/>
                    <a:moveTo>
                      <a:pt x="324" y="467"/>
                    </a:moveTo>
                    <a:lnTo>
                      <a:pt x="325" y="467"/>
                    </a:lnTo>
                    <a:lnTo>
                      <a:pt x="324" y="467"/>
                    </a:lnTo>
                    <a:close/>
                    <a:moveTo>
                      <a:pt x="568" y="566"/>
                    </a:moveTo>
                    <a:lnTo>
                      <a:pt x="569" y="566"/>
                    </a:lnTo>
                    <a:lnTo>
                      <a:pt x="568" y="566"/>
                    </a:lnTo>
                    <a:close/>
                    <a:moveTo>
                      <a:pt x="439" y="647"/>
                    </a:moveTo>
                    <a:lnTo>
                      <a:pt x="439" y="648"/>
                    </a:lnTo>
                    <a:lnTo>
                      <a:pt x="439" y="647"/>
                    </a:lnTo>
                    <a:close/>
                    <a:moveTo>
                      <a:pt x="506" y="564"/>
                    </a:moveTo>
                    <a:lnTo>
                      <a:pt x="507" y="564"/>
                    </a:lnTo>
                    <a:lnTo>
                      <a:pt x="506" y="564"/>
                    </a:lnTo>
                    <a:close/>
                    <a:moveTo>
                      <a:pt x="407" y="374"/>
                    </a:moveTo>
                    <a:lnTo>
                      <a:pt x="408" y="374"/>
                    </a:lnTo>
                    <a:lnTo>
                      <a:pt x="407" y="374"/>
                    </a:lnTo>
                    <a:close/>
                    <a:moveTo>
                      <a:pt x="501" y="554"/>
                    </a:moveTo>
                    <a:lnTo>
                      <a:pt x="501" y="555"/>
                    </a:lnTo>
                    <a:lnTo>
                      <a:pt x="501" y="554"/>
                    </a:lnTo>
                    <a:close/>
                    <a:moveTo>
                      <a:pt x="413" y="386"/>
                    </a:moveTo>
                    <a:lnTo>
                      <a:pt x="414" y="386"/>
                    </a:lnTo>
                    <a:lnTo>
                      <a:pt x="414" y="387"/>
                    </a:lnTo>
                    <a:lnTo>
                      <a:pt x="413" y="387"/>
                    </a:lnTo>
                    <a:lnTo>
                      <a:pt x="413" y="386"/>
                    </a:lnTo>
                    <a:close/>
                    <a:moveTo>
                      <a:pt x="414" y="378"/>
                    </a:moveTo>
                    <a:lnTo>
                      <a:pt x="415" y="378"/>
                    </a:lnTo>
                    <a:lnTo>
                      <a:pt x="415" y="379"/>
                    </a:lnTo>
                    <a:lnTo>
                      <a:pt x="414" y="379"/>
                    </a:lnTo>
                    <a:lnTo>
                      <a:pt x="414" y="378"/>
                    </a:lnTo>
                    <a:close/>
                    <a:moveTo>
                      <a:pt x="465" y="611"/>
                    </a:moveTo>
                    <a:lnTo>
                      <a:pt x="466" y="611"/>
                    </a:lnTo>
                    <a:lnTo>
                      <a:pt x="465" y="611"/>
                    </a:lnTo>
                    <a:close/>
                    <a:moveTo>
                      <a:pt x="505" y="564"/>
                    </a:moveTo>
                    <a:lnTo>
                      <a:pt x="506" y="564"/>
                    </a:lnTo>
                    <a:lnTo>
                      <a:pt x="506" y="565"/>
                    </a:lnTo>
                    <a:lnTo>
                      <a:pt x="505" y="565"/>
                    </a:lnTo>
                    <a:lnTo>
                      <a:pt x="505" y="564"/>
                    </a:lnTo>
                    <a:close/>
                    <a:moveTo>
                      <a:pt x="197" y="375"/>
                    </a:moveTo>
                    <a:lnTo>
                      <a:pt x="199" y="375"/>
                    </a:lnTo>
                    <a:lnTo>
                      <a:pt x="197" y="375"/>
                    </a:lnTo>
                    <a:close/>
                    <a:moveTo>
                      <a:pt x="197" y="405"/>
                    </a:moveTo>
                    <a:lnTo>
                      <a:pt x="199" y="405"/>
                    </a:lnTo>
                    <a:lnTo>
                      <a:pt x="197" y="405"/>
                    </a:lnTo>
                    <a:close/>
                    <a:moveTo>
                      <a:pt x="207" y="393"/>
                    </a:moveTo>
                    <a:lnTo>
                      <a:pt x="207" y="395"/>
                    </a:lnTo>
                    <a:lnTo>
                      <a:pt x="207" y="393"/>
                    </a:lnTo>
                    <a:close/>
                    <a:moveTo>
                      <a:pt x="281" y="409"/>
                    </a:moveTo>
                    <a:lnTo>
                      <a:pt x="281" y="410"/>
                    </a:lnTo>
                    <a:lnTo>
                      <a:pt x="281" y="409"/>
                    </a:lnTo>
                    <a:close/>
                    <a:moveTo>
                      <a:pt x="494" y="566"/>
                    </a:moveTo>
                    <a:lnTo>
                      <a:pt x="494" y="567"/>
                    </a:lnTo>
                    <a:lnTo>
                      <a:pt x="494" y="566"/>
                    </a:lnTo>
                    <a:close/>
                    <a:moveTo>
                      <a:pt x="557" y="550"/>
                    </a:moveTo>
                    <a:lnTo>
                      <a:pt x="557" y="551"/>
                    </a:lnTo>
                    <a:lnTo>
                      <a:pt x="557" y="550"/>
                    </a:lnTo>
                    <a:close/>
                    <a:moveTo>
                      <a:pt x="409" y="367"/>
                    </a:moveTo>
                    <a:lnTo>
                      <a:pt x="410" y="367"/>
                    </a:lnTo>
                    <a:lnTo>
                      <a:pt x="409" y="367"/>
                    </a:lnTo>
                    <a:close/>
                    <a:moveTo>
                      <a:pt x="543" y="557"/>
                    </a:moveTo>
                    <a:lnTo>
                      <a:pt x="544" y="557"/>
                    </a:lnTo>
                    <a:lnTo>
                      <a:pt x="543" y="557"/>
                    </a:lnTo>
                    <a:close/>
                    <a:moveTo>
                      <a:pt x="227" y="405"/>
                    </a:moveTo>
                    <a:lnTo>
                      <a:pt x="227" y="406"/>
                    </a:lnTo>
                    <a:lnTo>
                      <a:pt x="227" y="405"/>
                    </a:lnTo>
                    <a:close/>
                    <a:moveTo>
                      <a:pt x="449" y="528"/>
                    </a:moveTo>
                    <a:lnTo>
                      <a:pt x="450" y="528"/>
                    </a:lnTo>
                    <a:lnTo>
                      <a:pt x="449" y="528"/>
                    </a:lnTo>
                    <a:close/>
                    <a:moveTo>
                      <a:pt x="205" y="413"/>
                    </a:moveTo>
                    <a:lnTo>
                      <a:pt x="206" y="413"/>
                    </a:lnTo>
                    <a:lnTo>
                      <a:pt x="205" y="413"/>
                    </a:lnTo>
                    <a:close/>
                    <a:moveTo>
                      <a:pt x="492" y="569"/>
                    </a:moveTo>
                    <a:lnTo>
                      <a:pt x="493" y="569"/>
                    </a:lnTo>
                    <a:lnTo>
                      <a:pt x="492" y="569"/>
                    </a:lnTo>
                    <a:close/>
                    <a:moveTo>
                      <a:pt x="553" y="422"/>
                    </a:moveTo>
                    <a:lnTo>
                      <a:pt x="554" y="422"/>
                    </a:lnTo>
                    <a:lnTo>
                      <a:pt x="553" y="422"/>
                    </a:lnTo>
                    <a:close/>
                    <a:moveTo>
                      <a:pt x="543" y="537"/>
                    </a:moveTo>
                    <a:lnTo>
                      <a:pt x="544" y="537"/>
                    </a:lnTo>
                    <a:lnTo>
                      <a:pt x="544" y="538"/>
                    </a:lnTo>
                    <a:lnTo>
                      <a:pt x="543" y="538"/>
                    </a:lnTo>
                    <a:lnTo>
                      <a:pt x="543" y="537"/>
                    </a:lnTo>
                    <a:close/>
                    <a:moveTo>
                      <a:pt x="310" y="459"/>
                    </a:moveTo>
                    <a:lnTo>
                      <a:pt x="311" y="459"/>
                    </a:lnTo>
                    <a:lnTo>
                      <a:pt x="310" y="459"/>
                    </a:lnTo>
                    <a:close/>
                    <a:moveTo>
                      <a:pt x="434" y="371"/>
                    </a:moveTo>
                    <a:lnTo>
                      <a:pt x="435" y="371"/>
                    </a:lnTo>
                    <a:lnTo>
                      <a:pt x="434" y="371"/>
                    </a:lnTo>
                    <a:close/>
                    <a:moveTo>
                      <a:pt x="439" y="647"/>
                    </a:moveTo>
                    <a:lnTo>
                      <a:pt x="440" y="647"/>
                    </a:lnTo>
                    <a:lnTo>
                      <a:pt x="439" y="647"/>
                    </a:lnTo>
                    <a:close/>
                    <a:moveTo>
                      <a:pt x="439" y="647"/>
                    </a:moveTo>
                    <a:lnTo>
                      <a:pt x="440" y="647"/>
                    </a:lnTo>
                    <a:lnTo>
                      <a:pt x="439" y="647"/>
                    </a:lnTo>
                    <a:close/>
                    <a:moveTo>
                      <a:pt x="416" y="388"/>
                    </a:moveTo>
                    <a:lnTo>
                      <a:pt x="418" y="388"/>
                    </a:lnTo>
                    <a:lnTo>
                      <a:pt x="418" y="389"/>
                    </a:lnTo>
                    <a:lnTo>
                      <a:pt x="416" y="389"/>
                    </a:lnTo>
                    <a:lnTo>
                      <a:pt x="416" y="388"/>
                    </a:lnTo>
                    <a:close/>
                    <a:moveTo>
                      <a:pt x="241" y="399"/>
                    </a:moveTo>
                    <a:lnTo>
                      <a:pt x="241" y="400"/>
                    </a:lnTo>
                    <a:lnTo>
                      <a:pt x="241" y="399"/>
                    </a:lnTo>
                    <a:close/>
                    <a:moveTo>
                      <a:pt x="569" y="551"/>
                    </a:moveTo>
                    <a:lnTo>
                      <a:pt x="570" y="551"/>
                    </a:lnTo>
                    <a:lnTo>
                      <a:pt x="570" y="552"/>
                    </a:lnTo>
                    <a:lnTo>
                      <a:pt x="569" y="552"/>
                    </a:lnTo>
                    <a:lnTo>
                      <a:pt x="569" y="551"/>
                    </a:lnTo>
                    <a:close/>
                    <a:moveTo>
                      <a:pt x="412" y="549"/>
                    </a:moveTo>
                    <a:lnTo>
                      <a:pt x="412" y="550"/>
                    </a:lnTo>
                    <a:lnTo>
                      <a:pt x="412" y="549"/>
                    </a:lnTo>
                    <a:close/>
                    <a:moveTo>
                      <a:pt x="323" y="467"/>
                    </a:moveTo>
                    <a:lnTo>
                      <a:pt x="324" y="467"/>
                    </a:lnTo>
                    <a:lnTo>
                      <a:pt x="323" y="467"/>
                    </a:lnTo>
                    <a:close/>
                    <a:moveTo>
                      <a:pt x="448" y="531"/>
                    </a:moveTo>
                    <a:lnTo>
                      <a:pt x="449" y="531"/>
                    </a:lnTo>
                    <a:lnTo>
                      <a:pt x="448" y="531"/>
                    </a:lnTo>
                    <a:close/>
                    <a:moveTo>
                      <a:pt x="455" y="527"/>
                    </a:moveTo>
                    <a:lnTo>
                      <a:pt x="455" y="528"/>
                    </a:lnTo>
                    <a:lnTo>
                      <a:pt x="455" y="527"/>
                    </a:lnTo>
                    <a:close/>
                    <a:moveTo>
                      <a:pt x="154" y="386"/>
                    </a:moveTo>
                    <a:lnTo>
                      <a:pt x="155" y="386"/>
                    </a:lnTo>
                    <a:lnTo>
                      <a:pt x="154" y="386"/>
                    </a:lnTo>
                    <a:close/>
                    <a:moveTo>
                      <a:pt x="416" y="385"/>
                    </a:moveTo>
                    <a:lnTo>
                      <a:pt x="418" y="385"/>
                    </a:lnTo>
                    <a:lnTo>
                      <a:pt x="416" y="385"/>
                    </a:lnTo>
                    <a:close/>
                    <a:moveTo>
                      <a:pt x="451" y="597"/>
                    </a:moveTo>
                    <a:lnTo>
                      <a:pt x="451" y="598"/>
                    </a:lnTo>
                    <a:lnTo>
                      <a:pt x="451" y="597"/>
                    </a:lnTo>
                    <a:close/>
                    <a:moveTo>
                      <a:pt x="194" y="350"/>
                    </a:moveTo>
                    <a:lnTo>
                      <a:pt x="194" y="351"/>
                    </a:lnTo>
                    <a:lnTo>
                      <a:pt x="194" y="350"/>
                    </a:lnTo>
                    <a:close/>
                    <a:moveTo>
                      <a:pt x="545" y="603"/>
                    </a:moveTo>
                    <a:lnTo>
                      <a:pt x="545" y="604"/>
                    </a:lnTo>
                    <a:lnTo>
                      <a:pt x="545" y="603"/>
                    </a:lnTo>
                    <a:close/>
                    <a:moveTo>
                      <a:pt x="448" y="533"/>
                    </a:moveTo>
                    <a:lnTo>
                      <a:pt x="448" y="534"/>
                    </a:lnTo>
                    <a:lnTo>
                      <a:pt x="448" y="533"/>
                    </a:lnTo>
                    <a:close/>
                    <a:moveTo>
                      <a:pt x="447" y="538"/>
                    </a:moveTo>
                    <a:lnTo>
                      <a:pt x="448" y="538"/>
                    </a:lnTo>
                    <a:lnTo>
                      <a:pt x="447" y="538"/>
                    </a:lnTo>
                    <a:close/>
                    <a:moveTo>
                      <a:pt x="394" y="365"/>
                    </a:moveTo>
                    <a:lnTo>
                      <a:pt x="394" y="366"/>
                    </a:lnTo>
                    <a:lnTo>
                      <a:pt x="394" y="365"/>
                    </a:lnTo>
                    <a:close/>
                    <a:moveTo>
                      <a:pt x="452" y="525"/>
                    </a:moveTo>
                    <a:lnTo>
                      <a:pt x="453" y="525"/>
                    </a:lnTo>
                    <a:lnTo>
                      <a:pt x="452" y="525"/>
                    </a:lnTo>
                    <a:close/>
                    <a:moveTo>
                      <a:pt x="396" y="366"/>
                    </a:moveTo>
                    <a:lnTo>
                      <a:pt x="396" y="367"/>
                    </a:lnTo>
                    <a:lnTo>
                      <a:pt x="396" y="366"/>
                    </a:lnTo>
                    <a:close/>
                    <a:moveTo>
                      <a:pt x="199" y="405"/>
                    </a:moveTo>
                    <a:lnTo>
                      <a:pt x="199" y="406"/>
                    </a:lnTo>
                    <a:lnTo>
                      <a:pt x="199" y="405"/>
                    </a:lnTo>
                    <a:close/>
                    <a:moveTo>
                      <a:pt x="226" y="405"/>
                    </a:moveTo>
                    <a:lnTo>
                      <a:pt x="227" y="405"/>
                    </a:lnTo>
                    <a:lnTo>
                      <a:pt x="227" y="406"/>
                    </a:lnTo>
                    <a:lnTo>
                      <a:pt x="226" y="406"/>
                    </a:lnTo>
                    <a:lnTo>
                      <a:pt x="226" y="405"/>
                    </a:lnTo>
                    <a:close/>
                    <a:moveTo>
                      <a:pt x="486" y="510"/>
                    </a:moveTo>
                    <a:lnTo>
                      <a:pt x="486" y="511"/>
                    </a:lnTo>
                    <a:lnTo>
                      <a:pt x="486" y="510"/>
                    </a:lnTo>
                    <a:close/>
                    <a:moveTo>
                      <a:pt x="182" y="404"/>
                    </a:moveTo>
                    <a:lnTo>
                      <a:pt x="182" y="405"/>
                    </a:lnTo>
                    <a:lnTo>
                      <a:pt x="182" y="404"/>
                    </a:lnTo>
                    <a:close/>
                    <a:moveTo>
                      <a:pt x="440" y="551"/>
                    </a:moveTo>
                    <a:lnTo>
                      <a:pt x="441" y="551"/>
                    </a:lnTo>
                    <a:lnTo>
                      <a:pt x="440" y="551"/>
                    </a:lnTo>
                    <a:close/>
                    <a:moveTo>
                      <a:pt x="207" y="405"/>
                    </a:moveTo>
                    <a:lnTo>
                      <a:pt x="208" y="405"/>
                    </a:lnTo>
                    <a:lnTo>
                      <a:pt x="207" y="405"/>
                    </a:lnTo>
                    <a:close/>
                    <a:moveTo>
                      <a:pt x="188" y="357"/>
                    </a:moveTo>
                    <a:lnTo>
                      <a:pt x="188" y="358"/>
                    </a:lnTo>
                    <a:lnTo>
                      <a:pt x="188" y="357"/>
                    </a:lnTo>
                    <a:close/>
                    <a:moveTo>
                      <a:pt x="317" y="349"/>
                    </a:moveTo>
                    <a:lnTo>
                      <a:pt x="318" y="349"/>
                    </a:lnTo>
                    <a:lnTo>
                      <a:pt x="317" y="349"/>
                    </a:lnTo>
                    <a:close/>
                    <a:moveTo>
                      <a:pt x="155" y="390"/>
                    </a:moveTo>
                    <a:lnTo>
                      <a:pt x="156" y="390"/>
                    </a:lnTo>
                    <a:lnTo>
                      <a:pt x="155" y="390"/>
                    </a:lnTo>
                    <a:close/>
                    <a:moveTo>
                      <a:pt x="477" y="547"/>
                    </a:moveTo>
                    <a:lnTo>
                      <a:pt x="477" y="549"/>
                    </a:lnTo>
                    <a:lnTo>
                      <a:pt x="477" y="547"/>
                    </a:lnTo>
                    <a:close/>
                    <a:moveTo>
                      <a:pt x="187" y="357"/>
                    </a:moveTo>
                    <a:lnTo>
                      <a:pt x="188" y="357"/>
                    </a:lnTo>
                    <a:lnTo>
                      <a:pt x="187" y="357"/>
                    </a:lnTo>
                    <a:close/>
                    <a:moveTo>
                      <a:pt x="449" y="595"/>
                    </a:moveTo>
                    <a:lnTo>
                      <a:pt x="449" y="596"/>
                    </a:lnTo>
                    <a:lnTo>
                      <a:pt x="449" y="595"/>
                    </a:lnTo>
                    <a:close/>
                    <a:moveTo>
                      <a:pt x="223" y="402"/>
                    </a:moveTo>
                    <a:lnTo>
                      <a:pt x="223" y="403"/>
                    </a:lnTo>
                    <a:lnTo>
                      <a:pt x="223" y="402"/>
                    </a:lnTo>
                    <a:close/>
                    <a:moveTo>
                      <a:pt x="446" y="533"/>
                    </a:moveTo>
                    <a:lnTo>
                      <a:pt x="447" y="533"/>
                    </a:lnTo>
                    <a:lnTo>
                      <a:pt x="446" y="533"/>
                    </a:lnTo>
                    <a:close/>
                    <a:moveTo>
                      <a:pt x="155" y="390"/>
                    </a:moveTo>
                    <a:lnTo>
                      <a:pt x="156" y="390"/>
                    </a:lnTo>
                    <a:lnTo>
                      <a:pt x="156" y="391"/>
                    </a:lnTo>
                    <a:lnTo>
                      <a:pt x="155" y="391"/>
                    </a:lnTo>
                    <a:lnTo>
                      <a:pt x="155" y="390"/>
                    </a:lnTo>
                    <a:close/>
                    <a:moveTo>
                      <a:pt x="178" y="357"/>
                    </a:moveTo>
                    <a:lnTo>
                      <a:pt x="178" y="358"/>
                    </a:lnTo>
                    <a:lnTo>
                      <a:pt x="178" y="357"/>
                    </a:lnTo>
                    <a:close/>
                    <a:moveTo>
                      <a:pt x="178" y="414"/>
                    </a:moveTo>
                    <a:lnTo>
                      <a:pt x="179" y="414"/>
                    </a:lnTo>
                    <a:lnTo>
                      <a:pt x="179" y="415"/>
                    </a:lnTo>
                    <a:lnTo>
                      <a:pt x="178" y="415"/>
                    </a:lnTo>
                    <a:lnTo>
                      <a:pt x="178" y="414"/>
                    </a:lnTo>
                    <a:close/>
                    <a:moveTo>
                      <a:pt x="450" y="597"/>
                    </a:moveTo>
                    <a:lnTo>
                      <a:pt x="451" y="597"/>
                    </a:lnTo>
                    <a:lnTo>
                      <a:pt x="451" y="598"/>
                    </a:lnTo>
                    <a:lnTo>
                      <a:pt x="450" y="598"/>
                    </a:lnTo>
                    <a:lnTo>
                      <a:pt x="450" y="597"/>
                    </a:lnTo>
                    <a:close/>
                    <a:moveTo>
                      <a:pt x="447" y="370"/>
                    </a:moveTo>
                    <a:lnTo>
                      <a:pt x="448" y="370"/>
                    </a:lnTo>
                    <a:lnTo>
                      <a:pt x="447" y="370"/>
                    </a:lnTo>
                    <a:close/>
                    <a:moveTo>
                      <a:pt x="235" y="386"/>
                    </a:moveTo>
                    <a:lnTo>
                      <a:pt x="236" y="386"/>
                    </a:lnTo>
                    <a:lnTo>
                      <a:pt x="235" y="386"/>
                    </a:lnTo>
                    <a:close/>
                    <a:moveTo>
                      <a:pt x="182" y="351"/>
                    </a:moveTo>
                    <a:lnTo>
                      <a:pt x="183" y="351"/>
                    </a:lnTo>
                    <a:lnTo>
                      <a:pt x="182" y="351"/>
                    </a:lnTo>
                    <a:close/>
                    <a:moveTo>
                      <a:pt x="197" y="409"/>
                    </a:moveTo>
                    <a:lnTo>
                      <a:pt x="199" y="409"/>
                    </a:lnTo>
                    <a:lnTo>
                      <a:pt x="197" y="409"/>
                    </a:lnTo>
                    <a:close/>
                    <a:moveTo>
                      <a:pt x="486" y="542"/>
                    </a:moveTo>
                    <a:lnTo>
                      <a:pt x="486" y="543"/>
                    </a:lnTo>
                    <a:lnTo>
                      <a:pt x="486" y="542"/>
                    </a:lnTo>
                    <a:close/>
                    <a:moveTo>
                      <a:pt x="331" y="337"/>
                    </a:moveTo>
                    <a:lnTo>
                      <a:pt x="331" y="338"/>
                    </a:lnTo>
                    <a:lnTo>
                      <a:pt x="331" y="337"/>
                    </a:lnTo>
                    <a:close/>
                    <a:moveTo>
                      <a:pt x="181" y="358"/>
                    </a:moveTo>
                    <a:lnTo>
                      <a:pt x="182" y="358"/>
                    </a:lnTo>
                    <a:lnTo>
                      <a:pt x="181" y="358"/>
                    </a:lnTo>
                    <a:close/>
                    <a:moveTo>
                      <a:pt x="205" y="386"/>
                    </a:moveTo>
                    <a:lnTo>
                      <a:pt x="206" y="386"/>
                    </a:lnTo>
                    <a:lnTo>
                      <a:pt x="205" y="386"/>
                    </a:lnTo>
                    <a:close/>
                    <a:moveTo>
                      <a:pt x="181" y="414"/>
                    </a:moveTo>
                    <a:lnTo>
                      <a:pt x="182" y="414"/>
                    </a:lnTo>
                    <a:lnTo>
                      <a:pt x="181" y="414"/>
                    </a:lnTo>
                    <a:close/>
                    <a:moveTo>
                      <a:pt x="181" y="396"/>
                    </a:moveTo>
                    <a:lnTo>
                      <a:pt x="182" y="396"/>
                    </a:lnTo>
                    <a:lnTo>
                      <a:pt x="182" y="397"/>
                    </a:lnTo>
                    <a:lnTo>
                      <a:pt x="181" y="397"/>
                    </a:lnTo>
                    <a:lnTo>
                      <a:pt x="181" y="396"/>
                    </a:lnTo>
                    <a:close/>
                    <a:moveTo>
                      <a:pt x="199" y="376"/>
                    </a:moveTo>
                    <a:lnTo>
                      <a:pt x="200" y="376"/>
                    </a:lnTo>
                    <a:lnTo>
                      <a:pt x="200" y="377"/>
                    </a:lnTo>
                    <a:lnTo>
                      <a:pt x="199" y="377"/>
                    </a:lnTo>
                    <a:lnTo>
                      <a:pt x="199" y="376"/>
                    </a:lnTo>
                    <a:close/>
                    <a:moveTo>
                      <a:pt x="168" y="346"/>
                    </a:moveTo>
                    <a:lnTo>
                      <a:pt x="168" y="347"/>
                    </a:lnTo>
                    <a:lnTo>
                      <a:pt x="168" y="346"/>
                    </a:lnTo>
                    <a:close/>
                    <a:moveTo>
                      <a:pt x="127" y="413"/>
                    </a:moveTo>
                    <a:lnTo>
                      <a:pt x="128" y="413"/>
                    </a:lnTo>
                    <a:lnTo>
                      <a:pt x="127" y="413"/>
                    </a:lnTo>
                    <a:close/>
                    <a:moveTo>
                      <a:pt x="450" y="598"/>
                    </a:moveTo>
                    <a:lnTo>
                      <a:pt x="451" y="598"/>
                    </a:lnTo>
                    <a:lnTo>
                      <a:pt x="451" y="600"/>
                    </a:lnTo>
                    <a:lnTo>
                      <a:pt x="450" y="600"/>
                    </a:lnTo>
                    <a:lnTo>
                      <a:pt x="450" y="598"/>
                    </a:lnTo>
                    <a:close/>
                    <a:moveTo>
                      <a:pt x="438" y="533"/>
                    </a:moveTo>
                    <a:lnTo>
                      <a:pt x="439" y="533"/>
                    </a:lnTo>
                    <a:lnTo>
                      <a:pt x="438" y="533"/>
                    </a:lnTo>
                    <a:close/>
                    <a:moveTo>
                      <a:pt x="448" y="596"/>
                    </a:moveTo>
                    <a:lnTo>
                      <a:pt x="449" y="596"/>
                    </a:lnTo>
                    <a:lnTo>
                      <a:pt x="448" y="596"/>
                    </a:lnTo>
                    <a:close/>
                    <a:moveTo>
                      <a:pt x="188" y="412"/>
                    </a:moveTo>
                    <a:lnTo>
                      <a:pt x="189" y="412"/>
                    </a:lnTo>
                    <a:lnTo>
                      <a:pt x="188" y="412"/>
                    </a:lnTo>
                    <a:close/>
                    <a:moveTo>
                      <a:pt x="449" y="595"/>
                    </a:moveTo>
                    <a:lnTo>
                      <a:pt x="449" y="596"/>
                    </a:lnTo>
                    <a:lnTo>
                      <a:pt x="449" y="595"/>
                    </a:lnTo>
                    <a:close/>
                    <a:moveTo>
                      <a:pt x="201" y="391"/>
                    </a:moveTo>
                    <a:lnTo>
                      <a:pt x="201" y="392"/>
                    </a:lnTo>
                    <a:lnTo>
                      <a:pt x="201" y="391"/>
                    </a:lnTo>
                    <a:close/>
                    <a:moveTo>
                      <a:pt x="272" y="404"/>
                    </a:moveTo>
                    <a:lnTo>
                      <a:pt x="272" y="405"/>
                    </a:lnTo>
                    <a:lnTo>
                      <a:pt x="272" y="404"/>
                    </a:lnTo>
                    <a:close/>
                  </a:path>
                </a:pathLst>
              </a:custGeom>
              <a:solidFill>
                <a:srgbClr val="7CB8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nvGrpSpPr>
              <p:cNvPr id="1172" name="Group 1171">
                <a:extLst>
                  <a:ext uri="{FF2B5EF4-FFF2-40B4-BE49-F238E27FC236}">
                    <a16:creationId xmlns:a16="http://schemas.microsoft.com/office/drawing/2014/main" id="{CF2C4BD7-B1D8-4049-C2CC-99A4BBDBB82F}"/>
                  </a:ext>
                </a:extLst>
              </p:cNvPr>
              <p:cNvGrpSpPr/>
              <p:nvPr/>
            </p:nvGrpSpPr>
            <p:grpSpPr>
              <a:xfrm>
                <a:off x="1203325" y="1306512"/>
                <a:ext cx="4358757" cy="3981988"/>
                <a:chOff x="1203325" y="1306512"/>
                <a:chExt cx="4358757" cy="3981988"/>
              </a:xfrm>
            </p:grpSpPr>
            <p:sp>
              <p:nvSpPr>
                <p:cNvPr id="1173" name="Rectangle 70">
                  <a:extLst>
                    <a:ext uri="{FF2B5EF4-FFF2-40B4-BE49-F238E27FC236}">
                      <a16:creationId xmlns:a16="http://schemas.microsoft.com/office/drawing/2014/main" id="{788D5221-E541-4D2F-B90B-35BD8D9CC022}"/>
                    </a:ext>
                  </a:extLst>
                </p:cNvPr>
                <p:cNvSpPr>
                  <a:spLocks noChangeArrowheads="1"/>
                </p:cNvSpPr>
                <p:nvPr/>
              </p:nvSpPr>
              <p:spPr bwMode="auto">
                <a:xfrm>
                  <a:off x="2747963" y="4725988"/>
                  <a:ext cx="289173"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Vermilion</a:t>
                  </a:r>
                </a:p>
              </p:txBody>
            </p:sp>
            <p:sp>
              <p:nvSpPr>
                <p:cNvPr id="1174" name="Rectangle 71">
                  <a:extLst>
                    <a:ext uri="{FF2B5EF4-FFF2-40B4-BE49-F238E27FC236}">
                      <a16:creationId xmlns:a16="http://schemas.microsoft.com/office/drawing/2014/main" id="{A3B3AAD4-0D15-2046-35DB-046F6AB18673}"/>
                    </a:ext>
                  </a:extLst>
                </p:cNvPr>
                <p:cNvSpPr>
                  <a:spLocks noChangeArrowheads="1"/>
                </p:cNvSpPr>
                <p:nvPr/>
              </p:nvSpPr>
              <p:spPr bwMode="auto">
                <a:xfrm>
                  <a:off x="2899608" y="4320059"/>
                  <a:ext cx="276363"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afayette</a:t>
                  </a:r>
                </a:p>
              </p:txBody>
            </p:sp>
            <p:sp>
              <p:nvSpPr>
                <p:cNvPr id="1175" name="Rectangle 72">
                  <a:extLst>
                    <a:ext uri="{FF2B5EF4-FFF2-40B4-BE49-F238E27FC236}">
                      <a16:creationId xmlns:a16="http://schemas.microsoft.com/office/drawing/2014/main" id="{F229CF27-33D9-FF68-B2AB-E97E9D831560}"/>
                    </a:ext>
                  </a:extLst>
                </p:cNvPr>
                <p:cNvSpPr>
                  <a:spLocks noChangeArrowheads="1"/>
                </p:cNvSpPr>
                <p:nvPr/>
              </p:nvSpPr>
              <p:spPr bwMode="auto">
                <a:xfrm>
                  <a:off x="3049588" y="3878263"/>
                  <a:ext cx="292833"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Landry</a:t>
                  </a:r>
                </a:p>
              </p:txBody>
            </p:sp>
            <p:sp>
              <p:nvSpPr>
                <p:cNvPr id="1176" name="Rectangle 73">
                  <a:extLst>
                    <a:ext uri="{FF2B5EF4-FFF2-40B4-BE49-F238E27FC236}">
                      <a16:creationId xmlns:a16="http://schemas.microsoft.com/office/drawing/2014/main" id="{06D9AD31-9751-275D-62C2-BD7566E93F4E}"/>
                    </a:ext>
                  </a:extLst>
                </p:cNvPr>
                <p:cNvSpPr>
                  <a:spLocks noChangeArrowheads="1"/>
                </p:cNvSpPr>
                <p:nvPr/>
              </p:nvSpPr>
              <p:spPr bwMode="auto">
                <a:xfrm>
                  <a:off x="2679700" y="4225925"/>
                  <a:ext cx="197662"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cadia</a:t>
                  </a:r>
                </a:p>
              </p:txBody>
            </p:sp>
            <p:sp>
              <p:nvSpPr>
                <p:cNvPr id="1177" name="Rectangle 74">
                  <a:extLst>
                    <a:ext uri="{FF2B5EF4-FFF2-40B4-BE49-F238E27FC236}">
                      <a16:creationId xmlns:a16="http://schemas.microsoft.com/office/drawing/2014/main" id="{35953255-3C6C-57FE-0B9B-442DC5D820BA}"/>
                    </a:ext>
                  </a:extLst>
                </p:cNvPr>
                <p:cNvSpPr>
                  <a:spLocks noChangeArrowheads="1"/>
                </p:cNvSpPr>
                <p:nvPr/>
              </p:nvSpPr>
              <p:spPr bwMode="auto">
                <a:xfrm>
                  <a:off x="2654301" y="3730625"/>
                  <a:ext cx="322118"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Evangeline</a:t>
                  </a:r>
                </a:p>
              </p:txBody>
            </p:sp>
            <p:sp>
              <p:nvSpPr>
                <p:cNvPr id="1178" name="Rectangle 75">
                  <a:extLst>
                    <a:ext uri="{FF2B5EF4-FFF2-40B4-BE49-F238E27FC236}">
                      <a16:creationId xmlns:a16="http://schemas.microsoft.com/office/drawing/2014/main" id="{091D0B5A-5133-DF65-FFF8-061869075A4F}"/>
                    </a:ext>
                  </a:extLst>
                </p:cNvPr>
                <p:cNvSpPr>
                  <a:spLocks noChangeArrowheads="1"/>
                </p:cNvSpPr>
                <p:nvPr/>
              </p:nvSpPr>
              <p:spPr bwMode="auto">
                <a:xfrm>
                  <a:off x="2290763" y="3817938"/>
                  <a:ext cx="150077"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Allen</a:t>
                  </a:r>
                </a:p>
              </p:txBody>
            </p:sp>
            <p:sp>
              <p:nvSpPr>
                <p:cNvPr id="1179" name="Rectangle 76">
                  <a:extLst>
                    <a:ext uri="{FF2B5EF4-FFF2-40B4-BE49-F238E27FC236}">
                      <a16:creationId xmlns:a16="http://schemas.microsoft.com/office/drawing/2014/main" id="{E7A3D31B-7A9A-7C5D-41CE-E09CBBE27FED}"/>
                    </a:ext>
                  </a:extLst>
                </p:cNvPr>
                <p:cNvSpPr>
                  <a:spLocks noChangeArrowheads="1"/>
                </p:cNvSpPr>
                <p:nvPr/>
              </p:nvSpPr>
              <p:spPr bwMode="auto">
                <a:xfrm>
                  <a:off x="1739901" y="3821113"/>
                  <a:ext cx="34591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Beauregard</a:t>
                  </a:r>
                </a:p>
              </p:txBody>
            </p:sp>
            <p:sp>
              <p:nvSpPr>
                <p:cNvPr id="1180" name="Rectangle 77">
                  <a:extLst>
                    <a:ext uri="{FF2B5EF4-FFF2-40B4-BE49-F238E27FC236}">
                      <a16:creationId xmlns:a16="http://schemas.microsoft.com/office/drawing/2014/main" id="{B39050E9-EF91-80ED-F712-2923D3DF725A}"/>
                    </a:ext>
                  </a:extLst>
                </p:cNvPr>
                <p:cNvSpPr>
                  <a:spLocks noChangeArrowheads="1"/>
                </p:cNvSpPr>
                <p:nvPr/>
              </p:nvSpPr>
              <p:spPr bwMode="auto">
                <a:xfrm>
                  <a:off x="1739901" y="4295773"/>
                  <a:ext cx="276363"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Calcasieu</a:t>
                  </a:r>
                </a:p>
              </p:txBody>
            </p:sp>
            <p:sp>
              <p:nvSpPr>
                <p:cNvPr id="1181" name="Rectangle 78">
                  <a:extLst>
                    <a:ext uri="{FF2B5EF4-FFF2-40B4-BE49-F238E27FC236}">
                      <a16:creationId xmlns:a16="http://schemas.microsoft.com/office/drawing/2014/main" id="{E104398A-C32B-086B-DA1D-79266C5B64C2}"/>
                    </a:ext>
                  </a:extLst>
                </p:cNvPr>
                <p:cNvSpPr>
                  <a:spLocks noChangeArrowheads="1"/>
                </p:cNvSpPr>
                <p:nvPr/>
              </p:nvSpPr>
              <p:spPr bwMode="auto">
                <a:xfrm>
                  <a:off x="2226904" y="4191845"/>
                  <a:ext cx="272702" cy="17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Jefferson</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Davis</a:t>
                  </a:r>
                </a:p>
              </p:txBody>
            </p:sp>
            <p:sp>
              <p:nvSpPr>
                <p:cNvPr id="1182" name="Rectangle 79">
                  <a:extLst>
                    <a:ext uri="{FF2B5EF4-FFF2-40B4-BE49-F238E27FC236}">
                      <a16:creationId xmlns:a16="http://schemas.microsoft.com/office/drawing/2014/main" id="{0712F852-EDF8-8DC9-444D-BC10B81E652F}"/>
                    </a:ext>
                  </a:extLst>
                </p:cNvPr>
                <p:cNvSpPr>
                  <a:spLocks noChangeArrowheads="1"/>
                </p:cNvSpPr>
                <p:nvPr/>
              </p:nvSpPr>
              <p:spPr bwMode="auto">
                <a:xfrm>
                  <a:off x="1924051" y="4692650"/>
                  <a:ext cx="27087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ameron</a:t>
                  </a:r>
                </a:p>
              </p:txBody>
            </p:sp>
            <p:sp>
              <p:nvSpPr>
                <p:cNvPr id="1183" name="Rectangle 80">
                  <a:extLst>
                    <a:ext uri="{FF2B5EF4-FFF2-40B4-BE49-F238E27FC236}">
                      <a16:creationId xmlns:a16="http://schemas.microsoft.com/office/drawing/2014/main" id="{FA1A70FF-76AB-5349-B50E-F97833C942DB}"/>
                    </a:ext>
                  </a:extLst>
                </p:cNvPr>
                <p:cNvSpPr>
                  <a:spLocks noChangeArrowheads="1"/>
                </p:cNvSpPr>
                <p:nvPr/>
              </p:nvSpPr>
              <p:spPr bwMode="auto">
                <a:xfrm>
                  <a:off x="1381126" y="2220913"/>
                  <a:ext cx="232438"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De Soto</a:t>
                  </a:r>
                </a:p>
              </p:txBody>
            </p:sp>
            <p:sp>
              <p:nvSpPr>
                <p:cNvPr id="1184" name="Rectangle 81">
                  <a:extLst>
                    <a:ext uri="{FF2B5EF4-FFF2-40B4-BE49-F238E27FC236}">
                      <a16:creationId xmlns:a16="http://schemas.microsoft.com/office/drawing/2014/main" id="{39A3240B-A13A-F2B3-5555-C1873824773F}"/>
                    </a:ext>
                  </a:extLst>
                </p:cNvPr>
                <p:cNvSpPr>
                  <a:spLocks noChangeArrowheads="1"/>
                </p:cNvSpPr>
                <p:nvPr/>
              </p:nvSpPr>
              <p:spPr bwMode="auto">
                <a:xfrm>
                  <a:off x="1755776" y="2176463"/>
                  <a:ext cx="29466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Red River</a:t>
                  </a:r>
                </a:p>
              </p:txBody>
            </p:sp>
            <p:sp>
              <p:nvSpPr>
                <p:cNvPr id="1185" name="Rectangle 82">
                  <a:extLst>
                    <a:ext uri="{FF2B5EF4-FFF2-40B4-BE49-F238E27FC236}">
                      <a16:creationId xmlns:a16="http://schemas.microsoft.com/office/drawing/2014/main" id="{150A3C3A-B9A1-F75F-EB7E-67BC178C8CA1}"/>
                    </a:ext>
                  </a:extLst>
                </p:cNvPr>
                <p:cNvSpPr>
                  <a:spLocks noChangeArrowheads="1"/>
                </p:cNvSpPr>
                <p:nvPr/>
              </p:nvSpPr>
              <p:spPr bwMode="auto">
                <a:xfrm>
                  <a:off x="1874775" y="2682874"/>
                  <a:ext cx="389836"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Natchitoches</a:t>
                  </a:r>
                </a:p>
              </p:txBody>
            </p:sp>
            <p:sp>
              <p:nvSpPr>
                <p:cNvPr id="1186" name="Rectangle 83">
                  <a:extLst>
                    <a:ext uri="{FF2B5EF4-FFF2-40B4-BE49-F238E27FC236}">
                      <a16:creationId xmlns:a16="http://schemas.microsoft.com/office/drawing/2014/main" id="{B26F51BC-4BD4-2AB2-4C1B-067C4B9F225D}"/>
                    </a:ext>
                  </a:extLst>
                </p:cNvPr>
                <p:cNvSpPr>
                  <a:spLocks noChangeArrowheads="1"/>
                </p:cNvSpPr>
                <p:nvPr/>
              </p:nvSpPr>
              <p:spPr bwMode="auto">
                <a:xfrm>
                  <a:off x="1568451" y="2781300"/>
                  <a:ext cx="197662"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abine</a:t>
                  </a:r>
                </a:p>
              </p:txBody>
            </p:sp>
            <p:sp>
              <p:nvSpPr>
                <p:cNvPr id="1187" name="Rectangle 84">
                  <a:extLst>
                    <a:ext uri="{FF2B5EF4-FFF2-40B4-BE49-F238E27FC236}">
                      <a16:creationId xmlns:a16="http://schemas.microsoft.com/office/drawing/2014/main" id="{B7532F1B-4561-6650-E322-22C58D285458}"/>
                    </a:ext>
                  </a:extLst>
                </p:cNvPr>
                <p:cNvSpPr>
                  <a:spLocks noChangeArrowheads="1"/>
                </p:cNvSpPr>
                <p:nvPr/>
              </p:nvSpPr>
              <p:spPr bwMode="auto">
                <a:xfrm>
                  <a:off x="1927225" y="3302000"/>
                  <a:ext cx="225117"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Vernon</a:t>
                  </a:r>
                </a:p>
              </p:txBody>
            </p:sp>
            <p:sp>
              <p:nvSpPr>
                <p:cNvPr id="1188" name="Rectangle 85">
                  <a:extLst>
                    <a:ext uri="{FF2B5EF4-FFF2-40B4-BE49-F238E27FC236}">
                      <a16:creationId xmlns:a16="http://schemas.microsoft.com/office/drawing/2014/main" id="{AFC580D5-579B-162D-A3CF-86CD5A2432E7}"/>
                    </a:ext>
                  </a:extLst>
                </p:cNvPr>
                <p:cNvSpPr>
                  <a:spLocks noChangeArrowheads="1"/>
                </p:cNvSpPr>
                <p:nvPr/>
              </p:nvSpPr>
              <p:spPr bwMode="auto">
                <a:xfrm>
                  <a:off x="2497138" y="3198441"/>
                  <a:ext cx="234267"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Rapides</a:t>
                  </a:r>
                </a:p>
              </p:txBody>
            </p:sp>
            <p:sp>
              <p:nvSpPr>
                <p:cNvPr id="1189" name="Rectangle 86">
                  <a:extLst>
                    <a:ext uri="{FF2B5EF4-FFF2-40B4-BE49-F238E27FC236}">
                      <a16:creationId xmlns:a16="http://schemas.microsoft.com/office/drawing/2014/main" id="{79A46257-2592-B211-03F1-E53F919D5910}"/>
                    </a:ext>
                  </a:extLst>
                </p:cNvPr>
                <p:cNvSpPr>
                  <a:spLocks noChangeArrowheads="1"/>
                </p:cNvSpPr>
                <p:nvPr/>
              </p:nvSpPr>
              <p:spPr bwMode="auto">
                <a:xfrm>
                  <a:off x="2546351" y="2741614"/>
                  <a:ext cx="168379"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Grant</a:t>
                  </a:r>
                </a:p>
              </p:txBody>
            </p:sp>
            <p:sp>
              <p:nvSpPr>
                <p:cNvPr id="1190" name="Rectangle 87">
                  <a:extLst>
                    <a:ext uri="{FF2B5EF4-FFF2-40B4-BE49-F238E27FC236}">
                      <a16:creationId xmlns:a16="http://schemas.microsoft.com/office/drawing/2014/main" id="{B87DFEFD-B344-B184-B515-7A550987B86B}"/>
                    </a:ext>
                  </a:extLst>
                </p:cNvPr>
                <p:cNvSpPr>
                  <a:spLocks noChangeArrowheads="1"/>
                </p:cNvSpPr>
                <p:nvPr/>
              </p:nvSpPr>
              <p:spPr bwMode="auto">
                <a:xfrm>
                  <a:off x="2921001" y="2654300"/>
                  <a:ext cx="203154"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LaSalle</a:t>
                  </a:r>
                </a:p>
              </p:txBody>
            </p:sp>
            <p:sp>
              <p:nvSpPr>
                <p:cNvPr id="1191" name="Rectangle 88">
                  <a:extLst>
                    <a:ext uri="{FF2B5EF4-FFF2-40B4-BE49-F238E27FC236}">
                      <a16:creationId xmlns:a16="http://schemas.microsoft.com/office/drawing/2014/main" id="{3AF1B45E-FEF1-2314-CE09-291EB9C324E1}"/>
                    </a:ext>
                  </a:extLst>
                </p:cNvPr>
                <p:cNvSpPr>
                  <a:spLocks noChangeArrowheads="1"/>
                </p:cNvSpPr>
                <p:nvPr/>
              </p:nvSpPr>
              <p:spPr bwMode="auto">
                <a:xfrm>
                  <a:off x="3059113" y="3338513"/>
                  <a:ext cx="281852"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voyelles</a:t>
                  </a:r>
                </a:p>
              </p:txBody>
            </p:sp>
            <p:sp>
              <p:nvSpPr>
                <p:cNvPr id="1192" name="Rectangle 89">
                  <a:extLst>
                    <a:ext uri="{FF2B5EF4-FFF2-40B4-BE49-F238E27FC236}">
                      <a16:creationId xmlns:a16="http://schemas.microsoft.com/office/drawing/2014/main" id="{F35DC5C6-1056-74C8-0CF0-6BD78EBA6435}"/>
                    </a:ext>
                  </a:extLst>
                </p:cNvPr>
                <p:cNvSpPr>
                  <a:spLocks noChangeArrowheads="1"/>
                </p:cNvSpPr>
                <p:nvPr/>
              </p:nvSpPr>
              <p:spPr bwMode="auto">
                <a:xfrm>
                  <a:off x="2955926" y="2178050"/>
                  <a:ext cx="250740"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aldwell</a:t>
                  </a:r>
                </a:p>
              </p:txBody>
            </p:sp>
            <p:sp>
              <p:nvSpPr>
                <p:cNvPr id="1193" name="Rectangle 90">
                  <a:extLst>
                    <a:ext uri="{FF2B5EF4-FFF2-40B4-BE49-F238E27FC236}">
                      <a16:creationId xmlns:a16="http://schemas.microsoft.com/office/drawing/2014/main" id="{30EF27DE-00B5-0648-0B3B-F699ECF15F9A}"/>
                    </a:ext>
                  </a:extLst>
                </p:cNvPr>
                <p:cNvSpPr>
                  <a:spLocks noChangeArrowheads="1"/>
                </p:cNvSpPr>
                <p:nvPr/>
              </p:nvSpPr>
              <p:spPr bwMode="auto">
                <a:xfrm>
                  <a:off x="2474913" y="2347913"/>
                  <a:ext cx="164719"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Winn</a:t>
                  </a:r>
                </a:p>
              </p:txBody>
            </p:sp>
            <p:sp>
              <p:nvSpPr>
                <p:cNvPr id="1194" name="Rectangle 91">
                  <a:extLst>
                    <a:ext uri="{FF2B5EF4-FFF2-40B4-BE49-F238E27FC236}">
                      <a16:creationId xmlns:a16="http://schemas.microsoft.com/office/drawing/2014/main" id="{3CB5E4A2-6B1A-6035-B5D1-37651EB35CE5}"/>
                    </a:ext>
                  </a:extLst>
                </p:cNvPr>
                <p:cNvSpPr>
                  <a:spLocks noChangeArrowheads="1"/>
                </p:cNvSpPr>
                <p:nvPr/>
              </p:nvSpPr>
              <p:spPr bwMode="auto">
                <a:xfrm>
                  <a:off x="2528888" y="1936750"/>
                  <a:ext cx="228777"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Jackson</a:t>
                  </a:r>
                </a:p>
              </p:txBody>
            </p:sp>
            <p:sp>
              <p:nvSpPr>
                <p:cNvPr id="1195" name="Rectangle 92">
                  <a:extLst>
                    <a:ext uri="{FF2B5EF4-FFF2-40B4-BE49-F238E27FC236}">
                      <a16:creationId xmlns:a16="http://schemas.microsoft.com/office/drawing/2014/main" id="{E8A1F274-BF65-2989-8F56-CF8CF13C3BCE}"/>
                    </a:ext>
                  </a:extLst>
                </p:cNvPr>
                <p:cNvSpPr>
                  <a:spLocks noChangeArrowheads="1"/>
                </p:cNvSpPr>
                <p:nvPr/>
              </p:nvSpPr>
              <p:spPr bwMode="auto">
                <a:xfrm>
                  <a:off x="2853533" y="1741167"/>
                  <a:ext cx="26538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Ouachita</a:t>
                  </a:r>
                </a:p>
              </p:txBody>
            </p:sp>
            <p:sp>
              <p:nvSpPr>
                <p:cNvPr id="1196" name="Rectangle 93">
                  <a:extLst>
                    <a:ext uri="{FF2B5EF4-FFF2-40B4-BE49-F238E27FC236}">
                      <a16:creationId xmlns:a16="http://schemas.microsoft.com/office/drawing/2014/main" id="{22637C33-D8E5-1ECD-84B6-C032AC5EA6E6}"/>
                    </a:ext>
                  </a:extLst>
                </p:cNvPr>
                <p:cNvSpPr>
                  <a:spLocks noChangeArrowheads="1"/>
                </p:cNvSpPr>
                <p:nvPr/>
              </p:nvSpPr>
              <p:spPr bwMode="auto">
                <a:xfrm>
                  <a:off x="2432051" y="1592263"/>
                  <a:ext cx="21047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incoln</a:t>
                  </a:r>
                </a:p>
              </p:txBody>
            </p:sp>
            <p:sp>
              <p:nvSpPr>
                <p:cNvPr id="1197" name="Rectangle 94">
                  <a:extLst>
                    <a:ext uri="{FF2B5EF4-FFF2-40B4-BE49-F238E27FC236}">
                      <a16:creationId xmlns:a16="http://schemas.microsoft.com/office/drawing/2014/main" id="{537967B7-10F1-082E-C0F1-8B56D5F2884F}"/>
                    </a:ext>
                  </a:extLst>
                </p:cNvPr>
                <p:cNvSpPr>
                  <a:spLocks noChangeArrowheads="1"/>
                </p:cNvSpPr>
                <p:nvPr/>
              </p:nvSpPr>
              <p:spPr bwMode="auto">
                <a:xfrm>
                  <a:off x="2724150" y="1325563"/>
                  <a:ext cx="179360"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Union</a:t>
                  </a:r>
                </a:p>
              </p:txBody>
            </p:sp>
            <p:sp>
              <p:nvSpPr>
                <p:cNvPr id="1198" name="Rectangle 95">
                  <a:extLst>
                    <a:ext uri="{FF2B5EF4-FFF2-40B4-BE49-F238E27FC236}">
                      <a16:creationId xmlns:a16="http://schemas.microsoft.com/office/drawing/2014/main" id="{A1701BD3-10A3-F6E1-EF8A-AF30F0332AB9}"/>
                    </a:ext>
                  </a:extLst>
                </p:cNvPr>
                <p:cNvSpPr>
                  <a:spLocks noChangeArrowheads="1"/>
                </p:cNvSpPr>
                <p:nvPr/>
              </p:nvSpPr>
              <p:spPr bwMode="auto">
                <a:xfrm>
                  <a:off x="1745457" y="1577653"/>
                  <a:ext cx="26538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Webster</a:t>
                  </a:r>
                </a:p>
              </p:txBody>
            </p:sp>
            <p:sp>
              <p:nvSpPr>
                <p:cNvPr id="1199" name="Rectangle 96">
                  <a:extLst>
                    <a:ext uri="{FF2B5EF4-FFF2-40B4-BE49-F238E27FC236}">
                      <a16:creationId xmlns:a16="http://schemas.microsoft.com/office/drawing/2014/main" id="{1A3DDFA9-D47D-9D99-4A74-D5DB2A3B46C0}"/>
                    </a:ext>
                  </a:extLst>
                </p:cNvPr>
                <p:cNvSpPr>
                  <a:spLocks noChangeArrowheads="1"/>
                </p:cNvSpPr>
                <p:nvPr/>
              </p:nvSpPr>
              <p:spPr bwMode="auto">
                <a:xfrm>
                  <a:off x="2092326" y="1335087"/>
                  <a:ext cx="283683"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laiborne</a:t>
                  </a:r>
                </a:p>
              </p:txBody>
            </p:sp>
            <p:sp>
              <p:nvSpPr>
                <p:cNvPr id="1200" name="Rectangle 97">
                  <a:extLst>
                    <a:ext uri="{FF2B5EF4-FFF2-40B4-BE49-F238E27FC236}">
                      <a16:creationId xmlns:a16="http://schemas.microsoft.com/office/drawing/2014/main" id="{1070EE0A-4FE7-C342-4BE4-D0AD5B51AF0D}"/>
                    </a:ext>
                  </a:extLst>
                </p:cNvPr>
                <p:cNvSpPr>
                  <a:spLocks noChangeArrowheads="1"/>
                </p:cNvSpPr>
                <p:nvPr/>
              </p:nvSpPr>
              <p:spPr bwMode="auto">
                <a:xfrm>
                  <a:off x="2043113" y="1884364"/>
                  <a:ext cx="250740"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Bienville</a:t>
                  </a:r>
                </a:p>
              </p:txBody>
            </p:sp>
            <p:sp>
              <p:nvSpPr>
                <p:cNvPr id="1201" name="Rectangle 98">
                  <a:extLst>
                    <a:ext uri="{FF2B5EF4-FFF2-40B4-BE49-F238E27FC236}">
                      <a16:creationId xmlns:a16="http://schemas.microsoft.com/office/drawing/2014/main" id="{ADD40A6B-ECB5-5A0C-C6D0-30619D7D608C}"/>
                    </a:ext>
                  </a:extLst>
                </p:cNvPr>
                <p:cNvSpPr>
                  <a:spLocks noChangeArrowheads="1"/>
                </p:cNvSpPr>
                <p:nvPr/>
              </p:nvSpPr>
              <p:spPr bwMode="auto">
                <a:xfrm>
                  <a:off x="1516063" y="1503363"/>
                  <a:ext cx="21596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Bossier</a:t>
                  </a:r>
                </a:p>
              </p:txBody>
            </p:sp>
            <p:sp>
              <p:nvSpPr>
                <p:cNvPr id="1202" name="Rectangle 99">
                  <a:extLst>
                    <a:ext uri="{FF2B5EF4-FFF2-40B4-BE49-F238E27FC236}">
                      <a16:creationId xmlns:a16="http://schemas.microsoft.com/office/drawing/2014/main" id="{FCE228D2-0486-E127-5E36-AA0EF0BAB58E}"/>
                    </a:ext>
                  </a:extLst>
                </p:cNvPr>
                <p:cNvSpPr>
                  <a:spLocks noChangeArrowheads="1"/>
                </p:cNvSpPr>
                <p:nvPr/>
              </p:nvSpPr>
              <p:spPr bwMode="auto">
                <a:xfrm>
                  <a:off x="1203325" y="1618878"/>
                  <a:ext cx="188513"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Caddo</a:t>
                  </a:r>
                </a:p>
              </p:txBody>
            </p:sp>
            <p:sp>
              <p:nvSpPr>
                <p:cNvPr id="1203" name="Rectangle 100">
                  <a:extLst>
                    <a:ext uri="{FF2B5EF4-FFF2-40B4-BE49-F238E27FC236}">
                      <a16:creationId xmlns:a16="http://schemas.microsoft.com/office/drawing/2014/main" id="{5CDC3146-2406-9742-CA2E-EC978C13FDFE}"/>
                    </a:ext>
                  </a:extLst>
                </p:cNvPr>
                <p:cNvSpPr>
                  <a:spLocks noChangeArrowheads="1"/>
                </p:cNvSpPr>
                <p:nvPr/>
              </p:nvSpPr>
              <p:spPr bwMode="auto">
                <a:xfrm>
                  <a:off x="4507578" y="4928394"/>
                  <a:ext cx="296494"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afourche</a:t>
                  </a:r>
                </a:p>
              </p:txBody>
            </p:sp>
            <p:sp>
              <p:nvSpPr>
                <p:cNvPr id="1204" name="Rectangle 101">
                  <a:extLst>
                    <a:ext uri="{FF2B5EF4-FFF2-40B4-BE49-F238E27FC236}">
                      <a16:creationId xmlns:a16="http://schemas.microsoft.com/office/drawing/2014/main" id="{DC8EE6D6-2778-9AC2-B33D-F33C88D34EB2}"/>
                    </a:ext>
                  </a:extLst>
                </p:cNvPr>
                <p:cNvSpPr>
                  <a:spLocks noChangeArrowheads="1"/>
                </p:cNvSpPr>
                <p:nvPr/>
              </p:nvSpPr>
              <p:spPr bwMode="auto">
                <a:xfrm>
                  <a:off x="4143376" y="5200650"/>
                  <a:ext cx="358722"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Terrebonne</a:t>
                  </a:r>
                </a:p>
              </p:txBody>
            </p:sp>
            <p:sp>
              <p:nvSpPr>
                <p:cNvPr id="1205" name="Rectangle 102">
                  <a:extLst>
                    <a:ext uri="{FF2B5EF4-FFF2-40B4-BE49-F238E27FC236}">
                      <a16:creationId xmlns:a16="http://schemas.microsoft.com/office/drawing/2014/main" id="{FD2E79A3-E103-6555-E6BD-966B574E4DD4}"/>
                    </a:ext>
                  </a:extLst>
                </p:cNvPr>
                <p:cNvSpPr>
                  <a:spLocks noChangeArrowheads="1"/>
                </p:cNvSpPr>
                <p:nvPr/>
              </p:nvSpPr>
              <p:spPr bwMode="auto">
                <a:xfrm>
                  <a:off x="3253930" y="4276776"/>
                  <a:ext cx="30381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Martin</a:t>
                  </a:r>
                </a:p>
              </p:txBody>
            </p:sp>
            <p:sp>
              <p:nvSpPr>
                <p:cNvPr id="1206" name="Rectangle 103">
                  <a:extLst>
                    <a:ext uri="{FF2B5EF4-FFF2-40B4-BE49-F238E27FC236}">
                      <a16:creationId xmlns:a16="http://schemas.microsoft.com/office/drawing/2014/main" id="{0D0C3460-04B0-93F5-B4C8-08645230F4C9}"/>
                    </a:ext>
                  </a:extLst>
                </p:cNvPr>
                <p:cNvSpPr>
                  <a:spLocks noChangeArrowheads="1"/>
                </p:cNvSpPr>
                <p:nvPr/>
              </p:nvSpPr>
              <p:spPr bwMode="auto">
                <a:xfrm>
                  <a:off x="3246439" y="4582741"/>
                  <a:ext cx="17021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Iberia</a:t>
                  </a:r>
                </a:p>
              </p:txBody>
            </p:sp>
            <p:sp>
              <p:nvSpPr>
                <p:cNvPr id="1207" name="Rectangle 104">
                  <a:extLst>
                    <a:ext uri="{FF2B5EF4-FFF2-40B4-BE49-F238E27FC236}">
                      <a16:creationId xmlns:a16="http://schemas.microsoft.com/office/drawing/2014/main" id="{258B8E5B-928F-755E-8487-B93054866DA9}"/>
                    </a:ext>
                  </a:extLst>
                </p:cNvPr>
                <p:cNvSpPr>
                  <a:spLocks noChangeArrowheads="1"/>
                </p:cNvSpPr>
                <p:nvPr/>
              </p:nvSpPr>
              <p:spPr bwMode="auto">
                <a:xfrm>
                  <a:off x="3608388" y="4872038"/>
                  <a:ext cx="254400"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Mary</a:t>
                  </a:r>
                </a:p>
              </p:txBody>
            </p:sp>
            <p:sp>
              <p:nvSpPr>
                <p:cNvPr id="1208" name="Rectangle 105">
                  <a:extLst>
                    <a:ext uri="{FF2B5EF4-FFF2-40B4-BE49-F238E27FC236}">
                      <a16:creationId xmlns:a16="http://schemas.microsoft.com/office/drawing/2014/main" id="{7542D49C-4D98-D888-2EB1-F54DD03FC4FA}"/>
                    </a:ext>
                  </a:extLst>
                </p:cNvPr>
                <p:cNvSpPr>
                  <a:spLocks noChangeArrowheads="1"/>
                </p:cNvSpPr>
                <p:nvPr/>
              </p:nvSpPr>
              <p:spPr bwMode="auto">
                <a:xfrm>
                  <a:off x="3876857" y="4609728"/>
                  <a:ext cx="35323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Assumption</a:t>
                  </a:r>
                </a:p>
              </p:txBody>
            </p:sp>
            <p:sp>
              <p:nvSpPr>
                <p:cNvPr id="1209" name="Rectangle 106">
                  <a:extLst>
                    <a:ext uri="{FF2B5EF4-FFF2-40B4-BE49-F238E27FC236}">
                      <a16:creationId xmlns:a16="http://schemas.microsoft.com/office/drawing/2014/main" id="{D67B0D30-AF49-CEA7-CD56-063CB0AF75DD}"/>
                    </a:ext>
                  </a:extLst>
                </p:cNvPr>
                <p:cNvSpPr>
                  <a:spLocks noChangeArrowheads="1"/>
                </p:cNvSpPr>
                <p:nvPr/>
              </p:nvSpPr>
              <p:spPr bwMode="auto">
                <a:xfrm>
                  <a:off x="4874490" y="4679951"/>
                  <a:ext cx="272702"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Jefferson</a:t>
                  </a:r>
                </a:p>
              </p:txBody>
            </p:sp>
            <p:sp>
              <p:nvSpPr>
                <p:cNvPr id="1210" name="Rectangle 107">
                  <a:extLst>
                    <a:ext uri="{FF2B5EF4-FFF2-40B4-BE49-F238E27FC236}">
                      <a16:creationId xmlns:a16="http://schemas.microsoft.com/office/drawing/2014/main" id="{52914E4A-F2CE-F1CB-4D3F-C38DC37E544F}"/>
                    </a:ext>
                  </a:extLst>
                </p:cNvPr>
                <p:cNvSpPr>
                  <a:spLocks noChangeArrowheads="1"/>
                </p:cNvSpPr>
                <p:nvPr/>
              </p:nvSpPr>
              <p:spPr bwMode="auto">
                <a:xfrm>
                  <a:off x="4573588" y="4604593"/>
                  <a:ext cx="31113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Charles</a:t>
                  </a:r>
                </a:p>
              </p:txBody>
            </p:sp>
            <p:sp>
              <p:nvSpPr>
                <p:cNvPr id="1211" name="Rectangle 108">
                  <a:extLst>
                    <a:ext uri="{FF2B5EF4-FFF2-40B4-BE49-F238E27FC236}">
                      <a16:creationId xmlns:a16="http://schemas.microsoft.com/office/drawing/2014/main" id="{3C0DD055-C0F2-71C6-E1ED-0CEB3FE641D4}"/>
                    </a:ext>
                  </a:extLst>
                </p:cNvPr>
                <p:cNvSpPr>
                  <a:spLocks noChangeArrowheads="1"/>
                </p:cNvSpPr>
                <p:nvPr/>
              </p:nvSpPr>
              <p:spPr bwMode="auto">
                <a:xfrm>
                  <a:off x="4416872" y="4341812"/>
                  <a:ext cx="322118" cy="17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John </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the Baptist</a:t>
                  </a:r>
                </a:p>
              </p:txBody>
            </p:sp>
            <p:sp>
              <p:nvSpPr>
                <p:cNvPr id="1212" name="Rectangle 109">
                  <a:extLst>
                    <a:ext uri="{FF2B5EF4-FFF2-40B4-BE49-F238E27FC236}">
                      <a16:creationId xmlns:a16="http://schemas.microsoft.com/office/drawing/2014/main" id="{AAF88D01-763F-B33F-F530-817B1B68168D}"/>
                    </a:ext>
                  </a:extLst>
                </p:cNvPr>
                <p:cNvSpPr>
                  <a:spLocks noChangeArrowheads="1"/>
                </p:cNvSpPr>
                <p:nvPr/>
              </p:nvSpPr>
              <p:spPr bwMode="auto">
                <a:xfrm>
                  <a:off x="4047171" y="4291484"/>
                  <a:ext cx="300154"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scension</a:t>
                  </a:r>
                </a:p>
              </p:txBody>
            </p:sp>
            <p:sp>
              <p:nvSpPr>
                <p:cNvPr id="1213" name="Rectangle 110">
                  <a:extLst>
                    <a:ext uri="{FF2B5EF4-FFF2-40B4-BE49-F238E27FC236}">
                      <a16:creationId xmlns:a16="http://schemas.microsoft.com/office/drawing/2014/main" id="{CF1554A2-BB65-B146-8E00-06EF35C26183}"/>
                    </a:ext>
                  </a:extLst>
                </p:cNvPr>
                <p:cNvSpPr>
                  <a:spLocks noChangeArrowheads="1"/>
                </p:cNvSpPr>
                <p:nvPr/>
              </p:nvSpPr>
              <p:spPr bwMode="auto">
                <a:xfrm>
                  <a:off x="4227513" y="4524375"/>
                  <a:ext cx="27453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St. James</a:t>
                  </a:r>
                </a:p>
              </p:txBody>
            </p:sp>
            <p:sp>
              <p:nvSpPr>
                <p:cNvPr id="1214" name="Rectangle 111">
                  <a:extLst>
                    <a:ext uri="{FF2B5EF4-FFF2-40B4-BE49-F238E27FC236}">
                      <a16:creationId xmlns:a16="http://schemas.microsoft.com/office/drawing/2014/main" id="{F28D3851-8124-37DF-428F-B177690C8D29}"/>
                    </a:ext>
                  </a:extLst>
                </p:cNvPr>
                <p:cNvSpPr>
                  <a:spLocks noChangeArrowheads="1"/>
                </p:cNvSpPr>
                <p:nvPr/>
              </p:nvSpPr>
              <p:spPr bwMode="auto">
                <a:xfrm>
                  <a:off x="3706812" y="4262438"/>
                  <a:ext cx="247079"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Iberville</a:t>
                  </a:r>
                </a:p>
              </p:txBody>
            </p:sp>
            <p:sp>
              <p:nvSpPr>
                <p:cNvPr id="1215" name="Rectangle 112">
                  <a:extLst>
                    <a:ext uri="{FF2B5EF4-FFF2-40B4-BE49-F238E27FC236}">
                      <a16:creationId xmlns:a16="http://schemas.microsoft.com/office/drawing/2014/main" id="{5D23B5A5-0A8A-5C20-87BE-7BAB631CA2E8}"/>
                    </a:ext>
                  </a:extLst>
                </p:cNvPr>
                <p:cNvSpPr>
                  <a:spLocks noChangeArrowheads="1"/>
                </p:cNvSpPr>
                <p:nvPr/>
              </p:nvSpPr>
              <p:spPr bwMode="auto">
                <a:xfrm>
                  <a:off x="3727436" y="3960019"/>
                  <a:ext cx="188513" cy="2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West</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Baton</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Rouge</a:t>
                  </a:r>
                </a:p>
              </p:txBody>
            </p:sp>
            <p:sp>
              <p:nvSpPr>
                <p:cNvPr id="1216" name="Rectangle 113">
                  <a:extLst>
                    <a:ext uri="{FF2B5EF4-FFF2-40B4-BE49-F238E27FC236}">
                      <a16:creationId xmlns:a16="http://schemas.microsoft.com/office/drawing/2014/main" id="{3818CB6E-9968-7811-A965-46ABC4A8FC8B}"/>
                    </a:ext>
                  </a:extLst>
                </p:cNvPr>
                <p:cNvSpPr>
                  <a:spLocks noChangeArrowheads="1"/>
                </p:cNvSpPr>
                <p:nvPr/>
              </p:nvSpPr>
              <p:spPr bwMode="auto">
                <a:xfrm>
                  <a:off x="3939367" y="3825553"/>
                  <a:ext cx="188513" cy="2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East</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Bat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Rouge</a:t>
                  </a:r>
                </a:p>
              </p:txBody>
            </p:sp>
            <p:sp>
              <p:nvSpPr>
                <p:cNvPr id="1217" name="Rectangle 114">
                  <a:extLst>
                    <a:ext uri="{FF2B5EF4-FFF2-40B4-BE49-F238E27FC236}">
                      <a16:creationId xmlns:a16="http://schemas.microsoft.com/office/drawing/2014/main" id="{DDBE39D8-54BD-8874-FE55-27F4833C8E2F}"/>
                    </a:ext>
                  </a:extLst>
                </p:cNvPr>
                <p:cNvSpPr>
                  <a:spLocks noChangeArrowheads="1"/>
                </p:cNvSpPr>
                <p:nvPr/>
              </p:nvSpPr>
              <p:spPr bwMode="auto">
                <a:xfrm>
                  <a:off x="4237354" y="4048597"/>
                  <a:ext cx="300154"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ivingston</a:t>
                  </a:r>
                </a:p>
              </p:txBody>
            </p:sp>
            <p:sp>
              <p:nvSpPr>
                <p:cNvPr id="1218" name="Rectangle 115">
                  <a:extLst>
                    <a:ext uri="{FF2B5EF4-FFF2-40B4-BE49-F238E27FC236}">
                      <a16:creationId xmlns:a16="http://schemas.microsoft.com/office/drawing/2014/main" id="{00731984-ABDB-991D-2751-1B883069B53E}"/>
                    </a:ext>
                  </a:extLst>
                </p:cNvPr>
                <p:cNvSpPr>
                  <a:spLocks noChangeArrowheads="1"/>
                </p:cNvSpPr>
                <p:nvPr/>
              </p:nvSpPr>
              <p:spPr bwMode="auto">
                <a:xfrm>
                  <a:off x="4527811" y="3865191"/>
                  <a:ext cx="344080"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Tangipahoa</a:t>
                  </a:r>
                </a:p>
              </p:txBody>
            </p:sp>
            <p:sp>
              <p:nvSpPr>
                <p:cNvPr id="1219" name="Rectangle 116">
                  <a:extLst>
                    <a:ext uri="{FF2B5EF4-FFF2-40B4-BE49-F238E27FC236}">
                      <a16:creationId xmlns:a16="http://schemas.microsoft.com/office/drawing/2014/main" id="{E9DEA934-A228-4E45-3DCD-F2E148E3FD93}"/>
                    </a:ext>
                  </a:extLst>
                </p:cNvPr>
                <p:cNvSpPr>
                  <a:spLocks noChangeArrowheads="1"/>
                </p:cNvSpPr>
                <p:nvPr/>
              </p:nvSpPr>
              <p:spPr bwMode="auto">
                <a:xfrm>
                  <a:off x="4853123" y="3557589"/>
                  <a:ext cx="358722"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Washington</a:t>
                  </a:r>
                </a:p>
              </p:txBody>
            </p:sp>
            <p:sp>
              <p:nvSpPr>
                <p:cNvPr id="1220" name="Rectangle 117">
                  <a:extLst>
                    <a:ext uri="{FF2B5EF4-FFF2-40B4-BE49-F238E27FC236}">
                      <a16:creationId xmlns:a16="http://schemas.microsoft.com/office/drawing/2014/main" id="{5AE277C8-4CC6-F125-6F44-306F302C37E8}"/>
                    </a:ext>
                  </a:extLst>
                </p:cNvPr>
                <p:cNvSpPr>
                  <a:spLocks noChangeArrowheads="1"/>
                </p:cNvSpPr>
                <p:nvPr/>
              </p:nvSpPr>
              <p:spPr bwMode="auto">
                <a:xfrm>
                  <a:off x="4306888" y="3625850"/>
                  <a:ext cx="208644" cy="17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St.</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Helena</a:t>
                  </a:r>
                </a:p>
              </p:txBody>
            </p:sp>
            <p:sp>
              <p:nvSpPr>
                <p:cNvPr id="1221" name="Rectangle 118">
                  <a:extLst>
                    <a:ext uri="{FF2B5EF4-FFF2-40B4-BE49-F238E27FC236}">
                      <a16:creationId xmlns:a16="http://schemas.microsoft.com/office/drawing/2014/main" id="{4196515F-E3B7-609A-1229-92B0B99C8441}"/>
                    </a:ext>
                  </a:extLst>
                </p:cNvPr>
                <p:cNvSpPr>
                  <a:spLocks noChangeArrowheads="1"/>
                </p:cNvSpPr>
                <p:nvPr/>
              </p:nvSpPr>
              <p:spPr bwMode="auto">
                <a:xfrm>
                  <a:off x="3971626" y="3533925"/>
                  <a:ext cx="258061" cy="17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East</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Feliciana</a:t>
                  </a:r>
                </a:p>
              </p:txBody>
            </p:sp>
            <p:sp>
              <p:nvSpPr>
                <p:cNvPr id="1222" name="Rectangle 119">
                  <a:extLst>
                    <a:ext uri="{FF2B5EF4-FFF2-40B4-BE49-F238E27FC236}">
                      <a16:creationId xmlns:a16="http://schemas.microsoft.com/office/drawing/2014/main" id="{9E3AF0F0-243C-5F5E-4D5C-E46D9233FC5B}"/>
                    </a:ext>
                  </a:extLst>
                </p:cNvPr>
                <p:cNvSpPr>
                  <a:spLocks noChangeArrowheads="1"/>
                </p:cNvSpPr>
                <p:nvPr/>
              </p:nvSpPr>
              <p:spPr bwMode="auto">
                <a:xfrm>
                  <a:off x="3497823" y="3446091"/>
                  <a:ext cx="430100"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West Feliciana</a:t>
                  </a:r>
                </a:p>
              </p:txBody>
            </p:sp>
            <p:sp>
              <p:nvSpPr>
                <p:cNvPr id="1223" name="Rectangle 120">
                  <a:extLst>
                    <a:ext uri="{FF2B5EF4-FFF2-40B4-BE49-F238E27FC236}">
                      <a16:creationId xmlns:a16="http://schemas.microsoft.com/office/drawing/2014/main" id="{EAC8FCC3-5A8B-5A87-9FA0-59860A27356C}"/>
                    </a:ext>
                  </a:extLst>
                </p:cNvPr>
                <p:cNvSpPr>
                  <a:spLocks noChangeArrowheads="1"/>
                </p:cNvSpPr>
                <p:nvPr/>
              </p:nvSpPr>
              <p:spPr bwMode="auto">
                <a:xfrm>
                  <a:off x="3408363" y="3752850"/>
                  <a:ext cx="43559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Pointe Coupee</a:t>
                  </a:r>
                </a:p>
              </p:txBody>
            </p:sp>
            <p:sp>
              <p:nvSpPr>
                <p:cNvPr id="1224" name="Rectangle 121">
                  <a:extLst>
                    <a:ext uri="{FF2B5EF4-FFF2-40B4-BE49-F238E27FC236}">
                      <a16:creationId xmlns:a16="http://schemas.microsoft.com/office/drawing/2014/main" id="{FEA4D238-7A9B-350C-5C7F-CD5CA59B733C}"/>
                    </a:ext>
                  </a:extLst>
                </p:cNvPr>
                <p:cNvSpPr>
                  <a:spLocks noChangeArrowheads="1"/>
                </p:cNvSpPr>
                <p:nvPr/>
              </p:nvSpPr>
              <p:spPr bwMode="auto">
                <a:xfrm>
                  <a:off x="3203576" y="2665413"/>
                  <a:ext cx="29832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atahoula</a:t>
                  </a:r>
                </a:p>
              </p:txBody>
            </p:sp>
            <p:sp>
              <p:nvSpPr>
                <p:cNvPr id="1225" name="Rectangle 122">
                  <a:extLst>
                    <a:ext uri="{FF2B5EF4-FFF2-40B4-BE49-F238E27FC236}">
                      <a16:creationId xmlns:a16="http://schemas.microsoft.com/office/drawing/2014/main" id="{5A99C492-CC9C-09B1-42DB-907FF5441397}"/>
                    </a:ext>
                  </a:extLst>
                </p:cNvPr>
                <p:cNvSpPr>
                  <a:spLocks noChangeArrowheads="1"/>
                </p:cNvSpPr>
                <p:nvPr/>
              </p:nvSpPr>
              <p:spPr bwMode="auto">
                <a:xfrm>
                  <a:off x="3405188" y="2917825"/>
                  <a:ext cx="300154"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oncordia</a:t>
                  </a:r>
                </a:p>
              </p:txBody>
            </p:sp>
            <p:sp>
              <p:nvSpPr>
                <p:cNvPr id="1226" name="Rectangle 123">
                  <a:extLst>
                    <a:ext uri="{FF2B5EF4-FFF2-40B4-BE49-F238E27FC236}">
                      <a16:creationId xmlns:a16="http://schemas.microsoft.com/office/drawing/2014/main" id="{94225368-7F83-F5E3-7320-96C38DE978EB}"/>
                    </a:ext>
                  </a:extLst>
                </p:cNvPr>
                <p:cNvSpPr>
                  <a:spLocks noChangeArrowheads="1"/>
                </p:cNvSpPr>
                <p:nvPr/>
              </p:nvSpPr>
              <p:spPr bwMode="auto">
                <a:xfrm>
                  <a:off x="3716338" y="2282825"/>
                  <a:ext cx="203154"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Tensas</a:t>
                  </a:r>
                </a:p>
              </p:txBody>
            </p:sp>
            <p:sp>
              <p:nvSpPr>
                <p:cNvPr id="1227" name="Rectangle 124">
                  <a:extLst>
                    <a:ext uri="{FF2B5EF4-FFF2-40B4-BE49-F238E27FC236}">
                      <a16:creationId xmlns:a16="http://schemas.microsoft.com/office/drawing/2014/main" id="{D3B8312F-178B-8F3A-BE04-6FF6B67EE10A}"/>
                    </a:ext>
                  </a:extLst>
                </p:cNvPr>
                <p:cNvSpPr>
                  <a:spLocks noChangeArrowheads="1"/>
                </p:cNvSpPr>
                <p:nvPr/>
              </p:nvSpPr>
              <p:spPr bwMode="auto">
                <a:xfrm>
                  <a:off x="3803651" y="1863725"/>
                  <a:ext cx="258061"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Madison</a:t>
                  </a:r>
                </a:p>
              </p:txBody>
            </p:sp>
            <p:sp>
              <p:nvSpPr>
                <p:cNvPr id="1228" name="Rectangle 125">
                  <a:extLst>
                    <a:ext uri="{FF2B5EF4-FFF2-40B4-BE49-F238E27FC236}">
                      <a16:creationId xmlns:a16="http://schemas.microsoft.com/office/drawing/2014/main" id="{B931DE39-85B3-3D12-1BED-977A99F38DDA}"/>
                    </a:ext>
                  </a:extLst>
                </p:cNvPr>
                <p:cNvSpPr>
                  <a:spLocks noChangeArrowheads="1"/>
                </p:cNvSpPr>
                <p:nvPr/>
              </p:nvSpPr>
              <p:spPr bwMode="auto">
                <a:xfrm>
                  <a:off x="3344658" y="2130424"/>
                  <a:ext cx="236098"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Franklin</a:t>
                  </a:r>
                </a:p>
              </p:txBody>
            </p:sp>
            <p:sp>
              <p:nvSpPr>
                <p:cNvPr id="1229" name="Rectangle 126">
                  <a:extLst>
                    <a:ext uri="{FF2B5EF4-FFF2-40B4-BE49-F238E27FC236}">
                      <a16:creationId xmlns:a16="http://schemas.microsoft.com/office/drawing/2014/main" id="{983ADDA1-2515-2AD9-8372-03053A0041B0}"/>
                    </a:ext>
                  </a:extLst>
                </p:cNvPr>
                <p:cNvSpPr>
                  <a:spLocks noChangeArrowheads="1"/>
                </p:cNvSpPr>
                <p:nvPr/>
              </p:nvSpPr>
              <p:spPr bwMode="auto">
                <a:xfrm>
                  <a:off x="3165476" y="1306512"/>
                  <a:ext cx="355062"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Morehouse</a:t>
                  </a:r>
                </a:p>
              </p:txBody>
            </p:sp>
            <p:sp>
              <p:nvSpPr>
                <p:cNvPr id="1230" name="Rectangle 127">
                  <a:extLst>
                    <a:ext uri="{FF2B5EF4-FFF2-40B4-BE49-F238E27FC236}">
                      <a16:creationId xmlns:a16="http://schemas.microsoft.com/office/drawing/2014/main" id="{EA35680A-3C45-D822-6E1C-B4B86F3F653E}"/>
                    </a:ext>
                  </a:extLst>
                </p:cNvPr>
                <p:cNvSpPr>
                  <a:spLocks noChangeArrowheads="1"/>
                </p:cNvSpPr>
                <p:nvPr/>
              </p:nvSpPr>
              <p:spPr bwMode="auto">
                <a:xfrm>
                  <a:off x="3568701" y="1374775"/>
                  <a:ext cx="195833" cy="17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West</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Carroll</a:t>
                  </a:r>
                </a:p>
              </p:txBody>
            </p:sp>
            <p:sp>
              <p:nvSpPr>
                <p:cNvPr id="1231" name="Rectangle 128">
                  <a:extLst>
                    <a:ext uri="{FF2B5EF4-FFF2-40B4-BE49-F238E27FC236}">
                      <a16:creationId xmlns:a16="http://schemas.microsoft.com/office/drawing/2014/main" id="{8F2FFE45-E1FE-F065-B251-2424CB789983}"/>
                    </a:ext>
                  </a:extLst>
                </p:cNvPr>
                <p:cNvSpPr>
                  <a:spLocks noChangeArrowheads="1"/>
                </p:cNvSpPr>
                <p:nvPr/>
              </p:nvSpPr>
              <p:spPr bwMode="auto">
                <a:xfrm>
                  <a:off x="3295876" y="1746300"/>
                  <a:ext cx="254400"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Richland</a:t>
                  </a:r>
                </a:p>
              </p:txBody>
            </p:sp>
            <p:sp>
              <p:nvSpPr>
                <p:cNvPr id="1232" name="Rectangle 129">
                  <a:extLst>
                    <a:ext uri="{FF2B5EF4-FFF2-40B4-BE49-F238E27FC236}">
                      <a16:creationId xmlns:a16="http://schemas.microsoft.com/office/drawing/2014/main" id="{D87D4AF4-6EC1-1692-2B6D-8D108F9E2402}"/>
                    </a:ext>
                  </a:extLst>
                </p:cNvPr>
                <p:cNvSpPr>
                  <a:spLocks noChangeArrowheads="1"/>
                </p:cNvSpPr>
                <p:nvPr/>
              </p:nvSpPr>
              <p:spPr bwMode="auto">
                <a:xfrm>
                  <a:off x="3789362" y="1441450"/>
                  <a:ext cx="195833" cy="17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East</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Carroll</a:t>
                  </a:r>
                </a:p>
              </p:txBody>
            </p:sp>
            <p:sp>
              <p:nvSpPr>
                <p:cNvPr id="1233" name="Rectangle 130">
                  <a:extLst>
                    <a:ext uri="{FF2B5EF4-FFF2-40B4-BE49-F238E27FC236}">
                      <a16:creationId xmlns:a16="http://schemas.microsoft.com/office/drawing/2014/main" id="{92DDBEBA-A6C8-E006-86F1-38F9C079DD7B}"/>
                    </a:ext>
                  </a:extLst>
                </p:cNvPr>
                <p:cNvSpPr>
                  <a:spLocks noChangeArrowheads="1"/>
                </p:cNvSpPr>
                <p:nvPr/>
              </p:nvSpPr>
              <p:spPr bwMode="auto">
                <a:xfrm>
                  <a:off x="4921210" y="3994944"/>
                  <a:ext cx="38434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Tammany</a:t>
                  </a:r>
                </a:p>
              </p:txBody>
            </p:sp>
            <p:sp>
              <p:nvSpPr>
                <p:cNvPr id="1234" name="Rectangle 131">
                  <a:extLst>
                    <a:ext uri="{FF2B5EF4-FFF2-40B4-BE49-F238E27FC236}">
                      <a16:creationId xmlns:a16="http://schemas.microsoft.com/office/drawing/2014/main" id="{F310C879-1181-1810-D82D-46CE20027DA7}"/>
                    </a:ext>
                  </a:extLst>
                </p:cNvPr>
                <p:cNvSpPr>
                  <a:spLocks noChangeArrowheads="1"/>
                </p:cNvSpPr>
                <p:nvPr/>
              </p:nvSpPr>
              <p:spPr bwMode="auto">
                <a:xfrm>
                  <a:off x="5067125" y="4492253"/>
                  <a:ext cx="228777"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Orleans</a:t>
                  </a:r>
                </a:p>
              </p:txBody>
            </p:sp>
            <p:sp>
              <p:nvSpPr>
                <p:cNvPr id="1235" name="Rectangle 132">
                  <a:extLst>
                    <a:ext uri="{FF2B5EF4-FFF2-40B4-BE49-F238E27FC236}">
                      <a16:creationId xmlns:a16="http://schemas.microsoft.com/office/drawing/2014/main" id="{D273B6D4-3728-5C91-901E-009C22BAF8BB}"/>
                    </a:ext>
                  </a:extLst>
                </p:cNvPr>
                <p:cNvSpPr>
                  <a:spLocks noChangeArrowheads="1"/>
                </p:cNvSpPr>
                <p:nvPr/>
              </p:nvSpPr>
              <p:spPr bwMode="auto">
                <a:xfrm>
                  <a:off x="5230813" y="4722813"/>
                  <a:ext cx="331269"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Bernard</a:t>
                  </a:r>
                </a:p>
              </p:txBody>
            </p:sp>
            <p:sp>
              <p:nvSpPr>
                <p:cNvPr id="1236" name="Rectangle 133">
                  <a:extLst>
                    <a:ext uri="{FF2B5EF4-FFF2-40B4-BE49-F238E27FC236}">
                      <a16:creationId xmlns:a16="http://schemas.microsoft.com/office/drawing/2014/main" id="{CDBDE2AC-98E9-4FC3-1679-C9348406F8FE}"/>
                    </a:ext>
                  </a:extLst>
                </p:cNvPr>
                <p:cNvSpPr>
                  <a:spLocks noChangeArrowheads="1"/>
                </p:cNvSpPr>
                <p:nvPr/>
              </p:nvSpPr>
              <p:spPr bwMode="auto">
                <a:xfrm>
                  <a:off x="5099018" y="4968504"/>
                  <a:ext cx="382515" cy="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Plaquemines</a:t>
                  </a:r>
                </a:p>
              </p:txBody>
            </p:sp>
          </p:grpSp>
        </p:grpSp>
        <p:grpSp>
          <p:nvGrpSpPr>
            <p:cNvPr id="1908" name="Group 1907">
              <a:extLst>
                <a:ext uri="{FF2B5EF4-FFF2-40B4-BE49-F238E27FC236}">
                  <a16:creationId xmlns:a16="http://schemas.microsoft.com/office/drawing/2014/main" id="{B05732A3-9DAE-7E39-8204-F323110E77D1}"/>
                </a:ext>
              </a:extLst>
            </p:cNvPr>
            <p:cNvGrpSpPr/>
            <p:nvPr/>
          </p:nvGrpSpPr>
          <p:grpSpPr>
            <a:xfrm>
              <a:off x="675740" y="1547432"/>
              <a:ext cx="5078413" cy="4643437"/>
              <a:chOff x="675740" y="1547432"/>
              <a:chExt cx="5078413" cy="4643437"/>
            </a:xfrm>
            <a:noFill/>
          </p:grpSpPr>
          <p:grpSp>
            <p:nvGrpSpPr>
              <p:cNvPr id="1909" name="Group 1908">
                <a:extLst>
                  <a:ext uri="{FF2B5EF4-FFF2-40B4-BE49-F238E27FC236}">
                    <a16:creationId xmlns:a16="http://schemas.microsoft.com/office/drawing/2014/main" id="{E8432C4A-FB67-C74E-9B6E-6506654F9D1B}"/>
                  </a:ext>
                </a:extLst>
              </p:cNvPr>
              <p:cNvGrpSpPr/>
              <p:nvPr/>
            </p:nvGrpSpPr>
            <p:grpSpPr>
              <a:xfrm>
                <a:off x="675740" y="1547432"/>
                <a:ext cx="5078413" cy="4643437"/>
                <a:chOff x="1144588" y="1128713"/>
                <a:chExt cx="5078413" cy="4643437"/>
              </a:xfrm>
              <a:grpFill/>
            </p:grpSpPr>
            <p:sp>
              <p:nvSpPr>
                <p:cNvPr id="1913" name="Freeform 542">
                  <a:extLst>
                    <a:ext uri="{FF2B5EF4-FFF2-40B4-BE49-F238E27FC236}">
                      <a16:creationId xmlns:a16="http://schemas.microsoft.com/office/drawing/2014/main" id="{DBA6BBDB-5190-C806-6F27-5EC85E05A1E6}"/>
                    </a:ext>
                  </a:extLst>
                </p:cNvPr>
                <p:cNvSpPr>
                  <a:spLocks/>
                </p:cNvSpPr>
                <p:nvPr/>
              </p:nvSpPr>
              <p:spPr bwMode="auto">
                <a:xfrm>
                  <a:off x="1144588" y="1128713"/>
                  <a:ext cx="871538" cy="949325"/>
                </a:xfrm>
                <a:custGeom>
                  <a:avLst/>
                  <a:gdLst>
                    <a:gd name="T0" fmla="*/ 488 w 549"/>
                    <a:gd name="T1" fmla="*/ 1 h 598"/>
                    <a:gd name="T2" fmla="*/ 493 w 549"/>
                    <a:gd name="T3" fmla="*/ 157 h 598"/>
                    <a:gd name="T4" fmla="*/ 530 w 549"/>
                    <a:gd name="T5" fmla="*/ 252 h 598"/>
                    <a:gd name="T6" fmla="*/ 531 w 549"/>
                    <a:gd name="T7" fmla="*/ 259 h 598"/>
                    <a:gd name="T8" fmla="*/ 531 w 549"/>
                    <a:gd name="T9" fmla="*/ 263 h 598"/>
                    <a:gd name="T10" fmla="*/ 531 w 549"/>
                    <a:gd name="T11" fmla="*/ 271 h 598"/>
                    <a:gd name="T12" fmla="*/ 532 w 549"/>
                    <a:gd name="T13" fmla="*/ 282 h 598"/>
                    <a:gd name="T14" fmla="*/ 530 w 549"/>
                    <a:gd name="T15" fmla="*/ 291 h 598"/>
                    <a:gd name="T16" fmla="*/ 531 w 549"/>
                    <a:gd name="T17" fmla="*/ 303 h 598"/>
                    <a:gd name="T18" fmla="*/ 529 w 549"/>
                    <a:gd name="T19" fmla="*/ 313 h 598"/>
                    <a:gd name="T20" fmla="*/ 531 w 549"/>
                    <a:gd name="T21" fmla="*/ 324 h 598"/>
                    <a:gd name="T22" fmla="*/ 534 w 549"/>
                    <a:gd name="T23" fmla="*/ 337 h 598"/>
                    <a:gd name="T24" fmla="*/ 534 w 549"/>
                    <a:gd name="T25" fmla="*/ 350 h 598"/>
                    <a:gd name="T26" fmla="*/ 536 w 549"/>
                    <a:gd name="T27" fmla="*/ 362 h 598"/>
                    <a:gd name="T28" fmla="*/ 539 w 549"/>
                    <a:gd name="T29" fmla="*/ 371 h 598"/>
                    <a:gd name="T30" fmla="*/ 543 w 549"/>
                    <a:gd name="T31" fmla="*/ 383 h 598"/>
                    <a:gd name="T32" fmla="*/ 549 w 549"/>
                    <a:gd name="T33" fmla="*/ 392 h 598"/>
                    <a:gd name="T34" fmla="*/ 547 w 549"/>
                    <a:gd name="T35" fmla="*/ 401 h 598"/>
                    <a:gd name="T36" fmla="*/ 514 w 549"/>
                    <a:gd name="T37" fmla="*/ 411 h 598"/>
                    <a:gd name="T38" fmla="*/ 466 w 549"/>
                    <a:gd name="T39" fmla="*/ 443 h 598"/>
                    <a:gd name="T40" fmla="*/ 400 w 549"/>
                    <a:gd name="T41" fmla="*/ 454 h 598"/>
                    <a:gd name="T42" fmla="*/ 377 w 549"/>
                    <a:gd name="T43" fmla="*/ 458 h 598"/>
                    <a:gd name="T44" fmla="*/ 393 w 549"/>
                    <a:gd name="T45" fmla="*/ 475 h 598"/>
                    <a:gd name="T46" fmla="*/ 387 w 549"/>
                    <a:gd name="T47" fmla="*/ 495 h 598"/>
                    <a:gd name="T48" fmla="*/ 380 w 549"/>
                    <a:gd name="T49" fmla="*/ 513 h 598"/>
                    <a:gd name="T50" fmla="*/ 381 w 549"/>
                    <a:gd name="T51" fmla="*/ 521 h 598"/>
                    <a:gd name="T52" fmla="*/ 383 w 549"/>
                    <a:gd name="T53" fmla="*/ 530 h 598"/>
                    <a:gd name="T54" fmla="*/ 390 w 549"/>
                    <a:gd name="T55" fmla="*/ 540 h 598"/>
                    <a:gd name="T56" fmla="*/ 390 w 549"/>
                    <a:gd name="T57" fmla="*/ 551 h 598"/>
                    <a:gd name="T58" fmla="*/ 386 w 549"/>
                    <a:gd name="T59" fmla="*/ 563 h 598"/>
                    <a:gd name="T60" fmla="*/ 360 w 549"/>
                    <a:gd name="T61" fmla="*/ 569 h 598"/>
                    <a:gd name="T62" fmla="*/ 262 w 549"/>
                    <a:gd name="T63" fmla="*/ 563 h 598"/>
                    <a:gd name="T64" fmla="*/ 262 w 549"/>
                    <a:gd name="T65" fmla="*/ 546 h 598"/>
                    <a:gd name="T66" fmla="*/ 258 w 549"/>
                    <a:gd name="T67" fmla="*/ 537 h 598"/>
                    <a:gd name="T68" fmla="*/ 248 w 549"/>
                    <a:gd name="T69" fmla="*/ 527 h 598"/>
                    <a:gd name="T70" fmla="*/ 238 w 549"/>
                    <a:gd name="T71" fmla="*/ 516 h 598"/>
                    <a:gd name="T72" fmla="*/ 225 w 549"/>
                    <a:gd name="T73" fmla="*/ 509 h 598"/>
                    <a:gd name="T74" fmla="*/ 210 w 549"/>
                    <a:gd name="T75" fmla="*/ 506 h 598"/>
                    <a:gd name="T76" fmla="*/ 197 w 549"/>
                    <a:gd name="T77" fmla="*/ 505 h 598"/>
                    <a:gd name="T78" fmla="*/ 185 w 549"/>
                    <a:gd name="T79" fmla="*/ 501 h 598"/>
                    <a:gd name="T80" fmla="*/ 179 w 549"/>
                    <a:gd name="T81" fmla="*/ 492 h 598"/>
                    <a:gd name="T82" fmla="*/ 166 w 549"/>
                    <a:gd name="T83" fmla="*/ 492 h 598"/>
                    <a:gd name="T84" fmla="*/ 156 w 549"/>
                    <a:gd name="T85" fmla="*/ 494 h 598"/>
                    <a:gd name="T86" fmla="*/ 146 w 549"/>
                    <a:gd name="T87" fmla="*/ 501 h 598"/>
                    <a:gd name="T88" fmla="*/ 145 w 549"/>
                    <a:gd name="T89" fmla="*/ 514 h 598"/>
                    <a:gd name="T90" fmla="*/ 136 w 549"/>
                    <a:gd name="T91" fmla="*/ 519 h 598"/>
                    <a:gd name="T92" fmla="*/ 126 w 549"/>
                    <a:gd name="T93" fmla="*/ 527 h 598"/>
                    <a:gd name="T94" fmla="*/ 118 w 549"/>
                    <a:gd name="T95" fmla="*/ 532 h 598"/>
                    <a:gd name="T96" fmla="*/ 115 w 549"/>
                    <a:gd name="T97" fmla="*/ 542 h 598"/>
                    <a:gd name="T98" fmla="*/ 113 w 549"/>
                    <a:gd name="T99" fmla="*/ 557 h 598"/>
                    <a:gd name="T100" fmla="*/ 102 w 549"/>
                    <a:gd name="T101" fmla="*/ 566 h 598"/>
                    <a:gd name="T102" fmla="*/ 91 w 549"/>
                    <a:gd name="T103" fmla="*/ 574 h 598"/>
                    <a:gd name="T104" fmla="*/ 79 w 549"/>
                    <a:gd name="T105" fmla="*/ 582 h 598"/>
                    <a:gd name="T106" fmla="*/ 27 w 549"/>
                    <a:gd name="T107" fmla="*/ 598 h 598"/>
                    <a:gd name="T108" fmla="*/ 1 w 549"/>
                    <a:gd name="T109" fmla="*/ 477 h 598"/>
                    <a:gd name="T110" fmla="*/ 1 w 549"/>
                    <a:gd name="T111" fmla="*/ 389 h 598"/>
                    <a:gd name="T112" fmla="*/ 1 w 549"/>
                    <a:gd name="T113" fmla="*/ 336 h 598"/>
                    <a:gd name="T114" fmla="*/ 1 w 549"/>
                    <a:gd name="T115" fmla="*/ 265 h 598"/>
                    <a:gd name="T116" fmla="*/ 1 w 549"/>
                    <a:gd name="T117" fmla="*/ 182 h 598"/>
                    <a:gd name="T118" fmla="*/ 1 w 549"/>
                    <a:gd name="T119" fmla="*/ 152 h 598"/>
                    <a:gd name="T120" fmla="*/ 1 w 549"/>
                    <a:gd name="T121" fmla="*/ 88 h 598"/>
                    <a:gd name="T122" fmla="*/ 14 w 549"/>
                    <a:gd name="T123" fmla="*/ 0 h 598"/>
                    <a:gd name="T124" fmla="*/ 257 w 549"/>
                    <a:gd name="T125"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9" h="598">
                      <a:moveTo>
                        <a:pt x="321" y="0"/>
                      </a:moveTo>
                      <a:lnTo>
                        <a:pt x="339" y="1"/>
                      </a:lnTo>
                      <a:lnTo>
                        <a:pt x="346" y="0"/>
                      </a:lnTo>
                      <a:lnTo>
                        <a:pt x="353" y="0"/>
                      </a:lnTo>
                      <a:lnTo>
                        <a:pt x="360" y="0"/>
                      </a:lnTo>
                      <a:lnTo>
                        <a:pt x="366" y="0"/>
                      </a:lnTo>
                      <a:lnTo>
                        <a:pt x="399" y="1"/>
                      </a:lnTo>
                      <a:lnTo>
                        <a:pt x="409" y="1"/>
                      </a:lnTo>
                      <a:lnTo>
                        <a:pt x="413" y="1"/>
                      </a:lnTo>
                      <a:lnTo>
                        <a:pt x="423" y="1"/>
                      </a:lnTo>
                      <a:lnTo>
                        <a:pt x="431" y="1"/>
                      </a:lnTo>
                      <a:lnTo>
                        <a:pt x="440" y="1"/>
                      </a:lnTo>
                      <a:lnTo>
                        <a:pt x="450" y="1"/>
                      </a:lnTo>
                      <a:lnTo>
                        <a:pt x="482" y="1"/>
                      </a:lnTo>
                      <a:lnTo>
                        <a:pt x="488" y="1"/>
                      </a:lnTo>
                      <a:lnTo>
                        <a:pt x="493" y="1"/>
                      </a:lnTo>
                      <a:lnTo>
                        <a:pt x="493" y="7"/>
                      </a:lnTo>
                      <a:lnTo>
                        <a:pt x="493" y="14"/>
                      </a:lnTo>
                      <a:lnTo>
                        <a:pt x="493" y="15"/>
                      </a:lnTo>
                      <a:lnTo>
                        <a:pt x="493" y="83"/>
                      </a:lnTo>
                      <a:lnTo>
                        <a:pt x="493" y="97"/>
                      </a:lnTo>
                      <a:lnTo>
                        <a:pt x="493" y="102"/>
                      </a:lnTo>
                      <a:lnTo>
                        <a:pt x="493" y="108"/>
                      </a:lnTo>
                      <a:lnTo>
                        <a:pt x="493" y="120"/>
                      </a:lnTo>
                      <a:lnTo>
                        <a:pt x="493" y="123"/>
                      </a:lnTo>
                      <a:lnTo>
                        <a:pt x="494" y="135"/>
                      </a:lnTo>
                      <a:lnTo>
                        <a:pt x="494" y="141"/>
                      </a:lnTo>
                      <a:lnTo>
                        <a:pt x="494" y="149"/>
                      </a:lnTo>
                      <a:lnTo>
                        <a:pt x="493" y="155"/>
                      </a:lnTo>
                      <a:lnTo>
                        <a:pt x="493" y="157"/>
                      </a:lnTo>
                      <a:lnTo>
                        <a:pt x="493" y="159"/>
                      </a:lnTo>
                      <a:lnTo>
                        <a:pt x="493" y="188"/>
                      </a:lnTo>
                      <a:lnTo>
                        <a:pt x="493" y="194"/>
                      </a:lnTo>
                      <a:lnTo>
                        <a:pt x="493" y="196"/>
                      </a:lnTo>
                      <a:lnTo>
                        <a:pt x="494" y="196"/>
                      </a:lnTo>
                      <a:lnTo>
                        <a:pt x="494" y="221"/>
                      </a:lnTo>
                      <a:lnTo>
                        <a:pt x="508" y="220"/>
                      </a:lnTo>
                      <a:lnTo>
                        <a:pt x="515" y="220"/>
                      </a:lnTo>
                      <a:lnTo>
                        <a:pt x="525" y="220"/>
                      </a:lnTo>
                      <a:lnTo>
                        <a:pt x="525" y="236"/>
                      </a:lnTo>
                      <a:lnTo>
                        <a:pt x="525" y="242"/>
                      </a:lnTo>
                      <a:lnTo>
                        <a:pt x="526" y="252"/>
                      </a:lnTo>
                      <a:lnTo>
                        <a:pt x="530" y="252"/>
                      </a:lnTo>
                      <a:lnTo>
                        <a:pt x="531" y="252"/>
                      </a:lnTo>
                      <a:lnTo>
                        <a:pt x="530" y="252"/>
                      </a:lnTo>
                      <a:lnTo>
                        <a:pt x="530" y="253"/>
                      </a:lnTo>
                      <a:lnTo>
                        <a:pt x="529" y="253"/>
                      </a:lnTo>
                      <a:lnTo>
                        <a:pt x="529" y="255"/>
                      </a:lnTo>
                      <a:lnTo>
                        <a:pt x="528" y="255"/>
                      </a:lnTo>
                      <a:lnTo>
                        <a:pt x="528" y="256"/>
                      </a:lnTo>
                      <a:lnTo>
                        <a:pt x="528" y="257"/>
                      </a:lnTo>
                      <a:lnTo>
                        <a:pt x="527" y="257"/>
                      </a:lnTo>
                      <a:lnTo>
                        <a:pt x="527" y="258"/>
                      </a:lnTo>
                      <a:lnTo>
                        <a:pt x="528" y="258"/>
                      </a:lnTo>
                      <a:lnTo>
                        <a:pt x="529" y="258"/>
                      </a:lnTo>
                      <a:lnTo>
                        <a:pt x="530" y="258"/>
                      </a:lnTo>
                      <a:lnTo>
                        <a:pt x="531" y="258"/>
                      </a:lnTo>
                      <a:lnTo>
                        <a:pt x="530" y="258"/>
                      </a:lnTo>
                      <a:lnTo>
                        <a:pt x="530" y="259"/>
                      </a:lnTo>
                      <a:lnTo>
                        <a:pt x="531" y="259"/>
                      </a:lnTo>
                      <a:lnTo>
                        <a:pt x="530" y="259"/>
                      </a:lnTo>
                      <a:lnTo>
                        <a:pt x="531" y="260"/>
                      </a:lnTo>
                      <a:lnTo>
                        <a:pt x="530" y="260"/>
                      </a:lnTo>
                      <a:lnTo>
                        <a:pt x="531" y="260"/>
                      </a:lnTo>
                      <a:lnTo>
                        <a:pt x="531" y="261"/>
                      </a:lnTo>
                      <a:lnTo>
                        <a:pt x="530" y="261"/>
                      </a:lnTo>
                      <a:lnTo>
                        <a:pt x="531" y="261"/>
                      </a:lnTo>
                      <a:lnTo>
                        <a:pt x="531" y="262"/>
                      </a:lnTo>
                      <a:lnTo>
                        <a:pt x="532" y="262"/>
                      </a:lnTo>
                      <a:lnTo>
                        <a:pt x="531" y="262"/>
                      </a:lnTo>
                      <a:lnTo>
                        <a:pt x="531" y="263"/>
                      </a:lnTo>
                      <a:lnTo>
                        <a:pt x="532" y="263"/>
                      </a:lnTo>
                      <a:lnTo>
                        <a:pt x="531" y="263"/>
                      </a:lnTo>
                      <a:lnTo>
                        <a:pt x="531" y="264"/>
                      </a:lnTo>
                      <a:lnTo>
                        <a:pt x="531" y="263"/>
                      </a:lnTo>
                      <a:lnTo>
                        <a:pt x="530" y="263"/>
                      </a:lnTo>
                      <a:lnTo>
                        <a:pt x="530" y="264"/>
                      </a:lnTo>
                      <a:lnTo>
                        <a:pt x="530" y="265"/>
                      </a:lnTo>
                      <a:lnTo>
                        <a:pt x="529" y="265"/>
                      </a:lnTo>
                      <a:lnTo>
                        <a:pt x="528" y="265"/>
                      </a:lnTo>
                      <a:lnTo>
                        <a:pt x="529" y="265"/>
                      </a:lnTo>
                      <a:lnTo>
                        <a:pt x="529" y="267"/>
                      </a:lnTo>
                      <a:lnTo>
                        <a:pt x="529" y="268"/>
                      </a:lnTo>
                      <a:lnTo>
                        <a:pt x="529" y="269"/>
                      </a:lnTo>
                      <a:lnTo>
                        <a:pt x="530" y="269"/>
                      </a:lnTo>
                      <a:lnTo>
                        <a:pt x="530" y="270"/>
                      </a:lnTo>
                      <a:lnTo>
                        <a:pt x="531" y="270"/>
                      </a:lnTo>
                      <a:lnTo>
                        <a:pt x="531" y="271"/>
                      </a:lnTo>
                      <a:lnTo>
                        <a:pt x="532" y="271"/>
                      </a:lnTo>
                      <a:lnTo>
                        <a:pt x="531" y="271"/>
                      </a:lnTo>
                      <a:lnTo>
                        <a:pt x="531" y="272"/>
                      </a:lnTo>
                      <a:lnTo>
                        <a:pt x="531" y="273"/>
                      </a:lnTo>
                      <a:lnTo>
                        <a:pt x="531" y="274"/>
                      </a:lnTo>
                      <a:lnTo>
                        <a:pt x="531" y="275"/>
                      </a:lnTo>
                      <a:lnTo>
                        <a:pt x="531" y="276"/>
                      </a:lnTo>
                      <a:lnTo>
                        <a:pt x="531" y="277"/>
                      </a:lnTo>
                      <a:lnTo>
                        <a:pt x="530" y="277"/>
                      </a:lnTo>
                      <a:lnTo>
                        <a:pt x="531" y="277"/>
                      </a:lnTo>
                      <a:lnTo>
                        <a:pt x="531" y="278"/>
                      </a:lnTo>
                      <a:lnTo>
                        <a:pt x="531" y="280"/>
                      </a:lnTo>
                      <a:lnTo>
                        <a:pt x="532" y="280"/>
                      </a:lnTo>
                      <a:lnTo>
                        <a:pt x="532" y="281"/>
                      </a:lnTo>
                      <a:lnTo>
                        <a:pt x="533" y="281"/>
                      </a:lnTo>
                      <a:lnTo>
                        <a:pt x="533" y="282"/>
                      </a:lnTo>
                      <a:lnTo>
                        <a:pt x="532" y="282"/>
                      </a:lnTo>
                      <a:lnTo>
                        <a:pt x="532" y="283"/>
                      </a:lnTo>
                      <a:lnTo>
                        <a:pt x="532" y="284"/>
                      </a:lnTo>
                      <a:lnTo>
                        <a:pt x="532" y="285"/>
                      </a:lnTo>
                      <a:lnTo>
                        <a:pt x="531" y="285"/>
                      </a:lnTo>
                      <a:lnTo>
                        <a:pt x="532" y="285"/>
                      </a:lnTo>
                      <a:lnTo>
                        <a:pt x="531" y="285"/>
                      </a:lnTo>
                      <a:lnTo>
                        <a:pt x="531" y="286"/>
                      </a:lnTo>
                      <a:lnTo>
                        <a:pt x="530" y="286"/>
                      </a:lnTo>
                      <a:lnTo>
                        <a:pt x="531" y="286"/>
                      </a:lnTo>
                      <a:lnTo>
                        <a:pt x="531" y="287"/>
                      </a:lnTo>
                      <a:lnTo>
                        <a:pt x="530" y="287"/>
                      </a:lnTo>
                      <a:lnTo>
                        <a:pt x="530" y="288"/>
                      </a:lnTo>
                      <a:lnTo>
                        <a:pt x="530" y="289"/>
                      </a:lnTo>
                      <a:lnTo>
                        <a:pt x="530" y="290"/>
                      </a:lnTo>
                      <a:lnTo>
                        <a:pt x="530" y="291"/>
                      </a:lnTo>
                      <a:lnTo>
                        <a:pt x="530" y="293"/>
                      </a:lnTo>
                      <a:lnTo>
                        <a:pt x="530" y="294"/>
                      </a:lnTo>
                      <a:lnTo>
                        <a:pt x="530" y="295"/>
                      </a:lnTo>
                      <a:lnTo>
                        <a:pt x="531" y="295"/>
                      </a:lnTo>
                      <a:lnTo>
                        <a:pt x="531" y="296"/>
                      </a:lnTo>
                      <a:lnTo>
                        <a:pt x="531" y="297"/>
                      </a:lnTo>
                      <a:lnTo>
                        <a:pt x="530" y="297"/>
                      </a:lnTo>
                      <a:lnTo>
                        <a:pt x="530" y="298"/>
                      </a:lnTo>
                      <a:lnTo>
                        <a:pt x="530" y="299"/>
                      </a:lnTo>
                      <a:lnTo>
                        <a:pt x="530" y="300"/>
                      </a:lnTo>
                      <a:lnTo>
                        <a:pt x="530" y="301"/>
                      </a:lnTo>
                      <a:lnTo>
                        <a:pt x="531" y="302"/>
                      </a:lnTo>
                      <a:lnTo>
                        <a:pt x="530" y="302"/>
                      </a:lnTo>
                      <a:lnTo>
                        <a:pt x="531" y="302"/>
                      </a:lnTo>
                      <a:lnTo>
                        <a:pt x="531" y="303"/>
                      </a:lnTo>
                      <a:lnTo>
                        <a:pt x="530" y="303"/>
                      </a:lnTo>
                      <a:lnTo>
                        <a:pt x="531" y="303"/>
                      </a:lnTo>
                      <a:lnTo>
                        <a:pt x="531" y="304"/>
                      </a:lnTo>
                      <a:lnTo>
                        <a:pt x="530" y="306"/>
                      </a:lnTo>
                      <a:lnTo>
                        <a:pt x="529" y="306"/>
                      </a:lnTo>
                      <a:lnTo>
                        <a:pt x="528" y="306"/>
                      </a:lnTo>
                      <a:lnTo>
                        <a:pt x="528" y="307"/>
                      </a:lnTo>
                      <a:lnTo>
                        <a:pt x="528" y="308"/>
                      </a:lnTo>
                      <a:lnTo>
                        <a:pt x="529" y="308"/>
                      </a:lnTo>
                      <a:lnTo>
                        <a:pt x="529" y="309"/>
                      </a:lnTo>
                      <a:lnTo>
                        <a:pt x="528" y="310"/>
                      </a:lnTo>
                      <a:lnTo>
                        <a:pt x="528" y="311"/>
                      </a:lnTo>
                      <a:lnTo>
                        <a:pt x="528" y="312"/>
                      </a:lnTo>
                      <a:lnTo>
                        <a:pt x="529" y="312"/>
                      </a:lnTo>
                      <a:lnTo>
                        <a:pt x="529" y="313"/>
                      </a:lnTo>
                      <a:lnTo>
                        <a:pt x="528" y="313"/>
                      </a:lnTo>
                      <a:lnTo>
                        <a:pt x="528" y="314"/>
                      </a:lnTo>
                      <a:lnTo>
                        <a:pt x="528" y="315"/>
                      </a:lnTo>
                      <a:lnTo>
                        <a:pt x="529" y="315"/>
                      </a:lnTo>
                      <a:lnTo>
                        <a:pt x="530" y="316"/>
                      </a:lnTo>
                      <a:lnTo>
                        <a:pt x="530" y="317"/>
                      </a:lnTo>
                      <a:lnTo>
                        <a:pt x="531" y="317"/>
                      </a:lnTo>
                      <a:lnTo>
                        <a:pt x="531" y="319"/>
                      </a:lnTo>
                      <a:lnTo>
                        <a:pt x="531" y="320"/>
                      </a:lnTo>
                      <a:lnTo>
                        <a:pt x="531" y="321"/>
                      </a:lnTo>
                      <a:lnTo>
                        <a:pt x="530" y="321"/>
                      </a:lnTo>
                      <a:lnTo>
                        <a:pt x="531" y="321"/>
                      </a:lnTo>
                      <a:lnTo>
                        <a:pt x="531" y="322"/>
                      </a:lnTo>
                      <a:lnTo>
                        <a:pt x="531" y="323"/>
                      </a:lnTo>
                      <a:lnTo>
                        <a:pt x="531" y="324"/>
                      </a:lnTo>
                      <a:lnTo>
                        <a:pt x="531" y="325"/>
                      </a:lnTo>
                      <a:lnTo>
                        <a:pt x="531" y="326"/>
                      </a:lnTo>
                      <a:lnTo>
                        <a:pt x="531" y="327"/>
                      </a:lnTo>
                      <a:lnTo>
                        <a:pt x="532" y="327"/>
                      </a:lnTo>
                      <a:lnTo>
                        <a:pt x="532" y="328"/>
                      </a:lnTo>
                      <a:lnTo>
                        <a:pt x="532" y="329"/>
                      </a:lnTo>
                      <a:lnTo>
                        <a:pt x="533" y="330"/>
                      </a:lnTo>
                      <a:lnTo>
                        <a:pt x="532" y="330"/>
                      </a:lnTo>
                      <a:lnTo>
                        <a:pt x="532" y="332"/>
                      </a:lnTo>
                      <a:lnTo>
                        <a:pt x="532" y="333"/>
                      </a:lnTo>
                      <a:lnTo>
                        <a:pt x="533" y="333"/>
                      </a:lnTo>
                      <a:lnTo>
                        <a:pt x="533" y="334"/>
                      </a:lnTo>
                      <a:lnTo>
                        <a:pt x="533" y="335"/>
                      </a:lnTo>
                      <a:lnTo>
                        <a:pt x="534" y="336"/>
                      </a:lnTo>
                      <a:lnTo>
                        <a:pt x="534" y="337"/>
                      </a:lnTo>
                      <a:lnTo>
                        <a:pt x="535" y="337"/>
                      </a:lnTo>
                      <a:lnTo>
                        <a:pt x="535" y="338"/>
                      </a:lnTo>
                      <a:lnTo>
                        <a:pt x="535" y="340"/>
                      </a:lnTo>
                      <a:lnTo>
                        <a:pt x="536" y="340"/>
                      </a:lnTo>
                      <a:lnTo>
                        <a:pt x="536" y="341"/>
                      </a:lnTo>
                      <a:lnTo>
                        <a:pt x="536" y="342"/>
                      </a:lnTo>
                      <a:lnTo>
                        <a:pt x="535" y="342"/>
                      </a:lnTo>
                      <a:lnTo>
                        <a:pt x="535" y="345"/>
                      </a:lnTo>
                      <a:lnTo>
                        <a:pt x="534" y="345"/>
                      </a:lnTo>
                      <a:lnTo>
                        <a:pt x="534" y="346"/>
                      </a:lnTo>
                      <a:lnTo>
                        <a:pt x="534" y="347"/>
                      </a:lnTo>
                      <a:lnTo>
                        <a:pt x="533" y="348"/>
                      </a:lnTo>
                      <a:lnTo>
                        <a:pt x="534" y="348"/>
                      </a:lnTo>
                      <a:lnTo>
                        <a:pt x="534" y="349"/>
                      </a:lnTo>
                      <a:lnTo>
                        <a:pt x="534" y="350"/>
                      </a:lnTo>
                      <a:lnTo>
                        <a:pt x="534" y="351"/>
                      </a:lnTo>
                      <a:lnTo>
                        <a:pt x="534" y="352"/>
                      </a:lnTo>
                      <a:lnTo>
                        <a:pt x="535" y="352"/>
                      </a:lnTo>
                      <a:lnTo>
                        <a:pt x="535" y="353"/>
                      </a:lnTo>
                      <a:lnTo>
                        <a:pt x="535" y="354"/>
                      </a:lnTo>
                      <a:lnTo>
                        <a:pt x="535" y="355"/>
                      </a:lnTo>
                      <a:lnTo>
                        <a:pt x="536" y="357"/>
                      </a:lnTo>
                      <a:lnTo>
                        <a:pt x="536" y="358"/>
                      </a:lnTo>
                      <a:lnTo>
                        <a:pt x="535" y="358"/>
                      </a:lnTo>
                      <a:lnTo>
                        <a:pt x="535" y="359"/>
                      </a:lnTo>
                      <a:lnTo>
                        <a:pt x="534" y="359"/>
                      </a:lnTo>
                      <a:lnTo>
                        <a:pt x="535" y="360"/>
                      </a:lnTo>
                      <a:lnTo>
                        <a:pt x="535" y="361"/>
                      </a:lnTo>
                      <a:lnTo>
                        <a:pt x="535" y="362"/>
                      </a:lnTo>
                      <a:lnTo>
                        <a:pt x="536" y="362"/>
                      </a:lnTo>
                      <a:lnTo>
                        <a:pt x="535" y="363"/>
                      </a:lnTo>
                      <a:lnTo>
                        <a:pt x="536" y="363"/>
                      </a:lnTo>
                      <a:lnTo>
                        <a:pt x="536" y="364"/>
                      </a:lnTo>
                      <a:lnTo>
                        <a:pt x="536" y="365"/>
                      </a:lnTo>
                      <a:lnTo>
                        <a:pt x="536" y="366"/>
                      </a:lnTo>
                      <a:lnTo>
                        <a:pt x="538" y="366"/>
                      </a:lnTo>
                      <a:lnTo>
                        <a:pt x="538" y="367"/>
                      </a:lnTo>
                      <a:lnTo>
                        <a:pt x="539" y="367"/>
                      </a:lnTo>
                      <a:lnTo>
                        <a:pt x="538" y="367"/>
                      </a:lnTo>
                      <a:lnTo>
                        <a:pt x="538" y="368"/>
                      </a:lnTo>
                      <a:lnTo>
                        <a:pt x="538" y="370"/>
                      </a:lnTo>
                      <a:lnTo>
                        <a:pt x="536" y="370"/>
                      </a:lnTo>
                      <a:lnTo>
                        <a:pt x="536" y="371"/>
                      </a:lnTo>
                      <a:lnTo>
                        <a:pt x="538" y="371"/>
                      </a:lnTo>
                      <a:lnTo>
                        <a:pt x="539" y="371"/>
                      </a:lnTo>
                      <a:lnTo>
                        <a:pt x="539" y="372"/>
                      </a:lnTo>
                      <a:lnTo>
                        <a:pt x="539" y="373"/>
                      </a:lnTo>
                      <a:lnTo>
                        <a:pt x="539" y="374"/>
                      </a:lnTo>
                      <a:lnTo>
                        <a:pt x="539" y="375"/>
                      </a:lnTo>
                      <a:lnTo>
                        <a:pt x="539" y="376"/>
                      </a:lnTo>
                      <a:lnTo>
                        <a:pt x="540" y="376"/>
                      </a:lnTo>
                      <a:lnTo>
                        <a:pt x="540" y="377"/>
                      </a:lnTo>
                      <a:lnTo>
                        <a:pt x="541" y="377"/>
                      </a:lnTo>
                      <a:lnTo>
                        <a:pt x="541" y="378"/>
                      </a:lnTo>
                      <a:lnTo>
                        <a:pt x="541" y="379"/>
                      </a:lnTo>
                      <a:lnTo>
                        <a:pt x="542" y="379"/>
                      </a:lnTo>
                      <a:lnTo>
                        <a:pt x="542" y="380"/>
                      </a:lnTo>
                      <a:lnTo>
                        <a:pt x="542" y="381"/>
                      </a:lnTo>
                      <a:lnTo>
                        <a:pt x="542" y="383"/>
                      </a:lnTo>
                      <a:lnTo>
                        <a:pt x="543" y="383"/>
                      </a:lnTo>
                      <a:lnTo>
                        <a:pt x="544" y="383"/>
                      </a:lnTo>
                      <a:lnTo>
                        <a:pt x="544" y="384"/>
                      </a:lnTo>
                      <a:lnTo>
                        <a:pt x="545" y="385"/>
                      </a:lnTo>
                      <a:lnTo>
                        <a:pt x="545" y="386"/>
                      </a:lnTo>
                      <a:lnTo>
                        <a:pt x="545" y="387"/>
                      </a:lnTo>
                      <a:lnTo>
                        <a:pt x="544" y="388"/>
                      </a:lnTo>
                      <a:lnTo>
                        <a:pt x="544" y="389"/>
                      </a:lnTo>
                      <a:lnTo>
                        <a:pt x="544" y="390"/>
                      </a:lnTo>
                      <a:lnTo>
                        <a:pt x="544" y="391"/>
                      </a:lnTo>
                      <a:lnTo>
                        <a:pt x="544" y="392"/>
                      </a:lnTo>
                      <a:lnTo>
                        <a:pt x="545" y="392"/>
                      </a:lnTo>
                      <a:lnTo>
                        <a:pt x="546" y="392"/>
                      </a:lnTo>
                      <a:lnTo>
                        <a:pt x="547" y="392"/>
                      </a:lnTo>
                      <a:lnTo>
                        <a:pt x="548" y="392"/>
                      </a:lnTo>
                      <a:lnTo>
                        <a:pt x="549" y="392"/>
                      </a:lnTo>
                      <a:lnTo>
                        <a:pt x="549" y="393"/>
                      </a:lnTo>
                      <a:lnTo>
                        <a:pt x="548" y="393"/>
                      </a:lnTo>
                      <a:lnTo>
                        <a:pt x="549" y="394"/>
                      </a:lnTo>
                      <a:lnTo>
                        <a:pt x="549" y="396"/>
                      </a:lnTo>
                      <a:lnTo>
                        <a:pt x="548" y="397"/>
                      </a:lnTo>
                      <a:lnTo>
                        <a:pt x="548" y="398"/>
                      </a:lnTo>
                      <a:lnTo>
                        <a:pt x="549" y="398"/>
                      </a:lnTo>
                      <a:lnTo>
                        <a:pt x="549" y="399"/>
                      </a:lnTo>
                      <a:lnTo>
                        <a:pt x="548" y="399"/>
                      </a:lnTo>
                      <a:lnTo>
                        <a:pt x="547" y="400"/>
                      </a:lnTo>
                      <a:lnTo>
                        <a:pt x="548" y="400"/>
                      </a:lnTo>
                      <a:lnTo>
                        <a:pt x="548" y="401"/>
                      </a:lnTo>
                      <a:lnTo>
                        <a:pt x="547" y="401"/>
                      </a:lnTo>
                      <a:lnTo>
                        <a:pt x="547" y="402"/>
                      </a:lnTo>
                      <a:lnTo>
                        <a:pt x="547" y="401"/>
                      </a:lnTo>
                      <a:lnTo>
                        <a:pt x="546" y="401"/>
                      </a:lnTo>
                      <a:lnTo>
                        <a:pt x="546" y="402"/>
                      </a:lnTo>
                      <a:lnTo>
                        <a:pt x="546" y="403"/>
                      </a:lnTo>
                      <a:lnTo>
                        <a:pt x="547" y="403"/>
                      </a:lnTo>
                      <a:lnTo>
                        <a:pt x="547" y="404"/>
                      </a:lnTo>
                      <a:lnTo>
                        <a:pt x="547" y="405"/>
                      </a:lnTo>
                      <a:lnTo>
                        <a:pt x="546" y="405"/>
                      </a:lnTo>
                      <a:lnTo>
                        <a:pt x="546" y="406"/>
                      </a:lnTo>
                      <a:lnTo>
                        <a:pt x="546" y="407"/>
                      </a:lnTo>
                      <a:lnTo>
                        <a:pt x="547" y="407"/>
                      </a:lnTo>
                      <a:lnTo>
                        <a:pt x="548" y="409"/>
                      </a:lnTo>
                      <a:lnTo>
                        <a:pt x="549" y="410"/>
                      </a:lnTo>
                      <a:lnTo>
                        <a:pt x="549" y="411"/>
                      </a:lnTo>
                      <a:lnTo>
                        <a:pt x="527" y="411"/>
                      </a:lnTo>
                      <a:lnTo>
                        <a:pt x="514" y="411"/>
                      </a:lnTo>
                      <a:lnTo>
                        <a:pt x="513" y="411"/>
                      </a:lnTo>
                      <a:lnTo>
                        <a:pt x="512" y="411"/>
                      </a:lnTo>
                      <a:lnTo>
                        <a:pt x="494" y="411"/>
                      </a:lnTo>
                      <a:lnTo>
                        <a:pt x="494" y="413"/>
                      </a:lnTo>
                      <a:lnTo>
                        <a:pt x="494" y="419"/>
                      </a:lnTo>
                      <a:lnTo>
                        <a:pt x="494" y="423"/>
                      </a:lnTo>
                      <a:lnTo>
                        <a:pt x="494" y="425"/>
                      </a:lnTo>
                      <a:lnTo>
                        <a:pt x="494" y="427"/>
                      </a:lnTo>
                      <a:lnTo>
                        <a:pt x="494" y="431"/>
                      </a:lnTo>
                      <a:lnTo>
                        <a:pt x="494" y="443"/>
                      </a:lnTo>
                      <a:lnTo>
                        <a:pt x="486" y="443"/>
                      </a:lnTo>
                      <a:lnTo>
                        <a:pt x="479" y="443"/>
                      </a:lnTo>
                      <a:lnTo>
                        <a:pt x="476" y="443"/>
                      </a:lnTo>
                      <a:lnTo>
                        <a:pt x="467" y="443"/>
                      </a:lnTo>
                      <a:lnTo>
                        <a:pt x="466" y="443"/>
                      </a:lnTo>
                      <a:lnTo>
                        <a:pt x="456" y="443"/>
                      </a:lnTo>
                      <a:lnTo>
                        <a:pt x="448" y="443"/>
                      </a:lnTo>
                      <a:lnTo>
                        <a:pt x="441" y="443"/>
                      </a:lnTo>
                      <a:lnTo>
                        <a:pt x="431" y="443"/>
                      </a:lnTo>
                      <a:lnTo>
                        <a:pt x="424" y="443"/>
                      </a:lnTo>
                      <a:lnTo>
                        <a:pt x="416" y="443"/>
                      </a:lnTo>
                      <a:lnTo>
                        <a:pt x="411" y="443"/>
                      </a:lnTo>
                      <a:lnTo>
                        <a:pt x="410" y="444"/>
                      </a:lnTo>
                      <a:lnTo>
                        <a:pt x="409" y="445"/>
                      </a:lnTo>
                      <a:lnTo>
                        <a:pt x="406" y="447"/>
                      </a:lnTo>
                      <a:lnTo>
                        <a:pt x="405" y="448"/>
                      </a:lnTo>
                      <a:lnTo>
                        <a:pt x="404" y="449"/>
                      </a:lnTo>
                      <a:lnTo>
                        <a:pt x="403" y="452"/>
                      </a:lnTo>
                      <a:lnTo>
                        <a:pt x="401" y="453"/>
                      </a:lnTo>
                      <a:lnTo>
                        <a:pt x="400" y="454"/>
                      </a:lnTo>
                      <a:lnTo>
                        <a:pt x="399" y="454"/>
                      </a:lnTo>
                      <a:lnTo>
                        <a:pt x="397" y="454"/>
                      </a:lnTo>
                      <a:lnTo>
                        <a:pt x="396" y="454"/>
                      </a:lnTo>
                      <a:lnTo>
                        <a:pt x="394" y="453"/>
                      </a:lnTo>
                      <a:lnTo>
                        <a:pt x="390" y="451"/>
                      </a:lnTo>
                      <a:lnTo>
                        <a:pt x="388" y="451"/>
                      </a:lnTo>
                      <a:lnTo>
                        <a:pt x="387" y="450"/>
                      </a:lnTo>
                      <a:lnTo>
                        <a:pt x="385" y="450"/>
                      </a:lnTo>
                      <a:lnTo>
                        <a:pt x="384" y="450"/>
                      </a:lnTo>
                      <a:lnTo>
                        <a:pt x="383" y="450"/>
                      </a:lnTo>
                      <a:lnTo>
                        <a:pt x="381" y="451"/>
                      </a:lnTo>
                      <a:lnTo>
                        <a:pt x="380" y="452"/>
                      </a:lnTo>
                      <a:lnTo>
                        <a:pt x="378" y="454"/>
                      </a:lnTo>
                      <a:lnTo>
                        <a:pt x="377" y="456"/>
                      </a:lnTo>
                      <a:lnTo>
                        <a:pt x="377" y="458"/>
                      </a:lnTo>
                      <a:lnTo>
                        <a:pt x="377" y="462"/>
                      </a:lnTo>
                      <a:lnTo>
                        <a:pt x="377" y="463"/>
                      </a:lnTo>
                      <a:lnTo>
                        <a:pt x="377" y="464"/>
                      </a:lnTo>
                      <a:lnTo>
                        <a:pt x="378" y="465"/>
                      </a:lnTo>
                      <a:lnTo>
                        <a:pt x="379" y="467"/>
                      </a:lnTo>
                      <a:lnTo>
                        <a:pt x="380" y="468"/>
                      </a:lnTo>
                      <a:lnTo>
                        <a:pt x="381" y="469"/>
                      </a:lnTo>
                      <a:lnTo>
                        <a:pt x="383" y="469"/>
                      </a:lnTo>
                      <a:lnTo>
                        <a:pt x="384" y="470"/>
                      </a:lnTo>
                      <a:lnTo>
                        <a:pt x="386" y="470"/>
                      </a:lnTo>
                      <a:lnTo>
                        <a:pt x="390" y="471"/>
                      </a:lnTo>
                      <a:lnTo>
                        <a:pt x="391" y="473"/>
                      </a:lnTo>
                      <a:lnTo>
                        <a:pt x="392" y="474"/>
                      </a:lnTo>
                      <a:lnTo>
                        <a:pt x="393" y="474"/>
                      </a:lnTo>
                      <a:lnTo>
                        <a:pt x="393" y="475"/>
                      </a:lnTo>
                      <a:lnTo>
                        <a:pt x="394" y="476"/>
                      </a:lnTo>
                      <a:lnTo>
                        <a:pt x="394" y="477"/>
                      </a:lnTo>
                      <a:lnTo>
                        <a:pt x="394" y="478"/>
                      </a:lnTo>
                      <a:lnTo>
                        <a:pt x="394" y="479"/>
                      </a:lnTo>
                      <a:lnTo>
                        <a:pt x="394" y="480"/>
                      </a:lnTo>
                      <a:lnTo>
                        <a:pt x="393" y="481"/>
                      </a:lnTo>
                      <a:lnTo>
                        <a:pt x="393" y="482"/>
                      </a:lnTo>
                      <a:lnTo>
                        <a:pt x="392" y="484"/>
                      </a:lnTo>
                      <a:lnTo>
                        <a:pt x="390" y="486"/>
                      </a:lnTo>
                      <a:lnTo>
                        <a:pt x="390" y="487"/>
                      </a:lnTo>
                      <a:lnTo>
                        <a:pt x="389" y="488"/>
                      </a:lnTo>
                      <a:lnTo>
                        <a:pt x="388" y="490"/>
                      </a:lnTo>
                      <a:lnTo>
                        <a:pt x="388" y="491"/>
                      </a:lnTo>
                      <a:lnTo>
                        <a:pt x="387" y="493"/>
                      </a:lnTo>
                      <a:lnTo>
                        <a:pt x="387" y="495"/>
                      </a:lnTo>
                      <a:lnTo>
                        <a:pt x="386" y="499"/>
                      </a:lnTo>
                      <a:lnTo>
                        <a:pt x="385" y="500"/>
                      </a:lnTo>
                      <a:lnTo>
                        <a:pt x="385" y="503"/>
                      </a:lnTo>
                      <a:lnTo>
                        <a:pt x="385" y="505"/>
                      </a:lnTo>
                      <a:lnTo>
                        <a:pt x="384" y="506"/>
                      </a:lnTo>
                      <a:lnTo>
                        <a:pt x="384" y="507"/>
                      </a:lnTo>
                      <a:lnTo>
                        <a:pt x="383" y="508"/>
                      </a:lnTo>
                      <a:lnTo>
                        <a:pt x="381" y="508"/>
                      </a:lnTo>
                      <a:lnTo>
                        <a:pt x="381" y="509"/>
                      </a:lnTo>
                      <a:lnTo>
                        <a:pt x="383" y="509"/>
                      </a:lnTo>
                      <a:lnTo>
                        <a:pt x="383" y="510"/>
                      </a:lnTo>
                      <a:lnTo>
                        <a:pt x="381" y="510"/>
                      </a:lnTo>
                      <a:lnTo>
                        <a:pt x="380" y="510"/>
                      </a:lnTo>
                      <a:lnTo>
                        <a:pt x="380" y="512"/>
                      </a:lnTo>
                      <a:lnTo>
                        <a:pt x="380" y="513"/>
                      </a:lnTo>
                      <a:lnTo>
                        <a:pt x="380" y="514"/>
                      </a:lnTo>
                      <a:lnTo>
                        <a:pt x="380" y="515"/>
                      </a:lnTo>
                      <a:lnTo>
                        <a:pt x="379" y="516"/>
                      </a:lnTo>
                      <a:lnTo>
                        <a:pt x="378" y="516"/>
                      </a:lnTo>
                      <a:lnTo>
                        <a:pt x="378" y="517"/>
                      </a:lnTo>
                      <a:lnTo>
                        <a:pt x="378" y="518"/>
                      </a:lnTo>
                      <a:lnTo>
                        <a:pt x="379" y="518"/>
                      </a:lnTo>
                      <a:lnTo>
                        <a:pt x="379" y="519"/>
                      </a:lnTo>
                      <a:lnTo>
                        <a:pt x="378" y="519"/>
                      </a:lnTo>
                      <a:lnTo>
                        <a:pt x="378" y="520"/>
                      </a:lnTo>
                      <a:lnTo>
                        <a:pt x="378" y="521"/>
                      </a:lnTo>
                      <a:lnTo>
                        <a:pt x="379" y="521"/>
                      </a:lnTo>
                      <a:lnTo>
                        <a:pt x="379" y="522"/>
                      </a:lnTo>
                      <a:lnTo>
                        <a:pt x="380" y="521"/>
                      </a:lnTo>
                      <a:lnTo>
                        <a:pt x="381" y="521"/>
                      </a:lnTo>
                      <a:lnTo>
                        <a:pt x="380" y="522"/>
                      </a:lnTo>
                      <a:lnTo>
                        <a:pt x="379" y="522"/>
                      </a:lnTo>
                      <a:lnTo>
                        <a:pt x="379" y="524"/>
                      </a:lnTo>
                      <a:lnTo>
                        <a:pt x="379" y="525"/>
                      </a:lnTo>
                      <a:lnTo>
                        <a:pt x="380" y="525"/>
                      </a:lnTo>
                      <a:lnTo>
                        <a:pt x="381" y="525"/>
                      </a:lnTo>
                      <a:lnTo>
                        <a:pt x="381" y="526"/>
                      </a:lnTo>
                      <a:lnTo>
                        <a:pt x="383" y="526"/>
                      </a:lnTo>
                      <a:lnTo>
                        <a:pt x="384" y="526"/>
                      </a:lnTo>
                      <a:lnTo>
                        <a:pt x="384" y="527"/>
                      </a:lnTo>
                      <a:lnTo>
                        <a:pt x="383" y="527"/>
                      </a:lnTo>
                      <a:lnTo>
                        <a:pt x="383" y="528"/>
                      </a:lnTo>
                      <a:lnTo>
                        <a:pt x="381" y="528"/>
                      </a:lnTo>
                      <a:lnTo>
                        <a:pt x="381" y="529"/>
                      </a:lnTo>
                      <a:lnTo>
                        <a:pt x="383" y="530"/>
                      </a:lnTo>
                      <a:lnTo>
                        <a:pt x="383" y="532"/>
                      </a:lnTo>
                      <a:lnTo>
                        <a:pt x="383" y="534"/>
                      </a:lnTo>
                      <a:lnTo>
                        <a:pt x="384" y="534"/>
                      </a:lnTo>
                      <a:lnTo>
                        <a:pt x="385" y="533"/>
                      </a:lnTo>
                      <a:lnTo>
                        <a:pt x="386" y="533"/>
                      </a:lnTo>
                      <a:lnTo>
                        <a:pt x="387" y="532"/>
                      </a:lnTo>
                      <a:lnTo>
                        <a:pt x="388" y="533"/>
                      </a:lnTo>
                      <a:lnTo>
                        <a:pt x="389" y="533"/>
                      </a:lnTo>
                      <a:lnTo>
                        <a:pt x="390" y="534"/>
                      </a:lnTo>
                      <a:lnTo>
                        <a:pt x="390" y="535"/>
                      </a:lnTo>
                      <a:lnTo>
                        <a:pt x="390" y="537"/>
                      </a:lnTo>
                      <a:lnTo>
                        <a:pt x="391" y="538"/>
                      </a:lnTo>
                      <a:lnTo>
                        <a:pt x="391" y="539"/>
                      </a:lnTo>
                      <a:lnTo>
                        <a:pt x="391" y="540"/>
                      </a:lnTo>
                      <a:lnTo>
                        <a:pt x="390" y="540"/>
                      </a:lnTo>
                      <a:lnTo>
                        <a:pt x="389" y="540"/>
                      </a:lnTo>
                      <a:lnTo>
                        <a:pt x="389" y="541"/>
                      </a:lnTo>
                      <a:lnTo>
                        <a:pt x="389" y="543"/>
                      </a:lnTo>
                      <a:lnTo>
                        <a:pt x="388" y="543"/>
                      </a:lnTo>
                      <a:lnTo>
                        <a:pt x="388" y="544"/>
                      </a:lnTo>
                      <a:lnTo>
                        <a:pt x="388" y="545"/>
                      </a:lnTo>
                      <a:lnTo>
                        <a:pt x="389" y="545"/>
                      </a:lnTo>
                      <a:lnTo>
                        <a:pt x="389" y="546"/>
                      </a:lnTo>
                      <a:lnTo>
                        <a:pt x="390" y="546"/>
                      </a:lnTo>
                      <a:lnTo>
                        <a:pt x="391" y="546"/>
                      </a:lnTo>
                      <a:lnTo>
                        <a:pt x="391" y="547"/>
                      </a:lnTo>
                      <a:lnTo>
                        <a:pt x="390" y="547"/>
                      </a:lnTo>
                      <a:lnTo>
                        <a:pt x="389" y="548"/>
                      </a:lnTo>
                      <a:lnTo>
                        <a:pt x="390" y="550"/>
                      </a:lnTo>
                      <a:lnTo>
                        <a:pt x="390" y="551"/>
                      </a:lnTo>
                      <a:lnTo>
                        <a:pt x="389" y="552"/>
                      </a:lnTo>
                      <a:lnTo>
                        <a:pt x="390" y="553"/>
                      </a:lnTo>
                      <a:lnTo>
                        <a:pt x="390" y="554"/>
                      </a:lnTo>
                      <a:lnTo>
                        <a:pt x="390" y="555"/>
                      </a:lnTo>
                      <a:lnTo>
                        <a:pt x="389" y="555"/>
                      </a:lnTo>
                      <a:lnTo>
                        <a:pt x="388" y="555"/>
                      </a:lnTo>
                      <a:lnTo>
                        <a:pt x="388" y="556"/>
                      </a:lnTo>
                      <a:lnTo>
                        <a:pt x="388" y="557"/>
                      </a:lnTo>
                      <a:lnTo>
                        <a:pt x="389" y="558"/>
                      </a:lnTo>
                      <a:lnTo>
                        <a:pt x="389" y="559"/>
                      </a:lnTo>
                      <a:lnTo>
                        <a:pt x="389" y="560"/>
                      </a:lnTo>
                      <a:lnTo>
                        <a:pt x="388" y="560"/>
                      </a:lnTo>
                      <a:lnTo>
                        <a:pt x="388" y="561"/>
                      </a:lnTo>
                      <a:lnTo>
                        <a:pt x="387" y="561"/>
                      </a:lnTo>
                      <a:lnTo>
                        <a:pt x="386" y="563"/>
                      </a:lnTo>
                      <a:lnTo>
                        <a:pt x="385" y="563"/>
                      </a:lnTo>
                      <a:lnTo>
                        <a:pt x="385" y="564"/>
                      </a:lnTo>
                      <a:lnTo>
                        <a:pt x="384" y="564"/>
                      </a:lnTo>
                      <a:lnTo>
                        <a:pt x="384" y="566"/>
                      </a:lnTo>
                      <a:lnTo>
                        <a:pt x="383" y="567"/>
                      </a:lnTo>
                      <a:lnTo>
                        <a:pt x="381" y="568"/>
                      </a:lnTo>
                      <a:lnTo>
                        <a:pt x="380" y="567"/>
                      </a:lnTo>
                      <a:lnTo>
                        <a:pt x="379" y="567"/>
                      </a:lnTo>
                      <a:lnTo>
                        <a:pt x="378" y="567"/>
                      </a:lnTo>
                      <a:lnTo>
                        <a:pt x="378" y="568"/>
                      </a:lnTo>
                      <a:lnTo>
                        <a:pt x="377" y="568"/>
                      </a:lnTo>
                      <a:lnTo>
                        <a:pt x="377" y="569"/>
                      </a:lnTo>
                      <a:lnTo>
                        <a:pt x="374" y="569"/>
                      </a:lnTo>
                      <a:lnTo>
                        <a:pt x="373" y="569"/>
                      </a:lnTo>
                      <a:lnTo>
                        <a:pt x="360" y="569"/>
                      </a:lnTo>
                      <a:lnTo>
                        <a:pt x="359" y="569"/>
                      </a:lnTo>
                      <a:lnTo>
                        <a:pt x="357" y="569"/>
                      </a:lnTo>
                      <a:lnTo>
                        <a:pt x="355" y="568"/>
                      </a:lnTo>
                      <a:lnTo>
                        <a:pt x="351" y="568"/>
                      </a:lnTo>
                      <a:lnTo>
                        <a:pt x="341" y="568"/>
                      </a:lnTo>
                      <a:lnTo>
                        <a:pt x="340" y="568"/>
                      </a:lnTo>
                      <a:lnTo>
                        <a:pt x="336" y="568"/>
                      </a:lnTo>
                      <a:lnTo>
                        <a:pt x="333" y="568"/>
                      </a:lnTo>
                      <a:lnTo>
                        <a:pt x="287" y="568"/>
                      </a:lnTo>
                      <a:lnTo>
                        <a:pt x="286" y="568"/>
                      </a:lnTo>
                      <a:lnTo>
                        <a:pt x="263" y="568"/>
                      </a:lnTo>
                      <a:lnTo>
                        <a:pt x="262" y="566"/>
                      </a:lnTo>
                      <a:lnTo>
                        <a:pt x="262" y="565"/>
                      </a:lnTo>
                      <a:lnTo>
                        <a:pt x="262" y="564"/>
                      </a:lnTo>
                      <a:lnTo>
                        <a:pt x="262" y="563"/>
                      </a:lnTo>
                      <a:lnTo>
                        <a:pt x="262" y="561"/>
                      </a:lnTo>
                      <a:lnTo>
                        <a:pt x="262" y="560"/>
                      </a:lnTo>
                      <a:lnTo>
                        <a:pt x="261" y="559"/>
                      </a:lnTo>
                      <a:lnTo>
                        <a:pt x="261" y="558"/>
                      </a:lnTo>
                      <a:lnTo>
                        <a:pt x="261" y="557"/>
                      </a:lnTo>
                      <a:lnTo>
                        <a:pt x="260" y="556"/>
                      </a:lnTo>
                      <a:lnTo>
                        <a:pt x="261" y="556"/>
                      </a:lnTo>
                      <a:lnTo>
                        <a:pt x="261" y="555"/>
                      </a:lnTo>
                      <a:lnTo>
                        <a:pt x="261" y="552"/>
                      </a:lnTo>
                      <a:lnTo>
                        <a:pt x="262" y="551"/>
                      </a:lnTo>
                      <a:lnTo>
                        <a:pt x="262" y="550"/>
                      </a:lnTo>
                      <a:lnTo>
                        <a:pt x="263" y="548"/>
                      </a:lnTo>
                      <a:lnTo>
                        <a:pt x="263" y="547"/>
                      </a:lnTo>
                      <a:lnTo>
                        <a:pt x="263" y="546"/>
                      </a:lnTo>
                      <a:lnTo>
                        <a:pt x="262" y="546"/>
                      </a:lnTo>
                      <a:lnTo>
                        <a:pt x="263" y="545"/>
                      </a:lnTo>
                      <a:lnTo>
                        <a:pt x="263" y="544"/>
                      </a:lnTo>
                      <a:lnTo>
                        <a:pt x="262" y="544"/>
                      </a:lnTo>
                      <a:lnTo>
                        <a:pt x="262" y="543"/>
                      </a:lnTo>
                      <a:lnTo>
                        <a:pt x="262" y="542"/>
                      </a:lnTo>
                      <a:lnTo>
                        <a:pt x="261" y="542"/>
                      </a:lnTo>
                      <a:lnTo>
                        <a:pt x="260" y="542"/>
                      </a:lnTo>
                      <a:lnTo>
                        <a:pt x="261" y="541"/>
                      </a:lnTo>
                      <a:lnTo>
                        <a:pt x="260" y="541"/>
                      </a:lnTo>
                      <a:lnTo>
                        <a:pt x="260" y="540"/>
                      </a:lnTo>
                      <a:lnTo>
                        <a:pt x="259" y="540"/>
                      </a:lnTo>
                      <a:lnTo>
                        <a:pt x="259" y="539"/>
                      </a:lnTo>
                      <a:lnTo>
                        <a:pt x="259" y="538"/>
                      </a:lnTo>
                      <a:lnTo>
                        <a:pt x="258" y="538"/>
                      </a:lnTo>
                      <a:lnTo>
                        <a:pt x="258" y="537"/>
                      </a:lnTo>
                      <a:lnTo>
                        <a:pt x="258" y="535"/>
                      </a:lnTo>
                      <a:lnTo>
                        <a:pt x="257" y="534"/>
                      </a:lnTo>
                      <a:lnTo>
                        <a:pt x="256" y="534"/>
                      </a:lnTo>
                      <a:lnTo>
                        <a:pt x="255" y="533"/>
                      </a:lnTo>
                      <a:lnTo>
                        <a:pt x="254" y="533"/>
                      </a:lnTo>
                      <a:lnTo>
                        <a:pt x="252" y="533"/>
                      </a:lnTo>
                      <a:lnTo>
                        <a:pt x="252" y="532"/>
                      </a:lnTo>
                      <a:lnTo>
                        <a:pt x="251" y="532"/>
                      </a:lnTo>
                      <a:lnTo>
                        <a:pt x="251" y="531"/>
                      </a:lnTo>
                      <a:lnTo>
                        <a:pt x="250" y="531"/>
                      </a:lnTo>
                      <a:lnTo>
                        <a:pt x="250" y="530"/>
                      </a:lnTo>
                      <a:lnTo>
                        <a:pt x="249" y="530"/>
                      </a:lnTo>
                      <a:lnTo>
                        <a:pt x="248" y="530"/>
                      </a:lnTo>
                      <a:lnTo>
                        <a:pt x="248" y="528"/>
                      </a:lnTo>
                      <a:lnTo>
                        <a:pt x="248" y="527"/>
                      </a:lnTo>
                      <a:lnTo>
                        <a:pt x="247" y="526"/>
                      </a:lnTo>
                      <a:lnTo>
                        <a:pt x="247" y="525"/>
                      </a:lnTo>
                      <a:lnTo>
                        <a:pt x="246" y="525"/>
                      </a:lnTo>
                      <a:lnTo>
                        <a:pt x="246" y="524"/>
                      </a:lnTo>
                      <a:lnTo>
                        <a:pt x="245" y="524"/>
                      </a:lnTo>
                      <a:lnTo>
                        <a:pt x="244" y="522"/>
                      </a:lnTo>
                      <a:lnTo>
                        <a:pt x="244" y="521"/>
                      </a:lnTo>
                      <a:lnTo>
                        <a:pt x="244" y="520"/>
                      </a:lnTo>
                      <a:lnTo>
                        <a:pt x="243" y="519"/>
                      </a:lnTo>
                      <a:lnTo>
                        <a:pt x="242" y="519"/>
                      </a:lnTo>
                      <a:lnTo>
                        <a:pt x="242" y="518"/>
                      </a:lnTo>
                      <a:lnTo>
                        <a:pt x="241" y="518"/>
                      </a:lnTo>
                      <a:lnTo>
                        <a:pt x="239" y="517"/>
                      </a:lnTo>
                      <a:lnTo>
                        <a:pt x="238" y="517"/>
                      </a:lnTo>
                      <a:lnTo>
                        <a:pt x="238" y="516"/>
                      </a:lnTo>
                      <a:lnTo>
                        <a:pt x="237" y="516"/>
                      </a:lnTo>
                      <a:lnTo>
                        <a:pt x="236" y="515"/>
                      </a:lnTo>
                      <a:lnTo>
                        <a:pt x="235" y="515"/>
                      </a:lnTo>
                      <a:lnTo>
                        <a:pt x="235" y="514"/>
                      </a:lnTo>
                      <a:lnTo>
                        <a:pt x="235" y="513"/>
                      </a:lnTo>
                      <a:lnTo>
                        <a:pt x="234" y="513"/>
                      </a:lnTo>
                      <a:lnTo>
                        <a:pt x="234" y="512"/>
                      </a:lnTo>
                      <a:lnTo>
                        <a:pt x="233" y="512"/>
                      </a:lnTo>
                      <a:lnTo>
                        <a:pt x="232" y="512"/>
                      </a:lnTo>
                      <a:lnTo>
                        <a:pt x="232" y="510"/>
                      </a:lnTo>
                      <a:lnTo>
                        <a:pt x="231" y="510"/>
                      </a:lnTo>
                      <a:lnTo>
                        <a:pt x="229" y="510"/>
                      </a:lnTo>
                      <a:lnTo>
                        <a:pt x="228" y="510"/>
                      </a:lnTo>
                      <a:lnTo>
                        <a:pt x="226" y="510"/>
                      </a:lnTo>
                      <a:lnTo>
                        <a:pt x="225" y="509"/>
                      </a:lnTo>
                      <a:lnTo>
                        <a:pt x="224" y="509"/>
                      </a:lnTo>
                      <a:lnTo>
                        <a:pt x="223" y="509"/>
                      </a:lnTo>
                      <a:lnTo>
                        <a:pt x="222" y="510"/>
                      </a:lnTo>
                      <a:lnTo>
                        <a:pt x="221" y="510"/>
                      </a:lnTo>
                      <a:lnTo>
                        <a:pt x="220" y="510"/>
                      </a:lnTo>
                      <a:lnTo>
                        <a:pt x="219" y="510"/>
                      </a:lnTo>
                      <a:lnTo>
                        <a:pt x="218" y="510"/>
                      </a:lnTo>
                      <a:lnTo>
                        <a:pt x="217" y="509"/>
                      </a:lnTo>
                      <a:lnTo>
                        <a:pt x="216" y="508"/>
                      </a:lnTo>
                      <a:lnTo>
                        <a:pt x="215" y="507"/>
                      </a:lnTo>
                      <a:lnTo>
                        <a:pt x="213" y="506"/>
                      </a:lnTo>
                      <a:lnTo>
                        <a:pt x="213" y="505"/>
                      </a:lnTo>
                      <a:lnTo>
                        <a:pt x="212" y="505"/>
                      </a:lnTo>
                      <a:lnTo>
                        <a:pt x="211" y="505"/>
                      </a:lnTo>
                      <a:lnTo>
                        <a:pt x="210" y="506"/>
                      </a:lnTo>
                      <a:lnTo>
                        <a:pt x="210" y="507"/>
                      </a:lnTo>
                      <a:lnTo>
                        <a:pt x="211" y="508"/>
                      </a:lnTo>
                      <a:lnTo>
                        <a:pt x="210" y="509"/>
                      </a:lnTo>
                      <a:lnTo>
                        <a:pt x="209" y="509"/>
                      </a:lnTo>
                      <a:lnTo>
                        <a:pt x="208" y="509"/>
                      </a:lnTo>
                      <a:lnTo>
                        <a:pt x="207" y="509"/>
                      </a:lnTo>
                      <a:lnTo>
                        <a:pt x="206" y="510"/>
                      </a:lnTo>
                      <a:lnTo>
                        <a:pt x="205" y="512"/>
                      </a:lnTo>
                      <a:lnTo>
                        <a:pt x="202" y="512"/>
                      </a:lnTo>
                      <a:lnTo>
                        <a:pt x="200" y="510"/>
                      </a:lnTo>
                      <a:lnTo>
                        <a:pt x="199" y="509"/>
                      </a:lnTo>
                      <a:lnTo>
                        <a:pt x="199" y="508"/>
                      </a:lnTo>
                      <a:lnTo>
                        <a:pt x="199" y="507"/>
                      </a:lnTo>
                      <a:lnTo>
                        <a:pt x="198" y="506"/>
                      </a:lnTo>
                      <a:lnTo>
                        <a:pt x="197" y="505"/>
                      </a:lnTo>
                      <a:lnTo>
                        <a:pt x="196" y="505"/>
                      </a:lnTo>
                      <a:lnTo>
                        <a:pt x="196" y="504"/>
                      </a:lnTo>
                      <a:lnTo>
                        <a:pt x="195" y="502"/>
                      </a:lnTo>
                      <a:lnTo>
                        <a:pt x="194" y="502"/>
                      </a:lnTo>
                      <a:lnTo>
                        <a:pt x="193" y="503"/>
                      </a:lnTo>
                      <a:lnTo>
                        <a:pt x="193" y="504"/>
                      </a:lnTo>
                      <a:lnTo>
                        <a:pt x="192" y="504"/>
                      </a:lnTo>
                      <a:lnTo>
                        <a:pt x="191" y="504"/>
                      </a:lnTo>
                      <a:lnTo>
                        <a:pt x="190" y="504"/>
                      </a:lnTo>
                      <a:lnTo>
                        <a:pt x="188" y="504"/>
                      </a:lnTo>
                      <a:lnTo>
                        <a:pt x="187" y="504"/>
                      </a:lnTo>
                      <a:lnTo>
                        <a:pt x="187" y="503"/>
                      </a:lnTo>
                      <a:lnTo>
                        <a:pt x="186" y="503"/>
                      </a:lnTo>
                      <a:lnTo>
                        <a:pt x="186" y="502"/>
                      </a:lnTo>
                      <a:lnTo>
                        <a:pt x="185" y="501"/>
                      </a:lnTo>
                      <a:lnTo>
                        <a:pt x="185" y="500"/>
                      </a:lnTo>
                      <a:lnTo>
                        <a:pt x="185" y="499"/>
                      </a:lnTo>
                      <a:lnTo>
                        <a:pt x="184" y="500"/>
                      </a:lnTo>
                      <a:lnTo>
                        <a:pt x="184" y="499"/>
                      </a:lnTo>
                      <a:lnTo>
                        <a:pt x="183" y="497"/>
                      </a:lnTo>
                      <a:lnTo>
                        <a:pt x="183" y="496"/>
                      </a:lnTo>
                      <a:lnTo>
                        <a:pt x="184" y="495"/>
                      </a:lnTo>
                      <a:lnTo>
                        <a:pt x="183" y="495"/>
                      </a:lnTo>
                      <a:lnTo>
                        <a:pt x="183" y="494"/>
                      </a:lnTo>
                      <a:lnTo>
                        <a:pt x="181" y="493"/>
                      </a:lnTo>
                      <a:lnTo>
                        <a:pt x="180" y="494"/>
                      </a:lnTo>
                      <a:lnTo>
                        <a:pt x="179" y="494"/>
                      </a:lnTo>
                      <a:lnTo>
                        <a:pt x="178" y="494"/>
                      </a:lnTo>
                      <a:lnTo>
                        <a:pt x="179" y="493"/>
                      </a:lnTo>
                      <a:lnTo>
                        <a:pt x="179" y="492"/>
                      </a:lnTo>
                      <a:lnTo>
                        <a:pt x="178" y="492"/>
                      </a:lnTo>
                      <a:lnTo>
                        <a:pt x="177" y="491"/>
                      </a:lnTo>
                      <a:lnTo>
                        <a:pt x="175" y="491"/>
                      </a:lnTo>
                      <a:lnTo>
                        <a:pt x="174" y="491"/>
                      </a:lnTo>
                      <a:lnTo>
                        <a:pt x="173" y="491"/>
                      </a:lnTo>
                      <a:lnTo>
                        <a:pt x="172" y="491"/>
                      </a:lnTo>
                      <a:lnTo>
                        <a:pt x="172" y="492"/>
                      </a:lnTo>
                      <a:lnTo>
                        <a:pt x="171" y="491"/>
                      </a:lnTo>
                      <a:lnTo>
                        <a:pt x="172" y="491"/>
                      </a:lnTo>
                      <a:lnTo>
                        <a:pt x="171" y="491"/>
                      </a:lnTo>
                      <a:lnTo>
                        <a:pt x="171" y="490"/>
                      </a:lnTo>
                      <a:lnTo>
                        <a:pt x="170" y="491"/>
                      </a:lnTo>
                      <a:lnTo>
                        <a:pt x="169" y="491"/>
                      </a:lnTo>
                      <a:lnTo>
                        <a:pt x="168" y="491"/>
                      </a:lnTo>
                      <a:lnTo>
                        <a:pt x="166" y="492"/>
                      </a:lnTo>
                      <a:lnTo>
                        <a:pt x="167" y="492"/>
                      </a:lnTo>
                      <a:lnTo>
                        <a:pt x="167" y="493"/>
                      </a:lnTo>
                      <a:lnTo>
                        <a:pt x="166" y="493"/>
                      </a:lnTo>
                      <a:lnTo>
                        <a:pt x="165" y="493"/>
                      </a:lnTo>
                      <a:lnTo>
                        <a:pt x="165" y="494"/>
                      </a:lnTo>
                      <a:lnTo>
                        <a:pt x="164" y="494"/>
                      </a:lnTo>
                      <a:lnTo>
                        <a:pt x="164" y="493"/>
                      </a:lnTo>
                      <a:lnTo>
                        <a:pt x="162" y="493"/>
                      </a:lnTo>
                      <a:lnTo>
                        <a:pt x="162" y="492"/>
                      </a:lnTo>
                      <a:lnTo>
                        <a:pt x="161" y="492"/>
                      </a:lnTo>
                      <a:lnTo>
                        <a:pt x="160" y="492"/>
                      </a:lnTo>
                      <a:lnTo>
                        <a:pt x="159" y="492"/>
                      </a:lnTo>
                      <a:lnTo>
                        <a:pt x="158" y="493"/>
                      </a:lnTo>
                      <a:lnTo>
                        <a:pt x="157" y="493"/>
                      </a:lnTo>
                      <a:lnTo>
                        <a:pt x="156" y="494"/>
                      </a:lnTo>
                      <a:lnTo>
                        <a:pt x="155" y="494"/>
                      </a:lnTo>
                      <a:lnTo>
                        <a:pt x="156" y="495"/>
                      </a:lnTo>
                      <a:lnTo>
                        <a:pt x="155" y="495"/>
                      </a:lnTo>
                      <a:lnTo>
                        <a:pt x="154" y="495"/>
                      </a:lnTo>
                      <a:lnTo>
                        <a:pt x="153" y="496"/>
                      </a:lnTo>
                      <a:lnTo>
                        <a:pt x="152" y="496"/>
                      </a:lnTo>
                      <a:lnTo>
                        <a:pt x="151" y="496"/>
                      </a:lnTo>
                      <a:lnTo>
                        <a:pt x="151" y="497"/>
                      </a:lnTo>
                      <a:lnTo>
                        <a:pt x="149" y="499"/>
                      </a:lnTo>
                      <a:lnTo>
                        <a:pt x="151" y="499"/>
                      </a:lnTo>
                      <a:lnTo>
                        <a:pt x="149" y="499"/>
                      </a:lnTo>
                      <a:lnTo>
                        <a:pt x="148" y="499"/>
                      </a:lnTo>
                      <a:lnTo>
                        <a:pt x="148" y="500"/>
                      </a:lnTo>
                      <a:lnTo>
                        <a:pt x="147" y="500"/>
                      </a:lnTo>
                      <a:lnTo>
                        <a:pt x="146" y="501"/>
                      </a:lnTo>
                      <a:lnTo>
                        <a:pt x="146" y="502"/>
                      </a:lnTo>
                      <a:lnTo>
                        <a:pt x="145" y="503"/>
                      </a:lnTo>
                      <a:lnTo>
                        <a:pt x="145" y="504"/>
                      </a:lnTo>
                      <a:lnTo>
                        <a:pt x="145" y="505"/>
                      </a:lnTo>
                      <a:lnTo>
                        <a:pt x="144" y="506"/>
                      </a:lnTo>
                      <a:lnTo>
                        <a:pt x="144" y="507"/>
                      </a:lnTo>
                      <a:lnTo>
                        <a:pt x="145" y="507"/>
                      </a:lnTo>
                      <a:lnTo>
                        <a:pt x="145" y="508"/>
                      </a:lnTo>
                      <a:lnTo>
                        <a:pt x="145" y="509"/>
                      </a:lnTo>
                      <a:lnTo>
                        <a:pt x="144" y="509"/>
                      </a:lnTo>
                      <a:lnTo>
                        <a:pt x="145" y="510"/>
                      </a:lnTo>
                      <a:lnTo>
                        <a:pt x="144" y="510"/>
                      </a:lnTo>
                      <a:lnTo>
                        <a:pt x="145" y="512"/>
                      </a:lnTo>
                      <a:lnTo>
                        <a:pt x="145" y="513"/>
                      </a:lnTo>
                      <a:lnTo>
                        <a:pt x="145" y="514"/>
                      </a:lnTo>
                      <a:lnTo>
                        <a:pt x="144" y="515"/>
                      </a:lnTo>
                      <a:lnTo>
                        <a:pt x="143" y="515"/>
                      </a:lnTo>
                      <a:lnTo>
                        <a:pt x="143" y="516"/>
                      </a:lnTo>
                      <a:lnTo>
                        <a:pt x="142" y="516"/>
                      </a:lnTo>
                      <a:lnTo>
                        <a:pt x="142" y="517"/>
                      </a:lnTo>
                      <a:lnTo>
                        <a:pt x="141" y="517"/>
                      </a:lnTo>
                      <a:lnTo>
                        <a:pt x="140" y="517"/>
                      </a:lnTo>
                      <a:lnTo>
                        <a:pt x="139" y="517"/>
                      </a:lnTo>
                      <a:lnTo>
                        <a:pt x="138" y="517"/>
                      </a:lnTo>
                      <a:lnTo>
                        <a:pt x="138" y="518"/>
                      </a:lnTo>
                      <a:lnTo>
                        <a:pt x="136" y="518"/>
                      </a:lnTo>
                      <a:lnTo>
                        <a:pt x="136" y="519"/>
                      </a:lnTo>
                      <a:lnTo>
                        <a:pt x="136" y="518"/>
                      </a:lnTo>
                      <a:lnTo>
                        <a:pt x="135" y="519"/>
                      </a:lnTo>
                      <a:lnTo>
                        <a:pt x="136" y="519"/>
                      </a:lnTo>
                      <a:lnTo>
                        <a:pt x="135" y="520"/>
                      </a:lnTo>
                      <a:lnTo>
                        <a:pt x="135" y="521"/>
                      </a:lnTo>
                      <a:lnTo>
                        <a:pt x="134" y="521"/>
                      </a:lnTo>
                      <a:lnTo>
                        <a:pt x="133" y="521"/>
                      </a:lnTo>
                      <a:lnTo>
                        <a:pt x="132" y="521"/>
                      </a:lnTo>
                      <a:lnTo>
                        <a:pt x="131" y="521"/>
                      </a:lnTo>
                      <a:lnTo>
                        <a:pt x="130" y="522"/>
                      </a:lnTo>
                      <a:lnTo>
                        <a:pt x="130" y="524"/>
                      </a:lnTo>
                      <a:lnTo>
                        <a:pt x="129" y="524"/>
                      </a:lnTo>
                      <a:lnTo>
                        <a:pt x="128" y="524"/>
                      </a:lnTo>
                      <a:lnTo>
                        <a:pt x="128" y="525"/>
                      </a:lnTo>
                      <a:lnTo>
                        <a:pt x="127" y="525"/>
                      </a:lnTo>
                      <a:lnTo>
                        <a:pt x="127" y="526"/>
                      </a:lnTo>
                      <a:lnTo>
                        <a:pt x="126" y="526"/>
                      </a:lnTo>
                      <a:lnTo>
                        <a:pt x="126" y="527"/>
                      </a:lnTo>
                      <a:lnTo>
                        <a:pt x="125" y="526"/>
                      </a:lnTo>
                      <a:lnTo>
                        <a:pt x="125" y="527"/>
                      </a:lnTo>
                      <a:lnTo>
                        <a:pt x="123" y="528"/>
                      </a:lnTo>
                      <a:lnTo>
                        <a:pt x="123" y="529"/>
                      </a:lnTo>
                      <a:lnTo>
                        <a:pt x="122" y="529"/>
                      </a:lnTo>
                      <a:lnTo>
                        <a:pt x="121" y="529"/>
                      </a:lnTo>
                      <a:lnTo>
                        <a:pt x="120" y="529"/>
                      </a:lnTo>
                      <a:lnTo>
                        <a:pt x="120" y="530"/>
                      </a:lnTo>
                      <a:lnTo>
                        <a:pt x="119" y="529"/>
                      </a:lnTo>
                      <a:lnTo>
                        <a:pt x="119" y="530"/>
                      </a:lnTo>
                      <a:lnTo>
                        <a:pt x="118" y="531"/>
                      </a:lnTo>
                      <a:lnTo>
                        <a:pt x="118" y="530"/>
                      </a:lnTo>
                      <a:lnTo>
                        <a:pt x="117" y="531"/>
                      </a:lnTo>
                      <a:lnTo>
                        <a:pt x="118" y="531"/>
                      </a:lnTo>
                      <a:lnTo>
                        <a:pt x="118" y="532"/>
                      </a:lnTo>
                      <a:lnTo>
                        <a:pt x="118" y="533"/>
                      </a:lnTo>
                      <a:lnTo>
                        <a:pt x="117" y="533"/>
                      </a:lnTo>
                      <a:lnTo>
                        <a:pt x="117" y="534"/>
                      </a:lnTo>
                      <a:lnTo>
                        <a:pt x="117" y="533"/>
                      </a:lnTo>
                      <a:lnTo>
                        <a:pt x="117" y="534"/>
                      </a:lnTo>
                      <a:lnTo>
                        <a:pt x="116" y="534"/>
                      </a:lnTo>
                      <a:lnTo>
                        <a:pt x="116" y="535"/>
                      </a:lnTo>
                      <a:lnTo>
                        <a:pt x="115" y="537"/>
                      </a:lnTo>
                      <a:lnTo>
                        <a:pt x="115" y="538"/>
                      </a:lnTo>
                      <a:lnTo>
                        <a:pt x="115" y="539"/>
                      </a:lnTo>
                      <a:lnTo>
                        <a:pt x="116" y="539"/>
                      </a:lnTo>
                      <a:lnTo>
                        <a:pt x="116" y="540"/>
                      </a:lnTo>
                      <a:lnTo>
                        <a:pt x="115" y="540"/>
                      </a:lnTo>
                      <a:lnTo>
                        <a:pt x="115" y="541"/>
                      </a:lnTo>
                      <a:lnTo>
                        <a:pt x="115" y="542"/>
                      </a:lnTo>
                      <a:lnTo>
                        <a:pt x="115" y="543"/>
                      </a:lnTo>
                      <a:lnTo>
                        <a:pt x="114" y="544"/>
                      </a:lnTo>
                      <a:lnTo>
                        <a:pt x="114" y="545"/>
                      </a:lnTo>
                      <a:lnTo>
                        <a:pt x="114" y="546"/>
                      </a:lnTo>
                      <a:lnTo>
                        <a:pt x="114" y="547"/>
                      </a:lnTo>
                      <a:lnTo>
                        <a:pt x="114" y="548"/>
                      </a:lnTo>
                      <a:lnTo>
                        <a:pt x="115" y="551"/>
                      </a:lnTo>
                      <a:lnTo>
                        <a:pt x="114" y="551"/>
                      </a:lnTo>
                      <a:lnTo>
                        <a:pt x="114" y="552"/>
                      </a:lnTo>
                      <a:lnTo>
                        <a:pt x="114" y="553"/>
                      </a:lnTo>
                      <a:lnTo>
                        <a:pt x="114" y="554"/>
                      </a:lnTo>
                      <a:lnTo>
                        <a:pt x="113" y="554"/>
                      </a:lnTo>
                      <a:lnTo>
                        <a:pt x="113" y="555"/>
                      </a:lnTo>
                      <a:lnTo>
                        <a:pt x="113" y="556"/>
                      </a:lnTo>
                      <a:lnTo>
                        <a:pt x="113" y="557"/>
                      </a:lnTo>
                      <a:lnTo>
                        <a:pt x="112" y="557"/>
                      </a:lnTo>
                      <a:lnTo>
                        <a:pt x="112" y="558"/>
                      </a:lnTo>
                      <a:lnTo>
                        <a:pt x="110" y="558"/>
                      </a:lnTo>
                      <a:lnTo>
                        <a:pt x="109" y="559"/>
                      </a:lnTo>
                      <a:lnTo>
                        <a:pt x="108" y="559"/>
                      </a:lnTo>
                      <a:lnTo>
                        <a:pt x="108" y="560"/>
                      </a:lnTo>
                      <a:lnTo>
                        <a:pt x="107" y="560"/>
                      </a:lnTo>
                      <a:lnTo>
                        <a:pt x="106" y="560"/>
                      </a:lnTo>
                      <a:lnTo>
                        <a:pt x="105" y="561"/>
                      </a:lnTo>
                      <a:lnTo>
                        <a:pt x="104" y="563"/>
                      </a:lnTo>
                      <a:lnTo>
                        <a:pt x="103" y="563"/>
                      </a:lnTo>
                      <a:lnTo>
                        <a:pt x="104" y="564"/>
                      </a:lnTo>
                      <a:lnTo>
                        <a:pt x="104" y="565"/>
                      </a:lnTo>
                      <a:lnTo>
                        <a:pt x="103" y="566"/>
                      </a:lnTo>
                      <a:lnTo>
                        <a:pt x="102" y="566"/>
                      </a:lnTo>
                      <a:lnTo>
                        <a:pt x="101" y="567"/>
                      </a:lnTo>
                      <a:lnTo>
                        <a:pt x="101" y="568"/>
                      </a:lnTo>
                      <a:lnTo>
                        <a:pt x="100" y="568"/>
                      </a:lnTo>
                      <a:lnTo>
                        <a:pt x="99" y="568"/>
                      </a:lnTo>
                      <a:lnTo>
                        <a:pt x="99" y="569"/>
                      </a:lnTo>
                      <a:lnTo>
                        <a:pt x="97" y="569"/>
                      </a:lnTo>
                      <a:lnTo>
                        <a:pt x="96" y="570"/>
                      </a:lnTo>
                      <a:lnTo>
                        <a:pt x="96" y="571"/>
                      </a:lnTo>
                      <a:lnTo>
                        <a:pt x="95" y="571"/>
                      </a:lnTo>
                      <a:lnTo>
                        <a:pt x="95" y="572"/>
                      </a:lnTo>
                      <a:lnTo>
                        <a:pt x="94" y="572"/>
                      </a:lnTo>
                      <a:lnTo>
                        <a:pt x="93" y="573"/>
                      </a:lnTo>
                      <a:lnTo>
                        <a:pt x="92" y="573"/>
                      </a:lnTo>
                      <a:lnTo>
                        <a:pt x="92" y="574"/>
                      </a:lnTo>
                      <a:lnTo>
                        <a:pt x="91" y="574"/>
                      </a:lnTo>
                      <a:lnTo>
                        <a:pt x="91" y="576"/>
                      </a:lnTo>
                      <a:lnTo>
                        <a:pt x="90" y="576"/>
                      </a:lnTo>
                      <a:lnTo>
                        <a:pt x="89" y="576"/>
                      </a:lnTo>
                      <a:lnTo>
                        <a:pt x="88" y="576"/>
                      </a:lnTo>
                      <a:lnTo>
                        <a:pt x="88" y="577"/>
                      </a:lnTo>
                      <a:lnTo>
                        <a:pt x="87" y="577"/>
                      </a:lnTo>
                      <a:lnTo>
                        <a:pt x="86" y="578"/>
                      </a:lnTo>
                      <a:lnTo>
                        <a:pt x="86" y="580"/>
                      </a:lnTo>
                      <a:lnTo>
                        <a:pt x="84" y="580"/>
                      </a:lnTo>
                      <a:lnTo>
                        <a:pt x="83" y="580"/>
                      </a:lnTo>
                      <a:lnTo>
                        <a:pt x="82" y="581"/>
                      </a:lnTo>
                      <a:lnTo>
                        <a:pt x="81" y="581"/>
                      </a:lnTo>
                      <a:lnTo>
                        <a:pt x="80" y="581"/>
                      </a:lnTo>
                      <a:lnTo>
                        <a:pt x="80" y="582"/>
                      </a:lnTo>
                      <a:lnTo>
                        <a:pt x="79" y="582"/>
                      </a:lnTo>
                      <a:lnTo>
                        <a:pt x="78" y="583"/>
                      </a:lnTo>
                      <a:lnTo>
                        <a:pt x="77" y="584"/>
                      </a:lnTo>
                      <a:lnTo>
                        <a:pt x="76" y="584"/>
                      </a:lnTo>
                      <a:lnTo>
                        <a:pt x="75" y="585"/>
                      </a:lnTo>
                      <a:lnTo>
                        <a:pt x="75" y="586"/>
                      </a:lnTo>
                      <a:lnTo>
                        <a:pt x="74" y="586"/>
                      </a:lnTo>
                      <a:lnTo>
                        <a:pt x="73" y="586"/>
                      </a:lnTo>
                      <a:lnTo>
                        <a:pt x="73" y="587"/>
                      </a:lnTo>
                      <a:lnTo>
                        <a:pt x="71" y="587"/>
                      </a:lnTo>
                      <a:lnTo>
                        <a:pt x="65" y="592"/>
                      </a:lnTo>
                      <a:lnTo>
                        <a:pt x="57" y="598"/>
                      </a:lnTo>
                      <a:lnTo>
                        <a:pt x="52" y="598"/>
                      </a:lnTo>
                      <a:lnTo>
                        <a:pt x="46" y="598"/>
                      </a:lnTo>
                      <a:lnTo>
                        <a:pt x="33" y="598"/>
                      </a:lnTo>
                      <a:lnTo>
                        <a:pt x="27" y="598"/>
                      </a:lnTo>
                      <a:lnTo>
                        <a:pt x="1" y="598"/>
                      </a:lnTo>
                      <a:lnTo>
                        <a:pt x="1" y="578"/>
                      </a:lnTo>
                      <a:lnTo>
                        <a:pt x="1" y="559"/>
                      </a:lnTo>
                      <a:lnTo>
                        <a:pt x="1" y="550"/>
                      </a:lnTo>
                      <a:lnTo>
                        <a:pt x="1" y="540"/>
                      </a:lnTo>
                      <a:lnTo>
                        <a:pt x="1" y="539"/>
                      </a:lnTo>
                      <a:lnTo>
                        <a:pt x="1" y="534"/>
                      </a:lnTo>
                      <a:lnTo>
                        <a:pt x="1" y="530"/>
                      </a:lnTo>
                      <a:lnTo>
                        <a:pt x="1" y="526"/>
                      </a:lnTo>
                      <a:lnTo>
                        <a:pt x="1" y="499"/>
                      </a:lnTo>
                      <a:lnTo>
                        <a:pt x="1" y="493"/>
                      </a:lnTo>
                      <a:lnTo>
                        <a:pt x="1" y="491"/>
                      </a:lnTo>
                      <a:lnTo>
                        <a:pt x="1" y="488"/>
                      </a:lnTo>
                      <a:lnTo>
                        <a:pt x="1" y="482"/>
                      </a:lnTo>
                      <a:lnTo>
                        <a:pt x="1" y="477"/>
                      </a:lnTo>
                      <a:lnTo>
                        <a:pt x="1" y="473"/>
                      </a:lnTo>
                      <a:lnTo>
                        <a:pt x="1" y="469"/>
                      </a:lnTo>
                      <a:lnTo>
                        <a:pt x="1" y="468"/>
                      </a:lnTo>
                      <a:lnTo>
                        <a:pt x="1" y="456"/>
                      </a:lnTo>
                      <a:lnTo>
                        <a:pt x="1" y="425"/>
                      </a:lnTo>
                      <a:lnTo>
                        <a:pt x="1" y="422"/>
                      </a:lnTo>
                      <a:lnTo>
                        <a:pt x="1" y="410"/>
                      </a:lnTo>
                      <a:lnTo>
                        <a:pt x="1" y="406"/>
                      </a:lnTo>
                      <a:lnTo>
                        <a:pt x="1" y="405"/>
                      </a:lnTo>
                      <a:lnTo>
                        <a:pt x="1" y="400"/>
                      </a:lnTo>
                      <a:lnTo>
                        <a:pt x="1" y="399"/>
                      </a:lnTo>
                      <a:lnTo>
                        <a:pt x="1" y="394"/>
                      </a:lnTo>
                      <a:lnTo>
                        <a:pt x="1" y="393"/>
                      </a:lnTo>
                      <a:lnTo>
                        <a:pt x="1" y="391"/>
                      </a:lnTo>
                      <a:lnTo>
                        <a:pt x="1" y="389"/>
                      </a:lnTo>
                      <a:lnTo>
                        <a:pt x="1" y="384"/>
                      </a:lnTo>
                      <a:lnTo>
                        <a:pt x="1" y="383"/>
                      </a:lnTo>
                      <a:lnTo>
                        <a:pt x="1" y="378"/>
                      </a:lnTo>
                      <a:lnTo>
                        <a:pt x="1" y="375"/>
                      </a:lnTo>
                      <a:lnTo>
                        <a:pt x="1" y="374"/>
                      </a:lnTo>
                      <a:lnTo>
                        <a:pt x="1" y="371"/>
                      </a:lnTo>
                      <a:lnTo>
                        <a:pt x="1" y="368"/>
                      </a:lnTo>
                      <a:lnTo>
                        <a:pt x="1" y="367"/>
                      </a:lnTo>
                      <a:lnTo>
                        <a:pt x="1" y="366"/>
                      </a:lnTo>
                      <a:lnTo>
                        <a:pt x="1" y="365"/>
                      </a:lnTo>
                      <a:lnTo>
                        <a:pt x="0" y="362"/>
                      </a:lnTo>
                      <a:lnTo>
                        <a:pt x="1" y="349"/>
                      </a:lnTo>
                      <a:lnTo>
                        <a:pt x="1" y="343"/>
                      </a:lnTo>
                      <a:lnTo>
                        <a:pt x="1" y="340"/>
                      </a:lnTo>
                      <a:lnTo>
                        <a:pt x="1" y="336"/>
                      </a:lnTo>
                      <a:lnTo>
                        <a:pt x="1" y="335"/>
                      </a:lnTo>
                      <a:lnTo>
                        <a:pt x="1" y="329"/>
                      </a:lnTo>
                      <a:lnTo>
                        <a:pt x="1" y="323"/>
                      </a:lnTo>
                      <a:lnTo>
                        <a:pt x="1" y="312"/>
                      </a:lnTo>
                      <a:lnTo>
                        <a:pt x="1" y="302"/>
                      </a:lnTo>
                      <a:lnTo>
                        <a:pt x="1" y="298"/>
                      </a:lnTo>
                      <a:lnTo>
                        <a:pt x="1" y="297"/>
                      </a:lnTo>
                      <a:lnTo>
                        <a:pt x="1" y="291"/>
                      </a:lnTo>
                      <a:lnTo>
                        <a:pt x="1" y="289"/>
                      </a:lnTo>
                      <a:lnTo>
                        <a:pt x="1" y="286"/>
                      </a:lnTo>
                      <a:lnTo>
                        <a:pt x="1" y="278"/>
                      </a:lnTo>
                      <a:lnTo>
                        <a:pt x="1" y="277"/>
                      </a:lnTo>
                      <a:lnTo>
                        <a:pt x="1" y="276"/>
                      </a:lnTo>
                      <a:lnTo>
                        <a:pt x="1" y="274"/>
                      </a:lnTo>
                      <a:lnTo>
                        <a:pt x="1" y="265"/>
                      </a:lnTo>
                      <a:lnTo>
                        <a:pt x="1" y="262"/>
                      </a:lnTo>
                      <a:lnTo>
                        <a:pt x="1" y="255"/>
                      </a:lnTo>
                      <a:lnTo>
                        <a:pt x="1" y="240"/>
                      </a:lnTo>
                      <a:lnTo>
                        <a:pt x="1" y="237"/>
                      </a:lnTo>
                      <a:lnTo>
                        <a:pt x="1" y="234"/>
                      </a:lnTo>
                      <a:lnTo>
                        <a:pt x="1" y="222"/>
                      </a:lnTo>
                      <a:lnTo>
                        <a:pt x="1" y="216"/>
                      </a:lnTo>
                      <a:lnTo>
                        <a:pt x="1" y="214"/>
                      </a:lnTo>
                      <a:lnTo>
                        <a:pt x="1" y="201"/>
                      </a:lnTo>
                      <a:lnTo>
                        <a:pt x="1" y="193"/>
                      </a:lnTo>
                      <a:lnTo>
                        <a:pt x="1" y="192"/>
                      </a:lnTo>
                      <a:lnTo>
                        <a:pt x="1" y="188"/>
                      </a:lnTo>
                      <a:lnTo>
                        <a:pt x="1" y="184"/>
                      </a:lnTo>
                      <a:lnTo>
                        <a:pt x="1" y="183"/>
                      </a:lnTo>
                      <a:lnTo>
                        <a:pt x="1" y="182"/>
                      </a:lnTo>
                      <a:lnTo>
                        <a:pt x="1" y="181"/>
                      </a:lnTo>
                      <a:lnTo>
                        <a:pt x="1" y="180"/>
                      </a:lnTo>
                      <a:lnTo>
                        <a:pt x="1" y="179"/>
                      </a:lnTo>
                      <a:lnTo>
                        <a:pt x="1" y="176"/>
                      </a:lnTo>
                      <a:lnTo>
                        <a:pt x="1" y="174"/>
                      </a:lnTo>
                      <a:lnTo>
                        <a:pt x="1" y="171"/>
                      </a:lnTo>
                      <a:lnTo>
                        <a:pt x="1" y="169"/>
                      </a:lnTo>
                      <a:lnTo>
                        <a:pt x="1" y="168"/>
                      </a:lnTo>
                      <a:lnTo>
                        <a:pt x="1" y="167"/>
                      </a:lnTo>
                      <a:lnTo>
                        <a:pt x="1" y="166"/>
                      </a:lnTo>
                      <a:lnTo>
                        <a:pt x="1" y="165"/>
                      </a:lnTo>
                      <a:lnTo>
                        <a:pt x="1" y="161"/>
                      </a:lnTo>
                      <a:lnTo>
                        <a:pt x="1" y="156"/>
                      </a:lnTo>
                      <a:lnTo>
                        <a:pt x="1" y="154"/>
                      </a:lnTo>
                      <a:lnTo>
                        <a:pt x="1" y="152"/>
                      </a:lnTo>
                      <a:lnTo>
                        <a:pt x="1" y="139"/>
                      </a:lnTo>
                      <a:lnTo>
                        <a:pt x="1" y="137"/>
                      </a:lnTo>
                      <a:lnTo>
                        <a:pt x="1" y="129"/>
                      </a:lnTo>
                      <a:lnTo>
                        <a:pt x="1" y="124"/>
                      </a:lnTo>
                      <a:lnTo>
                        <a:pt x="1" y="123"/>
                      </a:lnTo>
                      <a:lnTo>
                        <a:pt x="1" y="121"/>
                      </a:lnTo>
                      <a:lnTo>
                        <a:pt x="1" y="113"/>
                      </a:lnTo>
                      <a:lnTo>
                        <a:pt x="1" y="111"/>
                      </a:lnTo>
                      <a:lnTo>
                        <a:pt x="1" y="110"/>
                      </a:lnTo>
                      <a:lnTo>
                        <a:pt x="1" y="109"/>
                      </a:lnTo>
                      <a:lnTo>
                        <a:pt x="1" y="106"/>
                      </a:lnTo>
                      <a:lnTo>
                        <a:pt x="1" y="104"/>
                      </a:lnTo>
                      <a:lnTo>
                        <a:pt x="1" y="101"/>
                      </a:lnTo>
                      <a:lnTo>
                        <a:pt x="1" y="92"/>
                      </a:lnTo>
                      <a:lnTo>
                        <a:pt x="1" y="88"/>
                      </a:lnTo>
                      <a:lnTo>
                        <a:pt x="1" y="80"/>
                      </a:lnTo>
                      <a:lnTo>
                        <a:pt x="1" y="79"/>
                      </a:lnTo>
                      <a:lnTo>
                        <a:pt x="1" y="59"/>
                      </a:lnTo>
                      <a:lnTo>
                        <a:pt x="1" y="58"/>
                      </a:lnTo>
                      <a:lnTo>
                        <a:pt x="1" y="51"/>
                      </a:lnTo>
                      <a:lnTo>
                        <a:pt x="1" y="49"/>
                      </a:lnTo>
                      <a:lnTo>
                        <a:pt x="1" y="46"/>
                      </a:lnTo>
                      <a:lnTo>
                        <a:pt x="1" y="41"/>
                      </a:lnTo>
                      <a:lnTo>
                        <a:pt x="1" y="8"/>
                      </a:lnTo>
                      <a:lnTo>
                        <a:pt x="1" y="0"/>
                      </a:lnTo>
                      <a:lnTo>
                        <a:pt x="3" y="0"/>
                      </a:lnTo>
                      <a:lnTo>
                        <a:pt x="6" y="0"/>
                      </a:lnTo>
                      <a:lnTo>
                        <a:pt x="12" y="0"/>
                      </a:lnTo>
                      <a:lnTo>
                        <a:pt x="13" y="0"/>
                      </a:lnTo>
                      <a:lnTo>
                        <a:pt x="14" y="0"/>
                      </a:lnTo>
                      <a:lnTo>
                        <a:pt x="27" y="0"/>
                      </a:lnTo>
                      <a:lnTo>
                        <a:pt x="28" y="0"/>
                      </a:lnTo>
                      <a:lnTo>
                        <a:pt x="44" y="0"/>
                      </a:lnTo>
                      <a:lnTo>
                        <a:pt x="76" y="0"/>
                      </a:lnTo>
                      <a:lnTo>
                        <a:pt x="88" y="0"/>
                      </a:lnTo>
                      <a:lnTo>
                        <a:pt x="93" y="0"/>
                      </a:lnTo>
                      <a:lnTo>
                        <a:pt x="141" y="0"/>
                      </a:lnTo>
                      <a:lnTo>
                        <a:pt x="145" y="0"/>
                      </a:lnTo>
                      <a:lnTo>
                        <a:pt x="146" y="0"/>
                      </a:lnTo>
                      <a:lnTo>
                        <a:pt x="147" y="0"/>
                      </a:lnTo>
                      <a:lnTo>
                        <a:pt x="180" y="0"/>
                      </a:lnTo>
                      <a:lnTo>
                        <a:pt x="183" y="0"/>
                      </a:lnTo>
                      <a:lnTo>
                        <a:pt x="225" y="0"/>
                      </a:lnTo>
                      <a:lnTo>
                        <a:pt x="247" y="0"/>
                      </a:lnTo>
                      <a:lnTo>
                        <a:pt x="257" y="0"/>
                      </a:lnTo>
                      <a:lnTo>
                        <a:pt x="306" y="0"/>
                      </a:lnTo>
                      <a:lnTo>
                        <a:pt x="321" y="0"/>
                      </a:lnTo>
                      <a:close/>
                    </a:path>
                  </a:pathLst>
                </a:custGeom>
                <a:grpFill/>
                <a:ln w="19050">
                  <a:solidFill>
                    <a:srgbClr val="FFC000"/>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914" name="Freeform 543">
                  <a:extLst>
                    <a:ext uri="{FF2B5EF4-FFF2-40B4-BE49-F238E27FC236}">
                      <a16:creationId xmlns:a16="http://schemas.microsoft.com/office/drawing/2014/main" id="{6BA5521B-E141-71BA-977C-9C335C313B0E}"/>
                    </a:ext>
                  </a:extLst>
                </p:cNvPr>
                <p:cNvSpPr>
                  <a:spLocks noEditPoints="1"/>
                </p:cNvSpPr>
                <p:nvPr/>
              </p:nvSpPr>
              <p:spPr bwMode="auto">
                <a:xfrm>
                  <a:off x="2516188" y="3614738"/>
                  <a:ext cx="1500188" cy="1293813"/>
                </a:xfrm>
                <a:custGeom>
                  <a:avLst/>
                  <a:gdLst>
                    <a:gd name="T0" fmla="*/ 103 w 945"/>
                    <a:gd name="T1" fmla="*/ 249 h 815"/>
                    <a:gd name="T2" fmla="*/ 108 w 945"/>
                    <a:gd name="T3" fmla="*/ 229 h 815"/>
                    <a:gd name="T4" fmla="*/ 127 w 945"/>
                    <a:gd name="T5" fmla="*/ 222 h 815"/>
                    <a:gd name="T6" fmla="*/ 258 w 945"/>
                    <a:gd name="T7" fmla="*/ 166 h 815"/>
                    <a:gd name="T8" fmla="*/ 270 w 945"/>
                    <a:gd name="T9" fmla="*/ 133 h 815"/>
                    <a:gd name="T10" fmla="*/ 276 w 945"/>
                    <a:gd name="T11" fmla="*/ 57 h 815"/>
                    <a:gd name="T12" fmla="*/ 326 w 945"/>
                    <a:gd name="T13" fmla="*/ 0 h 815"/>
                    <a:gd name="T14" fmla="*/ 510 w 945"/>
                    <a:gd name="T15" fmla="*/ 31 h 815"/>
                    <a:gd name="T16" fmla="*/ 542 w 945"/>
                    <a:gd name="T17" fmla="*/ 89 h 815"/>
                    <a:gd name="T18" fmla="*/ 540 w 945"/>
                    <a:gd name="T19" fmla="*/ 163 h 815"/>
                    <a:gd name="T20" fmla="*/ 547 w 945"/>
                    <a:gd name="T21" fmla="*/ 229 h 815"/>
                    <a:gd name="T22" fmla="*/ 608 w 945"/>
                    <a:gd name="T23" fmla="*/ 290 h 815"/>
                    <a:gd name="T24" fmla="*/ 611 w 945"/>
                    <a:gd name="T25" fmla="*/ 349 h 815"/>
                    <a:gd name="T26" fmla="*/ 647 w 945"/>
                    <a:gd name="T27" fmla="*/ 428 h 815"/>
                    <a:gd name="T28" fmla="*/ 707 w 945"/>
                    <a:gd name="T29" fmla="*/ 444 h 815"/>
                    <a:gd name="T30" fmla="*/ 711 w 945"/>
                    <a:gd name="T31" fmla="*/ 470 h 815"/>
                    <a:gd name="T32" fmla="*/ 716 w 945"/>
                    <a:gd name="T33" fmla="*/ 508 h 815"/>
                    <a:gd name="T34" fmla="*/ 768 w 945"/>
                    <a:gd name="T35" fmla="*/ 540 h 815"/>
                    <a:gd name="T36" fmla="*/ 716 w 945"/>
                    <a:gd name="T37" fmla="*/ 562 h 815"/>
                    <a:gd name="T38" fmla="*/ 629 w 945"/>
                    <a:gd name="T39" fmla="*/ 572 h 815"/>
                    <a:gd name="T40" fmla="*/ 588 w 945"/>
                    <a:gd name="T41" fmla="*/ 524 h 815"/>
                    <a:gd name="T42" fmla="*/ 565 w 945"/>
                    <a:gd name="T43" fmla="*/ 520 h 815"/>
                    <a:gd name="T44" fmla="*/ 534 w 945"/>
                    <a:gd name="T45" fmla="*/ 539 h 815"/>
                    <a:gd name="T46" fmla="*/ 394 w 945"/>
                    <a:gd name="T47" fmla="*/ 571 h 815"/>
                    <a:gd name="T48" fmla="*/ 338 w 945"/>
                    <a:gd name="T49" fmla="*/ 530 h 815"/>
                    <a:gd name="T50" fmla="*/ 319 w 945"/>
                    <a:gd name="T51" fmla="*/ 518 h 815"/>
                    <a:gd name="T52" fmla="*/ 249 w 945"/>
                    <a:gd name="T53" fmla="*/ 506 h 815"/>
                    <a:gd name="T54" fmla="*/ 226 w 945"/>
                    <a:gd name="T55" fmla="*/ 501 h 815"/>
                    <a:gd name="T56" fmla="*/ 208 w 945"/>
                    <a:gd name="T57" fmla="*/ 500 h 815"/>
                    <a:gd name="T58" fmla="*/ 195 w 945"/>
                    <a:gd name="T59" fmla="*/ 516 h 815"/>
                    <a:gd name="T60" fmla="*/ 184 w 945"/>
                    <a:gd name="T61" fmla="*/ 530 h 815"/>
                    <a:gd name="T62" fmla="*/ 163 w 945"/>
                    <a:gd name="T63" fmla="*/ 552 h 815"/>
                    <a:gd name="T64" fmla="*/ 124 w 945"/>
                    <a:gd name="T65" fmla="*/ 567 h 815"/>
                    <a:gd name="T66" fmla="*/ 94 w 945"/>
                    <a:gd name="T67" fmla="*/ 557 h 815"/>
                    <a:gd name="T68" fmla="*/ 74 w 945"/>
                    <a:gd name="T69" fmla="*/ 544 h 815"/>
                    <a:gd name="T70" fmla="*/ 64 w 945"/>
                    <a:gd name="T71" fmla="*/ 534 h 815"/>
                    <a:gd name="T72" fmla="*/ 55 w 945"/>
                    <a:gd name="T73" fmla="*/ 527 h 815"/>
                    <a:gd name="T74" fmla="*/ 37 w 945"/>
                    <a:gd name="T75" fmla="*/ 531 h 815"/>
                    <a:gd name="T76" fmla="*/ 18 w 945"/>
                    <a:gd name="T77" fmla="*/ 534 h 815"/>
                    <a:gd name="T78" fmla="*/ 8 w 945"/>
                    <a:gd name="T79" fmla="*/ 531 h 815"/>
                    <a:gd name="T80" fmla="*/ 4 w 945"/>
                    <a:gd name="T81" fmla="*/ 503 h 815"/>
                    <a:gd name="T82" fmla="*/ 11 w 945"/>
                    <a:gd name="T83" fmla="*/ 481 h 815"/>
                    <a:gd name="T84" fmla="*/ 24 w 945"/>
                    <a:gd name="T85" fmla="*/ 466 h 815"/>
                    <a:gd name="T86" fmla="*/ 15 w 945"/>
                    <a:gd name="T87" fmla="*/ 454 h 815"/>
                    <a:gd name="T88" fmla="*/ 5 w 945"/>
                    <a:gd name="T89" fmla="*/ 437 h 815"/>
                    <a:gd name="T90" fmla="*/ 3 w 945"/>
                    <a:gd name="T91" fmla="*/ 415 h 815"/>
                    <a:gd name="T92" fmla="*/ 5 w 945"/>
                    <a:gd name="T93" fmla="*/ 400 h 815"/>
                    <a:gd name="T94" fmla="*/ 4 w 945"/>
                    <a:gd name="T95" fmla="*/ 381 h 815"/>
                    <a:gd name="T96" fmla="*/ 8 w 945"/>
                    <a:gd name="T97" fmla="*/ 366 h 815"/>
                    <a:gd name="T98" fmla="*/ 4 w 945"/>
                    <a:gd name="T99" fmla="*/ 348 h 815"/>
                    <a:gd name="T100" fmla="*/ 7 w 945"/>
                    <a:gd name="T101" fmla="*/ 333 h 815"/>
                    <a:gd name="T102" fmla="*/ 17 w 945"/>
                    <a:gd name="T103" fmla="*/ 321 h 815"/>
                    <a:gd name="T104" fmla="*/ 24 w 945"/>
                    <a:gd name="T105" fmla="*/ 306 h 815"/>
                    <a:gd name="T106" fmla="*/ 14 w 945"/>
                    <a:gd name="T107" fmla="*/ 287 h 815"/>
                    <a:gd name="T108" fmla="*/ 3 w 945"/>
                    <a:gd name="T109" fmla="*/ 269 h 815"/>
                    <a:gd name="T110" fmla="*/ 865 w 945"/>
                    <a:gd name="T111" fmla="*/ 779 h 815"/>
                    <a:gd name="T112" fmla="*/ 759 w 945"/>
                    <a:gd name="T113" fmla="*/ 701 h 815"/>
                    <a:gd name="T114" fmla="*/ 846 w 945"/>
                    <a:gd name="T115" fmla="*/ 632 h 815"/>
                    <a:gd name="T116" fmla="*/ 859 w 945"/>
                    <a:gd name="T117" fmla="*/ 662 h 815"/>
                    <a:gd name="T118" fmla="*/ 882 w 945"/>
                    <a:gd name="T119" fmla="*/ 706 h 815"/>
                    <a:gd name="T120" fmla="*/ 933 w 945"/>
                    <a:gd name="T121" fmla="*/ 728 h 815"/>
                    <a:gd name="T122" fmla="*/ 940 w 945"/>
                    <a:gd name="T123" fmla="*/ 761 h 815"/>
                    <a:gd name="T124" fmla="*/ 940 w 945"/>
                    <a:gd name="T125" fmla="*/ 790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5" h="815">
                      <a:moveTo>
                        <a:pt x="85" y="263"/>
                      </a:moveTo>
                      <a:lnTo>
                        <a:pt x="85" y="262"/>
                      </a:lnTo>
                      <a:lnTo>
                        <a:pt x="87" y="261"/>
                      </a:lnTo>
                      <a:lnTo>
                        <a:pt x="87" y="260"/>
                      </a:lnTo>
                      <a:lnTo>
                        <a:pt x="88" y="260"/>
                      </a:lnTo>
                      <a:lnTo>
                        <a:pt x="88" y="259"/>
                      </a:lnTo>
                      <a:lnTo>
                        <a:pt x="89" y="259"/>
                      </a:lnTo>
                      <a:lnTo>
                        <a:pt x="89" y="258"/>
                      </a:lnTo>
                      <a:lnTo>
                        <a:pt x="90" y="258"/>
                      </a:lnTo>
                      <a:lnTo>
                        <a:pt x="90" y="257"/>
                      </a:lnTo>
                      <a:lnTo>
                        <a:pt x="91" y="257"/>
                      </a:lnTo>
                      <a:lnTo>
                        <a:pt x="91" y="256"/>
                      </a:lnTo>
                      <a:lnTo>
                        <a:pt x="91" y="254"/>
                      </a:lnTo>
                      <a:lnTo>
                        <a:pt x="92" y="256"/>
                      </a:lnTo>
                      <a:lnTo>
                        <a:pt x="92" y="254"/>
                      </a:lnTo>
                      <a:lnTo>
                        <a:pt x="93" y="254"/>
                      </a:lnTo>
                      <a:lnTo>
                        <a:pt x="94" y="254"/>
                      </a:lnTo>
                      <a:lnTo>
                        <a:pt x="94" y="253"/>
                      </a:lnTo>
                      <a:lnTo>
                        <a:pt x="95" y="253"/>
                      </a:lnTo>
                      <a:lnTo>
                        <a:pt x="94" y="253"/>
                      </a:lnTo>
                      <a:lnTo>
                        <a:pt x="94" y="252"/>
                      </a:lnTo>
                      <a:lnTo>
                        <a:pt x="95" y="252"/>
                      </a:lnTo>
                      <a:lnTo>
                        <a:pt x="96" y="252"/>
                      </a:lnTo>
                      <a:lnTo>
                        <a:pt x="97" y="252"/>
                      </a:lnTo>
                      <a:lnTo>
                        <a:pt x="98" y="252"/>
                      </a:lnTo>
                      <a:lnTo>
                        <a:pt x="98" y="253"/>
                      </a:lnTo>
                      <a:lnTo>
                        <a:pt x="100" y="253"/>
                      </a:lnTo>
                      <a:lnTo>
                        <a:pt x="101" y="252"/>
                      </a:lnTo>
                      <a:lnTo>
                        <a:pt x="102" y="252"/>
                      </a:lnTo>
                      <a:lnTo>
                        <a:pt x="103" y="252"/>
                      </a:lnTo>
                      <a:lnTo>
                        <a:pt x="103" y="251"/>
                      </a:lnTo>
                      <a:lnTo>
                        <a:pt x="103" y="250"/>
                      </a:lnTo>
                      <a:lnTo>
                        <a:pt x="103" y="249"/>
                      </a:lnTo>
                      <a:lnTo>
                        <a:pt x="104" y="249"/>
                      </a:lnTo>
                      <a:lnTo>
                        <a:pt x="104" y="248"/>
                      </a:lnTo>
                      <a:lnTo>
                        <a:pt x="104" y="247"/>
                      </a:lnTo>
                      <a:lnTo>
                        <a:pt x="103" y="247"/>
                      </a:lnTo>
                      <a:lnTo>
                        <a:pt x="103" y="246"/>
                      </a:lnTo>
                      <a:lnTo>
                        <a:pt x="104" y="246"/>
                      </a:lnTo>
                      <a:lnTo>
                        <a:pt x="103" y="245"/>
                      </a:lnTo>
                      <a:lnTo>
                        <a:pt x="104" y="245"/>
                      </a:lnTo>
                      <a:lnTo>
                        <a:pt x="103" y="244"/>
                      </a:lnTo>
                      <a:lnTo>
                        <a:pt x="103" y="243"/>
                      </a:lnTo>
                      <a:lnTo>
                        <a:pt x="104" y="243"/>
                      </a:lnTo>
                      <a:lnTo>
                        <a:pt x="104" y="241"/>
                      </a:lnTo>
                      <a:lnTo>
                        <a:pt x="104" y="240"/>
                      </a:lnTo>
                      <a:lnTo>
                        <a:pt x="103" y="239"/>
                      </a:lnTo>
                      <a:lnTo>
                        <a:pt x="104" y="238"/>
                      </a:lnTo>
                      <a:lnTo>
                        <a:pt x="105" y="238"/>
                      </a:lnTo>
                      <a:lnTo>
                        <a:pt x="105" y="237"/>
                      </a:lnTo>
                      <a:lnTo>
                        <a:pt x="105" y="236"/>
                      </a:lnTo>
                      <a:lnTo>
                        <a:pt x="106" y="236"/>
                      </a:lnTo>
                      <a:lnTo>
                        <a:pt x="106" y="235"/>
                      </a:lnTo>
                      <a:lnTo>
                        <a:pt x="105" y="235"/>
                      </a:lnTo>
                      <a:lnTo>
                        <a:pt x="106" y="235"/>
                      </a:lnTo>
                      <a:lnTo>
                        <a:pt x="106" y="234"/>
                      </a:lnTo>
                      <a:lnTo>
                        <a:pt x="106" y="233"/>
                      </a:lnTo>
                      <a:lnTo>
                        <a:pt x="105" y="232"/>
                      </a:lnTo>
                      <a:lnTo>
                        <a:pt x="106" y="232"/>
                      </a:lnTo>
                      <a:lnTo>
                        <a:pt x="107" y="231"/>
                      </a:lnTo>
                      <a:lnTo>
                        <a:pt x="107" y="229"/>
                      </a:lnTo>
                      <a:lnTo>
                        <a:pt x="106" y="229"/>
                      </a:lnTo>
                      <a:lnTo>
                        <a:pt x="106" y="228"/>
                      </a:lnTo>
                      <a:lnTo>
                        <a:pt x="107" y="228"/>
                      </a:lnTo>
                      <a:lnTo>
                        <a:pt x="107" y="229"/>
                      </a:lnTo>
                      <a:lnTo>
                        <a:pt x="108" y="229"/>
                      </a:lnTo>
                      <a:lnTo>
                        <a:pt x="109" y="229"/>
                      </a:lnTo>
                      <a:lnTo>
                        <a:pt x="109" y="228"/>
                      </a:lnTo>
                      <a:lnTo>
                        <a:pt x="109" y="229"/>
                      </a:lnTo>
                      <a:lnTo>
                        <a:pt x="110" y="229"/>
                      </a:lnTo>
                      <a:lnTo>
                        <a:pt x="110" y="228"/>
                      </a:lnTo>
                      <a:lnTo>
                        <a:pt x="110" y="227"/>
                      </a:lnTo>
                      <a:lnTo>
                        <a:pt x="111" y="226"/>
                      </a:lnTo>
                      <a:lnTo>
                        <a:pt x="111" y="227"/>
                      </a:lnTo>
                      <a:lnTo>
                        <a:pt x="111" y="226"/>
                      </a:lnTo>
                      <a:lnTo>
                        <a:pt x="111" y="225"/>
                      </a:lnTo>
                      <a:lnTo>
                        <a:pt x="113" y="225"/>
                      </a:lnTo>
                      <a:lnTo>
                        <a:pt x="113" y="224"/>
                      </a:lnTo>
                      <a:lnTo>
                        <a:pt x="114" y="224"/>
                      </a:lnTo>
                      <a:lnTo>
                        <a:pt x="114" y="225"/>
                      </a:lnTo>
                      <a:lnTo>
                        <a:pt x="115" y="224"/>
                      </a:lnTo>
                      <a:lnTo>
                        <a:pt x="116" y="225"/>
                      </a:lnTo>
                      <a:lnTo>
                        <a:pt x="116" y="224"/>
                      </a:lnTo>
                      <a:lnTo>
                        <a:pt x="117" y="224"/>
                      </a:lnTo>
                      <a:lnTo>
                        <a:pt x="117" y="225"/>
                      </a:lnTo>
                      <a:lnTo>
                        <a:pt x="118" y="224"/>
                      </a:lnTo>
                      <a:lnTo>
                        <a:pt x="119" y="224"/>
                      </a:lnTo>
                      <a:lnTo>
                        <a:pt x="119" y="223"/>
                      </a:lnTo>
                      <a:lnTo>
                        <a:pt x="120" y="223"/>
                      </a:lnTo>
                      <a:lnTo>
                        <a:pt x="121" y="223"/>
                      </a:lnTo>
                      <a:lnTo>
                        <a:pt x="122" y="223"/>
                      </a:lnTo>
                      <a:lnTo>
                        <a:pt x="123" y="224"/>
                      </a:lnTo>
                      <a:lnTo>
                        <a:pt x="123" y="225"/>
                      </a:lnTo>
                      <a:lnTo>
                        <a:pt x="124" y="224"/>
                      </a:lnTo>
                      <a:lnTo>
                        <a:pt x="126" y="224"/>
                      </a:lnTo>
                      <a:lnTo>
                        <a:pt x="126" y="223"/>
                      </a:lnTo>
                      <a:lnTo>
                        <a:pt x="127" y="223"/>
                      </a:lnTo>
                      <a:lnTo>
                        <a:pt x="126" y="223"/>
                      </a:lnTo>
                      <a:lnTo>
                        <a:pt x="127" y="222"/>
                      </a:lnTo>
                      <a:lnTo>
                        <a:pt x="127" y="221"/>
                      </a:lnTo>
                      <a:lnTo>
                        <a:pt x="127" y="222"/>
                      </a:lnTo>
                      <a:lnTo>
                        <a:pt x="128" y="223"/>
                      </a:lnTo>
                      <a:lnTo>
                        <a:pt x="128" y="222"/>
                      </a:lnTo>
                      <a:lnTo>
                        <a:pt x="129" y="222"/>
                      </a:lnTo>
                      <a:lnTo>
                        <a:pt x="130" y="222"/>
                      </a:lnTo>
                      <a:lnTo>
                        <a:pt x="130" y="221"/>
                      </a:lnTo>
                      <a:lnTo>
                        <a:pt x="131" y="221"/>
                      </a:lnTo>
                      <a:lnTo>
                        <a:pt x="132" y="222"/>
                      </a:lnTo>
                      <a:lnTo>
                        <a:pt x="133" y="222"/>
                      </a:lnTo>
                      <a:lnTo>
                        <a:pt x="133" y="221"/>
                      </a:lnTo>
                      <a:lnTo>
                        <a:pt x="139" y="221"/>
                      </a:lnTo>
                      <a:lnTo>
                        <a:pt x="158" y="221"/>
                      </a:lnTo>
                      <a:lnTo>
                        <a:pt x="160" y="221"/>
                      </a:lnTo>
                      <a:lnTo>
                        <a:pt x="165" y="221"/>
                      </a:lnTo>
                      <a:lnTo>
                        <a:pt x="167" y="221"/>
                      </a:lnTo>
                      <a:lnTo>
                        <a:pt x="190" y="221"/>
                      </a:lnTo>
                      <a:lnTo>
                        <a:pt x="196" y="221"/>
                      </a:lnTo>
                      <a:lnTo>
                        <a:pt x="208" y="221"/>
                      </a:lnTo>
                      <a:lnTo>
                        <a:pt x="217" y="221"/>
                      </a:lnTo>
                      <a:lnTo>
                        <a:pt x="226" y="221"/>
                      </a:lnTo>
                      <a:lnTo>
                        <a:pt x="226" y="218"/>
                      </a:lnTo>
                      <a:lnTo>
                        <a:pt x="226" y="207"/>
                      </a:lnTo>
                      <a:lnTo>
                        <a:pt x="226" y="200"/>
                      </a:lnTo>
                      <a:lnTo>
                        <a:pt x="235" y="200"/>
                      </a:lnTo>
                      <a:lnTo>
                        <a:pt x="242" y="200"/>
                      </a:lnTo>
                      <a:lnTo>
                        <a:pt x="253" y="200"/>
                      </a:lnTo>
                      <a:lnTo>
                        <a:pt x="257" y="200"/>
                      </a:lnTo>
                      <a:lnTo>
                        <a:pt x="258" y="200"/>
                      </a:lnTo>
                      <a:lnTo>
                        <a:pt x="258" y="195"/>
                      </a:lnTo>
                      <a:lnTo>
                        <a:pt x="258" y="168"/>
                      </a:lnTo>
                      <a:lnTo>
                        <a:pt x="258" y="167"/>
                      </a:lnTo>
                      <a:lnTo>
                        <a:pt x="258" y="166"/>
                      </a:lnTo>
                      <a:lnTo>
                        <a:pt x="258" y="164"/>
                      </a:lnTo>
                      <a:lnTo>
                        <a:pt x="259" y="164"/>
                      </a:lnTo>
                      <a:lnTo>
                        <a:pt x="259" y="163"/>
                      </a:lnTo>
                      <a:lnTo>
                        <a:pt x="260" y="163"/>
                      </a:lnTo>
                      <a:lnTo>
                        <a:pt x="261" y="162"/>
                      </a:lnTo>
                      <a:lnTo>
                        <a:pt x="261" y="161"/>
                      </a:lnTo>
                      <a:lnTo>
                        <a:pt x="262" y="161"/>
                      </a:lnTo>
                      <a:lnTo>
                        <a:pt x="262" y="160"/>
                      </a:lnTo>
                      <a:lnTo>
                        <a:pt x="262" y="159"/>
                      </a:lnTo>
                      <a:lnTo>
                        <a:pt x="262" y="158"/>
                      </a:lnTo>
                      <a:lnTo>
                        <a:pt x="262" y="157"/>
                      </a:lnTo>
                      <a:lnTo>
                        <a:pt x="262" y="156"/>
                      </a:lnTo>
                      <a:lnTo>
                        <a:pt x="262" y="154"/>
                      </a:lnTo>
                      <a:lnTo>
                        <a:pt x="262" y="153"/>
                      </a:lnTo>
                      <a:lnTo>
                        <a:pt x="263" y="151"/>
                      </a:lnTo>
                      <a:lnTo>
                        <a:pt x="263" y="150"/>
                      </a:lnTo>
                      <a:lnTo>
                        <a:pt x="262" y="149"/>
                      </a:lnTo>
                      <a:lnTo>
                        <a:pt x="262" y="148"/>
                      </a:lnTo>
                      <a:lnTo>
                        <a:pt x="263" y="148"/>
                      </a:lnTo>
                      <a:lnTo>
                        <a:pt x="263" y="147"/>
                      </a:lnTo>
                      <a:lnTo>
                        <a:pt x="263" y="146"/>
                      </a:lnTo>
                      <a:lnTo>
                        <a:pt x="264" y="145"/>
                      </a:lnTo>
                      <a:lnTo>
                        <a:pt x="264" y="144"/>
                      </a:lnTo>
                      <a:lnTo>
                        <a:pt x="264" y="142"/>
                      </a:lnTo>
                      <a:lnTo>
                        <a:pt x="264" y="139"/>
                      </a:lnTo>
                      <a:lnTo>
                        <a:pt x="264" y="138"/>
                      </a:lnTo>
                      <a:lnTo>
                        <a:pt x="264" y="137"/>
                      </a:lnTo>
                      <a:lnTo>
                        <a:pt x="265" y="137"/>
                      </a:lnTo>
                      <a:lnTo>
                        <a:pt x="266" y="137"/>
                      </a:lnTo>
                      <a:lnTo>
                        <a:pt x="268" y="136"/>
                      </a:lnTo>
                      <a:lnTo>
                        <a:pt x="269" y="135"/>
                      </a:lnTo>
                      <a:lnTo>
                        <a:pt x="270" y="135"/>
                      </a:lnTo>
                      <a:lnTo>
                        <a:pt x="270" y="133"/>
                      </a:lnTo>
                      <a:lnTo>
                        <a:pt x="271" y="133"/>
                      </a:lnTo>
                      <a:lnTo>
                        <a:pt x="271" y="132"/>
                      </a:lnTo>
                      <a:lnTo>
                        <a:pt x="272" y="132"/>
                      </a:lnTo>
                      <a:lnTo>
                        <a:pt x="273" y="131"/>
                      </a:lnTo>
                      <a:lnTo>
                        <a:pt x="274" y="130"/>
                      </a:lnTo>
                      <a:lnTo>
                        <a:pt x="275" y="131"/>
                      </a:lnTo>
                      <a:lnTo>
                        <a:pt x="277" y="131"/>
                      </a:lnTo>
                      <a:lnTo>
                        <a:pt x="278" y="130"/>
                      </a:lnTo>
                      <a:lnTo>
                        <a:pt x="278" y="128"/>
                      </a:lnTo>
                      <a:lnTo>
                        <a:pt x="279" y="126"/>
                      </a:lnTo>
                      <a:lnTo>
                        <a:pt x="279" y="125"/>
                      </a:lnTo>
                      <a:lnTo>
                        <a:pt x="279" y="124"/>
                      </a:lnTo>
                      <a:lnTo>
                        <a:pt x="281" y="124"/>
                      </a:lnTo>
                      <a:lnTo>
                        <a:pt x="281" y="123"/>
                      </a:lnTo>
                      <a:lnTo>
                        <a:pt x="282" y="124"/>
                      </a:lnTo>
                      <a:lnTo>
                        <a:pt x="282" y="125"/>
                      </a:lnTo>
                      <a:lnTo>
                        <a:pt x="282" y="121"/>
                      </a:lnTo>
                      <a:lnTo>
                        <a:pt x="282" y="119"/>
                      </a:lnTo>
                      <a:lnTo>
                        <a:pt x="282" y="118"/>
                      </a:lnTo>
                      <a:lnTo>
                        <a:pt x="282" y="106"/>
                      </a:lnTo>
                      <a:lnTo>
                        <a:pt x="282" y="79"/>
                      </a:lnTo>
                      <a:lnTo>
                        <a:pt x="282" y="78"/>
                      </a:lnTo>
                      <a:lnTo>
                        <a:pt x="282" y="77"/>
                      </a:lnTo>
                      <a:lnTo>
                        <a:pt x="282" y="62"/>
                      </a:lnTo>
                      <a:lnTo>
                        <a:pt x="282" y="61"/>
                      </a:lnTo>
                      <a:lnTo>
                        <a:pt x="282" y="60"/>
                      </a:lnTo>
                      <a:lnTo>
                        <a:pt x="282" y="58"/>
                      </a:lnTo>
                      <a:lnTo>
                        <a:pt x="281" y="58"/>
                      </a:lnTo>
                      <a:lnTo>
                        <a:pt x="279" y="58"/>
                      </a:lnTo>
                      <a:lnTo>
                        <a:pt x="278" y="58"/>
                      </a:lnTo>
                      <a:lnTo>
                        <a:pt x="278" y="57"/>
                      </a:lnTo>
                      <a:lnTo>
                        <a:pt x="277" y="57"/>
                      </a:lnTo>
                      <a:lnTo>
                        <a:pt x="276" y="57"/>
                      </a:lnTo>
                      <a:lnTo>
                        <a:pt x="276" y="56"/>
                      </a:lnTo>
                      <a:lnTo>
                        <a:pt x="275" y="56"/>
                      </a:lnTo>
                      <a:lnTo>
                        <a:pt x="275" y="55"/>
                      </a:lnTo>
                      <a:lnTo>
                        <a:pt x="274" y="55"/>
                      </a:lnTo>
                      <a:lnTo>
                        <a:pt x="274" y="54"/>
                      </a:lnTo>
                      <a:lnTo>
                        <a:pt x="274" y="53"/>
                      </a:lnTo>
                      <a:lnTo>
                        <a:pt x="273" y="53"/>
                      </a:lnTo>
                      <a:lnTo>
                        <a:pt x="272" y="52"/>
                      </a:lnTo>
                      <a:lnTo>
                        <a:pt x="271" y="51"/>
                      </a:lnTo>
                      <a:lnTo>
                        <a:pt x="270" y="51"/>
                      </a:lnTo>
                      <a:lnTo>
                        <a:pt x="268" y="49"/>
                      </a:lnTo>
                      <a:lnTo>
                        <a:pt x="266" y="49"/>
                      </a:lnTo>
                      <a:lnTo>
                        <a:pt x="265" y="48"/>
                      </a:lnTo>
                      <a:lnTo>
                        <a:pt x="264" y="48"/>
                      </a:lnTo>
                      <a:lnTo>
                        <a:pt x="263" y="47"/>
                      </a:lnTo>
                      <a:lnTo>
                        <a:pt x="262" y="47"/>
                      </a:lnTo>
                      <a:lnTo>
                        <a:pt x="261" y="46"/>
                      </a:lnTo>
                      <a:lnTo>
                        <a:pt x="260" y="45"/>
                      </a:lnTo>
                      <a:lnTo>
                        <a:pt x="260" y="44"/>
                      </a:lnTo>
                      <a:lnTo>
                        <a:pt x="260" y="43"/>
                      </a:lnTo>
                      <a:lnTo>
                        <a:pt x="259" y="42"/>
                      </a:lnTo>
                      <a:lnTo>
                        <a:pt x="259" y="41"/>
                      </a:lnTo>
                      <a:lnTo>
                        <a:pt x="258" y="40"/>
                      </a:lnTo>
                      <a:lnTo>
                        <a:pt x="258" y="36"/>
                      </a:lnTo>
                      <a:lnTo>
                        <a:pt x="258" y="35"/>
                      </a:lnTo>
                      <a:lnTo>
                        <a:pt x="258" y="33"/>
                      </a:lnTo>
                      <a:lnTo>
                        <a:pt x="258" y="13"/>
                      </a:lnTo>
                      <a:lnTo>
                        <a:pt x="257" y="2"/>
                      </a:lnTo>
                      <a:lnTo>
                        <a:pt x="257" y="1"/>
                      </a:lnTo>
                      <a:lnTo>
                        <a:pt x="311" y="0"/>
                      </a:lnTo>
                      <a:lnTo>
                        <a:pt x="321" y="0"/>
                      </a:lnTo>
                      <a:lnTo>
                        <a:pt x="325" y="0"/>
                      </a:lnTo>
                      <a:lnTo>
                        <a:pt x="326" y="0"/>
                      </a:lnTo>
                      <a:lnTo>
                        <a:pt x="353" y="0"/>
                      </a:lnTo>
                      <a:lnTo>
                        <a:pt x="369" y="0"/>
                      </a:lnTo>
                      <a:lnTo>
                        <a:pt x="388" y="0"/>
                      </a:lnTo>
                      <a:lnTo>
                        <a:pt x="393" y="0"/>
                      </a:lnTo>
                      <a:lnTo>
                        <a:pt x="419" y="1"/>
                      </a:lnTo>
                      <a:lnTo>
                        <a:pt x="464" y="1"/>
                      </a:lnTo>
                      <a:lnTo>
                        <a:pt x="470" y="1"/>
                      </a:lnTo>
                      <a:lnTo>
                        <a:pt x="476" y="1"/>
                      </a:lnTo>
                      <a:lnTo>
                        <a:pt x="480" y="1"/>
                      </a:lnTo>
                      <a:lnTo>
                        <a:pt x="487" y="1"/>
                      </a:lnTo>
                      <a:lnTo>
                        <a:pt x="498" y="1"/>
                      </a:lnTo>
                      <a:lnTo>
                        <a:pt x="501" y="1"/>
                      </a:lnTo>
                      <a:lnTo>
                        <a:pt x="502" y="2"/>
                      </a:lnTo>
                      <a:lnTo>
                        <a:pt x="504" y="4"/>
                      </a:lnTo>
                      <a:lnTo>
                        <a:pt x="507" y="6"/>
                      </a:lnTo>
                      <a:lnTo>
                        <a:pt x="509" y="8"/>
                      </a:lnTo>
                      <a:lnTo>
                        <a:pt x="510" y="10"/>
                      </a:lnTo>
                      <a:lnTo>
                        <a:pt x="510" y="15"/>
                      </a:lnTo>
                      <a:lnTo>
                        <a:pt x="509" y="18"/>
                      </a:lnTo>
                      <a:lnTo>
                        <a:pt x="507" y="18"/>
                      </a:lnTo>
                      <a:lnTo>
                        <a:pt x="507" y="19"/>
                      </a:lnTo>
                      <a:lnTo>
                        <a:pt x="506" y="19"/>
                      </a:lnTo>
                      <a:lnTo>
                        <a:pt x="505" y="20"/>
                      </a:lnTo>
                      <a:lnTo>
                        <a:pt x="505" y="21"/>
                      </a:lnTo>
                      <a:lnTo>
                        <a:pt x="505" y="22"/>
                      </a:lnTo>
                      <a:lnTo>
                        <a:pt x="505" y="23"/>
                      </a:lnTo>
                      <a:lnTo>
                        <a:pt x="505" y="25"/>
                      </a:lnTo>
                      <a:lnTo>
                        <a:pt x="505" y="27"/>
                      </a:lnTo>
                      <a:lnTo>
                        <a:pt x="506" y="28"/>
                      </a:lnTo>
                      <a:lnTo>
                        <a:pt x="507" y="29"/>
                      </a:lnTo>
                      <a:lnTo>
                        <a:pt x="508" y="30"/>
                      </a:lnTo>
                      <a:lnTo>
                        <a:pt x="509" y="30"/>
                      </a:lnTo>
                      <a:lnTo>
                        <a:pt x="510" y="31"/>
                      </a:lnTo>
                      <a:lnTo>
                        <a:pt x="514" y="33"/>
                      </a:lnTo>
                      <a:lnTo>
                        <a:pt x="515" y="34"/>
                      </a:lnTo>
                      <a:lnTo>
                        <a:pt x="516" y="35"/>
                      </a:lnTo>
                      <a:lnTo>
                        <a:pt x="517" y="36"/>
                      </a:lnTo>
                      <a:lnTo>
                        <a:pt x="518" y="36"/>
                      </a:lnTo>
                      <a:lnTo>
                        <a:pt x="521" y="38"/>
                      </a:lnTo>
                      <a:lnTo>
                        <a:pt x="522" y="39"/>
                      </a:lnTo>
                      <a:lnTo>
                        <a:pt x="523" y="40"/>
                      </a:lnTo>
                      <a:lnTo>
                        <a:pt x="526" y="42"/>
                      </a:lnTo>
                      <a:lnTo>
                        <a:pt x="528" y="44"/>
                      </a:lnTo>
                      <a:lnTo>
                        <a:pt x="529" y="45"/>
                      </a:lnTo>
                      <a:lnTo>
                        <a:pt x="530" y="46"/>
                      </a:lnTo>
                      <a:lnTo>
                        <a:pt x="530" y="48"/>
                      </a:lnTo>
                      <a:lnTo>
                        <a:pt x="531" y="49"/>
                      </a:lnTo>
                      <a:lnTo>
                        <a:pt x="531" y="52"/>
                      </a:lnTo>
                      <a:lnTo>
                        <a:pt x="532" y="55"/>
                      </a:lnTo>
                      <a:lnTo>
                        <a:pt x="534" y="58"/>
                      </a:lnTo>
                      <a:lnTo>
                        <a:pt x="534" y="59"/>
                      </a:lnTo>
                      <a:lnTo>
                        <a:pt x="535" y="61"/>
                      </a:lnTo>
                      <a:lnTo>
                        <a:pt x="536" y="64"/>
                      </a:lnTo>
                      <a:lnTo>
                        <a:pt x="537" y="66"/>
                      </a:lnTo>
                      <a:lnTo>
                        <a:pt x="537" y="68"/>
                      </a:lnTo>
                      <a:lnTo>
                        <a:pt x="536" y="71"/>
                      </a:lnTo>
                      <a:lnTo>
                        <a:pt x="535" y="74"/>
                      </a:lnTo>
                      <a:lnTo>
                        <a:pt x="535" y="77"/>
                      </a:lnTo>
                      <a:lnTo>
                        <a:pt x="535" y="78"/>
                      </a:lnTo>
                      <a:lnTo>
                        <a:pt x="536" y="78"/>
                      </a:lnTo>
                      <a:lnTo>
                        <a:pt x="537" y="80"/>
                      </a:lnTo>
                      <a:lnTo>
                        <a:pt x="540" y="81"/>
                      </a:lnTo>
                      <a:lnTo>
                        <a:pt x="540" y="82"/>
                      </a:lnTo>
                      <a:lnTo>
                        <a:pt x="542" y="85"/>
                      </a:lnTo>
                      <a:lnTo>
                        <a:pt x="542" y="86"/>
                      </a:lnTo>
                      <a:lnTo>
                        <a:pt x="542" y="89"/>
                      </a:lnTo>
                      <a:lnTo>
                        <a:pt x="543" y="90"/>
                      </a:lnTo>
                      <a:lnTo>
                        <a:pt x="545" y="93"/>
                      </a:lnTo>
                      <a:lnTo>
                        <a:pt x="547" y="96"/>
                      </a:lnTo>
                      <a:lnTo>
                        <a:pt x="547" y="97"/>
                      </a:lnTo>
                      <a:lnTo>
                        <a:pt x="548" y="98"/>
                      </a:lnTo>
                      <a:lnTo>
                        <a:pt x="549" y="99"/>
                      </a:lnTo>
                      <a:lnTo>
                        <a:pt x="549" y="102"/>
                      </a:lnTo>
                      <a:lnTo>
                        <a:pt x="550" y="104"/>
                      </a:lnTo>
                      <a:lnTo>
                        <a:pt x="550" y="105"/>
                      </a:lnTo>
                      <a:lnTo>
                        <a:pt x="550" y="109"/>
                      </a:lnTo>
                      <a:lnTo>
                        <a:pt x="550" y="112"/>
                      </a:lnTo>
                      <a:lnTo>
                        <a:pt x="549" y="115"/>
                      </a:lnTo>
                      <a:lnTo>
                        <a:pt x="549" y="118"/>
                      </a:lnTo>
                      <a:lnTo>
                        <a:pt x="549" y="121"/>
                      </a:lnTo>
                      <a:lnTo>
                        <a:pt x="549" y="122"/>
                      </a:lnTo>
                      <a:lnTo>
                        <a:pt x="552" y="126"/>
                      </a:lnTo>
                      <a:lnTo>
                        <a:pt x="552" y="128"/>
                      </a:lnTo>
                      <a:lnTo>
                        <a:pt x="552" y="130"/>
                      </a:lnTo>
                      <a:lnTo>
                        <a:pt x="547" y="132"/>
                      </a:lnTo>
                      <a:lnTo>
                        <a:pt x="545" y="132"/>
                      </a:lnTo>
                      <a:lnTo>
                        <a:pt x="544" y="133"/>
                      </a:lnTo>
                      <a:lnTo>
                        <a:pt x="543" y="134"/>
                      </a:lnTo>
                      <a:lnTo>
                        <a:pt x="543" y="136"/>
                      </a:lnTo>
                      <a:lnTo>
                        <a:pt x="543" y="141"/>
                      </a:lnTo>
                      <a:lnTo>
                        <a:pt x="544" y="149"/>
                      </a:lnTo>
                      <a:lnTo>
                        <a:pt x="546" y="155"/>
                      </a:lnTo>
                      <a:lnTo>
                        <a:pt x="546" y="156"/>
                      </a:lnTo>
                      <a:lnTo>
                        <a:pt x="545" y="158"/>
                      </a:lnTo>
                      <a:lnTo>
                        <a:pt x="544" y="160"/>
                      </a:lnTo>
                      <a:lnTo>
                        <a:pt x="543" y="160"/>
                      </a:lnTo>
                      <a:lnTo>
                        <a:pt x="542" y="160"/>
                      </a:lnTo>
                      <a:lnTo>
                        <a:pt x="541" y="161"/>
                      </a:lnTo>
                      <a:lnTo>
                        <a:pt x="540" y="163"/>
                      </a:lnTo>
                      <a:lnTo>
                        <a:pt x="539" y="163"/>
                      </a:lnTo>
                      <a:lnTo>
                        <a:pt x="539" y="166"/>
                      </a:lnTo>
                      <a:lnTo>
                        <a:pt x="537" y="168"/>
                      </a:lnTo>
                      <a:lnTo>
                        <a:pt x="537" y="169"/>
                      </a:lnTo>
                      <a:lnTo>
                        <a:pt x="537" y="170"/>
                      </a:lnTo>
                      <a:lnTo>
                        <a:pt x="539" y="172"/>
                      </a:lnTo>
                      <a:lnTo>
                        <a:pt x="539" y="173"/>
                      </a:lnTo>
                      <a:lnTo>
                        <a:pt x="540" y="175"/>
                      </a:lnTo>
                      <a:lnTo>
                        <a:pt x="540" y="176"/>
                      </a:lnTo>
                      <a:lnTo>
                        <a:pt x="540" y="179"/>
                      </a:lnTo>
                      <a:lnTo>
                        <a:pt x="540" y="180"/>
                      </a:lnTo>
                      <a:lnTo>
                        <a:pt x="539" y="183"/>
                      </a:lnTo>
                      <a:lnTo>
                        <a:pt x="539" y="186"/>
                      </a:lnTo>
                      <a:lnTo>
                        <a:pt x="537" y="187"/>
                      </a:lnTo>
                      <a:lnTo>
                        <a:pt x="537" y="189"/>
                      </a:lnTo>
                      <a:lnTo>
                        <a:pt x="537" y="192"/>
                      </a:lnTo>
                      <a:lnTo>
                        <a:pt x="537" y="196"/>
                      </a:lnTo>
                      <a:lnTo>
                        <a:pt x="537" y="198"/>
                      </a:lnTo>
                      <a:lnTo>
                        <a:pt x="536" y="200"/>
                      </a:lnTo>
                      <a:lnTo>
                        <a:pt x="536" y="201"/>
                      </a:lnTo>
                      <a:lnTo>
                        <a:pt x="536" y="203"/>
                      </a:lnTo>
                      <a:lnTo>
                        <a:pt x="536" y="205"/>
                      </a:lnTo>
                      <a:lnTo>
                        <a:pt x="537" y="207"/>
                      </a:lnTo>
                      <a:lnTo>
                        <a:pt x="539" y="210"/>
                      </a:lnTo>
                      <a:lnTo>
                        <a:pt x="540" y="212"/>
                      </a:lnTo>
                      <a:lnTo>
                        <a:pt x="541" y="215"/>
                      </a:lnTo>
                      <a:lnTo>
                        <a:pt x="541" y="216"/>
                      </a:lnTo>
                      <a:lnTo>
                        <a:pt x="543" y="221"/>
                      </a:lnTo>
                      <a:lnTo>
                        <a:pt x="544" y="223"/>
                      </a:lnTo>
                      <a:lnTo>
                        <a:pt x="545" y="226"/>
                      </a:lnTo>
                      <a:lnTo>
                        <a:pt x="546" y="227"/>
                      </a:lnTo>
                      <a:lnTo>
                        <a:pt x="547" y="228"/>
                      </a:lnTo>
                      <a:lnTo>
                        <a:pt x="547" y="229"/>
                      </a:lnTo>
                      <a:lnTo>
                        <a:pt x="548" y="231"/>
                      </a:lnTo>
                      <a:lnTo>
                        <a:pt x="550" y="233"/>
                      </a:lnTo>
                      <a:lnTo>
                        <a:pt x="552" y="234"/>
                      </a:lnTo>
                      <a:lnTo>
                        <a:pt x="552" y="236"/>
                      </a:lnTo>
                      <a:lnTo>
                        <a:pt x="552" y="238"/>
                      </a:lnTo>
                      <a:lnTo>
                        <a:pt x="552" y="240"/>
                      </a:lnTo>
                      <a:lnTo>
                        <a:pt x="552" y="241"/>
                      </a:lnTo>
                      <a:lnTo>
                        <a:pt x="550" y="243"/>
                      </a:lnTo>
                      <a:lnTo>
                        <a:pt x="549" y="243"/>
                      </a:lnTo>
                      <a:lnTo>
                        <a:pt x="545" y="243"/>
                      </a:lnTo>
                      <a:lnTo>
                        <a:pt x="542" y="243"/>
                      </a:lnTo>
                      <a:lnTo>
                        <a:pt x="541" y="243"/>
                      </a:lnTo>
                      <a:lnTo>
                        <a:pt x="540" y="243"/>
                      </a:lnTo>
                      <a:lnTo>
                        <a:pt x="540" y="244"/>
                      </a:lnTo>
                      <a:lnTo>
                        <a:pt x="539" y="245"/>
                      </a:lnTo>
                      <a:lnTo>
                        <a:pt x="537" y="246"/>
                      </a:lnTo>
                      <a:lnTo>
                        <a:pt x="537" y="248"/>
                      </a:lnTo>
                      <a:lnTo>
                        <a:pt x="536" y="249"/>
                      </a:lnTo>
                      <a:lnTo>
                        <a:pt x="536" y="250"/>
                      </a:lnTo>
                      <a:lnTo>
                        <a:pt x="539" y="250"/>
                      </a:lnTo>
                      <a:lnTo>
                        <a:pt x="571" y="250"/>
                      </a:lnTo>
                      <a:lnTo>
                        <a:pt x="570" y="254"/>
                      </a:lnTo>
                      <a:lnTo>
                        <a:pt x="575" y="262"/>
                      </a:lnTo>
                      <a:lnTo>
                        <a:pt x="578" y="263"/>
                      </a:lnTo>
                      <a:lnTo>
                        <a:pt x="580" y="265"/>
                      </a:lnTo>
                      <a:lnTo>
                        <a:pt x="585" y="266"/>
                      </a:lnTo>
                      <a:lnTo>
                        <a:pt x="586" y="267"/>
                      </a:lnTo>
                      <a:lnTo>
                        <a:pt x="595" y="276"/>
                      </a:lnTo>
                      <a:lnTo>
                        <a:pt x="594" y="276"/>
                      </a:lnTo>
                      <a:lnTo>
                        <a:pt x="604" y="285"/>
                      </a:lnTo>
                      <a:lnTo>
                        <a:pt x="605" y="288"/>
                      </a:lnTo>
                      <a:lnTo>
                        <a:pt x="608" y="289"/>
                      </a:lnTo>
                      <a:lnTo>
                        <a:pt x="608" y="290"/>
                      </a:lnTo>
                      <a:lnTo>
                        <a:pt x="610" y="295"/>
                      </a:lnTo>
                      <a:lnTo>
                        <a:pt x="608" y="299"/>
                      </a:lnTo>
                      <a:lnTo>
                        <a:pt x="611" y="303"/>
                      </a:lnTo>
                      <a:lnTo>
                        <a:pt x="611" y="304"/>
                      </a:lnTo>
                      <a:lnTo>
                        <a:pt x="611" y="305"/>
                      </a:lnTo>
                      <a:lnTo>
                        <a:pt x="612" y="308"/>
                      </a:lnTo>
                      <a:lnTo>
                        <a:pt x="614" y="309"/>
                      </a:lnTo>
                      <a:lnTo>
                        <a:pt x="616" y="310"/>
                      </a:lnTo>
                      <a:lnTo>
                        <a:pt x="614" y="312"/>
                      </a:lnTo>
                      <a:lnTo>
                        <a:pt x="614" y="313"/>
                      </a:lnTo>
                      <a:lnTo>
                        <a:pt x="614" y="315"/>
                      </a:lnTo>
                      <a:lnTo>
                        <a:pt x="616" y="318"/>
                      </a:lnTo>
                      <a:lnTo>
                        <a:pt x="616" y="321"/>
                      </a:lnTo>
                      <a:lnTo>
                        <a:pt x="617" y="322"/>
                      </a:lnTo>
                      <a:lnTo>
                        <a:pt x="617" y="323"/>
                      </a:lnTo>
                      <a:lnTo>
                        <a:pt x="618" y="324"/>
                      </a:lnTo>
                      <a:lnTo>
                        <a:pt x="617" y="325"/>
                      </a:lnTo>
                      <a:lnTo>
                        <a:pt x="617" y="327"/>
                      </a:lnTo>
                      <a:lnTo>
                        <a:pt x="617" y="329"/>
                      </a:lnTo>
                      <a:lnTo>
                        <a:pt x="614" y="331"/>
                      </a:lnTo>
                      <a:lnTo>
                        <a:pt x="616" y="333"/>
                      </a:lnTo>
                      <a:lnTo>
                        <a:pt x="616" y="335"/>
                      </a:lnTo>
                      <a:lnTo>
                        <a:pt x="614" y="336"/>
                      </a:lnTo>
                      <a:lnTo>
                        <a:pt x="612" y="337"/>
                      </a:lnTo>
                      <a:lnTo>
                        <a:pt x="610" y="338"/>
                      </a:lnTo>
                      <a:lnTo>
                        <a:pt x="607" y="339"/>
                      </a:lnTo>
                      <a:lnTo>
                        <a:pt x="606" y="339"/>
                      </a:lnTo>
                      <a:lnTo>
                        <a:pt x="606" y="340"/>
                      </a:lnTo>
                      <a:lnTo>
                        <a:pt x="603" y="344"/>
                      </a:lnTo>
                      <a:lnTo>
                        <a:pt x="605" y="346"/>
                      </a:lnTo>
                      <a:lnTo>
                        <a:pt x="607" y="347"/>
                      </a:lnTo>
                      <a:lnTo>
                        <a:pt x="609" y="348"/>
                      </a:lnTo>
                      <a:lnTo>
                        <a:pt x="611" y="349"/>
                      </a:lnTo>
                      <a:lnTo>
                        <a:pt x="611" y="350"/>
                      </a:lnTo>
                      <a:lnTo>
                        <a:pt x="612" y="350"/>
                      </a:lnTo>
                      <a:lnTo>
                        <a:pt x="617" y="352"/>
                      </a:lnTo>
                      <a:lnTo>
                        <a:pt x="617" y="353"/>
                      </a:lnTo>
                      <a:lnTo>
                        <a:pt x="617" y="354"/>
                      </a:lnTo>
                      <a:lnTo>
                        <a:pt x="616" y="355"/>
                      </a:lnTo>
                      <a:lnTo>
                        <a:pt x="616" y="356"/>
                      </a:lnTo>
                      <a:lnTo>
                        <a:pt x="617" y="357"/>
                      </a:lnTo>
                      <a:lnTo>
                        <a:pt x="617" y="359"/>
                      </a:lnTo>
                      <a:lnTo>
                        <a:pt x="617" y="360"/>
                      </a:lnTo>
                      <a:lnTo>
                        <a:pt x="618" y="361"/>
                      </a:lnTo>
                      <a:lnTo>
                        <a:pt x="618" y="364"/>
                      </a:lnTo>
                      <a:lnTo>
                        <a:pt x="617" y="364"/>
                      </a:lnTo>
                      <a:lnTo>
                        <a:pt x="617" y="366"/>
                      </a:lnTo>
                      <a:lnTo>
                        <a:pt x="617" y="367"/>
                      </a:lnTo>
                      <a:lnTo>
                        <a:pt x="616" y="368"/>
                      </a:lnTo>
                      <a:lnTo>
                        <a:pt x="616" y="369"/>
                      </a:lnTo>
                      <a:lnTo>
                        <a:pt x="617" y="374"/>
                      </a:lnTo>
                      <a:lnTo>
                        <a:pt x="617" y="375"/>
                      </a:lnTo>
                      <a:lnTo>
                        <a:pt x="620" y="383"/>
                      </a:lnTo>
                      <a:lnTo>
                        <a:pt x="621" y="386"/>
                      </a:lnTo>
                      <a:lnTo>
                        <a:pt x="625" y="392"/>
                      </a:lnTo>
                      <a:lnTo>
                        <a:pt x="626" y="393"/>
                      </a:lnTo>
                      <a:lnTo>
                        <a:pt x="630" y="399"/>
                      </a:lnTo>
                      <a:lnTo>
                        <a:pt x="638" y="407"/>
                      </a:lnTo>
                      <a:lnTo>
                        <a:pt x="639" y="410"/>
                      </a:lnTo>
                      <a:lnTo>
                        <a:pt x="639" y="413"/>
                      </a:lnTo>
                      <a:lnTo>
                        <a:pt x="638" y="414"/>
                      </a:lnTo>
                      <a:lnTo>
                        <a:pt x="638" y="416"/>
                      </a:lnTo>
                      <a:lnTo>
                        <a:pt x="638" y="419"/>
                      </a:lnTo>
                      <a:lnTo>
                        <a:pt x="639" y="421"/>
                      </a:lnTo>
                      <a:lnTo>
                        <a:pt x="646" y="426"/>
                      </a:lnTo>
                      <a:lnTo>
                        <a:pt x="647" y="428"/>
                      </a:lnTo>
                      <a:lnTo>
                        <a:pt x="650" y="430"/>
                      </a:lnTo>
                      <a:lnTo>
                        <a:pt x="652" y="431"/>
                      </a:lnTo>
                      <a:lnTo>
                        <a:pt x="656" y="432"/>
                      </a:lnTo>
                      <a:lnTo>
                        <a:pt x="658" y="432"/>
                      </a:lnTo>
                      <a:lnTo>
                        <a:pt x="660" y="432"/>
                      </a:lnTo>
                      <a:lnTo>
                        <a:pt x="663" y="432"/>
                      </a:lnTo>
                      <a:lnTo>
                        <a:pt x="665" y="433"/>
                      </a:lnTo>
                      <a:lnTo>
                        <a:pt x="668" y="433"/>
                      </a:lnTo>
                      <a:lnTo>
                        <a:pt x="669" y="433"/>
                      </a:lnTo>
                      <a:lnTo>
                        <a:pt x="670" y="433"/>
                      </a:lnTo>
                      <a:lnTo>
                        <a:pt x="672" y="433"/>
                      </a:lnTo>
                      <a:lnTo>
                        <a:pt x="673" y="432"/>
                      </a:lnTo>
                      <a:lnTo>
                        <a:pt x="674" y="432"/>
                      </a:lnTo>
                      <a:lnTo>
                        <a:pt x="675" y="432"/>
                      </a:lnTo>
                      <a:lnTo>
                        <a:pt x="677" y="432"/>
                      </a:lnTo>
                      <a:lnTo>
                        <a:pt x="681" y="432"/>
                      </a:lnTo>
                      <a:lnTo>
                        <a:pt x="683" y="432"/>
                      </a:lnTo>
                      <a:lnTo>
                        <a:pt x="685" y="432"/>
                      </a:lnTo>
                      <a:lnTo>
                        <a:pt x="687" y="433"/>
                      </a:lnTo>
                      <a:lnTo>
                        <a:pt x="688" y="433"/>
                      </a:lnTo>
                      <a:lnTo>
                        <a:pt x="694" y="434"/>
                      </a:lnTo>
                      <a:lnTo>
                        <a:pt x="696" y="434"/>
                      </a:lnTo>
                      <a:lnTo>
                        <a:pt x="697" y="436"/>
                      </a:lnTo>
                      <a:lnTo>
                        <a:pt x="698" y="436"/>
                      </a:lnTo>
                      <a:lnTo>
                        <a:pt x="700" y="437"/>
                      </a:lnTo>
                      <a:lnTo>
                        <a:pt x="703" y="438"/>
                      </a:lnTo>
                      <a:lnTo>
                        <a:pt x="705" y="439"/>
                      </a:lnTo>
                      <a:lnTo>
                        <a:pt x="707" y="440"/>
                      </a:lnTo>
                      <a:lnTo>
                        <a:pt x="709" y="441"/>
                      </a:lnTo>
                      <a:lnTo>
                        <a:pt x="709" y="442"/>
                      </a:lnTo>
                      <a:lnTo>
                        <a:pt x="709" y="443"/>
                      </a:lnTo>
                      <a:lnTo>
                        <a:pt x="708" y="444"/>
                      </a:lnTo>
                      <a:lnTo>
                        <a:pt x="707" y="444"/>
                      </a:lnTo>
                      <a:lnTo>
                        <a:pt x="705" y="445"/>
                      </a:lnTo>
                      <a:lnTo>
                        <a:pt x="705" y="446"/>
                      </a:lnTo>
                      <a:lnTo>
                        <a:pt x="704" y="446"/>
                      </a:lnTo>
                      <a:lnTo>
                        <a:pt x="704" y="447"/>
                      </a:lnTo>
                      <a:lnTo>
                        <a:pt x="705" y="449"/>
                      </a:lnTo>
                      <a:lnTo>
                        <a:pt x="704" y="449"/>
                      </a:lnTo>
                      <a:lnTo>
                        <a:pt x="704" y="450"/>
                      </a:lnTo>
                      <a:lnTo>
                        <a:pt x="703" y="451"/>
                      </a:lnTo>
                      <a:lnTo>
                        <a:pt x="702" y="451"/>
                      </a:lnTo>
                      <a:lnTo>
                        <a:pt x="702" y="452"/>
                      </a:lnTo>
                      <a:lnTo>
                        <a:pt x="701" y="454"/>
                      </a:lnTo>
                      <a:lnTo>
                        <a:pt x="701" y="455"/>
                      </a:lnTo>
                      <a:lnTo>
                        <a:pt x="700" y="456"/>
                      </a:lnTo>
                      <a:lnTo>
                        <a:pt x="700" y="457"/>
                      </a:lnTo>
                      <a:lnTo>
                        <a:pt x="700" y="458"/>
                      </a:lnTo>
                      <a:lnTo>
                        <a:pt x="701" y="458"/>
                      </a:lnTo>
                      <a:lnTo>
                        <a:pt x="701" y="459"/>
                      </a:lnTo>
                      <a:lnTo>
                        <a:pt x="700" y="460"/>
                      </a:lnTo>
                      <a:lnTo>
                        <a:pt x="699" y="460"/>
                      </a:lnTo>
                      <a:lnTo>
                        <a:pt x="700" y="460"/>
                      </a:lnTo>
                      <a:lnTo>
                        <a:pt x="700" y="462"/>
                      </a:lnTo>
                      <a:lnTo>
                        <a:pt x="700" y="463"/>
                      </a:lnTo>
                      <a:lnTo>
                        <a:pt x="701" y="463"/>
                      </a:lnTo>
                      <a:lnTo>
                        <a:pt x="701" y="464"/>
                      </a:lnTo>
                      <a:lnTo>
                        <a:pt x="702" y="464"/>
                      </a:lnTo>
                      <a:lnTo>
                        <a:pt x="702" y="465"/>
                      </a:lnTo>
                      <a:lnTo>
                        <a:pt x="704" y="466"/>
                      </a:lnTo>
                      <a:lnTo>
                        <a:pt x="705" y="466"/>
                      </a:lnTo>
                      <a:lnTo>
                        <a:pt x="707" y="467"/>
                      </a:lnTo>
                      <a:lnTo>
                        <a:pt x="708" y="467"/>
                      </a:lnTo>
                      <a:lnTo>
                        <a:pt x="710" y="469"/>
                      </a:lnTo>
                      <a:lnTo>
                        <a:pt x="710" y="470"/>
                      </a:lnTo>
                      <a:lnTo>
                        <a:pt x="711" y="470"/>
                      </a:lnTo>
                      <a:lnTo>
                        <a:pt x="711" y="471"/>
                      </a:lnTo>
                      <a:lnTo>
                        <a:pt x="711" y="472"/>
                      </a:lnTo>
                      <a:lnTo>
                        <a:pt x="711" y="475"/>
                      </a:lnTo>
                      <a:lnTo>
                        <a:pt x="710" y="475"/>
                      </a:lnTo>
                      <a:lnTo>
                        <a:pt x="710" y="476"/>
                      </a:lnTo>
                      <a:lnTo>
                        <a:pt x="711" y="476"/>
                      </a:lnTo>
                      <a:lnTo>
                        <a:pt x="711" y="477"/>
                      </a:lnTo>
                      <a:lnTo>
                        <a:pt x="711" y="479"/>
                      </a:lnTo>
                      <a:lnTo>
                        <a:pt x="712" y="480"/>
                      </a:lnTo>
                      <a:lnTo>
                        <a:pt x="712" y="481"/>
                      </a:lnTo>
                      <a:lnTo>
                        <a:pt x="712" y="482"/>
                      </a:lnTo>
                      <a:lnTo>
                        <a:pt x="712" y="483"/>
                      </a:lnTo>
                      <a:lnTo>
                        <a:pt x="712" y="484"/>
                      </a:lnTo>
                      <a:lnTo>
                        <a:pt x="713" y="484"/>
                      </a:lnTo>
                      <a:lnTo>
                        <a:pt x="713" y="485"/>
                      </a:lnTo>
                      <a:lnTo>
                        <a:pt x="713" y="486"/>
                      </a:lnTo>
                      <a:lnTo>
                        <a:pt x="713" y="488"/>
                      </a:lnTo>
                      <a:lnTo>
                        <a:pt x="713" y="490"/>
                      </a:lnTo>
                      <a:lnTo>
                        <a:pt x="713" y="491"/>
                      </a:lnTo>
                      <a:lnTo>
                        <a:pt x="713" y="497"/>
                      </a:lnTo>
                      <a:lnTo>
                        <a:pt x="713" y="498"/>
                      </a:lnTo>
                      <a:lnTo>
                        <a:pt x="712" y="498"/>
                      </a:lnTo>
                      <a:lnTo>
                        <a:pt x="711" y="500"/>
                      </a:lnTo>
                      <a:lnTo>
                        <a:pt x="711" y="501"/>
                      </a:lnTo>
                      <a:lnTo>
                        <a:pt x="711" y="502"/>
                      </a:lnTo>
                      <a:lnTo>
                        <a:pt x="711" y="503"/>
                      </a:lnTo>
                      <a:lnTo>
                        <a:pt x="711" y="504"/>
                      </a:lnTo>
                      <a:lnTo>
                        <a:pt x="712" y="504"/>
                      </a:lnTo>
                      <a:lnTo>
                        <a:pt x="713" y="505"/>
                      </a:lnTo>
                      <a:lnTo>
                        <a:pt x="714" y="505"/>
                      </a:lnTo>
                      <a:lnTo>
                        <a:pt x="714" y="507"/>
                      </a:lnTo>
                      <a:lnTo>
                        <a:pt x="715" y="508"/>
                      </a:lnTo>
                      <a:lnTo>
                        <a:pt x="716" y="508"/>
                      </a:lnTo>
                      <a:lnTo>
                        <a:pt x="717" y="510"/>
                      </a:lnTo>
                      <a:lnTo>
                        <a:pt x="717" y="511"/>
                      </a:lnTo>
                      <a:lnTo>
                        <a:pt x="716" y="515"/>
                      </a:lnTo>
                      <a:lnTo>
                        <a:pt x="715" y="516"/>
                      </a:lnTo>
                      <a:lnTo>
                        <a:pt x="713" y="518"/>
                      </a:lnTo>
                      <a:lnTo>
                        <a:pt x="713" y="519"/>
                      </a:lnTo>
                      <a:lnTo>
                        <a:pt x="713" y="520"/>
                      </a:lnTo>
                      <a:lnTo>
                        <a:pt x="712" y="520"/>
                      </a:lnTo>
                      <a:lnTo>
                        <a:pt x="711" y="521"/>
                      </a:lnTo>
                      <a:lnTo>
                        <a:pt x="711" y="522"/>
                      </a:lnTo>
                      <a:lnTo>
                        <a:pt x="711" y="523"/>
                      </a:lnTo>
                      <a:lnTo>
                        <a:pt x="711" y="524"/>
                      </a:lnTo>
                      <a:lnTo>
                        <a:pt x="711" y="526"/>
                      </a:lnTo>
                      <a:lnTo>
                        <a:pt x="712" y="526"/>
                      </a:lnTo>
                      <a:lnTo>
                        <a:pt x="712" y="527"/>
                      </a:lnTo>
                      <a:lnTo>
                        <a:pt x="713" y="528"/>
                      </a:lnTo>
                      <a:lnTo>
                        <a:pt x="714" y="528"/>
                      </a:lnTo>
                      <a:lnTo>
                        <a:pt x="714" y="529"/>
                      </a:lnTo>
                      <a:lnTo>
                        <a:pt x="715" y="530"/>
                      </a:lnTo>
                      <a:lnTo>
                        <a:pt x="715" y="531"/>
                      </a:lnTo>
                      <a:lnTo>
                        <a:pt x="762" y="531"/>
                      </a:lnTo>
                      <a:lnTo>
                        <a:pt x="761" y="532"/>
                      </a:lnTo>
                      <a:lnTo>
                        <a:pt x="761" y="533"/>
                      </a:lnTo>
                      <a:lnTo>
                        <a:pt x="762" y="533"/>
                      </a:lnTo>
                      <a:lnTo>
                        <a:pt x="763" y="533"/>
                      </a:lnTo>
                      <a:lnTo>
                        <a:pt x="764" y="533"/>
                      </a:lnTo>
                      <a:lnTo>
                        <a:pt x="764" y="534"/>
                      </a:lnTo>
                      <a:lnTo>
                        <a:pt x="766" y="534"/>
                      </a:lnTo>
                      <a:lnTo>
                        <a:pt x="767" y="535"/>
                      </a:lnTo>
                      <a:lnTo>
                        <a:pt x="768" y="535"/>
                      </a:lnTo>
                      <a:lnTo>
                        <a:pt x="768" y="536"/>
                      </a:lnTo>
                      <a:lnTo>
                        <a:pt x="768" y="537"/>
                      </a:lnTo>
                      <a:lnTo>
                        <a:pt x="768" y="540"/>
                      </a:lnTo>
                      <a:lnTo>
                        <a:pt x="768" y="541"/>
                      </a:lnTo>
                      <a:lnTo>
                        <a:pt x="769" y="541"/>
                      </a:lnTo>
                      <a:lnTo>
                        <a:pt x="769" y="542"/>
                      </a:lnTo>
                      <a:lnTo>
                        <a:pt x="769" y="543"/>
                      </a:lnTo>
                      <a:lnTo>
                        <a:pt x="771" y="543"/>
                      </a:lnTo>
                      <a:lnTo>
                        <a:pt x="771" y="544"/>
                      </a:lnTo>
                      <a:lnTo>
                        <a:pt x="772" y="544"/>
                      </a:lnTo>
                      <a:lnTo>
                        <a:pt x="772" y="545"/>
                      </a:lnTo>
                      <a:lnTo>
                        <a:pt x="772" y="546"/>
                      </a:lnTo>
                      <a:lnTo>
                        <a:pt x="773" y="546"/>
                      </a:lnTo>
                      <a:lnTo>
                        <a:pt x="773" y="547"/>
                      </a:lnTo>
                      <a:lnTo>
                        <a:pt x="773" y="549"/>
                      </a:lnTo>
                      <a:lnTo>
                        <a:pt x="774" y="549"/>
                      </a:lnTo>
                      <a:lnTo>
                        <a:pt x="774" y="550"/>
                      </a:lnTo>
                      <a:lnTo>
                        <a:pt x="774" y="552"/>
                      </a:lnTo>
                      <a:lnTo>
                        <a:pt x="774" y="556"/>
                      </a:lnTo>
                      <a:lnTo>
                        <a:pt x="774" y="557"/>
                      </a:lnTo>
                      <a:lnTo>
                        <a:pt x="773" y="557"/>
                      </a:lnTo>
                      <a:lnTo>
                        <a:pt x="772" y="557"/>
                      </a:lnTo>
                      <a:lnTo>
                        <a:pt x="772" y="558"/>
                      </a:lnTo>
                      <a:lnTo>
                        <a:pt x="772" y="559"/>
                      </a:lnTo>
                      <a:lnTo>
                        <a:pt x="773" y="559"/>
                      </a:lnTo>
                      <a:lnTo>
                        <a:pt x="773" y="560"/>
                      </a:lnTo>
                      <a:lnTo>
                        <a:pt x="774" y="560"/>
                      </a:lnTo>
                      <a:lnTo>
                        <a:pt x="774" y="561"/>
                      </a:lnTo>
                      <a:lnTo>
                        <a:pt x="771" y="561"/>
                      </a:lnTo>
                      <a:lnTo>
                        <a:pt x="735" y="562"/>
                      </a:lnTo>
                      <a:lnTo>
                        <a:pt x="730" y="562"/>
                      </a:lnTo>
                      <a:lnTo>
                        <a:pt x="729" y="562"/>
                      </a:lnTo>
                      <a:lnTo>
                        <a:pt x="723" y="562"/>
                      </a:lnTo>
                      <a:lnTo>
                        <a:pt x="722" y="562"/>
                      </a:lnTo>
                      <a:lnTo>
                        <a:pt x="717" y="562"/>
                      </a:lnTo>
                      <a:lnTo>
                        <a:pt x="716" y="562"/>
                      </a:lnTo>
                      <a:lnTo>
                        <a:pt x="704" y="562"/>
                      </a:lnTo>
                      <a:lnTo>
                        <a:pt x="701" y="562"/>
                      </a:lnTo>
                      <a:lnTo>
                        <a:pt x="700" y="562"/>
                      </a:lnTo>
                      <a:lnTo>
                        <a:pt x="700" y="565"/>
                      </a:lnTo>
                      <a:lnTo>
                        <a:pt x="699" y="566"/>
                      </a:lnTo>
                      <a:lnTo>
                        <a:pt x="698" y="567"/>
                      </a:lnTo>
                      <a:lnTo>
                        <a:pt x="698" y="568"/>
                      </a:lnTo>
                      <a:lnTo>
                        <a:pt x="697" y="569"/>
                      </a:lnTo>
                      <a:lnTo>
                        <a:pt x="697" y="570"/>
                      </a:lnTo>
                      <a:lnTo>
                        <a:pt x="697" y="572"/>
                      </a:lnTo>
                      <a:lnTo>
                        <a:pt x="697" y="573"/>
                      </a:lnTo>
                      <a:lnTo>
                        <a:pt x="697" y="574"/>
                      </a:lnTo>
                      <a:lnTo>
                        <a:pt x="696" y="574"/>
                      </a:lnTo>
                      <a:lnTo>
                        <a:pt x="695" y="574"/>
                      </a:lnTo>
                      <a:lnTo>
                        <a:pt x="694" y="574"/>
                      </a:lnTo>
                      <a:lnTo>
                        <a:pt x="692" y="574"/>
                      </a:lnTo>
                      <a:lnTo>
                        <a:pt x="691" y="574"/>
                      </a:lnTo>
                      <a:lnTo>
                        <a:pt x="690" y="575"/>
                      </a:lnTo>
                      <a:lnTo>
                        <a:pt x="689" y="575"/>
                      </a:lnTo>
                      <a:lnTo>
                        <a:pt x="689" y="577"/>
                      </a:lnTo>
                      <a:lnTo>
                        <a:pt x="689" y="578"/>
                      </a:lnTo>
                      <a:lnTo>
                        <a:pt x="689" y="579"/>
                      </a:lnTo>
                      <a:lnTo>
                        <a:pt x="689" y="580"/>
                      </a:lnTo>
                      <a:lnTo>
                        <a:pt x="669" y="580"/>
                      </a:lnTo>
                      <a:lnTo>
                        <a:pt x="666" y="580"/>
                      </a:lnTo>
                      <a:lnTo>
                        <a:pt x="651" y="580"/>
                      </a:lnTo>
                      <a:lnTo>
                        <a:pt x="650" y="580"/>
                      </a:lnTo>
                      <a:lnTo>
                        <a:pt x="632" y="580"/>
                      </a:lnTo>
                      <a:lnTo>
                        <a:pt x="632" y="579"/>
                      </a:lnTo>
                      <a:lnTo>
                        <a:pt x="632" y="578"/>
                      </a:lnTo>
                      <a:lnTo>
                        <a:pt x="631" y="575"/>
                      </a:lnTo>
                      <a:lnTo>
                        <a:pt x="629" y="573"/>
                      </a:lnTo>
                      <a:lnTo>
                        <a:pt x="629" y="572"/>
                      </a:lnTo>
                      <a:lnTo>
                        <a:pt x="627" y="570"/>
                      </a:lnTo>
                      <a:lnTo>
                        <a:pt x="629" y="567"/>
                      </a:lnTo>
                      <a:lnTo>
                        <a:pt x="629" y="565"/>
                      </a:lnTo>
                      <a:lnTo>
                        <a:pt x="629" y="562"/>
                      </a:lnTo>
                      <a:lnTo>
                        <a:pt x="627" y="560"/>
                      </a:lnTo>
                      <a:lnTo>
                        <a:pt x="626" y="558"/>
                      </a:lnTo>
                      <a:lnTo>
                        <a:pt x="625" y="555"/>
                      </a:lnTo>
                      <a:lnTo>
                        <a:pt x="623" y="555"/>
                      </a:lnTo>
                      <a:lnTo>
                        <a:pt x="622" y="555"/>
                      </a:lnTo>
                      <a:lnTo>
                        <a:pt x="620" y="554"/>
                      </a:lnTo>
                      <a:lnTo>
                        <a:pt x="616" y="553"/>
                      </a:lnTo>
                      <a:lnTo>
                        <a:pt x="613" y="553"/>
                      </a:lnTo>
                      <a:lnTo>
                        <a:pt x="608" y="546"/>
                      </a:lnTo>
                      <a:lnTo>
                        <a:pt x="607" y="544"/>
                      </a:lnTo>
                      <a:lnTo>
                        <a:pt x="605" y="541"/>
                      </a:lnTo>
                      <a:lnTo>
                        <a:pt x="603" y="536"/>
                      </a:lnTo>
                      <a:lnTo>
                        <a:pt x="600" y="534"/>
                      </a:lnTo>
                      <a:lnTo>
                        <a:pt x="599" y="533"/>
                      </a:lnTo>
                      <a:lnTo>
                        <a:pt x="598" y="531"/>
                      </a:lnTo>
                      <a:lnTo>
                        <a:pt x="598" y="530"/>
                      </a:lnTo>
                      <a:lnTo>
                        <a:pt x="597" y="529"/>
                      </a:lnTo>
                      <a:lnTo>
                        <a:pt x="597" y="528"/>
                      </a:lnTo>
                      <a:lnTo>
                        <a:pt x="596" y="527"/>
                      </a:lnTo>
                      <a:lnTo>
                        <a:pt x="595" y="526"/>
                      </a:lnTo>
                      <a:lnTo>
                        <a:pt x="594" y="526"/>
                      </a:lnTo>
                      <a:lnTo>
                        <a:pt x="593" y="526"/>
                      </a:lnTo>
                      <a:lnTo>
                        <a:pt x="592" y="526"/>
                      </a:lnTo>
                      <a:lnTo>
                        <a:pt x="592" y="524"/>
                      </a:lnTo>
                      <a:lnTo>
                        <a:pt x="591" y="524"/>
                      </a:lnTo>
                      <a:lnTo>
                        <a:pt x="591" y="523"/>
                      </a:lnTo>
                      <a:lnTo>
                        <a:pt x="590" y="523"/>
                      </a:lnTo>
                      <a:lnTo>
                        <a:pt x="588" y="523"/>
                      </a:lnTo>
                      <a:lnTo>
                        <a:pt x="588" y="524"/>
                      </a:lnTo>
                      <a:lnTo>
                        <a:pt x="587" y="524"/>
                      </a:lnTo>
                      <a:lnTo>
                        <a:pt x="586" y="524"/>
                      </a:lnTo>
                      <a:lnTo>
                        <a:pt x="586" y="526"/>
                      </a:lnTo>
                      <a:lnTo>
                        <a:pt x="586" y="527"/>
                      </a:lnTo>
                      <a:lnTo>
                        <a:pt x="586" y="528"/>
                      </a:lnTo>
                      <a:lnTo>
                        <a:pt x="585" y="528"/>
                      </a:lnTo>
                      <a:lnTo>
                        <a:pt x="585" y="529"/>
                      </a:lnTo>
                      <a:lnTo>
                        <a:pt x="584" y="529"/>
                      </a:lnTo>
                      <a:lnTo>
                        <a:pt x="583" y="529"/>
                      </a:lnTo>
                      <a:lnTo>
                        <a:pt x="583" y="528"/>
                      </a:lnTo>
                      <a:lnTo>
                        <a:pt x="582" y="528"/>
                      </a:lnTo>
                      <a:lnTo>
                        <a:pt x="581" y="527"/>
                      </a:lnTo>
                      <a:lnTo>
                        <a:pt x="581" y="526"/>
                      </a:lnTo>
                      <a:lnTo>
                        <a:pt x="580" y="526"/>
                      </a:lnTo>
                      <a:lnTo>
                        <a:pt x="580" y="523"/>
                      </a:lnTo>
                      <a:lnTo>
                        <a:pt x="579" y="523"/>
                      </a:lnTo>
                      <a:lnTo>
                        <a:pt x="578" y="522"/>
                      </a:lnTo>
                      <a:lnTo>
                        <a:pt x="575" y="522"/>
                      </a:lnTo>
                      <a:lnTo>
                        <a:pt x="574" y="522"/>
                      </a:lnTo>
                      <a:lnTo>
                        <a:pt x="573" y="521"/>
                      </a:lnTo>
                      <a:lnTo>
                        <a:pt x="573" y="520"/>
                      </a:lnTo>
                      <a:lnTo>
                        <a:pt x="573" y="519"/>
                      </a:lnTo>
                      <a:lnTo>
                        <a:pt x="572" y="518"/>
                      </a:lnTo>
                      <a:lnTo>
                        <a:pt x="571" y="518"/>
                      </a:lnTo>
                      <a:lnTo>
                        <a:pt x="570" y="518"/>
                      </a:lnTo>
                      <a:lnTo>
                        <a:pt x="570" y="517"/>
                      </a:lnTo>
                      <a:lnTo>
                        <a:pt x="569" y="518"/>
                      </a:lnTo>
                      <a:lnTo>
                        <a:pt x="568" y="518"/>
                      </a:lnTo>
                      <a:lnTo>
                        <a:pt x="568" y="519"/>
                      </a:lnTo>
                      <a:lnTo>
                        <a:pt x="567" y="519"/>
                      </a:lnTo>
                      <a:lnTo>
                        <a:pt x="567" y="520"/>
                      </a:lnTo>
                      <a:lnTo>
                        <a:pt x="566" y="520"/>
                      </a:lnTo>
                      <a:lnTo>
                        <a:pt x="565" y="520"/>
                      </a:lnTo>
                      <a:lnTo>
                        <a:pt x="563" y="520"/>
                      </a:lnTo>
                      <a:lnTo>
                        <a:pt x="562" y="520"/>
                      </a:lnTo>
                      <a:lnTo>
                        <a:pt x="560" y="519"/>
                      </a:lnTo>
                      <a:lnTo>
                        <a:pt x="559" y="519"/>
                      </a:lnTo>
                      <a:lnTo>
                        <a:pt x="559" y="518"/>
                      </a:lnTo>
                      <a:lnTo>
                        <a:pt x="558" y="518"/>
                      </a:lnTo>
                      <a:lnTo>
                        <a:pt x="557" y="518"/>
                      </a:lnTo>
                      <a:lnTo>
                        <a:pt x="556" y="517"/>
                      </a:lnTo>
                      <a:lnTo>
                        <a:pt x="555" y="517"/>
                      </a:lnTo>
                      <a:lnTo>
                        <a:pt x="554" y="517"/>
                      </a:lnTo>
                      <a:lnTo>
                        <a:pt x="553" y="517"/>
                      </a:lnTo>
                      <a:lnTo>
                        <a:pt x="552" y="517"/>
                      </a:lnTo>
                      <a:lnTo>
                        <a:pt x="550" y="518"/>
                      </a:lnTo>
                      <a:lnTo>
                        <a:pt x="549" y="519"/>
                      </a:lnTo>
                      <a:lnTo>
                        <a:pt x="548" y="519"/>
                      </a:lnTo>
                      <a:lnTo>
                        <a:pt x="547" y="519"/>
                      </a:lnTo>
                      <a:lnTo>
                        <a:pt x="545" y="519"/>
                      </a:lnTo>
                      <a:lnTo>
                        <a:pt x="543" y="520"/>
                      </a:lnTo>
                      <a:lnTo>
                        <a:pt x="542" y="520"/>
                      </a:lnTo>
                      <a:lnTo>
                        <a:pt x="541" y="522"/>
                      </a:lnTo>
                      <a:lnTo>
                        <a:pt x="539" y="523"/>
                      </a:lnTo>
                      <a:lnTo>
                        <a:pt x="537" y="524"/>
                      </a:lnTo>
                      <a:lnTo>
                        <a:pt x="536" y="526"/>
                      </a:lnTo>
                      <a:lnTo>
                        <a:pt x="535" y="526"/>
                      </a:lnTo>
                      <a:lnTo>
                        <a:pt x="534" y="526"/>
                      </a:lnTo>
                      <a:lnTo>
                        <a:pt x="533" y="526"/>
                      </a:lnTo>
                      <a:lnTo>
                        <a:pt x="532" y="527"/>
                      </a:lnTo>
                      <a:lnTo>
                        <a:pt x="531" y="527"/>
                      </a:lnTo>
                      <a:lnTo>
                        <a:pt x="529" y="535"/>
                      </a:lnTo>
                      <a:lnTo>
                        <a:pt x="532" y="534"/>
                      </a:lnTo>
                      <a:lnTo>
                        <a:pt x="533" y="536"/>
                      </a:lnTo>
                      <a:lnTo>
                        <a:pt x="533" y="537"/>
                      </a:lnTo>
                      <a:lnTo>
                        <a:pt x="534" y="539"/>
                      </a:lnTo>
                      <a:lnTo>
                        <a:pt x="528" y="540"/>
                      </a:lnTo>
                      <a:lnTo>
                        <a:pt x="527" y="540"/>
                      </a:lnTo>
                      <a:lnTo>
                        <a:pt x="526" y="541"/>
                      </a:lnTo>
                      <a:lnTo>
                        <a:pt x="523" y="542"/>
                      </a:lnTo>
                      <a:lnTo>
                        <a:pt x="522" y="543"/>
                      </a:lnTo>
                      <a:lnTo>
                        <a:pt x="521" y="544"/>
                      </a:lnTo>
                      <a:lnTo>
                        <a:pt x="520" y="544"/>
                      </a:lnTo>
                      <a:lnTo>
                        <a:pt x="519" y="546"/>
                      </a:lnTo>
                      <a:lnTo>
                        <a:pt x="517" y="547"/>
                      </a:lnTo>
                      <a:lnTo>
                        <a:pt x="516" y="548"/>
                      </a:lnTo>
                      <a:lnTo>
                        <a:pt x="515" y="549"/>
                      </a:lnTo>
                      <a:lnTo>
                        <a:pt x="514" y="549"/>
                      </a:lnTo>
                      <a:lnTo>
                        <a:pt x="514" y="550"/>
                      </a:lnTo>
                      <a:lnTo>
                        <a:pt x="509" y="554"/>
                      </a:lnTo>
                      <a:lnTo>
                        <a:pt x="510" y="556"/>
                      </a:lnTo>
                      <a:lnTo>
                        <a:pt x="502" y="568"/>
                      </a:lnTo>
                      <a:lnTo>
                        <a:pt x="501" y="570"/>
                      </a:lnTo>
                      <a:lnTo>
                        <a:pt x="498" y="572"/>
                      </a:lnTo>
                      <a:lnTo>
                        <a:pt x="464" y="556"/>
                      </a:lnTo>
                      <a:lnTo>
                        <a:pt x="463" y="556"/>
                      </a:lnTo>
                      <a:lnTo>
                        <a:pt x="451" y="562"/>
                      </a:lnTo>
                      <a:lnTo>
                        <a:pt x="444" y="552"/>
                      </a:lnTo>
                      <a:lnTo>
                        <a:pt x="434" y="552"/>
                      </a:lnTo>
                      <a:lnTo>
                        <a:pt x="425" y="552"/>
                      </a:lnTo>
                      <a:lnTo>
                        <a:pt x="419" y="552"/>
                      </a:lnTo>
                      <a:lnTo>
                        <a:pt x="417" y="552"/>
                      </a:lnTo>
                      <a:lnTo>
                        <a:pt x="414" y="562"/>
                      </a:lnTo>
                      <a:lnTo>
                        <a:pt x="411" y="574"/>
                      </a:lnTo>
                      <a:lnTo>
                        <a:pt x="410" y="577"/>
                      </a:lnTo>
                      <a:lnTo>
                        <a:pt x="410" y="578"/>
                      </a:lnTo>
                      <a:lnTo>
                        <a:pt x="406" y="575"/>
                      </a:lnTo>
                      <a:lnTo>
                        <a:pt x="404" y="575"/>
                      </a:lnTo>
                      <a:lnTo>
                        <a:pt x="394" y="571"/>
                      </a:lnTo>
                      <a:lnTo>
                        <a:pt x="391" y="569"/>
                      </a:lnTo>
                      <a:lnTo>
                        <a:pt x="388" y="568"/>
                      </a:lnTo>
                      <a:lnTo>
                        <a:pt x="374" y="562"/>
                      </a:lnTo>
                      <a:lnTo>
                        <a:pt x="359" y="556"/>
                      </a:lnTo>
                      <a:lnTo>
                        <a:pt x="352" y="553"/>
                      </a:lnTo>
                      <a:lnTo>
                        <a:pt x="351" y="553"/>
                      </a:lnTo>
                      <a:lnTo>
                        <a:pt x="350" y="553"/>
                      </a:lnTo>
                      <a:lnTo>
                        <a:pt x="349" y="553"/>
                      </a:lnTo>
                      <a:lnTo>
                        <a:pt x="349" y="552"/>
                      </a:lnTo>
                      <a:lnTo>
                        <a:pt x="348" y="552"/>
                      </a:lnTo>
                      <a:lnTo>
                        <a:pt x="347" y="550"/>
                      </a:lnTo>
                      <a:lnTo>
                        <a:pt x="346" y="549"/>
                      </a:lnTo>
                      <a:lnTo>
                        <a:pt x="346" y="548"/>
                      </a:lnTo>
                      <a:lnTo>
                        <a:pt x="346" y="547"/>
                      </a:lnTo>
                      <a:lnTo>
                        <a:pt x="345" y="547"/>
                      </a:lnTo>
                      <a:lnTo>
                        <a:pt x="345" y="546"/>
                      </a:lnTo>
                      <a:lnTo>
                        <a:pt x="343" y="546"/>
                      </a:lnTo>
                      <a:lnTo>
                        <a:pt x="342" y="545"/>
                      </a:lnTo>
                      <a:lnTo>
                        <a:pt x="343" y="543"/>
                      </a:lnTo>
                      <a:lnTo>
                        <a:pt x="342" y="542"/>
                      </a:lnTo>
                      <a:lnTo>
                        <a:pt x="342" y="541"/>
                      </a:lnTo>
                      <a:lnTo>
                        <a:pt x="342" y="540"/>
                      </a:lnTo>
                      <a:lnTo>
                        <a:pt x="342" y="539"/>
                      </a:lnTo>
                      <a:lnTo>
                        <a:pt x="341" y="537"/>
                      </a:lnTo>
                      <a:lnTo>
                        <a:pt x="341" y="536"/>
                      </a:lnTo>
                      <a:lnTo>
                        <a:pt x="341" y="535"/>
                      </a:lnTo>
                      <a:lnTo>
                        <a:pt x="340" y="534"/>
                      </a:lnTo>
                      <a:lnTo>
                        <a:pt x="340" y="533"/>
                      </a:lnTo>
                      <a:lnTo>
                        <a:pt x="340" y="532"/>
                      </a:lnTo>
                      <a:lnTo>
                        <a:pt x="340" y="531"/>
                      </a:lnTo>
                      <a:lnTo>
                        <a:pt x="339" y="531"/>
                      </a:lnTo>
                      <a:lnTo>
                        <a:pt x="339" y="530"/>
                      </a:lnTo>
                      <a:lnTo>
                        <a:pt x="338" y="530"/>
                      </a:lnTo>
                      <a:lnTo>
                        <a:pt x="338" y="529"/>
                      </a:lnTo>
                      <a:lnTo>
                        <a:pt x="338" y="528"/>
                      </a:lnTo>
                      <a:lnTo>
                        <a:pt x="337" y="528"/>
                      </a:lnTo>
                      <a:lnTo>
                        <a:pt x="336" y="527"/>
                      </a:lnTo>
                      <a:lnTo>
                        <a:pt x="335" y="527"/>
                      </a:lnTo>
                      <a:lnTo>
                        <a:pt x="334" y="526"/>
                      </a:lnTo>
                      <a:lnTo>
                        <a:pt x="334" y="524"/>
                      </a:lnTo>
                      <a:lnTo>
                        <a:pt x="333" y="524"/>
                      </a:lnTo>
                      <a:lnTo>
                        <a:pt x="333" y="523"/>
                      </a:lnTo>
                      <a:lnTo>
                        <a:pt x="333" y="522"/>
                      </a:lnTo>
                      <a:lnTo>
                        <a:pt x="333" y="521"/>
                      </a:lnTo>
                      <a:lnTo>
                        <a:pt x="332" y="520"/>
                      </a:lnTo>
                      <a:lnTo>
                        <a:pt x="332" y="519"/>
                      </a:lnTo>
                      <a:lnTo>
                        <a:pt x="333" y="518"/>
                      </a:lnTo>
                      <a:lnTo>
                        <a:pt x="334" y="516"/>
                      </a:lnTo>
                      <a:lnTo>
                        <a:pt x="335" y="515"/>
                      </a:lnTo>
                      <a:lnTo>
                        <a:pt x="335" y="514"/>
                      </a:lnTo>
                      <a:lnTo>
                        <a:pt x="334" y="514"/>
                      </a:lnTo>
                      <a:lnTo>
                        <a:pt x="334" y="513"/>
                      </a:lnTo>
                      <a:lnTo>
                        <a:pt x="333" y="513"/>
                      </a:lnTo>
                      <a:lnTo>
                        <a:pt x="332" y="514"/>
                      </a:lnTo>
                      <a:lnTo>
                        <a:pt x="330" y="514"/>
                      </a:lnTo>
                      <a:lnTo>
                        <a:pt x="329" y="514"/>
                      </a:lnTo>
                      <a:lnTo>
                        <a:pt x="328" y="514"/>
                      </a:lnTo>
                      <a:lnTo>
                        <a:pt x="327" y="515"/>
                      </a:lnTo>
                      <a:lnTo>
                        <a:pt x="326" y="516"/>
                      </a:lnTo>
                      <a:lnTo>
                        <a:pt x="325" y="516"/>
                      </a:lnTo>
                      <a:lnTo>
                        <a:pt x="324" y="516"/>
                      </a:lnTo>
                      <a:lnTo>
                        <a:pt x="323" y="516"/>
                      </a:lnTo>
                      <a:lnTo>
                        <a:pt x="322" y="517"/>
                      </a:lnTo>
                      <a:lnTo>
                        <a:pt x="321" y="518"/>
                      </a:lnTo>
                      <a:lnTo>
                        <a:pt x="320" y="518"/>
                      </a:lnTo>
                      <a:lnTo>
                        <a:pt x="319" y="518"/>
                      </a:lnTo>
                      <a:lnTo>
                        <a:pt x="317" y="518"/>
                      </a:lnTo>
                      <a:lnTo>
                        <a:pt x="316" y="518"/>
                      </a:lnTo>
                      <a:lnTo>
                        <a:pt x="315" y="518"/>
                      </a:lnTo>
                      <a:lnTo>
                        <a:pt x="314" y="517"/>
                      </a:lnTo>
                      <a:lnTo>
                        <a:pt x="313" y="519"/>
                      </a:lnTo>
                      <a:lnTo>
                        <a:pt x="311" y="520"/>
                      </a:lnTo>
                      <a:lnTo>
                        <a:pt x="309" y="521"/>
                      </a:lnTo>
                      <a:lnTo>
                        <a:pt x="307" y="520"/>
                      </a:lnTo>
                      <a:lnTo>
                        <a:pt x="301" y="518"/>
                      </a:lnTo>
                      <a:lnTo>
                        <a:pt x="297" y="516"/>
                      </a:lnTo>
                      <a:lnTo>
                        <a:pt x="296" y="516"/>
                      </a:lnTo>
                      <a:lnTo>
                        <a:pt x="290" y="514"/>
                      </a:lnTo>
                      <a:lnTo>
                        <a:pt x="287" y="513"/>
                      </a:lnTo>
                      <a:lnTo>
                        <a:pt x="284" y="511"/>
                      </a:lnTo>
                      <a:lnTo>
                        <a:pt x="272" y="506"/>
                      </a:lnTo>
                      <a:lnTo>
                        <a:pt x="270" y="505"/>
                      </a:lnTo>
                      <a:lnTo>
                        <a:pt x="263" y="502"/>
                      </a:lnTo>
                      <a:lnTo>
                        <a:pt x="263" y="503"/>
                      </a:lnTo>
                      <a:lnTo>
                        <a:pt x="262" y="503"/>
                      </a:lnTo>
                      <a:lnTo>
                        <a:pt x="261" y="503"/>
                      </a:lnTo>
                      <a:lnTo>
                        <a:pt x="260" y="502"/>
                      </a:lnTo>
                      <a:lnTo>
                        <a:pt x="259" y="502"/>
                      </a:lnTo>
                      <a:lnTo>
                        <a:pt x="259" y="503"/>
                      </a:lnTo>
                      <a:lnTo>
                        <a:pt x="258" y="503"/>
                      </a:lnTo>
                      <a:lnTo>
                        <a:pt x="257" y="504"/>
                      </a:lnTo>
                      <a:lnTo>
                        <a:pt x="256" y="504"/>
                      </a:lnTo>
                      <a:lnTo>
                        <a:pt x="255" y="504"/>
                      </a:lnTo>
                      <a:lnTo>
                        <a:pt x="253" y="505"/>
                      </a:lnTo>
                      <a:lnTo>
                        <a:pt x="252" y="505"/>
                      </a:lnTo>
                      <a:lnTo>
                        <a:pt x="251" y="505"/>
                      </a:lnTo>
                      <a:lnTo>
                        <a:pt x="250" y="505"/>
                      </a:lnTo>
                      <a:lnTo>
                        <a:pt x="250" y="506"/>
                      </a:lnTo>
                      <a:lnTo>
                        <a:pt x="249" y="506"/>
                      </a:lnTo>
                      <a:lnTo>
                        <a:pt x="248" y="506"/>
                      </a:lnTo>
                      <a:lnTo>
                        <a:pt x="248" y="505"/>
                      </a:lnTo>
                      <a:lnTo>
                        <a:pt x="247" y="505"/>
                      </a:lnTo>
                      <a:lnTo>
                        <a:pt x="246" y="505"/>
                      </a:lnTo>
                      <a:lnTo>
                        <a:pt x="245" y="505"/>
                      </a:lnTo>
                      <a:lnTo>
                        <a:pt x="244" y="505"/>
                      </a:lnTo>
                      <a:lnTo>
                        <a:pt x="243" y="504"/>
                      </a:lnTo>
                      <a:lnTo>
                        <a:pt x="240" y="504"/>
                      </a:lnTo>
                      <a:lnTo>
                        <a:pt x="240" y="503"/>
                      </a:lnTo>
                      <a:lnTo>
                        <a:pt x="240" y="502"/>
                      </a:lnTo>
                      <a:lnTo>
                        <a:pt x="239" y="502"/>
                      </a:lnTo>
                      <a:lnTo>
                        <a:pt x="238" y="502"/>
                      </a:lnTo>
                      <a:lnTo>
                        <a:pt x="238" y="501"/>
                      </a:lnTo>
                      <a:lnTo>
                        <a:pt x="237" y="502"/>
                      </a:lnTo>
                      <a:lnTo>
                        <a:pt x="236" y="502"/>
                      </a:lnTo>
                      <a:lnTo>
                        <a:pt x="236" y="503"/>
                      </a:lnTo>
                      <a:lnTo>
                        <a:pt x="236" y="504"/>
                      </a:lnTo>
                      <a:lnTo>
                        <a:pt x="235" y="504"/>
                      </a:lnTo>
                      <a:lnTo>
                        <a:pt x="234" y="504"/>
                      </a:lnTo>
                      <a:lnTo>
                        <a:pt x="234" y="505"/>
                      </a:lnTo>
                      <a:lnTo>
                        <a:pt x="233" y="504"/>
                      </a:lnTo>
                      <a:lnTo>
                        <a:pt x="232" y="505"/>
                      </a:lnTo>
                      <a:lnTo>
                        <a:pt x="231" y="505"/>
                      </a:lnTo>
                      <a:lnTo>
                        <a:pt x="231" y="504"/>
                      </a:lnTo>
                      <a:lnTo>
                        <a:pt x="231" y="505"/>
                      </a:lnTo>
                      <a:lnTo>
                        <a:pt x="230" y="504"/>
                      </a:lnTo>
                      <a:lnTo>
                        <a:pt x="229" y="505"/>
                      </a:lnTo>
                      <a:lnTo>
                        <a:pt x="229" y="504"/>
                      </a:lnTo>
                      <a:lnTo>
                        <a:pt x="227" y="504"/>
                      </a:lnTo>
                      <a:lnTo>
                        <a:pt x="227" y="503"/>
                      </a:lnTo>
                      <a:lnTo>
                        <a:pt x="227" y="502"/>
                      </a:lnTo>
                      <a:lnTo>
                        <a:pt x="226" y="502"/>
                      </a:lnTo>
                      <a:lnTo>
                        <a:pt x="226" y="501"/>
                      </a:lnTo>
                      <a:lnTo>
                        <a:pt x="226" y="502"/>
                      </a:lnTo>
                      <a:lnTo>
                        <a:pt x="225" y="502"/>
                      </a:lnTo>
                      <a:lnTo>
                        <a:pt x="224" y="502"/>
                      </a:lnTo>
                      <a:lnTo>
                        <a:pt x="223" y="502"/>
                      </a:lnTo>
                      <a:lnTo>
                        <a:pt x="222" y="502"/>
                      </a:lnTo>
                      <a:lnTo>
                        <a:pt x="221" y="502"/>
                      </a:lnTo>
                      <a:lnTo>
                        <a:pt x="221" y="503"/>
                      </a:lnTo>
                      <a:lnTo>
                        <a:pt x="221" y="504"/>
                      </a:lnTo>
                      <a:lnTo>
                        <a:pt x="220" y="504"/>
                      </a:lnTo>
                      <a:lnTo>
                        <a:pt x="219" y="504"/>
                      </a:lnTo>
                      <a:lnTo>
                        <a:pt x="218" y="503"/>
                      </a:lnTo>
                      <a:lnTo>
                        <a:pt x="217" y="503"/>
                      </a:lnTo>
                      <a:lnTo>
                        <a:pt x="216" y="503"/>
                      </a:lnTo>
                      <a:lnTo>
                        <a:pt x="216" y="502"/>
                      </a:lnTo>
                      <a:lnTo>
                        <a:pt x="214" y="501"/>
                      </a:lnTo>
                      <a:lnTo>
                        <a:pt x="214" y="502"/>
                      </a:lnTo>
                      <a:lnTo>
                        <a:pt x="213" y="502"/>
                      </a:lnTo>
                      <a:lnTo>
                        <a:pt x="213" y="501"/>
                      </a:lnTo>
                      <a:lnTo>
                        <a:pt x="213" y="500"/>
                      </a:lnTo>
                      <a:lnTo>
                        <a:pt x="213" y="498"/>
                      </a:lnTo>
                      <a:lnTo>
                        <a:pt x="212" y="500"/>
                      </a:lnTo>
                      <a:lnTo>
                        <a:pt x="212" y="501"/>
                      </a:lnTo>
                      <a:lnTo>
                        <a:pt x="211" y="501"/>
                      </a:lnTo>
                      <a:lnTo>
                        <a:pt x="211" y="500"/>
                      </a:lnTo>
                      <a:lnTo>
                        <a:pt x="211" y="498"/>
                      </a:lnTo>
                      <a:lnTo>
                        <a:pt x="211" y="497"/>
                      </a:lnTo>
                      <a:lnTo>
                        <a:pt x="210" y="497"/>
                      </a:lnTo>
                      <a:lnTo>
                        <a:pt x="210" y="498"/>
                      </a:lnTo>
                      <a:lnTo>
                        <a:pt x="210" y="500"/>
                      </a:lnTo>
                      <a:lnTo>
                        <a:pt x="210" y="501"/>
                      </a:lnTo>
                      <a:lnTo>
                        <a:pt x="209" y="501"/>
                      </a:lnTo>
                      <a:lnTo>
                        <a:pt x="209" y="500"/>
                      </a:lnTo>
                      <a:lnTo>
                        <a:pt x="208" y="500"/>
                      </a:lnTo>
                      <a:lnTo>
                        <a:pt x="208" y="501"/>
                      </a:lnTo>
                      <a:lnTo>
                        <a:pt x="209" y="501"/>
                      </a:lnTo>
                      <a:lnTo>
                        <a:pt x="209" y="502"/>
                      </a:lnTo>
                      <a:lnTo>
                        <a:pt x="208" y="503"/>
                      </a:lnTo>
                      <a:lnTo>
                        <a:pt x="207" y="503"/>
                      </a:lnTo>
                      <a:lnTo>
                        <a:pt x="208" y="503"/>
                      </a:lnTo>
                      <a:lnTo>
                        <a:pt x="208" y="504"/>
                      </a:lnTo>
                      <a:lnTo>
                        <a:pt x="207" y="504"/>
                      </a:lnTo>
                      <a:lnTo>
                        <a:pt x="207" y="505"/>
                      </a:lnTo>
                      <a:lnTo>
                        <a:pt x="207" y="506"/>
                      </a:lnTo>
                      <a:lnTo>
                        <a:pt x="207" y="507"/>
                      </a:lnTo>
                      <a:lnTo>
                        <a:pt x="206" y="507"/>
                      </a:lnTo>
                      <a:lnTo>
                        <a:pt x="206" y="506"/>
                      </a:lnTo>
                      <a:lnTo>
                        <a:pt x="205" y="506"/>
                      </a:lnTo>
                      <a:lnTo>
                        <a:pt x="205" y="507"/>
                      </a:lnTo>
                      <a:lnTo>
                        <a:pt x="205" y="508"/>
                      </a:lnTo>
                      <a:lnTo>
                        <a:pt x="206" y="508"/>
                      </a:lnTo>
                      <a:lnTo>
                        <a:pt x="206" y="509"/>
                      </a:lnTo>
                      <a:lnTo>
                        <a:pt x="205" y="509"/>
                      </a:lnTo>
                      <a:lnTo>
                        <a:pt x="204" y="509"/>
                      </a:lnTo>
                      <a:lnTo>
                        <a:pt x="204" y="510"/>
                      </a:lnTo>
                      <a:lnTo>
                        <a:pt x="203" y="511"/>
                      </a:lnTo>
                      <a:lnTo>
                        <a:pt x="201" y="511"/>
                      </a:lnTo>
                      <a:lnTo>
                        <a:pt x="200" y="513"/>
                      </a:lnTo>
                      <a:lnTo>
                        <a:pt x="199" y="511"/>
                      </a:lnTo>
                      <a:lnTo>
                        <a:pt x="199" y="513"/>
                      </a:lnTo>
                      <a:lnTo>
                        <a:pt x="198" y="513"/>
                      </a:lnTo>
                      <a:lnTo>
                        <a:pt x="198" y="514"/>
                      </a:lnTo>
                      <a:lnTo>
                        <a:pt x="197" y="514"/>
                      </a:lnTo>
                      <a:lnTo>
                        <a:pt x="196" y="514"/>
                      </a:lnTo>
                      <a:lnTo>
                        <a:pt x="196" y="515"/>
                      </a:lnTo>
                      <a:lnTo>
                        <a:pt x="196" y="516"/>
                      </a:lnTo>
                      <a:lnTo>
                        <a:pt x="195" y="516"/>
                      </a:lnTo>
                      <a:lnTo>
                        <a:pt x="195" y="515"/>
                      </a:lnTo>
                      <a:lnTo>
                        <a:pt x="194" y="515"/>
                      </a:lnTo>
                      <a:lnTo>
                        <a:pt x="193" y="515"/>
                      </a:lnTo>
                      <a:lnTo>
                        <a:pt x="193" y="516"/>
                      </a:lnTo>
                      <a:lnTo>
                        <a:pt x="193" y="517"/>
                      </a:lnTo>
                      <a:lnTo>
                        <a:pt x="192" y="517"/>
                      </a:lnTo>
                      <a:lnTo>
                        <a:pt x="192" y="516"/>
                      </a:lnTo>
                      <a:lnTo>
                        <a:pt x="192" y="515"/>
                      </a:lnTo>
                      <a:lnTo>
                        <a:pt x="191" y="515"/>
                      </a:lnTo>
                      <a:lnTo>
                        <a:pt x="191" y="516"/>
                      </a:lnTo>
                      <a:lnTo>
                        <a:pt x="190" y="516"/>
                      </a:lnTo>
                      <a:lnTo>
                        <a:pt x="190" y="517"/>
                      </a:lnTo>
                      <a:lnTo>
                        <a:pt x="190" y="518"/>
                      </a:lnTo>
                      <a:lnTo>
                        <a:pt x="188" y="518"/>
                      </a:lnTo>
                      <a:lnTo>
                        <a:pt x="188" y="519"/>
                      </a:lnTo>
                      <a:lnTo>
                        <a:pt x="190" y="519"/>
                      </a:lnTo>
                      <a:lnTo>
                        <a:pt x="190" y="520"/>
                      </a:lnTo>
                      <a:lnTo>
                        <a:pt x="188" y="520"/>
                      </a:lnTo>
                      <a:lnTo>
                        <a:pt x="188" y="521"/>
                      </a:lnTo>
                      <a:lnTo>
                        <a:pt x="190" y="521"/>
                      </a:lnTo>
                      <a:lnTo>
                        <a:pt x="190" y="522"/>
                      </a:lnTo>
                      <a:lnTo>
                        <a:pt x="188" y="522"/>
                      </a:lnTo>
                      <a:lnTo>
                        <a:pt x="187" y="522"/>
                      </a:lnTo>
                      <a:lnTo>
                        <a:pt x="187" y="523"/>
                      </a:lnTo>
                      <a:lnTo>
                        <a:pt x="186" y="524"/>
                      </a:lnTo>
                      <a:lnTo>
                        <a:pt x="186" y="526"/>
                      </a:lnTo>
                      <a:lnTo>
                        <a:pt x="185" y="526"/>
                      </a:lnTo>
                      <a:lnTo>
                        <a:pt x="185" y="527"/>
                      </a:lnTo>
                      <a:lnTo>
                        <a:pt x="184" y="527"/>
                      </a:lnTo>
                      <a:lnTo>
                        <a:pt x="184" y="528"/>
                      </a:lnTo>
                      <a:lnTo>
                        <a:pt x="185" y="528"/>
                      </a:lnTo>
                      <a:lnTo>
                        <a:pt x="185" y="529"/>
                      </a:lnTo>
                      <a:lnTo>
                        <a:pt x="184" y="530"/>
                      </a:lnTo>
                      <a:lnTo>
                        <a:pt x="184" y="531"/>
                      </a:lnTo>
                      <a:lnTo>
                        <a:pt x="183" y="532"/>
                      </a:lnTo>
                      <a:lnTo>
                        <a:pt x="182" y="531"/>
                      </a:lnTo>
                      <a:lnTo>
                        <a:pt x="182" y="532"/>
                      </a:lnTo>
                      <a:lnTo>
                        <a:pt x="181" y="532"/>
                      </a:lnTo>
                      <a:lnTo>
                        <a:pt x="180" y="533"/>
                      </a:lnTo>
                      <a:lnTo>
                        <a:pt x="180" y="534"/>
                      </a:lnTo>
                      <a:lnTo>
                        <a:pt x="179" y="534"/>
                      </a:lnTo>
                      <a:lnTo>
                        <a:pt x="179" y="535"/>
                      </a:lnTo>
                      <a:lnTo>
                        <a:pt x="178" y="535"/>
                      </a:lnTo>
                      <a:lnTo>
                        <a:pt x="177" y="535"/>
                      </a:lnTo>
                      <a:lnTo>
                        <a:pt x="175" y="537"/>
                      </a:lnTo>
                      <a:lnTo>
                        <a:pt x="175" y="539"/>
                      </a:lnTo>
                      <a:lnTo>
                        <a:pt x="175" y="540"/>
                      </a:lnTo>
                      <a:lnTo>
                        <a:pt x="175" y="541"/>
                      </a:lnTo>
                      <a:lnTo>
                        <a:pt x="175" y="542"/>
                      </a:lnTo>
                      <a:lnTo>
                        <a:pt x="175" y="543"/>
                      </a:lnTo>
                      <a:lnTo>
                        <a:pt x="174" y="543"/>
                      </a:lnTo>
                      <a:lnTo>
                        <a:pt x="173" y="543"/>
                      </a:lnTo>
                      <a:lnTo>
                        <a:pt x="172" y="543"/>
                      </a:lnTo>
                      <a:lnTo>
                        <a:pt x="171" y="544"/>
                      </a:lnTo>
                      <a:lnTo>
                        <a:pt x="170" y="545"/>
                      </a:lnTo>
                      <a:lnTo>
                        <a:pt x="170" y="546"/>
                      </a:lnTo>
                      <a:lnTo>
                        <a:pt x="169" y="546"/>
                      </a:lnTo>
                      <a:lnTo>
                        <a:pt x="168" y="546"/>
                      </a:lnTo>
                      <a:lnTo>
                        <a:pt x="167" y="546"/>
                      </a:lnTo>
                      <a:lnTo>
                        <a:pt x="167" y="547"/>
                      </a:lnTo>
                      <a:lnTo>
                        <a:pt x="166" y="547"/>
                      </a:lnTo>
                      <a:lnTo>
                        <a:pt x="166" y="548"/>
                      </a:lnTo>
                      <a:lnTo>
                        <a:pt x="165" y="549"/>
                      </a:lnTo>
                      <a:lnTo>
                        <a:pt x="163" y="549"/>
                      </a:lnTo>
                      <a:lnTo>
                        <a:pt x="163" y="550"/>
                      </a:lnTo>
                      <a:lnTo>
                        <a:pt x="163" y="552"/>
                      </a:lnTo>
                      <a:lnTo>
                        <a:pt x="162" y="553"/>
                      </a:lnTo>
                      <a:lnTo>
                        <a:pt x="160" y="554"/>
                      </a:lnTo>
                      <a:lnTo>
                        <a:pt x="159" y="554"/>
                      </a:lnTo>
                      <a:lnTo>
                        <a:pt x="159" y="555"/>
                      </a:lnTo>
                      <a:lnTo>
                        <a:pt x="158" y="556"/>
                      </a:lnTo>
                      <a:lnTo>
                        <a:pt x="157" y="556"/>
                      </a:lnTo>
                      <a:lnTo>
                        <a:pt x="156" y="556"/>
                      </a:lnTo>
                      <a:lnTo>
                        <a:pt x="154" y="557"/>
                      </a:lnTo>
                      <a:lnTo>
                        <a:pt x="153" y="558"/>
                      </a:lnTo>
                      <a:lnTo>
                        <a:pt x="150" y="560"/>
                      </a:lnTo>
                      <a:lnTo>
                        <a:pt x="148" y="560"/>
                      </a:lnTo>
                      <a:lnTo>
                        <a:pt x="146" y="560"/>
                      </a:lnTo>
                      <a:lnTo>
                        <a:pt x="145" y="561"/>
                      </a:lnTo>
                      <a:lnTo>
                        <a:pt x="144" y="560"/>
                      </a:lnTo>
                      <a:lnTo>
                        <a:pt x="143" y="560"/>
                      </a:lnTo>
                      <a:lnTo>
                        <a:pt x="143" y="561"/>
                      </a:lnTo>
                      <a:lnTo>
                        <a:pt x="142" y="561"/>
                      </a:lnTo>
                      <a:lnTo>
                        <a:pt x="141" y="563"/>
                      </a:lnTo>
                      <a:lnTo>
                        <a:pt x="140" y="565"/>
                      </a:lnTo>
                      <a:lnTo>
                        <a:pt x="139" y="565"/>
                      </a:lnTo>
                      <a:lnTo>
                        <a:pt x="137" y="566"/>
                      </a:lnTo>
                      <a:lnTo>
                        <a:pt x="136" y="566"/>
                      </a:lnTo>
                      <a:lnTo>
                        <a:pt x="135" y="566"/>
                      </a:lnTo>
                      <a:lnTo>
                        <a:pt x="134" y="566"/>
                      </a:lnTo>
                      <a:lnTo>
                        <a:pt x="133" y="566"/>
                      </a:lnTo>
                      <a:lnTo>
                        <a:pt x="132" y="566"/>
                      </a:lnTo>
                      <a:lnTo>
                        <a:pt x="131" y="567"/>
                      </a:lnTo>
                      <a:lnTo>
                        <a:pt x="130" y="567"/>
                      </a:lnTo>
                      <a:lnTo>
                        <a:pt x="129" y="568"/>
                      </a:lnTo>
                      <a:lnTo>
                        <a:pt x="128" y="569"/>
                      </a:lnTo>
                      <a:lnTo>
                        <a:pt x="127" y="569"/>
                      </a:lnTo>
                      <a:lnTo>
                        <a:pt x="127" y="568"/>
                      </a:lnTo>
                      <a:lnTo>
                        <a:pt x="124" y="567"/>
                      </a:lnTo>
                      <a:lnTo>
                        <a:pt x="122" y="566"/>
                      </a:lnTo>
                      <a:lnTo>
                        <a:pt x="120" y="566"/>
                      </a:lnTo>
                      <a:lnTo>
                        <a:pt x="119" y="566"/>
                      </a:lnTo>
                      <a:lnTo>
                        <a:pt x="119" y="567"/>
                      </a:lnTo>
                      <a:lnTo>
                        <a:pt x="118" y="567"/>
                      </a:lnTo>
                      <a:lnTo>
                        <a:pt x="118" y="565"/>
                      </a:lnTo>
                      <a:lnTo>
                        <a:pt x="117" y="565"/>
                      </a:lnTo>
                      <a:lnTo>
                        <a:pt x="116" y="565"/>
                      </a:lnTo>
                      <a:lnTo>
                        <a:pt x="115" y="565"/>
                      </a:lnTo>
                      <a:lnTo>
                        <a:pt x="115" y="563"/>
                      </a:lnTo>
                      <a:lnTo>
                        <a:pt x="114" y="563"/>
                      </a:lnTo>
                      <a:lnTo>
                        <a:pt x="113" y="563"/>
                      </a:lnTo>
                      <a:lnTo>
                        <a:pt x="111" y="563"/>
                      </a:lnTo>
                      <a:lnTo>
                        <a:pt x="110" y="563"/>
                      </a:lnTo>
                      <a:lnTo>
                        <a:pt x="110" y="562"/>
                      </a:lnTo>
                      <a:lnTo>
                        <a:pt x="109" y="561"/>
                      </a:lnTo>
                      <a:lnTo>
                        <a:pt x="108" y="561"/>
                      </a:lnTo>
                      <a:lnTo>
                        <a:pt x="107" y="561"/>
                      </a:lnTo>
                      <a:lnTo>
                        <a:pt x="106" y="560"/>
                      </a:lnTo>
                      <a:lnTo>
                        <a:pt x="105" y="560"/>
                      </a:lnTo>
                      <a:lnTo>
                        <a:pt x="104" y="560"/>
                      </a:lnTo>
                      <a:lnTo>
                        <a:pt x="103" y="560"/>
                      </a:lnTo>
                      <a:lnTo>
                        <a:pt x="102" y="560"/>
                      </a:lnTo>
                      <a:lnTo>
                        <a:pt x="101" y="559"/>
                      </a:lnTo>
                      <a:lnTo>
                        <a:pt x="100" y="559"/>
                      </a:lnTo>
                      <a:lnTo>
                        <a:pt x="98" y="558"/>
                      </a:lnTo>
                      <a:lnTo>
                        <a:pt x="98" y="557"/>
                      </a:lnTo>
                      <a:lnTo>
                        <a:pt x="97" y="557"/>
                      </a:lnTo>
                      <a:lnTo>
                        <a:pt x="96" y="557"/>
                      </a:lnTo>
                      <a:lnTo>
                        <a:pt x="95" y="557"/>
                      </a:lnTo>
                      <a:lnTo>
                        <a:pt x="95" y="556"/>
                      </a:lnTo>
                      <a:lnTo>
                        <a:pt x="94" y="556"/>
                      </a:lnTo>
                      <a:lnTo>
                        <a:pt x="94" y="557"/>
                      </a:lnTo>
                      <a:lnTo>
                        <a:pt x="93" y="558"/>
                      </a:lnTo>
                      <a:lnTo>
                        <a:pt x="92" y="558"/>
                      </a:lnTo>
                      <a:lnTo>
                        <a:pt x="91" y="557"/>
                      </a:lnTo>
                      <a:lnTo>
                        <a:pt x="91" y="556"/>
                      </a:lnTo>
                      <a:lnTo>
                        <a:pt x="91" y="555"/>
                      </a:lnTo>
                      <a:lnTo>
                        <a:pt x="90" y="554"/>
                      </a:lnTo>
                      <a:lnTo>
                        <a:pt x="89" y="553"/>
                      </a:lnTo>
                      <a:lnTo>
                        <a:pt x="88" y="552"/>
                      </a:lnTo>
                      <a:lnTo>
                        <a:pt x="87" y="552"/>
                      </a:lnTo>
                      <a:lnTo>
                        <a:pt x="87" y="550"/>
                      </a:lnTo>
                      <a:lnTo>
                        <a:pt x="87" y="549"/>
                      </a:lnTo>
                      <a:lnTo>
                        <a:pt x="85" y="549"/>
                      </a:lnTo>
                      <a:lnTo>
                        <a:pt x="85" y="550"/>
                      </a:lnTo>
                      <a:lnTo>
                        <a:pt x="85" y="549"/>
                      </a:lnTo>
                      <a:lnTo>
                        <a:pt x="84" y="549"/>
                      </a:lnTo>
                      <a:lnTo>
                        <a:pt x="84" y="550"/>
                      </a:lnTo>
                      <a:lnTo>
                        <a:pt x="83" y="550"/>
                      </a:lnTo>
                      <a:lnTo>
                        <a:pt x="82" y="549"/>
                      </a:lnTo>
                      <a:lnTo>
                        <a:pt x="81" y="549"/>
                      </a:lnTo>
                      <a:lnTo>
                        <a:pt x="81" y="548"/>
                      </a:lnTo>
                      <a:lnTo>
                        <a:pt x="82" y="548"/>
                      </a:lnTo>
                      <a:lnTo>
                        <a:pt x="81" y="548"/>
                      </a:lnTo>
                      <a:lnTo>
                        <a:pt x="80" y="547"/>
                      </a:lnTo>
                      <a:lnTo>
                        <a:pt x="79" y="547"/>
                      </a:lnTo>
                      <a:lnTo>
                        <a:pt x="78" y="547"/>
                      </a:lnTo>
                      <a:lnTo>
                        <a:pt x="77" y="547"/>
                      </a:lnTo>
                      <a:lnTo>
                        <a:pt x="77" y="548"/>
                      </a:lnTo>
                      <a:lnTo>
                        <a:pt x="77" y="547"/>
                      </a:lnTo>
                      <a:lnTo>
                        <a:pt x="78" y="546"/>
                      </a:lnTo>
                      <a:lnTo>
                        <a:pt x="77" y="545"/>
                      </a:lnTo>
                      <a:lnTo>
                        <a:pt x="76" y="545"/>
                      </a:lnTo>
                      <a:lnTo>
                        <a:pt x="75" y="545"/>
                      </a:lnTo>
                      <a:lnTo>
                        <a:pt x="74" y="544"/>
                      </a:lnTo>
                      <a:lnTo>
                        <a:pt x="75" y="544"/>
                      </a:lnTo>
                      <a:lnTo>
                        <a:pt x="75" y="543"/>
                      </a:lnTo>
                      <a:lnTo>
                        <a:pt x="74" y="543"/>
                      </a:lnTo>
                      <a:lnTo>
                        <a:pt x="72" y="543"/>
                      </a:lnTo>
                      <a:lnTo>
                        <a:pt x="71" y="543"/>
                      </a:lnTo>
                      <a:lnTo>
                        <a:pt x="71" y="542"/>
                      </a:lnTo>
                      <a:lnTo>
                        <a:pt x="72" y="542"/>
                      </a:lnTo>
                      <a:lnTo>
                        <a:pt x="72" y="541"/>
                      </a:lnTo>
                      <a:lnTo>
                        <a:pt x="71" y="541"/>
                      </a:lnTo>
                      <a:lnTo>
                        <a:pt x="71" y="542"/>
                      </a:lnTo>
                      <a:lnTo>
                        <a:pt x="70" y="541"/>
                      </a:lnTo>
                      <a:lnTo>
                        <a:pt x="70" y="542"/>
                      </a:lnTo>
                      <a:lnTo>
                        <a:pt x="69" y="542"/>
                      </a:lnTo>
                      <a:lnTo>
                        <a:pt x="69" y="541"/>
                      </a:lnTo>
                      <a:lnTo>
                        <a:pt x="68" y="542"/>
                      </a:lnTo>
                      <a:lnTo>
                        <a:pt x="68" y="541"/>
                      </a:lnTo>
                      <a:lnTo>
                        <a:pt x="69" y="541"/>
                      </a:lnTo>
                      <a:lnTo>
                        <a:pt x="69" y="540"/>
                      </a:lnTo>
                      <a:lnTo>
                        <a:pt x="68" y="540"/>
                      </a:lnTo>
                      <a:lnTo>
                        <a:pt x="68" y="539"/>
                      </a:lnTo>
                      <a:lnTo>
                        <a:pt x="69" y="539"/>
                      </a:lnTo>
                      <a:lnTo>
                        <a:pt x="69" y="537"/>
                      </a:lnTo>
                      <a:lnTo>
                        <a:pt x="68" y="537"/>
                      </a:lnTo>
                      <a:lnTo>
                        <a:pt x="68" y="536"/>
                      </a:lnTo>
                      <a:lnTo>
                        <a:pt x="69" y="535"/>
                      </a:lnTo>
                      <a:lnTo>
                        <a:pt x="68" y="535"/>
                      </a:lnTo>
                      <a:lnTo>
                        <a:pt x="67" y="535"/>
                      </a:lnTo>
                      <a:lnTo>
                        <a:pt x="66" y="535"/>
                      </a:lnTo>
                      <a:lnTo>
                        <a:pt x="66" y="536"/>
                      </a:lnTo>
                      <a:lnTo>
                        <a:pt x="65" y="536"/>
                      </a:lnTo>
                      <a:lnTo>
                        <a:pt x="65" y="535"/>
                      </a:lnTo>
                      <a:lnTo>
                        <a:pt x="65" y="534"/>
                      </a:lnTo>
                      <a:lnTo>
                        <a:pt x="64" y="534"/>
                      </a:lnTo>
                      <a:lnTo>
                        <a:pt x="63" y="533"/>
                      </a:lnTo>
                      <a:lnTo>
                        <a:pt x="63" y="532"/>
                      </a:lnTo>
                      <a:lnTo>
                        <a:pt x="62" y="532"/>
                      </a:lnTo>
                      <a:lnTo>
                        <a:pt x="62" y="531"/>
                      </a:lnTo>
                      <a:lnTo>
                        <a:pt x="64" y="531"/>
                      </a:lnTo>
                      <a:lnTo>
                        <a:pt x="64" y="530"/>
                      </a:lnTo>
                      <a:lnTo>
                        <a:pt x="64" y="531"/>
                      </a:lnTo>
                      <a:lnTo>
                        <a:pt x="65" y="530"/>
                      </a:lnTo>
                      <a:lnTo>
                        <a:pt x="65" y="529"/>
                      </a:lnTo>
                      <a:lnTo>
                        <a:pt x="64" y="529"/>
                      </a:lnTo>
                      <a:lnTo>
                        <a:pt x="63" y="529"/>
                      </a:lnTo>
                      <a:lnTo>
                        <a:pt x="64" y="528"/>
                      </a:lnTo>
                      <a:lnTo>
                        <a:pt x="63" y="528"/>
                      </a:lnTo>
                      <a:lnTo>
                        <a:pt x="63" y="529"/>
                      </a:lnTo>
                      <a:lnTo>
                        <a:pt x="63" y="530"/>
                      </a:lnTo>
                      <a:lnTo>
                        <a:pt x="62" y="530"/>
                      </a:lnTo>
                      <a:lnTo>
                        <a:pt x="62" y="529"/>
                      </a:lnTo>
                      <a:lnTo>
                        <a:pt x="61" y="529"/>
                      </a:lnTo>
                      <a:lnTo>
                        <a:pt x="61" y="530"/>
                      </a:lnTo>
                      <a:lnTo>
                        <a:pt x="59" y="530"/>
                      </a:lnTo>
                      <a:lnTo>
                        <a:pt x="59" y="529"/>
                      </a:lnTo>
                      <a:lnTo>
                        <a:pt x="61" y="529"/>
                      </a:lnTo>
                      <a:lnTo>
                        <a:pt x="61" y="528"/>
                      </a:lnTo>
                      <a:lnTo>
                        <a:pt x="61" y="527"/>
                      </a:lnTo>
                      <a:lnTo>
                        <a:pt x="59" y="527"/>
                      </a:lnTo>
                      <a:lnTo>
                        <a:pt x="58" y="527"/>
                      </a:lnTo>
                      <a:lnTo>
                        <a:pt x="58" y="528"/>
                      </a:lnTo>
                      <a:lnTo>
                        <a:pt x="57" y="528"/>
                      </a:lnTo>
                      <a:lnTo>
                        <a:pt x="58" y="529"/>
                      </a:lnTo>
                      <a:lnTo>
                        <a:pt x="57" y="529"/>
                      </a:lnTo>
                      <a:lnTo>
                        <a:pt x="56" y="528"/>
                      </a:lnTo>
                      <a:lnTo>
                        <a:pt x="55" y="528"/>
                      </a:lnTo>
                      <a:lnTo>
                        <a:pt x="55" y="527"/>
                      </a:lnTo>
                      <a:lnTo>
                        <a:pt x="54" y="527"/>
                      </a:lnTo>
                      <a:lnTo>
                        <a:pt x="54" y="526"/>
                      </a:lnTo>
                      <a:lnTo>
                        <a:pt x="53" y="526"/>
                      </a:lnTo>
                      <a:lnTo>
                        <a:pt x="52" y="527"/>
                      </a:lnTo>
                      <a:lnTo>
                        <a:pt x="51" y="526"/>
                      </a:lnTo>
                      <a:lnTo>
                        <a:pt x="49" y="524"/>
                      </a:lnTo>
                      <a:lnTo>
                        <a:pt x="49" y="523"/>
                      </a:lnTo>
                      <a:lnTo>
                        <a:pt x="49" y="522"/>
                      </a:lnTo>
                      <a:lnTo>
                        <a:pt x="49" y="521"/>
                      </a:lnTo>
                      <a:lnTo>
                        <a:pt x="48" y="522"/>
                      </a:lnTo>
                      <a:lnTo>
                        <a:pt x="46" y="521"/>
                      </a:lnTo>
                      <a:lnTo>
                        <a:pt x="45" y="521"/>
                      </a:lnTo>
                      <a:lnTo>
                        <a:pt x="45" y="522"/>
                      </a:lnTo>
                      <a:lnTo>
                        <a:pt x="45" y="523"/>
                      </a:lnTo>
                      <a:lnTo>
                        <a:pt x="44" y="523"/>
                      </a:lnTo>
                      <a:lnTo>
                        <a:pt x="45" y="523"/>
                      </a:lnTo>
                      <a:lnTo>
                        <a:pt x="45" y="524"/>
                      </a:lnTo>
                      <a:lnTo>
                        <a:pt x="44" y="524"/>
                      </a:lnTo>
                      <a:lnTo>
                        <a:pt x="43" y="524"/>
                      </a:lnTo>
                      <a:lnTo>
                        <a:pt x="42" y="523"/>
                      </a:lnTo>
                      <a:lnTo>
                        <a:pt x="41" y="524"/>
                      </a:lnTo>
                      <a:lnTo>
                        <a:pt x="41" y="526"/>
                      </a:lnTo>
                      <a:lnTo>
                        <a:pt x="40" y="526"/>
                      </a:lnTo>
                      <a:lnTo>
                        <a:pt x="40" y="524"/>
                      </a:lnTo>
                      <a:lnTo>
                        <a:pt x="40" y="526"/>
                      </a:lnTo>
                      <a:lnTo>
                        <a:pt x="39" y="527"/>
                      </a:lnTo>
                      <a:lnTo>
                        <a:pt x="39" y="528"/>
                      </a:lnTo>
                      <a:lnTo>
                        <a:pt x="39" y="529"/>
                      </a:lnTo>
                      <a:lnTo>
                        <a:pt x="40" y="529"/>
                      </a:lnTo>
                      <a:lnTo>
                        <a:pt x="40" y="530"/>
                      </a:lnTo>
                      <a:lnTo>
                        <a:pt x="39" y="530"/>
                      </a:lnTo>
                      <a:lnTo>
                        <a:pt x="38" y="531"/>
                      </a:lnTo>
                      <a:lnTo>
                        <a:pt x="37" y="531"/>
                      </a:lnTo>
                      <a:lnTo>
                        <a:pt x="37" y="530"/>
                      </a:lnTo>
                      <a:lnTo>
                        <a:pt x="36" y="531"/>
                      </a:lnTo>
                      <a:lnTo>
                        <a:pt x="36" y="532"/>
                      </a:lnTo>
                      <a:lnTo>
                        <a:pt x="35" y="532"/>
                      </a:lnTo>
                      <a:lnTo>
                        <a:pt x="35" y="531"/>
                      </a:lnTo>
                      <a:lnTo>
                        <a:pt x="33" y="531"/>
                      </a:lnTo>
                      <a:lnTo>
                        <a:pt x="33" y="533"/>
                      </a:lnTo>
                      <a:lnTo>
                        <a:pt x="32" y="533"/>
                      </a:lnTo>
                      <a:lnTo>
                        <a:pt x="31" y="534"/>
                      </a:lnTo>
                      <a:lnTo>
                        <a:pt x="30" y="534"/>
                      </a:lnTo>
                      <a:lnTo>
                        <a:pt x="29" y="534"/>
                      </a:lnTo>
                      <a:lnTo>
                        <a:pt x="28" y="534"/>
                      </a:lnTo>
                      <a:lnTo>
                        <a:pt x="28" y="535"/>
                      </a:lnTo>
                      <a:lnTo>
                        <a:pt x="27" y="535"/>
                      </a:lnTo>
                      <a:lnTo>
                        <a:pt x="27" y="534"/>
                      </a:lnTo>
                      <a:lnTo>
                        <a:pt x="27" y="533"/>
                      </a:lnTo>
                      <a:lnTo>
                        <a:pt x="26" y="533"/>
                      </a:lnTo>
                      <a:lnTo>
                        <a:pt x="25" y="533"/>
                      </a:lnTo>
                      <a:lnTo>
                        <a:pt x="25" y="534"/>
                      </a:lnTo>
                      <a:lnTo>
                        <a:pt x="24" y="534"/>
                      </a:lnTo>
                      <a:lnTo>
                        <a:pt x="24" y="533"/>
                      </a:lnTo>
                      <a:lnTo>
                        <a:pt x="25" y="533"/>
                      </a:lnTo>
                      <a:lnTo>
                        <a:pt x="24" y="532"/>
                      </a:lnTo>
                      <a:lnTo>
                        <a:pt x="24" y="533"/>
                      </a:lnTo>
                      <a:lnTo>
                        <a:pt x="24" y="534"/>
                      </a:lnTo>
                      <a:lnTo>
                        <a:pt x="23" y="534"/>
                      </a:lnTo>
                      <a:lnTo>
                        <a:pt x="23" y="533"/>
                      </a:lnTo>
                      <a:lnTo>
                        <a:pt x="21" y="534"/>
                      </a:lnTo>
                      <a:lnTo>
                        <a:pt x="20" y="534"/>
                      </a:lnTo>
                      <a:lnTo>
                        <a:pt x="20" y="533"/>
                      </a:lnTo>
                      <a:lnTo>
                        <a:pt x="19" y="533"/>
                      </a:lnTo>
                      <a:lnTo>
                        <a:pt x="19" y="534"/>
                      </a:lnTo>
                      <a:lnTo>
                        <a:pt x="18" y="534"/>
                      </a:lnTo>
                      <a:lnTo>
                        <a:pt x="17" y="534"/>
                      </a:lnTo>
                      <a:lnTo>
                        <a:pt x="17" y="533"/>
                      </a:lnTo>
                      <a:lnTo>
                        <a:pt x="17" y="534"/>
                      </a:lnTo>
                      <a:lnTo>
                        <a:pt x="17" y="535"/>
                      </a:lnTo>
                      <a:lnTo>
                        <a:pt x="16" y="536"/>
                      </a:lnTo>
                      <a:lnTo>
                        <a:pt x="15" y="536"/>
                      </a:lnTo>
                      <a:lnTo>
                        <a:pt x="15" y="537"/>
                      </a:lnTo>
                      <a:lnTo>
                        <a:pt x="14" y="536"/>
                      </a:lnTo>
                      <a:lnTo>
                        <a:pt x="14" y="537"/>
                      </a:lnTo>
                      <a:lnTo>
                        <a:pt x="14" y="539"/>
                      </a:lnTo>
                      <a:lnTo>
                        <a:pt x="13" y="539"/>
                      </a:lnTo>
                      <a:lnTo>
                        <a:pt x="12" y="537"/>
                      </a:lnTo>
                      <a:lnTo>
                        <a:pt x="12" y="539"/>
                      </a:lnTo>
                      <a:lnTo>
                        <a:pt x="11" y="540"/>
                      </a:lnTo>
                      <a:lnTo>
                        <a:pt x="11" y="541"/>
                      </a:lnTo>
                      <a:lnTo>
                        <a:pt x="10" y="541"/>
                      </a:lnTo>
                      <a:lnTo>
                        <a:pt x="8" y="541"/>
                      </a:lnTo>
                      <a:lnTo>
                        <a:pt x="8" y="540"/>
                      </a:lnTo>
                      <a:lnTo>
                        <a:pt x="8" y="539"/>
                      </a:lnTo>
                      <a:lnTo>
                        <a:pt x="8" y="537"/>
                      </a:lnTo>
                      <a:lnTo>
                        <a:pt x="6" y="540"/>
                      </a:lnTo>
                      <a:lnTo>
                        <a:pt x="5" y="540"/>
                      </a:lnTo>
                      <a:lnTo>
                        <a:pt x="5" y="539"/>
                      </a:lnTo>
                      <a:lnTo>
                        <a:pt x="4" y="539"/>
                      </a:lnTo>
                      <a:lnTo>
                        <a:pt x="4" y="537"/>
                      </a:lnTo>
                      <a:lnTo>
                        <a:pt x="5" y="537"/>
                      </a:lnTo>
                      <a:lnTo>
                        <a:pt x="6" y="537"/>
                      </a:lnTo>
                      <a:lnTo>
                        <a:pt x="7" y="536"/>
                      </a:lnTo>
                      <a:lnTo>
                        <a:pt x="8" y="536"/>
                      </a:lnTo>
                      <a:lnTo>
                        <a:pt x="8" y="534"/>
                      </a:lnTo>
                      <a:lnTo>
                        <a:pt x="7" y="533"/>
                      </a:lnTo>
                      <a:lnTo>
                        <a:pt x="7" y="532"/>
                      </a:lnTo>
                      <a:lnTo>
                        <a:pt x="8" y="531"/>
                      </a:lnTo>
                      <a:lnTo>
                        <a:pt x="8" y="530"/>
                      </a:lnTo>
                      <a:lnTo>
                        <a:pt x="8" y="529"/>
                      </a:lnTo>
                      <a:lnTo>
                        <a:pt x="7" y="528"/>
                      </a:lnTo>
                      <a:lnTo>
                        <a:pt x="7" y="527"/>
                      </a:lnTo>
                      <a:lnTo>
                        <a:pt x="7" y="526"/>
                      </a:lnTo>
                      <a:lnTo>
                        <a:pt x="6" y="526"/>
                      </a:lnTo>
                      <a:lnTo>
                        <a:pt x="5" y="526"/>
                      </a:lnTo>
                      <a:lnTo>
                        <a:pt x="5" y="524"/>
                      </a:lnTo>
                      <a:lnTo>
                        <a:pt x="5" y="522"/>
                      </a:lnTo>
                      <a:lnTo>
                        <a:pt x="5" y="521"/>
                      </a:lnTo>
                      <a:lnTo>
                        <a:pt x="5" y="520"/>
                      </a:lnTo>
                      <a:lnTo>
                        <a:pt x="4" y="520"/>
                      </a:lnTo>
                      <a:lnTo>
                        <a:pt x="4" y="519"/>
                      </a:lnTo>
                      <a:lnTo>
                        <a:pt x="5" y="519"/>
                      </a:lnTo>
                      <a:lnTo>
                        <a:pt x="6" y="518"/>
                      </a:lnTo>
                      <a:lnTo>
                        <a:pt x="6" y="517"/>
                      </a:lnTo>
                      <a:lnTo>
                        <a:pt x="5" y="517"/>
                      </a:lnTo>
                      <a:lnTo>
                        <a:pt x="4" y="516"/>
                      </a:lnTo>
                      <a:lnTo>
                        <a:pt x="3" y="516"/>
                      </a:lnTo>
                      <a:lnTo>
                        <a:pt x="3" y="515"/>
                      </a:lnTo>
                      <a:lnTo>
                        <a:pt x="3" y="514"/>
                      </a:lnTo>
                      <a:lnTo>
                        <a:pt x="5" y="514"/>
                      </a:lnTo>
                      <a:lnTo>
                        <a:pt x="6" y="513"/>
                      </a:lnTo>
                      <a:lnTo>
                        <a:pt x="6" y="511"/>
                      </a:lnTo>
                      <a:lnTo>
                        <a:pt x="6" y="510"/>
                      </a:lnTo>
                      <a:lnTo>
                        <a:pt x="6" y="509"/>
                      </a:lnTo>
                      <a:lnTo>
                        <a:pt x="5" y="509"/>
                      </a:lnTo>
                      <a:lnTo>
                        <a:pt x="4" y="509"/>
                      </a:lnTo>
                      <a:lnTo>
                        <a:pt x="3" y="509"/>
                      </a:lnTo>
                      <a:lnTo>
                        <a:pt x="3" y="508"/>
                      </a:lnTo>
                      <a:lnTo>
                        <a:pt x="3" y="507"/>
                      </a:lnTo>
                      <a:lnTo>
                        <a:pt x="3" y="505"/>
                      </a:lnTo>
                      <a:lnTo>
                        <a:pt x="4" y="503"/>
                      </a:lnTo>
                      <a:lnTo>
                        <a:pt x="5" y="502"/>
                      </a:lnTo>
                      <a:lnTo>
                        <a:pt x="6" y="502"/>
                      </a:lnTo>
                      <a:lnTo>
                        <a:pt x="6" y="501"/>
                      </a:lnTo>
                      <a:lnTo>
                        <a:pt x="6" y="500"/>
                      </a:lnTo>
                      <a:lnTo>
                        <a:pt x="6" y="498"/>
                      </a:lnTo>
                      <a:lnTo>
                        <a:pt x="7" y="498"/>
                      </a:lnTo>
                      <a:lnTo>
                        <a:pt x="8" y="498"/>
                      </a:lnTo>
                      <a:lnTo>
                        <a:pt x="10" y="498"/>
                      </a:lnTo>
                      <a:lnTo>
                        <a:pt x="11" y="497"/>
                      </a:lnTo>
                      <a:lnTo>
                        <a:pt x="12" y="497"/>
                      </a:lnTo>
                      <a:lnTo>
                        <a:pt x="12" y="496"/>
                      </a:lnTo>
                      <a:lnTo>
                        <a:pt x="12" y="495"/>
                      </a:lnTo>
                      <a:lnTo>
                        <a:pt x="12" y="494"/>
                      </a:lnTo>
                      <a:lnTo>
                        <a:pt x="12" y="493"/>
                      </a:lnTo>
                      <a:lnTo>
                        <a:pt x="13" y="493"/>
                      </a:lnTo>
                      <a:lnTo>
                        <a:pt x="13" y="492"/>
                      </a:lnTo>
                      <a:lnTo>
                        <a:pt x="14" y="492"/>
                      </a:lnTo>
                      <a:lnTo>
                        <a:pt x="15" y="492"/>
                      </a:lnTo>
                      <a:lnTo>
                        <a:pt x="15" y="491"/>
                      </a:lnTo>
                      <a:lnTo>
                        <a:pt x="15" y="490"/>
                      </a:lnTo>
                      <a:lnTo>
                        <a:pt x="15" y="489"/>
                      </a:lnTo>
                      <a:lnTo>
                        <a:pt x="15" y="488"/>
                      </a:lnTo>
                      <a:lnTo>
                        <a:pt x="14" y="488"/>
                      </a:lnTo>
                      <a:lnTo>
                        <a:pt x="13" y="486"/>
                      </a:lnTo>
                      <a:lnTo>
                        <a:pt x="12" y="486"/>
                      </a:lnTo>
                      <a:lnTo>
                        <a:pt x="11" y="486"/>
                      </a:lnTo>
                      <a:lnTo>
                        <a:pt x="11" y="485"/>
                      </a:lnTo>
                      <a:lnTo>
                        <a:pt x="11" y="484"/>
                      </a:lnTo>
                      <a:lnTo>
                        <a:pt x="12" y="484"/>
                      </a:lnTo>
                      <a:lnTo>
                        <a:pt x="13" y="484"/>
                      </a:lnTo>
                      <a:lnTo>
                        <a:pt x="13" y="483"/>
                      </a:lnTo>
                      <a:lnTo>
                        <a:pt x="13" y="482"/>
                      </a:lnTo>
                      <a:lnTo>
                        <a:pt x="11" y="481"/>
                      </a:lnTo>
                      <a:lnTo>
                        <a:pt x="10" y="481"/>
                      </a:lnTo>
                      <a:lnTo>
                        <a:pt x="8" y="480"/>
                      </a:lnTo>
                      <a:lnTo>
                        <a:pt x="8" y="479"/>
                      </a:lnTo>
                      <a:lnTo>
                        <a:pt x="10" y="479"/>
                      </a:lnTo>
                      <a:lnTo>
                        <a:pt x="11" y="479"/>
                      </a:lnTo>
                      <a:lnTo>
                        <a:pt x="11" y="480"/>
                      </a:lnTo>
                      <a:lnTo>
                        <a:pt x="12" y="480"/>
                      </a:lnTo>
                      <a:lnTo>
                        <a:pt x="13" y="479"/>
                      </a:lnTo>
                      <a:lnTo>
                        <a:pt x="14" y="479"/>
                      </a:lnTo>
                      <a:lnTo>
                        <a:pt x="15" y="479"/>
                      </a:lnTo>
                      <a:lnTo>
                        <a:pt x="16" y="479"/>
                      </a:lnTo>
                      <a:lnTo>
                        <a:pt x="17" y="479"/>
                      </a:lnTo>
                      <a:lnTo>
                        <a:pt x="17" y="478"/>
                      </a:lnTo>
                      <a:lnTo>
                        <a:pt x="18" y="478"/>
                      </a:lnTo>
                      <a:lnTo>
                        <a:pt x="18" y="477"/>
                      </a:lnTo>
                      <a:lnTo>
                        <a:pt x="18" y="476"/>
                      </a:lnTo>
                      <a:lnTo>
                        <a:pt x="19" y="476"/>
                      </a:lnTo>
                      <a:lnTo>
                        <a:pt x="20" y="476"/>
                      </a:lnTo>
                      <a:lnTo>
                        <a:pt x="21" y="477"/>
                      </a:lnTo>
                      <a:lnTo>
                        <a:pt x="23" y="477"/>
                      </a:lnTo>
                      <a:lnTo>
                        <a:pt x="24" y="477"/>
                      </a:lnTo>
                      <a:lnTo>
                        <a:pt x="25" y="476"/>
                      </a:lnTo>
                      <a:lnTo>
                        <a:pt x="26" y="475"/>
                      </a:lnTo>
                      <a:lnTo>
                        <a:pt x="26" y="473"/>
                      </a:lnTo>
                      <a:lnTo>
                        <a:pt x="25" y="472"/>
                      </a:lnTo>
                      <a:lnTo>
                        <a:pt x="25" y="471"/>
                      </a:lnTo>
                      <a:lnTo>
                        <a:pt x="25" y="470"/>
                      </a:lnTo>
                      <a:lnTo>
                        <a:pt x="26" y="469"/>
                      </a:lnTo>
                      <a:lnTo>
                        <a:pt x="26" y="468"/>
                      </a:lnTo>
                      <a:lnTo>
                        <a:pt x="26" y="467"/>
                      </a:lnTo>
                      <a:lnTo>
                        <a:pt x="25" y="467"/>
                      </a:lnTo>
                      <a:lnTo>
                        <a:pt x="24" y="467"/>
                      </a:lnTo>
                      <a:lnTo>
                        <a:pt x="24" y="466"/>
                      </a:lnTo>
                      <a:lnTo>
                        <a:pt x="23" y="465"/>
                      </a:lnTo>
                      <a:lnTo>
                        <a:pt x="24" y="464"/>
                      </a:lnTo>
                      <a:lnTo>
                        <a:pt x="25" y="463"/>
                      </a:lnTo>
                      <a:lnTo>
                        <a:pt x="26" y="463"/>
                      </a:lnTo>
                      <a:lnTo>
                        <a:pt x="26" y="462"/>
                      </a:lnTo>
                      <a:lnTo>
                        <a:pt x="26" y="460"/>
                      </a:lnTo>
                      <a:lnTo>
                        <a:pt x="27" y="459"/>
                      </a:lnTo>
                      <a:lnTo>
                        <a:pt x="28" y="460"/>
                      </a:lnTo>
                      <a:lnTo>
                        <a:pt x="29" y="462"/>
                      </a:lnTo>
                      <a:lnTo>
                        <a:pt x="30" y="462"/>
                      </a:lnTo>
                      <a:lnTo>
                        <a:pt x="30" y="460"/>
                      </a:lnTo>
                      <a:lnTo>
                        <a:pt x="29" y="459"/>
                      </a:lnTo>
                      <a:lnTo>
                        <a:pt x="28" y="459"/>
                      </a:lnTo>
                      <a:lnTo>
                        <a:pt x="28" y="458"/>
                      </a:lnTo>
                      <a:lnTo>
                        <a:pt x="27" y="458"/>
                      </a:lnTo>
                      <a:lnTo>
                        <a:pt x="26" y="457"/>
                      </a:lnTo>
                      <a:lnTo>
                        <a:pt x="26" y="458"/>
                      </a:lnTo>
                      <a:lnTo>
                        <a:pt x="25" y="458"/>
                      </a:lnTo>
                      <a:lnTo>
                        <a:pt x="25" y="457"/>
                      </a:lnTo>
                      <a:lnTo>
                        <a:pt x="25" y="456"/>
                      </a:lnTo>
                      <a:lnTo>
                        <a:pt x="24" y="456"/>
                      </a:lnTo>
                      <a:lnTo>
                        <a:pt x="23" y="456"/>
                      </a:lnTo>
                      <a:lnTo>
                        <a:pt x="23" y="457"/>
                      </a:lnTo>
                      <a:lnTo>
                        <a:pt x="21" y="457"/>
                      </a:lnTo>
                      <a:lnTo>
                        <a:pt x="20" y="457"/>
                      </a:lnTo>
                      <a:lnTo>
                        <a:pt x="19" y="457"/>
                      </a:lnTo>
                      <a:lnTo>
                        <a:pt x="18" y="457"/>
                      </a:lnTo>
                      <a:lnTo>
                        <a:pt x="18" y="456"/>
                      </a:lnTo>
                      <a:lnTo>
                        <a:pt x="17" y="456"/>
                      </a:lnTo>
                      <a:lnTo>
                        <a:pt x="16" y="456"/>
                      </a:lnTo>
                      <a:lnTo>
                        <a:pt x="16" y="455"/>
                      </a:lnTo>
                      <a:lnTo>
                        <a:pt x="16" y="454"/>
                      </a:lnTo>
                      <a:lnTo>
                        <a:pt x="15" y="454"/>
                      </a:lnTo>
                      <a:lnTo>
                        <a:pt x="14" y="453"/>
                      </a:lnTo>
                      <a:lnTo>
                        <a:pt x="13" y="453"/>
                      </a:lnTo>
                      <a:lnTo>
                        <a:pt x="13" y="452"/>
                      </a:lnTo>
                      <a:lnTo>
                        <a:pt x="13" y="451"/>
                      </a:lnTo>
                      <a:lnTo>
                        <a:pt x="12" y="451"/>
                      </a:lnTo>
                      <a:lnTo>
                        <a:pt x="11" y="451"/>
                      </a:lnTo>
                      <a:lnTo>
                        <a:pt x="11" y="450"/>
                      </a:lnTo>
                      <a:lnTo>
                        <a:pt x="12" y="450"/>
                      </a:lnTo>
                      <a:lnTo>
                        <a:pt x="12" y="449"/>
                      </a:lnTo>
                      <a:lnTo>
                        <a:pt x="12" y="446"/>
                      </a:lnTo>
                      <a:lnTo>
                        <a:pt x="11" y="445"/>
                      </a:lnTo>
                      <a:lnTo>
                        <a:pt x="11" y="444"/>
                      </a:lnTo>
                      <a:lnTo>
                        <a:pt x="10" y="444"/>
                      </a:lnTo>
                      <a:lnTo>
                        <a:pt x="10" y="443"/>
                      </a:lnTo>
                      <a:lnTo>
                        <a:pt x="8" y="443"/>
                      </a:lnTo>
                      <a:lnTo>
                        <a:pt x="7" y="442"/>
                      </a:lnTo>
                      <a:lnTo>
                        <a:pt x="6" y="442"/>
                      </a:lnTo>
                      <a:lnTo>
                        <a:pt x="6" y="441"/>
                      </a:lnTo>
                      <a:lnTo>
                        <a:pt x="7" y="441"/>
                      </a:lnTo>
                      <a:lnTo>
                        <a:pt x="7" y="440"/>
                      </a:lnTo>
                      <a:lnTo>
                        <a:pt x="7" y="439"/>
                      </a:lnTo>
                      <a:lnTo>
                        <a:pt x="6" y="439"/>
                      </a:lnTo>
                      <a:lnTo>
                        <a:pt x="6" y="440"/>
                      </a:lnTo>
                      <a:lnTo>
                        <a:pt x="5" y="441"/>
                      </a:lnTo>
                      <a:lnTo>
                        <a:pt x="4" y="440"/>
                      </a:lnTo>
                      <a:lnTo>
                        <a:pt x="4" y="439"/>
                      </a:lnTo>
                      <a:lnTo>
                        <a:pt x="5" y="439"/>
                      </a:lnTo>
                      <a:lnTo>
                        <a:pt x="5" y="440"/>
                      </a:lnTo>
                      <a:lnTo>
                        <a:pt x="6" y="439"/>
                      </a:lnTo>
                      <a:lnTo>
                        <a:pt x="5" y="438"/>
                      </a:lnTo>
                      <a:lnTo>
                        <a:pt x="5" y="439"/>
                      </a:lnTo>
                      <a:lnTo>
                        <a:pt x="4" y="438"/>
                      </a:lnTo>
                      <a:lnTo>
                        <a:pt x="5" y="437"/>
                      </a:lnTo>
                      <a:lnTo>
                        <a:pt x="5" y="436"/>
                      </a:lnTo>
                      <a:lnTo>
                        <a:pt x="5" y="433"/>
                      </a:lnTo>
                      <a:lnTo>
                        <a:pt x="4" y="433"/>
                      </a:lnTo>
                      <a:lnTo>
                        <a:pt x="5" y="433"/>
                      </a:lnTo>
                      <a:lnTo>
                        <a:pt x="6" y="433"/>
                      </a:lnTo>
                      <a:lnTo>
                        <a:pt x="6" y="432"/>
                      </a:lnTo>
                      <a:lnTo>
                        <a:pt x="5" y="431"/>
                      </a:lnTo>
                      <a:lnTo>
                        <a:pt x="5" y="430"/>
                      </a:lnTo>
                      <a:lnTo>
                        <a:pt x="4" y="430"/>
                      </a:lnTo>
                      <a:lnTo>
                        <a:pt x="4" y="429"/>
                      </a:lnTo>
                      <a:lnTo>
                        <a:pt x="4" y="428"/>
                      </a:lnTo>
                      <a:lnTo>
                        <a:pt x="5" y="428"/>
                      </a:lnTo>
                      <a:lnTo>
                        <a:pt x="6" y="428"/>
                      </a:lnTo>
                      <a:lnTo>
                        <a:pt x="6" y="427"/>
                      </a:lnTo>
                      <a:lnTo>
                        <a:pt x="5" y="427"/>
                      </a:lnTo>
                      <a:lnTo>
                        <a:pt x="5" y="426"/>
                      </a:lnTo>
                      <a:lnTo>
                        <a:pt x="6" y="426"/>
                      </a:lnTo>
                      <a:lnTo>
                        <a:pt x="6" y="425"/>
                      </a:lnTo>
                      <a:lnTo>
                        <a:pt x="6" y="424"/>
                      </a:lnTo>
                      <a:lnTo>
                        <a:pt x="5" y="424"/>
                      </a:lnTo>
                      <a:lnTo>
                        <a:pt x="4" y="424"/>
                      </a:lnTo>
                      <a:lnTo>
                        <a:pt x="4" y="423"/>
                      </a:lnTo>
                      <a:lnTo>
                        <a:pt x="4" y="421"/>
                      </a:lnTo>
                      <a:lnTo>
                        <a:pt x="3" y="421"/>
                      </a:lnTo>
                      <a:lnTo>
                        <a:pt x="3" y="420"/>
                      </a:lnTo>
                      <a:lnTo>
                        <a:pt x="4" y="420"/>
                      </a:lnTo>
                      <a:lnTo>
                        <a:pt x="5" y="420"/>
                      </a:lnTo>
                      <a:lnTo>
                        <a:pt x="5" y="419"/>
                      </a:lnTo>
                      <a:lnTo>
                        <a:pt x="5" y="418"/>
                      </a:lnTo>
                      <a:lnTo>
                        <a:pt x="5" y="417"/>
                      </a:lnTo>
                      <a:lnTo>
                        <a:pt x="4" y="417"/>
                      </a:lnTo>
                      <a:lnTo>
                        <a:pt x="3" y="416"/>
                      </a:lnTo>
                      <a:lnTo>
                        <a:pt x="3" y="415"/>
                      </a:lnTo>
                      <a:lnTo>
                        <a:pt x="4" y="415"/>
                      </a:lnTo>
                      <a:lnTo>
                        <a:pt x="5" y="415"/>
                      </a:lnTo>
                      <a:lnTo>
                        <a:pt x="5" y="414"/>
                      </a:lnTo>
                      <a:lnTo>
                        <a:pt x="5" y="413"/>
                      </a:lnTo>
                      <a:lnTo>
                        <a:pt x="5" y="412"/>
                      </a:lnTo>
                      <a:lnTo>
                        <a:pt x="4" y="412"/>
                      </a:lnTo>
                      <a:lnTo>
                        <a:pt x="4" y="411"/>
                      </a:lnTo>
                      <a:lnTo>
                        <a:pt x="4" y="410"/>
                      </a:lnTo>
                      <a:lnTo>
                        <a:pt x="4" y="408"/>
                      </a:lnTo>
                      <a:lnTo>
                        <a:pt x="5" y="408"/>
                      </a:lnTo>
                      <a:lnTo>
                        <a:pt x="5" y="410"/>
                      </a:lnTo>
                      <a:lnTo>
                        <a:pt x="6" y="408"/>
                      </a:lnTo>
                      <a:lnTo>
                        <a:pt x="6" y="407"/>
                      </a:lnTo>
                      <a:lnTo>
                        <a:pt x="5" y="407"/>
                      </a:lnTo>
                      <a:lnTo>
                        <a:pt x="5" y="406"/>
                      </a:lnTo>
                      <a:lnTo>
                        <a:pt x="6" y="406"/>
                      </a:lnTo>
                      <a:lnTo>
                        <a:pt x="6" y="405"/>
                      </a:lnTo>
                      <a:lnTo>
                        <a:pt x="5" y="405"/>
                      </a:lnTo>
                      <a:lnTo>
                        <a:pt x="5" y="406"/>
                      </a:lnTo>
                      <a:lnTo>
                        <a:pt x="4" y="406"/>
                      </a:lnTo>
                      <a:lnTo>
                        <a:pt x="4" y="405"/>
                      </a:lnTo>
                      <a:lnTo>
                        <a:pt x="5" y="405"/>
                      </a:lnTo>
                      <a:lnTo>
                        <a:pt x="5" y="404"/>
                      </a:lnTo>
                      <a:lnTo>
                        <a:pt x="4" y="403"/>
                      </a:lnTo>
                      <a:lnTo>
                        <a:pt x="5" y="402"/>
                      </a:lnTo>
                      <a:lnTo>
                        <a:pt x="4" y="402"/>
                      </a:lnTo>
                      <a:lnTo>
                        <a:pt x="3" y="402"/>
                      </a:lnTo>
                      <a:lnTo>
                        <a:pt x="3" y="401"/>
                      </a:lnTo>
                      <a:lnTo>
                        <a:pt x="2" y="401"/>
                      </a:lnTo>
                      <a:lnTo>
                        <a:pt x="3" y="400"/>
                      </a:lnTo>
                      <a:lnTo>
                        <a:pt x="3" y="401"/>
                      </a:lnTo>
                      <a:lnTo>
                        <a:pt x="4" y="401"/>
                      </a:lnTo>
                      <a:lnTo>
                        <a:pt x="5" y="400"/>
                      </a:lnTo>
                      <a:lnTo>
                        <a:pt x="4" y="398"/>
                      </a:lnTo>
                      <a:lnTo>
                        <a:pt x="3" y="398"/>
                      </a:lnTo>
                      <a:lnTo>
                        <a:pt x="5" y="398"/>
                      </a:lnTo>
                      <a:lnTo>
                        <a:pt x="5" y="396"/>
                      </a:lnTo>
                      <a:lnTo>
                        <a:pt x="5" y="395"/>
                      </a:lnTo>
                      <a:lnTo>
                        <a:pt x="5" y="396"/>
                      </a:lnTo>
                      <a:lnTo>
                        <a:pt x="4" y="396"/>
                      </a:lnTo>
                      <a:lnTo>
                        <a:pt x="4" y="395"/>
                      </a:lnTo>
                      <a:lnTo>
                        <a:pt x="4" y="394"/>
                      </a:lnTo>
                      <a:lnTo>
                        <a:pt x="4" y="393"/>
                      </a:lnTo>
                      <a:lnTo>
                        <a:pt x="3" y="393"/>
                      </a:lnTo>
                      <a:lnTo>
                        <a:pt x="3" y="392"/>
                      </a:lnTo>
                      <a:lnTo>
                        <a:pt x="4" y="392"/>
                      </a:lnTo>
                      <a:lnTo>
                        <a:pt x="3" y="391"/>
                      </a:lnTo>
                      <a:lnTo>
                        <a:pt x="3" y="390"/>
                      </a:lnTo>
                      <a:lnTo>
                        <a:pt x="4" y="390"/>
                      </a:lnTo>
                      <a:lnTo>
                        <a:pt x="5" y="390"/>
                      </a:lnTo>
                      <a:lnTo>
                        <a:pt x="4" y="389"/>
                      </a:lnTo>
                      <a:lnTo>
                        <a:pt x="5" y="388"/>
                      </a:lnTo>
                      <a:lnTo>
                        <a:pt x="5" y="387"/>
                      </a:lnTo>
                      <a:lnTo>
                        <a:pt x="6" y="387"/>
                      </a:lnTo>
                      <a:lnTo>
                        <a:pt x="6" y="386"/>
                      </a:lnTo>
                      <a:lnTo>
                        <a:pt x="5" y="386"/>
                      </a:lnTo>
                      <a:lnTo>
                        <a:pt x="4" y="386"/>
                      </a:lnTo>
                      <a:lnTo>
                        <a:pt x="4" y="385"/>
                      </a:lnTo>
                      <a:lnTo>
                        <a:pt x="5" y="385"/>
                      </a:lnTo>
                      <a:lnTo>
                        <a:pt x="6" y="386"/>
                      </a:lnTo>
                      <a:lnTo>
                        <a:pt x="7" y="385"/>
                      </a:lnTo>
                      <a:lnTo>
                        <a:pt x="6" y="385"/>
                      </a:lnTo>
                      <a:lnTo>
                        <a:pt x="5" y="383"/>
                      </a:lnTo>
                      <a:lnTo>
                        <a:pt x="4" y="383"/>
                      </a:lnTo>
                      <a:lnTo>
                        <a:pt x="4" y="382"/>
                      </a:lnTo>
                      <a:lnTo>
                        <a:pt x="4" y="381"/>
                      </a:lnTo>
                      <a:lnTo>
                        <a:pt x="3" y="381"/>
                      </a:lnTo>
                      <a:lnTo>
                        <a:pt x="3" y="380"/>
                      </a:lnTo>
                      <a:lnTo>
                        <a:pt x="3" y="379"/>
                      </a:lnTo>
                      <a:lnTo>
                        <a:pt x="1" y="380"/>
                      </a:lnTo>
                      <a:lnTo>
                        <a:pt x="1" y="379"/>
                      </a:lnTo>
                      <a:lnTo>
                        <a:pt x="0" y="379"/>
                      </a:lnTo>
                      <a:lnTo>
                        <a:pt x="1" y="378"/>
                      </a:lnTo>
                      <a:lnTo>
                        <a:pt x="2" y="378"/>
                      </a:lnTo>
                      <a:lnTo>
                        <a:pt x="3" y="377"/>
                      </a:lnTo>
                      <a:lnTo>
                        <a:pt x="3" y="376"/>
                      </a:lnTo>
                      <a:lnTo>
                        <a:pt x="4" y="377"/>
                      </a:lnTo>
                      <a:lnTo>
                        <a:pt x="5" y="377"/>
                      </a:lnTo>
                      <a:lnTo>
                        <a:pt x="6" y="376"/>
                      </a:lnTo>
                      <a:lnTo>
                        <a:pt x="6" y="375"/>
                      </a:lnTo>
                      <a:lnTo>
                        <a:pt x="6" y="374"/>
                      </a:lnTo>
                      <a:lnTo>
                        <a:pt x="5" y="374"/>
                      </a:lnTo>
                      <a:lnTo>
                        <a:pt x="5" y="375"/>
                      </a:lnTo>
                      <a:lnTo>
                        <a:pt x="3" y="375"/>
                      </a:lnTo>
                      <a:lnTo>
                        <a:pt x="4" y="375"/>
                      </a:lnTo>
                      <a:lnTo>
                        <a:pt x="4" y="374"/>
                      </a:lnTo>
                      <a:lnTo>
                        <a:pt x="4" y="373"/>
                      </a:lnTo>
                      <a:lnTo>
                        <a:pt x="4" y="372"/>
                      </a:lnTo>
                      <a:lnTo>
                        <a:pt x="5" y="370"/>
                      </a:lnTo>
                      <a:lnTo>
                        <a:pt x="6" y="370"/>
                      </a:lnTo>
                      <a:lnTo>
                        <a:pt x="6" y="369"/>
                      </a:lnTo>
                      <a:lnTo>
                        <a:pt x="7" y="370"/>
                      </a:lnTo>
                      <a:lnTo>
                        <a:pt x="7" y="369"/>
                      </a:lnTo>
                      <a:lnTo>
                        <a:pt x="8" y="369"/>
                      </a:lnTo>
                      <a:lnTo>
                        <a:pt x="8" y="368"/>
                      </a:lnTo>
                      <a:lnTo>
                        <a:pt x="8" y="367"/>
                      </a:lnTo>
                      <a:lnTo>
                        <a:pt x="7" y="367"/>
                      </a:lnTo>
                      <a:lnTo>
                        <a:pt x="7" y="366"/>
                      </a:lnTo>
                      <a:lnTo>
                        <a:pt x="8" y="366"/>
                      </a:lnTo>
                      <a:lnTo>
                        <a:pt x="8" y="365"/>
                      </a:lnTo>
                      <a:lnTo>
                        <a:pt x="7" y="365"/>
                      </a:lnTo>
                      <a:lnTo>
                        <a:pt x="7" y="364"/>
                      </a:lnTo>
                      <a:lnTo>
                        <a:pt x="7" y="363"/>
                      </a:lnTo>
                      <a:lnTo>
                        <a:pt x="8" y="363"/>
                      </a:lnTo>
                      <a:lnTo>
                        <a:pt x="8" y="362"/>
                      </a:lnTo>
                      <a:lnTo>
                        <a:pt x="7" y="362"/>
                      </a:lnTo>
                      <a:lnTo>
                        <a:pt x="6" y="362"/>
                      </a:lnTo>
                      <a:lnTo>
                        <a:pt x="6" y="361"/>
                      </a:lnTo>
                      <a:lnTo>
                        <a:pt x="4" y="360"/>
                      </a:lnTo>
                      <a:lnTo>
                        <a:pt x="5" y="360"/>
                      </a:lnTo>
                      <a:lnTo>
                        <a:pt x="4" y="359"/>
                      </a:lnTo>
                      <a:lnTo>
                        <a:pt x="3" y="359"/>
                      </a:lnTo>
                      <a:lnTo>
                        <a:pt x="4" y="359"/>
                      </a:lnTo>
                      <a:lnTo>
                        <a:pt x="4" y="357"/>
                      </a:lnTo>
                      <a:lnTo>
                        <a:pt x="3" y="357"/>
                      </a:lnTo>
                      <a:lnTo>
                        <a:pt x="3" y="356"/>
                      </a:lnTo>
                      <a:lnTo>
                        <a:pt x="4" y="356"/>
                      </a:lnTo>
                      <a:lnTo>
                        <a:pt x="4" y="355"/>
                      </a:lnTo>
                      <a:lnTo>
                        <a:pt x="3" y="355"/>
                      </a:lnTo>
                      <a:lnTo>
                        <a:pt x="3" y="354"/>
                      </a:lnTo>
                      <a:lnTo>
                        <a:pt x="4" y="354"/>
                      </a:lnTo>
                      <a:lnTo>
                        <a:pt x="4" y="353"/>
                      </a:lnTo>
                      <a:lnTo>
                        <a:pt x="3" y="352"/>
                      </a:lnTo>
                      <a:lnTo>
                        <a:pt x="4" y="352"/>
                      </a:lnTo>
                      <a:lnTo>
                        <a:pt x="4" y="353"/>
                      </a:lnTo>
                      <a:lnTo>
                        <a:pt x="5" y="352"/>
                      </a:lnTo>
                      <a:lnTo>
                        <a:pt x="5" y="351"/>
                      </a:lnTo>
                      <a:lnTo>
                        <a:pt x="4" y="351"/>
                      </a:lnTo>
                      <a:lnTo>
                        <a:pt x="3" y="351"/>
                      </a:lnTo>
                      <a:lnTo>
                        <a:pt x="3" y="350"/>
                      </a:lnTo>
                      <a:lnTo>
                        <a:pt x="4" y="349"/>
                      </a:lnTo>
                      <a:lnTo>
                        <a:pt x="4" y="348"/>
                      </a:lnTo>
                      <a:lnTo>
                        <a:pt x="3" y="348"/>
                      </a:lnTo>
                      <a:lnTo>
                        <a:pt x="3" y="349"/>
                      </a:lnTo>
                      <a:lnTo>
                        <a:pt x="3" y="348"/>
                      </a:lnTo>
                      <a:lnTo>
                        <a:pt x="2" y="347"/>
                      </a:lnTo>
                      <a:lnTo>
                        <a:pt x="3" y="347"/>
                      </a:lnTo>
                      <a:lnTo>
                        <a:pt x="3" y="346"/>
                      </a:lnTo>
                      <a:lnTo>
                        <a:pt x="4" y="346"/>
                      </a:lnTo>
                      <a:lnTo>
                        <a:pt x="4" y="344"/>
                      </a:lnTo>
                      <a:lnTo>
                        <a:pt x="4" y="343"/>
                      </a:lnTo>
                      <a:lnTo>
                        <a:pt x="4" y="344"/>
                      </a:lnTo>
                      <a:lnTo>
                        <a:pt x="4" y="343"/>
                      </a:lnTo>
                      <a:lnTo>
                        <a:pt x="5" y="343"/>
                      </a:lnTo>
                      <a:lnTo>
                        <a:pt x="5" y="342"/>
                      </a:lnTo>
                      <a:lnTo>
                        <a:pt x="4" y="342"/>
                      </a:lnTo>
                      <a:lnTo>
                        <a:pt x="3" y="342"/>
                      </a:lnTo>
                      <a:lnTo>
                        <a:pt x="3" y="341"/>
                      </a:lnTo>
                      <a:lnTo>
                        <a:pt x="2" y="341"/>
                      </a:lnTo>
                      <a:lnTo>
                        <a:pt x="2" y="340"/>
                      </a:lnTo>
                      <a:lnTo>
                        <a:pt x="2" y="339"/>
                      </a:lnTo>
                      <a:lnTo>
                        <a:pt x="1" y="338"/>
                      </a:lnTo>
                      <a:lnTo>
                        <a:pt x="2" y="338"/>
                      </a:lnTo>
                      <a:lnTo>
                        <a:pt x="2" y="337"/>
                      </a:lnTo>
                      <a:lnTo>
                        <a:pt x="3" y="337"/>
                      </a:lnTo>
                      <a:lnTo>
                        <a:pt x="3" y="336"/>
                      </a:lnTo>
                      <a:lnTo>
                        <a:pt x="2" y="336"/>
                      </a:lnTo>
                      <a:lnTo>
                        <a:pt x="2" y="335"/>
                      </a:lnTo>
                      <a:lnTo>
                        <a:pt x="3" y="335"/>
                      </a:lnTo>
                      <a:lnTo>
                        <a:pt x="3" y="334"/>
                      </a:lnTo>
                      <a:lnTo>
                        <a:pt x="4" y="334"/>
                      </a:lnTo>
                      <a:lnTo>
                        <a:pt x="4" y="333"/>
                      </a:lnTo>
                      <a:lnTo>
                        <a:pt x="5" y="333"/>
                      </a:lnTo>
                      <a:lnTo>
                        <a:pt x="6" y="333"/>
                      </a:lnTo>
                      <a:lnTo>
                        <a:pt x="7" y="333"/>
                      </a:lnTo>
                      <a:lnTo>
                        <a:pt x="7" y="331"/>
                      </a:lnTo>
                      <a:lnTo>
                        <a:pt x="6" y="330"/>
                      </a:lnTo>
                      <a:lnTo>
                        <a:pt x="7" y="330"/>
                      </a:lnTo>
                      <a:lnTo>
                        <a:pt x="7" y="329"/>
                      </a:lnTo>
                      <a:lnTo>
                        <a:pt x="8" y="329"/>
                      </a:lnTo>
                      <a:lnTo>
                        <a:pt x="8" y="330"/>
                      </a:lnTo>
                      <a:lnTo>
                        <a:pt x="8" y="329"/>
                      </a:lnTo>
                      <a:lnTo>
                        <a:pt x="10" y="329"/>
                      </a:lnTo>
                      <a:lnTo>
                        <a:pt x="10" y="330"/>
                      </a:lnTo>
                      <a:lnTo>
                        <a:pt x="11" y="330"/>
                      </a:lnTo>
                      <a:lnTo>
                        <a:pt x="11" y="329"/>
                      </a:lnTo>
                      <a:lnTo>
                        <a:pt x="11" y="328"/>
                      </a:lnTo>
                      <a:lnTo>
                        <a:pt x="12" y="328"/>
                      </a:lnTo>
                      <a:lnTo>
                        <a:pt x="13" y="328"/>
                      </a:lnTo>
                      <a:lnTo>
                        <a:pt x="13" y="329"/>
                      </a:lnTo>
                      <a:lnTo>
                        <a:pt x="14" y="329"/>
                      </a:lnTo>
                      <a:lnTo>
                        <a:pt x="14" y="330"/>
                      </a:lnTo>
                      <a:lnTo>
                        <a:pt x="15" y="329"/>
                      </a:lnTo>
                      <a:lnTo>
                        <a:pt x="16" y="329"/>
                      </a:lnTo>
                      <a:lnTo>
                        <a:pt x="16" y="328"/>
                      </a:lnTo>
                      <a:lnTo>
                        <a:pt x="16" y="327"/>
                      </a:lnTo>
                      <a:lnTo>
                        <a:pt x="17" y="327"/>
                      </a:lnTo>
                      <a:lnTo>
                        <a:pt x="17" y="326"/>
                      </a:lnTo>
                      <a:lnTo>
                        <a:pt x="18" y="325"/>
                      </a:lnTo>
                      <a:lnTo>
                        <a:pt x="18" y="324"/>
                      </a:lnTo>
                      <a:lnTo>
                        <a:pt x="17" y="324"/>
                      </a:lnTo>
                      <a:lnTo>
                        <a:pt x="16" y="324"/>
                      </a:lnTo>
                      <a:lnTo>
                        <a:pt x="17" y="324"/>
                      </a:lnTo>
                      <a:lnTo>
                        <a:pt x="17" y="323"/>
                      </a:lnTo>
                      <a:lnTo>
                        <a:pt x="16" y="323"/>
                      </a:lnTo>
                      <a:lnTo>
                        <a:pt x="17" y="321"/>
                      </a:lnTo>
                      <a:lnTo>
                        <a:pt x="17" y="322"/>
                      </a:lnTo>
                      <a:lnTo>
                        <a:pt x="17" y="321"/>
                      </a:lnTo>
                      <a:lnTo>
                        <a:pt x="18" y="321"/>
                      </a:lnTo>
                      <a:lnTo>
                        <a:pt x="19" y="321"/>
                      </a:lnTo>
                      <a:lnTo>
                        <a:pt x="18" y="321"/>
                      </a:lnTo>
                      <a:lnTo>
                        <a:pt x="17" y="319"/>
                      </a:lnTo>
                      <a:lnTo>
                        <a:pt x="18" y="319"/>
                      </a:lnTo>
                      <a:lnTo>
                        <a:pt x="18" y="318"/>
                      </a:lnTo>
                      <a:lnTo>
                        <a:pt x="17" y="318"/>
                      </a:lnTo>
                      <a:lnTo>
                        <a:pt x="17" y="317"/>
                      </a:lnTo>
                      <a:lnTo>
                        <a:pt x="17" y="316"/>
                      </a:lnTo>
                      <a:lnTo>
                        <a:pt x="17" y="315"/>
                      </a:lnTo>
                      <a:lnTo>
                        <a:pt x="18" y="315"/>
                      </a:lnTo>
                      <a:lnTo>
                        <a:pt x="19" y="315"/>
                      </a:lnTo>
                      <a:lnTo>
                        <a:pt x="18" y="314"/>
                      </a:lnTo>
                      <a:lnTo>
                        <a:pt x="17" y="315"/>
                      </a:lnTo>
                      <a:lnTo>
                        <a:pt x="16" y="314"/>
                      </a:lnTo>
                      <a:lnTo>
                        <a:pt x="17" y="314"/>
                      </a:lnTo>
                      <a:lnTo>
                        <a:pt x="17" y="313"/>
                      </a:lnTo>
                      <a:lnTo>
                        <a:pt x="17" y="312"/>
                      </a:lnTo>
                      <a:lnTo>
                        <a:pt x="17" y="311"/>
                      </a:lnTo>
                      <a:lnTo>
                        <a:pt x="18" y="312"/>
                      </a:lnTo>
                      <a:lnTo>
                        <a:pt x="18" y="311"/>
                      </a:lnTo>
                      <a:lnTo>
                        <a:pt x="19" y="310"/>
                      </a:lnTo>
                      <a:lnTo>
                        <a:pt x="19" y="309"/>
                      </a:lnTo>
                      <a:lnTo>
                        <a:pt x="18" y="309"/>
                      </a:lnTo>
                      <a:lnTo>
                        <a:pt x="19" y="309"/>
                      </a:lnTo>
                      <a:lnTo>
                        <a:pt x="20" y="309"/>
                      </a:lnTo>
                      <a:lnTo>
                        <a:pt x="20" y="308"/>
                      </a:lnTo>
                      <a:lnTo>
                        <a:pt x="19" y="308"/>
                      </a:lnTo>
                      <a:lnTo>
                        <a:pt x="19" y="306"/>
                      </a:lnTo>
                      <a:lnTo>
                        <a:pt x="21" y="305"/>
                      </a:lnTo>
                      <a:lnTo>
                        <a:pt x="23" y="305"/>
                      </a:lnTo>
                      <a:lnTo>
                        <a:pt x="23" y="306"/>
                      </a:lnTo>
                      <a:lnTo>
                        <a:pt x="24" y="306"/>
                      </a:lnTo>
                      <a:lnTo>
                        <a:pt x="24" y="305"/>
                      </a:lnTo>
                      <a:lnTo>
                        <a:pt x="23" y="304"/>
                      </a:lnTo>
                      <a:lnTo>
                        <a:pt x="21" y="304"/>
                      </a:lnTo>
                      <a:lnTo>
                        <a:pt x="21" y="303"/>
                      </a:lnTo>
                      <a:lnTo>
                        <a:pt x="21" y="302"/>
                      </a:lnTo>
                      <a:lnTo>
                        <a:pt x="21" y="301"/>
                      </a:lnTo>
                      <a:lnTo>
                        <a:pt x="21" y="300"/>
                      </a:lnTo>
                      <a:lnTo>
                        <a:pt x="21" y="299"/>
                      </a:lnTo>
                      <a:lnTo>
                        <a:pt x="20" y="299"/>
                      </a:lnTo>
                      <a:lnTo>
                        <a:pt x="20" y="300"/>
                      </a:lnTo>
                      <a:lnTo>
                        <a:pt x="20" y="299"/>
                      </a:lnTo>
                      <a:lnTo>
                        <a:pt x="20" y="298"/>
                      </a:lnTo>
                      <a:lnTo>
                        <a:pt x="19" y="298"/>
                      </a:lnTo>
                      <a:lnTo>
                        <a:pt x="19" y="297"/>
                      </a:lnTo>
                      <a:lnTo>
                        <a:pt x="20" y="297"/>
                      </a:lnTo>
                      <a:lnTo>
                        <a:pt x="19" y="296"/>
                      </a:lnTo>
                      <a:lnTo>
                        <a:pt x="18" y="296"/>
                      </a:lnTo>
                      <a:lnTo>
                        <a:pt x="18" y="295"/>
                      </a:lnTo>
                      <a:lnTo>
                        <a:pt x="18" y="293"/>
                      </a:lnTo>
                      <a:lnTo>
                        <a:pt x="19" y="293"/>
                      </a:lnTo>
                      <a:lnTo>
                        <a:pt x="19" y="292"/>
                      </a:lnTo>
                      <a:lnTo>
                        <a:pt x="18" y="292"/>
                      </a:lnTo>
                      <a:lnTo>
                        <a:pt x="18" y="291"/>
                      </a:lnTo>
                      <a:lnTo>
                        <a:pt x="17" y="291"/>
                      </a:lnTo>
                      <a:lnTo>
                        <a:pt x="16" y="291"/>
                      </a:lnTo>
                      <a:lnTo>
                        <a:pt x="15" y="291"/>
                      </a:lnTo>
                      <a:lnTo>
                        <a:pt x="15" y="290"/>
                      </a:lnTo>
                      <a:lnTo>
                        <a:pt x="15" y="289"/>
                      </a:lnTo>
                      <a:lnTo>
                        <a:pt x="15" y="288"/>
                      </a:lnTo>
                      <a:lnTo>
                        <a:pt x="14" y="288"/>
                      </a:lnTo>
                      <a:lnTo>
                        <a:pt x="14" y="287"/>
                      </a:lnTo>
                      <a:lnTo>
                        <a:pt x="14" y="286"/>
                      </a:lnTo>
                      <a:lnTo>
                        <a:pt x="14" y="287"/>
                      </a:lnTo>
                      <a:lnTo>
                        <a:pt x="13" y="286"/>
                      </a:lnTo>
                      <a:lnTo>
                        <a:pt x="13" y="285"/>
                      </a:lnTo>
                      <a:lnTo>
                        <a:pt x="13" y="284"/>
                      </a:lnTo>
                      <a:lnTo>
                        <a:pt x="12" y="284"/>
                      </a:lnTo>
                      <a:lnTo>
                        <a:pt x="11" y="285"/>
                      </a:lnTo>
                      <a:lnTo>
                        <a:pt x="11" y="284"/>
                      </a:lnTo>
                      <a:lnTo>
                        <a:pt x="11" y="283"/>
                      </a:lnTo>
                      <a:lnTo>
                        <a:pt x="10" y="283"/>
                      </a:lnTo>
                      <a:lnTo>
                        <a:pt x="8" y="283"/>
                      </a:lnTo>
                      <a:lnTo>
                        <a:pt x="8" y="282"/>
                      </a:lnTo>
                      <a:lnTo>
                        <a:pt x="7" y="282"/>
                      </a:lnTo>
                      <a:lnTo>
                        <a:pt x="8" y="282"/>
                      </a:lnTo>
                      <a:lnTo>
                        <a:pt x="8" y="280"/>
                      </a:lnTo>
                      <a:lnTo>
                        <a:pt x="7" y="280"/>
                      </a:lnTo>
                      <a:lnTo>
                        <a:pt x="7" y="279"/>
                      </a:lnTo>
                      <a:lnTo>
                        <a:pt x="6" y="279"/>
                      </a:lnTo>
                      <a:lnTo>
                        <a:pt x="6" y="278"/>
                      </a:lnTo>
                      <a:lnTo>
                        <a:pt x="7" y="278"/>
                      </a:lnTo>
                      <a:lnTo>
                        <a:pt x="6" y="278"/>
                      </a:lnTo>
                      <a:lnTo>
                        <a:pt x="6" y="277"/>
                      </a:lnTo>
                      <a:lnTo>
                        <a:pt x="5" y="277"/>
                      </a:lnTo>
                      <a:lnTo>
                        <a:pt x="5" y="276"/>
                      </a:lnTo>
                      <a:lnTo>
                        <a:pt x="5" y="275"/>
                      </a:lnTo>
                      <a:lnTo>
                        <a:pt x="6" y="276"/>
                      </a:lnTo>
                      <a:lnTo>
                        <a:pt x="7" y="274"/>
                      </a:lnTo>
                      <a:lnTo>
                        <a:pt x="6" y="274"/>
                      </a:lnTo>
                      <a:lnTo>
                        <a:pt x="5" y="273"/>
                      </a:lnTo>
                      <a:lnTo>
                        <a:pt x="4" y="273"/>
                      </a:lnTo>
                      <a:lnTo>
                        <a:pt x="4" y="272"/>
                      </a:lnTo>
                      <a:lnTo>
                        <a:pt x="4" y="271"/>
                      </a:lnTo>
                      <a:lnTo>
                        <a:pt x="4" y="270"/>
                      </a:lnTo>
                      <a:lnTo>
                        <a:pt x="3" y="270"/>
                      </a:lnTo>
                      <a:lnTo>
                        <a:pt x="3" y="269"/>
                      </a:lnTo>
                      <a:lnTo>
                        <a:pt x="4" y="269"/>
                      </a:lnTo>
                      <a:lnTo>
                        <a:pt x="4" y="267"/>
                      </a:lnTo>
                      <a:lnTo>
                        <a:pt x="3" y="267"/>
                      </a:lnTo>
                      <a:lnTo>
                        <a:pt x="3" y="266"/>
                      </a:lnTo>
                      <a:lnTo>
                        <a:pt x="1" y="266"/>
                      </a:lnTo>
                      <a:lnTo>
                        <a:pt x="2" y="265"/>
                      </a:lnTo>
                      <a:lnTo>
                        <a:pt x="1" y="264"/>
                      </a:lnTo>
                      <a:lnTo>
                        <a:pt x="1" y="263"/>
                      </a:lnTo>
                      <a:lnTo>
                        <a:pt x="1" y="262"/>
                      </a:lnTo>
                      <a:lnTo>
                        <a:pt x="2" y="262"/>
                      </a:lnTo>
                      <a:lnTo>
                        <a:pt x="3" y="262"/>
                      </a:lnTo>
                      <a:lnTo>
                        <a:pt x="7" y="262"/>
                      </a:lnTo>
                      <a:lnTo>
                        <a:pt x="8" y="262"/>
                      </a:lnTo>
                      <a:lnTo>
                        <a:pt x="28" y="262"/>
                      </a:lnTo>
                      <a:lnTo>
                        <a:pt x="31" y="262"/>
                      </a:lnTo>
                      <a:lnTo>
                        <a:pt x="65" y="263"/>
                      </a:lnTo>
                      <a:lnTo>
                        <a:pt x="80" y="263"/>
                      </a:lnTo>
                      <a:lnTo>
                        <a:pt x="81" y="262"/>
                      </a:lnTo>
                      <a:lnTo>
                        <a:pt x="85" y="263"/>
                      </a:lnTo>
                      <a:close/>
                      <a:moveTo>
                        <a:pt x="939" y="815"/>
                      </a:moveTo>
                      <a:lnTo>
                        <a:pt x="931" y="813"/>
                      </a:lnTo>
                      <a:lnTo>
                        <a:pt x="923" y="804"/>
                      </a:lnTo>
                      <a:lnTo>
                        <a:pt x="918" y="798"/>
                      </a:lnTo>
                      <a:lnTo>
                        <a:pt x="902" y="799"/>
                      </a:lnTo>
                      <a:lnTo>
                        <a:pt x="890" y="796"/>
                      </a:lnTo>
                      <a:lnTo>
                        <a:pt x="889" y="796"/>
                      </a:lnTo>
                      <a:lnTo>
                        <a:pt x="889" y="794"/>
                      </a:lnTo>
                      <a:lnTo>
                        <a:pt x="887" y="793"/>
                      </a:lnTo>
                      <a:lnTo>
                        <a:pt x="884" y="791"/>
                      </a:lnTo>
                      <a:lnTo>
                        <a:pt x="880" y="787"/>
                      </a:lnTo>
                      <a:lnTo>
                        <a:pt x="874" y="783"/>
                      </a:lnTo>
                      <a:lnTo>
                        <a:pt x="868" y="779"/>
                      </a:lnTo>
                      <a:lnTo>
                        <a:pt x="865" y="779"/>
                      </a:lnTo>
                      <a:lnTo>
                        <a:pt x="862" y="780"/>
                      </a:lnTo>
                      <a:lnTo>
                        <a:pt x="859" y="780"/>
                      </a:lnTo>
                      <a:lnTo>
                        <a:pt x="856" y="779"/>
                      </a:lnTo>
                      <a:lnTo>
                        <a:pt x="853" y="779"/>
                      </a:lnTo>
                      <a:lnTo>
                        <a:pt x="851" y="778"/>
                      </a:lnTo>
                      <a:lnTo>
                        <a:pt x="847" y="777"/>
                      </a:lnTo>
                      <a:lnTo>
                        <a:pt x="846" y="777"/>
                      </a:lnTo>
                      <a:lnTo>
                        <a:pt x="837" y="775"/>
                      </a:lnTo>
                      <a:lnTo>
                        <a:pt x="836" y="774"/>
                      </a:lnTo>
                      <a:lnTo>
                        <a:pt x="828" y="773"/>
                      </a:lnTo>
                      <a:lnTo>
                        <a:pt x="821" y="771"/>
                      </a:lnTo>
                      <a:lnTo>
                        <a:pt x="817" y="770"/>
                      </a:lnTo>
                      <a:lnTo>
                        <a:pt x="801" y="768"/>
                      </a:lnTo>
                      <a:lnTo>
                        <a:pt x="794" y="768"/>
                      </a:lnTo>
                      <a:lnTo>
                        <a:pt x="790" y="768"/>
                      </a:lnTo>
                      <a:lnTo>
                        <a:pt x="789" y="768"/>
                      </a:lnTo>
                      <a:lnTo>
                        <a:pt x="785" y="768"/>
                      </a:lnTo>
                      <a:lnTo>
                        <a:pt x="784" y="768"/>
                      </a:lnTo>
                      <a:lnTo>
                        <a:pt x="781" y="766"/>
                      </a:lnTo>
                      <a:lnTo>
                        <a:pt x="771" y="760"/>
                      </a:lnTo>
                      <a:lnTo>
                        <a:pt x="769" y="760"/>
                      </a:lnTo>
                      <a:lnTo>
                        <a:pt x="763" y="757"/>
                      </a:lnTo>
                      <a:lnTo>
                        <a:pt x="763" y="755"/>
                      </a:lnTo>
                      <a:lnTo>
                        <a:pt x="767" y="737"/>
                      </a:lnTo>
                      <a:lnTo>
                        <a:pt x="767" y="736"/>
                      </a:lnTo>
                      <a:lnTo>
                        <a:pt x="769" y="727"/>
                      </a:lnTo>
                      <a:lnTo>
                        <a:pt x="771" y="724"/>
                      </a:lnTo>
                      <a:lnTo>
                        <a:pt x="771" y="723"/>
                      </a:lnTo>
                      <a:lnTo>
                        <a:pt x="771" y="721"/>
                      </a:lnTo>
                      <a:lnTo>
                        <a:pt x="771" y="720"/>
                      </a:lnTo>
                      <a:lnTo>
                        <a:pt x="767" y="714"/>
                      </a:lnTo>
                      <a:lnTo>
                        <a:pt x="765" y="712"/>
                      </a:lnTo>
                      <a:lnTo>
                        <a:pt x="759" y="701"/>
                      </a:lnTo>
                      <a:lnTo>
                        <a:pt x="754" y="693"/>
                      </a:lnTo>
                      <a:lnTo>
                        <a:pt x="753" y="691"/>
                      </a:lnTo>
                      <a:lnTo>
                        <a:pt x="749" y="673"/>
                      </a:lnTo>
                      <a:lnTo>
                        <a:pt x="747" y="671"/>
                      </a:lnTo>
                      <a:lnTo>
                        <a:pt x="716" y="645"/>
                      </a:lnTo>
                      <a:lnTo>
                        <a:pt x="714" y="643"/>
                      </a:lnTo>
                      <a:lnTo>
                        <a:pt x="711" y="640"/>
                      </a:lnTo>
                      <a:lnTo>
                        <a:pt x="711" y="634"/>
                      </a:lnTo>
                      <a:lnTo>
                        <a:pt x="714" y="634"/>
                      </a:lnTo>
                      <a:lnTo>
                        <a:pt x="716" y="634"/>
                      </a:lnTo>
                      <a:lnTo>
                        <a:pt x="738" y="632"/>
                      </a:lnTo>
                      <a:lnTo>
                        <a:pt x="740" y="632"/>
                      </a:lnTo>
                      <a:lnTo>
                        <a:pt x="746" y="632"/>
                      </a:lnTo>
                      <a:lnTo>
                        <a:pt x="747" y="632"/>
                      </a:lnTo>
                      <a:lnTo>
                        <a:pt x="771" y="630"/>
                      </a:lnTo>
                      <a:lnTo>
                        <a:pt x="797" y="627"/>
                      </a:lnTo>
                      <a:lnTo>
                        <a:pt x="804" y="626"/>
                      </a:lnTo>
                      <a:lnTo>
                        <a:pt x="813" y="626"/>
                      </a:lnTo>
                      <a:lnTo>
                        <a:pt x="818" y="625"/>
                      </a:lnTo>
                      <a:lnTo>
                        <a:pt x="837" y="624"/>
                      </a:lnTo>
                      <a:lnTo>
                        <a:pt x="838" y="624"/>
                      </a:lnTo>
                      <a:lnTo>
                        <a:pt x="843" y="623"/>
                      </a:lnTo>
                      <a:lnTo>
                        <a:pt x="843" y="624"/>
                      </a:lnTo>
                      <a:lnTo>
                        <a:pt x="844" y="624"/>
                      </a:lnTo>
                      <a:lnTo>
                        <a:pt x="844" y="625"/>
                      </a:lnTo>
                      <a:lnTo>
                        <a:pt x="844" y="626"/>
                      </a:lnTo>
                      <a:lnTo>
                        <a:pt x="845" y="626"/>
                      </a:lnTo>
                      <a:lnTo>
                        <a:pt x="845" y="627"/>
                      </a:lnTo>
                      <a:lnTo>
                        <a:pt x="845" y="629"/>
                      </a:lnTo>
                      <a:lnTo>
                        <a:pt x="845" y="630"/>
                      </a:lnTo>
                      <a:lnTo>
                        <a:pt x="846" y="630"/>
                      </a:lnTo>
                      <a:lnTo>
                        <a:pt x="846" y="631"/>
                      </a:lnTo>
                      <a:lnTo>
                        <a:pt x="846" y="632"/>
                      </a:lnTo>
                      <a:lnTo>
                        <a:pt x="845" y="632"/>
                      </a:lnTo>
                      <a:lnTo>
                        <a:pt x="845" y="633"/>
                      </a:lnTo>
                      <a:lnTo>
                        <a:pt x="846" y="634"/>
                      </a:lnTo>
                      <a:lnTo>
                        <a:pt x="847" y="634"/>
                      </a:lnTo>
                      <a:lnTo>
                        <a:pt x="849" y="634"/>
                      </a:lnTo>
                      <a:lnTo>
                        <a:pt x="850" y="634"/>
                      </a:lnTo>
                      <a:lnTo>
                        <a:pt x="850" y="635"/>
                      </a:lnTo>
                      <a:lnTo>
                        <a:pt x="850" y="636"/>
                      </a:lnTo>
                      <a:lnTo>
                        <a:pt x="849" y="637"/>
                      </a:lnTo>
                      <a:lnTo>
                        <a:pt x="847" y="637"/>
                      </a:lnTo>
                      <a:lnTo>
                        <a:pt x="849" y="638"/>
                      </a:lnTo>
                      <a:lnTo>
                        <a:pt x="850" y="639"/>
                      </a:lnTo>
                      <a:lnTo>
                        <a:pt x="851" y="642"/>
                      </a:lnTo>
                      <a:lnTo>
                        <a:pt x="851" y="643"/>
                      </a:lnTo>
                      <a:lnTo>
                        <a:pt x="852" y="644"/>
                      </a:lnTo>
                      <a:lnTo>
                        <a:pt x="853" y="645"/>
                      </a:lnTo>
                      <a:lnTo>
                        <a:pt x="854" y="647"/>
                      </a:lnTo>
                      <a:lnTo>
                        <a:pt x="855" y="647"/>
                      </a:lnTo>
                      <a:lnTo>
                        <a:pt x="856" y="648"/>
                      </a:lnTo>
                      <a:lnTo>
                        <a:pt x="858" y="649"/>
                      </a:lnTo>
                      <a:lnTo>
                        <a:pt x="859" y="650"/>
                      </a:lnTo>
                      <a:lnTo>
                        <a:pt x="859" y="651"/>
                      </a:lnTo>
                      <a:lnTo>
                        <a:pt x="859" y="652"/>
                      </a:lnTo>
                      <a:lnTo>
                        <a:pt x="859" y="653"/>
                      </a:lnTo>
                      <a:lnTo>
                        <a:pt x="858" y="655"/>
                      </a:lnTo>
                      <a:lnTo>
                        <a:pt x="858" y="656"/>
                      </a:lnTo>
                      <a:lnTo>
                        <a:pt x="857" y="657"/>
                      </a:lnTo>
                      <a:lnTo>
                        <a:pt x="857" y="658"/>
                      </a:lnTo>
                      <a:lnTo>
                        <a:pt x="857" y="659"/>
                      </a:lnTo>
                      <a:lnTo>
                        <a:pt x="857" y="660"/>
                      </a:lnTo>
                      <a:lnTo>
                        <a:pt x="857" y="661"/>
                      </a:lnTo>
                      <a:lnTo>
                        <a:pt x="858" y="662"/>
                      </a:lnTo>
                      <a:lnTo>
                        <a:pt x="859" y="662"/>
                      </a:lnTo>
                      <a:lnTo>
                        <a:pt x="860" y="663"/>
                      </a:lnTo>
                      <a:lnTo>
                        <a:pt x="862" y="664"/>
                      </a:lnTo>
                      <a:lnTo>
                        <a:pt x="862" y="665"/>
                      </a:lnTo>
                      <a:lnTo>
                        <a:pt x="863" y="665"/>
                      </a:lnTo>
                      <a:lnTo>
                        <a:pt x="864" y="667"/>
                      </a:lnTo>
                      <a:lnTo>
                        <a:pt x="865" y="667"/>
                      </a:lnTo>
                      <a:lnTo>
                        <a:pt x="867" y="668"/>
                      </a:lnTo>
                      <a:lnTo>
                        <a:pt x="868" y="668"/>
                      </a:lnTo>
                      <a:lnTo>
                        <a:pt x="869" y="669"/>
                      </a:lnTo>
                      <a:lnTo>
                        <a:pt x="871" y="672"/>
                      </a:lnTo>
                      <a:lnTo>
                        <a:pt x="872" y="674"/>
                      </a:lnTo>
                      <a:lnTo>
                        <a:pt x="872" y="675"/>
                      </a:lnTo>
                      <a:lnTo>
                        <a:pt x="874" y="676"/>
                      </a:lnTo>
                      <a:lnTo>
                        <a:pt x="872" y="678"/>
                      </a:lnTo>
                      <a:lnTo>
                        <a:pt x="872" y="680"/>
                      </a:lnTo>
                      <a:lnTo>
                        <a:pt x="872" y="682"/>
                      </a:lnTo>
                      <a:lnTo>
                        <a:pt x="872" y="684"/>
                      </a:lnTo>
                      <a:lnTo>
                        <a:pt x="874" y="685"/>
                      </a:lnTo>
                      <a:lnTo>
                        <a:pt x="874" y="686"/>
                      </a:lnTo>
                      <a:lnTo>
                        <a:pt x="874" y="687"/>
                      </a:lnTo>
                      <a:lnTo>
                        <a:pt x="874" y="688"/>
                      </a:lnTo>
                      <a:lnTo>
                        <a:pt x="875" y="689"/>
                      </a:lnTo>
                      <a:lnTo>
                        <a:pt x="875" y="690"/>
                      </a:lnTo>
                      <a:lnTo>
                        <a:pt x="876" y="693"/>
                      </a:lnTo>
                      <a:lnTo>
                        <a:pt x="876" y="694"/>
                      </a:lnTo>
                      <a:lnTo>
                        <a:pt x="877" y="697"/>
                      </a:lnTo>
                      <a:lnTo>
                        <a:pt x="877" y="699"/>
                      </a:lnTo>
                      <a:lnTo>
                        <a:pt x="877" y="700"/>
                      </a:lnTo>
                      <a:lnTo>
                        <a:pt x="877" y="701"/>
                      </a:lnTo>
                      <a:lnTo>
                        <a:pt x="878" y="701"/>
                      </a:lnTo>
                      <a:lnTo>
                        <a:pt x="878" y="702"/>
                      </a:lnTo>
                      <a:lnTo>
                        <a:pt x="881" y="704"/>
                      </a:lnTo>
                      <a:lnTo>
                        <a:pt x="882" y="706"/>
                      </a:lnTo>
                      <a:lnTo>
                        <a:pt x="883" y="708"/>
                      </a:lnTo>
                      <a:lnTo>
                        <a:pt x="885" y="710"/>
                      </a:lnTo>
                      <a:lnTo>
                        <a:pt x="887" y="712"/>
                      </a:lnTo>
                      <a:lnTo>
                        <a:pt x="888" y="712"/>
                      </a:lnTo>
                      <a:lnTo>
                        <a:pt x="890" y="712"/>
                      </a:lnTo>
                      <a:lnTo>
                        <a:pt x="892" y="713"/>
                      </a:lnTo>
                      <a:lnTo>
                        <a:pt x="894" y="713"/>
                      </a:lnTo>
                      <a:lnTo>
                        <a:pt x="900" y="714"/>
                      </a:lnTo>
                      <a:lnTo>
                        <a:pt x="903" y="715"/>
                      </a:lnTo>
                      <a:lnTo>
                        <a:pt x="904" y="716"/>
                      </a:lnTo>
                      <a:lnTo>
                        <a:pt x="906" y="717"/>
                      </a:lnTo>
                      <a:lnTo>
                        <a:pt x="908" y="719"/>
                      </a:lnTo>
                      <a:lnTo>
                        <a:pt x="909" y="719"/>
                      </a:lnTo>
                      <a:lnTo>
                        <a:pt x="910" y="719"/>
                      </a:lnTo>
                      <a:lnTo>
                        <a:pt x="913" y="719"/>
                      </a:lnTo>
                      <a:lnTo>
                        <a:pt x="914" y="719"/>
                      </a:lnTo>
                      <a:lnTo>
                        <a:pt x="915" y="719"/>
                      </a:lnTo>
                      <a:lnTo>
                        <a:pt x="916" y="719"/>
                      </a:lnTo>
                      <a:lnTo>
                        <a:pt x="917" y="719"/>
                      </a:lnTo>
                      <a:lnTo>
                        <a:pt x="918" y="719"/>
                      </a:lnTo>
                      <a:lnTo>
                        <a:pt x="919" y="719"/>
                      </a:lnTo>
                      <a:lnTo>
                        <a:pt x="921" y="720"/>
                      </a:lnTo>
                      <a:lnTo>
                        <a:pt x="922" y="721"/>
                      </a:lnTo>
                      <a:lnTo>
                        <a:pt x="923" y="722"/>
                      </a:lnTo>
                      <a:lnTo>
                        <a:pt x="924" y="724"/>
                      </a:lnTo>
                      <a:lnTo>
                        <a:pt x="926" y="725"/>
                      </a:lnTo>
                      <a:lnTo>
                        <a:pt x="927" y="725"/>
                      </a:lnTo>
                      <a:lnTo>
                        <a:pt x="929" y="726"/>
                      </a:lnTo>
                      <a:lnTo>
                        <a:pt x="930" y="726"/>
                      </a:lnTo>
                      <a:lnTo>
                        <a:pt x="931" y="726"/>
                      </a:lnTo>
                      <a:lnTo>
                        <a:pt x="932" y="726"/>
                      </a:lnTo>
                      <a:lnTo>
                        <a:pt x="933" y="727"/>
                      </a:lnTo>
                      <a:lnTo>
                        <a:pt x="933" y="728"/>
                      </a:lnTo>
                      <a:lnTo>
                        <a:pt x="933" y="729"/>
                      </a:lnTo>
                      <a:lnTo>
                        <a:pt x="934" y="729"/>
                      </a:lnTo>
                      <a:lnTo>
                        <a:pt x="934" y="730"/>
                      </a:lnTo>
                      <a:lnTo>
                        <a:pt x="935" y="733"/>
                      </a:lnTo>
                      <a:lnTo>
                        <a:pt x="936" y="733"/>
                      </a:lnTo>
                      <a:lnTo>
                        <a:pt x="937" y="733"/>
                      </a:lnTo>
                      <a:lnTo>
                        <a:pt x="937" y="734"/>
                      </a:lnTo>
                      <a:lnTo>
                        <a:pt x="939" y="734"/>
                      </a:lnTo>
                      <a:lnTo>
                        <a:pt x="939" y="735"/>
                      </a:lnTo>
                      <a:lnTo>
                        <a:pt x="940" y="736"/>
                      </a:lnTo>
                      <a:lnTo>
                        <a:pt x="940" y="737"/>
                      </a:lnTo>
                      <a:lnTo>
                        <a:pt x="941" y="737"/>
                      </a:lnTo>
                      <a:lnTo>
                        <a:pt x="941" y="738"/>
                      </a:lnTo>
                      <a:lnTo>
                        <a:pt x="941" y="739"/>
                      </a:lnTo>
                      <a:lnTo>
                        <a:pt x="941" y="740"/>
                      </a:lnTo>
                      <a:lnTo>
                        <a:pt x="942" y="741"/>
                      </a:lnTo>
                      <a:lnTo>
                        <a:pt x="942" y="742"/>
                      </a:lnTo>
                      <a:lnTo>
                        <a:pt x="943" y="743"/>
                      </a:lnTo>
                      <a:lnTo>
                        <a:pt x="943" y="745"/>
                      </a:lnTo>
                      <a:lnTo>
                        <a:pt x="942" y="745"/>
                      </a:lnTo>
                      <a:lnTo>
                        <a:pt x="942" y="746"/>
                      </a:lnTo>
                      <a:lnTo>
                        <a:pt x="941" y="747"/>
                      </a:lnTo>
                      <a:lnTo>
                        <a:pt x="941" y="748"/>
                      </a:lnTo>
                      <a:lnTo>
                        <a:pt x="941" y="749"/>
                      </a:lnTo>
                      <a:lnTo>
                        <a:pt x="940" y="750"/>
                      </a:lnTo>
                      <a:lnTo>
                        <a:pt x="940" y="751"/>
                      </a:lnTo>
                      <a:lnTo>
                        <a:pt x="940" y="752"/>
                      </a:lnTo>
                      <a:lnTo>
                        <a:pt x="939" y="755"/>
                      </a:lnTo>
                      <a:lnTo>
                        <a:pt x="940" y="757"/>
                      </a:lnTo>
                      <a:lnTo>
                        <a:pt x="940" y="758"/>
                      </a:lnTo>
                      <a:lnTo>
                        <a:pt x="941" y="759"/>
                      </a:lnTo>
                      <a:lnTo>
                        <a:pt x="941" y="760"/>
                      </a:lnTo>
                      <a:lnTo>
                        <a:pt x="940" y="761"/>
                      </a:lnTo>
                      <a:lnTo>
                        <a:pt x="940" y="762"/>
                      </a:lnTo>
                      <a:lnTo>
                        <a:pt x="939" y="762"/>
                      </a:lnTo>
                      <a:lnTo>
                        <a:pt x="939" y="763"/>
                      </a:lnTo>
                      <a:lnTo>
                        <a:pt x="939" y="764"/>
                      </a:lnTo>
                      <a:lnTo>
                        <a:pt x="939" y="765"/>
                      </a:lnTo>
                      <a:lnTo>
                        <a:pt x="940" y="766"/>
                      </a:lnTo>
                      <a:lnTo>
                        <a:pt x="941" y="767"/>
                      </a:lnTo>
                      <a:lnTo>
                        <a:pt x="942" y="768"/>
                      </a:lnTo>
                      <a:lnTo>
                        <a:pt x="942" y="770"/>
                      </a:lnTo>
                      <a:lnTo>
                        <a:pt x="942" y="771"/>
                      </a:lnTo>
                      <a:lnTo>
                        <a:pt x="943" y="771"/>
                      </a:lnTo>
                      <a:lnTo>
                        <a:pt x="943" y="772"/>
                      </a:lnTo>
                      <a:lnTo>
                        <a:pt x="943" y="773"/>
                      </a:lnTo>
                      <a:lnTo>
                        <a:pt x="944" y="773"/>
                      </a:lnTo>
                      <a:lnTo>
                        <a:pt x="944" y="774"/>
                      </a:lnTo>
                      <a:lnTo>
                        <a:pt x="944" y="775"/>
                      </a:lnTo>
                      <a:lnTo>
                        <a:pt x="945" y="775"/>
                      </a:lnTo>
                      <a:lnTo>
                        <a:pt x="945" y="776"/>
                      </a:lnTo>
                      <a:lnTo>
                        <a:pt x="944" y="777"/>
                      </a:lnTo>
                      <a:lnTo>
                        <a:pt x="944" y="778"/>
                      </a:lnTo>
                      <a:lnTo>
                        <a:pt x="944" y="779"/>
                      </a:lnTo>
                      <a:lnTo>
                        <a:pt x="944" y="780"/>
                      </a:lnTo>
                      <a:lnTo>
                        <a:pt x="943" y="780"/>
                      </a:lnTo>
                      <a:lnTo>
                        <a:pt x="943" y="781"/>
                      </a:lnTo>
                      <a:lnTo>
                        <a:pt x="943" y="783"/>
                      </a:lnTo>
                      <a:lnTo>
                        <a:pt x="943" y="784"/>
                      </a:lnTo>
                      <a:lnTo>
                        <a:pt x="943" y="785"/>
                      </a:lnTo>
                      <a:lnTo>
                        <a:pt x="942" y="785"/>
                      </a:lnTo>
                      <a:lnTo>
                        <a:pt x="942" y="786"/>
                      </a:lnTo>
                      <a:lnTo>
                        <a:pt x="942" y="787"/>
                      </a:lnTo>
                      <a:lnTo>
                        <a:pt x="942" y="789"/>
                      </a:lnTo>
                      <a:lnTo>
                        <a:pt x="941" y="789"/>
                      </a:lnTo>
                      <a:lnTo>
                        <a:pt x="940" y="790"/>
                      </a:lnTo>
                      <a:lnTo>
                        <a:pt x="939" y="790"/>
                      </a:lnTo>
                      <a:lnTo>
                        <a:pt x="937" y="789"/>
                      </a:lnTo>
                      <a:lnTo>
                        <a:pt x="936" y="789"/>
                      </a:lnTo>
                      <a:lnTo>
                        <a:pt x="935" y="790"/>
                      </a:lnTo>
                      <a:lnTo>
                        <a:pt x="934" y="791"/>
                      </a:lnTo>
                      <a:lnTo>
                        <a:pt x="939" y="815"/>
                      </a:lnTo>
                      <a:close/>
                    </a:path>
                  </a:pathLst>
                </a:custGeom>
                <a:grpFill/>
                <a:ln w="19050">
                  <a:solidFill>
                    <a:srgbClr val="FFC000"/>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915" name="Freeform 544">
                  <a:extLst>
                    <a:ext uri="{FF2B5EF4-FFF2-40B4-BE49-F238E27FC236}">
                      <a16:creationId xmlns:a16="http://schemas.microsoft.com/office/drawing/2014/main" id="{BFCCB7C6-45C0-4A90-7B08-102D4909A86D}"/>
                    </a:ext>
                  </a:extLst>
                </p:cNvPr>
                <p:cNvSpPr>
                  <a:spLocks noEditPoints="1"/>
                </p:cNvSpPr>
                <p:nvPr/>
              </p:nvSpPr>
              <p:spPr bwMode="auto">
                <a:xfrm>
                  <a:off x="3630613" y="3762375"/>
                  <a:ext cx="2592388" cy="2009775"/>
                </a:xfrm>
                <a:custGeom>
                  <a:avLst/>
                  <a:gdLst>
                    <a:gd name="T0" fmla="*/ 815 w 1633"/>
                    <a:gd name="T1" fmla="*/ 494 h 1266"/>
                    <a:gd name="T2" fmla="*/ 1096 w 1633"/>
                    <a:gd name="T3" fmla="*/ 423 h 1266"/>
                    <a:gd name="T4" fmla="*/ 1166 w 1633"/>
                    <a:gd name="T5" fmla="*/ 559 h 1266"/>
                    <a:gd name="T6" fmla="*/ 1310 w 1633"/>
                    <a:gd name="T7" fmla="*/ 597 h 1266"/>
                    <a:gd name="T8" fmla="*/ 1201 w 1633"/>
                    <a:gd name="T9" fmla="*/ 634 h 1266"/>
                    <a:gd name="T10" fmla="*/ 1202 w 1633"/>
                    <a:gd name="T11" fmla="*/ 659 h 1266"/>
                    <a:gd name="T12" fmla="*/ 1180 w 1633"/>
                    <a:gd name="T13" fmla="*/ 738 h 1266"/>
                    <a:gd name="T14" fmla="*/ 1093 w 1633"/>
                    <a:gd name="T15" fmla="*/ 823 h 1266"/>
                    <a:gd name="T16" fmla="*/ 1200 w 1633"/>
                    <a:gd name="T17" fmla="*/ 944 h 1266"/>
                    <a:gd name="T18" fmla="*/ 1355 w 1633"/>
                    <a:gd name="T19" fmla="*/ 971 h 1266"/>
                    <a:gd name="T20" fmla="*/ 1392 w 1633"/>
                    <a:gd name="T21" fmla="*/ 992 h 1266"/>
                    <a:gd name="T22" fmla="*/ 1308 w 1633"/>
                    <a:gd name="T23" fmla="*/ 1056 h 1266"/>
                    <a:gd name="T24" fmla="*/ 1059 w 1633"/>
                    <a:gd name="T25" fmla="*/ 927 h 1266"/>
                    <a:gd name="T26" fmla="*/ 862 w 1633"/>
                    <a:gd name="T27" fmla="*/ 839 h 1266"/>
                    <a:gd name="T28" fmla="*/ 885 w 1633"/>
                    <a:gd name="T29" fmla="*/ 966 h 1266"/>
                    <a:gd name="T30" fmla="*/ 849 w 1633"/>
                    <a:gd name="T31" fmla="*/ 1063 h 1266"/>
                    <a:gd name="T32" fmla="*/ 712 w 1633"/>
                    <a:gd name="T33" fmla="*/ 1019 h 1266"/>
                    <a:gd name="T34" fmla="*/ 492 w 1633"/>
                    <a:gd name="T35" fmla="*/ 1057 h 1266"/>
                    <a:gd name="T36" fmla="*/ 190 w 1633"/>
                    <a:gd name="T37" fmla="*/ 1057 h 1266"/>
                    <a:gd name="T38" fmla="*/ 282 w 1633"/>
                    <a:gd name="T39" fmla="*/ 285 h 1266"/>
                    <a:gd name="T40" fmla="*/ 882 w 1633"/>
                    <a:gd name="T41" fmla="*/ 999 h 1266"/>
                    <a:gd name="T42" fmla="*/ 860 w 1633"/>
                    <a:gd name="T43" fmla="*/ 983 h 1266"/>
                    <a:gd name="T44" fmla="*/ 474 w 1633"/>
                    <a:gd name="T45" fmla="*/ 1178 h 1266"/>
                    <a:gd name="T46" fmla="*/ 222 w 1633"/>
                    <a:gd name="T47" fmla="*/ 1011 h 1266"/>
                    <a:gd name="T48" fmla="*/ 803 w 1633"/>
                    <a:gd name="T49" fmla="*/ 820 h 1266"/>
                    <a:gd name="T50" fmla="*/ 954 w 1633"/>
                    <a:gd name="T51" fmla="*/ 1013 h 1266"/>
                    <a:gd name="T52" fmla="*/ 904 w 1633"/>
                    <a:gd name="T53" fmla="*/ 943 h 1266"/>
                    <a:gd name="T54" fmla="*/ 1109 w 1633"/>
                    <a:gd name="T55" fmla="*/ 232 h 1266"/>
                    <a:gd name="T56" fmla="*/ 758 w 1633"/>
                    <a:gd name="T57" fmla="*/ 78 h 1266"/>
                    <a:gd name="T58" fmla="*/ 1387 w 1633"/>
                    <a:gd name="T59" fmla="*/ 1067 h 1266"/>
                    <a:gd name="T60" fmla="*/ 1388 w 1633"/>
                    <a:gd name="T61" fmla="*/ 473 h 1266"/>
                    <a:gd name="T62" fmla="*/ 1275 w 1633"/>
                    <a:gd name="T63" fmla="*/ 479 h 1266"/>
                    <a:gd name="T64" fmla="*/ 1323 w 1633"/>
                    <a:gd name="T65" fmla="*/ 626 h 1266"/>
                    <a:gd name="T66" fmla="*/ 1351 w 1633"/>
                    <a:gd name="T67" fmla="*/ 482 h 1266"/>
                    <a:gd name="T68" fmla="*/ 1381 w 1633"/>
                    <a:gd name="T69" fmla="*/ 425 h 1266"/>
                    <a:gd name="T70" fmla="*/ 1598 w 1633"/>
                    <a:gd name="T71" fmla="*/ 597 h 1266"/>
                    <a:gd name="T72" fmla="*/ 1606 w 1633"/>
                    <a:gd name="T73" fmla="*/ 607 h 1266"/>
                    <a:gd name="T74" fmla="*/ 1622 w 1633"/>
                    <a:gd name="T75" fmla="*/ 629 h 1266"/>
                    <a:gd name="T76" fmla="*/ 1340 w 1633"/>
                    <a:gd name="T77" fmla="*/ 1162 h 1266"/>
                    <a:gd name="T78" fmla="*/ 1447 w 1633"/>
                    <a:gd name="T79" fmla="*/ 1109 h 1266"/>
                    <a:gd name="T80" fmla="*/ 1160 w 1633"/>
                    <a:gd name="T81" fmla="*/ 834 h 1266"/>
                    <a:gd name="T82" fmla="*/ 1429 w 1633"/>
                    <a:gd name="T83" fmla="*/ 1054 h 1266"/>
                    <a:gd name="T84" fmla="*/ 989 w 1633"/>
                    <a:gd name="T85" fmla="*/ 897 h 1266"/>
                    <a:gd name="T86" fmla="*/ 1288 w 1633"/>
                    <a:gd name="T87" fmla="*/ 1098 h 1266"/>
                    <a:gd name="T88" fmla="*/ 1112 w 1633"/>
                    <a:gd name="T89" fmla="*/ 810 h 1266"/>
                    <a:gd name="T90" fmla="*/ 1076 w 1633"/>
                    <a:gd name="T91" fmla="*/ 999 h 1266"/>
                    <a:gd name="T92" fmla="*/ 1013 w 1633"/>
                    <a:gd name="T93" fmla="*/ 984 h 1266"/>
                    <a:gd name="T94" fmla="*/ 955 w 1633"/>
                    <a:gd name="T95" fmla="*/ 899 h 1266"/>
                    <a:gd name="T96" fmla="*/ 1337 w 1633"/>
                    <a:gd name="T97" fmla="*/ 1176 h 1266"/>
                    <a:gd name="T98" fmla="*/ 1098 w 1633"/>
                    <a:gd name="T99" fmla="*/ 982 h 1266"/>
                    <a:gd name="T100" fmla="*/ 1138 w 1633"/>
                    <a:gd name="T101" fmla="*/ 971 h 1266"/>
                    <a:gd name="T102" fmla="*/ 1156 w 1633"/>
                    <a:gd name="T103" fmla="*/ 980 h 1266"/>
                    <a:gd name="T104" fmla="*/ 1043 w 1633"/>
                    <a:gd name="T105" fmla="*/ 992 h 1266"/>
                    <a:gd name="T106" fmla="*/ 1282 w 1633"/>
                    <a:gd name="T107" fmla="*/ 954 h 1266"/>
                    <a:gd name="T108" fmla="*/ 1085 w 1633"/>
                    <a:gd name="T109" fmla="*/ 978 h 1266"/>
                    <a:gd name="T110" fmla="*/ 1083 w 1633"/>
                    <a:gd name="T111" fmla="*/ 956 h 1266"/>
                    <a:gd name="T112" fmla="*/ 1295 w 1633"/>
                    <a:gd name="T113" fmla="*/ 970 h 1266"/>
                    <a:gd name="T114" fmla="*/ 1273 w 1633"/>
                    <a:gd name="T115" fmla="*/ 948 h 1266"/>
                    <a:gd name="T116" fmla="*/ 1068 w 1633"/>
                    <a:gd name="T117" fmla="*/ 992 h 1266"/>
                    <a:gd name="T118" fmla="*/ 1412 w 1633"/>
                    <a:gd name="T119" fmla="*/ 1108 h 1266"/>
                    <a:gd name="T120" fmla="*/ 1271 w 1633"/>
                    <a:gd name="T121" fmla="*/ 950 h 1266"/>
                    <a:gd name="T122" fmla="*/ 1368 w 1633"/>
                    <a:gd name="T123" fmla="*/ 1020 h 1266"/>
                    <a:gd name="T124" fmla="*/ 1364 w 1633"/>
                    <a:gd name="T125" fmla="*/ 1012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3" h="1266">
                      <a:moveTo>
                        <a:pt x="211" y="281"/>
                      </a:moveTo>
                      <a:lnTo>
                        <a:pt x="208" y="281"/>
                      </a:lnTo>
                      <a:lnTo>
                        <a:pt x="175" y="281"/>
                      </a:lnTo>
                      <a:lnTo>
                        <a:pt x="163" y="281"/>
                      </a:lnTo>
                      <a:lnTo>
                        <a:pt x="162" y="281"/>
                      </a:lnTo>
                      <a:lnTo>
                        <a:pt x="160" y="281"/>
                      </a:lnTo>
                      <a:lnTo>
                        <a:pt x="158" y="281"/>
                      </a:lnTo>
                      <a:lnTo>
                        <a:pt x="156" y="281"/>
                      </a:lnTo>
                      <a:lnTo>
                        <a:pt x="155" y="281"/>
                      </a:lnTo>
                      <a:lnTo>
                        <a:pt x="150" y="282"/>
                      </a:lnTo>
                      <a:lnTo>
                        <a:pt x="148" y="282"/>
                      </a:lnTo>
                      <a:lnTo>
                        <a:pt x="143" y="282"/>
                      </a:lnTo>
                      <a:lnTo>
                        <a:pt x="136" y="282"/>
                      </a:lnTo>
                      <a:lnTo>
                        <a:pt x="134" y="282"/>
                      </a:lnTo>
                      <a:lnTo>
                        <a:pt x="130" y="282"/>
                      </a:lnTo>
                      <a:lnTo>
                        <a:pt x="106" y="282"/>
                      </a:lnTo>
                      <a:lnTo>
                        <a:pt x="102" y="267"/>
                      </a:lnTo>
                      <a:lnTo>
                        <a:pt x="99" y="264"/>
                      </a:lnTo>
                      <a:lnTo>
                        <a:pt x="91" y="260"/>
                      </a:lnTo>
                      <a:lnTo>
                        <a:pt x="80" y="244"/>
                      </a:lnTo>
                      <a:lnTo>
                        <a:pt x="76" y="238"/>
                      </a:lnTo>
                      <a:lnTo>
                        <a:pt x="69" y="236"/>
                      </a:lnTo>
                      <a:lnTo>
                        <a:pt x="56" y="230"/>
                      </a:lnTo>
                      <a:lnTo>
                        <a:pt x="56" y="220"/>
                      </a:lnTo>
                      <a:lnTo>
                        <a:pt x="48" y="208"/>
                      </a:lnTo>
                      <a:lnTo>
                        <a:pt x="47" y="207"/>
                      </a:lnTo>
                      <a:lnTo>
                        <a:pt x="45" y="204"/>
                      </a:lnTo>
                      <a:lnTo>
                        <a:pt x="45" y="205"/>
                      </a:lnTo>
                      <a:lnTo>
                        <a:pt x="21" y="174"/>
                      </a:lnTo>
                      <a:lnTo>
                        <a:pt x="20" y="173"/>
                      </a:lnTo>
                      <a:lnTo>
                        <a:pt x="16" y="177"/>
                      </a:lnTo>
                      <a:lnTo>
                        <a:pt x="13" y="173"/>
                      </a:lnTo>
                      <a:lnTo>
                        <a:pt x="0" y="158"/>
                      </a:lnTo>
                      <a:lnTo>
                        <a:pt x="2" y="158"/>
                      </a:lnTo>
                      <a:lnTo>
                        <a:pt x="2" y="156"/>
                      </a:lnTo>
                      <a:lnTo>
                        <a:pt x="2" y="152"/>
                      </a:lnTo>
                      <a:lnTo>
                        <a:pt x="2" y="150"/>
                      </a:lnTo>
                      <a:lnTo>
                        <a:pt x="2" y="148"/>
                      </a:lnTo>
                      <a:lnTo>
                        <a:pt x="6" y="148"/>
                      </a:lnTo>
                      <a:lnTo>
                        <a:pt x="9" y="148"/>
                      </a:lnTo>
                      <a:lnTo>
                        <a:pt x="12" y="148"/>
                      </a:lnTo>
                      <a:lnTo>
                        <a:pt x="16" y="147"/>
                      </a:lnTo>
                      <a:lnTo>
                        <a:pt x="25" y="147"/>
                      </a:lnTo>
                      <a:lnTo>
                        <a:pt x="27" y="147"/>
                      </a:lnTo>
                      <a:lnTo>
                        <a:pt x="44" y="147"/>
                      </a:lnTo>
                      <a:lnTo>
                        <a:pt x="44" y="145"/>
                      </a:lnTo>
                      <a:lnTo>
                        <a:pt x="44" y="143"/>
                      </a:lnTo>
                      <a:lnTo>
                        <a:pt x="44" y="138"/>
                      </a:lnTo>
                      <a:lnTo>
                        <a:pt x="44" y="134"/>
                      </a:lnTo>
                      <a:lnTo>
                        <a:pt x="44" y="131"/>
                      </a:lnTo>
                      <a:lnTo>
                        <a:pt x="44" y="130"/>
                      </a:lnTo>
                      <a:lnTo>
                        <a:pt x="44" y="127"/>
                      </a:lnTo>
                      <a:lnTo>
                        <a:pt x="48" y="127"/>
                      </a:lnTo>
                      <a:lnTo>
                        <a:pt x="48" y="126"/>
                      </a:lnTo>
                      <a:lnTo>
                        <a:pt x="48" y="125"/>
                      </a:lnTo>
                      <a:lnTo>
                        <a:pt x="48" y="123"/>
                      </a:lnTo>
                      <a:lnTo>
                        <a:pt x="48" y="122"/>
                      </a:lnTo>
                      <a:lnTo>
                        <a:pt x="49" y="121"/>
                      </a:lnTo>
                      <a:lnTo>
                        <a:pt x="49" y="120"/>
                      </a:lnTo>
                      <a:lnTo>
                        <a:pt x="49" y="119"/>
                      </a:lnTo>
                      <a:lnTo>
                        <a:pt x="49" y="118"/>
                      </a:lnTo>
                      <a:lnTo>
                        <a:pt x="49" y="117"/>
                      </a:lnTo>
                      <a:lnTo>
                        <a:pt x="50" y="116"/>
                      </a:lnTo>
                      <a:lnTo>
                        <a:pt x="50" y="115"/>
                      </a:lnTo>
                      <a:lnTo>
                        <a:pt x="51" y="115"/>
                      </a:lnTo>
                      <a:lnTo>
                        <a:pt x="51" y="114"/>
                      </a:lnTo>
                      <a:lnTo>
                        <a:pt x="51" y="113"/>
                      </a:lnTo>
                      <a:lnTo>
                        <a:pt x="52" y="112"/>
                      </a:lnTo>
                      <a:lnTo>
                        <a:pt x="52" y="110"/>
                      </a:lnTo>
                      <a:lnTo>
                        <a:pt x="52" y="108"/>
                      </a:lnTo>
                      <a:lnTo>
                        <a:pt x="53" y="108"/>
                      </a:lnTo>
                      <a:lnTo>
                        <a:pt x="53" y="107"/>
                      </a:lnTo>
                      <a:lnTo>
                        <a:pt x="54" y="106"/>
                      </a:lnTo>
                      <a:lnTo>
                        <a:pt x="54" y="107"/>
                      </a:lnTo>
                      <a:lnTo>
                        <a:pt x="60" y="106"/>
                      </a:lnTo>
                      <a:lnTo>
                        <a:pt x="61" y="107"/>
                      </a:lnTo>
                      <a:lnTo>
                        <a:pt x="74" y="106"/>
                      </a:lnTo>
                      <a:lnTo>
                        <a:pt x="74" y="95"/>
                      </a:lnTo>
                      <a:lnTo>
                        <a:pt x="74" y="93"/>
                      </a:lnTo>
                      <a:lnTo>
                        <a:pt x="78" y="89"/>
                      </a:lnTo>
                      <a:lnTo>
                        <a:pt x="80" y="86"/>
                      </a:lnTo>
                      <a:lnTo>
                        <a:pt x="84" y="82"/>
                      </a:lnTo>
                      <a:lnTo>
                        <a:pt x="88" y="78"/>
                      </a:lnTo>
                      <a:lnTo>
                        <a:pt x="90" y="76"/>
                      </a:lnTo>
                      <a:lnTo>
                        <a:pt x="92" y="74"/>
                      </a:lnTo>
                      <a:lnTo>
                        <a:pt x="102" y="62"/>
                      </a:lnTo>
                      <a:lnTo>
                        <a:pt x="102" y="61"/>
                      </a:lnTo>
                      <a:lnTo>
                        <a:pt x="103" y="58"/>
                      </a:lnTo>
                      <a:lnTo>
                        <a:pt x="108" y="51"/>
                      </a:lnTo>
                      <a:lnTo>
                        <a:pt x="109" y="49"/>
                      </a:lnTo>
                      <a:lnTo>
                        <a:pt x="97" y="46"/>
                      </a:lnTo>
                      <a:lnTo>
                        <a:pt x="96" y="46"/>
                      </a:lnTo>
                      <a:lnTo>
                        <a:pt x="93" y="46"/>
                      </a:lnTo>
                      <a:lnTo>
                        <a:pt x="93" y="45"/>
                      </a:lnTo>
                      <a:lnTo>
                        <a:pt x="96" y="43"/>
                      </a:lnTo>
                      <a:lnTo>
                        <a:pt x="98" y="44"/>
                      </a:lnTo>
                      <a:lnTo>
                        <a:pt x="100" y="44"/>
                      </a:lnTo>
                      <a:lnTo>
                        <a:pt x="109" y="46"/>
                      </a:lnTo>
                      <a:lnTo>
                        <a:pt x="111" y="46"/>
                      </a:lnTo>
                      <a:lnTo>
                        <a:pt x="113" y="48"/>
                      </a:lnTo>
                      <a:lnTo>
                        <a:pt x="114" y="48"/>
                      </a:lnTo>
                      <a:lnTo>
                        <a:pt x="114" y="49"/>
                      </a:lnTo>
                      <a:lnTo>
                        <a:pt x="115" y="49"/>
                      </a:lnTo>
                      <a:lnTo>
                        <a:pt x="115" y="50"/>
                      </a:lnTo>
                      <a:lnTo>
                        <a:pt x="116" y="49"/>
                      </a:lnTo>
                      <a:lnTo>
                        <a:pt x="116" y="48"/>
                      </a:lnTo>
                      <a:lnTo>
                        <a:pt x="117" y="48"/>
                      </a:lnTo>
                      <a:lnTo>
                        <a:pt x="118" y="45"/>
                      </a:lnTo>
                      <a:lnTo>
                        <a:pt x="118" y="44"/>
                      </a:lnTo>
                      <a:lnTo>
                        <a:pt x="118" y="43"/>
                      </a:lnTo>
                      <a:lnTo>
                        <a:pt x="118" y="40"/>
                      </a:lnTo>
                      <a:lnTo>
                        <a:pt x="119" y="39"/>
                      </a:lnTo>
                      <a:lnTo>
                        <a:pt x="121" y="37"/>
                      </a:lnTo>
                      <a:lnTo>
                        <a:pt x="121" y="29"/>
                      </a:lnTo>
                      <a:lnTo>
                        <a:pt x="132" y="27"/>
                      </a:lnTo>
                      <a:lnTo>
                        <a:pt x="134" y="24"/>
                      </a:lnTo>
                      <a:lnTo>
                        <a:pt x="134" y="22"/>
                      </a:lnTo>
                      <a:lnTo>
                        <a:pt x="134" y="20"/>
                      </a:lnTo>
                      <a:lnTo>
                        <a:pt x="134" y="19"/>
                      </a:lnTo>
                      <a:lnTo>
                        <a:pt x="135" y="18"/>
                      </a:lnTo>
                      <a:lnTo>
                        <a:pt x="134" y="17"/>
                      </a:lnTo>
                      <a:lnTo>
                        <a:pt x="135" y="16"/>
                      </a:lnTo>
                      <a:lnTo>
                        <a:pt x="136" y="15"/>
                      </a:lnTo>
                      <a:lnTo>
                        <a:pt x="136" y="14"/>
                      </a:lnTo>
                      <a:lnTo>
                        <a:pt x="137" y="14"/>
                      </a:lnTo>
                      <a:lnTo>
                        <a:pt x="138" y="13"/>
                      </a:lnTo>
                      <a:lnTo>
                        <a:pt x="140" y="12"/>
                      </a:lnTo>
                      <a:lnTo>
                        <a:pt x="141" y="11"/>
                      </a:lnTo>
                      <a:lnTo>
                        <a:pt x="142" y="10"/>
                      </a:lnTo>
                      <a:lnTo>
                        <a:pt x="144" y="10"/>
                      </a:lnTo>
                      <a:lnTo>
                        <a:pt x="150" y="10"/>
                      </a:lnTo>
                      <a:lnTo>
                        <a:pt x="165" y="9"/>
                      </a:lnTo>
                      <a:lnTo>
                        <a:pt x="167" y="9"/>
                      </a:lnTo>
                      <a:lnTo>
                        <a:pt x="185" y="9"/>
                      </a:lnTo>
                      <a:lnTo>
                        <a:pt x="194" y="7"/>
                      </a:lnTo>
                      <a:lnTo>
                        <a:pt x="195" y="7"/>
                      </a:lnTo>
                      <a:lnTo>
                        <a:pt x="204" y="7"/>
                      </a:lnTo>
                      <a:lnTo>
                        <a:pt x="205" y="7"/>
                      </a:lnTo>
                      <a:lnTo>
                        <a:pt x="206" y="7"/>
                      </a:lnTo>
                      <a:lnTo>
                        <a:pt x="209" y="7"/>
                      </a:lnTo>
                      <a:lnTo>
                        <a:pt x="213" y="7"/>
                      </a:lnTo>
                      <a:lnTo>
                        <a:pt x="226" y="6"/>
                      </a:lnTo>
                      <a:lnTo>
                        <a:pt x="235" y="6"/>
                      </a:lnTo>
                      <a:lnTo>
                        <a:pt x="238" y="6"/>
                      </a:lnTo>
                      <a:lnTo>
                        <a:pt x="240" y="5"/>
                      </a:lnTo>
                      <a:lnTo>
                        <a:pt x="243" y="5"/>
                      </a:lnTo>
                      <a:lnTo>
                        <a:pt x="250" y="5"/>
                      </a:lnTo>
                      <a:lnTo>
                        <a:pt x="265" y="4"/>
                      </a:lnTo>
                      <a:lnTo>
                        <a:pt x="272" y="4"/>
                      </a:lnTo>
                      <a:lnTo>
                        <a:pt x="281" y="4"/>
                      </a:lnTo>
                      <a:lnTo>
                        <a:pt x="282" y="4"/>
                      </a:lnTo>
                      <a:lnTo>
                        <a:pt x="283" y="4"/>
                      </a:lnTo>
                      <a:lnTo>
                        <a:pt x="297" y="3"/>
                      </a:lnTo>
                      <a:lnTo>
                        <a:pt x="309" y="3"/>
                      </a:lnTo>
                      <a:lnTo>
                        <a:pt x="317" y="2"/>
                      </a:lnTo>
                      <a:lnTo>
                        <a:pt x="322" y="2"/>
                      </a:lnTo>
                      <a:lnTo>
                        <a:pt x="328" y="2"/>
                      </a:lnTo>
                      <a:lnTo>
                        <a:pt x="332" y="2"/>
                      </a:lnTo>
                      <a:lnTo>
                        <a:pt x="337" y="2"/>
                      </a:lnTo>
                      <a:lnTo>
                        <a:pt x="342" y="2"/>
                      </a:lnTo>
                      <a:lnTo>
                        <a:pt x="345" y="1"/>
                      </a:lnTo>
                      <a:lnTo>
                        <a:pt x="348" y="1"/>
                      </a:lnTo>
                      <a:lnTo>
                        <a:pt x="358" y="1"/>
                      </a:lnTo>
                      <a:lnTo>
                        <a:pt x="366" y="1"/>
                      </a:lnTo>
                      <a:lnTo>
                        <a:pt x="374" y="1"/>
                      </a:lnTo>
                      <a:lnTo>
                        <a:pt x="390" y="0"/>
                      </a:lnTo>
                      <a:lnTo>
                        <a:pt x="390" y="1"/>
                      </a:lnTo>
                      <a:lnTo>
                        <a:pt x="390" y="2"/>
                      </a:lnTo>
                      <a:lnTo>
                        <a:pt x="392" y="2"/>
                      </a:lnTo>
                      <a:lnTo>
                        <a:pt x="392" y="3"/>
                      </a:lnTo>
                      <a:lnTo>
                        <a:pt x="390" y="3"/>
                      </a:lnTo>
                      <a:lnTo>
                        <a:pt x="390" y="4"/>
                      </a:lnTo>
                      <a:lnTo>
                        <a:pt x="392" y="4"/>
                      </a:lnTo>
                      <a:lnTo>
                        <a:pt x="393" y="4"/>
                      </a:lnTo>
                      <a:lnTo>
                        <a:pt x="393" y="5"/>
                      </a:lnTo>
                      <a:lnTo>
                        <a:pt x="393" y="6"/>
                      </a:lnTo>
                      <a:lnTo>
                        <a:pt x="392" y="6"/>
                      </a:lnTo>
                      <a:lnTo>
                        <a:pt x="393" y="7"/>
                      </a:lnTo>
                      <a:lnTo>
                        <a:pt x="393" y="9"/>
                      </a:lnTo>
                      <a:lnTo>
                        <a:pt x="392" y="9"/>
                      </a:lnTo>
                      <a:lnTo>
                        <a:pt x="390" y="10"/>
                      </a:lnTo>
                      <a:lnTo>
                        <a:pt x="390" y="11"/>
                      </a:lnTo>
                      <a:lnTo>
                        <a:pt x="390" y="10"/>
                      </a:lnTo>
                      <a:lnTo>
                        <a:pt x="389" y="10"/>
                      </a:lnTo>
                      <a:lnTo>
                        <a:pt x="388" y="10"/>
                      </a:lnTo>
                      <a:lnTo>
                        <a:pt x="388" y="11"/>
                      </a:lnTo>
                      <a:lnTo>
                        <a:pt x="388" y="12"/>
                      </a:lnTo>
                      <a:lnTo>
                        <a:pt x="387" y="12"/>
                      </a:lnTo>
                      <a:lnTo>
                        <a:pt x="387" y="13"/>
                      </a:lnTo>
                      <a:lnTo>
                        <a:pt x="388" y="13"/>
                      </a:lnTo>
                      <a:lnTo>
                        <a:pt x="389" y="13"/>
                      </a:lnTo>
                      <a:lnTo>
                        <a:pt x="388" y="13"/>
                      </a:lnTo>
                      <a:lnTo>
                        <a:pt x="388" y="14"/>
                      </a:lnTo>
                      <a:lnTo>
                        <a:pt x="388" y="15"/>
                      </a:lnTo>
                      <a:lnTo>
                        <a:pt x="387" y="15"/>
                      </a:lnTo>
                      <a:lnTo>
                        <a:pt x="387" y="16"/>
                      </a:lnTo>
                      <a:lnTo>
                        <a:pt x="387" y="17"/>
                      </a:lnTo>
                      <a:lnTo>
                        <a:pt x="386" y="16"/>
                      </a:lnTo>
                      <a:lnTo>
                        <a:pt x="385" y="17"/>
                      </a:lnTo>
                      <a:lnTo>
                        <a:pt x="385" y="16"/>
                      </a:lnTo>
                      <a:lnTo>
                        <a:pt x="384" y="16"/>
                      </a:lnTo>
                      <a:lnTo>
                        <a:pt x="383" y="16"/>
                      </a:lnTo>
                      <a:lnTo>
                        <a:pt x="383" y="17"/>
                      </a:lnTo>
                      <a:lnTo>
                        <a:pt x="384" y="18"/>
                      </a:lnTo>
                      <a:lnTo>
                        <a:pt x="383" y="19"/>
                      </a:lnTo>
                      <a:lnTo>
                        <a:pt x="382" y="19"/>
                      </a:lnTo>
                      <a:lnTo>
                        <a:pt x="381" y="18"/>
                      </a:lnTo>
                      <a:lnTo>
                        <a:pt x="380" y="18"/>
                      </a:lnTo>
                      <a:lnTo>
                        <a:pt x="379" y="18"/>
                      </a:lnTo>
                      <a:lnTo>
                        <a:pt x="379" y="19"/>
                      </a:lnTo>
                      <a:lnTo>
                        <a:pt x="377" y="19"/>
                      </a:lnTo>
                      <a:lnTo>
                        <a:pt x="377" y="18"/>
                      </a:lnTo>
                      <a:lnTo>
                        <a:pt x="376" y="18"/>
                      </a:lnTo>
                      <a:lnTo>
                        <a:pt x="376" y="19"/>
                      </a:lnTo>
                      <a:lnTo>
                        <a:pt x="377" y="20"/>
                      </a:lnTo>
                      <a:lnTo>
                        <a:pt x="377" y="22"/>
                      </a:lnTo>
                      <a:lnTo>
                        <a:pt x="376" y="23"/>
                      </a:lnTo>
                      <a:lnTo>
                        <a:pt x="374" y="23"/>
                      </a:lnTo>
                      <a:lnTo>
                        <a:pt x="373" y="23"/>
                      </a:lnTo>
                      <a:lnTo>
                        <a:pt x="373" y="24"/>
                      </a:lnTo>
                      <a:lnTo>
                        <a:pt x="373" y="25"/>
                      </a:lnTo>
                      <a:lnTo>
                        <a:pt x="372" y="26"/>
                      </a:lnTo>
                      <a:lnTo>
                        <a:pt x="372" y="27"/>
                      </a:lnTo>
                      <a:lnTo>
                        <a:pt x="373" y="27"/>
                      </a:lnTo>
                      <a:lnTo>
                        <a:pt x="373" y="28"/>
                      </a:lnTo>
                      <a:lnTo>
                        <a:pt x="372" y="28"/>
                      </a:lnTo>
                      <a:lnTo>
                        <a:pt x="371" y="28"/>
                      </a:lnTo>
                      <a:lnTo>
                        <a:pt x="371" y="29"/>
                      </a:lnTo>
                      <a:lnTo>
                        <a:pt x="370" y="29"/>
                      </a:lnTo>
                      <a:lnTo>
                        <a:pt x="369" y="29"/>
                      </a:lnTo>
                      <a:lnTo>
                        <a:pt x="368" y="30"/>
                      </a:lnTo>
                      <a:lnTo>
                        <a:pt x="368" y="31"/>
                      </a:lnTo>
                      <a:lnTo>
                        <a:pt x="367" y="32"/>
                      </a:lnTo>
                      <a:lnTo>
                        <a:pt x="366" y="32"/>
                      </a:lnTo>
                      <a:lnTo>
                        <a:pt x="364" y="32"/>
                      </a:lnTo>
                      <a:lnTo>
                        <a:pt x="364" y="33"/>
                      </a:lnTo>
                      <a:lnTo>
                        <a:pt x="366" y="33"/>
                      </a:lnTo>
                      <a:lnTo>
                        <a:pt x="366" y="35"/>
                      </a:lnTo>
                      <a:lnTo>
                        <a:pt x="363" y="33"/>
                      </a:lnTo>
                      <a:lnTo>
                        <a:pt x="363" y="35"/>
                      </a:lnTo>
                      <a:lnTo>
                        <a:pt x="362" y="35"/>
                      </a:lnTo>
                      <a:lnTo>
                        <a:pt x="362" y="36"/>
                      </a:lnTo>
                      <a:lnTo>
                        <a:pt x="361" y="36"/>
                      </a:lnTo>
                      <a:lnTo>
                        <a:pt x="361" y="37"/>
                      </a:lnTo>
                      <a:lnTo>
                        <a:pt x="362" y="37"/>
                      </a:lnTo>
                      <a:lnTo>
                        <a:pt x="362" y="38"/>
                      </a:lnTo>
                      <a:lnTo>
                        <a:pt x="362" y="39"/>
                      </a:lnTo>
                      <a:lnTo>
                        <a:pt x="361" y="39"/>
                      </a:lnTo>
                      <a:lnTo>
                        <a:pt x="359" y="38"/>
                      </a:lnTo>
                      <a:lnTo>
                        <a:pt x="358" y="38"/>
                      </a:lnTo>
                      <a:lnTo>
                        <a:pt x="358" y="39"/>
                      </a:lnTo>
                      <a:lnTo>
                        <a:pt x="359" y="40"/>
                      </a:lnTo>
                      <a:lnTo>
                        <a:pt x="359" y="41"/>
                      </a:lnTo>
                      <a:lnTo>
                        <a:pt x="358" y="42"/>
                      </a:lnTo>
                      <a:lnTo>
                        <a:pt x="357" y="42"/>
                      </a:lnTo>
                      <a:lnTo>
                        <a:pt x="357" y="43"/>
                      </a:lnTo>
                      <a:lnTo>
                        <a:pt x="358" y="43"/>
                      </a:lnTo>
                      <a:lnTo>
                        <a:pt x="358" y="42"/>
                      </a:lnTo>
                      <a:lnTo>
                        <a:pt x="359" y="43"/>
                      </a:lnTo>
                      <a:lnTo>
                        <a:pt x="359" y="44"/>
                      </a:lnTo>
                      <a:lnTo>
                        <a:pt x="358" y="44"/>
                      </a:lnTo>
                      <a:lnTo>
                        <a:pt x="358" y="45"/>
                      </a:lnTo>
                      <a:lnTo>
                        <a:pt x="357" y="45"/>
                      </a:lnTo>
                      <a:lnTo>
                        <a:pt x="356" y="45"/>
                      </a:lnTo>
                      <a:lnTo>
                        <a:pt x="355" y="45"/>
                      </a:lnTo>
                      <a:lnTo>
                        <a:pt x="355" y="44"/>
                      </a:lnTo>
                      <a:lnTo>
                        <a:pt x="354" y="44"/>
                      </a:lnTo>
                      <a:lnTo>
                        <a:pt x="354" y="45"/>
                      </a:lnTo>
                      <a:lnTo>
                        <a:pt x="353" y="46"/>
                      </a:lnTo>
                      <a:lnTo>
                        <a:pt x="353" y="48"/>
                      </a:lnTo>
                      <a:lnTo>
                        <a:pt x="351" y="48"/>
                      </a:lnTo>
                      <a:lnTo>
                        <a:pt x="351" y="49"/>
                      </a:lnTo>
                      <a:lnTo>
                        <a:pt x="353" y="49"/>
                      </a:lnTo>
                      <a:lnTo>
                        <a:pt x="353" y="50"/>
                      </a:lnTo>
                      <a:lnTo>
                        <a:pt x="355" y="50"/>
                      </a:lnTo>
                      <a:lnTo>
                        <a:pt x="356" y="50"/>
                      </a:lnTo>
                      <a:lnTo>
                        <a:pt x="357" y="50"/>
                      </a:lnTo>
                      <a:lnTo>
                        <a:pt x="374" y="50"/>
                      </a:lnTo>
                      <a:lnTo>
                        <a:pt x="388" y="50"/>
                      </a:lnTo>
                      <a:lnTo>
                        <a:pt x="389" y="50"/>
                      </a:lnTo>
                      <a:lnTo>
                        <a:pt x="390" y="50"/>
                      </a:lnTo>
                      <a:lnTo>
                        <a:pt x="395" y="50"/>
                      </a:lnTo>
                      <a:lnTo>
                        <a:pt x="398" y="50"/>
                      </a:lnTo>
                      <a:lnTo>
                        <a:pt x="433" y="49"/>
                      </a:lnTo>
                      <a:lnTo>
                        <a:pt x="447" y="49"/>
                      </a:lnTo>
                      <a:lnTo>
                        <a:pt x="451" y="49"/>
                      </a:lnTo>
                      <a:lnTo>
                        <a:pt x="459" y="49"/>
                      </a:lnTo>
                      <a:lnTo>
                        <a:pt x="511" y="49"/>
                      </a:lnTo>
                      <a:lnTo>
                        <a:pt x="522" y="49"/>
                      </a:lnTo>
                      <a:lnTo>
                        <a:pt x="527" y="49"/>
                      </a:lnTo>
                      <a:lnTo>
                        <a:pt x="529" y="49"/>
                      </a:lnTo>
                      <a:lnTo>
                        <a:pt x="534" y="49"/>
                      </a:lnTo>
                      <a:lnTo>
                        <a:pt x="541" y="49"/>
                      </a:lnTo>
                      <a:lnTo>
                        <a:pt x="550" y="49"/>
                      </a:lnTo>
                      <a:lnTo>
                        <a:pt x="552" y="49"/>
                      </a:lnTo>
                      <a:lnTo>
                        <a:pt x="563" y="49"/>
                      </a:lnTo>
                      <a:lnTo>
                        <a:pt x="563" y="67"/>
                      </a:lnTo>
                      <a:lnTo>
                        <a:pt x="563" y="76"/>
                      </a:lnTo>
                      <a:lnTo>
                        <a:pt x="563" y="93"/>
                      </a:lnTo>
                      <a:lnTo>
                        <a:pt x="563" y="95"/>
                      </a:lnTo>
                      <a:lnTo>
                        <a:pt x="563" y="101"/>
                      </a:lnTo>
                      <a:lnTo>
                        <a:pt x="563" y="109"/>
                      </a:lnTo>
                      <a:lnTo>
                        <a:pt x="563" y="117"/>
                      </a:lnTo>
                      <a:lnTo>
                        <a:pt x="563" y="127"/>
                      </a:lnTo>
                      <a:lnTo>
                        <a:pt x="563" y="133"/>
                      </a:lnTo>
                      <a:lnTo>
                        <a:pt x="563" y="134"/>
                      </a:lnTo>
                      <a:lnTo>
                        <a:pt x="563" y="138"/>
                      </a:lnTo>
                      <a:lnTo>
                        <a:pt x="563" y="139"/>
                      </a:lnTo>
                      <a:lnTo>
                        <a:pt x="563" y="147"/>
                      </a:lnTo>
                      <a:lnTo>
                        <a:pt x="563" y="153"/>
                      </a:lnTo>
                      <a:lnTo>
                        <a:pt x="563" y="156"/>
                      </a:lnTo>
                      <a:lnTo>
                        <a:pt x="563" y="160"/>
                      </a:lnTo>
                      <a:lnTo>
                        <a:pt x="563" y="165"/>
                      </a:lnTo>
                      <a:lnTo>
                        <a:pt x="564" y="165"/>
                      </a:lnTo>
                      <a:lnTo>
                        <a:pt x="565" y="166"/>
                      </a:lnTo>
                      <a:lnTo>
                        <a:pt x="565" y="167"/>
                      </a:lnTo>
                      <a:lnTo>
                        <a:pt x="566" y="167"/>
                      </a:lnTo>
                      <a:lnTo>
                        <a:pt x="567" y="167"/>
                      </a:lnTo>
                      <a:lnTo>
                        <a:pt x="568" y="167"/>
                      </a:lnTo>
                      <a:lnTo>
                        <a:pt x="569" y="167"/>
                      </a:lnTo>
                      <a:lnTo>
                        <a:pt x="569" y="168"/>
                      </a:lnTo>
                      <a:lnTo>
                        <a:pt x="568" y="169"/>
                      </a:lnTo>
                      <a:lnTo>
                        <a:pt x="568" y="170"/>
                      </a:lnTo>
                      <a:lnTo>
                        <a:pt x="568" y="171"/>
                      </a:lnTo>
                      <a:lnTo>
                        <a:pt x="568" y="172"/>
                      </a:lnTo>
                      <a:lnTo>
                        <a:pt x="569" y="172"/>
                      </a:lnTo>
                      <a:lnTo>
                        <a:pt x="570" y="172"/>
                      </a:lnTo>
                      <a:lnTo>
                        <a:pt x="570" y="173"/>
                      </a:lnTo>
                      <a:lnTo>
                        <a:pt x="571" y="173"/>
                      </a:lnTo>
                      <a:lnTo>
                        <a:pt x="571" y="174"/>
                      </a:lnTo>
                      <a:lnTo>
                        <a:pt x="570" y="176"/>
                      </a:lnTo>
                      <a:lnTo>
                        <a:pt x="571" y="176"/>
                      </a:lnTo>
                      <a:lnTo>
                        <a:pt x="571" y="177"/>
                      </a:lnTo>
                      <a:lnTo>
                        <a:pt x="573" y="178"/>
                      </a:lnTo>
                      <a:lnTo>
                        <a:pt x="574" y="179"/>
                      </a:lnTo>
                      <a:lnTo>
                        <a:pt x="573" y="179"/>
                      </a:lnTo>
                      <a:lnTo>
                        <a:pt x="573" y="180"/>
                      </a:lnTo>
                      <a:lnTo>
                        <a:pt x="573" y="181"/>
                      </a:lnTo>
                      <a:lnTo>
                        <a:pt x="573" y="182"/>
                      </a:lnTo>
                      <a:lnTo>
                        <a:pt x="571" y="182"/>
                      </a:lnTo>
                      <a:lnTo>
                        <a:pt x="571" y="183"/>
                      </a:lnTo>
                      <a:lnTo>
                        <a:pt x="571" y="184"/>
                      </a:lnTo>
                      <a:lnTo>
                        <a:pt x="571" y="185"/>
                      </a:lnTo>
                      <a:lnTo>
                        <a:pt x="573" y="186"/>
                      </a:lnTo>
                      <a:lnTo>
                        <a:pt x="571" y="186"/>
                      </a:lnTo>
                      <a:lnTo>
                        <a:pt x="573" y="186"/>
                      </a:lnTo>
                      <a:lnTo>
                        <a:pt x="573" y="187"/>
                      </a:lnTo>
                      <a:lnTo>
                        <a:pt x="573" y="189"/>
                      </a:lnTo>
                      <a:lnTo>
                        <a:pt x="574" y="189"/>
                      </a:lnTo>
                      <a:lnTo>
                        <a:pt x="574" y="190"/>
                      </a:lnTo>
                      <a:lnTo>
                        <a:pt x="574" y="191"/>
                      </a:lnTo>
                      <a:lnTo>
                        <a:pt x="575" y="192"/>
                      </a:lnTo>
                      <a:lnTo>
                        <a:pt x="576" y="192"/>
                      </a:lnTo>
                      <a:lnTo>
                        <a:pt x="576" y="193"/>
                      </a:lnTo>
                      <a:lnTo>
                        <a:pt x="575" y="194"/>
                      </a:lnTo>
                      <a:lnTo>
                        <a:pt x="575" y="195"/>
                      </a:lnTo>
                      <a:lnTo>
                        <a:pt x="574" y="195"/>
                      </a:lnTo>
                      <a:lnTo>
                        <a:pt x="573" y="196"/>
                      </a:lnTo>
                      <a:lnTo>
                        <a:pt x="573" y="197"/>
                      </a:lnTo>
                      <a:lnTo>
                        <a:pt x="574" y="197"/>
                      </a:lnTo>
                      <a:lnTo>
                        <a:pt x="574" y="198"/>
                      </a:lnTo>
                      <a:lnTo>
                        <a:pt x="575" y="198"/>
                      </a:lnTo>
                      <a:lnTo>
                        <a:pt x="575" y="199"/>
                      </a:lnTo>
                      <a:lnTo>
                        <a:pt x="576" y="199"/>
                      </a:lnTo>
                      <a:lnTo>
                        <a:pt x="576" y="200"/>
                      </a:lnTo>
                      <a:lnTo>
                        <a:pt x="576" y="202"/>
                      </a:lnTo>
                      <a:lnTo>
                        <a:pt x="576" y="203"/>
                      </a:lnTo>
                      <a:lnTo>
                        <a:pt x="576" y="204"/>
                      </a:lnTo>
                      <a:lnTo>
                        <a:pt x="575" y="204"/>
                      </a:lnTo>
                      <a:lnTo>
                        <a:pt x="575" y="205"/>
                      </a:lnTo>
                      <a:lnTo>
                        <a:pt x="576" y="205"/>
                      </a:lnTo>
                      <a:lnTo>
                        <a:pt x="576" y="206"/>
                      </a:lnTo>
                      <a:lnTo>
                        <a:pt x="577" y="206"/>
                      </a:lnTo>
                      <a:lnTo>
                        <a:pt x="578" y="206"/>
                      </a:lnTo>
                      <a:lnTo>
                        <a:pt x="578" y="207"/>
                      </a:lnTo>
                      <a:lnTo>
                        <a:pt x="579" y="208"/>
                      </a:lnTo>
                      <a:lnTo>
                        <a:pt x="580" y="208"/>
                      </a:lnTo>
                      <a:lnTo>
                        <a:pt x="581" y="208"/>
                      </a:lnTo>
                      <a:lnTo>
                        <a:pt x="581" y="209"/>
                      </a:lnTo>
                      <a:lnTo>
                        <a:pt x="582" y="210"/>
                      </a:lnTo>
                      <a:lnTo>
                        <a:pt x="582" y="211"/>
                      </a:lnTo>
                      <a:lnTo>
                        <a:pt x="582" y="212"/>
                      </a:lnTo>
                      <a:lnTo>
                        <a:pt x="583" y="212"/>
                      </a:lnTo>
                      <a:lnTo>
                        <a:pt x="583" y="211"/>
                      </a:lnTo>
                      <a:lnTo>
                        <a:pt x="583" y="212"/>
                      </a:lnTo>
                      <a:lnTo>
                        <a:pt x="583" y="213"/>
                      </a:lnTo>
                      <a:lnTo>
                        <a:pt x="585" y="213"/>
                      </a:lnTo>
                      <a:lnTo>
                        <a:pt x="586" y="213"/>
                      </a:lnTo>
                      <a:lnTo>
                        <a:pt x="587" y="213"/>
                      </a:lnTo>
                      <a:lnTo>
                        <a:pt x="588" y="213"/>
                      </a:lnTo>
                      <a:lnTo>
                        <a:pt x="589" y="213"/>
                      </a:lnTo>
                      <a:lnTo>
                        <a:pt x="589" y="215"/>
                      </a:lnTo>
                      <a:lnTo>
                        <a:pt x="590" y="215"/>
                      </a:lnTo>
                      <a:lnTo>
                        <a:pt x="590" y="216"/>
                      </a:lnTo>
                      <a:lnTo>
                        <a:pt x="589" y="216"/>
                      </a:lnTo>
                      <a:lnTo>
                        <a:pt x="590" y="216"/>
                      </a:lnTo>
                      <a:lnTo>
                        <a:pt x="590" y="217"/>
                      </a:lnTo>
                      <a:lnTo>
                        <a:pt x="591" y="217"/>
                      </a:lnTo>
                      <a:lnTo>
                        <a:pt x="591" y="216"/>
                      </a:lnTo>
                      <a:lnTo>
                        <a:pt x="592" y="216"/>
                      </a:lnTo>
                      <a:lnTo>
                        <a:pt x="592" y="217"/>
                      </a:lnTo>
                      <a:lnTo>
                        <a:pt x="592" y="218"/>
                      </a:lnTo>
                      <a:lnTo>
                        <a:pt x="592" y="219"/>
                      </a:lnTo>
                      <a:lnTo>
                        <a:pt x="591" y="219"/>
                      </a:lnTo>
                      <a:lnTo>
                        <a:pt x="591" y="218"/>
                      </a:lnTo>
                      <a:lnTo>
                        <a:pt x="590" y="219"/>
                      </a:lnTo>
                      <a:lnTo>
                        <a:pt x="591" y="219"/>
                      </a:lnTo>
                      <a:lnTo>
                        <a:pt x="591" y="220"/>
                      </a:lnTo>
                      <a:lnTo>
                        <a:pt x="592" y="220"/>
                      </a:lnTo>
                      <a:lnTo>
                        <a:pt x="593" y="220"/>
                      </a:lnTo>
                      <a:lnTo>
                        <a:pt x="594" y="221"/>
                      </a:lnTo>
                      <a:lnTo>
                        <a:pt x="594" y="222"/>
                      </a:lnTo>
                      <a:lnTo>
                        <a:pt x="595" y="222"/>
                      </a:lnTo>
                      <a:lnTo>
                        <a:pt x="595" y="223"/>
                      </a:lnTo>
                      <a:lnTo>
                        <a:pt x="594" y="223"/>
                      </a:lnTo>
                      <a:lnTo>
                        <a:pt x="594" y="224"/>
                      </a:lnTo>
                      <a:lnTo>
                        <a:pt x="595" y="224"/>
                      </a:lnTo>
                      <a:lnTo>
                        <a:pt x="595" y="225"/>
                      </a:lnTo>
                      <a:lnTo>
                        <a:pt x="595" y="228"/>
                      </a:lnTo>
                      <a:lnTo>
                        <a:pt x="596" y="229"/>
                      </a:lnTo>
                      <a:lnTo>
                        <a:pt x="596" y="230"/>
                      </a:lnTo>
                      <a:lnTo>
                        <a:pt x="598" y="230"/>
                      </a:lnTo>
                      <a:lnTo>
                        <a:pt x="598" y="231"/>
                      </a:lnTo>
                      <a:lnTo>
                        <a:pt x="596" y="231"/>
                      </a:lnTo>
                      <a:lnTo>
                        <a:pt x="595" y="231"/>
                      </a:lnTo>
                      <a:lnTo>
                        <a:pt x="594" y="232"/>
                      </a:lnTo>
                      <a:lnTo>
                        <a:pt x="594" y="233"/>
                      </a:lnTo>
                      <a:lnTo>
                        <a:pt x="598" y="235"/>
                      </a:lnTo>
                      <a:lnTo>
                        <a:pt x="599" y="235"/>
                      </a:lnTo>
                      <a:lnTo>
                        <a:pt x="600" y="235"/>
                      </a:lnTo>
                      <a:lnTo>
                        <a:pt x="601" y="235"/>
                      </a:lnTo>
                      <a:lnTo>
                        <a:pt x="601" y="234"/>
                      </a:lnTo>
                      <a:lnTo>
                        <a:pt x="602" y="235"/>
                      </a:lnTo>
                      <a:lnTo>
                        <a:pt x="603" y="238"/>
                      </a:lnTo>
                      <a:lnTo>
                        <a:pt x="603" y="240"/>
                      </a:lnTo>
                      <a:lnTo>
                        <a:pt x="603" y="242"/>
                      </a:lnTo>
                      <a:lnTo>
                        <a:pt x="604" y="244"/>
                      </a:lnTo>
                      <a:lnTo>
                        <a:pt x="604" y="245"/>
                      </a:lnTo>
                      <a:lnTo>
                        <a:pt x="603" y="246"/>
                      </a:lnTo>
                      <a:lnTo>
                        <a:pt x="602" y="247"/>
                      </a:lnTo>
                      <a:lnTo>
                        <a:pt x="601" y="248"/>
                      </a:lnTo>
                      <a:lnTo>
                        <a:pt x="601" y="249"/>
                      </a:lnTo>
                      <a:lnTo>
                        <a:pt x="602" y="249"/>
                      </a:lnTo>
                      <a:lnTo>
                        <a:pt x="602" y="250"/>
                      </a:lnTo>
                      <a:lnTo>
                        <a:pt x="602" y="251"/>
                      </a:lnTo>
                      <a:lnTo>
                        <a:pt x="602" y="253"/>
                      </a:lnTo>
                      <a:lnTo>
                        <a:pt x="602" y="254"/>
                      </a:lnTo>
                      <a:lnTo>
                        <a:pt x="603" y="254"/>
                      </a:lnTo>
                      <a:lnTo>
                        <a:pt x="607" y="251"/>
                      </a:lnTo>
                      <a:lnTo>
                        <a:pt x="607" y="250"/>
                      </a:lnTo>
                      <a:lnTo>
                        <a:pt x="608" y="250"/>
                      </a:lnTo>
                      <a:lnTo>
                        <a:pt x="611" y="253"/>
                      </a:lnTo>
                      <a:lnTo>
                        <a:pt x="611" y="254"/>
                      </a:lnTo>
                      <a:lnTo>
                        <a:pt x="611" y="256"/>
                      </a:lnTo>
                      <a:lnTo>
                        <a:pt x="609" y="257"/>
                      </a:lnTo>
                      <a:lnTo>
                        <a:pt x="609" y="258"/>
                      </a:lnTo>
                      <a:lnTo>
                        <a:pt x="611" y="258"/>
                      </a:lnTo>
                      <a:lnTo>
                        <a:pt x="612" y="258"/>
                      </a:lnTo>
                      <a:lnTo>
                        <a:pt x="614" y="257"/>
                      </a:lnTo>
                      <a:lnTo>
                        <a:pt x="615" y="257"/>
                      </a:lnTo>
                      <a:lnTo>
                        <a:pt x="616" y="257"/>
                      </a:lnTo>
                      <a:lnTo>
                        <a:pt x="617" y="257"/>
                      </a:lnTo>
                      <a:lnTo>
                        <a:pt x="617" y="258"/>
                      </a:lnTo>
                      <a:lnTo>
                        <a:pt x="618" y="259"/>
                      </a:lnTo>
                      <a:lnTo>
                        <a:pt x="618" y="260"/>
                      </a:lnTo>
                      <a:lnTo>
                        <a:pt x="618" y="261"/>
                      </a:lnTo>
                      <a:lnTo>
                        <a:pt x="619" y="262"/>
                      </a:lnTo>
                      <a:lnTo>
                        <a:pt x="619" y="263"/>
                      </a:lnTo>
                      <a:lnTo>
                        <a:pt x="620" y="264"/>
                      </a:lnTo>
                      <a:lnTo>
                        <a:pt x="620" y="266"/>
                      </a:lnTo>
                      <a:lnTo>
                        <a:pt x="620" y="267"/>
                      </a:lnTo>
                      <a:lnTo>
                        <a:pt x="619" y="268"/>
                      </a:lnTo>
                      <a:lnTo>
                        <a:pt x="619" y="269"/>
                      </a:lnTo>
                      <a:lnTo>
                        <a:pt x="619" y="270"/>
                      </a:lnTo>
                      <a:lnTo>
                        <a:pt x="619" y="271"/>
                      </a:lnTo>
                      <a:lnTo>
                        <a:pt x="619" y="272"/>
                      </a:lnTo>
                      <a:lnTo>
                        <a:pt x="639" y="295"/>
                      </a:lnTo>
                      <a:lnTo>
                        <a:pt x="641" y="296"/>
                      </a:lnTo>
                      <a:lnTo>
                        <a:pt x="643" y="298"/>
                      </a:lnTo>
                      <a:lnTo>
                        <a:pt x="646" y="301"/>
                      </a:lnTo>
                      <a:lnTo>
                        <a:pt x="653" y="305"/>
                      </a:lnTo>
                      <a:lnTo>
                        <a:pt x="663" y="308"/>
                      </a:lnTo>
                      <a:lnTo>
                        <a:pt x="664" y="308"/>
                      </a:lnTo>
                      <a:lnTo>
                        <a:pt x="665" y="308"/>
                      </a:lnTo>
                      <a:lnTo>
                        <a:pt x="666" y="308"/>
                      </a:lnTo>
                      <a:lnTo>
                        <a:pt x="667" y="308"/>
                      </a:lnTo>
                      <a:lnTo>
                        <a:pt x="668" y="308"/>
                      </a:lnTo>
                      <a:lnTo>
                        <a:pt x="669" y="308"/>
                      </a:lnTo>
                      <a:lnTo>
                        <a:pt x="670" y="308"/>
                      </a:lnTo>
                      <a:lnTo>
                        <a:pt x="671" y="308"/>
                      </a:lnTo>
                      <a:lnTo>
                        <a:pt x="672" y="308"/>
                      </a:lnTo>
                      <a:lnTo>
                        <a:pt x="673" y="307"/>
                      </a:lnTo>
                      <a:lnTo>
                        <a:pt x="674" y="307"/>
                      </a:lnTo>
                      <a:lnTo>
                        <a:pt x="676" y="308"/>
                      </a:lnTo>
                      <a:lnTo>
                        <a:pt x="677" y="308"/>
                      </a:lnTo>
                      <a:lnTo>
                        <a:pt x="678" y="309"/>
                      </a:lnTo>
                      <a:lnTo>
                        <a:pt x="679" y="309"/>
                      </a:lnTo>
                      <a:lnTo>
                        <a:pt x="680" y="309"/>
                      </a:lnTo>
                      <a:lnTo>
                        <a:pt x="681" y="310"/>
                      </a:lnTo>
                      <a:lnTo>
                        <a:pt x="682" y="309"/>
                      </a:lnTo>
                      <a:lnTo>
                        <a:pt x="683" y="309"/>
                      </a:lnTo>
                      <a:lnTo>
                        <a:pt x="684" y="308"/>
                      </a:lnTo>
                      <a:lnTo>
                        <a:pt x="685" y="306"/>
                      </a:lnTo>
                      <a:lnTo>
                        <a:pt x="687" y="305"/>
                      </a:lnTo>
                      <a:lnTo>
                        <a:pt x="691" y="302"/>
                      </a:lnTo>
                      <a:lnTo>
                        <a:pt x="694" y="301"/>
                      </a:lnTo>
                      <a:lnTo>
                        <a:pt x="695" y="300"/>
                      </a:lnTo>
                      <a:lnTo>
                        <a:pt x="696" y="300"/>
                      </a:lnTo>
                      <a:lnTo>
                        <a:pt x="697" y="299"/>
                      </a:lnTo>
                      <a:lnTo>
                        <a:pt x="698" y="300"/>
                      </a:lnTo>
                      <a:lnTo>
                        <a:pt x="699" y="300"/>
                      </a:lnTo>
                      <a:lnTo>
                        <a:pt x="702" y="301"/>
                      </a:lnTo>
                      <a:lnTo>
                        <a:pt x="704" y="301"/>
                      </a:lnTo>
                      <a:lnTo>
                        <a:pt x="706" y="301"/>
                      </a:lnTo>
                      <a:lnTo>
                        <a:pt x="709" y="300"/>
                      </a:lnTo>
                      <a:lnTo>
                        <a:pt x="712" y="299"/>
                      </a:lnTo>
                      <a:lnTo>
                        <a:pt x="712" y="298"/>
                      </a:lnTo>
                      <a:lnTo>
                        <a:pt x="713" y="298"/>
                      </a:lnTo>
                      <a:lnTo>
                        <a:pt x="715" y="299"/>
                      </a:lnTo>
                      <a:lnTo>
                        <a:pt x="717" y="300"/>
                      </a:lnTo>
                      <a:lnTo>
                        <a:pt x="719" y="301"/>
                      </a:lnTo>
                      <a:lnTo>
                        <a:pt x="720" y="301"/>
                      </a:lnTo>
                      <a:lnTo>
                        <a:pt x="719" y="302"/>
                      </a:lnTo>
                      <a:lnTo>
                        <a:pt x="720" y="302"/>
                      </a:lnTo>
                      <a:lnTo>
                        <a:pt x="720" y="303"/>
                      </a:lnTo>
                      <a:lnTo>
                        <a:pt x="721" y="303"/>
                      </a:lnTo>
                      <a:lnTo>
                        <a:pt x="721" y="305"/>
                      </a:lnTo>
                      <a:lnTo>
                        <a:pt x="721" y="303"/>
                      </a:lnTo>
                      <a:lnTo>
                        <a:pt x="721" y="305"/>
                      </a:lnTo>
                      <a:lnTo>
                        <a:pt x="720" y="305"/>
                      </a:lnTo>
                      <a:lnTo>
                        <a:pt x="719" y="305"/>
                      </a:lnTo>
                      <a:lnTo>
                        <a:pt x="718" y="305"/>
                      </a:lnTo>
                      <a:lnTo>
                        <a:pt x="718" y="306"/>
                      </a:lnTo>
                      <a:lnTo>
                        <a:pt x="717" y="306"/>
                      </a:lnTo>
                      <a:lnTo>
                        <a:pt x="717" y="307"/>
                      </a:lnTo>
                      <a:lnTo>
                        <a:pt x="716" y="307"/>
                      </a:lnTo>
                      <a:lnTo>
                        <a:pt x="717" y="307"/>
                      </a:lnTo>
                      <a:lnTo>
                        <a:pt x="716" y="307"/>
                      </a:lnTo>
                      <a:lnTo>
                        <a:pt x="717" y="307"/>
                      </a:lnTo>
                      <a:lnTo>
                        <a:pt x="716" y="307"/>
                      </a:lnTo>
                      <a:lnTo>
                        <a:pt x="716" y="308"/>
                      </a:lnTo>
                      <a:lnTo>
                        <a:pt x="715" y="308"/>
                      </a:lnTo>
                      <a:lnTo>
                        <a:pt x="715" y="309"/>
                      </a:lnTo>
                      <a:lnTo>
                        <a:pt x="713" y="309"/>
                      </a:lnTo>
                      <a:lnTo>
                        <a:pt x="713" y="310"/>
                      </a:lnTo>
                      <a:lnTo>
                        <a:pt x="713" y="309"/>
                      </a:lnTo>
                      <a:lnTo>
                        <a:pt x="713" y="310"/>
                      </a:lnTo>
                      <a:lnTo>
                        <a:pt x="712" y="310"/>
                      </a:lnTo>
                      <a:lnTo>
                        <a:pt x="712" y="311"/>
                      </a:lnTo>
                      <a:lnTo>
                        <a:pt x="711" y="311"/>
                      </a:lnTo>
                      <a:lnTo>
                        <a:pt x="711" y="312"/>
                      </a:lnTo>
                      <a:lnTo>
                        <a:pt x="711" y="313"/>
                      </a:lnTo>
                      <a:lnTo>
                        <a:pt x="710" y="313"/>
                      </a:lnTo>
                      <a:lnTo>
                        <a:pt x="710" y="314"/>
                      </a:lnTo>
                      <a:lnTo>
                        <a:pt x="709" y="314"/>
                      </a:lnTo>
                      <a:lnTo>
                        <a:pt x="709" y="315"/>
                      </a:lnTo>
                      <a:lnTo>
                        <a:pt x="709" y="317"/>
                      </a:lnTo>
                      <a:lnTo>
                        <a:pt x="708" y="317"/>
                      </a:lnTo>
                      <a:lnTo>
                        <a:pt x="708" y="318"/>
                      </a:lnTo>
                      <a:lnTo>
                        <a:pt x="708" y="317"/>
                      </a:lnTo>
                      <a:lnTo>
                        <a:pt x="708" y="318"/>
                      </a:lnTo>
                      <a:lnTo>
                        <a:pt x="707" y="318"/>
                      </a:lnTo>
                      <a:lnTo>
                        <a:pt x="707" y="319"/>
                      </a:lnTo>
                      <a:lnTo>
                        <a:pt x="706" y="320"/>
                      </a:lnTo>
                      <a:lnTo>
                        <a:pt x="706" y="321"/>
                      </a:lnTo>
                      <a:lnTo>
                        <a:pt x="705" y="321"/>
                      </a:lnTo>
                      <a:lnTo>
                        <a:pt x="706" y="322"/>
                      </a:lnTo>
                      <a:lnTo>
                        <a:pt x="705" y="322"/>
                      </a:lnTo>
                      <a:lnTo>
                        <a:pt x="705" y="323"/>
                      </a:lnTo>
                      <a:lnTo>
                        <a:pt x="704" y="323"/>
                      </a:lnTo>
                      <a:lnTo>
                        <a:pt x="705" y="323"/>
                      </a:lnTo>
                      <a:lnTo>
                        <a:pt x="704" y="323"/>
                      </a:lnTo>
                      <a:lnTo>
                        <a:pt x="704" y="324"/>
                      </a:lnTo>
                      <a:lnTo>
                        <a:pt x="705" y="324"/>
                      </a:lnTo>
                      <a:lnTo>
                        <a:pt x="704" y="324"/>
                      </a:lnTo>
                      <a:lnTo>
                        <a:pt x="704" y="325"/>
                      </a:lnTo>
                      <a:lnTo>
                        <a:pt x="703" y="325"/>
                      </a:lnTo>
                      <a:lnTo>
                        <a:pt x="703" y="326"/>
                      </a:lnTo>
                      <a:lnTo>
                        <a:pt x="703" y="327"/>
                      </a:lnTo>
                      <a:lnTo>
                        <a:pt x="702" y="327"/>
                      </a:lnTo>
                      <a:lnTo>
                        <a:pt x="703" y="327"/>
                      </a:lnTo>
                      <a:lnTo>
                        <a:pt x="702" y="327"/>
                      </a:lnTo>
                      <a:lnTo>
                        <a:pt x="703" y="327"/>
                      </a:lnTo>
                      <a:lnTo>
                        <a:pt x="703" y="328"/>
                      </a:lnTo>
                      <a:lnTo>
                        <a:pt x="702" y="328"/>
                      </a:lnTo>
                      <a:lnTo>
                        <a:pt x="702" y="330"/>
                      </a:lnTo>
                      <a:lnTo>
                        <a:pt x="700" y="331"/>
                      </a:lnTo>
                      <a:lnTo>
                        <a:pt x="698" y="331"/>
                      </a:lnTo>
                      <a:lnTo>
                        <a:pt x="696" y="333"/>
                      </a:lnTo>
                      <a:lnTo>
                        <a:pt x="696" y="335"/>
                      </a:lnTo>
                      <a:lnTo>
                        <a:pt x="691" y="340"/>
                      </a:lnTo>
                      <a:lnTo>
                        <a:pt x="689" y="340"/>
                      </a:lnTo>
                      <a:lnTo>
                        <a:pt x="687" y="340"/>
                      </a:lnTo>
                      <a:lnTo>
                        <a:pt x="685" y="341"/>
                      </a:lnTo>
                      <a:lnTo>
                        <a:pt x="683" y="343"/>
                      </a:lnTo>
                      <a:lnTo>
                        <a:pt x="682" y="345"/>
                      </a:lnTo>
                      <a:lnTo>
                        <a:pt x="680" y="347"/>
                      </a:lnTo>
                      <a:lnTo>
                        <a:pt x="677" y="347"/>
                      </a:lnTo>
                      <a:lnTo>
                        <a:pt x="676" y="348"/>
                      </a:lnTo>
                      <a:lnTo>
                        <a:pt x="674" y="349"/>
                      </a:lnTo>
                      <a:lnTo>
                        <a:pt x="672" y="350"/>
                      </a:lnTo>
                      <a:lnTo>
                        <a:pt x="670" y="352"/>
                      </a:lnTo>
                      <a:lnTo>
                        <a:pt x="668" y="352"/>
                      </a:lnTo>
                      <a:lnTo>
                        <a:pt x="666" y="353"/>
                      </a:lnTo>
                      <a:lnTo>
                        <a:pt x="664" y="356"/>
                      </a:lnTo>
                      <a:lnTo>
                        <a:pt x="663" y="356"/>
                      </a:lnTo>
                      <a:lnTo>
                        <a:pt x="661" y="357"/>
                      </a:lnTo>
                      <a:lnTo>
                        <a:pt x="660" y="358"/>
                      </a:lnTo>
                      <a:lnTo>
                        <a:pt x="659" y="361"/>
                      </a:lnTo>
                      <a:lnTo>
                        <a:pt x="657" y="364"/>
                      </a:lnTo>
                      <a:lnTo>
                        <a:pt x="654" y="369"/>
                      </a:lnTo>
                      <a:lnTo>
                        <a:pt x="651" y="375"/>
                      </a:lnTo>
                      <a:lnTo>
                        <a:pt x="647" y="383"/>
                      </a:lnTo>
                      <a:lnTo>
                        <a:pt x="646" y="391"/>
                      </a:lnTo>
                      <a:lnTo>
                        <a:pt x="644" y="399"/>
                      </a:lnTo>
                      <a:lnTo>
                        <a:pt x="645" y="400"/>
                      </a:lnTo>
                      <a:lnTo>
                        <a:pt x="644" y="404"/>
                      </a:lnTo>
                      <a:lnTo>
                        <a:pt x="644" y="411"/>
                      </a:lnTo>
                      <a:lnTo>
                        <a:pt x="645" y="414"/>
                      </a:lnTo>
                      <a:lnTo>
                        <a:pt x="645" y="418"/>
                      </a:lnTo>
                      <a:lnTo>
                        <a:pt x="646" y="423"/>
                      </a:lnTo>
                      <a:lnTo>
                        <a:pt x="647" y="426"/>
                      </a:lnTo>
                      <a:lnTo>
                        <a:pt x="648" y="431"/>
                      </a:lnTo>
                      <a:lnTo>
                        <a:pt x="650" y="433"/>
                      </a:lnTo>
                      <a:lnTo>
                        <a:pt x="651" y="433"/>
                      </a:lnTo>
                      <a:lnTo>
                        <a:pt x="651" y="434"/>
                      </a:lnTo>
                      <a:lnTo>
                        <a:pt x="651" y="435"/>
                      </a:lnTo>
                      <a:lnTo>
                        <a:pt x="652" y="435"/>
                      </a:lnTo>
                      <a:lnTo>
                        <a:pt x="651" y="435"/>
                      </a:lnTo>
                      <a:lnTo>
                        <a:pt x="652" y="435"/>
                      </a:lnTo>
                      <a:lnTo>
                        <a:pt x="652" y="436"/>
                      </a:lnTo>
                      <a:lnTo>
                        <a:pt x="651" y="436"/>
                      </a:lnTo>
                      <a:lnTo>
                        <a:pt x="651" y="437"/>
                      </a:lnTo>
                      <a:lnTo>
                        <a:pt x="652" y="437"/>
                      </a:lnTo>
                      <a:lnTo>
                        <a:pt x="651" y="437"/>
                      </a:lnTo>
                      <a:lnTo>
                        <a:pt x="652" y="437"/>
                      </a:lnTo>
                      <a:lnTo>
                        <a:pt x="651" y="437"/>
                      </a:lnTo>
                      <a:lnTo>
                        <a:pt x="652" y="437"/>
                      </a:lnTo>
                      <a:lnTo>
                        <a:pt x="651" y="437"/>
                      </a:lnTo>
                      <a:lnTo>
                        <a:pt x="652" y="437"/>
                      </a:lnTo>
                      <a:lnTo>
                        <a:pt x="652" y="438"/>
                      </a:lnTo>
                      <a:lnTo>
                        <a:pt x="653" y="439"/>
                      </a:lnTo>
                      <a:lnTo>
                        <a:pt x="653" y="440"/>
                      </a:lnTo>
                      <a:lnTo>
                        <a:pt x="653" y="441"/>
                      </a:lnTo>
                      <a:lnTo>
                        <a:pt x="654" y="442"/>
                      </a:lnTo>
                      <a:lnTo>
                        <a:pt x="654" y="443"/>
                      </a:lnTo>
                      <a:lnTo>
                        <a:pt x="655" y="444"/>
                      </a:lnTo>
                      <a:lnTo>
                        <a:pt x="655" y="446"/>
                      </a:lnTo>
                      <a:lnTo>
                        <a:pt x="656" y="447"/>
                      </a:lnTo>
                      <a:lnTo>
                        <a:pt x="656" y="448"/>
                      </a:lnTo>
                      <a:lnTo>
                        <a:pt x="657" y="449"/>
                      </a:lnTo>
                      <a:lnTo>
                        <a:pt x="658" y="450"/>
                      </a:lnTo>
                      <a:lnTo>
                        <a:pt x="658" y="451"/>
                      </a:lnTo>
                      <a:lnTo>
                        <a:pt x="660" y="452"/>
                      </a:lnTo>
                      <a:lnTo>
                        <a:pt x="660" y="453"/>
                      </a:lnTo>
                      <a:lnTo>
                        <a:pt x="661" y="454"/>
                      </a:lnTo>
                      <a:lnTo>
                        <a:pt x="661" y="455"/>
                      </a:lnTo>
                      <a:lnTo>
                        <a:pt x="663" y="455"/>
                      </a:lnTo>
                      <a:lnTo>
                        <a:pt x="664" y="455"/>
                      </a:lnTo>
                      <a:lnTo>
                        <a:pt x="664" y="456"/>
                      </a:lnTo>
                      <a:lnTo>
                        <a:pt x="665" y="456"/>
                      </a:lnTo>
                      <a:lnTo>
                        <a:pt x="666" y="457"/>
                      </a:lnTo>
                      <a:lnTo>
                        <a:pt x="666" y="459"/>
                      </a:lnTo>
                      <a:lnTo>
                        <a:pt x="667" y="460"/>
                      </a:lnTo>
                      <a:lnTo>
                        <a:pt x="669" y="462"/>
                      </a:lnTo>
                      <a:lnTo>
                        <a:pt x="671" y="463"/>
                      </a:lnTo>
                      <a:lnTo>
                        <a:pt x="672" y="464"/>
                      </a:lnTo>
                      <a:lnTo>
                        <a:pt x="673" y="464"/>
                      </a:lnTo>
                      <a:lnTo>
                        <a:pt x="674" y="465"/>
                      </a:lnTo>
                      <a:lnTo>
                        <a:pt x="676" y="466"/>
                      </a:lnTo>
                      <a:lnTo>
                        <a:pt x="678" y="467"/>
                      </a:lnTo>
                      <a:lnTo>
                        <a:pt x="679" y="468"/>
                      </a:lnTo>
                      <a:lnTo>
                        <a:pt x="680" y="468"/>
                      </a:lnTo>
                      <a:lnTo>
                        <a:pt x="677" y="466"/>
                      </a:lnTo>
                      <a:lnTo>
                        <a:pt x="678" y="466"/>
                      </a:lnTo>
                      <a:lnTo>
                        <a:pt x="678" y="467"/>
                      </a:lnTo>
                      <a:lnTo>
                        <a:pt x="679" y="467"/>
                      </a:lnTo>
                      <a:lnTo>
                        <a:pt x="680" y="467"/>
                      </a:lnTo>
                      <a:lnTo>
                        <a:pt x="681" y="468"/>
                      </a:lnTo>
                      <a:lnTo>
                        <a:pt x="682" y="468"/>
                      </a:lnTo>
                      <a:lnTo>
                        <a:pt x="682" y="469"/>
                      </a:lnTo>
                      <a:lnTo>
                        <a:pt x="683" y="469"/>
                      </a:lnTo>
                      <a:lnTo>
                        <a:pt x="684" y="469"/>
                      </a:lnTo>
                      <a:lnTo>
                        <a:pt x="684" y="470"/>
                      </a:lnTo>
                      <a:lnTo>
                        <a:pt x="684" y="469"/>
                      </a:lnTo>
                      <a:lnTo>
                        <a:pt x="685" y="469"/>
                      </a:lnTo>
                      <a:lnTo>
                        <a:pt x="686" y="469"/>
                      </a:lnTo>
                      <a:lnTo>
                        <a:pt x="687" y="469"/>
                      </a:lnTo>
                      <a:lnTo>
                        <a:pt x="689" y="469"/>
                      </a:lnTo>
                      <a:lnTo>
                        <a:pt x="690" y="470"/>
                      </a:lnTo>
                      <a:lnTo>
                        <a:pt x="691" y="470"/>
                      </a:lnTo>
                      <a:lnTo>
                        <a:pt x="692" y="470"/>
                      </a:lnTo>
                      <a:lnTo>
                        <a:pt x="693" y="470"/>
                      </a:lnTo>
                      <a:lnTo>
                        <a:pt x="696" y="472"/>
                      </a:lnTo>
                      <a:lnTo>
                        <a:pt x="697" y="472"/>
                      </a:lnTo>
                      <a:lnTo>
                        <a:pt x="698" y="472"/>
                      </a:lnTo>
                      <a:lnTo>
                        <a:pt x="699" y="472"/>
                      </a:lnTo>
                      <a:lnTo>
                        <a:pt x="707" y="473"/>
                      </a:lnTo>
                      <a:lnTo>
                        <a:pt x="708" y="473"/>
                      </a:lnTo>
                      <a:lnTo>
                        <a:pt x="709" y="473"/>
                      </a:lnTo>
                      <a:lnTo>
                        <a:pt x="710" y="473"/>
                      </a:lnTo>
                      <a:lnTo>
                        <a:pt x="710" y="474"/>
                      </a:lnTo>
                      <a:lnTo>
                        <a:pt x="710" y="473"/>
                      </a:lnTo>
                      <a:lnTo>
                        <a:pt x="710" y="472"/>
                      </a:lnTo>
                      <a:lnTo>
                        <a:pt x="711" y="472"/>
                      </a:lnTo>
                      <a:lnTo>
                        <a:pt x="712" y="472"/>
                      </a:lnTo>
                      <a:lnTo>
                        <a:pt x="713" y="472"/>
                      </a:lnTo>
                      <a:lnTo>
                        <a:pt x="715" y="470"/>
                      </a:lnTo>
                      <a:lnTo>
                        <a:pt x="716" y="470"/>
                      </a:lnTo>
                      <a:lnTo>
                        <a:pt x="717" y="470"/>
                      </a:lnTo>
                      <a:lnTo>
                        <a:pt x="718" y="470"/>
                      </a:lnTo>
                      <a:lnTo>
                        <a:pt x="719" y="472"/>
                      </a:lnTo>
                      <a:lnTo>
                        <a:pt x="720" y="472"/>
                      </a:lnTo>
                      <a:lnTo>
                        <a:pt x="721" y="472"/>
                      </a:lnTo>
                      <a:lnTo>
                        <a:pt x="721" y="473"/>
                      </a:lnTo>
                      <a:lnTo>
                        <a:pt x="722" y="473"/>
                      </a:lnTo>
                      <a:lnTo>
                        <a:pt x="723" y="472"/>
                      </a:lnTo>
                      <a:lnTo>
                        <a:pt x="723" y="473"/>
                      </a:lnTo>
                      <a:lnTo>
                        <a:pt x="723" y="472"/>
                      </a:lnTo>
                      <a:lnTo>
                        <a:pt x="724" y="472"/>
                      </a:lnTo>
                      <a:lnTo>
                        <a:pt x="725" y="473"/>
                      </a:lnTo>
                      <a:lnTo>
                        <a:pt x="727" y="473"/>
                      </a:lnTo>
                      <a:lnTo>
                        <a:pt x="728" y="473"/>
                      </a:lnTo>
                      <a:lnTo>
                        <a:pt x="729" y="473"/>
                      </a:lnTo>
                      <a:lnTo>
                        <a:pt x="729" y="474"/>
                      </a:lnTo>
                      <a:lnTo>
                        <a:pt x="730" y="474"/>
                      </a:lnTo>
                      <a:lnTo>
                        <a:pt x="731" y="474"/>
                      </a:lnTo>
                      <a:lnTo>
                        <a:pt x="732" y="474"/>
                      </a:lnTo>
                      <a:lnTo>
                        <a:pt x="732" y="475"/>
                      </a:lnTo>
                      <a:lnTo>
                        <a:pt x="733" y="475"/>
                      </a:lnTo>
                      <a:lnTo>
                        <a:pt x="734" y="475"/>
                      </a:lnTo>
                      <a:lnTo>
                        <a:pt x="734" y="476"/>
                      </a:lnTo>
                      <a:lnTo>
                        <a:pt x="735" y="476"/>
                      </a:lnTo>
                      <a:lnTo>
                        <a:pt x="735" y="475"/>
                      </a:lnTo>
                      <a:lnTo>
                        <a:pt x="736" y="476"/>
                      </a:lnTo>
                      <a:lnTo>
                        <a:pt x="736" y="475"/>
                      </a:lnTo>
                      <a:lnTo>
                        <a:pt x="736" y="476"/>
                      </a:lnTo>
                      <a:lnTo>
                        <a:pt x="737" y="476"/>
                      </a:lnTo>
                      <a:lnTo>
                        <a:pt x="737" y="477"/>
                      </a:lnTo>
                      <a:lnTo>
                        <a:pt x="738" y="477"/>
                      </a:lnTo>
                      <a:lnTo>
                        <a:pt x="738" y="476"/>
                      </a:lnTo>
                      <a:lnTo>
                        <a:pt x="740" y="476"/>
                      </a:lnTo>
                      <a:lnTo>
                        <a:pt x="741" y="475"/>
                      </a:lnTo>
                      <a:lnTo>
                        <a:pt x="745" y="476"/>
                      </a:lnTo>
                      <a:lnTo>
                        <a:pt x="747" y="477"/>
                      </a:lnTo>
                      <a:lnTo>
                        <a:pt x="748" y="476"/>
                      </a:lnTo>
                      <a:lnTo>
                        <a:pt x="751" y="476"/>
                      </a:lnTo>
                      <a:lnTo>
                        <a:pt x="757" y="478"/>
                      </a:lnTo>
                      <a:lnTo>
                        <a:pt x="759" y="481"/>
                      </a:lnTo>
                      <a:lnTo>
                        <a:pt x="760" y="481"/>
                      </a:lnTo>
                      <a:lnTo>
                        <a:pt x="760" y="482"/>
                      </a:lnTo>
                      <a:lnTo>
                        <a:pt x="760" y="481"/>
                      </a:lnTo>
                      <a:lnTo>
                        <a:pt x="761" y="478"/>
                      </a:lnTo>
                      <a:lnTo>
                        <a:pt x="761" y="479"/>
                      </a:lnTo>
                      <a:lnTo>
                        <a:pt x="762" y="479"/>
                      </a:lnTo>
                      <a:lnTo>
                        <a:pt x="761" y="479"/>
                      </a:lnTo>
                      <a:lnTo>
                        <a:pt x="761" y="480"/>
                      </a:lnTo>
                      <a:lnTo>
                        <a:pt x="761" y="481"/>
                      </a:lnTo>
                      <a:lnTo>
                        <a:pt x="761" y="480"/>
                      </a:lnTo>
                      <a:lnTo>
                        <a:pt x="762" y="479"/>
                      </a:lnTo>
                      <a:lnTo>
                        <a:pt x="762" y="480"/>
                      </a:lnTo>
                      <a:lnTo>
                        <a:pt x="763" y="480"/>
                      </a:lnTo>
                      <a:lnTo>
                        <a:pt x="764" y="479"/>
                      </a:lnTo>
                      <a:lnTo>
                        <a:pt x="766" y="479"/>
                      </a:lnTo>
                      <a:lnTo>
                        <a:pt x="764" y="480"/>
                      </a:lnTo>
                      <a:lnTo>
                        <a:pt x="764" y="481"/>
                      </a:lnTo>
                      <a:lnTo>
                        <a:pt x="764" y="480"/>
                      </a:lnTo>
                      <a:lnTo>
                        <a:pt x="766" y="480"/>
                      </a:lnTo>
                      <a:lnTo>
                        <a:pt x="766" y="481"/>
                      </a:lnTo>
                      <a:lnTo>
                        <a:pt x="766" y="480"/>
                      </a:lnTo>
                      <a:lnTo>
                        <a:pt x="767" y="480"/>
                      </a:lnTo>
                      <a:lnTo>
                        <a:pt x="766" y="480"/>
                      </a:lnTo>
                      <a:lnTo>
                        <a:pt x="766" y="481"/>
                      </a:lnTo>
                      <a:lnTo>
                        <a:pt x="766" y="482"/>
                      </a:lnTo>
                      <a:lnTo>
                        <a:pt x="767" y="482"/>
                      </a:lnTo>
                      <a:lnTo>
                        <a:pt x="768" y="482"/>
                      </a:lnTo>
                      <a:lnTo>
                        <a:pt x="772" y="485"/>
                      </a:lnTo>
                      <a:lnTo>
                        <a:pt x="774" y="487"/>
                      </a:lnTo>
                      <a:lnTo>
                        <a:pt x="775" y="486"/>
                      </a:lnTo>
                      <a:lnTo>
                        <a:pt x="775" y="487"/>
                      </a:lnTo>
                      <a:lnTo>
                        <a:pt x="776" y="487"/>
                      </a:lnTo>
                      <a:lnTo>
                        <a:pt x="777" y="488"/>
                      </a:lnTo>
                      <a:lnTo>
                        <a:pt x="781" y="489"/>
                      </a:lnTo>
                      <a:lnTo>
                        <a:pt x="786" y="490"/>
                      </a:lnTo>
                      <a:lnTo>
                        <a:pt x="793" y="492"/>
                      </a:lnTo>
                      <a:lnTo>
                        <a:pt x="794" y="492"/>
                      </a:lnTo>
                      <a:lnTo>
                        <a:pt x="797" y="493"/>
                      </a:lnTo>
                      <a:lnTo>
                        <a:pt x="798" y="494"/>
                      </a:lnTo>
                      <a:lnTo>
                        <a:pt x="799" y="494"/>
                      </a:lnTo>
                      <a:lnTo>
                        <a:pt x="800" y="494"/>
                      </a:lnTo>
                      <a:lnTo>
                        <a:pt x="802" y="494"/>
                      </a:lnTo>
                      <a:lnTo>
                        <a:pt x="803" y="494"/>
                      </a:lnTo>
                      <a:lnTo>
                        <a:pt x="805" y="494"/>
                      </a:lnTo>
                      <a:lnTo>
                        <a:pt x="807" y="495"/>
                      </a:lnTo>
                      <a:lnTo>
                        <a:pt x="810" y="495"/>
                      </a:lnTo>
                      <a:lnTo>
                        <a:pt x="811" y="495"/>
                      </a:lnTo>
                      <a:lnTo>
                        <a:pt x="812" y="495"/>
                      </a:lnTo>
                      <a:lnTo>
                        <a:pt x="813" y="495"/>
                      </a:lnTo>
                      <a:lnTo>
                        <a:pt x="814" y="495"/>
                      </a:lnTo>
                      <a:lnTo>
                        <a:pt x="815" y="495"/>
                      </a:lnTo>
                      <a:lnTo>
                        <a:pt x="815" y="494"/>
                      </a:lnTo>
                      <a:lnTo>
                        <a:pt x="816" y="495"/>
                      </a:lnTo>
                      <a:lnTo>
                        <a:pt x="816" y="497"/>
                      </a:lnTo>
                      <a:lnTo>
                        <a:pt x="818" y="497"/>
                      </a:lnTo>
                      <a:lnTo>
                        <a:pt x="820" y="497"/>
                      </a:lnTo>
                      <a:lnTo>
                        <a:pt x="821" y="497"/>
                      </a:lnTo>
                      <a:lnTo>
                        <a:pt x="821" y="495"/>
                      </a:lnTo>
                      <a:lnTo>
                        <a:pt x="821" y="497"/>
                      </a:lnTo>
                      <a:lnTo>
                        <a:pt x="822" y="497"/>
                      </a:lnTo>
                      <a:lnTo>
                        <a:pt x="822" y="495"/>
                      </a:lnTo>
                      <a:lnTo>
                        <a:pt x="822" y="494"/>
                      </a:lnTo>
                      <a:lnTo>
                        <a:pt x="823" y="494"/>
                      </a:lnTo>
                      <a:lnTo>
                        <a:pt x="823" y="495"/>
                      </a:lnTo>
                      <a:lnTo>
                        <a:pt x="822" y="495"/>
                      </a:lnTo>
                      <a:lnTo>
                        <a:pt x="823" y="495"/>
                      </a:lnTo>
                      <a:lnTo>
                        <a:pt x="823" y="494"/>
                      </a:lnTo>
                      <a:lnTo>
                        <a:pt x="823" y="495"/>
                      </a:lnTo>
                      <a:lnTo>
                        <a:pt x="824" y="497"/>
                      </a:lnTo>
                      <a:lnTo>
                        <a:pt x="827" y="497"/>
                      </a:lnTo>
                      <a:lnTo>
                        <a:pt x="832" y="497"/>
                      </a:lnTo>
                      <a:lnTo>
                        <a:pt x="832" y="495"/>
                      </a:lnTo>
                      <a:lnTo>
                        <a:pt x="832" y="494"/>
                      </a:lnTo>
                      <a:lnTo>
                        <a:pt x="833" y="494"/>
                      </a:lnTo>
                      <a:lnTo>
                        <a:pt x="833" y="493"/>
                      </a:lnTo>
                      <a:lnTo>
                        <a:pt x="835" y="493"/>
                      </a:lnTo>
                      <a:lnTo>
                        <a:pt x="834" y="493"/>
                      </a:lnTo>
                      <a:lnTo>
                        <a:pt x="834" y="494"/>
                      </a:lnTo>
                      <a:lnTo>
                        <a:pt x="834" y="495"/>
                      </a:lnTo>
                      <a:lnTo>
                        <a:pt x="835" y="495"/>
                      </a:lnTo>
                      <a:lnTo>
                        <a:pt x="835" y="494"/>
                      </a:lnTo>
                      <a:lnTo>
                        <a:pt x="835" y="493"/>
                      </a:lnTo>
                      <a:lnTo>
                        <a:pt x="835" y="494"/>
                      </a:lnTo>
                      <a:lnTo>
                        <a:pt x="835" y="493"/>
                      </a:lnTo>
                      <a:lnTo>
                        <a:pt x="836" y="493"/>
                      </a:lnTo>
                      <a:lnTo>
                        <a:pt x="836" y="497"/>
                      </a:lnTo>
                      <a:lnTo>
                        <a:pt x="836" y="493"/>
                      </a:lnTo>
                      <a:lnTo>
                        <a:pt x="836" y="492"/>
                      </a:lnTo>
                      <a:lnTo>
                        <a:pt x="836" y="490"/>
                      </a:lnTo>
                      <a:lnTo>
                        <a:pt x="837" y="489"/>
                      </a:lnTo>
                      <a:lnTo>
                        <a:pt x="838" y="489"/>
                      </a:lnTo>
                      <a:lnTo>
                        <a:pt x="839" y="490"/>
                      </a:lnTo>
                      <a:lnTo>
                        <a:pt x="840" y="490"/>
                      </a:lnTo>
                      <a:lnTo>
                        <a:pt x="841" y="490"/>
                      </a:lnTo>
                      <a:lnTo>
                        <a:pt x="840" y="490"/>
                      </a:lnTo>
                      <a:lnTo>
                        <a:pt x="839" y="490"/>
                      </a:lnTo>
                      <a:lnTo>
                        <a:pt x="837" y="490"/>
                      </a:lnTo>
                      <a:lnTo>
                        <a:pt x="837" y="491"/>
                      </a:lnTo>
                      <a:lnTo>
                        <a:pt x="837" y="492"/>
                      </a:lnTo>
                      <a:lnTo>
                        <a:pt x="840" y="492"/>
                      </a:lnTo>
                      <a:lnTo>
                        <a:pt x="840" y="491"/>
                      </a:lnTo>
                      <a:lnTo>
                        <a:pt x="839" y="491"/>
                      </a:lnTo>
                      <a:lnTo>
                        <a:pt x="839" y="490"/>
                      </a:lnTo>
                      <a:lnTo>
                        <a:pt x="840" y="490"/>
                      </a:lnTo>
                      <a:lnTo>
                        <a:pt x="840" y="491"/>
                      </a:lnTo>
                      <a:lnTo>
                        <a:pt x="840" y="493"/>
                      </a:lnTo>
                      <a:lnTo>
                        <a:pt x="839" y="493"/>
                      </a:lnTo>
                      <a:lnTo>
                        <a:pt x="837" y="493"/>
                      </a:lnTo>
                      <a:lnTo>
                        <a:pt x="837" y="494"/>
                      </a:lnTo>
                      <a:lnTo>
                        <a:pt x="839" y="494"/>
                      </a:lnTo>
                      <a:lnTo>
                        <a:pt x="839" y="493"/>
                      </a:lnTo>
                      <a:lnTo>
                        <a:pt x="840" y="493"/>
                      </a:lnTo>
                      <a:lnTo>
                        <a:pt x="840" y="495"/>
                      </a:lnTo>
                      <a:lnTo>
                        <a:pt x="840" y="492"/>
                      </a:lnTo>
                      <a:lnTo>
                        <a:pt x="840" y="491"/>
                      </a:lnTo>
                      <a:lnTo>
                        <a:pt x="841" y="491"/>
                      </a:lnTo>
                      <a:lnTo>
                        <a:pt x="844" y="490"/>
                      </a:lnTo>
                      <a:lnTo>
                        <a:pt x="846" y="491"/>
                      </a:lnTo>
                      <a:lnTo>
                        <a:pt x="847" y="491"/>
                      </a:lnTo>
                      <a:lnTo>
                        <a:pt x="848" y="490"/>
                      </a:lnTo>
                      <a:lnTo>
                        <a:pt x="849" y="490"/>
                      </a:lnTo>
                      <a:lnTo>
                        <a:pt x="850" y="490"/>
                      </a:lnTo>
                      <a:lnTo>
                        <a:pt x="851" y="490"/>
                      </a:lnTo>
                      <a:lnTo>
                        <a:pt x="852" y="490"/>
                      </a:lnTo>
                      <a:lnTo>
                        <a:pt x="853" y="489"/>
                      </a:lnTo>
                      <a:lnTo>
                        <a:pt x="854" y="489"/>
                      </a:lnTo>
                      <a:lnTo>
                        <a:pt x="855" y="489"/>
                      </a:lnTo>
                      <a:lnTo>
                        <a:pt x="855" y="490"/>
                      </a:lnTo>
                      <a:lnTo>
                        <a:pt x="855" y="491"/>
                      </a:lnTo>
                      <a:lnTo>
                        <a:pt x="857" y="491"/>
                      </a:lnTo>
                      <a:lnTo>
                        <a:pt x="859" y="491"/>
                      </a:lnTo>
                      <a:lnTo>
                        <a:pt x="859" y="492"/>
                      </a:lnTo>
                      <a:lnTo>
                        <a:pt x="860" y="492"/>
                      </a:lnTo>
                      <a:lnTo>
                        <a:pt x="860" y="491"/>
                      </a:lnTo>
                      <a:lnTo>
                        <a:pt x="860" y="490"/>
                      </a:lnTo>
                      <a:lnTo>
                        <a:pt x="861" y="490"/>
                      </a:lnTo>
                      <a:lnTo>
                        <a:pt x="861" y="489"/>
                      </a:lnTo>
                      <a:lnTo>
                        <a:pt x="862" y="488"/>
                      </a:lnTo>
                      <a:lnTo>
                        <a:pt x="863" y="488"/>
                      </a:lnTo>
                      <a:lnTo>
                        <a:pt x="864" y="488"/>
                      </a:lnTo>
                      <a:lnTo>
                        <a:pt x="865" y="488"/>
                      </a:lnTo>
                      <a:lnTo>
                        <a:pt x="865" y="487"/>
                      </a:lnTo>
                      <a:lnTo>
                        <a:pt x="866" y="488"/>
                      </a:lnTo>
                      <a:lnTo>
                        <a:pt x="866" y="487"/>
                      </a:lnTo>
                      <a:lnTo>
                        <a:pt x="867" y="487"/>
                      </a:lnTo>
                      <a:lnTo>
                        <a:pt x="869" y="487"/>
                      </a:lnTo>
                      <a:lnTo>
                        <a:pt x="870" y="487"/>
                      </a:lnTo>
                      <a:lnTo>
                        <a:pt x="871" y="486"/>
                      </a:lnTo>
                      <a:lnTo>
                        <a:pt x="871" y="487"/>
                      </a:lnTo>
                      <a:lnTo>
                        <a:pt x="871" y="486"/>
                      </a:lnTo>
                      <a:lnTo>
                        <a:pt x="871" y="487"/>
                      </a:lnTo>
                      <a:lnTo>
                        <a:pt x="872" y="487"/>
                      </a:lnTo>
                      <a:lnTo>
                        <a:pt x="873" y="487"/>
                      </a:lnTo>
                      <a:lnTo>
                        <a:pt x="873" y="486"/>
                      </a:lnTo>
                      <a:lnTo>
                        <a:pt x="873" y="487"/>
                      </a:lnTo>
                      <a:lnTo>
                        <a:pt x="874" y="487"/>
                      </a:lnTo>
                      <a:lnTo>
                        <a:pt x="874" y="486"/>
                      </a:lnTo>
                      <a:lnTo>
                        <a:pt x="874" y="487"/>
                      </a:lnTo>
                      <a:lnTo>
                        <a:pt x="875" y="487"/>
                      </a:lnTo>
                      <a:lnTo>
                        <a:pt x="875" y="486"/>
                      </a:lnTo>
                      <a:lnTo>
                        <a:pt x="876" y="486"/>
                      </a:lnTo>
                      <a:lnTo>
                        <a:pt x="877" y="486"/>
                      </a:lnTo>
                      <a:lnTo>
                        <a:pt x="878" y="486"/>
                      </a:lnTo>
                      <a:lnTo>
                        <a:pt x="880" y="486"/>
                      </a:lnTo>
                      <a:lnTo>
                        <a:pt x="882" y="486"/>
                      </a:lnTo>
                      <a:lnTo>
                        <a:pt x="883" y="485"/>
                      </a:lnTo>
                      <a:lnTo>
                        <a:pt x="884" y="486"/>
                      </a:lnTo>
                      <a:lnTo>
                        <a:pt x="885" y="486"/>
                      </a:lnTo>
                      <a:lnTo>
                        <a:pt x="886" y="487"/>
                      </a:lnTo>
                      <a:lnTo>
                        <a:pt x="887" y="488"/>
                      </a:lnTo>
                      <a:lnTo>
                        <a:pt x="888" y="488"/>
                      </a:lnTo>
                      <a:lnTo>
                        <a:pt x="889" y="488"/>
                      </a:lnTo>
                      <a:lnTo>
                        <a:pt x="889" y="487"/>
                      </a:lnTo>
                      <a:lnTo>
                        <a:pt x="890" y="487"/>
                      </a:lnTo>
                      <a:lnTo>
                        <a:pt x="890" y="486"/>
                      </a:lnTo>
                      <a:lnTo>
                        <a:pt x="890" y="480"/>
                      </a:lnTo>
                      <a:lnTo>
                        <a:pt x="891" y="479"/>
                      </a:lnTo>
                      <a:lnTo>
                        <a:pt x="891" y="473"/>
                      </a:lnTo>
                      <a:lnTo>
                        <a:pt x="892" y="473"/>
                      </a:lnTo>
                      <a:lnTo>
                        <a:pt x="892" y="474"/>
                      </a:lnTo>
                      <a:lnTo>
                        <a:pt x="893" y="474"/>
                      </a:lnTo>
                      <a:lnTo>
                        <a:pt x="895" y="475"/>
                      </a:lnTo>
                      <a:lnTo>
                        <a:pt x="895" y="476"/>
                      </a:lnTo>
                      <a:lnTo>
                        <a:pt x="896" y="476"/>
                      </a:lnTo>
                      <a:lnTo>
                        <a:pt x="895" y="476"/>
                      </a:lnTo>
                      <a:lnTo>
                        <a:pt x="895" y="477"/>
                      </a:lnTo>
                      <a:lnTo>
                        <a:pt x="896" y="477"/>
                      </a:lnTo>
                      <a:lnTo>
                        <a:pt x="896" y="479"/>
                      </a:lnTo>
                      <a:lnTo>
                        <a:pt x="898" y="481"/>
                      </a:lnTo>
                      <a:lnTo>
                        <a:pt x="898" y="480"/>
                      </a:lnTo>
                      <a:lnTo>
                        <a:pt x="900" y="480"/>
                      </a:lnTo>
                      <a:lnTo>
                        <a:pt x="900" y="479"/>
                      </a:lnTo>
                      <a:lnTo>
                        <a:pt x="901" y="478"/>
                      </a:lnTo>
                      <a:lnTo>
                        <a:pt x="901" y="479"/>
                      </a:lnTo>
                      <a:lnTo>
                        <a:pt x="900" y="481"/>
                      </a:lnTo>
                      <a:lnTo>
                        <a:pt x="899" y="481"/>
                      </a:lnTo>
                      <a:lnTo>
                        <a:pt x="898" y="481"/>
                      </a:lnTo>
                      <a:lnTo>
                        <a:pt x="899" y="482"/>
                      </a:lnTo>
                      <a:lnTo>
                        <a:pt x="900" y="484"/>
                      </a:lnTo>
                      <a:lnTo>
                        <a:pt x="901" y="484"/>
                      </a:lnTo>
                      <a:lnTo>
                        <a:pt x="900" y="484"/>
                      </a:lnTo>
                      <a:lnTo>
                        <a:pt x="902" y="481"/>
                      </a:lnTo>
                      <a:lnTo>
                        <a:pt x="902" y="480"/>
                      </a:lnTo>
                      <a:lnTo>
                        <a:pt x="902" y="482"/>
                      </a:lnTo>
                      <a:lnTo>
                        <a:pt x="902" y="484"/>
                      </a:lnTo>
                      <a:lnTo>
                        <a:pt x="905" y="482"/>
                      </a:lnTo>
                      <a:lnTo>
                        <a:pt x="905" y="481"/>
                      </a:lnTo>
                      <a:lnTo>
                        <a:pt x="906" y="481"/>
                      </a:lnTo>
                      <a:lnTo>
                        <a:pt x="908" y="481"/>
                      </a:lnTo>
                      <a:lnTo>
                        <a:pt x="909" y="480"/>
                      </a:lnTo>
                      <a:lnTo>
                        <a:pt x="910" y="480"/>
                      </a:lnTo>
                      <a:lnTo>
                        <a:pt x="911" y="479"/>
                      </a:lnTo>
                      <a:lnTo>
                        <a:pt x="914" y="478"/>
                      </a:lnTo>
                      <a:lnTo>
                        <a:pt x="919" y="475"/>
                      </a:lnTo>
                      <a:lnTo>
                        <a:pt x="922" y="474"/>
                      </a:lnTo>
                      <a:lnTo>
                        <a:pt x="923" y="473"/>
                      </a:lnTo>
                      <a:lnTo>
                        <a:pt x="924" y="473"/>
                      </a:lnTo>
                      <a:lnTo>
                        <a:pt x="924" y="472"/>
                      </a:lnTo>
                      <a:lnTo>
                        <a:pt x="925" y="472"/>
                      </a:lnTo>
                      <a:lnTo>
                        <a:pt x="926" y="470"/>
                      </a:lnTo>
                      <a:lnTo>
                        <a:pt x="928" y="469"/>
                      </a:lnTo>
                      <a:lnTo>
                        <a:pt x="930" y="468"/>
                      </a:lnTo>
                      <a:lnTo>
                        <a:pt x="934" y="466"/>
                      </a:lnTo>
                      <a:lnTo>
                        <a:pt x="936" y="464"/>
                      </a:lnTo>
                      <a:lnTo>
                        <a:pt x="937" y="463"/>
                      </a:lnTo>
                      <a:lnTo>
                        <a:pt x="938" y="462"/>
                      </a:lnTo>
                      <a:lnTo>
                        <a:pt x="938" y="461"/>
                      </a:lnTo>
                      <a:lnTo>
                        <a:pt x="939" y="460"/>
                      </a:lnTo>
                      <a:lnTo>
                        <a:pt x="940" y="460"/>
                      </a:lnTo>
                      <a:lnTo>
                        <a:pt x="943" y="457"/>
                      </a:lnTo>
                      <a:lnTo>
                        <a:pt x="943" y="456"/>
                      </a:lnTo>
                      <a:lnTo>
                        <a:pt x="944" y="456"/>
                      </a:lnTo>
                      <a:lnTo>
                        <a:pt x="945" y="455"/>
                      </a:lnTo>
                      <a:lnTo>
                        <a:pt x="947" y="454"/>
                      </a:lnTo>
                      <a:lnTo>
                        <a:pt x="947" y="453"/>
                      </a:lnTo>
                      <a:lnTo>
                        <a:pt x="948" y="453"/>
                      </a:lnTo>
                      <a:lnTo>
                        <a:pt x="949" y="452"/>
                      </a:lnTo>
                      <a:lnTo>
                        <a:pt x="949" y="451"/>
                      </a:lnTo>
                      <a:lnTo>
                        <a:pt x="951" y="450"/>
                      </a:lnTo>
                      <a:lnTo>
                        <a:pt x="954" y="447"/>
                      </a:lnTo>
                      <a:lnTo>
                        <a:pt x="956" y="443"/>
                      </a:lnTo>
                      <a:lnTo>
                        <a:pt x="957" y="442"/>
                      </a:lnTo>
                      <a:lnTo>
                        <a:pt x="960" y="439"/>
                      </a:lnTo>
                      <a:lnTo>
                        <a:pt x="963" y="436"/>
                      </a:lnTo>
                      <a:lnTo>
                        <a:pt x="982" y="408"/>
                      </a:lnTo>
                      <a:lnTo>
                        <a:pt x="982" y="407"/>
                      </a:lnTo>
                      <a:lnTo>
                        <a:pt x="983" y="405"/>
                      </a:lnTo>
                      <a:lnTo>
                        <a:pt x="983" y="407"/>
                      </a:lnTo>
                      <a:lnTo>
                        <a:pt x="984" y="407"/>
                      </a:lnTo>
                      <a:lnTo>
                        <a:pt x="986" y="407"/>
                      </a:lnTo>
                      <a:lnTo>
                        <a:pt x="986" y="405"/>
                      </a:lnTo>
                      <a:lnTo>
                        <a:pt x="987" y="405"/>
                      </a:lnTo>
                      <a:lnTo>
                        <a:pt x="987" y="407"/>
                      </a:lnTo>
                      <a:lnTo>
                        <a:pt x="988" y="407"/>
                      </a:lnTo>
                      <a:lnTo>
                        <a:pt x="989" y="407"/>
                      </a:lnTo>
                      <a:lnTo>
                        <a:pt x="990" y="407"/>
                      </a:lnTo>
                      <a:lnTo>
                        <a:pt x="990" y="408"/>
                      </a:lnTo>
                      <a:lnTo>
                        <a:pt x="989" y="408"/>
                      </a:lnTo>
                      <a:lnTo>
                        <a:pt x="987" y="408"/>
                      </a:lnTo>
                      <a:lnTo>
                        <a:pt x="987" y="409"/>
                      </a:lnTo>
                      <a:lnTo>
                        <a:pt x="986" y="409"/>
                      </a:lnTo>
                      <a:lnTo>
                        <a:pt x="986" y="410"/>
                      </a:lnTo>
                      <a:lnTo>
                        <a:pt x="986" y="411"/>
                      </a:lnTo>
                      <a:lnTo>
                        <a:pt x="987" y="412"/>
                      </a:lnTo>
                      <a:lnTo>
                        <a:pt x="988" y="412"/>
                      </a:lnTo>
                      <a:lnTo>
                        <a:pt x="988" y="413"/>
                      </a:lnTo>
                      <a:lnTo>
                        <a:pt x="987" y="413"/>
                      </a:lnTo>
                      <a:lnTo>
                        <a:pt x="987" y="414"/>
                      </a:lnTo>
                      <a:lnTo>
                        <a:pt x="988" y="413"/>
                      </a:lnTo>
                      <a:lnTo>
                        <a:pt x="989" y="413"/>
                      </a:lnTo>
                      <a:lnTo>
                        <a:pt x="989" y="414"/>
                      </a:lnTo>
                      <a:lnTo>
                        <a:pt x="989" y="415"/>
                      </a:lnTo>
                      <a:lnTo>
                        <a:pt x="990" y="417"/>
                      </a:lnTo>
                      <a:lnTo>
                        <a:pt x="991" y="417"/>
                      </a:lnTo>
                      <a:lnTo>
                        <a:pt x="991" y="416"/>
                      </a:lnTo>
                      <a:lnTo>
                        <a:pt x="991" y="415"/>
                      </a:lnTo>
                      <a:lnTo>
                        <a:pt x="990" y="414"/>
                      </a:lnTo>
                      <a:lnTo>
                        <a:pt x="989" y="414"/>
                      </a:lnTo>
                      <a:lnTo>
                        <a:pt x="989" y="413"/>
                      </a:lnTo>
                      <a:lnTo>
                        <a:pt x="989" y="412"/>
                      </a:lnTo>
                      <a:lnTo>
                        <a:pt x="989" y="411"/>
                      </a:lnTo>
                      <a:lnTo>
                        <a:pt x="990" y="411"/>
                      </a:lnTo>
                      <a:lnTo>
                        <a:pt x="990" y="410"/>
                      </a:lnTo>
                      <a:lnTo>
                        <a:pt x="991" y="410"/>
                      </a:lnTo>
                      <a:lnTo>
                        <a:pt x="992" y="409"/>
                      </a:lnTo>
                      <a:lnTo>
                        <a:pt x="991" y="409"/>
                      </a:lnTo>
                      <a:lnTo>
                        <a:pt x="991" y="408"/>
                      </a:lnTo>
                      <a:lnTo>
                        <a:pt x="991" y="407"/>
                      </a:lnTo>
                      <a:lnTo>
                        <a:pt x="992" y="407"/>
                      </a:lnTo>
                      <a:lnTo>
                        <a:pt x="992" y="405"/>
                      </a:lnTo>
                      <a:lnTo>
                        <a:pt x="992" y="404"/>
                      </a:lnTo>
                      <a:lnTo>
                        <a:pt x="992" y="405"/>
                      </a:lnTo>
                      <a:lnTo>
                        <a:pt x="991" y="405"/>
                      </a:lnTo>
                      <a:lnTo>
                        <a:pt x="991" y="404"/>
                      </a:lnTo>
                      <a:lnTo>
                        <a:pt x="992" y="404"/>
                      </a:lnTo>
                      <a:lnTo>
                        <a:pt x="993" y="403"/>
                      </a:lnTo>
                      <a:lnTo>
                        <a:pt x="993" y="402"/>
                      </a:lnTo>
                      <a:lnTo>
                        <a:pt x="994" y="402"/>
                      </a:lnTo>
                      <a:lnTo>
                        <a:pt x="995" y="402"/>
                      </a:lnTo>
                      <a:lnTo>
                        <a:pt x="996" y="402"/>
                      </a:lnTo>
                      <a:lnTo>
                        <a:pt x="996" y="401"/>
                      </a:lnTo>
                      <a:lnTo>
                        <a:pt x="997" y="401"/>
                      </a:lnTo>
                      <a:lnTo>
                        <a:pt x="999" y="400"/>
                      </a:lnTo>
                      <a:lnTo>
                        <a:pt x="999" y="401"/>
                      </a:lnTo>
                      <a:lnTo>
                        <a:pt x="999" y="402"/>
                      </a:lnTo>
                      <a:lnTo>
                        <a:pt x="999" y="403"/>
                      </a:lnTo>
                      <a:lnTo>
                        <a:pt x="999" y="404"/>
                      </a:lnTo>
                      <a:lnTo>
                        <a:pt x="999" y="405"/>
                      </a:lnTo>
                      <a:lnTo>
                        <a:pt x="997" y="405"/>
                      </a:lnTo>
                      <a:lnTo>
                        <a:pt x="997" y="407"/>
                      </a:lnTo>
                      <a:lnTo>
                        <a:pt x="997" y="408"/>
                      </a:lnTo>
                      <a:lnTo>
                        <a:pt x="997" y="407"/>
                      </a:lnTo>
                      <a:lnTo>
                        <a:pt x="997" y="408"/>
                      </a:lnTo>
                      <a:lnTo>
                        <a:pt x="997" y="409"/>
                      </a:lnTo>
                      <a:lnTo>
                        <a:pt x="997" y="410"/>
                      </a:lnTo>
                      <a:lnTo>
                        <a:pt x="996" y="410"/>
                      </a:lnTo>
                      <a:lnTo>
                        <a:pt x="996" y="409"/>
                      </a:lnTo>
                      <a:lnTo>
                        <a:pt x="995" y="409"/>
                      </a:lnTo>
                      <a:lnTo>
                        <a:pt x="994" y="410"/>
                      </a:lnTo>
                      <a:lnTo>
                        <a:pt x="995" y="410"/>
                      </a:lnTo>
                      <a:lnTo>
                        <a:pt x="995" y="411"/>
                      </a:lnTo>
                      <a:lnTo>
                        <a:pt x="995" y="412"/>
                      </a:lnTo>
                      <a:lnTo>
                        <a:pt x="995" y="413"/>
                      </a:lnTo>
                      <a:lnTo>
                        <a:pt x="995" y="414"/>
                      </a:lnTo>
                      <a:lnTo>
                        <a:pt x="995" y="415"/>
                      </a:lnTo>
                      <a:lnTo>
                        <a:pt x="995" y="416"/>
                      </a:lnTo>
                      <a:lnTo>
                        <a:pt x="996" y="417"/>
                      </a:lnTo>
                      <a:lnTo>
                        <a:pt x="996" y="418"/>
                      </a:lnTo>
                      <a:lnTo>
                        <a:pt x="997" y="420"/>
                      </a:lnTo>
                      <a:lnTo>
                        <a:pt x="997" y="421"/>
                      </a:lnTo>
                      <a:lnTo>
                        <a:pt x="999" y="421"/>
                      </a:lnTo>
                      <a:lnTo>
                        <a:pt x="999" y="422"/>
                      </a:lnTo>
                      <a:lnTo>
                        <a:pt x="999" y="423"/>
                      </a:lnTo>
                      <a:lnTo>
                        <a:pt x="999" y="424"/>
                      </a:lnTo>
                      <a:lnTo>
                        <a:pt x="1000" y="424"/>
                      </a:lnTo>
                      <a:lnTo>
                        <a:pt x="1000" y="425"/>
                      </a:lnTo>
                      <a:lnTo>
                        <a:pt x="1000" y="426"/>
                      </a:lnTo>
                      <a:lnTo>
                        <a:pt x="1001" y="426"/>
                      </a:lnTo>
                      <a:lnTo>
                        <a:pt x="1001" y="427"/>
                      </a:lnTo>
                      <a:lnTo>
                        <a:pt x="1001" y="426"/>
                      </a:lnTo>
                      <a:lnTo>
                        <a:pt x="1001" y="427"/>
                      </a:lnTo>
                      <a:lnTo>
                        <a:pt x="1000" y="427"/>
                      </a:lnTo>
                      <a:lnTo>
                        <a:pt x="1000" y="428"/>
                      </a:lnTo>
                      <a:lnTo>
                        <a:pt x="1001" y="428"/>
                      </a:lnTo>
                      <a:lnTo>
                        <a:pt x="1002" y="428"/>
                      </a:lnTo>
                      <a:lnTo>
                        <a:pt x="1002" y="429"/>
                      </a:lnTo>
                      <a:lnTo>
                        <a:pt x="1003" y="429"/>
                      </a:lnTo>
                      <a:lnTo>
                        <a:pt x="1003" y="430"/>
                      </a:lnTo>
                      <a:lnTo>
                        <a:pt x="1002" y="430"/>
                      </a:lnTo>
                      <a:lnTo>
                        <a:pt x="1003" y="430"/>
                      </a:lnTo>
                      <a:lnTo>
                        <a:pt x="1003" y="431"/>
                      </a:lnTo>
                      <a:lnTo>
                        <a:pt x="1003" y="433"/>
                      </a:lnTo>
                      <a:lnTo>
                        <a:pt x="1004" y="433"/>
                      </a:lnTo>
                      <a:lnTo>
                        <a:pt x="1004" y="434"/>
                      </a:lnTo>
                      <a:lnTo>
                        <a:pt x="1003" y="434"/>
                      </a:lnTo>
                      <a:lnTo>
                        <a:pt x="1003" y="433"/>
                      </a:lnTo>
                      <a:lnTo>
                        <a:pt x="1002" y="433"/>
                      </a:lnTo>
                      <a:lnTo>
                        <a:pt x="1002" y="434"/>
                      </a:lnTo>
                      <a:lnTo>
                        <a:pt x="1001" y="434"/>
                      </a:lnTo>
                      <a:lnTo>
                        <a:pt x="1001" y="435"/>
                      </a:lnTo>
                      <a:lnTo>
                        <a:pt x="1000" y="435"/>
                      </a:lnTo>
                      <a:lnTo>
                        <a:pt x="999" y="435"/>
                      </a:lnTo>
                      <a:lnTo>
                        <a:pt x="1000" y="435"/>
                      </a:lnTo>
                      <a:lnTo>
                        <a:pt x="1000" y="436"/>
                      </a:lnTo>
                      <a:lnTo>
                        <a:pt x="1001" y="437"/>
                      </a:lnTo>
                      <a:lnTo>
                        <a:pt x="1002" y="437"/>
                      </a:lnTo>
                      <a:lnTo>
                        <a:pt x="1003" y="437"/>
                      </a:lnTo>
                      <a:lnTo>
                        <a:pt x="1003" y="436"/>
                      </a:lnTo>
                      <a:lnTo>
                        <a:pt x="1004" y="436"/>
                      </a:lnTo>
                      <a:lnTo>
                        <a:pt x="1004" y="437"/>
                      </a:lnTo>
                      <a:lnTo>
                        <a:pt x="1003" y="438"/>
                      </a:lnTo>
                      <a:lnTo>
                        <a:pt x="1002" y="439"/>
                      </a:lnTo>
                      <a:lnTo>
                        <a:pt x="1003" y="439"/>
                      </a:lnTo>
                      <a:lnTo>
                        <a:pt x="1004" y="439"/>
                      </a:lnTo>
                      <a:lnTo>
                        <a:pt x="1005" y="439"/>
                      </a:lnTo>
                      <a:lnTo>
                        <a:pt x="1006" y="439"/>
                      </a:lnTo>
                      <a:lnTo>
                        <a:pt x="1006" y="438"/>
                      </a:lnTo>
                      <a:lnTo>
                        <a:pt x="1005" y="438"/>
                      </a:lnTo>
                      <a:lnTo>
                        <a:pt x="1004" y="439"/>
                      </a:lnTo>
                      <a:lnTo>
                        <a:pt x="1004" y="438"/>
                      </a:lnTo>
                      <a:lnTo>
                        <a:pt x="1003" y="438"/>
                      </a:lnTo>
                      <a:lnTo>
                        <a:pt x="1003" y="437"/>
                      </a:lnTo>
                      <a:lnTo>
                        <a:pt x="1004" y="437"/>
                      </a:lnTo>
                      <a:lnTo>
                        <a:pt x="1005" y="437"/>
                      </a:lnTo>
                      <a:lnTo>
                        <a:pt x="1006" y="437"/>
                      </a:lnTo>
                      <a:lnTo>
                        <a:pt x="1006" y="438"/>
                      </a:lnTo>
                      <a:lnTo>
                        <a:pt x="1007" y="438"/>
                      </a:lnTo>
                      <a:lnTo>
                        <a:pt x="1007" y="437"/>
                      </a:lnTo>
                      <a:lnTo>
                        <a:pt x="1008" y="438"/>
                      </a:lnTo>
                      <a:lnTo>
                        <a:pt x="1009" y="439"/>
                      </a:lnTo>
                      <a:lnTo>
                        <a:pt x="1008" y="439"/>
                      </a:lnTo>
                      <a:lnTo>
                        <a:pt x="1008" y="440"/>
                      </a:lnTo>
                      <a:lnTo>
                        <a:pt x="1008" y="441"/>
                      </a:lnTo>
                      <a:lnTo>
                        <a:pt x="1009" y="440"/>
                      </a:lnTo>
                      <a:lnTo>
                        <a:pt x="1009" y="441"/>
                      </a:lnTo>
                      <a:lnTo>
                        <a:pt x="1008" y="441"/>
                      </a:lnTo>
                      <a:lnTo>
                        <a:pt x="1009" y="441"/>
                      </a:lnTo>
                      <a:lnTo>
                        <a:pt x="1011" y="441"/>
                      </a:lnTo>
                      <a:lnTo>
                        <a:pt x="1011" y="440"/>
                      </a:lnTo>
                      <a:lnTo>
                        <a:pt x="1011" y="441"/>
                      </a:lnTo>
                      <a:lnTo>
                        <a:pt x="1012" y="442"/>
                      </a:lnTo>
                      <a:lnTo>
                        <a:pt x="1012" y="443"/>
                      </a:lnTo>
                      <a:lnTo>
                        <a:pt x="1011" y="443"/>
                      </a:lnTo>
                      <a:lnTo>
                        <a:pt x="1011" y="442"/>
                      </a:lnTo>
                      <a:lnTo>
                        <a:pt x="1011" y="443"/>
                      </a:lnTo>
                      <a:lnTo>
                        <a:pt x="1012" y="443"/>
                      </a:lnTo>
                      <a:lnTo>
                        <a:pt x="1012" y="442"/>
                      </a:lnTo>
                      <a:lnTo>
                        <a:pt x="1013" y="442"/>
                      </a:lnTo>
                      <a:lnTo>
                        <a:pt x="1014" y="442"/>
                      </a:lnTo>
                      <a:lnTo>
                        <a:pt x="1015" y="442"/>
                      </a:lnTo>
                      <a:lnTo>
                        <a:pt x="1015" y="443"/>
                      </a:lnTo>
                      <a:lnTo>
                        <a:pt x="1015" y="442"/>
                      </a:lnTo>
                      <a:lnTo>
                        <a:pt x="1016" y="443"/>
                      </a:lnTo>
                      <a:lnTo>
                        <a:pt x="1016" y="442"/>
                      </a:lnTo>
                      <a:lnTo>
                        <a:pt x="1017" y="442"/>
                      </a:lnTo>
                      <a:lnTo>
                        <a:pt x="1017" y="443"/>
                      </a:lnTo>
                      <a:lnTo>
                        <a:pt x="1018" y="443"/>
                      </a:lnTo>
                      <a:lnTo>
                        <a:pt x="1019" y="442"/>
                      </a:lnTo>
                      <a:lnTo>
                        <a:pt x="1018" y="442"/>
                      </a:lnTo>
                      <a:lnTo>
                        <a:pt x="1019" y="442"/>
                      </a:lnTo>
                      <a:lnTo>
                        <a:pt x="1019" y="441"/>
                      </a:lnTo>
                      <a:lnTo>
                        <a:pt x="1019" y="440"/>
                      </a:lnTo>
                      <a:lnTo>
                        <a:pt x="1020" y="440"/>
                      </a:lnTo>
                      <a:lnTo>
                        <a:pt x="1020" y="441"/>
                      </a:lnTo>
                      <a:lnTo>
                        <a:pt x="1021" y="442"/>
                      </a:lnTo>
                      <a:lnTo>
                        <a:pt x="1022" y="443"/>
                      </a:lnTo>
                      <a:lnTo>
                        <a:pt x="1022" y="444"/>
                      </a:lnTo>
                      <a:lnTo>
                        <a:pt x="1025" y="444"/>
                      </a:lnTo>
                      <a:lnTo>
                        <a:pt x="1026" y="444"/>
                      </a:lnTo>
                      <a:lnTo>
                        <a:pt x="1028" y="444"/>
                      </a:lnTo>
                      <a:lnTo>
                        <a:pt x="1030" y="444"/>
                      </a:lnTo>
                      <a:lnTo>
                        <a:pt x="1033" y="444"/>
                      </a:lnTo>
                      <a:lnTo>
                        <a:pt x="1034" y="444"/>
                      </a:lnTo>
                      <a:lnTo>
                        <a:pt x="1033" y="446"/>
                      </a:lnTo>
                      <a:lnTo>
                        <a:pt x="1032" y="446"/>
                      </a:lnTo>
                      <a:lnTo>
                        <a:pt x="1031" y="447"/>
                      </a:lnTo>
                      <a:lnTo>
                        <a:pt x="1032" y="448"/>
                      </a:lnTo>
                      <a:lnTo>
                        <a:pt x="1032" y="449"/>
                      </a:lnTo>
                      <a:lnTo>
                        <a:pt x="1033" y="449"/>
                      </a:lnTo>
                      <a:lnTo>
                        <a:pt x="1034" y="449"/>
                      </a:lnTo>
                      <a:lnTo>
                        <a:pt x="1035" y="448"/>
                      </a:lnTo>
                      <a:lnTo>
                        <a:pt x="1035" y="447"/>
                      </a:lnTo>
                      <a:lnTo>
                        <a:pt x="1035" y="446"/>
                      </a:lnTo>
                      <a:lnTo>
                        <a:pt x="1035" y="444"/>
                      </a:lnTo>
                      <a:lnTo>
                        <a:pt x="1037" y="446"/>
                      </a:lnTo>
                      <a:lnTo>
                        <a:pt x="1039" y="446"/>
                      </a:lnTo>
                      <a:lnTo>
                        <a:pt x="1039" y="447"/>
                      </a:lnTo>
                      <a:lnTo>
                        <a:pt x="1038" y="448"/>
                      </a:lnTo>
                      <a:lnTo>
                        <a:pt x="1037" y="450"/>
                      </a:lnTo>
                      <a:lnTo>
                        <a:pt x="1035" y="452"/>
                      </a:lnTo>
                      <a:lnTo>
                        <a:pt x="1034" y="455"/>
                      </a:lnTo>
                      <a:lnTo>
                        <a:pt x="1033" y="456"/>
                      </a:lnTo>
                      <a:lnTo>
                        <a:pt x="1032" y="456"/>
                      </a:lnTo>
                      <a:lnTo>
                        <a:pt x="1031" y="457"/>
                      </a:lnTo>
                      <a:lnTo>
                        <a:pt x="1029" y="457"/>
                      </a:lnTo>
                      <a:lnTo>
                        <a:pt x="1028" y="457"/>
                      </a:lnTo>
                      <a:lnTo>
                        <a:pt x="1028" y="459"/>
                      </a:lnTo>
                      <a:lnTo>
                        <a:pt x="1027" y="460"/>
                      </a:lnTo>
                      <a:lnTo>
                        <a:pt x="1029" y="460"/>
                      </a:lnTo>
                      <a:lnTo>
                        <a:pt x="1030" y="460"/>
                      </a:lnTo>
                      <a:lnTo>
                        <a:pt x="1031" y="460"/>
                      </a:lnTo>
                      <a:lnTo>
                        <a:pt x="1032" y="459"/>
                      </a:lnTo>
                      <a:lnTo>
                        <a:pt x="1033" y="459"/>
                      </a:lnTo>
                      <a:lnTo>
                        <a:pt x="1034" y="457"/>
                      </a:lnTo>
                      <a:lnTo>
                        <a:pt x="1035" y="455"/>
                      </a:lnTo>
                      <a:lnTo>
                        <a:pt x="1037" y="454"/>
                      </a:lnTo>
                      <a:lnTo>
                        <a:pt x="1037" y="453"/>
                      </a:lnTo>
                      <a:lnTo>
                        <a:pt x="1038" y="451"/>
                      </a:lnTo>
                      <a:lnTo>
                        <a:pt x="1038" y="450"/>
                      </a:lnTo>
                      <a:lnTo>
                        <a:pt x="1040" y="449"/>
                      </a:lnTo>
                      <a:lnTo>
                        <a:pt x="1040" y="448"/>
                      </a:lnTo>
                      <a:lnTo>
                        <a:pt x="1040" y="447"/>
                      </a:lnTo>
                      <a:lnTo>
                        <a:pt x="1041" y="447"/>
                      </a:lnTo>
                      <a:lnTo>
                        <a:pt x="1040" y="446"/>
                      </a:lnTo>
                      <a:lnTo>
                        <a:pt x="1040" y="444"/>
                      </a:lnTo>
                      <a:lnTo>
                        <a:pt x="1038" y="442"/>
                      </a:lnTo>
                      <a:lnTo>
                        <a:pt x="1035" y="442"/>
                      </a:lnTo>
                      <a:lnTo>
                        <a:pt x="1034" y="442"/>
                      </a:lnTo>
                      <a:lnTo>
                        <a:pt x="1031" y="442"/>
                      </a:lnTo>
                      <a:lnTo>
                        <a:pt x="1028" y="441"/>
                      </a:lnTo>
                      <a:lnTo>
                        <a:pt x="1027" y="441"/>
                      </a:lnTo>
                      <a:lnTo>
                        <a:pt x="1025" y="441"/>
                      </a:lnTo>
                      <a:lnTo>
                        <a:pt x="1025" y="440"/>
                      </a:lnTo>
                      <a:lnTo>
                        <a:pt x="1027" y="440"/>
                      </a:lnTo>
                      <a:lnTo>
                        <a:pt x="1028" y="440"/>
                      </a:lnTo>
                      <a:lnTo>
                        <a:pt x="1029" y="440"/>
                      </a:lnTo>
                      <a:lnTo>
                        <a:pt x="1030" y="440"/>
                      </a:lnTo>
                      <a:lnTo>
                        <a:pt x="1030" y="439"/>
                      </a:lnTo>
                      <a:lnTo>
                        <a:pt x="1031" y="439"/>
                      </a:lnTo>
                      <a:lnTo>
                        <a:pt x="1032" y="439"/>
                      </a:lnTo>
                      <a:lnTo>
                        <a:pt x="1033" y="438"/>
                      </a:lnTo>
                      <a:lnTo>
                        <a:pt x="1034" y="438"/>
                      </a:lnTo>
                      <a:lnTo>
                        <a:pt x="1035" y="437"/>
                      </a:lnTo>
                      <a:lnTo>
                        <a:pt x="1037" y="437"/>
                      </a:lnTo>
                      <a:lnTo>
                        <a:pt x="1038" y="437"/>
                      </a:lnTo>
                      <a:lnTo>
                        <a:pt x="1038" y="436"/>
                      </a:lnTo>
                      <a:lnTo>
                        <a:pt x="1039" y="436"/>
                      </a:lnTo>
                      <a:lnTo>
                        <a:pt x="1038" y="436"/>
                      </a:lnTo>
                      <a:lnTo>
                        <a:pt x="1039" y="436"/>
                      </a:lnTo>
                      <a:lnTo>
                        <a:pt x="1039" y="435"/>
                      </a:lnTo>
                      <a:lnTo>
                        <a:pt x="1040" y="435"/>
                      </a:lnTo>
                      <a:lnTo>
                        <a:pt x="1040" y="434"/>
                      </a:lnTo>
                      <a:lnTo>
                        <a:pt x="1041" y="434"/>
                      </a:lnTo>
                      <a:lnTo>
                        <a:pt x="1040" y="434"/>
                      </a:lnTo>
                      <a:lnTo>
                        <a:pt x="1040" y="433"/>
                      </a:lnTo>
                      <a:lnTo>
                        <a:pt x="1040" y="431"/>
                      </a:lnTo>
                      <a:lnTo>
                        <a:pt x="1040" y="430"/>
                      </a:lnTo>
                      <a:lnTo>
                        <a:pt x="1041" y="430"/>
                      </a:lnTo>
                      <a:lnTo>
                        <a:pt x="1041" y="429"/>
                      </a:lnTo>
                      <a:lnTo>
                        <a:pt x="1042" y="429"/>
                      </a:lnTo>
                      <a:lnTo>
                        <a:pt x="1042" y="428"/>
                      </a:lnTo>
                      <a:lnTo>
                        <a:pt x="1043" y="428"/>
                      </a:lnTo>
                      <a:lnTo>
                        <a:pt x="1043" y="427"/>
                      </a:lnTo>
                      <a:lnTo>
                        <a:pt x="1043" y="428"/>
                      </a:lnTo>
                      <a:lnTo>
                        <a:pt x="1044" y="427"/>
                      </a:lnTo>
                      <a:lnTo>
                        <a:pt x="1044" y="426"/>
                      </a:lnTo>
                      <a:lnTo>
                        <a:pt x="1045" y="426"/>
                      </a:lnTo>
                      <a:lnTo>
                        <a:pt x="1045" y="425"/>
                      </a:lnTo>
                      <a:lnTo>
                        <a:pt x="1046" y="425"/>
                      </a:lnTo>
                      <a:lnTo>
                        <a:pt x="1046" y="424"/>
                      </a:lnTo>
                      <a:lnTo>
                        <a:pt x="1047" y="424"/>
                      </a:lnTo>
                      <a:lnTo>
                        <a:pt x="1048" y="423"/>
                      </a:lnTo>
                      <a:lnTo>
                        <a:pt x="1048" y="422"/>
                      </a:lnTo>
                      <a:lnTo>
                        <a:pt x="1050" y="422"/>
                      </a:lnTo>
                      <a:lnTo>
                        <a:pt x="1050" y="421"/>
                      </a:lnTo>
                      <a:lnTo>
                        <a:pt x="1051" y="421"/>
                      </a:lnTo>
                      <a:lnTo>
                        <a:pt x="1052" y="421"/>
                      </a:lnTo>
                      <a:lnTo>
                        <a:pt x="1052" y="420"/>
                      </a:lnTo>
                      <a:lnTo>
                        <a:pt x="1053" y="418"/>
                      </a:lnTo>
                      <a:lnTo>
                        <a:pt x="1053" y="420"/>
                      </a:lnTo>
                      <a:lnTo>
                        <a:pt x="1054" y="418"/>
                      </a:lnTo>
                      <a:lnTo>
                        <a:pt x="1054" y="417"/>
                      </a:lnTo>
                      <a:lnTo>
                        <a:pt x="1055" y="417"/>
                      </a:lnTo>
                      <a:lnTo>
                        <a:pt x="1055" y="416"/>
                      </a:lnTo>
                      <a:lnTo>
                        <a:pt x="1056" y="416"/>
                      </a:lnTo>
                      <a:lnTo>
                        <a:pt x="1055" y="416"/>
                      </a:lnTo>
                      <a:lnTo>
                        <a:pt x="1056" y="416"/>
                      </a:lnTo>
                      <a:lnTo>
                        <a:pt x="1056" y="415"/>
                      </a:lnTo>
                      <a:lnTo>
                        <a:pt x="1056" y="414"/>
                      </a:lnTo>
                      <a:lnTo>
                        <a:pt x="1057" y="414"/>
                      </a:lnTo>
                      <a:lnTo>
                        <a:pt x="1057" y="413"/>
                      </a:lnTo>
                      <a:lnTo>
                        <a:pt x="1058" y="413"/>
                      </a:lnTo>
                      <a:lnTo>
                        <a:pt x="1059" y="412"/>
                      </a:lnTo>
                      <a:lnTo>
                        <a:pt x="1059" y="411"/>
                      </a:lnTo>
                      <a:lnTo>
                        <a:pt x="1060" y="412"/>
                      </a:lnTo>
                      <a:lnTo>
                        <a:pt x="1059" y="411"/>
                      </a:lnTo>
                      <a:lnTo>
                        <a:pt x="1060" y="411"/>
                      </a:lnTo>
                      <a:lnTo>
                        <a:pt x="1061" y="411"/>
                      </a:lnTo>
                      <a:lnTo>
                        <a:pt x="1060" y="410"/>
                      </a:lnTo>
                      <a:lnTo>
                        <a:pt x="1061" y="410"/>
                      </a:lnTo>
                      <a:lnTo>
                        <a:pt x="1063" y="410"/>
                      </a:lnTo>
                      <a:lnTo>
                        <a:pt x="1063" y="409"/>
                      </a:lnTo>
                      <a:lnTo>
                        <a:pt x="1064" y="409"/>
                      </a:lnTo>
                      <a:lnTo>
                        <a:pt x="1064" y="408"/>
                      </a:lnTo>
                      <a:lnTo>
                        <a:pt x="1064" y="407"/>
                      </a:lnTo>
                      <a:lnTo>
                        <a:pt x="1064" y="408"/>
                      </a:lnTo>
                      <a:lnTo>
                        <a:pt x="1064" y="407"/>
                      </a:lnTo>
                      <a:lnTo>
                        <a:pt x="1064" y="405"/>
                      </a:lnTo>
                      <a:lnTo>
                        <a:pt x="1065" y="405"/>
                      </a:lnTo>
                      <a:lnTo>
                        <a:pt x="1065" y="404"/>
                      </a:lnTo>
                      <a:lnTo>
                        <a:pt x="1066" y="403"/>
                      </a:lnTo>
                      <a:lnTo>
                        <a:pt x="1066" y="402"/>
                      </a:lnTo>
                      <a:lnTo>
                        <a:pt x="1066" y="401"/>
                      </a:lnTo>
                      <a:lnTo>
                        <a:pt x="1067" y="401"/>
                      </a:lnTo>
                      <a:lnTo>
                        <a:pt x="1067" y="402"/>
                      </a:lnTo>
                      <a:lnTo>
                        <a:pt x="1067" y="401"/>
                      </a:lnTo>
                      <a:lnTo>
                        <a:pt x="1067" y="400"/>
                      </a:lnTo>
                      <a:lnTo>
                        <a:pt x="1067" y="399"/>
                      </a:lnTo>
                      <a:lnTo>
                        <a:pt x="1067" y="398"/>
                      </a:lnTo>
                      <a:lnTo>
                        <a:pt x="1067" y="397"/>
                      </a:lnTo>
                      <a:lnTo>
                        <a:pt x="1067" y="396"/>
                      </a:lnTo>
                      <a:lnTo>
                        <a:pt x="1066" y="396"/>
                      </a:lnTo>
                      <a:lnTo>
                        <a:pt x="1066" y="395"/>
                      </a:lnTo>
                      <a:lnTo>
                        <a:pt x="1065" y="395"/>
                      </a:lnTo>
                      <a:lnTo>
                        <a:pt x="1066" y="395"/>
                      </a:lnTo>
                      <a:lnTo>
                        <a:pt x="1066" y="393"/>
                      </a:lnTo>
                      <a:lnTo>
                        <a:pt x="1065" y="393"/>
                      </a:lnTo>
                      <a:lnTo>
                        <a:pt x="1066" y="393"/>
                      </a:lnTo>
                      <a:lnTo>
                        <a:pt x="1066" y="395"/>
                      </a:lnTo>
                      <a:lnTo>
                        <a:pt x="1066" y="393"/>
                      </a:lnTo>
                      <a:lnTo>
                        <a:pt x="1067" y="393"/>
                      </a:lnTo>
                      <a:lnTo>
                        <a:pt x="1068" y="393"/>
                      </a:lnTo>
                      <a:lnTo>
                        <a:pt x="1069" y="395"/>
                      </a:lnTo>
                      <a:lnTo>
                        <a:pt x="1068" y="395"/>
                      </a:lnTo>
                      <a:lnTo>
                        <a:pt x="1069" y="395"/>
                      </a:lnTo>
                      <a:lnTo>
                        <a:pt x="1069" y="393"/>
                      </a:lnTo>
                      <a:lnTo>
                        <a:pt x="1068" y="393"/>
                      </a:lnTo>
                      <a:lnTo>
                        <a:pt x="1068" y="392"/>
                      </a:lnTo>
                      <a:lnTo>
                        <a:pt x="1067" y="393"/>
                      </a:lnTo>
                      <a:lnTo>
                        <a:pt x="1066" y="393"/>
                      </a:lnTo>
                      <a:lnTo>
                        <a:pt x="1065" y="393"/>
                      </a:lnTo>
                      <a:lnTo>
                        <a:pt x="1066" y="393"/>
                      </a:lnTo>
                      <a:lnTo>
                        <a:pt x="1066" y="392"/>
                      </a:lnTo>
                      <a:lnTo>
                        <a:pt x="1066" y="391"/>
                      </a:lnTo>
                      <a:lnTo>
                        <a:pt x="1066" y="392"/>
                      </a:lnTo>
                      <a:lnTo>
                        <a:pt x="1066" y="391"/>
                      </a:lnTo>
                      <a:lnTo>
                        <a:pt x="1066" y="390"/>
                      </a:lnTo>
                      <a:lnTo>
                        <a:pt x="1066" y="389"/>
                      </a:lnTo>
                      <a:lnTo>
                        <a:pt x="1066" y="388"/>
                      </a:lnTo>
                      <a:lnTo>
                        <a:pt x="1066" y="387"/>
                      </a:lnTo>
                      <a:lnTo>
                        <a:pt x="1067" y="387"/>
                      </a:lnTo>
                      <a:lnTo>
                        <a:pt x="1068" y="387"/>
                      </a:lnTo>
                      <a:lnTo>
                        <a:pt x="1068" y="388"/>
                      </a:lnTo>
                      <a:lnTo>
                        <a:pt x="1068" y="389"/>
                      </a:lnTo>
                      <a:lnTo>
                        <a:pt x="1068" y="391"/>
                      </a:lnTo>
                      <a:lnTo>
                        <a:pt x="1069" y="393"/>
                      </a:lnTo>
                      <a:lnTo>
                        <a:pt x="1069" y="392"/>
                      </a:lnTo>
                      <a:lnTo>
                        <a:pt x="1070" y="391"/>
                      </a:lnTo>
                      <a:lnTo>
                        <a:pt x="1071" y="391"/>
                      </a:lnTo>
                      <a:lnTo>
                        <a:pt x="1071" y="392"/>
                      </a:lnTo>
                      <a:lnTo>
                        <a:pt x="1071" y="393"/>
                      </a:lnTo>
                      <a:lnTo>
                        <a:pt x="1071" y="392"/>
                      </a:lnTo>
                      <a:lnTo>
                        <a:pt x="1071" y="393"/>
                      </a:lnTo>
                      <a:lnTo>
                        <a:pt x="1070" y="393"/>
                      </a:lnTo>
                      <a:lnTo>
                        <a:pt x="1070" y="395"/>
                      </a:lnTo>
                      <a:lnTo>
                        <a:pt x="1069" y="395"/>
                      </a:lnTo>
                      <a:lnTo>
                        <a:pt x="1070" y="395"/>
                      </a:lnTo>
                      <a:lnTo>
                        <a:pt x="1070" y="396"/>
                      </a:lnTo>
                      <a:lnTo>
                        <a:pt x="1069" y="396"/>
                      </a:lnTo>
                      <a:lnTo>
                        <a:pt x="1070" y="396"/>
                      </a:lnTo>
                      <a:lnTo>
                        <a:pt x="1070" y="397"/>
                      </a:lnTo>
                      <a:lnTo>
                        <a:pt x="1069" y="396"/>
                      </a:lnTo>
                      <a:lnTo>
                        <a:pt x="1069" y="397"/>
                      </a:lnTo>
                      <a:lnTo>
                        <a:pt x="1070" y="397"/>
                      </a:lnTo>
                      <a:lnTo>
                        <a:pt x="1071" y="397"/>
                      </a:lnTo>
                      <a:lnTo>
                        <a:pt x="1071" y="398"/>
                      </a:lnTo>
                      <a:lnTo>
                        <a:pt x="1070" y="398"/>
                      </a:lnTo>
                      <a:lnTo>
                        <a:pt x="1071" y="398"/>
                      </a:lnTo>
                      <a:lnTo>
                        <a:pt x="1070" y="398"/>
                      </a:lnTo>
                      <a:lnTo>
                        <a:pt x="1071" y="398"/>
                      </a:lnTo>
                      <a:lnTo>
                        <a:pt x="1071" y="399"/>
                      </a:lnTo>
                      <a:lnTo>
                        <a:pt x="1070" y="399"/>
                      </a:lnTo>
                      <a:lnTo>
                        <a:pt x="1071" y="399"/>
                      </a:lnTo>
                      <a:lnTo>
                        <a:pt x="1071" y="400"/>
                      </a:lnTo>
                      <a:lnTo>
                        <a:pt x="1070" y="400"/>
                      </a:lnTo>
                      <a:lnTo>
                        <a:pt x="1071" y="400"/>
                      </a:lnTo>
                      <a:lnTo>
                        <a:pt x="1070" y="400"/>
                      </a:lnTo>
                      <a:lnTo>
                        <a:pt x="1071" y="400"/>
                      </a:lnTo>
                      <a:lnTo>
                        <a:pt x="1071" y="401"/>
                      </a:lnTo>
                      <a:lnTo>
                        <a:pt x="1071" y="402"/>
                      </a:lnTo>
                      <a:lnTo>
                        <a:pt x="1071" y="403"/>
                      </a:lnTo>
                      <a:lnTo>
                        <a:pt x="1070" y="404"/>
                      </a:lnTo>
                      <a:lnTo>
                        <a:pt x="1069" y="403"/>
                      </a:lnTo>
                      <a:lnTo>
                        <a:pt x="1069" y="404"/>
                      </a:lnTo>
                      <a:lnTo>
                        <a:pt x="1070" y="404"/>
                      </a:lnTo>
                      <a:lnTo>
                        <a:pt x="1069" y="404"/>
                      </a:lnTo>
                      <a:lnTo>
                        <a:pt x="1069" y="405"/>
                      </a:lnTo>
                      <a:lnTo>
                        <a:pt x="1069" y="404"/>
                      </a:lnTo>
                      <a:lnTo>
                        <a:pt x="1069" y="405"/>
                      </a:lnTo>
                      <a:lnTo>
                        <a:pt x="1068" y="405"/>
                      </a:lnTo>
                      <a:lnTo>
                        <a:pt x="1068" y="407"/>
                      </a:lnTo>
                      <a:lnTo>
                        <a:pt x="1068" y="405"/>
                      </a:lnTo>
                      <a:lnTo>
                        <a:pt x="1068" y="407"/>
                      </a:lnTo>
                      <a:lnTo>
                        <a:pt x="1068" y="405"/>
                      </a:lnTo>
                      <a:lnTo>
                        <a:pt x="1067" y="405"/>
                      </a:lnTo>
                      <a:lnTo>
                        <a:pt x="1068" y="407"/>
                      </a:lnTo>
                      <a:lnTo>
                        <a:pt x="1067" y="407"/>
                      </a:lnTo>
                      <a:lnTo>
                        <a:pt x="1066" y="409"/>
                      </a:lnTo>
                      <a:lnTo>
                        <a:pt x="1065" y="409"/>
                      </a:lnTo>
                      <a:lnTo>
                        <a:pt x="1064" y="410"/>
                      </a:lnTo>
                      <a:lnTo>
                        <a:pt x="1063" y="411"/>
                      </a:lnTo>
                      <a:lnTo>
                        <a:pt x="1063" y="412"/>
                      </a:lnTo>
                      <a:lnTo>
                        <a:pt x="1061" y="411"/>
                      </a:lnTo>
                      <a:lnTo>
                        <a:pt x="1061" y="412"/>
                      </a:lnTo>
                      <a:lnTo>
                        <a:pt x="1060" y="413"/>
                      </a:lnTo>
                      <a:lnTo>
                        <a:pt x="1059" y="414"/>
                      </a:lnTo>
                      <a:lnTo>
                        <a:pt x="1059" y="415"/>
                      </a:lnTo>
                      <a:lnTo>
                        <a:pt x="1058" y="416"/>
                      </a:lnTo>
                      <a:lnTo>
                        <a:pt x="1058" y="417"/>
                      </a:lnTo>
                      <a:lnTo>
                        <a:pt x="1058" y="418"/>
                      </a:lnTo>
                      <a:lnTo>
                        <a:pt x="1057" y="418"/>
                      </a:lnTo>
                      <a:lnTo>
                        <a:pt x="1057" y="420"/>
                      </a:lnTo>
                      <a:lnTo>
                        <a:pt x="1058" y="420"/>
                      </a:lnTo>
                      <a:lnTo>
                        <a:pt x="1057" y="420"/>
                      </a:lnTo>
                      <a:lnTo>
                        <a:pt x="1057" y="421"/>
                      </a:lnTo>
                      <a:lnTo>
                        <a:pt x="1057" y="422"/>
                      </a:lnTo>
                      <a:lnTo>
                        <a:pt x="1058" y="422"/>
                      </a:lnTo>
                      <a:lnTo>
                        <a:pt x="1058" y="423"/>
                      </a:lnTo>
                      <a:lnTo>
                        <a:pt x="1057" y="423"/>
                      </a:lnTo>
                      <a:lnTo>
                        <a:pt x="1057" y="424"/>
                      </a:lnTo>
                      <a:lnTo>
                        <a:pt x="1056" y="424"/>
                      </a:lnTo>
                      <a:lnTo>
                        <a:pt x="1056" y="425"/>
                      </a:lnTo>
                      <a:lnTo>
                        <a:pt x="1056" y="426"/>
                      </a:lnTo>
                      <a:lnTo>
                        <a:pt x="1057" y="426"/>
                      </a:lnTo>
                      <a:lnTo>
                        <a:pt x="1057" y="427"/>
                      </a:lnTo>
                      <a:lnTo>
                        <a:pt x="1056" y="427"/>
                      </a:lnTo>
                      <a:lnTo>
                        <a:pt x="1056" y="428"/>
                      </a:lnTo>
                      <a:lnTo>
                        <a:pt x="1056" y="429"/>
                      </a:lnTo>
                      <a:lnTo>
                        <a:pt x="1056" y="430"/>
                      </a:lnTo>
                      <a:lnTo>
                        <a:pt x="1056" y="431"/>
                      </a:lnTo>
                      <a:lnTo>
                        <a:pt x="1057" y="431"/>
                      </a:lnTo>
                      <a:lnTo>
                        <a:pt x="1057" y="433"/>
                      </a:lnTo>
                      <a:lnTo>
                        <a:pt x="1057" y="434"/>
                      </a:lnTo>
                      <a:lnTo>
                        <a:pt x="1058" y="435"/>
                      </a:lnTo>
                      <a:lnTo>
                        <a:pt x="1058" y="436"/>
                      </a:lnTo>
                      <a:lnTo>
                        <a:pt x="1058" y="437"/>
                      </a:lnTo>
                      <a:lnTo>
                        <a:pt x="1057" y="437"/>
                      </a:lnTo>
                      <a:lnTo>
                        <a:pt x="1056" y="437"/>
                      </a:lnTo>
                      <a:lnTo>
                        <a:pt x="1056" y="438"/>
                      </a:lnTo>
                      <a:lnTo>
                        <a:pt x="1056" y="439"/>
                      </a:lnTo>
                      <a:lnTo>
                        <a:pt x="1055" y="439"/>
                      </a:lnTo>
                      <a:lnTo>
                        <a:pt x="1055" y="440"/>
                      </a:lnTo>
                      <a:lnTo>
                        <a:pt x="1054" y="442"/>
                      </a:lnTo>
                      <a:lnTo>
                        <a:pt x="1055" y="443"/>
                      </a:lnTo>
                      <a:lnTo>
                        <a:pt x="1055" y="442"/>
                      </a:lnTo>
                      <a:lnTo>
                        <a:pt x="1055" y="443"/>
                      </a:lnTo>
                      <a:lnTo>
                        <a:pt x="1055" y="444"/>
                      </a:lnTo>
                      <a:lnTo>
                        <a:pt x="1056" y="444"/>
                      </a:lnTo>
                      <a:lnTo>
                        <a:pt x="1056" y="446"/>
                      </a:lnTo>
                      <a:lnTo>
                        <a:pt x="1057" y="446"/>
                      </a:lnTo>
                      <a:lnTo>
                        <a:pt x="1057" y="447"/>
                      </a:lnTo>
                      <a:lnTo>
                        <a:pt x="1058" y="447"/>
                      </a:lnTo>
                      <a:lnTo>
                        <a:pt x="1059" y="447"/>
                      </a:lnTo>
                      <a:lnTo>
                        <a:pt x="1060" y="447"/>
                      </a:lnTo>
                      <a:lnTo>
                        <a:pt x="1061" y="446"/>
                      </a:lnTo>
                      <a:lnTo>
                        <a:pt x="1063" y="446"/>
                      </a:lnTo>
                      <a:lnTo>
                        <a:pt x="1064" y="446"/>
                      </a:lnTo>
                      <a:lnTo>
                        <a:pt x="1064" y="447"/>
                      </a:lnTo>
                      <a:lnTo>
                        <a:pt x="1065" y="447"/>
                      </a:lnTo>
                      <a:lnTo>
                        <a:pt x="1066" y="447"/>
                      </a:lnTo>
                      <a:lnTo>
                        <a:pt x="1066" y="446"/>
                      </a:lnTo>
                      <a:lnTo>
                        <a:pt x="1066" y="444"/>
                      </a:lnTo>
                      <a:lnTo>
                        <a:pt x="1067" y="444"/>
                      </a:lnTo>
                      <a:lnTo>
                        <a:pt x="1066" y="443"/>
                      </a:lnTo>
                      <a:lnTo>
                        <a:pt x="1067" y="443"/>
                      </a:lnTo>
                      <a:lnTo>
                        <a:pt x="1067" y="442"/>
                      </a:lnTo>
                      <a:lnTo>
                        <a:pt x="1067" y="441"/>
                      </a:lnTo>
                      <a:lnTo>
                        <a:pt x="1067" y="440"/>
                      </a:lnTo>
                      <a:lnTo>
                        <a:pt x="1067" y="439"/>
                      </a:lnTo>
                      <a:lnTo>
                        <a:pt x="1068" y="439"/>
                      </a:lnTo>
                      <a:lnTo>
                        <a:pt x="1068" y="438"/>
                      </a:lnTo>
                      <a:lnTo>
                        <a:pt x="1069" y="438"/>
                      </a:lnTo>
                      <a:lnTo>
                        <a:pt x="1069" y="437"/>
                      </a:lnTo>
                      <a:lnTo>
                        <a:pt x="1069" y="436"/>
                      </a:lnTo>
                      <a:lnTo>
                        <a:pt x="1068" y="436"/>
                      </a:lnTo>
                      <a:lnTo>
                        <a:pt x="1068" y="435"/>
                      </a:lnTo>
                      <a:lnTo>
                        <a:pt x="1069" y="435"/>
                      </a:lnTo>
                      <a:lnTo>
                        <a:pt x="1069" y="436"/>
                      </a:lnTo>
                      <a:lnTo>
                        <a:pt x="1069" y="437"/>
                      </a:lnTo>
                      <a:lnTo>
                        <a:pt x="1070" y="437"/>
                      </a:lnTo>
                      <a:lnTo>
                        <a:pt x="1071" y="438"/>
                      </a:lnTo>
                      <a:lnTo>
                        <a:pt x="1072" y="438"/>
                      </a:lnTo>
                      <a:lnTo>
                        <a:pt x="1071" y="438"/>
                      </a:lnTo>
                      <a:lnTo>
                        <a:pt x="1072" y="438"/>
                      </a:lnTo>
                      <a:lnTo>
                        <a:pt x="1073" y="438"/>
                      </a:lnTo>
                      <a:lnTo>
                        <a:pt x="1072" y="437"/>
                      </a:lnTo>
                      <a:lnTo>
                        <a:pt x="1072" y="438"/>
                      </a:lnTo>
                      <a:lnTo>
                        <a:pt x="1071" y="438"/>
                      </a:lnTo>
                      <a:lnTo>
                        <a:pt x="1070" y="437"/>
                      </a:lnTo>
                      <a:lnTo>
                        <a:pt x="1069" y="436"/>
                      </a:lnTo>
                      <a:lnTo>
                        <a:pt x="1070" y="436"/>
                      </a:lnTo>
                      <a:lnTo>
                        <a:pt x="1071" y="436"/>
                      </a:lnTo>
                      <a:lnTo>
                        <a:pt x="1070" y="437"/>
                      </a:lnTo>
                      <a:lnTo>
                        <a:pt x="1071" y="437"/>
                      </a:lnTo>
                      <a:lnTo>
                        <a:pt x="1071" y="436"/>
                      </a:lnTo>
                      <a:lnTo>
                        <a:pt x="1072" y="436"/>
                      </a:lnTo>
                      <a:lnTo>
                        <a:pt x="1072" y="437"/>
                      </a:lnTo>
                      <a:lnTo>
                        <a:pt x="1074" y="437"/>
                      </a:lnTo>
                      <a:lnTo>
                        <a:pt x="1077" y="436"/>
                      </a:lnTo>
                      <a:lnTo>
                        <a:pt x="1078" y="436"/>
                      </a:lnTo>
                      <a:lnTo>
                        <a:pt x="1079" y="436"/>
                      </a:lnTo>
                      <a:lnTo>
                        <a:pt x="1078" y="435"/>
                      </a:lnTo>
                      <a:lnTo>
                        <a:pt x="1077" y="435"/>
                      </a:lnTo>
                      <a:lnTo>
                        <a:pt x="1077" y="436"/>
                      </a:lnTo>
                      <a:lnTo>
                        <a:pt x="1076" y="436"/>
                      </a:lnTo>
                      <a:lnTo>
                        <a:pt x="1074" y="436"/>
                      </a:lnTo>
                      <a:lnTo>
                        <a:pt x="1073" y="436"/>
                      </a:lnTo>
                      <a:lnTo>
                        <a:pt x="1072" y="436"/>
                      </a:lnTo>
                      <a:lnTo>
                        <a:pt x="1072" y="435"/>
                      </a:lnTo>
                      <a:lnTo>
                        <a:pt x="1073" y="435"/>
                      </a:lnTo>
                      <a:lnTo>
                        <a:pt x="1073" y="434"/>
                      </a:lnTo>
                      <a:lnTo>
                        <a:pt x="1073" y="433"/>
                      </a:lnTo>
                      <a:lnTo>
                        <a:pt x="1073" y="431"/>
                      </a:lnTo>
                      <a:lnTo>
                        <a:pt x="1074" y="431"/>
                      </a:lnTo>
                      <a:lnTo>
                        <a:pt x="1074" y="430"/>
                      </a:lnTo>
                      <a:lnTo>
                        <a:pt x="1074" y="429"/>
                      </a:lnTo>
                      <a:lnTo>
                        <a:pt x="1076" y="429"/>
                      </a:lnTo>
                      <a:lnTo>
                        <a:pt x="1076" y="430"/>
                      </a:lnTo>
                      <a:lnTo>
                        <a:pt x="1076" y="429"/>
                      </a:lnTo>
                      <a:lnTo>
                        <a:pt x="1077" y="429"/>
                      </a:lnTo>
                      <a:lnTo>
                        <a:pt x="1077" y="428"/>
                      </a:lnTo>
                      <a:lnTo>
                        <a:pt x="1077" y="427"/>
                      </a:lnTo>
                      <a:lnTo>
                        <a:pt x="1076" y="427"/>
                      </a:lnTo>
                      <a:lnTo>
                        <a:pt x="1074" y="426"/>
                      </a:lnTo>
                      <a:lnTo>
                        <a:pt x="1074" y="427"/>
                      </a:lnTo>
                      <a:lnTo>
                        <a:pt x="1074" y="426"/>
                      </a:lnTo>
                      <a:lnTo>
                        <a:pt x="1076" y="425"/>
                      </a:lnTo>
                      <a:lnTo>
                        <a:pt x="1077" y="425"/>
                      </a:lnTo>
                      <a:lnTo>
                        <a:pt x="1077" y="426"/>
                      </a:lnTo>
                      <a:lnTo>
                        <a:pt x="1078" y="426"/>
                      </a:lnTo>
                      <a:lnTo>
                        <a:pt x="1079" y="426"/>
                      </a:lnTo>
                      <a:lnTo>
                        <a:pt x="1080" y="425"/>
                      </a:lnTo>
                      <a:lnTo>
                        <a:pt x="1081" y="424"/>
                      </a:lnTo>
                      <a:lnTo>
                        <a:pt x="1082" y="424"/>
                      </a:lnTo>
                      <a:lnTo>
                        <a:pt x="1083" y="424"/>
                      </a:lnTo>
                      <a:lnTo>
                        <a:pt x="1083" y="425"/>
                      </a:lnTo>
                      <a:lnTo>
                        <a:pt x="1083" y="424"/>
                      </a:lnTo>
                      <a:lnTo>
                        <a:pt x="1084" y="424"/>
                      </a:lnTo>
                      <a:lnTo>
                        <a:pt x="1085" y="424"/>
                      </a:lnTo>
                      <a:lnTo>
                        <a:pt x="1085" y="425"/>
                      </a:lnTo>
                      <a:lnTo>
                        <a:pt x="1084" y="425"/>
                      </a:lnTo>
                      <a:lnTo>
                        <a:pt x="1084" y="424"/>
                      </a:lnTo>
                      <a:lnTo>
                        <a:pt x="1083" y="425"/>
                      </a:lnTo>
                      <a:lnTo>
                        <a:pt x="1084" y="425"/>
                      </a:lnTo>
                      <a:lnTo>
                        <a:pt x="1085" y="425"/>
                      </a:lnTo>
                      <a:lnTo>
                        <a:pt x="1086" y="425"/>
                      </a:lnTo>
                      <a:lnTo>
                        <a:pt x="1086" y="424"/>
                      </a:lnTo>
                      <a:lnTo>
                        <a:pt x="1087" y="424"/>
                      </a:lnTo>
                      <a:lnTo>
                        <a:pt x="1087" y="425"/>
                      </a:lnTo>
                      <a:lnTo>
                        <a:pt x="1087" y="424"/>
                      </a:lnTo>
                      <a:lnTo>
                        <a:pt x="1089" y="424"/>
                      </a:lnTo>
                      <a:lnTo>
                        <a:pt x="1089" y="423"/>
                      </a:lnTo>
                      <a:lnTo>
                        <a:pt x="1089" y="424"/>
                      </a:lnTo>
                      <a:lnTo>
                        <a:pt x="1089" y="423"/>
                      </a:lnTo>
                      <a:lnTo>
                        <a:pt x="1090" y="423"/>
                      </a:lnTo>
                      <a:lnTo>
                        <a:pt x="1091" y="423"/>
                      </a:lnTo>
                      <a:lnTo>
                        <a:pt x="1092" y="423"/>
                      </a:lnTo>
                      <a:lnTo>
                        <a:pt x="1092" y="422"/>
                      </a:lnTo>
                      <a:lnTo>
                        <a:pt x="1093" y="422"/>
                      </a:lnTo>
                      <a:lnTo>
                        <a:pt x="1093" y="423"/>
                      </a:lnTo>
                      <a:lnTo>
                        <a:pt x="1093" y="424"/>
                      </a:lnTo>
                      <a:lnTo>
                        <a:pt x="1094" y="424"/>
                      </a:lnTo>
                      <a:lnTo>
                        <a:pt x="1095" y="424"/>
                      </a:lnTo>
                      <a:lnTo>
                        <a:pt x="1095" y="425"/>
                      </a:lnTo>
                      <a:lnTo>
                        <a:pt x="1095" y="424"/>
                      </a:lnTo>
                      <a:lnTo>
                        <a:pt x="1094" y="424"/>
                      </a:lnTo>
                      <a:lnTo>
                        <a:pt x="1094" y="423"/>
                      </a:lnTo>
                      <a:lnTo>
                        <a:pt x="1093" y="423"/>
                      </a:lnTo>
                      <a:lnTo>
                        <a:pt x="1093" y="422"/>
                      </a:lnTo>
                      <a:lnTo>
                        <a:pt x="1094" y="422"/>
                      </a:lnTo>
                      <a:lnTo>
                        <a:pt x="1095" y="422"/>
                      </a:lnTo>
                      <a:lnTo>
                        <a:pt x="1095" y="421"/>
                      </a:lnTo>
                      <a:lnTo>
                        <a:pt x="1095" y="422"/>
                      </a:lnTo>
                      <a:lnTo>
                        <a:pt x="1095" y="423"/>
                      </a:lnTo>
                      <a:lnTo>
                        <a:pt x="1096" y="423"/>
                      </a:lnTo>
                      <a:lnTo>
                        <a:pt x="1097" y="423"/>
                      </a:lnTo>
                      <a:lnTo>
                        <a:pt x="1097" y="424"/>
                      </a:lnTo>
                      <a:lnTo>
                        <a:pt x="1097" y="423"/>
                      </a:lnTo>
                      <a:lnTo>
                        <a:pt x="1096" y="423"/>
                      </a:lnTo>
                      <a:lnTo>
                        <a:pt x="1097" y="423"/>
                      </a:lnTo>
                      <a:lnTo>
                        <a:pt x="1097" y="422"/>
                      </a:lnTo>
                      <a:lnTo>
                        <a:pt x="1097" y="423"/>
                      </a:lnTo>
                      <a:lnTo>
                        <a:pt x="1098" y="423"/>
                      </a:lnTo>
                      <a:lnTo>
                        <a:pt x="1098" y="422"/>
                      </a:lnTo>
                      <a:lnTo>
                        <a:pt x="1098" y="423"/>
                      </a:lnTo>
                      <a:lnTo>
                        <a:pt x="1098" y="422"/>
                      </a:lnTo>
                      <a:lnTo>
                        <a:pt x="1097" y="422"/>
                      </a:lnTo>
                      <a:lnTo>
                        <a:pt x="1097" y="423"/>
                      </a:lnTo>
                      <a:lnTo>
                        <a:pt x="1097" y="422"/>
                      </a:lnTo>
                      <a:lnTo>
                        <a:pt x="1096" y="422"/>
                      </a:lnTo>
                      <a:lnTo>
                        <a:pt x="1096" y="423"/>
                      </a:lnTo>
                      <a:lnTo>
                        <a:pt x="1097" y="423"/>
                      </a:lnTo>
                      <a:lnTo>
                        <a:pt x="1096" y="423"/>
                      </a:lnTo>
                      <a:lnTo>
                        <a:pt x="1096" y="422"/>
                      </a:lnTo>
                      <a:lnTo>
                        <a:pt x="1095" y="422"/>
                      </a:lnTo>
                      <a:lnTo>
                        <a:pt x="1095" y="421"/>
                      </a:lnTo>
                      <a:lnTo>
                        <a:pt x="1096" y="421"/>
                      </a:lnTo>
                      <a:lnTo>
                        <a:pt x="1097" y="421"/>
                      </a:lnTo>
                      <a:lnTo>
                        <a:pt x="1098" y="421"/>
                      </a:lnTo>
                      <a:lnTo>
                        <a:pt x="1099" y="420"/>
                      </a:lnTo>
                      <a:lnTo>
                        <a:pt x="1100" y="420"/>
                      </a:lnTo>
                      <a:lnTo>
                        <a:pt x="1100" y="418"/>
                      </a:lnTo>
                      <a:lnTo>
                        <a:pt x="1099" y="418"/>
                      </a:lnTo>
                      <a:lnTo>
                        <a:pt x="1100" y="418"/>
                      </a:lnTo>
                      <a:lnTo>
                        <a:pt x="1099" y="418"/>
                      </a:lnTo>
                      <a:lnTo>
                        <a:pt x="1099" y="417"/>
                      </a:lnTo>
                      <a:lnTo>
                        <a:pt x="1098" y="417"/>
                      </a:lnTo>
                      <a:lnTo>
                        <a:pt x="1098" y="416"/>
                      </a:lnTo>
                      <a:lnTo>
                        <a:pt x="1097" y="416"/>
                      </a:lnTo>
                      <a:lnTo>
                        <a:pt x="1097" y="415"/>
                      </a:lnTo>
                      <a:lnTo>
                        <a:pt x="1097" y="414"/>
                      </a:lnTo>
                      <a:lnTo>
                        <a:pt x="1097" y="413"/>
                      </a:lnTo>
                      <a:lnTo>
                        <a:pt x="1098" y="413"/>
                      </a:lnTo>
                      <a:lnTo>
                        <a:pt x="1099" y="413"/>
                      </a:lnTo>
                      <a:lnTo>
                        <a:pt x="1099" y="412"/>
                      </a:lnTo>
                      <a:lnTo>
                        <a:pt x="1099" y="411"/>
                      </a:lnTo>
                      <a:lnTo>
                        <a:pt x="1098" y="411"/>
                      </a:lnTo>
                      <a:lnTo>
                        <a:pt x="1098" y="410"/>
                      </a:lnTo>
                      <a:lnTo>
                        <a:pt x="1099" y="410"/>
                      </a:lnTo>
                      <a:lnTo>
                        <a:pt x="1100" y="410"/>
                      </a:lnTo>
                      <a:lnTo>
                        <a:pt x="1100" y="411"/>
                      </a:lnTo>
                      <a:lnTo>
                        <a:pt x="1102" y="410"/>
                      </a:lnTo>
                      <a:lnTo>
                        <a:pt x="1102" y="409"/>
                      </a:lnTo>
                      <a:lnTo>
                        <a:pt x="1102" y="408"/>
                      </a:lnTo>
                      <a:lnTo>
                        <a:pt x="1102" y="407"/>
                      </a:lnTo>
                      <a:lnTo>
                        <a:pt x="1102" y="405"/>
                      </a:lnTo>
                      <a:lnTo>
                        <a:pt x="1100" y="405"/>
                      </a:lnTo>
                      <a:lnTo>
                        <a:pt x="1099" y="405"/>
                      </a:lnTo>
                      <a:lnTo>
                        <a:pt x="1099" y="404"/>
                      </a:lnTo>
                      <a:lnTo>
                        <a:pt x="1098" y="404"/>
                      </a:lnTo>
                      <a:lnTo>
                        <a:pt x="1097" y="404"/>
                      </a:lnTo>
                      <a:lnTo>
                        <a:pt x="1097" y="403"/>
                      </a:lnTo>
                      <a:lnTo>
                        <a:pt x="1096" y="403"/>
                      </a:lnTo>
                      <a:lnTo>
                        <a:pt x="1095" y="403"/>
                      </a:lnTo>
                      <a:lnTo>
                        <a:pt x="1094" y="403"/>
                      </a:lnTo>
                      <a:lnTo>
                        <a:pt x="1093" y="403"/>
                      </a:lnTo>
                      <a:lnTo>
                        <a:pt x="1092" y="403"/>
                      </a:lnTo>
                      <a:lnTo>
                        <a:pt x="1092" y="404"/>
                      </a:lnTo>
                      <a:lnTo>
                        <a:pt x="1092" y="405"/>
                      </a:lnTo>
                      <a:lnTo>
                        <a:pt x="1092" y="407"/>
                      </a:lnTo>
                      <a:lnTo>
                        <a:pt x="1091" y="408"/>
                      </a:lnTo>
                      <a:lnTo>
                        <a:pt x="1091" y="407"/>
                      </a:lnTo>
                      <a:lnTo>
                        <a:pt x="1090" y="405"/>
                      </a:lnTo>
                      <a:lnTo>
                        <a:pt x="1091" y="405"/>
                      </a:lnTo>
                      <a:lnTo>
                        <a:pt x="1091" y="404"/>
                      </a:lnTo>
                      <a:lnTo>
                        <a:pt x="1091" y="403"/>
                      </a:lnTo>
                      <a:lnTo>
                        <a:pt x="1091" y="402"/>
                      </a:lnTo>
                      <a:lnTo>
                        <a:pt x="1091" y="401"/>
                      </a:lnTo>
                      <a:lnTo>
                        <a:pt x="1090" y="401"/>
                      </a:lnTo>
                      <a:lnTo>
                        <a:pt x="1089" y="401"/>
                      </a:lnTo>
                      <a:lnTo>
                        <a:pt x="1089" y="402"/>
                      </a:lnTo>
                      <a:lnTo>
                        <a:pt x="1089" y="403"/>
                      </a:lnTo>
                      <a:lnTo>
                        <a:pt x="1089" y="404"/>
                      </a:lnTo>
                      <a:lnTo>
                        <a:pt x="1089" y="405"/>
                      </a:lnTo>
                      <a:lnTo>
                        <a:pt x="1087" y="405"/>
                      </a:lnTo>
                      <a:lnTo>
                        <a:pt x="1087" y="407"/>
                      </a:lnTo>
                      <a:lnTo>
                        <a:pt x="1086" y="409"/>
                      </a:lnTo>
                      <a:lnTo>
                        <a:pt x="1086" y="410"/>
                      </a:lnTo>
                      <a:lnTo>
                        <a:pt x="1086" y="411"/>
                      </a:lnTo>
                      <a:lnTo>
                        <a:pt x="1086" y="412"/>
                      </a:lnTo>
                      <a:lnTo>
                        <a:pt x="1085" y="413"/>
                      </a:lnTo>
                      <a:lnTo>
                        <a:pt x="1085" y="412"/>
                      </a:lnTo>
                      <a:lnTo>
                        <a:pt x="1084" y="412"/>
                      </a:lnTo>
                      <a:lnTo>
                        <a:pt x="1084" y="411"/>
                      </a:lnTo>
                      <a:lnTo>
                        <a:pt x="1085" y="411"/>
                      </a:lnTo>
                      <a:lnTo>
                        <a:pt x="1085" y="410"/>
                      </a:lnTo>
                      <a:lnTo>
                        <a:pt x="1084" y="410"/>
                      </a:lnTo>
                      <a:lnTo>
                        <a:pt x="1084" y="411"/>
                      </a:lnTo>
                      <a:lnTo>
                        <a:pt x="1083" y="411"/>
                      </a:lnTo>
                      <a:lnTo>
                        <a:pt x="1083" y="410"/>
                      </a:lnTo>
                      <a:lnTo>
                        <a:pt x="1082" y="409"/>
                      </a:lnTo>
                      <a:lnTo>
                        <a:pt x="1082" y="408"/>
                      </a:lnTo>
                      <a:lnTo>
                        <a:pt x="1082" y="409"/>
                      </a:lnTo>
                      <a:lnTo>
                        <a:pt x="1081" y="409"/>
                      </a:lnTo>
                      <a:lnTo>
                        <a:pt x="1081" y="408"/>
                      </a:lnTo>
                      <a:lnTo>
                        <a:pt x="1081" y="407"/>
                      </a:lnTo>
                      <a:lnTo>
                        <a:pt x="1080" y="407"/>
                      </a:lnTo>
                      <a:lnTo>
                        <a:pt x="1080" y="405"/>
                      </a:lnTo>
                      <a:lnTo>
                        <a:pt x="1079" y="404"/>
                      </a:lnTo>
                      <a:lnTo>
                        <a:pt x="1078" y="404"/>
                      </a:lnTo>
                      <a:lnTo>
                        <a:pt x="1077" y="403"/>
                      </a:lnTo>
                      <a:lnTo>
                        <a:pt x="1078" y="403"/>
                      </a:lnTo>
                      <a:lnTo>
                        <a:pt x="1078" y="402"/>
                      </a:lnTo>
                      <a:lnTo>
                        <a:pt x="1078" y="401"/>
                      </a:lnTo>
                      <a:lnTo>
                        <a:pt x="1079" y="401"/>
                      </a:lnTo>
                      <a:lnTo>
                        <a:pt x="1079" y="400"/>
                      </a:lnTo>
                      <a:lnTo>
                        <a:pt x="1080" y="400"/>
                      </a:lnTo>
                      <a:lnTo>
                        <a:pt x="1081" y="401"/>
                      </a:lnTo>
                      <a:lnTo>
                        <a:pt x="1082" y="401"/>
                      </a:lnTo>
                      <a:lnTo>
                        <a:pt x="1083" y="401"/>
                      </a:lnTo>
                      <a:lnTo>
                        <a:pt x="1084" y="401"/>
                      </a:lnTo>
                      <a:lnTo>
                        <a:pt x="1085" y="401"/>
                      </a:lnTo>
                      <a:lnTo>
                        <a:pt x="1085" y="400"/>
                      </a:lnTo>
                      <a:lnTo>
                        <a:pt x="1086" y="400"/>
                      </a:lnTo>
                      <a:lnTo>
                        <a:pt x="1087" y="400"/>
                      </a:lnTo>
                      <a:lnTo>
                        <a:pt x="1089" y="399"/>
                      </a:lnTo>
                      <a:lnTo>
                        <a:pt x="1090" y="399"/>
                      </a:lnTo>
                      <a:lnTo>
                        <a:pt x="1091" y="398"/>
                      </a:lnTo>
                      <a:lnTo>
                        <a:pt x="1092" y="398"/>
                      </a:lnTo>
                      <a:lnTo>
                        <a:pt x="1093" y="398"/>
                      </a:lnTo>
                      <a:lnTo>
                        <a:pt x="1093" y="397"/>
                      </a:lnTo>
                      <a:lnTo>
                        <a:pt x="1094" y="397"/>
                      </a:lnTo>
                      <a:lnTo>
                        <a:pt x="1094" y="396"/>
                      </a:lnTo>
                      <a:lnTo>
                        <a:pt x="1095" y="396"/>
                      </a:lnTo>
                      <a:lnTo>
                        <a:pt x="1096" y="395"/>
                      </a:lnTo>
                      <a:lnTo>
                        <a:pt x="1097" y="395"/>
                      </a:lnTo>
                      <a:lnTo>
                        <a:pt x="1097" y="393"/>
                      </a:lnTo>
                      <a:lnTo>
                        <a:pt x="1098" y="393"/>
                      </a:lnTo>
                      <a:lnTo>
                        <a:pt x="1098" y="392"/>
                      </a:lnTo>
                      <a:lnTo>
                        <a:pt x="1099" y="392"/>
                      </a:lnTo>
                      <a:lnTo>
                        <a:pt x="1099" y="390"/>
                      </a:lnTo>
                      <a:lnTo>
                        <a:pt x="1099" y="389"/>
                      </a:lnTo>
                      <a:lnTo>
                        <a:pt x="1099" y="388"/>
                      </a:lnTo>
                      <a:lnTo>
                        <a:pt x="1100" y="388"/>
                      </a:lnTo>
                      <a:lnTo>
                        <a:pt x="1102" y="388"/>
                      </a:lnTo>
                      <a:lnTo>
                        <a:pt x="1103" y="388"/>
                      </a:lnTo>
                      <a:lnTo>
                        <a:pt x="1104" y="389"/>
                      </a:lnTo>
                      <a:lnTo>
                        <a:pt x="1105" y="389"/>
                      </a:lnTo>
                      <a:lnTo>
                        <a:pt x="1106" y="389"/>
                      </a:lnTo>
                      <a:lnTo>
                        <a:pt x="1106" y="390"/>
                      </a:lnTo>
                      <a:lnTo>
                        <a:pt x="1107" y="390"/>
                      </a:lnTo>
                      <a:lnTo>
                        <a:pt x="1108" y="390"/>
                      </a:lnTo>
                      <a:lnTo>
                        <a:pt x="1108" y="391"/>
                      </a:lnTo>
                      <a:lnTo>
                        <a:pt x="1109" y="391"/>
                      </a:lnTo>
                      <a:lnTo>
                        <a:pt x="1110" y="392"/>
                      </a:lnTo>
                      <a:lnTo>
                        <a:pt x="1111" y="392"/>
                      </a:lnTo>
                      <a:lnTo>
                        <a:pt x="1111" y="393"/>
                      </a:lnTo>
                      <a:lnTo>
                        <a:pt x="1112" y="393"/>
                      </a:lnTo>
                      <a:lnTo>
                        <a:pt x="1113" y="395"/>
                      </a:lnTo>
                      <a:lnTo>
                        <a:pt x="1115" y="395"/>
                      </a:lnTo>
                      <a:lnTo>
                        <a:pt x="1116" y="396"/>
                      </a:lnTo>
                      <a:lnTo>
                        <a:pt x="1117" y="396"/>
                      </a:lnTo>
                      <a:lnTo>
                        <a:pt x="1117" y="397"/>
                      </a:lnTo>
                      <a:lnTo>
                        <a:pt x="1117" y="398"/>
                      </a:lnTo>
                      <a:lnTo>
                        <a:pt x="1118" y="398"/>
                      </a:lnTo>
                      <a:lnTo>
                        <a:pt x="1117" y="398"/>
                      </a:lnTo>
                      <a:lnTo>
                        <a:pt x="1118" y="398"/>
                      </a:lnTo>
                      <a:lnTo>
                        <a:pt x="1117" y="398"/>
                      </a:lnTo>
                      <a:lnTo>
                        <a:pt x="1118" y="398"/>
                      </a:lnTo>
                      <a:lnTo>
                        <a:pt x="1118" y="399"/>
                      </a:lnTo>
                      <a:lnTo>
                        <a:pt x="1118" y="400"/>
                      </a:lnTo>
                      <a:lnTo>
                        <a:pt x="1120" y="400"/>
                      </a:lnTo>
                      <a:lnTo>
                        <a:pt x="1121" y="400"/>
                      </a:lnTo>
                      <a:lnTo>
                        <a:pt x="1122" y="400"/>
                      </a:lnTo>
                      <a:lnTo>
                        <a:pt x="1122" y="401"/>
                      </a:lnTo>
                      <a:lnTo>
                        <a:pt x="1123" y="401"/>
                      </a:lnTo>
                      <a:lnTo>
                        <a:pt x="1124" y="401"/>
                      </a:lnTo>
                      <a:lnTo>
                        <a:pt x="1124" y="402"/>
                      </a:lnTo>
                      <a:lnTo>
                        <a:pt x="1123" y="402"/>
                      </a:lnTo>
                      <a:lnTo>
                        <a:pt x="1123" y="403"/>
                      </a:lnTo>
                      <a:lnTo>
                        <a:pt x="1122" y="402"/>
                      </a:lnTo>
                      <a:lnTo>
                        <a:pt x="1122" y="403"/>
                      </a:lnTo>
                      <a:lnTo>
                        <a:pt x="1122" y="402"/>
                      </a:lnTo>
                      <a:lnTo>
                        <a:pt x="1122" y="403"/>
                      </a:lnTo>
                      <a:lnTo>
                        <a:pt x="1121" y="403"/>
                      </a:lnTo>
                      <a:lnTo>
                        <a:pt x="1122" y="403"/>
                      </a:lnTo>
                      <a:lnTo>
                        <a:pt x="1121" y="403"/>
                      </a:lnTo>
                      <a:lnTo>
                        <a:pt x="1122" y="403"/>
                      </a:lnTo>
                      <a:lnTo>
                        <a:pt x="1122" y="404"/>
                      </a:lnTo>
                      <a:lnTo>
                        <a:pt x="1123" y="404"/>
                      </a:lnTo>
                      <a:lnTo>
                        <a:pt x="1123" y="403"/>
                      </a:lnTo>
                      <a:lnTo>
                        <a:pt x="1123" y="404"/>
                      </a:lnTo>
                      <a:lnTo>
                        <a:pt x="1124" y="404"/>
                      </a:lnTo>
                      <a:lnTo>
                        <a:pt x="1124" y="403"/>
                      </a:lnTo>
                      <a:lnTo>
                        <a:pt x="1125" y="404"/>
                      </a:lnTo>
                      <a:lnTo>
                        <a:pt x="1126" y="405"/>
                      </a:lnTo>
                      <a:lnTo>
                        <a:pt x="1126" y="404"/>
                      </a:lnTo>
                      <a:lnTo>
                        <a:pt x="1128" y="404"/>
                      </a:lnTo>
                      <a:lnTo>
                        <a:pt x="1126" y="404"/>
                      </a:lnTo>
                      <a:lnTo>
                        <a:pt x="1126" y="403"/>
                      </a:lnTo>
                      <a:lnTo>
                        <a:pt x="1128" y="403"/>
                      </a:lnTo>
                      <a:lnTo>
                        <a:pt x="1126" y="403"/>
                      </a:lnTo>
                      <a:lnTo>
                        <a:pt x="1126" y="402"/>
                      </a:lnTo>
                      <a:lnTo>
                        <a:pt x="1126" y="401"/>
                      </a:lnTo>
                      <a:lnTo>
                        <a:pt x="1125" y="401"/>
                      </a:lnTo>
                      <a:lnTo>
                        <a:pt x="1125" y="402"/>
                      </a:lnTo>
                      <a:lnTo>
                        <a:pt x="1124" y="402"/>
                      </a:lnTo>
                      <a:lnTo>
                        <a:pt x="1124" y="401"/>
                      </a:lnTo>
                      <a:lnTo>
                        <a:pt x="1125" y="401"/>
                      </a:lnTo>
                      <a:lnTo>
                        <a:pt x="1126" y="401"/>
                      </a:lnTo>
                      <a:lnTo>
                        <a:pt x="1128" y="401"/>
                      </a:lnTo>
                      <a:lnTo>
                        <a:pt x="1129" y="401"/>
                      </a:lnTo>
                      <a:lnTo>
                        <a:pt x="1130" y="401"/>
                      </a:lnTo>
                      <a:lnTo>
                        <a:pt x="1131" y="401"/>
                      </a:lnTo>
                      <a:lnTo>
                        <a:pt x="1132" y="401"/>
                      </a:lnTo>
                      <a:lnTo>
                        <a:pt x="1132" y="402"/>
                      </a:lnTo>
                      <a:lnTo>
                        <a:pt x="1133" y="402"/>
                      </a:lnTo>
                      <a:lnTo>
                        <a:pt x="1134" y="402"/>
                      </a:lnTo>
                      <a:lnTo>
                        <a:pt x="1133" y="402"/>
                      </a:lnTo>
                      <a:lnTo>
                        <a:pt x="1134" y="402"/>
                      </a:lnTo>
                      <a:lnTo>
                        <a:pt x="1134" y="403"/>
                      </a:lnTo>
                      <a:lnTo>
                        <a:pt x="1135" y="403"/>
                      </a:lnTo>
                      <a:lnTo>
                        <a:pt x="1136" y="403"/>
                      </a:lnTo>
                      <a:lnTo>
                        <a:pt x="1137" y="404"/>
                      </a:lnTo>
                      <a:lnTo>
                        <a:pt x="1137" y="405"/>
                      </a:lnTo>
                      <a:lnTo>
                        <a:pt x="1136" y="405"/>
                      </a:lnTo>
                      <a:lnTo>
                        <a:pt x="1135" y="407"/>
                      </a:lnTo>
                      <a:lnTo>
                        <a:pt x="1134" y="407"/>
                      </a:lnTo>
                      <a:lnTo>
                        <a:pt x="1131" y="409"/>
                      </a:lnTo>
                      <a:lnTo>
                        <a:pt x="1130" y="410"/>
                      </a:lnTo>
                      <a:lnTo>
                        <a:pt x="1130" y="411"/>
                      </a:lnTo>
                      <a:lnTo>
                        <a:pt x="1130" y="413"/>
                      </a:lnTo>
                      <a:lnTo>
                        <a:pt x="1129" y="413"/>
                      </a:lnTo>
                      <a:lnTo>
                        <a:pt x="1129" y="414"/>
                      </a:lnTo>
                      <a:lnTo>
                        <a:pt x="1128" y="415"/>
                      </a:lnTo>
                      <a:lnTo>
                        <a:pt x="1126" y="416"/>
                      </a:lnTo>
                      <a:lnTo>
                        <a:pt x="1125" y="417"/>
                      </a:lnTo>
                      <a:lnTo>
                        <a:pt x="1124" y="417"/>
                      </a:lnTo>
                      <a:lnTo>
                        <a:pt x="1124" y="418"/>
                      </a:lnTo>
                      <a:lnTo>
                        <a:pt x="1124" y="420"/>
                      </a:lnTo>
                      <a:lnTo>
                        <a:pt x="1123" y="421"/>
                      </a:lnTo>
                      <a:lnTo>
                        <a:pt x="1123" y="422"/>
                      </a:lnTo>
                      <a:lnTo>
                        <a:pt x="1123" y="423"/>
                      </a:lnTo>
                      <a:lnTo>
                        <a:pt x="1122" y="423"/>
                      </a:lnTo>
                      <a:lnTo>
                        <a:pt x="1122" y="424"/>
                      </a:lnTo>
                      <a:lnTo>
                        <a:pt x="1121" y="425"/>
                      </a:lnTo>
                      <a:lnTo>
                        <a:pt x="1121" y="426"/>
                      </a:lnTo>
                      <a:lnTo>
                        <a:pt x="1120" y="426"/>
                      </a:lnTo>
                      <a:lnTo>
                        <a:pt x="1119" y="427"/>
                      </a:lnTo>
                      <a:lnTo>
                        <a:pt x="1118" y="427"/>
                      </a:lnTo>
                      <a:lnTo>
                        <a:pt x="1118" y="428"/>
                      </a:lnTo>
                      <a:lnTo>
                        <a:pt x="1117" y="428"/>
                      </a:lnTo>
                      <a:lnTo>
                        <a:pt x="1116" y="429"/>
                      </a:lnTo>
                      <a:lnTo>
                        <a:pt x="1115" y="429"/>
                      </a:lnTo>
                      <a:lnTo>
                        <a:pt x="1115" y="430"/>
                      </a:lnTo>
                      <a:lnTo>
                        <a:pt x="1113" y="430"/>
                      </a:lnTo>
                      <a:lnTo>
                        <a:pt x="1113" y="431"/>
                      </a:lnTo>
                      <a:lnTo>
                        <a:pt x="1112" y="431"/>
                      </a:lnTo>
                      <a:lnTo>
                        <a:pt x="1112" y="433"/>
                      </a:lnTo>
                      <a:lnTo>
                        <a:pt x="1111" y="433"/>
                      </a:lnTo>
                      <a:lnTo>
                        <a:pt x="1110" y="433"/>
                      </a:lnTo>
                      <a:lnTo>
                        <a:pt x="1110" y="431"/>
                      </a:lnTo>
                      <a:lnTo>
                        <a:pt x="1110" y="433"/>
                      </a:lnTo>
                      <a:lnTo>
                        <a:pt x="1109" y="431"/>
                      </a:lnTo>
                      <a:lnTo>
                        <a:pt x="1109" y="433"/>
                      </a:lnTo>
                      <a:lnTo>
                        <a:pt x="1108" y="433"/>
                      </a:lnTo>
                      <a:lnTo>
                        <a:pt x="1107" y="433"/>
                      </a:lnTo>
                      <a:lnTo>
                        <a:pt x="1107" y="434"/>
                      </a:lnTo>
                      <a:lnTo>
                        <a:pt x="1107" y="435"/>
                      </a:lnTo>
                      <a:lnTo>
                        <a:pt x="1106" y="435"/>
                      </a:lnTo>
                      <a:lnTo>
                        <a:pt x="1106" y="436"/>
                      </a:lnTo>
                      <a:lnTo>
                        <a:pt x="1106" y="437"/>
                      </a:lnTo>
                      <a:lnTo>
                        <a:pt x="1106" y="438"/>
                      </a:lnTo>
                      <a:lnTo>
                        <a:pt x="1106" y="439"/>
                      </a:lnTo>
                      <a:lnTo>
                        <a:pt x="1106" y="440"/>
                      </a:lnTo>
                      <a:lnTo>
                        <a:pt x="1105" y="441"/>
                      </a:lnTo>
                      <a:lnTo>
                        <a:pt x="1105" y="442"/>
                      </a:lnTo>
                      <a:lnTo>
                        <a:pt x="1105" y="443"/>
                      </a:lnTo>
                      <a:lnTo>
                        <a:pt x="1105" y="444"/>
                      </a:lnTo>
                      <a:lnTo>
                        <a:pt x="1104" y="444"/>
                      </a:lnTo>
                      <a:lnTo>
                        <a:pt x="1104" y="446"/>
                      </a:lnTo>
                      <a:lnTo>
                        <a:pt x="1104" y="447"/>
                      </a:lnTo>
                      <a:lnTo>
                        <a:pt x="1104" y="448"/>
                      </a:lnTo>
                      <a:lnTo>
                        <a:pt x="1104" y="449"/>
                      </a:lnTo>
                      <a:lnTo>
                        <a:pt x="1104" y="450"/>
                      </a:lnTo>
                      <a:lnTo>
                        <a:pt x="1104" y="451"/>
                      </a:lnTo>
                      <a:lnTo>
                        <a:pt x="1104" y="452"/>
                      </a:lnTo>
                      <a:lnTo>
                        <a:pt x="1104" y="453"/>
                      </a:lnTo>
                      <a:lnTo>
                        <a:pt x="1104" y="454"/>
                      </a:lnTo>
                      <a:lnTo>
                        <a:pt x="1104" y="455"/>
                      </a:lnTo>
                      <a:lnTo>
                        <a:pt x="1104" y="456"/>
                      </a:lnTo>
                      <a:lnTo>
                        <a:pt x="1103" y="456"/>
                      </a:lnTo>
                      <a:lnTo>
                        <a:pt x="1103" y="457"/>
                      </a:lnTo>
                      <a:lnTo>
                        <a:pt x="1102" y="457"/>
                      </a:lnTo>
                      <a:lnTo>
                        <a:pt x="1100" y="457"/>
                      </a:lnTo>
                      <a:lnTo>
                        <a:pt x="1099" y="459"/>
                      </a:lnTo>
                      <a:lnTo>
                        <a:pt x="1098" y="459"/>
                      </a:lnTo>
                      <a:lnTo>
                        <a:pt x="1097" y="459"/>
                      </a:lnTo>
                      <a:lnTo>
                        <a:pt x="1097" y="460"/>
                      </a:lnTo>
                      <a:lnTo>
                        <a:pt x="1096" y="460"/>
                      </a:lnTo>
                      <a:lnTo>
                        <a:pt x="1095" y="460"/>
                      </a:lnTo>
                      <a:lnTo>
                        <a:pt x="1094" y="460"/>
                      </a:lnTo>
                      <a:lnTo>
                        <a:pt x="1093" y="460"/>
                      </a:lnTo>
                      <a:lnTo>
                        <a:pt x="1092" y="460"/>
                      </a:lnTo>
                      <a:lnTo>
                        <a:pt x="1091" y="460"/>
                      </a:lnTo>
                      <a:lnTo>
                        <a:pt x="1091" y="461"/>
                      </a:lnTo>
                      <a:lnTo>
                        <a:pt x="1090" y="461"/>
                      </a:lnTo>
                      <a:lnTo>
                        <a:pt x="1089" y="461"/>
                      </a:lnTo>
                      <a:lnTo>
                        <a:pt x="1087" y="461"/>
                      </a:lnTo>
                      <a:lnTo>
                        <a:pt x="1086" y="461"/>
                      </a:lnTo>
                      <a:lnTo>
                        <a:pt x="1085" y="461"/>
                      </a:lnTo>
                      <a:lnTo>
                        <a:pt x="1085" y="462"/>
                      </a:lnTo>
                      <a:lnTo>
                        <a:pt x="1084" y="462"/>
                      </a:lnTo>
                      <a:lnTo>
                        <a:pt x="1083" y="462"/>
                      </a:lnTo>
                      <a:lnTo>
                        <a:pt x="1082" y="462"/>
                      </a:lnTo>
                      <a:lnTo>
                        <a:pt x="1082" y="463"/>
                      </a:lnTo>
                      <a:lnTo>
                        <a:pt x="1081" y="463"/>
                      </a:lnTo>
                      <a:lnTo>
                        <a:pt x="1080" y="463"/>
                      </a:lnTo>
                      <a:lnTo>
                        <a:pt x="1080" y="464"/>
                      </a:lnTo>
                      <a:lnTo>
                        <a:pt x="1079" y="464"/>
                      </a:lnTo>
                      <a:lnTo>
                        <a:pt x="1079" y="465"/>
                      </a:lnTo>
                      <a:lnTo>
                        <a:pt x="1078" y="465"/>
                      </a:lnTo>
                      <a:lnTo>
                        <a:pt x="1077" y="466"/>
                      </a:lnTo>
                      <a:lnTo>
                        <a:pt x="1076" y="467"/>
                      </a:lnTo>
                      <a:lnTo>
                        <a:pt x="1076" y="468"/>
                      </a:lnTo>
                      <a:lnTo>
                        <a:pt x="1074" y="468"/>
                      </a:lnTo>
                      <a:lnTo>
                        <a:pt x="1074" y="469"/>
                      </a:lnTo>
                      <a:lnTo>
                        <a:pt x="1076" y="469"/>
                      </a:lnTo>
                      <a:lnTo>
                        <a:pt x="1076" y="470"/>
                      </a:lnTo>
                      <a:lnTo>
                        <a:pt x="1074" y="470"/>
                      </a:lnTo>
                      <a:lnTo>
                        <a:pt x="1074" y="472"/>
                      </a:lnTo>
                      <a:lnTo>
                        <a:pt x="1074" y="473"/>
                      </a:lnTo>
                      <a:lnTo>
                        <a:pt x="1074" y="474"/>
                      </a:lnTo>
                      <a:lnTo>
                        <a:pt x="1074" y="475"/>
                      </a:lnTo>
                      <a:lnTo>
                        <a:pt x="1074" y="476"/>
                      </a:lnTo>
                      <a:lnTo>
                        <a:pt x="1074" y="477"/>
                      </a:lnTo>
                      <a:lnTo>
                        <a:pt x="1076" y="477"/>
                      </a:lnTo>
                      <a:lnTo>
                        <a:pt x="1076" y="478"/>
                      </a:lnTo>
                      <a:lnTo>
                        <a:pt x="1076" y="479"/>
                      </a:lnTo>
                      <a:lnTo>
                        <a:pt x="1077" y="479"/>
                      </a:lnTo>
                      <a:lnTo>
                        <a:pt x="1077" y="480"/>
                      </a:lnTo>
                      <a:lnTo>
                        <a:pt x="1078" y="480"/>
                      </a:lnTo>
                      <a:lnTo>
                        <a:pt x="1078" y="481"/>
                      </a:lnTo>
                      <a:lnTo>
                        <a:pt x="1078" y="482"/>
                      </a:lnTo>
                      <a:lnTo>
                        <a:pt x="1079" y="482"/>
                      </a:lnTo>
                      <a:lnTo>
                        <a:pt x="1079" y="484"/>
                      </a:lnTo>
                      <a:lnTo>
                        <a:pt x="1080" y="484"/>
                      </a:lnTo>
                      <a:lnTo>
                        <a:pt x="1080" y="485"/>
                      </a:lnTo>
                      <a:lnTo>
                        <a:pt x="1080" y="486"/>
                      </a:lnTo>
                      <a:lnTo>
                        <a:pt x="1081" y="486"/>
                      </a:lnTo>
                      <a:lnTo>
                        <a:pt x="1081" y="487"/>
                      </a:lnTo>
                      <a:lnTo>
                        <a:pt x="1081" y="488"/>
                      </a:lnTo>
                      <a:lnTo>
                        <a:pt x="1082" y="488"/>
                      </a:lnTo>
                      <a:lnTo>
                        <a:pt x="1082" y="489"/>
                      </a:lnTo>
                      <a:lnTo>
                        <a:pt x="1083" y="489"/>
                      </a:lnTo>
                      <a:lnTo>
                        <a:pt x="1083" y="490"/>
                      </a:lnTo>
                      <a:lnTo>
                        <a:pt x="1083" y="491"/>
                      </a:lnTo>
                      <a:lnTo>
                        <a:pt x="1083" y="492"/>
                      </a:lnTo>
                      <a:lnTo>
                        <a:pt x="1082" y="493"/>
                      </a:lnTo>
                      <a:lnTo>
                        <a:pt x="1081" y="493"/>
                      </a:lnTo>
                      <a:lnTo>
                        <a:pt x="1080" y="494"/>
                      </a:lnTo>
                      <a:lnTo>
                        <a:pt x="1079" y="494"/>
                      </a:lnTo>
                      <a:lnTo>
                        <a:pt x="1078" y="494"/>
                      </a:lnTo>
                      <a:lnTo>
                        <a:pt x="1077" y="494"/>
                      </a:lnTo>
                      <a:lnTo>
                        <a:pt x="1076" y="494"/>
                      </a:lnTo>
                      <a:lnTo>
                        <a:pt x="1074" y="494"/>
                      </a:lnTo>
                      <a:lnTo>
                        <a:pt x="1073" y="494"/>
                      </a:lnTo>
                      <a:lnTo>
                        <a:pt x="1072" y="494"/>
                      </a:lnTo>
                      <a:lnTo>
                        <a:pt x="1072" y="493"/>
                      </a:lnTo>
                      <a:lnTo>
                        <a:pt x="1071" y="493"/>
                      </a:lnTo>
                      <a:lnTo>
                        <a:pt x="1071" y="492"/>
                      </a:lnTo>
                      <a:lnTo>
                        <a:pt x="1070" y="492"/>
                      </a:lnTo>
                      <a:lnTo>
                        <a:pt x="1070" y="491"/>
                      </a:lnTo>
                      <a:lnTo>
                        <a:pt x="1069" y="491"/>
                      </a:lnTo>
                      <a:lnTo>
                        <a:pt x="1069" y="490"/>
                      </a:lnTo>
                      <a:lnTo>
                        <a:pt x="1068" y="490"/>
                      </a:lnTo>
                      <a:lnTo>
                        <a:pt x="1067" y="490"/>
                      </a:lnTo>
                      <a:lnTo>
                        <a:pt x="1067" y="489"/>
                      </a:lnTo>
                      <a:lnTo>
                        <a:pt x="1066" y="489"/>
                      </a:lnTo>
                      <a:lnTo>
                        <a:pt x="1066" y="488"/>
                      </a:lnTo>
                      <a:lnTo>
                        <a:pt x="1065" y="487"/>
                      </a:lnTo>
                      <a:lnTo>
                        <a:pt x="1065" y="486"/>
                      </a:lnTo>
                      <a:lnTo>
                        <a:pt x="1064" y="486"/>
                      </a:lnTo>
                      <a:lnTo>
                        <a:pt x="1064" y="485"/>
                      </a:lnTo>
                      <a:lnTo>
                        <a:pt x="1063" y="485"/>
                      </a:lnTo>
                      <a:lnTo>
                        <a:pt x="1063" y="484"/>
                      </a:lnTo>
                      <a:lnTo>
                        <a:pt x="1061" y="482"/>
                      </a:lnTo>
                      <a:lnTo>
                        <a:pt x="1061" y="484"/>
                      </a:lnTo>
                      <a:lnTo>
                        <a:pt x="1060" y="482"/>
                      </a:lnTo>
                      <a:lnTo>
                        <a:pt x="1059" y="482"/>
                      </a:lnTo>
                      <a:lnTo>
                        <a:pt x="1059" y="481"/>
                      </a:lnTo>
                      <a:lnTo>
                        <a:pt x="1058" y="481"/>
                      </a:lnTo>
                      <a:lnTo>
                        <a:pt x="1057" y="481"/>
                      </a:lnTo>
                      <a:lnTo>
                        <a:pt x="1056" y="480"/>
                      </a:lnTo>
                      <a:lnTo>
                        <a:pt x="1055" y="479"/>
                      </a:lnTo>
                      <a:lnTo>
                        <a:pt x="1054" y="478"/>
                      </a:lnTo>
                      <a:lnTo>
                        <a:pt x="1053" y="478"/>
                      </a:lnTo>
                      <a:lnTo>
                        <a:pt x="1052" y="478"/>
                      </a:lnTo>
                      <a:lnTo>
                        <a:pt x="1052" y="477"/>
                      </a:lnTo>
                      <a:lnTo>
                        <a:pt x="1051" y="477"/>
                      </a:lnTo>
                      <a:lnTo>
                        <a:pt x="1051" y="476"/>
                      </a:lnTo>
                      <a:lnTo>
                        <a:pt x="1050" y="476"/>
                      </a:lnTo>
                      <a:lnTo>
                        <a:pt x="1050" y="475"/>
                      </a:lnTo>
                      <a:lnTo>
                        <a:pt x="1048" y="474"/>
                      </a:lnTo>
                      <a:lnTo>
                        <a:pt x="1048" y="473"/>
                      </a:lnTo>
                      <a:lnTo>
                        <a:pt x="1046" y="474"/>
                      </a:lnTo>
                      <a:lnTo>
                        <a:pt x="1046" y="475"/>
                      </a:lnTo>
                      <a:lnTo>
                        <a:pt x="1047" y="476"/>
                      </a:lnTo>
                      <a:lnTo>
                        <a:pt x="1047" y="477"/>
                      </a:lnTo>
                      <a:lnTo>
                        <a:pt x="1048" y="477"/>
                      </a:lnTo>
                      <a:lnTo>
                        <a:pt x="1048" y="478"/>
                      </a:lnTo>
                      <a:lnTo>
                        <a:pt x="1048" y="479"/>
                      </a:lnTo>
                      <a:lnTo>
                        <a:pt x="1048" y="478"/>
                      </a:lnTo>
                      <a:lnTo>
                        <a:pt x="1047" y="478"/>
                      </a:lnTo>
                      <a:lnTo>
                        <a:pt x="1046" y="478"/>
                      </a:lnTo>
                      <a:lnTo>
                        <a:pt x="1045" y="478"/>
                      </a:lnTo>
                      <a:lnTo>
                        <a:pt x="1044" y="477"/>
                      </a:lnTo>
                      <a:lnTo>
                        <a:pt x="1042" y="477"/>
                      </a:lnTo>
                      <a:lnTo>
                        <a:pt x="1041" y="477"/>
                      </a:lnTo>
                      <a:lnTo>
                        <a:pt x="1040" y="477"/>
                      </a:lnTo>
                      <a:lnTo>
                        <a:pt x="1039" y="477"/>
                      </a:lnTo>
                      <a:lnTo>
                        <a:pt x="1038" y="477"/>
                      </a:lnTo>
                      <a:lnTo>
                        <a:pt x="1037" y="477"/>
                      </a:lnTo>
                      <a:lnTo>
                        <a:pt x="1034" y="477"/>
                      </a:lnTo>
                      <a:lnTo>
                        <a:pt x="1033" y="477"/>
                      </a:lnTo>
                      <a:lnTo>
                        <a:pt x="1032" y="477"/>
                      </a:lnTo>
                      <a:lnTo>
                        <a:pt x="1031" y="477"/>
                      </a:lnTo>
                      <a:lnTo>
                        <a:pt x="1030" y="477"/>
                      </a:lnTo>
                      <a:lnTo>
                        <a:pt x="1029" y="477"/>
                      </a:lnTo>
                      <a:lnTo>
                        <a:pt x="1028" y="477"/>
                      </a:lnTo>
                      <a:lnTo>
                        <a:pt x="1027" y="478"/>
                      </a:lnTo>
                      <a:lnTo>
                        <a:pt x="1026" y="478"/>
                      </a:lnTo>
                      <a:lnTo>
                        <a:pt x="1025" y="478"/>
                      </a:lnTo>
                      <a:lnTo>
                        <a:pt x="1024" y="478"/>
                      </a:lnTo>
                      <a:lnTo>
                        <a:pt x="1022" y="478"/>
                      </a:lnTo>
                      <a:lnTo>
                        <a:pt x="1021" y="478"/>
                      </a:lnTo>
                      <a:lnTo>
                        <a:pt x="1020" y="478"/>
                      </a:lnTo>
                      <a:lnTo>
                        <a:pt x="1020" y="479"/>
                      </a:lnTo>
                      <a:lnTo>
                        <a:pt x="1020" y="480"/>
                      </a:lnTo>
                      <a:lnTo>
                        <a:pt x="1019" y="480"/>
                      </a:lnTo>
                      <a:lnTo>
                        <a:pt x="1019" y="481"/>
                      </a:lnTo>
                      <a:lnTo>
                        <a:pt x="1018" y="481"/>
                      </a:lnTo>
                      <a:lnTo>
                        <a:pt x="1018" y="482"/>
                      </a:lnTo>
                      <a:lnTo>
                        <a:pt x="1017" y="482"/>
                      </a:lnTo>
                      <a:lnTo>
                        <a:pt x="1017" y="484"/>
                      </a:lnTo>
                      <a:lnTo>
                        <a:pt x="1016" y="485"/>
                      </a:lnTo>
                      <a:lnTo>
                        <a:pt x="1015" y="485"/>
                      </a:lnTo>
                      <a:lnTo>
                        <a:pt x="1014" y="485"/>
                      </a:lnTo>
                      <a:lnTo>
                        <a:pt x="1014" y="486"/>
                      </a:lnTo>
                      <a:lnTo>
                        <a:pt x="1013" y="486"/>
                      </a:lnTo>
                      <a:lnTo>
                        <a:pt x="1013" y="487"/>
                      </a:lnTo>
                      <a:lnTo>
                        <a:pt x="1012" y="488"/>
                      </a:lnTo>
                      <a:lnTo>
                        <a:pt x="1011" y="489"/>
                      </a:lnTo>
                      <a:lnTo>
                        <a:pt x="1009" y="490"/>
                      </a:lnTo>
                      <a:lnTo>
                        <a:pt x="1008" y="490"/>
                      </a:lnTo>
                      <a:lnTo>
                        <a:pt x="1008" y="491"/>
                      </a:lnTo>
                      <a:lnTo>
                        <a:pt x="1007" y="491"/>
                      </a:lnTo>
                      <a:lnTo>
                        <a:pt x="1007" y="492"/>
                      </a:lnTo>
                      <a:lnTo>
                        <a:pt x="1007" y="493"/>
                      </a:lnTo>
                      <a:lnTo>
                        <a:pt x="1006" y="493"/>
                      </a:lnTo>
                      <a:lnTo>
                        <a:pt x="1006" y="494"/>
                      </a:lnTo>
                      <a:lnTo>
                        <a:pt x="1005" y="494"/>
                      </a:lnTo>
                      <a:lnTo>
                        <a:pt x="1005" y="495"/>
                      </a:lnTo>
                      <a:lnTo>
                        <a:pt x="1005" y="497"/>
                      </a:lnTo>
                      <a:lnTo>
                        <a:pt x="1004" y="497"/>
                      </a:lnTo>
                      <a:lnTo>
                        <a:pt x="1004" y="498"/>
                      </a:lnTo>
                      <a:lnTo>
                        <a:pt x="1003" y="499"/>
                      </a:lnTo>
                      <a:lnTo>
                        <a:pt x="1003" y="500"/>
                      </a:lnTo>
                      <a:lnTo>
                        <a:pt x="1002" y="501"/>
                      </a:lnTo>
                      <a:lnTo>
                        <a:pt x="1002" y="502"/>
                      </a:lnTo>
                      <a:lnTo>
                        <a:pt x="1001" y="502"/>
                      </a:lnTo>
                      <a:lnTo>
                        <a:pt x="1001" y="503"/>
                      </a:lnTo>
                      <a:lnTo>
                        <a:pt x="1000" y="503"/>
                      </a:lnTo>
                      <a:lnTo>
                        <a:pt x="1000" y="504"/>
                      </a:lnTo>
                      <a:lnTo>
                        <a:pt x="999" y="504"/>
                      </a:lnTo>
                      <a:lnTo>
                        <a:pt x="997" y="504"/>
                      </a:lnTo>
                      <a:lnTo>
                        <a:pt x="997" y="505"/>
                      </a:lnTo>
                      <a:lnTo>
                        <a:pt x="996" y="506"/>
                      </a:lnTo>
                      <a:lnTo>
                        <a:pt x="996" y="508"/>
                      </a:lnTo>
                      <a:lnTo>
                        <a:pt x="995" y="510"/>
                      </a:lnTo>
                      <a:lnTo>
                        <a:pt x="994" y="511"/>
                      </a:lnTo>
                      <a:lnTo>
                        <a:pt x="995" y="511"/>
                      </a:lnTo>
                      <a:lnTo>
                        <a:pt x="996" y="510"/>
                      </a:lnTo>
                      <a:lnTo>
                        <a:pt x="997" y="510"/>
                      </a:lnTo>
                      <a:lnTo>
                        <a:pt x="997" y="508"/>
                      </a:lnTo>
                      <a:lnTo>
                        <a:pt x="997" y="510"/>
                      </a:lnTo>
                      <a:lnTo>
                        <a:pt x="997" y="511"/>
                      </a:lnTo>
                      <a:lnTo>
                        <a:pt x="999" y="512"/>
                      </a:lnTo>
                      <a:lnTo>
                        <a:pt x="999" y="513"/>
                      </a:lnTo>
                      <a:lnTo>
                        <a:pt x="999" y="514"/>
                      </a:lnTo>
                      <a:lnTo>
                        <a:pt x="1000" y="515"/>
                      </a:lnTo>
                      <a:lnTo>
                        <a:pt x="1000" y="516"/>
                      </a:lnTo>
                      <a:lnTo>
                        <a:pt x="1000" y="517"/>
                      </a:lnTo>
                      <a:lnTo>
                        <a:pt x="1000" y="518"/>
                      </a:lnTo>
                      <a:lnTo>
                        <a:pt x="1000" y="519"/>
                      </a:lnTo>
                      <a:lnTo>
                        <a:pt x="1000" y="520"/>
                      </a:lnTo>
                      <a:lnTo>
                        <a:pt x="1000" y="521"/>
                      </a:lnTo>
                      <a:lnTo>
                        <a:pt x="1000" y="523"/>
                      </a:lnTo>
                      <a:lnTo>
                        <a:pt x="1000" y="524"/>
                      </a:lnTo>
                      <a:lnTo>
                        <a:pt x="1000" y="525"/>
                      </a:lnTo>
                      <a:lnTo>
                        <a:pt x="1001" y="526"/>
                      </a:lnTo>
                      <a:lnTo>
                        <a:pt x="1001" y="527"/>
                      </a:lnTo>
                      <a:lnTo>
                        <a:pt x="1001" y="528"/>
                      </a:lnTo>
                      <a:lnTo>
                        <a:pt x="1002" y="530"/>
                      </a:lnTo>
                      <a:lnTo>
                        <a:pt x="1002" y="531"/>
                      </a:lnTo>
                      <a:lnTo>
                        <a:pt x="1003" y="532"/>
                      </a:lnTo>
                      <a:lnTo>
                        <a:pt x="1003" y="533"/>
                      </a:lnTo>
                      <a:lnTo>
                        <a:pt x="1003" y="534"/>
                      </a:lnTo>
                      <a:lnTo>
                        <a:pt x="1004" y="534"/>
                      </a:lnTo>
                      <a:lnTo>
                        <a:pt x="1004" y="536"/>
                      </a:lnTo>
                      <a:lnTo>
                        <a:pt x="1004" y="537"/>
                      </a:lnTo>
                      <a:lnTo>
                        <a:pt x="1004" y="538"/>
                      </a:lnTo>
                      <a:lnTo>
                        <a:pt x="1004" y="539"/>
                      </a:lnTo>
                      <a:lnTo>
                        <a:pt x="1004" y="540"/>
                      </a:lnTo>
                      <a:lnTo>
                        <a:pt x="1005" y="541"/>
                      </a:lnTo>
                      <a:lnTo>
                        <a:pt x="1005" y="542"/>
                      </a:lnTo>
                      <a:lnTo>
                        <a:pt x="1006" y="543"/>
                      </a:lnTo>
                      <a:lnTo>
                        <a:pt x="1006" y="544"/>
                      </a:lnTo>
                      <a:lnTo>
                        <a:pt x="1007" y="544"/>
                      </a:lnTo>
                      <a:lnTo>
                        <a:pt x="1007" y="545"/>
                      </a:lnTo>
                      <a:lnTo>
                        <a:pt x="1007" y="546"/>
                      </a:lnTo>
                      <a:lnTo>
                        <a:pt x="1008" y="546"/>
                      </a:lnTo>
                      <a:lnTo>
                        <a:pt x="1008" y="547"/>
                      </a:lnTo>
                      <a:lnTo>
                        <a:pt x="1008" y="549"/>
                      </a:lnTo>
                      <a:lnTo>
                        <a:pt x="1009" y="549"/>
                      </a:lnTo>
                      <a:lnTo>
                        <a:pt x="1008" y="550"/>
                      </a:lnTo>
                      <a:lnTo>
                        <a:pt x="1008" y="551"/>
                      </a:lnTo>
                      <a:lnTo>
                        <a:pt x="1009" y="551"/>
                      </a:lnTo>
                      <a:lnTo>
                        <a:pt x="1011" y="550"/>
                      </a:lnTo>
                      <a:lnTo>
                        <a:pt x="1011" y="551"/>
                      </a:lnTo>
                      <a:lnTo>
                        <a:pt x="1012" y="551"/>
                      </a:lnTo>
                      <a:lnTo>
                        <a:pt x="1013" y="551"/>
                      </a:lnTo>
                      <a:lnTo>
                        <a:pt x="1013" y="552"/>
                      </a:lnTo>
                      <a:lnTo>
                        <a:pt x="1014" y="552"/>
                      </a:lnTo>
                      <a:lnTo>
                        <a:pt x="1014" y="553"/>
                      </a:lnTo>
                      <a:lnTo>
                        <a:pt x="1015" y="553"/>
                      </a:lnTo>
                      <a:lnTo>
                        <a:pt x="1015" y="554"/>
                      </a:lnTo>
                      <a:lnTo>
                        <a:pt x="1016" y="554"/>
                      </a:lnTo>
                      <a:lnTo>
                        <a:pt x="1017" y="554"/>
                      </a:lnTo>
                      <a:lnTo>
                        <a:pt x="1017" y="555"/>
                      </a:lnTo>
                      <a:lnTo>
                        <a:pt x="1018" y="555"/>
                      </a:lnTo>
                      <a:lnTo>
                        <a:pt x="1019" y="556"/>
                      </a:lnTo>
                      <a:lnTo>
                        <a:pt x="1020" y="556"/>
                      </a:lnTo>
                      <a:lnTo>
                        <a:pt x="1020" y="557"/>
                      </a:lnTo>
                      <a:lnTo>
                        <a:pt x="1021" y="557"/>
                      </a:lnTo>
                      <a:lnTo>
                        <a:pt x="1022" y="557"/>
                      </a:lnTo>
                      <a:lnTo>
                        <a:pt x="1024" y="557"/>
                      </a:lnTo>
                      <a:lnTo>
                        <a:pt x="1025" y="557"/>
                      </a:lnTo>
                      <a:lnTo>
                        <a:pt x="1026" y="557"/>
                      </a:lnTo>
                      <a:lnTo>
                        <a:pt x="1027" y="557"/>
                      </a:lnTo>
                      <a:lnTo>
                        <a:pt x="1027" y="558"/>
                      </a:lnTo>
                      <a:lnTo>
                        <a:pt x="1027" y="557"/>
                      </a:lnTo>
                      <a:lnTo>
                        <a:pt x="1027" y="558"/>
                      </a:lnTo>
                      <a:lnTo>
                        <a:pt x="1028" y="558"/>
                      </a:lnTo>
                      <a:lnTo>
                        <a:pt x="1028" y="557"/>
                      </a:lnTo>
                      <a:lnTo>
                        <a:pt x="1028" y="558"/>
                      </a:lnTo>
                      <a:lnTo>
                        <a:pt x="1029" y="558"/>
                      </a:lnTo>
                      <a:lnTo>
                        <a:pt x="1030" y="558"/>
                      </a:lnTo>
                      <a:lnTo>
                        <a:pt x="1031" y="558"/>
                      </a:lnTo>
                      <a:lnTo>
                        <a:pt x="1032" y="558"/>
                      </a:lnTo>
                      <a:lnTo>
                        <a:pt x="1033" y="558"/>
                      </a:lnTo>
                      <a:lnTo>
                        <a:pt x="1034" y="558"/>
                      </a:lnTo>
                      <a:lnTo>
                        <a:pt x="1035" y="558"/>
                      </a:lnTo>
                      <a:lnTo>
                        <a:pt x="1037" y="558"/>
                      </a:lnTo>
                      <a:lnTo>
                        <a:pt x="1038" y="557"/>
                      </a:lnTo>
                      <a:lnTo>
                        <a:pt x="1039" y="557"/>
                      </a:lnTo>
                      <a:lnTo>
                        <a:pt x="1040" y="557"/>
                      </a:lnTo>
                      <a:lnTo>
                        <a:pt x="1040" y="556"/>
                      </a:lnTo>
                      <a:lnTo>
                        <a:pt x="1041" y="556"/>
                      </a:lnTo>
                      <a:lnTo>
                        <a:pt x="1042" y="556"/>
                      </a:lnTo>
                      <a:lnTo>
                        <a:pt x="1043" y="556"/>
                      </a:lnTo>
                      <a:lnTo>
                        <a:pt x="1044" y="556"/>
                      </a:lnTo>
                      <a:lnTo>
                        <a:pt x="1045" y="556"/>
                      </a:lnTo>
                      <a:lnTo>
                        <a:pt x="1046" y="555"/>
                      </a:lnTo>
                      <a:lnTo>
                        <a:pt x="1047" y="555"/>
                      </a:lnTo>
                      <a:lnTo>
                        <a:pt x="1048" y="555"/>
                      </a:lnTo>
                      <a:lnTo>
                        <a:pt x="1048" y="554"/>
                      </a:lnTo>
                      <a:lnTo>
                        <a:pt x="1050" y="554"/>
                      </a:lnTo>
                      <a:lnTo>
                        <a:pt x="1051" y="554"/>
                      </a:lnTo>
                      <a:lnTo>
                        <a:pt x="1052" y="554"/>
                      </a:lnTo>
                      <a:lnTo>
                        <a:pt x="1053" y="553"/>
                      </a:lnTo>
                      <a:lnTo>
                        <a:pt x="1054" y="553"/>
                      </a:lnTo>
                      <a:lnTo>
                        <a:pt x="1055" y="552"/>
                      </a:lnTo>
                      <a:lnTo>
                        <a:pt x="1056" y="552"/>
                      </a:lnTo>
                      <a:lnTo>
                        <a:pt x="1057" y="552"/>
                      </a:lnTo>
                      <a:lnTo>
                        <a:pt x="1057" y="551"/>
                      </a:lnTo>
                      <a:lnTo>
                        <a:pt x="1058" y="551"/>
                      </a:lnTo>
                      <a:lnTo>
                        <a:pt x="1059" y="551"/>
                      </a:lnTo>
                      <a:lnTo>
                        <a:pt x="1060" y="550"/>
                      </a:lnTo>
                      <a:lnTo>
                        <a:pt x="1061" y="550"/>
                      </a:lnTo>
                      <a:lnTo>
                        <a:pt x="1063" y="550"/>
                      </a:lnTo>
                      <a:lnTo>
                        <a:pt x="1063" y="549"/>
                      </a:lnTo>
                      <a:lnTo>
                        <a:pt x="1064" y="550"/>
                      </a:lnTo>
                      <a:lnTo>
                        <a:pt x="1065" y="549"/>
                      </a:lnTo>
                      <a:lnTo>
                        <a:pt x="1066" y="549"/>
                      </a:lnTo>
                      <a:lnTo>
                        <a:pt x="1067" y="547"/>
                      </a:lnTo>
                      <a:lnTo>
                        <a:pt x="1067" y="546"/>
                      </a:lnTo>
                      <a:lnTo>
                        <a:pt x="1068" y="546"/>
                      </a:lnTo>
                      <a:lnTo>
                        <a:pt x="1069" y="545"/>
                      </a:lnTo>
                      <a:lnTo>
                        <a:pt x="1069" y="544"/>
                      </a:lnTo>
                      <a:lnTo>
                        <a:pt x="1070" y="544"/>
                      </a:lnTo>
                      <a:lnTo>
                        <a:pt x="1071" y="543"/>
                      </a:lnTo>
                      <a:lnTo>
                        <a:pt x="1073" y="541"/>
                      </a:lnTo>
                      <a:lnTo>
                        <a:pt x="1074" y="541"/>
                      </a:lnTo>
                      <a:lnTo>
                        <a:pt x="1076" y="540"/>
                      </a:lnTo>
                      <a:lnTo>
                        <a:pt x="1077" y="540"/>
                      </a:lnTo>
                      <a:lnTo>
                        <a:pt x="1077" y="541"/>
                      </a:lnTo>
                      <a:lnTo>
                        <a:pt x="1078" y="541"/>
                      </a:lnTo>
                      <a:lnTo>
                        <a:pt x="1079" y="542"/>
                      </a:lnTo>
                      <a:lnTo>
                        <a:pt x="1080" y="542"/>
                      </a:lnTo>
                      <a:lnTo>
                        <a:pt x="1081" y="543"/>
                      </a:lnTo>
                      <a:lnTo>
                        <a:pt x="1082" y="544"/>
                      </a:lnTo>
                      <a:lnTo>
                        <a:pt x="1083" y="545"/>
                      </a:lnTo>
                      <a:lnTo>
                        <a:pt x="1083" y="546"/>
                      </a:lnTo>
                      <a:lnTo>
                        <a:pt x="1084" y="546"/>
                      </a:lnTo>
                      <a:lnTo>
                        <a:pt x="1084" y="547"/>
                      </a:lnTo>
                      <a:lnTo>
                        <a:pt x="1085" y="549"/>
                      </a:lnTo>
                      <a:lnTo>
                        <a:pt x="1084" y="549"/>
                      </a:lnTo>
                      <a:lnTo>
                        <a:pt x="1081" y="550"/>
                      </a:lnTo>
                      <a:lnTo>
                        <a:pt x="1078" y="551"/>
                      </a:lnTo>
                      <a:lnTo>
                        <a:pt x="1077" y="552"/>
                      </a:lnTo>
                      <a:lnTo>
                        <a:pt x="1076" y="552"/>
                      </a:lnTo>
                      <a:lnTo>
                        <a:pt x="1076" y="553"/>
                      </a:lnTo>
                      <a:lnTo>
                        <a:pt x="1074" y="553"/>
                      </a:lnTo>
                      <a:lnTo>
                        <a:pt x="1073" y="554"/>
                      </a:lnTo>
                      <a:lnTo>
                        <a:pt x="1072" y="554"/>
                      </a:lnTo>
                      <a:lnTo>
                        <a:pt x="1071" y="555"/>
                      </a:lnTo>
                      <a:lnTo>
                        <a:pt x="1070" y="555"/>
                      </a:lnTo>
                      <a:lnTo>
                        <a:pt x="1069" y="555"/>
                      </a:lnTo>
                      <a:lnTo>
                        <a:pt x="1068" y="555"/>
                      </a:lnTo>
                      <a:lnTo>
                        <a:pt x="1067" y="555"/>
                      </a:lnTo>
                      <a:lnTo>
                        <a:pt x="1067" y="556"/>
                      </a:lnTo>
                      <a:lnTo>
                        <a:pt x="1066" y="557"/>
                      </a:lnTo>
                      <a:lnTo>
                        <a:pt x="1066" y="558"/>
                      </a:lnTo>
                      <a:lnTo>
                        <a:pt x="1066" y="559"/>
                      </a:lnTo>
                      <a:lnTo>
                        <a:pt x="1065" y="559"/>
                      </a:lnTo>
                      <a:lnTo>
                        <a:pt x="1065" y="560"/>
                      </a:lnTo>
                      <a:lnTo>
                        <a:pt x="1064" y="560"/>
                      </a:lnTo>
                      <a:lnTo>
                        <a:pt x="1064" y="562"/>
                      </a:lnTo>
                      <a:lnTo>
                        <a:pt x="1065" y="562"/>
                      </a:lnTo>
                      <a:lnTo>
                        <a:pt x="1065" y="563"/>
                      </a:lnTo>
                      <a:lnTo>
                        <a:pt x="1065" y="564"/>
                      </a:lnTo>
                      <a:lnTo>
                        <a:pt x="1065" y="565"/>
                      </a:lnTo>
                      <a:lnTo>
                        <a:pt x="1065" y="566"/>
                      </a:lnTo>
                      <a:lnTo>
                        <a:pt x="1065" y="567"/>
                      </a:lnTo>
                      <a:lnTo>
                        <a:pt x="1065" y="568"/>
                      </a:lnTo>
                      <a:lnTo>
                        <a:pt x="1065" y="569"/>
                      </a:lnTo>
                      <a:lnTo>
                        <a:pt x="1066" y="569"/>
                      </a:lnTo>
                      <a:lnTo>
                        <a:pt x="1065" y="569"/>
                      </a:lnTo>
                      <a:lnTo>
                        <a:pt x="1066" y="569"/>
                      </a:lnTo>
                      <a:lnTo>
                        <a:pt x="1066" y="570"/>
                      </a:lnTo>
                      <a:lnTo>
                        <a:pt x="1066" y="571"/>
                      </a:lnTo>
                      <a:lnTo>
                        <a:pt x="1066" y="572"/>
                      </a:lnTo>
                      <a:lnTo>
                        <a:pt x="1066" y="574"/>
                      </a:lnTo>
                      <a:lnTo>
                        <a:pt x="1066" y="575"/>
                      </a:lnTo>
                      <a:lnTo>
                        <a:pt x="1066" y="576"/>
                      </a:lnTo>
                      <a:lnTo>
                        <a:pt x="1067" y="576"/>
                      </a:lnTo>
                      <a:lnTo>
                        <a:pt x="1067" y="577"/>
                      </a:lnTo>
                      <a:lnTo>
                        <a:pt x="1068" y="577"/>
                      </a:lnTo>
                      <a:lnTo>
                        <a:pt x="1068" y="578"/>
                      </a:lnTo>
                      <a:lnTo>
                        <a:pt x="1069" y="578"/>
                      </a:lnTo>
                      <a:lnTo>
                        <a:pt x="1069" y="579"/>
                      </a:lnTo>
                      <a:lnTo>
                        <a:pt x="1070" y="579"/>
                      </a:lnTo>
                      <a:lnTo>
                        <a:pt x="1070" y="580"/>
                      </a:lnTo>
                      <a:lnTo>
                        <a:pt x="1071" y="580"/>
                      </a:lnTo>
                      <a:lnTo>
                        <a:pt x="1072" y="581"/>
                      </a:lnTo>
                      <a:lnTo>
                        <a:pt x="1073" y="582"/>
                      </a:lnTo>
                      <a:lnTo>
                        <a:pt x="1074" y="582"/>
                      </a:lnTo>
                      <a:lnTo>
                        <a:pt x="1074" y="583"/>
                      </a:lnTo>
                      <a:lnTo>
                        <a:pt x="1076" y="583"/>
                      </a:lnTo>
                      <a:lnTo>
                        <a:pt x="1077" y="584"/>
                      </a:lnTo>
                      <a:lnTo>
                        <a:pt x="1078" y="584"/>
                      </a:lnTo>
                      <a:lnTo>
                        <a:pt x="1078" y="585"/>
                      </a:lnTo>
                      <a:lnTo>
                        <a:pt x="1079" y="585"/>
                      </a:lnTo>
                      <a:lnTo>
                        <a:pt x="1079" y="587"/>
                      </a:lnTo>
                      <a:lnTo>
                        <a:pt x="1080" y="587"/>
                      </a:lnTo>
                      <a:lnTo>
                        <a:pt x="1080" y="588"/>
                      </a:lnTo>
                      <a:lnTo>
                        <a:pt x="1080" y="589"/>
                      </a:lnTo>
                      <a:lnTo>
                        <a:pt x="1079" y="589"/>
                      </a:lnTo>
                      <a:lnTo>
                        <a:pt x="1080" y="589"/>
                      </a:lnTo>
                      <a:lnTo>
                        <a:pt x="1080" y="588"/>
                      </a:lnTo>
                      <a:lnTo>
                        <a:pt x="1081" y="588"/>
                      </a:lnTo>
                      <a:lnTo>
                        <a:pt x="1082" y="589"/>
                      </a:lnTo>
                      <a:lnTo>
                        <a:pt x="1082" y="590"/>
                      </a:lnTo>
                      <a:lnTo>
                        <a:pt x="1083" y="590"/>
                      </a:lnTo>
                      <a:lnTo>
                        <a:pt x="1083" y="591"/>
                      </a:lnTo>
                      <a:lnTo>
                        <a:pt x="1084" y="592"/>
                      </a:lnTo>
                      <a:lnTo>
                        <a:pt x="1084" y="593"/>
                      </a:lnTo>
                      <a:lnTo>
                        <a:pt x="1084" y="594"/>
                      </a:lnTo>
                      <a:lnTo>
                        <a:pt x="1085" y="595"/>
                      </a:lnTo>
                      <a:lnTo>
                        <a:pt x="1086" y="595"/>
                      </a:lnTo>
                      <a:lnTo>
                        <a:pt x="1086" y="596"/>
                      </a:lnTo>
                      <a:lnTo>
                        <a:pt x="1087" y="596"/>
                      </a:lnTo>
                      <a:lnTo>
                        <a:pt x="1089" y="597"/>
                      </a:lnTo>
                      <a:lnTo>
                        <a:pt x="1090" y="597"/>
                      </a:lnTo>
                      <a:lnTo>
                        <a:pt x="1090" y="598"/>
                      </a:lnTo>
                      <a:lnTo>
                        <a:pt x="1091" y="600"/>
                      </a:lnTo>
                      <a:lnTo>
                        <a:pt x="1092" y="600"/>
                      </a:lnTo>
                      <a:lnTo>
                        <a:pt x="1093" y="601"/>
                      </a:lnTo>
                      <a:lnTo>
                        <a:pt x="1094" y="601"/>
                      </a:lnTo>
                      <a:lnTo>
                        <a:pt x="1095" y="602"/>
                      </a:lnTo>
                      <a:lnTo>
                        <a:pt x="1096" y="602"/>
                      </a:lnTo>
                      <a:lnTo>
                        <a:pt x="1097" y="603"/>
                      </a:lnTo>
                      <a:lnTo>
                        <a:pt x="1098" y="603"/>
                      </a:lnTo>
                      <a:lnTo>
                        <a:pt x="1098" y="604"/>
                      </a:lnTo>
                      <a:lnTo>
                        <a:pt x="1099" y="603"/>
                      </a:lnTo>
                      <a:lnTo>
                        <a:pt x="1099" y="604"/>
                      </a:lnTo>
                      <a:lnTo>
                        <a:pt x="1100" y="604"/>
                      </a:lnTo>
                      <a:lnTo>
                        <a:pt x="1102" y="604"/>
                      </a:lnTo>
                      <a:lnTo>
                        <a:pt x="1103" y="604"/>
                      </a:lnTo>
                      <a:lnTo>
                        <a:pt x="1104" y="604"/>
                      </a:lnTo>
                      <a:lnTo>
                        <a:pt x="1104" y="605"/>
                      </a:lnTo>
                      <a:lnTo>
                        <a:pt x="1105" y="605"/>
                      </a:lnTo>
                      <a:lnTo>
                        <a:pt x="1106" y="605"/>
                      </a:lnTo>
                      <a:lnTo>
                        <a:pt x="1107" y="605"/>
                      </a:lnTo>
                      <a:lnTo>
                        <a:pt x="1107" y="604"/>
                      </a:lnTo>
                      <a:lnTo>
                        <a:pt x="1107" y="605"/>
                      </a:lnTo>
                      <a:lnTo>
                        <a:pt x="1108" y="605"/>
                      </a:lnTo>
                      <a:lnTo>
                        <a:pt x="1109" y="605"/>
                      </a:lnTo>
                      <a:lnTo>
                        <a:pt x="1109" y="604"/>
                      </a:lnTo>
                      <a:lnTo>
                        <a:pt x="1110" y="604"/>
                      </a:lnTo>
                      <a:lnTo>
                        <a:pt x="1111" y="604"/>
                      </a:lnTo>
                      <a:lnTo>
                        <a:pt x="1111" y="605"/>
                      </a:lnTo>
                      <a:lnTo>
                        <a:pt x="1111" y="606"/>
                      </a:lnTo>
                      <a:lnTo>
                        <a:pt x="1112" y="606"/>
                      </a:lnTo>
                      <a:lnTo>
                        <a:pt x="1113" y="606"/>
                      </a:lnTo>
                      <a:lnTo>
                        <a:pt x="1113" y="607"/>
                      </a:lnTo>
                      <a:lnTo>
                        <a:pt x="1115" y="607"/>
                      </a:lnTo>
                      <a:lnTo>
                        <a:pt x="1116" y="607"/>
                      </a:lnTo>
                      <a:lnTo>
                        <a:pt x="1117" y="607"/>
                      </a:lnTo>
                      <a:lnTo>
                        <a:pt x="1118" y="607"/>
                      </a:lnTo>
                      <a:lnTo>
                        <a:pt x="1118" y="608"/>
                      </a:lnTo>
                      <a:lnTo>
                        <a:pt x="1119" y="608"/>
                      </a:lnTo>
                      <a:lnTo>
                        <a:pt x="1120" y="608"/>
                      </a:lnTo>
                      <a:lnTo>
                        <a:pt x="1121" y="608"/>
                      </a:lnTo>
                      <a:lnTo>
                        <a:pt x="1122" y="608"/>
                      </a:lnTo>
                      <a:lnTo>
                        <a:pt x="1123" y="608"/>
                      </a:lnTo>
                      <a:lnTo>
                        <a:pt x="1123" y="607"/>
                      </a:lnTo>
                      <a:lnTo>
                        <a:pt x="1124" y="607"/>
                      </a:lnTo>
                      <a:lnTo>
                        <a:pt x="1124" y="608"/>
                      </a:lnTo>
                      <a:lnTo>
                        <a:pt x="1125" y="608"/>
                      </a:lnTo>
                      <a:lnTo>
                        <a:pt x="1126" y="608"/>
                      </a:lnTo>
                      <a:lnTo>
                        <a:pt x="1126" y="607"/>
                      </a:lnTo>
                      <a:lnTo>
                        <a:pt x="1128" y="607"/>
                      </a:lnTo>
                      <a:lnTo>
                        <a:pt x="1128" y="608"/>
                      </a:lnTo>
                      <a:lnTo>
                        <a:pt x="1129" y="607"/>
                      </a:lnTo>
                      <a:lnTo>
                        <a:pt x="1130" y="607"/>
                      </a:lnTo>
                      <a:lnTo>
                        <a:pt x="1131" y="607"/>
                      </a:lnTo>
                      <a:lnTo>
                        <a:pt x="1132" y="607"/>
                      </a:lnTo>
                      <a:lnTo>
                        <a:pt x="1133" y="607"/>
                      </a:lnTo>
                      <a:lnTo>
                        <a:pt x="1134" y="607"/>
                      </a:lnTo>
                      <a:lnTo>
                        <a:pt x="1134" y="606"/>
                      </a:lnTo>
                      <a:lnTo>
                        <a:pt x="1135" y="606"/>
                      </a:lnTo>
                      <a:lnTo>
                        <a:pt x="1136" y="606"/>
                      </a:lnTo>
                      <a:lnTo>
                        <a:pt x="1137" y="606"/>
                      </a:lnTo>
                      <a:lnTo>
                        <a:pt x="1138" y="605"/>
                      </a:lnTo>
                      <a:lnTo>
                        <a:pt x="1140" y="605"/>
                      </a:lnTo>
                      <a:lnTo>
                        <a:pt x="1141" y="605"/>
                      </a:lnTo>
                      <a:lnTo>
                        <a:pt x="1142" y="604"/>
                      </a:lnTo>
                      <a:lnTo>
                        <a:pt x="1143" y="604"/>
                      </a:lnTo>
                      <a:lnTo>
                        <a:pt x="1144" y="604"/>
                      </a:lnTo>
                      <a:lnTo>
                        <a:pt x="1145" y="603"/>
                      </a:lnTo>
                      <a:lnTo>
                        <a:pt x="1146" y="603"/>
                      </a:lnTo>
                      <a:lnTo>
                        <a:pt x="1146" y="602"/>
                      </a:lnTo>
                      <a:lnTo>
                        <a:pt x="1147" y="602"/>
                      </a:lnTo>
                      <a:lnTo>
                        <a:pt x="1148" y="602"/>
                      </a:lnTo>
                      <a:lnTo>
                        <a:pt x="1149" y="601"/>
                      </a:lnTo>
                      <a:lnTo>
                        <a:pt x="1150" y="601"/>
                      </a:lnTo>
                      <a:lnTo>
                        <a:pt x="1150" y="600"/>
                      </a:lnTo>
                      <a:lnTo>
                        <a:pt x="1151" y="600"/>
                      </a:lnTo>
                      <a:lnTo>
                        <a:pt x="1153" y="600"/>
                      </a:lnTo>
                      <a:lnTo>
                        <a:pt x="1153" y="598"/>
                      </a:lnTo>
                      <a:lnTo>
                        <a:pt x="1154" y="597"/>
                      </a:lnTo>
                      <a:lnTo>
                        <a:pt x="1155" y="597"/>
                      </a:lnTo>
                      <a:lnTo>
                        <a:pt x="1155" y="596"/>
                      </a:lnTo>
                      <a:lnTo>
                        <a:pt x="1156" y="596"/>
                      </a:lnTo>
                      <a:lnTo>
                        <a:pt x="1157" y="595"/>
                      </a:lnTo>
                      <a:lnTo>
                        <a:pt x="1158" y="595"/>
                      </a:lnTo>
                      <a:lnTo>
                        <a:pt x="1158" y="594"/>
                      </a:lnTo>
                      <a:lnTo>
                        <a:pt x="1159" y="593"/>
                      </a:lnTo>
                      <a:lnTo>
                        <a:pt x="1159" y="592"/>
                      </a:lnTo>
                      <a:lnTo>
                        <a:pt x="1159" y="591"/>
                      </a:lnTo>
                      <a:lnTo>
                        <a:pt x="1160" y="591"/>
                      </a:lnTo>
                      <a:lnTo>
                        <a:pt x="1160" y="590"/>
                      </a:lnTo>
                      <a:lnTo>
                        <a:pt x="1160" y="589"/>
                      </a:lnTo>
                      <a:lnTo>
                        <a:pt x="1160" y="588"/>
                      </a:lnTo>
                      <a:lnTo>
                        <a:pt x="1161" y="588"/>
                      </a:lnTo>
                      <a:lnTo>
                        <a:pt x="1161" y="587"/>
                      </a:lnTo>
                      <a:lnTo>
                        <a:pt x="1161" y="585"/>
                      </a:lnTo>
                      <a:lnTo>
                        <a:pt x="1161" y="584"/>
                      </a:lnTo>
                      <a:lnTo>
                        <a:pt x="1160" y="584"/>
                      </a:lnTo>
                      <a:lnTo>
                        <a:pt x="1160" y="583"/>
                      </a:lnTo>
                      <a:lnTo>
                        <a:pt x="1160" y="582"/>
                      </a:lnTo>
                      <a:lnTo>
                        <a:pt x="1160" y="581"/>
                      </a:lnTo>
                      <a:lnTo>
                        <a:pt x="1160" y="580"/>
                      </a:lnTo>
                      <a:lnTo>
                        <a:pt x="1160" y="579"/>
                      </a:lnTo>
                      <a:lnTo>
                        <a:pt x="1160" y="578"/>
                      </a:lnTo>
                      <a:lnTo>
                        <a:pt x="1160" y="577"/>
                      </a:lnTo>
                      <a:lnTo>
                        <a:pt x="1160" y="576"/>
                      </a:lnTo>
                      <a:lnTo>
                        <a:pt x="1160" y="575"/>
                      </a:lnTo>
                      <a:lnTo>
                        <a:pt x="1160" y="574"/>
                      </a:lnTo>
                      <a:lnTo>
                        <a:pt x="1161" y="574"/>
                      </a:lnTo>
                      <a:lnTo>
                        <a:pt x="1160" y="574"/>
                      </a:lnTo>
                      <a:lnTo>
                        <a:pt x="1160" y="575"/>
                      </a:lnTo>
                      <a:lnTo>
                        <a:pt x="1160" y="574"/>
                      </a:lnTo>
                      <a:lnTo>
                        <a:pt x="1160" y="572"/>
                      </a:lnTo>
                      <a:lnTo>
                        <a:pt x="1159" y="572"/>
                      </a:lnTo>
                      <a:lnTo>
                        <a:pt x="1160" y="571"/>
                      </a:lnTo>
                      <a:lnTo>
                        <a:pt x="1159" y="571"/>
                      </a:lnTo>
                      <a:lnTo>
                        <a:pt x="1159" y="570"/>
                      </a:lnTo>
                      <a:lnTo>
                        <a:pt x="1159" y="569"/>
                      </a:lnTo>
                      <a:lnTo>
                        <a:pt x="1159" y="568"/>
                      </a:lnTo>
                      <a:lnTo>
                        <a:pt x="1160" y="568"/>
                      </a:lnTo>
                      <a:lnTo>
                        <a:pt x="1161" y="567"/>
                      </a:lnTo>
                      <a:lnTo>
                        <a:pt x="1161" y="566"/>
                      </a:lnTo>
                      <a:lnTo>
                        <a:pt x="1162" y="566"/>
                      </a:lnTo>
                      <a:lnTo>
                        <a:pt x="1162" y="565"/>
                      </a:lnTo>
                      <a:lnTo>
                        <a:pt x="1163" y="564"/>
                      </a:lnTo>
                      <a:lnTo>
                        <a:pt x="1163" y="563"/>
                      </a:lnTo>
                      <a:lnTo>
                        <a:pt x="1164" y="563"/>
                      </a:lnTo>
                      <a:lnTo>
                        <a:pt x="1164" y="562"/>
                      </a:lnTo>
                      <a:lnTo>
                        <a:pt x="1166" y="562"/>
                      </a:lnTo>
                      <a:lnTo>
                        <a:pt x="1166" y="560"/>
                      </a:lnTo>
                      <a:lnTo>
                        <a:pt x="1166" y="559"/>
                      </a:lnTo>
                      <a:lnTo>
                        <a:pt x="1167" y="559"/>
                      </a:lnTo>
                      <a:lnTo>
                        <a:pt x="1167" y="558"/>
                      </a:lnTo>
                      <a:lnTo>
                        <a:pt x="1168" y="557"/>
                      </a:lnTo>
                      <a:lnTo>
                        <a:pt x="1167" y="558"/>
                      </a:lnTo>
                      <a:lnTo>
                        <a:pt x="1167" y="557"/>
                      </a:lnTo>
                      <a:lnTo>
                        <a:pt x="1167" y="556"/>
                      </a:lnTo>
                      <a:lnTo>
                        <a:pt x="1168" y="556"/>
                      </a:lnTo>
                      <a:lnTo>
                        <a:pt x="1168" y="555"/>
                      </a:lnTo>
                      <a:lnTo>
                        <a:pt x="1168" y="554"/>
                      </a:lnTo>
                      <a:lnTo>
                        <a:pt x="1167" y="554"/>
                      </a:lnTo>
                      <a:lnTo>
                        <a:pt x="1168" y="553"/>
                      </a:lnTo>
                      <a:lnTo>
                        <a:pt x="1168" y="552"/>
                      </a:lnTo>
                      <a:lnTo>
                        <a:pt x="1167" y="552"/>
                      </a:lnTo>
                      <a:lnTo>
                        <a:pt x="1168" y="552"/>
                      </a:lnTo>
                      <a:lnTo>
                        <a:pt x="1167" y="551"/>
                      </a:lnTo>
                      <a:lnTo>
                        <a:pt x="1168" y="551"/>
                      </a:lnTo>
                      <a:lnTo>
                        <a:pt x="1168" y="550"/>
                      </a:lnTo>
                      <a:lnTo>
                        <a:pt x="1167" y="550"/>
                      </a:lnTo>
                      <a:lnTo>
                        <a:pt x="1167" y="549"/>
                      </a:lnTo>
                      <a:lnTo>
                        <a:pt x="1167" y="550"/>
                      </a:lnTo>
                      <a:lnTo>
                        <a:pt x="1166" y="550"/>
                      </a:lnTo>
                      <a:lnTo>
                        <a:pt x="1166" y="549"/>
                      </a:lnTo>
                      <a:lnTo>
                        <a:pt x="1167" y="547"/>
                      </a:lnTo>
                      <a:lnTo>
                        <a:pt x="1167" y="546"/>
                      </a:lnTo>
                      <a:lnTo>
                        <a:pt x="1168" y="546"/>
                      </a:lnTo>
                      <a:lnTo>
                        <a:pt x="1168" y="545"/>
                      </a:lnTo>
                      <a:lnTo>
                        <a:pt x="1168" y="544"/>
                      </a:lnTo>
                      <a:lnTo>
                        <a:pt x="1168" y="543"/>
                      </a:lnTo>
                      <a:lnTo>
                        <a:pt x="1169" y="543"/>
                      </a:lnTo>
                      <a:lnTo>
                        <a:pt x="1169" y="542"/>
                      </a:lnTo>
                      <a:lnTo>
                        <a:pt x="1170" y="542"/>
                      </a:lnTo>
                      <a:lnTo>
                        <a:pt x="1170" y="541"/>
                      </a:lnTo>
                      <a:lnTo>
                        <a:pt x="1170" y="542"/>
                      </a:lnTo>
                      <a:lnTo>
                        <a:pt x="1170" y="541"/>
                      </a:lnTo>
                      <a:lnTo>
                        <a:pt x="1171" y="540"/>
                      </a:lnTo>
                      <a:lnTo>
                        <a:pt x="1171" y="539"/>
                      </a:lnTo>
                      <a:lnTo>
                        <a:pt x="1172" y="539"/>
                      </a:lnTo>
                      <a:lnTo>
                        <a:pt x="1172" y="538"/>
                      </a:lnTo>
                      <a:lnTo>
                        <a:pt x="1172" y="539"/>
                      </a:lnTo>
                      <a:lnTo>
                        <a:pt x="1172" y="538"/>
                      </a:lnTo>
                      <a:lnTo>
                        <a:pt x="1173" y="538"/>
                      </a:lnTo>
                      <a:lnTo>
                        <a:pt x="1173" y="537"/>
                      </a:lnTo>
                      <a:lnTo>
                        <a:pt x="1174" y="536"/>
                      </a:lnTo>
                      <a:lnTo>
                        <a:pt x="1173" y="536"/>
                      </a:lnTo>
                      <a:lnTo>
                        <a:pt x="1173" y="534"/>
                      </a:lnTo>
                      <a:lnTo>
                        <a:pt x="1173" y="533"/>
                      </a:lnTo>
                      <a:lnTo>
                        <a:pt x="1172" y="533"/>
                      </a:lnTo>
                      <a:lnTo>
                        <a:pt x="1172" y="532"/>
                      </a:lnTo>
                      <a:lnTo>
                        <a:pt x="1173" y="532"/>
                      </a:lnTo>
                      <a:lnTo>
                        <a:pt x="1172" y="531"/>
                      </a:lnTo>
                      <a:lnTo>
                        <a:pt x="1172" y="530"/>
                      </a:lnTo>
                      <a:lnTo>
                        <a:pt x="1172" y="529"/>
                      </a:lnTo>
                      <a:lnTo>
                        <a:pt x="1173" y="529"/>
                      </a:lnTo>
                      <a:lnTo>
                        <a:pt x="1173" y="528"/>
                      </a:lnTo>
                      <a:lnTo>
                        <a:pt x="1172" y="528"/>
                      </a:lnTo>
                      <a:lnTo>
                        <a:pt x="1173" y="528"/>
                      </a:lnTo>
                      <a:lnTo>
                        <a:pt x="1173" y="527"/>
                      </a:lnTo>
                      <a:lnTo>
                        <a:pt x="1172" y="526"/>
                      </a:lnTo>
                      <a:lnTo>
                        <a:pt x="1172" y="525"/>
                      </a:lnTo>
                      <a:lnTo>
                        <a:pt x="1172" y="524"/>
                      </a:lnTo>
                      <a:lnTo>
                        <a:pt x="1171" y="524"/>
                      </a:lnTo>
                      <a:lnTo>
                        <a:pt x="1171" y="523"/>
                      </a:lnTo>
                      <a:lnTo>
                        <a:pt x="1171" y="521"/>
                      </a:lnTo>
                      <a:lnTo>
                        <a:pt x="1170" y="521"/>
                      </a:lnTo>
                      <a:lnTo>
                        <a:pt x="1170" y="520"/>
                      </a:lnTo>
                      <a:lnTo>
                        <a:pt x="1169" y="519"/>
                      </a:lnTo>
                      <a:lnTo>
                        <a:pt x="1168" y="518"/>
                      </a:lnTo>
                      <a:lnTo>
                        <a:pt x="1167" y="518"/>
                      </a:lnTo>
                      <a:lnTo>
                        <a:pt x="1167" y="517"/>
                      </a:lnTo>
                      <a:lnTo>
                        <a:pt x="1167" y="516"/>
                      </a:lnTo>
                      <a:lnTo>
                        <a:pt x="1168" y="516"/>
                      </a:lnTo>
                      <a:lnTo>
                        <a:pt x="1168" y="515"/>
                      </a:lnTo>
                      <a:lnTo>
                        <a:pt x="1169" y="515"/>
                      </a:lnTo>
                      <a:lnTo>
                        <a:pt x="1169" y="514"/>
                      </a:lnTo>
                      <a:lnTo>
                        <a:pt x="1170" y="514"/>
                      </a:lnTo>
                      <a:lnTo>
                        <a:pt x="1170" y="513"/>
                      </a:lnTo>
                      <a:lnTo>
                        <a:pt x="1170" y="512"/>
                      </a:lnTo>
                      <a:lnTo>
                        <a:pt x="1170" y="513"/>
                      </a:lnTo>
                      <a:lnTo>
                        <a:pt x="1171" y="513"/>
                      </a:lnTo>
                      <a:lnTo>
                        <a:pt x="1172" y="513"/>
                      </a:lnTo>
                      <a:lnTo>
                        <a:pt x="1171" y="513"/>
                      </a:lnTo>
                      <a:lnTo>
                        <a:pt x="1172" y="513"/>
                      </a:lnTo>
                      <a:lnTo>
                        <a:pt x="1173" y="513"/>
                      </a:lnTo>
                      <a:lnTo>
                        <a:pt x="1173" y="514"/>
                      </a:lnTo>
                      <a:lnTo>
                        <a:pt x="1174" y="514"/>
                      </a:lnTo>
                      <a:lnTo>
                        <a:pt x="1174" y="513"/>
                      </a:lnTo>
                      <a:lnTo>
                        <a:pt x="1175" y="513"/>
                      </a:lnTo>
                      <a:lnTo>
                        <a:pt x="1175" y="512"/>
                      </a:lnTo>
                      <a:lnTo>
                        <a:pt x="1176" y="512"/>
                      </a:lnTo>
                      <a:lnTo>
                        <a:pt x="1176" y="513"/>
                      </a:lnTo>
                      <a:lnTo>
                        <a:pt x="1177" y="512"/>
                      </a:lnTo>
                      <a:lnTo>
                        <a:pt x="1177" y="513"/>
                      </a:lnTo>
                      <a:lnTo>
                        <a:pt x="1177" y="512"/>
                      </a:lnTo>
                      <a:lnTo>
                        <a:pt x="1179" y="512"/>
                      </a:lnTo>
                      <a:lnTo>
                        <a:pt x="1179" y="513"/>
                      </a:lnTo>
                      <a:lnTo>
                        <a:pt x="1179" y="512"/>
                      </a:lnTo>
                      <a:lnTo>
                        <a:pt x="1179" y="511"/>
                      </a:lnTo>
                      <a:lnTo>
                        <a:pt x="1180" y="511"/>
                      </a:lnTo>
                      <a:lnTo>
                        <a:pt x="1181" y="511"/>
                      </a:lnTo>
                      <a:lnTo>
                        <a:pt x="1181" y="512"/>
                      </a:lnTo>
                      <a:lnTo>
                        <a:pt x="1182" y="512"/>
                      </a:lnTo>
                      <a:lnTo>
                        <a:pt x="1182" y="511"/>
                      </a:lnTo>
                      <a:lnTo>
                        <a:pt x="1182" y="510"/>
                      </a:lnTo>
                      <a:lnTo>
                        <a:pt x="1183" y="510"/>
                      </a:lnTo>
                      <a:lnTo>
                        <a:pt x="1183" y="508"/>
                      </a:lnTo>
                      <a:lnTo>
                        <a:pt x="1183" y="507"/>
                      </a:lnTo>
                      <a:lnTo>
                        <a:pt x="1184" y="507"/>
                      </a:lnTo>
                      <a:lnTo>
                        <a:pt x="1184" y="506"/>
                      </a:lnTo>
                      <a:lnTo>
                        <a:pt x="1185" y="506"/>
                      </a:lnTo>
                      <a:lnTo>
                        <a:pt x="1186" y="505"/>
                      </a:lnTo>
                      <a:lnTo>
                        <a:pt x="1187" y="505"/>
                      </a:lnTo>
                      <a:lnTo>
                        <a:pt x="1188" y="505"/>
                      </a:lnTo>
                      <a:lnTo>
                        <a:pt x="1188" y="504"/>
                      </a:lnTo>
                      <a:lnTo>
                        <a:pt x="1189" y="504"/>
                      </a:lnTo>
                      <a:lnTo>
                        <a:pt x="1189" y="503"/>
                      </a:lnTo>
                      <a:lnTo>
                        <a:pt x="1189" y="504"/>
                      </a:lnTo>
                      <a:lnTo>
                        <a:pt x="1190" y="503"/>
                      </a:lnTo>
                      <a:lnTo>
                        <a:pt x="1190" y="502"/>
                      </a:lnTo>
                      <a:lnTo>
                        <a:pt x="1192" y="502"/>
                      </a:lnTo>
                      <a:lnTo>
                        <a:pt x="1193" y="502"/>
                      </a:lnTo>
                      <a:lnTo>
                        <a:pt x="1194" y="501"/>
                      </a:lnTo>
                      <a:lnTo>
                        <a:pt x="1195" y="501"/>
                      </a:lnTo>
                      <a:lnTo>
                        <a:pt x="1196" y="501"/>
                      </a:lnTo>
                      <a:lnTo>
                        <a:pt x="1195" y="500"/>
                      </a:lnTo>
                      <a:lnTo>
                        <a:pt x="1195" y="499"/>
                      </a:lnTo>
                      <a:lnTo>
                        <a:pt x="1196" y="499"/>
                      </a:lnTo>
                      <a:lnTo>
                        <a:pt x="1197" y="499"/>
                      </a:lnTo>
                      <a:lnTo>
                        <a:pt x="1198" y="499"/>
                      </a:lnTo>
                      <a:lnTo>
                        <a:pt x="1198" y="498"/>
                      </a:lnTo>
                      <a:lnTo>
                        <a:pt x="1199" y="498"/>
                      </a:lnTo>
                      <a:lnTo>
                        <a:pt x="1200" y="498"/>
                      </a:lnTo>
                      <a:lnTo>
                        <a:pt x="1200" y="497"/>
                      </a:lnTo>
                      <a:lnTo>
                        <a:pt x="1201" y="497"/>
                      </a:lnTo>
                      <a:lnTo>
                        <a:pt x="1201" y="495"/>
                      </a:lnTo>
                      <a:lnTo>
                        <a:pt x="1202" y="495"/>
                      </a:lnTo>
                      <a:lnTo>
                        <a:pt x="1203" y="495"/>
                      </a:lnTo>
                      <a:lnTo>
                        <a:pt x="1203" y="494"/>
                      </a:lnTo>
                      <a:lnTo>
                        <a:pt x="1205" y="494"/>
                      </a:lnTo>
                      <a:lnTo>
                        <a:pt x="1206" y="494"/>
                      </a:lnTo>
                      <a:lnTo>
                        <a:pt x="1206" y="493"/>
                      </a:lnTo>
                      <a:lnTo>
                        <a:pt x="1207" y="493"/>
                      </a:lnTo>
                      <a:lnTo>
                        <a:pt x="1207" y="492"/>
                      </a:lnTo>
                      <a:lnTo>
                        <a:pt x="1208" y="492"/>
                      </a:lnTo>
                      <a:lnTo>
                        <a:pt x="1208" y="493"/>
                      </a:lnTo>
                      <a:lnTo>
                        <a:pt x="1208" y="492"/>
                      </a:lnTo>
                      <a:lnTo>
                        <a:pt x="1209" y="492"/>
                      </a:lnTo>
                      <a:lnTo>
                        <a:pt x="1209" y="491"/>
                      </a:lnTo>
                      <a:lnTo>
                        <a:pt x="1210" y="492"/>
                      </a:lnTo>
                      <a:lnTo>
                        <a:pt x="1210" y="491"/>
                      </a:lnTo>
                      <a:lnTo>
                        <a:pt x="1211" y="491"/>
                      </a:lnTo>
                      <a:lnTo>
                        <a:pt x="1211" y="490"/>
                      </a:lnTo>
                      <a:lnTo>
                        <a:pt x="1212" y="491"/>
                      </a:lnTo>
                      <a:lnTo>
                        <a:pt x="1212" y="490"/>
                      </a:lnTo>
                      <a:lnTo>
                        <a:pt x="1212" y="489"/>
                      </a:lnTo>
                      <a:lnTo>
                        <a:pt x="1213" y="489"/>
                      </a:lnTo>
                      <a:lnTo>
                        <a:pt x="1213" y="488"/>
                      </a:lnTo>
                      <a:lnTo>
                        <a:pt x="1214" y="488"/>
                      </a:lnTo>
                      <a:lnTo>
                        <a:pt x="1214" y="487"/>
                      </a:lnTo>
                      <a:lnTo>
                        <a:pt x="1215" y="488"/>
                      </a:lnTo>
                      <a:lnTo>
                        <a:pt x="1215" y="487"/>
                      </a:lnTo>
                      <a:lnTo>
                        <a:pt x="1215" y="486"/>
                      </a:lnTo>
                      <a:lnTo>
                        <a:pt x="1216" y="486"/>
                      </a:lnTo>
                      <a:lnTo>
                        <a:pt x="1218" y="486"/>
                      </a:lnTo>
                      <a:lnTo>
                        <a:pt x="1218" y="485"/>
                      </a:lnTo>
                      <a:lnTo>
                        <a:pt x="1219" y="485"/>
                      </a:lnTo>
                      <a:lnTo>
                        <a:pt x="1220" y="485"/>
                      </a:lnTo>
                      <a:lnTo>
                        <a:pt x="1221" y="484"/>
                      </a:lnTo>
                      <a:lnTo>
                        <a:pt x="1222" y="484"/>
                      </a:lnTo>
                      <a:lnTo>
                        <a:pt x="1222" y="485"/>
                      </a:lnTo>
                      <a:lnTo>
                        <a:pt x="1222" y="484"/>
                      </a:lnTo>
                      <a:lnTo>
                        <a:pt x="1222" y="482"/>
                      </a:lnTo>
                      <a:lnTo>
                        <a:pt x="1223" y="481"/>
                      </a:lnTo>
                      <a:lnTo>
                        <a:pt x="1224" y="481"/>
                      </a:lnTo>
                      <a:lnTo>
                        <a:pt x="1224" y="480"/>
                      </a:lnTo>
                      <a:lnTo>
                        <a:pt x="1223" y="481"/>
                      </a:lnTo>
                      <a:lnTo>
                        <a:pt x="1223" y="480"/>
                      </a:lnTo>
                      <a:lnTo>
                        <a:pt x="1222" y="480"/>
                      </a:lnTo>
                      <a:lnTo>
                        <a:pt x="1223" y="480"/>
                      </a:lnTo>
                      <a:lnTo>
                        <a:pt x="1223" y="479"/>
                      </a:lnTo>
                      <a:lnTo>
                        <a:pt x="1222" y="479"/>
                      </a:lnTo>
                      <a:lnTo>
                        <a:pt x="1222" y="478"/>
                      </a:lnTo>
                      <a:lnTo>
                        <a:pt x="1221" y="478"/>
                      </a:lnTo>
                      <a:lnTo>
                        <a:pt x="1221" y="477"/>
                      </a:lnTo>
                      <a:lnTo>
                        <a:pt x="1220" y="476"/>
                      </a:lnTo>
                      <a:lnTo>
                        <a:pt x="1220" y="475"/>
                      </a:lnTo>
                      <a:lnTo>
                        <a:pt x="1221" y="474"/>
                      </a:lnTo>
                      <a:lnTo>
                        <a:pt x="1220" y="474"/>
                      </a:lnTo>
                      <a:lnTo>
                        <a:pt x="1220" y="473"/>
                      </a:lnTo>
                      <a:lnTo>
                        <a:pt x="1220" y="472"/>
                      </a:lnTo>
                      <a:lnTo>
                        <a:pt x="1219" y="470"/>
                      </a:lnTo>
                      <a:lnTo>
                        <a:pt x="1220" y="470"/>
                      </a:lnTo>
                      <a:lnTo>
                        <a:pt x="1219" y="470"/>
                      </a:lnTo>
                      <a:lnTo>
                        <a:pt x="1219" y="469"/>
                      </a:lnTo>
                      <a:lnTo>
                        <a:pt x="1219" y="468"/>
                      </a:lnTo>
                      <a:lnTo>
                        <a:pt x="1218" y="467"/>
                      </a:lnTo>
                      <a:lnTo>
                        <a:pt x="1219" y="467"/>
                      </a:lnTo>
                      <a:lnTo>
                        <a:pt x="1220" y="466"/>
                      </a:lnTo>
                      <a:lnTo>
                        <a:pt x="1220" y="465"/>
                      </a:lnTo>
                      <a:lnTo>
                        <a:pt x="1221" y="463"/>
                      </a:lnTo>
                      <a:lnTo>
                        <a:pt x="1221" y="462"/>
                      </a:lnTo>
                      <a:lnTo>
                        <a:pt x="1222" y="462"/>
                      </a:lnTo>
                      <a:lnTo>
                        <a:pt x="1221" y="461"/>
                      </a:lnTo>
                      <a:lnTo>
                        <a:pt x="1221" y="460"/>
                      </a:lnTo>
                      <a:lnTo>
                        <a:pt x="1222" y="459"/>
                      </a:lnTo>
                      <a:lnTo>
                        <a:pt x="1223" y="459"/>
                      </a:lnTo>
                      <a:lnTo>
                        <a:pt x="1223" y="457"/>
                      </a:lnTo>
                      <a:lnTo>
                        <a:pt x="1223" y="459"/>
                      </a:lnTo>
                      <a:lnTo>
                        <a:pt x="1224" y="459"/>
                      </a:lnTo>
                      <a:lnTo>
                        <a:pt x="1224" y="457"/>
                      </a:lnTo>
                      <a:lnTo>
                        <a:pt x="1224" y="459"/>
                      </a:lnTo>
                      <a:lnTo>
                        <a:pt x="1224" y="457"/>
                      </a:lnTo>
                      <a:lnTo>
                        <a:pt x="1225" y="456"/>
                      </a:lnTo>
                      <a:lnTo>
                        <a:pt x="1224" y="456"/>
                      </a:lnTo>
                      <a:lnTo>
                        <a:pt x="1225" y="456"/>
                      </a:lnTo>
                      <a:lnTo>
                        <a:pt x="1225" y="455"/>
                      </a:lnTo>
                      <a:lnTo>
                        <a:pt x="1225" y="454"/>
                      </a:lnTo>
                      <a:lnTo>
                        <a:pt x="1226" y="454"/>
                      </a:lnTo>
                      <a:lnTo>
                        <a:pt x="1226" y="455"/>
                      </a:lnTo>
                      <a:lnTo>
                        <a:pt x="1227" y="455"/>
                      </a:lnTo>
                      <a:lnTo>
                        <a:pt x="1226" y="455"/>
                      </a:lnTo>
                      <a:lnTo>
                        <a:pt x="1226" y="456"/>
                      </a:lnTo>
                      <a:lnTo>
                        <a:pt x="1227" y="456"/>
                      </a:lnTo>
                      <a:lnTo>
                        <a:pt x="1228" y="457"/>
                      </a:lnTo>
                      <a:lnTo>
                        <a:pt x="1228" y="459"/>
                      </a:lnTo>
                      <a:lnTo>
                        <a:pt x="1229" y="459"/>
                      </a:lnTo>
                      <a:lnTo>
                        <a:pt x="1229" y="460"/>
                      </a:lnTo>
                      <a:lnTo>
                        <a:pt x="1231" y="460"/>
                      </a:lnTo>
                      <a:lnTo>
                        <a:pt x="1232" y="460"/>
                      </a:lnTo>
                      <a:lnTo>
                        <a:pt x="1233" y="460"/>
                      </a:lnTo>
                      <a:lnTo>
                        <a:pt x="1234" y="461"/>
                      </a:lnTo>
                      <a:lnTo>
                        <a:pt x="1235" y="462"/>
                      </a:lnTo>
                      <a:lnTo>
                        <a:pt x="1236" y="462"/>
                      </a:lnTo>
                      <a:lnTo>
                        <a:pt x="1237" y="463"/>
                      </a:lnTo>
                      <a:lnTo>
                        <a:pt x="1238" y="463"/>
                      </a:lnTo>
                      <a:lnTo>
                        <a:pt x="1238" y="464"/>
                      </a:lnTo>
                      <a:lnTo>
                        <a:pt x="1239" y="464"/>
                      </a:lnTo>
                      <a:lnTo>
                        <a:pt x="1240" y="465"/>
                      </a:lnTo>
                      <a:lnTo>
                        <a:pt x="1240" y="466"/>
                      </a:lnTo>
                      <a:lnTo>
                        <a:pt x="1241" y="466"/>
                      </a:lnTo>
                      <a:lnTo>
                        <a:pt x="1241" y="467"/>
                      </a:lnTo>
                      <a:lnTo>
                        <a:pt x="1242" y="467"/>
                      </a:lnTo>
                      <a:lnTo>
                        <a:pt x="1242" y="468"/>
                      </a:lnTo>
                      <a:lnTo>
                        <a:pt x="1244" y="468"/>
                      </a:lnTo>
                      <a:lnTo>
                        <a:pt x="1244" y="469"/>
                      </a:lnTo>
                      <a:lnTo>
                        <a:pt x="1244" y="468"/>
                      </a:lnTo>
                      <a:lnTo>
                        <a:pt x="1245" y="467"/>
                      </a:lnTo>
                      <a:lnTo>
                        <a:pt x="1246" y="467"/>
                      </a:lnTo>
                      <a:lnTo>
                        <a:pt x="1247" y="467"/>
                      </a:lnTo>
                      <a:lnTo>
                        <a:pt x="1248" y="467"/>
                      </a:lnTo>
                      <a:lnTo>
                        <a:pt x="1249" y="467"/>
                      </a:lnTo>
                      <a:lnTo>
                        <a:pt x="1250" y="467"/>
                      </a:lnTo>
                      <a:lnTo>
                        <a:pt x="1250" y="468"/>
                      </a:lnTo>
                      <a:lnTo>
                        <a:pt x="1251" y="468"/>
                      </a:lnTo>
                      <a:lnTo>
                        <a:pt x="1252" y="469"/>
                      </a:lnTo>
                      <a:lnTo>
                        <a:pt x="1253" y="470"/>
                      </a:lnTo>
                      <a:lnTo>
                        <a:pt x="1254" y="472"/>
                      </a:lnTo>
                      <a:lnTo>
                        <a:pt x="1253" y="472"/>
                      </a:lnTo>
                      <a:lnTo>
                        <a:pt x="1252" y="472"/>
                      </a:lnTo>
                      <a:lnTo>
                        <a:pt x="1253" y="472"/>
                      </a:lnTo>
                      <a:lnTo>
                        <a:pt x="1252" y="473"/>
                      </a:lnTo>
                      <a:lnTo>
                        <a:pt x="1252" y="474"/>
                      </a:lnTo>
                      <a:lnTo>
                        <a:pt x="1253" y="474"/>
                      </a:lnTo>
                      <a:lnTo>
                        <a:pt x="1254" y="474"/>
                      </a:lnTo>
                      <a:lnTo>
                        <a:pt x="1255" y="474"/>
                      </a:lnTo>
                      <a:lnTo>
                        <a:pt x="1255" y="473"/>
                      </a:lnTo>
                      <a:lnTo>
                        <a:pt x="1255" y="472"/>
                      </a:lnTo>
                      <a:lnTo>
                        <a:pt x="1257" y="473"/>
                      </a:lnTo>
                      <a:lnTo>
                        <a:pt x="1258" y="473"/>
                      </a:lnTo>
                      <a:lnTo>
                        <a:pt x="1258" y="474"/>
                      </a:lnTo>
                      <a:lnTo>
                        <a:pt x="1259" y="474"/>
                      </a:lnTo>
                      <a:lnTo>
                        <a:pt x="1258" y="474"/>
                      </a:lnTo>
                      <a:lnTo>
                        <a:pt x="1257" y="474"/>
                      </a:lnTo>
                      <a:lnTo>
                        <a:pt x="1255" y="475"/>
                      </a:lnTo>
                      <a:lnTo>
                        <a:pt x="1254" y="475"/>
                      </a:lnTo>
                      <a:lnTo>
                        <a:pt x="1254" y="476"/>
                      </a:lnTo>
                      <a:lnTo>
                        <a:pt x="1253" y="476"/>
                      </a:lnTo>
                      <a:lnTo>
                        <a:pt x="1253" y="477"/>
                      </a:lnTo>
                      <a:lnTo>
                        <a:pt x="1252" y="477"/>
                      </a:lnTo>
                      <a:lnTo>
                        <a:pt x="1251" y="477"/>
                      </a:lnTo>
                      <a:lnTo>
                        <a:pt x="1251" y="478"/>
                      </a:lnTo>
                      <a:lnTo>
                        <a:pt x="1251" y="479"/>
                      </a:lnTo>
                      <a:lnTo>
                        <a:pt x="1251" y="480"/>
                      </a:lnTo>
                      <a:lnTo>
                        <a:pt x="1251" y="481"/>
                      </a:lnTo>
                      <a:lnTo>
                        <a:pt x="1252" y="481"/>
                      </a:lnTo>
                      <a:lnTo>
                        <a:pt x="1252" y="482"/>
                      </a:lnTo>
                      <a:lnTo>
                        <a:pt x="1252" y="484"/>
                      </a:lnTo>
                      <a:lnTo>
                        <a:pt x="1253" y="484"/>
                      </a:lnTo>
                      <a:lnTo>
                        <a:pt x="1255" y="485"/>
                      </a:lnTo>
                      <a:lnTo>
                        <a:pt x="1255" y="486"/>
                      </a:lnTo>
                      <a:lnTo>
                        <a:pt x="1255" y="487"/>
                      </a:lnTo>
                      <a:lnTo>
                        <a:pt x="1257" y="487"/>
                      </a:lnTo>
                      <a:lnTo>
                        <a:pt x="1257" y="486"/>
                      </a:lnTo>
                      <a:lnTo>
                        <a:pt x="1257" y="487"/>
                      </a:lnTo>
                      <a:lnTo>
                        <a:pt x="1258" y="487"/>
                      </a:lnTo>
                      <a:lnTo>
                        <a:pt x="1259" y="487"/>
                      </a:lnTo>
                      <a:lnTo>
                        <a:pt x="1260" y="487"/>
                      </a:lnTo>
                      <a:lnTo>
                        <a:pt x="1261" y="487"/>
                      </a:lnTo>
                      <a:lnTo>
                        <a:pt x="1261" y="486"/>
                      </a:lnTo>
                      <a:lnTo>
                        <a:pt x="1262" y="486"/>
                      </a:lnTo>
                      <a:lnTo>
                        <a:pt x="1263" y="485"/>
                      </a:lnTo>
                      <a:lnTo>
                        <a:pt x="1263" y="486"/>
                      </a:lnTo>
                      <a:lnTo>
                        <a:pt x="1264" y="486"/>
                      </a:lnTo>
                      <a:lnTo>
                        <a:pt x="1264" y="487"/>
                      </a:lnTo>
                      <a:lnTo>
                        <a:pt x="1265" y="487"/>
                      </a:lnTo>
                      <a:lnTo>
                        <a:pt x="1265" y="488"/>
                      </a:lnTo>
                      <a:lnTo>
                        <a:pt x="1266" y="489"/>
                      </a:lnTo>
                      <a:lnTo>
                        <a:pt x="1266" y="490"/>
                      </a:lnTo>
                      <a:lnTo>
                        <a:pt x="1265" y="490"/>
                      </a:lnTo>
                      <a:lnTo>
                        <a:pt x="1264" y="490"/>
                      </a:lnTo>
                      <a:lnTo>
                        <a:pt x="1264" y="491"/>
                      </a:lnTo>
                      <a:lnTo>
                        <a:pt x="1264" y="492"/>
                      </a:lnTo>
                      <a:lnTo>
                        <a:pt x="1263" y="492"/>
                      </a:lnTo>
                      <a:lnTo>
                        <a:pt x="1263" y="493"/>
                      </a:lnTo>
                      <a:lnTo>
                        <a:pt x="1263" y="494"/>
                      </a:lnTo>
                      <a:lnTo>
                        <a:pt x="1263" y="495"/>
                      </a:lnTo>
                      <a:lnTo>
                        <a:pt x="1263" y="494"/>
                      </a:lnTo>
                      <a:lnTo>
                        <a:pt x="1263" y="493"/>
                      </a:lnTo>
                      <a:lnTo>
                        <a:pt x="1262" y="493"/>
                      </a:lnTo>
                      <a:lnTo>
                        <a:pt x="1262" y="492"/>
                      </a:lnTo>
                      <a:lnTo>
                        <a:pt x="1262" y="491"/>
                      </a:lnTo>
                      <a:lnTo>
                        <a:pt x="1261" y="491"/>
                      </a:lnTo>
                      <a:lnTo>
                        <a:pt x="1261" y="490"/>
                      </a:lnTo>
                      <a:lnTo>
                        <a:pt x="1260" y="490"/>
                      </a:lnTo>
                      <a:lnTo>
                        <a:pt x="1259" y="490"/>
                      </a:lnTo>
                      <a:lnTo>
                        <a:pt x="1258" y="490"/>
                      </a:lnTo>
                      <a:lnTo>
                        <a:pt x="1255" y="490"/>
                      </a:lnTo>
                      <a:lnTo>
                        <a:pt x="1255" y="491"/>
                      </a:lnTo>
                      <a:lnTo>
                        <a:pt x="1254" y="491"/>
                      </a:lnTo>
                      <a:lnTo>
                        <a:pt x="1254" y="492"/>
                      </a:lnTo>
                      <a:lnTo>
                        <a:pt x="1253" y="492"/>
                      </a:lnTo>
                      <a:lnTo>
                        <a:pt x="1252" y="493"/>
                      </a:lnTo>
                      <a:lnTo>
                        <a:pt x="1251" y="493"/>
                      </a:lnTo>
                      <a:lnTo>
                        <a:pt x="1250" y="493"/>
                      </a:lnTo>
                      <a:lnTo>
                        <a:pt x="1250" y="494"/>
                      </a:lnTo>
                      <a:lnTo>
                        <a:pt x="1249" y="494"/>
                      </a:lnTo>
                      <a:lnTo>
                        <a:pt x="1248" y="494"/>
                      </a:lnTo>
                      <a:lnTo>
                        <a:pt x="1248" y="495"/>
                      </a:lnTo>
                      <a:lnTo>
                        <a:pt x="1248" y="497"/>
                      </a:lnTo>
                      <a:lnTo>
                        <a:pt x="1247" y="497"/>
                      </a:lnTo>
                      <a:lnTo>
                        <a:pt x="1247" y="498"/>
                      </a:lnTo>
                      <a:lnTo>
                        <a:pt x="1248" y="499"/>
                      </a:lnTo>
                      <a:lnTo>
                        <a:pt x="1248" y="500"/>
                      </a:lnTo>
                      <a:lnTo>
                        <a:pt x="1248" y="501"/>
                      </a:lnTo>
                      <a:lnTo>
                        <a:pt x="1248" y="500"/>
                      </a:lnTo>
                      <a:lnTo>
                        <a:pt x="1247" y="500"/>
                      </a:lnTo>
                      <a:lnTo>
                        <a:pt x="1247" y="501"/>
                      </a:lnTo>
                      <a:lnTo>
                        <a:pt x="1248" y="501"/>
                      </a:lnTo>
                      <a:lnTo>
                        <a:pt x="1248" y="502"/>
                      </a:lnTo>
                      <a:lnTo>
                        <a:pt x="1247" y="502"/>
                      </a:lnTo>
                      <a:lnTo>
                        <a:pt x="1246" y="502"/>
                      </a:lnTo>
                      <a:lnTo>
                        <a:pt x="1245" y="503"/>
                      </a:lnTo>
                      <a:lnTo>
                        <a:pt x="1245" y="504"/>
                      </a:lnTo>
                      <a:lnTo>
                        <a:pt x="1245" y="505"/>
                      </a:lnTo>
                      <a:lnTo>
                        <a:pt x="1244" y="505"/>
                      </a:lnTo>
                      <a:lnTo>
                        <a:pt x="1242" y="506"/>
                      </a:lnTo>
                      <a:lnTo>
                        <a:pt x="1241" y="507"/>
                      </a:lnTo>
                      <a:lnTo>
                        <a:pt x="1241" y="508"/>
                      </a:lnTo>
                      <a:lnTo>
                        <a:pt x="1241" y="510"/>
                      </a:lnTo>
                      <a:lnTo>
                        <a:pt x="1241" y="511"/>
                      </a:lnTo>
                      <a:lnTo>
                        <a:pt x="1242" y="512"/>
                      </a:lnTo>
                      <a:lnTo>
                        <a:pt x="1242" y="513"/>
                      </a:lnTo>
                      <a:lnTo>
                        <a:pt x="1242" y="514"/>
                      </a:lnTo>
                      <a:lnTo>
                        <a:pt x="1240" y="514"/>
                      </a:lnTo>
                      <a:lnTo>
                        <a:pt x="1239" y="514"/>
                      </a:lnTo>
                      <a:lnTo>
                        <a:pt x="1237" y="513"/>
                      </a:lnTo>
                      <a:lnTo>
                        <a:pt x="1236" y="514"/>
                      </a:lnTo>
                      <a:lnTo>
                        <a:pt x="1236" y="515"/>
                      </a:lnTo>
                      <a:lnTo>
                        <a:pt x="1236" y="516"/>
                      </a:lnTo>
                      <a:lnTo>
                        <a:pt x="1237" y="516"/>
                      </a:lnTo>
                      <a:lnTo>
                        <a:pt x="1237" y="515"/>
                      </a:lnTo>
                      <a:lnTo>
                        <a:pt x="1237" y="516"/>
                      </a:lnTo>
                      <a:lnTo>
                        <a:pt x="1238" y="516"/>
                      </a:lnTo>
                      <a:lnTo>
                        <a:pt x="1238" y="517"/>
                      </a:lnTo>
                      <a:lnTo>
                        <a:pt x="1239" y="517"/>
                      </a:lnTo>
                      <a:lnTo>
                        <a:pt x="1240" y="518"/>
                      </a:lnTo>
                      <a:lnTo>
                        <a:pt x="1241" y="518"/>
                      </a:lnTo>
                      <a:lnTo>
                        <a:pt x="1242" y="518"/>
                      </a:lnTo>
                      <a:lnTo>
                        <a:pt x="1242" y="517"/>
                      </a:lnTo>
                      <a:lnTo>
                        <a:pt x="1244" y="516"/>
                      </a:lnTo>
                      <a:lnTo>
                        <a:pt x="1245" y="516"/>
                      </a:lnTo>
                      <a:lnTo>
                        <a:pt x="1245" y="515"/>
                      </a:lnTo>
                      <a:lnTo>
                        <a:pt x="1246" y="516"/>
                      </a:lnTo>
                      <a:lnTo>
                        <a:pt x="1247" y="516"/>
                      </a:lnTo>
                      <a:lnTo>
                        <a:pt x="1248" y="516"/>
                      </a:lnTo>
                      <a:lnTo>
                        <a:pt x="1249" y="515"/>
                      </a:lnTo>
                      <a:lnTo>
                        <a:pt x="1249" y="514"/>
                      </a:lnTo>
                      <a:lnTo>
                        <a:pt x="1250" y="514"/>
                      </a:lnTo>
                      <a:lnTo>
                        <a:pt x="1250" y="513"/>
                      </a:lnTo>
                      <a:lnTo>
                        <a:pt x="1251" y="513"/>
                      </a:lnTo>
                      <a:lnTo>
                        <a:pt x="1250" y="512"/>
                      </a:lnTo>
                      <a:lnTo>
                        <a:pt x="1251" y="512"/>
                      </a:lnTo>
                      <a:lnTo>
                        <a:pt x="1251" y="513"/>
                      </a:lnTo>
                      <a:lnTo>
                        <a:pt x="1253" y="514"/>
                      </a:lnTo>
                      <a:lnTo>
                        <a:pt x="1253" y="515"/>
                      </a:lnTo>
                      <a:lnTo>
                        <a:pt x="1254" y="515"/>
                      </a:lnTo>
                      <a:lnTo>
                        <a:pt x="1255" y="516"/>
                      </a:lnTo>
                      <a:lnTo>
                        <a:pt x="1254" y="515"/>
                      </a:lnTo>
                      <a:lnTo>
                        <a:pt x="1253" y="515"/>
                      </a:lnTo>
                      <a:lnTo>
                        <a:pt x="1252" y="515"/>
                      </a:lnTo>
                      <a:lnTo>
                        <a:pt x="1252" y="514"/>
                      </a:lnTo>
                      <a:lnTo>
                        <a:pt x="1252" y="515"/>
                      </a:lnTo>
                      <a:lnTo>
                        <a:pt x="1251" y="515"/>
                      </a:lnTo>
                      <a:lnTo>
                        <a:pt x="1251" y="516"/>
                      </a:lnTo>
                      <a:lnTo>
                        <a:pt x="1251" y="517"/>
                      </a:lnTo>
                      <a:lnTo>
                        <a:pt x="1250" y="518"/>
                      </a:lnTo>
                      <a:lnTo>
                        <a:pt x="1251" y="519"/>
                      </a:lnTo>
                      <a:lnTo>
                        <a:pt x="1252" y="520"/>
                      </a:lnTo>
                      <a:lnTo>
                        <a:pt x="1254" y="520"/>
                      </a:lnTo>
                      <a:lnTo>
                        <a:pt x="1255" y="520"/>
                      </a:lnTo>
                      <a:lnTo>
                        <a:pt x="1255" y="521"/>
                      </a:lnTo>
                      <a:lnTo>
                        <a:pt x="1254" y="523"/>
                      </a:lnTo>
                      <a:lnTo>
                        <a:pt x="1253" y="523"/>
                      </a:lnTo>
                      <a:lnTo>
                        <a:pt x="1252" y="521"/>
                      </a:lnTo>
                      <a:lnTo>
                        <a:pt x="1251" y="521"/>
                      </a:lnTo>
                      <a:lnTo>
                        <a:pt x="1250" y="521"/>
                      </a:lnTo>
                      <a:lnTo>
                        <a:pt x="1249" y="521"/>
                      </a:lnTo>
                      <a:lnTo>
                        <a:pt x="1247" y="523"/>
                      </a:lnTo>
                      <a:lnTo>
                        <a:pt x="1246" y="523"/>
                      </a:lnTo>
                      <a:lnTo>
                        <a:pt x="1245" y="524"/>
                      </a:lnTo>
                      <a:lnTo>
                        <a:pt x="1244" y="525"/>
                      </a:lnTo>
                      <a:lnTo>
                        <a:pt x="1244" y="526"/>
                      </a:lnTo>
                      <a:lnTo>
                        <a:pt x="1242" y="525"/>
                      </a:lnTo>
                      <a:lnTo>
                        <a:pt x="1242" y="524"/>
                      </a:lnTo>
                      <a:lnTo>
                        <a:pt x="1241" y="523"/>
                      </a:lnTo>
                      <a:lnTo>
                        <a:pt x="1241" y="524"/>
                      </a:lnTo>
                      <a:lnTo>
                        <a:pt x="1240" y="523"/>
                      </a:lnTo>
                      <a:lnTo>
                        <a:pt x="1240" y="524"/>
                      </a:lnTo>
                      <a:lnTo>
                        <a:pt x="1240" y="523"/>
                      </a:lnTo>
                      <a:lnTo>
                        <a:pt x="1239" y="523"/>
                      </a:lnTo>
                      <a:lnTo>
                        <a:pt x="1239" y="521"/>
                      </a:lnTo>
                      <a:lnTo>
                        <a:pt x="1238" y="521"/>
                      </a:lnTo>
                      <a:lnTo>
                        <a:pt x="1238" y="520"/>
                      </a:lnTo>
                      <a:lnTo>
                        <a:pt x="1237" y="520"/>
                      </a:lnTo>
                      <a:lnTo>
                        <a:pt x="1236" y="520"/>
                      </a:lnTo>
                      <a:lnTo>
                        <a:pt x="1236" y="519"/>
                      </a:lnTo>
                      <a:lnTo>
                        <a:pt x="1236" y="518"/>
                      </a:lnTo>
                      <a:lnTo>
                        <a:pt x="1235" y="517"/>
                      </a:lnTo>
                      <a:lnTo>
                        <a:pt x="1234" y="517"/>
                      </a:lnTo>
                      <a:lnTo>
                        <a:pt x="1234" y="518"/>
                      </a:lnTo>
                      <a:lnTo>
                        <a:pt x="1233" y="518"/>
                      </a:lnTo>
                      <a:lnTo>
                        <a:pt x="1232" y="518"/>
                      </a:lnTo>
                      <a:lnTo>
                        <a:pt x="1231" y="519"/>
                      </a:lnTo>
                      <a:lnTo>
                        <a:pt x="1231" y="520"/>
                      </a:lnTo>
                      <a:lnTo>
                        <a:pt x="1232" y="520"/>
                      </a:lnTo>
                      <a:lnTo>
                        <a:pt x="1232" y="521"/>
                      </a:lnTo>
                      <a:lnTo>
                        <a:pt x="1233" y="521"/>
                      </a:lnTo>
                      <a:lnTo>
                        <a:pt x="1232" y="523"/>
                      </a:lnTo>
                      <a:lnTo>
                        <a:pt x="1232" y="524"/>
                      </a:lnTo>
                      <a:lnTo>
                        <a:pt x="1232" y="525"/>
                      </a:lnTo>
                      <a:lnTo>
                        <a:pt x="1232" y="526"/>
                      </a:lnTo>
                      <a:lnTo>
                        <a:pt x="1233" y="527"/>
                      </a:lnTo>
                      <a:lnTo>
                        <a:pt x="1232" y="528"/>
                      </a:lnTo>
                      <a:lnTo>
                        <a:pt x="1232" y="529"/>
                      </a:lnTo>
                      <a:lnTo>
                        <a:pt x="1233" y="529"/>
                      </a:lnTo>
                      <a:lnTo>
                        <a:pt x="1233" y="530"/>
                      </a:lnTo>
                      <a:lnTo>
                        <a:pt x="1233" y="531"/>
                      </a:lnTo>
                      <a:lnTo>
                        <a:pt x="1235" y="531"/>
                      </a:lnTo>
                      <a:lnTo>
                        <a:pt x="1236" y="532"/>
                      </a:lnTo>
                      <a:lnTo>
                        <a:pt x="1236" y="533"/>
                      </a:lnTo>
                      <a:lnTo>
                        <a:pt x="1237" y="534"/>
                      </a:lnTo>
                      <a:lnTo>
                        <a:pt x="1238" y="536"/>
                      </a:lnTo>
                      <a:lnTo>
                        <a:pt x="1239" y="536"/>
                      </a:lnTo>
                      <a:lnTo>
                        <a:pt x="1238" y="537"/>
                      </a:lnTo>
                      <a:lnTo>
                        <a:pt x="1237" y="537"/>
                      </a:lnTo>
                      <a:lnTo>
                        <a:pt x="1236" y="538"/>
                      </a:lnTo>
                      <a:lnTo>
                        <a:pt x="1235" y="538"/>
                      </a:lnTo>
                      <a:lnTo>
                        <a:pt x="1234" y="539"/>
                      </a:lnTo>
                      <a:lnTo>
                        <a:pt x="1233" y="539"/>
                      </a:lnTo>
                      <a:lnTo>
                        <a:pt x="1233" y="540"/>
                      </a:lnTo>
                      <a:lnTo>
                        <a:pt x="1232" y="540"/>
                      </a:lnTo>
                      <a:lnTo>
                        <a:pt x="1232" y="539"/>
                      </a:lnTo>
                      <a:lnTo>
                        <a:pt x="1231" y="538"/>
                      </a:lnTo>
                      <a:lnTo>
                        <a:pt x="1229" y="537"/>
                      </a:lnTo>
                      <a:lnTo>
                        <a:pt x="1228" y="537"/>
                      </a:lnTo>
                      <a:lnTo>
                        <a:pt x="1228" y="538"/>
                      </a:lnTo>
                      <a:lnTo>
                        <a:pt x="1227" y="538"/>
                      </a:lnTo>
                      <a:lnTo>
                        <a:pt x="1227" y="539"/>
                      </a:lnTo>
                      <a:lnTo>
                        <a:pt x="1227" y="540"/>
                      </a:lnTo>
                      <a:lnTo>
                        <a:pt x="1228" y="540"/>
                      </a:lnTo>
                      <a:lnTo>
                        <a:pt x="1229" y="540"/>
                      </a:lnTo>
                      <a:lnTo>
                        <a:pt x="1229" y="541"/>
                      </a:lnTo>
                      <a:lnTo>
                        <a:pt x="1228" y="542"/>
                      </a:lnTo>
                      <a:lnTo>
                        <a:pt x="1228" y="543"/>
                      </a:lnTo>
                      <a:lnTo>
                        <a:pt x="1229" y="543"/>
                      </a:lnTo>
                      <a:lnTo>
                        <a:pt x="1231" y="542"/>
                      </a:lnTo>
                      <a:lnTo>
                        <a:pt x="1232" y="542"/>
                      </a:lnTo>
                      <a:lnTo>
                        <a:pt x="1233" y="542"/>
                      </a:lnTo>
                      <a:lnTo>
                        <a:pt x="1234" y="543"/>
                      </a:lnTo>
                      <a:lnTo>
                        <a:pt x="1235" y="542"/>
                      </a:lnTo>
                      <a:lnTo>
                        <a:pt x="1236" y="541"/>
                      </a:lnTo>
                      <a:lnTo>
                        <a:pt x="1237" y="541"/>
                      </a:lnTo>
                      <a:lnTo>
                        <a:pt x="1238" y="541"/>
                      </a:lnTo>
                      <a:lnTo>
                        <a:pt x="1239" y="542"/>
                      </a:lnTo>
                      <a:lnTo>
                        <a:pt x="1240" y="542"/>
                      </a:lnTo>
                      <a:lnTo>
                        <a:pt x="1241" y="541"/>
                      </a:lnTo>
                      <a:lnTo>
                        <a:pt x="1242" y="541"/>
                      </a:lnTo>
                      <a:lnTo>
                        <a:pt x="1242" y="540"/>
                      </a:lnTo>
                      <a:lnTo>
                        <a:pt x="1242" y="539"/>
                      </a:lnTo>
                      <a:lnTo>
                        <a:pt x="1241" y="539"/>
                      </a:lnTo>
                      <a:lnTo>
                        <a:pt x="1239" y="539"/>
                      </a:lnTo>
                      <a:lnTo>
                        <a:pt x="1239" y="538"/>
                      </a:lnTo>
                      <a:lnTo>
                        <a:pt x="1240" y="538"/>
                      </a:lnTo>
                      <a:lnTo>
                        <a:pt x="1241" y="538"/>
                      </a:lnTo>
                      <a:lnTo>
                        <a:pt x="1242" y="537"/>
                      </a:lnTo>
                      <a:lnTo>
                        <a:pt x="1242" y="536"/>
                      </a:lnTo>
                      <a:lnTo>
                        <a:pt x="1242" y="534"/>
                      </a:lnTo>
                      <a:lnTo>
                        <a:pt x="1242" y="533"/>
                      </a:lnTo>
                      <a:lnTo>
                        <a:pt x="1241" y="532"/>
                      </a:lnTo>
                      <a:lnTo>
                        <a:pt x="1241" y="531"/>
                      </a:lnTo>
                      <a:lnTo>
                        <a:pt x="1242" y="531"/>
                      </a:lnTo>
                      <a:lnTo>
                        <a:pt x="1244" y="531"/>
                      </a:lnTo>
                      <a:lnTo>
                        <a:pt x="1244" y="532"/>
                      </a:lnTo>
                      <a:lnTo>
                        <a:pt x="1245" y="532"/>
                      </a:lnTo>
                      <a:lnTo>
                        <a:pt x="1247" y="533"/>
                      </a:lnTo>
                      <a:lnTo>
                        <a:pt x="1247" y="534"/>
                      </a:lnTo>
                      <a:lnTo>
                        <a:pt x="1245" y="537"/>
                      </a:lnTo>
                      <a:lnTo>
                        <a:pt x="1245" y="538"/>
                      </a:lnTo>
                      <a:lnTo>
                        <a:pt x="1245" y="539"/>
                      </a:lnTo>
                      <a:lnTo>
                        <a:pt x="1245" y="541"/>
                      </a:lnTo>
                      <a:lnTo>
                        <a:pt x="1246" y="542"/>
                      </a:lnTo>
                      <a:lnTo>
                        <a:pt x="1246" y="543"/>
                      </a:lnTo>
                      <a:lnTo>
                        <a:pt x="1245" y="544"/>
                      </a:lnTo>
                      <a:lnTo>
                        <a:pt x="1246" y="545"/>
                      </a:lnTo>
                      <a:lnTo>
                        <a:pt x="1247" y="545"/>
                      </a:lnTo>
                      <a:lnTo>
                        <a:pt x="1249" y="543"/>
                      </a:lnTo>
                      <a:lnTo>
                        <a:pt x="1250" y="542"/>
                      </a:lnTo>
                      <a:lnTo>
                        <a:pt x="1250" y="540"/>
                      </a:lnTo>
                      <a:lnTo>
                        <a:pt x="1251" y="540"/>
                      </a:lnTo>
                      <a:lnTo>
                        <a:pt x="1251" y="539"/>
                      </a:lnTo>
                      <a:lnTo>
                        <a:pt x="1252" y="539"/>
                      </a:lnTo>
                      <a:lnTo>
                        <a:pt x="1253" y="538"/>
                      </a:lnTo>
                      <a:lnTo>
                        <a:pt x="1253" y="537"/>
                      </a:lnTo>
                      <a:lnTo>
                        <a:pt x="1254" y="537"/>
                      </a:lnTo>
                      <a:lnTo>
                        <a:pt x="1254" y="536"/>
                      </a:lnTo>
                      <a:lnTo>
                        <a:pt x="1254" y="534"/>
                      </a:lnTo>
                      <a:lnTo>
                        <a:pt x="1255" y="534"/>
                      </a:lnTo>
                      <a:lnTo>
                        <a:pt x="1255" y="533"/>
                      </a:lnTo>
                      <a:lnTo>
                        <a:pt x="1257" y="533"/>
                      </a:lnTo>
                      <a:lnTo>
                        <a:pt x="1257" y="532"/>
                      </a:lnTo>
                      <a:lnTo>
                        <a:pt x="1257" y="531"/>
                      </a:lnTo>
                      <a:lnTo>
                        <a:pt x="1257" y="530"/>
                      </a:lnTo>
                      <a:lnTo>
                        <a:pt x="1255" y="530"/>
                      </a:lnTo>
                      <a:lnTo>
                        <a:pt x="1257" y="529"/>
                      </a:lnTo>
                      <a:lnTo>
                        <a:pt x="1258" y="529"/>
                      </a:lnTo>
                      <a:lnTo>
                        <a:pt x="1259" y="530"/>
                      </a:lnTo>
                      <a:lnTo>
                        <a:pt x="1261" y="530"/>
                      </a:lnTo>
                      <a:lnTo>
                        <a:pt x="1263" y="531"/>
                      </a:lnTo>
                      <a:lnTo>
                        <a:pt x="1263" y="530"/>
                      </a:lnTo>
                      <a:lnTo>
                        <a:pt x="1264" y="530"/>
                      </a:lnTo>
                      <a:lnTo>
                        <a:pt x="1265" y="530"/>
                      </a:lnTo>
                      <a:lnTo>
                        <a:pt x="1265" y="531"/>
                      </a:lnTo>
                      <a:lnTo>
                        <a:pt x="1264" y="531"/>
                      </a:lnTo>
                      <a:lnTo>
                        <a:pt x="1263" y="531"/>
                      </a:lnTo>
                      <a:lnTo>
                        <a:pt x="1263" y="532"/>
                      </a:lnTo>
                      <a:lnTo>
                        <a:pt x="1262" y="532"/>
                      </a:lnTo>
                      <a:lnTo>
                        <a:pt x="1262" y="533"/>
                      </a:lnTo>
                      <a:lnTo>
                        <a:pt x="1262" y="534"/>
                      </a:lnTo>
                      <a:lnTo>
                        <a:pt x="1263" y="534"/>
                      </a:lnTo>
                      <a:lnTo>
                        <a:pt x="1263" y="536"/>
                      </a:lnTo>
                      <a:lnTo>
                        <a:pt x="1262" y="536"/>
                      </a:lnTo>
                      <a:lnTo>
                        <a:pt x="1262" y="537"/>
                      </a:lnTo>
                      <a:lnTo>
                        <a:pt x="1261" y="537"/>
                      </a:lnTo>
                      <a:lnTo>
                        <a:pt x="1262" y="537"/>
                      </a:lnTo>
                      <a:lnTo>
                        <a:pt x="1262" y="538"/>
                      </a:lnTo>
                      <a:lnTo>
                        <a:pt x="1261" y="538"/>
                      </a:lnTo>
                      <a:lnTo>
                        <a:pt x="1261" y="539"/>
                      </a:lnTo>
                      <a:lnTo>
                        <a:pt x="1261" y="540"/>
                      </a:lnTo>
                      <a:lnTo>
                        <a:pt x="1261" y="541"/>
                      </a:lnTo>
                      <a:lnTo>
                        <a:pt x="1262" y="541"/>
                      </a:lnTo>
                      <a:lnTo>
                        <a:pt x="1262" y="540"/>
                      </a:lnTo>
                      <a:lnTo>
                        <a:pt x="1263" y="540"/>
                      </a:lnTo>
                      <a:lnTo>
                        <a:pt x="1263" y="539"/>
                      </a:lnTo>
                      <a:lnTo>
                        <a:pt x="1264" y="539"/>
                      </a:lnTo>
                      <a:lnTo>
                        <a:pt x="1264" y="538"/>
                      </a:lnTo>
                      <a:lnTo>
                        <a:pt x="1263" y="537"/>
                      </a:lnTo>
                      <a:lnTo>
                        <a:pt x="1264" y="537"/>
                      </a:lnTo>
                      <a:lnTo>
                        <a:pt x="1264" y="538"/>
                      </a:lnTo>
                      <a:lnTo>
                        <a:pt x="1265" y="538"/>
                      </a:lnTo>
                      <a:lnTo>
                        <a:pt x="1266" y="538"/>
                      </a:lnTo>
                      <a:lnTo>
                        <a:pt x="1267" y="538"/>
                      </a:lnTo>
                      <a:lnTo>
                        <a:pt x="1267" y="539"/>
                      </a:lnTo>
                      <a:lnTo>
                        <a:pt x="1268" y="539"/>
                      </a:lnTo>
                      <a:lnTo>
                        <a:pt x="1268" y="538"/>
                      </a:lnTo>
                      <a:lnTo>
                        <a:pt x="1270" y="538"/>
                      </a:lnTo>
                      <a:lnTo>
                        <a:pt x="1270" y="537"/>
                      </a:lnTo>
                      <a:lnTo>
                        <a:pt x="1270" y="536"/>
                      </a:lnTo>
                      <a:lnTo>
                        <a:pt x="1271" y="536"/>
                      </a:lnTo>
                      <a:lnTo>
                        <a:pt x="1272" y="536"/>
                      </a:lnTo>
                      <a:lnTo>
                        <a:pt x="1271" y="537"/>
                      </a:lnTo>
                      <a:lnTo>
                        <a:pt x="1272" y="537"/>
                      </a:lnTo>
                      <a:lnTo>
                        <a:pt x="1273" y="537"/>
                      </a:lnTo>
                      <a:lnTo>
                        <a:pt x="1274" y="537"/>
                      </a:lnTo>
                      <a:lnTo>
                        <a:pt x="1274" y="538"/>
                      </a:lnTo>
                      <a:lnTo>
                        <a:pt x="1275" y="538"/>
                      </a:lnTo>
                      <a:lnTo>
                        <a:pt x="1276" y="538"/>
                      </a:lnTo>
                      <a:lnTo>
                        <a:pt x="1276" y="537"/>
                      </a:lnTo>
                      <a:lnTo>
                        <a:pt x="1276" y="536"/>
                      </a:lnTo>
                      <a:lnTo>
                        <a:pt x="1277" y="536"/>
                      </a:lnTo>
                      <a:lnTo>
                        <a:pt x="1278" y="536"/>
                      </a:lnTo>
                      <a:lnTo>
                        <a:pt x="1279" y="536"/>
                      </a:lnTo>
                      <a:lnTo>
                        <a:pt x="1280" y="536"/>
                      </a:lnTo>
                      <a:lnTo>
                        <a:pt x="1280" y="537"/>
                      </a:lnTo>
                      <a:lnTo>
                        <a:pt x="1280" y="538"/>
                      </a:lnTo>
                      <a:lnTo>
                        <a:pt x="1282" y="539"/>
                      </a:lnTo>
                      <a:lnTo>
                        <a:pt x="1282" y="540"/>
                      </a:lnTo>
                      <a:lnTo>
                        <a:pt x="1280" y="540"/>
                      </a:lnTo>
                      <a:lnTo>
                        <a:pt x="1280" y="539"/>
                      </a:lnTo>
                      <a:lnTo>
                        <a:pt x="1279" y="539"/>
                      </a:lnTo>
                      <a:lnTo>
                        <a:pt x="1278" y="540"/>
                      </a:lnTo>
                      <a:lnTo>
                        <a:pt x="1278" y="541"/>
                      </a:lnTo>
                      <a:lnTo>
                        <a:pt x="1278" y="542"/>
                      </a:lnTo>
                      <a:lnTo>
                        <a:pt x="1279" y="543"/>
                      </a:lnTo>
                      <a:lnTo>
                        <a:pt x="1280" y="544"/>
                      </a:lnTo>
                      <a:lnTo>
                        <a:pt x="1280" y="545"/>
                      </a:lnTo>
                      <a:lnTo>
                        <a:pt x="1282" y="545"/>
                      </a:lnTo>
                      <a:lnTo>
                        <a:pt x="1283" y="546"/>
                      </a:lnTo>
                      <a:lnTo>
                        <a:pt x="1283" y="547"/>
                      </a:lnTo>
                      <a:lnTo>
                        <a:pt x="1284" y="549"/>
                      </a:lnTo>
                      <a:lnTo>
                        <a:pt x="1285" y="550"/>
                      </a:lnTo>
                      <a:lnTo>
                        <a:pt x="1286" y="550"/>
                      </a:lnTo>
                      <a:lnTo>
                        <a:pt x="1287" y="551"/>
                      </a:lnTo>
                      <a:lnTo>
                        <a:pt x="1288" y="551"/>
                      </a:lnTo>
                      <a:lnTo>
                        <a:pt x="1289" y="552"/>
                      </a:lnTo>
                      <a:lnTo>
                        <a:pt x="1289" y="553"/>
                      </a:lnTo>
                      <a:lnTo>
                        <a:pt x="1289" y="554"/>
                      </a:lnTo>
                      <a:lnTo>
                        <a:pt x="1289" y="553"/>
                      </a:lnTo>
                      <a:lnTo>
                        <a:pt x="1289" y="554"/>
                      </a:lnTo>
                      <a:lnTo>
                        <a:pt x="1288" y="553"/>
                      </a:lnTo>
                      <a:lnTo>
                        <a:pt x="1287" y="553"/>
                      </a:lnTo>
                      <a:lnTo>
                        <a:pt x="1287" y="552"/>
                      </a:lnTo>
                      <a:lnTo>
                        <a:pt x="1288" y="552"/>
                      </a:lnTo>
                      <a:lnTo>
                        <a:pt x="1287" y="552"/>
                      </a:lnTo>
                      <a:lnTo>
                        <a:pt x="1287" y="553"/>
                      </a:lnTo>
                      <a:lnTo>
                        <a:pt x="1286" y="553"/>
                      </a:lnTo>
                      <a:lnTo>
                        <a:pt x="1286" y="554"/>
                      </a:lnTo>
                      <a:lnTo>
                        <a:pt x="1286" y="553"/>
                      </a:lnTo>
                      <a:lnTo>
                        <a:pt x="1286" y="552"/>
                      </a:lnTo>
                      <a:lnTo>
                        <a:pt x="1285" y="552"/>
                      </a:lnTo>
                      <a:lnTo>
                        <a:pt x="1285" y="551"/>
                      </a:lnTo>
                      <a:lnTo>
                        <a:pt x="1285" y="552"/>
                      </a:lnTo>
                      <a:lnTo>
                        <a:pt x="1285" y="551"/>
                      </a:lnTo>
                      <a:lnTo>
                        <a:pt x="1284" y="551"/>
                      </a:lnTo>
                      <a:lnTo>
                        <a:pt x="1285" y="551"/>
                      </a:lnTo>
                      <a:lnTo>
                        <a:pt x="1284" y="551"/>
                      </a:lnTo>
                      <a:lnTo>
                        <a:pt x="1284" y="550"/>
                      </a:lnTo>
                      <a:lnTo>
                        <a:pt x="1283" y="550"/>
                      </a:lnTo>
                      <a:lnTo>
                        <a:pt x="1283" y="551"/>
                      </a:lnTo>
                      <a:lnTo>
                        <a:pt x="1283" y="552"/>
                      </a:lnTo>
                      <a:lnTo>
                        <a:pt x="1282" y="551"/>
                      </a:lnTo>
                      <a:lnTo>
                        <a:pt x="1280" y="551"/>
                      </a:lnTo>
                      <a:lnTo>
                        <a:pt x="1280" y="552"/>
                      </a:lnTo>
                      <a:lnTo>
                        <a:pt x="1279" y="553"/>
                      </a:lnTo>
                      <a:lnTo>
                        <a:pt x="1280" y="553"/>
                      </a:lnTo>
                      <a:lnTo>
                        <a:pt x="1280" y="554"/>
                      </a:lnTo>
                      <a:lnTo>
                        <a:pt x="1280" y="555"/>
                      </a:lnTo>
                      <a:lnTo>
                        <a:pt x="1280" y="556"/>
                      </a:lnTo>
                      <a:lnTo>
                        <a:pt x="1282" y="556"/>
                      </a:lnTo>
                      <a:lnTo>
                        <a:pt x="1283" y="556"/>
                      </a:lnTo>
                      <a:lnTo>
                        <a:pt x="1283" y="555"/>
                      </a:lnTo>
                      <a:lnTo>
                        <a:pt x="1283" y="556"/>
                      </a:lnTo>
                      <a:lnTo>
                        <a:pt x="1284" y="556"/>
                      </a:lnTo>
                      <a:lnTo>
                        <a:pt x="1284" y="555"/>
                      </a:lnTo>
                      <a:lnTo>
                        <a:pt x="1285" y="555"/>
                      </a:lnTo>
                      <a:lnTo>
                        <a:pt x="1286" y="555"/>
                      </a:lnTo>
                      <a:lnTo>
                        <a:pt x="1286" y="554"/>
                      </a:lnTo>
                      <a:lnTo>
                        <a:pt x="1287" y="554"/>
                      </a:lnTo>
                      <a:lnTo>
                        <a:pt x="1288" y="554"/>
                      </a:lnTo>
                      <a:lnTo>
                        <a:pt x="1289" y="554"/>
                      </a:lnTo>
                      <a:lnTo>
                        <a:pt x="1289" y="555"/>
                      </a:lnTo>
                      <a:lnTo>
                        <a:pt x="1289" y="556"/>
                      </a:lnTo>
                      <a:lnTo>
                        <a:pt x="1289" y="557"/>
                      </a:lnTo>
                      <a:lnTo>
                        <a:pt x="1289" y="558"/>
                      </a:lnTo>
                      <a:lnTo>
                        <a:pt x="1289" y="559"/>
                      </a:lnTo>
                      <a:lnTo>
                        <a:pt x="1289" y="558"/>
                      </a:lnTo>
                      <a:lnTo>
                        <a:pt x="1288" y="558"/>
                      </a:lnTo>
                      <a:lnTo>
                        <a:pt x="1288" y="559"/>
                      </a:lnTo>
                      <a:lnTo>
                        <a:pt x="1287" y="559"/>
                      </a:lnTo>
                      <a:lnTo>
                        <a:pt x="1286" y="559"/>
                      </a:lnTo>
                      <a:lnTo>
                        <a:pt x="1286" y="560"/>
                      </a:lnTo>
                      <a:lnTo>
                        <a:pt x="1287" y="560"/>
                      </a:lnTo>
                      <a:lnTo>
                        <a:pt x="1288" y="560"/>
                      </a:lnTo>
                      <a:lnTo>
                        <a:pt x="1288" y="559"/>
                      </a:lnTo>
                      <a:lnTo>
                        <a:pt x="1288" y="558"/>
                      </a:lnTo>
                      <a:lnTo>
                        <a:pt x="1289" y="559"/>
                      </a:lnTo>
                      <a:lnTo>
                        <a:pt x="1289" y="560"/>
                      </a:lnTo>
                      <a:lnTo>
                        <a:pt x="1290" y="560"/>
                      </a:lnTo>
                      <a:lnTo>
                        <a:pt x="1289" y="562"/>
                      </a:lnTo>
                      <a:lnTo>
                        <a:pt x="1289" y="563"/>
                      </a:lnTo>
                      <a:lnTo>
                        <a:pt x="1290" y="563"/>
                      </a:lnTo>
                      <a:lnTo>
                        <a:pt x="1290" y="564"/>
                      </a:lnTo>
                      <a:lnTo>
                        <a:pt x="1289" y="564"/>
                      </a:lnTo>
                      <a:lnTo>
                        <a:pt x="1288" y="563"/>
                      </a:lnTo>
                      <a:lnTo>
                        <a:pt x="1287" y="563"/>
                      </a:lnTo>
                      <a:lnTo>
                        <a:pt x="1287" y="564"/>
                      </a:lnTo>
                      <a:lnTo>
                        <a:pt x="1287" y="565"/>
                      </a:lnTo>
                      <a:lnTo>
                        <a:pt x="1286" y="565"/>
                      </a:lnTo>
                      <a:lnTo>
                        <a:pt x="1286" y="564"/>
                      </a:lnTo>
                      <a:lnTo>
                        <a:pt x="1285" y="563"/>
                      </a:lnTo>
                      <a:lnTo>
                        <a:pt x="1284" y="563"/>
                      </a:lnTo>
                      <a:lnTo>
                        <a:pt x="1283" y="563"/>
                      </a:lnTo>
                      <a:lnTo>
                        <a:pt x="1283" y="564"/>
                      </a:lnTo>
                      <a:lnTo>
                        <a:pt x="1282" y="565"/>
                      </a:lnTo>
                      <a:lnTo>
                        <a:pt x="1282" y="566"/>
                      </a:lnTo>
                      <a:lnTo>
                        <a:pt x="1283" y="566"/>
                      </a:lnTo>
                      <a:lnTo>
                        <a:pt x="1282" y="567"/>
                      </a:lnTo>
                      <a:lnTo>
                        <a:pt x="1282" y="566"/>
                      </a:lnTo>
                      <a:lnTo>
                        <a:pt x="1282" y="565"/>
                      </a:lnTo>
                      <a:lnTo>
                        <a:pt x="1280" y="565"/>
                      </a:lnTo>
                      <a:lnTo>
                        <a:pt x="1280" y="564"/>
                      </a:lnTo>
                      <a:lnTo>
                        <a:pt x="1279" y="564"/>
                      </a:lnTo>
                      <a:lnTo>
                        <a:pt x="1278" y="564"/>
                      </a:lnTo>
                      <a:lnTo>
                        <a:pt x="1279" y="565"/>
                      </a:lnTo>
                      <a:lnTo>
                        <a:pt x="1279" y="566"/>
                      </a:lnTo>
                      <a:lnTo>
                        <a:pt x="1278" y="566"/>
                      </a:lnTo>
                      <a:lnTo>
                        <a:pt x="1278" y="567"/>
                      </a:lnTo>
                      <a:lnTo>
                        <a:pt x="1279" y="568"/>
                      </a:lnTo>
                      <a:lnTo>
                        <a:pt x="1280" y="568"/>
                      </a:lnTo>
                      <a:lnTo>
                        <a:pt x="1282" y="568"/>
                      </a:lnTo>
                      <a:lnTo>
                        <a:pt x="1282" y="569"/>
                      </a:lnTo>
                      <a:lnTo>
                        <a:pt x="1282" y="570"/>
                      </a:lnTo>
                      <a:lnTo>
                        <a:pt x="1282" y="571"/>
                      </a:lnTo>
                      <a:lnTo>
                        <a:pt x="1283" y="572"/>
                      </a:lnTo>
                      <a:lnTo>
                        <a:pt x="1284" y="572"/>
                      </a:lnTo>
                      <a:lnTo>
                        <a:pt x="1285" y="572"/>
                      </a:lnTo>
                      <a:lnTo>
                        <a:pt x="1286" y="571"/>
                      </a:lnTo>
                      <a:lnTo>
                        <a:pt x="1286" y="570"/>
                      </a:lnTo>
                      <a:lnTo>
                        <a:pt x="1287" y="570"/>
                      </a:lnTo>
                      <a:lnTo>
                        <a:pt x="1288" y="570"/>
                      </a:lnTo>
                      <a:lnTo>
                        <a:pt x="1288" y="569"/>
                      </a:lnTo>
                      <a:lnTo>
                        <a:pt x="1288" y="570"/>
                      </a:lnTo>
                      <a:lnTo>
                        <a:pt x="1288" y="569"/>
                      </a:lnTo>
                      <a:lnTo>
                        <a:pt x="1289" y="569"/>
                      </a:lnTo>
                      <a:lnTo>
                        <a:pt x="1290" y="569"/>
                      </a:lnTo>
                      <a:lnTo>
                        <a:pt x="1290" y="570"/>
                      </a:lnTo>
                      <a:lnTo>
                        <a:pt x="1291" y="571"/>
                      </a:lnTo>
                      <a:lnTo>
                        <a:pt x="1290" y="572"/>
                      </a:lnTo>
                      <a:lnTo>
                        <a:pt x="1290" y="574"/>
                      </a:lnTo>
                      <a:lnTo>
                        <a:pt x="1291" y="575"/>
                      </a:lnTo>
                      <a:lnTo>
                        <a:pt x="1291" y="576"/>
                      </a:lnTo>
                      <a:lnTo>
                        <a:pt x="1292" y="577"/>
                      </a:lnTo>
                      <a:lnTo>
                        <a:pt x="1292" y="578"/>
                      </a:lnTo>
                      <a:lnTo>
                        <a:pt x="1292" y="579"/>
                      </a:lnTo>
                      <a:lnTo>
                        <a:pt x="1293" y="580"/>
                      </a:lnTo>
                      <a:lnTo>
                        <a:pt x="1295" y="580"/>
                      </a:lnTo>
                      <a:lnTo>
                        <a:pt x="1295" y="581"/>
                      </a:lnTo>
                      <a:lnTo>
                        <a:pt x="1295" y="582"/>
                      </a:lnTo>
                      <a:lnTo>
                        <a:pt x="1295" y="583"/>
                      </a:lnTo>
                      <a:lnTo>
                        <a:pt x="1295" y="584"/>
                      </a:lnTo>
                      <a:lnTo>
                        <a:pt x="1295" y="585"/>
                      </a:lnTo>
                      <a:lnTo>
                        <a:pt x="1295" y="584"/>
                      </a:lnTo>
                      <a:lnTo>
                        <a:pt x="1296" y="585"/>
                      </a:lnTo>
                      <a:lnTo>
                        <a:pt x="1296" y="587"/>
                      </a:lnTo>
                      <a:lnTo>
                        <a:pt x="1297" y="587"/>
                      </a:lnTo>
                      <a:lnTo>
                        <a:pt x="1296" y="587"/>
                      </a:lnTo>
                      <a:lnTo>
                        <a:pt x="1296" y="588"/>
                      </a:lnTo>
                      <a:lnTo>
                        <a:pt x="1295" y="588"/>
                      </a:lnTo>
                      <a:lnTo>
                        <a:pt x="1295" y="589"/>
                      </a:lnTo>
                      <a:lnTo>
                        <a:pt x="1293" y="589"/>
                      </a:lnTo>
                      <a:lnTo>
                        <a:pt x="1293" y="590"/>
                      </a:lnTo>
                      <a:lnTo>
                        <a:pt x="1295" y="590"/>
                      </a:lnTo>
                      <a:lnTo>
                        <a:pt x="1296" y="591"/>
                      </a:lnTo>
                      <a:lnTo>
                        <a:pt x="1297" y="590"/>
                      </a:lnTo>
                      <a:lnTo>
                        <a:pt x="1298" y="590"/>
                      </a:lnTo>
                      <a:lnTo>
                        <a:pt x="1299" y="590"/>
                      </a:lnTo>
                      <a:lnTo>
                        <a:pt x="1299" y="589"/>
                      </a:lnTo>
                      <a:lnTo>
                        <a:pt x="1298" y="589"/>
                      </a:lnTo>
                      <a:lnTo>
                        <a:pt x="1298" y="588"/>
                      </a:lnTo>
                      <a:lnTo>
                        <a:pt x="1299" y="588"/>
                      </a:lnTo>
                      <a:lnTo>
                        <a:pt x="1300" y="588"/>
                      </a:lnTo>
                      <a:lnTo>
                        <a:pt x="1301" y="588"/>
                      </a:lnTo>
                      <a:lnTo>
                        <a:pt x="1302" y="588"/>
                      </a:lnTo>
                      <a:lnTo>
                        <a:pt x="1302" y="589"/>
                      </a:lnTo>
                      <a:lnTo>
                        <a:pt x="1301" y="589"/>
                      </a:lnTo>
                      <a:lnTo>
                        <a:pt x="1301" y="590"/>
                      </a:lnTo>
                      <a:lnTo>
                        <a:pt x="1302" y="591"/>
                      </a:lnTo>
                      <a:lnTo>
                        <a:pt x="1302" y="592"/>
                      </a:lnTo>
                      <a:lnTo>
                        <a:pt x="1301" y="592"/>
                      </a:lnTo>
                      <a:lnTo>
                        <a:pt x="1300" y="592"/>
                      </a:lnTo>
                      <a:lnTo>
                        <a:pt x="1300" y="593"/>
                      </a:lnTo>
                      <a:lnTo>
                        <a:pt x="1300" y="595"/>
                      </a:lnTo>
                      <a:lnTo>
                        <a:pt x="1300" y="596"/>
                      </a:lnTo>
                      <a:lnTo>
                        <a:pt x="1299" y="597"/>
                      </a:lnTo>
                      <a:lnTo>
                        <a:pt x="1299" y="598"/>
                      </a:lnTo>
                      <a:lnTo>
                        <a:pt x="1299" y="600"/>
                      </a:lnTo>
                      <a:lnTo>
                        <a:pt x="1300" y="600"/>
                      </a:lnTo>
                      <a:lnTo>
                        <a:pt x="1301" y="600"/>
                      </a:lnTo>
                      <a:lnTo>
                        <a:pt x="1302" y="600"/>
                      </a:lnTo>
                      <a:lnTo>
                        <a:pt x="1303" y="600"/>
                      </a:lnTo>
                      <a:lnTo>
                        <a:pt x="1304" y="600"/>
                      </a:lnTo>
                      <a:lnTo>
                        <a:pt x="1304" y="598"/>
                      </a:lnTo>
                      <a:lnTo>
                        <a:pt x="1303" y="598"/>
                      </a:lnTo>
                      <a:lnTo>
                        <a:pt x="1304" y="598"/>
                      </a:lnTo>
                      <a:lnTo>
                        <a:pt x="1304" y="597"/>
                      </a:lnTo>
                      <a:lnTo>
                        <a:pt x="1304" y="596"/>
                      </a:lnTo>
                      <a:lnTo>
                        <a:pt x="1305" y="596"/>
                      </a:lnTo>
                      <a:lnTo>
                        <a:pt x="1305" y="597"/>
                      </a:lnTo>
                      <a:lnTo>
                        <a:pt x="1306" y="597"/>
                      </a:lnTo>
                      <a:lnTo>
                        <a:pt x="1308" y="598"/>
                      </a:lnTo>
                      <a:lnTo>
                        <a:pt x="1309" y="598"/>
                      </a:lnTo>
                      <a:lnTo>
                        <a:pt x="1309" y="597"/>
                      </a:lnTo>
                      <a:lnTo>
                        <a:pt x="1310" y="597"/>
                      </a:lnTo>
                      <a:lnTo>
                        <a:pt x="1309" y="596"/>
                      </a:lnTo>
                      <a:lnTo>
                        <a:pt x="1310" y="596"/>
                      </a:lnTo>
                      <a:lnTo>
                        <a:pt x="1311" y="596"/>
                      </a:lnTo>
                      <a:lnTo>
                        <a:pt x="1312" y="596"/>
                      </a:lnTo>
                      <a:lnTo>
                        <a:pt x="1312" y="595"/>
                      </a:lnTo>
                      <a:lnTo>
                        <a:pt x="1313" y="595"/>
                      </a:lnTo>
                      <a:lnTo>
                        <a:pt x="1312" y="595"/>
                      </a:lnTo>
                      <a:lnTo>
                        <a:pt x="1311" y="595"/>
                      </a:lnTo>
                      <a:lnTo>
                        <a:pt x="1312" y="595"/>
                      </a:lnTo>
                      <a:lnTo>
                        <a:pt x="1312" y="594"/>
                      </a:lnTo>
                      <a:lnTo>
                        <a:pt x="1312" y="593"/>
                      </a:lnTo>
                      <a:lnTo>
                        <a:pt x="1313" y="593"/>
                      </a:lnTo>
                      <a:lnTo>
                        <a:pt x="1313" y="594"/>
                      </a:lnTo>
                      <a:lnTo>
                        <a:pt x="1313" y="595"/>
                      </a:lnTo>
                      <a:lnTo>
                        <a:pt x="1313" y="596"/>
                      </a:lnTo>
                      <a:lnTo>
                        <a:pt x="1314" y="596"/>
                      </a:lnTo>
                      <a:lnTo>
                        <a:pt x="1313" y="597"/>
                      </a:lnTo>
                      <a:lnTo>
                        <a:pt x="1313" y="598"/>
                      </a:lnTo>
                      <a:lnTo>
                        <a:pt x="1313" y="600"/>
                      </a:lnTo>
                      <a:lnTo>
                        <a:pt x="1312" y="600"/>
                      </a:lnTo>
                      <a:lnTo>
                        <a:pt x="1312" y="601"/>
                      </a:lnTo>
                      <a:lnTo>
                        <a:pt x="1311" y="601"/>
                      </a:lnTo>
                      <a:lnTo>
                        <a:pt x="1311" y="602"/>
                      </a:lnTo>
                      <a:lnTo>
                        <a:pt x="1310" y="602"/>
                      </a:lnTo>
                      <a:lnTo>
                        <a:pt x="1310" y="601"/>
                      </a:lnTo>
                      <a:lnTo>
                        <a:pt x="1310" y="602"/>
                      </a:lnTo>
                      <a:lnTo>
                        <a:pt x="1311" y="601"/>
                      </a:lnTo>
                      <a:lnTo>
                        <a:pt x="1311" y="600"/>
                      </a:lnTo>
                      <a:lnTo>
                        <a:pt x="1310" y="600"/>
                      </a:lnTo>
                      <a:lnTo>
                        <a:pt x="1309" y="600"/>
                      </a:lnTo>
                      <a:lnTo>
                        <a:pt x="1308" y="600"/>
                      </a:lnTo>
                      <a:lnTo>
                        <a:pt x="1306" y="600"/>
                      </a:lnTo>
                      <a:lnTo>
                        <a:pt x="1305" y="600"/>
                      </a:lnTo>
                      <a:lnTo>
                        <a:pt x="1304" y="601"/>
                      </a:lnTo>
                      <a:lnTo>
                        <a:pt x="1303" y="601"/>
                      </a:lnTo>
                      <a:lnTo>
                        <a:pt x="1303" y="602"/>
                      </a:lnTo>
                      <a:lnTo>
                        <a:pt x="1303" y="603"/>
                      </a:lnTo>
                      <a:lnTo>
                        <a:pt x="1303" y="604"/>
                      </a:lnTo>
                      <a:lnTo>
                        <a:pt x="1303" y="605"/>
                      </a:lnTo>
                      <a:lnTo>
                        <a:pt x="1303" y="606"/>
                      </a:lnTo>
                      <a:lnTo>
                        <a:pt x="1304" y="608"/>
                      </a:lnTo>
                      <a:lnTo>
                        <a:pt x="1303" y="609"/>
                      </a:lnTo>
                      <a:lnTo>
                        <a:pt x="1303" y="610"/>
                      </a:lnTo>
                      <a:lnTo>
                        <a:pt x="1303" y="611"/>
                      </a:lnTo>
                      <a:lnTo>
                        <a:pt x="1302" y="611"/>
                      </a:lnTo>
                      <a:lnTo>
                        <a:pt x="1302" y="613"/>
                      </a:lnTo>
                      <a:lnTo>
                        <a:pt x="1303" y="613"/>
                      </a:lnTo>
                      <a:lnTo>
                        <a:pt x="1302" y="614"/>
                      </a:lnTo>
                      <a:lnTo>
                        <a:pt x="1303" y="614"/>
                      </a:lnTo>
                      <a:lnTo>
                        <a:pt x="1302" y="614"/>
                      </a:lnTo>
                      <a:lnTo>
                        <a:pt x="1302" y="615"/>
                      </a:lnTo>
                      <a:lnTo>
                        <a:pt x="1303" y="616"/>
                      </a:lnTo>
                      <a:lnTo>
                        <a:pt x="1304" y="616"/>
                      </a:lnTo>
                      <a:lnTo>
                        <a:pt x="1304" y="617"/>
                      </a:lnTo>
                      <a:lnTo>
                        <a:pt x="1303" y="618"/>
                      </a:lnTo>
                      <a:lnTo>
                        <a:pt x="1302" y="619"/>
                      </a:lnTo>
                      <a:lnTo>
                        <a:pt x="1301" y="619"/>
                      </a:lnTo>
                      <a:lnTo>
                        <a:pt x="1299" y="619"/>
                      </a:lnTo>
                      <a:lnTo>
                        <a:pt x="1298" y="620"/>
                      </a:lnTo>
                      <a:lnTo>
                        <a:pt x="1296" y="620"/>
                      </a:lnTo>
                      <a:lnTo>
                        <a:pt x="1295" y="620"/>
                      </a:lnTo>
                      <a:lnTo>
                        <a:pt x="1293" y="621"/>
                      </a:lnTo>
                      <a:lnTo>
                        <a:pt x="1292" y="621"/>
                      </a:lnTo>
                      <a:lnTo>
                        <a:pt x="1292" y="622"/>
                      </a:lnTo>
                      <a:lnTo>
                        <a:pt x="1291" y="622"/>
                      </a:lnTo>
                      <a:lnTo>
                        <a:pt x="1290" y="622"/>
                      </a:lnTo>
                      <a:lnTo>
                        <a:pt x="1289" y="622"/>
                      </a:lnTo>
                      <a:lnTo>
                        <a:pt x="1288" y="622"/>
                      </a:lnTo>
                      <a:lnTo>
                        <a:pt x="1287" y="623"/>
                      </a:lnTo>
                      <a:lnTo>
                        <a:pt x="1286" y="624"/>
                      </a:lnTo>
                      <a:lnTo>
                        <a:pt x="1285" y="624"/>
                      </a:lnTo>
                      <a:lnTo>
                        <a:pt x="1284" y="624"/>
                      </a:lnTo>
                      <a:lnTo>
                        <a:pt x="1283" y="624"/>
                      </a:lnTo>
                      <a:lnTo>
                        <a:pt x="1282" y="624"/>
                      </a:lnTo>
                      <a:lnTo>
                        <a:pt x="1282" y="626"/>
                      </a:lnTo>
                      <a:lnTo>
                        <a:pt x="1283" y="626"/>
                      </a:lnTo>
                      <a:lnTo>
                        <a:pt x="1284" y="626"/>
                      </a:lnTo>
                      <a:lnTo>
                        <a:pt x="1284" y="627"/>
                      </a:lnTo>
                      <a:lnTo>
                        <a:pt x="1285" y="627"/>
                      </a:lnTo>
                      <a:lnTo>
                        <a:pt x="1286" y="627"/>
                      </a:lnTo>
                      <a:lnTo>
                        <a:pt x="1286" y="628"/>
                      </a:lnTo>
                      <a:lnTo>
                        <a:pt x="1287" y="629"/>
                      </a:lnTo>
                      <a:lnTo>
                        <a:pt x="1287" y="630"/>
                      </a:lnTo>
                      <a:lnTo>
                        <a:pt x="1288" y="631"/>
                      </a:lnTo>
                      <a:lnTo>
                        <a:pt x="1287" y="631"/>
                      </a:lnTo>
                      <a:lnTo>
                        <a:pt x="1287" y="632"/>
                      </a:lnTo>
                      <a:lnTo>
                        <a:pt x="1286" y="632"/>
                      </a:lnTo>
                      <a:lnTo>
                        <a:pt x="1286" y="633"/>
                      </a:lnTo>
                      <a:lnTo>
                        <a:pt x="1285" y="633"/>
                      </a:lnTo>
                      <a:lnTo>
                        <a:pt x="1285" y="632"/>
                      </a:lnTo>
                      <a:lnTo>
                        <a:pt x="1285" y="631"/>
                      </a:lnTo>
                      <a:lnTo>
                        <a:pt x="1284" y="631"/>
                      </a:lnTo>
                      <a:lnTo>
                        <a:pt x="1283" y="631"/>
                      </a:lnTo>
                      <a:lnTo>
                        <a:pt x="1283" y="630"/>
                      </a:lnTo>
                      <a:lnTo>
                        <a:pt x="1284" y="630"/>
                      </a:lnTo>
                      <a:lnTo>
                        <a:pt x="1283" y="630"/>
                      </a:lnTo>
                      <a:lnTo>
                        <a:pt x="1282" y="630"/>
                      </a:lnTo>
                      <a:lnTo>
                        <a:pt x="1280" y="630"/>
                      </a:lnTo>
                      <a:lnTo>
                        <a:pt x="1279" y="630"/>
                      </a:lnTo>
                      <a:lnTo>
                        <a:pt x="1279" y="631"/>
                      </a:lnTo>
                      <a:lnTo>
                        <a:pt x="1278" y="631"/>
                      </a:lnTo>
                      <a:lnTo>
                        <a:pt x="1278" y="632"/>
                      </a:lnTo>
                      <a:lnTo>
                        <a:pt x="1277" y="632"/>
                      </a:lnTo>
                      <a:lnTo>
                        <a:pt x="1276" y="632"/>
                      </a:lnTo>
                      <a:lnTo>
                        <a:pt x="1275" y="632"/>
                      </a:lnTo>
                      <a:lnTo>
                        <a:pt x="1275" y="633"/>
                      </a:lnTo>
                      <a:lnTo>
                        <a:pt x="1274" y="632"/>
                      </a:lnTo>
                      <a:lnTo>
                        <a:pt x="1273" y="632"/>
                      </a:lnTo>
                      <a:lnTo>
                        <a:pt x="1273" y="633"/>
                      </a:lnTo>
                      <a:lnTo>
                        <a:pt x="1272" y="633"/>
                      </a:lnTo>
                      <a:lnTo>
                        <a:pt x="1272" y="632"/>
                      </a:lnTo>
                      <a:lnTo>
                        <a:pt x="1271" y="631"/>
                      </a:lnTo>
                      <a:lnTo>
                        <a:pt x="1271" y="632"/>
                      </a:lnTo>
                      <a:lnTo>
                        <a:pt x="1270" y="632"/>
                      </a:lnTo>
                      <a:lnTo>
                        <a:pt x="1270" y="633"/>
                      </a:lnTo>
                      <a:lnTo>
                        <a:pt x="1271" y="633"/>
                      </a:lnTo>
                      <a:lnTo>
                        <a:pt x="1270" y="633"/>
                      </a:lnTo>
                      <a:lnTo>
                        <a:pt x="1268" y="634"/>
                      </a:lnTo>
                      <a:lnTo>
                        <a:pt x="1267" y="634"/>
                      </a:lnTo>
                      <a:lnTo>
                        <a:pt x="1266" y="634"/>
                      </a:lnTo>
                      <a:lnTo>
                        <a:pt x="1264" y="634"/>
                      </a:lnTo>
                      <a:lnTo>
                        <a:pt x="1265" y="635"/>
                      </a:lnTo>
                      <a:lnTo>
                        <a:pt x="1266" y="636"/>
                      </a:lnTo>
                      <a:lnTo>
                        <a:pt x="1267" y="636"/>
                      </a:lnTo>
                      <a:lnTo>
                        <a:pt x="1267" y="637"/>
                      </a:lnTo>
                      <a:lnTo>
                        <a:pt x="1267" y="639"/>
                      </a:lnTo>
                      <a:lnTo>
                        <a:pt x="1266" y="639"/>
                      </a:lnTo>
                      <a:lnTo>
                        <a:pt x="1266" y="640"/>
                      </a:lnTo>
                      <a:lnTo>
                        <a:pt x="1265" y="640"/>
                      </a:lnTo>
                      <a:lnTo>
                        <a:pt x="1265" y="641"/>
                      </a:lnTo>
                      <a:lnTo>
                        <a:pt x="1265" y="640"/>
                      </a:lnTo>
                      <a:lnTo>
                        <a:pt x="1264" y="640"/>
                      </a:lnTo>
                      <a:lnTo>
                        <a:pt x="1264" y="641"/>
                      </a:lnTo>
                      <a:lnTo>
                        <a:pt x="1264" y="642"/>
                      </a:lnTo>
                      <a:lnTo>
                        <a:pt x="1266" y="642"/>
                      </a:lnTo>
                      <a:lnTo>
                        <a:pt x="1266" y="643"/>
                      </a:lnTo>
                      <a:lnTo>
                        <a:pt x="1267" y="642"/>
                      </a:lnTo>
                      <a:lnTo>
                        <a:pt x="1268" y="643"/>
                      </a:lnTo>
                      <a:lnTo>
                        <a:pt x="1270" y="643"/>
                      </a:lnTo>
                      <a:lnTo>
                        <a:pt x="1271" y="643"/>
                      </a:lnTo>
                      <a:lnTo>
                        <a:pt x="1272" y="643"/>
                      </a:lnTo>
                      <a:lnTo>
                        <a:pt x="1272" y="644"/>
                      </a:lnTo>
                      <a:lnTo>
                        <a:pt x="1273" y="644"/>
                      </a:lnTo>
                      <a:lnTo>
                        <a:pt x="1272" y="645"/>
                      </a:lnTo>
                      <a:lnTo>
                        <a:pt x="1273" y="645"/>
                      </a:lnTo>
                      <a:lnTo>
                        <a:pt x="1275" y="645"/>
                      </a:lnTo>
                      <a:lnTo>
                        <a:pt x="1275" y="644"/>
                      </a:lnTo>
                      <a:lnTo>
                        <a:pt x="1276" y="644"/>
                      </a:lnTo>
                      <a:lnTo>
                        <a:pt x="1276" y="645"/>
                      </a:lnTo>
                      <a:lnTo>
                        <a:pt x="1277" y="645"/>
                      </a:lnTo>
                      <a:lnTo>
                        <a:pt x="1277" y="644"/>
                      </a:lnTo>
                      <a:lnTo>
                        <a:pt x="1278" y="644"/>
                      </a:lnTo>
                      <a:lnTo>
                        <a:pt x="1279" y="644"/>
                      </a:lnTo>
                      <a:lnTo>
                        <a:pt x="1280" y="644"/>
                      </a:lnTo>
                      <a:lnTo>
                        <a:pt x="1282" y="643"/>
                      </a:lnTo>
                      <a:lnTo>
                        <a:pt x="1283" y="643"/>
                      </a:lnTo>
                      <a:lnTo>
                        <a:pt x="1283" y="644"/>
                      </a:lnTo>
                      <a:lnTo>
                        <a:pt x="1283" y="645"/>
                      </a:lnTo>
                      <a:lnTo>
                        <a:pt x="1283" y="644"/>
                      </a:lnTo>
                      <a:lnTo>
                        <a:pt x="1284" y="644"/>
                      </a:lnTo>
                      <a:lnTo>
                        <a:pt x="1284" y="645"/>
                      </a:lnTo>
                      <a:lnTo>
                        <a:pt x="1285" y="645"/>
                      </a:lnTo>
                      <a:lnTo>
                        <a:pt x="1286" y="645"/>
                      </a:lnTo>
                      <a:lnTo>
                        <a:pt x="1286" y="646"/>
                      </a:lnTo>
                      <a:lnTo>
                        <a:pt x="1287" y="647"/>
                      </a:lnTo>
                      <a:lnTo>
                        <a:pt x="1288" y="647"/>
                      </a:lnTo>
                      <a:lnTo>
                        <a:pt x="1289" y="647"/>
                      </a:lnTo>
                      <a:lnTo>
                        <a:pt x="1290" y="648"/>
                      </a:lnTo>
                      <a:lnTo>
                        <a:pt x="1290" y="649"/>
                      </a:lnTo>
                      <a:lnTo>
                        <a:pt x="1290" y="650"/>
                      </a:lnTo>
                      <a:lnTo>
                        <a:pt x="1291" y="650"/>
                      </a:lnTo>
                      <a:lnTo>
                        <a:pt x="1292" y="650"/>
                      </a:lnTo>
                      <a:lnTo>
                        <a:pt x="1293" y="650"/>
                      </a:lnTo>
                      <a:lnTo>
                        <a:pt x="1295" y="650"/>
                      </a:lnTo>
                      <a:lnTo>
                        <a:pt x="1296" y="650"/>
                      </a:lnTo>
                      <a:lnTo>
                        <a:pt x="1296" y="649"/>
                      </a:lnTo>
                      <a:lnTo>
                        <a:pt x="1296" y="650"/>
                      </a:lnTo>
                      <a:lnTo>
                        <a:pt x="1297" y="652"/>
                      </a:lnTo>
                      <a:lnTo>
                        <a:pt x="1298" y="652"/>
                      </a:lnTo>
                      <a:lnTo>
                        <a:pt x="1298" y="653"/>
                      </a:lnTo>
                      <a:lnTo>
                        <a:pt x="1299" y="653"/>
                      </a:lnTo>
                      <a:lnTo>
                        <a:pt x="1300" y="653"/>
                      </a:lnTo>
                      <a:lnTo>
                        <a:pt x="1300" y="652"/>
                      </a:lnTo>
                      <a:lnTo>
                        <a:pt x="1301" y="653"/>
                      </a:lnTo>
                      <a:lnTo>
                        <a:pt x="1302" y="653"/>
                      </a:lnTo>
                      <a:lnTo>
                        <a:pt x="1303" y="652"/>
                      </a:lnTo>
                      <a:lnTo>
                        <a:pt x="1304" y="652"/>
                      </a:lnTo>
                      <a:lnTo>
                        <a:pt x="1304" y="653"/>
                      </a:lnTo>
                      <a:lnTo>
                        <a:pt x="1305" y="653"/>
                      </a:lnTo>
                      <a:lnTo>
                        <a:pt x="1305" y="654"/>
                      </a:lnTo>
                      <a:lnTo>
                        <a:pt x="1306" y="654"/>
                      </a:lnTo>
                      <a:lnTo>
                        <a:pt x="1308" y="653"/>
                      </a:lnTo>
                      <a:lnTo>
                        <a:pt x="1309" y="653"/>
                      </a:lnTo>
                      <a:lnTo>
                        <a:pt x="1309" y="654"/>
                      </a:lnTo>
                      <a:lnTo>
                        <a:pt x="1310" y="654"/>
                      </a:lnTo>
                      <a:lnTo>
                        <a:pt x="1310" y="653"/>
                      </a:lnTo>
                      <a:lnTo>
                        <a:pt x="1311" y="653"/>
                      </a:lnTo>
                      <a:lnTo>
                        <a:pt x="1311" y="654"/>
                      </a:lnTo>
                      <a:lnTo>
                        <a:pt x="1311" y="655"/>
                      </a:lnTo>
                      <a:lnTo>
                        <a:pt x="1311" y="656"/>
                      </a:lnTo>
                      <a:lnTo>
                        <a:pt x="1313" y="656"/>
                      </a:lnTo>
                      <a:lnTo>
                        <a:pt x="1313" y="657"/>
                      </a:lnTo>
                      <a:lnTo>
                        <a:pt x="1314" y="657"/>
                      </a:lnTo>
                      <a:lnTo>
                        <a:pt x="1313" y="657"/>
                      </a:lnTo>
                      <a:lnTo>
                        <a:pt x="1313" y="658"/>
                      </a:lnTo>
                      <a:lnTo>
                        <a:pt x="1313" y="659"/>
                      </a:lnTo>
                      <a:lnTo>
                        <a:pt x="1314" y="660"/>
                      </a:lnTo>
                      <a:lnTo>
                        <a:pt x="1314" y="661"/>
                      </a:lnTo>
                      <a:lnTo>
                        <a:pt x="1315" y="662"/>
                      </a:lnTo>
                      <a:lnTo>
                        <a:pt x="1316" y="662"/>
                      </a:lnTo>
                      <a:lnTo>
                        <a:pt x="1317" y="664"/>
                      </a:lnTo>
                      <a:lnTo>
                        <a:pt x="1318" y="664"/>
                      </a:lnTo>
                      <a:lnTo>
                        <a:pt x="1319" y="664"/>
                      </a:lnTo>
                      <a:lnTo>
                        <a:pt x="1321" y="664"/>
                      </a:lnTo>
                      <a:lnTo>
                        <a:pt x="1322" y="664"/>
                      </a:lnTo>
                      <a:lnTo>
                        <a:pt x="1323" y="664"/>
                      </a:lnTo>
                      <a:lnTo>
                        <a:pt x="1324" y="664"/>
                      </a:lnTo>
                      <a:lnTo>
                        <a:pt x="1325" y="662"/>
                      </a:lnTo>
                      <a:lnTo>
                        <a:pt x="1326" y="664"/>
                      </a:lnTo>
                      <a:lnTo>
                        <a:pt x="1328" y="662"/>
                      </a:lnTo>
                      <a:lnTo>
                        <a:pt x="1329" y="662"/>
                      </a:lnTo>
                      <a:lnTo>
                        <a:pt x="1331" y="661"/>
                      </a:lnTo>
                      <a:lnTo>
                        <a:pt x="1332" y="660"/>
                      </a:lnTo>
                      <a:lnTo>
                        <a:pt x="1334" y="659"/>
                      </a:lnTo>
                      <a:lnTo>
                        <a:pt x="1336" y="659"/>
                      </a:lnTo>
                      <a:lnTo>
                        <a:pt x="1337" y="659"/>
                      </a:lnTo>
                      <a:lnTo>
                        <a:pt x="1337" y="658"/>
                      </a:lnTo>
                      <a:lnTo>
                        <a:pt x="1337" y="657"/>
                      </a:lnTo>
                      <a:lnTo>
                        <a:pt x="1336" y="656"/>
                      </a:lnTo>
                      <a:lnTo>
                        <a:pt x="1335" y="655"/>
                      </a:lnTo>
                      <a:lnTo>
                        <a:pt x="1336" y="654"/>
                      </a:lnTo>
                      <a:lnTo>
                        <a:pt x="1337" y="654"/>
                      </a:lnTo>
                      <a:lnTo>
                        <a:pt x="1338" y="653"/>
                      </a:lnTo>
                      <a:lnTo>
                        <a:pt x="1339" y="653"/>
                      </a:lnTo>
                      <a:lnTo>
                        <a:pt x="1340" y="653"/>
                      </a:lnTo>
                      <a:lnTo>
                        <a:pt x="1341" y="653"/>
                      </a:lnTo>
                      <a:lnTo>
                        <a:pt x="1342" y="653"/>
                      </a:lnTo>
                      <a:lnTo>
                        <a:pt x="1343" y="653"/>
                      </a:lnTo>
                      <a:lnTo>
                        <a:pt x="1342" y="653"/>
                      </a:lnTo>
                      <a:lnTo>
                        <a:pt x="1342" y="654"/>
                      </a:lnTo>
                      <a:lnTo>
                        <a:pt x="1341" y="654"/>
                      </a:lnTo>
                      <a:lnTo>
                        <a:pt x="1341" y="655"/>
                      </a:lnTo>
                      <a:lnTo>
                        <a:pt x="1340" y="655"/>
                      </a:lnTo>
                      <a:lnTo>
                        <a:pt x="1341" y="655"/>
                      </a:lnTo>
                      <a:lnTo>
                        <a:pt x="1340" y="655"/>
                      </a:lnTo>
                      <a:lnTo>
                        <a:pt x="1340" y="657"/>
                      </a:lnTo>
                      <a:lnTo>
                        <a:pt x="1340" y="658"/>
                      </a:lnTo>
                      <a:lnTo>
                        <a:pt x="1340" y="659"/>
                      </a:lnTo>
                      <a:lnTo>
                        <a:pt x="1340" y="660"/>
                      </a:lnTo>
                      <a:lnTo>
                        <a:pt x="1339" y="660"/>
                      </a:lnTo>
                      <a:lnTo>
                        <a:pt x="1339" y="661"/>
                      </a:lnTo>
                      <a:lnTo>
                        <a:pt x="1339" y="662"/>
                      </a:lnTo>
                      <a:lnTo>
                        <a:pt x="1340" y="662"/>
                      </a:lnTo>
                      <a:lnTo>
                        <a:pt x="1341" y="662"/>
                      </a:lnTo>
                      <a:lnTo>
                        <a:pt x="1342" y="662"/>
                      </a:lnTo>
                      <a:lnTo>
                        <a:pt x="1343" y="661"/>
                      </a:lnTo>
                      <a:lnTo>
                        <a:pt x="1344" y="661"/>
                      </a:lnTo>
                      <a:lnTo>
                        <a:pt x="1344" y="662"/>
                      </a:lnTo>
                      <a:lnTo>
                        <a:pt x="1343" y="662"/>
                      </a:lnTo>
                      <a:lnTo>
                        <a:pt x="1344" y="662"/>
                      </a:lnTo>
                      <a:lnTo>
                        <a:pt x="1343" y="664"/>
                      </a:lnTo>
                      <a:lnTo>
                        <a:pt x="1343" y="665"/>
                      </a:lnTo>
                      <a:lnTo>
                        <a:pt x="1343" y="666"/>
                      </a:lnTo>
                      <a:lnTo>
                        <a:pt x="1342" y="667"/>
                      </a:lnTo>
                      <a:lnTo>
                        <a:pt x="1343" y="667"/>
                      </a:lnTo>
                      <a:lnTo>
                        <a:pt x="1342" y="668"/>
                      </a:lnTo>
                      <a:lnTo>
                        <a:pt x="1343" y="669"/>
                      </a:lnTo>
                      <a:lnTo>
                        <a:pt x="1342" y="670"/>
                      </a:lnTo>
                      <a:lnTo>
                        <a:pt x="1342" y="671"/>
                      </a:lnTo>
                      <a:lnTo>
                        <a:pt x="1342" y="672"/>
                      </a:lnTo>
                      <a:lnTo>
                        <a:pt x="1342" y="673"/>
                      </a:lnTo>
                      <a:lnTo>
                        <a:pt x="1343" y="673"/>
                      </a:lnTo>
                      <a:lnTo>
                        <a:pt x="1343" y="674"/>
                      </a:lnTo>
                      <a:lnTo>
                        <a:pt x="1344" y="675"/>
                      </a:lnTo>
                      <a:lnTo>
                        <a:pt x="1343" y="675"/>
                      </a:lnTo>
                      <a:lnTo>
                        <a:pt x="1344" y="675"/>
                      </a:lnTo>
                      <a:lnTo>
                        <a:pt x="1345" y="675"/>
                      </a:lnTo>
                      <a:lnTo>
                        <a:pt x="1345" y="677"/>
                      </a:lnTo>
                      <a:lnTo>
                        <a:pt x="1347" y="677"/>
                      </a:lnTo>
                      <a:lnTo>
                        <a:pt x="1348" y="678"/>
                      </a:lnTo>
                      <a:lnTo>
                        <a:pt x="1347" y="678"/>
                      </a:lnTo>
                      <a:lnTo>
                        <a:pt x="1345" y="679"/>
                      </a:lnTo>
                      <a:lnTo>
                        <a:pt x="1344" y="679"/>
                      </a:lnTo>
                      <a:lnTo>
                        <a:pt x="1343" y="679"/>
                      </a:lnTo>
                      <a:lnTo>
                        <a:pt x="1342" y="678"/>
                      </a:lnTo>
                      <a:lnTo>
                        <a:pt x="1341" y="678"/>
                      </a:lnTo>
                      <a:lnTo>
                        <a:pt x="1341" y="677"/>
                      </a:lnTo>
                      <a:lnTo>
                        <a:pt x="1340" y="677"/>
                      </a:lnTo>
                      <a:lnTo>
                        <a:pt x="1338" y="677"/>
                      </a:lnTo>
                      <a:lnTo>
                        <a:pt x="1337" y="675"/>
                      </a:lnTo>
                      <a:lnTo>
                        <a:pt x="1338" y="675"/>
                      </a:lnTo>
                      <a:lnTo>
                        <a:pt x="1338" y="674"/>
                      </a:lnTo>
                      <a:lnTo>
                        <a:pt x="1337" y="674"/>
                      </a:lnTo>
                      <a:lnTo>
                        <a:pt x="1336" y="675"/>
                      </a:lnTo>
                      <a:lnTo>
                        <a:pt x="1336" y="674"/>
                      </a:lnTo>
                      <a:lnTo>
                        <a:pt x="1335" y="675"/>
                      </a:lnTo>
                      <a:lnTo>
                        <a:pt x="1335" y="674"/>
                      </a:lnTo>
                      <a:lnTo>
                        <a:pt x="1336" y="673"/>
                      </a:lnTo>
                      <a:lnTo>
                        <a:pt x="1337" y="673"/>
                      </a:lnTo>
                      <a:lnTo>
                        <a:pt x="1338" y="672"/>
                      </a:lnTo>
                      <a:lnTo>
                        <a:pt x="1337" y="672"/>
                      </a:lnTo>
                      <a:lnTo>
                        <a:pt x="1338" y="671"/>
                      </a:lnTo>
                      <a:lnTo>
                        <a:pt x="1337" y="671"/>
                      </a:lnTo>
                      <a:lnTo>
                        <a:pt x="1336" y="671"/>
                      </a:lnTo>
                      <a:lnTo>
                        <a:pt x="1335" y="671"/>
                      </a:lnTo>
                      <a:lnTo>
                        <a:pt x="1331" y="670"/>
                      </a:lnTo>
                      <a:lnTo>
                        <a:pt x="1330" y="670"/>
                      </a:lnTo>
                      <a:lnTo>
                        <a:pt x="1329" y="670"/>
                      </a:lnTo>
                      <a:lnTo>
                        <a:pt x="1328" y="670"/>
                      </a:lnTo>
                      <a:lnTo>
                        <a:pt x="1329" y="670"/>
                      </a:lnTo>
                      <a:lnTo>
                        <a:pt x="1329" y="671"/>
                      </a:lnTo>
                      <a:lnTo>
                        <a:pt x="1330" y="671"/>
                      </a:lnTo>
                      <a:lnTo>
                        <a:pt x="1331" y="672"/>
                      </a:lnTo>
                      <a:lnTo>
                        <a:pt x="1331" y="673"/>
                      </a:lnTo>
                      <a:lnTo>
                        <a:pt x="1332" y="673"/>
                      </a:lnTo>
                      <a:lnTo>
                        <a:pt x="1334" y="673"/>
                      </a:lnTo>
                      <a:lnTo>
                        <a:pt x="1334" y="674"/>
                      </a:lnTo>
                      <a:lnTo>
                        <a:pt x="1332" y="674"/>
                      </a:lnTo>
                      <a:lnTo>
                        <a:pt x="1332" y="673"/>
                      </a:lnTo>
                      <a:lnTo>
                        <a:pt x="1331" y="673"/>
                      </a:lnTo>
                      <a:lnTo>
                        <a:pt x="1330" y="673"/>
                      </a:lnTo>
                      <a:lnTo>
                        <a:pt x="1329" y="673"/>
                      </a:lnTo>
                      <a:lnTo>
                        <a:pt x="1328" y="672"/>
                      </a:lnTo>
                      <a:lnTo>
                        <a:pt x="1327" y="672"/>
                      </a:lnTo>
                      <a:lnTo>
                        <a:pt x="1326" y="671"/>
                      </a:lnTo>
                      <a:lnTo>
                        <a:pt x="1325" y="671"/>
                      </a:lnTo>
                      <a:lnTo>
                        <a:pt x="1324" y="670"/>
                      </a:lnTo>
                      <a:lnTo>
                        <a:pt x="1324" y="669"/>
                      </a:lnTo>
                      <a:lnTo>
                        <a:pt x="1323" y="668"/>
                      </a:lnTo>
                      <a:lnTo>
                        <a:pt x="1318" y="666"/>
                      </a:lnTo>
                      <a:lnTo>
                        <a:pt x="1317" y="666"/>
                      </a:lnTo>
                      <a:lnTo>
                        <a:pt x="1316" y="665"/>
                      </a:lnTo>
                      <a:lnTo>
                        <a:pt x="1315" y="664"/>
                      </a:lnTo>
                      <a:lnTo>
                        <a:pt x="1314" y="664"/>
                      </a:lnTo>
                      <a:lnTo>
                        <a:pt x="1313" y="664"/>
                      </a:lnTo>
                      <a:lnTo>
                        <a:pt x="1312" y="665"/>
                      </a:lnTo>
                      <a:lnTo>
                        <a:pt x="1311" y="664"/>
                      </a:lnTo>
                      <a:lnTo>
                        <a:pt x="1309" y="664"/>
                      </a:lnTo>
                      <a:lnTo>
                        <a:pt x="1308" y="664"/>
                      </a:lnTo>
                      <a:lnTo>
                        <a:pt x="1306" y="664"/>
                      </a:lnTo>
                      <a:lnTo>
                        <a:pt x="1305" y="664"/>
                      </a:lnTo>
                      <a:lnTo>
                        <a:pt x="1304" y="664"/>
                      </a:lnTo>
                      <a:lnTo>
                        <a:pt x="1303" y="664"/>
                      </a:lnTo>
                      <a:lnTo>
                        <a:pt x="1303" y="665"/>
                      </a:lnTo>
                      <a:lnTo>
                        <a:pt x="1302" y="665"/>
                      </a:lnTo>
                      <a:lnTo>
                        <a:pt x="1301" y="665"/>
                      </a:lnTo>
                      <a:lnTo>
                        <a:pt x="1300" y="665"/>
                      </a:lnTo>
                      <a:lnTo>
                        <a:pt x="1299" y="665"/>
                      </a:lnTo>
                      <a:lnTo>
                        <a:pt x="1298" y="666"/>
                      </a:lnTo>
                      <a:lnTo>
                        <a:pt x="1298" y="667"/>
                      </a:lnTo>
                      <a:lnTo>
                        <a:pt x="1298" y="668"/>
                      </a:lnTo>
                      <a:lnTo>
                        <a:pt x="1297" y="667"/>
                      </a:lnTo>
                      <a:lnTo>
                        <a:pt x="1297" y="666"/>
                      </a:lnTo>
                      <a:lnTo>
                        <a:pt x="1296" y="665"/>
                      </a:lnTo>
                      <a:lnTo>
                        <a:pt x="1295" y="664"/>
                      </a:lnTo>
                      <a:lnTo>
                        <a:pt x="1296" y="662"/>
                      </a:lnTo>
                      <a:lnTo>
                        <a:pt x="1297" y="662"/>
                      </a:lnTo>
                      <a:lnTo>
                        <a:pt x="1297" y="661"/>
                      </a:lnTo>
                      <a:lnTo>
                        <a:pt x="1297" y="662"/>
                      </a:lnTo>
                      <a:lnTo>
                        <a:pt x="1297" y="664"/>
                      </a:lnTo>
                      <a:lnTo>
                        <a:pt x="1297" y="662"/>
                      </a:lnTo>
                      <a:lnTo>
                        <a:pt x="1297" y="661"/>
                      </a:lnTo>
                      <a:lnTo>
                        <a:pt x="1299" y="660"/>
                      </a:lnTo>
                      <a:lnTo>
                        <a:pt x="1297" y="661"/>
                      </a:lnTo>
                      <a:lnTo>
                        <a:pt x="1296" y="662"/>
                      </a:lnTo>
                      <a:lnTo>
                        <a:pt x="1295" y="662"/>
                      </a:lnTo>
                      <a:lnTo>
                        <a:pt x="1295" y="664"/>
                      </a:lnTo>
                      <a:lnTo>
                        <a:pt x="1293" y="664"/>
                      </a:lnTo>
                      <a:lnTo>
                        <a:pt x="1293" y="662"/>
                      </a:lnTo>
                      <a:lnTo>
                        <a:pt x="1292" y="662"/>
                      </a:lnTo>
                      <a:lnTo>
                        <a:pt x="1293" y="662"/>
                      </a:lnTo>
                      <a:lnTo>
                        <a:pt x="1293" y="661"/>
                      </a:lnTo>
                      <a:lnTo>
                        <a:pt x="1293" y="660"/>
                      </a:lnTo>
                      <a:lnTo>
                        <a:pt x="1292" y="660"/>
                      </a:lnTo>
                      <a:lnTo>
                        <a:pt x="1291" y="660"/>
                      </a:lnTo>
                      <a:lnTo>
                        <a:pt x="1291" y="659"/>
                      </a:lnTo>
                      <a:lnTo>
                        <a:pt x="1292" y="659"/>
                      </a:lnTo>
                      <a:lnTo>
                        <a:pt x="1293" y="658"/>
                      </a:lnTo>
                      <a:lnTo>
                        <a:pt x="1292" y="658"/>
                      </a:lnTo>
                      <a:lnTo>
                        <a:pt x="1291" y="658"/>
                      </a:lnTo>
                      <a:lnTo>
                        <a:pt x="1290" y="658"/>
                      </a:lnTo>
                      <a:lnTo>
                        <a:pt x="1290" y="657"/>
                      </a:lnTo>
                      <a:lnTo>
                        <a:pt x="1289" y="657"/>
                      </a:lnTo>
                      <a:lnTo>
                        <a:pt x="1288" y="658"/>
                      </a:lnTo>
                      <a:lnTo>
                        <a:pt x="1287" y="658"/>
                      </a:lnTo>
                      <a:lnTo>
                        <a:pt x="1286" y="658"/>
                      </a:lnTo>
                      <a:lnTo>
                        <a:pt x="1286" y="657"/>
                      </a:lnTo>
                      <a:lnTo>
                        <a:pt x="1285" y="657"/>
                      </a:lnTo>
                      <a:lnTo>
                        <a:pt x="1284" y="657"/>
                      </a:lnTo>
                      <a:lnTo>
                        <a:pt x="1283" y="658"/>
                      </a:lnTo>
                      <a:lnTo>
                        <a:pt x="1280" y="658"/>
                      </a:lnTo>
                      <a:lnTo>
                        <a:pt x="1279" y="659"/>
                      </a:lnTo>
                      <a:lnTo>
                        <a:pt x="1278" y="659"/>
                      </a:lnTo>
                      <a:lnTo>
                        <a:pt x="1277" y="660"/>
                      </a:lnTo>
                      <a:lnTo>
                        <a:pt x="1277" y="661"/>
                      </a:lnTo>
                      <a:lnTo>
                        <a:pt x="1276" y="664"/>
                      </a:lnTo>
                      <a:lnTo>
                        <a:pt x="1275" y="664"/>
                      </a:lnTo>
                      <a:lnTo>
                        <a:pt x="1276" y="665"/>
                      </a:lnTo>
                      <a:lnTo>
                        <a:pt x="1276" y="666"/>
                      </a:lnTo>
                      <a:lnTo>
                        <a:pt x="1276" y="667"/>
                      </a:lnTo>
                      <a:lnTo>
                        <a:pt x="1275" y="667"/>
                      </a:lnTo>
                      <a:lnTo>
                        <a:pt x="1274" y="668"/>
                      </a:lnTo>
                      <a:lnTo>
                        <a:pt x="1274" y="669"/>
                      </a:lnTo>
                      <a:lnTo>
                        <a:pt x="1273" y="670"/>
                      </a:lnTo>
                      <a:lnTo>
                        <a:pt x="1274" y="671"/>
                      </a:lnTo>
                      <a:lnTo>
                        <a:pt x="1274" y="672"/>
                      </a:lnTo>
                      <a:lnTo>
                        <a:pt x="1275" y="672"/>
                      </a:lnTo>
                      <a:lnTo>
                        <a:pt x="1275" y="673"/>
                      </a:lnTo>
                      <a:lnTo>
                        <a:pt x="1274" y="673"/>
                      </a:lnTo>
                      <a:lnTo>
                        <a:pt x="1274" y="672"/>
                      </a:lnTo>
                      <a:lnTo>
                        <a:pt x="1273" y="673"/>
                      </a:lnTo>
                      <a:lnTo>
                        <a:pt x="1272" y="673"/>
                      </a:lnTo>
                      <a:lnTo>
                        <a:pt x="1271" y="674"/>
                      </a:lnTo>
                      <a:lnTo>
                        <a:pt x="1271" y="675"/>
                      </a:lnTo>
                      <a:lnTo>
                        <a:pt x="1270" y="675"/>
                      </a:lnTo>
                      <a:lnTo>
                        <a:pt x="1270" y="677"/>
                      </a:lnTo>
                      <a:lnTo>
                        <a:pt x="1270" y="678"/>
                      </a:lnTo>
                      <a:lnTo>
                        <a:pt x="1270" y="679"/>
                      </a:lnTo>
                      <a:lnTo>
                        <a:pt x="1270" y="680"/>
                      </a:lnTo>
                      <a:lnTo>
                        <a:pt x="1270" y="681"/>
                      </a:lnTo>
                      <a:lnTo>
                        <a:pt x="1268" y="681"/>
                      </a:lnTo>
                      <a:lnTo>
                        <a:pt x="1267" y="682"/>
                      </a:lnTo>
                      <a:lnTo>
                        <a:pt x="1266" y="682"/>
                      </a:lnTo>
                      <a:lnTo>
                        <a:pt x="1266" y="683"/>
                      </a:lnTo>
                      <a:lnTo>
                        <a:pt x="1267" y="683"/>
                      </a:lnTo>
                      <a:lnTo>
                        <a:pt x="1266" y="683"/>
                      </a:lnTo>
                      <a:lnTo>
                        <a:pt x="1267" y="684"/>
                      </a:lnTo>
                      <a:lnTo>
                        <a:pt x="1267" y="685"/>
                      </a:lnTo>
                      <a:lnTo>
                        <a:pt x="1266" y="685"/>
                      </a:lnTo>
                      <a:lnTo>
                        <a:pt x="1266" y="684"/>
                      </a:lnTo>
                      <a:lnTo>
                        <a:pt x="1266" y="683"/>
                      </a:lnTo>
                      <a:lnTo>
                        <a:pt x="1266" y="682"/>
                      </a:lnTo>
                      <a:lnTo>
                        <a:pt x="1266" y="679"/>
                      </a:lnTo>
                      <a:lnTo>
                        <a:pt x="1266" y="678"/>
                      </a:lnTo>
                      <a:lnTo>
                        <a:pt x="1266" y="679"/>
                      </a:lnTo>
                      <a:lnTo>
                        <a:pt x="1267" y="678"/>
                      </a:lnTo>
                      <a:lnTo>
                        <a:pt x="1267" y="677"/>
                      </a:lnTo>
                      <a:lnTo>
                        <a:pt x="1267" y="675"/>
                      </a:lnTo>
                      <a:lnTo>
                        <a:pt x="1268" y="674"/>
                      </a:lnTo>
                      <a:lnTo>
                        <a:pt x="1267" y="672"/>
                      </a:lnTo>
                      <a:lnTo>
                        <a:pt x="1268" y="669"/>
                      </a:lnTo>
                      <a:lnTo>
                        <a:pt x="1267" y="668"/>
                      </a:lnTo>
                      <a:lnTo>
                        <a:pt x="1266" y="667"/>
                      </a:lnTo>
                      <a:lnTo>
                        <a:pt x="1265" y="666"/>
                      </a:lnTo>
                      <a:lnTo>
                        <a:pt x="1263" y="666"/>
                      </a:lnTo>
                      <a:lnTo>
                        <a:pt x="1263" y="665"/>
                      </a:lnTo>
                      <a:lnTo>
                        <a:pt x="1263" y="664"/>
                      </a:lnTo>
                      <a:lnTo>
                        <a:pt x="1264" y="664"/>
                      </a:lnTo>
                      <a:lnTo>
                        <a:pt x="1265" y="662"/>
                      </a:lnTo>
                      <a:lnTo>
                        <a:pt x="1264" y="662"/>
                      </a:lnTo>
                      <a:lnTo>
                        <a:pt x="1265" y="661"/>
                      </a:lnTo>
                      <a:lnTo>
                        <a:pt x="1266" y="661"/>
                      </a:lnTo>
                      <a:lnTo>
                        <a:pt x="1268" y="662"/>
                      </a:lnTo>
                      <a:lnTo>
                        <a:pt x="1270" y="662"/>
                      </a:lnTo>
                      <a:lnTo>
                        <a:pt x="1270" y="661"/>
                      </a:lnTo>
                      <a:lnTo>
                        <a:pt x="1270" y="660"/>
                      </a:lnTo>
                      <a:lnTo>
                        <a:pt x="1268" y="660"/>
                      </a:lnTo>
                      <a:lnTo>
                        <a:pt x="1267" y="660"/>
                      </a:lnTo>
                      <a:lnTo>
                        <a:pt x="1266" y="660"/>
                      </a:lnTo>
                      <a:lnTo>
                        <a:pt x="1265" y="660"/>
                      </a:lnTo>
                      <a:lnTo>
                        <a:pt x="1264" y="660"/>
                      </a:lnTo>
                      <a:lnTo>
                        <a:pt x="1263" y="660"/>
                      </a:lnTo>
                      <a:lnTo>
                        <a:pt x="1262" y="660"/>
                      </a:lnTo>
                      <a:lnTo>
                        <a:pt x="1262" y="659"/>
                      </a:lnTo>
                      <a:lnTo>
                        <a:pt x="1262" y="660"/>
                      </a:lnTo>
                      <a:lnTo>
                        <a:pt x="1261" y="660"/>
                      </a:lnTo>
                      <a:lnTo>
                        <a:pt x="1261" y="661"/>
                      </a:lnTo>
                      <a:lnTo>
                        <a:pt x="1261" y="662"/>
                      </a:lnTo>
                      <a:lnTo>
                        <a:pt x="1261" y="664"/>
                      </a:lnTo>
                      <a:lnTo>
                        <a:pt x="1261" y="665"/>
                      </a:lnTo>
                      <a:lnTo>
                        <a:pt x="1261" y="666"/>
                      </a:lnTo>
                      <a:lnTo>
                        <a:pt x="1261" y="667"/>
                      </a:lnTo>
                      <a:lnTo>
                        <a:pt x="1260" y="667"/>
                      </a:lnTo>
                      <a:lnTo>
                        <a:pt x="1260" y="666"/>
                      </a:lnTo>
                      <a:lnTo>
                        <a:pt x="1259" y="666"/>
                      </a:lnTo>
                      <a:lnTo>
                        <a:pt x="1259" y="665"/>
                      </a:lnTo>
                      <a:lnTo>
                        <a:pt x="1258" y="665"/>
                      </a:lnTo>
                      <a:lnTo>
                        <a:pt x="1257" y="665"/>
                      </a:lnTo>
                      <a:lnTo>
                        <a:pt x="1258" y="665"/>
                      </a:lnTo>
                      <a:lnTo>
                        <a:pt x="1258" y="664"/>
                      </a:lnTo>
                      <a:lnTo>
                        <a:pt x="1257" y="662"/>
                      </a:lnTo>
                      <a:lnTo>
                        <a:pt x="1257" y="664"/>
                      </a:lnTo>
                      <a:lnTo>
                        <a:pt x="1255" y="664"/>
                      </a:lnTo>
                      <a:lnTo>
                        <a:pt x="1255" y="662"/>
                      </a:lnTo>
                      <a:lnTo>
                        <a:pt x="1254" y="662"/>
                      </a:lnTo>
                      <a:lnTo>
                        <a:pt x="1254" y="661"/>
                      </a:lnTo>
                      <a:lnTo>
                        <a:pt x="1253" y="661"/>
                      </a:lnTo>
                      <a:lnTo>
                        <a:pt x="1253" y="660"/>
                      </a:lnTo>
                      <a:lnTo>
                        <a:pt x="1252" y="660"/>
                      </a:lnTo>
                      <a:lnTo>
                        <a:pt x="1252" y="659"/>
                      </a:lnTo>
                      <a:lnTo>
                        <a:pt x="1253" y="659"/>
                      </a:lnTo>
                      <a:lnTo>
                        <a:pt x="1253" y="660"/>
                      </a:lnTo>
                      <a:lnTo>
                        <a:pt x="1253" y="659"/>
                      </a:lnTo>
                      <a:lnTo>
                        <a:pt x="1254" y="659"/>
                      </a:lnTo>
                      <a:lnTo>
                        <a:pt x="1254" y="658"/>
                      </a:lnTo>
                      <a:lnTo>
                        <a:pt x="1254" y="657"/>
                      </a:lnTo>
                      <a:lnTo>
                        <a:pt x="1255" y="657"/>
                      </a:lnTo>
                      <a:lnTo>
                        <a:pt x="1255" y="656"/>
                      </a:lnTo>
                      <a:lnTo>
                        <a:pt x="1255" y="655"/>
                      </a:lnTo>
                      <a:lnTo>
                        <a:pt x="1257" y="655"/>
                      </a:lnTo>
                      <a:lnTo>
                        <a:pt x="1257" y="654"/>
                      </a:lnTo>
                      <a:lnTo>
                        <a:pt x="1257" y="653"/>
                      </a:lnTo>
                      <a:lnTo>
                        <a:pt x="1257" y="652"/>
                      </a:lnTo>
                      <a:lnTo>
                        <a:pt x="1257" y="650"/>
                      </a:lnTo>
                      <a:lnTo>
                        <a:pt x="1255" y="650"/>
                      </a:lnTo>
                      <a:lnTo>
                        <a:pt x="1255" y="649"/>
                      </a:lnTo>
                      <a:lnTo>
                        <a:pt x="1255" y="650"/>
                      </a:lnTo>
                      <a:lnTo>
                        <a:pt x="1254" y="650"/>
                      </a:lnTo>
                      <a:lnTo>
                        <a:pt x="1255" y="649"/>
                      </a:lnTo>
                      <a:lnTo>
                        <a:pt x="1254" y="649"/>
                      </a:lnTo>
                      <a:lnTo>
                        <a:pt x="1254" y="650"/>
                      </a:lnTo>
                      <a:lnTo>
                        <a:pt x="1253" y="650"/>
                      </a:lnTo>
                      <a:lnTo>
                        <a:pt x="1252" y="650"/>
                      </a:lnTo>
                      <a:lnTo>
                        <a:pt x="1251" y="649"/>
                      </a:lnTo>
                      <a:lnTo>
                        <a:pt x="1250" y="650"/>
                      </a:lnTo>
                      <a:lnTo>
                        <a:pt x="1250" y="649"/>
                      </a:lnTo>
                      <a:lnTo>
                        <a:pt x="1249" y="648"/>
                      </a:lnTo>
                      <a:lnTo>
                        <a:pt x="1249" y="647"/>
                      </a:lnTo>
                      <a:lnTo>
                        <a:pt x="1249" y="648"/>
                      </a:lnTo>
                      <a:lnTo>
                        <a:pt x="1250" y="648"/>
                      </a:lnTo>
                      <a:lnTo>
                        <a:pt x="1250" y="649"/>
                      </a:lnTo>
                      <a:lnTo>
                        <a:pt x="1250" y="648"/>
                      </a:lnTo>
                      <a:lnTo>
                        <a:pt x="1251" y="648"/>
                      </a:lnTo>
                      <a:lnTo>
                        <a:pt x="1251" y="649"/>
                      </a:lnTo>
                      <a:lnTo>
                        <a:pt x="1252" y="649"/>
                      </a:lnTo>
                      <a:lnTo>
                        <a:pt x="1252" y="648"/>
                      </a:lnTo>
                      <a:lnTo>
                        <a:pt x="1251" y="648"/>
                      </a:lnTo>
                      <a:lnTo>
                        <a:pt x="1250" y="648"/>
                      </a:lnTo>
                      <a:lnTo>
                        <a:pt x="1250" y="647"/>
                      </a:lnTo>
                      <a:lnTo>
                        <a:pt x="1249" y="647"/>
                      </a:lnTo>
                      <a:lnTo>
                        <a:pt x="1249" y="646"/>
                      </a:lnTo>
                      <a:lnTo>
                        <a:pt x="1249" y="645"/>
                      </a:lnTo>
                      <a:lnTo>
                        <a:pt x="1250" y="645"/>
                      </a:lnTo>
                      <a:lnTo>
                        <a:pt x="1250" y="644"/>
                      </a:lnTo>
                      <a:lnTo>
                        <a:pt x="1250" y="645"/>
                      </a:lnTo>
                      <a:lnTo>
                        <a:pt x="1249" y="645"/>
                      </a:lnTo>
                      <a:lnTo>
                        <a:pt x="1248" y="645"/>
                      </a:lnTo>
                      <a:lnTo>
                        <a:pt x="1248" y="646"/>
                      </a:lnTo>
                      <a:lnTo>
                        <a:pt x="1248" y="645"/>
                      </a:lnTo>
                      <a:lnTo>
                        <a:pt x="1247" y="645"/>
                      </a:lnTo>
                      <a:lnTo>
                        <a:pt x="1246" y="644"/>
                      </a:lnTo>
                      <a:lnTo>
                        <a:pt x="1246" y="643"/>
                      </a:lnTo>
                      <a:lnTo>
                        <a:pt x="1245" y="642"/>
                      </a:lnTo>
                      <a:lnTo>
                        <a:pt x="1246" y="642"/>
                      </a:lnTo>
                      <a:lnTo>
                        <a:pt x="1247" y="642"/>
                      </a:lnTo>
                      <a:lnTo>
                        <a:pt x="1246" y="642"/>
                      </a:lnTo>
                      <a:lnTo>
                        <a:pt x="1245" y="642"/>
                      </a:lnTo>
                      <a:lnTo>
                        <a:pt x="1245" y="641"/>
                      </a:lnTo>
                      <a:lnTo>
                        <a:pt x="1245" y="640"/>
                      </a:lnTo>
                      <a:lnTo>
                        <a:pt x="1246" y="640"/>
                      </a:lnTo>
                      <a:lnTo>
                        <a:pt x="1245" y="640"/>
                      </a:lnTo>
                      <a:lnTo>
                        <a:pt x="1244" y="640"/>
                      </a:lnTo>
                      <a:lnTo>
                        <a:pt x="1245" y="640"/>
                      </a:lnTo>
                      <a:lnTo>
                        <a:pt x="1244" y="640"/>
                      </a:lnTo>
                      <a:lnTo>
                        <a:pt x="1244" y="641"/>
                      </a:lnTo>
                      <a:lnTo>
                        <a:pt x="1245" y="641"/>
                      </a:lnTo>
                      <a:lnTo>
                        <a:pt x="1245" y="642"/>
                      </a:lnTo>
                      <a:lnTo>
                        <a:pt x="1245" y="643"/>
                      </a:lnTo>
                      <a:lnTo>
                        <a:pt x="1244" y="642"/>
                      </a:lnTo>
                      <a:lnTo>
                        <a:pt x="1242" y="642"/>
                      </a:lnTo>
                      <a:lnTo>
                        <a:pt x="1242" y="641"/>
                      </a:lnTo>
                      <a:lnTo>
                        <a:pt x="1241" y="641"/>
                      </a:lnTo>
                      <a:lnTo>
                        <a:pt x="1241" y="642"/>
                      </a:lnTo>
                      <a:lnTo>
                        <a:pt x="1240" y="643"/>
                      </a:lnTo>
                      <a:lnTo>
                        <a:pt x="1240" y="642"/>
                      </a:lnTo>
                      <a:lnTo>
                        <a:pt x="1239" y="642"/>
                      </a:lnTo>
                      <a:lnTo>
                        <a:pt x="1239" y="641"/>
                      </a:lnTo>
                      <a:lnTo>
                        <a:pt x="1238" y="641"/>
                      </a:lnTo>
                      <a:lnTo>
                        <a:pt x="1239" y="641"/>
                      </a:lnTo>
                      <a:lnTo>
                        <a:pt x="1240" y="641"/>
                      </a:lnTo>
                      <a:lnTo>
                        <a:pt x="1240" y="640"/>
                      </a:lnTo>
                      <a:lnTo>
                        <a:pt x="1240" y="639"/>
                      </a:lnTo>
                      <a:lnTo>
                        <a:pt x="1240" y="637"/>
                      </a:lnTo>
                      <a:lnTo>
                        <a:pt x="1241" y="637"/>
                      </a:lnTo>
                      <a:lnTo>
                        <a:pt x="1241" y="636"/>
                      </a:lnTo>
                      <a:lnTo>
                        <a:pt x="1242" y="636"/>
                      </a:lnTo>
                      <a:lnTo>
                        <a:pt x="1242" y="637"/>
                      </a:lnTo>
                      <a:lnTo>
                        <a:pt x="1242" y="636"/>
                      </a:lnTo>
                      <a:lnTo>
                        <a:pt x="1241" y="636"/>
                      </a:lnTo>
                      <a:lnTo>
                        <a:pt x="1241" y="637"/>
                      </a:lnTo>
                      <a:lnTo>
                        <a:pt x="1241" y="636"/>
                      </a:lnTo>
                      <a:lnTo>
                        <a:pt x="1242" y="635"/>
                      </a:lnTo>
                      <a:lnTo>
                        <a:pt x="1241" y="635"/>
                      </a:lnTo>
                      <a:lnTo>
                        <a:pt x="1241" y="636"/>
                      </a:lnTo>
                      <a:lnTo>
                        <a:pt x="1240" y="636"/>
                      </a:lnTo>
                      <a:lnTo>
                        <a:pt x="1240" y="637"/>
                      </a:lnTo>
                      <a:lnTo>
                        <a:pt x="1240" y="636"/>
                      </a:lnTo>
                      <a:lnTo>
                        <a:pt x="1240" y="635"/>
                      </a:lnTo>
                      <a:lnTo>
                        <a:pt x="1239" y="635"/>
                      </a:lnTo>
                      <a:lnTo>
                        <a:pt x="1238" y="634"/>
                      </a:lnTo>
                      <a:lnTo>
                        <a:pt x="1237" y="634"/>
                      </a:lnTo>
                      <a:lnTo>
                        <a:pt x="1237" y="633"/>
                      </a:lnTo>
                      <a:lnTo>
                        <a:pt x="1237" y="632"/>
                      </a:lnTo>
                      <a:lnTo>
                        <a:pt x="1236" y="632"/>
                      </a:lnTo>
                      <a:lnTo>
                        <a:pt x="1236" y="633"/>
                      </a:lnTo>
                      <a:lnTo>
                        <a:pt x="1236" y="634"/>
                      </a:lnTo>
                      <a:lnTo>
                        <a:pt x="1236" y="635"/>
                      </a:lnTo>
                      <a:lnTo>
                        <a:pt x="1235" y="635"/>
                      </a:lnTo>
                      <a:lnTo>
                        <a:pt x="1235" y="634"/>
                      </a:lnTo>
                      <a:lnTo>
                        <a:pt x="1234" y="633"/>
                      </a:lnTo>
                      <a:lnTo>
                        <a:pt x="1234" y="634"/>
                      </a:lnTo>
                      <a:lnTo>
                        <a:pt x="1233" y="634"/>
                      </a:lnTo>
                      <a:lnTo>
                        <a:pt x="1234" y="634"/>
                      </a:lnTo>
                      <a:lnTo>
                        <a:pt x="1233" y="634"/>
                      </a:lnTo>
                      <a:lnTo>
                        <a:pt x="1232" y="634"/>
                      </a:lnTo>
                      <a:lnTo>
                        <a:pt x="1232" y="633"/>
                      </a:lnTo>
                      <a:lnTo>
                        <a:pt x="1233" y="633"/>
                      </a:lnTo>
                      <a:lnTo>
                        <a:pt x="1234" y="633"/>
                      </a:lnTo>
                      <a:lnTo>
                        <a:pt x="1234" y="632"/>
                      </a:lnTo>
                      <a:lnTo>
                        <a:pt x="1233" y="632"/>
                      </a:lnTo>
                      <a:lnTo>
                        <a:pt x="1233" y="633"/>
                      </a:lnTo>
                      <a:lnTo>
                        <a:pt x="1232" y="633"/>
                      </a:lnTo>
                      <a:lnTo>
                        <a:pt x="1232" y="632"/>
                      </a:lnTo>
                      <a:lnTo>
                        <a:pt x="1231" y="632"/>
                      </a:lnTo>
                      <a:lnTo>
                        <a:pt x="1231" y="633"/>
                      </a:lnTo>
                      <a:lnTo>
                        <a:pt x="1232" y="633"/>
                      </a:lnTo>
                      <a:lnTo>
                        <a:pt x="1231" y="633"/>
                      </a:lnTo>
                      <a:lnTo>
                        <a:pt x="1229" y="633"/>
                      </a:lnTo>
                      <a:lnTo>
                        <a:pt x="1228" y="633"/>
                      </a:lnTo>
                      <a:lnTo>
                        <a:pt x="1229" y="633"/>
                      </a:lnTo>
                      <a:lnTo>
                        <a:pt x="1228" y="633"/>
                      </a:lnTo>
                      <a:lnTo>
                        <a:pt x="1227" y="633"/>
                      </a:lnTo>
                      <a:lnTo>
                        <a:pt x="1226" y="633"/>
                      </a:lnTo>
                      <a:lnTo>
                        <a:pt x="1226" y="634"/>
                      </a:lnTo>
                      <a:lnTo>
                        <a:pt x="1225" y="634"/>
                      </a:lnTo>
                      <a:lnTo>
                        <a:pt x="1225" y="635"/>
                      </a:lnTo>
                      <a:lnTo>
                        <a:pt x="1225" y="634"/>
                      </a:lnTo>
                      <a:lnTo>
                        <a:pt x="1224" y="634"/>
                      </a:lnTo>
                      <a:lnTo>
                        <a:pt x="1224" y="633"/>
                      </a:lnTo>
                      <a:lnTo>
                        <a:pt x="1224" y="632"/>
                      </a:lnTo>
                      <a:lnTo>
                        <a:pt x="1223" y="632"/>
                      </a:lnTo>
                      <a:lnTo>
                        <a:pt x="1224" y="632"/>
                      </a:lnTo>
                      <a:lnTo>
                        <a:pt x="1225" y="633"/>
                      </a:lnTo>
                      <a:lnTo>
                        <a:pt x="1225" y="632"/>
                      </a:lnTo>
                      <a:lnTo>
                        <a:pt x="1225" y="633"/>
                      </a:lnTo>
                      <a:lnTo>
                        <a:pt x="1226" y="633"/>
                      </a:lnTo>
                      <a:lnTo>
                        <a:pt x="1225" y="633"/>
                      </a:lnTo>
                      <a:lnTo>
                        <a:pt x="1226" y="633"/>
                      </a:lnTo>
                      <a:lnTo>
                        <a:pt x="1226" y="632"/>
                      </a:lnTo>
                      <a:lnTo>
                        <a:pt x="1225" y="632"/>
                      </a:lnTo>
                      <a:lnTo>
                        <a:pt x="1225" y="631"/>
                      </a:lnTo>
                      <a:lnTo>
                        <a:pt x="1226" y="631"/>
                      </a:lnTo>
                      <a:lnTo>
                        <a:pt x="1227" y="631"/>
                      </a:lnTo>
                      <a:lnTo>
                        <a:pt x="1227" y="632"/>
                      </a:lnTo>
                      <a:lnTo>
                        <a:pt x="1227" y="631"/>
                      </a:lnTo>
                      <a:lnTo>
                        <a:pt x="1226" y="631"/>
                      </a:lnTo>
                      <a:lnTo>
                        <a:pt x="1225" y="631"/>
                      </a:lnTo>
                      <a:lnTo>
                        <a:pt x="1225" y="630"/>
                      </a:lnTo>
                      <a:lnTo>
                        <a:pt x="1224" y="630"/>
                      </a:lnTo>
                      <a:lnTo>
                        <a:pt x="1223" y="630"/>
                      </a:lnTo>
                      <a:lnTo>
                        <a:pt x="1223" y="631"/>
                      </a:lnTo>
                      <a:lnTo>
                        <a:pt x="1223" y="632"/>
                      </a:lnTo>
                      <a:lnTo>
                        <a:pt x="1223" y="633"/>
                      </a:lnTo>
                      <a:lnTo>
                        <a:pt x="1224" y="633"/>
                      </a:lnTo>
                      <a:lnTo>
                        <a:pt x="1223" y="633"/>
                      </a:lnTo>
                      <a:lnTo>
                        <a:pt x="1223" y="634"/>
                      </a:lnTo>
                      <a:lnTo>
                        <a:pt x="1223" y="633"/>
                      </a:lnTo>
                      <a:lnTo>
                        <a:pt x="1222" y="633"/>
                      </a:lnTo>
                      <a:lnTo>
                        <a:pt x="1222" y="632"/>
                      </a:lnTo>
                      <a:lnTo>
                        <a:pt x="1221" y="632"/>
                      </a:lnTo>
                      <a:lnTo>
                        <a:pt x="1220" y="632"/>
                      </a:lnTo>
                      <a:lnTo>
                        <a:pt x="1220" y="631"/>
                      </a:lnTo>
                      <a:lnTo>
                        <a:pt x="1219" y="631"/>
                      </a:lnTo>
                      <a:lnTo>
                        <a:pt x="1219" y="630"/>
                      </a:lnTo>
                      <a:lnTo>
                        <a:pt x="1219" y="629"/>
                      </a:lnTo>
                      <a:lnTo>
                        <a:pt x="1218" y="629"/>
                      </a:lnTo>
                      <a:lnTo>
                        <a:pt x="1216" y="629"/>
                      </a:lnTo>
                      <a:lnTo>
                        <a:pt x="1216" y="628"/>
                      </a:lnTo>
                      <a:lnTo>
                        <a:pt x="1215" y="627"/>
                      </a:lnTo>
                      <a:lnTo>
                        <a:pt x="1215" y="626"/>
                      </a:lnTo>
                      <a:lnTo>
                        <a:pt x="1215" y="624"/>
                      </a:lnTo>
                      <a:lnTo>
                        <a:pt x="1215" y="623"/>
                      </a:lnTo>
                      <a:lnTo>
                        <a:pt x="1215" y="622"/>
                      </a:lnTo>
                      <a:lnTo>
                        <a:pt x="1214" y="622"/>
                      </a:lnTo>
                      <a:lnTo>
                        <a:pt x="1214" y="621"/>
                      </a:lnTo>
                      <a:lnTo>
                        <a:pt x="1215" y="620"/>
                      </a:lnTo>
                      <a:lnTo>
                        <a:pt x="1215" y="619"/>
                      </a:lnTo>
                      <a:lnTo>
                        <a:pt x="1214" y="618"/>
                      </a:lnTo>
                      <a:lnTo>
                        <a:pt x="1214" y="617"/>
                      </a:lnTo>
                      <a:lnTo>
                        <a:pt x="1215" y="617"/>
                      </a:lnTo>
                      <a:lnTo>
                        <a:pt x="1215" y="616"/>
                      </a:lnTo>
                      <a:lnTo>
                        <a:pt x="1216" y="616"/>
                      </a:lnTo>
                      <a:lnTo>
                        <a:pt x="1216" y="615"/>
                      </a:lnTo>
                      <a:lnTo>
                        <a:pt x="1218" y="615"/>
                      </a:lnTo>
                      <a:lnTo>
                        <a:pt x="1216" y="615"/>
                      </a:lnTo>
                      <a:lnTo>
                        <a:pt x="1216" y="616"/>
                      </a:lnTo>
                      <a:lnTo>
                        <a:pt x="1215" y="616"/>
                      </a:lnTo>
                      <a:lnTo>
                        <a:pt x="1214" y="616"/>
                      </a:lnTo>
                      <a:lnTo>
                        <a:pt x="1214" y="617"/>
                      </a:lnTo>
                      <a:lnTo>
                        <a:pt x="1213" y="617"/>
                      </a:lnTo>
                      <a:lnTo>
                        <a:pt x="1213" y="618"/>
                      </a:lnTo>
                      <a:lnTo>
                        <a:pt x="1213" y="619"/>
                      </a:lnTo>
                      <a:lnTo>
                        <a:pt x="1213" y="620"/>
                      </a:lnTo>
                      <a:lnTo>
                        <a:pt x="1214" y="620"/>
                      </a:lnTo>
                      <a:lnTo>
                        <a:pt x="1214" y="621"/>
                      </a:lnTo>
                      <a:lnTo>
                        <a:pt x="1214" y="622"/>
                      </a:lnTo>
                      <a:lnTo>
                        <a:pt x="1215" y="623"/>
                      </a:lnTo>
                      <a:lnTo>
                        <a:pt x="1215" y="624"/>
                      </a:lnTo>
                      <a:lnTo>
                        <a:pt x="1214" y="624"/>
                      </a:lnTo>
                      <a:lnTo>
                        <a:pt x="1214" y="626"/>
                      </a:lnTo>
                      <a:lnTo>
                        <a:pt x="1214" y="627"/>
                      </a:lnTo>
                      <a:lnTo>
                        <a:pt x="1215" y="628"/>
                      </a:lnTo>
                      <a:lnTo>
                        <a:pt x="1215" y="629"/>
                      </a:lnTo>
                      <a:lnTo>
                        <a:pt x="1216" y="630"/>
                      </a:lnTo>
                      <a:lnTo>
                        <a:pt x="1215" y="630"/>
                      </a:lnTo>
                      <a:lnTo>
                        <a:pt x="1216" y="630"/>
                      </a:lnTo>
                      <a:lnTo>
                        <a:pt x="1218" y="631"/>
                      </a:lnTo>
                      <a:lnTo>
                        <a:pt x="1216" y="631"/>
                      </a:lnTo>
                      <a:lnTo>
                        <a:pt x="1214" y="630"/>
                      </a:lnTo>
                      <a:lnTo>
                        <a:pt x="1212" y="630"/>
                      </a:lnTo>
                      <a:lnTo>
                        <a:pt x="1211" y="630"/>
                      </a:lnTo>
                      <a:lnTo>
                        <a:pt x="1211" y="631"/>
                      </a:lnTo>
                      <a:lnTo>
                        <a:pt x="1210" y="631"/>
                      </a:lnTo>
                      <a:lnTo>
                        <a:pt x="1210" y="632"/>
                      </a:lnTo>
                      <a:lnTo>
                        <a:pt x="1209" y="632"/>
                      </a:lnTo>
                      <a:lnTo>
                        <a:pt x="1209" y="633"/>
                      </a:lnTo>
                      <a:lnTo>
                        <a:pt x="1210" y="633"/>
                      </a:lnTo>
                      <a:lnTo>
                        <a:pt x="1210" y="634"/>
                      </a:lnTo>
                      <a:lnTo>
                        <a:pt x="1209" y="634"/>
                      </a:lnTo>
                      <a:lnTo>
                        <a:pt x="1209" y="633"/>
                      </a:lnTo>
                      <a:lnTo>
                        <a:pt x="1208" y="633"/>
                      </a:lnTo>
                      <a:lnTo>
                        <a:pt x="1209" y="633"/>
                      </a:lnTo>
                      <a:lnTo>
                        <a:pt x="1209" y="634"/>
                      </a:lnTo>
                      <a:lnTo>
                        <a:pt x="1208" y="634"/>
                      </a:lnTo>
                      <a:lnTo>
                        <a:pt x="1208" y="633"/>
                      </a:lnTo>
                      <a:lnTo>
                        <a:pt x="1209" y="633"/>
                      </a:lnTo>
                      <a:lnTo>
                        <a:pt x="1208" y="633"/>
                      </a:lnTo>
                      <a:lnTo>
                        <a:pt x="1208" y="632"/>
                      </a:lnTo>
                      <a:lnTo>
                        <a:pt x="1208" y="631"/>
                      </a:lnTo>
                      <a:lnTo>
                        <a:pt x="1208" y="630"/>
                      </a:lnTo>
                      <a:lnTo>
                        <a:pt x="1208" y="629"/>
                      </a:lnTo>
                      <a:lnTo>
                        <a:pt x="1208" y="628"/>
                      </a:lnTo>
                      <a:lnTo>
                        <a:pt x="1208" y="627"/>
                      </a:lnTo>
                      <a:lnTo>
                        <a:pt x="1207" y="627"/>
                      </a:lnTo>
                      <a:lnTo>
                        <a:pt x="1207" y="626"/>
                      </a:lnTo>
                      <a:lnTo>
                        <a:pt x="1206" y="626"/>
                      </a:lnTo>
                      <a:lnTo>
                        <a:pt x="1206" y="624"/>
                      </a:lnTo>
                      <a:lnTo>
                        <a:pt x="1206" y="623"/>
                      </a:lnTo>
                      <a:lnTo>
                        <a:pt x="1205" y="623"/>
                      </a:lnTo>
                      <a:lnTo>
                        <a:pt x="1205" y="622"/>
                      </a:lnTo>
                      <a:lnTo>
                        <a:pt x="1205" y="621"/>
                      </a:lnTo>
                      <a:lnTo>
                        <a:pt x="1203" y="621"/>
                      </a:lnTo>
                      <a:lnTo>
                        <a:pt x="1205" y="621"/>
                      </a:lnTo>
                      <a:lnTo>
                        <a:pt x="1205" y="622"/>
                      </a:lnTo>
                      <a:lnTo>
                        <a:pt x="1206" y="622"/>
                      </a:lnTo>
                      <a:lnTo>
                        <a:pt x="1206" y="621"/>
                      </a:lnTo>
                      <a:lnTo>
                        <a:pt x="1206" y="622"/>
                      </a:lnTo>
                      <a:lnTo>
                        <a:pt x="1207" y="622"/>
                      </a:lnTo>
                      <a:lnTo>
                        <a:pt x="1207" y="623"/>
                      </a:lnTo>
                      <a:lnTo>
                        <a:pt x="1208" y="624"/>
                      </a:lnTo>
                      <a:lnTo>
                        <a:pt x="1209" y="624"/>
                      </a:lnTo>
                      <a:lnTo>
                        <a:pt x="1209" y="626"/>
                      </a:lnTo>
                      <a:lnTo>
                        <a:pt x="1209" y="624"/>
                      </a:lnTo>
                      <a:lnTo>
                        <a:pt x="1209" y="623"/>
                      </a:lnTo>
                      <a:lnTo>
                        <a:pt x="1209" y="622"/>
                      </a:lnTo>
                      <a:lnTo>
                        <a:pt x="1209" y="621"/>
                      </a:lnTo>
                      <a:lnTo>
                        <a:pt x="1208" y="621"/>
                      </a:lnTo>
                      <a:lnTo>
                        <a:pt x="1208" y="620"/>
                      </a:lnTo>
                      <a:lnTo>
                        <a:pt x="1207" y="619"/>
                      </a:lnTo>
                      <a:lnTo>
                        <a:pt x="1207" y="618"/>
                      </a:lnTo>
                      <a:lnTo>
                        <a:pt x="1207" y="617"/>
                      </a:lnTo>
                      <a:lnTo>
                        <a:pt x="1206" y="617"/>
                      </a:lnTo>
                      <a:lnTo>
                        <a:pt x="1207" y="615"/>
                      </a:lnTo>
                      <a:lnTo>
                        <a:pt x="1206" y="615"/>
                      </a:lnTo>
                      <a:lnTo>
                        <a:pt x="1206" y="616"/>
                      </a:lnTo>
                      <a:lnTo>
                        <a:pt x="1205" y="616"/>
                      </a:lnTo>
                      <a:lnTo>
                        <a:pt x="1205" y="617"/>
                      </a:lnTo>
                      <a:lnTo>
                        <a:pt x="1206" y="617"/>
                      </a:lnTo>
                      <a:lnTo>
                        <a:pt x="1206" y="618"/>
                      </a:lnTo>
                      <a:lnTo>
                        <a:pt x="1206" y="619"/>
                      </a:lnTo>
                      <a:lnTo>
                        <a:pt x="1207" y="620"/>
                      </a:lnTo>
                      <a:lnTo>
                        <a:pt x="1207" y="621"/>
                      </a:lnTo>
                      <a:lnTo>
                        <a:pt x="1206" y="621"/>
                      </a:lnTo>
                      <a:lnTo>
                        <a:pt x="1205" y="620"/>
                      </a:lnTo>
                      <a:lnTo>
                        <a:pt x="1203" y="620"/>
                      </a:lnTo>
                      <a:lnTo>
                        <a:pt x="1203" y="621"/>
                      </a:lnTo>
                      <a:lnTo>
                        <a:pt x="1203" y="622"/>
                      </a:lnTo>
                      <a:lnTo>
                        <a:pt x="1203" y="623"/>
                      </a:lnTo>
                      <a:lnTo>
                        <a:pt x="1205" y="623"/>
                      </a:lnTo>
                      <a:lnTo>
                        <a:pt x="1202" y="624"/>
                      </a:lnTo>
                      <a:lnTo>
                        <a:pt x="1201" y="626"/>
                      </a:lnTo>
                      <a:lnTo>
                        <a:pt x="1202" y="627"/>
                      </a:lnTo>
                      <a:lnTo>
                        <a:pt x="1203" y="627"/>
                      </a:lnTo>
                      <a:lnTo>
                        <a:pt x="1203" y="628"/>
                      </a:lnTo>
                      <a:lnTo>
                        <a:pt x="1203" y="627"/>
                      </a:lnTo>
                      <a:lnTo>
                        <a:pt x="1203" y="628"/>
                      </a:lnTo>
                      <a:lnTo>
                        <a:pt x="1203" y="629"/>
                      </a:lnTo>
                      <a:lnTo>
                        <a:pt x="1205" y="629"/>
                      </a:lnTo>
                      <a:lnTo>
                        <a:pt x="1203" y="630"/>
                      </a:lnTo>
                      <a:lnTo>
                        <a:pt x="1203" y="631"/>
                      </a:lnTo>
                      <a:lnTo>
                        <a:pt x="1202" y="630"/>
                      </a:lnTo>
                      <a:lnTo>
                        <a:pt x="1201" y="630"/>
                      </a:lnTo>
                      <a:lnTo>
                        <a:pt x="1200" y="630"/>
                      </a:lnTo>
                      <a:lnTo>
                        <a:pt x="1201" y="630"/>
                      </a:lnTo>
                      <a:lnTo>
                        <a:pt x="1201" y="631"/>
                      </a:lnTo>
                      <a:lnTo>
                        <a:pt x="1202" y="632"/>
                      </a:lnTo>
                      <a:lnTo>
                        <a:pt x="1202" y="633"/>
                      </a:lnTo>
                      <a:lnTo>
                        <a:pt x="1202" y="634"/>
                      </a:lnTo>
                      <a:lnTo>
                        <a:pt x="1203" y="634"/>
                      </a:lnTo>
                      <a:lnTo>
                        <a:pt x="1202" y="634"/>
                      </a:lnTo>
                      <a:lnTo>
                        <a:pt x="1201" y="634"/>
                      </a:lnTo>
                      <a:lnTo>
                        <a:pt x="1201" y="633"/>
                      </a:lnTo>
                      <a:lnTo>
                        <a:pt x="1200" y="633"/>
                      </a:lnTo>
                      <a:lnTo>
                        <a:pt x="1199" y="632"/>
                      </a:lnTo>
                      <a:lnTo>
                        <a:pt x="1198" y="632"/>
                      </a:lnTo>
                      <a:lnTo>
                        <a:pt x="1197" y="632"/>
                      </a:lnTo>
                      <a:lnTo>
                        <a:pt x="1196" y="632"/>
                      </a:lnTo>
                      <a:lnTo>
                        <a:pt x="1197" y="632"/>
                      </a:lnTo>
                      <a:lnTo>
                        <a:pt x="1198" y="632"/>
                      </a:lnTo>
                      <a:lnTo>
                        <a:pt x="1198" y="633"/>
                      </a:lnTo>
                      <a:lnTo>
                        <a:pt x="1198" y="634"/>
                      </a:lnTo>
                      <a:lnTo>
                        <a:pt x="1199" y="635"/>
                      </a:lnTo>
                      <a:lnTo>
                        <a:pt x="1200" y="635"/>
                      </a:lnTo>
                      <a:lnTo>
                        <a:pt x="1200" y="636"/>
                      </a:lnTo>
                      <a:lnTo>
                        <a:pt x="1201" y="636"/>
                      </a:lnTo>
                      <a:lnTo>
                        <a:pt x="1201" y="637"/>
                      </a:lnTo>
                      <a:lnTo>
                        <a:pt x="1202" y="637"/>
                      </a:lnTo>
                      <a:lnTo>
                        <a:pt x="1202" y="639"/>
                      </a:lnTo>
                      <a:lnTo>
                        <a:pt x="1202" y="640"/>
                      </a:lnTo>
                      <a:lnTo>
                        <a:pt x="1202" y="639"/>
                      </a:lnTo>
                      <a:lnTo>
                        <a:pt x="1201" y="639"/>
                      </a:lnTo>
                      <a:lnTo>
                        <a:pt x="1201" y="637"/>
                      </a:lnTo>
                      <a:lnTo>
                        <a:pt x="1200" y="639"/>
                      </a:lnTo>
                      <a:lnTo>
                        <a:pt x="1199" y="639"/>
                      </a:lnTo>
                      <a:lnTo>
                        <a:pt x="1199" y="637"/>
                      </a:lnTo>
                      <a:lnTo>
                        <a:pt x="1198" y="637"/>
                      </a:lnTo>
                      <a:lnTo>
                        <a:pt x="1197" y="637"/>
                      </a:lnTo>
                      <a:lnTo>
                        <a:pt x="1197" y="639"/>
                      </a:lnTo>
                      <a:lnTo>
                        <a:pt x="1198" y="640"/>
                      </a:lnTo>
                      <a:lnTo>
                        <a:pt x="1199" y="640"/>
                      </a:lnTo>
                      <a:lnTo>
                        <a:pt x="1199" y="641"/>
                      </a:lnTo>
                      <a:lnTo>
                        <a:pt x="1200" y="641"/>
                      </a:lnTo>
                      <a:lnTo>
                        <a:pt x="1200" y="642"/>
                      </a:lnTo>
                      <a:lnTo>
                        <a:pt x="1199" y="641"/>
                      </a:lnTo>
                      <a:lnTo>
                        <a:pt x="1198" y="641"/>
                      </a:lnTo>
                      <a:lnTo>
                        <a:pt x="1199" y="642"/>
                      </a:lnTo>
                      <a:lnTo>
                        <a:pt x="1199" y="643"/>
                      </a:lnTo>
                      <a:lnTo>
                        <a:pt x="1199" y="644"/>
                      </a:lnTo>
                      <a:lnTo>
                        <a:pt x="1199" y="645"/>
                      </a:lnTo>
                      <a:lnTo>
                        <a:pt x="1199" y="646"/>
                      </a:lnTo>
                      <a:lnTo>
                        <a:pt x="1198" y="646"/>
                      </a:lnTo>
                      <a:lnTo>
                        <a:pt x="1197" y="646"/>
                      </a:lnTo>
                      <a:lnTo>
                        <a:pt x="1196" y="646"/>
                      </a:lnTo>
                      <a:lnTo>
                        <a:pt x="1197" y="646"/>
                      </a:lnTo>
                      <a:lnTo>
                        <a:pt x="1197" y="647"/>
                      </a:lnTo>
                      <a:lnTo>
                        <a:pt x="1198" y="647"/>
                      </a:lnTo>
                      <a:lnTo>
                        <a:pt x="1197" y="647"/>
                      </a:lnTo>
                      <a:lnTo>
                        <a:pt x="1197" y="648"/>
                      </a:lnTo>
                      <a:lnTo>
                        <a:pt x="1197" y="647"/>
                      </a:lnTo>
                      <a:lnTo>
                        <a:pt x="1196" y="647"/>
                      </a:lnTo>
                      <a:lnTo>
                        <a:pt x="1195" y="647"/>
                      </a:lnTo>
                      <a:lnTo>
                        <a:pt x="1195" y="646"/>
                      </a:lnTo>
                      <a:lnTo>
                        <a:pt x="1194" y="646"/>
                      </a:lnTo>
                      <a:lnTo>
                        <a:pt x="1194" y="645"/>
                      </a:lnTo>
                      <a:lnTo>
                        <a:pt x="1193" y="645"/>
                      </a:lnTo>
                      <a:lnTo>
                        <a:pt x="1193" y="644"/>
                      </a:lnTo>
                      <a:lnTo>
                        <a:pt x="1193" y="643"/>
                      </a:lnTo>
                      <a:lnTo>
                        <a:pt x="1192" y="643"/>
                      </a:lnTo>
                      <a:lnTo>
                        <a:pt x="1193" y="643"/>
                      </a:lnTo>
                      <a:lnTo>
                        <a:pt x="1194" y="642"/>
                      </a:lnTo>
                      <a:lnTo>
                        <a:pt x="1194" y="643"/>
                      </a:lnTo>
                      <a:lnTo>
                        <a:pt x="1195" y="642"/>
                      </a:lnTo>
                      <a:lnTo>
                        <a:pt x="1196" y="642"/>
                      </a:lnTo>
                      <a:lnTo>
                        <a:pt x="1196" y="641"/>
                      </a:lnTo>
                      <a:lnTo>
                        <a:pt x="1195" y="641"/>
                      </a:lnTo>
                      <a:lnTo>
                        <a:pt x="1194" y="641"/>
                      </a:lnTo>
                      <a:lnTo>
                        <a:pt x="1194" y="642"/>
                      </a:lnTo>
                      <a:lnTo>
                        <a:pt x="1193" y="642"/>
                      </a:lnTo>
                      <a:lnTo>
                        <a:pt x="1192" y="642"/>
                      </a:lnTo>
                      <a:lnTo>
                        <a:pt x="1190" y="641"/>
                      </a:lnTo>
                      <a:lnTo>
                        <a:pt x="1190" y="642"/>
                      </a:lnTo>
                      <a:lnTo>
                        <a:pt x="1192" y="642"/>
                      </a:lnTo>
                      <a:lnTo>
                        <a:pt x="1192" y="643"/>
                      </a:lnTo>
                      <a:lnTo>
                        <a:pt x="1192" y="644"/>
                      </a:lnTo>
                      <a:lnTo>
                        <a:pt x="1192" y="645"/>
                      </a:lnTo>
                      <a:lnTo>
                        <a:pt x="1190" y="645"/>
                      </a:lnTo>
                      <a:lnTo>
                        <a:pt x="1192" y="645"/>
                      </a:lnTo>
                      <a:lnTo>
                        <a:pt x="1190" y="646"/>
                      </a:lnTo>
                      <a:lnTo>
                        <a:pt x="1189" y="646"/>
                      </a:lnTo>
                      <a:lnTo>
                        <a:pt x="1189" y="645"/>
                      </a:lnTo>
                      <a:lnTo>
                        <a:pt x="1188" y="645"/>
                      </a:lnTo>
                      <a:lnTo>
                        <a:pt x="1188" y="646"/>
                      </a:lnTo>
                      <a:lnTo>
                        <a:pt x="1189" y="646"/>
                      </a:lnTo>
                      <a:lnTo>
                        <a:pt x="1189" y="647"/>
                      </a:lnTo>
                      <a:lnTo>
                        <a:pt x="1190" y="647"/>
                      </a:lnTo>
                      <a:lnTo>
                        <a:pt x="1190" y="648"/>
                      </a:lnTo>
                      <a:lnTo>
                        <a:pt x="1189" y="649"/>
                      </a:lnTo>
                      <a:lnTo>
                        <a:pt x="1188" y="649"/>
                      </a:lnTo>
                      <a:lnTo>
                        <a:pt x="1189" y="650"/>
                      </a:lnTo>
                      <a:lnTo>
                        <a:pt x="1190" y="650"/>
                      </a:lnTo>
                      <a:lnTo>
                        <a:pt x="1190" y="649"/>
                      </a:lnTo>
                      <a:lnTo>
                        <a:pt x="1190" y="648"/>
                      </a:lnTo>
                      <a:lnTo>
                        <a:pt x="1192" y="648"/>
                      </a:lnTo>
                      <a:lnTo>
                        <a:pt x="1192" y="649"/>
                      </a:lnTo>
                      <a:lnTo>
                        <a:pt x="1193" y="649"/>
                      </a:lnTo>
                      <a:lnTo>
                        <a:pt x="1194" y="649"/>
                      </a:lnTo>
                      <a:lnTo>
                        <a:pt x="1195" y="649"/>
                      </a:lnTo>
                      <a:lnTo>
                        <a:pt x="1195" y="648"/>
                      </a:lnTo>
                      <a:lnTo>
                        <a:pt x="1196" y="648"/>
                      </a:lnTo>
                      <a:lnTo>
                        <a:pt x="1196" y="649"/>
                      </a:lnTo>
                      <a:lnTo>
                        <a:pt x="1196" y="648"/>
                      </a:lnTo>
                      <a:lnTo>
                        <a:pt x="1197" y="648"/>
                      </a:lnTo>
                      <a:lnTo>
                        <a:pt x="1198" y="648"/>
                      </a:lnTo>
                      <a:lnTo>
                        <a:pt x="1199" y="649"/>
                      </a:lnTo>
                      <a:lnTo>
                        <a:pt x="1199" y="648"/>
                      </a:lnTo>
                      <a:lnTo>
                        <a:pt x="1199" y="647"/>
                      </a:lnTo>
                      <a:lnTo>
                        <a:pt x="1200" y="647"/>
                      </a:lnTo>
                      <a:lnTo>
                        <a:pt x="1199" y="648"/>
                      </a:lnTo>
                      <a:lnTo>
                        <a:pt x="1200" y="648"/>
                      </a:lnTo>
                      <a:lnTo>
                        <a:pt x="1200" y="649"/>
                      </a:lnTo>
                      <a:lnTo>
                        <a:pt x="1201" y="649"/>
                      </a:lnTo>
                      <a:lnTo>
                        <a:pt x="1201" y="650"/>
                      </a:lnTo>
                      <a:lnTo>
                        <a:pt x="1201" y="649"/>
                      </a:lnTo>
                      <a:lnTo>
                        <a:pt x="1201" y="648"/>
                      </a:lnTo>
                      <a:lnTo>
                        <a:pt x="1200" y="648"/>
                      </a:lnTo>
                      <a:lnTo>
                        <a:pt x="1200" y="649"/>
                      </a:lnTo>
                      <a:lnTo>
                        <a:pt x="1200" y="648"/>
                      </a:lnTo>
                      <a:lnTo>
                        <a:pt x="1200" y="647"/>
                      </a:lnTo>
                      <a:lnTo>
                        <a:pt x="1199" y="647"/>
                      </a:lnTo>
                      <a:lnTo>
                        <a:pt x="1198" y="646"/>
                      </a:lnTo>
                      <a:lnTo>
                        <a:pt x="1199" y="646"/>
                      </a:lnTo>
                      <a:lnTo>
                        <a:pt x="1200" y="646"/>
                      </a:lnTo>
                      <a:lnTo>
                        <a:pt x="1200" y="645"/>
                      </a:lnTo>
                      <a:lnTo>
                        <a:pt x="1199" y="645"/>
                      </a:lnTo>
                      <a:lnTo>
                        <a:pt x="1200" y="645"/>
                      </a:lnTo>
                      <a:lnTo>
                        <a:pt x="1201" y="645"/>
                      </a:lnTo>
                      <a:lnTo>
                        <a:pt x="1202" y="645"/>
                      </a:lnTo>
                      <a:lnTo>
                        <a:pt x="1203" y="645"/>
                      </a:lnTo>
                      <a:lnTo>
                        <a:pt x="1203" y="646"/>
                      </a:lnTo>
                      <a:lnTo>
                        <a:pt x="1205" y="647"/>
                      </a:lnTo>
                      <a:lnTo>
                        <a:pt x="1203" y="647"/>
                      </a:lnTo>
                      <a:lnTo>
                        <a:pt x="1202" y="647"/>
                      </a:lnTo>
                      <a:lnTo>
                        <a:pt x="1202" y="646"/>
                      </a:lnTo>
                      <a:lnTo>
                        <a:pt x="1201" y="646"/>
                      </a:lnTo>
                      <a:lnTo>
                        <a:pt x="1201" y="647"/>
                      </a:lnTo>
                      <a:lnTo>
                        <a:pt x="1202" y="647"/>
                      </a:lnTo>
                      <a:lnTo>
                        <a:pt x="1203" y="647"/>
                      </a:lnTo>
                      <a:lnTo>
                        <a:pt x="1205" y="647"/>
                      </a:lnTo>
                      <a:lnTo>
                        <a:pt x="1206" y="647"/>
                      </a:lnTo>
                      <a:lnTo>
                        <a:pt x="1206" y="648"/>
                      </a:lnTo>
                      <a:lnTo>
                        <a:pt x="1207" y="648"/>
                      </a:lnTo>
                      <a:lnTo>
                        <a:pt x="1207" y="649"/>
                      </a:lnTo>
                      <a:lnTo>
                        <a:pt x="1208" y="649"/>
                      </a:lnTo>
                      <a:lnTo>
                        <a:pt x="1208" y="648"/>
                      </a:lnTo>
                      <a:lnTo>
                        <a:pt x="1207" y="648"/>
                      </a:lnTo>
                      <a:lnTo>
                        <a:pt x="1206" y="648"/>
                      </a:lnTo>
                      <a:lnTo>
                        <a:pt x="1206" y="647"/>
                      </a:lnTo>
                      <a:lnTo>
                        <a:pt x="1207" y="647"/>
                      </a:lnTo>
                      <a:lnTo>
                        <a:pt x="1208" y="647"/>
                      </a:lnTo>
                      <a:lnTo>
                        <a:pt x="1208" y="646"/>
                      </a:lnTo>
                      <a:lnTo>
                        <a:pt x="1209" y="647"/>
                      </a:lnTo>
                      <a:lnTo>
                        <a:pt x="1210" y="647"/>
                      </a:lnTo>
                      <a:lnTo>
                        <a:pt x="1210" y="648"/>
                      </a:lnTo>
                      <a:lnTo>
                        <a:pt x="1210" y="647"/>
                      </a:lnTo>
                      <a:lnTo>
                        <a:pt x="1211" y="648"/>
                      </a:lnTo>
                      <a:lnTo>
                        <a:pt x="1211" y="647"/>
                      </a:lnTo>
                      <a:lnTo>
                        <a:pt x="1212" y="647"/>
                      </a:lnTo>
                      <a:lnTo>
                        <a:pt x="1213" y="648"/>
                      </a:lnTo>
                      <a:lnTo>
                        <a:pt x="1214" y="648"/>
                      </a:lnTo>
                      <a:lnTo>
                        <a:pt x="1214" y="649"/>
                      </a:lnTo>
                      <a:lnTo>
                        <a:pt x="1215" y="649"/>
                      </a:lnTo>
                      <a:lnTo>
                        <a:pt x="1215" y="648"/>
                      </a:lnTo>
                      <a:lnTo>
                        <a:pt x="1215" y="649"/>
                      </a:lnTo>
                      <a:lnTo>
                        <a:pt x="1215" y="650"/>
                      </a:lnTo>
                      <a:lnTo>
                        <a:pt x="1214" y="650"/>
                      </a:lnTo>
                      <a:lnTo>
                        <a:pt x="1215" y="650"/>
                      </a:lnTo>
                      <a:lnTo>
                        <a:pt x="1215" y="649"/>
                      </a:lnTo>
                      <a:lnTo>
                        <a:pt x="1216" y="649"/>
                      </a:lnTo>
                      <a:lnTo>
                        <a:pt x="1216" y="648"/>
                      </a:lnTo>
                      <a:lnTo>
                        <a:pt x="1215" y="648"/>
                      </a:lnTo>
                      <a:lnTo>
                        <a:pt x="1214" y="648"/>
                      </a:lnTo>
                      <a:lnTo>
                        <a:pt x="1215" y="647"/>
                      </a:lnTo>
                      <a:lnTo>
                        <a:pt x="1215" y="646"/>
                      </a:lnTo>
                      <a:lnTo>
                        <a:pt x="1215" y="645"/>
                      </a:lnTo>
                      <a:lnTo>
                        <a:pt x="1216" y="645"/>
                      </a:lnTo>
                      <a:lnTo>
                        <a:pt x="1216" y="644"/>
                      </a:lnTo>
                      <a:lnTo>
                        <a:pt x="1218" y="644"/>
                      </a:lnTo>
                      <a:lnTo>
                        <a:pt x="1218" y="643"/>
                      </a:lnTo>
                      <a:lnTo>
                        <a:pt x="1219" y="643"/>
                      </a:lnTo>
                      <a:lnTo>
                        <a:pt x="1220" y="643"/>
                      </a:lnTo>
                      <a:lnTo>
                        <a:pt x="1219" y="643"/>
                      </a:lnTo>
                      <a:lnTo>
                        <a:pt x="1219" y="644"/>
                      </a:lnTo>
                      <a:lnTo>
                        <a:pt x="1220" y="644"/>
                      </a:lnTo>
                      <a:lnTo>
                        <a:pt x="1219" y="645"/>
                      </a:lnTo>
                      <a:lnTo>
                        <a:pt x="1220" y="645"/>
                      </a:lnTo>
                      <a:lnTo>
                        <a:pt x="1220" y="646"/>
                      </a:lnTo>
                      <a:lnTo>
                        <a:pt x="1220" y="647"/>
                      </a:lnTo>
                      <a:lnTo>
                        <a:pt x="1220" y="648"/>
                      </a:lnTo>
                      <a:lnTo>
                        <a:pt x="1221" y="649"/>
                      </a:lnTo>
                      <a:lnTo>
                        <a:pt x="1221" y="648"/>
                      </a:lnTo>
                      <a:lnTo>
                        <a:pt x="1220" y="648"/>
                      </a:lnTo>
                      <a:lnTo>
                        <a:pt x="1221" y="647"/>
                      </a:lnTo>
                      <a:lnTo>
                        <a:pt x="1220" y="647"/>
                      </a:lnTo>
                      <a:lnTo>
                        <a:pt x="1220" y="646"/>
                      </a:lnTo>
                      <a:lnTo>
                        <a:pt x="1220" y="645"/>
                      </a:lnTo>
                      <a:lnTo>
                        <a:pt x="1220" y="644"/>
                      </a:lnTo>
                      <a:lnTo>
                        <a:pt x="1219" y="644"/>
                      </a:lnTo>
                      <a:lnTo>
                        <a:pt x="1219" y="643"/>
                      </a:lnTo>
                      <a:lnTo>
                        <a:pt x="1219" y="644"/>
                      </a:lnTo>
                      <a:lnTo>
                        <a:pt x="1220" y="644"/>
                      </a:lnTo>
                      <a:lnTo>
                        <a:pt x="1220" y="643"/>
                      </a:lnTo>
                      <a:lnTo>
                        <a:pt x="1220" y="642"/>
                      </a:lnTo>
                      <a:lnTo>
                        <a:pt x="1219" y="642"/>
                      </a:lnTo>
                      <a:lnTo>
                        <a:pt x="1218" y="642"/>
                      </a:lnTo>
                      <a:lnTo>
                        <a:pt x="1218" y="641"/>
                      </a:lnTo>
                      <a:lnTo>
                        <a:pt x="1218" y="640"/>
                      </a:lnTo>
                      <a:lnTo>
                        <a:pt x="1219" y="640"/>
                      </a:lnTo>
                      <a:lnTo>
                        <a:pt x="1220" y="640"/>
                      </a:lnTo>
                      <a:lnTo>
                        <a:pt x="1219" y="639"/>
                      </a:lnTo>
                      <a:lnTo>
                        <a:pt x="1220" y="639"/>
                      </a:lnTo>
                      <a:lnTo>
                        <a:pt x="1221" y="639"/>
                      </a:lnTo>
                      <a:lnTo>
                        <a:pt x="1222" y="639"/>
                      </a:lnTo>
                      <a:lnTo>
                        <a:pt x="1221" y="639"/>
                      </a:lnTo>
                      <a:lnTo>
                        <a:pt x="1221" y="640"/>
                      </a:lnTo>
                      <a:lnTo>
                        <a:pt x="1222" y="640"/>
                      </a:lnTo>
                      <a:lnTo>
                        <a:pt x="1223" y="640"/>
                      </a:lnTo>
                      <a:lnTo>
                        <a:pt x="1223" y="639"/>
                      </a:lnTo>
                      <a:lnTo>
                        <a:pt x="1223" y="640"/>
                      </a:lnTo>
                      <a:lnTo>
                        <a:pt x="1223" y="641"/>
                      </a:lnTo>
                      <a:lnTo>
                        <a:pt x="1224" y="641"/>
                      </a:lnTo>
                      <a:lnTo>
                        <a:pt x="1224" y="642"/>
                      </a:lnTo>
                      <a:lnTo>
                        <a:pt x="1224" y="643"/>
                      </a:lnTo>
                      <a:lnTo>
                        <a:pt x="1223" y="642"/>
                      </a:lnTo>
                      <a:lnTo>
                        <a:pt x="1223" y="643"/>
                      </a:lnTo>
                      <a:lnTo>
                        <a:pt x="1223" y="642"/>
                      </a:lnTo>
                      <a:lnTo>
                        <a:pt x="1222" y="642"/>
                      </a:lnTo>
                      <a:lnTo>
                        <a:pt x="1221" y="642"/>
                      </a:lnTo>
                      <a:lnTo>
                        <a:pt x="1221" y="641"/>
                      </a:lnTo>
                      <a:lnTo>
                        <a:pt x="1220" y="641"/>
                      </a:lnTo>
                      <a:lnTo>
                        <a:pt x="1221" y="642"/>
                      </a:lnTo>
                      <a:lnTo>
                        <a:pt x="1222" y="642"/>
                      </a:lnTo>
                      <a:lnTo>
                        <a:pt x="1222" y="643"/>
                      </a:lnTo>
                      <a:lnTo>
                        <a:pt x="1223" y="643"/>
                      </a:lnTo>
                      <a:lnTo>
                        <a:pt x="1222" y="643"/>
                      </a:lnTo>
                      <a:lnTo>
                        <a:pt x="1222" y="644"/>
                      </a:lnTo>
                      <a:lnTo>
                        <a:pt x="1223" y="644"/>
                      </a:lnTo>
                      <a:lnTo>
                        <a:pt x="1224" y="645"/>
                      </a:lnTo>
                      <a:lnTo>
                        <a:pt x="1225" y="645"/>
                      </a:lnTo>
                      <a:lnTo>
                        <a:pt x="1226" y="645"/>
                      </a:lnTo>
                      <a:lnTo>
                        <a:pt x="1225" y="645"/>
                      </a:lnTo>
                      <a:lnTo>
                        <a:pt x="1225" y="644"/>
                      </a:lnTo>
                      <a:lnTo>
                        <a:pt x="1225" y="645"/>
                      </a:lnTo>
                      <a:lnTo>
                        <a:pt x="1224" y="645"/>
                      </a:lnTo>
                      <a:lnTo>
                        <a:pt x="1224" y="644"/>
                      </a:lnTo>
                      <a:lnTo>
                        <a:pt x="1223" y="644"/>
                      </a:lnTo>
                      <a:lnTo>
                        <a:pt x="1223" y="643"/>
                      </a:lnTo>
                      <a:lnTo>
                        <a:pt x="1224" y="643"/>
                      </a:lnTo>
                      <a:lnTo>
                        <a:pt x="1224" y="642"/>
                      </a:lnTo>
                      <a:lnTo>
                        <a:pt x="1225" y="641"/>
                      </a:lnTo>
                      <a:lnTo>
                        <a:pt x="1226" y="641"/>
                      </a:lnTo>
                      <a:lnTo>
                        <a:pt x="1226" y="642"/>
                      </a:lnTo>
                      <a:lnTo>
                        <a:pt x="1227" y="642"/>
                      </a:lnTo>
                      <a:lnTo>
                        <a:pt x="1226" y="643"/>
                      </a:lnTo>
                      <a:lnTo>
                        <a:pt x="1226" y="642"/>
                      </a:lnTo>
                      <a:lnTo>
                        <a:pt x="1226" y="643"/>
                      </a:lnTo>
                      <a:lnTo>
                        <a:pt x="1227" y="643"/>
                      </a:lnTo>
                      <a:lnTo>
                        <a:pt x="1227" y="642"/>
                      </a:lnTo>
                      <a:lnTo>
                        <a:pt x="1228" y="642"/>
                      </a:lnTo>
                      <a:lnTo>
                        <a:pt x="1228" y="643"/>
                      </a:lnTo>
                      <a:lnTo>
                        <a:pt x="1229" y="643"/>
                      </a:lnTo>
                      <a:lnTo>
                        <a:pt x="1231" y="643"/>
                      </a:lnTo>
                      <a:lnTo>
                        <a:pt x="1231" y="644"/>
                      </a:lnTo>
                      <a:lnTo>
                        <a:pt x="1231" y="643"/>
                      </a:lnTo>
                      <a:lnTo>
                        <a:pt x="1232" y="643"/>
                      </a:lnTo>
                      <a:lnTo>
                        <a:pt x="1232" y="642"/>
                      </a:lnTo>
                      <a:lnTo>
                        <a:pt x="1232" y="643"/>
                      </a:lnTo>
                      <a:lnTo>
                        <a:pt x="1232" y="642"/>
                      </a:lnTo>
                      <a:lnTo>
                        <a:pt x="1233" y="642"/>
                      </a:lnTo>
                      <a:lnTo>
                        <a:pt x="1233" y="643"/>
                      </a:lnTo>
                      <a:lnTo>
                        <a:pt x="1234" y="643"/>
                      </a:lnTo>
                      <a:lnTo>
                        <a:pt x="1234" y="644"/>
                      </a:lnTo>
                      <a:lnTo>
                        <a:pt x="1233" y="644"/>
                      </a:lnTo>
                      <a:lnTo>
                        <a:pt x="1234" y="644"/>
                      </a:lnTo>
                      <a:lnTo>
                        <a:pt x="1234" y="645"/>
                      </a:lnTo>
                      <a:lnTo>
                        <a:pt x="1235" y="645"/>
                      </a:lnTo>
                      <a:lnTo>
                        <a:pt x="1236" y="645"/>
                      </a:lnTo>
                      <a:lnTo>
                        <a:pt x="1237" y="644"/>
                      </a:lnTo>
                      <a:lnTo>
                        <a:pt x="1237" y="645"/>
                      </a:lnTo>
                      <a:lnTo>
                        <a:pt x="1238" y="645"/>
                      </a:lnTo>
                      <a:lnTo>
                        <a:pt x="1239" y="646"/>
                      </a:lnTo>
                      <a:lnTo>
                        <a:pt x="1240" y="646"/>
                      </a:lnTo>
                      <a:lnTo>
                        <a:pt x="1240" y="647"/>
                      </a:lnTo>
                      <a:lnTo>
                        <a:pt x="1239" y="647"/>
                      </a:lnTo>
                      <a:lnTo>
                        <a:pt x="1238" y="647"/>
                      </a:lnTo>
                      <a:lnTo>
                        <a:pt x="1237" y="648"/>
                      </a:lnTo>
                      <a:lnTo>
                        <a:pt x="1237" y="647"/>
                      </a:lnTo>
                      <a:lnTo>
                        <a:pt x="1237" y="648"/>
                      </a:lnTo>
                      <a:lnTo>
                        <a:pt x="1237" y="649"/>
                      </a:lnTo>
                      <a:lnTo>
                        <a:pt x="1237" y="650"/>
                      </a:lnTo>
                      <a:lnTo>
                        <a:pt x="1237" y="652"/>
                      </a:lnTo>
                      <a:lnTo>
                        <a:pt x="1237" y="650"/>
                      </a:lnTo>
                      <a:lnTo>
                        <a:pt x="1236" y="650"/>
                      </a:lnTo>
                      <a:lnTo>
                        <a:pt x="1235" y="649"/>
                      </a:lnTo>
                      <a:lnTo>
                        <a:pt x="1234" y="649"/>
                      </a:lnTo>
                      <a:lnTo>
                        <a:pt x="1233" y="648"/>
                      </a:lnTo>
                      <a:lnTo>
                        <a:pt x="1232" y="647"/>
                      </a:lnTo>
                      <a:lnTo>
                        <a:pt x="1232" y="648"/>
                      </a:lnTo>
                      <a:lnTo>
                        <a:pt x="1231" y="649"/>
                      </a:lnTo>
                      <a:lnTo>
                        <a:pt x="1232" y="649"/>
                      </a:lnTo>
                      <a:lnTo>
                        <a:pt x="1232" y="650"/>
                      </a:lnTo>
                      <a:lnTo>
                        <a:pt x="1233" y="650"/>
                      </a:lnTo>
                      <a:lnTo>
                        <a:pt x="1234" y="652"/>
                      </a:lnTo>
                      <a:lnTo>
                        <a:pt x="1234" y="653"/>
                      </a:lnTo>
                      <a:lnTo>
                        <a:pt x="1234" y="654"/>
                      </a:lnTo>
                      <a:lnTo>
                        <a:pt x="1233" y="654"/>
                      </a:lnTo>
                      <a:lnTo>
                        <a:pt x="1232" y="654"/>
                      </a:lnTo>
                      <a:lnTo>
                        <a:pt x="1232" y="653"/>
                      </a:lnTo>
                      <a:lnTo>
                        <a:pt x="1231" y="653"/>
                      </a:lnTo>
                      <a:lnTo>
                        <a:pt x="1229" y="653"/>
                      </a:lnTo>
                      <a:lnTo>
                        <a:pt x="1229" y="652"/>
                      </a:lnTo>
                      <a:lnTo>
                        <a:pt x="1231" y="650"/>
                      </a:lnTo>
                      <a:lnTo>
                        <a:pt x="1231" y="649"/>
                      </a:lnTo>
                      <a:lnTo>
                        <a:pt x="1229" y="649"/>
                      </a:lnTo>
                      <a:lnTo>
                        <a:pt x="1228" y="648"/>
                      </a:lnTo>
                      <a:lnTo>
                        <a:pt x="1227" y="648"/>
                      </a:lnTo>
                      <a:lnTo>
                        <a:pt x="1226" y="647"/>
                      </a:lnTo>
                      <a:lnTo>
                        <a:pt x="1225" y="647"/>
                      </a:lnTo>
                      <a:lnTo>
                        <a:pt x="1225" y="648"/>
                      </a:lnTo>
                      <a:lnTo>
                        <a:pt x="1224" y="648"/>
                      </a:lnTo>
                      <a:lnTo>
                        <a:pt x="1224" y="647"/>
                      </a:lnTo>
                      <a:lnTo>
                        <a:pt x="1223" y="647"/>
                      </a:lnTo>
                      <a:lnTo>
                        <a:pt x="1224" y="647"/>
                      </a:lnTo>
                      <a:lnTo>
                        <a:pt x="1224" y="648"/>
                      </a:lnTo>
                      <a:lnTo>
                        <a:pt x="1225" y="648"/>
                      </a:lnTo>
                      <a:lnTo>
                        <a:pt x="1225" y="649"/>
                      </a:lnTo>
                      <a:lnTo>
                        <a:pt x="1226" y="649"/>
                      </a:lnTo>
                      <a:lnTo>
                        <a:pt x="1226" y="650"/>
                      </a:lnTo>
                      <a:lnTo>
                        <a:pt x="1227" y="650"/>
                      </a:lnTo>
                      <a:lnTo>
                        <a:pt x="1228" y="650"/>
                      </a:lnTo>
                      <a:lnTo>
                        <a:pt x="1229" y="650"/>
                      </a:lnTo>
                      <a:lnTo>
                        <a:pt x="1229" y="652"/>
                      </a:lnTo>
                      <a:lnTo>
                        <a:pt x="1229" y="653"/>
                      </a:lnTo>
                      <a:lnTo>
                        <a:pt x="1231" y="653"/>
                      </a:lnTo>
                      <a:lnTo>
                        <a:pt x="1231" y="654"/>
                      </a:lnTo>
                      <a:lnTo>
                        <a:pt x="1232" y="654"/>
                      </a:lnTo>
                      <a:lnTo>
                        <a:pt x="1232" y="655"/>
                      </a:lnTo>
                      <a:lnTo>
                        <a:pt x="1233" y="655"/>
                      </a:lnTo>
                      <a:lnTo>
                        <a:pt x="1233" y="656"/>
                      </a:lnTo>
                      <a:lnTo>
                        <a:pt x="1234" y="656"/>
                      </a:lnTo>
                      <a:lnTo>
                        <a:pt x="1234" y="657"/>
                      </a:lnTo>
                      <a:lnTo>
                        <a:pt x="1235" y="657"/>
                      </a:lnTo>
                      <a:lnTo>
                        <a:pt x="1235" y="658"/>
                      </a:lnTo>
                      <a:lnTo>
                        <a:pt x="1236" y="658"/>
                      </a:lnTo>
                      <a:lnTo>
                        <a:pt x="1236" y="659"/>
                      </a:lnTo>
                      <a:lnTo>
                        <a:pt x="1237" y="659"/>
                      </a:lnTo>
                      <a:lnTo>
                        <a:pt x="1237" y="660"/>
                      </a:lnTo>
                      <a:lnTo>
                        <a:pt x="1238" y="660"/>
                      </a:lnTo>
                      <a:lnTo>
                        <a:pt x="1239" y="660"/>
                      </a:lnTo>
                      <a:lnTo>
                        <a:pt x="1239" y="661"/>
                      </a:lnTo>
                      <a:lnTo>
                        <a:pt x="1238" y="661"/>
                      </a:lnTo>
                      <a:lnTo>
                        <a:pt x="1238" y="662"/>
                      </a:lnTo>
                      <a:lnTo>
                        <a:pt x="1239" y="662"/>
                      </a:lnTo>
                      <a:lnTo>
                        <a:pt x="1239" y="661"/>
                      </a:lnTo>
                      <a:lnTo>
                        <a:pt x="1240" y="661"/>
                      </a:lnTo>
                      <a:lnTo>
                        <a:pt x="1241" y="661"/>
                      </a:lnTo>
                      <a:lnTo>
                        <a:pt x="1242" y="664"/>
                      </a:lnTo>
                      <a:lnTo>
                        <a:pt x="1244" y="664"/>
                      </a:lnTo>
                      <a:lnTo>
                        <a:pt x="1245" y="664"/>
                      </a:lnTo>
                      <a:lnTo>
                        <a:pt x="1245" y="665"/>
                      </a:lnTo>
                      <a:lnTo>
                        <a:pt x="1245" y="666"/>
                      </a:lnTo>
                      <a:lnTo>
                        <a:pt x="1246" y="667"/>
                      </a:lnTo>
                      <a:lnTo>
                        <a:pt x="1245" y="667"/>
                      </a:lnTo>
                      <a:lnTo>
                        <a:pt x="1246" y="667"/>
                      </a:lnTo>
                      <a:lnTo>
                        <a:pt x="1246" y="668"/>
                      </a:lnTo>
                      <a:lnTo>
                        <a:pt x="1246" y="669"/>
                      </a:lnTo>
                      <a:lnTo>
                        <a:pt x="1246" y="670"/>
                      </a:lnTo>
                      <a:lnTo>
                        <a:pt x="1246" y="671"/>
                      </a:lnTo>
                      <a:lnTo>
                        <a:pt x="1246" y="672"/>
                      </a:lnTo>
                      <a:lnTo>
                        <a:pt x="1247" y="673"/>
                      </a:lnTo>
                      <a:lnTo>
                        <a:pt x="1248" y="674"/>
                      </a:lnTo>
                      <a:lnTo>
                        <a:pt x="1249" y="674"/>
                      </a:lnTo>
                      <a:lnTo>
                        <a:pt x="1251" y="674"/>
                      </a:lnTo>
                      <a:lnTo>
                        <a:pt x="1251" y="675"/>
                      </a:lnTo>
                      <a:lnTo>
                        <a:pt x="1252" y="675"/>
                      </a:lnTo>
                      <a:lnTo>
                        <a:pt x="1252" y="674"/>
                      </a:lnTo>
                      <a:lnTo>
                        <a:pt x="1253" y="675"/>
                      </a:lnTo>
                      <a:lnTo>
                        <a:pt x="1253" y="677"/>
                      </a:lnTo>
                      <a:lnTo>
                        <a:pt x="1252" y="677"/>
                      </a:lnTo>
                      <a:lnTo>
                        <a:pt x="1252" y="678"/>
                      </a:lnTo>
                      <a:lnTo>
                        <a:pt x="1252" y="677"/>
                      </a:lnTo>
                      <a:lnTo>
                        <a:pt x="1252" y="678"/>
                      </a:lnTo>
                      <a:lnTo>
                        <a:pt x="1252" y="679"/>
                      </a:lnTo>
                      <a:lnTo>
                        <a:pt x="1251" y="679"/>
                      </a:lnTo>
                      <a:lnTo>
                        <a:pt x="1250" y="679"/>
                      </a:lnTo>
                      <a:lnTo>
                        <a:pt x="1251" y="679"/>
                      </a:lnTo>
                      <a:lnTo>
                        <a:pt x="1250" y="680"/>
                      </a:lnTo>
                      <a:lnTo>
                        <a:pt x="1251" y="680"/>
                      </a:lnTo>
                      <a:lnTo>
                        <a:pt x="1251" y="681"/>
                      </a:lnTo>
                      <a:lnTo>
                        <a:pt x="1252" y="682"/>
                      </a:lnTo>
                      <a:lnTo>
                        <a:pt x="1252" y="683"/>
                      </a:lnTo>
                      <a:lnTo>
                        <a:pt x="1251" y="683"/>
                      </a:lnTo>
                      <a:lnTo>
                        <a:pt x="1251" y="684"/>
                      </a:lnTo>
                      <a:lnTo>
                        <a:pt x="1251" y="685"/>
                      </a:lnTo>
                      <a:lnTo>
                        <a:pt x="1250" y="686"/>
                      </a:lnTo>
                      <a:lnTo>
                        <a:pt x="1249" y="686"/>
                      </a:lnTo>
                      <a:lnTo>
                        <a:pt x="1248" y="686"/>
                      </a:lnTo>
                      <a:lnTo>
                        <a:pt x="1247" y="685"/>
                      </a:lnTo>
                      <a:lnTo>
                        <a:pt x="1248" y="685"/>
                      </a:lnTo>
                      <a:lnTo>
                        <a:pt x="1248" y="686"/>
                      </a:lnTo>
                      <a:lnTo>
                        <a:pt x="1249" y="686"/>
                      </a:lnTo>
                      <a:lnTo>
                        <a:pt x="1250" y="686"/>
                      </a:lnTo>
                      <a:lnTo>
                        <a:pt x="1250" y="685"/>
                      </a:lnTo>
                      <a:lnTo>
                        <a:pt x="1251" y="684"/>
                      </a:lnTo>
                      <a:lnTo>
                        <a:pt x="1250" y="684"/>
                      </a:lnTo>
                      <a:lnTo>
                        <a:pt x="1250" y="683"/>
                      </a:lnTo>
                      <a:lnTo>
                        <a:pt x="1250" y="682"/>
                      </a:lnTo>
                      <a:lnTo>
                        <a:pt x="1249" y="681"/>
                      </a:lnTo>
                      <a:lnTo>
                        <a:pt x="1249" y="682"/>
                      </a:lnTo>
                      <a:lnTo>
                        <a:pt x="1249" y="683"/>
                      </a:lnTo>
                      <a:lnTo>
                        <a:pt x="1250" y="683"/>
                      </a:lnTo>
                      <a:lnTo>
                        <a:pt x="1250" y="684"/>
                      </a:lnTo>
                      <a:lnTo>
                        <a:pt x="1249" y="684"/>
                      </a:lnTo>
                      <a:lnTo>
                        <a:pt x="1248" y="684"/>
                      </a:lnTo>
                      <a:lnTo>
                        <a:pt x="1247" y="684"/>
                      </a:lnTo>
                      <a:lnTo>
                        <a:pt x="1247" y="683"/>
                      </a:lnTo>
                      <a:lnTo>
                        <a:pt x="1246" y="682"/>
                      </a:lnTo>
                      <a:lnTo>
                        <a:pt x="1246" y="681"/>
                      </a:lnTo>
                      <a:lnTo>
                        <a:pt x="1245" y="681"/>
                      </a:lnTo>
                      <a:lnTo>
                        <a:pt x="1245" y="680"/>
                      </a:lnTo>
                      <a:lnTo>
                        <a:pt x="1246" y="680"/>
                      </a:lnTo>
                      <a:lnTo>
                        <a:pt x="1245" y="680"/>
                      </a:lnTo>
                      <a:lnTo>
                        <a:pt x="1245" y="679"/>
                      </a:lnTo>
                      <a:lnTo>
                        <a:pt x="1246" y="679"/>
                      </a:lnTo>
                      <a:lnTo>
                        <a:pt x="1247" y="679"/>
                      </a:lnTo>
                      <a:lnTo>
                        <a:pt x="1246" y="679"/>
                      </a:lnTo>
                      <a:lnTo>
                        <a:pt x="1245" y="679"/>
                      </a:lnTo>
                      <a:lnTo>
                        <a:pt x="1244" y="679"/>
                      </a:lnTo>
                      <a:lnTo>
                        <a:pt x="1242" y="679"/>
                      </a:lnTo>
                      <a:lnTo>
                        <a:pt x="1242" y="678"/>
                      </a:lnTo>
                      <a:lnTo>
                        <a:pt x="1244" y="678"/>
                      </a:lnTo>
                      <a:lnTo>
                        <a:pt x="1244" y="677"/>
                      </a:lnTo>
                      <a:lnTo>
                        <a:pt x="1242" y="677"/>
                      </a:lnTo>
                      <a:lnTo>
                        <a:pt x="1242" y="678"/>
                      </a:lnTo>
                      <a:lnTo>
                        <a:pt x="1241" y="678"/>
                      </a:lnTo>
                      <a:lnTo>
                        <a:pt x="1240" y="678"/>
                      </a:lnTo>
                      <a:lnTo>
                        <a:pt x="1240" y="679"/>
                      </a:lnTo>
                      <a:lnTo>
                        <a:pt x="1239" y="678"/>
                      </a:lnTo>
                      <a:lnTo>
                        <a:pt x="1238" y="679"/>
                      </a:lnTo>
                      <a:lnTo>
                        <a:pt x="1238" y="678"/>
                      </a:lnTo>
                      <a:lnTo>
                        <a:pt x="1237" y="678"/>
                      </a:lnTo>
                      <a:lnTo>
                        <a:pt x="1236" y="677"/>
                      </a:lnTo>
                      <a:lnTo>
                        <a:pt x="1235" y="675"/>
                      </a:lnTo>
                      <a:lnTo>
                        <a:pt x="1234" y="675"/>
                      </a:lnTo>
                      <a:lnTo>
                        <a:pt x="1234" y="674"/>
                      </a:lnTo>
                      <a:lnTo>
                        <a:pt x="1234" y="673"/>
                      </a:lnTo>
                      <a:lnTo>
                        <a:pt x="1235" y="673"/>
                      </a:lnTo>
                      <a:lnTo>
                        <a:pt x="1234" y="672"/>
                      </a:lnTo>
                      <a:lnTo>
                        <a:pt x="1234" y="671"/>
                      </a:lnTo>
                      <a:lnTo>
                        <a:pt x="1235" y="671"/>
                      </a:lnTo>
                      <a:lnTo>
                        <a:pt x="1236" y="671"/>
                      </a:lnTo>
                      <a:lnTo>
                        <a:pt x="1237" y="671"/>
                      </a:lnTo>
                      <a:lnTo>
                        <a:pt x="1237" y="672"/>
                      </a:lnTo>
                      <a:lnTo>
                        <a:pt x="1238" y="672"/>
                      </a:lnTo>
                      <a:lnTo>
                        <a:pt x="1239" y="672"/>
                      </a:lnTo>
                      <a:lnTo>
                        <a:pt x="1239" y="671"/>
                      </a:lnTo>
                      <a:lnTo>
                        <a:pt x="1238" y="671"/>
                      </a:lnTo>
                      <a:lnTo>
                        <a:pt x="1237" y="671"/>
                      </a:lnTo>
                      <a:lnTo>
                        <a:pt x="1236" y="671"/>
                      </a:lnTo>
                      <a:lnTo>
                        <a:pt x="1235" y="671"/>
                      </a:lnTo>
                      <a:lnTo>
                        <a:pt x="1235" y="670"/>
                      </a:lnTo>
                      <a:lnTo>
                        <a:pt x="1235" y="671"/>
                      </a:lnTo>
                      <a:lnTo>
                        <a:pt x="1235" y="670"/>
                      </a:lnTo>
                      <a:lnTo>
                        <a:pt x="1234" y="670"/>
                      </a:lnTo>
                      <a:lnTo>
                        <a:pt x="1234" y="671"/>
                      </a:lnTo>
                      <a:lnTo>
                        <a:pt x="1233" y="671"/>
                      </a:lnTo>
                      <a:lnTo>
                        <a:pt x="1232" y="671"/>
                      </a:lnTo>
                      <a:lnTo>
                        <a:pt x="1231" y="671"/>
                      </a:lnTo>
                      <a:lnTo>
                        <a:pt x="1232" y="671"/>
                      </a:lnTo>
                      <a:lnTo>
                        <a:pt x="1232" y="670"/>
                      </a:lnTo>
                      <a:lnTo>
                        <a:pt x="1231" y="670"/>
                      </a:lnTo>
                      <a:lnTo>
                        <a:pt x="1232" y="670"/>
                      </a:lnTo>
                      <a:lnTo>
                        <a:pt x="1231" y="670"/>
                      </a:lnTo>
                      <a:lnTo>
                        <a:pt x="1232" y="669"/>
                      </a:lnTo>
                      <a:lnTo>
                        <a:pt x="1233" y="669"/>
                      </a:lnTo>
                      <a:lnTo>
                        <a:pt x="1234" y="670"/>
                      </a:lnTo>
                      <a:lnTo>
                        <a:pt x="1234" y="669"/>
                      </a:lnTo>
                      <a:lnTo>
                        <a:pt x="1235" y="669"/>
                      </a:lnTo>
                      <a:lnTo>
                        <a:pt x="1236" y="669"/>
                      </a:lnTo>
                      <a:lnTo>
                        <a:pt x="1236" y="668"/>
                      </a:lnTo>
                      <a:lnTo>
                        <a:pt x="1237" y="668"/>
                      </a:lnTo>
                      <a:lnTo>
                        <a:pt x="1237" y="667"/>
                      </a:lnTo>
                      <a:lnTo>
                        <a:pt x="1237" y="668"/>
                      </a:lnTo>
                      <a:lnTo>
                        <a:pt x="1238" y="668"/>
                      </a:lnTo>
                      <a:lnTo>
                        <a:pt x="1238" y="669"/>
                      </a:lnTo>
                      <a:lnTo>
                        <a:pt x="1239" y="669"/>
                      </a:lnTo>
                      <a:lnTo>
                        <a:pt x="1239" y="668"/>
                      </a:lnTo>
                      <a:lnTo>
                        <a:pt x="1239" y="667"/>
                      </a:lnTo>
                      <a:lnTo>
                        <a:pt x="1238" y="667"/>
                      </a:lnTo>
                      <a:lnTo>
                        <a:pt x="1237" y="667"/>
                      </a:lnTo>
                      <a:lnTo>
                        <a:pt x="1237" y="666"/>
                      </a:lnTo>
                      <a:lnTo>
                        <a:pt x="1236" y="666"/>
                      </a:lnTo>
                      <a:lnTo>
                        <a:pt x="1235" y="665"/>
                      </a:lnTo>
                      <a:lnTo>
                        <a:pt x="1234" y="665"/>
                      </a:lnTo>
                      <a:lnTo>
                        <a:pt x="1234" y="664"/>
                      </a:lnTo>
                      <a:lnTo>
                        <a:pt x="1233" y="662"/>
                      </a:lnTo>
                      <a:lnTo>
                        <a:pt x="1233" y="664"/>
                      </a:lnTo>
                      <a:lnTo>
                        <a:pt x="1233" y="662"/>
                      </a:lnTo>
                      <a:lnTo>
                        <a:pt x="1233" y="664"/>
                      </a:lnTo>
                      <a:lnTo>
                        <a:pt x="1234" y="664"/>
                      </a:lnTo>
                      <a:lnTo>
                        <a:pt x="1234" y="665"/>
                      </a:lnTo>
                      <a:lnTo>
                        <a:pt x="1234" y="666"/>
                      </a:lnTo>
                      <a:lnTo>
                        <a:pt x="1233" y="666"/>
                      </a:lnTo>
                      <a:lnTo>
                        <a:pt x="1232" y="666"/>
                      </a:lnTo>
                      <a:lnTo>
                        <a:pt x="1232" y="667"/>
                      </a:lnTo>
                      <a:lnTo>
                        <a:pt x="1231" y="667"/>
                      </a:lnTo>
                      <a:lnTo>
                        <a:pt x="1231" y="668"/>
                      </a:lnTo>
                      <a:lnTo>
                        <a:pt x="1231" y="669"/>
                      </a:lnTo>
                      <a:lnTo>
                        <a:pt x="1231" y="670"/>
                      </a:lnTo>
                      <a:lnTo>
                        <a:pt x="1229" y="670"/>
                      </a:lnTo>
                      <a:lnTo>
                        <a:pt x="1229" y="669"/>
                      </a:lnTo>
                      <a:lnTo>
                        <a:pt x="1229" y="670"/>
                      </a:lnTo>
                      <a:lnTo>
                        <a:pt x="1231" y="670"/>
                      </a:lnTo>
                      <a:lnTo>
                        <a:pt x="1231" y="671"/>
                      </a:lnTo>
                      <a:lnTo>
                        <a:pt x="1231" y="672"/>
                      </a:lnTo>
                      <a:lnTo>
                        <a:pt x="1232" y="672"/>
                      </a:lnTo>
                      <a:lnTo>
                        <a:pt x="1232" y="671"/>
                      </a:lnTo>
                      <a:lnTo>
                        <a:pt x="1233" y="671"/>
                      </a:lnTo>
                      <a:lnTo>
                        <a:pt x="1233" y="672"/>
                      </a:lnTo>
                      <a:lnTo>
                        <a:pt x="1232" y="672"/>
                      </a:lnTo>
                      <a:lnTo>
                        <a:pt x="1232" y="673"/>
                      </a:lnTo>
                      <a:lnTo>
                        <a:pt x="1232" y="674"/>
                      </a:lnTo>
                      <a:lnTo>
                        <a:pt x="1233" y="674"/>
                      </a:lnTo>
                      <a:lnTo>
                        <a:pt x="1233" y="675"/>
                      </a:lnTo>
                      <a:lnTo>
                        <a:pt x="1234" y="675"/>
                      </a:lnTo>
                      <a:lnTo>
                        <a:pt x="1233" y="675"/>
                      </a:lnTo>
                      <a:lnTo>
                        <a:pt x="1232" y="675"/>
                      </a:lnTo>
                      <a:lnTo>
                        <a:pt x="1231" y="674"/>
                      </a:lnTo>
                      <a:lnTo>
                        <a:pt x="1229" y="674"/>
                      </a:lnTo>
                      <a:lnTo>
                        <a:pt x="1229" y="675"/>
                      </a:lnTo>
                      <a:lnTo>
                        <a:pt x="1229" y="677"/>
                      </a:lnTo>
                      <a:lnTo>
                        <a:pt x="1229" y="678"/>
                      </a:lnTo>
                      <a:lnTo>
                        <a:pt x="1231" y="678"/>
                      </a:lnTo>
                      <a:lnTo>
                        <a:pt x="1231" y="679"/>
                      </a:lnTo>
                      <a:lnTo>
                        <a:pt x="1232" y="679"/>
                      </a:lnTo>
                      <a:lnTo>
                        <a:pt x="1231" y="680"/>
                      </a:lnTo>
                      <a:lnTo>
                        <a:pt x="1229" y="681"/>
                      </a:lnTo>
                      <a:lnTo>
                        <a:pt x="1228" y="682"/>
                      </a:lnTo>
                      <a:lnTo>
                        <a:pt x="1228" y="683"/>
                      </a:lnTo>
                      <a:lnTo>
                        <a:pt x="1228" y="684"/>
                      </a:lnTo>
                      <a:lnTo>
                        <a:pt x="1229" y="684"/>
                      </a:lnTo>
                      <a:lnTo>
                        <a:pt x="1229" y="685"/>
                      </a:lnTo>
                      <a:lnTo>
                        <a:pt x="1231" y="686"/>
                      </a:lnTo>
                      <a:lnTo>
                        <a:pt x="1232" y="686"/>
                      </a:lnTo>
                      <a:lnTo>
                        <a:pt x="1233" y="687"/>
                      </a:lnTo>
                      <a:lnTo>
                        <a:pt x="1234" y="687"/>
                      </a:lnTo>
                      <a:lnTo>
                        <a:pt x="1233" y="687"/>
                      </a:lnTo>
                      <a:lnTo>
                        <a:pt x="1233" y="688"/>
                      </a:lnTo>
                      <a:lnTo>
                        <a:pt x="1233" y="690"/>
                      </a:lnTo>
                      <a:lnTo>
                        <a:pt x="1233" y="688"/>
                      </a:lnTo>
                      <a:lnTo>
                        <a:pt x="1232" y="688"/>
                      </a:lnTo>
                      <a:lnTo>
                        <a:pt x="1232" y="687"/>
                      </a:lnTo>
                      <a:lnTo>
                        <a:pt x="1231" y="687"/>
                      </a:lnTo>
                      <a:lnTo>
                        <a:pt x="1231" y="688"/>
                      </a:lnTo>
                      <a:lnTo>
                        <a:pt x="1231" y="690"/>
                      </a:lnTo>
                      <a:lnTo>
                        <a:pt x="1232" y="690"/>
                      </a:lnTo>
                      <a:lnTo>
                        <a:pt x="1233" y="688"/>
                      </a:lnTo>
                      <a:lnTo>
                        <a:pt x="1232" y="690"/>
                      </a:lnTo>
                      <a:lnTo>
                        <a:pt x="1233" y="690"/>
                      </a:lnTo>
                      <a:lnTo>
                        <a:pt x="1234" y="690"/>
                      </a:lnTo>
                      <a:lnTo>
                        <a:pt x="1234" y="688"/>
                      </a:lnTo>
                      <a:lnTo>
                        <a:pt x="1234" y="687"/>
                      </a:lnTo>
                      <a:lnTo>
                        <a:pt x="1235" y="687"/>
                      </a:lnTo>
                      <a:lnTo>
                        <a:pt x="1235" y="686"/>
                      </a:lnTo>
                      <a:lnTo>
                        <a:pt x="1236" y="686"/>
                      </a:lnTo>
                      <a:lnTo>
                        <a:pt x="1235" y="686"/>
                      </a:lnTo>
                      <a:lnTo>
                        <a:pt x="1235" y="687"/>
                      </a:lnTo>
                      <a:lnTo>
                        <a:pt x="1235" y="686"/>
                      </a:lnTo>
                      <a:lnTo>
                        <a:pt x="1234" y="686"/>
                      </a:lnTo>
                      <a:lnTo>
                        <a:pt x="1234" y="687"/>
                      </a:lnTo>
                      <a:lnTo>
                        <a:pt x="1234" y="686"/>
                      </a:lnTo>
                      <a:lnTo>
                        <a:pt x="1235" y="686"/>
                      </a:lnTo>
                      <a:lnTo>
                        <a:pt x="1236" y="685"/>
                      </a:lnTo>
                      <a:lnTo>
                        <a:pt x="1236" y="686"/>
                      </a:lnTo>
                      <a:lnTo>
                        <a:pt x="1237" y="686"/>
                      </a:lnTo>
                      <a:lnTo>
                        <a:pt x="1237" y="685"/>
                      </a:lnTo>
                      <a:lnTo>
                        <a:pt x="1238" y="685"/>
                      </a:lnTo>
                      <a:lnTo>
                        <a:pt x="1238" y="686"/>
                      </a:lnTo>
                      <a:lnTo>
                        <a:pt x="1239" y="686"/>
                      </a:lnTo>
                      <a:lnTo>
                        <a:pt x="1239" y="687"/>
                      </a:lnTo>
                      <a:lnTo>
                        <a:pt x="1237" y="688"/>
                      </a:lnTo>
                      <a:lnTo>
                        <a:pt x="1236" y="690"/>
                      </a:lnTo>
                      <a:lnTo>
                        <a:pt x="1235" y="692"/>
                      </a:lnTo>
                      <a:lnTo>
                        <a:pt x="1235" y="693"/>
                      </a:lnTo>
                      <a:lnTo>
                        <a:pt x="1234" y="693"/>
                      </a:lnTo>
                      <a:lnTo>
                        <a:pt x="1234" y="694"/>
                      </a:lnTo>
                      <a:lnTo>
                        <a:pt x="1234" y="695"/>
                      </a:lnTo>
                      <a:lnTo>
                        <a:pt x="1233" y="695"/>
                      </a:lnTo>
                      <a:lnTo>
                        <a:pt x="1233" y="694"/>
                      </a:lnTo>
                      <a:lnTo>
                        <a:pt x="1232" y="694"/>
                      </a:lnTo>
                      <a:lnTo>
                        <a:pt x="1232" y="693"/>
                      </a:lnTo>
                      <a:lnTo>
                        <a:pt x="1231" y="693"/>
                      </a:lnTo>
                      <a:lnTo>
                        <a:pt x="1231" y="692"/>
                      </a:lnTo>
                      <a:lnTo>
                        <a:pt x="1232" y="692"/>
                      </a:lnTo>
                      <a:lnTo>
                        <a:pt x="1231" y="692"/>
                      </a:lnTo>
                      <a:lnTo>
                        <a:pt x="1229" y="692"/>
                      </a:lnTo>
                      <a:lnTo>
                        <a:pt x="1229" y="691"/>
                      </a:lnTo>
                      <a:lnTo>
                        <a:pt x="1228" y="691"/>
                      </a:lnTo>
                      <a:lnTo>
                        <a:pt x="1227" y="691"/>
                      </a:lnTo>
                      <a:lnTo>
                        <a:pt x="1227" y="690"/>
                      </a:lnTo>
                      <a:lnTo>
                        <a:pt x="1228" y="690"/>
                      </a:lnTo>
                      <a:lnTo>
                        <a:pt x="1228" y="691"/>
                      </a:lnTo>
                      <a:lnTo>
                        <a:pt x="1229" y="691"/>
                      </a:lnTo>
                      <a:lnTo>
                        <a:pt x="1229" y="690"/>
                      </a:lnTo>
                      <a:lnTo>
                        <a:pt x="1228" y="690"/>
                      </a:lnTo>
                      <a:lnTo>
                        <a:pt x="1228" y="688"/>
                      </a:lnTo>
                      <a:lnTo>
                        <a:pt x="1228" y="687"/>
                      </a:lnTo>
                      <a:lnTo>
                        <a:pt x="1228" y="686"/>
                      </a:lnTo>
                      <a:lnTo>
                        <a:pt x="1227" y="686"/>
                      </a:lnTo>
                      <a:lnTo>
                        <a:pt x="1226" y="686"/>
                      </a:lnTo>
                      <a:lnTo>
                        <a:pt x="1225" y="687"/>
                      </a:lnTo>
                      <a:lnTo>
                        <a:pt x="1225" y="688"/>
                      </a:lnTo>
                      <a:lnTo>
                        <a:pt x="1224" y="688"/>
                      </a:lnTo>
                      <a:lnTo>
                        <a:pt x="1224" y="687"/>
                      </a:lnTo>
                      <a:lnTo>
                        <a:pt x="1225" y="686"/>
                      </a:lnTo>
                      <a:lnTo>
                        <a:pt x="1226" y="685"/>
                      </a:lnTo>
                      <a:lnTo>
                        <a:pt x="1225" y="685"/>
                      </a:lnTo>
                      <a:lnTo>
                        <a:pt x="1225" y="684"/>
                      </a:lnTo>
                      <a:lnTo>
                        <a:pt x="1224" y="684"/>
                      </a:lnTo>
                      <a:lnTo>
                        <a:pt x="1224" y="683"/>
                      </a:lnTo>
                      <a:lnTo>
                        <a:pt x="1223" y="683"/>
                      </a:lnTo>
                      <a:lnTo>
                        <a:pt x="1223" y="682"/>
                      </a:lnTo>
                      <a:lnTo>
                        <a:pt x="1222" y="681"/>
                      </a:lnTo>
                      <a:lnTo>
                        <a:pt x="1222" y="680"/>
                      </a:lnTo>
                      <a:lnTo>
                        <a:pt x="1221" y="680"/>
                      </a:lnTo>
                      <a:lnTo>
                        <a:pt x="1221" y="681"/>
                      </a:lnTo>
                      <a:lnTo>
                        <a:pt x="1220" y="681"/>
                      </a:lnTo>
                      <a:lnTo>
                        <a:pt x="1219" y="681"/>
                      </a:lnTo>
                      <a:lnTo>
                        <a:pt x="1218" y="681"/>
                      </a:lnTo>
                      <a:lnTo>
                        <a:pt x="1218" y="680"/>
                      </a:lnTo>
                      <a:lnTo>
                        <a:pt x="1219" y="680"/>
                      </a:lnTo>
                      <a:lnTo>
                        <a:pt x="1219" y="679"/>
                      </a:lnTo>
                      <a:lnTo>
                        <a:pt x="1219" y="678"/>
                      </a:lnTo>
                      <a:lnTo>
                        <a:pt x="1220" y="678"/>
                      </a:lnTo>
                      <a:lnTo>
                        <a:pt x="1221" y="678"/>
                      </a:lnTo>
                      <a:lnTo>
                        <a:pt x="1220" y="677"/>
                      </a:lnTo>
                      <a:lnTo>
                        <a:pt x="1221" y="677"/>
                      </a:lnTo>
                      <a:lnTo>
                        <a:pt x="1222" y="677"/>
                      </a:lnTo>
                      <a:lnTo>
                        <a:pt x="1222" y="675"/>
                      </a:lnTo>
                      <a:lnTo>
                        <a:pt x="1222" y="674"/>
                      </a:lnTo>
                      <a:lnTo>
                        <a:pt x="1222" y="673"/>
                      </a:lnTo>
                      <a:lnTo>
                        <a:pt x="1221" y="673"/>
                      </a:lnTo>
                      <a:lnTo>
                        <a:pt x="1221" y="674"/>
                      </a:lnTo>
                      <a:lnTo>
                        <a:pt x="1220" y="674"/>
                      </a:lnTo>
                      <a:lnTo>
                        <a:pt x="1221" y="674"/>
                      </a:lnTo>
                      <a:lnTo>
                        <a:pt x="1220" y="675"/>
                      </a:lnTo>
                      <a:lnTo>
                        <a:pt x="1220" y="674"/>
                      </a:lnTo>
                      <a:lnTo>
                        <a:pt x="1219" y="674"/>
                      </a:lnTo>
                      <a:lnTo>
                        <a:pt x="1220" y="673"/>
                      </a:lnTo>
                      <a:lnTo>
                        <a:pt x="1219" y="673"/>
                      </a:lnTo>
                      <a:lnTo>
                        <a:pt x="1219" y="672"/>
                      </a:lnTo>
                      <a:lnTo>
                        <a:pt x="1218" y="671"/>
                      </a:lnTo>
                      <a:lnTo>
                        <a:pt x="1219" y="671"/>
                      </a:lnTo>
                      <a:lnTo>
                        <a:pt x="1218" y="671"/>
                      </a:lnTo>
                      <a:lnTo>
                        <a:pt x="1218" y="670"/>
                      </a:lnTo>
                      <a:lnTo>
                        <a:pt x="1216" y="671"/>
                      </a:lnTo>
                      <a:lnTo>
                        <a:pt x="1216" y="670"/>
                      </a:lnTo>
                      <a:lnTo>
                        <a:pt x="1215" y="670"/>
                      </a:lnTo>
                      <a:lnTo>
                        <a:pt x="1215" y="669"/>
                      </a:lnTo>
                      <a:lnTo>
                        <a:pt x="1215" y="668"/>
                      </a:lnTo>
                      <a:lnTo>
                        <a:pt x="1215" y="667"/>
                      </a:lnTo>
                      <a:lnTo>
                        <a:pt x="1216" y="667"/>
                      </a:lnTo>
                      <a:lnTo>
                        <a:pt x="1216" y="668"/>
                      </a:lnTo>
                      <a:lnTo>
                        <a:pt x="1218" y="668"/>
                      </a:lnTo>
                      <a:lnTo>
                        <a:pt x="1218" y="667"/>
                      </a:lnTo>
                      <a:lnTo>
                        <a:pt x="1216" y="667"/>
                      </a:lnTo>
                      <a:lnTo>
                        <a:pt x="1216" y="666"/>
                      </a:lnTo>
                      <a:lnTo>
                        <a:pt x="1216" y="665"/>
                      </a:lnTo>
                      <a:lnTo>
                        <a:pt x="1215" y="665"/>
                      </a:lnTo>
                      <a:lnTo>
                        <a:pt x="1215" y="664"/>
                      </a:lnTo>
                      <a:lnTo>
                        <a:pt x="1216" y="664"/>
                      </a:lnTo>
                      <a:lnTo>
                        <a:pt x="1216" y="665"/>
                      </a:lnTo>
                      <a:lnTo>
                        <a:pt x="1216" y="664"/>
                      </a:lnTo>
                      <a:lnTo>
                        <a:pt x="1215" y="664"/>
                      </a:lnTo>
                      <a:lnTo>
                        <a:pt x="1216" y="664"/>
                      </a:lnTo>
                      <a:lnTo>
                        <a:pt x="1216" y="662"/>
                      </a:lnTo>
                      <a:lnTo>
                        <a:pt x="1218" y="662"/>
                      </a:lnTo>
                      <a:lnTo>
                        <a:pt x="1218" y="664"/>
                      </a:lnTo>
                      <a:lnTo>
                        <a:pt x="1219" y="664"/>
                      </a:lnTo>
                      <a:lnTo>
                        <a:pt x="1219" y="665"/>
                      </a:lnTo>
                      <a:lnTo>
                        <a:pt x="1219" y="666"/>
                      </a:lnTo>
                      <a:lnTo>
                        <a:pt x="1220" y="666"/>
                      </a:lnTo>
                      <a:lnTo>
                        <a:pt x="1220" y="667"/>
                      </a:lnTo>
                      <a:lnTo>
                        <a:pt x="1220" y="666"/>
                      </a:lnTo>
                      <a:lnTo>
                        <a:pt x="1221" y="666"/>
                      </a:lnTo>
                      <a:lnTo>
                        <a:pt x="1220" y="665"/>
                      </a:lnTo>
                      <a:lnTo>
                        <a:pt x="1220" y="664"/>
                      </a:lnTo>
                      <a:lnTo>
                        <a:pt x="1219" y="664"/>
                      </a:lnTo>
                      <a:lnTo>
                        <a:pt x="1219" y="665"/>
                      </a:lnTo>
                      <a:lnTo>
                        <a:pt x="1219" y="664"/>
                      </a:lnTo>
                      <a:lnTo>
                        <a:pt x="1219" y="662"/>
                      </a:lnTo>
                      <a:lnTo>
                        <a:pt x="1219" y="661"/>
                      </a:lnTo>
                      <a:lnTo>
                        <a:pt x="1220" y="661"/>
                      </a:lnTo>
                      <a:lnTo>
                        <a:pt x="1220" y="660"/>
                      </a:lnTo>
                      <a:lnTo>
                        <a:pt x="1219" y="660"/>
                      </a:lnTo>
                      <a:lnTo>
                        <a:pt x="1220" y="660"/>
                      </a:lnTo>
                      <a:lnTo>
                        <a:pt x="1220" y="661"/>
                      </a:lnTo>
                      <a:lnTo>
                        <a:pt x="1221" y="661"/>
                      </a:lnTo>
                      <a:lnTo>
                        <a:pt x="1221" y="662"/>
                      </a:lnTo>
                      <a:lnTo>
                        <a:pt x="1221" y="664"/>
                      </a:lnTo>
                      <a:lnTo>
                        <a:pt x="1221" y="662"/>
                      </a:lnTo>
                      <a:lnTo>
                        <a:pt x="1221" y="664"/>
                      </a:lnTo>
                      <a:lnTo>
                        <a:pt x="1222" y="665"/>
                      </a:lnTo>
                      <a:lnTo>
                        <a:pt x="1222" y="664"/>
                      </a:lnTo>
                      <a:lnTo>
                        <a:pt x="1221" y="664"/>
                      </a:lnTo>
                      <a:lnTo>
                        <a:pt x="1222" y="664"/>
                      </a:lnTo>
                      <a:lnTo>
                        <a:pt x="1222" y="662"/>
                      </a:lnTo>
                      <a:lnTo>
                        <a:pt x="1222" y="664"/>
                      </a:lnTo>
                      <a:lnTo>
                        <a:pt x="1223" y="664"/>
                      </a:lnTo>
                      <a:lnTo>
                        <a:pt x="1224" y="664"/>
                      </a:lnTo>
                      <a:lnTo>
                        <a:pt x="1224" y="662"/>
                      </a:lnTo>
                      <a:lnTo>
                        <a:pt x="1223" y="662"/>
                      </a:lnTo>
                      <a:lnTo>
                        <a:pt x="1223" y="661"/>
                      </a:lnTo>
                      <a:lnTo>
                        <a:pt x="1222" y="661"/>
                      </a:lnTo>
                      <a:lnTo>
                        <a:pt x="1222" y="660"/>
                      </a:lnTo>
                      <a:lnTo>
                        <a:pt x="1221" y="660"/>
                      </a:lnTo>
                      <a:lnTo>
                        <a:pt x="1221" y="659"/>
                      </a:lnTo>
                      <a:lnTo>
                        <a:pt x="1220" y="659"/>
                      </a:lnTo>
                      <a:lnTo>
                        <a:pt x="1219" y="659"/>
                      </a:lnTo>
                      <a:lnTo>
                        <a:pt x="1219" y="660"/>
                      </a:lnTo>
                      <a:lnTo>
                        <a:pt x="1218" y="660"/>
                      </a:lnTo>
                      <a:lnTo>
                        <a:pt x="1218" y="659"/>
                      </a:lnTo>
                      <a:lnTo>
                        <a:pt x="1218" y="658"/>
                      </a:lnTo>
                      <a:lnTo>
                        <a:pt x="1216" y="658"/>
                      </a:lnTo>
                      <a:lnTo>
                        <a:pt x="1218" y="657"/>
                      </a:lnTo>
                      <a:lnTo>
                        <a:pt x="1216" y="657"/>
                      </a:lnTo>
                      <a:lnTo>
                        <a:pt x="1215" y="657"/>
                      </a:lnTo>
                      <a:lnTo>
                        <a:pt x="1215" y="658"/>
                      </a:lnTo>
                      <a:lnTo>
                        <a:pt x="1216" y="658"/>
                      </a:lnTo>
                      <a:lnTo>
                        <a:pt x="1216" y="657"/>
                      </a:lnTo>
                      <a:lnTo>
                        <a:pt x="1216" y="658"/>
                      </a:lnTo>
                      <a:lnTo>
                        <a:pt x="1215" y="658"/>
                      </a:lnTo>
                      <a:lnTo>
                        <a:pt x="1214" y="658"/>
                      </a:lnTo>
                      <a:lnTo>
                        <a:pt x="1214" y="657"/>
                      </a:lnTo>
                      <a:lnTo>
                        <a:pt x="1214" y="656"/>
                      </a:lnTo>
                      <a:lnTo>
                        <a:pt x="1215" y="656"/>
                      </a:lnTo>
                      <a:lnTo>
                        <a:pt x="1216" y="656"/>
                      </a:lnTo>
                      <a:lnTo>
                        <a:pt x="1215" y="656"/>
                      </a:lnTo>
                      <a:lnTo>
                        <a:pt x="1215" y="655"/>
                      </a:lnTo>
                      <a:lnTo>
                        <a:pt x="1215" y="654"/>
                      </a:lnTo>
                      <a:lnTo>
                        <a:pt x="1214" y="654"/>
                      </a:lnTo>
                      <a:lnTo>
                        <a:pt x="1215" y="653"/>
                      </a:lnTo>
                      <a:lnTo>
                        <a:pt x="1214" y="653"/>
                      </a:lnTo>
                      <a:lnTo>
                        <a:pt x="1213" y="653"/>
                      </a:lnTo>
                      <a:lnTo>
                        <a:pt x="1213" y="654"/>
                      </a:lnTo>
                      <a:lnTo>
                        <a:pt x="1212" y="654"/>
                      </a:lnTo>
                      <a:lnTo>
                        <a:pt x="1211" y="654"/>
                      </a:lnTo>
                      <a:lnTo>
                        <a:pt x="1212" y="653"/>
                      </a:lnTo>
                      <a:lnTo>
                        <a:pt x="1211" y="653"/>
                      </a:lnTo>
                      <a:lnTo>
                        <a:pt x="1211" y="654"/>
                      </a:lnTo>
                      <a:lnTo>
                        <a:pt x="1210" y="654"/>
                      </a:lnTo>
                      <a:lnTo>
                        <a:pt x="1210" y="653"/>
                      </a:lnTo>
                      <a:lnTo>
                        <a:pt x="1210" y="654"/>
                      </a:lnTo>
                      <a:lnTo>
                        <a:pt x="1211" y="654"/>
                      </a:lnTo>
                      <a:lnTo>
                        <a:pt x="1212" y="654"/>
                      </a:lnTo>
                      <a:lnTo>
                        <a:pt x="1212" y="655"/>
                      </a:lnTo>
                      <a:lnTo>
                        <a:pt x="1211" y="655"/>
                      </a:lnTo>
                      <a:lnTo>
                        <a:pt x="1210" y="655"/>
                      </a:lnTo>
                      <a:lnTo>
                        <a:pt x="1211" y="655"/>
                      </a:lnTo>
                      <a:lnTo>
                        <a:pt x="1212" y="655"/>
                      </a:lnTo>
                      <a:lnTo>
                        <a:pt x="1212" y="656"/>
                      </a:lnTo>
                      <a:lnTo>
                        <a:pt x="1212" y="657"/>
                      </a:lnTo>
                      <a:lnTo>
                        <a:pt x="1213" y="658"/>
                      </a:lnTo>
                      <a:lnTo>
                        <a:pt x="1213" y="659"/>
                      </a:lnTo>
                      <a:lnTo>
                        <a:pt x="1214" y="659"/>
                      </a:lnTo>
                      <a:lnTo>
                        <a:pt x="1214" y="660"/>
                      </a:lnTo>
                      <a:lnTo>
                        <a:pt x="1215" y="660"/>
                      </a:lnTo>
                      <a:lnTo>
                        <a:pt x="1215" y="661"/>
                      </a:lnTo>
                      <a:lnTo>
                        <a:pt x="1214" y="661"/>
                      </a:lnTo>
                      <a:lnTo>
                        <a:pt x="1213" y="661"/>
                      </a:lnTo>
                      <a:lnTo>
                        <a:pt x="1212" y="661"/>
                      </a:lnTo>
                      <a:lnTo>
                        <a:pt x="1212" y="660"/>
                      </a:lnTo>
                      <a:lnTo>
                        <a:pt x="1211" y="660"/>
                      </a:lnTo>
                      <a:lnTo>
                        <a:pt x="1210" y="660"/>
                      </a:lnTo>
                      <a:lnTo>
                        <a:pt x="1210" y="661"/>
                      </a:lnTo>
                      <a:lnTo>
                        <a:pt x="1211" y="661"/>
                      </a:lnTo>
                      <a:lnTo>
                        <a:pt x="1211" y="662"/>
                      </a:lnTo>
                      <a:lnTo>
                        <a:pt x="1210" y="664"/>
                      </a:lnTo>
                      <a:lnTo>
                        <a:pt x="1210" y="662"/>
                      </a:lnTo>
                      <a:lnTo>
                        <a:pt x="1209" y="662"/>
                      </a:lnTo>
                      <a:lnTo>
                        <a:pt x="1209" y="661"/>
                      </a:lnTo>
                      <a:lnTo>
                        <a:pt x="1209" y="660"/>
                      </a:lnTo>
                      <a:lnTo>
                        <a:pt x="1208" y="659"/>
                      </a:lnTo>
                      <a:lnTo>
                        <a:pt x="1208" y="660"/>
                      </a:lnTo>
                      <a:lnTo>
                        <a:pt x="1209" y="660"/>
                      </a:lnTo>
                      <a:lnTo>
                        <a:pt x="1209" y="661"/>
                      </a:lnTo>
                      <a:lnTo>
                        <a:pt x="1209" y="662"/>
                      </a:lnTo>
                      <a:lnTo>
                        <a:pt x="1208" y="662"/>
                      </a:lnTo>
                      <a:lnTo>
                        <a:pt x="1208" y="664"/>
                      </a:lnTo>
                      <a:lnTo>
                        <a:pt x="1207" y="664"/>
                      </a:lnTo>
                      <a:lnTo>
                        <a:pt x="1207" y="665"/>
                      </a:lnTo>
                      <a:lnTo>
                        <a:pt x="1207" y="664"/>
                      </a:lnTo>
                      <a:lnTo>
                        <a:pt x="1206" y="664"/>
                      </a:lnTo>
                      <a:lnTo>
                        <a:pt x="1206" y="662"/>
                      </a:lnTo>
                      <a:lnTo>
                        <a:pt x="1205" y="662"/>
                      </a:lnTo>
                      <a:lnTo>
                        <a:pt x="1205" y="661"/>
                      </a:lnTo>
                      <a:lnTo>
                        <a:pt x="1206" y="661"/>
                      </a:lnTo>
                      <a:lnTo>
                        <a:pt x="1206" y="660"/>
                      </a:lnTo>
                      <a:lnTo>
                        <a:pt x="1205" y="659"/>
                      </a:lnTo>
                      <a:lnTo>
                        <a:pt x="1205" y="658"/>
                      </a:lnTo>
                      <a:lnTo>
                        <a:pt x="1205" y="659"/>
                      </a:lnTo>
                      <a:lnTo>
                        <a:pt x="1203" y="659"/>
                      </a:lnTo>
                      <a:lnTo>
                        <a:pt x="1202" y="659"/>
                      </a:lnTo>
                      <a:lnTo>
                        <a:pt x="1201" y="659"/>
                      </a:lnTo>
                      <a:lnTo>
                        <a:pt x="1200" y="659"/>
                      </a:lnTo>
                      <a:lnTo>
                        <a:pt x="1200" y="660"/>
                      </a:lnTo>
                      <a:lnTo>
                        <a:pt x="1199" y="659"/>
                      </a:lnTo>
                      <a:lnTo>
                        <a:pt x="1199" y="660"/>
                      </a:lnTo>
                      <a:lnTo>
                        <a:pt x="1198" y="660"/>
                      </a:lnTo>
                      <a:lnTo>
                        <a:pt x="1199" y="660"/>
                      </a:lnTo>
                      <a:lnTo>
                        <a:pt x="1200" y="660"/>
                      </a:lnTo>
                      <a:lnTo>
                        <a:pt x="1199" y="661"/>
                      </a:lnTo>
                      <a:lnTo>
                        <a:pt x="1198" y="661"/>
                      </a:lnTo>
                      <a:lnTo>
                        <a:pt x="1199" y="661"/>
                      </a:lnTo>
                      <a:lnTo>
                        <a:pt x="1199" y="660"/>
                      </a:lnTo>
                      <a:lnTo>
                        <a:pt x="1198" y="660"/>
                      </a:lnTo>
                      <a:lnTo>
                        <a:pt x="1197" y="660"/>
                      </a:lnTo>
                      <a:lnTo>
                        <a:pt x="1197" y="659"/>
                      </a:lnTo>
                      <a:lnTo>
                        <a:pt x="1196" y="659"/>
                      </a:lnTo>
                      <a:lnTo>
                        <a:pt x="1195" y="659"/>
                      </a:lnTo>
                      <a:lnTo>
                        <a:pt x="1194" y="659"/>
                      </a:lnTo>
                      <a:lnTo>
                        <a:pt x="1194" y="658"/>
                      </a:lnTo>
                      <a:lnTo>
                        <a:pt x="1193" y="658"/>
                      </a:lnTo>
                      <a:lnTo>
                        <a:pt x="1193" y="657"/>
                      </a:lnTo>
                      <a:lnTo>
                        <a:pt x="1193" y="656"/>
                      </a:lnTo>
                      <a:lnTo>
                        <a:pt x="1194" y="656"/>
                      </a:lnTo>
                      <a:lnTo>
                        <a:pt x="1195" y="656"/>
                      </a:lnTo>
                      <a:lnTo>
                        <a:pt x="1195" y="655"/>
                      </a:lnTo>
                      <a:lnTo>
                        <a:pt x="1194" y="655"/>
                      </a:lnTo>
                      <a:lnTo>
                        <a:pt x="1194" y="654"/>
                      </a:lnTo>
                      <a:lnTo>
                        <a:pt x="1194" y="653"/>
                      </a:lnTo>
                      <a:lnTo>
                        <a:pt x="1195" y="653"/>
                      </a:lnTo>
                      <a:lnTo>
                        <a:pt x="1196" y="653"/>
                      </a:lnTo>
                      <a:lnTo>
                        <a:pt x="1197" y="654"/>
                      </a:lnTo>
                      <a:lnTo>
                        <a:pt x="1197" y="653"/>
                      </a:lnTo>
                      <a:lnTo>
                        <a:pt x="1198" y="653"/>
                      </a:lnTo>
                      <a:lnTo>
                        <a:pt x="1197" y="653"/>
                      </a:lnTo>
                      <a:lnTo>
                        <a:pt x="1196" y="653"/>
                      </a:lnTo>
                      <a:lnTo>
                        <a:pt x="1195" y="653"/>
                      </a:lnTo>
                      <a:lnTo>
                        <a:pt x="1194" y="653"/>
                      </a:lnTo>
                      <a:lnTo>
                        <a:pt x="1193" y="653"/>
                      </a:lnTo>
                      <a:lnTo>
                        <a:pt x="1193" y="654"/>
                      </a:lnTo>
                      <a:lnTo>
                        <a:pt x="1193" y="655"/>
                      </a:lnTo>
                      <a:lnTo>
                        <a:pt x="1194" y="655"/>
                      </a:lnTo>
                      <a:lnTo>
                        <a:pt x="1193" y="655"/>
                      </a:lnTo>
                      <a:lnTo>
                        <a:pt x="1193" y="656"/>
                      </a:lnTo>
                      <a:lnTo>
                        <a:pt x="1192" y="656"/>
                      </a:lnTo>
                      <a:lnTo>
                        <a:pt x="1192" y="655"/>
                      </a:lnTo>
                      <a:lnTo>
                        <a:pt x="1190" y="655"/>
                      </a:lnTo>
                      <a:lnTo>
                        <a:pt x="1189" y="655"/>
                      </a:lnTo>
                      <a:lnTo>
                        <a:pt x="1189" y="656"/>
                      </a:lnTo>
                      <a:lnTo>
                        <a:pt x="1190" y="656"/>
                      </a:lnTo>
                      <a:lnTo>
                        <a:pt x="1189" y="657"/>
                      </a:lnTo>
                      <a:lnTo>
                        <a:pt x="1190" y="657"/>
                      </a:lnTo>
                      <a:lnTo>
                        <a:pt x="1189" y="657"/>
                      </a:lnTo>
                      <a:lnTo>
                        <a:pt x="1190" y="657"/>
                      </a:lnTo>
                      <a:lnTo>
                        <a:pt x="1190" y="656"/>
                      </a:lnTo>
                      <a:lnTo>
                        <a:pt x="1192" y="656"/>
                      </a:lnTo>
                      <a:lnTo>
                        <a:pt x="1193" y="656"/>
                      </a:lnTo>
                      <a:lnTo>
                        <a:pt x="1193" y="657"/>
                      </a:lnTo>
                      <a:lnTo>
                        <a:pt x="1192" y="657"/>
                      </a:lnTo>
                      <a:lnTo>
                        <a:pt x="1192" y="658"/>
                      </a:lnTo>
                      <a:lnTo>
                        <a:pt x="1192" y="659"/>
                      </a:lnTo>
                      <a:lnTo>
                        <a:pt x="1193" y="659"/>
                      </a:lnTo>
                      <a:lnTo>
                        <a:pt x="1194" y="660"/>
                      </a:lnTo>
                      <a:lnTo>
                        <a:pt x="1194" y="659"/>
                      </a:lnTo>
                      <a:lnTo>
                        <a:pt x="1195" y="659"/>
                      </a:lnTo>
                      <a:lnTo>
                        <a:pt x="1196" y="659"/>
                      </a:lnTo>
                      <a:lnTo>
                        <a:pt x="1196" y="660"/>
                      </a:lnTo>
                      <a:lnTo>
                        <a:pt x="1196" y="661"/>
                      </a:lnTo>
                      <a:lnTo>
                        <a:pt x="1195" y="662"/>
                      </a:lnTo>
                      <a:lnTo>
                        <a:pt x="1195" y="664"/>
                      </a:lnTo>
                      <a:lnTo>
                        <a:pt x="1192" y="666"/>
                      </a:lnTo>
                      <a:lnTo>
                        <a:pt x="1193" y="666"/>
                      </a:lnTo>
                      <a:lnTo>
                        <a:pt x="1194" y="667"/>
                      </a:lnTo>
                      <a:lnTo>
                        <a:pt x="1195" y="668"/>
                      </a:lnTo>
                      <a:lnTo>
                        <a:pt x="1196" y="668"/>
                      </a:lnTo>
                      <a:lnTo>
                        <a:pt x="1197" y="669"/>
                      </a:lnTo>
                      <a:lnTo>
                        <a:pt x="1197" y="670"/>
                      </a:lnTo>
                      <a:lnTo>
                        <a:pt x="1198" y="670"/>
                      </a:lnTo>
                      <a:lnTo>
                        <a:pt x="1199" y="671"/>
                      </a:lnTo>
                      <a:lnTo>
                        <a:pt x="1200" y="671"/>
                      </a:lnTo>
                      <a:lnTo>
                        <a:pt x="1200" y="672"/>
                      </a:lnTo>
                      <a:lnTo>
                        <a:pt x="1201" y="672"/>
                      </a:lnTo>
                      <a:lnTo>
                        <a:pt x="1201" y="673"/>
                      </a:lnTo>
                      <a:lnTo>
                        <a:pt x="1202" y="673"/>
                      </a:lnTo>
                      <a:lnTo>
                        <a:pt x="1203" y="674"/>
                      </a:lnTo>
                      <a:lnTo>
                        <a:pt x="1205" y="675"/>
                      </a:lnTo>
                      <a:lnTo>
                        <a:pt x="1206" y="675"/>
                      </a:lnTo>
                      <a:lnTo>
                        <a:pt x="1206" y="677"/>
                      </a:lnTo>
                      <a:lnTo>
                        <a:pt x="1207" y="677"/>
                      </a:lnTo>
                      <a:lnTo>
                        <a:pt x="1207" y="678"/>
                      </a:lnTo>
                      <a:lnTo>
                        <a:pt x="1208" y="678"/>
                      </a:lnTo>
                      <a:lnTo>
                        <a:pt x="1209" y="679"/>
                      </a:lnTo>
                      <a:lnTo>
                        <a:pt x="1210" y="679"/>
                      </a:lnTo>
                      <a:lnTo>
                        <a:pt x="1210" y="680"/>
                      </a:lnTo>
                      <a:lnTo>
                        <a:pt x="1211" y="681"/>
                      </a:lnTo>
                      <a:lnTo>
                        <a:pt x="1212" y="682"/>
                      </a:lnTo>
                      <a:lnTo>
                        <a:pt x="1213" y="682"/>
                      </a:lnTo>
                      <a:lnTo>
                        <a:pt x="1213" y="683"/>
                      </a:lnTo>
                      <a:lnTo>
                        <a:pt x="1214" y="683"/>
                      </a:lnTo>
                      <a:lnTo>
                        <a:pt x="1216" y="685"/>
                      </a:lnTo>
                      <a:lnTo>
                        <a:pt x="1218" y="686"/>
                      </a:lnTo>
                      <a:lnTo>
                        <a:pt x="1219" y="686"/>
                      </a:lnTo>
                      <a:lnTo>
                        <a:pt x="1219" y="687"/>
                      </a:lnTo>
                      <a:lnTo>
                        <a:pt x="1220" y="687"/>
                      </a:lnTo>
                      <a:lnTo>
                        <a:pt x="1221" y="687"/>
                      </a:lnTo>
                      <a:lnTo>
                        <a:pt x="1221" y="688"/>
                      </a:lnTo>
                      <a:lnTo>
                        <a:pt x="1221" y="690"/>
                      </a:lnTo>
                      <a:lnTo>
                        <a:pt x="1222" y="690"/>
                      </a:lnTo>
                      <a:lnTo>
                        <a:pt x="1222" y="688"/>
                      </a:lnTo>
                      <a:lnTo>
                        <a:pt x="1222" y="690"/>
                      </a:lnTo>
                      <a:lnTo>
                        <a:pt x="1222" y="688"/>
                      </a:lnTo>
                      <a:lnTo>
                        <a:pt x="1223" y="690"/>
                      </a:lnTo>
                      <a:lnTo>
                        <a:pt x="1224" y="691"/>
                      </a:lnTo>
                      <a:lnTo>
                        <a:pt x="1224" y="692"/>
                      </a:lnTo>
                      <a:lnTo>
                        <a:pt x="1225" y="692"/>
                      </a:lnTo>
                      <a:lnTo>
                        <a:pt x="1226" y="693"/>
                      </a:lnTo>
                      <a:lnTo>
                        <a:pt x="1227" y="693"/>
                      </a:lnTo>
                      <a:lnTo>
                        <a:pt x="1227" y="694"/>
                      </a:lnTo>
                      <a:lnTo>
                        <a:pt x="1228" y="694"/>
                      </a:lnTo>
                      <a:lnTo>
                        <a:pt x="1228" y="695"/>
                      </a:lnTo>
                      <a:lnTo>
                        <a:pt x="1229" y="695"/>
                      </a:lnTo>
                      <a:lnTo>
                        <a:pt x="1231" y="696"/>
                      </a:lnTo>
                      <a:lnTo>
                        <a:pt x="1231" y="697"/>
                      </a:lnTo>
                      <a:lnTo>
                        <a:pt x="1231" y="698"/>
                      </a:lnTo>
                      <a:lnTo>
                        <a:pt x="1232" y="698"/>
                      </a:lnTo>
                      <a:lnTo>
                        <a:pt x="1233" y="699"/>
                      </a:lnTo>
                      <a:lnTo>
                        <a:pt x="1234" y="699"/>
                      </a:lnTo>
                      <a:lnTo>
                        <a:pt x="1235" y="700"/>
                      </a:lnTo>
                      <a:lnTo>
                        <a:pt x="1237" y="701"/>
                      </a:lnTo>
                      <a:lnTo>
                        <a:pt x="1241" y="706"/>
                      </a:lnTo>
                      <a:lnTo>
                        <a:pt x="1242" y="706"/>
                      </a:lnTo>
                      <a:lnTo>
                        <a:pt x="1245" y="708"/>
                      </a:lnTo>
                      <a:lnTo>
                        <a:pt x="1246" y="709"/>
                      </a:lnTo>
                      <a:lnTo>
                        <a:pt x="1247" y="710"/>
                      </a:lnTo>
                      <a:lnTo>
                        <a:pt x="1248" y="710"/>
                      </a:lnTo>
                      <a:lnTo>
                        <a:pt x="1252" y="713"/>
                      </a:lnTo>
                      <a:lnTo>
                        <a:pt x="1252" y="716"/>
                      </a:lnTo>
                      <a:lnTo>
                        <a:pt x="1251" y="716"/>
                      </a:lnTo>
                      <a:lnTo>
                        <a:pt x="1251" y="717"/>
                      </a:lnTo>
                      <a:lnTo>
                        <a:pt x="1251" y="718"/>
                      </a:lnTo>
                      <a:lnTo>
                        <a:pt x="1252" y="719"/>
                      </a:lnTo>
                      <a:lnTo>
                        <a:pt x="1252" y="718"/>
                      </a:lnTo>
                      <a:lnTo>
                        <a:pt x="1253" y="718"/>
                      </a:lnTo>
                      <a:lnTo>
                        <a:pt x="1252" y="718"/>
                      </a:lnTo>
                      <a:lnTo>
                        <a:pt x="1253" y="717"/>
                      </a:lnTo>
                      <a:lnTo>
                        <a:pt x="1254" y="717"/>
                      </a:lnTo>
                      <a:lnTo>
                        <a:pt x="1255" y="718"/>
                      </a:lnTo>
                      <a:lnTo>
                        <a:pt x="1257" y="718"/>
                      </a:lnTo>
                      <a:lnTo>
                        <a:pt x="1258" y="718"/>
                      </a:lnTo>
                      <a:lnTo>
                        <a:pt x="1259" y="719"/>
                      </a:lnTo>
                      <a:lnTo>
                        <a:pt x="1260" y="719"/>
                      </a:lnTo>
                      <a:lnTo>
                        <a:pt x="1278" y="734"/>
                      </a:lnTo>
                      <a:lnTo>
                        <a:pt x="1277" y="734"/>
                      </a:lnTo>
                      <a:lnTo>
                        <a:pt x="1276" y="734"/>
                      </a:lnTo>
                      <a:lnTo>
                        <a:pt x="1275" y="734"/>
                      </a:lnTo>
                      <a:lnTo>
                        <a:pt x="1273" y="733"/>
                      </a:lnTo>
                      <a:lnTo>
                        <a:pt x="1272" y="733"/>
                      </a:lnTo>
                      <a:lnTo>
                        <a:pt x="1272" y="732"/>
                      </a:lnTo>
                      <a:lnTo>
                        <a:pt x="1271" y="732"/>
                      </a:lnTo>
                      <a:lnTo>
                        <a:pt x="1270" y="731"/>
                      </a:lnTo>
                      <a:lnTo>
                        <a:pt x="1270" y="730"/>
                      </a:lnTo>
                      <a:lnTo>
                        <a:pt x="1270" y="729"/>
                      </a:lnTo>
                      <a:lnTo>
                        <a:pt x="1268" y="727"/>
                      </a:lnTo>
                      <a:lnTo>
                        <a:pt x="1268" y="726"/>
                      </a:lnTo>
                      <a:lnTo>
                        <a:pt x="1267" y="726"/>
                      </a:lnTo>
                      <a:lnTo>
                        <a:pt x="1266" y="725"/>
                      </a:lnTo>
                      <a:lnTo>
                        <a:pt x="1264" y="724"/>
                      </a:lnTo>
                      <a:lnTo>
                        <a:pt x="1263" y="724"/>
                      </a:lnTo>
                      <a:lnTo>
                        <a:pt x="1263" y="723"/>
                      </a:lnTo>
                      <a:lnTo>
                        <a:pt x="1262" y="723"/>
                      </a:lnTo>
                      <a:lnTo>
                        <a:pt x="1261" y="723"/>
                      </a:lnTo>
                      <a:lnTo>
                        <a:pt x="1261" y="722"/>
                      </a:lnTo>
                      <a:lnTo>
                        <a:pt x="1260" y="722"/>
                      </a:lnTo>
                      <a:lnTo>
                        <a:pt x="1259" y="722"/>
                      </a:lnTo>
                      <a:lnTo>
                        <a:pt x="1259" y="721"/>
                      </a:lnTo>
                      <a:lnTo>
                        <a:pt x="1258" y="721"/>
                      </a:lnTo>
                      <a:lnTo>
                        <a:pt x="1258" y="722"/>
                      </a:lnTo>
                      <a:lnTo>
                        <a:pt x="1257" y="722"/>
                      </a:lnTo>
                      <a:lnTo>
                        <a:pt x="1257" y="723"/>
                      </a:lnTo>
                      <a:lnTo>
                        <a:pt x="1257" y="724"/>
                      </a:lnTo>
                      <a:lnTo>
                        <a:pt x="1257" y="725"/>
                      </a:lnTo>
                      <a:lnTo>
                        <a:pt x="1257" y="726"/>
                      </a:lnTo>
                      <a:lnTo>
                        <a:pt x="1257" y="727"/>
                      </a:lnTo>
                      <a:lnTo>
                        <a:pt x="1257" y="729"/>
                      </a:lnTo>
                      <a:lnTo>
                        <a:pt x="1257" y="730"/>
                      </a:lnTo>
                      <a:lnTo>
                        <a:pt x="1257" y="729"/>
                      </a:lnTo>
                      <a:lnTo>
                        <a:pt x="1258" y="729"/>
                      </a:lnTo>
                      <a:lnTo>
                        <a:pt x="1258" y="730"/>
                      </a:lnTo>
                      <a:lnTo>
                        <a:pt x="1258" y="731"/>
                      </a:lnTo>
                      <a:lnTo>
                        <a:pt x="1257" y="731"/>
                      </a:lnTo>
                      <a:lnTo>
                        <a:pt x="1257" y="732"/>
                      </a:lnTo>
                      <a:lnTo>
                        <a:pt x="1257" y="733"/>
                      </a:lnTo>
                      <a:lnTo>
                        <a:pt x="1257" y="734"/>
                      </a:lnTo>
                      <a:lnTo>
                        <a:pt x="1258" y="735"/>
                      </a:lnTo>
                      <a:lnTo>
                        <a:pt x="1259" y="735"/>
                      </a:lnTo>
                      <a:lnTo>
                        <a:pt x="1259" y="736"/>
                      </a:lnTo>
                      <a:lnTo>
                        <a:pt x="1260" y="736"/>
                      </a:lnTo>
                      <a:lnTo>
                        <a:pt x="1260" y="737"/>
                      </a:lnTo>
                      <a:lnTo>
                        <a:pt x="1259" y="737"/>
                      </a:lnTo>
                      <a:lnTo>
                        <a:pt x="1260" y="737"/>
                      </a:lnTo>
                      <a:lnTo>
                        <a:pt x="1261" y="737"/>
                      </a:lnTo>
                      <a:lnTo>
                        <a:pt x="1260" y="738"/>
                      </a:lnTo>
                      <a:lnTo>
                        <a:pt x="1260" y="737"/>
                      </a:lnTo>
                      <a:lnTo>
                        <a:pt x="1259" y="737"/>
                      </a:lnTo>
                      <a:lnTo>
                        <a:pt x="1258" y="737"/>
                      </a:lnTo>
                      <a:lnTo>
                        <a:pt x="1258" y="736"/>
                      </a:lnTo>
                      <a:lnTo>
                        <a:pt x="1257" y="735"/>
                      </a:lnTo>
                      <a:lnTo>
                        <a:pt x="1255" y="735"/>
                      </a:lnTo>
                      <a:lnTo>
                        <a:pt x="1255" y="734"/>
                      </a:lnTo>
                      <a:lnTo>
                        <a:pt x="1254" y="734"/>
                      </a:lnTo>
                      <a:lnTo>
                        <a:pt x="1253" y="734"/>
                      </a:lnTo>
                      <a:lnTo>
                        <a:pt x="1252" y="735"/>
                      </a:lnTo>
                      <a:lnTo>
                        <a:pt x="1251" y="734"/>
                      </a:lnTo>
                      <a:lnTo>
                        <a:pt x="1250" y="734"/>
                      </a:lnTo>
                      <a:lnTo>
                        <a:pt x="1250" y="733"/>
                      </a:lnTo>
                      <a:lnTo>
                        <a:pt x="1250" y="734"/>
                      </a:lnTo>
                      <a:lnTo>
                        <a:pt x="1250" y="733"/>
                      </a:lnTo>
                      <a:lnTo>
                        <a:pt x="1249" y="733"/>
                      </a:lnTo>
                      <a:lnTo>
                        <a:pt x="1249" y="734"/>
                      </a:lnTo>
                      <a:lnTo>
                        <a:pt x="1248" y="734"/>
                      </a:lnTo>
                      <a:lnTo>
                        <a:pt x="1248" y="733"/>
                      </a:lnTo>
                      <a:lnTo>
                        <a:pt x="1249" y="732"/>
                      </a:lnTo>
                      <a:lnTo>
                        <a:pt x="1249" y="731"/>
                      </a:lnTo>
                      <a:lnTo>
                        <a:pt x="1248" y="731"/>
                      </a:lnTo>
                      <a:lnTo>
                        <a:pt x="1247" y="731"/>
                      </a:lnTo>
                      <a:lnTo>
                        <a:pt x="1247" y="732"/>
                      </a:lnTo>
                      <a:lnTo>
                        <a:pt x="1247" y="733"/>
                      </a:lnTo>
                      <a:lnTo>
                        <a:pt x="1247" y="732"/>
                      </a:lnTo>
                      <a:lnTo>
                        <a:pt x="1246" y="732"/>
                      </a:lnTo>
                      <a:lnTo>
                        <a:pt x="1245" y="732"/>
                      </a:lnTo>
                      <a:lnTo>
                        <a:pt x="1245" y="733"/>
                      </a:lnTo>
                      <a:lnTo>
                        <a:pt x="1244" y="733"/>
                      </a:lnTo>
                      <a:lnTo>
                        <a:pt x="1242" y="732"/>
                      </a:lnTo>
                      <a:lnTo>
                        <a:pt x="1239" y="732"/>
                      </a:lnTo>
                      <a:lnTo>
                        <a:pt x="1238" y="732"/>
                      </a:lnTo>
                      <a:lnTo>
                        <a:pt x="1237" y="732"/>
                      </a:lnTo>
                      <a:lnTo>
                        <a:pt x="1237" y="731"/>
                      </a:lnTo>
                      <a:lnTo>
                        <a:pt x="1238" y="731"/>
                      </a:lnTo>
                      <a:lnTo>
                        <a:pt x="1239" y="731"/>
                      </a:lnTo>
                      <a:lnTo>
                        <a:pt x="1240" y="731"/>
                      </a:lnTo>
                      <a:lnTo>
                        <a:pt x="1240" y="732"/>
                      </a:lnTo>
                      <a:lnTo>
                        <a:pt x="1241" y="732"/>
                      </a:lnTo>
                      <a:lnTo>
                        <a:pt x="1242" y="732"/>
                      </a:lnTo>
                      <a:lnTo>
                        <a:pt x="1242" y="731"/>
                      </a:lnTo>
                      <a:lnTo>
                        <a:pt x="1242" y="730"/>
                      </a:lnTo>
                      <a:lnTo>
                        <a:pt x="1242" y="731"/>
                      </a:lnTo>
                      <a:lnTo>
                        <a:pt x="1244" y="730"/>
                      </a:lnTo>
                      <a:lnTo>
                        <a:pt x="1244" y="731"/>
                      </a:lnTo>
                      <a:lnTo>
                        <a:pt x="1242" y="731"/>
                      </a:lnTo>
                      <a:lnTo>
                        <a:pt x="1242" y="732"/>
                      </a:lnTo>
                      <a:lnTo>
                        <a:pt x="1244" y="732"/>
                      </a:lnTo>
                      <a:lnTo>
                        <a:pt x="1244" y="731"/>
                      </a:lnTo>
                      <a:lnTo>
                        <a:pt x="1242" y="731"/>
                      </a:lnTo>
                      <a:lnTo>
                        <a:pt x="1244" y="731"/>
                      </a:lnTo>
                      <a:lnTo>
                        <a:pt x="1245" y="731"/>
                      </a:lnTo>
                      <a:lnTo>
                        <a:pt x="1246" y="731"/>
                      </a:lnTo>
                      <a:lnTo>
                        <a:pt x="1245" y="730"/>
                      </a:lnTo>
                      <a:lnTo>
                        <a:pt x="1246" y="730"/>
                      </a:lnTo>
                      <a:lnTo>
                        <a:pt x="1246" y="729"/>
                      </a:lnTo>
                      <a:lnTo>
                        <a:pt x="1245" y="729"/>
                      </a:lnTo>
                      <a:lnTo>
                        <a:pt x="1244" y="729"/>
                      </a:lnTo>
                      <a:lnTo>
                        <a:pt x="1245" y="729"/>
                      </a:lnTo>
                      <a:lnTo>
                        <a:pt x="1245" y="730"/>
                      </a:lnTo>
                      <a:lnTo>
                        <a:pt x="1244" y="730"/>
                      </a:lnTo>
                      <a:lnTo>
                        <a:pt x="1242" y="730"/>
                      </a:lnTo>
                      <a:lnTo>
                        <a:pt x="1242" y="729"/>
                      </a:lnTo>
                      <a:lnTo>
                        <a:pt x="1244" y="729"/>
                      </a:lnTo>
                      <a:lnTo>
                        <a:pt x="1244" y="727"/>
                      </a:lnTo>
                      <a:lnTo>
                        <a:pt x="1242" y="727"/>
                      </a:lnTo>
                      <a:lnTo>
                        <a:pt x="1242" y="726"/>
                      </a:lnTo>
                      <a:lnTo>
                        <a:pt x="1241" y="726"/>
                      </a:lnTo>
                      <a:lnTo>
                        <a:pt x="1240" y="726"/>
                      </a:lnTo>
                      <a:lnTo>
                        <a:pt x="1240" y="725"/>
                      </a:lnTo>
                      <a:lnTo>
                        <a:pt x="1240" y="724"/>
                      </a:lnTo>
                      <a:lnTo>
                        <a:pt x="1240" y="723"/>
                      </a:lnTo>
                      <a:lnTo>
                        <a:pt x="1240" y="722"/>
                      </a:lnTo>
                      <a:lnTo>
                        <a:pt x="1240" y="721"/>
                      </a:lnTo>
                      <a:lnTo>
                        <a:pt x="1239" y="721"/>
                      </a:lnTo>
                      <a:lnTo>
                        <a:pt x="1239" y="720"/>
                      </a:lnTo>
                      <a:lnTo>
                        <a:pt x="1238" y="720"/>
                      </a:lnTo>
                      <a:lnTo>
                        <a:pt x="1237" y="720"/>
                      </a:lnTo>
                      <a:lnTo>
                        <a:pt x="1237" y="719"/>
                      </a:lnTo>
                      <a:lnTo>
                        <a:pt x="1237" y="720"/>
                      </a:lnTo>
                      <a:lnTo>
                        <a:pt x="1236" y="720"/>
                      </a:lnTo>
                      <a:lnTo>
                        <a:pt x="1236" y="719"/>
                      </a:lnTo>
                      <a:lnTo>
                        <a:pt x="1235" y="719"/>
                      </a:lnTo>
                      <a:lnTo>
                        <a:pt x="1236" y="718"/>
                      </a:lnTo>
                      <a:lnTo>
                        <a:pt x="1235" y="718"/>
                      </a:lnTo>
                      <a:lnTo>
                        <a:pt x="1234" y="718"/>
                      </a:lnTo>
                      <a:lnTo>
                        <a:pt x="1234" y="717"/>
                      </a:lnTo>
                      <a:lnTo>
                        <a:pt x="1233" y="717"/>
                      </a:lnTo>
                      <a:lnTo>
                        <a:pt x="1232" y="716"/>
                      </a:lnTo>
                      <a:lnTo>
                        <a:pt x="1231" y="716"/>
                      </a:lnTo>
                      <a:lnTo>
                        <a:pt x="1231" y="714"/>
                      </a:lnTo>
                      <a:lnTo>
                        <a:pt x="1229" y="714"/>
                      </a:lnTo>
                      <a:lnTo>
                        <a:pt x="1229" y="713"/>
                      </a:lnTo>
                      <a:lnTo>
                        <a:pt x="1228" y="712"/>
                      </a:lnTo>
                      <a:lnTo>
                        <a:pt x="1228" y="711"/>
                      </a:lnTo>
                      <a:lnTo>
                        <a:pt x="1228" y="710"/>
                      </a:lnTo>
                      <a:lnTo>
                        <a:pt x="1228" y="711"/>
                      </a:lnTo>
                      <a:lnTo>
                        <a:pt x="1231" y="710"/>
                      </a:lnTo>
                      <a:lnTo>
                        <a:pt x="1231" y="711"/>
                      </a:lnTo>
                      <a:lnTo>
                        <a:pt x="1232" y="711"/>
                      </a:lnTo>
                      <a:lnTo>
                        <a:pt x="1233" y="711"/>
                      </a:lnTo>
                      <a:lnTo>
                        <a:pt x="1234" y="710"/>
                      </a:lnTo>
                      <a:lnTo>
                        <a:pt x="1234" y="711"/>
                      </a:lnTo>
                      <a:lnTo>
                        <a:pt x="1234" y="710"/>
                      </a:lnTo>
                      <a:lnTo>
                        <a:pt x="1234" y="709"/>
                      </a:lnTo>
                      <a:lnTo>
                        <a:pt x="1235" y="709"/>
                      </a:lnTo>
                      <a:lnTo>
                        <a:pt x="1233" y="708"/>
                      </a:lnTo>
                      <a:lnTo>
                        <a:pt x="1234" y="708"/>
                      </a:lnTo>
                      <a:lnTo>
                        <a:pt x="1235" y="708"/>
                      </a:lnTo>
                      <a:lnTo>
                        <a:pt x="1235" y="707"/>
                      </a:lnTo>
                      <a:lnTo>
                        <a:pt x="1235" y="706"/>
                      </a:lnTo>
                      <a:lnTo>
                        <a:pt x="1234" y="705"/>
                      </a:lnTo>
                      <a:lnTo>
                        <a:pt x="1233" y="703"/>
                      </a:lnTo>
                      <a:lnTo>
                        <a:pt x="1232" y="701"/>
                      </a:lnTo>
                      <a:lnTo>
                        <a:pt x="1229" y="700"/>
                      </a:lnTo>
                      <a:lnTo>
                        <a:pt x="1228" y="699"/>
                      </a:lnTo>
                      <a:lnTo>
                        <a:pt x="1227" y="699"/>
                      </a:lnTo>
                      <a:lnTo>
                        <a:pt x="1226" y="699"/>
                      </a:lnTo>
                      <a:lnTo>
                        <a:pt x="1225" y="699"/>
                      </a:lnTo>
                      <a:lnTo>
                        <a:pt x="1224" y="699"/>
                      </a:lnTo>
                      <a:lnTo>
                        <a:pt x="1224" y="698"/>
                      </a:lnTo>
                      <a:lnTo>
                        <a:pt x="1223" y="698"/>
                      </a:lnTo>
                      <a:lnTo>
                        <a:pt x="1222" y="698"/>
                      </a:lnTo>
                      <a:lnTo>
                        <a:pt x="1221" y="698"/>
                      </a:lnTo>
                      <a:lnTo>
                        <a:pt x="1221" y="697"/>
                      </a:lnTo>
                      <a:lnTo>
                        <a:pt x="1220" y="697"/>
                      </a:lnTo>
                      <a:lnTo>
                        <a:pt x="1220" y="696"/>
                      </a:lnTo>
                      <a:lnTo>
                        <a:pt x="1220" y="697"/>
                      </a:lnTo>
                      <a:lnTo>
                        <a:pt x="1220" y="698"/>
                      </a:lnTo>
                      <a:lnTo>
                        <a:pt x="1221" y="699"/>
                      </a:lnTo>
                      <a:lnTo>
                        <a:pt x="1220" y="698"/>
                      </a:lnTo>
                      <a:lnTo>
                        <a:pt x="1218" y="696"/>
                      </a:lnTo>
                      <a:lnTo>
                        <a:pt x="1218" y="695"/>
                      </a:lnTo>
                      <a:lnTo>
                        <a:pt x="1218" y="694"/>
                      </a:lnTo>
                      <a:lnTo>
                        <a:pt x="1218" y="693"/>
                      </a:lnTo>
                      <a:lnTo>
                        <a:pt x="1218" y="694"/>
                      </a:lnTo>
                      <a:lnTo>
                        <a:pt x="1216" y="695"/>
                      </a:lnTo>
                      <a:lnTo>
                        <a:pt x="1216" y="696"/>
                      </a:lnTo>
                      <a:lnTo>
                        <a:pt x="1218" y="696"/>
                      </a:lnTo>
                      <a:lnTo>
                        <a:pt x="1220" y="699"/>
                      </a:lnTo>
                      <a:lnTo>
                        <a:pt x="1220" y="698"/>
                      </a:lnTo>
                      <a:lnTo>
                        <a:pt x="1219" y="698"/>
                      </a:lnTo>
                      <a:lnTo>
                        <a:pt x="1219" y="699"/>
                      </a:lnTo>
                      <a:lnTo>
                        <a:pt x="1220" y="699"/>
                      </a:lnTo>
                      <a:lnTo>
                        <a:pt x="1220" y="700"/>
                      </a:lnTo>
                      <a:lnTo>
                        <a:pt x="1220" y="701"/>
                      </a:lnTo>
                      <a:lnTo>
                        <a:pt x="1219" y="701"/>
                      </a:lnTo>
                      <a:lnTo>
                        <a:pt x="1220" y="701"/>
                      </a:lnTo>
                      <a:lnTo>
                        <a:pt x="1220" y="703"/>
                      </a:lnTo>
                      <a:lnTo>
                        <a:pt x="1219" y="701"/>
                      </a:lnTo>
                      <a:lnTo>
                        <a:pt x="1218" y="701"/>
                      </a:lnTo>
                      <a:lnTo>
                        <a:pt x="1216" y="701"/>
                      </a:lnTo>
                      <a:lnTo>
                        <a:pt x="1215" y="703"/>
                      </a:lnTo>
                      <a:lnTo>
                        <a:pt x="1215" y="701"/>
                      </a:lnTo>
                      <a:lnTo>
                        <a:pt x="1215" y="703"/>
                      </a:lnTo>
                      <a:lnTo>
                        <a:pt x="1215" y="701"/>
                      </a:lnTo>
                      <a:lnTo>
                        <a:pt x="1215" y="700"/>
                      </a:lnTo>
                      <a:lnTo>
                        <a:pt x="1214" y="700"/>
                      </a:lnTo>
                      <a:lnTo>
                        <a:pt x="1214" y="699"/>
                      </a:lnTo>
                      <a:lnTo>
                        <a:pt x="1213" y="699"/>
                      </a:lnTo>
                      <a:lnTo>
                        <a:pt x="1212" y="699"/>
                      </a:lnTo>
                      <a:lnTo>
                        <a:pt x="1212" y="698"/>
                      </a:lnTo>
                      <a:lnTo>
                        <a:pt x="1211" y="698"/>
                      </a:lnTo>
                      <a:lnTo>
                        <a:pt x="1210" y="698"/>
                      </a:lnTo>
                      <a:lnTo>
                        <a:pt x="1209" y="698"/>
                      </a:lnTo>
                      <a:lnTo>
                        <a:pt x="1209" y="697"/>
                      </a:lnTo>
                      <a:lnTo>
                        <a:pt x="1208" y="697"/>
                      </a:lnTo>
                      <a:lnTo>
                        <a:pt x="1208" y="696"/>
                      </a:lnTo>
                      <a:lnTo>
                        <a:pt x="1207" y="696"/>
                      </a:lnTo>
                      <a:lnTo>
                        <a:pt x="1206" y="696"/>
                      </a:lnTo>
                      <a:lnTo>
                        <a:pt x="1205" y="696"/>
                      </a:lnTo>
                      <a:lnTo>
                        <a:pt x="1205" y="695"/>
                      </a:lnTo>
                      <a:lnTo>
                        <a:pt x="1203" y="695"/>
                      </a:lnTo>
                      <a:lnTo>
                        <a:pt x="1202" y="695"/>
                      </a:lnTo>
                      <a:lnTo>
                        <a:pt x="1202" y="694"/>
                      </a:lnTo>
                      <a:lnTo>
                        <a:pt x="1200" y="692"/>
                      </a:lnTo>
                      <a:lnTo>
                        <a:pt x="1199" y="692"/>
                      </a:lnTo>
                      <a:lnTo>
                        <a:pt x="1198" y="692"/>
                      </a:lnTo>
                      <a:lnTo>
                        <a:pt x="1198" y="691"/>
                      </a:lnTo>
                      <a:lnTo>
                        <a:pt x="1197" y="691"/>
                      </a:lnTo>
                      <a:lnTo>
                        <a:pt x="1196" y="691"/>
                      </a:lnTo>
                      <a:lnTo>
                        <a:pt x="1195" y="691"/>
                      </a:lnTo>
                      <a:lnTo>
                        <a:pt x="1194" y="691"/>
                      </a:lnTo>
                      <a:lnTo>
                        <a:pt x="1193" y="691"/>
                      </a:lnTo>
                      <a:lnTo>
                        <a:pt x="1193" y="690"/>
                      </a:lnTo>
                      <a:lnTo>
                        <a:pt x="1193" y="691"/>
                      </a:lnTo>
                      <a:lnTo>
                        <a:pt x="1192" y="691"/>
                      </a:lnTo>
                      <a:lnTo>
                        <a:pt x="1192" y="692"/>
                      </a:lnTo>
                      <a:lnTo>
                        <a:pt x="1190" y="692"/>
                      </a:lnTo>
                      <a:lnTo>
                        <a:pt x="1190" y="691"/>
                      </a:lnTo>
                      <a:lnTo>
                        <a:pt x="1190" y="692"/>
                      </a:lnTo>
                      <a:lnTo>
                        <a:pt x="1189" y="692"/>
                      </a:lnTo>
                      <a:lnTo>
                        <a:pt x="1188" y="692"/>
                      </a:lnTo>
                      <a:lnTo>
                        <a:pt x="1187" y="692"/>
                      </a:lnTo>
                      <a:lnTo>
                        <a:pt x="1186" y="693"/>
                      </a:lnTo>
                      <a:lnTo>
                        <a:pt x="1185" y="693"/>
                      </a:lnTo>
                      <a:lnTo>
                        <a:pt x="1184" y="693"/>
                      </a:lnTo>
                      <a:lnTo>
                        <a:pt x="1185" y="694"/>
                      </a:lnTo>
                      <a:lnTo>
                        <a:pt x="1184" y="694"/>
                      </a:lnTo>
                      <a:lnTo>
                        <a:pt x="1183" y="694"/>
                      </a:lnTo>
                      <a:lnTo>
                        <a:pt x="1182" y="695"/>
                      </a:lnTo>
                      <a:lnTo>
                        <a:pt x="1181" y="695"/>
                      </a:lnTo>
                      <a:lnTo>
                        <a:pt x="1180" y="696"/>
                      </a:lnTo>
                      <a:lnTo>
                        <a:pt x="1179" y="696"/>
                      </a:lnTo>
                      <a:lnTo>
                        <a:pt x="1179" y="695"/>
                      </a:lnTo>
                      <a:lnTo>
                        <a:pt x="1179" y="694"/>
                      </a:lnTo>
                      <a:lnTo>
                        <a:pt x="1177" y="694"/>
                      </a:lnTo>
                      <a:lnTo>
                        <a:pt x="1177" y="693"/>
                      </a:lnTo>
                      <a:lnTo>
                        <a:pt x="1176" y="693"/>
                      </a:lnTo>
                      <a:lnTo>
                        <a:pt x="1175" y="693"/>
                      </a:lnTo>
                      <a:lnTo>
                        <a:pt x="1176" y="692"/>
                      </a:lnTo>
                      <a:lnTo>
                        <a:pt x="1175" y="692"/>
                      </a:lnTo>
                      <a:lnTo>
                        <a:pt x="1175" y="691"/>
                      </a:lnTo>
                      <a:lnTo>
                        <a:pt x="1174" y="691"/>
                      </a:lnTo>
                      <a:lnTo>
                        <a:pt x="1174" y="690"/>
                      </a:lnTo>
                      <a:lnTo>
                        <a:pt x="1173" y="688"/>
                      </a:lnTo>
                      <a:lnTo>
                        <a:pt x="1172" y="688"/>
                      </a:lnTo>
                      <a:lnTo>
                        <a:pt x="1172" y="687"/>
                      </a:lnTo>
                      <a:lnTo>
                        <a:pt x="1171" y="687"/>
                      </a:lnTo>
                      <a:lnTo>
                        <a:pt x="1171" y="686"/>
                      </a:lnTo>
                      <a:lnTo>
                        <a:pt x="1170" y="686"/>
                      </a:lnTo>
                      <a:lnTo>
                        <a:pt x="1170" y="684"/>
                      </a:lnTo>
                      <a:lnTo>
                        <a:pt x="1169" y="683"/>
                      </a:lnTo>
                      <a:lnTo>
                        <a:pt x="1168" y="683"/>
                      </a:lnTo>
                      <a:lnTo>
                        <a:pt x="1167" y="683"/>
                      </a:lnTo>
                      <a:lnTo>
                        <a:pt x="1167" y="682"/>
                      </a:lnTo>
                      <a:lnTo>
                        <a:pt x="1166" y="682"/>
                      </a:lnTo>
                      <a:lnTo>
                        <a:pt x="1164" y="682"/>
                      </a:lnTo>
                      <a:lnTo>
                        <a:pt x="1164" y="683"/>
                      </a:lnTo>
                      <a:lnTo>
                        <a:pt x="1163" y="683"/>
                      </a:lnTo>
                      <a:lnTo>
                        <a:pt x="1163" y="682"/>
                      </a:lnTo>
                      <a:lnTo>
                        <a:pt x="1163" y="683"/>
                      </a:lnTo>
                      <a:lnTo>
                        <a:pt x="1163" y="684"/>
                      </a:lnTo>
                      <a:lnTo>
                        <a:pt x="1164" y="684"/>
                      </a:lnTo>
                      <a:lnTo>
                        <a:pt x="1163" y="685"/>
                      </a:lnTo>
                      <a:lnTo>
                        <a:pt x="1162" y="686"/>
                      </a:lnTo>
                      <a:lnTo>
                        <a:pt x="1162" y="687"/>
                      </a:lnTo>
                      <a:lnTo>
                        <a:pt x="1163" y="687"/>
                      </a:lnTo>
                      <a:lnTo>
                        <a:pt x="1164" y="686"/>
                      </a:lnTo>
                      <a:lnTo>
                        <a:pt x="1164" y="687"/>
                      </a:lnTo>
                      <a:lnTo>
                        <a:pt x="1163" y="687"/>
                      </a:lnTo>
                      <a:lnTo>
                        <a:pt x="1162" y="687"/>
                      </a:lnTo>
                      <a:lnTo>
                        <a:pt x="1161" y="687"/>
                      </a:lnTo>
                      <a:lnTo>
                        <a:pt x="1160" y="687"/>
                      </a:lnTo>
                      <a:lnTo>
                        <a:pt x="1160" y="688"/>
                      </a:lnTo>
                      <a:lnTo>
                        <a:pt x="1159" y="688"/>
                      </a:lnTo>
                      <a:lnTo>
                        <a:pt x="1159" y="687"/>
                      </a:lnTo>
                      <a:lnTo>
                        <a:pt x="1158" y="687"/>
                      </a:lnTo>
                      <a:lnTo>
                        <a:pt x="1157" y="687"/>
                      </a:lnTo>
                      <a:lnTo>
                        <a:pt x="1156" y="687"/>
                      </a:lnTo>
                      <a:lnTo>
                        <a:pt x="1155" y="687"/>
                      </a:lnTo>
                      <a:lnTo>
                        <a:pt x="1155" y="688"/>
                      </a:lnTo>
                      <a:lnTo>
                        <a:pt x="1154" y="688"/>
                      </a:lnTo>
                      <a:lnTo>
                        <a:pt x="1154" y="690"/>
                      </a:lnTo>
                      <a:lnTo>
                        <a:pt x="1153" y="691"/>
                      </a:lnTo>
                      <a:lnTo>
                        <a:pt x="1153" y="692"/>
                      </a:lnTo>
                      <a:lnTo>
                        <a:pt x="1153" y="693"/>
                      </a:lnTo>
                      <a:lnTo>
                        <a:pt x="1153" y="694"/>
                      </a:lnTo>
                      <a:lnTo>
                        <a:pt x="1153" y="695"/>
                      </a:lnTo>
                      <a:lnTo>
                        <a:pt x="1153" y="696"/>
                      </a:lnTo>
                      <a:lnTo>
                        <a:pt x="1154" y="696"/>
                      </a:lnTo>
                      <a:lnTo>
                        <a:pt x="1153" y="696"/>
                      </a:lnTo>
                      <a:lnTo>
                        <a:pt x="1153" y="697"/>
                      </a:lnTo>
                      <a:lnTo>
                        <a:pt x="1151" y="697"/>
                      </a:lnTo>
                      <a:lnTo>
                        <a:pt x="1151" y="698"/>
                      </a:lnTo>
                      <a:lnTo>
                        <a:pt x="1150" y="699"/>
                      </a:lnTo>
                      <a:lnTo>
                        <a:pt x="1150" y="700"/>
                      </a:lnTo>
                      <a:lnTo>
                        <a:pt x="1149" y="699"/>
                      </a:lnTo>
                      <a:lnTo>
                        <a:pt x="1149" y="698"/>
                      </a:lnTo>
                      <a:lnTo>
                        <a:pt x="1150" y="698"/>
                      </a:lnTo>
                      <a:lnTo>
                        <a:pt x="1149" y="696"/>
                      </a:lnTo>
                      <a:lnTo>
                        <a:pt x="1149" y="694"/>
                      </a:lnTo>
                      <a:lnTo>
                        <a:pt x="1149" y="693"/>
                      </a:lnTo>
                      <a:lnTo>
                        <a:pt x="1148" y="692"/>
                      </a:lnTo>
                      <a:lnTo>
                        <a:pt x="1147" y="691"/>
                      </a:lnTo>
                      <a:lnTo>
                        <a:pt x="1147" y="690"/>
                      </a:lnTo>
                      <a:lnTo>
                        <a:pt x="1146" y="688"/>
                      </a:lnTo>
                      <a:lnTo>
                        <a:pt x="1146" y="687"/>
                      </a:lnTo>
                      <a:lnTo>
                        <a:pt x="1145" y="687"/>
                      </a:lnTo>
                      <a:lnTo>
                        <a:pt x="1145" y="686"/>
                      </a:lnTo>
                      <a:lnTo>
                        <a:pt x="1145" y="685"/>
                      </a:lnTo>
                      <a:lnTo>
                        <a:pt x="1145" y="684"/>
                      </a:lnTo>
                      <a:lnTo>
                        <a:pt x="1144" y="684"/>
                      </a:lnTo>
                      <a:lnTo>
                        <a:pt x="1143" y="684"/>
                      </a:lnTo>
                      <a:lnTo>
                        <a:pt x="1143" y="685"/>
                      </a:lnTo>
                      <a:lnTo>
                        <a:pt x="1143" y="686"/>
                      </a:lnTo>
                      <a:lnTo>
                        <a:pt x="1142" y="685"/>
                      </a:lnTo>
                      <a:lnTo>
                        <a:pt x="1141" y="685"/>
                      </a:lnTo>
                      <a:lnTo>
                        <a:pt x="1140" y="685"/>
                      </a:lnTo>
                      <a:lnTo>
                        <a:pt x="1138" y="684"/>
                      </a:lnTo>
                      <a:lnTo>
                        <a:pt x="1137" y="684"/>
                      </a:lnTo>
                      <a:lnTo>
                        <a:pt x="1136" y="683"/>
                      </a:lnTo>
                      <a:lnTo>
                        <a:pt x="1136" y="682"/>
                      </a:lnTo>
                      <a:lnTo>
                        <a:pt x="1135" y="681"/>
                      </a:lnTo>
                      <a:lnTo>
                        <a:pt x="1135" y="680"/>
                      </a:lnTo>
                      <a:lnTo>
                        <a:pt x="1135" y="679"/>
                      </a:lnTo>
                      <a:lnTo>
                        <a:pt x="1134" y="679"/>
                      </a:lnTo>
                      <a:lnTo>
                        <a:pt x="1133" y="680"/>
                      </a:lnTo>
                      <a:lnTo>
                        <a:pt x="1133" y="681"/>
                      </a:lnTo>
                      <a:lnTo>
                        <a:pt x="1133" y="682"/>
                      </a:lnTo>
                      <a:lnTo>
                        <a:pt x="1132" y="681"/>
                      </a:lnTo>
                      <a:lnTo>
                        <a:pt x="1132" y="682"/>
                      </a:lnTo>
                      <a:lnTo>
                        <a:pt x="1132" y="683"/>
                      </a:lnTo>
                      <a:lnTo>
                        <a:pt x="1129" y="683"/>
                      </a:lnTo>
                      <a:lnTo>
                        <a:pt x="1128" y="684"/>
                      </a:lnTo>
                      <a:lnTo>
                        <a:pt x="1128" y="685"/>
                      </a:lnTo>
                      <a:lnTo>
                        <a:pt x="1126" y="685"/>
                      </a:lnTo>
                      <a:lnTo>
                        <a:pt x="1126" y="686"/>
                      </a:lnTo>
                      <a:lnTo>
                        <a:pt x="1125" y="685"/>
                      </a:lnTo>
                      <a:lnTo>
                        <a:pt x="1124" y="685"/>
                      </a:lnTo>
                      <a:lnTo>
                        <a:pt x="1123" y="686"/>
                      </a:lnTo>
                      <a:lnTo>
                        <a:pt x="1122" y="687"/>
                      </a:lnTo>
                      <a:lnTo>
                        <a:pt x="1122" y="688"/>
                      </a:lnTo>
                      <a:lnTo>
                        <a:pt x="1122" y="691"/>
                      </a:lnTo>
                      <a:lnTo>
                        <a:pt x="1122" y="692"/>
                      </a:lnTo>
                      <a:lnTo>
                        <a:pt x="1123" y="693"/>
                      </a:lnTo>
                      <a:lnTo>
                        <a:pt x="1123" y="694"/>
                      </a:lnTo>
                      <a:lnTo>
                        <a:pt x="1122" y="694"/>
                      </a:lnTo>
                      <a:lnTo>
                        <a:pt x="1122" y="695"/>
                      </a:lnTo>
                      <a:lnTo>
                        <a:pt x="1121" y="695"/>
                      </a:lnTo>
                      <a:lnTo>
                        <a:pt x="1122" y="696"/>
                      </a:lnTo>
                      <a:lnTo>
                        <a:pt x="1123" y="697"/>
                      </a:lnTo>
                      <a:lnTo>
                        <a:pt x="1124" y="697"/>
                      </a:lnTo>
                      <a:lnTo>
                        <a:pt x="1124" y="698"/>
                      </a:lnTo>
                      <a:lnTo>
                        <a:pt x="1125" y="699"/>
                      </a:lnTo>
                      <a:lnTo>
                        <a:pt x="1126" y="699"/>
                      </a:lnTo>
                      <a:lnTo>
                        <a:pt x="1125" y="699"/>
                      </a:lnTo>
                      <a:lnTo>
                        <a:pt x="1124" y="700"/>
                      </a:lnTo>
                      <a:lnTo>
                        <a:pt x="1124" y="701"/>
                      </a:lnTo>
                      <a:lnTo>
                        <a:pt x="1123" y="703"/>
                      </a:lnTo>
                      <a:lnTo>
                        <a:pt x="1123" y="704"/>
                      </a:lnTo>
                      <a:lnTo>
                        <a:pt x="1123" y="703"/>
                      </a:lnTo>
                      <a:lnTo>
                        <a:pt x="1122" y="703"/>
                      </a:lnTo>
                      <a:lnTo>
                        <a:pt x="1120" y="703"/>
                      </a:lnTo>
                      <a:lnTo>
                        <a:pt x="1120" y="704"/>
                      </a:lnTo>
                      <a:lnTo>
                        <a:pt x="1119" y="703"/>
                      </a:lnTo>
                      <a:lnTo>
                        <a:pt x="1119" y="704"/>
                      </a:lnTo>
                      <a:lnTo>
                        <a:pt x="1120" y="705"/>
                      </a:lnTo>
                      <a:lnTo>
                        <a:pt x="1121" y="705"/>
                      </a:lnTo>
                      <a:lnTo>
                        <a:pt x="1122" y="705"/>
                      </a:lnTo>
                      <a:lnTo>
                        <a:pt x="1123" y="705"/>
                      </a:lnTo>
                      <a:lnTo>
                        <a:pt x="1124" y="705"/>
                      </a:lnTo>
                      <a:lnTo>
                        <a:pt x="1124" y="706"/>
                      </a:lnTo>
                      <a:lnTo>
                        <a:pt x="1124" y="707"/>
                      </a:lnTo>
                      <a:lnTo>
                        <a:pt x="1125" y="708"/>
                      </a:lnTo>
                      <a:lnTo>
                        <a:pt x="1124" y="709"/>
                      </a:lnTo>
                      <a:lnTo>
                        <a:pt x="1123" y="710"/>
                      </a:lnTo>
                      <a:lnTo>
                        <a:pt x="1124" y="712"/>
                      </a:lnTo>
                      <a:lnTo>
                        <a:pt x="1125" y="714"/>
                      </a:lnTo>
                      <a:lnTo>
                        <a:pt x="1126" y="716"/>
                      </a:lnTo>
                      <a:lnTo>
                        <a:pt x="1129" y="716"/>
                      </a:lnTo>
                      <a:lnTo>
                        <a:pt x="1131" y="717"/>
                      </a:lnTo>
                      <a:lnTo>
                        <a:pt x="1131" y="718"/>
                      </a:lnTo>
                      <a:lnTo>
                        <a:pt x="1133" y="718"/>
                      </a:lnTo>
                      <a:lnTo>
                        <a:pt x="1134" y="718"/>
                      </a:lnTo>
                      <a:lnTo>
                        <a:pt x="1135" y="718"/>
                      </a:lnTo>
                      <a:lnTo>
                        <a:pt x="1136" y="718"/>
                      </a:lnTo>
                      <a:lnTo>
                        <a:pt x="1137" y="717"/>
                      </a:lnTo>
                      <a:lnTo>
                        <a:pt x="1136" y="713"/>
                      </a:lnTo>
                      <a:lnTo>
                        <a:pt x="1137" y="714"/>
                      </a:lnTo>
                      <a:lnTo>
                        <a:pt x="1138" y="714"/>
                      </a:lnTo>
                      <a:lnTo>
                        <a:pt x="1137" y="716"/>
                      </a:lnTo>
                      <a:lnTo>
                        <a:pt x="1138" y="717"/>
                      </a:lnTo>
                      <a:lnTo>
                        <a:pt x="1140" y="717"/>
                      </a:lnTo>
                      <a:lnTo>
                        <a:pt x="1138" y="717"/>
                      </a:lnTo>
                      <a:lnTo>
                        <a:pt x="1138" y="718"/>
                      </a:lnTo>
                      <a:lnTo>
                        <a:pt x="1140" y="718"/>
                      </a:lnTo>
                      <a:lnTo>
                        <a:pt x="1140" y="719"/>
                      </a:lnTo>
                      <a:lnTo>
                        <a:pt x="1140" y="720"/>
                      </a:lnTo>
                      <a:lnTo>
                        <a:pt x="1141" y="721"/>
                      </a:lnTo>
                      <a:lnTo>
                        <a:pt x="1142" y="722"/>
                      </a:lnTo>
                      <a:lnTo>
                        <a:pt x="1143" y="722"/>
                      </a:lnTo>
                      <a:lnTo>
                        <a:pt x="1144" y="722"/>
                      </a:lnTo>
                      <a:lnTo>
                        <a:pt x="1147" y="721"/>
                      </a:lnTo>
                      <a:lnTo>
                        <a:pt x="1147" y="720"/>
                      </a:lnTo>
                      <a:lnTo>
                        <a:pt x="1148" y="720"/>
                      </a:lnTo>
                      <a:lnTo>
                        <a:pt x="1148" y="719"/>
                      </a:lnTo>
                      <a:lnTo>
                        <a:pt x="1149" y="719"/>
                      </a:lnTo>
                      <a:lnTo>
                        <a:pt x="1149" y="720"/>
                      </a:lnTo>
                      <a:lnTo>
                        <a:pt x="1149" y="721"/>
                      </a:lnTo>
                      <a:lnTo>
                        <a:pt x="1150" y="720"/>
                      </a:lnTo>
                      <a:lnTo>
                        <a:pt x="1150" y="721"/>
                      </a:lnTo>
                      <a:lnTo>
                        <a:pt x="1151" y="721"/>
                      </a:lnTo>
                      <a:lnTo>
                        <a:pt x="1153" y="721"/>
                      </a:lnTo>
                      <a:lnTo>
                        <a:pt x="1154" y="721"/>
                      </a:lnTo>
                      <a:lnTo>
                        <a:pt x="1154" y="720"/>
                      </a:lnTo>
                      <a:lnTo>
                        <a:pt x="1155" y="721"/>
                      </a:lnTo>
                      <a:lnTo>
                        <a:pt x="1155" y="720"/>
                      </a:lnTo>
                      <a:lnTo>
                        <a:pt x="1156" y="720"/>
                      </a:lnTo>
                      <a:lnTo>
                        <a:pt x="1156" y="719"/>
                      </a:lnTo>
                      <a:lnTo>
                        <a:pt x="1157" y="719"/>
                      </a:lnTo>
                      <a:lnTo>
                        <a:pt x="1157" y="720"/>
                      </a:lnTo>
                      <a:lnTo>
                        <a:pt x="1158" y="720"/>
                      </a:lnTo>
                      <a:lnTo>
                        <a:pt x="1159" y="721"/>
                      </a:lnTo>
                      <a:lnTo>
                        <a:pt x="1158" y="721"/>
                      </a:lnTo>
                      <a:lnTo>
                        <a:pt x="1157" y="722"/>
                      </a:lnTo>
                      <a:lnTo>
                        <a:pt x="1158" y="723"/>
                      </a:lnTo>
                      <a:lnTo>
                        <a:pt x="1157" y="724"/>
                      </a:lnTo>
                      <a:lnTo>
                        <a:pt x="1156" y="725"/>
                      </a:lnTo>
                      <a:lnTo>
                        <a:pt x="1155" y="725"/>
                      </a:lnTo>
                      <a:lnTo>
                        <a:pt x="1154" y="725"/>
                      </a:lnTo>
                      <a:lnTo>
                        <a:pt x="1154" y="724"/>
                      </a:lnTo>
                      <a:lnTo>
                        <a:pt x="1153" y="724"/>
                      </a:lnTo>
                      <a:lnTo>
                        <a:pt x="1154" y="723"/>
                      </a:lnTo>
                      <a:lnTo>
                        <a:pt x="1154" y="724"/>
                      </a:lnTo>
                      <a:lnTo>
                        <a:pt x="1155" y="724"/>
                      </a:lnTo>
                      <a:lnTo>
                        <a:pt x="1155" y="725"/>
                      </a:lnTo>
                      <a:lnTo>
                        <a:pt x="1155" y="724"/>
                      </a:lnTo>
                      <a:lnTo>
                        <a:pt x="1156" y="724"/>
                      </a:lnTo>
                      <a:lnTo>
                        <a:pt x="1155" y="724"/>
                      </a:lnTo>
                      <a:lnTo>
                        <a:pt x="1155" y="723"/>
                      </a:lnTo>
                      <a:lnTo>
                        <a:pt x="1155" y="722"/>
                      </a:lnTo>
                      <a:lnTo>
                        <a:pt x="1154" y="722"/>
                      </a:lnTo>
                      <a:lnTo>
                        <a:pt x="1154" y="723"/>
                      </a:lnTo>
                      <a:lnTo>
                        <a:pt x="1155" y="723"/>
                      </a:lnTo>
                      <a:lnTo>
                        <a:pt x="1154" y="723"/>
                      </a:lnTo>
                      <a:lnTo>
                        <a:pt x="1154" y="722"/>
                      </a:lnTo>
                      <a:lnTo>
                        <a:pt x="1153" y="723"/>
                      </a:lnTo>
                      <a:lnTo>
                        <a:pt x="1151" y="723"/>
                      </a:lnTo>
                      <a:lnTo>
                        <a:pt x="1151" y="724"/>
                      </a:lnTo>
                      <a:lnTo>
                        <a:pt x="1153" y="724"/>
                      </a:lnTo>
                      <a:lnTo>
                        <a:pt x="1151" y="724"/>
                      </a:lnTo>
                      <a:lnTo>
                        <a:pt x="1153" y="724"/>
                      </a:lnTo>
                      <a:lnTo>
                        <a:pt x="1153" y="725"/>
                      </a:lnTo>
                      <a:lnTo>
                        <a:pt x="1153" y="724"/>
                      </a:lnTo>
                      <a:lnTo>
                        <a:pt x="1153" y="725"/>
                      </a:lnTo>
                      <a:lnTo>
                        <a:pt x="1154" y="725"/>
                      </a:lnTo>
                      <a:lnTo>
                        <a:pt x="1154" y="726"/>
                      </a:lnTo>
                      <a:lnTo>
                        <a:pt x="1153" y="726"/>
                      </a:lnTo>
                      <a:lnTo>
                        <a:pt x="1153" y="725"/>
                      </a:lnTo>
                      <a:lnTo>
                        <a:pt x="1151" y="725"/>
                      </a:lnTo>
                      <a:lnTo>
                        <a:pt x="1150" y="725"/>
                      </a:lnTo>
                      <a:lnTo>
                        <a:pt x="1150" y="724"/>
                      </a:lnTo>
                      <a:lnTo>
                        <a:pt x="1151" y="724"/>
                      </a:lnTo>
                      <a:lnTo>
                        <a:pt x="1150" y="724"/>
                      </a:lnTo>
                      <a:lnTo>
                        <a:pt x="1150" y="723"/>
                      </a:lnTo>
                      <a:lnTo>
                        <a:pt x="1149" y="723"/>
                      </a:lnTo>
                      <a:lnTo>
                        <a:pt x="1149" y="724"/>
                      </a:lnTo>
                      <a:lnTo>
                        <a:pt x="1148" y="724"/>
                      </a:lnTo>
                      <a:lnTo>
                        <a:pt x="1148" y="725"/>
                      </a:lnTo>
                      <a:lnTo>
                        <a:pt x="1147" y="725"/>
                      </a:lnTo>
                      <a:lnTo>
                        <a:pt x="1147" y="726"/>
                      </a:lnTo>
                      <a:lnTo>
                        <a:pt x="1147" y="727"/>
                      </a:lnTo>
                      <a:lnTo>
                        <a:pt x="1148" y="727"/>
                      </a:lnTo>
                      <a:lnTo>
                        <a:pt x="1147" y="727"/>
                      </a:lnTo>
                      <a:lnTo>
                        <a:pt x="1147" y="729"/>
                      </a:lnTo>
                      <a:lnTo>
                        <a:pt x="1147" y="727"/>
                      </a:lnTo>
                      <a:lnTo>
                        <a:pt x="1146" y="727"/>
                      </a:lnTo>
                      <a:lnTo>
                        <a:pt x="1146" y="729"/>
                      </a:lnTo>
                      <a:lnTo>
                        <a:pt x="1147" y="729"/>
                      </a:lnTo>
                      <a:lnTo>
                        <a:pt x="1148" y="729"/>
                      </a:lnTo>
                      <a:lnTo>
                        <a:pt x="1148" y="730"/>
                      </a:lnTo>
                      <a:lnTo>
                        <a:pt x="1149" y="730"/>
                      </a:lnTo>
                      <a:lnTo>
                        <a:pt x="1149" y="729"/>
                      </a:lnTo>
                      <a:lnTo>
                        <a:pt x="1148" y="729"/>
                      </a:lnTo>
                      <a:lnTo>
                        <a:pt x="1147" y="729"/>
                      </a:lnTo>
                      <a:lnTo>
                        <a:pt x="1147" y="727"/>
                      </a:lnTo>
                      <a:lnTo>
                        <a:pt x="1148" y="727"/>
                      </a:lnTo>
                      <a:lnTo>
                        <a:pt x="1148" y="729"/>
                      </a:lnTo>
                      <a:lnTo>
                        <a:pt x="1149" y="729"/>
                      </a:lnTo>
                      <a:lnTo>
                        <a:pt x="1150" y="729"/>
                      </a:lnTo>
                      <a:lnTo>
                        <a:pt x="1149" y="729"/>
                      </a:lnTo>
                      <a:lnTo>
                        <a:pt x="1149" y="727"/>
                      </a:lnTo>
                      <a:lnTo>
                        <a:pt x="1150" y="727"/>
                      </a:lnTo>
                      <a:lnTo>
                        <a:pt x="1151" y="727"/>
                      </a:lnTo>
                      <a:lnTo>
                        <a:pt x="1153" y="726"/>
                      </a:lnTo>
                      <a:lnTo>
                        <a:pt x="1154" y="726"/>
                      </a:lnTo>
                      <a:lnTo>
                        <a:pt x="1153" y="727"/>
                      </a:lnTo>
                      <a:lnTo>
                        <a:pt x="1154" y="727"/>
                      </a:lnTo>
                      <a:lnTo>
                        <a:pt x="1154" y="729"/>
                      </a:lnTo>
                      <a:lnTo>
                        <a:pt x="1154" y="730"/>
                      </a:lnTo>
                      <a:lnTo>
                        <a:pt x="1154" y="731"/>
                      </a:lnTo>
                      <a:lnTo>
                        <a:pt x="1153" y="731"/>
                      </a:lnTo>
                      <a:lnTo>
                        <a:pt x="1154" y="731"/>
                      </a:lnTo>
                      <a:lnTo>
                        <a:pt x="1154" y="732"/>
                      </a:lnTo>
                      <a:lnTo>
                        <a:pt x="1155" y="732"/>
                      </a:lnTo>
                      <a:lnTo>
                        <a:pt x="1155" y="733"/>
                      </a:lnTo>
                      <a:lnTo>
                        <a:pt x="1154" y="733"/>
                      </a:lnTo>
                      <a:lnTo>
                        <a:pt x="1153" y="733"/>
                      </a:lnTo>
                      <a:lnTo>
                        <a:pt x="1151" y="733"/>
                      </a:lnTo>
                      <a:lnTo>
                        <a:pt x="1150" y="733"/>
                      </a:lnTo>
                      <a:lnTo>
                        <a:pt x="1149" y="733"/>
                      </a:lnTo>
                      <a:lnTo>
                        <a:pt x="1148" y="732"/>
                      </a:lnTo>
                      <a:lnTo>
                        <a:pt x="1147" y="731"/>
                      </a:lnTo>
                      <a:lnTo>
                        <a:pt x="1147" y="730"/>
                      </a:lnTo>
                      <a:lnTo>
                        <a:pt x="1146" y="730"/>
                      </a:lnTo>
                      <a:lnTo>
                        <a:pt x="1145" y="730"/>
                      </a:lnTo>
                      <a:lnTo>
                        <a:pt x="1145" y="731"/>
                      </a:lnTo>
                      <a:lnTo>
                        <a:pt x="1145" y="732"/>
                      </a:lnTo>
                      <a:lnTo>
                        <a:pt x="1144" y="733"/>
                      </a:lnTo>
                      <a:lnTo>
                        <a:pt x="1143" y="733"/>
                      </a:lnTo>
                      <a:lnTo>
                        <a:pt x="1142" y="733"/>
                      </a:lnTo>
                      <a:lnTo>
                        <a:pt x="1141" y="732"/>
                      </a:lnTo>
                      <a:lnTo>
                        <a:pt x="1141" y="731"/>
                      </a:lnTo>
                      <a:lnTo>
                        <a:pt x="1140" y="731"/>
                      </a:lnTo>
                      <a:lnTo>
                        <a:pt x="1138" y="731"/>
                      </a:lnTo>
                      <a:lnTo>
                        <a:pt x="1137" y="731"/>
                      </a:lnTo>
                      <a:lnTo>
                        <a:pt x="1137" y="730"/>
                      </a:lnTo>
                      <a:lnTo>
                        <a:pt x="1136" y="730"/>
                      </a:lnTo>
                      <a:lnTo>
                        <a:pt x="1136" y="729"/>
                      </a:lnTo>
                      <a:lnTo>
                        <a:pt x="1135" y="729"/>
                      </a:lnTo>
                      <a:lnTo>
                        <a:pt x="1135" y="730"/>
                      </a:lnTo>
                      <a:lnTo>
                        <a:pt x="1136" y="730"/>
                      </a:lnTo>
                      <a:lnTo>
                        <a:pt x="1136" y="731"/>
                      </a:lnTo>
                      <a:lnTo>
                        <a:pt x="1136" y="730"/>
                      </a:lnTo>
                      <a:lnTo>
                        <a:pt x="1136" y="731"/>
                      </a:lnTo>
                      <a:lnTo>
                        <a:pt x="1136" y="732"/>
                      </a:lnTo>
                      <a:lnTo>
                        <a:pt x="1137" y="732"/>
                      </a:lnTo>
                      <a:lnTo>
                        <a:pt x="1137" y="733"/>
                      </a:lnTo>
                      <a:lnTo>
                        <a:pt x="1138" y="733"/>
                      </a:lnTo>
                      <a:lnTo>
                        <a:pt x="1140" y="733"/>
                      </a:lnTo>
                      <a:lnTo>
                        <a:pt x="1141" y="733"/>
                      </a:lnTo>
                      <a:lnTo>
                        <a:pt x="1140" y="733"/>
                      </a:lnTo>
                      <a:lnTo>
                        <a:pt x="1140" y="734"/>
                      </a:lnTo>
                      <a:lnTo>
                        <a:pt x="1141" y="734"/>
                      </a:lnTo>
                      <a:lnTo>
                        <a:pt x="1141" y="735"/>
                      </a:lnTo>
                      <a:lnTo>
                        <a:pt x="1141" y="734"/>
                      </a:lnTo>
                      <a:lnTo>
                        <a:pt x="1140" y="734"/>
                      </a:lnTo>
                      <a:lnTo>
                        <a:pt x="1141" y="735"/>
                      </a:lnTo>
                      <a:lnTo>
                        <a:pt x="1142" y="735"/>
                      </a:lnTo>
                      <a:lnTo>
                        <a:pt x="1141" y="734"/>
                      </a:lnTo>
                      <a:lnTo>
                        <a:pt x="1142" y="734"/>
                      </a:lnTo>
                      <a:lnTo>
                        <a:pt x="1143" y="735"/>
                      </a:lnTo>
                      <a:lnTo>
                        <a:pt x="1143" y="734"/>
                      </a:lnTo>
                      <a:lnTo>
                        <a:pt x="1143" y="735"/>
                      </a:lnTo>
                      <a:lnTo>
                        <a:pt x="1143" y="736"/>
                      </a:lnTo>
                      <a:lnTo>
                        <a:pt x="1143" y="737"/>
                      </a:lnTo>
                      <a:lnTo>
                        <a:pt x="1144" y="737"/>
                      </a:lnTo>
                      <a:lnTo>
                        <a:pt x="1145" y="736"/>
                      </a:lnTo>
                      <a:lnTo>
                        <a:pt x="1145" y="737"/>
                      </a:lnTo>
                      <a:lnTo>
                        <a:pt x="1146" y="737"/>
                      </a:lnTo>
                      <a:lnTo>
                        <a:pt x="1147" y="737"/>
                      </a:lnTo>
                      <a:lnTo>
                        <a:pt x="1148" y="738"/>
                      </a:lnTo>
                      <a:lnTo>
                        <a:pt x="1149" y="738"/>
                      </a:lnTo>
                      <a:lnTo>
                        <a:pt x="1149" y="737"/>
                      </a:lnTo>
                      <a:lnTo>
                        <a:pt x="1149" y="738"/>
                      </a:lnTo>
                      <a:lnTo>
                        <a:pt x="1150" y="738"/>
                      </a:lnTo>
                      <a:lnTo>
                        <a:pt x="1151" y="738"/>
                      </a:lnTo>
                      <a:lnTo>
                        <a:pt x="1151" y="737"/>
                      </a:lnTo>
                      <a:lnTo>
                        <a:pt x="1153" y="737"/>
                      </a:lnTo>
                      <a:lnTo>
                        <a:pt x="1154" y="737"/>
                      </a:lnTo>
                      <a:lnTo>
                        <a:pt x="1154" y="736"/>
                      </a:lnTo>
                      <a:lnTo>
                        <a:pt x="1155" y="736"/>
                      </a:lnTo>
                      <a:lnTo>
                        <a:pt x="1155" y="737"/>
                      </a:lnTo>
                      <a:lnTo>
                        <a:pt x="1155" y="736"/>
                      </a:lnTo>
                      <a:lnTo>
                        <a:pt x="1155" y="735"/>
                      </a:lnTo>
                      <a:lnTo>
                        <a:pt x="1156" y="735"/>
                      </a:lnTo>
                      <a:lnTo>
                        <a:pt x="1156" y="736"/>
                      </a:lnTo>
                      <a:lnTo>
                        <a:pt x="1157" y="736"/>
                      </a:lnTo>
                      <a:lnTo>
                        <a:pt x="1157" y="735"/>
                      </a:lnTo>
                      <a:lnTo>
                        <a:pt x="1158" y="736"/>
                      </a:lnTo>
                      <a:lnTo>
                        <a:pt x="1159" y="736"/>
                      </a:lnTo>
                      <a:lnTo>
                        <a:pt x="1159" y="735"/>
                      </a:lnTo>
                      <a:lnTo>
                        <a:pt x="1159" y="736"/>
                      </a:lnTo>
                      <a:lnTo>
                        <a:pt x="1160" y="736"/>
                      </a:lnTo>
                      <a:lnTo>
                        <a:pt x="1160" y="735"/>
                      </a:lnTo>
                      <a:lnTo>
                        <a:pt x="1160" y="736"/>
                      </a:lnTo>
                      <a:lnTo>
                        <a:pt x="1161" y="736"/>
                      </a:lnTo>
                      <a:lnTo>
                        <a:pt x="1161" y="737"/>
                      </a:lnTo>
                      <a:lnTo>
                        <a:pt x="1162" y="737"/>
                      </a:lnTo>
                      <a:lnTo>
                        <a:pt x="1163" y="737"/>
                      </a:lnTo>
                      <a:lnTo>
                        <a:pt x="1163" y="738"/>
                      </a:lnTo>
                      <a:lnTo>
                        <a:pt x="1163" y="739"/>
                      </a:lnTo>
                      <a:lnTo>
                        <a:pt x="1164" y="739"/>
                      </a:lnTo>
                      <a:lnTo>
                        <a:pt x="1164" y="741"/>
                      </a:lnTo>
                      <a:lnTo>
                        <a:pt x="1164" y="739"/>
                      </a:lnTo>
                      <a:lnTo>
                        <a:pt x="1166" y="739"/>
                      </a:lnTo>
                      <a:lnTo>
                        <a:pt x="1166" y="741"/>
                      </a:lnTo>
                      <a:lnTo>
                        <a:pt x="1167" y="741"/>
                      </a:lnTo>
                      <a:lnTo>
                        <a:pt x="1168" y="741"/>
                      </a:lnTo>
                      <a:lnTo>
                        <a:pt x="1169" y="741"/>
                      </a:lnTo>
                      <a:lnTo>
                        <a:pt x="1170" y="741"/>
                      </a:lnTo>
                      <a:lnTo>
                        <a:pt x="1170" y="742"/>
                      </a:lnTo>
                      <a:lnTo>
                        <a:pt x="1171" y="742"/>
                      </a:lnTo>
                      <a:lnTo>
                        <a:pt x="1171" y="743"/>
                      </a:lnTo>
                      <a:lnTo>
                        <a:pt x="1171" y="744"/>
                      </a:lnTo>
                      <a:lnTo>
                        <a:pt x="1172" y="744"/>
                      </a:lnTo>
                      <a:lnTo>
                        <a:pt x="1173" y="745"/>
                      </a:lnTo>
                      <a:lnTo>
                        <a:pt x="1174" y="745"/>
                      </a:lnTo>
                      <a:lnTo>
                        <a:pt x="1175" y="746"/>
                      </a:lnTo>
                      <a:lnTo>
                        <a:pt x="1177" y="746"/>
                      </a:lnTo>
                      <a:lnTo>
                        <a:pt x="1179" y="745"/>
                      </a:lnTo>
                      <a:lnTo>
                        <a:pt x="1180" y="745"/>
                      </a:lnTo>
                      <a:lnTo>
                        <a:pt x="1181" y="745"/>
                      </a:lnTo>
                      <a:lnTo>
                        <a:pt x="1181" y="744"/>
                      </a:lnTo>
                      <a:lnTo>
                        <a:pt x="1182" y="744"/>
                      </a:lnTo>
                      <a:lnTo>
                        <a:pt x="1182" y="743"/>
                      </a:lnTo>
                      <a:lnTo>
                        <a:pt x="1181" y="744"/>
                      </a:lnTo>
                      <a:lnTo>
                        <a:pt x="1181" y="743"/>
                      </a:lnTo>
                      <a:lnTo>
                        <a:pt x="1181" y="742"/>
                      </a:lnTo>
                      <a:lnTo>
                        <a:pt x="1180" y="741"/>
                      </a:lnTo>
                      <a:lnTo>
                        <a:pt x="1181" y="741"/>
                      </a:lnTo>
                      <a:lnTo>
                        <a:pt x="1181" y="739"/>
                      </a:lnTo>
                      <a:lnTo>
                        <a:pt x="1182" y="739"/>
                      </a:lnTo>
                      <a:lnTo>
                        <a:pt x="1183" y="739"/>
                      </a:lnTo>
                      <a:lnTo>
                        <a:pt x="1182" y="739"/>
                      </a:lnTo>
                      <a:lnTo>
                        <a:pt x="1181" y="739"/>
                      </a:lnTo>
                      <a:lnTo>
                        <a:pt x="1181" y="738"/>
                      </a:lnTo>
                      <a:lnTo>
                        <a:pt x="1180" y="738"/>
                      </a:lnTo>
                      <a:lnTo>
                        <a:pt x="1179" y="738"/>
                      </a:lnTo>
                      <a:lnTo>
                        <a:pt x="1180" y="738"/>
                      </a:lnTo>
                      <a:lnTo>
                        <a:pt x="1181" y="738"/>
                      </a:lnTo>
                      <a:lnTo>
                        <a:pt x="1182" y="738"/>
                      </a:lnTo>
                      <a:lnTo>
                        <a:pt x="1181" y="738"/>
                      </a:lnTo>
                      <a:lnTo>
                        <a:pt x="1181" y="737"/>
                      </a:lnTo>
                      <a:lnTo>
                        <a:pt x="1182" y="737"/>
                      </a:lnTo>
                      <a:lnTo>
                        <a:pt x="1183" y="737"/>
                      </a:lnTo>
                      <a:lnTo>
                        <a:pt x="1184" y="737"/>
                      </a:lnTo>
                      <a:lnTo>
                        <a:pt x="1184" y="738"/>
                      </a:lnTo>
                      <a:lnTo>
                        <a:pt x="1185" y="739"/>
                      </a:lnTo>
                      <a:lnTo>
                        <a:pt x="1185" y="741"/>
                      </a:lnTo>
                      <a:lnTo>
                        <a:pt x="1185" y="739"/>
                      </a:lnTo>
                      <a:lnTo>
                        <a:pt x="1184" y="739"/>
                      </a:lnTo>
                      <a:lnTo>
                        <a:pt x="1184" y="741"/>
                      </a:lnTo>
                      <a:lnTo>
                        <a:pt x="1185" y="741"/>
                      </a:lnTo>
                      <a:lnTo>
                        <a:pt x="1184" y="741"/>
                      </a:lnTo>
                      <a:lnTo>
                        <a:pt x="1183" y="741"/>
                      </a:lnTo>
                      <a:lnTo>
                        <a:pt x="1182" y="741"/>
                      </a:lnTo>
                      <a:lnTo>
                        <a:pt x="1182" y="742"/>
                      </a:lnTo>
                      <a:lnTo>
                        <a:pt x="1182" y="743"/>
                      </a:lnTo>
                      <a:lnTo>
                        <a:pt x="1183" y="744"/>
                      </a:lnTo>
                      <a:lnTo>
                        <a:pt x="1184" y="745"/>
                      </a:lnTo>
                      <a:lnTo>
                        <a:pt x="1184" y="746"/>
                      </a:lnTo>
                      <a:lnTo>
                        <a:pt x="1183" y="746"/>
                      </a:lnTo>
                      <a:lnTo>
                        <a:pt x="1182" y="746"/>
                      </a:lnTo>
                      <a:lnTo>
                        <a:pt x="1183" y="746"/>
                      </a:lnTo>
                      <a:lnTo>
                        <a:pt x="1184" y="746"/>
                      </a:lnTo>
                      <a:lnTo>
                        <a:pt x="1184" y="747"/>
                      </a:lnTo>
                      <a:lnTo>
                        <a:pt x="1184" y="748"/>
                      </a:lnTo>
                      <a:lnTo>
                        <a:pt x="1186" y="747"/>
                      </a:lnTo>
                      <a:lnTo>
                        <a:pt x="1187" y="747"/>
                      </a:lnTo>
                      <a:lnTo>
                        <a:pt x="1188" y="747"/>
                      </a:lnTo>
                      <a:lnTo>
                        <a:pt x="1189" y="747"/>
                      </a:lnTo>
                      <a:lnTo>
                        <a:pt x="1189" y="746"/>
                      </a:lnTo>
                      <a:lnTo>
                        <a:pt x="1190" y="746"/>
                      </a:lnTo>
                      <a:lnTo>
                        <a:pt x="1190" y="747"/>
                      </a:lnTo>
                      <a:lnTo>
                        <a:pt x="1192" y="746"/>
                      </a:lnTo>
                      <a:lnTo>
                        <a:pt x="1192" y="745"/>
                      </a:lnTo>
                      <a:lnTo>
                        <a:pt x="1192" y="744"/>
                      </a:lnTo>
                      <a:lnTo>
                        <a:pt x="1192" y="743"/>
                      </a:lnTo>
                      <a:lnTo>
                        <a:pt x="1193" y="743"/>
                      </a:lnTo>
                      <a:lnTo>
                        <a:pt x="1192" y="743"/>
                      </a:lnTo>
                      <a:lnTo>
                        <a:pt x="1192" y="742"/>
                      </a:lnTo>
                      <a:lnTo>
                        <a:pt x="1192" y="743"/>
                      </a:lnTo>
                      <a:lnTo>
                        <a:pt x="1190" y="743"/>
                      </a:lnTo>
                      <a:lnTo>
                        <a:pt x="1189" y="743"/>
                      </a:lnTo>
                      <a:lnTo>
                        <a:pt x="1189" y="742"/>
                      </a:lnTo>
                      <a:lnTo>
                        <a:pt x="1188" y="742"/>
                      </a:lnTo>
                      <a:lnTo>
                        <a:pt x="1188" y="741"/>
                      </a:lnTo>
                      <a:lnTo>
                        <a:pt x="1187" y="741"/>
                      </a:lnTo>
                      <a:lnTo>
                        <a:pt x="1186" y="741"/>
                      </a:lnTo>
                      <a:lnTo>
                        <a:pt x="1186" y="739"/>
                      </a:lnTo>
                      <a:lnTo>
                        <a:pt x="1186" y="738"/>
                      </a:lnTo>
                      <a:lnTo>
                        <a:pt x="1186" y="737"/>
                      </a:lnTo>
                      <a:lnTo>
                        <a:pt x="1187" y="737"/>
                      </a:lnTo>
                      <a:lnTo>
                        <a:pt x="1187" y="736"/>
                      </a:lnTo>
                      <a:lnTo>
                        <a:pt x="1188" y="736"/>
                      </a:lnTo>
                      <a:lnTo>
                        <a:pt x="1187" y="736"/>
                      </a:lnTo>
                      <a:lnTo>
                        <a:pt x="1188" y="736"/>
                      </a:lnTo>
                      <a:lnTo>
                        <a:pt x="1188" y="737"/>
                      </a:lnTo>
                      <a:lnTo>
                        <a:pt x="1188" y="736"/>
                      </a:lnTo>
                      <a:lnTo>
                        <a:pt x="1187" y="736"/>
                      </a:lnTo>
                      <a:lnTo>
                        <a:pt x="1187" y="735"/>
                      </a:lnTo>
                      <a:lnTo>
                        <a:pt x="1186" y="735"/>
                      </a:lnTo>
                      <a:lnTo>
                        <a:pt x="1185" y="735"/>
                      </a:lnTo>
                      <a:lnTo>
                        <a:pt x="1184" y="736"/>
                      </a:lnTo>
                      <a:lnTo>
                        <a:pt x="1183" y="736"/>
                      </a:lnTo>
                      <a:lnTo>
                        <a:pt x="1183" y="735"/>
                      </a:lnTo>
                      <a:lnTo>
                        <a:pt x="1184" y="735"/>
                      </a:lnTo>
                      <a:lnTo>
                        <a:pt x="1184" y="734"/>
                      </a:lnTo>
                      <a:lnTo>
                        <a:pt x="1185" y="734"/>
                      </a:lnTo>
                      <a:lnTo>
                        <a:pt x="1185" y="735"/>
                      </a:lnTo>
                      <a:lnTo>
                        <a:pt x="1186" y="735"/>
                      </a:lnTo>
                      <a:lnTo>
                        <a:pt x="1186" y="734"/>
                      </a:lnTo>
                      <a:lnTo>
                        <a:pt x="1185" y="734"/>
                      </a:lnTo>
                      <a:lnTo>
                        <a:pt x="1184" y="734"/>
                      </a:lnTo>
                      <a:lnTo>
                        <a:pt x="1185" y="734"/>
                      </a:lnTo>
                      <a:lnTo>
                        <a:pt x="1186" y="734"/>
                      </a:lnTo>
                      <a:lnTo>
                        <a:pt x="1187" y="734"/>
                      </a:lnTo>
                      <a:lnTo>
                        <a:pt x="1188" y="734"/>
                      </a:lnTo>
                      <a:lnTo>
                        <a:pt x="1188" y="735"/>
                      </a:lnTo>
                      <a:lnTo>
                        <a:pt x="1189" y="735"/>
                      </a:lnTo>
                      <a:lnTo>
                        <a:pt x="1189" y="734"/>
                      </a:lnTo>
                      <a:lnTo>
                        <a:pt x="1189" y="735"/>
                      </a:lnTo>
                      <a:lnTo>
                        <a:pt x="1190" y="735"/>
                      </a:lnTo>
                      <a:lnTo>
                        <a:pt x="1190" y="736"/>
                      </a:lnTo>
                      <a:lnTo>
                        <a:pt x="1189" y="736"/>
                      </a:lnTo>
                      <a:lnTo>
                        <a:pt x="1189" y="735"/>
                      </a:lnTo>
                      <a:lnTo>
                        <a:pt x="1189" y="736"/>
                      </a:lnTo>
                      <a:lnTo>
                        <a:pt x="1190" y="736"/>
                      </a:lnTo>
                      <a:lnTo>
                        <a:pt x="1192" y="736"/>
                      </a:lnTo>
                      <a:lnTo>
                        <a:pt x="1193" y="736"/>
                      </a:lnTo>
                      <a:lnTo>
                        <a:pt x="1194" y="736"/>
                      </a:lnTo>
                      <a:lnTo>
                        <a:pt x="1193" y="736"/>
                      </a:lnTo>
                      <a:lnTo>
                        <a:pt x="1194" y="736"/>
                      </a:lnTo>
                      <a:lnTo>
                        <a:pt x="1193" y="735"/>
                      </a:lnTo>
                      <a:lnTo>
                        <a:pt x="1194" y="735"/>
                      </a:lnTo>
                      <a:lnTo>
                        <a:pt x="1195" y="735"/>
                      </a:lnTo>
                      <a:lnTo>
                        <a:pt x="1196" y="735"/>
                      </a:lnTo>
                      <a:lnTo>
                        <a:pt x="1197" y="735"/>
                      </a:lnTo>
                      <a:lnTo>
                        <a:pt x="1197" y="734"/>
                      </a:lnTo>
                      <a:lnTo>
                        <a:pt x="1198" y="734"/>
                      </a:lnTo>
                      <a:lnTo>
                        <a:pt x="1198" y="733"/>
                      </a:lnTo>
                      <a:lnTo>
                        <a:pt x="1199" y="734"/>
                      </a:lnTo>
                      <a:lnTo>
                        <a:pt x="1199" y="733"/>
                      </a:lnTo>
                      <a:lnTo>
                        <a:pt x="1200" y="733"/>
                      </a:lnTo>
                      <a:lnTo>
                        <a:pt x="1201" y="733"/>
                      </a:lnTo>
                      <a:lnTo>
                        <a:pt x="1201" y="734"/>
                      </a:lnTo>
                      <a:lnTo>
                        <a:pt x="1200" y="734"/>
                      </a:lnTo>
                      <a:lnTo>
                        <a:pt x="1199" y="735"/>
                      </a:lnTo>
                      <a:lnTo>
                        <a:pt x="1198" y="735"/>
                      </a:lnTo>
                      <a:lnTo>
                        <a:pt x="1198" y="736"/>
                      </a:lnTo>
                      <a:lnTo>
                        <a:pt x="1198" y="737"/>
                      </a:lnTo>
                      <a:lnTo>
                        <a:pt x="1198" y="738"/>
                      </a:lnTo>
                      <a:lnTo>
                        <a:pt x="1199" y="738"/>
                      </a:lnTo>
                      <a:lnTo>
                        <a:pt x="1199" y="741"/>
                      </a:lnTo>
                      <a:lnTo>
                        <a:pt x="1198" y="741"/>
                      </a:lnTo>
                      <a:lnTo>
                        <a:pt x="1197" y="741"/>
                      </a:lnTo>
                      <a:lnTo>
                        <a:pt x="1197" y="742"/>
                      </a:lnTo>
                      <a:lnTo>
                        <a:pt x="1196" y="742"/>
                      </a:lnTo>
                      <a:lnTo>
                        <a:pt x="1195" y="742"/>
                      </a:lnTo>
                      <a:lnTo>
                        <a:pt x="1195" y="743"/>
                      </a:lnTo>
                      <a:lnTo>
                        <a:pt x="1195" y="744"/>
                      </a:lnTo>
                      <a:lnTo>
                        <a:pt x="1195" y="745"/>
                      </a:lnTo>
                      <a:lnTo>
                        <a:pt x="1196" y="746"/>
                      </a:lnTo>
                      <a:lnTo>
                        <a:pt x="1197" y="746"/>
                      </a:lnTo>
                      <a:lnTo>
                        <a:pt x="1197" y="747"/>
                      </a:lnTo>
                      <a:lnTo>
                        <a:pt x="1198" y="747"/>
                      </a:lnTo>
                      <a:lnTo>
                        <a:pt x="1198" y="748"/>
                      </a:lnTo>
                      <a:lnTo>
                        <a:pt x="1199" y="749"/>
                      </a:lnTo>
                      <a:lnTo>
                        <a:pt x="1199" y="750"/>
                      </a:lnTo>
                      <a:lnTo>
                        <a:pt x="1199" y="749"/>
                      </a:lnTo>
                      <a:lnTo>
                        <a:pt x="1200" y="750"/>
                      </a:lnTo>
                      <a:lnTo>
                        <a:pt x="1201" y="750"/>
                      </a:lnTo>
                      <a:lnTo>
                        <a:pt x="1202" y="750"/>
                      </a:lnTo>
                      <a:lnTo>
                        <a:pt x="1202" y="751"/>
                      </a:lnTo>
                      <a:lnTo>
                        <a:pt x="1203" y="751"/>
                      </a:lnTo>
                      <a:lnTo>
                        <a:pt x="1202" y="751"/>
                      </a:lnTo>
                      <a:lnTo>
                        <a:pt x="1201" y="751"/>
                      </a:lnTo>
                      <a:lnTo>
                        <a:pt x="1200" y="752"/>
                      </a:lnTo>
                      <a:lnTo>
                        <a:pt x="1199" y="752"/>
                      </a:lnTo>
                      <a:lnTo>
                        <a:pt x="1198" y="751"/>
                      </a:lnTo>
                      <a:lnTo>
                        <a:pt x="1199" y="752"/>
                      </a:lnTo>
                      <a:lnTo>
                        <a:pt x="1200" y="752"/>
                      </a:lnTo>
                      <a:lnTo>
                        <a:pt x="1201" y="752"/>
                      </a:lnTo>
                      <a:lnTo>
                        <a:pt x="1201" y="754"/>
                      </a:lnTo>
                      <a:lnTo>
                        <a:pt x="1202" y="754"/>
                      </a:lnTo>
                      <a:lnTo>
                        <a:pt x="1203" y="755"/>
                      </a:lnTo>
                      <a:lnTo>
                        <a:pt x="1205" y="755"/>
                      </a:lnTo>
                      <a:lnTo>
                        <a:pt x="1206" y="756"/>
                      </a:lnTo>
                      <a:lnTo>
                        <a:pt x="1207" y="756"/>
                      </a:lnTo>
                      <a:lnTo>
                        <a:pt x="1208" y="757"/>
                      </a:lnTo>
                      <a:lnTo>
                        <a:pt x="1209" y="757"/>
                      </a:lnTo>
                      <a:lnTo>
                        <a:pt x="1209" y="758"/>
                      </a:lnTo>
                      <a:lnTo>
                        <a:pt x="1210" y="758"/>
                      </a:lnTo>
                      <a:lnTo>
                        <a:pt x="1211" y="758"/>
                      </a:lnTo>
                      <a:lnTo>
                        <a:pt x="1211" y="759"/>
                      </a:lnTo>
                      <a:lnTo>
                        <a:pt x="1212" y="759"/>
                      </a:lnTo>
                      <a:lnTo>
                        <a:pt x="1212" y="760"/>
                      </a:lnTo>
                      <a:lnTo>
                        <a:pt x="1212" y="761"/>
                      </a:lnTo>
                      <a:lnTo>
                        <a:pt x="1212" y="762"/>
                      </a:lnTo>
                      <a:lnTo>
                        <a:pt x="1214" y="763"/>
                      </a:lnTo>
                      <a:lnTo>
                        <a:pt x="1214" y="764"/>
                      </a:lnTo>
                      <a:lnTo>
                        <a:pt x="1215" y="764"/>
                      </a:lnTo>
                      <a:lnTo>
                        <a:pt x="1215" y="765"/>
                      </a:lnTo>
                      <a:lnTo>
                        <a:pt x="1215" y="767"/>
                      </a:lnTo>
                      <a:lnTo>
                        <a:pt x="1216" y="767"/>
                      </a:lnTo>
                      <a:lnTo>
                        <a:pt x="1216" y="768"/>
                      </a:lnTo>
                      <a:lnTo>
                        <a:pt x="1216" y="769"/>
                      </a:lnTo>
                      <a:lnTo>
                        <a:pt x="1218" y="769"/>
                      </a:lnTo>
                      <a:lnTo>
                        <a:pt x="1219" y="770"/>
                      </a:lnTo>
                      <a:lnTo>
                        <a:pt x="1220" y="770"/>
                      </a:lnTo>
                      <a:lnTo>
                        <a:pt x="1221" y="771"/>
                      </a:lnTo>
                      <a:lnTo>
                        <a:pt x="1222" y="771"/>
                      </a:lnTo>
                      <a:lnTo>
                        <a:pt x="1222" y="772"/>
                      </a:lnTo>
                      <a:lnTo>
                        <a:pt x="1222" y="773"/>
                      </a:lnTo>
                      <a:lnTo>
                        <a:pt x="1221" y="772"/>
                      </a:lnTo>
                      <a:lnTo>
                        <a:pt x="1221" y="771"/>
                      </a:lnTo>
                      <a:lnTo>
                        <a:pt x="1220" y="771"/>
                      </a:lnTo>
                      <a:lnTo>
                        <a:pt x="1219" y="771"/>
                      </a:lnTo>
                      <a:lnTo>
                        <a:pt x="1219" y="770"/>
                      </a:lnTo>
                      <a:lnTo>
                        <a:pt x="1218" y="770"/>
                      </a:lnTo>
                      <a:lnTo>
                        <a:pt x="1216" y="770"/>
                      </a:lnTo>
                      <a:lnTo>
                        <a:pt x="1216" y="769"/>
                      </a:lnTo>
                      <a:lnTo>
                        <a:pt x="1215" y="769"/>
                      </a:lnTo>
                      <a:lnTo>
                        <a:pt x="1214" y="769"/>
                      </a:lnTo>
                      <a:lnTo>
                        <a:pt x="1214" y="768"/>
                      </a:lnTo>
                      <a:lnTo>
                        <a:pt x="1214" y="769"/>
                      </a:lnTo>
                      <a:lnTo>
                        <a:pt x="1213" y="768"/>
                      </a:lnTo>
                      <a:lnTo>
                        <a:pt x="1213" y="767"/>
                      </a:lnTo>
                      <a:lnTo>
                        <a:pt x="1212" y="767"/>
                      </a:lnTo>
                      <a:lnTo>
                        <a:pt x="1212" y="765"/>
                      </a:lnTo>
                      <a:lnTo>
                        <a:pt x="1212" y="764"/>
                      </a:lnTo>
                      <a:lnTo>
                        <a:pt x="1211" y="764"/>
                      </a:lnTo>
                      <a:lnTo>
                        <a:pt x="1211" y="763"/>
                      </a:lnTo>
                      <a:lnTo>
                        <a:pt x="1211" y="764"/>
                      </a:lnTo>
                      <a:lnTo>
                        <a:pt x="1210" y="763"/>
                      </a:lnTo>
                      <a:lnTo>
                        <a:pt x="1209" y="763"/>
                      </a:lnTo>
                      <a:lnTo>
                        <a:pt x="1209" y="762"/>
                      </a:lnTo>
                      <a:lnTo>
                        <a:pt x="1208" y="762"/>
                      </a:lnTo>
                      <a:lnTo>
                        <a:pt x="1207" y="762"/>
                      </a:lnTo>
                      <a:lnTo>
                        <a:pt x="1207" y="763"/>
                      </a:lnTo>
                      <a:lnTo>
                        <a:pt x="1207" y="764"/>
                      </a:lnTo>
                      <a:lnTo>
                        <a:pt x="1207" y="763"/>
                      </a:lnTo>
                      <a:lnTo>
                        <a:pt x="1206" y="763"/>
                      </a:lnTo>
                      <a:lnTo>
                        <a:pt x="1205" y="763"/>
                      </a:lnTo>
                      <a:lnTo>
                        <a:pt x="1203" y="763"/>
                      </a:lnTo>
                      <a:lnTo>
                        <a:pt x="1203" y="762"/>
                      </a:lnTo>
                      <a:lnTo>
                        <a:pt x="1202" y="762"/>
                      </a:lnTo>
                      <a:lnTo>
                        <a:pt x="1202" y="761"/>
                      </a:lnTo>
                      <a:lnTo>
                        <a:pt x="1201" y="761"/>
                      </a:lnTo>
                      <a:lnTo>
                        <a:pt x="1201" y="760"/>
                      </a:lnTo>
                      <a:lnTo>
                        <a:pt x="1202" y="761"/>
                      </a:lnTo>
                      <a:lnTo>
                        <a:pt x="1202" y="760"/>
                      </a:lnTo>
                      <a:lnTo>
                        <a:pt x="1203" y="760"/>
                      </a:lnTo>
                      <a:lnTo>
                        <a:pt x="1205" y="759"/>
                      </a:lnTo>
                      <a:lnTo>
                        <a:pt x="1203" y="759"/>
                      </a:lnTo>
                      <a:lnTo>
                        <a:pt x="1203" y="758"/>
                      </a:lnTo>
                      <a:lnTo>
                        <a:pt x="1202" y="758"/>
                      </a:lnTo>
                      <a:lnTo>
                        <a:pt x="1202" y="757"/>
                      </a:lnTo>
                      <a:lnTo>
                        <a:pt x="1201" y="757"/>
                      </a:lnTo>
                      <a:lnTo>
                        <a:pt x="1200" y="757"/>
                      </a:lnTo>
                      <a:lnTo>
                        <a:pt x="1200" y="756"/>
                      </a:lnTo>
                      <a:lnTo>
                        <a:pt x="1199" y="756"/>
                      </a:lnTo>
                      <a:lnTo>
                        <a:pt x="1198" y="756"/>
                      </a:lnTo>
                      <a:lnTo>
                        <a:pt x="1197" y="757"/>
                      </a:lnTo>
                      <a:lnTo>
                        <a:pt x="1196" y="756"/>
                      </a:lnTo>
                      <a:lnTo>
                        <a:pt x="1195" y="756"/>
                      </a:lnTo>
                      <a:lnTo>
                        <a:pt x="1194" y="756"/>
                      </a:lnTo>
                      <a:lnTo>
                        <a:pt x="1192" y="756"/>
                      </a:lnTo>
                      <a:lnTo>
                        <a:pt x="1189" y="756"/>
                      </a:lnTo>
                      <a:lnTo>
                        <a:pt x="1187" y="755"/>
                      </a:lnTo>
                      <a:lnTo>
                        <a:pt x="1185" y="752"/>
                      </a:lnTo>
                      <a:lnTo>
                        <a:pt x="1182" y="750"/>
                      </a:lnTo>
                      <a:lnTo>
                        <a:pt x="1181" y="750"/>
                      </a:lnTo>
                      <a:lnTo>
                        <a:pt x="1177" y="750"/>
                      </a:lnTo>
                      <a:lnTo>
                        <a:pt x="1176" y="750"/>
                      </a:lnTo>
                      <a:lnTo>
                        <a:pt x="1177" y="750"/>
                      </a:lnTo>
                      <a:lnTo>
                        <a:pt x="1176" y="751"/>
                      </a:lnTo>
                      <a:lnTo>
                        <a:pt x="1174" y="751"/>
                      </a:lnTo>
                      <a:lnTo>
                        <a:pt x="1173" y="751"/>
                      </a:lnTo>
                      <a:lnTo>
                        <a:pt x="1172" y="752"/>
                      </a:lnTo>
                      <a:lnTo>
                        <a:pt x="1172" y="751"/>
                      </a:lnTo>
                      <a:lnTo>
                        <a:pt x="1171" y="751"/>
                      </a:lnTo>
                      <a:lnTo>
                        <a:pt x="1170" y="752"/>
                      </a:lnTo>
                      <a:lnTo>
                        <a:pt x="1169" y="752"/>
                      </a:lnTo>
                      <a:lnTo>
                        <a:pt x="1168" y="754"/>
                      </a:lnTo>
                      <a:lnTo>
                        <a:pt x="1167" y="754"/>
                      </a:lnTo>
                      <a:lnTo>
                        <a:pt x="1166" y="754"/>
                      </a:lnTo>
                      <a:lnTo>
                        <a:pt x="1164" y="754"/>
                      </a:lnTo>
                      <a:lnTo>
                        <a:pt x="1164" y="752"/>
                      </a:lnTo>
                      <a:lnTo>
                        <a:pt x="1163" y="752"/>
                      </a:lnTo>
                      <a:lnTo>
                        <a:pt x="1163" y="751"/>
                      </a:lnTo>
                      <a:lnTo>
                        <a:pt x="1162" y="751"/>
                      </a:lnTo>
                      <a:lnTo>
                        <a:pt x="1162" y="750"/>
                      </a:lnTo>
                      <a:lnTo>
                        <a:pt x="1161" y="750"/>
                      </a:lnTo>
                      <a:lnTo>
                        <a:pt x="1159" y="750"/>
                      </a:lnTo>
                      <a:lnTo>
                        <a:pt x="1158" y="750"/>
                      </a:lnTo>
                      <a:lnTo>
                        <a:pt x="1158" y="749"/>
                      </a:lnTo>
                      <a:lnTo>
                        <a:pt x="1157" y="749"/>
                      </a:lnTo>
                      <a:lnTo>
                        <a:pt x="1156" y="749"/>
                      </a:lnTo>
                      <a:lnTo>
                        <a:pt x="1155" y="749"/>
                      </a:lnTo>
                      <a:lnTo>
                        <a:pt x="1154" y="749"/>
                      </a:lnTo>
                      <a:lnTo>
                        <a:pt x="1153" y="749"/>
                      </a:lnTo>
                      <a:lnTo>
                        <a:pt x="1151" y="749"/>
                      </a:lnTo>
                      <a:lnTo>
                        <a:pt x="1150" y="749"/>
                      </a:lnTo>
                      <a:lnTo>
                        <a:pt x="1149" y="750"/>
                      </a:lnTo>
                      <a:lnTo>
                        <a:pt x="1148" y="750"/>
                      </a:lnTo>
                      <a:lnTo>
                        <a:pt x="1148" y="751"/>
                      </a:lnTo>
                      <a:lnTo>
                        <a:pt x="1147" y="751"/>
                      </a:lnTo>
                      <a:lnTo>
                        <a:pt x="1146" y="751"/>
                      </a:lnTo>
                      <a:lnTo>
                        <a:pt x="1145" y="751"/>
                      </a:lnTo>
                      <a:lnTo>
                        <a:pt x="1145" y="750"/>
                      </a:lnTo>
                      <a:lnTo>
                        <a:pt x="1144" y="750"/>
                      </a:lnTo>
                      <a:lnTo>
                        <a:pt x="1143" y="750"/>
                      </a:lnTo>
                      <a:lnTo>
                        <a:pt x="1144" y="750"/>
                      </a:lnTo>
                      <a:lnTo>
                        <a:pt x="1143" y="750"/>
                      </a:lnTo>
                      <a:lnTo>
                        <a:pt x="1143" y="751"/>
                      </a:lnTo>
                      <a:lnTo>
                        <a:pt x="1142" y="751"/>
                      </a:lnTo>
                      <a:lnTo>
                        <a:pt x="1142" y="750"/>
                      </a:lnTo>
                      <a:lnTo>
                        <a:pt x="1142" y="749"/>
                      </a:lnTo>
                      <a:lnTo>
                        <a:pt x="1142" y="748"/>
                      </a:lnTo>
                      <a:lnTo>
                        <a:pt x="1142" y="747"/>
                      </a:lnTo>
                      <a:lnTo>
                        <a:pt x="1142" y="746"/>
                      </a:lnTo>
                      <a:lnTo>
                        <a:pt x="1141" y="746"/>
                      </a:lnTo>
                      <a:lnTo>
                        <a:pt x="1140" y="746"/>
                      </a:lnTo>
                      <a:lnTo>
                        <a:pt x="1138" y="747"/>
                      </a:lnTo>
                      <a:lnTo>
                        <a:pt x="1138" y="746"/>
                      </a:lnTo>
                      <a:lnTo>
                        <a:pt x="1138" y="745"/>
                      </a:lnTo>
                      <a:lnTo>
                        <a:pt x="1140" y="745"/>
                      </a:lnTo>
                      <a:lnTo>
                        <a:pt x="1138" y="744"/>
                      </a:lnTo>
                      <a:lnTo>
                        <a:pt x="1138" y="743"/>
                      </a:lnTo>
                      <a:lnTo>
                        <a:pt x="1137" y="743"/>
                      </a:lnTo>
                      <a:lnTo>
                        <a:pt x="1136" y="742"/>
                      </a:lnTo>
                      <a:lnTo>
                        <a:pt x="1134" y="742"/>
                      </a:lnTo>
                      <a:lnTo>
                        <a:pt x="1133" y="742"/>
                      </a:lnTo>
                      <a:lnTo>
                        <a:pt x="1134" y="742"/>
                      </a:lnTo>
                      <a:lnTo>
                        <a:pt x="1134" y="741"/>
                      </a:lnTo>
                      <a:lnTo>
                        <a:pt x="1134" y="739"/>
                      </a:lnTo>
                      <a:lnTo>
                        <a:pt x="1134" y="738"/>
                      </a:lnTo>
                      <a:lnTo>
                        <a:pt x="1135" y="738"/>
                      </a:lnTo>
                      <a:lnTo>
                        <a:pt x="1135" y="737"/>
                      </a:lnTo>
                      <a:lnTo>
                        <a:pt x="1136" y="737"/>
                      </a:lnTo>
                      <a:lnTo>
                        <a:pt x="1137" y="737"/>
                      </a:lnTo>
                      <a:lnTo>
                        <a:pt x="1136" y="737"/>
                      </a:lnTo>
                      <a:lnTo>
                        <a:pt x="1136" y="736"/>
                      </a:lnTo>
                      <a:lnTo>
                        <a:pt x="1135" y="737"/>
                      </a:lnTo>
                      <a:lnTo>
                        <a:pt x="1135" y="736"/>
                      </a:lnTo>
                      <a:lnTo>
                        <a:pt x="1134" y="736"/>
                      </a:lnTo>
                      <a:lnTo>
                        <a:pt x="1133" y="735"/>
                      </a:lnTo>
                      <a:lnTo>
                        <a:pt x="1132" y="735"/>
                      </a:lnTo>
                      <a:lnTo>
                        <a:pt x="1131" y="734"/>
                      </a:lnTo>
                      <a:lnTo>
                        <a:pt x="1130" y="734"/>
                      </a:lnTo>
                      <a:lnTo>
                        <a:pt x="1130" y="735"/>
                      </a:lnTo>
                      <a:lnTo>
                        <a:pt x="1129" y="735"/>
                      </a:lnTo>
                      <a:lnTo>
                        <a:pt x="1129" y="736"/>
                      </a:lnTo>
                      <a:lnTo>
                        <a:pt x="1128" y="736"/>
                      </a:lnTo>
                      <a:lnTo>
                        <a:pt x="1126" y="736"/>
                      </a:lnTo>
                      <a:lnTo>
                        <a:pt x="1128" y="737"/>
                      </a:lnTo>
                      <a:lnTo>
                        <a:pt x="1126" y="737"/>
                      </a:lnTo>
                      <a:lnTo>
                        <a:pt x="1126" y="738"/>
                      </a:lnTo>
                      <a:lnTo>
                        <a:pt x="1125" y="738"/>
                      </a:lnTo>
                      <a:lnTo>
                        <a:pt x="1124" y="738"/>
                      </a:lnTo>
                      <a:lnTo>
                        <a:pt x="1123" y="739"/>
                      </a:lnTo>
                      <a:lnTo>
                        <a:pt x="1122" y="739"/>
                      </a:lnTo>
                      <a:lnTo>
                        <a:pt x="1122" y="741"/>
                      </a:lnTo>
                      <a:lnTo>
                        <a:pt x="1122" y="739"/>
                      </a:lnTo>
                      <a:lnTo>
                        <a:pt x="1123" y="738"/>
                      </a:lnTo>
                      <a:lnTo>
                        <a:pt x="1123" y="737"/>
                      </a:lnTo>
                      <a:lnTo>
                        <a:pt x="1122" y="736"/>
                      </a:lnTo>
                      <a:lnTo>
                        <a:pt x="1122" y="735"/>
                      </a:lnTo>
                      <a:lnTo>
                        <a:pt x="1121" y="735"/>
                      </a:lnTo>
                      <a:lnTo>
                        <a:pt x="1121" y="734"/>
                      </a:lnTo>
                      <a:lnTo>
                        <a:pt x="1120" y="734"/>
                      </a:lnTo>
                      <a:lnTo>
                        <a:pt x="1119" y="734"/>
                      </a:lnTo>
                      <a:lnTo>
                        <a:pt x="1118" y="733"/>
                      </a:lnTo>
                      <a:lnTo>
                        <a:pt x="1117" y="733"/>
                      </a:lnTo>
                      <a:lnTo>
                        <a:pt x="1116" y="733"/>
                      </a:lnTo>
                      <a:lnTo>
                        <a:pt x="1115" y="734"/>
                      </a:lnTo>
                      <a:lnTo>
                        <a:pt x="1113" y="733"/>
                      </a:lnTo>
                      <a:lnTo>
                        <a:pt x="1112" y="732"/>
                      </a:lnTo>
                      <a:lnTo>
                        <a:pt x="1111" y="732"/>
                      </a:lnTo>
                      <a:lnTo>
                        <a:pt x="1110" y="732"/>
                      </a:lnTo>
                      <a:lnTo>
                        <a:pt x="1110" y="733"/>
                      </a:lnTo>
                      <a:lnTo>
                        <a:pt x="1109" y="733"/>
                      </a:lnTo>
                      <a:lnTo>
                        <a:pt x="1108" y="734"/>
                      </a:lnTo>
                      <a:lnTo>
                        <a:pt x="1109" y="734"/>
                      </a:lnTo>
                      <a:lnTo>
                        <a:pt x="1110" y="734"/>
                      </a:lnTo>
                      <a:lnTo>
                        <a:pt x="1110" y="735"/>
                      </a:lnTo>
                      <a:lnTo>
                        <a:pt x="1110" y="736"/>
                      </a:lnTo>
                      <a:lnTo>
                        <a:pt x="1111" y="736"/>
                      </a:lnTo>
                      <a:lnTo>
                        <a:pt x="1112" y="736"/>
                      </a:lnTo>
                      <a:lnTo>
                        <a:pt x="1112" y="737"/>
                      </a:lnTo>
                      <a:lnTo>
                        <a:pt x="1112" y="738"/>
                      </a:lnTo>
                      <a:lnTo>
                        <a:pt x="1113" y="738"/>
                      </a:lnTo>
                      <a:lnTo>
                        <a:pt x="1113" y="739"/>
                      </a:lnTo>
                      <a:lnTo>
                        <a:pt x="1115" y="739"/>
                      </a:lnTo>
                      <a:lnTo>
                        <a:pt x="1116" y="739"/>
                      </a:lnTo>
                      <a:lnTo>
                        <a:pt x="1116" y="741"/>
                      </a:lnTo>
                      <a:lnTo>
                        <a:pt x="1117" y="741"/>
                      </a:lnTo>
                      <a:lnTo>
                        <a:pt x="1117" y="742"/>
                      </a:lnTo>
                      <a:lnTo>
                        <a:pt x="1117" y="741"/>
                      </a:lnTo>
                      <a:lnTo>
                        <a:pt x="1116" y="742"/>
                      </a:lnTo>
                      <a:lnTo>
                        <a:pt x="1116" y="741"/>
                      </a:lnTo>
                      <a:lnTo>
                        <a:pt x="1115" y="742"/>
                      </a:lnTo>
                      <a:lnTo>
                        <a:pt x="1115" y="743"/>
                      </a:lnTo>
                      <a:lnTo>
                        <a:pt x="1113" y="744"/>
                      </a:lnTo>
                      <a:lnTo>
                        <a:pt x="1113" y="745"/>
                      </a:lnTo>
                      <a:lnTo>
                        <a:pt x="1115" y="746"/>
                      </a:lnTo>
                      <a:lnTo>
                        <a:pt x="1113" y="746"/>
                      </a:lnTo>
                      <a:lnTo>
                        <a:pt x="1113" y="745"/>
                      </a:lnTo>
                      <a:lnTo>
                        <a:pt x="1113" y="744"/>
                      </a:lnTo>
                      <a:lnTo>
                        <a:pt x="1112" y="744"/>
                      </a:lnTo>
                      <a:lnTo>
                        <a:pt x="1111" y="744"/>
                      </a:lnTo>
                      <a:lnTo>
                        <a:pt x="1110" y="744"/>
                      </a:lnTo>
                      <a:lnTo>
                        <a:pt x="1110" y="745"/>
                      </a:lnTo>
                      <a:lnTo>
                        <a:pt x="1111" y="746"/>
                      </a:lnTo>
                      <a:lnTo>
                        <a:pt x="1112" y="746"/>
                      </a:lnTo>
                      <a:lnTo>
                        <a:pt x="1111" y="746"/>
                      </a:lnTo>
                      <a:lnTo>
                        <a:pt x="1110" y="746"/>
                      </a:lnTo>
                      <a:lnTo>
                        <a:pt x="1109" y="746"/>
                      </a:lnTo>
                      <a:lnTo>
                        <a:pt x="1108" y="746"/>
                      </a:lnTo>
                      <a:lnTo>
                        <a:pt x="1108" y="747"/>
                      </a:lnTo>
                      <a:lnTo>
                        <a:pt x="1109" y="747"/>
                      </a:lnTo>
                      <a:lnTo>
                        <a:pt x="1109" y="748"/>
                      </a:lnTo>
                      <a:lnTo>
                        <a:pt x="1110" y="748"/>
                      </a:lnTo>
                      <a:lnTo>
                        <a:pt x="1110" y="749"/>
                      </a:lnTo>
                      <a:lnTo>
                        <a:pt x="1111" y="749"/>
                      </a:lnTo>
                      <a:lnTo>
                        <a:pt x="1111" y="750"/>
                      </a:lnTo>
                      <a:lnTo>
                        <a:pt x="1111" y="751"/>
                      </a:lnTo>
                      <a:lnTo>
                        <a:pt x="1112" y="751"/>
                      </a:lnTo>
                      <a:lnTo>
                        <a:pt x="1112" y="752"/>
                      </a:lnTo>
                      <a:lnTo>
                        <a:pt x="1113" y="752"/>
                      </a:lnTo>
                      <a:lnTo>
                        <a:pt x="1113" y="754"/>
                      </a:lnTo>
                      <a:lnTo>
                        <a:pt x="1115" y="754"/>
                      </a:lnTo>
                      <a:lnTo>
                        <a:pt x="1115" y="752"/>
                      </a:lnTo>
                      <a:lnTo>
                        <a:pt x="1116" y="754"/>
                      </a:lnTo>
                      <a:lnTo>
                        <a:pt x="1117" y="754"/>
                      </a:lnTo>
                      <a:lnTo>
                        <a:pt x="1116" y="755"/>
                      </a:lnTo>
                      <a:lnTo>
                        <a:pt x="1117" y="756"/>
                      </a:lnTo>
                      <a:lnTo>
                        <a:pt x="1117" y="755"/>
                      </a:lnTo>
                      <a:lnTo>
                        <a:pt x="1118" y="755"/>
                      </a:lnTo>
                      <a:lnTo>
                        <a:pt x="1119" y="754"/>
                      </a:lnTo>
                      <a:lnTo>
                        <a:pt x="1119" y="752"/>
                      </a:lnTo>
                      <a:lnTo>
                        <a:pt x="1118" y="752"/>
                      </a:lnTo>
                      <a:lnTo>
                        <a:pt x="1118" y="751"/>
                      </a:lnTo>
                      <a:lnTo>
                        <a:pt x="1119" y="751"/>
                      </a:lnTo>
                      <a:lnTo>
                        <a:pt x="1119" y="752"/>
                      </a:lnTo>
                      <a:lnTo>
                        <a:pt x="1119" y="754"/>
                      </a:lnTo>
                      <a:lnTo>
                        <a:pt x="1120" y="754"/>
                      </a:lnTo>
                      <a:lnTo>
                        <a:pt x="1121" y="754"/>
                      </a:lnTo>
                      <a:lnTo>
                        <a:pt x="1121" y="752"/>
                      </a:lnTo>
                      <a:lnTo>
                        <a:pt x="1122" y="754"/>
                      </a:lnTo>
                      <a:lnTo>
                        <a:pt x="1123" y="754"/>
                      </a:lnTo>
                      <a:lnTo>
                        <a:pt x="1123" y="752"/>
                      </a:lnTo>
                      <a:lnTo>
                        <a:pt x="1122" y="752"/>
                      </a:lnTo>
                      <a:lnTo>
                        <a:pt x="1122" y="751"/>
                      </a:lnTo>
                      <a:lnTo>
                        <a:pt x="1123" y="752"/>
                      </a:lnTo>
                      <a:lnTo>
                        <a:pt x="1124" y="752"/>
                      </a:lnTo>
                      <a:lnTo>
                        <a:pt x="1124" y="754"/>
                      </a:lnTo>
                      <a:lnTo>
                        <a:pt x="1125" y="754"/>
                      </a:lnTo>
                      <a:lnTo>
                        <a:pt x="1126" y="754"/>
                      </a:lnTo>
                      <a:lnTo>
                        <a:pt x="1126" y="755"/>
                      </a:lnTo>
                      <a:lnTo>
                        <a:pt x="1128" y="756"/>
                      </a:lnTo>
                      <a:lnTo>
                        <a:pt x="1128" y="757"/>
                      </a:lnTo>
                      <a:lnTo>
                        <a:pt x="1129" y="757"/>
                      </a:lnTo>
                      <a:lnTo>
                        <a:pt x="1128" y="758"/>
                      </a:lnTo>
                      <a:lnTo>
                        <a:pt x="1129" y="758"/>
                      </a:lnTo>
                      <a:lnTo>
                        <a:pt x="1129" y="759"/>
                      </a:lnTo>
                      <a:lnTo>
                        <a:pt x="1128" y="759"/>
                      </a:lnTo>
                      <a:lnTo>
                        <a:pt x="1128" y="758"/>
                      </a:lnTo>
                      <a:lnTo>
                        <a:pt x="1126" y="758"/>
                      </a:lnTo>
                      <a:lnTo>
                        <a:pt x="1126" y="757"/>
                      </a:lnTo>
                      <a:lnTo>
                        <a:pt x="1125" y="757"/>
                      </a:lnTo>
                      <a:lnTo>
                        <a:pt x="1124" y="757"/>
                      </a:lnTo>
                      <a:lnTo>
                        <a:pt x="1124" y="758"/>
                      </a:lnTo>
                      <a:lnTo>
                        <a:pt x="1124" y="759"/>
                      </a:lnTo>
                      <a:lnTo>
                        <a:pt x="1125" y="759"/>
                      </a:lnTo>
                      <a:lnTo>
                        <a:pt x="1125" y="760"/>
                      </a:lnTo>
                      <a:lnTo>
                        <a:pt x="1126" y="760"/>
                      </a:lnTo>
                      <a:lnTo>
                        <a:pt x="1126" y="759"/>
                      </a:lnTo>
                      <a:lnTo>
                        <a:pt x="1128" y="759"/>
                      </a:lnTo>
                      <a:lnTo>
                        <a:pt x="1128" y="760"/>
                      </a:lnTo>
                      <a:lnTo>
                        <a:pt x="1128" y="759"/>
                      </a:lnTo>
                      <a:lnTo>
                        <a:pt x="1129" y="759"/>
                      </a:lnTo>
                      <a:lnTo>
                        <a:pt x="1129" y="760"/>
                      </a:lnTo>
                      <a:lnTo>
                        <a:pt x="1128" y="760"/>
                      </a:lnTo>
                      <a:lnTo>
                        <a:pt x="1126" y="760"/>
                      </a:lnTo>
                      <a:lnTo>
                        <a:pt x="1125" y="760"/>
                      </a:lnTo>
                      <a:lnTo>
                        <a:pt x="1124" y="760"/>
                      </a:lnTo>
                      <a:lnTo>
                        <a:pt x="1123" y="760"/>
                      </a:lnTo>
                      <a:lnTo>
                        <a:pt x="1122" y="760"/>
                      </a:lnTo>
                      <a:lnTo>
                        <a:pt x="1121" y="760"/>
                      </a:lnTo>
                      <a:lnTo>
                        <a:pt x="1120" y="760"/>
                      </a:lnTo>
                      <a:lnTo>
                        <a:pt x="1119" y="760"/>
                      </a:lnTo>
                      <a:lnTo>
                        <a:pt x="1118" y="760"/>
                      </a:lnTo>
                      <a:lnTo>
                        <a:pt x="1117" y="760"/>
                      </a:lnTo>
                      <a:lnTo>
                        <a:pt x="1117" y="761"/>
                      </a:lnTo>
                      <a:lnTo>
                        <a:pt x="1116" y="761"/>
                      </a:lnTo>
                      <a:lnTo>
                        <a:pt x="1115" y="761"/>
                      </a:lnTo>
                      <a:lnTo>
                        <a:pt x="1115" y="762"/>
                      </a:lnTo>
                      <a:lnTo>
                        <a:pt x="1116" y="762"/>
                      </a:lnTo>
                      <a:lnTo>
                        <a:pt x="1116" y="763"/>
                      </a:lnTo>
                      <a:lnTo>
                        <a:pt x="1117" y="763"/>
                      </a:lnTo>
                      <a:lnTo>
                        <a:pt x="1118" y="764"/>
                      </a:lnTo>
                      <a:lnTo>
                        <a:pt x="1119" y="764"/>
                      </a:lnTo>
                      <a:lnTo>
                        <a:pt x="1119" y="765"/>
                      </a:lnTo>
                      <a:lnTo>
                        <a:pt x="1118" y="765"/>
                      </a:lnTo>
                      <a:lnTo>
                        <a:pt x="1118" y="767"/>
                      </a:lnTo>
                      <a:lnTo>
                        <a:pt x="1118" y="768"/>
                      </a:lnTo>
                      <a:lnTo>
                        <a:pt x="1119" y="768"/>
                      </a:lnTo>
                      <a:lnTo>
                        <a:pt x="1120" y="768"/>
                      </a:lnTo>
                      <a:lnTo>
                        <a:pt x="1120" y="769"/>
                      </a:lnTo>
                      <a:lnTo>
                        <a:pt x="1121" y="769"/>
                      </a:lnTo>
                      <a:lnTo>
                        <a:pt x="1121" y="770"/>
                      </a:lnTo>
                      <a:lnTo>
                        <a:pt x="1122" y="769"/>
                      </a:lnTo>
                      <a:lnTo>
                        <a:pt x="1122" y="770"/>
                      </a:lnTo>
                      <a:lnTo>
                        <a:pt x="1123" y="770"/>
                      </a:lnTo>
                      <a:lnTo>
                        <a:pt x="1124" y="770"/>
                      </a:lnTo>
                      <a:lnTo>
                        <a:pt x="1124" y="771"/>
                      </a:lnTo>
                      <a:lnTo>
                        <a:pt x="1124" y="770"/>
                      </a:lnTo>
                      <a:lnTo>
                        <a:pt x="1124" y="771"/>
                      </a:lnTo>
                      <a:lnTo>
                        <a:pt x="1125" y="771"/>
                      </a:lnTo>
                      <a:lnTo>
                        <a:pt x="1125" y="772"/>
                      </a:lnTo>
                      <a:lnTo>
                        <a:pt x="1124" y="772"/>
                      </a:lnTo>
                      <a:lnTo>
                        <a:pt x="1124" y="773"/>
                      </a:lnTo>
                      <a:lnTo>
                        <a:pt x="1123" y="773"/>
                      </a:lnTo>
                      <a:lnTo>
                        <a:pt x="1124" y="774"/>
                      </a:lnTo>
                      <a:lnTo>
                        <a:pt x="1125" y="774"/>
                      </a:lnTo>
                      <a:lnTo>
                        <a:pt x="1126" y="774"/>
                      </a:lnTo>
                      <a:lnTo>
                        <a:pt x="1128" y="774"/>
                      </a:lnTo>
                      <a:lnTo>
                        <a:pt x="1128" y="773"/>
                      </a:lnTo>
                      <a:lnTo>
                        <a:pt x="1126" y="772"/>
                      </a:lnTo>
                      <a:lnTo>
                        <a:pt x="1128" y="772"/>
                      </a:lnTo>
                      <a:lnTo>
                        <a:pt x="1129" y="772"/>
                      </a:lnTo>
                      <a:lnTo>
                        <a:pt x="1130" y="772"/>
                      </a:lnTo>
                      <a:lnTo>
                        <a:pt x="1130" y="773"/>
                      </a:lnTo>
                      <a:lnTo>
                        <a:pt x="1130" y="772"/>
                      </a:lnTo>
                      <a:lnTo>
                        <a:pt x="1130" y="773"/>
                      </a:lnTo>
                      <a:lnTo>
                        <a:pt x="1131" y="773"/>
                      </a:lnTo>
                      <a:lnTo>
                        <a:pt x="1132" y="773"/>
                      </a:lnTo>
                      <a:lnTo>
                        <a:pt x="1133" y="773"/>
                      </a:lnTo>
                      <a:lnTo>
                        <a:pt x="1134" y="773"/>
                      </a:lnTo>
                      <a:lnTo>
                        <a:pt x="1134" y="774"/>
                      </a:lnTo>
                      <a:lnTo>
                        <a:pt x="1135" y="774"/>
                      </a:lnTo>
                      <a:lnTo>
                        <a:pt x="1135" y="775"/>
                      </a:lnTo>
                      <a:lnTo>
                        <a:pt x="1135" y="776"/>
                      </a:lnTo>
                      <a:lnTo>
                        <a:pt x="1134" y="777"/>
                      </a:lnTo>
                      <a:lnTo>
                        <a:pt x="1134" y="778"/>
                      </a:lnTo>
                      <a:lnTo>
                        <a:pt x="1134" y="780"/>
                      </a:lnTo>
                      <a:lnTo>
                        <a:pt x="1134" y="781"/>
                      </a:lnTo>
                      <a:lnTo>
                        <a:pt x="1135" y="781"/>
                      </a:lnTo>
                      <a:lnTo>
                        <a:pt x="1135" y="782"/>
                      </a:lnTo>
                      <a:lnTo>
                        <a:pt x="1133" y="781"/>
                      </a:lnTo>
                      <a:lnTo>
                        <a:pt x="1132" y="781"/>
                      </a:lnTo>
                      <a:lnTo>
                        <a:pt x="1131" y="781"/>
                      </a:lnTo>
                      <a:lnTo>
                        <a:pt x="1131" y="780"/>
                      </a:lnTo>
                      <a:lnTo>
                        <a:pt x="1130" y="780"/>
                      </a:lnTo>
                      <a:lnTo>
                        <a:pt x="1129" y="778"/>
                      </a:lnTo>
                      <a:lnTo>
                        <a:pt x="1128" y="778"/>
                      </a:lnTo>
                      <a:lnTo>
                        <a:pt x="1126" y="777"/>
                      </a:lnTo>
                      <a:lnTo>
                        <a:pt x="1126" y="776"/>
                      </a:lnTo>
                      <a:lnTo>
                        <a:pt x="1126" y="777"/>
                      </a:lnTo>
                      <a:lnTo>
                        <a:pt x="1126" y="776"/>
                      </a:lnTo>
                      <a:lnTo>
                        <a:pt x="1125" y="775"/>
                      </a:lnTo>
                      <a:lnTo>
                        <a:pt x="1124" y="775"/>
                      </a:lnTo>
                      <a:lnTo>
                        <a:pt x="1123" y="775"/>
                      </a:lnTo>
                      <a:lnTo>
                        <a:pt x="1122" y="775"/>
                      </a:lnTo>
                      <a:lnTo>
                        <a:pt x="1121" y="775"/>
                      </a:lnTo>
                      <a:lnTo>
                        <a:pt x="1120" y="775"/>
                      </a:lnTo>
                      <a:lnTo>
                        <a:pt x="1120" y="774"/>
                      </a:lnTo>
                      <a:lnTo>
                        <a:pt x="1120" y="775"/>
                      </a:lnTo>
                      <a:lnTo>
                        <a:pt x="1119" y="774"/>
                      </a:lnTo>
                      <a:lnTo>
                        <a:pt x="1119" y="775"/>
                      </a:lnTo>
                      <a:lnTo>
                        <a:pt x="1119" y="774"/>
                      </a:lnTo>
                      <a:lnTo>
                        <a:pt x="1119" y="773"/>
                      </a:lnTo>
                      <a:lnTo>
                        <a:pt x="1119" y="772"/>
                      </a:lnTo>
                      <a:lnTo>
                        <a:pt x="1119" y="773"/>
                      </a:lnTo>
                      <a:lnTo>
                        <a:pt x="1118" y="773"/>
                      </a:lnTo>
                      <a:lnTo>
                        <a:pt x="1118" y="772"/>
                      </a:lnTo>
                      <a:lnTo>
                        <a:pt x="1117" y="772"/>
                      </a:lnTo>
                      <a:lnTo>
                        <a:pt x="1117" y="771"/>
                      </a:lnTo>
                      <a:lnTo>
                        <a:pt x="1117" y="772"/>
                      </a:lnTo>
                      <a:lnTo>
                        <a:pt x="1117" y="773"/>
                      </a:lnTo>
                      <a:lnTo>
                        <a:pt x="1116" y="772"/>
                      </a:lnTo>
                      <a:lnTo>
                        <a:pt x="1115" y="772"/>
                      </a:lnTo>
                      <a:lnTo>
                        <a:pt x="1116" y="772"/>
                      </a:lnTo>
                      <a:lnTo>
                        <a:pt x="1116" y="773"/>
                      </a:lnTo>
                      <a:lnTo>
                        <a:pt x="1116" y="772"/>
                      </a:lnTo>
                      <a:lnTo>
                        <a:pt x="1116" y="773"/>
                      </a:lnTo>
                      <a:lnTo>
                        <a:pt x="1116" y="774"/>
                      </a:lnTo>
                      <a:lnTo>
                        <a:pt x="1117" y="773"/>
                      </a:lnTo>
                      <a:lnTo>
                        <a:pt x="1117" y="774"/>
                      </a:lnTo>
                      <a:lnTo>
                        <a:pt x="1118" y="774"/>
                      </a:lnTo>
                      <a:lnTo>
                        <a:pt x="1117" y="774"/>
                      </a:lnTo>
                      <a:lnTo>
                        <a:pt x="1118" y="774"/>
                      </a:lnTo>
                      <a:lnTo>
                        <a:pt x="1118" y="775"/>
                      </a:lnTo>
                      <a:lnTo>
                        <a:pt x="1117" y="775"/>
                      </a:lnTo>
                      <a:lnTo>
                        <a:pt x="1116" y="775"/>
                      </a:lnTo>
                      <a:lnTo>
                        <a:pt x="1116" y="776"/>
                      </a:lnTo>
                      <a:lnTo>
                        <a:pt x="1115" y="776"/>
                      </a:lnTo>
                      <a:lnTo>
                        <a:pt x="1115" y="775"/>
                      </a:lnTo>
                      <a:lnTo>
                        <a:pt x="1115" y="774"/>
                      </a:lnTo>
                      <a:lnTo>
                        <a:pt x="1113" y="774"/>
                      </a:lnTo>
                      <a:lnTo>
                        <a:pt x="1113" y="773"/>
                      </a:lnTo>
                      <a:lnTo>
                        <a:pt x="1112" y="773"/>
                      </a:lnTo>
                      <a:lnTo>
                        <a:pt x="1112" y="774"/>
                      </a:lnTo>
                      <a:lnTo>
                        <a:pt x="1112" y="773"/>
                      </a:lnTo>
                      <a:lnTo>
                        <a:pt x="1111" y="773"/>
                      </a:lnTo>
                      <a:lnTo>
                        <a:pt x="1110" y="773"/>
                      </a:lnTo>
                      <a:lnTo>
                        <a:pt x="1110" y="772"/>
                      </a:lnTo>
                      <a:lnTo>
                        <a:pt x="1109" y="772"/>
                      </a:lnTo>
                      <a:lnTo>
                        <a:pt x="1108" y="772"/>
                      </a:lnTo>
                      <a:lnTo>
                        <a:pt x="1107" y="772"/>
                      </a:lnTo>
                      <a:lnTo>
                        <a:pt x="1106" y="772"/>
                      </a:lnTo>
                      <a:lnTo>
                        <a:pt x="1105" y="772"/>
                      </a:lnTo>
                      <a:lnTo>
                        <a:pt x="1104" y="773"/>
                      </a:lnTo>
                      <a:lnTo>
                        <a:pt x="1103" y="773"/>
                      </a:lnTo>
                      <a:lnTo>
                        <a:pt x="1103" y="774"/>
                      </a:lnTo>
                      <a:lnTo>
                        <a:pt x="1102" y="774"/>
                      </a:lnTo>
                      <a:lnTo>
                        <a:pt x="1100" y="774"/>
                      </a:lnTo>
                      <a:lnTo>
                        <a:pt x="1100" y="775"/>
                      </a:lnTo>
                      <a:lnTo>
                        <a:pt x="1100" y="776"/>
                      </a:lnTo>
                      <a:lnTo>
                        <a:pt x="1100" y="777"/>
                      </a:lnTo>
                      <a:lnTo>
                        <a:pt x="1099" y="777"/>
                      </a:lnTo>
                      <a:lnTo>
                        <a:pt x="1099" y="778"/>
                      </a:lnTo>
                      <a:lnTo>
                        <a:pt x="1100" y="778"/>
                      </a:lnTo>
                      <a:lnTo>
                        <a:pt x="1100" y="780"/>
                      </a:lnTo>
                      <a:lnTo>
                        <a:pt x="1100" y="781"/>
                      </a:lnTo>
                      <a:lnTo>
                        <a:pt x="1100" y="782"/>
                      </a:lnTo>
                      <a:lnTo>
                        <a:pt x="1099" y="782"/>
                      </a:lnTo>
                      <a:lnTo>
                        <a:pt x="1098" y="782"/>
                      </a:lnTo>
                      <a:lnTo>
                        <a:pt x="1098" y="783"/>
                      </a:lnTo>
                      <a:lnTo>
                        <a:pt x="1097" y="784"/>
                      </a:lnTo>
                      <a:lnTo>
                        <a:pt x="1098" y="784"/>
                      </a:lnTo>
                      <a:lnTo>
                        <a:pt x="1098" y="785"/>
                      </a:lnTo>
                      <a:lnTo>
                        <a:pt x="1097" y="785"/>
                      </a:lnTo>
                      <a:lnTo>
                        <a:pt x="1097" y="784"/>
                      </a:lnTo>
                      <a:lnTo>
                        <a:pt x="1096" y="784"/>
                      </a:lnTo>
                      <a:lnTo>
                        <a:pt x="1096" y="783"/>
                      </a:lnTo>
                      <a:lnTo>
                        <a:pt x="1095" y="783"/>
                      </a:lnTo>
                      <a:lnTo>
                        <a:pt x="1094" y="783"/>
                      </a:lnTo>
                      <a:lnTo>
                        <a:pt x="1093" y="783"/>
                      </a:lnTo>
                      <a:lnTo>
                        <a:pt x="1093" y="784"/>
                      </a:lnTo>
                      <a:lnTo>
                        <a:pt x="1093" y="783"/>
                      </a:lnTo>
                      <a:lnTo>
                        <a:pt x="1092" y="783"/>
                      </a:lnTo>
                      <a:lnTo>
                        <a:pt x="1091" y="783"/>
                      </a:lnTo>
                      <a:lnTo>
                        <a:pt x="1090" y="783"/>
                      </a:lnTo>
                      <a:lnTo>
                        <a:pt x="1089" y="783"/>
                      </a:lnTo>
                      <a:lnTo>
                        <a:pt x="1087" y="784"/>
                      </a:lnTo>
                      <a:lnTo>
                        <a:pt x="1087" y="783"/>
                      </a:lnTo>
                      <a:lnTo>
                        <a:pt x="1086" y="783"/>
                      </a:lnTo>
                      <a:lnTo>
                        <a:pt x="1085" y="782"/>
                      </a:lnTo>
                      <a:lnTo>
                        <a:pt x="1084" y="782"/>
                      </a:lnTo>
                      <a:lnTo>
                        <a:pt x="1083" y="782"/>
                      </a:lnTo>
                      <a:lnTo>
                        <a:pt x="1082" y="782"/>
                      </a:lnTo>
                      <a:lnTo>
                        <a:pt x="1081" y="782"/>
                      </a:lnTo>
                      <a:lnTo>
                        <a:pt x="1081" y="783"/>
                      </a:lnTo>
                      <a:lnTo>
                        <a:pt x="1080" y="783"/>
                      </a:lnTo>
                      <a:lnTo>
                        <a:pt x="1081" y="784"/>
                      </a:lnTo>
                      <a:lnTo>
                        <a:pt x="1082" y="784"/>
                      </a:lnTo>
                      <a:lnTo>
                        <a:pt x="1082" y="783"/>
                      </a:lnTo>
                      <a:lnTo>
                        <a:pt x="1083" y="783"/>
                      </a:lnTo>
                      <a:lnTo>
                        <a:pt x="1083" y="784"/>
                      </a:lnTo>
                      <a:lnTo>
                        <a:pt x="1083" y="785"/>
                      </a:lnTo>
                      <a:lnTo>
                        <a:pt x="1084" y="785"/>
                      </a:lnTo>
                      <a:lnTo>
                        <a:pt x="1084" y="786"/>
                      </a:lnTo>
                      <a:lnTo>
                        <a:pt x="1085" y="786"/>
                      </a:lnTo>
                      <a:lnTo>
                        <a:pt x="1086" y="786"/>
                      </a:lnTo>
                      <a:lnTo>
                        <a:pt x="1085" y="786"/>
                      </a:lnTo>
                      <a:lnTo>
                        <a:pt x="1084" y="786"/>
                      </a:lnTo>
                      <a:lnTo>
                        <a:pt x="1083" y="786"/>
                      </a:lnTo>
                      <a:lnTo>
                        <a:pt x="1083" y="787"/>
                      </a:lnTo>
                      <a:lnTo>
                        <a:pt x="1083" y="786"/>
                      </a:lnTo>
                      <a:lnTo>
                        <a:pt x="1082" y="786"/>
                      </a:lnTo>
                      <a:lnTo>
                        <a:pt x="1081" y="786"/>
                      </a:lnTo>
                      <a:lnTo>
                        <a:pt x="1080" y="786"/>
                      </a:lnTo>
                      <a:lnTo>
                        <a:pt x="1079" y="786"/>
                      </a:lnTo>
                      <a:lnTo>
                        <a:pt x="1080" y="786"/>
                      </a:lnTo>
                      <a:lnTo>
                        <a:pt x="1080" y="787"/>
                      </a:lnTo>
                      <a:lnTo>
                        <a:pt x="1079" y="787"/>
                      </a:lnTo>
                      <a:lnTo>
                        <a:pt x="1078" y="787"/>
                      </a:lnTo>
                      <a:lnTo>
                        <a:pt x="1077" y="787"/>
                      </a:lnTo>
                      <a:lnTo>
                        <a:pt x="1076" y="787"/>
                      </a:lnTo>
                      <a:lnTo>
                        <a:pt x="1074" y="787"/>
                      </a:lnTo>
                      <a:lnTo>
                        <a:pt x="1074" y="786"/>
                      </a:lnTo>
                      <a:lnTo>
                        <a:pt x="1076" y="786"/>
                      </a:lnTo>
                      <a:lnTo>
                        <a:pt x="1076" y="785"/>
                      </a:lnTo>
                      <a:lnTo>
                        <a:pt x="1077" y="785"/>
                      </a:lnTo>
                      <a:lnTo>
                        <a:pt x="1076" y="785"/>
                      </a:lnTo>
                      <a:lnTo>
                        <a:pt x="1074" y="785"/>
                      </a:lnTo>
                      <a:lnTo>
                        <a:pt x="1074" y="784"/>
                      </a:lnTo>
                      <a:lnTo>
                        <a:pt x="1074" y="783"/>
                      </a:lnTo>
                      <a:lnTo>
                        <a:pt x="1073" y="783"/>
                      </a:lnTo>
                      <a:lnTo>
                        <a:pt x="1072" y="783"/>
                      </a:lnTo>
                      <a:lnTo>
                        <a:pt x="1071" y="783"/>
                      </a:lnTo>
                      <a:lnTo>
                        <a:pt x="1070" y="783"/>
                      </a:lnTo>
                      <a:lnTo>
                        <a:pt x="1069" y="783"/>
                      </a:lnTo>
                      <a:lnTo>
                        <a:pt x="1069" y="784"/>
                      </a:lnTo>
                      <a:lnTo>
                        <a:pt x="1069" y="785"/>
                      </a:lnTo>
                      <a:lnTo>
                        <a:pt x="1070" y="785"/>
                      </a:lnTo>
                      <a:lnTo>
                        <a:pt x="1069" y="785"/>
                      </a:lnTo>
                      <a:lnTo>
                        <a:pt x="1069" y="784"/>
                      </a:lnTo>
                      <a:lnTo>
                        <a:pt x="1069" y="783"/>
                      </a:lnTo>
                      <a:lnTo>
                        <a:pt x="1070" y="783"/>
                      </a:lnTo>
                      <a:lnTo>
                        <a:pt x="1070" y="784"/>
                      </a:lnTo>
                      <a:lnTo>
                        <a:pt x="1070" y="783"/>
                      </a:lnTo>
                      <a:lnTo>
                        <a:pt x="1071" y="783"/>
                      </a:lnTo>
                      <a:lnTo>
                        <a:pt x="1072" y="783"/>
                      </a:lnTo>
                      <a:lnTo>
                        <a:pt x="1073" y="784"/>
                      </a:lnTo>
                      <a:lnTo>
                        <a:pt x="1072" y="785"/>
                      </a:lnTo>
                      <a:lnTo>
                        <a:pt x="1071" y="785"/>
                      </a:lnTo>
                      <a:lnTo>
                        <a:pt x="1071" y="786"/>
                      </a:lnTo>
                      <a:lnTo>
                        <a:pt x="1070" y="786"/>
                      </a:lnTo>
                      <a:lnTo>
                        <a:pt x="1070" y="787"/>
                      </a:lnTo>
                      <a:lnTo>
                        <a:pt x="1071" y="787"/>
                      </a:lnTo>
                      <a:lnTo>
                        <a:pt x="1071" y="788"/>
                      </a:lnTo>
                      <a:lnTo>
                        <a:pt x="1072" y="788"/>
                      </a:lnTo>
                      <a:lnTo>
                        <a:pt x="1072" y="789"/>
                      </a:lnTo>
                      <a:lnTo>
                        <a:pt x="1073" y="789"/>
                      </a:lnTo>
                      <a:lnTo>
                        <a:pt x="1074" y="789"/>
                      </a:lnTo>
                      <a:lnTo>
                        <a:pt x="1074" y="790"/>
                      </a:lnTo>
                      <a:lnTo>
                        <a:pt x="1076" y="790"/>
                      </a:lnTo>
                      <a:lnTo>
                        <a:pt x="1076" y="791"/>
                      </a:lnTo>
                      <a:lnTo>
                        <a:pt x="1077" y="791"/>
                      </a:lnTo>
                      <a:lnTo>
                        <a:pt x="1078" y="791"/>
                      </a:lnTo>
                      <a:lnTo>
                        <a:pt x="1077" y="791"/>
                      </a:lnTo>
                      <a:lnTo>
                        <a:pt x="1078" y="791"/>
                      </a:lnTo>
                      <a:lnTo>
                        <a:pt x="1079" y="791"/>
                      </a:lnTo>
                      <a:lnTo>
                        <a:pt x="1079" y="793"/>
                      </a:lnTo>
                      <a:lnTo>
                        <a:pt x="1080" y="791"/>
                      </a:lnTo>
                      <a:lnTo>
                        <a:pt x="1080" y="790"/>
                      </a:lnTo>
                      <a:lnTo>
                        <a:pt x="1081" y="790"/>
                      </a:lnTo>
                      <a:lnTo>
                        <a:pt x="1081" y="791"/>
                      </a:lnTo>
                      <a:lnTo>
                        <a:pt x="1081" y="793"/>
                      </a:lnTo>
                      <a:lnTo>
                        <a:pt x="1081" y="794"/>
                      </a:lnTo>
                      <a:lnTo>
                        <a:pt x="1081" y="795"/>
                      </a:lnTo>
                      <a:lnTo>
                        <a:pt x="1082" y="795"/>
                      </a:lnTo>
                      <a:lnTo>
                        <a:pt x="1083" y="795"/>
                      </a:lnTo>
                      <a:lnTo>
                        <a:pt x="1083" y="796"/>
                      </a:lnTo>
                      <a:lnTo>
                        <a:pt x="1084" y="796"/>
                      </a:lnTo>
                      <a:lnTo>
                        <a:pt x="1083" y="796"/>
                      </a:lnTo>
                      <a:lnTo>
                        <a:pt x="1083" y="797"/>
                      </a:lnTo>
                      <a:lnTo>
                        <a:pt x="1082" y="797"/>
                      </a:lnTo>
                      <a:lnTo>
                        <a:pt x="1082" y="796"/>
                      </a:lnTo>
                      <a:lnTo>
                        <a:pt x="1081" y="795"/>
                      </a:lnTo>
                      <a:lnTo>
                        <a:pt x="1080" y="795"/>
                      </a:lnTo>
                      <a:lnTo>
                        <a:pt x="1079" y="795"/>
                      </a:lnTo>
                      <a:lnTo>
                        <a:pt x="1079" y="794"/>
                      </a:lnTo>
                      <a:lnTo>
                        <a:pt x="1078" y="794"/>
                      </a:lnTo>
                      <a:lnTo>
                        <a:pt x="1077" y="794"/>
                      </a:lnTo>
                      <a:lnTo>
                        <a:pt x="1077" y="793"/>
                      </a:lnTo>
                      <a:lnTo>
                        <a:pt x="1076" y="794"/>
                      </a:lnTo>
                      <a:lnTo>
                        <a:pt x="1074" y="794"/>
                      </a:lnTo>
                      <a:lnTo>
                        <a:pt x="1073" y="794"/>
                      </a:lnTo>
                      <a:lnTo>
                        <a:pt x="1073" y="795"/>
                      </a:lnTo>
                      <a:lnTo>
                        <a:pt x="1073" y="796"/>
                      </a:lnTo>
                      <a:lnTo>
                        <a:pt x="1074" y="796"/>
                      </a:lnTo>
                      <a:lnTo>
                        <a:pt x="1074" y="795"/>
                      </a:lnTo>
                      <a:lnTo>
                        <a:pt x="1074" y="796"/>
                      </a:lnTo>
                      <a:lnTo>
                        <a:pt x="1076" y="795"/>
                      </a:lnTo>
                      <a:lnTo>
                        <a:pt x="1076" y="796"/>
                      </a:lnTo>
                      <a:lnTo>
                        <a:pt x="1076" y="795"/>
                      </a:lnTo>
                      <a:lnTo>
                        <a:pt x="1077" y="796"/>
                      </a:lnTo>
                      <a:lnTo>
                        <a:pt x="1076" y="796"/>
                      </a:lnTo>
                      <a:lnTo>
                        <a:pt x="1076" y="797"/>
                      </a:lnTo>
                      <a:lnTo>
                        <a:pt x="1077" y="797"/>
                      </a:lnTo>
                      <a:lnTo>
                        <a:pt x="1077" y="798"/>
                      </a:lnTo>
                      <a:lnTo>
                        <a:pt x="1077" y="799"/>
                      </a:lnTo>
                      <a:lnTo>
                        <a:pt x="1078" y="799"/>
                      </a:lnTo>
                      <a:lnTo>
                        <a:pt x="1078" y="800"/>
                      </a:lnTo>
                      <a:lnTo>
                        <a:pt x="1079" y="800"/>
                      </a:lnTo>
                      <a:lnTo>
                        <a:pt x="1079" y="801"/>
                      </a:lnTo>
                      <a:lnTo>
                        <a:pt x="1079" y="802"/>
                      </a:lnTo>
                      <a:lnTo>
                        <a:pt x="1080" y="802"/>
                      </a:lnTo>
                      <a:lnTo>
                        <a:pt x="1080" y="803"/>
                      </a:lnTo>
                      <a:lnTo>
                        <a:pt x="1081" y="804"/>
                      </a:lnTo>
                      <a:lnTo>
                        <a:pt x="1082" y="804"/>
                      </a:lnTo>
                      <a:lnTo>
                        <a:pt x="1082" y="806"/>
                      </a:lnTo>
                      <a:lnTo>
                        <a:pt x="1083" y="806"/>
                      </a:lnTo>
                      <a:lnTo>
                        <a:pt x="1083" y="807"/>
                      </a:lnTo>
                      <a:lnTo>
                        <a:pt x="1084" y="808"/>
                      </a:lnTo>
                      <a:lnTo>
                        <a:pt x="1085" y="808"/>
                      </a:lnTo>
                      <a:lnTo>
                        <a:pt x="1086" y="808"/>
                      </a:lnTo>
                      <a:lnTo>
                        <a:pt x="1086" y="809"/>
                      </a:lnTo>
                      <a:lnTo>
                        <a:pt x="1087" y="809"/>
                      </a:lnTo>
                      <a:lnTo>
                        <a:pt x="1089" y="809"/>
                      </a:lnTo>
                      <a:lnTo>
                        <a:pt x="1090" y="809"/>
                      </a:lnTo>
                      <a:lnTo>
                        <a:pt x="1091" y="809"/>
                      </a:lnTo>
                      <a:lnTo>
                        <a:pt x="1092" y="809"/>
                      </a:lnTo>
                      <a:lnTo>
                        <a:pt x="1093" y="809"/>
                      </a:lnTo>
                      <a:lnTo>
                        <a:pt x="1094" y="809"/>
                      </a:lnTo>
                      <a:lnTo>
                        <a:pt x="1095" y="810"/>
                      </a:lnTo>
                      <a:lnTo>
                        <a:pt x="1096" y="811"/>
                      </a:lnTo>
                      <a:lnTo>
                        <a:pt x="1097" y="811"/>
                      </a:lnTo>
                      <a:lnTo>
                        <a:pt x="1098" y="812"/>
                      </a:lnTo>
                      <a:lnTo>
                        <a:pt x="1097" y="812"/>
                      </a:lnTo>
                      <a:lnTo>
                        <a:pt x="1096" y="812"/>
                      </a:lnTo>
                      <a:lnTo>
                        <a:pt x="1095" y="812"/>
                      </a:lnTo>
                      <a:lnTo>
                        <a:pt x="1096" y="812"/>
                      </a:lnTo>
                      <a:lnTo>
                        <a:pt x="1096" y="813"/>
                      </a:lnTo>
                      <a:lnTo>
                        <a:pt x="1095" y="813"/>
                      </a:lnTo>
                      <a:lnTo>
                        <a:pt x="1094" y="812"/>
                      </a:lnTo>
                      <a:lnTo>
                        <a:pt x="1093" y="812"/>
                      </a:lnTo>
                      <a:lnTo>
                        <a:pt x="1092" y="812"/>
                      </a:lnTo>
                      <a:lnTo>
                        <a:pt x="1091" y="812"/>
                      </a:lnTo>
                      <a:lnTo>
                        <a:pt x="1090" y="812"/>
                      </a:lnTo>
                      <a:lnTo>
                        <a:pt x="1089" y="811"/>
                      </a:lnTo>
                      <a:lnTo>
                        <a:pt x="1087" y="811"/>
                      </a:lnTo>
                      <a:lnTo>
                        <a:pt x="1087" y="810"/>
                      </a:lnTo>
                      <a:lnTo>
                        <a:pt x="1087" y="811"/>
                      </a:lnTo>
                      <a:lnTo>
                        <a:pt x="1089" y="812"/>
                      </a:lnTo>
                      <a:lnTo>
                        <a:pt x="1090" y="812"/>
                      </a:lnTo>
                      <a:lnTo>
                        <a:pt x="1090" y="813"/>
                      </a:lnTo>
                      <a:lnTo>
                        <a:pt x="1091" y="814"/>
                      </a:lnTo>
                      <a:lnTo>
                        <a:pt x="1092" y="814"/>
                      </a:lnTo>
                      <a:lnTo>
                        <a:pt x="1092" y="815"/>
                      </a:lnTo>
                      <a:lnTo>
                        <a:pt x="1092" y="816"/>
                      </a:lnTo>
                      <a:lnTo>
                        <a:pt x="1093" y="816"/>
                      </a:lnTo>
                      <a:lnTo>
                        <a:pt x="1094" y="817"/>
                      </a:lnTo>
                      <a:lnTo>
                        <a:pt x="1094" y="816"/>
                      </a:lnTo>
                      <a:lnTo>
                        <a:pt x="1095" y="817"/>
                      </a:lnTo>
                      <a:lnTo>
                        <a:pt x="1095" y="819"/>
                      </a:lnTo>
                      <a:lnTo>
                        <a:pt x="1094" y="819"/>
                      </a:lnTo>
                      <a:lnTo>
                        <a:pt x="1094" y="817"/>
                      </a:lnTo>
                      <a:lnTo>
                        <a:pt x="1093" y="817"/>
                      </a:lnTo>
                      <a:lnTo>
                        <a:pt x="1093" y="819"/>
                      </a:lnTo>
                      <a:lnTo>
                        <a:pt x="1093" y="817"/>
                      </a:lnTo>
                      <a:lnTo>
                        <a:pt x="1092" y="819"/>
                      </a:lnTo>
                      <a:lnTo>
                        <a:pt x="1091" y="819"/>
                      </a:lnTo>
                      <a:lnTo>
                        <a:pt x="1090" y="819"/>
                      </a:lnTo>
                      <a:lnTo>
                        <a:pt x="1089" y="819"/>
                      </a:lnTo>
                      <a:lnTo>
                        <a:pt x="1087" y="819"/>
                      </a:lnTo>
                      <a:lnTo>
                        <a:pt x="1089" y="820"/>
                      </a:lnTo>
                      <a:lnTo>
                        <a:pt x="1090" y="821"/>
                      </a:lnTo>
                      <a:lnTo>
                        <a:pt x="1091" y="821"/>
                      </a:lnTo>
                      <a:lnTo>
                        <a:pt x="1092" y="821"/>
                      </a:lnTo>
                      <a:lnTo>
                        <a:pt x="1092" y="822"/>
                      </a:lnTo>
                      <a:lnTo>
                        <a:pt x="1093" y="822"/>
                      </a:lnTo>
                      <a:lnTo>
                        <a:pt x="1093" y="823"/>
                      </a:lnTo>
                      <a:lnTo>
                        <a:pt x="1094" y="823"/>
                      </a:lnTo>
                      <a:lnTo>
                        <a:pt x="1095" y="823"/>
                      </a:lnTo>
                      <a:lnTo>
                        <a:pt x="1096" y="823"/>
                      </a:lnTo>
                      <a:lnTo>
                        <a:pt x="1096" y="824"/>
                      </a:lnTo>
                      <a:lnTo>
                        <a:pt x="1097" y="825"/>
                      </a:lnTo>
                      <a:lnTo>
                        <a:pt x="1096" y="825"/>
                      </a:lnTo>
                      <a:lnTo>
                        <a:pt x="1096" y="824"/>
                      </a:lnTo>
                      <a:lnTo>
                        <a:pt x="1096" y="825"/>
                      </a:lnTo>
                      <a:lnTo>
                        <a:pt x="1095" y="825"/>
                      </a:lnTo>
                      <a:lnTo>
                        <a:pt x="1094" y="825"/>
                      </a:lnTo>
                      <a:lnTo>
                        <a:pt x="1094" y="826"/>
                      </a:lnTo>
                      <a:lnTo>
                        <a:pt x="1095" y="826"/>
                      </a:lnTo>
                      <a:lnTo>
                        <a:pt x="1094" y="826"/>
                      </a:lnTo>
                      <a:lnTo>
                        <a:pt x="1095" y="826"/>
                      </a:lnTo>
                      <a:lnTo>
                        <a:pt x="1096" y="826"/>
                      </a:lnTo>
                      <a:lnTo>
                        <a:pt x="1095" y="826"/>
                      </a:lnTo>
                      <a:lnTo>
                        <a:pt x="1095" y="825"/>
                      </a:lnTo>
                      <a:lnTo>
                        <a:pt x="1096" y="825"/>
                      </a:lnTo>
                      <a:lnTo>
                        <a:pt x="1096" y="826"/>
                      </a:lnTo>
                      <a:lnTo>
                        <a:pt x="1097" y="826"/>
                      </a:lnTo>
                      <a:lnTo>
                        <a:pt x="1097" y="827"/>
                      </a:lnTo>
                      <a:lnTo>
                        <a:pt x="1096" y="827"/>
                      </a:lnTo>
                      <a:lnTo>
                        <a:pt x="1097" y="827"/>
                      </a:lnTo>
                      <a:lnTo>
                        <a:pt x="1097" y="828"/>
                      </a:lnTo>
                      <a:lnTo>
                        <a:pt x="1097" y="827"/>
                      </a:lnTo>
                      <a:lnTo>
                        <a:pt x="1097" y="828"/>
                      </a:lnTo>
                      <a:lnTo>
                        <a:pt x="1098" y="828"/>
                      </a:lnTo>
                      <a:lnTo>
                        <a:pt x="1098" y="829"/>
                      </a:lnTo>
                      <a:lnTo>
                        <a:pt x="1098" y="831"/>
                      </a:lnTo>
                      <a:lnTo>
                        <a:pt x="1098" y="832"/>
                      </a:lnTo>
                      <a:lnTo>
                        <a:pt x="1098" y="831"/>
                      </a:lnTo>
                      <a:lnTo>
                        <a:pt x="1099" y="831"/>
                      </a:lnTo>
                      <a:lnTo>
                        <a:pt x="1100" y="831"/>
                      </a:lnTo>
                      <a:lnTo>
                        <a:pt x="1100" y="829"/>
                      </a:lnTo>
                      <a:lnTo>
                        <a:pt x="1102" y="829"/>
                      </a:lnTo>
                      <a:lnTo>
                        <a:pt x="1103" y="829"/>
                      </a:lnTo>
                      <a:lnTo>
                        <a:pt x="1104" y="829"/>
                      </a:lnTo>
                      <a:lnTo>
                        <a:pt x="1104" y="828"/>
                      </a:lnTo>
                      <a:lnTo>
                        <a:pt x="1105" y="829"/>
                      </a:lnTo>
                      <a:lnTo>
                        <a:pt x="1105" y="831"/>
                      </a:lnTo>
                      <a:lnTo>
                        <a:pt x="1106" y="831"/>
                      </a:lnTo>
                      <a:lnTo>
                        <a:pt x="1106" y="832"/>
                      </a:lnTo>
                      <a:lnTo>
                        <a:pt x="1106" y="833"/>
                      </a:lnTo>
                      <a:lnTo>
                        <a:pt x="1107" y="833"/>
                      </a:lnTo>
                      <a:lnTo>
                        <a:pt x="1107" y="834"/>
                      </a:lnTo>
                      <a:lnTo>
                        <a:pt x="1108" y="834"/>
                      </a:lnTo>
                      <a:lnTo>
                        <a:pt x="1108" y="835"/>
                      </a:lnTo>
                      <a:lnTo>
                        <a:pt x="1107" y="834"/>
                      </a:lnTo>
                      <a:lnTo>
                        <a:pt x="1106" y="834"/>
                      </a:lnTo>
                      <a:lnTo>
                        <a:pt x="1106" y="835"/>
                      </a:lnTo>
                      <a:lnTo>
                        <a:pt x="1105" y="835"/>
                      </a:lnTo>
                      <a:lnTo>
                        <a:pt x="1105" y="836"/>
                      </a:lnTo>
                      <a:lnTo>
                        <a:pt x="1105" y="837"/>
                      </a:lnTo>
                      <a:lnTo>
                        <a:pt x="1105" y="838"/>
                      </a:lnTo>
                      <a:lnTo>
                        <a:pt x="1106" y="838"/>
                      </a:lnTo>
                      <a:lnTo>
                        <a:pt x="1106" y="837"/>
                      </a:lnTo>
                      <a:lnTo>
                        <a:pt x="1107" y="837"/>
                      </a:lnTo>
                      <a:lnTo>
                        <a:pt x="1108" y="837"/>
                      </a:lnTo>
                      <a:lnTo>
                        <a:pt x="1108" y="838"/>
                      </a:lnTo>
                      <a:lnTo>
                        <a:pt x="1108" y="839"/>
                      </a:lnTo>
                      <a:lnTo>
                        <a:pt x="1107" y="838"/>
                      </a:lnTo>
                      <a:lnTo>
                        <a:pt x="1106" y="838"/>
                      </a:lnTo>
                      <a:lnTo>
                        <a:pt x="1106" y="839"/>
                      </a:lnTo>
                      <a:lnTo>
                        <a:pt x="1107" y="839"/>
                      </a:lnTo>
                      <a:lnTo>
                        <a:pt x="1107" y="840"/>
                      </a:lnTo>
                      <a:lnTo>
                        <a:pt x="1108" y="840"/>
                      </a:lnTo>
                      <a:lnTo>
                        <a:pt x="1107" y="841"/>
                      </a:lnTo>
                      <a:lnTo>
                        <a:pt x="1107" y="842"/>
                      </a:lnTo>
                      <a:lnTo>
                        <a:pt x="1106" y="842"/>
                      </a:lnTo>
                      <a:lnTo>
                        <a:pt x="1105" y="842"/>
                      </a:lnTo>
                      <a:lnTo>
                        <a:pt x="1105" y="841"/>
                      </a:lnTo>
                      <a:lnTo>
                        <a:pt x="1104" y="841"/>
                      </a:lnTo>
                      <a:lnTo>
                        <a:pt x="1104" y="840"/>
                      </a:lnTo>
                      <a:lnTo>
                        <a:pt x="1104" y="841"/>
                      </a:lnTo>
                      <a:lnTo>
                        <a:pt x="1103" y="841"/>
                      </a:lnTo>
                      <a:lnTo>
                        <a:pt x="1102" y="841"/>
                      </a:lnTo>
                      <a:lnTo>
                        <a:pt x="1102" y="842"/>
                      </a:lnTo>
                      <a:lnTo>
                        <a:pt x="1100" y="842"/>
                      </a:lnTo>
                      <a:lnTo>
                        <a:pt x="1099" y="842"/>
                      </a:lnTo>
                      <a:lnTo>
                        <a:pt x="1099" y="844"/>
                      </a:lnTo>
                      <a:lnTo>
                        <a:pt x="1099" y="842"/>
                      </a:lnTo>
                      <a:lnTo>
                        <a:pt x="1100" y="842"/>
                      </a:lnTo>
                      <a:lnTo>
                        <a:pt x="1100" y="841"/>
                      </a:lnTo>
                      <a:lnTo>
                        <a:pt x="1102" y="841"/>
                      </a:lnTo>
                      <a:lnTo>
                        <a:pt x="1100" y="840"/>
                      </a:lnTo>
                      <a:lnTo>
                        <a:pt x="1099" y="839"/>
                      </a:lnTo>
                      <a:lnTo>
                        <a:pt x="1099" y="840"/>
                      </a:lnTo>
                      <a:lnTo>
                        <a:pt x="1098" y="840"/>
                      </a:lnTo>
                      <a:lnTo>
                        <a:pt x="1098" y="839"/>
                      </a:lnTo>
                      <a:lnTo>
                        <a:pt x="1097" y="839"/>
                      </a:lnTo>
                      <a:lnTo>
                        <a:pt x="1097" y="840"/>
                      </a:lnTo>
                      <a:lnTo>
                        <a:pt x="1098" y="840"/>
                      </a:lnTo>
                      <a:lnTo>
                        <a:pt x="1097" y="840"/>
                      </a:lnTo>
                      <a:lnTo>
                        <a:pt x="1096" y="840"/>
                      </a:lnTo>
                      <a:lnTo>
                        <a:pt x="1095" y="840"/>
                      </a:lnTo>
                      <a:lnTo>
                        <a:pt x="1095" y="839"/>
                      </a:lnTo>
                      <a:lnTo>
                        <a:pt x="1094" y="840"/>
                      </a:lnTo>
                      <a:lnTo>
                        <a:pt x="1095" y="840"/>
                      </a:lnTo>
                      <a:lnTo>
                        <a:pt x="1095" y="841"/>
                      </a:lnTo>
                      <a:lnTo>
                        <a:pt x="1096" y="841"/>
                      </a:lnTo>
                      <a:lnTo>
                        <a:pt x="1096" y="842"/>
                      </a:lnTo>
                      <a:lnTo>
                        <a:pt x="1096" y="841"/>
                      </a:lnTo>
                      <a:lnTo>
                        <a:pt x="1097" y="841"/>
                      </a:lnTo>
                      <a:lnTo>
                        <a:pt x="1097" y="842"/>
                      </a:lnTo>
                      <a:lnTo>
                        <a:pt x="1098" y="842"/>
                      </a:lnTo>
                      <a:lnTo>
                        <a:pt x="1097" y="842"/>
                      </a:lnTo>
                      <a:lnTo>
                        <a:pt x="1097" y="844"/>
                      </a:lnTo>
                      <a:lnTo>
                        <a:pt x="1098" y="844"/>
                      </a:lnTo>
                      <a:lnTo>
                        <a:pt x="1099" y="844"/>
                      </a:lnTo>
                      <a:lnTo>
                        <a:pt x="1100" y="844"/>
                      </a:lnTo>
                      <a:lnTo>
                        <a:pt x="1100" y="842"/>
                      </a:lnTo>
                      <a:lnTo>
                        <a:pt x="1102" y="842"/>
                      </a:lnTo>
                      <a:lnTo>
                        <a:pt x="1103" y="842"/>
                      </a:lnTo>
                      <a:lnTo>
                        <a:pt x="1104" y="842"/>
                      </a:lnTo>
                      <a:lnTo>
                        <a:pt x="1103" y="842"/>
                      </a:lnTo>
                      <a:lnTo>
                        <a:pt x="1103" y="844"/>
                      </a:lnTo>
                      <a:lnTo>
                        <a:pt x="1102" y="844"/>
                      </a:lnTo>
                      <a:lnTo>
                        <a:pt x="1103" y="844"/>
                      </a:lnTo>
                      <a:lnTo>
                        <a:pt x="1104" y="844"/>
                      </a:lnTo>
                      <a:lnTo>
                        <a:pt x="1105" y="844"/>
                      </a:lnTo>
                      <a:lnTo>
                        <a:pt x="1102" y="845"/>
                      </a:lnTo>
                      <a:lnTo>
                        <a:pt x="1100" y="845"/>
                      </a:lnTo>
                      <a:lnTo>
                        <a:pt x="1098" y="846"/>
                      </a:lnTo>
                      <a:lnTo>
                        <a:pt x="1097" y="846"/>
                      </a:lnTo>
                      <a:lnTo>
                        <a:pt x="1096" y="846"/>
                      </a:lnTo>
                      <a:lnTo>
                        <a:pt x="1096" y="847"/>
                      </a:lnTo>
                      <a:lnTo>
                        <a:pt x="1097" y="847"/>
                      </a:lnTo>
                      <a:lnTo>
                        <a:pt x="1097" y="848"/>
                      </a:lnTo>
                      <a:lnTo>
                        <a:pt x="1098" y="848"/>
                      </a:lnTo>
                      <a:lnTo>
                        <a:pt x="1097" y="848"/>
                      </a:lnTo>
                      <a:lnTo>
                        <a:pt x="1097" y="847"/>
                      </a:lnTo>
                      <a:lnTo>
                        <a:pt x="1097" y="848"/>
                      </a:lnTo>
                      <a:lnTo>
                        <a:pt x="1098" y="848"/>
                      </a:lnTo>
                      <a:lnTo>
                        <a:pt x="1099" y="848"/>
                      </a:lnTo>
                      <a:lnTo>
                        <a:pt x="1100" y="847"/>
                      </a:lnTo>
                      <a:lnTo>
                        <a:pt x="1102" y="847"/>
                      </a:lnTo>
                      <a:lnTo>
                        <a:pt x="1103" y="847"/>
                      </a:lnTo>
                      <a:lnTo>
                        <a:pt x="1104" y="848"/>
                      </a:lnTo>
                      <a:lnTo>
                        <a:pt x="1104" y="849"/>
                      </a:lnTo>
                      <a:lnTo>
                        <a:pt x="1103" y="849"/>
                      </a:lnTo>
                      <a:lnTo>
                        <a:pt x="1102" y="849"/>
                      </a:lnTo>
                      <a:lnTo>
                        <a:pt x="1102" y="850"/>
                      </a:lnTo>
                      <a:lnTo>
                        <a:pt x="1102" y="851"/>
                      </a:lnTo>
                      <a:lnTo>
                        <a:pt x="1103" y="850"/>
                      </a:lnTo>
                      <a:lnTo>
                        <a:pt x="1104" y="850"/>
                      </a:lnTo>
                      <a:lnTo>
                        <a:pt x="1105" y="850"/>
                      </a:lnTo>
                      <a:lnTo>
                        <a:pt x="1106" y="850"/>
                      </a:lnTo>
                      <a:lnTo>
                        <a:pt x="1107" y="850"/>
                      </a:lnTo>
                      <a:lnTo>
                        <a:pt x="1107" y="851"/>
                      </a:lnTo>
                      <a:lnTo>
                        <a:pt x="1108" y="852"/>
                      </a:lnTo>
                      <a:lnTo>
                        <a:pt x="1109" y="852"/>
                      </a:lnTo>
                      <a:lnTo>
                        <a:pt x="1110" y="852"/>
                      </a:lnTo>
                      <a:lnTo>
                        <a:pt x="1110" y="853"/>
                      </a:lnTo>
                      <a:lnTo>
                        <a:pt x="1111" y="853"/>
                      </a:lnTo>
                      <a:lnTo>
                        <a:pt x="1111" y="854"/>
                      </a:lnTo>
                      <a:lnTo>
                        <a:pt x="1111" y="855"/>
                      </a:lnTo>
                      <a:lnTo>
                        <a:pt x="1112" y="855"/>
                      </a:lnTo>
                      <a:lnTo>
                        <a:pt x="1113" y="855"/>
                      </a:lnTo>
                      <a:lnTo>
                        <a:pt x="1115" y="855"/>
                      </a:lnTo>
                      <a:lnTo>
                        <a:pt x="1115" y="857"/>
                      </a:lnTo>
                      <a:lnTo>
                        <a:pt x="1116" y="857"/>
                      </a:lnTo>
                      <a:lnTo>
                        <a:pt x="1117" y="855"/>
                      </a:lnTo>
                      <a:lnTo>
                        <a:pt x="1117" y="857"/>
                      </a:lnTo>
                      <a:lnTo>
                        <a:pt x="1118" y="855"/>
                      </a:lnTo>
                      <a:lnTo>
                        <a:pt x="1119" y="855"/>
                      </a:lnTo>
                      <a:lnTo>
                        <a:pt x="1119" y="857"/>
                      </a:lnTo>
                      <a:lnTo>
                        <a:pt x="1120" y="857"/>
                      </a:lnTo>
                      <a:lnTo>
                        <a:pt x="1119" y="855"/>
                      </a:lnTo>
                      <a:lnTo>
                        <a:pt x="1118" y="855"/>
                      </a:lnTo>
                      <a:lnTo>
                        <a:pt x="1117" y="855"/>
                      </a:lnTo>
                      <a:lnTo>
                        <a:pt x="1116" y="855"/>
                      </a:lnTo>
                      <a:lnTo>
                        <a:pt x="1116" y="854"/>
                      </a:lnTo>
                      <a:lnTo>
                        <a:pt x="1115" y="854"/>
                      </a:lnTo>
                      <a:lnTo>
                        <a:pt x="1116" y="853"/>
                      </a:lnTo>
                      <a:lnTo>
                        <a:pt x="1117" y="853"/>
                      </a:lnTo>
                      <a:lnTo>
                        <a:pt x="1117" y="854"/>
                      </a:lnTo>
                      <a:lnTo>
                        <a:pt x="1118" y="853"/>
                      </a:lnTo>
                      <a:lnTo>
                        <a:pt x="1119" y="853"/>
                      </a:lnTo>
                      <a:lnTo>
                        <a:pt x="1120" y="853"/>
                      </a:lnTo>
                      <a:lnTo>
                        <a:pt x="1121" y="853"/>
                      </a:lnTo>
                      <a:lnTo>
                        <a:pt x="1122" y="853"/>
                      </a:lnTo>
                      <a:lnTo>
                        <a:pt x="1122" y="852"/>
                      </a:lnTo>
                      <a:lnTo>
                        <a:pt x="1123" y="852"/>
                      </a:lnTo>
                      <a:lnTo>
                        <a:pt x="1124" y="852"/>
                      </a:lnTo>
                      <a:lnTo>
                        <a:pt x="1123" y="853"/>
                      </a:lnTo>
                      <a:lnTo>
                        <a:pt x="1122" y="853"/>
                      </a:lnTo>
                      <a:lnTo>
                        <a:pt x="1123" y="854"/>
                      </a:lnTo>
                      <a:lnTo>
                        <a:pt x="1122" y="854"/>
                      </a:lnTo>
                      <a:lnTo>
                        <a:pt x="1123" y="854"/>
                      </a:lnTo>
                      <a:lnTo>
                        <a:pt x="1123" y="855"/>
                      </a:lnTo>
                      <a:lnTo>
                        <a:pt x="1124" y="855"/>
                      </a:lnTo>
                      <a:lnTo>
                        <a:pt x="1125" y="855"/>
                      </a:lnTo>
                      <a:lnTo>
                        <a:pt x="1125" y="857"/>
                      </a:lnTo>
                      <a:lnTo>
                        <a:pt x="1126" y="857"/>
                      </a:lnTo>
                      <a:lnTo>
                        <a:pt x="1125" y="857"/>
                      </a:lnTo>
                      <a:lnTo>
                        <a:pt x="1124" y="857"/>
                      </a:lnTo>
                      <a:lnTo>
                        <a:pt x="1124" y="855"/>
                      </a:lnTo>
                      <a:lnTo>
                        <a:pt x="1124" y="857"/>
                      </a:lnTo>
                      <a:lnTo>
                        <a:pt x="1124" y="855"/>
                      </a:lnTo>
                      <a:lnTo>
                        <a:pt x="1123" y="855"/>
                      </a:lnTo>
                      <a:lnTo>
                        <a:pt x="1123" y="854"/>
                      </a:lnTo>
                      <a:lnTo>
                        <a:pt x="1122" y="854"/>
                      </a:lnTo>
                      <a:lnTo>
                        <a:pt x="1122" y="855"/>
                      </a:lnTo>
                      <a:lnTo>
                        <a:pt x="1123" y="855"/>
                      </a:lnTo>
                      <a:lnTo>
                        <a:pt x="1123" y="857"/>
                      </a:lnTo>
                      <a:lnTo>
                        <a:pt x="1124" y="857"/>
                      </a:lnTo>
                      <a:lnTo>
                        <a:pt x="1124" y="858"/>
                      </a:lnTo>
                      <a:lnTo>
                        <a:pt x="1124" y="859"/>
                      </a:lnTo>
                      <a:lnTo>
                        <a:pt x="1125" y="859"/>
                      </a:lnTo>
                      <a:lnTo>
                        <a:pt x="1125" y="860"/>
                      </a:lnTo>
                      <a:lnTo>
                        <a:pt x="1126" y="861"/>
                      </a:lnTo>
                      <a:lnTo>
                        <a:pt x="1126" y="862"/>
                      </a:lnTo>
                      <a:lnTo>
                        <a:pt x="1128" y="862"/>
                      </a:lnTo>
                      <a:lnTo>
                        <a:pt x="1129" y="862"/>
                      </a:lnTo>
                      <a:lnTo>
                        <a:pt x="1129" y="863"/>
                      </a:lnTo>
                      <a:lnTo>
                        <a:pt x="1129" y="862"/>
                      </a:lnTo>
                      <a:lnTo>
                        <a:pt x="1130" y="862"/>
                      </a:lnTo>
                      <a:lnTo>
                        <a:pt x="1130" y="861"/>
                      </a:lnTo>
                      <a:lnTo>
                        <a:pt x="1130" y="860"/>
                      </a:lnTo>
                      <a:lnTo>
                        <a:pt x="1131" y="861"/>
                      </a:lnTo>
                      <a:lnTo>
                        <a:pt x="1132" y="861"/>
                      </a:lnTo>
                      <a:lnTo>
                        <a:pt x="1132" y="862"/>
                      </a:lnTo>
                      <a:lnTo>
                        <a:pt x="1132" y="863"/>
                      </a:lnTo>
                      <a:lnTo>
                        <a:pt x="1133" y="863"/>
                      </a:lnTo>
                      <a:lnTo>
                        <a:pt x="1134" y="863"/>
                      </a:lnTo>
                      <a:lnTo>
                        <a:pt x="1134" y="864"/>
                      </a:lnTo>
                      <a:lnTo>
                        <a:pt x="1135" y="864"/>
                      </a:lnTo>
                      <a:lnTo>
                        <a:pt x="1136" y="864"/>
                      </a:lnTo>
                      <a:lnTo>
                        <a:pt x="1137" y="864"/>
                      </a:lnTo>
                      <a:lnTo>
                        <a:pt x="1136" y="864"/>
                      </a:lnTo>
                      <a:lnTo>
                        <a:pt x="1137" y="863"/>
                      </a:lnTo>
                      <a:lnTo>
                        <a:pt x="1137" y="864"/>
                      </a:lnTo>
                      <a:lnTo>
                        <a:pt x="1138" y="864"/>
                      </a:lnTo>
                      <a:lnTo>
                        <a:pt x="1138" y="863"/>
                      </a:lnTo>
                      <a:lnTo>
                        <a:pt x="1138" y="864"/>
                      </a:lnTo>
                      <a:lnTo>
                        <a:pt x="1138" y="863"/>
                      </a:lnTo>
                      <a:lnTo>
                        <a:pt x="1140" y="863"/>
                      </a:lnTo>
                      <a:lnTo>
                        <a:pt x="1138" y="863"/>
                      </a:lnTo>
                      <a:lnTo>
                        <a:pt x="1138" y="862"/>
                      </a:lnTo>
                      <a:lnTo>
                        <a:pt x="1137" y="862"/>
                      </a:lnTo>
                      <a:lnTo>
                        <a:pt x="1136" y="862"/>
                      </a:lnTo>
                      <a:lnTo>
                        <a:pt x="1136" y="863"/>
                      </a:lnTo>
                      <a:lnTo>
                        <a:pt x="1136" y="864"/>
                      </a:lnTo>
                      <a:lnTo>
                        <a:pt x="1135" y="863"/>
                      </a:lnTo>
                      <a:lnTo>
                        <a:pt x="1136" y="863"/>
                      </a:lnTo>
                      <a:lnTo>
                        <a:pt x="1135" y="863"/>
                      </a:lnTo>
                      <a:lnTo>
                        <a:pt x="1135" y="862"/>
                      </a:lnTo>
                      <a:lnTo>
                        <a:pt x="1136" y="862"/>
                      </a:lnTo>
                      <a:lnTo>
                        <a:pt x="1137" y="862"/>
                      </a:lnTo>
                      <a:lnTo>
                        <a:pt x="1138" y="862"/>
                      </a:lnTo>
                      <a:lnTo>
                        <a:pt x="1138" y="863"/>
                      </a:lnTo>
                      <a:lnTo>
                        <a:pt x="1140" y="863"/>
                      </a:lnTo>
                      <a:lnTo>
                        <a:pt x="1141" y="863"/>
                      </a:lnTo>
                      <a:lnTo>
                        <a:pt x="1142" y="864"/>
                      </a:lnTo>
                      <a:lnTo>
                        <a:pt x="1141" y="864"/>
                      </a:lnTo>
                      <a:lnTo>
                        <a:pt x="1141" y="865"/>
                      </a:lnTo>
                      <a:lnTo>
                        <a:pt x="1140" y="865"/>
                      </a:lnTo>
                      <a:lnTo>
                        <a:pt x="1138" y="865"/>
                      </a:lnTo>
                      <a:lnTo>
                        <a:pt x="1137" y="865"/>
                      </a:lnTo>
                      <a:lnTo>
                        <a:pt x="1137" y="866"/>
                      </a:lnTo>
                      <a:lnTo>
                        <a:pt x="1136" y="866"/>
                      </a:lnTo>
                      <a:lnTo>
                        <a:pt x="1136" y="867"/>
                      </a:lnTo>
                      <a:lnTo>
                        <a:pt x="1136" y="868"/>
                      </a:lnTo>
                      <a:lnTo>
                        <a:pt x="1137" y="868"/>
                      </a:lnTo>
                      <a:lnTo>
                        <a:pt x="1137" y="870"/>
                      </a:lnTo>
                      <a:lnTo>
                        <a:pt x="1138" y="870"/>
                      </a:lnTo>
                      <a:lnTo>
                        <a:pt x="1138" y="871"/>
                      </a:lnTo>
                      <a:lnTo>
                        <a:pt x="1140" y="871"/>
                      </a:lnTo>
                      <a:lnTo>
                        <a:pt x="1140" y="872"/>
                      </a:lnTo>
                      <a:lnTo>
                        <a:pt x="1141" y="872"/>
                      </a:lnTo>
                      <a:lnTo>
                        <a:pt x="1142" y="872"/>
                      </a:lnTo>
                      <a:lnTo>
                        <a:pt x="1142" y="871"/>
                      </a:lnTo>
                      <a:lnTo>
                        <a:pt x="1143" y="871"/>
                      </a:lnTo>
                      <a:lnTo>
                        <a:pt x="1144" y="871"/>
                      </a:lnTo>
                      <a:lnTo>
                        <a:pt x="1145" y="871"/>
                      </a:lnTo>
                      <a:lnTo>
                        <a:pt x="1145" y="870"/>
                      </a:lnTo>
                      <a:lnTo>
                        <a:pt x="1145" y="868"/>
                      </a:lnTo>
                      <a:lnTo>
                        <a:pt x="1146" y="868"/>
                      </a:lnTo>
                      <a:lnTo>
                        <a:pt x="1147" y="868"/>
                      </a:lnTo>
                      <a:lnTo>
                        <a:pt x="1148" y="868"/>
                      </a:lnTo>
                      <a:lnTo>
                        <a:pt x="1148" y="867"/>
                      </a:lnTo>
                      <a:lnTo>
                        <a:pt x="1148" y="868"/>
                      </a:lnTo>
                      <a:lnTo>
                        <a:pt x="1148" y="870"/>
                      </a:lnTo>
                      <a:lnTo>
                        <a:pt x="1149" y="871"/>
                      </a:lnTo>
                      <a:lnTo>
                        <a:pt x="1150" y="870"/>
                      </a:lnTo>
                      <a:lnTo>
                        <a:pt x="1150" y="871"/>
                      </a:lnTo>
                      <a:lnTo>
                        <a:pt x="1151" y="871"/>
                      </a:lnTo>
                      <a:lnTo>
                        <a:pt x="1153" y="870"/>
                      </a:lnTo>
                      <a:lnTo>
                        <a:pt x="1151" y="871"/>
                      </a:lnTo>
                      <a:lnTo>
                        <a:pt x="1153" y="871"/>
                      </a:lnTo>
                      <a:lnTo>
                        <a:pt x="1154" y="870"/>
                      </a:lnTo>
                      <a:lnTo>
                        <a:pt x="1154" y="868"/>
                      </a:lnTo>
                      <a:lnTo>
                        <a:pt x="1153" y="868"/>
                      </a:lnTo>
                      <a:lnTo>
                        <a:pt x="1154" y="868"/>
                      </a:lnTo>
                      <a:lnTo>
                        <a:pt x="1155" y="868"/>
                      </a:lnTo>
                      <a:lnTo>
                        <a:pt x="1156" y="868"/>
                      </a:lnTo>
                      <a:lnTo>
                        <a:pt x="1155" y="868"/>
                      </a:lnTo>
                      <a:lnTo>
                        <a:pt x="1156" y="868"/>
                      </a:lnTo>
                      <a:lnTo>
                        <a:pt x="1156" y="867"/>
                      </a:lnTo>
                      <a:lnTo>
                        <a:pt x="1157" y="867"/>
                      </a:lnTo>
                      <a:lnTo>
                        <a:pt x="1158" y="867"/>
                      </a:lnTo>
                      <a:lnTo>
                        <a:pt x="1159" y="867"/>
                      </a:lnTo>
                      <a:lnTo>
                        <a:pt x="1160" y="867"/>
                      </a:lnTo>
                      <a:lnTo>
                        <a:pt x="1160" y="868"/>
                      </a:lnTo>
                      <a:lnTo>
                        <a:pt x="1161" y="868"/>
                      </a:lnTo>
                      <a:lnTo>
                        <a:pt x="1161" y="867"/>
                      </a:lnTo>
                      <a:lnTo>
                        <a:pt x="1162" y="867"/>
                      </a:lnTo>
                      <a:lnTo>
                        <a:pt x="1163" y="867"/>
                      </a:lnTo>
                      <a:lnTo>
                        <a:pt x="1162" y="867"/>
                      </a:lnTo>
                      <a:lnTo>
                        <a:pt x="1162" y="868"/>
                      </a:lnTo>
                      <a:lnTo>
                        <a:pt x="1163" y="868"/>
                      </a:lnTo>
                      <a:lnTo>
                        <a:pt x="1162" y="870"/>
                      </a:lnTo>
                      <a:lnTo>
                        <a:pt x="1162" y="871"/>
                      </a:lnTo>
                      <a:lnTo>
                        <a:pt x="1162" y="870"/>
                      </a:lnTo>
                      <a:lnTo>
                        <a:pt x="1161" y="870"/>
                      </a:lnTo>
                      <a:lnTo>
                        <a:pt x="1160" y="870"/>
                      </a:lnTo>
                      <a:lnTo>
                        <a:pt x="1160" y="868"/>
                      </a:lnTo>
                      <a:lnTo>
                        <a:pt x="1160" y="870"/>
                      </a:lnTo>
                      <a:lnTo>
                        <a:pt x="1159" y="870"/>
                      </a:lnTo>
                      <a:lnTo>
                        <a:pt x="1159" y="868"/>
                      </a:lnTo>
                      <a:lnTo>
                        <a:pt x="1158" y="868"/>
                      </a:lnTo>
                      <a:lnTo>
                        <a:pt x="1157" y="868"/>
                      </a:lnTo>
                      <a:lnTo>
                        <a:pt x="1157" y="870"/>
                      </a:lnTo>
                      <a:lnTo>
                        <a:pt x="1158" y="870"/>
                      </a:lnTo>
                      <a:lnTo>
                        <a:pt x="1159" y="870"/>
                      </a:lnTo>
                      <a:lnTo>
                        <a:pt x="1160" y="870"/>
                      </a:lnTo>
                      <a:lnTo>
                        <a:pt x="1160" y="871"/>
                      </a:lnTo>
                      <a:lnTo>
                        <a:pt x="1161" y="871"/>
                      </a:lnTo>
                      <a:lnTo>
                        <a:pt x="1160" y="871"/>
                      </a:lnTo>
                      <a:lnTo>
                        <a:pt x="1160" y="872"/>
                      </a:lnTo>
                      <a:lnTo>
                        <a:pt x="1160" y="871"/>
                      </a:lnTo>
                      <a:lnTo>
                        <a:pt x="1159" y="872"/>
                      </a:lnTo>
                      <a:lnTo>
                        <a:pt x="1159" y="871"/>
                      </a:lnTo>
                      <a:lnTo>
                        <a:pt x="1158" y="871"/>
                      </a:lnTo>
                      <a:lnTo>
                        <a:pt x="1158" y="870"/>
                      </a:lnTo>
                      <a:lnTo>
                        <a:pt x="1157" y="871"/>
                      </a:lnTo>
                      <a:lnTo>
                        <a:pt x="1157" y="870"/>
                      </a:lnTo>
                      <a:lnTo>
                        <a:pt x="1156" y="870"/>
                      </a:lnTo>
                      <a:lnTo>
                        <a:pt x="1156" y="871"/>
                      </a:lnTo>
                      <a:lnTo>
                        <a:pt x="1157" y="871"/>
                      </a:lnTo>
                      <a:lnTo>
                        <a:pt x="1158" y="871"/>
                      </a:lnTo>
                      <a:lnTo>
                        <a:pt x="1158" y="872"/>
                      </a:lnTo>
                      <a:lnTo>
                        <a:pt x="1159" y="872"/>
                      </a:lnTo>
                      <a:lnTo>
                        <a:pt x="1160" y="872"/>
                      </a:lnTo>
                      <a:lnTo>
                        <a:pt x="1160" y="873"/>
                      </a:lnTo>
                      <a:lnTo>
                        <a:pt x="1159" y="873"/>
                      </a:lnTo>
                      <a:lnTo>
                        <a:pt x="1158" y="873"/>
                      </a:lnTo>
                      <a:lnTo>
                        <a:pt x="1159" y="873"/>
                      </a:lnTo>
                      <a:lnTo>
                        <a:pt x="1159" y="874"/>
                      </a:lnTo>
                      <a:lnTo>
                        <a:pt x="1159" y="873"/>
                      </a:lnTo>
                      <a:lnTo>
                        <a:pt x="1160" y="874"/>
                      </a:lnTo>
                      <a:lnTo>
                        <a:pt x="1159" y="874"/>
                      </a:lnTo>
                      <a:lnTo>
                        <a:pt x="1159" y="875"/>
                      </a:lnTo>
                      <a:lnTo>
                        <a:pt x="1159" y="876"/>
                      </a:lnTo>
                      <a:lnTo>
                        <a:pt x="1159" y="877"/>
                      </a:lnTo>
                      <a:lnTo>
                        <a:pt x="1160" y="878"/>
                      </a:lnTo>
                      <a:lnTo>
                        <a:pt x="1161" y="878"/>
                      </a:lnTo>
                      <a:lnTo>
                        <a:pt x="1162" y="878"/>
                      </a:lnTo>
                      <a:lnTo>
                        <a:pt x="1162" y="877"/>
                      </a:lnTo>
                      <a:lnTo>
                        <a:pt x="1163" y="877"/>
                      </a:lnTo>
                      <a:lnTo>
                        <a:pt x="1163" y="878"/>
                      </a:lnTo>
                      <a:lnTo>
                        <a:pt x="1163" y="879"/>
                      </a:lnTo>
                      <a:lnTo>
                        <a:pt x="1163" y="880"/>
                      </a:lnTo>
                      <a:lnTo>
                        <a:pt x="1164" y="880"/>
                      </a:lnTo>
                      <a:lnTo>
                        <a:pt x="1166" y="880"/>
                      </a:lnTo>
                      <a:lnTo>
                        <a:pt x="1166" y="881"/>
                      </a:lnTo>
                      <a:lnTo>
                        <a:pt x="1164" y="881"/>
                      </a:lnTo>
                      <a:lnTo>
                        <a:pt x="1163" y="880"/>
                      </a:lnTo>
                      <a:lnTo>
                        <a:pt x="1163" y="881"/>
                      </a:lnTo>
                      <a:lnTo>
                        <a:pt x="1163" y="880"/>
                      </a:lnTo>
                      <a:lnTo>
                        <a:pt x="1162" y="880"/>
                      </a:lnTo>
                      <a:lnTo>
                        <a:pt x="1162" y="881"/>
                      </a:lnTo>
                      <a:lnTo>
                        <a:pt x="1163" y="883"/>
                      </a:lnTo>
                      <a:lnTo>
                        <a:pt x="1164" y="883"/>
                      </a:lnTo>
                      <a:lnTo>
                        <a:pt x="1164" y="884"/>
                      </a:lnTo>
                      <a:lnTo>
                        <a:pt x="1166" y="884"/>
                      </a:lnTo>
                      <a:lnTo>
                        <a:pt x="1167" y="884"/>
                      </a:lnTo>
                      <a:lnTo>
                        <a:pt x="1167" y="885"/>
                      </a:lnTo>
                      <a:lnTo>
                        <a:pt x="1167" y="886"/>
                      </a:lnTo>
                      <a:lnTo>
                        <a:pt x="1168" y="886"/>
                      </a:lnTo>
                      <a:lnTo>
                        <a:pt x="1168" y="887"/>
                      </a:lnTo>
                      <a:lnTo>
                        <a:pt x="1169" y="887"/>
                      </a:lnTo>
                      <a:lnTo>
                        <a:pt x="1169" y="888"/>
                      </a:lnTo>
                      <a:lnTo>
                        <a:pt x="1170" y="888"/>
                      </a:lnTo>
                      <a:lnTo>
                        <a:pt x="1170" y="889"/>
                      </a:lnTo>
                      <a:lnTo>
                        <a:pt x="1171" y="889"/>
                      </a:lnTo>
                      <a:lnTo>
                        <a:pt x="1171" y="888"/>
                      </a:lnTo>
                      <a:lnTo>
                        <a:pt x="1171" y="889"/>
                      </a:lnTo>
                      <a:lnTo>
                        <a:pt x="1172" y="889"/>
                      </a:lnTo>
                      <a:lnTo>
                        <a:pt x="1171" y="889"/>
                      </a:lnTo>
                      <a:lnTo>
                        <a:pt x="1171" y="888"/>
                      </a:lnTo>
                      <a:lnTo>
                        <a:pt x="1172" y="888"/>
                      </a:lnTo>
                      <a:lnTo>
                        <a:pt x="1172" y="887"/>
                      </a:lnTo>
                      <a:lnTo>
                        <a:pt x="1171" y="887"/>
                      </a:lnTo>
                      <a:lnTo>
                        <a:pt x="1171" y="886"/>
                      </a:lnTo>
                      <a:lnTo>
                        <a:pt x="1172" y="886"/>
                      </a:lnTo>
                      <a:lnTo>
                        <a:pt x="1171" y="886"/>
                      </a:lnTo>
                      <a:lnTo>
                        <a:pt x="1171" y="885"/>
                      </a:lnTo>
                      <a:lnTo>
                        <a:pt x="1171" y="886"/>
                      </a:lnTo>
                      <a:lnTo>
                        <a:pt x="1171" y="885"/>
                      </a:lnTo>
                      <a:lnTo>
                        <a:pt x="1172" y="885"/>
                      </a:lnTo>
                      <a:lnTo>
                        <a:pt x="1172" y="884"/>
                      </a:lnTo>
                      <a:lnTo>
                        <a:pt x="1171" y="884"/>
                      </a:lnTo>
                      <a:lnTo>
                        <a:pt x="1172" y="884"/>
                      </a:lnTo>
                      <a:lnTo>
                        <a:pt x="1172" y="883"/>
                      </a:lnTo>
                      <a:lnTo>
                        <a:pt x="1171" y="883"/>
                      </a:lnTo>
                      <a:lnTo>
                        <a:pt x="1170" y="883"/>
                      </a:lnTo>
                      <a:lnTo>
                        <a:pt x="1170" y="884"/>
                      </a:lnTo>
                      <a:lnTo>
                        <a:pt x="1171" y="884"/>
                      </a:lnTo>
                      <a:lnTo>
                        <a:pt x="1170" y="884"/>
                      </a:lnTo>
                      <a:lnTo>
                        <a:pt x="1170" y="883"/>
                      </a:lnTo>
                      <a:lnTo>
                        <a:pt x="1171" y="883"/>
                      </a:lnTo>
                      <a:lnTo>
                        <a:pt x="1171" y="881"/>
                      </a:lnTo>
                      <a:lnTo>
                        <a:pt x="1170" y="881"/>
                      </a:lnTo>
                      <a:lnTo>
                        <a:pt x="1170" y="880"/>
                      </a:lnTo>
                      <a:lnTo>
                        <a:pt x="1171" y="880"/>
                      </a:lnTo>
                      <a:lnTo>
                        <a:pt x="1171" y="879"/>
                      </a:lnTo>
                      <a:lnTo>
                        <a:pt x="1171" y="880"/>
                      </a:lnTo>
                      <a:lnTo>
                        <a:pt x="1172" y="880"/>
                      </a:lnTo>
                      <a:lnTo>
                        <a:pt x="1172" y="881"/>
                      </a:lnTo>
                      <a:lnTo>
                        <a:pt x="1173" y="881"/>
                      </a:lnTo>
                      <a:lnTo>
                        <a:pt x="1173" y="883"/>
                      </a:lnTo>
                      <a:lnTo>
                        <a:pt x="1174" y="884"/>
                      </a:lnTo>
                      <a:lnTo>
                        <a:pt x="1175" y="884"/>
                      </a:lnTo>
                      <a:lnTo>
                        <a:pt x="1176" y="885"/>
                      </a:lnTo>
                      <a:lnTo>
                        <a:pt x="1176" y="886"/>
                      </a:lnTo>
                      <a:lnTo>
                        <a:pt x="1176" y="887"/>
                      </a:lnTo>
                      <a:lnTo>
                        <a:pt x="1176" y="888"/>
                      </a:lnTo>
                      <a:lnTo>
                        <a:pt x="1177" y="888"/>
                      </a:lnTo>
                      <a:lnTo>
                        <a:pt x="1177" y="889"/>
                      </a:lnTo>
                      <a:lnTo>
                        <a:pt x="1177" y="890"/>
                      </a:lnTo>
                      <a:lnTo>
                        <a:pt x="1177" y="891"/>
                      </a:lnTo>
                      <a:lnTo>
                        <a:pt x="1177" y="892"/>
                      </a:lnTo>
                      <a:lnTo>
                        <a:pt x="1179" y="892"/>
                      </a:lnTo>
                      <a:lnTo>
                        <a:pt x="1180" y="892"/>
                      </a:lnTo>
                      <a:lnTo>
                        <a:pt x="1180" y="891"/>
                      </a:lnTo>
                      <a:lnTo>
                        <a:pt x="1180" y="892"/>
                      </a:lnTo>
                      <a:lnTo>
                        <a:pt x="1181" y="892"/>
                      </a:lnTo>
                      <a:lnTo>
                        <a:pt x="1182" y="892"/>
                      </a:lnTo>
                      <a:lnTo>
                        <a:pt x="1182" y="891"/>
                      </a:lnTo>
                      <a:lnTo>
                        <a:pt x="1182" y="890"/>
                      </a:lnTo>
                      <a:lnTo>
                        <a:pt x="1183" y="889"/>
                      </a:lnTo>
                      <a:lnTo>
                        <a:pt x="1182" y="889"/>
                      </a:lnTo>
                      <a:lnTo>
                        <a:pt x="1183" y="889"/>
                      </a:lnTo>
                      <a:lnTo>
                        <a:pt x="1184" y="889"/>
                      </a:lnTo>
                      <a:lnTo>
                        <a:pt x="1184" y="888"/>
                      </a:lnTo>
                      <a:lnTo>
                        <a:pt x="1185" y="888"/>
                      </a:lnTo>
                      <a:lnTo>
                        <a:pt x="1185" y="889"/>
                      </a:lnTo>
                      <a:lnTo>
                        <a:pt x="1184" y="889"/>
                      </a:lnTo>
                      <a:lnTo>
                        <a:pt x="1184" y="890"/>
                      </a:lnTo>
                      <a:lnTo>
                        <a:pt x="1183" y="890"/>
                      </a:lnTo>
                      <a:lnTo>
                        <a:pt x="1183" y="891"/>
                      </a:lnTo>
                      <a:lnTo>
                        <a:pt x="1183" y="892"/>
                      </a:lnTo>
                      <a:lnTo>
                        <a:pt x="1183" y="893"/>
                      </a:lnTo>
                      <a:lnTo>
                        <a:pt x="1184" y="893"/>
                      </a:lnTo>
                      <a:lnTo>
                        <a:pt x="1183" y="893"/>
                      </a:lnTo>
                      <a:lnTo>
                        <a:pt x="1183" y="894"/>
                      </a:lnTo>
                      <a:lnTo>
                        <a:pt x="1184" y="896"/>
                      </a:lnTo>
                      <a:lnTo>
                        <a:pt x="1184" y="897"/>
                      </a:lnTo>
                      <a:lnTo>
                        <a:pt x="1185" y="897"/>
                      </a:lnTo>
                      <a:lnTo>
                        <a:pt x="1185" y="898"/>
                      </a:lnTo>
                      <a:lnTo>
                        <a:pt x="1186" y="898"/>
                      </a:lnTo>
                      <a:lnTo>
                        <a:pt x="1187" y="899"/>
                      </a:lnTo>
                      <a:lnTo>
                        <a:pt x="1188" y="899"/>
                      </a:lnTo>
                      <a:lnTo>
                        <a:pt x="1189" y="899"/>
                      </a:lnTo>
                      <a:lnTo>
                        <a:pt x="1189" y="900"/>
                      </a:lnTo>
                      <a:lnTo>
                        <a:pt x="1190" y="900"/>
                      </a:lnTo>
                      <a:lnTo>
                        <a:pt x="1192" y="900"/>
                      </a:lnTo>
                      <a:lnTo>
                        <a:pt x="1193" y="900"/>
                      </a:lnTo>
                      <a:lnTo>
                        <a:pt x="1193" y="899"/>
                      </a:lnTo>
                      <a:lnTo>
                        <a:pt x="1193" y="898"/>
                      </a:lnTo>
                      <a:lnTo>
                        <a:pt x="1194" y="897"/>
                      </a:lnTo>
                      <a:lnTo>
                        <a:pt x="1195" y="897"/>
                      </a:lnTo>
                      <a:lnTo>
                        <a:pt x="1195" y="896"/>
                      </a:lnTo>
                      <a:lnTo>
                        <a:pt x="1196" y="896"/>
                      </a:lnTo>
                      <a:lnTo>
                        <a:pt x="1196" y="894"/>
                      </a:lnTo>
                      <a:lnTo>
                        <a:pt x="1196" y="896"/>
                      </a:lnTo>
                      <a:lnTo>
                        <a:pt x="1197" y="896"/>
                      </a:lnTo>
                      <a:lnTo>
                        <a:pt x="1197" y="894"/>
                      </a:lnTo>
                      <a:lnTo>
                        <a:pt x="1197" y="896"/>
                      </a:lnTo>
                      <a:lnTo>
                        <a:pt x="1198" y="896"/>
                      </a:lnTo>
                      <a:lnTo>
                        <a:pt x="1198" y="894"/>
                      </a:lnTo>
                      <a:lnTo>
                        <a:pt x="1198" y="896"/>
                      </a:lnTo>
                      <a:lnTo>
                        <a:pt x="1199" y="896"/>
                      </a:lnTo>
                      <a:lnTo>
                        <a:pt x="1199" y="894"/>
                      </a:lnTo>
                      <a:lnTo>
                        <a:pt x="1200" y="894"/>
                      </a:lnTo>
                      <a:lnTo>
                        <a:pt x="1200" y="896"/>
                      </a:lnTo>
                      <a:lnTo>
                        <a:pt x="1200" y="894"/>
                      </a:lnTo>
                      <a:lnTo>
                        <a:pt x="1201" y="893"/>
                      </a:lnTo>
                      <a:lnTo>
                        <a:pt x="1201" y="894"/>
                      </a:lnTo>
                      <a:lnTo>
                        <a:pt x="1201" y="893"/>
                      </a:lnTo>
                      <a:lnTo>
                        <a:pt x="1202" y="892"/>
                      </a:lnTo>
                      <a:lnTo>
                        <a:pt x="1202" y="893"/>
                      </a:lnTo>
                      <a:lnTo>
                        <a:pt x="1203" y="893"/>
                      </a:lnTo>
                      <a:lnTo>
                        <a:pt x="1202" y="893"/>
                      </a:lnTo>
                      <a:lnTo>
                        <a:pt x="1202" y="894"/>
                      </a:lnTo>
                      <a:lnTo>
                        <a:pt x="1201" y="894"/>
                      </a:lnTo>
                      <a:lnTo>
                        <a:pt x="1201" y="896"/>
                      </a:lnTo>
                      <a:lnTo>
                        <a:pt x="1200" y="896"/>
                      </a:lnTo>
                      <a:lnTo>
                        <a:pt x="1200" y="897"/>
                      </a:lnTo>
                      <a:lnTo>
                        <a:pt x="1199" y="898"/>
                      </a:lnTo>
                      <a:lnTo>
                        <a:pt x="1198" y="897"/>
                      </a:lnTo>
                      <a:lnTo>
                        <a:pt x="1197" y="897"/>
                      </a:lnTo>
                      <a:lnTo>
                        <a:pt x="1196" y="897"/>
                      </a:lnTo>
                      <a:lnTo>
                        <a:pt x="1195" y="897"/>
                      </a:lnTo>
                      <a:lnTo>
                        <a:pt x="1195" y="898"/>
                      </a:lnTo>
                      <a:lnTo>
                        <a:pt x="1194" y="898"/>
                      </a:lnTo>
                      <a:lnTo>
                        <a:pt x="1194" y="899"/>
                      </a:lnTo>
                      <a:lnTo>
                        <a:pt x="1194" y="900"/>
                      </a:lnTo>
                      <a:lnTo>
                        <a:pt x="1193" y="900"/>
                      </a:lnTo>
                      <a:lnTo>
                        <a:pt x="1194" y="900"/>
                      </a:lnTo>
                      <a:lnTo>
                        <a:pt x="1193" y="900"/>
                      </a:lnTo>
                      <a:lnTo>
                        <a:pt x="1194" y="900"/>
                      </a:lnTo>
                      <a:lnTo>
                        <a:pt x="1194" y="901"/>
                      </a:lnTo>
                      <a:lnTo>
                        <a:pt x="1193" y="901"/>
                      </a:lnTo>
                      <a:lnTo>
                        <a:pt x="1193" y="902"/>
                      </a:lnTo>
                      <a:lnTo>
                        <a:pt x="1192" y="902"/>
                      </a:lnTo>
                      <a:lnTo>
                        <a:pt x="1192" y="901"/>
                      </a:lnTo>
                      <a:lnTo>
                        <a:pt x="1190" y="901"/>
                      </a:lnTo>
                      <a:lnTo>
                        <a:pt x="1190" y="902"/>
                      </a:lnTo>
                      <a:lnTo>
                        <a:pt x="1192" y="902"/>
                      </a:lnTo>
                      <a:lnTo>
                        <a:pt x="1192" y="903"/>
                      </a:lnTo>
                      <a:lnTo>
                        <a:pt x="1190" y="903"/>
                      </a:lnTo>
                      <a:lnTo>
                        <a:pt x="1190" y="904"/>
                      </a:lnTo>
                      <a:lnTo>
                        <a:pt x="1189" y="904"/>
                      </a:lnTo>
                      <a:lnTo>
                        <a:pt x="1189" y="905"/>
                      </a:lnTo>
                      <a:lnTo>
                        <a:pt x="1190" y="905"/>
                      </a:lnTo>
                      <a:lnTo>
                        <a:pt x="1192" y="906"/>
                      </a:lnTo>
                      <a:lnTo>
                        <a:pt x="1193" y="906"/>
                      </a:lnTo>
                      <a:lnTo>
                        <a:pt x="1193" y="907"/>
                      </a:lnTo>
                      <a:lnTo>
                        <a:pt x="1192" y="907"/>
                      </a:lnTo>
                      <a:lnTo>
                        <a:pt x="1190" y="909"/>
                      </a:lnTo>
                      <a:lnTo>
                        <a:pt x="1189" y="909"/>
                      </a:lnTo>
                      <a:lnTo>
                        <a:pt x="1189" y="907"/>
                      </a:lnTo>
                      <a:lnTo>
                        <a:pt x="1189" y="906"/>
                      </a:lnTo>
                      <a:lnTo>
                        <a:pt x="1188" y="906"/>
                      </a:lnTo>
                      <a:lnTo>
                        <a:pt x="1187" y="906"/>
                      </a:lnTo>
                      <a:lnTo>
                        <a:pt x="1187" y="905"/>
                      </a:lnTo>
                      <a:lnTo>
                        <a:pt x="1186" y="905"/>
                      </a:lnTo>
                      <a:lnTo>
                        <a:pt x="1186" y="904"/>
                      </a:lnTo>
                      <a:lnTo>
                        <a:pt x="1185" y="904"/>
                      </a:lnTo>
                      <a:lnTo>
                        <a:pt x="1184" y="904"/>
                      </a:lnTo>
                      <a:lnTo>
                        <a:pt x="1184" y="905"/>
                      </a:lnTo>
                      <a:lnTo>
                        <a:pt x="1184" y="904"/>
                      </a:lnTo>
                      <a:lnTo>
                        <a:pt x="1184" y="903"/>
                      </a:lnTo>
                      <a:lnTo>
                        <a:pt x="1184" y="902"/>
                      </a:lnTo>
                      <a:lnTo>
                        <a:pt x="1184" y="901"/>
                      </a:lnTo>
                      <a:lnTo>
                        <a:pt x="1184" y="900"/>
                      </a:lnTo>
                      <a:lnTo>
                        <a:pt x="1184" y="901"/>
                      </a:lnTo>
                      <a:lnTo>
                        <a:pt x="1185" y="901"/>
                      </a:lnTo>
                      <a:lnTo>
                        <a:pt x="1186" y="901"/>
                      </a:lnTo>
                      <a:lnTo>
                        <a:pt x="1186" y="900"/>
                      </a:lnTo>
                      <a:lnTo>
                        <a:pt x="1186" y="899"/>
                      </a:lnTo>
                      <a:lnTo>
                        <a:pt x="1186" y="898"/>
                      </a:lnTo>
                      <a:lnTo>
                        <a:pt x="1186" y="899"/>
                      </a:lnTo>
                      <a:lnTo>
                        <a:pt x="1185" y="898"/>
                      </a:lnTo>
                      <a:lnTo>
                        <a:pt x="1185" y="899"/>
                      </a:lnTo>
                      <a:lnTo>
                        <a:pt x="1185" y="900"/>
                      </a:lnTo>
                      <a:lnTo>
                        <a:pt x="1184" y="900"/>
                      </a:lnTo>
                      <a:lnTo>
                        <a:pt x="1184" y="899"/>
                      </a:lnTo>
                      <a:lnTo>
                        <a:pt x="1183" y="899"/>
                      </a:lnTo>
                      <a:lnTo>
                        <a:pt x="1183" y="898"/>
                      </a:lnTo>
                      <a:lnTo>
                        <a:pt x="1182" y="898"/>
                      </a:lnTo>
                      <a:lnTo>
                        <a:pt x="1181" y="898"/>
                      </a:lnTo>
                      <a:lnTo>
                        <a:pt x="1181" y="897"/>
                      </a:lnTo>
                      <a:lnTo>
                        <a:pt x="1181" y="896"/>
                      </a:lnTo>
                      <a:lnTo>
                        <a:pt x="1181" y="897"/>
                      </a:lnTo>
                      <a:lnTo>
                        <a:pt x="1181" y="896"/>
                      </a:lnTo>
                      <a:lnTo>
                        <a:pt x="1181" y="897"/>
                      </a:lnTo>
                      <a:lnTo>
                        <a:pt x="1180" y="897"/>
                      </a:lnTo>
                      <a:lnTo>
                        <a:pt x="1180" y="896"/>
                      </a:lnTo>
                      <a:lnTo>
                        <a:pt x="1180" y="897"/>
                      </a:lnTo>
                      <a:lnTo>
                        <a:pt x="1180" y="898"/>
                      </a:lnTo>
                      <a:lnTo>
                        <a:pt x="1180" y="899"/>
                      </a:lnTo>
                      <a:lnTo>
                        <a:pt x="1179" y="899"/>
                      </a:lnTo>
                      <a:lnTo>
                        <a:pt x="1179" y="898"/>
                      </a:lnTo>
                      <a:lnTo>
                        <a:pt x="1179" y="899"/>
                      </a:lnTo>
                      <a:lnTo>
                        <a:pt x="1180" y="899"/>
                      </a:lnTo>
                      <a:lnTo>
                        <a:pt x="1180" y="900"/>
                      </a:lnTo>
                      <a:lnTo>
                        <a:pt x="1180" y="901"/>
                      </a:lnTo>
                      <a:lnTo>
                        <a:pt x="1179" y="901"/>
                      </a:lnTo>
                      <a:lnTo>
                        <a:pt x="1179" y="902"/>
                      </a:lnTo>
                      <a:lnTo>
                        <a:pt x="1180" y="902"/>
                      </a:lnTo>
                      <a:lnTo>
                        <a:pt x="1179" y="902"/>
                      </a:lnTo>
                      <a:lnTo>
                        <a:pt x="1179" y="901"/>
                      </a:lnTo>
                      <a:lnTo>
                        <a:pt x="1177" y="901"/>
                      </a:lnTo>
                      <a:lnTo>
                        <a:pt x="1176" y="901"/>
                      </a:lnTo>
                      <a:lnTo>
                        <a:pt x="1176" y="902"/>
                      </a:lnTo>
                      <a:lnTo>
                        <a:pt x="1176" y="903"/>
                      </a:lnTo>
                      <a:lnTo>
                        <a:pt x="1176" y="904"/>
                      </a:lnTo>
                      <a:lnTo>
                        <a:pt x="1176" y="905"/>
                      </a:lnTo>
                      <a:lnTo>
                        <a:pt x="1176" y="906"/>
                      </a:lnTo>
                      <a:lnTo>
                        <a:pt x="1177" y="907"/>
                      </a:lnTo>
                      <a:lnTo>
                        <a:pt x="1179" y="907"/>
                      </a:lnTo>
                      <a:lnTo>
                        <a:pt x="1180" y="907"/>
                      </a:lnTo>
                      <a:lnTo>
                        <a:pt x="1180" y="909"/>
                      </a:lnTo>
                      <a:lnTo>
                        <a:pt x="1181" y="909"/>
                      </a:lnTo>
                      <a:lnTo>
                        <a:pt x="1182" y="909"/>
                      </a:lnTo>
                      <a:lnTo>
                        <a:pt x="1182" y="910"/>
                      </a:lnTo>
                      <a:lnTo>
                        <a:pt x="1182" y="911"/>
                      </a:lnTo>
                      <a:lnTo>
                        <a:pt x="1183" y="911"/>
                      </a:lnTo>
                      <a:lnTo>
                        <a:pt x="1184" y="911"/>
                      </a:lnTo>
                      <a:lnTo>
                        <a:pt x="1184" y="912"/>
                      </a:lnTo>
                      <a:lnTo>
                        <a:pt x="1183" y="913"/>
                      </a:lnTo>
                      <a:lnTo>
                        <a:pt x="1183" y="914"/>
                      </a:lnTo>
                      <a:lnTo>
                        <a:pt x="1183" y="913"/>
                      </a:lnTo>
                      <a:lnTo>
                        <a:pt x="1184" y="913"/>
                      </a:lnTo>
                      <a:lnTo>
                        <a:pt x="1185" y="913"/>
                      </a:lnTo>
                      <a:lnTo>
                        <a:pt x="1186" y="913"/>
                      </a:lnTo>
                      <a:lnTo>
                        <a:pt x="1186" y="912"/>
                      </a:lnTo>
                      <a:lnTo>
                        <a:pt x="1186" y="911"/>
                      </a:lnTo>
                      <a:lnTo>
                        <a:pt x="1185" y="911"/>
                      </a:lnTo>
                      <a:lnTo>
                        <a:pt x="1186" y="911"/>
                      </a:lnTo>
                      <a:lnTo>
                        <a:pt x="1187" y="911"/>
                      </a:lnTo>
                      <a:lnTo>
                        <a:pt x="1188" y="911"/>
                      </a:lnTo>
                      <a:lnTo>
                        <a:pt x="1188" y="912"/>
                      </a:lnTo>
                      <a:lnTo>
                        <a:pt x="1188" y="913"/>
                      </a:lnTo>
                      <a:lnTo>
                        <a:pt x="1188" y="912"/>
                      </a:lnTo>
                      <a:lnTo>
                        <a:pt x="1189" y="912"/>
                      </a:lnTo>
                      <a:lnTo>
                        <a:pt x="1190" y="912"/>
                      </a:lnTo>
                      <a:lnTo>
                        <a:pt x="1190" y="913"/>
                      </a:lnTo>
                      <a:lnTo>
                        <a:pt x="1189" y="913"/>
                      </a:lnTo>
                      <a:lnTo>
                        <a:pt x="1189" y="914"/>
                      </a:lnTo>
                      <a:lnTo>
                        <a:pt x="1189" y="913"/>
                      </a:lnTo>
                      <a:lnTo>
                        <a:pt x="1188" y="913"/>
                      </a:lnTo>
                      <a:lnTo>
                        <a:pt x="1187" y="913"/>
                      </a:lnTo>
                      <a:lnTo>
                        <a:pt x="1187" y="914"/>
                      </a:lnTo>
                      <a:lnTo>
                        <a:pt x="1186" y="914"/>
                      </a:lnTo>
                      <a:lnTo>
                        <a:pt x="1186" y="915"/>
                      </a:lnTo>
                      <a:lnTo>
                        <a:pt x="1186" y="916"/>
                      </a:lnTo>
                      <a:lnTo>
                        <a:pt x="1187" y="916"/>
                      </a:lnTo>
                      <a:lnTo>
                        <a:pt x="1187" y="917"/>
                      </a:lnTo>
                      <a:lnTo>
                        <a:pt x="1188" y="917"/>
                      </a:lnTo>
                      <a:lnTo>
                        <a:pt x="1188" y="918"/>
                      </a:lnTo>
                      <a:lnTo>
                        <a:pt x="1189" y="918"/>
                      </a:lnTo>
                      <a:lnTo>
                        <a:pt x="1189" y="919"/>
                      </a:lnTo>
                      <a:lnTo>
                        <a:pt x="1190" y="919"/>
                      </a:lnTo>
                      <a:lnTo>
                        <a:pt x="1190" y="921"/>
                      </a:lnTo>
                      <a:lnTo>
                        <a:pt x="1192" y="921"/>
                      </a:lnTo>
                      <a:lnTo>
                        <a:pt x="1192" y="919"/>
                      </a:lnTo>
                      <a:lnTo>
                        <a:pt x="1192" y="921"/>
                      </a:lnTo>
                      <a:lnTo>
                        <a:pt x="1190" y="921"/>
                      </a:lnTo>
                      <a:lnTo>
                        <a:pt x="1189" y="921"/>
                      </a:lnTo>
                      <a:lnTo>
                        <a:pt x="1189" y="919"/>
                      </a:lnTo>
                      <a:lnTo>
                        <a:pt x="1189" y="921"/>
                      </a:lnTo>
                      <a:lnTo>
                        <a:pt x="1189" y="922"/>
                      </a:lnTo>
                      <a:lnTo>
                        <a:pt x="1189" y="923"/>
                      </a:lnTo>
                      <a:lnTo>
                        <a:pt x="1190" y="924"/>
                      </a:lnTo>
                      <a:lnTo>
                        <a:pt x="1190" y="925"/>
                      </a:lnTo>
                      <a:lnTo>
                        <a:pt x="1190" y="924"/>
                      </a:lnTo>
                      <a:lnTo>
                        <a:pt x="1190" y="925"/>
                      </a:lnTo>
                      <a:lnTo>
                        <a:pt x="1190" y="924"/>
                      </a:lnTo>
                      <a:lnTo>
                        <a:pt x="1190" y="925"/>
                      </a:lnTo>
                      <a:lnTo>
                        <a:pt x="1189" y="925"/>
                      </a:lnTo>
                      <a:lnTo>
                        <a:pt x="1189" y="924"/>
                      </a:lnTo>
                      <a:lnTo>
                        <a:pt x="1188" y="924"/>
                      </a:lnTo>
                      <a:lnTo>
                        <a:pt x="1187" y="923"/>
                      </a:lnTo>
                      <a:lnTo>
                        <a:pt x="1186" y="922"/>
                      </a:lnTo>
                      <a:lnTo>
                        <a:pt x="1187" y="922"/>
                      </a:lnTo>
                      <a:lnTo>
                        <a:pt x="1187" y="921"/>
                      </a:lnTo>
                      <a:lnTo>
                        <a:pt x="1187" y="919"/>
                      </a:lnTo>
                      <a:lnTo>
                        <a:pt x="1188" y="919"/>
                      </a:lnTo>
                      <a:lnTo>
                        <a:pt x="1187" y="918"/>
                      </a:lnTo>
                      <a:lnTo>
                        <a:pt x="1187" y="919"/>
                      </a:lnTo>
                      <a:lnTo>
                        <a:pt x="1187" y="918"/>
                      </a:lnTo>
                      <a:lnTo>
                        <a:pt x="1186" y="918"/>
                      </a:lnTo>
                      <a:lnTo>
                        <a:pt x="1185" y="917"/>
                      </a:lnTo>
                      <a:lnTo>
                        <a:pt x="1184" y="917"/>
                      </a:lnTo>
                      <a:lnTo>
                        <a:pt x="1184" y="918"/>
                      </a:lnTo>
                      <a:lnTo>
                        <a:pt x="1184" y="919"/>
                      </a:lnTo>
                      <a:lnTo>
                        <a:pt x="1183" y="919"/>
                      </a:lnTo>
                      <a:lnTo>
                        <a:pt x="1184" y="921"/>
                      </a:lnTo>
                      <a:lnTo>
                        <a:pt x="1184" y="922"/>
                      </a:lnTo>
                      <a:lnTo>
                        <a:pt x="1183" y="922"/>
                      </a:lnTo>
                      <a:lnTo>
                        <a:pt x="1183" y="921"/>
                      </a:lnTo>
                      <a:lnTo>
                        <a:pt x="1183" y="919"/>
                      </a:lnTo>
                      <a:lnTo>
                        <a:pt x="1183" y="918"/>
                      </a:lnTo>
                      <a:lnTo>
                        <a:pt x="1182" y="918"/>
                      </a:lnTo>
                      <a:lnTo>
                        <a:pt x="1182" y="917"/>
                      </a:lnTo>
                      <a:lnTo>
                        <a:pt x="1181" y="917"/>
                      </a:lnTo>
                      <a:lnTo>
                        <a:pt x="1181" y="916"/>
                      </a:lnTo>
                      <a:lnTo>
                        <a:pt x="1180" y="916"/>
                      </a:lnTo>
                      <a:lnTo>
                        <a:pt x="1180" y="917"/>
                      </a:lnTo>
                      <a:lnTo>
                        <a:pt x="1180" y="918"/>
                      </a:lnTo>
                      <a:lnTo>
                        <a:pt x="1180" y="919"/>
                      </a:lnTo>
                      <a:lnTo>
                        <a:pt x="1179" y="919"/>
                      </a:lnTo>
                      <a:lnTo>
                        <a:pt x="1179" y="921"/>
                      </a:lnTo>
                      <a:lnTo>
                        <a:pt x="1177" y="921"/>
                      </a:lnTo>
                      <a:lnTo>
                        <a:pt x="1177" y="922"/>
                      </a:lnTo>
                      <a:lnTo>
                        <a:pt x="1176" y="922"/>
                      </a:lnTo>
                      <a:lnTo>
                        <a:pt x="1175" y="921"/>
                      </a:lnTo>
                      <a:lnTo>
                        <a:pt x="1175" y="922"/>
                      </a:lnTo>
                      <a:lnTo>
                        <a:pt x="1174" y="921"/>
                      </a:lnTo>
                      <a:lnTo>
                        <a:pt x="1173" y="921"/>
                      </a:lnTo>
                      <a:lnTo>
                        <a:pt x="1172" y="921"/>
                      </a:lnTo>
                      <a:lnTo>
                        <a:pt x="1172" y="922"/>
                      </a:lnTo>
                      <a:lnTo>
                        <a:pt x="1173" y="922"/>
                      </a:lnTo>
                      <a:lnTo>
                        <a:pt x="1174" y="922"/>
                      </a:lnTo>
                      <a:lnTo>
                        <a:pt x="1175" y="922"/>
                      </a:lnTo>
                      <a:lnTo>
                        <a:pt x="1175" y="923"/>
                      </a:lnTo>
                      <a:lnTo>
                        <a:pt x="1174" y="923"/>
                      </a:lnTo>
                      <a:lnTo>
                        <a:pt x="1173" y="923"/>
                      </a:lnTo>
                      <a:lnTo>
                        <a:pt x="1172" y="923"/>
                      </a:lnTo>
                      <a:lnTo>
                        <a:pt x="1171" y="923"/>
                      </a:lnTo>
                      <a:lnTo>
                        <a:pt x="1171" y="924"/>
                      </a:lnTo>
                      <a:lnTo>
                        <a:pt x="1172" y="924"/>
                      </a:lnTo>
                      <a:lnTo>
                        <a:pt x="1172" y="925"/>
                      </a:lnTo>
                      <a:lnTo>
                        <a:pt x="1171" y="925"/>
                      </a:lnTo>
                      <a:lnTo>
                        <a:pt x="1171" y="926"/>
                      </a:lnTo>
                      <a:lnTo>
                        <a:pt x="1172" y="926"/>
                      </a:lnTo>
                      <a:lnTo>
                        <a:pt x="1171" y="927"/>
                      </a:lnTo>
                      <a:lnTo>
                        <a:pt x="1171" y="926"/>
                      </a:lnTo>
                      <a:lnTo>
                        <a:pt x="1170" y="926"/>
                      </a:lnTo>
                      <a:lnTo>
                        <a:pt x="1169" y="926"/>
                      </a:lnTo>
                      <a:lnTo>
                        <a:pt x="1169" y="927"/>
                      </a:lnTo>
                      <a:lnTo>
                        <a:pt x="1170" y="927"/>
                      </a:lnTo>
                      <a:lnTo>
                        <a:pt x="1169" y="927"/>
                      </a:lnTo>
                      <a:lnTo>
                        <a:pt x="1169" y="928"/>
                      </a:lnTo>
                      <a:lnTo>
                        <a:pt x="1170" y="927"/>
                      </a:lnTo>
                      <a:lnTo>
                        <a:pt x="1170" y="928"/>
                      </a:lnTo>
                      <a:lnTo>
                        <a:pt x="1171" y="928"/>
                      </a:lnTo>
                      <a:lnTo>
                        <a:pt x="1171" y="929"/>
                      </a:lnTo>
                      <a:lnTo>
                        <a:pt x="1170" y="929"/>
                      </a:lnTo>
                      <a:lnTo>
                        <a:pt x="1170" y="930"/>
                      </a:lnTo>
                      <a:lnTo>
                        <a:pt x="1171" y="930"/>
                      </a:lnTo>
                      <a:lnTo>
                        <a:pt x="1171" y="929"/>
                      </a:lnTo>
                      <a:lnTo>
                        <a:pt x="1171" y="930"/>
                      </a:lnTo>
                      <a:lnTo>
                        <a:pt x="1170" y="930"/>
                      </a:lnTo>
                      <a:lnTo>
                        <a:pt x="1169" y="930"/>
                      </a:lnTo>
                      <a:lnTo>
                        <a:pt x="1170" y="930"/>
                      </a:lnTo>
                      <a:lnTo>
                        <a:pt x="1170" y="931"/>
                      </a:lnTo>
                      <a:lnTo>
                        <a:pt x="1171" y="931"/>
                      </a:lnTo>
                      <a:lnTo>
                        <a:pt x="1171" y="932"/>
                      </a:lnTo>
                      <a:lnTo>
                        <a:pt x="1172" y="932"/>
                      </a:lnTo>
                      <a:lnTo>
                        <a:pt x="1172" y="931"/>
                      </a:lnTo>
                      <a:lnTo>
                        <a:pt x="1172" y="932"/>
                      </a:lnTo>
                      <a:lnTo>
                        <a:pt x="1172" y="931"/>
                      </a:lnTo>
                      <a:lnTo>
                        <a:pt x="1173" y="931"/>
                      </a:lnTo>
                      <a:lnTo>
                        <a:pt x="1173" y="930"/>
                      </a:lnTo>
                      <a:lnTo>
                        <a:pt x="1173" y="929"/>
                      </a:lnTo>
                      <a:lnTo>
                        <a:pt x="1172" y="928"/>
                      </a:lnTo>
                      <a:lnTo>
                        <a:pt x="1173" y="928"/>
                      </a:lnTo>
                      <a:lnTo>
                        <a:pt x="1174" y="929"/>
                      </a:lnTo>
                      <a:lnTo>
                        <a:pt x="1175" y="929"/>
                      </a:lnTo>
                      <a:lnTo>
                        <a:pt x="1176" y="929"/>
                      </a:lnTo>
                      <a:lnTo>
                        <a:pt x="1175" y="930"/>
                      </a:lnTo>
                      <a:lnTo>
                        <a:pt x="1176" y="930"/>
                      </a:lnTo>
                      <a:lnTo>
                        <a:pt x="1176" y="929"/>
                      </a:lnTo>
                      <a:lnTo>
                        <a:pt x="1176" y="930"/>
                      </a:lnTo>
                      <a:lnTo>
                        <a:pt x="1176" y="931"/>
                      </a:lnTo>
                      <a:lnTo>
                        <a:pt x="1175" y="932"/>
                      </a:lnTo>
                      <a:lnTo>
                        <a:pt x="1176" y="932"/>
                      </a:lnTo>
                      <a:lnTo>
                        <a:pt x="1175" y="932"/>
                      </a:lnTo>
                      <a:lnTo>
                        <a:pt x="1175" y="934"/>
                      </a:lnTo>
                      <a:lnTo>
                        <a:pt x="1175" y="935"/>
                      </a:lnTo>
                      <a:lnTo>
                        <a:pt x="1176" y="935"/>
                      </a:lnTo>
                      <a:lnTo>
                        <a:pt x="1175" y="935"/>
                      </a:lnTo>
                      <a:lnTo>
                        <a:pt x="1175" y="936"/>
                      </a:lnTo>
                      <a:lnTo>
                        <a:pt x="1176" y="936"/>
                      </a:lnTo>
                      <a:lnTo>
                        <a:pt x="1177" y="936"/>
                      </a:lnTo>
                      <a:lnTo>
                        <a:pt x="1177" y="935"/>
                      </a:lnTo>
                      <a:lnTo>
                        <a:pt x="1179" y="935"/>
                      </a:lnTo>
                      <a:lnTo>
                        <a:pt x="1179" y="934"/>
                      </a:lnTo>
                      <a:lnTo>
                        <a:pt x="1179" y="935"/>
                      </a:lnTo>
                      <a:lnTo>
                        <a:pt x="1179" y="936"/>
                      </a:lnTo>
                      <a:lnTo>
                        <a:pt x="1177" y="937"/>
                      </a:lnTo>
                      <a:lnTo>
                        <a:pt x="1179" y="937"/>
                      </a:lnTo>
                      <a:lnTo>
                        <a:pt x="1179" y="938"/>
                      </a:lnTo>
                      <a:lnTo>
                        <a:pt x="1177" y="938"/>
                      </a:lnTo>
                      <a:lnTo>
                        <a:pt x="1179" y="938"/>
                      </a:lnTo>
                      <a:lnTo>
                        <a:pt x="1180" y="938"/>
                      </a:lnTo>
                      <a:lnTo>
                        <a:pt x="1180" y="939"/>
                      </a:lnTo>
                      <a:lnTo>
                        <a:pt x="1180" y="938"/>
                      </a:lnTo>
                      <a:lnTo>
                        <a:pt x="1181" y="938"/>
                      </a:lnTo>
                      <a:lnTo>
                        <a:pt x="1181" y="939"/>
                      </a:lnTo>
                      <a:lnTo>
                        <a:pt x="1182" y="938"/>
                      </a:lnTo>
                      <a:lnTo>
                        <a:pt x="1183" y="938"/>
                      </a:lnTo>
                      <a:lnTo>
                        <a:pt x="1184" y="938"/>
                      </a:lnTo>
                      <a:lnTo>
                        <a:pt x="1185" y="938"/>
                      </a:lnTo>
                      <a:lnTo>
                        <a:pt x="1186" y="938"/>
                      </a:lnTo>
                      <a:lnTo>
                        <a:pt x="1187" y="938"/>
                      </a:lnTo>
                      <a:lnTo>
                        <a:pt x="1188" y="938"/>
                      </a:lnTo>
                      <a:lnTo>
                        <a:pt x="1188" y="939"/>
                      </a:lnTo>
                      <a:lnTo>
                        <a:pt x="1188" y="940"/>
                      </a:lnTo>
                      <a:lnTo>
                        <a:pt x="1188" y="941"/>
                      </a:lnTo>
                      <a:lnTo>
                        <a:pt x="1189" y="941"/>
                      </a:lnTo>
                      <a:lnTo>
                        <a:pt x="1188" y="942"/>
                      </a:lnTo>
                      <a:lnTo>
                        <a:pt x="1189" y="942"/>
                      </a:lnTo>
                      <a:lnTo>
                        <a:pt x="1190" y="942"/>
                      </a:lnTo>
                      <a:lnTo>
                        <a:pt x="1190" y="943"/>
                      </a:lnTo>
                      <a:lnTo>
                        <a:pt x="1192" y="943"/>
                      </a:lnTo>
                      <a:lnTo>
                        <a:pt x="1193" y="943"/>
                      </a:lnTo>
                      <a:lnTo>
                        <a:pt x="1193" y="942"/>
                      </a:lnTo>
                      <a:lnTo>
                        <a:pt x="1193" y="943"/>
                      </a:lnTo>
                      <a:lnTo>
                        <a:pt x="1194" y="943"/>
                      </a:lnTo>
                      <a:lnTo>
                        <a:pt x="1195" y="944"/>
                      </a:lnTo>
                      <a:lnTo>
                        <a:pt x="1196" y="944"/>
                      </a:lnTo>
                      <a:lnTo>
                        <a:pt x="1197" y="944"/>
                      </a:lnTo>
                      <a:lnTo>
                        <a:pt x="1198" y="944"/>
                      </a:lnTo>
                      <a:lnTo>
                        <a:pt x="1199" y="944"/>
                      </a:lnTo>
                      <a:lnTo>
                        <a:pt x="1200" y="944"/>
                      </a:lnTo>
                      <a:lnTo>
                        <a:pt x="1201" y="944"/>
                      </a:lnTo>
                      <a:lnTo>
                        <a:pt x="1202" y="944"/>
                      </a:lnTo>
                      <a:lnTo>
                        <a:pt x="1203" y="944"/>
                      </a:lnTo>
                      <a:lnTo>
                        <a:pt x="1203" y="945"/>
                      </a:lnTo>
                      <a:lnTo>
                        <a:pt x="1205" y="945"/>
                      </a:lnTo>
                      <a:lnTo>
                        <a:pt x="1206" y="945"/>
                      </a:lnTo>
                      <a:lnTo>
                        <a:pt x="1207" y="945"/>
                      </a:lnTo>
                      <a:lnTo>
                        <a:pt x="1208" y="945"/>
                      </a:lnTo>
                      <a:lnTo>
                        <a:pt x="1209" y="945"/>
                      </a:lnTo>
                      <a:lnTo>
                        <a:pt x="1210" y="945"/>
                      </a:lnTo>
                      <a:lnTo>
                        <a:pt x="1210" y="944"/>
                      </a:lnTo>
                      <a:lnTo>
                        <a:pt x="1211" y="944"/>
                      </a:lnTo>
                      <a:lnTo>
                        <a:pt x="1211" y="943"/>
                      </a:lnTo>
                      <a:lnTo>
                        <a:pt x="1212" y="943"/>
                      </a:lnTo>
                      <a:lnTo>
                        <a:pt x="1213" y="943"/>
                      </a:lnTo>
                      <a:lnTo>
                        <a:pt x="1214" y="943"/>
                      </a:lnTo>
                      <a:lnTo>
                        <a:pt x="1214" y="942"/>
                      </a:lnTo>
                      <a:lnTo>
                        <a:pt x="1215" y="942"/>
                      </a:lnTo>
                      <a:lnTo>
                        <a:pt x="1216" y="942"/>
                      </a:lnTo>
                      <a:lnTo>
                        <a:pt x="1216" y="941"/>
                      </a:lnTo>
                      <a:lnTo>
                        <a:pt x="1218" y="941"/>
                      </a:lnTo>
                      <a:lnTo>
                        <a:pt x="1219" y="941"/>
                      </a:lnTo>
                      <a:lnTo>
                        <a:pt x="1219" y="940"/>
                      </a:lnTo>
                      <a:lnTo>
                        <a:pt x="1220" y="940"/>
                      </a:lnTo>
                      <a:lnTo>
                        <a:pt x="1221" y="940"/>
                      </a:lnTo>
                      <a:lnTo>
                        <a:pt x="1222" y="940"/>
                      </a:lnTo>
                      <a:lnTo>
                        <a:pt x="1221" y="940"/>
                      </a:lnTo>
                      <a:lnTo>
                        <a:pt x="1222" y="940"/>
                      </a:lnTo>
                      <a:lnTo>
                        <a:pt x="1222" y="939"/>
                      </a:lnTo>
                      <a:lnTo>
                        <a:pt x="1223" y="939"/>
                      </a:lnTo>
                      <a:lnTo>
                        <a:pt x="1224" y="938"/>
                      </a:lnTo>
                      <a:lnTo>
                        <a:pt x="1225" y="937"/>
                      </a:lnTo>
                      <a:lnTo>
                        <a:pt x="1225" y="936"/>
                      </a:lnTo>
                      <a:lnTo>
                        <a:pt x="1226" y="936"/>
                      </a:lnTo>
                      <a:lnTo>
                        <a:pt x="1227" y="936"/>
                      </a:lnTo>
                      <a:lnTo>
                        <a:pt x="1227" y="937"/>
                      </a:lnTo>
                      <a:lnTo>
                        <a:pt x="1228" y="936"/>
                      </a:lnTo>
                      <a:lnTo>
                        <a:pt x="1228" y="937"/>
                      </a:lnTo>
                      <a:lnTo>
                        <a:pt x="1228" y="936"/>
                      </a:lnTo>
                      <a:lnTo>
                        <a:pt x="1229" y="936"/>
                      </a:lnTo>
                      <a:lnTo>
                        <a:pt x="1229" y="937"/>
                      </a:lnTo>
                      <a:lnTo>
                        <a:pt x="1229" y="936"/>
                      </a:lnTo>
                      <a:lnTo>
                        <a:pt x="1231" y="936"/>
                      </a:lnTo>
                      <a:lnTo>
                        <a:pt x="1231" y="937"/>
                      </a:lnTo>
                      <a:lnTo>
                        <a:pt x="1231" y="936"/>
                      </a:lnTo>
                      <a:lnTo>
                        <a:pt x="1232" y="935"/>
                      </a:lnTo>
                      <a:lnTo>
                        <a:pt x="1233" y="934"/>
                      </a:lnTo>
                      <a:lnTo>
                        <a:pt x="1234" y="932"/>
                      </a:lnTo>
                      <a:lnTo>
                        <a:pt x="1235" y="932"/>
                      </a:lnTo>
                      <a:lnTo>
                        <a:pt x="1235" y="934"/>
                      </a:lnTo>
                      <a:lnTo>
                        <a:pt x="1236" y="934"/>
                      </a:lnTo>
                      <a:lnTo>
                        <a:pt x="1237" y="935"/>
                      </a:lnTo>
                      <a:lnTo>
                        <a:pt x="1235" y="935"/>
                      </a:lnTo>
                      <a:lnTo>
                        <a:pt x="1234" y="935"/>
                      </a:lnTo>
                      <a:lnTo>
                        <a:pt x="1233" y="935"/>
                      </a:lnTo>
                      <a:lnTo>
                        <a:pt x="1233" y="936"/>
                      </a:lnTo>
                      <a:lnTo>
                        <a:pt x="1234" y="936"/>
                      </a:lnTo>
                      <a:lnTo>
                        <a:pt x="1236" y="935"/>
                      </a:lnTo>
                      <a:lnTo>
                        <a:pt x="1237" y="935"/>
                      </a:lnTo>
                      <a:lnTo>
                        <a:pt x="1237" y="936"/>
                      </a:lnTo>
                      <a:lnTo>
                        <a:pt x="1237" y="937"/>
                      </a:lnTo>
                      <a:lnTo>
                        <a:pt x="1238" y="937"/>
                      </a:lnTo>
                      <a:lnTo>
                        <a:pt x="1239" y="938"/>
                      </a:lnTo>
                      <a:lnTo>
                        <a:pt x="1240" y="938"/>
                      </a:lnTo>
                      <a:lnTo>
                        <a:pt x="1240" y="939"/>
                      </a:lnTo>
                      <a:lnTo>
                        <a:pt x="1241" y="939"/>
                      </a:lnTo>
                      <a:lnTo>
                        <a:pt x="1240" y="939"/>
                      </a:lnTo>
                      <a:lnTo>
                        <a:pt x="1241" y="939"/>
                      </a:lnTo>
                      <a:lnTo>
                        <a:pt x="1242" y="939"/>
                      </a:lnTo>
                      <a:lnTo>
                        <a:pt x="1244" y="939"/>
                      </a:lnTo>
                      <a:lnTo>
                        <a:pt x="1245" y="939"/>
                      </a:lnTo>
                      <a:lnTo>
                        <a:pt x="1245" y="940"/>
                      </a:lnTo>
                      <a:lnTo>
                        <a:pt x="1244" y="940"/>
                      </a:lnTo>
                      <a:lnTo>
                        <a:pt x="1244" y="939"/>
                      </a:lnTo>
                      <a:lnTo>
                        <a:pt x="1242" y="939"/>
                      </a:lnTo>
                      <a:lnTo>
                        <a:pt x="1242" y="940"/>
                      </a:lnTo>
                      <a:lnTo>
                        <a:pt x="1241" y="941"/>
                      </a:lnTo>
                      <a:lnTo>
                        <a:pt x="1241" y="940"/>
                      </a:lnTo>
                      <a:lnTo>
                        <a:pt x="1240" y="941"/>
                      </a:lnTo>
                      <a:lnTo>
                        <a:pt x="1239" y="941"/>
                      </a:lnTo>
                      <a:lnTo>
                        <a:pt x="1239" y="940"/>
                      </a:lnTo>
                      <a:lnTo>
                        <a:pt x="1239" y="939"/>
                      </a:lnTo>
                      <a:lnTo>
                        <a:pt x="1239" y="940"/>
                      </a:lnTo>
                      <a:lnTo>
                        <a:pt x="1239" y="941"/>
                      </a:lnTo>
                      <a:lnTo>
                        <a:pt x="1238" y="941"/>
                      </a:lnTo>
                      <a:lnTo>
                        <a:pt x="1238" y="940"/>
                      </a:lnTo>
                      <a:lnTo>
                        <a:pt x="1238" y="941"/>
                      </a:lnTo>
                      <a:lnTo>
                        <a:pt x="1239" y="941"/>
                      </a:lnTo>
                      <a:lnTo>
                        <a:pt x="1238" y="941"/>
                      </a:lnTo>
                      <a:lnTo>
                        <a:pt x="1239" y="941"/>
                      </a:lnTo>
                      <a:lnTo>
                        <a:pt x="1238" y="941"/>
                      </a:lnTo>
                      <a:lnTo>
                        <a:pt x="1239" y="941"/>
                      </a:lnTo>
                      <a:lnTo>
                        <a:pt x="1239" y="942"/>
                      </a:lnTo>
                      <a:lnTo>
                        <a:pt x="1239" y="941"/>
                      </a:lnTo>
                      <a:lnTo>
                        <a:pt x="1240" y="941"/>
                      </a:lnTo>
                      <a:lnTo>
                        <a:pt x="1241" y="941"/>
                      </a:lnTo>
                      <a:lnTo>
                        <a:pt x="1242" y="941"/>
                      </a:lnTo>
                      <a:lnTo>
                        <a:pt x="1244" y="941"/>
                      </a:lnTo>
                      <a:lnTo>
                        <a:pt x="1244" y="942"/>
                      </a:lnTo>
                      <a:lnTo>
                        <a:pt x="1245" y="942"/>
                      </a:lnTo>
                      <a:lnTo>
                        <a:pt x="1245" y="941"/>
                      </a:lnTo>
                      <a:lnTo>
                        <a:pt x="1246" y="941"/>
                      </a:lnTo>
                      <a:lnTo>
                        <a:pt x="1247" y="941"/>
                      </a:lnTo>
                      <a:lnTo>
                        <a:pt x="1246" y="940"/>
                      </a:lnTo>
                      <a:lnTo>
                        <a:pt x="1247" y="940"/>
                      </a:lnTo>
                      <a:lnTo>
                        <a:pt x="1247" y="941"/>
                      </a:lnTo>
                      <a:lnTo>
                        <a:pt x="1248" y="941"/>
                      </a:lnTo>
                      <a:lnTo>
                        <a:pt x="1248" y="940"/>
                      </a:lnTo>
                      <a:lnTo>
                        <a:pt x="1249" y="940"/>
                      </a:lnTo>
                      <a:lnTo>
                        <a:pt x="1249" y="941"/>
                      </a:lnTo>
                      <a:lnTo>
                        <a:pt x="1249" y="942"/>
                      </a:lnTo>
                      <a:lnTo>
                        <a:pt x="1250" y="942"/>
                      </a:lnTo>
                      <a:lnTo>
                        <a:pt x="1251" y="942"/>
                      </a:lnTo>
                      <a:lnTo>
                        <a:pt x="1252" y="942"/>
                      </a:lnTo>
                      <a:lnTo>
                        <a:pt x="1253" y="942"/>
                      </a:lnTo>
                      <a:lnTo>
                        <a:pt x="1254" y="942"/>
                      </a:lnTo>
                      <a:lnTo>
                        <a:pt x="1254" y="943"/>
                      </a:lnTo>
                      <a:lnTo>
                        <a:pt x="1254" y="942"/>
                      </a:lnTo>
                      <a:lnTo>
                        <a:pt x="1254" y="943"/>
                      </a:lnTo>
                      <a:lnTo>
                        <a:pt x="1253" y="943"/>
                      </a:lnTo>
                      <a:lnTo>
                        <a:pt x="1253" y="944"/>
                      </a:lnTo>
                      <a:lnTo>
                        <a:pt x="1254" y="944"/>
                      </a:lnTo>
                      <a:lnTo>
                        <a:pt x="1253" y="944"/>
                      </a:lnTo>
                      <a:lnTo>
                        <a:pt x="1253" y="943"/>
                      </a:lnTo>
                      <a:lnTo>
                        <a:pt x="1254" y="944"/>
                      </a:lnTo>
                      <a:lnTo>
                        <a:pt x="1254" y="943"/>
                      </a:lnTo>
                      <a:lnTo>
                        <a:pt x="1255" y="942"/>
                      </a:lnTo>
                      <a:lnTo>
                        <a:pt x="1255" y="943"/>
                      </a:lnTo>
                      <a:lnTo>
                        <a:pt x="1257" y="943"/>
                      </a:lnTo>
                      <a:lnTo>
                        <a:pt x="1255" y="943"/>
                      </a:lnTo>
                      <a:lnTo>
                        <a:pt x="1254" y="943"/>
                      </a:lnTo>
                      <a:lnTo>
                        <a:pt x="1255" y="943"/>
                      </a:lnTo>
                      <a:lnTo>
                        <a:pt x="1255" y="944"/>
                      </a:lnTo>
                      <a:lnTo>
                        <a:pt x="1254" y="944"/>
                      </a:lnTo>
                      <a:lnTo>
                        <a:pt x="1254" y="945"/>
                      </a:lnTo>
                      <a:lnTo>
                        <a:pt x="1255" y="945"/>
                      </a:lnTo>
                      <a:lnTo>
                        <a:pt x="1255" y="947"/>
                      </a:lnTo>
                      <a:lnTo>
                        <a:pt x="1257" y="947"/>
                      </a:lnTo>
                      <a:lnTo>
                        <a:pt x="1258" y="947"/>
                      </a:lnTo>
                      <a:lnTo>
                        <a:pt x="1258" y="945"/>
                      </a:lnTo>
                      <a:lnTo>
                        <a:pt x="1259" y="945"/>
                      </a:lnTo>
                      <a:lnTo>
                        <a:pt x="1260" y="945"/>
                      </a:lnTo>
                      <a:lnTo>
                        <a:pt x="1259" y="947"/>
                      </a:lnTo>
                      <a:lnTo>
                        <a:pt x="1259" y="948"/>
                      </a:lnTo>
                      <a:lnTo>
                        <a:pt x="1259" y="947"/>
                      </a:lnTo>
                      <a:lnTo>
                        <a:pt x="1258" y="947"/>
                      </a:lnTo>
                      <a:lnTo>
                        <a:pt x="1257" y="947"/>
                      </a:lnTo>
                      <a:lnTo>
                        <a:pt x="1255" y="948"/>
                      </a:lnTo>
                      <a:lnTo>
                        <a:pt x="1257" y="947"/>
                      </a:lnTo>
                      <a:lnTo>
                        <a:pt x="1258" y="947"/>
                      </a:lnTo>
                      <a:lnTo>
                        <a:pt x="1258" y="948"/>
                      </a:lnTo>
                      <a:lnTo>
                        <a:pt x="1257" y="948"/>
                      </a:lnTo>
                      <a:lnTo>
                        <a:pt x="1257" y="949"/>
                      </a:lnTo>
                      <a:lnTo>
                        <a:pt x="1258" y="949"/>
                      </a:lnTo>
                      <a:lnTo>
                        <a:pt x="1258" y="950"/>
                      </a:lnTo>
                      <a:lnTo>
                        <a:pt x="1258" y="951"/>
                      </a:lnTo>
                      <a:lnTo>
                        <a:pt x="1258" y="952"/>
                      </a:lnTo>
                      <a:lnTo>
                        <a:pt x="1257" y="952"/>
                      </a:lnTo>
                      <a:lnTo>
                        <a:pt x="1258" y="952"/>
                      </a:lnTo>
                      <a:lnTo>
                        <a:pt x="1258" y="953"/>
                      </a:lnTo>
                      <a:lnTo>
                        <a:pt x="1258" y="954"/>
                      </a:lnTo>
                      <a:lnTo>
                        <a:pt x="1258" y="953"/>
                      </a:lnTo>
                      <a:lnTo>
                        <a:pt x="1259" y="953"/>
                      </a:lnTo>
                      <a:lnTo>
                        <a:pt x="1259" y="952"/>
                      </a:lnTo>
                      <a:lnTo>
                        <a:pt x="1260" y="951"/>
                      </a:lnTo>
                      <a:lnTo>
                        <a:pt x="1260" y="952"/>
                      </a:lnTo>
                      <a:lnTo>
                        <a:pt x="1259" y="952"/>
                      </a:lnTo>
                      <a:lnTo>
                        <a:pt x="1259" y="953"/>
                      </a:lnTo>
                      <a:lnTo>
                        <a:pt x="1259" y="952"/>
                      </a:lnTo>
                      <a:lnTo>
                        <a:pt x="1260" y="952"/>
                      </a:lnTo>
                      <a:lnTo>
                        <a:pt x="1260" y="951"/>
                      </a:lnTo>
                      <a:lnTo>
                        <a:pt x="1261" y="951"/>
                      </a:lnTo>
                      <a:lnTo>
                        <a:pt x="1261" y="952"/>
                      </a:lnTo>
                      <a:lnTo>
                        <a:pt x="1260" y="953"/>
                      </a:lnTo>
                      <a:lnTo>
                        <a:pt x="1261" y="953"/>
                      </a:lnTo>
                      <a:lnTo>
                        <a:pt x="1260" y="953"/>
                      </a:lnTo>
                      <a:lnTo>
                        <a:pt x="1260" y="954"/>
                      </a:lnTo>
                      <a:lnTo>
                        <a:pt x="1260" y="953"/>
                      </a:lnTo>
                      <a:lnTo>
                        <a:pt x="1261" y="954"/>
                      </a:lnTo>
                      <a:lnTo>
                        <a:pt x="1261" y="953"/>
                      </a:lnTo>
                      <a:lnTo>
                        <a:pt x="1260" y="953"/>
                      </a:lnTo>
                      <a:lnTo>
                        <a:pt x="1261" y="952"/>
                      </a:lnTo>
                      <a:lnTo>
                        <a:pt x="1261" y="953"/>
                      </a:lnTo>
                      <a:lnTo>
                        <a:pt x="1261" y="952"/>
                      </a:lnTo>
                      <a:lnTo>
                        <a:pt x="1261" y="951"/>
                      </a:lnTo>
                      <a:lnTo>
                        <a:pt x="1260" y="950"/>
                      </a:lnTo>
                      <a:lnTo>
                        <a:pt x="1260" y="951"/>
                      </a:lnTo>
                      <a:lnTo>
                        <a:pt x="1259" y="952"/>
                      </a:lnTo>
                      <a:lnTo>
                        <a:pt x="1258" y="952"/>
                      </a:lnTo>
                      <a:lnTo>
                        <a:pt x="1258" y="951"/>
                      </a:lnTo>
                      <a:lnTo>
                        <a:pt x="1258" y="952"/>
                      </a:lnTo>
                      <a:lnTo>
                        <a:pt x="1258" y="951"/>
                      </a:lnTo>
                      <a:lnTo>
                        <a:pt x="1258" y="950"/>
                      </a:lnTo>
                      <a:lnTo>
                        <a:pt x="1259" y="950"/>
                      </a:lnTo>
                      <a:lnTo>
                        <a:pt x="1258" y="949"/>
                      </a:lnTo>
                      <a:lnTo>
                        <a:pt x="1257" y="949"/>
                      </a:lnTo>
                      <a:lnTo>
                        <a:pt x="1258" y="949"/>
                      </a:lnTo>
                      <a:lnTo>
                        <a:pt x="1257" y="949"/>
                      </a:lnTo>
                      <a:lnTo>
                        <a:pt x="1257" y="948"/>
                      </a:lnTo>
                      <a:lnTo>
                        <a:pt x="1258" y="948"/>
                      </a:lnTo>
                      <a:lnTo>
                        <a:pt x="1259" y="948"/>
                      </a:lnTo>
                      <a:lnTo>
                        <a:pt x="1259" y="949"/>
                      </a:lnTo>
                      <a:lnTo>
                        <a:pt x="1260" y="949"/>
                      </a:lnTo>
                      <a:lnTo>
                        <a:pt x="1260" y="950"/>
                      </a:lnTo>
                      <a:lnTo>
                        <a:pt x="1261" y="950"/>
                      </a:lnTo>
                      <a:lnTo>
                        <a:pt x="1262" y="950"/>
                      </a:lnTo>
                      <a:lnTo>
                        <a:pt x="1263" y="950"/>
                      </a:lnTo>
                      <a:lnTo>
                        <a:pt x="1262" y="951"/>
                      </a:lnTo>
                      <a:lnTo>
                        <a:pt x="1262" y="952"/>
                      </a:lnTo>
                      <a:lnTo>
                        <a:pt x="1262" y="953"/>
                      </a:lnTo>
                      <a:lnTo>
                        <a:pt x="1261" y="953"/>
                      </a:lnTo>
                      <a:lnTo>
                        <a:pt x="1262" y="953"/>
                      </a:lnTo>
                      <a:lnTo>
                        <a:pt x="1262" y="952"/>
                      </a:lnTo>
                      <a:lnTo>
                        <a:pt x="1263" y="951"/>
                      </a:lnTo>
                      <a:lnTo>
                        <a:pt x="1264" y="951"/>
                      </a:lnTo>
                      <a:lnTo>
                        <a:pt x="1265" y="951"/>
                      </a:lnTo>
                      <a:lnTo>
                        <a:pt x="1265" y="950"/>
                      </a:lnTo>
                      <a:lnTo>
                        <a:pt x="1266" y="950"/>
                      </a:lnTo>
                      <a:lnTo>
                        <a:pt x="1267" y="950"/>
                      </a:lnTo>
                      <a:lnTo>
                        <a:pt x="1267" y="951"/>
                      </a:lnTo>
                      <a:lnTo>
                        <a:pt x="1266" y="951"/>
                      </a:lnTo>
                      <a:lnTo>
                        <a:pt x="1265" y="951"/>
                      </a:lnTo>
                      <a:lnTo>
                        <a:pt x="1266" y="951"/>
                      </a:lnTo>
                      <a:lnTo>
                        <a:pt x="1267" y="951"/>
                      </a:lnTo>
                      <a:lnTo>
                        <a:pt x="1267" y="950"/>
                      </a:lnTo>
                      <a:lnTo>
                        <a:pt x="1267" y="949"/>
                      </a:lnTo>
                      <a:lnTo>
                        <a:pt x="1267" y="948"/>
                      </a:lnTo>
                      <a:lnTo>
                        <a:pt x="1268" y="948"/>
                      </a:lnTo>
                      <a:lnTo>
                        <a:pt x="1268" y="949"/>
                      </a:lnTo>
                      <a:lnTo>
                        <a:pt x="1268" y="950"/>
                      </a:lnTo>
                      <a:lnTo>
                        <a:pt x="1267" y="950"/>
                      </a:lnTo>
                      <a:lnTo>
                        <a:pt x="1267" y="952"/>
                      </a:lnTo>
                      <a:lnTo>
                        <a:pt x="1266" y="952"/>
                      </a:lnTo>
                      <a:lnTo>
                        <a:pt x="1265" y="952"/>
                      </a:lnTo>
                      <a:lnTo>
                        <a:pt x="1264" y="952"/>
                      </a:lnTo>
                      <a:lnTo>
                        <a:pt x="1265" y="952"/>
                      </a:lnTo>
                      <a:lnTo>
                        <a:pt x="1266" y="952"/>
                      </a:lnTo>
                      <a:lnTo>
                        <a:pt x="1267" y="952"/>
                      </a:lnTo>
                      <a:lnTo>
                        <a:pt x="1267" y="953"/>
                      </a:lnTo>
                      <a:lnTo>
                        <a:pt x="1267" y="954"/>
                      </a:lnTo>
                      <a:lnTo>
                        <a:pt x="1270" y="953"/>
                      </a:lnTo>
                      <a:lnTo>
                        <a:pt x="1268" y="953"/>
                      </a:lnTo>
                      <a:lnTo>
                        <a:pt x="1268" y="954"/>
                      </a:lnTo>
                      <a:lnTo>
                        <a:pt x="1270" y="954"/>
                      </a:lnTo>
                      <a:lnTo>
                        <a:pt x="1268" y="954"/>
                      </a:lnTo>
                      <a:lnTo>
                        <a:pt x="1268" y="953"/>
                      </a:lnTo>
                      <a:lnTo>
                        <a:pt x="1267" y="953"/>
                      </a:lnTo>
                      <a:lnTo>
                        <a:pt x="1267" y="954"/>
                      </a:lnTo>
                      <a:lnTo>
                        <a:pt x="1268" y="954"/>
                      </a:lnTo>
                      <a:lnTo>
                        <a:pt x="1268" y="955"/>
                      </a:lnTo>
                      <a:lnTo>
                        <a:pt x="1268" y="956"/>
                      </a:lnTo>
                      <a:lnTo>
                        <a:pt x="1267" y="956"/>
                      </a:lnTo>
                      <a:lnTo>
                        <a:pt x="1268" y="956"/>
                      </a:lnTo>
                      <a:lnTo>
                        <a:pt x="1270" y="956"/>
                      </a:lnTo>
                      <a:lnTo>
                        <a:pt x="1270" y="955"/>
                      </a:lnTo>
                      <a:lnTo>
                        <a:pt x="1270" y="956"/>
                      </a:lnTo>
                      <a:lnTo>
                        <a:pt x="1271" y="956"/>
                      </a:lnTo>
                      <a:lnTo>
                        <a:pt x="1271" y="955"/>
                      </a:lnTo>
                      <a:lnTo>
                        <a:pt x="1271" y="956"/>
                      </a:lnTo>
                      <a:lnTo>
                        <a:pt x="1270" y="956"/>
                      </a:lnTo>
                      <a:lnTo>
                        <a:pt x="1270" y="957"/>
                      </a:lnTo>
                      <a:lnTo>
                        <a:pt x="1270" y="958"/>
                      </a:lnTo>
                      <a:lnTo>
                        <a:pt x="1268" y="958"/>
                      </a:lnTo>
                      <a:lnTo>
                        <a:pt x="1270" y="958"/>
                      </a:lnTo>
                      <a:lnTo>
                        <a:pt x="1270" y="957"/>
                      </a:lnTo>
                      <a:lnTo>
                        <a:pt x="1271" y="957"/>
                      </a:lnTo>
                      <a:lnTo>
                        <a:pt x="1271" y="958"/>
                      </a:lnTo>
                      <a:lnTo>
                        <a:pt x="1271" y="960"/>
                      </a:lnTo>
                      <a:lnTo>
                        <a:pt x="1271" y="958"/>
                      </a:lnTo>
                      <a:lnTo>
                        <a:pt x="1271" y="957"/>
                      </a:lnTo>
                      <a:lnTo>
                        <a:pt x="1272" y="957"/>
                      </a:lnTo>
                      <a:lnTo>
                        <a:pt x="1273" y="956"/>
                      </a:lnTo>
                      <a:lnTo>
                        <a:pt x="1274" y="956"/>
                      </a:lnTo>
                      <a:lnTo>
                        <a:pt x="1275" y="956"/>
                      </a:lnTo>
                      <a:lnTo>
                        <a:pt x="1275" y="955"/>
                      </a:lnTo>
                      <a:lnTo>
                        <a:pt x="1276" y="955"/>
                      </a:lnTo>
                      <a:lnTo>
                        <a:pt x="1276" y="956"/>
                      </a:lnTo>
                      <a:lnTo>
                        <a:pt x="1275" y="956"/>
                      </a:lnTo>
                      <a:lnTo>
                        <a:pt x="1274" y="956"/>
                      </a:lnTo>
                      <a:lnTo>
                        <a:pt x="1274" y="957"/>
                      </a:lnTo>
                      <a:lnTo>
                        <a:pt x="1273" y="957"/>
                      </a:lnTo>
                      <a:lnTo>
                        <a:pt x="1272" y="957"/>
                      </a:lnTo>
                      <a:lnTo>
                        <a:pt x="1272" y="958"/>
                      </a:lnTo>
                      <a:lnTo>
                        <a:pt x="1271" y="958"/>
                      </a:lnTo>
                      <a:lnTo>
                        <a:pt x="1271" y="960"/>
                      </a:lnTo>
                      <a:lnTo>
                        <a:pt x="1271" y="961"/>
                      </a:lnTo>
                      <a:lnTo>
                        <a:pt x="1272" y="962"/>
                      </a:lnTo>
                      <a:lnTo>
                        <a:pt x="1273" y="961"/>
                      </a:lnTo>
                      <a:lnTo>
                        <a:pt x="1274" y="961"/>
                      </a:lnTo>
                      <a:lnTo>
                        <a:pt x="1273" y="961"/>
                      </a:lnTo>
                      <a:lnTo>
                        <a:pt x="1274" y="961"/>
                      </a:lnTo>
                      <a:lnTo>
                        <a:pt x="1273" y="960"/>
                      </a:lnTo>
                      <a:lnTo>
                        <a:pt x="1274" y="961"/>
                      </a:lnTo>
                      <a:lnTo>
                        <a:pt x="1275" y="961"/>
                      </a:lnTo>
                      <a:lnTo>
                        <a:pt x="1276" y="960"/>
                      </a:lnTo>
                      <a:lnTo>
                        <a:pt x="1276" y="961"/>
                      </a:lnTo>
                      <a:lnTo>
                        <a:pt x="1277" y="961"/>
                      </a:lnTo>
                      <a:lnTo>
                        <a:pt x="1277" y="960"/>
                      </a:lnTo>
                      <a:lnTo>
                        <a:pt x="1277" y="961"/>
                      </a:lnTo>
                      <a:lnTo>
                        <a:pt x="1278" y="961"/>
                      </a:lnTo>
                      <a:lnTo>
                        <a:pt x="1278" y="960"/>
                      </a:lnTo>
                      <a:lnTo>
                        <a:pt x="1277" y="960"/>
                      </a:lnTo>
                      <a:lnTo>
                        <a:pt x="1277" y="961"/>
                      </a:lnTo>
                      <a:lnTo>
                        <a:pt x="1277" y="960"/>
                      </a:lnTo>
                      <a:lnTo>
                        <a:pt x="1278" y="958"/>
                      </a:lnTo>
                      <a:lnTo>
                        <a:pt x="1278" y="960"/>
                      </a:lnTo>
                      <a:lnTo>
                        <a:pt x="1278" y="958"/>
                      </a:lnTo>
                      <a:lnTo>
                        <a:pt x="1278" y="960"/>
                      </a:lnTo>
                      <a:lnTo>
                        <a:pt x="1279" y="960"/>
                      </a:lnTo>
                      <a:lnTo>
                        <a:pt x="1280" y="961"/>
                      </a:lnTo>
                      <a:lnTo>
                        <a:pt x="1282" y="961"/>
                      </a:lnTo>
                      <a:lnTo>
                        <a:pt x="1282" y="962"/>
                      </a:lnTo>
                      <a:lnTo>
                        <a:pt x="1280" y="963"/>
                      </a:lnTo>
                      <a:lnTo>
                        <a:pt x="1280" y="962"/>
                      </a:lnTo>
                      <a:lnTo>
                        <a:pt x="1279" y="962"/>
                      </a:lnTo>
                      <a:lnTo>
                        <a:pt x="1278" y="961"/>
                      </a:lnTo>
                      <a:lnTo>
                        <a:pt x="1277" y="961"/>
                      </a:lnTo>
                      <a:lnTo>
                        <a:pt x="1277" y="962"/>
                      </a:lnTo>
                      <a:lnTo>
                        <a:pt x="1276" y="962"/>
                      </a:lnTo>
                      <a:lnTo>
                        <a:pt x="1276" y="961"/>
                      </a:lnTo>
                      <a:lnTo>
                        <a:pt x="1275" y="961"/>
                      </a:lnTo>
                      <a:lnTo>
                        <a:pt x="1274" y="961"/>
                      </a:lnTo>
                      <a:lnTo>
                        <a:pt x="1274" y="962"/>
                      </a:lnTo>
                      <a:lnTo>
                        <a:pt x="1274" y="963"/>
                      </a:lnTo>
                      <a:lnTo>
                        <a:pt x="1275" y="963"/>
                      </a:lnTo>
                      <a:lnTo>
                        <a:pt x="1275" y="964"/>
                      </a:lnTo>
                      <a:lnTo>
                        <a:pt x="1276" y="964"/>
                      </a:lnTo>
                      <a:lnTo>
                        <a:pt x="1275" y="964"/>
                      </a:lnTo>
                      <a:lnTo>
                        <a:pt x="1275" y="965"/>
                      </a:lnTo>
                      <a:lnTo>
                        <a:pt x="1276" y="965"/>
                      </a:lnTo>
                      <a:lnTo>
                        <a:pt x="1275" y="964"/>
                      </a:lnTo>
                      <a:lnTo>
                        <a:pt x="1276" y="964"/>
                      </a:lnTo>
                      <a:lnTo>
                        <a:pt x="1275" y="963"/>
                      </a:lnTo>
                      <a:lnTo>
                        <a:pt x="1276" y="963"/>
                      </a:lnTo>
                      <a:lnTo>
                        <a:pt x="1276" y="964"/>
                      </a:lnTo>
                      <a:lnTo>
                        <a:pt x="1277" y="964"/>
                      </a:lnTo>
                      <a:lnTo>
                        <a:pt x="1277" y="965"/>
                      </a:lnTo>
                      <a:lnTo>
                        <a:pt x="1277" y="966"/>
                      </a:lnTo>
                      <a:lnTo>
                        <a:pt x="1278" y="966"/>
                      </a:lnTo>
                      <a:lnTo>
                        <a:pt x="1278" y="965"/>
                      </a:lnTo>
                      <a:lnTo>
                        <a:pt x="1279" y="965"/>
                      </a:lnTo>
                      <a:lnTo>
                        <a:pt x="1280" y="966"/>
                      </a:lnTo>
                      <a:lnTo>
                        <a:pt x="1279" y="966"/>
                      </a:lnTo>
                      <a:lnTo>
                        <a:pt x="1279" y="967"/>
                      </a:lnTo>
                      <a:lnTo>
                        <a:pt x="1279" y="966"/>
                      </a:lnTo>
                      <a:lnTo>
                        <a:pt x="1279" y="967"/>
                      </a:lnTo>
                      <a:lnTo>
                        <a:pt x="1278" y="967"/>
                      </a:lnTo>
                      <a:lnTo>
                        <a:pt x="1279" y="967"/>
                      </a:lnTo>
                      <a:lnTo>
                        <a:pt x="1279" y="968"/>
                      </a:lnTo>
                      <a:lnTo>
                        <a:pt x="1280" y="968"/>
                      </a:lnTo>
                      <a:lnTo>
                        <a:pt x="1280" y="967"/>
                      </a:lnTo>
                      <a:lnTo>
                        <a:pt x="1280" y="968"/>
                      </a:lnTo>
                      <a:lnTo>
                        <a:pt x="1282" y="968"/>
                      </a:lnTo>
                      <a:lnTo>
                        <a:pt x="1282" y="969"/>
                      </a:lnTo>
                      <a:lnTo>
                        <a:pt x="1280" y="969"/>
                      </a:lnTo>
                      <a:lnTo>
                        <a:pt x="1279" y="969"/>
                      </a:lnTo>
                      <a:lnTo>
                        <a:pt x="1280" y="970"/>
                      </a:lnTo>
                      <a:lnTo>
                        <a:pt x="1282" y="969"/>
                      </a:lnTo>
                      <a:lnTo>
                        <a:pt x="1282" y="970"/>
                      </a:lnTo>
                      <a:lnTo>
                        <a:pt x="1282" y="971"/>
                      </a:lnTo>
                      <a:lnTo>
                        <a:pt x="1283" y="971"/>
                      </a:lnTo>
                      <a:lnTo>
                        <a:pt x="1282" y="971"/>
                      </a:lnTo>
                      <a:lnTo>
                        <a:pt x="1283" y="973"/>
                      </a:lnTo>
                      <a:lnTo>
                        <a:pt x="1284" y="973"/>
                      </a:lnTo>
                      <a:lnTo>
                        <a:pt x="1284" y="971"/>
                      </a:lnTo>
                      <a:lnTo>
                        <a:pt x="1283" y="970"/>
                      </a:lnTo>
                      <a:lnTo>
                        <a:pt x="1284" y="970"/>
                      </a:lnTo>
                      <a:lnTo>
                        <a:pt x="1284" y="971"/>
                      </a:lnTo>
                      <a:lnTo>
                        <a:pt x="1284" y="970"/>
                      </a:lnTo>
                      <a:lnTo>
                        <a:pt x="1285" y="970"/>
                      </a:lnTo>
                      <a:lnTo>
                        <a:pt x="1284" y="970"/>
                      </a:lnTo>
                      <a:lnTo>
                        <a:pt x="1285" y="970"/>
                      </a:lnTo>
                      <a:lnTo>
                        <a:pt x="1285" y="971"/>
                      </a:lnTo>
                      <a:lnTo>
                        <a:pt x="1284" y="971"/>
                      </a:lnTo>
                      <a:lnTo>
                        <a:pt x="1284" y="973"/>
                      </a:lnTo>
                      <a:lnTo>
                        <a:pt x="1285" y="973"/>
                      </a:lnTo>
                      <a:lnTo>
                        <a:pt x="1285" y="971"/>
                      </a:lnTo>
                      <a:lnTo>
                        <a:pt x="1286" y="971"/>
                      </a:lnTo>
                      <a:lnTo>
                        <a:pt x="1286" y="973"/>
                      </a:lnTo>
                      <a:lnTo>
                        <a:pt x="1285" y="973"/>
                      </a:lnTo>
                      <a:lnTo>
                        <a:pt x="1284" y="973"/>
                      </a:lnTo>
                      <a:lnTo>
                        <a:pt x="1284" y="974"/>
                      </a:lnTo>
                      <a:lnTo>
                        <a:pt x="1285" y="974"/>
                      </a:lnTo>
                      <a:lnTo>
                        <a:pt x="1286" y="974"/>
                      </a:lnTo>
                      <a:lnTo>
                        <a:pt x="1287" y="974"/>
                      </a:lnTo>
                      <a:lnTo>
                        <a:pt x="1287" y="975"/>
                      </a:lnTo>
                      <a:lnTo>
                        <a:pt x="1287" y="976"/>
                      </a:lnTo>
                      <a:lnTo>
                        <a:pt x="1287" y="975"/>
                      </a:lnTo>
                      <a:lnTo>
                        <a:pt x="1287" y="974"/>
                      </a:lnTo>
                      <a:lnTo>
                        <a:pt x="1288" y="974"/>
                      </a:lnTo>
                      <a:lnTo>
                        <a:pt x="1287" y="975"/>
                      </a:lnTo>
                      <a:lnTo>
                        <a:pt x="1288" y="975"/>
                      </a:lnTo>
                      <a:lnTo>
                        <a:pt x="1288" y="974"/>
                      </a:lnTo>
                      <a:lnTo>
                        <a:pt x="1288" y="975"/>
                      </a:lnTo>
                      <a:lnTo>
                        <a:pt x="1288" y="974"/>
                      </a:lnTo>
                      <a:lnTo>
                        <a:pt x="1289" y="974"/>
                      </a:lnTo>
                      <a:lnTo>
                        <a:pt x="1288" y="975"/>
                      </a:lnTo>
                      <a:lnTo>
                        <a:pt x="1289" y="975"/>
                      </a:lnTo>
                      <a:lnTo>
                        <a:pt x="1289" y="974"/>
                      </a:lnTo>
                      <a:lnTo>
                        <a:pt x="1289" y="975"/>
                      </a:lnTo>
                      <a:lnTo>
                        <a:pt x="1290" y="975"/>
                      </a:lnTo>
                      <a:lnTo>
                        <a:pt x="1290" y="974"/>
                      </a:lnTo>
                      <a:lnTo>
                        <a:pt x="1290" y="975"/>
                      </a:lnTo>
                      <a:lnTo>
                        <a:pt x="1290" y="976"/>
                      </a:lnTo>
                      <a:lnTo>
                        <a:pt x="1291" y="976"/>
                      </a:lnTo>
                      <a:lnTo>
                        <a:pt x="1291" y="975"/>
                      </a:lnTo>
                      <a:lnTo>
                        <a:pt x="1291" y="973"/>
                      </a:lnTo>
                      <a:lnTo>
                        <a:pt x="1291" y="971"/>
                      </a:lnTo>
                      <a:lnTo>
                        <a:pt x="1292" y="971"/>
                      </a:lnTo>
                      <a:lnTo>
                        <a:pt x="1292" y="970"/>
                      </a:lnTo>
                      <a:lnTo>
                        <a:pt x="1292" y="971"/>
                      </a:lnTo>
                      <a:lnTo>
                        <a:pt x="1293" y="971"/>
                      </a:lnTo>
                      <a:lnTo>
                        <a:pt x="1293" y="970"/>
                      </a:lnTo>
                      <a:lnTo>
                        <a:pt x="1295" y="970"/>
                      </a:lnTo>
                      <a:lnTo>
                        <a:pt x="1293" y="970"/>
                      </a:lnTo>
                      <a:lnTo>
                        <a:pt x="1293" y="971"/>
                      </a:lnTo>
                      <a:lnTo>
                        <a:pt x="1292" y="971"/>
                      </a:lnTo>
                      <a:lnTo>
                        <a:pt x="1292" y="973"/>
                      </a:lnTo>
                      <a:lnTo>
                        <a:pt x="1292" y="974"/>
                      </a:lnTo>
                      <a:lnTo>
                        <a:pt x="1293" y="974"/>
                      </a:lnTo>
                      <a:lnTo>
                        <a:pt x="1293" y="975"/>
                      </a:lnTo>
                      <a:lnTo>
                        <a:pt x="1292" y="975"/>
                      </a:lnTo>
                      <a:lnTo>
                        <a:pt x="1292" y="974"/>
                      </a:lnTo>
                      <a:lnTo>
                        <a:pt x="1292" y="975"/>
                      </a:lnTo>
                      <a:lnTo>
                        <a:pt x="1292" y="976"/>
                      </a:lnTo>
                      <a:lnTo>
                        <a:pt x="1292" y="977"/>
                      </a:lnTo>
                      <a:lnTo>
                        <a:pt x="1293" y="977"/>
                      </a:lnTo>
                      <a:lnTo>
                        <a:pt x="1293" y="978"/>
                      </a:lnTo>
                      <a:lnTo>
                        <a:pt x="1295" y="978"/>
                      </a:lnTo>
                      <a:lnTo>
                        <a:pt x="1293" y="978"/>
                      </a:lnTo>
                      <a:lnTo>
                        <a:pt x="1295" y="977"/>
                      </a:lnTo>
                      <a:lnTo>
                        <a:pt x="1296" y="977"/>
                      </a:lnTo>
                      <a:lnTo>
                        <a:pt x="1296" y="978"/>
                      </a:lnTo>
                      <a:lnTo>
                        <a:pt x="1295" y="978"/>
                      </a:lnTo>
                      <a:lnTo>
                        <a:pt x="1296" y="978"/>
                      </a:lnTo>
                      <a:lnTo>
                        <a:pt x="1296" y="977"/>
                      </a:lnTo>
                      <a:lnTo>
                        <a:pt x="1296" y="976"/>
                      </a:lnTo>
                      <a:lnTo>
                        <a:pt x="1297" y="976"/>
                      </a:lnTo>
                      <a:lnTo>
                        <a:pt x="1297" y="977"/>
                      </a:lnTo>
                      <a:lnTo>
                        <a:pt x="1297" y="978"/>
                      </a:lnTo>
                      <a:lnTo>
                        <a:pt x="1298" y="978"/>
                      </a:lnTo>
                      <a:lnTo>
                        <a:pt x="1298" y="979"/>
                      </a:lnTo>
                      <a:lnTo>
                        <a:pt x="1299" y="979"/>
                      </a:lnTo>
                      <a:lnTo>
                        <a:pt x="1299" y="978"/>
                      </a:lnTo>
                      <a:lnTo>
                        <a:pt x="1300" y="977"/>
                      </a:lnTo>
                      <a:lnTo>
                        <a:pt x="1300" y="976"/>
                      </a:lnTo>
                      <a:lnTo>
                        <a:pt x="1301" y="976"/>
                      </a:lnTo>
                      <a:lnTo>
                        <a:pt x="1301" y="977"/>
                      </a:lnTo>
                      <a:lnTo>
                        <a:pt x="1301" y="978"/>
                      </a:lnTo>
                      <a:lnTo>
                        <a:pt x="1300" y="978"/>
                      </a:lnTo>
                      <a:lnTo>
                        <a:pt x="1301" y="978"/>
                      </a:lnTo>
                      <a:lnTo>
                        <a:pt x="1302" y="977"/>
                      </a:lnTo>
                      <a:lnTo>
                        <a:pt x="1302" y="978"/>
                      </a:lnTo>
                      <a:lnTo>
                        <a:pt x="1302" y="977"/>
                      </a:lnTo>
                      <a:lnTo>
                        <a:pt x="1303" y="977"/>
                      </a:lnTo>
                      <a:lnTo>
                        <a:pt x="1303" y="976"/>
                      </a:lnTo>
                      <a:lnTo>
                        <a:pt x="1304" y="976"/>
                      </a:lnTo>
                      <a:lnTo>
                        <a:pt x="1304" y="977"/>
                      </a:lnTo>
                      <a:lnTo>
                        <a:pt x="1304" y="978"/>
                      </a:lnTo>
                      <a:lnTo>
                        <a:pt x="1303" y="978"/>
                      </a:lnTo>
                      <a:lnTo>
                        <a:pt x="1303" y="979"/>
                      </a:lnTo>
                      <a:lnTo>
                        <a:pt x="1303" y="980"/>
                      </a:lnTo>
                      <a:lnTo>
                        <a:pt x="1304" y="980"/>
                      </a:lnTo>
                      <a:lnTo>
                        <a:pt x="1304" y="981"/>
                      </a:lnTo>
                      <a:lnTo>
                        <a:pt x="1304" y="982"/>
                      </a:lnTo>
                      <a:lnTo>
                        <a:pt x="1305" y="982"/>
                      </a:lnTo>
                      <a:lnTo>
                        <a:pt x="1305" y="981"/>
                      </a:lnTo>
                      <a:lnTo>
                        <a:pt x="1305" y="982"/>
                      </a:lnTo>
                      <a:lnTo>
                        <a:pt x="1306" y="982"/>
                      </a:lnTo>
                      <a:lnTo>
                        <a:pt x="1306" y="981"/>
                      </a:lnTo>
                      <a:lnTo>
                        <a:pt x="1306" y="982"/>
                      </a:lnTo>
                      <a:lnTo>
                        <a:pt x="1305" y="982"/>
                      </a:lnTo>
                      <a:lnTo>
                        <a:pt x="1305" y="983"/>
                      </a:lnTo>
                      <a:lnTo>
                        <a:pt x="1304" y="983"/>
                      </a:lnTo>
                      <a:lnTo>
                        <a:pt x="1304" y="984"/>
                      </a:lnTo>
                      <a:lnTo>
                        <a:pt x="1305" y="984"/>
                      </a:lnTo>
                      <a:lnTo>
                        <a:pt x="1305" y="986"/>
                      </a:lnTo>
                      <a:lnTo>
                        <a:pt x="1306" y="986"/>
                      </a:lnTo>
                      <a:lnTo>
                        <a:pt x="1306" y="984"/>
                      </a:lnTo>
                      <a:lnTo>
                        <a:pt x="1306" y="983"/>
                      </a:lnTo>
                      <a:lnTo>
                        <a:pt x="1306" y="982"/>
                      </a:lnTo>
                      <a:lnTo>
                        <a:pt x="1308" y="982"/>
                      </a:lnTo>
                      <a:lnTo>
                        <a:pt x="1308" y="981"/>
                      </a:lnTo>
                      <a:lnTo>
                        <a:pt x="1308" y="982"/>
                      </a:lnTo>
                      <a:lnTo>
                        <a:pt x="1309" y="982"/>
                      </a:lnTo>
                      <a:lnTo>
                        <a:pt x="1310" y="982"/>
                      </a:lnTo>
                      <a:lnTo>
                        <a:pt x="1310" y="981"/>
                      </a:lnTo>
                      <a:lnTo>
                        <a:pt x="1311" y="980"/>
                      </a:lnTo>
                      <a:lnTo>
                        <a:pt x="1311" y="979"/>
                      </a:lnTo>
                      <a:lnTo>
                        <a:pt x="1311" y="978"/>
                      </a:lnTo>
                      <a:lnTo>
                        <a:pt x="1311" y="977"/>
                      </a:lnTo>
                      <a:lnTo>
                        <a:pt x="1312" y="977"/>
                      </a:lnTo>
                      <a:lnTo>
                        <a:pt x="1312" y="976"/>
                      </a:lnTo>
                      <a:lnTo>
                        <a:pt x="1312" y="975"/>
                      </a:lnTo>
                      <a:lnTo>
                        <a:pt x="1313" y="975"/>
                      </a:lnTo>
                      <a:lnTo>
                        <a:pt x="1312" y="975"/>
                      </a:lnTo>
                      <a:lnTo>
                        <a:pt x="1312" y="974"/>
                      </a:lnTo>
                      <a:lnTo>
                        <a:pt x="1313" y="974"/>
                      </a:lnTo>
                      <a:lnTo>
                        <a:pt x="1313" y="973"/>
                      </a:lnTo>
                      <a:lnTo>
                        <a:pt x="1313" y="971"/>
                      </a:lnTo>
                      <a:lnTo>
                        <a:pt x="1313" y="970"/>
                      </a:lnTo>
                      <a:lnTo>
                        <a:pt x="1313" y="971"/>
                      </a:lnTo>
                      <a:lnTo>
                        <a:pt x="1314" y="971"/>
                      </a:lnTo>
                      <a:lnTo>
                        <a:pt x="1314" y="970"/>
                      </a:lnTo>
                      <a:lnTo>
                        <a:pt x="1313" y="970"/>
                      </a:lnTo>
                      <a:lnTo>
                        <a:pt x="1312" y="970"/>
                      </a:lnTo>
                      <a:lnTo>
                        <a:pt x="1312" y="969"/>
                      </a:lnTo>
                      <a:lnTo>
                        <a:pt x="1313" y="969"/>
                      </a:lnTo>
                      <a:lnTo>
                        <a:pt x="1313" y="970"/>
                      </a:lnTo>
                      <a:lnTo>
                        <a:pt x="1314" y="970"/>
                      </a:lnTo>
                      <a:lnTo>
                        <a:pt x="1314" y="971"/>
                      </a:lnTo>
                      <a:lnTo>
                        <a:pt x="1315" y="971"/>
                      </a:lnTo>
                      <a:lnTo>
                        <a:pt x="1315" y="970"/>
                      </a:lnTo>
                      <a:lnTo>
                        <a:pt x="1315" y="971"/>
                      </a:lnTo>
                      <a:lnTo>
                        <a:pt x="1315" y="973"/>
                      </a:lnTo>
                      <a:lnTo>
                        <a:pt x="1316" y="973"/>
                      </a:lnTo>
                      <a:lnTo>
                        <a:pt x="1316" y="971"/>
                      </a:lnTo>
                      <a:lnTo>
                        <a:pt x="1316" y="970"/>
                      </a:lnTo>
                      <a:lnTo>
                        <a:pt x="1315" y="970"/>
                      </a:lnTo>
                      <a:lnTo>
                        <a:pt x="1314" y="970"/>
                      </a:lnTo>
                      <a:lnTo>
                        <a:pt x="1314" y="969"/>
                      </a:lnTo>
                      <a:lnTo>
                        <a:pt x="1313" y="969"/>
                      </a:lnTo>
                      <a:lnTo>
                        <a:pt x="1312" y="969"/>
                      </a:lnTo>
                      <a:lnTo>
                        <a:pt x="1312" y="968"/>
                      </a:lnTo>
                      <a:lnTo>
                        <a:pt x="1312" y="966"/>
                      </a:lnTo>
                      <a:lnTo>
                        <a:pt x="1312" y="968"/>
                      </a:lnTo>
                      <a:lnTo>
                        <a:pt x="1312" y="969"/>
                      </a:lnTo>
                      <a:lnTo>
                        <a:pt x="1312" y="968"/>
                      </a:lnTo>
                      <a:lnTo>
                        <a:pt x="1313" y="969"/>
                      </a:lnTo>
                      <a:lnTo>
                        <a:pt x="1314" y="969"/>
                      </a:lnTo>
                      <a:lnTo>
                        <a:pt x="1315" y="969"/>
                      </a:lnTo>
                      <a:lnTo>
                        <a:pt x="1316" y="970"/>
                      </a:lnTo>
                      <a:lnTo>
                        <a:pt x="1317" y="970"/>
                      </a:lnTo>
                      <a:lnTo>
                        <a:pt x="1317" y="969"/>
                      </a:lnTo>
                      <a:lnTo>
                        <a:pt x="1318" y="969"/>
                      </a:lnTo>
                      <a:lnTo>
                        <a:pt x="1317" y="968"/>
                      </a:lnTo>
                      <a:lnTo>
                        <a:pt x="1317" y="967"/>
                      </a:lnTo>
                      <a:lnTo>
                        <a:pt x="1316" y="967"/>
                      </a:lnTo>
                      <a:lnTo>
                        <a:pt x="1316" y="966"/>
                      </a:lnTo>
                      <a:lnTo>
                        <a:pt x="1315" y="966"/>
                      </a:lnTo>
                      <a:lnTo>
                        <a:pt x="1315" y="967"/>
                      </a:lnTo>
                      <a:lnTo>
                        <a:pt x="1315" y="966"/>
                      </a:lnTo>
                      <a:lnTo>
                        <a:pt x="1315" y="965"/>
                      </a:lnTo>
                      <a:lnTo>
                        <a:pt x="1314" y="966"/>
                      </a:lnTo>
                      <a:lnTo>
                        <a:pt x="1314" y="965"/>
                      </a:lnTo>
                      <a:lnTo>
                        <a:pt x="1315" y="965"/>
                      </a:lnTo>
                      <a:lnTo>
                        <a:pt x="1314" y="965"/>
                      </a:lnTo>
                      <a:lnTo>
                        <a:pt x="1315" y="965"/>
                      </a:lnTo>
                      <a:lnTo>
                        <a:pt x="1316" y="965"/>
                      </a:lnTo>
                      <a:lnTo>
                        <a:pt x="1315" y="965"/>
                      </a:lnTo>
                      <a:lnTo>
                        <a:pt x="1316" y="965"/>
                      </a:lnTo>
                      <a:lnTo>
                        <a:pt x="1316" y="966"/>
                      </a:lnTo>
                      <a:lnTo>
                        <a:pt x="1317" y="965"/>
                      </a:lnTo>
                      <a:lnTo>
                        <a:pt x="1317" y="966"/>
                      </a:lnTo>
                      <a:lnTo>
                        <a:pt x="1318" y="966"/>
                      </a:lnTo>
                      <a:lnTo>
                        <a:pt x="1319" y="966"/>
                      </a:lnTo>
                      <a:lnTo>
                        <a:pt x="1318" y="965"/>
                      </a:lnTo>
                      <a:lnTo>
                        <a:pt x="1319" y="965"/>
                      </a:lnTo>
                      <a:lnTo>
                        <a:pt x="1319" y="966"/>
                      </a:lnTo>
                      <a:lnTo>
                        <a:pt x="1319" y="965"/>
                      </a:lnTo>
                      <a:lnTo>
                        <a:pt x="1319" y="966"/>
                      </a:lnTo>
                      <a:lnTo>
                        <a:pt x="1321" y="966"/>
                      </a:lnTo>
                      <a:lnTo>
                        <a:pt x="1319" y="967"/>
                      </a:lnTo>
                      <a:lnTo>
                        <a:pt x="1321" y="967"/>
                      </a:lnTo>
                      <a:lnTo>
                        <a:pt x="1322" y="967"/>
                      </a:lnTo>
                      <a:lnTo>
                        <a:pt x="1323" y="967"/>
                      </a:lnTo>
                      <a:lnTo>
                        <a:pt x="1324" y="967"/>
                      </a:lnTo>
                      <a:lnTo>
                        <a:pt x="1325" y="967"/>
                      </a:lnTo>
                      <a:lnTo>
                        <a:pt x="1326" y="967"/>
                      </a:lnTo>
                      <a:lnTo>
                        <a:pt x="1327" y="967"/>
                      </a:lnTo>
                      <a:lnTo>
                        <a:pt x="1328" y="967"/>
                      </a:lnTo>
                      <a:lnTo>
                        <a:pt x="1328" y="966"/>
                      </a:lnTo>
                      <a:lnTo>
                        <a:pt x="1329" y="966"/>
                      </a:lnTo>
                      <a:lnTo>
                        <a:pt x="1328" y="966"/>
                      </a:lnTo>
                      <a:lnTo>
                        <a:pt x="1329" y="965"/>
                      </a:lnTo>
                      <a:lnTo>
                        <a:pt x="1330" y="965"/>
                      </a:lnTo>
                      <a:lnTo>
                        <a:pt x="1331" y="965"/>
                      </a:lnTo>
                      <a:lnTo>
                        <a:pt x="1331" y="964"/>
                      </a:lnTo>
                      <a:lnTo>
                        <a:pt x="1331" y="965"/>
                      </a:lnTo>
                      <a:lnTo>
                        <a:pt x="1331" y="964"/>
                      </a:lnTo>
                      <a:lnTo>
                        <a:pt x="1332" y="964"/>
                      </a:lnTo>
                      <a:lnTo>
                        <a:pt x="1332" y="963"/>
                      </a:lnTo>
                      <a:lnTo>
                        <a:pt x="1334" y="963"/>
                      </a:lnTo>
                      <a:lnTo>
                        <a:pt x="1335" y="963"/>
                      </a:lnTo>
                      <a:lnTo>
                        <a:pt x="1335" y="962"/>
                      </a:lnTo>
                      <a:lnTo>
                        <a:pt x="1335" y="961"/>
                      </a:lnTo>
                      <a:lnTo>
                        <a:pt x="1336" y="961"/>
                      </a:lnTo>
                      <a:lnTo>
                        <a:pt x="1336" y="960"/>
                      </a:lnTo>
                      <a:lnTo>
                        <a:pt x="1336" y="958"/>
                      </a:lnTo>
                      <a:lnTo>
                        <a:pt x="1335" y="958"/>
                      </a:lnTo>
                      <a:lnTo>
                        <a:pt x="1335" y="960"/>
                      </a:lnTo>
                      <a:lnTo>
                        <a:pt x="1334" y="958"/>
                      </a:lnTo>
                      <a:lnTo>
                        <a:pt x="1334" y="957"/>
                      </a:lnTo>
                      <a:lnTo>
                        <a:pt x="1335" y="957"/>
                      </a:lnTo>
                      <a:lnTo>
                        <a:pt x="1334" y="957"/>
                      </a:lnTo>
                      <a:lnTo>
                        <a:pt x="1332" y="957"/>
                      </a:lnTo>
                      <a:lnTo>
                        <a:pt x="1334" y="955"/>
                      </a:lnTo>
                      <a:lnTo>
                        <a:pt x="1334" y="954"/>
                      </a:lnTo>
                      <a:lnTo>
                        <a:pt x="1332" y="954"/>
                      </a:lnTo>
                      <a:lnTo>
                        <a:pt x="1331" y="954"/>
                      </a:lnTo>
                      <a:lnTo>
                        <a:pt x="1331" y="953"/>
                      </a:lnTo>
                      <a:lnTo>
                        <a:pt x="1332" y="953"/>
                      </a:lnTo>
                      <a:lnTo>
                        <a:pt x="1332" y="952"/>
                      </a:lnTo>
                      <a:lnTo>
                        <a:pt x="1331" y="952"/>
                      </a:lnTo>
                      <a:lnTo>
                        <a:pt x="1330" y="951"/>
                      </a:lnTo>
                      <a:lnTo>
                        <a:pt x="1329" y="951"/>
                      </a:lnTo>
                      <a:lnTo>
                        <a:pt x="1328" y="951"/>
                      </a:lnTo>
                      <a:lnTo>
                        <a:pt x="1328" y="950"/>
                      </a:lnTo>
                      <a:lnTo>
                        <a:pt x="1328" y="949"/>
                      </a:lnTo>
                      <a:lnTo>
                        <a:pt x="1327" y="948"/>
                      </a:lnTo>
                      <a:lnTo>
                        <a:pt x="1327" y="947"/>
                      </a:lnTo>
                      <a:lnTo>
                        <a:pt x="1327" y="948"/>
                      </a:lnTo>
                      <a:lnTo>
                        <a:pt x="1328" y="948"/>
                      </a:lnTo>
                      <a:lnTo>
                        <a:pt x="1328" y="949"/>
                      </a:lnTo>
                      <a:lnTo>
                        <a:pt x="1329" y="949"/>
                      </a:lnTo>
                      <a:lnTo>
                        <a:pt x="1329" y="950"/>
                      </a:lnTo>
                      <a:lnTo>
                        <a:pt x="1329" y="949"/>
                      </a:lnTo>
                      <a:lnTo>
                        <a:pt x="1329" y="948"/>
                      </a:lnTo>
                      <a:lnTo>
                        <a:pt x="1328" y="947"/>
                      </a:lnTo>
                      <a:lnTo>
                        <a:pt x="1329" y="947"/>
                      </a:lnTo>
                      <a:lnTo>
                        <a:pt x="1329" y="945"/>
                      </a:lnTo>
                      <a:lnTo>
                        <a:pt x="1330" y="945"/>
                      </a:lnTo>
                      <a:lnTo>
                        <a:pt x="1330" y="947"/>
                      </a:lnTo>
                      <a:lnTo>
                        <a:pt x="1331" y="947"/>
                      </a:lnTo>
                      <a:lnTo>
                        <a:pt x="1331" y="945"/>
                      </a:lnTo>
                      <a:lnTo>
                        <a:pt x="1331" y="944"/>
                      </a:lnTo>
                      <a:lnTo>
                        <a:pt x="1332" y="944"/>
                      </a:lnTo>
                      <a:lnTo>
                        <a:pt x="1332" y="945"/>
                      </a:lnTo>
                      <a:lnTo>
                        <a:pt x="1332" y="947"/>
                      </a:lnTo>
                      <a:lnTo>
                        <a:pt x="1332" y="948"/>
                      </a:lnTo>
                      <a:lnTo>
                        <a:pt x="1331" y="948"/>
                      </a:lnTo>
                      <a:lnTo>
                        <a:pt x="1331" y="949"/>
                      </a:lnTo>
                      <a:lnTo>
                        <a:pt x="1331" y="950"/>
                      </a:lnTo>
                      <a:lnTo>
                        <a:pt x="1332" y="951"/>
                      </a:lnTo>
                      <a:lnTo>
                        <a:pt x="1334" y="951"/>
                      </a:lnTo>
                      <a:lnTo>
                        <a:pt x="1335" y="951"/>
                      </a:lnTo>
                      <a:lnTo>
                        <a:pt x="1335" y="952"/>
                      </a:lnTo>
                      <a:lnTo>
                        <a:pt x="1335" y="953"/>
                      </a:lnTo>
                      <a:lnTo>
                        <a:pt x="1336" y="953"/>
                      </a:lnTo>
                      <a:lnTo>
                        <a:pt x="1336" y="954"/>
                      </a:lnTo>
                      <a:lnTo>
                        <a:pt x="1336" y="955"/>
                      </a:lnTo>
                      <a:lnTo>
                        <a:pt x="1336" y="956"/>
                      </a:lnTo>
                      <a:lnTo>
                        <a:pt x="1337" y="957"/>
                      </a:lnTo>
                      <a:lnTo>
                        <a:pt x="1337" y="956"/>
                      </a:lnTo>
                      <a:lnTo>
                        <a:pt x="1337" y="955"/>
                      </a:lnTo>
                      <a:lnTo>
                        <a:pt x="1338" y="955"/>
                      </a:lnTo>
                      <a:lnTo>
                        <a:pt x="1339" y="955"/>
                      </a:lnTo>
                      <a:lnTo>
                        <a:pt x="1339" y="956"/>
                      </a:lnTo>
                      <a:lnTo>
                        <a:pt x="1340" y="956"/>
                      </a:lnTo>
                      <a:lnTo>
                        <a:pt x="1340" y="955"/>
                      </a:lnTo>
                      <a:lnTo>
                        <a:pt x="1341" y="955"/>
                      </a:lnTo>
                      <a:lnTo>
                        <a:pt x="1342" y="955"/>
                      </a:lnTo>
                      <a:lnTo>
                        <a:pt x="1342" y="956"/>
                      </a:lnTo>
                      <a:lnTo>
                        <a:pt x="1343" y="956"/>
                      </a:lnTo>
                      <a:lnTo>
                        <a:pt x="1343" y="957"/>
                      </a:lnTo>
                      <a:lnTo>
                        <a:pt x="1342" y="957"/>
                      </a:lnTo>
                      <a:lnTo>
                        <a:pt x="1342" y="958"/>
                      </a:lnTo>
                      <a:lnTo>
                        <a:pt x="1342" y="960"/>
                      </a:lnTo>
                      <a:lnTo>
                        <a:pt x="1342" y="961"/>
                      </a:lnTo>
                      <a:lnTo>
                        <a:pt x="1342" y="962"/>
                      </a:lnTo>
                      <a:lnTo>
                        <a:pt x="1342" y="963"/>
                      </a:lnTo>
                      <a:lnTo>
                        <a:pt x="1341" y="964"/>
                      </a:lnTo>
                      <a:lnTo>
                        <a:pt x="1342" y="964"/>
                      </a:lnTo>
                      <a:lnTo>
                        <a:pt x="1341" y="964"/>
                      </a:lnTo>
                      <a:lnTo>
                        <a:pt x="1341" y="965"/>
                      </a:lnTo>
                      <a:lnTo>
                        <a:pt x="1342" y="965"/>
                      </a:lnTo>
                      <a:lnTo>
                        <a:pt x="1342" y="964"/>
                      </a:lnTo>
                      <a:lnTo>
                        <a:pt x="1342" y="963"/>
                      </a:lnTo>
                      <a:lnTo>
                        <a:pt x="1342" y="964"/>
                      </a:lnTo>
                      <a:lnTo>
                        <a:pt x="1343" y="964"/>
                      </a:lnTo>
                      <a:lnTo>
                        <a:pt x="1343" y="963"/>
                      </a:lnTo>
                      <a:lnTo>
                        <a:pt x="1343" y="962"/>
                      </a:lnTo>
                      <a:lnTo>
                        <a:pt x="1343" y="963"/>
                      </a:lnTo>
                      <a:lnTo>
                        <a:pt x="1343" y="964"/>
                      </a:lnTo>
                      <a:lnTo>
                        <a:pt x="1343" y="965"/>
                      </a:lnTo>
                      <a:lnTo>
                        <a:pt x="1342" y="965"/>
                      </a:lnTo>
                      <a:lnTo>
                        <a:pt x="1342" y="966"/>
                      </a:lnTo>
                      <a:lnTo>
                        <a:pt x="1341" y="966"/>
                      </a:lnTo>
                      <a:lnTo>
                        <a:pt x="1340" y="966"/>
                      </a:lnTo>
                      <a:lnTo>
                        <a:pt x="1340" y="967"/>
                      </a:lnTo>
                      <a:lnTo>
                        <a:pt x="1339" y="967"/>
                      </a:lnTo>
                      <a:lnTo>
                        <a:pt x="1340" y="967"/>
                      </a:lnTo>
                      <a:lnTo>
                        <a:pt x="1340" y="968"/>
                      </a:lnTo>
                      <a:lnTo>
                        <a:pt x="1341" y="968"/>
                      </a:lnTo>
                      <a:lnTo>
                        <a:pt x="1342" y="968"/>
                      </a:lnTo>
                      <a:lnTo>
                        <a:pt x="1342" y="967"/>
                      </a:lnTo>
                      <a:lnTo>
                        <a:pt x="1342" y="968"/>
                      </a:lnTo>
                      <a:lnTo>
                        <a:pt x="1342" y="967"/>
                      </a:lnTo>
                      <a:lnTo>
                        <a:pt x="1342" y="968"/>
                      </a:lnTo>
                      <a:lnTo>
                        <a:pt x="1343" y="968"/>
                      </a:lnTo>
                      <a:lnTo>
                        <a:pt x="1343" y="967"/>
                      </a:lnTo>
                      <a:lnTo>
                        <a:pt x="1343" y="968"/>
                      </a:lnTo>
                      <a:lnTo>
                        <a:pt x="1343" y="967"/>
                      </a:lnTo>
                      <a:lnTo>
                        <a:pt x="1343" y="968"/>
                      </a:lnTo>
                      <a:lnTo>
                        <a:pt x="1344" y="968"/>
                      </a:lnTo>
                      <a:lnTo>
                        <a:pt x="1344" y="967"/>
                      </a:lnTo>
                      <a:lnTo>
                        <a:pt x="1345" y="967"/>
                      </a:lnTo>
                      <a:lnTo>
                        <a:pt x="1344" y="968"/>
                      </a:lnTo>
                      <a:lnTo>
                        <a:pt x="1345" y="968"/>
                      </a:lnTo>
                      <a:lnTo>
                        <a:pt x="1345" y="969"/>
                      </a:lnTo>
                      <a:lnTo>
                        <a:pt x="1345" y="968"/>
                      </a:lnTo>
                      <a:lnTo>
                        <a:pt x="1345" y="969"/>
                      </a:lnTo>
                      <a:lnTo>
                        <a:pt x="1345" y="970"/>
                      </a:lnTo>
                      <a:lnTo>
                        <a:pt x="1347" y="970"/>
                      </a:lnTo>
                      <a:lnTo>
                        <a:pt x="1347" y="969"/>
                      </a:lnTo>
                      <a:lnTo>
                        <a:pt x="1348" y="969"/>
                      </a:lnTo>
                      <a:lnTo>
                        <a:pt x="1348" y="970"/>
                      </a:lnTo>
                      <a:lnTo>
                        <a:pt x="1347" y="970"/>
                      </a:lnTo>
                      <a:lnTo>
                        <a:pt x="1347" y="971"/>
                      </a:lnTo>
                      <a:lnTo>
                        <a:pt x="1348" y="970"/>
                      </a:lnTo>
                      <a:lnTo>
                        <a:pt x="1348" y="969"/>
                      </a:lnTo>
                      <a:lnTo>
                        <a:pt x="1348" y="970"/>
                      </a:lnTo>
                      <a:lnTo>
                        <a:pt x="1349" y="970"/>
                      </a:lnTo>
                      <a:lnTo>
                        <a:pt x="1349" y="969"/>
                      </a:lnTo>
                      <a:lnTo>
                        <a:pt x="1350" y="970"/>
                      </a:lnTo>
                      <a:lnTo>
                        <a:pt x="1350" y="969"/>
                      </a:lnTo>
                      <a:lnTo>
                        <a:pt x="1350" y="970"/>
                      </a:lnTo>
                      <a:lnTo>
                        <a:pt x="1350" y="971"/>
                      </a:lnTo>
                      <a:lnTo>
                        <a:pt x="1350" y="973"/>
                      </a:lnTo>
                      <a:lnTo>
                        <a:pt x="1351" y="973"/>
                      </a:lnTo>
                      <a:lnTo>
                        <a:pt x="1350" y="973"/>
                      </a:lnTo>
                      <a:lnTo>
                        <a:pt x="1351" y="973"/>
                      </a:lnTo>
                      <a:lnTo>
                        <a:pt x="1350" y="974"/>
                      </a:lnTo>
                      <a:lnTo>
                        <a:pt x="1349" y="974"/>
                      </a:lnTo>
                      <a:lnTo>
                        <a:pt x="1348" y="974"/>
                      </a:lnTo>
                      <a:lnTo>
                        <a:pt x="1348" y="975"/>
                      </a:lnTo>
                      <a:lnTo>
                        <a:pt x="1349" y="975"/>
                      </a:lnTo>
                      <a:lnTo>
                        <a:pt x="1349" y="974"/>
                      </a:lnTo>
                      <a:lnTo>
                        <a:pt x="1349" y="975"/>
                      </a:lnTo>
                      <a:lnTo>
                        <a:pt x="1349" y="974"/>
                      </a:lnTo>
                      <a:lnTo>
                        <a:pt x="1349" y="975"/>
                      </a:lnTo>
                      <a:lnTo>
                        <a:pt x="1349" y="974"/>
                      </a:lnTo>
                      <a:lnTo>
                        <a:pt x="1350" y="974"/>
                      </a:lnTo>
                      <a:lnTo>
                        <a:pt x="1351" y="974"/>
                      </a:lnTo>
                      <a:lnTo>
                        <a:pt x="1351" y="973"/>
                      </a:lnTo>
                      <a:lnTo>
                        <a:pt x="1351" y="971"/>
                      </a:lnTo>
                      <a:lnTo>
                        <a:pt x="1351" y="970"/>
                      </a:lnTo>
                      <a:lnTo>
                        <a:pt x="1351" y="969"/>
                      </a:lnTo>
                      <a:lnTo>
                        <a:pt x="1351" y="970"/>
                      </a:lnTo>
                      <a:lnTo>
                        <a:pt x="1351" y="969"/>
                      </a:lnTo>
                      <a:lnTo>
                        <a:pt x="1351" y="968"/>
                      </a:lnTo>
                      <a:lnTo>
                        <a:pt x="1350" y="968"/>
                      </a:lnTo>
                      <a:lnTo>
                        <a:pt x="1351" y="968"/>
                      </a:lnTo>
                      <a:lnTo>
                        <a:pt x="1351" y="967"/>
                      </a:lnTo>
                      <a:lnTo>
                        <a:pt x="1350" y="966"/>
                      </a:lnTo>
                      <a:lnTo>
                        <a:pt x="1349" y="966"/>
                      </a:lnTo>
                      <a:lnTo>
                        <a:pt x="1349" y="965"/>
                      </a:lnTo>
                      <a:lnTo>
                        <a:pt x="1348" y="965"/>
                      </a:lnTo>
                      <a:lnTo>
                        <a:pt x="1347" y="965"/>
                      </a:lnTo>
                      <a:lnTo>
                        <a:pt x="1347" y="966"/>
                      </a:lnTo>
                      <a:lnTo>
                        <a:pt x="1347" y="965"/>
                      </a:lnTo>
                      <a:lnTo>
                        <a:pt x="1345" y="965"/>
                      </a:lnTo>
                      <a:lnTo>
                        <a:pt x="1345" y="964"/>
                      </a:lnTo>
                      <a:lnTo>
                        <a:pt x="1345" y="963"/>
                      </a:lnTo>
                      <a:lnTo>
                        <a:pt x="1345" y="962"/>
                      </a:lnTo>
                      <a:lnTo>
                        <a:pt x="1345" y="963"/>
                      </a:lnTo>
                      <a:lnTo>
                        <a:pt x="1345" y="964"/>
                      </a:lnTo>
                      <a:lnTo>
                        <a:pt x="1347" y="964"/>
                      </a:lnTo>
                      <a:lnTo>
                        <a:pt x="1348" y="964"/>
                      </a:lnTo>
                      <a:lnTo>
                        <a:pt x="1349" y="964"/>
                      </a:lnTo>
                      <a:lnTo>
                        <a:pt x="1350" y="964"/>
                      </a:lnTo>
                      <a:lnTo>
                        <a:pt x="1351" y="964"/>
                      </a:lnTo>
                      <a:lnTo>
                        <a:pt x="1351" y="965"/>
                      </a:lnTo>
                      <a:lnTo>
                        <a:pt x="1350" y="965"/>
                      </a:lnTo>
                      <a:lnTo>
                        <a:pt x="1349" y="965"/>
                      </a:lnTo>
                      <a:lnTo>
                        <a:pt x="1350" y="965"/>
                      </a:lnTo>
                      <a:lnTo>
                        <a:pt x="1350" y="966"/>
                      </a:lnTo>
                      <a:lnTo>
                        <a:pt x="1351" y="966"/>
                      </a:lnTo>
                      <a:lnTo>
                        <a:pt x="1352" y="966"/>
                      </a:lnTo>
                      <a:lnTo>
                        <a:pt x="1352" y="967"/>
                      </a:lnTo>
                      <a:lnTo>
                        <a:pt x="1352" y="968"/>
                      </a:lnTo>
                      <a:lnTo>
                        <a:pt x="1352" y="969"/>
                      </a:lnTo>
                      <a:lnTo>
                        <a:pt x="1352" y="970"/>
                      </a:lnTo>
                      <a:lnTo>
                        <a:pt x="1352" y="971"/>
                      </a:lnTo>
                      <a:lnTo>
                        <a:pt x="1353" y="971"/>
                      </a:lnTo>
                      <a:lnTo>
                        <a:pt x="1353" y="973"/>
                      </a:lnTo>
                      <a:lnTo>
                        <a:pt x="1353" y="974"/>
                      </a:lnTo>
                      <a:lnTo>
                        <a:pt x="1353" y="975"/>
                      </a:lnTo>
                      <a:lnTo>
                        <a:pt x="1353" y="976"/>
                      </a:lnTo>
                      <a:lnTo>
                        <a:pt x="1353" y="977"/>
                      </a:lnTo>
                      <a:lnTo>
                        <a:pt x="1352" y="977"/>
                      </a:lnTo>
                      <a:lnTo>
                        <a:pt x="1353" y="977"/>
                      </a:lnTo>
                      <a:lnTo>
                        <a:pt x="1353" y="978"/>
                      </a:lnTo>
                      <a:lnTo>
                        <a:pt x="1354" y="978"/>
                      </a:lnTo>
                      <a:lnTo>
                        <a:pt x="1354" y="977"/>
                      </a:lnTo>
                      <a:lnTo>
                        <a:pt x="1353" y="977"/>
                      </a:lnTo>
                      <a:lnTo>
                        <a:pt x="1353" y="976"/>
                      </a:lnTo>
                      <a:lnTo>
                        <a:pt x="1354" y="976"/>
                      </a:lnTo>
                      <a:lnTo>
                        <a:pt x="1354" y="975"/>
                      </a:lnTo>
                      <a:lnTo>
                        <a:pt x="1354" y="974"/>
                      </a:lnTo>
                      <a:lnTo>
                        <a:pt x="1354" y="973"/>
                      </a:lnTo>
                      <a:lnTo>
                        <a:pt x="1354" y="971"/>
                      </a:lnTo>
                      <a:lnTo>
                        <a:pt x="1355" y="970"/>
                      </a:lnTo>
                      <a:lnTo>
                        <a:pt x="1356" y="970"/>
                      </a:lnTo>
                      <a:lnTo>
                        <a:pt x="1356" y="969"/>
                      </a:lnTo>
                      <a:lnTo>
                        <a:pt x="1357" y="969"/>
                      </a:lnTo>
                      <a:lnTo>
                        <a:pt x="1358" y="968"/>
                      </a:lnTo>
                      <a:lnTo>
                        <a:pt x="1356" y="969"/>
                      </a:lnTo>
                      <a:lnTo>
                        <a:pt x="1356" y="970"/>
                      </a:lnTo>
                      <a:lnTo>
                        <a:pt x="1356" y="971"/>
                      </a:lnTo>
                      <a:lnTo>
                        <a:pt x="1355" y="971"/>
                      </a:lnTo>
                      <a:lnTo>
                        <a:pt x="1356" y="971"/>
                      </a:lnTo>
                      <a:lnTo>
                        <a:pt x="1356" y="973"/>
                      </a:lnTo>
                      <a:lnTo>
                        <a:pt x="1357" y="973"/>
                      </a:lnTo>
                      <a:lnTo>
                        <a:pt x="1356" y="973"/>
                      </a:lnTo>
                      <a:lnTo>
                        <a:pt x="1357" y="973"/>
                      </a:lnTo>
                      <a:lnTo>
                        <a:pt x="1358" y="973"/>
                      </a:lnTo>
                      <a:lnTo>
                        <a:pt x="1358" y="974"/>
                      </a:lnTo>
                      <a:lnTo>
                        <a:pt x="1360" y="975"/>
                      </a:lnTo>
                      <a:lnTo>
                        <a:pt x="1358" y="975"/>
                      </a:lnTo>
                      <a:lnTo>
                        <a:pt x="1360" y="975"/>
                      </a:lnTo>
                      <a:lnTo>
                        <a:pt x="1360" y="976"/>
                      </a:lnTo>
                      <a:lnTo>
                        <a:pt x="1361" y="976"/>
                      </a:lnTo>
                      <a:lnTo>
                        <a:pt x="1361" y="977"/>
                      </a:lnTo>
                      <a:lnTo>
                        <a:pt x="1361" y="978"/>
                      </a:lnTo>
                      <a:lnTo>
                        <a:pt x="1360" y="978"/>
                      </a:lnTo>
                      <a:lnTo>
                        <a:pt x="1360" y="979"/>
                      </a:lnTo>
                      <a:lnTo>
                        <a:pt x="1361" y="979"/>
                      </a:lnTo>
                      <a:lnTo>
                        <a:pt x="1362" y="978"/>
                      </a:lnTo>
                      <a:lnTo>
                        <a:pt x="1362" y="977"/>
                      </a:lnTo>
                      <a:lnTo>
                        <a:pt x="1363" y="977"/>
                      </a:lnTo>
                      <a:lnTo>
                        <a:pt x="1362" y="977"/>
                      </a:lnTo>
                      <a:lnTo>
                        <a:pt x="1363" y="978"/>
                      </a:lnTo>
                      <a:lnTo>
                        <a:pt x="1363" y="977"/>
                      </a:lnTo>
                      <a:lnTo>
                        <a:pt x="1364" y="977"/>
                      </a:lnTo>
                      <a:lnTo>
                        <a:pt x="1364" y="976"/>
                      </a:lnTo>
                      <a:lnTo>
                        <a:pt x="1364" y="977"/>
                      </a:lnTo>
                      <a:lnTo>
                        <a:pt x="1365" y="977"/>
                      </a:lnTo>
                      <a:lnTo>
                        <a:pt x="1364" y="977"/>
                      </a:lnTo>
                      <a:lnTo>
                        <a:pt x="1364" y="978"/>
                      </a:lnTo>
                      <a:lnTo>
                        <a:pt x="1365" y="978"/>
                      </a:lnTo>
                      <a:lnTo>
                        <a:pt x="1364" y="979"/>
                      </a:lnTo>
                      <a:lnTo>
                        <a:pt x="1365" y="979"/>
                      </a:lnTo>
                      <a:lnTo>
                        <a:pt x="1365" y="980"/>
                      </a:lnTo>
                      <a:lnTo>
                        <a:pt x="1366" y="980"/>
                      </a:lnTo>
                      <a:lnTo>
                        <a:pt x="1366" y="981"/>
                      </a:lnTo>
                      <a:lnTo>
                        <a:pt x="1367" y="981"/>
                      </a:lnTo>
                      <a:lnTo>
                        <a:pt x="1367" y="982"/>
                      </a:lnTo>
                      <a:lnTo>
                        <a:pt x="1366" y="981"/>
                      </a:lnTo>
                      <a:lnTo>
                        <a:pt x="1365" y="980"/>
                      </a:lnTo>
                      <a:lnTo>
                        <a:pt x="1364" y="979"/>
                      </a:lnTo>
                      <a:lnTo>
                        <a:pt x="1364" y="980"/>
                      </a:lnTo>
                      <a:lnTo>
                        <a:pt x="1364" y="981"/>
                      </a:lnTo>
                      <a:lnTo>
                        <a:pt x="1363" y="981"/>
                      </a:lnTo>
                      <a:lnTo>
                        <a:pt x="1362" y="981"/>
                      </a:lnTo>
                      <a:lnTo>
                        <a:pt x="1363" y="981"/>
                      </a:lnTo>
                      <a:lnTo>
                        <a:pt x="1363" y="980"/>
                      </a:lnTo>
                      <a:lnTo>
                        <a:pt x="1362" y="980"/>
                      </a:lnTo>
                      <a:lnTo>
                        <a:pt x="1362" y="981"/>
                      </a:lnTo>
                      <a:lnTo>
                        <a:pt x="1361" y="981"/>
                      </a:lnTo>
                      <a:lnTo>
                        <a:pt x="1360" y="981"/>
                      </a:lnTo>
                      <a:lnTo>
                        <a:pt x="1360" y="982"/>
                      </a:lnTo>
                      <a:lnTo>
                        <a:pt x="1358" y="982"/>
                      </a:lnTo>
                      <a:lnTo>
                        <a:pt x="1360" y="982"/>
                      </a:lnTo>
                      <a:lnTo>
                        <a:pt x="1361" y="982"/>
                      </a:lnTo>
                      <a:lnTo>
                        <a:pt x="1361" y="983"/>
                      </a:lnTo>
                      <a:lnTo>
                        <a:pt x="1362" y="983"/>
                      </a:lnTo>
                      <a:lnTo>
                        <a:pt x="1362" y="984"/>
                      </a:lnTo>
                      <a:lnTo>
                        <a:pt x="1363" y="984"/>
                      </a:lnTo>
                      <a:lnTo>
                        <a:pt x="1363" y="986"/>
                      </a:lnTo>
                      <a:lnTo>
                        <a:pt x="1363" y="987"/>
                      </a:lnTo>
                      <a:lnTo>
                        <a:pt x="1362" y="987"/>
                      </a:lnTo>
                      <a:lnTo>
                        <a:pt x="1363" y="988"/>
                      </a:lnTo>
                      <a:lnTo>
                        <a:pt x="1363" y="987"/>
                      </a:lnTo>
                      <a:lnTo>
                        <a:pt x="1364" y="988"/>
                      </a:lnTo>
                      <a:lnTo>
                        <a:pt x="1364" y="987"/>
                      </a:lnTo>
                      <a:lnTo>
                        <a:pt x="1364" y="988"/>
                      </a:lnTo>
                      <a:lnTo>
                        <a:pt x="1364" y="987"/>
                      </a:lnTo>
                      <a:lnTo>
                        <a:pt x="1365" y="987"/>
                      </a:lnTo>
                      <a:lnTo>
                        <a:pt x="1366" y="987"/>
                      </a:lnTo>
                      <a:lnTo>
                        <a:pt x="1367" y="987"/>
                      </a:lnTo>
                      <a:lnTo>
                        <a:pt x="1367" y="988"/>
                      </a:lnTo>
                      <a:lnTo>
                        <a:pt x="1367" y="987"/>
                      </a:lnTo>
                      <a:lnTo>
                        <a:pt x="1367" y="988"/>
                      </a:lnTo>
                      <a:lnTo>
                        <a:pt x="1366" y="988"/>
                      </a:lnTo>
                      <a:lnTo>
                        <a:pt x="1365" y="988"/>
                      </a:lnTo>
                      <a:lnTo>
                        <a:pt x="1365" y="989"/>
                      </a:lnTo>
                      <a:lnTo>
                        <a:pt x="1364" y="989"/>
                      </a:lnTo>
                      <a:lnTo>
                        <a:pt x="1364" y="990"/>
                      </a:lnTo>
                      <a:lnTo>
                        <a:pt x="1364" y="991"/>
                      </a:lnTo>
                      <a:lnTo>
                        <a:pt x="1365" y="991"/>
                      </a:lnTo>
                      <a:lnTo>
                        <a:pt x="1365" y="992"/>
                      </a:lnTo>
                      <a:lnTo>
                        <a:pt x="1366" y="992"/>
                      </a:lnTo>
                      <a:lnTo>
                        <a:pt x="1366" y="993"/>
                      </a:lnTo>
                      <a:lnTo>
                        <a:pt x="1365" y="992"/>
                      </a:lnTo>
                      <a:lnTo>
                        <a:pt x="1364" y="992"/>
                      </a:lnTo>
                      <a:lnTo>
                        <a:pt x="1364" y="991"/>
                      </a:lnTo>
                      <a:lnTo>
                        <a:pt x="1363" y="991"/>
                      </a:lnTo>
                      <a:lnTo>
                        <a:pt x="1362" y="991"/>
                      </a:lnTo>
                      <a:lnTo>
                        <a:pt x="1362" y="990"/>
                      </a:lnTo>
                      <a:lnTo>
                        <a:pt x="1362" y="991"/>
                      </a:lnTo>
                      <a:lnTo>
                        <a:pt x="1362" y="990"/>
                      </a:lnTo>
                      <a:lnTo>
                        <a:pt x="1361" y="990"/>
                      </a:lnTo>
                      <a:lnTo>
                        <a:pt x="1361" y="989"/>
                      </a:lnTo>
                      <a:lnTo>
                        <a:pt x="1362" y="989"/>
                      </a:lnTo>
                      <a:lnTo>
                        <a:pt x="1361" y="989"/>
                      </a:lnTo>
                      <a:lnTo>
                        <a:pt x="1360" y="989"/>
                      </a:lnTo>
                      <a:lnTo>
                        <a:pt x="1360" y="990"/>
                      </a:lnTo>
                      <a:lnTo>
                        <a:pt x="1358" y="990"/>
                      </a:lnTo>
                      <a:lnTo>
                        <a:pt x="1358" y="989"/>
                      </a:lnTo>
                      <a:lnTo>
                        <a:pt x="1358" y="988"/>
                      </a:lnTo>
                      <a:lnTo>
                        <a:pt x="1357" y="988"/>
                      </a:lnTo>
                      <a:lnTo>
                        <a:pt x="1357" y="989"/>
                      </a:lnTo>
                      <a:lnTo>
                        <a:pt x="1357" y="988"/>
                      </a:lnTo>
                      <a:lnTo>
                        <a:pt x="1357" y="989"/>
                      </a:lnTo>
                      <a:lnTo>
                        <a:pt x="1356" y="989"/>
                      </a:lnTo>
                      <a:lnTo>
                        <a:pt x="1357" y="989"/>
                      </a:lnTo>
                      <a:lnTo>
                        <a:pt x="1356" y="989"/>
                      </a:lnTo>
                      <a:lnTo>
                        <a:pt x="1356" y="990"/>
                      </a:lnTo>
                      <a:lnTo>
                        <a:pt x="1355" y="990"/>
                      </a:lnTo>
                      <a:lnTo>
                        <a:pt x="1355" y="989"/>
                      </a:lnTo>
                      <a:lnTo>
                        <a:pt x="1356" y="989"/>
                      </a:lnTo>
                      <a:lnTo>
                        <a:pt x="1356" y="988"/>
                      </a:lnTo>
                      <a:lnTo>
                        <a:pt x="1355" y="988"/>
                      </a:lnTo>
                      <a:lnTo>
                        <a:pt x="1356" y="988"/>
                      </a:lnTo>
                      <a:lnTo>
                        <a:pt x="1355" y="988"/>
                      </a:lnTo>
                      <a:lnTo>
                        <a:pt x="1355" y="989"/>
                      </a:lnTo>
                      <a:lnTo>
                        <a:pt x="1354" y="989"/>
                      </a:lnTo>
                      <a:lnTo>
                        <a:pt x="1355" y="989"/>
                      </a:lnTo>
                      <a:lnTo>
                        <a:pt x="1355" y="990"/>
                      </a:lnTo>
                      <a:lnTo>
                        <a:pt x="1356" y="991"/>
                      </a:lnTo>
                      <a:lnTo>
                        <a:pt x="1357" y="991"/>
                      </a:lnTo>
                      <a:lnTo>
                        <a:pt x="1357" y="992"/>
                      </a:lnTo>
                      <a:lnTo>
                        <a:pt x="1358" y="992"/>
                      </a:lnTo>
                      <a:lnTo>
                        <a:pt x="1357" y="992"/>
                      </a:lnTo>
                      <a:lnTo>
                        <a:pt x="1357" y="993"/>
                      </a:lnTo>
                      <a:lnTo>
                        <a:pt x="1356" y="993"/>
                      </a:lnTo>
                      <a:lnTo>
                        <a:pt x="1356" y="992"/>
                      </a:lnTo>
                      <a:lnTo>
                        <a:pt x="1356" y="993"/>
                      </a:lnTo>
                      <a:lnTo>
                        <a:pt x="1357" y="992"/>
                      </a:lnTo>
                      <a:lnTo>
                        <a:pt x="1356" y="992"/>
                      </a:lnTo>
                      <a:lnTo>
                        <a:pt x="1357" y="992"/>
                      </a:lnTo>
                      <a:lnTo>
                        <a:pt x="1356" y="992"/>
                      </a:lnTo>
                      <a:lnTo>
                        <a:pt x="1355" y="992"/>
                      </a:lnTo>
                      <a:lnTo>
                        <a:pt x="1356" y="993"/>
                      </a:lnTo>
                      <a:lnTo>
                        <a:pt x="1355" y="993"/>
                      </a:lnTo>
                      <a:lnTo>
                        <a:pt x="1356" y="993"/>
                      </a:lnTo>
                      <a:lnTo>
                        <a:pt x="1356" y="994"/>
                      </a:lnTo>
                      <a:lnTo>
                        <a:pt x="1357" y="994"/>
                      </a:lnTo>
                      <a:lnTo>
                        <a:pt x="1356" y="994"/>
                      </a:lnTo>
                      <a:lnTo>
                        <a:pt x="1357" y="994"/>
                      </a:lnTo>
                      <a:lnTo>
                        <a:pt x="1358" y="994"/>
                      </a:lnTo>
                      <a:lnTo>
                        <a:pt x="1360" y="994"/>
                      </a:lnTo>
                      <a:lnTo>
                        <a:pt x="1360" y="993"/>
                      </a:lnTo>
                      <a:lnTo>
                        <a:pt x="1361" y="993"/>
                      </a:lnTo>
                      <a:lnTo>
                        <a:pt x="1360" y="994"/>
                      </a:lnTo>
                      <a:lnTo>
                        <a:pt x="1361" y="994"/>
                      </a:lnTo>
                      <a:lnTo>
                        <a:pt x="1361" y="993"/>
                      </a:lnTo>
                      <a:lnTo>
                        <a:pt x="1362" y="993"/>
                      </a:lnTo>
                      <a:lnTo>
                        <a:pt x="1362" y="994"/>
                      </a:lnTo>
                      <a:lnTo>
                        <a:pt x="1362" y="995"/>
                      </a:lnTo>
                      <a:lnTo>
                        <a:pt x="1361" y="995"/>
                      </a:lnTo>
                      <a:lnTo>
                        <a:pt x="1362" y="995"/>
                      </a:lnTo>
                      <a:lnTo>
                        <a:pt x="1361" y="995"/>
                      </a:lnTo>
                      <a:lnTo>
                        <a:pt x="1361" y="996"/>
                      </a:lnTo>
                      <a:lnTo>
                        <a:pt x="1362" y="996"/>
                      </a:lnTo>
                      <a:lnTo>
                        <a:pt x="1361" y="996"/>
                      </a:lnTo>
                      <a:lnTo>
                        <a:pt x="1362" y="998"/>
                      </a:lnTo>
                      <a:lnTo>
                        <a:pt x="1363" y="998"/>
                      </a:lnTo>
                      <a:lnTo>
                        <a:pt x="1364" y="998"/>
                      </a:lnTo>
                      <a:lnTo>
                        <a:pt x="1363" y="998"/>
                      </a:lnTo>
                      <a:lnTo>
                        <a:pt x="1362" y="998"/>
                      </a:lnTo>
                      <a:lnTo>
                        <a:pt x="1361" y="998"/>
                      </a:lnTo>
                      <a:lnTo>
                        <a:pt x="1361" y="996"/>
                      </a:lnTo>
                      <a:lnTo>
                        <a:pt x="1360" y="995"/>
                      </a:lnTo>
                      <a:lnTo>
                        <a:pt x="1361" y="995"/>
                      </a:lnTo>
                      <a:lnTo>
                        <a:pt x="1361" y="996"/>
                      </a:lnTo>
                      <a:lnTo>
                        <a:pt x="1361" y="995"/>
                      </a:lnTo>
                      <a:lnTo>
                        <a:pt x="1360" y="995"/>
                      </a:lnTo>
                      <a:lnTo>
                        <a:pt x="1358" y="995"/>
                      </a:lnTo>
                      <a:lnTo>
                        <a:pt x="1357" y="995"/>
                      </a:lnTo>
                      <a:lnTo>
                        <a:pt x="1356" y="995"/>
                      </a:lnTo>
                      <a:lnTo>
                        <a:pt x="1356" y="994"/>
                      </a:lnTo>
                      <a:lnTo>
                        <a:pt x="1355" y="994"/>
                      </a:lnTo>
                      <a:lnTo>
                        <a:pt x="1355" y="995"/>
                      </a:lnTo>
                      <a:lnTo>
                        <a:pt x="1354" y="995"/>
                      </a:lnTo>
                      <a:lnTo>
                        <a:pt x="1353" y="995"/>
                      </a:lnTo>
                      <a:lnTo>
                        <a:pt x="1352" y="995"/>
                      </a:lnTo>
                      <a:lnTo>
                        <a:pt x="1353" y="995"/>
                      </a:lnTo>
                      <a:lnTo>
                        <a:pt x="1352" y="995"/>
                      </a:lnTo>
                      <a:lnTo>
                        <a:pt x="1352" y="996"/>
                      </a:lnTo>
                      <a:lnTo>
                        <a:pt x="1352" y="995"/>
                      </a:lnTo>
                      <a:lnTo>
                        <a:pt x="1352" y="996"/>
                      </a:lnTo>
                      <a:lnTo>
                        <a:pt x="1352" y="998"/>
                      </a:lnTo>
                      <a:lnTo>
                        <a:pt x="1352" y="999"/>
                      </a:lnTo>
                      <a:lnTo>
                        <a:pt x="1352" y="1000"/>
                      </a:lnTo>
                      <a:lnTo>
                        <a:pt x="1351" y="999"/>
                      </a:lnTo>
                      <a:lnTo>
                        <a:pt x="1351" y="998"/>
                      </a:lnTo>
                      <a:lnTo>
                        <a:pt x="1352" y="998"/>
                      </a:lnTo>
                      <a:lnTo>
                        <a:pt x="1352" y="996"/>
                      </a:lnTo>
                      <a:lnTo>
                        <a:pt x="1351" y="996"/>
                      </a:lnTo>
                      <a:lnTo>
                        <a:pt x="1352" y="996"/>
                      </a:lnTo>
                      <a:lnTo>
                        <a:pt x="1351" y="996"/>
                      </a:lnTo>
                      <a:lnTo>
                        <a:pt x="1352" y="996"/>
                      </a:lnTo>
                      <a:lnTo>
                        <a:pt x="1351" y="996"/>
                      </a:lnTo>
                      <a:lnTo>
                        <a:pt x="1351" y="998"/>
                      </a:lnTo>
                      <a:lnTo>
                        <a:pt x="1350" y="998"/>
                      </a:lnTo>
                      <a:lnTo>
                        <a:pt x="1350" y="999"/>
                      </a:lnTo>
                      <a:lnTo>
                        <a:pt x="1349" y="999"/>
                      </a:lnTo>
                      <a:lnTo>
                        <a:pt x="1349" y="1000"/>
                      </a:lnTo>
                      <a:lnTo>
                        <a:pt x="1350" y="1000"/>
                      </a:lnTo>
                      <a:lnTo>
                        <a:pt x="1350" y="1001"/>
                      </a:lnTo>
                      <a:lnTo>
                        <a:pt x="1349" y="1001"/>
                      </a:lnTo>
                      <a:lnTo>
                        <a:pt x="1349" y="1000"/>
                      </a:lnTo>
                      <a:lnTo>
                        <a:pt x="1349" y="999"/>
                      </a:lnTo>
                      <a:lnTo>
                        <a:pt x="1349" y="998"/>
                      </a:lnTo>
                      <a:lnTo>
                        <a:pt x="1350" y="998"/>
                      </a:lnTo>
                      <a:lnTo>
                        <a:pt x="1350" y="996"/>
                      </a:lnTo>
                      <a:lnTo>
                        <a:pt x="1351" y="996"/>
                      </a:lnTo>
                      <a:lnTo>
                        <a:pt x="1350" y="996"/>
                      </a:lnTo>
                      <a:lnTo>
                        <a:pt x="1350" y="995"/>
                      </a:lnTo>
                      <a:lnTo>
                        <a:pt x="1350" y="996"/>
                      </a:lnTo>
                      <a:lnTo>
                        <a:pt x="1349" y="996"/>
                      </a:lnTo>
                      <a:lnTo>
                        <a:pt x="1349" y="995"/>
                      </a:lnTo>
                      <a:lnTo>
                        <a:pt x="1348" y="995"/>
                      </a:lnTo>
                      <a:lnTo>
                        <a:pt x="1348" y="994"/>
                      </a:lnTo>
                      <a:lnTo>
                        <a:pt x="1347" y="994"/>
                      </a:lnTo>
                      <a:lnTo>
                        <a:pt x="1345" y="994"/>
                      </a:lnTo>
                      <a:lnTo>
                        <a:pt x="1345" y="995"/>
                      </a:lnTo>
                      <a:lnTo>
                        <a:pt x="1345" y="994"/>
                      </a:lnTo>
                      <a:lnTo>
                        <a:pt x="1344" y="994"/>
                      </a:lnTo>
                      <a:lnTo>
                        <a:pt x="1344" y="995"/>
                      </a:lnTo>
                      <a:lnTo>
                        <a:pt x="1343" y="995"/>
                      </a:lnTo>
                      <a:lnTo>
                        <a:pt x="1342" y="995"/>
                      </a:lnTo>
                      <a:lnTo>
                        <a:pt x="1343" y="996"/>
                      </a:lnTo>
                      <a:lnTo>
                        <a:pt x="1344" y="996"/>
                      </a:lnTo>
                      <a:lnTo>
                        <a:pt x="1343" y="996"/>
                      </a:lnTo>
                      <a:lnTo>
                        <a:pt x="1342" y="996"/>
                      </a:lnTo>
                      <a:lnTo>
                        <a:pt x="1341" y="996"/>
                      </a:lnTo>
                      <a:lnTo>
                        <a:pt x="1341" y="998"/>
                      </a:lnTo>
                      <a:lnTo>
                        <a:pt x="1340" y="998"/>
                      </a:lnTo>
                      <a:lnTo>
                        <a:pt x="1340" y="999"/>
                      </a:lnTo>
                      <a:lnTo>
                        <a:pt x="1339" y="999"/>
                      </a:lnTo>
                      <a:lnTo>
                        <a:pt x="1340" y="999"/>
                      </a:lnTo>
                      <a:lnTo>
                        <a:pt x="1340" y="1000"/>
                      </a:lnTo>
                      <a:lnTo>
                        <a:pt x="1341" y="1000"/>
                      </a:lnTo>
                      <a:lnTo>
                        <a:pt x="1341" y="1001"/>
                      </a:lnTo>
                      <a:lnTo>
                        <a:pt x="1341" y="1000"/>
                      </a:lnTo>
                      <a:lnTo>
                        <a:pt x="1341" y="1001"/>
                      </a:lnTo>
                      <a:lnTo>
                        <a:pt x="1340" y="1001"/>
                      </a:lnTo>
                      <a:lnTo>
                        <a:pt x="1340" y="1000"/>
                      </a:lnTo>
                      <a:lnTo>
                        <a:pt x="1339" y="1000"/>
                      </a:lnTo>
                      <a:lnTo>
                        <a:pt x="1338" y="999"/>
                      </a:lnTo>
                      <a:lnTo>
                        <a:pt x="1338" y="998"/>
                      </a:lnTo>
                      <a:lnTo>
                        <a:pt x="1338" y="999"/>
                      </a:lnTo>
                      <a:lnTo>
                        <a:pt x="1338" y="1000"/>
                      </a:lnTo>
                      <a:lnTo>
                        <a:pt x="1339" y="1001"/>
                      </a:lnTo>
                      <a:lnTo>
                        <a:pt x="1338" y="1001"/>
                      </a:lnTo>
                      <a:lnTo>
                        <a:pt x="1338" y="1000"/>
                      </a:lnTo>
                      <a:lnTo>
                        <a:pt x="1338" y="999"/>
                      </a:lnTo>
                      <a:lnTo>
                        <a:pt x="1337" y="999"/>
                      </a:lnTo>
                      <a:lnTo>
                        <a:pt x="1338" y="999"/>
                      </a:lnTo>
                      <a:lnTo>
                        <a:pt x="1338" y="1000"/>
                      </a:lnTo>
                      <a:lnTo>
                        <a:pt x="1338" y="1001"/>
                      </a:lnTo>
                      <a:lnTo>
                        <a:pt x="1338" y="1002"/>
                      </a:lnTo>
                      <a:lnTo>
                        <a:pt x="1338" y="1001"/>
                      </a:lnTo>
                      <a:lnTo>
                        <a:pt x="1338" y="1002"/>
                      </a:lnTo>
                      <a:lnTo>
                        <a:pt x="1337" y="1002"/>
                      </a:lnTo>
                      <a:lnTo>
                        <a:pt x="1337" y="1001"/>
                      </a:lnTo>
                      <a:lnTo>
                        <a:pt x="1336" y="1001"/>
                      </a:lnTo>
                      <a:lnTo>
                        <a:pt x="1337" y="1001"/>
                      </a:lnTo>
                      <a:lnTo>
                        <a:pt x="1337" y="1000"/>
                      </a:lnTo>
                      <a:lnTo>
                        <a:pt x="1336" y="1000"/>
                      </a:lnTo>
                      <a:lnTo>
                        <a:pt x="1336" y="1001"/>
                      </a:lnTo>
                      <a:lnTo>
                        <a:pt x="1337" y="1002"/>
                      </a:lnTo>
                      <a:lnTo>
                        <a:pt x="1336" y="1001"/>
                      </a:lnTo>
                      <a:lnTo>
                        <a:pt x="1336" y="1002"/>
                      </a:lnTo>
                      <a:lnTo>
                        <a:pt x="1337" y="1002"/>
                      </a:lnTo>
                      <a:lnTo>
                        <a:pt x="1337" y="1003"/>
                      </a:lnTo>
                      <a:lnTo>
                        <a:pt x="1336" y="1003"/>
                      </a:lnTo>
                      <a:lnTo>
                        <a:pt x="1336" y="1002"/>
                      </a:lnTo>
                      <a:lnTo>
                        <a:pt x="1335" y="1002"/>
                      </a:lnTo>
                      <a:lnTo>
                        <a:pt x="1334" y="1002"/>
                      </a:lnTo>
                      <a:lnTo>
                        <a:pt x="1334" y="1003"/>
                      </a:lnTo>
                      <a:lnTo>
                        <a:pt x="1335" y="1003"/>
                      </a:lnTo>
                      <a:lnTo>
                        <a:pt x="1334" y="1003"/>
                      </a:lnTo>
                      <a:lnTo>
                        <a:pt x="1335" y="1003"/>
                      </a:lnTo>
                      <a:lnTo>
                        <a:pt x="1335" y="1004"/>
                      </a:lnTo>
                      <a:lnTo>
                        <a:pt x="1336" y="1005"/>
                      </a:lnTo>
                      <a:lnTo>
                        <a:pt x="1336" y="1004"/>
                      </a:lnTo>
                      <a:lnTo>
                        <a:pt x="1337" y="1004"/>
                      </a:lnTo>
                      <a:lnTo>
                        <a:pt x="1337" y="1005"/>
                      </a:lnTo>
                      <a:lnTo>
                        <a:pt x="1338" y="1005"/>
                      </a:lnTo>
                      <a:lnTo>
                        <a:pt x="1338" y="1006"/>
                      </a:lnTo>
                      <a:lnTo>
                        <a:pt x="1339" y="1006"/>
                      </a:lnTo>
                      <a:lnTo>
                        <a:pt x="1338" y="1006"/>
                      </a:lnTo>
                      <a:lnTo>
                        <a:pt x="1338" y="1007"/>
                      </a:lnTo>
                      <a:lnTo>
                        <a:pt x="1337" y="1007"/>
                      </a:lnTo>
                      <a:lnTo>
                        <a:pt x="1336" y="1007"/>
                      </a:lnTo>
                      <a:lnTo>
                        <a:pt x="1336" y="1006"/>
                      </a:lnTo>
                      <a:lnTo>
                        <a:pt x="1336" y="1005"/>
                      </a:lnTo>
                      <a:lnTo>
                        <a:pt x="1335" y="1005"/>
                      </a:lnTo>
                      <a:lnTo>
                        <a:pt x="1334" y="1005"/>
                      </a:lnTo>
                      <a:lnTo>
                        <a:pt x="1332" y="1005"/>
                      </a:lnTo>
                      <a:lnTo>
                        <a:pt x="1334" y="1005"/>
                      </a:lnTo>
                      <a:lnTo>
                        <a:pt x="1332" y="1006"/>
                      </a:lnTo>
                      <a:lnTo>
                        <a:pt x="1332" y="1005"/>
                      </a:lnTo>
                      <a:lnTo>
                        <a:pt x="1332" y="1006"/>
                      </a:lnTo>
                      <a:lnTo>
                        <a:pt x="1334" y="1006"/>
                      </a:lnTo>
                      <a:lnTo>
                        <a:pt x="1332" y="1006"/>
                      </a:lnTo>
                      <a:lnTo>
                        <a:pt x="1334" y="1006"/>
                      </a:lnTo>
                      <a:lnTo>
                        <a:pt x="1334" y="1007"/>
                      </a:lnTo>
                      <a:lnTo>
                        <a:pt x="1332" y="1007"/>
                      </a:lnTo>
                      <a:lnTo>
                        <a:pt x="1332" y="1006"/>
                      </a:lnTo>
                      <a:lnTo>
                        <a:pt x="1332" y="1007"/>
                      </a:lnTo>
                      <a:lnTo>
                        <a:pt x="1331" y="1007"/>
                      </a:lnTo>
                      <a:lnTo>
                        <a:pt x="1331" y="1008"/>
                      </a:lnTo>
                      <a:lnTo>
                        <a:pt x="1331" y="1009"/>
                      </a:lnTo>
                      <a:lnTo>
                        <a:pt x="1331" y="1008"/>
                      </a:lnTo>
                      <a:lnTo>
                        <a:pt x="1330" y="1008"/>
                      </a:lnTo>
                      <a:lnTo>
                        <a:pt x="1331" y="1008"/>
                      </a:lnTo>
                      <a:lnTo>
                        <a:pt x="1331" y="1009"/>
                      </a:lnTo>
                      <a:lnTo>
                        <a:pt x="1330" y="1011"/>
                      </a:lnTo>
                      <a:lnTo>
                        <a:pt x="1329" y="1011"/>
                      </a:lnTo>
                      <a:lnTo>
                        <a:pt x="1329" y="1012"/>
                      </a:lnTo>
                      <a:lnTo>
                        <a:pt x="1329" y="1011"/>
                      </a:lnTo>
                      <a:lnTo>
                        <a:pt x="1328" y="1011"/>
                      </a:lnTo>
                      <a:lnTo>
                        <a:pt x="1328" y="1012"/>
                      </a:lnTo>
                      <a:lnTo>
                        <a:pt x="1327" y="1012"/>
                      </a:lnTo>
                      <a:lnTo>
                        <a:pt x="1327" y="1011"/>
                      </a:lnTo>
                      <a:lnTo>
                        <a:pt x="1326" y="1011"/>
                      </a:lnTo>
                      <a:lnTo>
                        <a:pt x="1326" y="1012"/>
                      </a:lnTo>
                      <a:lnTo>
                        <a:pt x="1325" y="1011"/>
                      </a:lnTo>
                      <a:lnTo>
                        <a:pt x="1325" y="1012"/>
                      </a:lnTo>
                      <a:lnTo>
                        <a:pt x="1325" y="1013"/>
                      </a:lnTo>
                      <a:lnTo>
                        <a:pt x="1325" y="1014"/>
                      </a:lnTo>
                      <a:lnTo>
                        <a:pt x="1325" y="1015"/>
                      </a:lnTo>
                      <a:lnTo>
                        <a:pt x="1326" y="1015"/>
                      </a:lnTo>
                      <a:lnTo>
                        <a:pt x="1326" y="1014"/>
                      </a:lnTo>
                      <a:lnTo>
                        <a:pt x="1327" y="1014"/>
                      </a:lnTo>
                      <a:lnTo>
                        <a:pt x="1327" y="1015"/>
                      </a:lnTo>
                      <a:lnTo>
                        <a:pt x="1327" y="1016"/>
                      </a:lnTo>
                      <a:lnTo>
                        <a:pt x="1328" y="1015"/>
                      </a:lnTo>
                      <a:lnTo>
                        <a:pt x="1329" y="1015"/>
                      </a:lnTo>
                      <a:lnTo>
                        <a:pt x="1329" y="1016"/>
                      </a:lnTo>
                      <a:lnTo>
                        <a:pt x="1330" y="1016"/>
                      </a:lnTo>
                      <a:lnTo>
                        <a:pt x="1330" y="1015"/>
                      </a:lnTo>
                      <a:lnTo>
                        <a:pt x="1330" y="1016"/>
                      </a:lnTo>
                      <a:lnTo>
                        <a:pt x="1331" y="1016"/>
                      </a:lnTo>
                      <a:lnTo>
                        <a:pt x="1331" y="1017"/>
                      </a:lnTo>
                      <a:lnTo>
                        <a:pt x="1330" y="1017"/>
                      </a:lnTo>
                      <a:lnTo>
                        <a:pt x="1330" y="1018"/>
                      </a:lnTo>
                      <a:lnTo>
                        <a:pt x="1330" y="1017"/>
                      </a:lnTo>
                      <a:lnTo>
                        <a:pt x="1330" y="1018"/>
                      </a:lnTo>
                      <a:lnTo>
                        <a:pt x="1329" y="1018"/>
                      </a:lnTo>
                      <a:lnTo>
                        <a:pt x="1328" y="1018"/>
                      </a:lnTo>
                      <a:lnTo>
                        <a:pt x="1327" y="1017"/>
                      </a:lnTo>
                      <a:lnTo>
                        <a:pt x="1327" y="1018"/>
                      </a:lnTo>
                      <a:lnTo>
                        <a:pt x="1327" y="1019"/>
                      </a:lnTo>
                      <a:lnTo>
                        <a:pt x="1327" y="1020"/>
                      </a:lnTo>
                      <a:lnTo>
                        <a:pt x="1326" y="1020"/>
                      </a:lnTo>
                      <a:lnTo>
                        <a:pt x="1325" y="1020"/>
                      </a:lnTo>
                      <a:lnTo>
                        <a:pt x="1325" y="1019"/>
                      </a:lnTo>
                      <a:lnTo>
                        <a:pt x="1324" y="1019"/>
                      </a:lnTo>
                      <a:lnTo>
                        <a:pt x="1323" y="1019"/>
                      </a:lnTo>
                      <a:lnTo>
                        <a:pt x="1324" y="1019"/>
                      </a:lnTo>
                      <a:lnTo>
                        <a:pt x="1324" y="1020"/>
                      </a:lnTo>
                      <a:lnTo>
                        <a:pt x="1323" y="1020"/>
                      </a:lnTo>
                      <a:lnTo>
                        <a:pt x="1324" y="1020"/>
                      </a:lnTo>
                      <a:lnTo>
                        <a:pt x="1324" y="1021"/>
                      </a:lnTo>
                      <a:lnTo>
                        <a:pt x="1324" y="1022"/>
                      </a:lnTo>
                      <a:lnTo>
                        <a:pt x="1324" y="1021"/>
                      </a:lnTo>
                      <a:lnTo>
                        <a:pt x="1325" y="1020"/>
                      </a:lnTo>
                      <a:lnTo>
                        <a:pt x="1325" y="1021"/>
                      </a:lnTo>
                      <a:lnTo>
                        <a:pt x="1324" y="1021"/>
                      </a:lnTo>
                      <a:lnTo>
                        <a:pt x="1324" y="1022"/>
                      </a:lnTo>
                      <a:lnTo>
                        <a:pt x="1325" y="1022"/>
                      </a:lnTo>
                      <a:lnTo>
                        <a:pt x="1324" y="1022"/>
                      </a:lnTo>
                      <a:lnTo>
                        <a:pt x="1325" y="1022"/>
                      </a:lnTo>
                      <a:lnTo>
                        <a:pt x="1326" y="1022"/>
                      </a:lnTo>
                      <a:lnTo>
                        <a:pt x="1327" y="1022"/>
                      </a:lnTo>
                      <a:lnTo>
                        <a:pt x="1326" y="1022"/>
                      </a:lnTo>
                      <a:lnTo>
                        <a:pt x="1326" y="1024"/>
                      </a:lnTo>
                      <a:lnTo>
                        <a:pt x="1325" y="1024"/>
                      </a:lnTo>
                      <a:lnTo>
                        <a:pt x="1325" y="1025"/>
                      </a:lnTo>
                      <a:lnTo>
                        <a:pt x="1326" y="1024"/>
                      </a:lnTo>
                      <a:lnTo>
                        <a:pt x="1326" y="1025"/>
                      </a:lnTo>
                      <a:lnTo>
                        <a:pt x="1326" y="1026"/>
                      </a:lnTo>
                      <a:lnTo>
                        <a:pt x="1327" y="1026"/>
                      </a:lnTo>
                      <a:lnTo>
                        <a:pt x="1327" y="1027"/>
                      </a:lnTo>
                      <a:lnTo>
                        <a:pt x="1327" y="1028"/>
                      </a:lnTo>
                      <a:lnTo>
                        <a:pt x="1326" y="1029"/>
                      </a:lnTo>
                      <a:lnTo>
                        <a:pt x="1327" y="1029"/>
                      </a:lnTo>
                      <a:lnTo>
                        <a:pt x="1327" y="1030"/>
                      </a:lnTo>
                      <a:lnTo>
                        <a:pt x="1328" y="1030"/>
                      </a:lnTo>
                      <a:lnTo>
                        <a:pt x="1327" y="1030"/>
                      </a:lnTo>
                      <a:lnTo>
                        <a:pt x="1327" y="1031"/>
                      </a:lnTo>
                      <a:lnTo>
                        <a:pt x="1328" y="1031"/>
                      </a:lnTo>
                      <a:lnTo>
                        <a:pt x="1328" y="1032"/>
                      </a:lnTo>
                      <a:lnTo>
                        <a:pt x="1329" y="1032"/>
                      </a:lnTo>
                      <a:lnTo>
                        <a:pt x="1329" y="1033"/>
                      </a:lnTo>
                      <a:lnTo>
                        <a:pt x="1330" y="1033"/>
                      </a:lnTo>
                      <a:lnTo>
                        <a:pt x="1330" y="1034"/>
                      </a:lnTo>
                      <a:lnTo>
                        <a:pt x="1331" y="1034"/>
                      </a:lnTo>
                      <a:lnTo>
                        <a:pt x="1331" y="1035"/>
                      </a:lnTo>
                      <a:lnTo>
                        <a:pt x="1332" y="1035"/>
                      </a:lnTo>
                      <a:lnTo>
                        <a:pt x="1332" y="1037"/>
                      </a:lnTo>
                      <a:lnTo>
                        <a:pt x="1334" y="1037"/>
                      </a:lnTo>
                      <a:lnTo>
                        <a:pt x="1335" y="1037"/>
                      </a:lnTo>
                      <a:lnTo>
                        <a:pt x="1336" y="1037"/>
                      </a:lnTo>
                      <a:lnTo>
                        <a:pt x="1335" y="1037"/>
                      </a:lnTo>
                      <a:lnTo>
                        <a:pt x="1336" y="1038"/>
                      </a:lnTo>
                      <a:lnTo>
                        <a:pt x="1336" y="1037"/>
                      </a:lnTo>
                      <a:lnTo>
                        <a:pt x="1336" y="1038"/>
                      </a:lnTo>
                      <a:lnTo>
                        <a:pt x="1337" y="1038"/>
                      </a:lnTo>
                      <a:lnTo>
                        <a:pt x="1337" y="1039"/>
                      </a:lnTo>
                      <a:lnTo>
                        <a:pt x="1337" y="1040"/>
                      </a:lnTo>
                      <a:lnTo>
                        <a:pt x="1337" y="1039"/>
                      </a:lnTo>
                      <a:lnTo>
                        <a:pt x="1337" y="1040"/>
                      </a:lnTo>
                      <a:lnTo>
                        <a:pt x="1338" y="1040"/>
                      </a:lnTo>
                      <a:lnTo>
                        <a:pt x="1339" y="1039"/>
                      </a:lnTo>
                      <a:lnTo>
                        <a:pt x="1340" y="1038"/>
                      </a:lnTo>
                      <a:lnTo>
                        <a:pt x="1341" y="1037"/>
                      </a:lnTo>
                      <a:lnTo>
                        <a:pt x="1341" y="1035"/>
                      </a:lnTo>
                      <a:lnTo>
                        <a:pt x="1340" y="1035"/>
                      </a:lnTo>
                      <a:lnTo>
                        <a:pt x="1339" y="1034"/>
                      </a:lnTo>
                      <a:lnTo>
                        <a:pt x="1338" y="1034"/>
                      </a:lnTo>
                      <a:lnTo>
                        <a:pt x="1338" y="1033"/>
                      </a:lnTo>
                      <a:lnTo>
                        <a:pt x="1337" y="1033"/>
                      </a:lnTo>
                      <a:lnTo>
                        <a:pt x="1336" y="1032"/>
                      </a:lnTo>
                      <a:lnTo>
                        <a:pt x="1335" y="1031"/>
                      </a:lnTo>
                      <a:lnTo>
                        <a:pt x="1334" y="1031"/>
                      </a:lnTo>
                      <a:lnTo>
                        <a:pt x="1334" y="1030"/>
                      </a:lnTo>
                      <a:lnTo>
                        <a:pt x="1332" y="1030"/>
                      </a:lnTo>
                      <a:lnTo>
                        <a:pt x="1332" y="1029"/>
                      </a:lnTo>
                      <a:lnTo>
                        <a:pt x="1332" y="1030"/>
                      </a:lnTo>
                      <a:lnTo>
                        <a:pt x="1334" y="1030"/>
                      </a:lnTo>
                      <a:lnTo>
                        <a:pt x="1335" y="1030"/>
                      </a:lnTo>
                      <a:lnTo>
                        <a:pt x="1335" y="1031"/>
                      </a:lnTo>
                      <a:lnTo>
                        <a:pt x="1336" y="1031"/>
                      </a:lnTo>
                      <a:lnTo>
                        <a:pt x="1336" y="1030"/>
                      </a:lnTo>
                      <a:lnTo>
                        <a:pt x="1336" y="1031"/>
                      </a:lnTo>
                      <a:lnTo>
                        <a:pt x="1337" y="1032"/>
                      </a:lnTo>
                      <a:lnTo>
                        <a:pt x="1338" y="1033"/>
                      </a:lnTo>
                      <a:lnTo>
                        <a:pt x="1339" y="1034"/>
                      </a:lnTo>
                      <a:lnTo>
                        <a:pt x="1340" y="1034"/>
                      </a:lnTo>
                      <a:lnTo>
                        <a:pt x="1341" y="1035"/>
                      </a:lnTo>
                      <a:lnTo>
                        <a:pt x="1342" y="1035"/>
                      </a:lnTo>
                      <a:lnTo>
                        <a:pt x="1342" y="1037"/>
                      </a:lnTo>
                      <a:lnTo>
                        <a:pt x="1342" y="1035"/>
                      </a:lnTo>
                      <a:lnTo>
                        <a:pt x="1343" y="1034"/>
                      </a:lnTo>
                      <a:lnTo>
                        <a:pt x="1342" y="1034"/>
                      </a:lnTo>
                      <a:lnTo>
                        <a:pt x="1342" y="1035"/>
                      </a:lnTo>
                      <a:lnTo>
                        <a:pt x="1341" y="1035"/>
                      </a:lnTo>
                      <a:lnTo>
                        <a:pt x="1341" y="1034"/>
                      </a:lnTo>
                      <a:lnTo>
                        <a:pt x="1341" y="1033"/>
                      </a:lnTo>
                      <a:lnTo>
                        <a:pt x="1342" y="1033"/>
                      </a:lnTo>
                      <a:lnTo>
                        <a:pt x="1343" y="1033"/>
                      </a:lnTo>
                      <a:lnTo>
                        <a:pt x="1344" y="1033"/>
                      </a:lnTo>
                      <a:lnTo>
                        <a:pt x="1345" y="1033"/>
                      </a:lnTo>
                      <a:lnTo>
                        <a:pt x="1345" y="1034"/>
                      </a:lnTo>
                      <a:lnTo>
                        <a:pt x="1347" y="1034"/>
                      </a:lnTo>
                      <a:lnTo>
                        <a:pt x="1345" y="1034"/>
                      </a:lnTo>
                      <a:lnTo>
                        <a:pt x="1344" y="1034"/>
                      </a:lnTo>
                      <a:lnTo>
                        <a:pt x="1343" y="1035"/>
                      </a:lnTo>
                      <a:lnTo>
                        <a:pt x="1342" y="1037"/>
                      </a:lnTo>
                      <a:lnTo>
                        <a:pt x="1342" y="1038"/>
                      </a:lnTo>
                      <a:lnTo>
                        <a:pt x="1343" y="1038"/>
                      </a:lnTo>
                      <a:lnTo>
                        <a:pt x="1343" y="1039"/>
                      </a:lnTo>
                      <a:lnTo>
                        <a:pt x="1342" y="1040"/>
                      </a:lnTo>
                      <a:lnTo>
                        <a:pt x="1342" y="1039"/>
                      </a:lnTo>
                      <a:lnTo>
                        <a:pt x="1342" y="1040"/>
                      </a:lnTo>
                      <a:lnTo>
                        <a:pt x="1342" y="1041"/>
                      </a:lnTo>
                      <a:lnTo>
                        <a:pt x="1342" y="1042"/>
                      </a:lnTo>
                      <a:lnTo>
                        <a:pt x="1343" y="1042"/>
                      </a:lnTo>
                      <a:lnTo>
                        <a:pt x="1343" y="1041"/>
                      </a:lnTo>
                      <a:lnTo>
                        <a:pt x="1343" y="1042"/>
                      </a:lnTo>
                      <a:lnTo>
                        <a:pt x="1344" y="1042"/>
                      </a:lnTo>
                      <a:lnTo>
                        <a:pt x="1344" y="1041"/>
                      </a:lnTo>
                      <a:lnTo>
                        <a:pt x="1344" y="1040"/>
                      </a:lnTo>
                      <a:lnTo>
                        <a:pt x="1344" y="1041"/>
                      </a:lnTo>
                      <a:lnTo>
                        <a:pt x="1345" y="1040"/>
                      </a:lnTo>
                      <a:lnTo>
                        <a:pt x="1345" y="1039"/>
                      </a:lnTo>
                      <a:lnTo>
                        <a:pt x="1345" y="1041"/>
                      </a:lnTo>
                      <a:lnTo>
                        <a:pt x="1344" y="1042"/>
                      </a:lnTo>
                      <a:lnTo>
                        <a:pt x="1345" y="1042"/>
                      </a:lnTo>
                      <a:lnTo>
                        <a:pt x="1345" y="1041"/>
                      </a:lnTo>
                      <a:lnTo>
                        <a:pt x="1345" y="1040"/>
                      </a:lnTo>
                      <a:lnTo>
                        <a:pt x="1347" y="1039"/>
                      </a:lnTo>
                      <a:lnTo>
                        <a:pt x="1347" y="1038"/>
                      </a:lnTo>
                      <a:lnTo>
                        <a:pt x="1347" y="1039"/>
                      </a:lnTo>
                      <a:lnTo>
                        <a:pt x="1345" y="1039"/>
                      </a:lnTo>
                      <a:lnTo>
                        <a:pt x="1345" y="1040"/>
                      </a:lnTo>
                      <a:lnTo>
                        <a:pt x="1345" y="1041"/>
                      </a:lnTo>
                      <a:lnTo>
                        <a:pt x="1347" y="1041"/>
                      </a:lnTo>
                      <a:lnTo>
                        <a:pt x="1345" y="1041"/>
                      </a:lnTo>
                      <a:lnTo>
                        <a:pt x="1345" y="1042"/>
                      </a:lnTo>
                      <a:lnTo>
                        <a:pt x="1347" y="1043"/>
                      </a:lnTo>
                      <a:lnTo>
                        <a:pt x="1349" y="1044"/>
                      </a:lnTo>
                      <a:lnTo>
                        <a:pt x="1348" y="1044"/>
                      </a:lnTo>
                      <a:lnTo>
                        <a:pt x="1347" y="1043"/>
                      </a:lnTo>
                      <a:lnTo>
                        <a:pt x="1347" y="1044"/>
                      </a:lnTo>
                      <a:lnTo>
                        <a:pt x="1345" y="1044"/>
                      </a:lnTo>
                      <a:lnTo>
                        <a:pt x="1347" y="1044"/>
                      </a:lnTo>
                      <a:lnTo>
                        <a:pt x="1347" y="1045"/>
                      </a:lnTo>
                      <a:lnTo>
                        <a:pt x="1347" y="1046"/>
                      </a:lnTo>
                      <a:lnTo>
                        <a:pt x="1348" y="1046"/>
                      </a:lnTo>
                      <a:lnTo>
                        <a:pt x="1348" y="1047"/>
                      </a:lnTo>
                      <a:lnTo>
                        <a:pt x="1349" y="1047"/>
                      </a:lnTo>
                      <a:lnTo>
                        <a:pt x="1349" y="1048"/>
                      </a:lnTo>
                      <a:lnTo>
                        <a:pt x="1349" y="1050"/>
                      </a:lnTo>
                      <a:lnTo>
                        <a:pt x="1350" y="1050"/>
                      </a:lnTo>
                      <a:lnTo>
                        <a:pt x="1350" y="1051"/>
                      </a:lnTo>
                      <a:lnTo>
                        <a:pt x="1350" y="1052"/>
                      </a:lnTo>
                      <a:lnTo>
                        <a:pt x="1350" y="1053"/>
                      </a:lnTo>
                      <a:lnTo>
                        <a:pt x="1350" y="1052"/>
                      </a:lnTo>
                      <a:lnTo>
                        <a:pt x="1350" y="1051"/>
                      </a:lnTo>
                      <a:lnTo>
                        <a:pt x="1349" y="1051"/>
                      </a:lnTo>
                      <a:lnTo>
                        <a:pt x="1349" y="1048"/>
                      </a:lnTo>
                      <a:lnTo>
                        <a:pt x="1348" y="1048"/>
                      </a:lnTo>
                      <a:lnTo>
                        <a:pt x="1348" y="1047"/>
                      </a:lnTo>
                      <a:lnTo>
                        <a:pt x="1347" y="1047"/>
                      </a:lnTo>
                      <a:lnTo>
                        <a:pt x="1347" y="1046"/>
                      </a:lnTo>
                      <a:lnTo>
                        <a:pt x="1347" y="1047"/>
                      </a:lnTo>
                      <a:lnTo>
                        <a:pt x="1347" y="1048"/>
                      </a:lnTo>
                      <a:lnTo>
                        <a:pt x="1348" y="1048"/>
                      </a:lnTo>
                      <a:lnTo>
                        <a:pt x="1348" y="1050"/>
                      </a:lnTo>
                      <a:lnTo>
                        <a:pt x="1349" y="1050"/>
                      </a:lnTo>
                      <a:lnTo>
                        <a:pt x="1349" y="1051"/>
                      </a:lnTo>
                      <a:lnTo>
                        <a:pt x="1348" y="1051"/>
                      </a:lnTo>
                      <a:lnTo>
                        <a:pt x="1349" y="1051"/>
                      </a:lnTo>
                      <a:lnTo>
                        <a:pt x="1349" y="1052"/>
                      </a:lnTo>
                      <a:lnTo>
                        <a:pt x="1349" y="1053"/>
                      </a:lnTo>
                      <a:lnTo>
                        <a:pt x="1349" y="1054"/>
                      </a:lnTo>
                      <a:lnTo>
                        <a:pt x="1350" y="1055"/>
                      </a:lnTo>
                      <a:lnTo>
                        <a:pt x="1351" y="1056"/>
                      </a:lnTo>
                      <a:lnTo>
                        <a:pt x="1351" y="1055"/>
                      </a:lnTo>
                      <a:lnTo>
                        <a:pt x="1351" y="1054"/>
                      </a:lnTo>
                      <a:lnTo>
                        <a:pt x="1351" y="1053"/>
                      </a:lnTo>
                      <a:lnTo>
                        <a:pt x="1351" y="1052"/>
                      </a:lnTo>
                      <a:lnTo>
                        <a:pt x="1351" y="1053"/>
                      </a:lnTo>
                      <a:lnTo>
                        <a:pt x="1351" y="1054"/>
                      </a:lnTo>
                      <a:lnTo>
                        <a:pt x="1351" y="1055"/>
                      </a:lnTo>
                      <a:lnTo>
                        <a:pt x="1351" y="1054"/>
                      </a:lnTo>
                      <a:lnTo>
                        <a:pt x="1351" y="1053"/>
                      </a:lnTo>
                      <a:lnTo>
                        <a:pt x="1351" y="1052"/>
                      </a:lnTo>
                      <a:lnTo>
                        <a:pt x="1352" y="1052"/>
                      </a:lnTo>
                      <a:lnTo>
                        <a:pt x="1352" y="1053"/>
                      </a:lnTo>
                      <a:lnTo>
                        <a:pt x="1352" y="1054"/>
                      </a:lnTo>
                      <a:lnTo>
                        <a:pt x="1352" y="1055"/>
                      </a:lnTo>
                      <a:lnTo>
                        <a:pt x="1352" y="1056"/>
                      </a:lnTo>
                      <a:lnTo>
                        <a:pt x="1353" y="1056"/>
                      </a:lnTo>
                      <a:lnTo>
                        <a:pt x="1353" y="1057"/>
                      </a:lnTo>
                      <a:lnTo>
                        <a:pt x="1353" y="1058"/>
                      </a:lnTo>
                      <a:lnTo>
                        <a:pt x="1353" y="1057"/>
                      </a:lnTo>
                      <a:lnTo>
                        <a:pt x="1353" y="1058"/>
                      </a:lnTo>
                      <a:lnTo>
                        <a:pt x="1354" y="1058"/>
                      </a:lnTo>
                      <a:lnTo>
                        <a:pt x="1353" y="1059"/>
                      </a:lnTo>
                      <a:lnTo>
                        <a:pt x="1354" y="1059"/>
                      </a:lnTo>
                      <a:lnTo>
                        <a:pt x="1354" y="1060"/>
                      </a:lnTo>
                      <a:lnTo>
                        <a:pt x="1355" y="1060"/>
                      </a:lnTo>
                      <a:lnTo>
                        <a:pt x="1355" y="1061"/>
                      </a:lnTo>
                      <a:lnTo>
                        <a:pt x="1355" y="1063"/>
                      </a:lnTo>
                      <a:lnTo>
                        <a:pt x="1356" y="1063"/>
                      </a:lnTo>
                      <a:lnTo>
                        <a:pt x="1356" y="1061"/>
                      </a:lnTo>
                      <a:lnTo>
                        <a:pt x="1356" y="1063"/>
                      </a:lnTo>
                      <a:lnTo>
                        <a:pt x="1356" y="1064"/>
                      </a:lnTo>
                      <a:lnTo>
                        <a:pt x="1357" y="1064"/>
                      </a:lnTo>
                      <a:lnTo>
                        <a:pt x="1357" y="1065"/>
                      </a:lnTo>
                      <a:lnTo>
                        <a:pt x="1356" y="1065"/>
                      </a:lnTo>
                      <a:lnTo>
                        <a:pt x="1357" y="1066"/>
                      </a:lnTo>
                      <a:lnTo>
                        <a:pt x="1357" y="1067"/>
                      </a:lnTo>
                      <a:lnTo>
                        <a:pt x="1358" y="1067"/>
                      </a:lnTo>
                      <a:lnTo>
                        <a:pt x="1358" y="1068"/>
                      </a:lnTo>
                      <a:lnTo>
                        <a:pt x="1358" y="1069"/>
                      </a:lnTo>
                      <a:lnTo>
                        <a:pt x="1357" y="1069"/>
                      </a:lnTo>
                      <a:lnTo>
                        <a:pt x="1358" y="1069"/>
                      </a:lnTo>
                      <a:lnTo>
                        <a:pt x="1358" y="1070"/>
                      </a:lnTo>
                      <a:lnTo>
                        <a:pt x="1358" y="1071"/>
                      </a:lnTo>
                      <a:lnTo>
                        <a:pt x="1360" y="1071"/>
                      </a:lnTo>
                      <a:lnTo>
                        <a:pt x="1361" y="1071"/>
                      </a:lnTo>
                      <a:lnTo>
                        <a:pt x="1361" y="1070"/>
                      </a:lnTo>
                      <a:lnTo>
                        <a:pt x="1361" y="1069"/>
                      </a:lnTo>
                      <a:lnTo>
                        <a:pt x="1361" y="1070"/>
                      </a:lnTo>
                      <a:lnTo>
                        <a:pt x="1362" y="1069"/>
                      </a:lnTo>
                      <a:lnTo>
                        <a:pt x="1362" y="1068"/>
                      </a:lnTo>
                      <a:lnTo>
                        <a:pt x="1362" y="1067"/>
                      </a:lnTo>
                      <a:lnTo>
                        <a:pt x="1363" y="1067"/>
                      </a:lnTo>
                      <a:lnTo>
                        <a:pt x="1362" y="1067"/>
                      </a:lnTo>
                      <a:lnTo>
                        <a:pt x="1362" y="1066"/>
                      </a:lnTo>
                      <a:lnTo>
                        <a:pt x="1362" y="1065"/>
                      </a:lnTo>
                      <a:lnTo>
                        <a:pt x="1362" y="1064"/>
                      </a:lnTo>
                      <a:lnTo>
                        <a:pt x="1362" y="1065"/>
                      </a:lnTo>
                      <a:lnTo>
                        <a:pt x="1362" y="1066"/>
                      </a:lnTo>
                      <a:lnTo>
                        <a:pt x="1361" y="1066"/>
                      </a:lnTo>
                      <a:lnTo>
                        <a:pt x="1362" y="1066"/>
                      </a:lnTo>
                      <a:lnTo>
                        <a:pt x="1361" y="1067"/>
                      </a:lnTo>
                      <a:lnTo>
                        <a:pt x="1361" y="1066"/>
                      </a:lnTo>
                      <a:lnTo>
                        <a:pt x="1360" y="1066"/>
                      </a:lnTo>
                      <a:lnTo>
                        <a:pt x="1361" y="1066"/>
                      </a:lnTo>
                      <a:lnTo>
                        <a:pt x="1361" y="1065"/>
                      </a:lnTo>
                      <a:lnTo>
                        <a:pt x="1361" y="1064"/>
                      </a:lnTo>
                      <a:lnTo>
                        <a:pt x="1361" y="1063"/>
                      </a:lnTo>
                      <a:lnTo>
                        <a:pt x="1362" y="1061"/>
                      </a:lnTo>
                      <a:lnTo>
                        <a:pt x="1361" y="1061"/>
                      </a:lnTo>
                      <a:lnTo>
                        <a:pt x="1361" y="1060"/>
                      </a:lnTo>
                      <a:lnTo>
                        <a:pt x="1361" y="1059"/>
                      </a:lnTo>
                      <a:lnTo>
                        <a:pt x="1361" y="1058"/>
                      </a:lnTo>
                      <a:lnTo>
                        <a:pt x="1362" y="1058"/>
                      </a:lnTo>
                      <a:lnTo>
                        <a:pt x="1362" y="1059"/>
                      </a:lnTo>
                      <a:lnTo>
                        <a:pt x="1363" y="1059"/>
                      </a:lnTo>
                      <a:lnTo>
                        <a:pt x="1363" y="1058"/>
                      </a:lnTo>
                      <a:lnTo>
                        <a:pt x="1364" y="1058"/>
                      </a:lnTo>
                      <a:lnTo>
                        <a:pt x="1364" y="1057"/>
                      </a:lnTo>
                      <a:lnTo>
                        <a:pt x="1363" y="1057"/>
                      </a:lnTo>
                      <a:lnTo>
                        <a:pt x="1361" y="1056"/>
                      </a:lnTo>
                      <a:lnTo>
                        <a:pt x="1360" y="1056"/>
                      </a:lnTo>
                      <a:lnTo>
                        <a:pt x="1358" y="1056"/>
                      </a:lnTo>
                      <a:lnTo>
                        <a:pt x="1357" y="1055"/>
                      </a:lnTo>
                      <a:lnTo>
                        <a:pt x="1358" y="1054"/>
                      </a:lnTo>
                      <a:lnTo>
                        <a:pt x="1358" y="1055"/>
                      </a:lnTo>
                      <a:lnTo>
                        <a:pt x="1360" y="1054"/>
                      </a:lnTo>
                      <a:lnTo>
                        <a:pt x="1362" y="1054"/>
                      </a:lnTo>
                      <a:lnTo>
                        <a:pt x="1362" y="1055"/>
                      </a:lnTo>
                      <a:lnTo>
                        <a:pt x="1364" y="1055"/>
                      </a:lnTo>
                      <a:lnTo>
                        <a:pt x="1364" y="1054"/>
                      </a:lnTo>
                      <a:lnTo>
                        <a:pt x="1365" y="1054"/>
                      </a:lnTo>
                      <a:lnTo>
                        <a:pt x="1365" y="1055"/>
                      </a:lnTo>
                      <a:lnTo>
                        <a:pt x="1366" y="1055"/>
                      </a:lnTo>
                      <a:lnTo>
                        <a:pt x="1366" y="1054"/>
                      </a:lnTo>
                      <a:lnTo>
                        <a:pt x="1366" y="1053"/>
                      </a:lnTo>
                      <a:lnTo>
                        <a:pt x="1366" y="1052"/>
                      </a:lnTo>
                      <a:lnTo>
                        <a:pt x="1367" y="1051"/>
                      </a:lnTo>
                      <a:lnTo>
                        <a:pt x="1368" y="1050"/>
                      </a:lnTo>
                      <a:lnTo>
                        <a:pt x="1368" y="1048"/>
                      </a:lnTo>
                      <a:lnTo>
                        <a:pt x="1369" y="1048"/>
                      </a:lnTo>
                      <a:lnTo>
                        <a:pt x="1370" y="1048"/>
                      </a:lnTo>
                      <a:lnTo>
                        <a:pt x="1370" y="1047"/>
                      </a:lnTo>
                      <a:lnTo>
                        <a:pt x="1369" y="1047"/>
                      </a:lnTo>
                      <a:lnTo>
                        <a:pt x="1369" y="1046"/>
                      </a:lnTo>
                      <a:lnTo>
                        <a:pt x="1370" y="1045"/>
                      </a:lnTo>
                      <a:lnTo>
                        <a:pt x="1371" y="1046"/>
                      </a:lnTo>
                      <a:lnTo>
                        <a:pt x="1371" y="1045"/>
                      </a:lnTo>
                      <a:lnTo>
                        <a:pt x="1370" y="1044"/>
                      </a:lnTo>
                      <a:lnTo>
                        <a:pt x="1371" y="1044"/>
                      </a:lnTo>
                      <a:lnTo>
                        <a:pt x="1371" y="1043"/>
                      </a:lnTo>
                      <a:lnTo>
                        <a:pt x="1373" y="1042"/>
                      </a:lnTo>
                      <a:lnTo>
                        <a:pt x="1374" y="1042"/>
                      </a:lnTo>
                      <a:lnTo>
                        <a:pt x="1373" y="1042"/>
                      </a:lnTo>
                      <a:lnTo>
                        <a:pt x="1373" y="1041"/>
                      </a:lnTo>
                      <a:lnTo>
                        <a:pt x="1374" y="1041"/>
                      </a:lnTo>
                      <a:lnTo>
                        <a:pt x="1373" y="1041"/>
                      </a:lnTo>
                      <a:lnTo>
                        <a:pt x="1373" y="1040"/>
                      </a:lnTo>
                      <a:lnTo>
                        <a:pt x="1374" y="1040"/>
                      </a:lnTo>
                      <a:lnTo>
                        <a:pt x="1374" y="1039"/>
                      </a:lnTo>
                      <a:lnTo>
                        <a:pt x="1374" y="1040"/>
                      </a:lnTo>
                      <a:lnTo>
                        <a:pt x="1375" y="1040"/>
                      </a:lnTo>
                      <a:lnTo>
                        <a:pt x="1375" y="1039"/>
                      </a:lnTo>
                      <a:lnTo>
                        <a:pt x="1375" y="1038"/>
                      </a:lnTo>
                      <a:lnTo>
                        <a:pt x="1376" y="1038"/>
                      </a:lnTo>
                      <a:lnTo>
                        <a:pt x="1376" y="1037"/>
                      </a:lnTo>
                      <a:lnTo>
                        <a:pt x="1376" y="1035"/>
                      </a:lnTo>
                      <a:lnTo>
                        <a:pt x="1377" y="1035"/>
                      </a:lnTo>
                      <a:lnTo>
                        <a:pt x="1376" y="1034"/>
                      </a:lnTo>
                      <a:lnTo>
                        <a:pt x="1376" y="1035"/>
                      </a:lnTo>
                      <a:lnTo>
                        <a:pt x="1376" y="1037"/>
                      </a:lnTo>
                      <a:lnTo>
                        <a:pt x="1375" y="1037"/>
                      </a:lnTo>
                      <a:lnTo>
                        <a:pt x="1375" y="1038"/>
                      </a:lnTo>
                      <a:lnTo>
                        <a:pt x="1375" y="1039"/>
                      </a:lnTo>
                      <a:lnTo>
                        <a:pt x="1374" y="1038"/>
                      </a:lnTo>
                      <a:lnTo>
                        <a:pt x="1375" y="1038"/>
                      </a:lnTo>
                      <a:lnTo>
                        <a:pt x="1375" y="1037"/>
                      </a:lnTo>
                      <a:lnTo>
                        <a:pt x="1375" y="1035"/>
                      </a:lnTo>
                      <a:lnTo>
                        <a:pt x="1375" y="1037"/>
                      </a:lnTo>
                      <a:lnTo>
                        <a:pt x="1375" y="1035"/>
                      </a:lnTo>
                      <a:lnTo>
                        <a:pt x="1376" y="1035"/>
                      </a:lnTo>
                      <a:lnTo>
                        <a:pt x="1376" y="1034"/>
                      </a:lnTo>
                      <a:lnTo>
                        <a:pt x="1376" y="1033"/>
                      </a:lnTo>
                      <a:lnTo>
                        <a:pt x="1377" y="1033"/>
                      </a:lnTo>
                      <a:lnTo>
                        <a:pt x="1376" y="1033"/>
                      </a:lnTo>
                      <a:lnTo>
                        <a:pt x="1377" y="1033"/>
                      </a:lnTo>
                      <a:lnTo>
                        <a:pt x="1376" y="1032"/>
                      </a:lnTo>
                      <a:lnTo>
                        <a:pt x="1375" y="1032"/>
                      </a:lnTo>
                      <a:lnTo>
                        <a:pt x="1375" y="1031"/>
                      </a:lnTo>
                      <a:lnTo>
                        <a:pt x="1376" y="1031"/>
                      </a:lnTo>
                      <a:lnTo>
                        <a:pt x="1376" y="1030"/>
                      </a:lnTo>
                      <a:lnTo>
                        <a:pt x="1375" y="1030"/>
                      </a:lnTo>
                      <a:lnTo>
                        <a:pt x="1375" y="1029"/>
                      </a:lnTo>
                      <a:lnTo>
                        <a:pt x="1375" y="1028"/>
                      </a:lnTo>
                      <a:lnTo>
                        <a:pt x="1374" y="1027"/>
                      </a:lnTo>
                      <a:lnTo>
                        <a:pt x="1373" y="1025"/>
                      </a:lnTo>
                      <a:lnTo>
                        <a:pt x="1373" y="1024"/>
                      </a:lnTo>
                      <a:lnTo>
                        <a:pt x="1373" y="1022"/>
                      </a:lnTo>
                      <a:lnTo>
                        <a:pt x="1371" y="1022"/>
                      </a:lnTo>
                      <a:lnTo>
                        <a:pt x="1371" y="1024"/>
                      </a:lnTo>
                      <a:lnTo>
                        <a:pt x="1371" y="1022"/>
                      </a:lnTo>
                      <a:lnTo>
                        <a:pt x="1370" y="1024"/>
                      </a:lnTo>
                      <a:lnTo>
                        <a:pt x="1371" y="1022"/>
                      </a:lnTo>
                      <a:lnTo>
                        <a:pt x="1370" y="1022"/>
                      </a:lnTo>
                      <a:lnTo>
                        <a:pt x="1370" y="1024"/>
                      </a:lnTo>
                      <a:lnTo>
                        <a:pt x="1369" y="1024"/>
                      </a:lnTo>
                      <a:lnTo>
                        <a:pt x="1370" y="1022"/>
                      </a:lnTo>
                      <a:lnTo>
                        <a:pt x="1369" y="1022"/>
                      </a:lnTo>
                      <a:lnTo>
                        <a:pt x="1369" y="1021"/>
                      </a:lnTo>
                      <a:lnTo>
                        <a:pt x="1369" y="1020"/>
                      </a:lnTo>
                      <a:lnTo>
                        <a:pt x="1368" y="1020"/>
                      </a:lnTo>
                      <a:lnTo>
                        <a:pt x="1369" y="1020"/>
                      </a:lnTo>
                      <a:lnTo>
                        <a:pt x="1369" y="1019"/>
                      </a:lnTo>
                      <a:lnTo>
                        <a:pt x="1370" y="1020"/>
                      </a:lnTo>
                      <a:lnTo>
                        <a:pt x="1370" y="1021"/>
                      </a:lnTo>
                      <a:lnTo>
                        <a:pt x="1371" y="1020"/>
                      </a:lnTo>
                      <a:lnTo>
                        <a:pt x="1370" y="1019"/>
                      </a:lnTo>
                      <a:lnTo>
                        <a:pt x="1370" y="1018"/>
                      </a:lnTo>
                      <a:lnTo>
                        <a:pt x="1370" y="1017"/>
                      </a:lnTo>
                      <a:lnTo>
                        <a:pt x="1369" y="1016"/>
                      </a:lnTo>
                      <a:lnTo>
                        <a:pt x="1369" y="1015"/>
                      </a:lnTo>
                      <a:lnTo>
                        <a:pt x="1369" y="1014"/>
                      </a:lnTo>
                      <a:lnTo>
                        <a:pt x="1369" y="1012"/>
                      </a:lnTo>
                      <a:lnTo>
                        <a:pt x="1370" y="1011"/>
                      </a:lnTo>
                      <a:lnTo>
                        <a:pt x="1370" y="1009"/>
                      </a:lnTo>
                      <a:lnTo>
                        <a:pt x="1371" y="1009"/>
                      </a:lnTo>
                      <a:lnTo>
                        <a:pt x="1373" y="1009"/>
                      </a:lnTo>
                      <a:lnTo>
                        <a:pt x="1374" y="1009"/>
                      </a:lnTo>
                      <a:lnTo>
                        <a:pt x="1374" y="1011"/>
                      </a:lnTo>
                      <a:lnTo>
                        <a:pt x="1374" y="1009"/>
                      </a:lnTo>
                      <a:lnTo>
                        <a:pt x="1373" y="1009"/>
                      </a:lnTo>
                      <a:lnTo>
                        <a:pt x="1371" y="1009"/>
                      </a:lnTo>
                      <a:lnTo>
                        <a:pt x="1370" y="1009"/>
                      </a:lnTo>
                      <a:lnTo>
                        <a:pt x="1370" y="1008"/>
                      </a:lnTo>
                      <a:lnTo>
                        <a:pt x="1370" y="1007"/>
                      </a:lnTo>
                      <a:lnTo>
                        <a:pt x="1370" y="1006"/>
                      </a:lnTo>
                      <a:lnTo>
                        <a:pt x="1370" y="1005"/>
                      </a:lnTo>
                      <a:lnTo>
                        <a:pt x="1371" y="1005"/>
                      </a:lnTo>
                      <a:lnTo>
                        <a:pt x="1373" y="1005"/>
                      </a:lnTo>
                      <a:lnTo>
                        <a:pt x="1373" y="1006"/>
                      </a:lnTo>
                      <a:lnTo>
                        <a:pt x="1373" y="1005"/>
                      </a:lnTo>
                      <a:lnTo>
                        <a:pt x="1371" y="1005"/>
                      </a:lnTo>
                      <a:lnTo>
                        <a:pt x="1370" y="1005"/>
                      </a:lnTo>
                      <a:lnTo>
                        <a:pt x="1369" y="1005"/>
                      </a:lnTo>
                      <a:lnTo>
                        <a:pt x="1369" y="1004"/>
                      </a:lnTo>
                      <a:lnTo>
                        <a:pt x="1369" y="1003"/>
                      </a:lnTo>
                      <a:lnTo>
                        <a:pt x="1369" y="1002"/>
                      </a:lnTo>
                      <a:lnTo>
                        <a:pt x="1368" y="1002"/>
                      </a:lnTo>
                      <a:lnTo>
                        <a:pt x="1368" y="1001"/>
                      </a:lnTo>
                      <a:lnTo>
                        <a:pt x="1369" y="1001"/>
                      </a:lnTo>
                      <a:lnTo>
                        <a:pt x="1369" y="1000"/>
                      </a:lnTo>
                      <a:lnTo>
                        <a:pt x="1369" y="1001"/>
                      </a:lnTo>
                      <a:lnTo>
                        <a:pt x="1368" y="1001"/>
                      </a:lnTo>
                      <a:lnTo>
                        <a:pt x="1369" y="1001"/>
                      </a:lnTo>
                      <a:lnTo>
                        <a:pt x="1369" y="1000"/>
                      </a:lnTo>
                      <a:lnTo>
                        <a:pt x="1370" y="999"/>
                      </a:lnTo>
                      <a:lnTo>
                        <a:pt x="1371" y="999"/>
                      </a:lnTo>
                      <a:lnTo>
                        <a:pt x="1371" y="998"/>
                      </a:lnTo>
                      <a:lnTo>
                        <a:pt x="1373" y="998"/>
                      </a:lnTo>
                      <a:lnTo>
                        <a:pt x="1373" y="996"/>
                      </a:lnTo>
                      <a:lnTo>
                        <a:pt x="1373" y="995"/>
                      </a:lnTo>
                      <a:lnTo>
                        <a:pt x="1374" y="995"/>
                      </a:lnTo>
                      <a:lnTo>
                        <a:pt x="1375" y="995"/>
                      </a:lnTo>
                      <a:lnTo>
                        <a:pt x="1375" y="996"/>
                      </a:lnTo>
                      <a:lnTo>
                        <a:pt x="1375" y="998"/>
                      </a:lnTo>
                      <a:lnTo>
                        <a:pt x="1375" y="999"/>
                      </a:lnTo>
                      <a:lnTo>
                        <a:pt x="1375" y="1000"/>
                      </a:lnTo>
                      <a:lnTo>
                        <a:pt x="1376" y="1000"/>
                      </a:lnTo>
                      <a:lnTo>
                        <a:pt x="1376" y="1001"/>
                      </a:lnTo>
                      <a:lnTo>
                        <a:pt x="1377" y="1001"/>
                      </a:lnTo>
                      <a:lnTo>
                        <a:pt x="1378" y="1001"/>
                      </a:lnTo>
                      <a:lnTo>
                        <a:pt x="1379" y="1001"/>
                      </a:lnTo>
                      <a:lnTo>
                        <a:pt x="1379" y="1002"/>
                      </a:lnTo>
                      <a:lnTo>
                        <a:pt x="1380" y="1002"/>
                      </a:lnTo>
                      <a:lnTo>
                        <a:pt x="1380" y="1001"/>
                      </a:lnTo>
                      <a:lnTo>
                        <a:pt x="1381" y="1001"/>
                      </a:lnTo>
                      <a:lnTo>
                        <a:pt x="1382" y="1001"/>
                      </a:lnTo>
                      <a:lnTo>
                        <a:pt x="1382" y="1000"/>
                      </a:lnTo>
                      <a:lnTo>
                        <a:pt x="1381" y="1000"/>
                      </a:lnTo>
                      <a:lnTo>
                        <a:pt x="1381" y="999"/>
                      </a:lnTo>
                      <a:lnTo>
                        <a:pt x="1382" y="999"/>
                      </a:lnTo>
                      <a:lnTo>
                        <a:pt x="1382" y="998"/>
                      </a:lnTo>
                      <a:lnTo>
                        <a:pt x="1383" y="998"/>
                      </a:lnTo>
                      <a:lnTo>
                        <a:pt x="1383" y="996"/>
                      </a:lnTo>
                      <a:lnTo>
                        <a:pt x="1384" y="996"/>
                      </a:lnTo>
                      <a:lnTo>
                        <a:pt x="1384" y="995"/>
                      </a:lnTo>
                      <a:lnTo>
                        <a:pt x="1384" y="996"/>
                      </a:lnTo>
                      <a:lnTo>
                        <a:pt x="1384" y="995"/>
                      </a:lnTo>
                      <a:lnTo>
                        <a:pt x="1384" y="994"/>
                      </a:lnTo>
                      <a:lnTo>
                        <a:pt x="1386" y="994"/>
                      </a:lnTo>
                      <a:lnTo>
                        <a:pt x="1384" y="993"/>
                      </a:lnTo>
                      <a:lnTo>
                        <a:pt x="1386" y="993"/>
                      </a:lnTo>
                      <a:lnTo>
                        <a:pt x="1386" y="994"/>
                      </a:lnTo>
                      <a:lnTo>
                        <a:pt x="1386" y="993"/>
                      </a:lnTo>
                      <a:lnTo>
                        <a:pt x="1386" y="992"/>
                      </a:lnTo>
                      <a:lnTo>
                        <a:pt x="1386" y="991"/>
                      </a:lnTo>
                      <a:lnTo>
                        <a:pt x="1384" y="990"/>
                      </a:lnTo>
                      <a:lnTo>
                        <a:pt x="1384" y="989"/>
                      </a:lnTo>
                      <a:lnTo>
                        <a:pt x="1384" y="988"/>
                      </a:lnTo>
                      <a:lnTo>
                        <a:pt x="1386" y="989"/>
                      </a:lnTo>
                      <a:lnTo>
                        <a:pt x="1386" y="988"/>
                      </a:lnTo>
                      <a:lnTo>
                        <a:pt x="1387" y="988"/>
                      </a:lnTo>
                      <a:lnTo>
                        <a:pt x="1388" y="988"/>
                      </a:lnTo>
                      <a:lnTo>
                        <a:pt x="1388" y="987"/>
                      </a:lnTo>
                      <a:lnTo>
                        <a:pt x="1389" y="987"/>
                      </a:lnTo>
                      <a:lnTo>
                        <a:pt x="1390" y="987"/>
                      </a:lnTo>
                      <a:lnTo>
                        <a:pt x="1390" y="988"/>
                      </a:lnTo>
                      <a:lnTo>
                        <a:pt x="1389" y="988"/>
                      </a:lnTo>
                      <a:lnTo>
                        <a:pt x="1390" y="988"/>
                      </a:lnTo>
                      <a:lnTo>
                        <a:pt x="1389" y="988"/>
                      </a:lnTo>
                      <a:lnTo>
                        <a:pt x="1389" y="989"/>
                      </a:lnTo>
                      <a:lnTo>
                        <a:pt x="1390" y="989"/>
                      </a:lnTo>
                      <a:lnTo>
                        <a:pt x="1390" y="990"/>
                      </a:lnTo>
                      <a:lnTo>
                        <a:pt x="1391" y="990"/>
                      </a:lnTo>
                      <a:lnTo>
                        <a:pt x="1391" y="991"/>
                      </a:lnTo>
                      <a:lnTo>
                        <a:pt x="1392" y="991"/>
                      </a:lnTo>
                      <a:lnTo>
                        <a:pt x="1392" y="992"/>
                      </a:lnTo>
                      <a:lnTo>
                        <a:pt x="1391" y="992"/>
                      </a:lnTo>
                      <a:lnTo>
                        <a:pt x="1391" y="993"/>
                      </a:lnTo>
                      <a:lnTo>
                        <a:pt x="1392" y="993"/>
                      </a:lnTo>
                      <a:lnTo>
                        <a:pt x="1391" y="993"/>
                      </a:lnTo>
                      <a:lnTo>
                        <a:pt x="1391" y="992"/>
                      </a:lnTo>
                      <a:lnTo>
                        <a:pt x="1392" y="992"/>
                      </a:lnTo>
                      <a:lnTo>
                        <a:pt x="1392" y="991"/>
                      </a:lnTo>
                      <a:lnTo>
                        <a:pt x="1392" y="992"/>
                      </a:lnTo>
                      <a:lnTo>
                        <a:pt x="1393" y="992"/>
                      </a:lnTo>
                      <a:lnTo>
                        <a:pt x="1393" y="993"/>
                      </a:lnTo>
                      <a:lnTo>
                        <a:pt x="1394" y="993"/>
                      </a:lnTo>
                      <a:lnTo>
                        <a:pt x="1394" y="992"/>
                      </a:lnTo>
                      <a:lnTo>
                        <a:pt x="1393" y="992"/>
                      </a:lnTo>
                      <a:lnTo>
                        <a:pt x="1393" y="993"/>
                      </a:lnTo>
                      <a:lnTo>
                        <a:pt x="1393" y="992"/>
                      </a:lnTo>
                      <a:lnTo>
                        <a:pt x="1392" y="992"/>
                      </a:lnTo>
                      <a:lnTo>
                        <a:pt x="1392" y="991"/>
                      </a:lnTo>
                      <a:lnTo>
                        <a:pt x="1393" y="991"/>
                      </a:lnTo>
                      <a:lnTo>
                        <a:pt x="1392" y="991"/>
                      </a:lnTo>
                      <a:lnTo>
                        <a:pt x="1392" y="990"/>
                      </a:lnTo>
                      <a:lnTo>
                        <a:pt x="1392" y="989"/>
                      </a:lnTo>
                      <a:lnTo>
                        <a:pt x="1391" y="989"/>
                      </a:lnTo>
                      <a:lnTo>
                        <a:pt x="1391" y="988"/>
                      </a:lnTo>
                      <a:lnTo>
                        <a:pt x="1391" y="987"/>
                      </a:lnTo>
                      <a:lnTo>
                        <a:pt x="1390" y="987"/>
                      </a:lnTo>
                      <a:lnTo>
                        <a:pt x="1391" y="987"/>
                      </a:lnTo>
                      <a:lnTo>
                        <a:pt x="1391" y="986"/>
                      </a:lnTo>
                      <a:lnTo>
                        <a:pt x="1391" y="984"/>
                      </a:lnTo>
                      <a:lnTo>
                        <a:pt x="1391" y="983"/>
                      </a:lnTo>
                      <a:lnTo>
                        <a:pt x="1390" y="983"/>
                      </a:lnTo>
                      <a:lnTo>
                        <a:pt x="1390" y="982"/>
                      </a:lnTo>
                      <a:lnTo>
                        <a:pt x="1391" y="982"/>
                      </a:lnTo>
                      <a:lnTo>
                        <a:pt x="1391" y="981"/>
                      </a:lnTo>
                      <a:lnTo>
                        <a:pt x="1391" y="982"/>
                      </a:lnTo>
                      <a:lnTo>
                        <a:pt x="1392" y="982"/>
                      </a:lnTo>
                      <a:lnTo>
                        <a:pt x="1392" y="981"/>
                      </a:lnTo>
                      <a:lnTo>
                        <a:pt x="1393" y="981"/>
                      </a:lnTo>
                      <a:lnTo>
                        <a:pt x="1393" y="982"/>
                      </a:lnTo>
                      <a:lnTo>
                        <a:pt x="1394" y="982"/>
                      </a:lnTo>
                      <a:lnTo>
                        <a:pt x="1395" y="982"/>
                      </a:lnTo>
                      <a:lnTo>
                        <a:pt x="1394" y="982"/>
                      </a:lnTo>
                      <a:lnTo>
                        <a:pt x="1394" y="983"/>
                      </a:lnTo>
                      <a:lnTo>
                        <a:pt x="1394" y="984"/>
                      </a:lnTo>
                      <a:lnTo>
                        <a:pt x="1395" y="984"/>
                      </a:lnTo>
                      <a:lnTo>
                        <a:pt x="1395" y="986"/>
                      </a:lnTo>
                      <a:lnTo>
                        <a:pt x="1395" y="987"/>
                      </a:lnTo>
                      <a:lnTo>
                        <a:pt x="1396" y="987"/>
                      </a:lnTo>
                      <a:lnTo>
                        <a:pt x="1396" y="988"/>
                      </a:lnTo>
                      <a:lnTo>
                        <a:pt x="1397" y="988"/>
                      </a:lnTo>
                      <a:lnTo>
                        <a:pt x="1397" y="989"/>
                      </a:lnTo>
                      <a:lnTo>
                        <a:pt x="1397" y="988"/>
                      </a:lnTo>
                      <a:lnTo>
                        <a:pt x="1397" y="987"/>
                      </a:lnTo>
                      <a:lnTo>
                        <a:pt x="1399" y="987"/>
                      </a:lnTo>
                      <a:lnTo>
                        <a:pt x="1397" y="987"/>
                      </a:lnTo>
                      <a:lnTo>
                        <a:pt x="1399" y="986"/>
                      </a:lnTo>
                      <a:lnTo>
                        <a:pt x="1399" y="984"/>
                      </a:lnTo>
                      <a:lnTo>
                        <a:pt x="1397" y="984"/>
                      </a:lnTo>
                      <a:lnTo>
                        <a:pt x="1397" y="983"/>
                      </a:lnTo>
                      <a:lnTo>
                        <a:pt x="1396" y="983"/>
                      </a:lnTo>
                      <a:lnTo>
                        <a:pt x="1396" y="982"/>
                      </a:lnTo>
                      <a:lnTo>
                        <a:pt x="1395" y="982"/>
                      </a:lnTo>
                      <a:lnTo>
                        <a:pt x="1396" y="982"/>
                      </a:lnTo>
                      <a:lnTo>
                        <a:pt x="1396" y="981"/>
                      </a:lnTo>
                      <a:lnTo>
                        <a:pt x="1396" y="980"/>
                      </a:lnTo>
                      <a:lnTo>
                        <a:pt x="1397" y="980"/>
                      </a:lnTo>
                      <a:lnTo>
                        <a:pt x="1396" y="980"/>
                      </a:lnTo>
                      <a:lnTo>
                        <a:pt x="1397" y="980"/>
                      </a:lnTo>
                      <a:lnTo>
                        <a:pt x="1396" y="979"/>
                      </a:lnTo>
                      <a:lnTo>
                        <a:pt x="1396" y="978"/>
                      </a:lnTo>
                      <a:lnTo>
                        <a:pt x="1397" y="978"/>
                      </a:lnTo>
                      <a:lnTo>
                        <a:pt x="1396" y="978"/>
                      </a:lnTo>
                      <a:lnTo>
                        <a:pt x="1396" y="977"/>
                      </a:lnTo>
                      <a:lnTo>
                        <a:pt x="1397" y="977"/>
                      </a:lnTo>
                      <a:lnTo>
                        <a:pt x="1396" y="977"/>
                      </a:lnTo>
                      <a:lnTo>
                        <a:pt x="1396" y="976"/>
                      </a:lnTo>
                      <a:lnTo>
                        <a:pt x="1396" y="975"/>
                      </a:lnTo>
                      <a:lnTo>
                        <a:pt x="1397" y="975"/>
                      </a:lnTo>
                      <a:lnTo>
                        <a:pt x="1399" y="974"/>
                      </a:lnTo>
                      <a:lnTo>
                        <a:pt x="1400" y="974"/>
                      </a:lnTo>
                      <a:lnTo>
                        <a:pt x="1401" y="974"/>
                      </a:lnTo>
                      <a:lnTo>
                        <a:pt x="1402" y="975"/>
                      </a:lnTo>
                      <a:lnTo>
                        <a:pt x="1402" y="978"/>
                      </a:lnTo>
                      <a:lnTo>
                        <a:pt x="1402" y="979"/>
                      </a:lnTo>
                      <a:lnTo>
                        <a:pt x="1403" y="981"/>
                      </a:lnTo>
                      <a:lnTo>
                        <a:pt x="1404" y="983"/>
                      </a:lnTo>
                      <a:lnTo>
                        <a:pt x="1405" y="986"/>
                      </a:lnTo>
                      <a:lnTo>
                        <a:pt x="1405" y="987"/>
                      </a:lnTo>
                      <a:lnTo>
                        <a:pt x="1405" y="989"/>
                      </a:lnTo>
                      <a:lnTo>
                        <a:pt x="1406" y="990"/>
                      </a:lnTo>
                      <a:lnTo>
                        <a:pt x="1406" y="992"/>
                      </a:lnTo>
                      <a:lnTo>
                        <a:pt x="1405" y="996"/>
                      </a:lnTo>
                      <a:lnTo>
                        <a:pt x="1404" y="1000"/>
                      </a:lnTo>
                      <a:lnTo>
                        <a:pt x="1404" y="1002"/>
                      </a:lnTo>
                      <a:lnTo>
                        <a:pt x="1402" y="1005"/>
                      </a:lnTo>
                      <a:lnTo>
                        <a:pt x="1401" y="1007"/>
                      </a:lnTo>
                      <a:lnTo>
                        <a:pt x="1400" y="1008"/>
                      </a:lnTo>
                      <a:lnTo>
                        <a:pt x="1400" y="1009"/>
                      </a:lnTo>
                      <a:lnTo>
                        <a:pt x="1399" y="1009"/>
                      </a:lnTo>
                      <a:lnTo>
                        <a:pt x="1397" y="1012"/>
                      </a:lnTo>
                      <a:lnTo>
                        <a:pt x="1396" y="1012"/>
                      </a:lnTo>
                      <a:lnTo>
                        <a:pt x="1395" y="1013"/>
                      </a:lnTo>
                      <a:lnTo>
                        <a:pt x="1394" y="1013"/>
                      </a:lnTo>
                      <a:lnTo>
                        <a:pt x="1394" y="1014"/>
                      </a:lnTo>
                      <a:lnTo>
                        <a:pt x="1393" y="1014"/>
                      </a:lnTo>
                      <a:lnTo>
                        <a:pt x="1393" y="1015"/>
                      </a:lnTo>
                      <a:lnTo>
                        <a:pt x="1392" y="1014"/>
                      </a:lnTo>
                      <a:lnTo>
                        <a:pt x="1391" y="1014"/>
                      </a:lnTo>
                      <a:lnTo>
                        <a:pt x="1390" y="1014"/>
                      </a:lnTo>
                      <a:lnTo>
                        <a:pt x="1389" y="1014"/>
                      </a:lnTo>
                      <a:lnTo>
                        <a:pt x="1388" y="1015"/>
                      </a:lnTo>
                      <a:lnTo>
                        <a:pt x="1387" y="1015"/>
                      </a:lnTo>
                      <a:lnTo>
                        <a:pt x="1388" y="1017"/>
                      </a:lnTo>
                      <a:lnTo>
                        <a:pt x="1389" y="1017"/>
                      </a:lnTo>
                      <a:lnTo>
                        <a:pt x="1390" y="1017"/>
                      </a:lnTo>
                      <a:lnTo>
                        <a:pt x="1390" y="1018"/>
                      </a:lnTo>
                      <a:lnTo>
                        <a:pt x="1391" y="1018"/>
                      </a:lnTo>
                      <a:lnTo>
                        <a:pt x="1390" y="1019"/>
                      </a:lnTo>
                      <a:lnTo>
                        <a:pt x="1389" y="1020"/>
                      </a:lnTo>
                      <a:lnTo>
                        <a:pt x="1387" y="1022"/>
                      </a:lnTo>
                      <a:lnTo>
                        <a:pt x="1384" y="1026"/>
                      </a:lnTo>
                      <a:lnTo>
                        <a:pt x="1382" y="1028"/>
                      </a:lnTo>
                      <a:lnTo>
                        <a:pt x="1381" y="1030"/>
                      </a:lnTo>
                      <a:lnTo>
                        <a:pt x="1378" y="1035"/>
                      </a:lnTo>
                      <a:lnTo>
                        <a:pt x="1377" y="1035"/>
                      </a:lnTo>
                      <a:lnTo>
                        <a:pt x="1377" y="1037"/>
                      </a:lnTo>
                      <a:lnTo>
                        <a:pt x="1376" y="1038"/>
                      </a:lnTo>
                      <a:lnTo>
                        <a:pt x="1376" y="1039"/>
                      </a:lnTo>
                      <a:lnTo>
                        <a:pt x="1375" y="1040"/>
                      </a:lnTo>
                      <a:lnTo>
                        <a:pt x="1375" y="1041"/>
                      </a:lnTo>
                      <a:lnTo>
                        <a:pt x="1374" y="1042"/>
                      </a:lnTo>
                      <a:lnTo>
                        <a:pt x="1374" y="1044"/>
                      </a:lnTo>
                      <a:lnTo>
                        <a:pt x="1373" y="1046"/>
                      </a:lnTo>
                      <a:lnTo>
                        <a:pt x="1370" y="1051"/>
                      </a:lnTo>
                      <a:lnTo>
                        <a:pt x="1369" y="1052"/>
                      </a:lnTo>
                      <a:lnTo>
                        <a:pt x="1369" y="1053"/>
                      </a:lnTo>
                      <a:lnTo>
                        <a:pt x="1369" y="1054"/>
                      </a:lnTo>
                      <a:lnTo>
                        <a:pt x="1368" y="1055"/>
                      </a:lnTo>
                      <a:lnTo>
                        <a:pt x="1366" y="1058"/>
                      </a:lnTo>
                      <a:lnTo>
                        <a:pt x="1366" y="1059"/>
                      </a:lnTo>
                      <a:lnTo>
                        <a:pt x="1365" y="1058"/>
                      </a:lnTo>
                      <a:lnTo>
                        <a:pt x="1366" y="1059"/>
                      </a:lnTo>
                      <a:lnTo>
                        <a:pt x="1366" y="1060"/>
                      </a:lnTo>
                      <a:lnTo>
                        <a:pt x="1364" y="1065"/>
                      </a:lnTo>
                      <a:lnTo>
                        <a:pt x="1363" y="1070"/>
                      </a:lnTo>
                      <a:lnTo>
                        <a:pt x="1362" y="1070"/>
                      </a:lnTo>
                      <a:lnTo>
                        <a:pt x="1362" y="1071"/>
                      </a:lnTo>
                      <a:lnTo>
                        <a:pt x="1361" y="1071"/>
                      </a:lnTo>
                      <a:lnTo>
                        <a:pt x="1361" y="1072"/>
                      </a:lnTo>
                      <a:lnTo>
                        <a:pt x="1358" y="1072"/>
                      </a:lnTo>
                      <a:lnTo>
                        <a:pt x="1357" y="1072"/>
                      </a:lnTo>
                      <a:lnTo>
                        <a:pt x="1357" y="1071"/>
                      </a:lnTo>
                      <a:lnTo>
                        <a:pt x="1357" y="1070"/>
                      </a:lnTo>
                      <a:lnTo>
                        <a:pt x="1356" y="1070"/>
                      </a:lnTo>
                      <a:lnTo>
                        <a:pt x="1355" y="1070"/>
                      </a:lnTo>
                      <a:lnTo>
                        <a:pt x="1354" y="1070"/>
                      </a:lnTo>
                      <a:lnTo>
                        <a:pt x="1354" y="1069"/>
                      </a:lnTo>
                      <a:lnTo>
                        <a:pt x="1353" y="1067"/>
                      </a:lnTo>
                      <a:lnTo>
                        <a:pt x="1353" y="1066"/>
                      </a:lnTo>
                      <a:lnTo>
                        <a:pt x="1352" y="1065"/>
                      </a:lnTo>
                      <a:lnTo>
                        <a:pt x="1352" y="1064"/>
                      </a:lnTo>
                      <a:lnTo>
                        <a:pt x="1351" y="1064"/>
                      </a:lnTo>
                      <a:lnTo>
                        <a:pt x="1351" y="1063"/>
                      </a:lnTo>
                      <a:lnTo>
                        <a:pt x="1351" y="1061"/>
                      </a:lnTo>
                      <a:lnTo>
                        <a:pt x="1350" y="1061"/>
                      </a:lnTo>
                      <a:lnTo>
                        <a:pt x="1350" y="1060"/>
                      </a:lnTo>
                      <a:lnTo>
                        <a:pt x="1349" y="1060"/>
                      </a:lnTo>
                      <a:lnTo>
                        <a:pt x="1349" y="1059"/>
                      </a:lnTo>
                      <a:lnTo>
                        <a:pt x="1349" y="1058"/>
                      </a:lnTo>
                      <a:lnTo>
                        <a:pt x="1348" y="1057"/>
                      </a:lnTo>
                      <a:lnTo>
                        <a:pt x="1348" y="1056"/>
                      </a:lnTo>
                      <a:lnTo>
                        <a:pt x="1347" y="1055"/>
                      </a:lnTo>
                      <a:lnTo>
                        <a:pt x="1345" y="1054"/>
                      </a:lnTo>
                      <a:lnTo>
                        <a:pt x="1345" y="1053"/>
                      </a:lnTo>
                      <a:lnTo>
                        <a:pt x="1344" y="1052"/>
                      </a:lnTo>
                      <a:lnTo>
                        <a:pt x="1343" y="1052"/>
                      </a:lnTo>
                      <a:lnTo>
                        <a:pt x="1343" y="1051"/>
                      </a:lnTo>
                      <a:lnTo>
                        <a:pt x="1342" y="1050"/>
                      </a:lnTo>
                      <a:lnTo>
                        <a:pt x="1342" y="1048"/>
                      </a:lnTo>
                      <a:lnTo>
                        <a:pt x="1341" y="1046"/>
                      </a:lnTo>
                      <a:lnTo>
                        <a:pt x="1340" y="1046"/>
                      </a:lnTo>
                      <a:lnTo>
                        <a:pt x="1340" y="1045"/>
                      </a:lnTo>
                      <a:lnTo>
                        <a:pt x="1339" y="1045"/>
                      </a:lnTo>
                      <a:lnTo>
                        <a:pt x="1339" y="1044"/>
                      </a:lnTo>
                      <a:lnTo>
                        <a:pt x="1338" y="1044"/>
                      </a:lnTo>
                      <a:lnTo>
                        <a:pt x="1338" y="1043"/>
                      </a:lnTo>
                      <a:lnTo>
                        <a:pt x="1337" y="1043"/>
                      </a:lnTo>
                      <a:lnTo>
                        <a:pt x="1337" y="1042"/>
                      </a:lnTo>
                      <a:lnTo>
                        <a:pt x="1336" y="1041"/>
                      </a:lnTo>
                      <a:lnTo>
                        <a:pt x="1335" y="1040"/>
                      </a:lnTo>
                      <a:lnTo>
                        <a:pt x="1334" y="1039"/>
                      </a:lnTo>
                      <a:lnTo>
                        <a:pt x="1332" y="1038"/>
                      </a:lnTo>
                      <a:lnTo>
                        <a:pt x="1330" y="1035"/>
                      </a:lnTo>
                      <a:lnTo>
                        <a:pt x="1328" y="1033"/>
                      </a:lnTo>
                      <a:lnTo>
                        <a:pt x="1324" y="1029"/>
                      </a:lnTo>
                      <a:lnTo>
                        <a:pt x="1317" y="1024"/>
                      </a:lnTo>
                      <a:lnTo>
                        <a:pt x="1313" y="1019"/>
                      </a:lnTo>
                      <a:lnTo>
                        <a:pt x="1311" y="1017"/>
                      </a:lnTo>
                      <a:lnTo>
                        <a:pt x="1310" y="1015"/>
                      </a:lnTo>
                      <a:lnTo>
                        <a:pt x="1309" y="1013"/>
                      </a:lnTo>
                      <a:lnTo>
                        <a:pt x="1308" y="1012"/>
                      </a:lnTo>
                      <a:lnTo>
                        <a:pt x="1308" y="1013"/>
                      </a:lnTo>
                      <a:lnTo>
                        <a:pt x="1308" y="1012"/>
                      </a:lnTo>
                      <a:lnTo>
                        <a:pt x="1306" y="1009"/>
                      </a:lnTo>
                      <a:lnTo>
                        <a:pt x="1306" y="1011"/>
                      </a:lnTo>
                      <a:lnTo>
                        <a:pt x="1305" y="1011"/>
                      </a:lnTo>
                      <a:lnTo>
                        <a:pt x="1305" y="1009"/>
                      </a:lnTo>
                      <a:lnTo>
                        <a:pt x="1304" y="1008"/>
                      </a:lnTo>
                      <a:lnTo>
                        <a:pt x="1305" y="1008"/>
                      </a:lnTo>
                      <a:lnTo>
                        <a:pt x="1304" y="1008"/>
                      </a:lnTo>
                      <a:lnTo>
                        <a:pt x="1304" y="1007"/>
                      </a:lnTo>
                      <a:lnTo>
                        <a:pt x="1303" y="1007"/>
                      </a:lnTo>
                      <a:lnTo>
                        <a:pt x="1303" y="1006"/>
                      </a:lnTo>
                      <a:lnTo>
                        <a:pt x="1302" y="1006"/>
                      </a:lnTo>
                      <a:lnTo>
                        <a:pt x="1302" y="1005"/>
                      </a:lnTo>
                      <a:lnTo>
                        <a:pt x="1301" y="1004"/>
                      </a:lnTo>
                      <a:lnTo>
                        <a:pt x="1301" y="1003"/>
                      </a:lnTo>
                      <a:lnTo>
                        <a:pt x="1300" y="1003"/>
                      </a:lnTo>
                      <a:lnTo>
                        <a:pt x="1300" y="1002"/>
                      </a:lnTo>
                      <a:lnTo>
                        <a:pt x="1300" y="1001"/>
                      </a:lnTo>
                      <a:lnTo>
                        <a:pt x="1299" y="1001"/>
                      </a:lnTo>
                      <a:lnTo>
                        <a:pt x="1300" y="1001"/>
                      </a:lnTo>
                      <a:lnTo>
                        <a:pt x="1299" y="1001"/>
                      </a:lnTo>
                      <a:lnTo>
                        <a:pt x="1299" y="1000"/>
                      </a:lnTo>
                      <a:lnTo>
                        <a:pt x="1298" y="999"/>
                      </a:lnTo>
                      <a:lnTo>
                        <a:pt x="1298" y="1000"/>
                      </a:lnTo>
                      <a:lnTo>
                        <a:pt x="1298" y="999"/>
                      </a:lnTo>
                      <a:lnTo>
                        <a:pt x="1297" y="998"/>
                      </a:lnTo>
                      <a:lnTo>
                        <a:pt x="1297" y="996"/>
                      </a:lnTo>
                      <a:lnTo>
                        <a:pt x="1298" y="998"/>
                      </a:lnTo>
                      <a:lnTo>
                        <a:pt x="1297" y="995"/>
                      </a:lnTo>
                      <a:lnTo>
                        <a:pt x="1296" y="995"/>
                      </a:lnTo>
                      <a:lnTo>
                        <a:pt x="1296" y="994"/>
                      </a:lnTo>
                      <a:lnTo>
                        <a:pt x="1296" y="995"/>
                      </a:lnTo>
                      <a:lnTo>
                        <a:pt x="1295" y="994"/>
                      </a:lnTo>
                      <a:lnTo>
                        <a:pt x="1295" y="993"/>
                      </a:lnTo>
                      <a:lnTo>
                        <a:pt x="1293" y="993"/>
                      </a:lnTo>
                      <a:lnTo>
                        <a:pt x="1292" y="992"/>
                      </a:lnTo>
                      <a:lnTo>
                        <a:pt x="1292" y="991"/>
                      </a:lnTo>
                      <a:lnTo>
                        <a:pt x="1290" y="990"/>
                      </a:lnTo>
                      <a:lnTo>
                        <a:pt x="1290" y="989"/>
                      </a:lnTo>
                      <a:lnTo>
                        <a:pt x="1289" y="988"/>
                      </a:lnTo>
                      <a:lnTo>
                        <a:pt x="1289" y="987"/>
                      </a:lnTo>
                      <a:lnTo>
                        <a:pt x="1288" y="986"/>
                      </a:lnTo>
                      <a:lnTo>
                        <a:pt x="1287" y="984"/>
                      </a:lnTo>
                      <a:lnTo>
                        <a:pt x="1285" y="982"/>
                      </a:lnTo>
                      <a:lnTo>
                        <a:pt x="1285" y="981"/>
                      </a:lnTo>
                      <a:lnTo>
                        <a:pt x="1285" y="980"/>
                      </a:lnTo>
                      <a:lnTo>
                        <a:pt x="1284" y="980"/>
                      </a:lnTo>
                      <a:lnTo>
                        <a:pt x="1283" y="979"/>
                      </a:lnTo>
                      <a:lnTo>
                        <a:pt x="1282" y="978"/>
                      </a:lnTo>
                      <a:lnTo>
                        <a:pt x="1280" y="977"/>
                      </a:lnTo>
                      <a:lnTo>
                        <a:pt x="1279" y="976"/>
                      </a:lnTo>
                      <a:lnTo>
                        <a:pt x="1279" y="975"/>
                      </a:lnTo>
                      <a:lnTo>
                        <a:pt x="1278" y="974"/>
                      </a:lnTo>
                      <a:lnTo>
                        <a:pt x="1277" y="974"/>
                      </a:lnTo>
                      <a:lnTo>
                        <a:pt x="1276" y="973"/>
                      </a:lnTo>
                      <a:lnTo>
                        <a:pt x="1276" y="971"/>
                      </a:lnTo>
                      <a:lnTo>
                        <a:pt x="1274" y="970"/>
                      </a:lnTo>
                      <a:lnTo>
                        <a:pt x="1273" y="973"/>
                      </a:lnTo>
                      <a:lnTo>
                        <a:pt x="1272" y="975"/>
                      </a:lnTo>
                      <a:lnTo>
                        <a:pt x="1273" y="976"/>
                      </a:lnTo>
                      <a:lnTo>
                        <a:pt x="1274" y="977"/>
                      </a:lnTo>
                      <a:lnTo>
                        <a:pt x="1279" y="982"/>
                      </a:lnTo>
                      <a:lnTo>
                        <a:pt x="1280" y="983"/>
                      </a:lnTo>
                      <a:lnTo>
                        <a:pt x="1282" y="986"/>
                      </a:lnTo>
                      <a:lnTo>
                        <a:pt x="1285" y="989"/>
                      </a:lnTo>
                      <a:lnTo>
                        <a:pt x="1286" y="991"/>
                      </a:lnTo>
                      <a:lnTo>
                        <a:pt x="1288" y="993"/>
                      </a:lnTo>
                      <a:lnTo>
                        <a:pt x="1289" y="995"/>
                      </a:lnTo>
                      <a:lnTo>
                        <a:pt x="1290" y="996"/>
                      </a:lnTo>
                      <a:lnTo>
                        <a:pt x="1291" y="999"/>
                      </a:lnTo>
                      <a:lnTo>
                        <a:pt x="1291" y="1000"/>
                      </a:lnTo>
                      <a:lnTo>
                        <a:pt x="1293" y="1001"/>
                      </a:lnTo>
                      <a:lnTo>
                        <a:pt x="1293" y="1002"/>
                      </a:lnTo>
                      <a:lnTo>
                        <a:pt x="1293" y="1003"/>
                      </a:lnTo>
                      <a:lnTo>
                        <a:pt x="1295" y="1003"/>
                      </a:lnTo>
                      <a:lnTo>
                        <a:pt x="1297" y="1006"/>
                      </a:lnTo>
                      <a:lnTo>
                        <a:pt x="1297" y="1007"/>
                      </a:lnTo>
                      <a:lnTo>
                        <a:pt x="1299" y="1009"/>
                      </a:lnTo>
                      <a:lnTo>
                        <a:pt x="1299" y="1011"/>
                      </a:lnTo>
                      <a:lnTo>
                        <a:pt x="1300" y="1012"/>
                      </a:lnTo>
                      <a:lnTo>
                        <a:pt x="1301" y="1014"/>
                      </a:lnTo>
                      <a:lnTo>
                        <a:pt x="1302" y="1015"/>
                      </a:lnTo>
                      <a:lnTo>
                        <a:pt x="1304" y="1018"/>
                      </a:lnTo>
                      <a:lnTo>
                        <a:pt x="1305" y="1019"/>
                      </a:lnTo>
                      <a:lnTo>
                        <a:pt x="1305" y="1020"/>
                      </a:lnTo>
                      <a:lnTo>
                        <a:pt x="1306" y="1020"/>
                      </a:lnTo>
                      <a:lnTo>
                        <a:pt x="1306" y="1021"/>
                      </a:lnTo>
                      <a:lnTo>
                        <a:pt x="1306" y="1022"/>
                      </a:lnTo>
                      <a:lnTo>
                        <a:pt x="1308" y="1022"/>
                      </a:lnTo>
                      <a:lnTo>
                        <a:pt x="1306" y="1024"/>
                      </a:lnTo>
                      <a:lnTo>
                        <a:pt x="1306" y="1025"/>
                      </a:lnTo>
                      <a:lnTo>
                        <a:pt x="1306" y="1026"/>
                      </a:lnTo>
                      <a:lnTo>
                        <a:pt x="1306" y="1027"/>
                      </a:lnTo>
                      <a:lnTo>
                        <a:pt x="1306" y="1028"/>
                      </a:lnTo>
                      <a:lnTo>
                        <a:pt x="1306" y="1029"/>
                      </a:lnTo>
                      <a:lnTo>
                        <a:pt x="1305" y="1029"/>
                      </a:lnTo>
                      <a:lnTo>
                        <a:pt x="1306" y="1030"/>
                      </a:lnTo>
                      <a:lnTo>
                        <a:pt x="1305" y="1030"/>
                      </a:lnTo>
                      <a:lnTo>
                        <a:pt x="1306" y="1031"/>
                      </a:lnTo>
                      <a:lnTo>
                        <a:pt x="1306" y="1032"/>
                      </a:lnTo>
                      <a:lnTo>
                        <a:pt x="1309" y="1032"/>
                      </a:lnTo>
                      <a:lnTo>
                        <a:pt x="1309" y="1031"/>
                      </a:lnTo>
                      <a:lnTo>
                        <a:pt x="1309" y="1030"/>
                      </a:lnTo>
                      <a:lnTo>
                        <a:pt x="1308" y="1029"/>
                      </a:lnTo>
                      <a:lnTo>
                        <a:pt x="1308" y="1028"/>
                      </a:lnTo>
                      <a:lnTo>
                        <a:pt x="1308" y="1027"/>
                      </a:lnTo>
                      <a:lnTo>
                        <a:pt x="1308" y="1026"/>
                      </a:lnTo>
                      <a:lnTo>
                        <a:pt x="1308" y="1025"/>
                      </a:lnTo>
                      <a:lnTo>
                        <a:pt x="1309" y="1025"/>
                      </a:lnTo>
                      <a:lnTo>
                        <a:pt x="1309" y="1026"/>
                      </a:lnTo>
                      <a:lnTo>
                        <a:pt x="1311" y="1027"/>
                      </a:lnTo>
                      <a:lnTo>
                        <a:pt x="1313" y="1029"/>
                      </a:lnTo>
                      <a:lnTo>
                        <a:pt x="1314" y="1029"/>
                      </a:lnTo>
                      <a:lnTo>
                        <a:pt x="1315" y="1030"/>
                      </a:lnTo>
                      <a:lnTo>
                        <a:pt x="1316" y="1031"/>
                      </a:lnTo>
                      <a:lnTo>
                        <a:pt x="1316" y="1032"/>
                      </a:lnTo>
                      <a:lnTo>
                        <a:pt x="1317" y="1032"/>
                      </a:lnTo>
                      <a:lnTo>
                        <a:pt x="1317" y="1033"/>
                      </a:lnTo>
                      <a:lnTo>
                        <a:pt x="1318" y="1033"/>
                      </a:lnTo>
                      <a:lnTo>
                        <a:pt x="1319" y="1033"/>
                      </a:lnTo>
                      <a:lnTo>
                        <a:pt x="1321" y="1034"/>
                      </a:lnTo>
                      <a:lnTo>
                        <a:pt x="1322" y="1037"/>
                      </a:lnTo>
                      <a:lnTo>
                        <a:pt x="1323" y="1037"/>
                      </a:lnTo>
                      <a:lnTo>
                        <a:pt x="1324" y="1038"/>
                      </a:lnTo>
                      <a:lnTo>
                        <a:pt x="1325" y="1039"/>
                      </a:lnTo>
                      <a:lnTo>
                        <a:pt x="1326" y="1040"/>
                      </a:lnTo>
                      <a:lnTo>
                        <a:pt x="1327" y="1040"/>
                      </a:lnTo>
                      <a:lnTo>
                        <a:pt x="1328" y="1041"/>
                      </a:lnTo>
                      <a:lnTo>
                        <a:pt x="1328" y="1042"/>
                      </a:lnTo>
                      <a:lnTo>
                        <a:pt x="1330" y="1044"/>
                      </a:lnTo>
                      <a:lnTo>
                        <a:pt x="1331" y="1045"/>
                      </a:lnTo>
                      <a:lnTo>
                        <a:pt x="1331" y="1046"/>
                      </a:lnTo>
                      <a:lnTo>
                        <a:pt x="1332" y="1046"/>
                      </a:lnTo>
                      <a:lnTo>
                        <a:pt x="1331" y="1047"/>
                      </a:lnTo>
                      <a:lnTo>
                        <a:pt x="1330" y="1047"/>
                      </a:lnTo>
                      <a:lnTo>
                        <a:pt x="1324" y="1046"/>
                      </a:lnTo>
                      <a:lnTo>
                        <a:pt x="1319" y="1046"/>
                      </a:lnTo>
                      <a:lnTo>
                        <a:pt x="1321" y="1046"/>
                      </a:lnTo>
                      <a:lnTo>
                        <a:pt x="1321" y="1047"/>
                      </a:lnTo>
                      <a:lnTo>
                        <a:pt x="1319" y="1047"/>
                      </a:lnTo>
                      <a:lnTo>
                        <a:pt x="1319" y="1046"/>
                      </a:lnTo>
                      <a:lnTo>
                        <a:pt x="1318" y="1047"/>
                      </a:lnTo>
                      <a:lnTo>
                        <a:pt x="1318" y="1046"/>
                      </a:lnTo>
                      <a:lnTo>
                        <a:pt x="1317" y="1047"/>
                      </a:lnTo>
                      <a:lnTo>
                        <a:pt x="1318" y="1047"/>
                      </a:lnTo>
                      <a:lnTo>
                        <a:pt x="1318" y="1048"/>
                      </a:lnTo>
                      <a:lnTo>
                        <a:pt x="1318" y="1050"/>
                      </a:lnTo>
                      <a:lnTo>
                        <a:pt x="1318" y="1051"/>
                      </a:lnTo>
                      <a:lnTo>
                        <a:pt x="1317" y="1051"/>
                      </a:lnTo>
                      <a:lnTo>
                        <a:pt x="1318" y="1051"/>
                      </a:lnTo>
                      <a:lnTo>
                        <a:pt x="1318" y="1052"/>
                      </a:lnTo>
                      <a:lnTo>
                        <a:pt x="1319" y="1052"/>
                      </a:lnTo>
                      <a:lnTo>
                        <a:pt x="1319" y="1053"/>
                      </a:lnTo>
                      <a:lnTo>
                        <a:pt x="1319" y="1052"/>
                      </a:lnTo>
                      <a:lnTo>
                        <a:pt x="1321" y="1052"/>
                      </a:lnTo>
                      <a:lnTo>
                        <a:pt x="1321" y="1053"/>
                      </a:lnTo>
                      <a:lnTo>
                        <a:pt x="1322" y="1054"/>
                      </a:lnTo>
                      <a:lnTo>
                        <a:pt x="1323" y="1054"/>
                      </a:lnTo>
                      <a:lnTo>
                        <a:pt x="1323" y="1055"/>
                      </a:lnTo>
                      <a:lnTo>
                        <a:pt x="1323" y="1056"/>
                      </a:lnTo>
                      <a:lnTo>
                        <a:pt x="1324" y="1057"/>
                      </a:lnTo>
                      <a:lnTo>
                        <a:pt x="1325" y="1057"/>
                      </a:lnTo>
                      <a:lnTo>
                        <a:pt x="1325" y="1056"/>
                      </a:lnTo>
                      <a:lnTo>
                        <a:pt x="1326" y="1056"/>
                      </a:lnTo>
                      <a:lnTo>
                        <a:pt x="1327" y="1056"/>
                      </a:lnTo>
                      <a:lnTo>
                        <a:pt x="1327" y="1055"/>
                      </a:lnTo>
                      <a:lnTo>
                        <a:pt x="1328" y="1055"/>
                      </a:lnTo>
                      <a:lnTo>
                        <a:pt x="1328" y="1056"/>
                      </a:lnTo>
                      <a:lnTo>
                        <a:pt x="1328" y="1055"/>
                      </a:lnTo>
                      <a:lnTo>
                        <a:pt x="1328" y="1054"/>
                      </a:lnTo>
                      <a:lnTo>
                        <a:pt x="1329" y="1054"/>
                      </a:lnTo>
                      <a:lnTo>
                        <a:pt x="1329" y="1053"/>
                      </a:lnTo>
                      <a:lnTo>
                        <a:pt x="1330" y="1052"/>
                      </a:lnTo>
                      <a:lnTo>
                        <a:pt x="1329" y="1052"/>
                      </a:lnTo>
                      <a:lnTo>
                        <a:pt x="1329" y="1053"/>
                      </a:lnTo>
                      <a:lnTo>
                        <a:pt x="1329" y="1052"/>
                      </a:lnTo>
                      <a:lnTo>
                        <a:pt x="1330" y="1051"/>
                      </a:lnTo>
                      <a:lnTo>
                        <a:pt x="1330" y="1050"/>
                      </a:lnTo>
                      <a:lnTo>
                        <a:pt x="1331" y="1050"/>
                      </a:lnTo>
                      <a:lnTo>
                        <a:pt x="1331" y="1048"/>
                      </a:lnTo>
                      <a:lnTo>
                        <a:pt x="1332" y="1048"/>
                      </a:lnTo>
                      <a:lnTo>
                        <a:pt x="1334" y="1048"/>
                      </a:lnTo>
                      <a:lnTo>
                        <a:pt x="1335" y="1050"/>
                      </a:lnTo>
                      <a:lnTo>
                        <a:pt x="1336" y="1051"/>
                      </a:lnTo>
                      <a:lnTo>
                        <a:pt x="1336" y="1052"/>
                      </a:lnTo>
                      <a:lnTo>
                        <a:pt x="1335" y="1052"/>
                      </a:lnTo>
                      <a:lnTo>
                        <a:pt x="1336" y="1052"/>
                      </a:lnTo>
                      <a:lnTo>
                        <a:pt x="1337" y="1053"/>
                      </a:lnTo>
                      <a:lnTo>
                        <a:pt x="1338" y="1054"/>
                      </a:lnTo>
                      <a:lnTo>
                        <a:pt x="1338" y="1055"/>
                      </a:lnTo>
                      <a:lnTo>
                        <a:pt x="1339" y="1056"/>
                      </a:lnTo>
                      <a:lnTo>
                        <a:pt x="1339" y="1057"/>
                      </a:lnTo>
                      <a:lnTo>
                        <a:pt x="1340" y="1057"/>
                      </a:lnTo>
                      <a:lnTo>
                        <a:pt x="1340" y="1058"/>
                      </a:lnTo>
                      <a:lnTo>
                        <a:pt x="1341" y="1059"/>
                      </a:lnTo>
                      <a:lnTo>
                        <a:pt x="1341" y="1060"/>
                      </a:lnTo>
                      <a:lnTo>
                        <a:pt x="1342" y="1061"/>
                      </a:lnTo>
                      <a:lnTo>
                        <a:pt x="1342" y="1063"/>
                      </a:lnTo>
                      <a:lnTo>
                        <a:pt x="1342" y="1064"/>
                      </a:lnTo>
                      <a:lnTo>
                        <a:pt x="1343" y="1064"/>
                      </a:lnTo>
                      <a:lnTo>
                        <a:pt x="1343" y="1065"/>
                      </a:lnTo>
                      <a:lnTo>
                        <a:pt x="1343" y="1066"/>
                      </a:lnTo>
                      <a:lnTo>
                        <a:pt x="1344" y="1066"/>
                      </a:lnTo>
                      <a:lnTo>
                        <a:pt x="1344" y="1067"/>
                      </a:lnTo>
                      <a:lnTo>
                        <a:pt x="1345" y="1068"/>
                      </a:lnTo>
                      <a:lnTo>
                        <a:pt x="1345" y="1069"/>
                      </a:lnTo>
                      <a:lnTo>
                        <a:pt x="1345" y="1070"/>
                      </a:lnTo>
                      <a:lnTo>
                        <a:pt x="1347" y="1070"/>
                      </a:lnTo>
                      <a:lnTo>
                        <a:pt x="1347" y="1071"/>
                      </a:lnTo>
                      <a:lnTo>
                        <a:pt x="1347" y="1072"/>
                      </a:lnTo>
                      <a:lnTo>
                        <a:pt x="1348" y="1074"/>
                      </a:lnTo>
                      <a:lnTo>
                        <a:pt x="1349" y="1077"/>
                      </a:lnTo>
                      <a:lnTo>
                        <a:pt x="1348" y="1077"/>
                      </a:lnTo>
                      <a:lnTo>
                        <a:pt x="1347" y="1077"/>
                      </a:lnTo>
                      <a:lnTo>
                        <a:pt x="1345" y="1077"/>
                      </a:lnTo>
                      <a:lnTo>
                        <a:pt x="1345" y="1076"/>
                      </a:lnTo>
                      <a:lnTo>
                        <a:pt x="1345" y="1074"/>
                      </a:lnTo>
                      <a:lnTo>
                        <a:pt x="1344" y="1074"/>
                      </a:lnTo>
                      <a:lnTo>
                        <a:pt x="1343" y="1073"/>
                      </a:lnTo>
                      <a:lnTo>
                        <a:pt x="1343" y="1072"/>
                      </a:lnTo>
                      <a:lnTo>
                        <a:pt x="1342" y="1072"/>
                      </a:lnTo>
                      <a:lnTo>
                        <a:pt x="1341" y="1071"/>
                      </a:lnTo>
                      <a:lnTo>
                        <a:pt x="1341" y="1070"/>
                      </a:lnTo>
                      <a:lnTo>
                        <a:pt x="1342" y="1069"/>
                      </a:lnTo>
                      <a:lnTo>
                        <a:pt x="1342" y="1068"/>
                      </a:lnTo>
                      <a:lnTo>
                        <a:pt x="1342" y="1067"/>
                      </a:lnTo>
                      <a:lnTo>
                        <a:pt x="1342" y="1066"/>
                      </a:lnTo>
                      <a:lnTo>
                        <a:pt x="1343" y="1066"/>
                      </a:lnTo>
                      <a:lnTo>
                        <a:pt x="1342" y="1065"/>
                      </a:lnTo>
                      <a:lnTo>
                        <a:pt x="1341" y="1065"/>
                      </a:lnTo>
                      <a:lnTo>
                        <a:pt x="1340" y="1064"/>
                      </a:lnTo>
                      <a:lnTo>
                        <a:pt x="1340" y="1063"/>
                      </a:lnTo>
                      <a:lnTo>
                        <a:pt x="1339" y="1061"/>
                      </a:lnTo>
                      <a:lnTo>
                        <a:pt x="1339" y="1060"/>
                      </a:lnTo>
                      <a:lnTo>
                        <a:pt x="1339" y="1059"/>
                      </a:lnTo>
                      <a:lnTo>
                        <a:pt x="1338" y="1058"/>
                      </a:lnTo>
                      <a:lnTo>
                        <a:pt x="1338" y="1057"/>
                      </a:lnTo>
                      <a:lnTo>
                        <a:pt x="1337" y="1057"/>
                      </a:lnTo>
                      <a:lnTo>
                        <a:pt x="1337" y="1056"/>
                      </a:lnTo>
                      <a:lnTo>
                        <a:pt x="1337" y="1057"/>
                      </a:lnTo>
                      <a:lnTo>
                        <a:pt x="1338" y="1058"/>
                      </a:lnTo>
                      <a:lnTo>
                        <a:pt x="1338" y="1059"/>
                      </a:lnTo>
                      <a:lnTo>
                        <a:pt x="1338" y="1060"/>
                      </a:lnTo>
                      <a:lnTo>
                        <a:pt x="1338" y="1061"/>
                      </a:lnTo>
                      <a:lnTo>
                        <a:pt x="1337" y="1061"/>
                      </a:lnTo>
                      <a:lnTo>
                        <a:pt x="1337" y="1060"/>
                      </a:lnTo>
                      <a:lnTo>
                        <a:pt x="1337" y="1059"/>
                      </a:lnTo>
                      <a:lnTo>
                        <a:pt x="1336" y="1059"/>
                      </a:lnTo>
                      <a:lnTo>
                        <a:pt x="1336" y="1060"/>
                      </a:lnTo>
                      <a:lnTo>
                        <a:pt x="1336" y="1061"/>
                      </a:lnTo>
                      <a:lnTo>
                        <a:pt x="1336" y="1063"/>
                      </a:lnTo>
                      <a:lnTo>
                        <a:pt x="1335" y="1061"/>
                      </a:lnTo>
                      <a:lnTo>
                        <a:pt x="1335" y="1060"/>
                      </a:lnTo>
                      <a:lnTo>
                        <a:pt x="1335" y="1059"/>
                      </a:lnTo>
                      <a:lnTo>
                        <a:pt x="1335" y="1058"/>
                      </a:lnTo>
                      <a:lnTo>
                        <a:pt x="1335" y="1057"/>
                      </a:lnTo>
                      <a:lnTo>
                        <a:pt x="1334" y="1056"/>
                      </a:lnTo>
                      <a:lnTo>
                        <a:pt x="1332" y="1056"/>
                      </a:lnTo>
                      <a:lnTo>
                        <a:pt x="1331" y="1056"/>
                      </a:lnTo>
                      <a:lnTo>
                        <a:pt x="1332" y="1056"/>
                      </a:lnTo>
                      <a:lnTo>
                        <a:pt x="1332" y="1055"/>
                      </a:lnTo>
                      <a:lnTo>
                        <a:pt x="1331" y="1056"/>
                      </a:lnTo>
                      <a:lnTo>
                        <a:pt x="1330" y="1056"/>
                      </a:lnTo>
                      <a:lnTo>
                        <a:pt x="1330" y="1057"/>
                      </a:lnTo>
                      <a:lnTo>
                        <a:pt x="1329" y="1057"/>
                      </a:lnTo>
                      <a:lnTo>
                        <a:pt x="1330" y="1057"/>
                      </a:lnTo>
                      <a:lnTo>
                        <a:pt x="1329" y="1057"/>
                      </a:lnTo>
                      <a:lnTo>
                        <a:pt x="1328" y="1057"/>
                      </a:lnTo>
                      <a:lnTo>
                        <a:pt x="1328" y="1058"/>
                      </a:lnTo>
                      <a:lnTo>
                        <a:pt x="1327" y="1058"/>
                      </a:lnTo>
                      <a:lnTo>
                        <a:pt x="1326" y="1058"/>
                      </a:lnTo>
                      <a:lnTo>
                        <a:pt x="1326" y="1059"/>
                      </a:lnTo>
                      <a:lnTo>
                        <a:pt x="1327" y="1059"/>
                      </a:lnTo>
                      <a:lnTo>
                        <a:pt x="1328" y="1060"/>
                      </a:lnTo>
                      <a:lnTo>
                        <a:pt x="1327" y="1060"/>
                      </a:lnTo>
                      <a:lnTo>
                        <a:pt x="1327" y="1061"/>
                      </a:lnTo>
                      <a:lnTo>
                        <a:pt x="1328" y="1061"/>
                      </a:lnTo>
                      <a:lnTo>
                        <a:pt x="1328" y="1063"/>
                      </a:lnTo>
                      <a:lnTo>
                        <a:pt x="1328" y="1064"/>
                      </a:lnTo>
                      <a:lnTo>
                        <a:pt x="1327" y="1064"/>
                      </a:lnTo>
                      <a:lnTo>
                        <a:pt x="1327" y="1063"/>
                      </a:lnTo>
                      <a:lnTo>
                        <a:pt x="1327" y="1061"/>
                      </a:lnTo>
                      <a:lnTo>
                        <a:pt x="1326" y="1061"/>
                      </a:lnTo>
                      <a:lnTo>
                        <a:pt x="1326" y="1060"/>
                      </a:lnTo>
                      <a:lnTo>
                        <a:pt x="1326" y="1059"/>
                      </a:lnTo>
                      <a:lnTo>
                        <a:pt x="1325" y="1059"/>
                      </a:lnTo>
                      <a:lnTo>
                        <a:pt x="1324" y="1059"/>
                      </a:lnTo>
                      <a:lnTo>
                        <a:pt x="1324" y="1060"/>
                      </a:lnTo>
                      <a:lnTo>
                        <a:pt x="1324" y="1061"/>
                      </a:lnTo>
                      <a:lnTo>
                        <a:pt x="1323" y="1060"/>
                      </a:lnTo>
                      <a:lnTo>
                        <a:pt x="1323" y="1059"/>
                      </a:lnTo>
                      <a:lnTo>
                        <a:pt x="1322" y="1059"/>
                      </a:lnTo>
                      <a:lnTo>
                        <a:pt x="1322" y="1060"/>
                      </a:lnTo>
                      <a:lnTo>
                        <a:pt x="1322" y="1061"/>
                      </a:lnTo>
                      <a:lnTo>
                        <a:pt x="1323" y="1061"/>
                      </a:lnTo>
                      <a:lnTo>
                        <a:pt x="1323" y="1063"/>
                      </a:lnTo>
                      <a:lnTo>
                        <a:pt x="1322" y="1063"/>
                      </a:lnTo>
                      <a:lnTo>
                        <a:pt x="1322" y="1061"/>
                      </a:lnTo>
                      <a:lnTo>
                        <a:pt x="1321" y="1061"/>
                      </a:lnTo>
                      <a:lnTo>
                        <a:pt x="1321" y="1063"/>
                      </a:lnTo>
                      <a:lnTo>
                        <a:pt x="1321" y="1064"/>
                      </a:lnTo>
                      <a:lnTo>
                        <a:pt x="1321" y="1065"/>
                      </a:lnTo>
                      <a:lnTo>
                        <a:pt x="1321" y="1066"/>
                      </a:lnTo>
                      <a:lnTo>
                        <a:pt x="1321" y="1067"/>
                      </a:lnTo>
                      <a:lnTo>
                        <a:pt x="1322" y="1067"/>
                      </a:lnTo>
                      <a:lnTo>
                        <a:pt x="1322" y="1068"/>
                      </a:lnTo>
                      <a:lnTo>
                        <a:pt x="1321" y="1068"/>
                      </a:lnTo>
                      <a:lnTo>
                        <a:pt x="1319" y="1067"/>
                      </a:lnTo>
                      <a:lnTo>
                        <a:pt x="1319" y="1066"/>
                      </a:lnTo>
                      <a:lnTo>
                        <a:pt x="1319" y="1065"/>
                      </a:lnTo>
                      <a:lnTo>
                        <a:pt x="1319" y="1064"/>
                      </a:lnTo>
                      <a:lnTo>
                        <a:pt x="1319" y="1063"/>
                      </a:lnTo>
                      <a:lnTo>
                        <a:pt x="1318" y="1063"/>
                      </a:lnTo>
                      <a:lnTo>
                        <a:pt x="1318" y="1061"/>
                      </a:lnTo>
                      <a:lnTo>
                        <a:pt x="1318" y="1060"/>
                      </a:lnTo>
                      <a:lnTo>
                        <a:pt x="1318" y="1059"/>
                      </a:lnTo>
                      <a:lnTo>
                        <a:pt x="1317" y="1059"/>
                      </a:lnTo>
                      <a:lnTo>
                        <a:pt x="1317" y="1058"/>
                      </a:lnTo>
                      <a:lnTo>
                        <a:pt x="1317" y="1057"/>
                      </a:lnTo>
                      <a:lnTo>
                        <a:pt x="1317" y="1056"/>
                      </a:lnTo>
                      <a:lnTo>
                        <a:pt x="1317" y="1057"/>
                      </a:lnTo>
                      <a:lnTo>
                        <a:pt x="1318" y="1057"/>
                      </a:lnTo>
                      <a:lnTo>
                        <a:pt x="1318" y="1056"/>
                      </a:lnTo>
                      <a:lnTo>
                        <a:pt x="1318" y="1055"/>
                      </a:lnTo>
                      <a:lnTo>
                        <a:pt x="1317" y="1055"/>
                      </a:lnTo>
                      <a:lnTo>
                        <a:pt x="1316" y="1055"/>
                      </a:lnTo>
                      <a:lnTo>
                        <a:pt x="1316" y="1056"/>
                      </a:lnTo>
                      <a:lnTo>
                        <a:pt x="1315" y="1056"/>
                      </a:lnTo>
                      <a:lnTo>
                        <a:pt x="1316" y="1055"/>
                      </a:lnTo>
                      <a:lnTo>
                        <a:pt x="1316" y="1054"/>
                      </a:lnTo>
                      <a:lnTo>
                        <a:pt x="1315" y="1054"/>
                      </a:lnTo>
                      <a:lnTo>
                        <a:pt x="1315" y="1055"/>
                      </a:lnTo>
                      <a:lnTo>
                        <a:pt x="1315" y="1056"/>
                      </a:lnTo>
                      <a:lnTo>
                        <a:pt x="1315" y="1057"/>
                      </a:lnTo>
                      <a:lnTo>
                        <a:pt x="1314" y="1057"/>
                      </a:lnTo>
                      <a:lnTo>
                        <a:pt x="1314" y="1058"/>
                      </a:lnTo>
                      <a:lnTo>
                        <a:pt x="1314" y="1059"/>
                      </a:lnTo>
                      <a:lnTo>
                        <a:pt x="1314" y="1060"/>
                      </a:lnTo>
                      <a:lnTo>
                        <a:pt x="1314" y="1061"/>
                      </a:lnTo>
                      <a:lnTo>
                        <a:pt x="1314" y="1063"/>
                      </a:lnTo>
                      <a:lnTo>
                        <a:pt x="1314" y="1064"/>
                      </a:lnTo>
                      <a:lnTo>
                        <a:pt x="1315" y="1065"/>
                      </a:lnTo>
                      <a:lnTo>
                        <a:pt x="1314" y="1065"/>
                      </a:lnTo>
                      <a:lnTo>
                        <a:pt x="1314" y="1066"/>
                      </a:lnTo>
                      <a:lnTo>
                        <a:pt x="1314" y="1067"/>
                      </a:lnTo>
                      <a:lnTo>
                        <a:pt x="1314" y="1068"/>
                      </a:lnTo>
                      <a:lnTo>
                        <a:pt x="1314" y="1069"/>
                      </a:lnTo>
                      <a:lnTo>
                        <a:pt x="1314" y="1070"/>
                      </a:lnTo>
                      <a:lnTo>
                        <a:pt x="1315" y="1071"/>
                      </a:lnTo>
                      <a:lnTo>
                        <a:pt x="1316" y="1071"/>
                      </a:lnTo>
                      <a:lnTo>
                        <a:pt x="1317" y="1071"/>
                      </a:lnTo>
                      <a:lnTo>
                        <a:pt x="1318" y="1071"/>
                      </a:lnTo>
                      <a:lnTo>
                        <a:pt x="1319" y="1071"/>
                      </a:lnTo>
                      <a:lnTo>
                        <a:pt x="1321" y="1071"/>
                      </a:lnTo>
                      <a:lnTo>
                        <a:pt x="1321" y="1070"/>
                      </a:lnTo>
                      <a:lnTo>
                        <a:pt x="1322" y="1070"/>
                      </a:lnTo>
                      <a:lnTo>
                        <a:pt x="1323" y="1070"/>
                      </a:lnTo>
                      <a:lnTo>
                        <a:pt x="1323" y="1071"/>
                      </a:lnTo>
                      <a:lnTo>
                        <a:pt x="1324" y="1071"/>
                      </a:lnTo>
                      <a:lnTo>
                        <a:pt x="1324" y="1072"/>
                      </a:lnTo>
                      <a:lnTo>
                        <a:pt x="1323" y="1072"/>
                      </a:lnTo>
                      <a:lnTo>
                        <a:pt x="1324" y="1072"/>
                      </a:lnTo>
                      <a:lnTo>
                        <a:pt x="1324" y="1073"/>
                      </a:lnTo>
                      <a:lnTo>
                        <a:pt x="1324" y="1074"/>
                      </a:lnTo>
                      <a:lnTo>
                        <a:pt x="1323" y="1074"/>
                      </a:lnTo>
                      <a:lnTo>
                        <a:pt x="1322" y="1074"/>
                      </a:lnTo>
                      <a:lnTo>
                        <a:pt x="1321" y="1074"/>
                      </a:lnTo>
                      <a:lnTo>
                        <a:pt x="1322" y="1074"/>
                      </a:lnTo>
                      <a:lnTo>
                        <a:pt x="1322" y="1076"/>
                      </a:lnTo>
                      <a:lnTo>
                        <a:pt x="1322" y="1077"/>
                      </a:lnTo>
                      <a:lnTo>
                        <a:pt x="1322" y="1076"/>
                      </a:lnTo>
                      <a:lnTo>
                        <a:pt x="1321" y="1076"/>
                      </a:lnTo>
                      <a:lnTo>
                        <a:pt x="1319" y="1074"/>
                      </a:lnTo>
                      <a:lnTo>
                        <a:pt x="1319" y="1076"/>
                      </a:lnTo>
                      <a:lnTo>
                        <a:pt x="1318" y="1076"/>
                      </a:lnTo>
                      <a:lnTo>
                        <a:pt x="1317" y="1076"/>
                      </a:lnTo>
                      <a:lnTo>
                        <a:pt x="1317" y="1077"/>
                      </a:lnTo>
                      <a:lnTo>
                        <a:pt x="1317" y="1078"/>
                      </a:lnTo>
                      <a:lnTo>
                        <a:pt x="1317" y="1079"/>
                      </a:lnTo>
                      <a:lnTo>
                        <a:pt x="1316" y="1079"/>
                      </a:lnTo>
                      <a:lnTo>
                        <a:pt x="1316" y="1078"/>
                      </a:lnTo>
                      <a:lnTo>
                        <a:pt x="1315" y="1078"/>
                      </a:lnTo>
                      <a:lnTo>
                        <a:pt x="1315" y="1079"/>
                      </a:lnTo>
                      <a:lnTo>
                        <a:pt x="1315" y="1080"/>
                      </a:lnTo>
                      <a:lnTo>
                        <a:pt x="1316" y="1080"/>
                      </a:lnTo>
                      <a:lnTo>
                        <a:pt x="1318" y="1080"/>
                      </a:lnTo>
                      <a:lnTo>
                        <a:pt x="1319" y="1080"/>
                      </a:lnTo>
                      <a:lnTo>
                        <a:pt x="1321" y="1081"/>
                      </a:lnTo>
                      <a:lnTo>
                        <a:pt x="1321" y="1082"/>
                      </a:lnTo>
                      <a:lnTo>
                        <a:pt x="1319" y="1081"/>
                      </a:lnTo>
                      <a:lnTo>
                        <a:pt x="1318" y="1081"/>
                      </a:lnTo>
                      <a:lnTo>
                        <a:pt x="1317" y="1081"/>
                      </a:lnTo>
                      <a:lnTo>
                        <a:pt x="1316" y="1081"/>
                      </a:lnTo>
                      <a:lnTo>
                        <a:pt x="1316" y="1082"/>
                      </a:lnTo>
                      <a:lnTo>
                        <a:pt x="1315" y="1082"/>
                      </a:lnTo>
                      <a:lnTo>
                        <a:pt x="1314" y="1081"/>
                      </a:lnTo>
                      <a:lnTo>
                        <a:pt x="1314" y="1082"/>
                      </a:lnTo>
                      <a:lnTo>
                        <a:pt x="1314" y="1083"/>
                      </a:lnTo>
                      <a:lnTo>
                        <a:pt x="1314" y="1084"/>
                      </a:lnTo>
                      <a:lnTo>
                        <a:pt x="1313" y="1084"/>
                      </a:lnTo>
                      <a:lnTo>
                        <a:pt x="1313" y="1085"/>
                      </a:lnTo>
                      <a:lnTo>
                        <a:pt x="1312" y="1085"/>
                      </a:lnTo>
                      <a:lnTo>
                        <a:pt x="1313" y="1085"/>
                      </a:lnTo>
                      <a:lnTo>
                        <a:pt x="1313" y="1086"/>
                      </a:lnTo>
                      <a:lnTo>
                        <a:pt x="1314" y="1086"/>
                      </a:lnTo>
                      <a:lnTo>
                        <a:pt x="1314" y="1088"/>
                      </a:lnTo>
                      <a:lnTo>
                        <a:pt x="1313" y="1088"/>
                      </a:lnTo>
                      <a:lnTo>
                        <a:pt x="1313" y="1086"/>
                      </a:lnTo>
                      <a:lnTo>
                        <a:pt x="1312" y="1086"/>
                      </a:lnTo>
                      <a:lnTo>
                        <a:pt x="1312" y="1085"/>
                      </a:lnTo>
                      <a:lnTo>
                        <a:pt x="1312" y="1084"/>
                      </a:lnTo>
                      <a:lnTo>
                        <a:pt x="1312" y="1083"/>
                      </a:lnTo>
                      <a:lnTo>
                        <a:pt x="1312" y="1082"/>
                      </a:lnTo>
                      <a:lnTo>
                        <a:pt x="1313" y="1081"/>
                      </a:lnTo>
                      <a:lnTo>
                        <a:pt x="1313" y="1080"/>
                      </a:lnTo>
                      <a:lnTo>
                        <a:pt x="1313" y="1079"/>
                      </a:lnTo>
                      <a:lnTo>
                        <a:pt x="1312" y="1079"/>
                      </a:lnTo>
                      <a:lnTo>
                        <a:pt x="1312" y="1080"/>
                      </a:lnTo>
                      <a:lnTo>
                        <a:pt x="1311" y="1080"/>
                      </a:lnTo>
                      <a:lnTo>
                        <a:pt x="1311" y="1081"/>
                      </a:lnTo>
                      <a:lnTo>
                        <a:pt x="1311" y="1082"/>
                      </a:lnTo>
                      <a:lnTo>
                        <a:pt x="1310" y="1083"/>
                      </a:lnTo>
                      <a:lnTo>
                        <a:pt x="1310" y="1084"/>
                      </a:lnTo>
                      <a:lnTo>
                        <a:pt x="1310" y="1088"/>
                      </a:lnTo>
                      <a:lnTo>
                        <a:pt x="1310" y="1089"/>
                      </a:lnTo>
                      <a:lnTo>
                        <a:pt x="1310" y="1090"/>
                      </a:lnTo>
                      <a:lnTo>
                        <a:pt x="1309" y="1091"/>
                      </a:lnTo>
                      <a:lnTo>
                        <a:pt x="1309" y="1092"/>
                      </a:lnTo>
                      <a:lnTo>
                        <a:pt x="1309" y="1094"/>
                      </a:lnTo>
                      <a:lnTo>
                        <a:pt x="1309" y="1095"/>
                      </a:lnTo>
                      <a:lnTo>
                        <a:pt x="1308" y="1096"/>
                      </a:lnTo>
                      <a:lnTo>
                        <a:pt x="1308" y="1095"/>
                      </a:lnTo>
                      <a:lnTo>
                        <a:pt x="1308" y="1094"/>
                      </a:lnTo>
                      <a:lnTo>
                        <a:pt x="1306" y="1094"/>
                      </a:lnTo>
                      <a:lnTo>
                        <a:pt x="1306" y="1093"/>
                      </a:lnTo>
                      <a:lnTo>
                        <a:pt x="1308" y="1093"/>
                      </a:lnTo>
                      <a:lnTo>
                        <a:pt x="1308" y="1092"/>
                      </a:lnTo>
                      <a:lnTo>
                        <a:pt x="1309" y="1092"/>
                      </a:lnTo>
                      <a:lnTo>
                        <a:pt x="1309" y="1091"/>
                      </a:lnTo>
                      <a:lnTo>
                        <a:pt x="1308" y="1091"/>
                      </a:lnTo>
                      <a:lnTo>
                        <a:pt x="1306" y="1092"/>
                      </a:lnTo>
                      <a:lnTo>
                        <a:pt x="1305" y="1092"/>
                      </a:lnTo>
                      <a:lnTo>
                        <a:pt x="1305" y="1091"/>
                      </a:lnTo>
                      <a:lnTo>
                        <a:pt x="1306" y="1091"/>
                      </a:lnTo>
                      <a:lnTo>
                        <a:pt x="1306" y="1090"/>
                      </a:lnTo>
                      <a:lnTo>
                        <a:pt x="1308" y="1090"/>
                      </a:lnTo>
                      <a:lnTo>
                        <a:pt x="1308" y="1089"/>
                      </a:lnTo>
                      <a:lnTo>
                        <a:pt x="1309" y="1089"/>
                      </a:lnTo>
                      <a:lnTo>
                        <a:pt x="1309" y="1088"/>
                      </a:lnTo>
                      <a:lnTo>
                        <a:pt x="1309" y="1086"/>
                      </a:lnTo>
                      <a:lnTo>
                        <a:pt x="1309" y="1085"/>
                      </a:lnTo>
                      <a:lnTo>
                        <a:pt x="1310" y="1085"/>
                      </a:lnTo>
                      <a:lnTo>
                        <a:pt x="1310" y="1084"/>
                      </a:lnTo>
                      <a:lnTo>
                        <a:pt x="1310" y="1083"/>
                      </a:lnTo>
                      <a:lnTo>
                        <a:pt x="1310" y="1082"/>
                      </a:lnTo>
                      <a:lnTo>
                        <a:pt x="1311" y="1081"/>
                      </a:lnTo>
                      <a:lnTo>
                        <a:pt x="1311" y="1080"/>
                      </a:lnTo>
                      <a:lnTo>
                        <a:pt x="1311" y="1079"/>
                      </a:lnTo>
                      <a:lnTo>
                        <a:pt x="1312" y="1079"/>
                      </a:lnTo>
                      <a:lnTo>
                        <a:pt x="1312" y="1078"/>
                      </a:lnTo>
                      <a:lnTo>
                        <a:pt x="1312" y="1077"/>
                      </a:lnTo>
                      <a:lnTo>
                        <a:pt x="1312" y="1076"/>
                      </a:lnTo>
                      <a:lnTo>
                        <a:pt x="1313" y="1074"/>
                      </a:lnTo>
                      <a:lnTo>
                        <a:pt x="1313" y="1073"/>
                      </a:lnTo>
                      <a:lnTo>
                        <a:pt x="1312" y="1072"/>
                      </a:lnTo>
                      <a:lnTo>
                        <a:pt x="1312" y="1071"/>
                      </a:lnTo>
                      <a:lnTo>
                        <a:pt x="1312" y="1070"/>
                      </a:lnTo>
                      <a:lnTo>
                        <a:pt x="1311" y="1069"/>
                      </a:lnTo>
                      <a:lnTo>
                        <a:pt x="1311" y="1068"/>
                      </a:lnTo>
                      <a:lnTo>
                        <a:pt x="1310" y="1068"/>
                      </a:lnTo>
                      <a:lnTo>
                        <a:pt x="1310" y="1069"/>
                      </a:lnTo>
                      <a:lnTo>
                        <a:pt x="1309" y="1069"/>
                      </a:lnTo>
                      <a:lnTo>
                        <a:pt x="1308" y="1069"/>
                      </a:lnTo>
                      <a:lnTo>
                        <a:pt x="1308" y="1070"/>
                      </a:lnTo>
                      <a:lnTo>
                        <a:pt x="1306" y="1070"/>
                      </a:lnTo>
                      <a:lnTo>
                        <a:pt x="1308" y="1069"/>
                      </a:lnTo>
                      <a:lnTo>
                        <a:pt x="1309" y="1068"/>
                      </a:lnTo>
                      <a:lnTo>
                        <a:pt x="1310" y="1068"/>
                      </a:lnTo>
                      <a:lnTo>
                        <a:pt x="1310" y="1067"/>
                      </a:lnTo>
                      <a:lnTo>
                        <a:pt x="1311" y="1067"/>
                      </a:lnTo>
                      <a:lnTo>
                        <a:pt x="1311" y="1066"/>
                      </a:lnTo>
                      <a:lnTo>
                        <a:pt x="1311" y="1065"/>
                      </a:lnTo>
                      <a:lnTo>
                        <a:pt x="1310" y="1065"/>
                      </a:lnTo>
                      <a:lnTo>
                        <a:pt x="1311" y="1065"/>
                      </a:lnTo>
                      <a:lnTo>
                        <a:pt x="1310" y="1064"/>
                      </a:lnTo>
                      <a:lnTo>
                        <a:pt x="1311" y="1064"/>
                      </a:lnTo>
                      <a:lnTo>
                        <a:pt x="1310" y="1064"/>
                      </a:lnTo>
                      <a:lnTo>
                        <a:pt x="1310" y="1063"/>
                      </a:lnTo>
                      <a:lnTo>
                        <a:pt x="1311" y="1063"/>
                      </a:lnTo>
                      <a:lnTo>
                        <a:pt x="1310" y="1061"/>
                      </a:lnTo>
                      <a:lnTo>
                        <a:pt x="1311" y="1061"/>
                      </a:lnTo>
                      <a:lnTo>
                        <a:pt x="1311" y="1060"/>
                      </a:lnTo>
                      <a:lnTo>
                        <a:pt x="1311" y="1059"/>
                      </a:lnTo>
                      <a:lnTo>
                        <a:pt x="1311" y="1058"/>
                      </a:lnTo>
                      <a:lnTo>
                        <a:pt x="1312" y="1057"/>
                      </a:lnTo>
                      <a:lnTo>
                        <a:pt x="1312" y="1056"/>
                      </a:lnTo>
                      <a:lnTo>
                        <a:pt x="1312" y="1055"/>
                      </a:lnTo>
                      <a:lnTo>
                        <a:pt x="1312" y="1054"/>
                      </a:lnTo>
                      <a:lnTo>
                        <a:pt x="1312" y="1053"/>
                      </a:lnTo>
                      <a:lnTo>
                        <a:pt x="1311" y="1052"/>
                      </a:lnTo>
                      <a:lnTo>
                        <a:pt x="1311" y="1051"/>
                      </a:lnTo>
                      <a:lnTo>
                        <a:pt x="1311" y="1050"/>
                      </a:lnTo>
                      <a:lnTo>
                        <a:pt x="1311" y="1048"/>
                      </a:lnTo>
                      <a:lnTo>
                        <a:pt x="1310" y="1047"/>
                      </a:lnTo>
                      <a:lnTo>
                        <a:pt x="1310" y="1048"/>
                      </a:lnTo>
                      <a:lnTo>
                        <a:pt x="1309" y="1048"/>
                      </a:lnTo>
                      <a:lnTo>
                        <a:pt x="1309" y="1050"/>
                      </a:lnTo>
                      <a:lnTo>
                        <a:pt x="1309" y="1048"/>
                      </a:lnTo>
                      <a:lnTo>
                        <a:pt x="1309" y="1047"/>
                      </a:lnTo>
                      <a:lnTo>
                        <a:pt x="1310" y="1048"/>
                      </a:lnTo>
                      <a:lnTo>
                        <a:pt x="1310" y="1047"/>
                      </a:lnTo>
                      <a:lnTo>
                        <a:pt x="1309" y="1047"/>
                      </a:lnTo>
                      <a:lnTo>
                        <a:pt x="1309" y="1046"/>
                      </a:lnTo>
                      <a:lnTo>
                        <a:pt x="1309" y="1045"/>
                      </a:lnTo>
                      <a:lnTo>
                        <a:pt x="1308" y="1045"/>
                      </a:lnTo>
                      <a:lnTo>
                        <a:pt x="1308" y="1046"/>
                      </a:lnTo>
                      <a:lnTo>
                        <a:pt x="1308" y="1045"/>
                      </a:lnTo>
                      <a:lnTo>
                        <a:pt x="1308" y="1044"/>
                      </a:lnTo>
                      <a:lnTo>
                        <a:pt x="1308" y="1043"/>
                      </a:lnTo>
                      <a:lnTo>
                        <a:pt x="1309" y="1043"/>
                      </a:lnTo>
                      <a:lnTo>
                        <a:pt x="1308" y="1043"/>
                      </a:lnTo>
                      <a:lnTo>
                        <a:pt x="1308" y="1042"/>
                      </a:lnTo>
                      <a:lnTo>
                        <a:pt x="1308" y="1043"/>
                      </a:lnTo>
                      <a:lnTo>
                        <a:pt x="1308" y="1042"/>
                      </a:lnTo>
                      <a:lnTo>
                        <a:pt x="1308" y="1041"/>
                      </a:lnTo>
                      <a:lnTo>
                        <a:pt x="1309" y="1041"/>
                      </a:lnTo>
                      <a:lnTo>
                        <a:pt x="1309" y="1040"/>
                      </a:lnTo>
                      <a:lnTo>
                        <a:pt x="1309" y="1039"/>
                      </a:lnTo>
                      <a:lnTo>
                        <a:pt x="1309" y="1040"/>
                      </a:lnTo>
                      <a:lnTo>
                        <a:pt x="1308" y="1040"/>
                      </a:lnTo>
                      <a:lnTo>
                        <a:pt x="1308" y="1039"/>
                      </a:lnTo>
                      <a:lnTo>
                        <a:pt x="1306" y="1039"/>
                      </a:lnTo>
                      <a:lnTo>
                        <a:pt x="1306" y="1040"/>
                      </a:lnTo>
                      <a:lnTo>
                        <a:pt x="1306" y="1041"/>
                      </a:lnTo>
                      <a:lnTo>
                        <a:pt x="1305" y="1040"/>
                      </a:lnTo>
                      <a:lnTo>
                        <a:pt x="1306" y="1041"/>
                      </a:lnTo>
                      <a:lnTo>
                        <a:pt x="1305" y="1041"/>
                      </a:lnTo>
                      <a:lnTo>
                        <a:pt x="1306" y="1042"/>
                      </a:lnTo>
                      <a:lnTo>
                        <a:pt x="1306" y="1043"/>
                      </a:lnTo>
                      <a:lnTo>
                        <a:pt x="1306" y="1044"/>
                      </a:lnTo>
                      <a:lnTo>
                        <a:pt x="1306" y="1045"/>
                      </a:lnTo>
                      <a:lnTo>
                        <a:pt x="1305" y="1045"/>
                      </a:lnTo>
                      <a:lnTo>
                        <a:pt x="1305" y="1046"/>
                      </a:lnTo>
                      <a:lnTo>
                        <a:pt x="1305" y="1047"/>
                      </a:lnTo>
                      <a:lnTo>
                        <a:pt x="1304" y="1048"/>
                      </a:lnTo>
                      <a:lnTo>
                        <a:pt x="1305" y="1048"/>
                      </a:lnTo>
                      <a:lnTo>
                        <a:pt x="1305" y="1047"/>
                      </a:lnTo>
                      <a:lnTo>
                        <a:pt x="1306" y="1047"/>
                      </a:lnTo>
                      <a:lnTo>
                        <a:pt x="1308" y="1047"/>
                      </a:lnTo>
                      <a:lnTo>
                        <a:pt x="1308" y="1048"/>
                      </a:lnTo>
                      <a:lnTo>
                        <a:pt x="1308" y="1050"/>
                      </a:lnTo>
                      <a:lnTo>
                        <a:pt x="1309" y="1050"/>
                      </a:lnTo>
                      <a:lnTo>
                        <a:pt x="1309" y="1051"/>
                      </a:lnTo>
                      <a:lnTo>
                        <a:pt x="1310" y="1051"/>
                      </a:lnTo>
                      <a:lnTo>
                        <a:pt x="1310" y="1052"/>
                      </a:lnTo>
                      <a:lnTo>
                        <a:pt x="1311" y="1052"/>
                      </a:lnTo>
                      <a:lnTo>
                        <a:pt x="1311" y="1053"/>
                      </a:lnTo>
                      <a:lnTo>
                        <a:pt x="1311" y="1054"/>
                      </a:lnTo>
                      <a:lnTo>
                        <a:pt x="1310" y="1053"/>
                      </a:lnTo>
                      <a:lnTo>
                        <a:pt x="1310" y="1054"/>
                      </a:lnTo>
                      <a:lnTo>
                        <a:pt x="1311" y="1054"/>
                      </a:lnTo>
                      <a:lnTo>
                        <a:pt x="1311" y="1055"/>
                      </a:lnTo>
                      <a:lnTo>
                        <a:pt x="1310" y="1055"/>
                      </a:lnTo>
                      <a:lnTo>
                        <a:pt x="1311" y="1056"/>
                      </a:lnTo>
                      <a:lnTo>
                        <a:pt x="1310" y="1056"/>
                      </a:lnTo>
                      <a:lnTo>
                        <a:pt x="1310" y="1057"/>
                      </a:lnTo>
                      <a:lnTo>
                        <a:pt x="1309" y="1057"/>
                      </a:lnTo>
                      <a:lnTo>
                        <a:pt x="1309" y="1058"/>
                      </a:lnTo>
                      <a:lnTo>
                        <a:pt x="1309" y="1059"/>
                      </a:lnTo>
                      <a:lnTo>
                        <a:pt x="1308" y="1059"/>
                      </a:lnTo>
                      <a:lnTo>
                        <a:pt x="1309" y="1059"/>
                      </a:lnTo>
                      <a:lnTo>
                        <a:pt x="1308" y="1060"/>
                      </a:lnTo>
                      <a:lnTo>
                        <a:pt x="1308" y="1061"/>
                      </a:lnTo>
                      <a:lnTo>
                        <a:pt x="1309" y="1063"/>
                      </a:lnTo>
                      <a:lnTo>
                        <a:pt x="1309" y="1064"/>
                      </a:lnTo>
                      <a:lnTo>
                        <a:pt x="1308" y="1064"/>
                      </a:lnTo>
                      <a:lnTo>
                        <a:pt x="1308" y="1065"/>
                      </a:lnTo>
                      <a:lnTo>
                        <a:pt x="1306" y="1065"/>
                      </a:lnTo>
                      <a:lnTo>
                        <a:pt x="1306" y="1066"/>
                      </a:lnTo>
                      <a:lnTo>
                        <a:pt x="1306" y="1067"/>
                      </a:lnTo>
                      <a:lnTo>
                        <a:pt x="1305" y="1068"/>
                      </a:lnTo>
                      <a:lnTo>
                        <a:pt x="1304" y="1067"/>
                      </a:lnTo>
                      <a:lnTo>
                        <a:pt x="1305" y="1067"/>
                      </a:lnTo>
                      <a:lnTo>
                        <a:pt x="1305" y="1066"/>
                      </a:lnTo>
                      <a:lnTo>
                        <a:pt x="1306" y="1065"/>
                      </a:lnTo>
                      <a:lnTo>
                        <a:pt x="1305" y="1065"/>
                      </a:lnTo>
                      <a:lnTo>
                        <a:pt x="1305" y="1064"/>
                      </a:lnTo>
                      <a:lnTo>
                        <a:pt x="1305" y="1063"/>
                      </a:lnTo>
                      <a:lnTo>
                        <a:pt x="1304" y="1063"/>
                      </a:lnTo>
                      <a:lnTo>
                        <a:pt x="1304" y="1061"/>
                      </a:lnTo>
                      <a:lnTo>
                        <a:pt x="1305" y="1061"/>
                      </a:lnTo>
                      <a:lnTo>
                        <a:pt x="1305" y="1060"/>
                      </a:lnTo>
                      <a:lnTo>
                        <a:pt x="1305" y="1059"/>
                      </a:lnTo>
                      <a:lnTo>
                        <a:pt x="1305" y="1060"/>
                      </a:lnTo>
                      <a:lnTo>
                        <a:pt x="1305" y="1059"/>
                      </a:lnTo>
                      <a:lnTo>
                        <a:pt x="1305" y="1058"/>
                      </a:lnTo>
                      <a:lnTo>
                        <a:pt x="1306" y="1058"/>
                      </a:lnTo>
                      <a:lnTo>
                        <a:pt x="1306" y="1057"/>
                      </a:lnTo>
                      <a:lnTo>
                        <a:pt x="1306" y="1056"/>
                      </a:lnTo>
                      <a:lnTo>
                        <a:pt x="1308" y="1056"/>
                      </a:lnTo>
                      <a:lnTo>
                        <a:pt x="1306" y="1056"/>
                      </a:lnTo>
                      <a:lnTo>
                        <a:pt x="1306" y="1055"/>
                      </a:lnTo>
                      <a:lnTo>
                        <a:pt x="1308" y="1055"/>
                      </a:lnTo>
                      <a:lnTo>
                        <a:pt x="1306" y="1055"/>
                      </a:lnTo>
                      <a:lnTo>
                        <a:pt x="1305" y="1056"/>
                      </a:lnTo>
                      <a:lnTo>
                        <a:pt x="1305" y="1057"/>
                      </a:lnTo>
                      <a:lnTo>
                        <a:pt x="1304" y="1058"/>
                      </a:lnTo>
                      <a:lnTo>
                        <a:pt x="1304" y="1057"/>
                      </a:lnTo>
                      <a:lnTo>
                        <a:pt x="1305" y="1057"/>
                      </a:lnTo>
                      <a:lnTo>
                        <a:pt x="1305" y="1056"/>
                      </a:lnTo>
                      <a:lnTo>
                        <a:pt x="1305" y="1055"/>
                      </a:lnTo>
                      <a:lnTo>
                        <a:pt x="1304" y="1055"/>
                      </a:lnTo>
                      <a:lnTo>
                        <a:pt x="1305" y="1055"/>
                      </a:lnTo>
                      <a:lnTo>
                        <a:pt x="1305" y="1054"/>
                      </a:lnTo>
                      <a:lnTo>
                        <a:pt x="1305" y="1053"/>
                      </a:lnTo>
                      <a:lnTo>
                        <a:pt x="1305" y="1054"/>
                      </a:lnTo>
                      <a:lnTo>
                        <a:pt x="1304" y="1054"/>
                      </a:lnTo>
                      <a:lnTo>
                        <a:pt x="1304" y="1053"/>
                      </a:lnTo>
                      <a:lnTo>
                        <a:pt x="1305" y="1053"/>
                      </a:lnTo>
                      <a:lnTo>
                        <a:pt x="1305" y="1052"/>
                      </a:lnTo>
                      <a:lnTo>
                        <a:pt x="1305" y="1053"/>
                      </a:lnTo>
                      <a:lnTo>
                        <a:pt x="1304" y="1052"/>
                      </a:lnTo>
                      <a:lnTo>
                        <a:pt x="1304" y="1053"/>
                      </a:lnTo>
                      <a:lnTo>
                        <a:pt x="1303" y="1053"/>
                      </a:lnTo>
                      <a:lnTo>
                        <a:pt x="1302" y="1053"/>
                      </a:lnTo>
                      <a:lnTo>
                        <a:pt x="1302" y="1054"/>
                      </a:lnTo>
                      <a:lnTo>
                        <a:pt x="1302" y="1055"/>
                      </a:lnTo>
                      <a:lnTo>
                        <a:pt x="1301" y="1055"/>
                      </a:lnTo>
                      <a:lnTo>
                        <a:pt x="1300" y="1055"/>
                      </a:lnTo>
                      <a:lnTo>
                        <a:pt x="1300" y="1054"/>
                      </a:lnTo>
                      <a:lnTo>
                        <a:pt x="1300" y="1053"/>
                      </a:lnTo>
                      <a:lnTo>
                        <a:pt x="1301" y="1053"/>
                      </a:lnTo>
                      <a:lnTo>
                        <a:pt x="1302" y="1053"/>
                      </a:lnTo>
                      <a:lnTo>
                        <a:pt x="1302" y="1052"/>
                      </a:lnTo>
                      <a:lnTo>
                        <a:pt x="1302" y="1051"/>
                      </a:lnTo>
                      <a:lnTo>
                        <a:pt x="1301" y="1051"/>
                      </a:lnTo>
                      <a:lnTo>
                        <a:pt x="1300" y="1051"/>
                      </a:lnTo>
                      <a:lnTo>
                        <a:pt x="1300" y="1052"/>
                      </a:lnTo>
                      <a:lnTo>
                        <a:pt x="1299" y="1052"/>
                      </a:lnTo>
                      <a:lnTo>
                        <a:pt x="1298" y="1052"/>
                      </a:lnTo>
                      <a:lnTo>
                        <a:pt x="1297" y="1052"/>
                      </a:lnTo>
                      <a:lnTo>
                        <a:pt x="1296" y="1052"/>
                      </a:lnTo>
                      <a:lnTo>
                        <a:pt x="1296" y="1053"/>
                      </a:lnTo>
                      <a:lnTo>
                        <a:pt x="1296" y="1054"/>
                      </a:lnTo>
                      <a:lnTo>
                        <a:pt x="1296" y="1055"/>
                      </a:lnTo>
                      <a:lnTo>
                        <a:pt x="1297" y="1055"/>
                      </a:lnTo>
                      <a:lnTo>
                        <a:pt x="1297" y="1054"/>
                      </a:lnTo>
                      <a:lnTo>
                        <a:pt x="1298" y="1054"/>
                      </a:lnTo>
                      <a:lnTo>
                        <a:pt x="1298" y="1055"/>
                      </a:lnTo>
                      <a:lnTo>
                        <a:pt x="1297" y="1055"/>
                      </a:lnTo>
                      <a:lnTo>
                        <a:pt x="1298" y="1056"/>
                      </a:lnTo>
                      <a:lnTo>
                        <a:pt x="1297" y="1056"/>
                      </a:lnTo>
                      <a:lnTo>
                        <a:pt x="1297" y="1057"/>
                      </a:lnTo>
                      <a:lnTo>
                        <a:pt x="1296" y="1057"/>
                      </a:lnTo>
                      <a:lnTo>
                        <a:pt x="1297" y="1058"/>
                      </a:lnTo>
                      <a:lnTo>
                        <a:pt x="1297" y="1059"/>
                      </a:lnTo>
                      <a:lnTo>
                        <a:pt x="1297" y="1060"/>
                      </a:lnTo>
                      <a:lnTo>
                        <a:pt x="1297" y="1061"/>
                      </a:lnTo>
                      <a:lnTo>
                        <a:pt x="1297" y="1063"/>
                      </a:lnTo>
                      <a:lnTo>
                        <a:pt x="1297" y="1064"/>
                      </a:lnTo>
                      <a:lnTo>
                        <a:pt x="1297" y="1065"/>
                      </a:lnTo>
                      <a:lnTo>
                        <a:pt x="1297" y="1066"/>
                      </a:lnTo>
                      <a:lnTo>
                        <a:pt x="1297" y="1065"/>
                      </a:lnTo>
                      <a:lnTo>
                        <a:pt x="1297" y="1064"/>
                      </a:lnTo>
                      <a:lnTo>
                        <a:pt x="1296" y="1063"/>
                      </a:lnTo>
                      <a:lnTo>
                        <a:pt x="1296" y="1061"/>
                      </a:lnTo>
                      <a:lnTo>
                        <a:pt x="1296" y="1060"/>
                      </a:lnTo>
                      <a:lnTo>
                        <a:pt x="1296" y="1061"/>
                      </a:lnTo>
                      <a:lnTo>
                        <a:pt x="1296" y="1060"/>
                      </a:lnTo>
                      <a:lnTo>
                        <a:pt x="1296" y="1061"/>
                      </a:lnTo>
                      <a:lnTo>
                        <a:pt x="1296" y="1063"/>
                      </a:lnTo>
                      <a:lnTo>
                        <a:pt x="1295" y="1063"/>
                      </a:lnTo>
                      <a:lnTo>
                        <a:pt x="1295" y="1064"/>
                      </a:lnTo>
                      <a:lnTo>
                        <a:pt x="1295" y="1063"/>
                      </a:lnTo>
                      <a:lnTo>
                        <a:pt x="1293" y="1063"/>
                      </a:lnTo>
                      <a:lnTo>
                        <a:pt x="1293" y="1061"/>
                      </a:lnTo>
                      <a:lnTo>
                        <a:pt x="1295" y="1061"/>
                      </a:lnTo>
                      <a:lnTo>
                        <a:pt x="1295" y="1060"/>
                      </a:lnTo>
                      <a:lnTo>
                        <a:pt x="1295" y="1059"/>
                      </a:lnTo>
                      <a:lnTo>
                        <a:pt x="1296" y="1059"/>
                      </a:lnTo>
                      <a:lnTo>
                        <a:pt x="1296" y="1058"/>
                      </a:lnTo>
                      <a:lnTo>
                        <a:pt x="1296" y="1059"/>
                      </a:lnTo>
                      <a:lnTo>
                        <a:pt x="1296" y="1058"/>
                      </a:lnTo>
                      <a:lnTo>
                        <a:pt x="1295" y="1058"/>
                      </a:lnTo>
                      <a:lnTo>
                        <a:pt x="1295" y="1057"/>
                      </a:lnTo>
                      <a:lnTo>
                        <a:pt x="1295" y="1056"/>
                      </a:lnTo>
                      <a:lnTo>
                        <a:pt x="1295" y="1055"/>
                      </a:lnTo>
                      <a:lnTo>
                        <a:pt x="1296" y="1055"/>
                      </a:lnTo>
                      <a:lnTo>
                        <a:pt x="1295" y="1055"/>
                      </a:lnTo>
                      <a:lnTo>
                        <a:pt x="1295" y="1054"/>
                      </a:lnTo>
                      <a:lnTo>
                        <a:pt x="1295" y="1055"/>
                      </a:lnTo>
                      <a:lnTo>
                        <a:pt x="1295" y="1054"/>
                      </a:lnTo>
                      <a:lnTo>
                        <a:pt x="1295" y="1055"/>
                      </a:lnTo>
                      <a:lnTo>
                        <a:pt x="1295" y="1056"/>
                      </a:lnTo>
                      <a:lnTo>
                        <a:pt x="1293" y="1056"/>
                      </a:lnTo>
                      <a:lnTo>
                        <a:pt x="1293" y="1055"/>
                      </a:lnTo>
                      <a:lnTo>
                        <a:pt x="1292" y="1056"/>
                      </a:lnTo>
                      <a:lnTo>
                        <a:pt x="1292" y="1057"/>
                      </a:lnTo>
                      <a:lnTo>
                        <a:pt x="1292" y="1058"/>
                      </a:lnTo>
                      <a:lnTo>
                        <a:pt x="1293" y="1058"/>
                      </a:lnTo>
                      <a:lnTo>
                        <a:pt x="1292" y="1058"/>
                      </a:lnTo>
                      <a:lnTo>
                        <a:pt x="1291" y="1058"/>
                      </a:lnTo>
                      <a:lnTo>
                        <a:pt x="1290" y="1058"/>
                      </a:lnTo>
                      <a:lnTo>
                        <a:pt x="1290" y="1057"/>
                      </a:lnTo>
                      <a:lnTo>
                        <a:pt x="1289" y="1056"/>
                      </a:lnTo>
                      <a:lnTo>
                        <a:pt x="1288" y="1055"/>
                      </a:lnTo>
                      <a:lnTo>
                        <a:pt x="1287" y="1055"/>
                      </a:lnTo>
                      <a:lnTo>
                        <a:pt x="1286" y="1055"/>
                      </a:lnTo>
                      <a:lnTo>
                        <a:pt x="1286" y="1056"/>
                      </a:lnTo>
                      <a:lnTo>
                        <a:pt x="1285" y="1056"/>
                      </a:lnTo>
                      <a:lnTo>
                        <a:pt x="1285" y="1057"/>
                      </a:lnTo>
                      <a:lnTo>
                        <a:pt x="1285" y="1058"/>
                      </a:lnTo>
                      <a:lnTo>
                        <a:pt x="1285" y="1059"/>
                      </a:lnTo>
                      <a:lnTo>
                        <a:pt x="1285" y="1060"/>
                      </a:lnTo>
                      <a:lnTo>
                        <a:pt x="1284" y="1060"/>
                      </a:lnTo>
                      <a:lnTo>
                        <a:pt x="1285" y="1061"/>
                      </a:lnTo>
                      <a:lnTo>
                        <a:pt x="1285" y="1063"/>
                      </a:lnTo>
                      <a:lnTo>
                        <a:pt x="1286" y="1063"/>
                      </a:lnTo>
                      <a:lnTo>
                        <a:pt x="1286" y="1064"/>
                      </a:lnTo>
                      <a:lnTo>
                        <a:pt x="1286" y="1065"/>
                      </a:lnTo>
                      <a:lnTo>
                        <a:pt x="1286" y="1066"/>
                      </a:lnTo>
                      <a:lnTo>
                        <a:pt x="1285" y="1066"/>
                      </a:lnTo>
                      <a:lnTo>
                        <a:pt x="1284" y="1066"/>
                      </a:lnTo>
                      <a:lnTo>
                        <a:pt x="1284" y="1067"/>
                      </a:lnTo>
                      <a:lnTo>
                        <a:pt x="1283" y="1068"/>
                      </a:lnTo>
                      <a:lnTo>
                        <a:pt x="1283" y="1069"/>
                      </a:lnTo>
                      <a:lnTo>
                        <a:pt x="1283" y="1070"/>
                      </a:lnTo>
                      <a:lnTo>
                        <a:pt x="1283" y="1071"/>
                      </a:lnTo>
                      <a:lnTo>
                        <a:pt x="1282" y="1071"/>
                      </a:lnTo>
                      <a:lnTo>
                        <a:pt x="1282" y="1072"/>
                      </a:lnTo>
                      <a:lnTo>
                        <a:pt x="1280" y="1072"/>
                      </a:lnTo>
                      <a:lnTo>
                        <a:pt x="1278" y="1072"/>
                      </a:lnTo>
                      <a:lnTo>
                        <a:pt x="1277" y="1072"/>
                      </a:lnTo>
                      <a:lnTo>
                        <a:pt x="1276" y="1073"/>
                      </a:lnTo>
                      <a:lnTo>
                        <a:pt x="1275" y="1073"/>
                      </a:lnTo>
                      <a:lnTo>
                        <a:pt x="1275" y="1074"/>
                      </a:lnTo>
                      <a:lnTo>
                        <a:pt x="1276" y="1074"/>
                      </a:lnTo>
                      <a:lnTo>
                        <a:pt x="1277" y="1074"/>
                      </a:lnTo>
                      <a:lnTo>
                        <a:pt x="1277" y="1076"/>
                      </a:lnTo>
                      <a:lnTo>
                        <a:pt x="1277" y="1077"/>
                      </a:lnTo>
                      <a:lnTo>
                        <a:pt x="1276" y="1077"/>
                      </a:lnTo>
                      <a:lnTo>
                        <a:pt x="1276" y="1078"/>
                      </a:lnTo>
                      <a:lnTo>
                        <a:pt x="1275" y="1078"/>
                      </a:lnTo>
                      <a:lnTo>
                        <a:pt x="1275" y="1079"/>
                      </a:lnTo>
                      <a:lnTo>
                        <a:pt x="1274" y="1079"/>
                      </a:lnTo>
                      <a:lnTo>
                        <a:pt x="1274" y="1080"/>
                      </a:lnTo>
                      <a:lnTo>
                        <a:pt x="1273" y="1080"/>
                      </a:lnTo>
                      <a:lnTo>
                        <a:pt x="1273" y="1081"/>
                      </a:lnTo>
                      <a:lnTo>
                        <a:pt x="1273" y="1082"/>
                      </a:lnTo>
                      <a:lnTo>
                        <a:pt x="1272" y="1083"/>
                      </a:lnTo>
                      <a:lnTo>
                        <a:pt x="1271" y="1085"/>
                      </a:lnTo>
                      <a:lnTo>
                        <a:pt x="1270" y="1085"/>
                      </a:lnTo>
                      <a:lnTo>
                        <a:pt x="1270" y="1086"/>
                      </a:lnTo>
                      <a:lnTo>
                        <a:pt x="1270" y="1088"/>
                      </a:lnTo>
                      <a:lnTo>
                        <a:pt x="1270" y="1086"/>
                      </a:lnTo>
                      <a:lnTo>
                        <a:pt x="1270" y="1085"/>
                      </a:lnTo>
                      <a:lnTo>
                        <a:pt x="1270" y="1083"/>
                      </a:lnTo>
                      <a:lnTo>
                        <a:pt x="1270" y="1082"/>
                      </a:lnTo>
                      <a:lnTo>
                        <a:pt x="1268" y="1082"/>
                      </a:lnTo>
                      <a:lnTo>
                        <a:pt x="1268" y="1083"/>
                      </a:lnTo>
                      <a:lnTo>
                        <a:pt x="1267" y="1083"/>
                      </a:lnTo>
                      <a:lnTo>
                        <a:pt x="1267" y="1082"/>
                      </a:lnTo>
                      <a:lnTo>
                        <a:pt x="1266" y="1081"/>
                      </a:lnTo>
                      <a:lnTo>
                        <a:pt x="1265" y="1080"/>
                      </a:lnTo>
                      <a:lnTo>
                        <a:pt x="1265" y="1081"/>
                      </a:lnTo>
                      <a:lnTo>
                        <a:pt x="1264" y="1082"/>
                      </a:lnTo>
                      <a:lnTo>
                        <a:pt x="1264" y="1083"/>
                      </a:lnTo>
                      <a:lnTo>
                        <a:pt x="1263" y="1083"/>
                      </a:lnTo>
                      <a:lnTo>
                        <a:pt x="1262" y="1083"/>
                      </a:lnTo>
                      <a:lnTo>
                        <a:pt x="1262" y="1082"/>
                      </a:lnTo>
                      <a:lnTo>
                        <a:pt x="1262" y="1081"/>
                      </a:lnTo>
                      <a:lnTo>
                        <a:pt x="1262" y="1080"/>
                      </a:lnTo>
                      <a:lnTo>
                        <a:pt x="1262" y="1079"/>
                      </a:lnTo>
                      <a:lnTo>
                        <a:pt x="1262" y="1078"/>
                      </a:lnTo>
                      <a:lnTo>
                        <a:pt x="1262" y="1077"/>
                      </a:lnTo>
                      <a:lnTo>
                        <a:pt x="1262" y="1076"/>
                      </a:lnTo>
                      <a:lnTo>
                        <a:pt x="1262" y="1074"/>
                      </a:lnTo>
                      <a:lnTo>
                        <a:pt x="1262" y="1073"/>
                      </a:lnTo>
                      <a:lnTo>
                        <a:pt x="1261" y="1073"/>
                      </a:lnTo>
                      <a:lnTo>
                        <a:pt x="1260" y="1073"/>
                      </a:lnTo>
                      <a:lnTo>
                        <a:pt x="1260" y="1074"/>
                      </a:lnTo>
                      <a:lnTo>
                        <a:pt x="1260" y="1073"/>
                      </a:lnTo>
                      <a:lnTo>
                        <a:pt x="1259" y="1072"/>
                      </a:lnTo>
                      <a:lnTo>
                        <a:pt x="1258" y="1072"/>
                      </a:lnTo>
                      <a:lnTo>
                        <a:pt x="1257" y="1072"/>
                      </a:lnTo>
                      <a:lnTo>
                        <a:pt x="1257" y="1073"/>
                      </a:lnTo>
                      <a:lnTo>
                        <a:pt x="1257" y="1074"/>
                      </a:lnTo>
                      <a:lnTo>
                        <a:pt x="1257" y="1076"/>
                      </a:lnTo>
                      <a:lnTo>
                        <a:pt x="1255" y="1076"/>
                      </a:lnTo>
                      <a:lnTo>
                        <a:pt x="1254" y="1077"/>
                      </a:lnTo>
                      <a:lnTo>
                        <a:pt x="1252" y="1077"/>
                      </a:lnTo>
                      <a:lnTo>
                        <a:pt x="1251" y="1077"/>
                      </a:lnTo>
                      <a:lnTo>
                        <a:pt x="1250" y="1078"/>
                      </a:lnTo>
                      <a:lnTo>
                        <a:pt x="1249" y="1078"/>
                      </a:lnTo>
                      <a:lnTo>
                        <a:pt x="1249" y="1079"/>
                      </a:lnTo>
                      <a:lnTo>
                        <a:pt x="1249" y="1080"/>
                      </a:lnTo>
                      <a:lnTo>
                        <a:pt x="1250" y="1080"/>
                      </a:lnTo>
                      <a:lnTo>
                        <a:pt x="1251" y="1080"/>
                      </a:lnTo>
                      <a:lnTo>
                        <a:pt x="1252" y="1079"/>
                      </a:lnTo>
                      <a:lnTo>
                        <a:pt x="1253" y="1079"/>
                      </a:lnTo>
                      <a:lnTo>
                        <a:pt x="1254" y="1079"/>
                      </a:lnTo>
                      <a:lnTo>
                        <a:pt x="1255" y="1079"/>
                      </a:lnTo>
                      <a:lnTo>
                        <a:pt x="1257" y="1079"/>
                      </a:lnTo>
                      <a:lnTo>
                        <a:pt x="1257" y="1080"/>
                      </a:lnTo>
                      <a:lnTo>
                        <a:pt x="1254" y="1081"/>
                      </a:lnTo>
                      <a:lnTo>
                        <a:pt x="1253" y="1081"/>
                      </a:lnTo>
                      <a:lnTo>
                        <a:pt x="1252" y="1081"/>
                      </a:lnTo>
                      <a:lnTo>
                        <a:pt x="1251" y="1081"/>
                      </a:lnTo>
                      <a:lnTo>
                        <a:pt x="1250" y="1081"/>
                      </a:lnTo>
                      <a:lnTo>
                        <a:pt x="1249" y="1081"/>
                      </a:lnTo>
                      <a:lnTo>
                        <a:pt x="1248" y="1081"/>
                      </a:lnTo>
                      <a:lnTo>
                        <a:pt x="1248" y="1082"/>
                      </a:lnTo>
                      <a:lnTo>
                        <a:pt x="1248" y="1083"/>
                      </a:lnTo>
                      <a:lnTo>
                        <a:pt x="1248" y="1084"/>
                      </a:lnTo>
                      <a:lnTo>
                        <a:pt x="1247" y="1084"/>
                      </a:lnTo>
                      <a:lnTo>
                        <a:pt x="1246" y="1083"/>
                      </a:lnTo>
                      <a:lnTo>
                        <a:pt x="1245" y="1081"/>
                      </a:lnTo>
                      <a:lnTo>
                        <a:pt x="1245" y="1080"/>
                      </a:lnTo>
                      <a:lnTo>
                        <a:pt x="1246" y="1080"/>
                      </a:lnTo>
                      <a:lnTo>
                        <a:pt x="1245" y="1079"/>
                      </a:lnTo>
                      <a:lnTo>
                        <a:pt x="1242" y="1078"/>
                      </a:lnTo>
                      <a:lnTo>
                        <a:pt x="1241" y="1076"/>
                      </a:lnTo>
                      <a:lnTo>
                        <a:pt x="1239" y="1072"/>
                      </a:lnTo>
                      <a:lnTo>
                        <a:pt x="1238" y="1072"/>
                      </a:lnTo>
                      <a:lnTo>
                        <a:pt x="1237" y="1071"/>
                      </a:lnTo>
                      <a:lnTo>
                        <a:pt x="1237" y="1070"/>
                      </a:lnTo>
                      <a:lnTo>
                        <a:pt x="1236" y="1069"/>
                      </a:lnTo>
                      <a:lnTo>
                        <a:pt x="1235" y="1067"/>
                      </a:lnTo>
                      <a:lnTo>
                        <a:pt x="1235" y="1066"/>
                      </a:lnTo>
                      <a:lnTo>
                        <a:pt x="1234" y="1065"/>
                      </a:lnTo>
                      <a:lnTo>
                        <a:pt x="1232" y="1063"/>
                      </a:lnTo>
                      <a:lnTo>
                        <a:pt x="1231" y="1060"/>
                      </a:lnTo>
                      <a:lnTo>
                        <a:pt x="1229" y="1059"/>
                      </a:lnTo>
                      <a:lnTo>
                        <a:pt x="1228" y="1059"/>
                      </a:lnTo>
                      <a:lnTo>
                        <a:pt x="1227" y="1058"/>
                      </a:lnTo>
                      <a:lnTo>
                        <a:pt x="1226" y="1057"/>
                      </a:lnTo>
                      <a:lnTo>
                        <a:pt x="1225" y="1056"/>
                      </a:lnTo>
                      <a:lnTo>
                        <a:pt x="1224" y="1055"/>
                      </a:lnTo>
                      <a:lnTo>
                        <a:pt x="1224" y="1054"/>
                      </a:lnTo>
                      <a:lnTo>
                        <a:pt x="1224" y="1053"/>
                      </a:lnTo>
                      <a:lnTo>
                        <a:pt x="1224" y="1052"/>
                      </a:lnTo>
                      <a:lnTo>
                        <a:pt x="1224" y="1051"/>
                      </a:lnTo>
                      <a:lnTo>
                        <a:pt x="1224" y="1050"/>
                      </a:lnTo>
                      <a:lnTo>
                        <a:pt x="1224" y="1048"/>
                      </a:lnTo>
                      <a:lnTo>
                        <a:pt x="1225" y="1047"/>
                      </a:lnTo>
                      <a:lnTo>
                        <a:pt x="1226" y="1045"/>
                      </a:lnTo>
                      <a:lnTo>
                        <a:pt x="1226" y="1044"/>
                      </a:lnTo>
                      <a:lnTo>
                        <a:pt x="1227" y="1043"/>
                      </a:lnTo>
                      <a:lnTo>
                        <a:pt x="1228" y="1043"/>
                      </a:lnTo>
                      <a:lnTo>
                        <a:pt x="1229" y="1043"/>
                      </a:lnTo>
                      <a:lnTo>
                        <a:pt x="1231" y="1043"/>
                      </a:lnTo>
                      <a:lnTo>
                        <a:pt x="1232" y="1043"/>
                      </a:lnTo>
                      <a:lnTo>
                        <a:pt x="1232" y="1044"/>
                      </a:lnTo>
                      <a:lnTo>
                        <a:pt x="1232" y="1045"/>
                      </a:lnTo>
                      <a:lnTo>
                        <a:pt x="1232" y="1046"/>
                      </a:lnTo>
                      <a:lnTo>
                        <a:pt x="1232" y="1047"/>
                      </a:lnTo>
                      <a:lnTo>
                        <a:pt x="1232" y="1048"/>
                      </a:lnTo>
                      <a:lnTo>
                        <a:pt x="1233" y="1048"/>
                      </a:lnTo>
                      <a:lnTo>
                        <a:pt x="1233" y="1050"/>
                      </a:lnTo>
                      <a:lnTo>
                        <a:pt x="1233" y="1048"/>
                      </a:lnTo>
                      <a:lnTo>
                        <a:pt x="1234" y="1048"/>
                      </a:lnTo>
                      <a:lnTo>
                        <a:pt x="1234" y="1050"/>
                      </a:lnTo>
                      <a:lnTo>
                        <a:pt x="1234" y="1048"/>
                      </a:lnTo>
                      <a:lnTo>
                        <a:pt x="1235" y="1048"/>
                      </a:lnTo>
                      <a:lnTo>
                        <a:pt x="1236" y="1048"/>
                      </a:lnTo>
                      <a:lnTo>
                        <a:pt x="1236" y="1050"/>
                      </a:lnTo>
                      <a:lnTo>
                        <a:pt x="1236" y="1048"/>
                      </a:lnTo>
                      <a:lnTo>
                        <a:pt x="1237" y="1050"/>
                      </a:lnTo>
                      <a:lnTo>
                        <a:pt x="1238" y="1050"/>
                      </a:lnTo>
                      <a:lnTo>
                        <a:pt x="1237" y="1050"/>
                      </a:lnTo>
                      <a:lnTo>
                        <a:pt x="1237" y="1048"/>
                      </a:lnTo>
                      <a:lnTo>
                        <a:pt x="1237" y="1047"/>
                      </a:lnTo>
                      <a:lnTo>
                        <a:pt x="1237" y="1046"/>
                      </a:lnTo>
                      <a:lnTo>
                        <a:pt x="1238" y="1046"/>
                      </a:lnTo>
                      <a:lnTo>
                        <a:pt x="1238" y="1045"/>
                      </a:lnTo>
                      <a:lnTo>
                        <a:pt x="1239" y="1045"/>
                      </a:lnTo>
                      <a:lnTo>
                        <a:pt x="1239" y="1044"/>
                      </a:lnTo>
                      <a:lnTo>
                        <a:pt x="1239" y="1043"/>
                      </a:lnTo>
                      <a:lnTo>
                        <a:pt x="1240" y="1043"/>
                      </a:lnTo>
                      <a:lnTo>
                        <a:pt x="1240" y="1042"/>
                      </a:lnTo>
                      <a:lnTo>
                        <a:pt x="1239" y="1042"/>
                      </a:lnTo>
                      <a:lnTo>
                        <a:pt x="1239" y="1041"/>
                      </a:lnTo>
                      <a:lnTo>
                        <a:pt x="1239" y="1040"/>
                      </a:lnTo>
                      <a:lnTo>
                        <a:pt x="1238" y="1040"/>
                      </a:lnTo>
                      <a:lnTo>
                        <a:pt x="1238" y="1039"/>
                      </a:lnTo>
                      <a:lnTo>
                        <a:pt x="1237" y="1039"/>
                      </a:lnTo>
                      <a:lnTo>
                        <a:pt x="1236" y="1038"/>
                      </a:lnTo>
                      <a:lnTo>
                        <a:pt x="1235" y="1038"/>
                      </a:lnTo>
                      <a:lnTo>
                        <a:pt x="1234" y="1038"/>
                      </a:lnTo>
                      <a:lnTo>
                        <a:pt x="1234" y="1039"/>
                      </a:lnTo>
                      <a:lnTo>
                        <a:pt x="1234" y="1040"/>
                      </a:lnTo>
                      <a:lnTo>
                        <a:pt x="1234" y="1041"/>
                      </a:lnTo>
                      <a:lnTo>
                        <a:pt x="1234" y="1042"/>
                      </a:lnTo>
                      <a:lnTo>
                        <a:pt x="1233" y="1041"/>
                      </a:lnTo>
                      <a:lnTo>
                        <a:pt x="1233" y="1042"/>
                      </a:lnTo>
                      <a:lnTo>
                        <a:pt x="1232" y="1041"/>
                      </a:lnTo>
                      <a:lnTo>
                        <a:pt x="1232" y="1042"/>
                      </a:lnTo>
                      <a:lnTo>
                        <a:pt x="1232" y="1041"/>
                      </a:lnTo>
                      <a:lnTo>
                        <a:pt x="1231" y="1041"/>
                      </a:lnTo>
                      <a:lnTo>
                        <a:pt x="1229" y="1041"/>
                      </a:lnTo>
                      <a:lnTo>
                        <a:pt x="1229" y="1042"/>
                      </a:lnTo>
                      <a:lnTo>
                        <a:pt x="1228" y="1042"/>
                      </a:lnTo>
                      <a:lnTo>
                        <a:pt x="1227" y="1042"/>
                      </a:lnTo>
                      <a:lnTo>
                        <a:pt x="1227" y="1041"/>
                      </a:lnTo>
                      <a:lnTo>
                        <a:pt x="1227" y="1040"/>
                      </a:lnTo>
                      <a:lnTo>
                        <a:pt x="1227" y="1039"/>
                      </a:lnTo>
                      <a:lnTo>
                        <a:pt x="1227" y="1038"/>
                      </a:lnTo>
                      <a:lnTo>
                        <a:pt x="1227" y="1037"/>
                      </a:lnTo>
                      <a:lnTo>
                        <a:pt x="1228" y="1037"/>
                      </a:lnTo>
                      <a:lnTo>
                        <a:pt x="1228" y="1035"/>
                      </a:lnTo>
                      <a:lnTo>
                        <a:pt x="1228" y="1033"/>
                      </a:lnTo>
                      <a:lnTo>
                        <a:pt x="1229" y="1033"/>
                      </a:lnTo>
                      <a:lnTo>
                        <a:pt x="1228" y="1033"/>
                      </a:lnTo>
                      <a:lnTo>
                        <a:pt x="1229" y="1033"/>
                      </a:lnTo>
                      <a:lnTo>
                        <a:pt x="1231" y="1033"/>
                      </a:lnTo>
                      <a:lnTo>
                        <a:pt x="1229" y="1033"/>
                      </a:lnTo>
                      <a:lnTo>
                        <a:pt x="1228" y="1033"/>
                      </a:lnTo>
                      <a:lnTo>
                        <a:pt x="1229" y="1033"/>
                      </a:lnTo>
                      <a:lnTo>
                        <a:pt x="1228" y="1033"/>
                      </a:lnTo>
                      <a:lnTo>
                        <a:pt x="1228" y="1032"/>
                      </a:lnTo>
                      <a:lnTo>
                        <a:pt x="1229" y="1032"/>
                      </a:lnTo>
                      <a:lnTo>
                        <a:pt x="1231" y="1032"/>
                      </a:lnTo>
                      <a:lnTo>
                        <a:pt x="1232" y="1032"/>
                      </a:lnTo>
                      <a:lnTo>
                        <a:pt x="1232" y="1031"/>
                      </a:lnTo>
                      <a:lnTo>
                        <a:pt x="1233" y="1031"/>
                      </a:lnTo>
                      <a:lnTo>
                        <a:pt x="1233" y="1032"/>
                      </a:lnTo>
                      <a:lnTo>
                        <a:pt x="1233" y="1031"/>
                      </a:lnTo>
                      <a:lnTo>
                        <a:pt x="1233" y="1030"/>
                      </a:lnTo>
                      <a:lnTo>
                        <a:pt x="1232" y="1030"/>
                      </a:lnTo>
                      <a:lnTo>
                        <a:pt x="1232" y="1029"/>
                      </a:lnTo>
                      <a:lnTo>
                        <a:pt x="1232" y="1028"/>
                      </a:lnTo>
                      <a:lnTo>
                        <a:pt x="1231" y="1028"/>
                      </a:lnTo>
                      <a:lnTo>
                        <a:pt x="1231" y="1027"/>
                      </a:lnTo>
                      <a:lnTo>
                        <a:pt x="1232" y="1027"/>
                      </a:lnTo>
                      <a:lnTo>
                        <a:pt x="1232" y="1026"/>
                      </a:lnTo>
                      <a:lnTo>
                        <a:pt x="1231" y="1026"/>
                      </a:lnTo>
                      <a:lnTo>
                        <a:pt x="1232" y="1026"/>
                      </a:lnTo>
                      <a:lnTo>
                        <a:pt x="1231" y="1025"/>
                      </a:lnTo>
                      <a:lnTo>
                        <a:pt x="1232" y="1025"/>
                      </a:lnTo>
                      <a:lnTo>
                        <a:pt x="1232" y="1024"/>
                      </a:lnTo>
                      <a:lnTo>
                        <a:pt x="1232" y="1022"/>
                      </a:lnTo>
                      <a:lnTo>
                        <a:pt x="1232" y="1021"/>
                      </a:lnTo>
                      <a:lnTo>
                        <a:pt x="1231" y="1021"/>
                      </a:lnTo>
                      <a:lnTo>
                        <a:pt x="1229" y="1021"/>
                      </a:lnTo>
                      <a:lnTo>
                        <a:pt x="1229" y="1020"/>
                      </a:lnTo>
                      <a:lnTo>
                        <a:pt x="1228" y="1020"/>
                      </a:lnTo>
                      <a:lnTo>
                        <a:pt x="1227" y="1019"/>
                      </a:lnTo>
                      <a:lnTo>
                        <a:pt x="1228" y="1018"/>
                      </a:lnTo>
                      <a:lnTo>
                        <a:pt x="1229" y="1017"/>
                      </a:lnTo>
                      <a:lnTo>
                        <a:pt x="1231" y="1017"/>
                      </a:lnTo>
                      <a:lnTo>
                        <a:pt x="1231" y="1016"/>
                      </a:lnTo>
                      <a:lnTo>
                        <a:pt x="1232" y="1016"/>
                      </a:lnTo>
                      <a:lnTo>
                        <a:pt x="1232" y="1015"/>
                      </a:lnTo>
                      <a:lnTo>
                        <a:pt x="1232" y="1014"/>
                      </a:lnTo>
                      <a:lnTo>
                        <a:pt x="1232" y="1013"/>
                      </a:lnTo>
                      <a:lnTo>
                        <a:pt x="1231" y="1012"/>
                      </a:lnTo>
                      <a:lnTo>
                        <a:pt x="1232" y="1011"/>
                      </a:lnTo>
                      <a:lnTo>
                        <a:pt x="1231" y="1011"/>
                      </a:lnTo>
                      <a:lnTo>
                        <a:pt x="1232" y="1011"/>
                      </a:lnTo>
                      <a:lnTo>
                        <a:pt x="1232" y="1009"/>
                      </a:lnTo>
                      <a:lnTo>
                        <a:pt x="1231" y="1009"/>
                      </a:lnTo>
                      <a:lnTo>
                        <a:pt x="1232" y="1009"/>
                      </a:lnTo>
                      <a:lnTo>
                        <a:pt x="1231" y="1008"/>
                      </a:lnTo>
                      <a:lnTo>
                        <a:pt x="1231" y="1007"/>
                      </a:lnTo>
                      <a:lnTo>
                        <a:pt x="1231" y="1006"/>
                      </a:lnTo>
                      <a:lnTo>
                        <a:pt x="1229" y="1005"/>
                      </a:lnTo>
                      <a:lnTo>
                        <a:pt x="1228" y="1005"/>
                      </a:lnTo>
                      <a:lnTo>
                        <a:pt x="1228" y="1006"/>
                      </a:lnTo>
                      <a:lnTo>
                        <a:pt x="1228" y="1005"/>
                      </a:lnTo>
                      <a:lnTo>
                        <a:pt x="1228" y="1004"/>
                      </a:lnTo>
                      <a:lnTo>
                        <a:pt x="1229" y="1004"/>
                      </a:lnTo>
                      <a:lnTo>
                        <a:pt x="1228" y="1004"/>
                      </a:lnTo>
                      <a:lnTo>
                        <a:pt x="1228" y="1003"/>
                      </a:lnTo>
                      <a:lnTo>
                        <a:pt x="1228" y="1002"/>
                      </a:lnTo>
                      <a:lnTo>
                        <a:pt x="1227" y="1001"/>
                      </a:lnTo>
                      <a:lnTo>
                        <a:pt x="1227" y="1000"/>
                      </a:lnTo>
                      <a:lnTo>
                        <a:pt x="1226" y="1000"/>
                      </a:lnTo>
                      <a:lnTo>
                        <a:pt x="1226" y="999"/>
                      </a:lnTo>
                      <a:lnTo>
                        <a:pt x="1227" y="999"/>
                      </a:lnTo>
                      <a:lnTo>
                        <a:pt x="1227" y="998"/>
                      </a:lnTo>
                      <a:lnTo>
                        <a:pt x="1227" y="999"/>
                      </a:lnTo>
                      <a:lnTo>
                        <a:pt x="1227" y="998"/>
                      </a:lnTo>
                      <a:lnTo>
                        <a:pt x="1226" y="996"/>
                      </a:lnTo>
                      <a:lnTo>
                        <a:pt x="1226" y="995"/>
                      </a:lnTo>
                      <a:lnTo>
                        <a:pt x="1226" y="994"/>
                      </a:lnTo>
                      <a:lnTo>
                        <a:pt x="1226" y="995"/>
                      </a:lnTo>
                      <a:lnTo>
                        <a:pt x="1227" y="994"/>
                      </a:lnTo>
                      <a:lnTo>
                        <a:pt x="1226" y="994"/>
                      </a:lnTo>
                      <a:lnTo>
                        <a:pt x="1226" y="993"/>
                      </a:lnTo>
                      <a:lnTo>
                        <a:pt x="1226" y="992"/>
                      </a:lnTo>
                      <a:lnTo>
                        <a:pt x="1225" y="992"/>
                      </a:lnTo>
                      <a:lnTo>
                        <a:pt x="1225" y="991"/>
                      </a:lnTo>
                      <a:lnTo>
                        <a:pt x="1225" y="990"/>
                      </a:lnTo>
                      <a:lnTo>
                        <a:pt x="1224" y="990"/>
                      </a:lnTo>
                      <a:lnTo>
                        <a:pt x="1222" y="989"/>
                      </a:lnTo>
                      <a:lnTo>
                        <a:pt x="1222" y="988"/>
                      </a:lnTo>
                      <a:lnTo>
                        <a:pt x="1218" y="986"/>
                      </a:lnTo>
                      <a:lnTo>
                        <a:pt x="1216" y="984"/>
                      </a:lnTo>
                      <a:lnTo>
                        <a:pt x="1212" y="982"/>
                      </a:lnTo>
                      <a:lnTo>
                        <a:pt x="1211" y="982"/>
                      </a:lnTo>
                      <a:lnTo>
                        <a:pt x="1209" y="981"/>
                      </a:lnTo>
                      <a:lnTo>
                        <a:pt x="1208" y="981"/>
                      </a:lnTo>
                      <a:lnTo>
                        <a:pt x="1207" y="981"/>
                      </a:lnTo>
                      <a:lnTo>
                        <a:pt x="1205" y="981"/>
                      </a:lnTo>
                      <a:lnTo>
                        <a:pt x="1206" y="980"/>
                      </a:lnTo>
                      <a:lnTo>
                        <a:pt x="1206" y="979"/>
                      </a:lnTo>
                      <a:lnTo>
                        <a:pt x="1207" y="979"/>
                      </a:lnTo>
                      <a:lnTo>
                        <a:pt x="1206" y="978"/>
                      </a:lnTo>
                      <a:lnTo>
                        <a:pt x="1206" y="979"/>
                      </a:lnTo>
                      <a:lnTo>
                        <a:pt x="1205" y="980"/>
                      </a:lnTo>
                      <a:lnTo>
                        <a:pt x="1205" y="981"/>
                      </a:lnTo>
                      <a:lnTo>
                        <a:pt x="1203" y="981"/>
                      </a:lnTo>
                      <a:lnTo>
                        <a:pt x="1202" y="980"/>
                      </a:lnTo>
                      <a:lnTo>
                        <a:pt x="1201" y="979"/>
                      </a:lnTo>
                      <a:lnTo>
                        <a:pt x="1200" y="978"/>
                      </a:lnTo>
                      <a:lnTo>
                        <a:pt x="1201" y="978"/>
                      </a:lnTo>
                      <a:lnTo>
                        <a:pt x="1200" y="978"/>
                      </a:lnTo>
                      <a:lnTo>
                        <a:pt x="1200" y="977"/>
                      </a:lnTo>
                      <a:lnTo>
                        <a:pt x="1199" y="976"/>
                      </a:lnTo>
                      <a:lnTo>
                        <a:pt x="1199" y="975"/>
                      </a:lnTo>
                      <a:lnTo>
                        <a:pt x="1198" y="975"/>
                      </a:lnTo>
                      <a:lnTo>
                        <a:pt x="1199" y="976"/>
                      </a:lnTo>
                      <a:lnTo>
                        <a:pt x="1198" y="975"/>
                      </a:lnTo>
                      <a:lnTo>
                        <a:pt x="1200" y="974"/>
                      </a:lnTo>
                      <a:lnTo>
                        <a:pt x="1200" y="973"/>
                      </a:lnTo>
                      <a:lnTo>
                        <a:pt x="1200" y="971"/>
                      </a:lnTo>
                      <a:lnTo>
                        <a:pt x="1200" y="973"/>
                      </a:lnTo>
                      <a:lnTo>
                        <a:pt x="1199" y="974"/>
                      </a:lnTo>
                      <a:lnTo>
                        <a:pt x="1198" y="975"/>
                      </a:lnTo>
                      <a:lnTo>
                        <a:pt x="1197" y="974"/>
                      </a:lnTo>
                      <a:lnTo>
                        <a:pt x="1197" y="973"/>
                      </a:lnTo>
                      <a:lnTo>
                        <a:pt x="1196" y="973"/>
                      </a:lnTo>
                      <a:lnTo>
                        <a:pt x="1195" y="971"/>
                      </a:lnTo>
                      <a:lnTo>
                        <a:pt x="1194" y="970"/>
                      </a:lnTo>
                      <a:lnTo>
                        <a:pt x="1194" y="969"/>
                      </a:lnTo>
                      <a:lnTo>
                        <a:pt x="1193" y="969"/>
                      </a:lnTo>
                      <a:lnTo>
                        <a:pt x="1193" y="968"/>
                      </a:lnTo>
                      <a:lnTo>
                        <a:pt x="1192" y="968"/>
                      </a:lnTo>
                      <a:lnTo>
                        <a:pt x="1192" y="967"/>
                      </a:lnTo>
                      <a:lnTo>
                        <a:pt x="1193" y="968"/>
                      </a:lnTo>
                      <a:lnTo>
                        <a:pt x="1194" y="966"/>
                      </a:lnTo>
                      <a:lnTo>
                        <a:pt x="1193" y="966"/>
                      </a:lnTo>
                      <a:lnTo>
                        <a:pt x="1193" y="965"/>
                      </a:lnTo>
                      <a:lnTo>
                        <a:pt x="1192" y="965"/>
                      </a:lnTo>
                      <a:lnTo>
                        <a:pt x="1192" y="966"/>
                      </a:lnTo>
                      <a:lnTo>
                        <a:pt x="1192" y="965"/>
                      </a:lnTo>
                      <a:lnTo>
                        <a:pt x="1190" y="965"/>
                      </a:lnTo>
                      <a:lnTo>
                        <a:pt x="1190" y="966"/>
                      </a:lnTo>
                      <a:lnTo>
                        <a:pt x="1190" y="967"/>
                      </a:lnTo>
                      <a:lnTo>
                        <a:pt x="1189" y="967"/>
                      </a:lnTo>
                      <a:lnTo>
                        <a:pt x="1188" y="967"/>
                      </a:lnTo>
                      <a:lnTo>
                        <a:pt x="1187" y="967"/>
                      </a:lnTo>
                      <a:lnTo>
                        <a:pt x="1187" y="966"/>
                      </a:lnTo>
                      <a:lnTo>
                        <a:pt x="1186" y="966"/>
                      </a:lnTo>
                      <a:lnTo>
                        <a:pt x="1185" y="966"/>
                      </a:lnTo>
                      <a:lnTo>
                        <a:pt x="1184" y="966"/>
                      </a:lnTo>
                      <a:lnTo>
                        <a:pt x="1184" y="965"/>
                      </a:lnTo>
                      <a:lnTo>
                        <a:pt x="1183" y="964"/>
                      </a:lnTo>
                      <a:lnTo>
                        <a:pt x="1183" y="963"/>
                      </a:lnTo>
                      <a:lnTo>
                        <a:pt x="1182" y="963"/>
                      </a:lnTo>
                      <a:lnTo>
                        <a:pt x="1181" y="963"/>
                      </a:lnTo>
                      <a:lnTo>
                        <a:pt x="1180" y="963"/>
                      </a:lnTo>
                      <a:lnTo>
                        <a:pt x="1179" y="962"/>
                      </a:lnTo>
                      <a:lnTo>
                        <a:pt x="1177" y="962"/>
                      </a:lnTo>
                      <a:lnTo>
                        <a:pt x="1177" y="961"/>
                      </a:lnTo>
                      <a:lnTo>
                        <a:pt x="1179" y="961"/>
                      </a:lnTo>
                      <a:lnTo>
                        <a:pt x="1179" y="960"/>
                      </a:lnTo>
                      <a:lnTo>
                        <a:pt x="1177" y="960"/>
                      </a:lnTo>
                      <a:lnTo>
                        <a:pt x="1177" y="961"/>
                      </a:lnTo>
                      <a:lnTo>
                        <a:pt x="1176" y="961"/>
                      </a:lnTo>
                      <a:lnTo>
                        <a:pt x="1174" y="961"/>
                      </a:lnTo>
                      <a:lnTo>
                        <a:pt x="1175" y="961"/>
                      </a:lnTo>
                      <a:lnTo>
                        <a:pt x="1175" y="960"/>
                      </a:lnTo>
                      <a:lnTo>
                        <a:pt x="1174" y="960"/>
                      </a:lnTo>
                      <a:lnTo>
                        <a:pt x="1174" y="961"/>
                      </a:lnTo>
                      <a:lnTo>
                        <a:pt x="1174" y="960"/>
                      </a:lnTo>
                      <a:lnTo>
                        <a:pt x="1174" y="961"/>
                      </a:lnTo>
                      <a:lnTo>
                        <a:pt x="1171" y="960"/>
                      </a:lnTo>
                      <a:lnTo>
                        <a:pt x="1170" y="960"/>
                      </a:lnTo>
                      <a:lnTo>
                        <a:pt x="1170" y="958"/>
                      </a:lnTo>
                      <a:lnTo>
                        <a:pt x="1168" y="958"/>
                      </a:lnTo>
                      <a:lnTo>
                        <a:pt x="1167" y="957"/>
                      </a:lnTo>
                      <a:lnTo>
                        <a:pt x="1163" y="957"/>
                      </a:lnTo>
                      <a:lnTo>
                        <a:pt x="1161" y="956"/>
                      </a:lnTo>
                      <a:lnTo>
                        <a:pt x="1159" y="955"/>
                      </a:lnTo>
                      <a:lnTo>
                        <a:pt x="1158" y="956"/>
                      </a:lnTo>
                      <a:lnTo>
                        <a:pt x="1159" y="956"/>
                      </a:lnTo>
                      <a:lnTo>
                        <a:pt x="1164" y="958"/>
                      </a:lnTo>
                      <a:lnTo>
                        <a:pt x="1164" y="960"/>
                      </a:lnTo>
                      <a:lnTo>
                        <a:pt x="1161" y="963"/>
                      </a:lnTo>
                      <a:lnTo>
                        <a:pt x="1159" y="965"/>
                      </a:lnTo>
                      <a:lnTo>
                        <a:pt x="1158" y="965"/>
                      </a:lnTo>
                      <a:lnTo>
                        <a:pt x="1158" y="964"/>
                      </a:lnTo>
                      <a:lnTo>
                        <a:pt x="1158" y="963"/>
                      </a:lnTo>
                      <a:lnTo>
                        <a:pt x="1157" y="963"/>
                      </a:lnTo>
                      <a:lnTo>
                        <a:pt x="1157" y="962"/>
                      </a:lnTo>
                      <a:lnTo>
                        <a:pt x="1157" y="960"/>
                      </a:lnTo>
                      <a:lnTo>
                        <a:pt x="1157" y="958"/>
                      </a:lnTo>
                      <a:lnTo>
                        <a:pt x="1156" y="958"/>
                      </a:lnTo>
                      <a:lnTo>
                        <a:pt x="1156" y="957"/>
                      </a:lnTo>
                      <a:lnTo>
                        <a:pt x="1156" y="956"/>
                      </a:lnTo>
                      <a:lnTo>
                        <a:pt x="1156" y="955"/>
                      </a:lnTo>
                      <a:lnTo>
                        <a:pt x="1156" y="954"/>
                      </a:lnTo>
                      <a:lnTo>
                        <a:pt x="1155" y="953"/>
                      </a:lnTo>
                      <a:lnTo>
                        <a:pt x="1155" y="952"/>
                      </a:lnTo>
                      <a:lnTo>
                        <a:pt x="1155" y="951"/>
                      </a:lnTo>
                      <a:lnTo>
                        <a:pt x="1155" y="950"/>
                      </a:lnTo>
                      <a:lnTo>
                        <a:pt x="1154" y="950"/>
                      </a:lnTo>
                      <a:lnTo>
                        <a:pt x="1154" y="949"/>
                      </a:lnTo>
                      <a:lnTo>
                        <a:pt x="1154" y="948"/>
                      </a:lnTo>
                      <a:lnTo>
                        <a:pt x="1153" y="949"/>
                      </a:lnTo>
                      <a:lnTo>
                        <a:pt x="1153" y="950"/>
                      </a:lnTo>
                      <a:lnTo>
                        <a:pt x="1154" y="950"/>
                      </a:lnTo>
                      <a:lnTo>
                        <a:pt x="1154" y="951"/>
                      </a:lnTo>
                      <a:lnTo>
                        <a:pt x="1154" y="952"/>
                      </a:lnTo>
                      <a:lnTo>
                        <a:pt x="1154" y="951"/>
                      </a:lnTo>
                      <a:lnTo>
                        <a:pt x="1153" y="951"/>
                      </a:lnTo>
                      <a:lnTo>
                        <a:pt x="1153" y="950"/>
                      </a:lnTo>
                      <a:lnTo>
                        <a:pt x="1151" y="950"/>
                      </a:lnTo>
                      <a:lnTo>
                        <a:pt x="1153" y="950"/>
                      </a:lnTo>
                      <a:lnTo>
                        <a:pt x="1153" y="949"/>
                      </a:lnTo>
                      <a:lnTo>
                        <a:pt x="1151" y="948"/>
                      </a:lnTo>
                      <a:lnTo>
                        <a:pt x="1151" y="947"/>
                      </a:lnTo>
                      <a:lnTo>
                        <a:pt x="1150" y="947"/>
                      </a:lnTo>
                      <a:lnTo>
                        <a:pt x="1151" y="951"/>
                      </a:lnTo>
                      <a:lnTo>
                        <a:pt x="1150" y="948"/>
                      </a:lnTo>
                      <a:lnTo>
                        <a:pt x="1149" y="948"/>
                      </a:lnTo>
                      <a:lnTo>
                        <a:pt x="1151" y="947"/>
                      </a:lnTo>
                      <a:lnTo>
                        <a:pt x="1151" y="945"/>
                      </a:lnTo>
                      <a:lnTo>
                        <a:pt x="1151" y="944"/>
                      </a:lnTo>
                      <a:lnTo>
                        <a:pt x="1150" y="944"/>
                      </a:lnTo>
                      <a:lnTo>
                        <a:pt x="1150" y="943"/>
                      </a:lnTo>
                      <a:lnTo>
                        <a:pt x="1150" y="942"/>
                      </a:lnTo>
                      <a:lnTo>
                        <a:pt x="1150" y="943"/>
                      </a:lnTo>
                      <a:lnTo>
                        <a:pt x="1150" y="942"/>
                      </a:lnTo>
                      <a:lnTo>
                        <a:pt x="1149" y="943"/>
                      </a:lnTo>
                      <a:lnTo>
                        <a:pt x="1149" y="942"/>
                      </a:lnTo>
                      <a:lnTo>
                        <a:pt x="1148" y="942"/>
                      </a:lnTo>
                      <a:lnTo>
                        <a:pt x="1148" y="941"/>
                      </a:lnTo>
                      <a:lnTo>
                        <a:pt x="1147" y="941"/>
                      </a:lnTo>
                      <a:lnTo>
                        <a:pt x="1147" y="942"/>
                      </a:lnTo>
                      <a:lnTo>
                        <a:pt x="1146" y="942"/>
                      </a:lnTo>
                      <a:lnTo>
                        <a:pt x="1146" y="941"/>
                      </a:lnTo>
                      <a:lnTo>
                        <a:pt x="1145" y="941"/>
                      </a:lnTo>
                      <a:lnTo>
                        <a:pt x="1145" y="940"/>
                      </a:lnTo>
                      <a:lnTo>
                        <a:pt x="1145" y="939"/>
                      </a:lnTo>
                      <a:lnTo>
                        <a:pt x="1144" y="939"/>
                      </a:lnTo>
                      <a:lnTo>
                        <a:pt x="1144" y="940"/>
                      </a:lnTo>
                      <a:lnTo>
                        <a:pt x="1144" y="939"/>
                      </a:lnTo>
                      <a:lnTo>
                        <a:pt x="1143" y="939"/>
                      </a:lnTo>
                      <a:lnTo>
                        <a:pt x="1142" y="939"/>
                      </a:lnTo>
                      <a:lnTo>
                        <a:pt x="1142" y="938"/>
                      </a:lnTo>
                      <a:lnTo>
                        <a:pt x="1142" y="937"/>
                      </a:lnTo>
                      <a:lnTo>
                        <a:pt x="1141" y="937"/>
                      </a:lnTo>
                      <a:lnTo>
                        <a:pt x="1140" y="937"/>
                      </a:lnTo>
                      <a:lnTo>
                        <a:pt x="1140" y="936"/>
                      </a:lnTo>
                      <a:lnTo>
                        <a:pt x="1138" y="936"/>
                      </a:lnTo>
                      <a:lnTo>
                        <a:pt x="1138" y="935"/>
                      </a:lnTo>
                      <a:lnTo>
                        <a:pt x="1140" y="935"/>
                      </a:lnTo>
                      <a:lnTo>
                        <a:pt x="1140" y="934"/>
                      </a:lnTo>
                      <a:lnTo>
                        <a:pt x="1140" y="935"/>
                      </a:lnTo>
                      <a:lnTo>
                        <a:pt x="1140" y="934"/>
                      </a:lnTo>
                      <a:lnTo>
                        <a:pt x="1138" y="934"/>
                      </a:lnTo>
                      <a:lnTo>
                        <a:pt x="1138" y="932"/>
                      </a:lnTo>
                      <a:lnTo>
                        <a:pt x="1138" y="934"/>
                      </a:lnTo>
                      <a:lnTo>
                        <a:pt x="1137" y="934"/>
                      </a:lnTo>
                      <a:lnTo>
                        <a:pt x="1137" y="932"/>
                      </a:lnTo>
                      <a:lnTo>
                        <a:pt x="1137" y="934"/>
                      </a:lnTo>
                      <a:lnTo>
                        <a:pt x="1138" y="934"/>
                      </a:lnTo>
                      <a:lnTo>
                        <a:pt x="1137" y="934"/>
                      </a:lnTo>
                      <a:lnTo>
                        <a:pt x="1137" y="935"/>
                      </a:lnTo>
                      <a:lnTo>
                        <a:pt x="1136" y="935"/>
                      </a:lnTo>
                      <a:lnTo>
                        <a:pt x="1136" y="936"/>
                      </a:lnTo>
                      <a:lnTo>
                        <a:pt x="1137" y="936"/>
                      </a:lnTo>
                      <a:lnTo>
                        <a:pt x="1137" y="935"/>
                      </a:lnTo>
                      <a:lnTo>
                        <a:pt x="1137" y="936"/>
                      </a:lnTo>
                      <a:lnTo>
                        <a:pt x="1138" y="936"/>
                      </a:lnTo>
                      <a:lnTo>
                        <a:pt x="1137" y="936"/>
                      </a:lnTo>
                      <a:lnTo>
                        <a:pt x="1138" y="936"/>
                      </a:lnTo>
                      <a:lnTo>
                        <a:pt x="1138" y="937"/>
                      </a:lnTo>
                      <a:lnTo>
                        <a:pt x="1137" y="937"/>
                      </a:lnTo>
                      <a:lnTo>
                        <a:pt x="1137" y="936"/>
                      </a:lnTo>
                      <a:lnTo>
                        <a:pt x="1138" y="936"/>
                      </a:lnTo>
                      <a:lnTo>
                        <a:pt x="1137" y="936"/>
                      </a:lnTo>
                      <a:lnTo>
                        <a:pt x="1136" y="936"/>
                      </a:lnTo>
                      <a:lnTo>
                        <a:pt x="1135" y="936"/>
                      </a:lnTo>
                      <a:lnTo>
                        <a:pt x="1134" y="936"/>
                      </a:lnTo>
                      <a:lnTo>
                        <a:pt x="1133" y="936"/>
                      </a:lnTo>
                      <a:lnTo>
                        <a:pt x="1132" y="936"/>
                      </a:lnTo>
                      <a:lnTo>
                        <a:pt x="1132" y="935"/>
                      </a:lnTo>
                      <a:lnTo>
                        <a:pt x="1132" y="934"/>
                      </a:lnTo>
                      <a:lnTo>
                        <a:pt x="1132" y="932"/>
                      </a:lnTo>
                      <a:lnTo>
                        <a:pt x="1131" y="932"/>
                      </a:lnTo>
                      <a:lnTo>
                        <a:pt x="1131" y="931"/>
                      </a:lnTo>
                      <a:lnTo>
                        <a:pt x="1130" y="931"/>
                      </a:lnTo>
                      <a:lnTo>
                        <a:pt x="1130" y="930"/>
                      </a:lnTo>
                      <a:lnTo>
                        <a:pt x="1130" y="929"/>
                      </a:lnTo>
                      <a:lnTo>
                        <a:pt x="1129" y="929"/>
                      </a:lnTo>
                      <a:lnTo>
                        <a:pt x="1128" y="929"/>
                      </a:lnTo>
                      <a:lnTo>
                        <a:pt x="1128" y="928"/>
                      </a:lnTo>
                      <a:lnTo>
                        <a:pt x="1129" y="929"/>
                      </a:lnTo>
                      <a:lnTo>
                        <a:pt x="1129" y="928"/>
                      </a:lnTo>
                      <a:lnTo>
                        <a:pt x="1130" y="929"/>
                      </a:lnTo>
                      <a:lnTo>
                        <a:pt x="1131" y="929"/>
                      </a:lnTo>
                      <a:lnTo>
                        <a:pt x="1128" y="927"/>
                      </a:lnTo>
                      <a:lnTo>
                        <a:pt x="1126" y="927"/>
                      </a:lnTo>
                      <a:lnTo>
                        <a:pt x="1128" y="927"/>
                      </a:lnTo>
                      <a:lnTo>
                        <a:pt x="1126" y="927"/>
                      </a:lnTo>
                      <a:lnTo>
                        <a:pt x="1126" y="928"/>
                      </a:lnTo>
                      <a:lnTo>
                        <a:pt x="1128" y="928"/>
                      </a:lnTo>
                      <a:lnTo>
                        <a:pt x="1126" y="928"/>
                      </a:lnTo>
                      <a:lnTo>
                        <a:pt x="1126" y="927"/>
                      </a:lnTo>
                      <a:lnTo>
                        <a:pt x="1125" y="926"/>
                      </a:lnTo>
                      <a:lnTo>
                        <a:pt x="1124" y="926"/>
                      </a:lnTo>
                      <a:lnTo>
                        <a:pt x="1124" y="927"/>
                      </a:lnTo>
                      <a:lnTo>
                        <a:pt x="1123" y="927"/>
                      </a:lnTo>
                      <a:lnTo>
                        <a:pt x="1124" y="928"/>
                      </a:lnTo>
                      <a:lnTo>
                        <a:pt x="1123" y="928"/>
                      </a:lnTo>
                      <a:lnTo>
                        <a:pt x="1123" y="927"/>
                      </a:lnTo>
                      <a:lnTo>
                        <a:pt x="1123" y="928"/>
                      </a:lnTo>
                      <a:lnTo>
                        <a:pt x="1122" y="929"/>
                      </a:lnTo>
                      <a:lnTo>
                        <a:pt x="1123" y="929"/>
                      </a:lnTo>
                      <a:lnTo>
                        <a:pt x="1123" y="930"/>
                      </a:lnTo>
                      <a:lnTo>
                        <a:pt x="1123" y="931"/>
                      </a:lnTo>
                      <a:lnTo>
                        <a:pt x="1123" y="932"/>
                      </a:lnTo>
                      <a:lnTo>
                        <a:pt x="1122" y="934"/>
                      </a:lnTo>
                      <a:lnTo>
                        <a:pt x="1122" y="935"/>
                      </a:lnTo>
                      <a:lnTo>
                        <a:pt x="1123" y="935"/>
                      </a:lnTo>
                      <a:lnTo>
                        <a:pt x="1123" y="936"/>
                      </a:lnTo>
                      <a:lnTo>
                        <a:pt x="1123" y="937"/>
                      </a:lnTo>
                      <a:lnTo>
                        <a:pt x="1124" y="937"/>
                      </a:lnTo>
                      <a:lnTo>
                        <a:pt x="1124" y="938"/>
                      </a:lnTo>
                      <a:lnTo>
                        <a:pt x="1124" y="939"/>
                      </a:lnTo>
                      <a:lnTo>
                        <a:pt x="1125" y="940"/>
                      </a:lnTo>
                      <a:lnTo>
                        <a:pt x="1123" y="940"/>
                      </a:lnTo>
                      <a:lnTo>
                        <a:pt x="1122" y="940"/>
                      </a:lnTo>
                      <a:lnTo>
                        <a:pt x="1121" y="940"/>
                      </a:lnTo>
                      <a:lnTo>
                        <a:pt x="1121" y="939"/>
                      </a:lnTo>
                      <a:lnTo>
                        <a:pt x="1121" y="938"/>
                      </a:lnTo>
                      <a:lnTo>
                        <a:pt x="1120" y="938"/>
                      </a:lnTo>
                      <a:lnTo>
                        <a:pt x="1119" y="939"/>
                      </a:lnTo>
                      <a:lnTo>
                        <a:pt x="1119" y="938"/>
                      </a:lnTo>
                      <a:lnTo>
                        <a:pt x="1118" y="938"/>
                      </a:lnTo>
                      <a:lnTo>
                        <a:pt x="1118" y="939"/>
                      </a:lnTo>
                      <a:lnTo>
                        <a:pt x="1119" y="939"/>
                      </a:lnTo>
                      <a:lnTo>
                        <a:pt x="1120" y="939"/>
                      </a:lnTo>
                      <a:lnTo>
                        <a:pt x="1120" y="940"/>
                      </a:lnTo>
                      <a:lnTo>
                        <a:pt x="1121" y="940"/>
                      </a:lnTo>
                      <a:lnTo>
                        <a:pt x="1120" y="940"/>
                      </a:lnTo>
                      <a:lnTo>
                        <a:pt x="1119" y="940"/>
                      </a:lnTo>
                      <a:lnTo>
                        <a:pt x="1118" y="941"/>
                      </a:lnTo>
                      <a:lnTo>
                        <a:pt x="1117" y="940"/>
                      </a:lnTo>
                      <a:lnTo>
                        <a:pt x="1117" y="941"/>
                      </a:lnTo>
                      <a:lnTo>
                        <a:pt x="1117" y="940"/>
                      </a:lnTo>
                      <a:lnTo>
                        <a:pt x="1118" y="940"/>
                      </a:lnTo>
                      <a:lnTo>
                        <a:pt x="1117" y="940"/>
                      </a:lnTo>
                      <a:lnTo>
                        <a:pt x="1117" y="941"/>
                      </a:lnTo>
                      <a:lnTo>
                        <a:pt x="1117" y="940"/>
                      </a:lnTo>
                      <a:lnTo>
                        <a:pt x="1116" y="940"/>
                      </a:lnTo>
                      <a:lnTo>
                        <a:pt x="1116" y="939"/>
                      </a:lnTo>
                      <a:lnTo>
                        <a:pt x="1116" y="940"/>
                      </a:lnTo>
                      <a:lnTo>
                        <a:pt x="1115" y="940"/>
                      </a:lnTo>
                      <a:lnTo>
                        <a:pt x="1116" y="940"/>
                      </a:lnTo>
                      <a:lnTo>
                        <a:pt x="1116" y="941"/>
                      </a:lnTo>
                      <a:lnTo>
                        <a:pt x="1116" y="940"/>
                      </a:lnTo>
                      <a:lnTo>
                        <a:pt x="1115" y="940"/>
                      </a:lnTo>
                      <a:lnTo>
                        <a:pt x="1113" y="941"/>
                      </a:lnTo>
                      <a:lnTo>
                        <a:pt x="1113" y="940"/>
                      </a:lnTo>
                      <a:lnTo>
                        <a:pt x="1112" y="940"/>
                      </a:lnTo>
                      <a:lnTo>
                        <a:pt x="1111" y="940"/>
                      </a:lnTo>
                      <a:lnTo>
                        <a:pt x="1111" y="939"/>
                      </a:lnTo>
                      <a:lnTo>
                        <a:pt x="1110" y="939"/>
                      </a:lnTo>
                      <a:lnTo>
                        <a:pt x="1110" y="938"/>
                      </a:lnTo>
                      <a:lnTo>
                        <a:pt x="1110" y="937"/>
                      </a:lnTo>
                      <a:lnTo>
                        <a:pt x="1109" y="937"/>
                      </a:lnTo>
                      <a:lnTo>
                        <a:pt x="1109" y="936"/>
                      </a:lnTo>
                      <a:lnTo>
                        <a:pt x="1109" y="937"/>
                      </a:lnTo>
                      <a:lnTo>
                        <a:pt x="1108" y="937"/>
                      </a:lnTo>
                      <a:lnTo>
                        <a:pt x="1108" y="938"/>
                      </a:lnTo>
                      <a:lnTo>
                        <a:pt x="1108" y="939"/>
                      </a:lnTo>
                      <a:lnTo>
                        <a:pt x="1108" y="938"/>
                      </a:lnTo>
                      <a:lnTo>
                        <a:pt x="1107" y="938"/>
                      </a:lnTo>
                      <a:lnTo>
                        <a:pt x="1106" y="938"/>
                      </a:lnTo>
                      <a:lnTo>
                        <a:pt x="1105" y="939"/>
                      </a:lnTo>
                      <a:lnTo>
                        <a:pt x="1104" y="938"/>
                      </a:lnTo>
                      <a:lnTo>
                        <a:pt x="1103" y="938"/>
                      </a:lnTo>
                      <a:lnTo>
                        <a:pt x="1103" y="939"/>
                      </a:lnTo>
                      <a:lnTo>
                        <a:pt x="1102" y="938"/>
                      </a:lnTo>
                      <a:lnTo>
                        <a:pt x="1100" y="939"/>
                      </a:lnTo>
                      <a:lnTo>
                        <a:pt x="1100" y="938"/>
                      </a:lnTo>
                      <a:lnTo>
                        <a:pt x="1099" y="938"/>
                      </a:lnTo>
                      <a:lnTo>
                        <a:pt x="1098" y="938"/>
                      </a:lnTo>
                      <a:lnTo>
                        <a:pt x="1098" y="939"/>
                      </a:lnTo>
                      <a:lnTo>
                        <a:pt x="1097" y="939"/>
                      </a:lnTo>
                      <a:lnTo>
                        <a:pt x="1096" y="939"/>
                      </a:lnTo>
                      <a:lnTo>
                        <a:pt x="1095" y="939"/>
                      </a:lnTo>
                      <a:lnTo>
                        <a:pt x="1094" y="939"/>
                      </a:lnTo>
                      <a:lnTo>
                        <a:pt x="1095" y="939"/>
                      </a:lnTo>
                      <a:lnTo>
                        <a:pt x="1094" y="939"/>
                      </a:lnTo>
                      <a:lnTo>
                        <a:pt x="1094" y="940"/>
                      </a:lnTo>
                      <a:lnTo>
                        <a:pt x="1093" y="940"/>
                      </a:lnTo>
                      <a:lnTo>
                        <a:pt x="1093" y="939"/>
                      </a:lnTo>
                      <a:lnTo>
                        <a:pt x="1093" y="940"/>
                      </a:lnTo>
                      <a:lnTo>
                        <a:pt x="1092" y="939"/>
                      </a:lnTo>
                      <a:lnTo>
                        <a:pt x="1091" y="938"/>
                      </a:lnTo>
                      <a:lnTo>
                        <a:pt x="1090" y="937"/>
                      </a:lnTo>
                      <a:lnTo>
                        <a:pt x="1090" y="938"/>
                      </a:lnTo>
                      <a:lnTo>
                        <a:pt x="1091" y="938"/>
                      </a:lnTo>
                      <a:lnTo>
                        <a:pt x="1092" y="939"/>
                      </a:lnTo>
                      <a:lnTo>
                        <a:pt x="1092" y="940"/>
                      </a:lnTo>
                      <a:lnTo>
                        <a:pt x="1090" y="940"/>
                      </a:lnTo>
                      <a:lnTo>
                        <a:pt x="1089" y="940"/>
                      </a:lnTo>
                      <a:lnTo>
                        <a:pt x="1087" y="941"/>
                      </a:lnTo>
                      <a:lnTo>
                        <a:pt x="1086" y="941"/>
                      </a:lnTo>
                      <a:lnTo>
                        <a:pt x="1084" y="942"/>
                      </a:lnTo>
                      <a:lnTo>
                        <a:pt x="1083" y="941"/>
                      </a:lnTo>
                      <a:lnTo>
                        <a:pt x="1082" y="941"/>
                      </a:lnTo>
                      <a:lnTo>
                        <a:pt x="1081" y="941"/>
                      </a:lnTo>
                      <a:lnTo>
                        <a:pt x="1080" y="941"/>
                      </a:lnTo>
                      <a:lnTo>
                        <a:pt x="1080" y="940"/>
                      </a:lnTo>
                      <a:lnTo>
                        <a:pt x="1079" y="940"/>
                      </a:lnTo>
                      <a:lnTo>
                        <a:pt x="1079" y="941"/>
                      </a:lnTo>
                      <a:lnTo>
                        <a:pt x="1078" y="940"/>
                      </a:lnTo>
                      <a:lnTo>
                        <a:pt x="1077" y="940"/>
                      </a:lnTo>
                      <a:lnTo>
                        <a:pt x="1077" y="939"/>
                      </a:lnTo>
                      <a:lnTo>
                        <a:pt x="1077" y="938"/>
                      </a:lnTo>
                      <a:lnTo>
                        <a:pt x="1078" y="938"/>
                      </a:lnTo>
                      <a:lnTo>
                        <a:pt x="1078" y="937"/>
                      </a:lnTo>
                      <a:lnTo>
                        <a:pt x="1078" y="936"/>
                      </a:lnTo>
                      <a:lnTo>
                        <a:pt x="1078" y="937"/>
                      </a:lnTo>
                      <a:lnTo>
                        <a:pt x="1078" y="938"/>
                      </a:lnTo>
                      <a:lnTo>
                        <a:pt x="1079" y="938"/>
                      </a:lnTo>
                      <a:lnTo>
                        <a:pt x="1079" y="937"/>
                      </a:lnTo>
                      <a:lnTo>
                        <a:pt x="1079" y="936"/>
                      </a:lnTo>
                      <a:lnTo>
                        <a:pt x="1079" y="935"/>
                      </a:lnTo>
                      <a:lnTo>
                        <a:pt x="1079" y="934"/>
                      </a:lnTo>
                      <a:lnTo>
                        <a:pt x="1078" y="934"/>
                      </a:lnTo>
                      <a:lnTo>
                        <a:pt x="1078" y="932"/>
                      </a:lnTo>
                      <a:lnTo>
                        <a:pt x="1078" y="931"/>
                      </a:lnTo>
                      <a:lnTo>
                        <a:pt x="1078" y="932"/>
                      </a:lnTo>
                      <a:lnTo>
                        <a:pt x="1077" y="932"/>
                      </a:lnTo>
                      <a:lnTo>
                        <a:pt x="1077" y="931"/>
                      </a:lnTo>
                      <a:lnTo>
                        <a:pt x="1076" y="930"/>
                      </a:lnTo>
                      <a:lnTo>
                        <a:pt x="1076" y="931"/>
                      </a:lnTo>
                      <a:lnTo>
                        <a:pt x="1076" y="932"/>
                      </a:lnTo>
                      <a:lnTo>
                        <a:pt x="1076" y="931"/>
                      </a:lnTo>
                      <a:lnTo>
                        <a:pt x="1074" y="931"/>
                      </a:lnTo>
                      <a:lnTo>
                        <a:pt x="1074" y="930"/>
                      </a:lnTo>
                      <a:lnTo>
                        <a:pt x="1074" y="931"/>
                      </a:lnTo>
                      <a:lnTo>
                        <a:pt x="1073" y="931"/>
                      </a:lnTo>
                      <a:lnTo>
                        <a:pt x="1073" y="930"/>
                      </a:lnTo>
                      <a:lnTo>
                        <a:pt x="1072" y="929"/>
                      </a:lnTo>
                      <a:lnTo>
                        <a:pt x="1073" y="929"/>
                      </a:lnTo>
                      <a:lnTo>
                        <a:pt x="1072" y="929"/>
                      </a:lnTo>
                      <a:lnTo>
                        <a:pt x="1072" y="928"/>
                      </a:lnTo>
                      <a:lnTo>
                        <a:pt x="1072" y="927"/>
                      </a:lnTo>
                      <a:lnTo>
                        <a:pt x="1072" y="926"/>
                      </a:lnTo>
                      <a:lnTo>
                        <a:pt x="1071" y="925"/>
                      </a:lnTo>
                      <a:lnTo>
                        <a:pt x="1072" y="925"/>
                      </a:lnTo>
                      <a:lnTo>
                        <a:pt x="1071" y="925"/>
                      </a:lnTo>
                      <a:lnTo>
                        <a:pt x="1070" y="925"/>
                      </a:lnTo>
                      <a:lnTo>
                        <a:pt x="1070" y="924"/>
                      </a:lnTo>
                      <a:lnTo>
                        <a:pt x="1069" y="924"/>
                      </a:lnTo>
                      <a:lnTo>
                        <a:pt x="1069" y="923"/>
                      </a:lnTo>
                      <a:lnTo>
                        <a:pt x="1070" y="923"/>
                      </a:lnTo>
                      <a:lnTo>
                        <a:pt x="1069" y="923"/>
                      </a:lnTo>
                      <a:lnTo>
                        <a:pt x="1070" y="923"/>
                      </a:lnTo>
                      <a:lnTo>
                        <a:pt x="1070" y="922"/>
                      </a:lnTo>
                      <a:lnTo>
                        <a:pt x="1070" y="921"/>
                      </a:lnTo>
                      <a:lnTo>
                        <a:pt x="1071" y="921"/>
                      </a:lnTo>
                      <a:lnTo>
                        <a:pt x="1071" y="919"/>
                      </a:lnTo>
                      <a:lnTo>
                        <a:pt x="1070" y="919"/>
                      </a:lnTo>
                      <a:lnTo>
                        <a:pt x="1070" y="918"/>
                      </a:lnTo>
                      <a:lnTo>
                        <a:pt x="1069" y="917"/>
                      </a:lnTo>
                      <a:lnTo>
                        <a:pt x="1068" y="917"/>
                      </a:lnTo>
                      <a:lnTo>
                        <a:pt x="1068" y="918"/>
                      </a:lnTo>
                      <a:lnTo>
                        <a:pt x="1067" y="919"/>
                      </a:lnTo>
                      <a:lnTo>
                        <a:pt x="1067" y="921"/>
                      </a:lnTo>
                      <a:lnTo>
                        <a:pt x="1067" y="922"/>
                      </a:lnTo>
                      <a:lnTo>
                        <a:pt x="1066" y="922"/>
                      </a:lnTo>
                      <a:lnTo>
                        <a:pt x="1067" y="922"/>
                      </a:lnTo>
                      <a:lnTo>
                        <a:pt x="1066" y="923"/>
                      </a:lnTo>
                      <a:lnTo>
                        <a:pt x="1066" y="924"/>
                      </a:lnTo>
                      <a:lnTo>
                        <a:pt x="1065" y="924"/>
                      </a:lnTo>
                      <a:lnTo>
                        <a:pt x="1065" y="923"/>
                      </a:lnTo>
                      <a:lnTo>
                        <a:pt x="1064" y="924"/>
                      </a:lnTo>
                      <a:lnTo>
                        <a:pt x="1064" y="926"/>
                      </a:lnTo>
                      <a:lnTo>
                        <a:pt x="1063" y="926"/>
                      </a:lnTo>
                      <a:lnTo>
                        <a:pt x="1063" y="927"/>
                      </a:lnTo>
                      <a:lnTo>
                        <a:pt x="1061" y="928"/>
                      </a:lnTo>
                      <a:lnTo>
                        <a:pt x="1061" y="929"/>
                      </a:lnTo>
                      <a:lnTo>
                        <a:pt x="1060" y="929"/>
                      </a:lnTo>
                      <a:lnTo>
                        <a:pt x="1061" y="929"/>
                      </a:lnTo>
                      <a:lnTo>
                        <a:pt x="1061" y="928"/>
                      </a:lnTo>
                      <a:lnTo>
                        <a:pt x="1060" y="928"/>
                      </a:lnTo>
                      <a:lnTo>
                        <a:pt x="1059" y="928"/>
                      </a:lnTo>
                      <a:lnTo>
                        <a:pt x="1059" y="927"/>
                      </a:lnTo>
                      <a:lnTo>
                        <a:pt x="1059" y="928"/>
                      </a:lnTo>
                      <a:lnTo>
                        <a:pt x="1059" y="927"/>
                      </a:lnTo>
                      <a:lnTo>
                        <a:pt x="1060" y="927"/>
                      </a:lnTo>
                      <a:lnTo>
                        <a:pt x="1059" y="927"/>
                      </a:lnTo>
                      <a:lnTo>
                        <a:pt x="1060" y="927"/>
                      </a:lnTo>
                      <a:lnTo>
                        <a:pt x="1060" y="926"/>
                      </a:lnTo>
                      <a:lnTo>
                        <a:pt x="1060" y="925"/>
                      </a:lnTo>
                      <a:lnTo>
                        <a:pt x="1059" y="925"/>
                      </a:lnTo>
                      <a:lnTo>
                        <a:pt x="1061" y="925"/>
                      </a:lnTo>
                      <a:lnTo>
                        <a:pt x="1063" y="925"/>
                      </a:lnTo>
                      <a:lnTo>
                        <a:pt x="1063" y="924"/>
                      </a:lnTo>
                      <a:lnTo>
                        <a:pt x="1064" y="924"/>
                      </a:lnTo>
                      <a:lnTo>
                        <a:pt x="1064" y="923"/>
                      </a:lnTo>
                      <a:lnTo>
                        <a:pt x="1063" y="923"/>
                      </a:lnTo>
                      <a:lnTo>
                        <a:pt x="1063" y="924"/>
                      </a:lnTo>
                      <a:lnTo>
                        <a:pt x="1061" y="924"/>
                      </a:lnTo>
                      <a:lnTo>
                        <a:pt x="1063" y="924"/>
                      </a:lnTo>
                      <a:lnTo>
                        <a:pt x="1063" y="925"/>
                      </a:lnTo>
                      <a:lnTo>
                        <a:pt x="1061" y="925"/>
                      </a:lnTo>
                      <a:lnTo>
                        <a:pt x="1060" y="925"/>
                      </a:lnTo>
                      <a:lnTo>
                        <a:pt x="1059" y="925"/>
                      </a:lnTo>
                      <a:lnTo>
                        <a:pt x="1059" y="924"/>
                      </a:lnTo>
                      <a:lnTo>
                        <a:pt x="1059" y="925"/>
                      </a:lnTo>
                      <a:lnTo>
                        <a:pt x="1058" y="925"/>
                      </a:lnTo>
                      <a:lnTo>
                        <a:pt x="1058" y="924"/>
                      </a:lnTo>
                      <a:lnTo>
                        <a:pt x="1058" y="925"/>
                      </a:lnTo>
                      <a:lnTo>
                        <a:pt x="1059" y="925"/>
                      </a:lnTo>
                      <a:lnTo>
                        <a:pt x="1058" y="926"/>
                      </a:lnTo>
                      <a:lnTo>
                        <a:pt x="1058" y="925"/>
                      </a:lnTo>
                      <a:lnTo>
                        <a:pt x="1058" y="926"/>
                      </a:lnTo>
                      <a:lnTo>
                        <a:pt x="1057" y="925"/>
                      </a:lnTo>
                      <a:lnTo>
                        <a:pt x="1057" y="926"/>
                      </a:lnTo>
                      <a:lnTo>
                        <a:pt x="1057" y="925"/>
                      </a:lnTo>
                      <a:lnTo>
                        <a:pt x="1056" y="926"/>
                      </a:lnTo>
                      <a:lnTo>
                        <a:pt x="1056" y="927"/>
                      </a:lnTo>
                      <a:lnTo>
                        <a:pt x="1057" y="927"/>
                      </a:lnTo>
                      <a:lnTo>
                        <a:pt x="1056" y="927"/>
                      </a:lnTo>
                      <a:lnTo>
                        <a:pt x="1055" y="928"/>
                      </a:lnTo>
                      <a:lnTo>
                        <a:pt x="1054" y="928"/>
                      </a:lnTo>
                      <a:lnTo>
                        <a:pt x="1054" y="929"/>
                      </a:lnTo>
                      <a:lnTo>
                        <a:pt x="1053" y="930"/>
                      </a:lnTo>
                      <a:lnTo>
                        <a:pt x="1052" y="930"/>
                      </a:lnTo>
                      <a:lnTo>
                        <a:pt x="1052" y="931"/>
                      </a:lnTo>
                      <a:lnTo>
                        <a:pt x="1052" y="932"/>
                      </a:lnTo>
                      <a:lnTo>
                        <a:pt x="1052" y="931"/>
                      </a:lnTo>
                      <a:lnTo>
                        <a:pt x="1051" y="931"/>
                      </a:lnTo>
                      <a:lnTo>
                        <a:pt x="1050" y="931"/>
                      </a:lnTo>
                      <a:lnTo>
                        <a:pt x="1050" y="930"/>
                      </a:lnTo>
                      <a:lnTo>
                        <a:pt x="1048" y="930"/>
                      </a:lnTo>
                      <a:lnTo>
                        <a:pt x="1047" y="929"/>
                      </a:lnTo>
                      <a:lnTo>
                        <a:pt x="1048" y="929"/>
                      </a:lnTo>
                      <a:lnTo>
                        <a:pt x="1047" y="929"/>
                      </a:lnTo>
                      <a:lnTo>
                        <a:pt x="1047" y="927"/>
                      </a:lnTo>
                      <a:lnTo>
                        <a:pt x="1048" y="927"/>
                      </a:lnTo>
                      <a:lnTo>
                        <a:pt x="1048" y="926"/>
                      </a:lnTo>
                      <a:lnTo>
                        <a:pt x="1048" y="927"/>
                      </a:lnTo>
                      <a:lnTo>
                        <a:pt x="1048" y="926"/>
                      </a:lnTo>
                      <a:lnTo>
                        <a:pt x="1047" y="926"/>
                      </a:lnTo>
                      <a:lnTo>
                        <a:pt x="1047" y="927"/>
                      </a:lnTo>
                      <a:lnTo>
                        <a:pt x="1047" y="926"/>
                      </a:lnTo>
                      <a:lnTo>
                        <a:pt x="1047" y="925"/>
                      </a:lnTo>
                      <a:lnTo>
                        <a:pt x="1047" y="924"/>
                      </a:lnTo>
                      <a:lnTo>
                        <a:pt x="1048" y="924"/>
                      </a:lnTo>
                      <a:lnTo>
                        <a:pt x="1048" y="925"/>
                      </a:lnTo>
                      <a:lnTo>
                        <a:pt x="1048" y="926"/>
                      </a:lnTo>
                      <a:lnTo>
                        <a:pt x="1050" y="927"/>
                      </a:lnTo>
                      <a:lnTo>
                        <a:pt x="1048" y="927"/>
                      </a:lnTo>
                      <a:lnTo>
                        <a:pt x="1050" y="927"/>
                      </a:lnTo>
                      <a:lnTo>
                        <a:pt x="1050" y="928"/>
                      </a:lnTo>
                      <a:lnTo>
                        <a:pt x="1051" y="928"/>
                      </a:lnTo>
                      <a:lnTo>
                        <a:pt x="1050" y="928"/>
                      </a:lnTo>
                      <a:lnTo>
                        <a:pt x="1050" y="927"/>
                      </a:lnTo>
                      <a:lnTo>
                        <a:pt x="1051" y="927"/>
                      </a:lnTo>
                      <a:lnTo>
                        <a:pt x="1051" y="928"/>
                      </a:lnTo>
                      <a:lnTo>
                        <a:pt x="1052" y="927"/>
                      </a:lnTo>
                      <a:lnTo>
                        <a:pt x="1051" y="927"/>
                      </a:lnTo>
                      <a:lnTo>
                        <a:pt x="1052" y="926"/>
                      </a:lnTo>
                      <a:lnTo>
                        <a:pt x="1053" y="927"/>
                      </a:lnTo>
                      <a:lnTo>
                        <a:pt x="1053" y="926"/>
                      </a:lnTo>
                      <a:lnTo>
                        <a:pt x="1053" y="927"/>
                      </a:lnTo>
                      <a:lnTo>
                        <a:pt x="1053" y="926"/>
                      </a:lnTo>
                      <a:lnTo>
                        <a:pt x="1052" y="926"/>
                      </a:lnTo>
                      <a:lnTo>
                        <a:pt x="1052" y="925"/>
                      </a:lnTo>
                      <a:lnTo>
                        <a:pt x="1053" y="925"/>
                      </a:lnTo>
                      <a:lnTo>
                        <a:pt x="1054" y="925"/>
                      </a:lnTo>
                      <a:lnTo>
                        <a:pt x="1053" y="925"/>
                      </a:lnTo>
                      <a:lnTo>
                        <a:pt x="1054" y="924"/>
                      </a:lnTo>
                      <a:lnTo>
                        <a:pt x="1054" y="925"/>
                      </a:lnTo>
                      <a:lnTo>
                        <a:pt x="1054" y="924"/>
                      </a:lnTo>
                      <a:lnTo>
                        <a:pt x="1055" y="924"/>
                      </a:lnTo>
                      <a:lnTo>
                        <a:pt x="1055" y="925"/>
                      </a:lnTo>
                      <a:lnTo>
                        <a:pt x="1057" y="923"/>
                      </a:lnTo>
                      <a:lnTo>
                        <a:pt x="1056" y="923"/>
                      </a:lnTo>
                      <a:lnTo>
                        <a:pt x="1056" y="922"/>
                      </a:lnTo>
                      <a:lnTo>
                        <a:pt x="1054" y="924"/>
                      </a:lnTo>
                      <a:lnTo>
                        <a:pt x="1056" y="923"/>
                      </a:lnTo>
                      <a:lnTo>
                        <a:pt x="1056" y="922"/>
                      </a:lnTo>
                      <a:lnTo>
                        <a:pt x="1055" y="922"/>
                      </a:lnTo>
                      <a:lnTo>
                        <a:pt x="1055" y="923"/>
                      </a:lnTo>
                      <a:lnTo>
                        <a:pt x="1054" y="923"/>
                      </a:lnTo>
                      <a:lnTo>
                        <a:pt x="1055" y="923"/>
                      </a:lnTo>
                      <a:lnTo>
                        <a:pt x="1055" y="922"/>
                      </a:lnTo>
                      <a:lnTo>
                        <a:pt x="1054" y="922"/>
                      </a:lnTo>
                      <a:lnTo>
                        <a:pt x="1054" y="923"/>
                      </a:lnTo>
                      <a:lnTo>
                        <a:pt x="1054" y="922"/>
                      </a:lnTo>
                      <a:lnTo>
                        <a:pt x="1053" y="922"/>
                      </a:lnTo>
                      <a:lnTo>
                        <a:pt x="1053" y="923"/>
                      </a:lnTo>
                      <a:lnTo>
                        <a:pt x="1054" y="923"/>
                      </a:lnTo>
                      <a:lnTo>
                        <a:pt x="1054" y="924"/>
                      </a:lnTo>
                      <a:lnTo>
                        <a:pt x="1053" y="924"/>
                      </a:lnTo>
                      <a:lnTo>
                        <a:pt x="1052" y="924"/>
                      </a:lnTo>
                      <a:lnTo>
                        <a:pt x="1052" y="925"/>
                      </a:lnTo>
                      <a:lnTo>
                        <a:pt x="1052" y="924"/>
                      </a:lnTo>
                      <a:lnTo>
                        <a:pt x="1053" y="923"/>
                      </a:lnTo>
                      <a:lnTo>
                        <a:pt x="1052" y="923"/>
                      </a:lnTo>
                      <a:lnTo>
                        <a:pt x="1052" y="922"/>
                      </a:lnTo>
                      <a:lnTo>
                        <a:pt x="1052" y="923"/>
                      </a:lnTo>
                      <a:lnTo>
                        <a:pt x="1052" y="924"/>
                      </a:lnTo>
                      <a:lnTo>
                        <a:pt x="1052" y="925"/>
                      </a:lnTo>
                      <a:lnTo>
                        <a:pt x="1051" y="925"/>
                      </a:lnTo>
                      <a:lnTo>
                        <a:pt x="1051" y="927"/>
                      </a:lnTo>
                      <a:lnTo>
                        <a:pt x="1050" y="927"/>
                      </a:lnTo>
                      <a:lnTo>
                        <a:pt x="1050" y="926"/>
                      </a:lnTo>
                      <a:lnTo>
                        <a:pt x="1050" y="925"/>
                      </a:lnTo>
                      <a:lnTo>
                        <a:pt x="1051" y="926"/>
                      </a:lnTo>
                      <a:lnTo>
                        <a:pt x="1051" y="927"/>
                      </a:lnTo>
                      <a:lnTo>
                        <a:pt x="1051" y="926"/>
                      </a:lnTo>
                      <a:lnTo>
                        <a:pt x="1050" y="924"/>
                      </a:lnTo>
                      <a:lnTo>
                        <a:pt x="1050" y="923"/>
                      </a:lnTo>
                      <a:lnTo>
                        <a:pt x="1050" y="922"/>
                      </a:lnTo>
                      <a:lnTo>
                        <a:pt x="1048" y="922"/>
                      </a:lnTo>
                      <a:lnTo>
                        <a:pt x="1047" y="922"/>
                      </a:lnTo>
                      <a:lnTo>
                        <a:pt x="1047" y="921"/>
                      </a:lnTo>
                      <a:lnTo>
                        <a:pt x="1046" y="921"/>
                      </a:lnTo>
                      <a:lnTo>
                        <a:pt x="1043" y="922"/>
                      </a:lnTo>
                      <a:lnTo>
                        <a:pt x="1041" y="923"/>
                      </a:lnTo>
                      <a:lnTo>
                        <a:pt x="1041" y="922"/>
                      </a:lnTo>
                      <a:lnTo>
                        <a:pt x="1040" y="922"/>
                      </a:lnTo>
                      <a:lnTo>
                        <a:pt x="1039" y="922"/>
                      </a:lnTo>
                      <a:lnTo>
                        <a:pt x="1039" y="923"/>
                      </a:lnTo>
                      <a:lnTo>
                        <a:pt x="1040" y="923"/>
                      </a:lnTo>
                      <a:lnTo>
                        <a:pt x="1040" y="922"/>
                      </a:lnTo>
                      <a:lnTo>
                        <a:pt x="1040" y="923"/>
                      </a:lnTo>
                      <a:lnTo>
                        <a:pt x="1041" y="923"/>
                      </a:lnTo>
                      <a:lnTo>
                        <a:pt x="1040" y="923"/>
                      </a:lnTo>
                      <a:lnTo>
                        <a:pt x="1040" y="924"/>
                      </a:lnTo>
                      <a:lnTo>
                        <a:pt x="1039" y="924"/>
                      </a:lnTo>
                      <a:lnTo>
                        <a:pt x="1038" y="925"/>
                      </a:lnTo>
                      <a:lnTo>
                        <a:pt x="1037" y="925"/>
                      </a:lnTo>
                      <a:lnTo>
                        <a:pt x="1037" y="924"/>
                      </a:lnTo>
                      <a:lnTo>
                        <a:pt x="1038" y="924"/>
                      </a:lnTo>
                      <a:lnTo>
                        <a:pt x="1037" y="924"/>
                      </a:lnTo>
                      <a:lnTo>
                        <a:pt x="1038" y="924"/>
                      </a:lnTo>
                      <a:lnTo>
                        <a:pt x="1037" y="924"/>
                      </a:lnTo>
                      <a:lnTo>
                        <a:pt x="1035" y="924"/>
                      </a:lnTo>
                      <a:lnTo>
                        <a:pt x="1037" y="924"/>
                      </a:lnTo>
                      <a:lnTo>
                        <a:pt x="1037" y="925"/>
                      </a:lnTo>
                      <a:lnTo>
                        <a:pt x="1035" y="924"/>
                      </a:lnTo>
                      <a:lnTo>
                        <a:pt x="1035" y="925"/>
                      </a:lnTo>
                      <a:lnTo>
                        <a:pt x="1034" y="925"/>
                      </a:lnTo>
                      <a:lnTo>
                        <a:pt x="1034" y="924"/>
                      </a:lnTo>
                      <a:lnTo>
                        <a:pt x="1034" y="923"/>
                      </a:lnTo>
                      <a:lnTo>
                        <a:pt x="1034" y="924"/>
                      </a:lnTo>
                      <a:lnTo>
                        <a:pt x="1034" y="925"/>
                      </a:lnTo>
                      <a:lnTo>
                        <a:pt x="1033" y="924"/>
                      </a:lnTo>
                      <a:lnTo>
                        <a:pt x="1033" y="925"/>
                      </a:lnTo>
                      <a:lnTo>
                        <a:pt x="1032" y="925"/>
                      </a:lnTo>
                      <a:lnTo>
                        <a:pt x="1032" y="924"/>
                      </a:lnTo>
                      <a:lnTo>
                        <a:pt x="1031" y="925"/>
                      </a:lnTo>
                      <a:lnTo>
                        <a:pt x="1030" y="925"/>
                      </a:lnTo>
                      <a:lnTo>
                        <a:pt x="1030" y="924"/>
                      </a:lnTo>
                      <a:lnTo>
                        <a:pt x="1030" y="923"/>
                      </a:lnTo>
                      <a:lnTo>
                        <a:pt x="1030" y="924"/>
                      </a:lnTo>
                      <a:lnTo>
                        <a:pt x="1029" y="924"/>
                      </a:lnTo>
                      <a:lnTo>
                        <a:pt x="1028" y="924"/>
                      </a:lnTo>
                      <a:lnTo>
                        <a:pt x="1028" y="925"/>
                      </a:lnTo>
                      <a:lnTo>
                        <a:pt x="1027" y="925"/>
                      </a:lnTo>
                      <a:lnTo>
                        <a:pt x="1027" y="924"/>
                      </a:lnTo>
                      <a:lnTo>
                        <a:pt x="1028" y="924"/>
                      </a:lnTo>
                      <a:lnTo>
                        <a:pt x="1028" y="923"/>
                      </a:lnTo>
                      <a:lnTo>
                        <a:pt x="1027" y="923"/>
                      </a:lnTo>
                      <a:lnTo>
                        <a:pt x="1027" y="925"/>
                      </a:lnTo>
                      <a:lnTo>
                        <a:pt x="1026" y="925"/>
                      </a:lnTo>
                      <a:lnTo>
                        <a:pt x="1026" y="924"/>
                      </a:lnTo>
                      <a:lnTo>
                        <a:pt x="1026" y="923"/>
                      </a:lnTo>
                      <a:lnTo>
                        <a:pt x="1025" y="922"/>
                      </a:lnTo>
                      <a:lnTo>
                        <a:pt x="1025" y="923"/>
                      </a:lnTo>
                      <a:lnTo>
                        <a:pt x="1025" y="922"/>
                      </a:lnTo>
                      <a:lnTo>
                        <a:pt x="1025" y="921"/>
                      </a:lnTo>
                      <a:lnTo>
                        <a:pt x="1026" y="921"/>
                      </a:lnTo>
                      <a:lnTo>
                        <a:pt x="1025" y="921"/>
                      </a:lnTo>
                      <a:lnTo>
                        <a:pt x="1024" y="921"/>
                      </a:lnTo>
                      <a:lnTo>
                        <a:pt x="1024" y="919"/>
                      </a:lnTo>
                      <a:lnTo>
                        <a:pt x="1024" y="918"/>
                      </a:lnTo>
                      <a:lnTo>
                        <a:pt x="1024" y="917"/>
                      </a:lnTo>
                      <a:lnTo>
                        <a:pt x="1025" y="917"/>
                      </a:lnTo>
                      <a:lnTo>
                        <a:pt x="1025" y="916"/>
                      </a:lnTo>
                      <a:lnTo>
                        <a:pt x="1026" y="915"/>
                      </a:lnTo>
                      <a:lnTo>
                        <a:pt x="1026" y="914"/>
                      </a:lnTo>
                      <a:lnTo>
                        <a:pt x="1026" y="913"/>
                      </a:lnTo>
                      <a:lnTo>
                        <a:pt x="1026" y="912"/>
                      </a:lnTo>
                      <a:lnTo>
                        <a:pt x="1025" y="911"/>
                      </a:lnTo>
                      <a:lnTo>
                        <a:pt x="1026" y="911"/>
                      </a:lnTo>
                      <a:lnTo>
                        <a:pt x="1026" y="910"/>
                      </a:lnTo>
                      <a:lnTo>
                        <a:pt x="1025" y="911"/>
                      </a:lnTo>
                      <a:lnTo>
                        <a:pt x="1024" y="912"/>
                      </a:lnTo>
                      <a:lnTo>
                        <a:pt x="1024" y="911"/>
                      </a:lnTo>
                      <a:lnTo>
                        <a:pt x="1022" y="911"/>
                      </a:lnTo>
                      <a:lnTo>
                        <a:pt x="1024" y="912"/>
                      </a:lnTo>
                      <a:lnTo>
                        <a:pt x="1022" y="912"/>
                      </a:lnTo>
                      <a:lnTo>
                        <a:pt x="1021" y="912"/>
                      </a:lnTo>
                      <a:lnTo>
                        <a:pt x="1021" y="913"/>
                      </a:lnTo>
                      <a:lnTo>
                        <a:pt x="1020" y="913"/>
                      </a:lnTo>
                      <a:lnTo>
                        <a:pt x="1020" y="914"/>
                      </a:lnTo>
                      <a:lnTo>
                        <a:pt x="1019" y="914"/>
                      </a:lnTo>
                      <a:lnTo>
                        <a:pt x="1018" y="914"/>
                      </a:lnTo>
                      <a:lnTo>
                        <a:pt x="1018" y="915"/>
                      </a:lnTo>
                      <a:lnTo>
                        <a:pt x="1018" y="916"/>
                      </a:lnTo>
                      <a:lnTo>
                        <a:pt x="1017" y="916"/>
                      </a:lnTo>
                      <a:lnTo>
                        <a:pt x="1016" y="916"/>
                      </a:lnTo>
                      <a:lnTo>
                        <a:pt x="1015" y="917"/>
                      </a:lnTo>
                      <a:lnTo>
                        <a:pt x="1014" y="917"/>
                      </a:lnTo>
                      <a:lnTo>
                        <a:pt x="1015" y="918"/>
                      </a:lnTo>
                      <a:lnTo>
                        <a:pt x="1014" y="918"/>
                      </a:lnTo>
                      <a:lnTo>
                        <a:pt x="1013" y="918"/>
                      </a:lnTo>
                      <a:lnTo>
                        <a:pt x="1012" y="918"/>
                      </a:lnTo>
                      <a:lnTo>
                        <a:pt x="1012" y="917"/>
                      </a:lnTo>
                      <a:lnTo>
                        <a:pt x="1012" y="918"/>
                      </a:lnTo>
                      <a:lnTo>
                        <a:pt x="1011" y="919"/>
                      </a:lnTo>
                      <a:lnTo>
                        <a:pt x="1011" y="921"/>
                      </a:lnTo>
                      <a:lnTo>
                        <a:pt x="1009" y="921"/>
                      </a:lnTo>
                      <a:lnTo>
                        <a:pt x="1008" y="919"/>
                      </a:lnTo>
                      <a:lnTo>
                        <a:pt x="1009" y="918"/>
                      </a:lnTo>
                      <a:lnTo>
                        <a:pt x="1011" y="918"/>
                      </a:lnTo>
                      <a:lnTo>
                        <a:pt x="1011" y="917"/>
                      </a:lnTo>
                      <a:lnTo>
                        <a:pt x="1011" y="918"/>
                      </a:lnTo>
                      <a:lnTo>
                        <a:pt x="1011" y="917"/>
                      </a:lnTo>
                      <a:lnTo>
                        <a:pt x="1009" y="917"/>
                      </a:lnTo>
                      <a:lnTo>
                        <a:pt x="1009" y="918"/>
                      </a:lnTo>
                      <a:lnTo>
                        <a:pt x="1008" y="918"/>
                      </a:lnTo>
                      <a:lnTo>
                        <a:pt x="1007" y="918"/>
                      </a:lnTo>
                      <a:lnTo>
                        <a:pt x="1007" y="917"/>
                      </a:lnTo>
                      <a:lnTo>
                        <a:pt x="1006" y="918"/>
                      </a:lnTo>
                      <a:lnTo>
                        <a:pt x="1006" y="917"/>
                      </a:lnTo>
                      <a:lnTo>
                        <a:pt x="1005" y="917"/>
                      </a:lnTo>
                      <a:lnTo>
                        <a:pt x="1005" y="916"/>
                      </a:lnTo>
                      <a:lnTo>
                        <a:pt x="1006" y="916"/>
                      </a:lnTo>
                      <a:lnTo>
                        <a:pt x="1007" y="916"/>
                      </a:lnTo>
                      <a:lnTo>
                        <a:pt x="1008" y="916"/>
                      </a:lnTo>
                      <a:lnTo>
                        <a:pt x="1007" y="915"/>
                      </a:lnTo>
                      <a:lnTo>
                        <a:pt x="1007" y="914"/>
                      </a:lnTo>
                      <a:lnTo>
                        <a:pt x="1008" y="914"/>
                      </a:lnTo>
                      <a:lnTo>
                        <a:pt x="1009" y="914"/>
                      </a:lnTo>
                      <a:lnTo>
                        <a:pt x="1011" y="913"/>
                      </a:lnTo>
                      <a:lnTo>
                        <a:pt x="1012" y="913"/>
                      </a:lnTo>
                      <a:lnTo>
                        <a:pt x="1012" y="914"/>
                      </a:lnTo>
                      <a:lnTo>
                        <a:pt x="1013" y="914"/>
                      </a:lnTo>
                      <a:lnTo>
                        <a:pt x="1014" y="913"/>
                      </a:lnTo>
                      <a:lnTo>
                        <a:pt x="1014" y="912"/>
                      </a:lnTo>
                      <a:lnTo>
                        <a:pt x="1013" y="912"/>
                      </a:lnTo>
                      <a:lnTo>
                        <a:pt x="1012" y="912"/>
                      </a:lnTo>
                      <a:lnTo>
                        <a:pt x="1011" y="912"/>
                      </a:lnTo>
                      <a:lnTo>
                        <a:pt x="1009" y="912"/>
                      </a:lnTo>
                      <a:lnTo>
                        <a:pt x="1009" y="911"/>
                      </a:lnTo>
                      <a:lnTo>
                        <a:pt x="1011" y="911"/>
                      </a:lnTo>
                      <a:lnTo>
                        <a:pt x="1012" y="911"/>
                      </a:lnTo>
                      <a:lnTo>
                        <a:pt x="1013" y="911"/>
                      </a:lnTo>
                      <a:lnTo>
                        <a:pt x="1014" y="911"/>
                      </a:lnTo>
                      <a:lnTo>
                        <a:pt x="1015" y="911"/>
                      </a:lnTo>
                      <a:lnTo>
                        <a:pt x="1016" y="910"/>
                      </a:lnTo>
                      <a:lnTo>
                        <a:pt x="1016" y="909"/>
                      </a:lnTo>
                      <a:lnTo>
                        <a:pt x="1017" y="909"/>
                      </a:lnTo>
                      <a:lnTo>
                        <a:pt x="1017" y="907"/>
                      </a:lnTo>
                      <a:lnTo>
                        <a:pt x="1016" y="907"/>
                      </a:lnTo>
                      <a:lnTo>
                        <a:pt x="1017" y="907"/>
                      </a:lnTo>
                      <a:lnTo>
                        <a:pt x="1017" y="906"/>
                      </a:lnTo>
                      <a:lnTo>
                        <a:pt x="1016" y="906"/>
                      </a:lnTo>
                      <a:lnTo>
                        <a:pt x="1016" y="907"/>
                      </a:lnTo>
                      <a:lnTo>
                        <a:pt x="1016" y="906"/>
                      </a:lnTo>
                      <a:lnTo>
                        <a:pt x="1015" y="905"/>
                      </a:lnTo>
                      <a:lnTo>
                        <a:pt x="1014" y="905"/>
                      </a:lnTo>
                      <a:lnTo>
                        <a:pt x="1014" y="906"/>
                      </a:lnTo>
                      <a:lnTo>
                        <a:pt x="1013" y="906"/>
                      </a:lnTo>
                      <a:lnTo>
                        <a:pt x="1013" y="907"/>
                      </a:lnTo>
                      <a:lnTo>
                        <a:pt x="1014" y="907"/>
                      </a:lnTo>
                      <a:lnTo>
                        <a:pt x="1014" y="909"/>
                      </a:lnTo>
                      <a:lnTo>
                        <a:pt x="1013" y="909"/>
                      </a:lnTo>
                      <a:lnTo>
                        <a:pt x="1013" y="907"/>
                      </a:lnTo>
                      <a:lnTo>
                        <a:pt x="1013" y="909"/>
                      </a:lnTo>
                      <a:lnTo>
                        <a:pt x="1012" y="909"/>
                      </a:lnTo>
                      <a:lnTo>
                        <a:pt x="1012" y="910"/>
                      </a:lnTo>
                      <a:lnTo>
                        <a:pt x="1012" y="909"/>
                      </a:lnTo>
                      <a:lnTo>
                        <a:pt x="1011" y="909"/>
                      </a:lnTo>
                      <a:lnTo>
                        <a:pt x="1011" y="907"/>
                      </a:lnTo>
                      <a:lnTo>
                        <a:pt x="1009" y="907"/>
                      </a:lnTo>
                      <a:lnTo>
                        <a:pt x="1008" y="909"/>
                      </a:lnTo>
                      <a:lnTo>
                        <a:pt x="1007" y="909"/>
                      </a:lnTo>
                      <a:lnTo>
                        <a:pt x="1006" y="909"/>
                      </a:lnTo>
                      <a:lnTo>
                        <a:pt x="1007" y="909"/>
                      </a:lnTo>
                      <a:lnTo>
                        <a:pt x="1007" y="907"/>
                      </a:lnTo>
                      <a:lnTo>
                        <a:pt x="1008" y="907"/>
                      </a:lnTo>
                      <a:lnTo>
                        <a:pt x="1007" y="906"/>
                      </a:lnTo>
                      <a:lnTo>
                        <a:pt x="1008" y="906"/>
                      </a:lnTo>
                      <a:lnTo>
                        <a:pt x="1008" y="905"/>
                      </a:lnTo>
                      <a:lnTo>
                        <a:pt x="1009" y="905"/>
                      </a:lnTo>
                      <a:lnTo>
                        <a:pt x="1011" y="905"/>
                      </a:lnTo>
                      <a:lnTo>
                        <a:pt x="1011" y="904"/>
                      </a:lnTo>
                      <a:lnTo>
                        <a:pt x="1012" y="904"/>
                      </a:lnTo>
                      <a:lnTo>
                        <a:pt x="1013" y="904"/>
                      </a:lnTo>
                      <a:lnTo>
                        <a:pt x="1013" y="903"/>
                      </a:lnTo>
                      <a:lnTo>
                        <a:pt x="1012" y="903"/>
                      </a:lnTo>
                      <a:lnTo>
                        <a:pt x="1012" y="904"/>
                      </a:lnTo>
                      <a:lnTo>
                        <a:pt x="1011" y="903"/>
                      </a:lnTo>
                      <a:lnTo>
                        <a:pt x="1011" y="904"/>
                      </a:lnTo>
                      <a:lnTo>
                        <a:pt x="1009" y="903"/>
                      </a:lnTo>
                      <a:lnTo>
                        <a:pt x="1011" y="903"/>
                      </a:lnTo>
                      <a:lnTo>
                        <a:pt x="1011" y="902"/>
                      </a:lnTo>
                      <a:lnTo>
                        <a:pt x="1011" y="901"/>
                      </a:lnTo>
                      <a:lnTo>
                        <a:pt x="1011" y="900"/>
                      </a:lnTo>
                      <a:lnTo>
                        <a:pt x="1011" y="899"/>
                      </a:lnTo>
                      <a:lnTo>
                        <a:pt x="1011" y="897"/>
                      </a:lnTo>
                      <a:lnTo>
                        <a:pt x="1012" y="897"/>
                      </a:lnTo>
                      <a:lnTo>
                        <a:pt x="1013" y="897"/>
                      </a:lnTo>
                      <a:lnTo>
                        <a:pt x="1014" y="898"/>
                      </a:lnTo>
                      <a:lnTo>
                        <a:pt x="1014" y="899"/>
                      </a:lnTo>
                      <a:lnTo>
                        <a:pt x="1013" y="899"/>
                      </a:lnTo>
                      <a:lnTo>
                        <a:pt x="1014" y="899"/>
                      </a:lnTo>
                      <a:lnTo>
                        <a:pt x="1014" y="898"/>
                      </a:lnTo>
                      <a:lnTo>
                        <a:pt x="1014" y="897"/>
                      </a:lnTo>
                      <a:lnTo>
                        <a:pt x="1015" y="897"/>
                      </a:lnTo>
                      <a:lnTo>
                        <a:pt x="1015" y="896"/>
                      </a:lnTo>
                      <a:lnTo>
                        <a:pt x="1015" y="897"/>
                      </a:lnTo>
                      <a:lnTo>
                        <a:pt x="1016" y="898"/>
                      </a:lnTo>
                      <a:lnTo>
                        <a:pt x="1017" y="899"/>
                      </a:lnTo>
                      <a:lnTo>
                        <a:pt x="1017" y="900"/>
                      </a:lnTo>
                      <a:lnTo>
                        <a:pt x="1017" y="901"/>
                      </a:lnTo>
                      <a:lnTo>
                        <a:pt x="1018" y="901"/>
                      </a:lnTo>
                      <a:lnTo>
                        <a:pt x="1019" y="901"/>
                      </a:lnTo>
                      <a:lnTo>
                        <a:pt x="1020" y="901"/>
                      </a:lnTo>
                      <a:lnTo>
                        <a:pt x="1020" y="900"/>
                      </a:lnTo>
                      <a:lnTo>
                        <a:pt x="1021" y="900"/>
                      </a:lnTo>
                      <a:lnTo>
                        <a:pt x="1022" y="900"/>
                      </a:lnTo>
                      <a:lnTo>
                        <a:pt x="1022" y="899"/>
                      </a:lnTo>
                      <a:lnTo>
                        <a:pt x="1022" y="898"/>
                      </a:lnTo>
                      <a:lnTo>
                        <a:pt x="1022" y="897"/>
                      </a:lnTo>
                      <a:lnTo>
                        <a:pt x="1024" y="897"/>
                      </a:lnTo>
                      <a:lnTo>
                        <a:pt x="1024" y="896"/>
                      </a:lnTo>
                      <a:lnTo>
                        <a:pt x="1024" y="894"/>
                      </a:lnTo>
                      <a:lnTo>
                        <a:pt x="1025" y="892"/>
                      </a:lnTo>
                      <a:lnTo>
                        <a:pt x="1024" y="892"/>
                      </a:lnTo>
                      <a:lnTo>
                        <a:pt x="1022" y="891"/>
                      </a:lnTo>
                      <a:lnTo>
                        <a:pt x="1022" y="890"/>
                      </a:lnTo>
                      <a:lnTo>
                        <a:pt x="1021" y="890"/>
                      </a:lnTo>
                      <a:lnTo>
                        <a:pt x="1020" y="889"/>
                      </a:lnTo>
                      <a:lnTo>
                        <a:pt x="1020" y="888"/>
                      </a:lnTo>
                      <a:lnTo>
                        <a:pt x="1018" y="888"/>
                      </a:lnTo>
                      <a:lnTo>
                        <a:pt x="1018" y="887"/>
                      </a:lnTo>
                      <a:lnTo>
                        <a:pt x="1017" y="886"/>
                      </a:lnTo>
                      <a:lnTo>
                        <a:pt x="1017" y="885"/>
                      </a:lnTo>
                      <a:lnTo>
                        <a:pt x="1016" y="885"/>
                      </a:lnTo>
                      <a:lnTo>
                        <a:pt x="1016" y="884"/>
                      </a:lnTo>
                      <a:lnTo>
                        <a:pt x="1015" y="884"/>
                      </a:lnTo>
                      <a:lnTo>
                        <a:pt x="1014" y="883"/>
                      </a:lnTo>
                      <a:lnTo>
                        <a:pt x="1013" y="883"/>
                      </a:lnTo>
                      <a:lnTo>
                        <a:pt x="1012" y="881"/>
                      </a:lnTo>
                      <a:lnTo>
                        <a:pt x="1011" y="880"/>
                      </a:lnTo>
                      <a:lnTo>
                        <a:pt x="1009" y="880"/>
                      </a:lnTo>
                      <a:lnTo>
                        <a:pt x="1008" y="880"/>
                      </a:lnTo>
                      <a:lnTo>
                        <a:pt x="1007" y="880"/>
                      </a:lnTo>
                      <a:lnTo>
                        <a:pt x="1005" y="880"/>
                      </a:lnTo>
                      <a:lnTo>
                        <a:pt x="1004" y="880"/>
                      </a:lnTo>
                      <a:lnTo>
                        <a:pt x="1003" y="880"/>
                      </a:lnTo>
                      <a:lnTo>
                        <a:pt x="1003" y="879"/>
                      </a:lnTo>
                      <a:lnTo>
                        <a:pt x="1001" y="880"/>
                      </a:lnTo>
                      <a:lnTo>
                        <a:pt x="1000" y="880"/>
                      </a:lnTo>
                      <a:lnTo>
                        <a:pt x="997" y="881"/>
                      </a:lnTo>
                      <a:lnTo>
                        <a:pt x="996" y="881"/>
                      </a:lnTo>
                      <a:lnTo>
                        <a:pt x="995" y="881"/>
                      </a:lnTo>
                      <a:lnTo>
                        <a:pt x="994" y="880"/>
                      </a:lnTo>
                      <a:lnTo>
                        <a:pt x="995" y="880"/>
                      </a:lnTo>
                      <a:lnTo>
                        <a:pt x="994" y="880"/>
                      </a:lnTo>
                      <a:lnTo>
                        <a:pt x="993" y="880"/>
                      </a:lnTo>
                      <a:lnTo>
                        <a:pt x="993" y="879"/>
                      </a:lnTo>
                      <a:lnTo>
                        <a:pt x="994" y="879"/>
                      </a:lnTo>
                      <a:lnTo>
                        <a:pt x="994" y="877"/>
                      </a:lnTo>
                      <a:lnTo>
                        <a:pt x="993" y="877"/>
                      </a:lnTo>
                      <a:lnTo>
                        <a:pt x="993" y="876"/>
                      </a:lnTo>
                      <a:lnTo>
                        <a:pt x="992" y="876"/>
                      </a:lnTo>
                      <a:lnTo>
                        <a:pt x="991" y="876"/>
                      </a:lnTo>
                      <a:lnTo>
                        <a:pt x="990" y="876"/>
                      </a:lnTo>
                      <a:lnTo>
                        <a:pt x="990" y="877"/>
                      </a:lnTo>
                      <a:lnTo>
                        <a:pt x="989" y="877"/>
                      </a:lnTo>
                      <a:lnTo>
                        <a:pt x="989" y="878"/>
                      </a:lnTo>
                      <a:lnTo>
                        <a:pt x="988" y="878"/>
                      </a:lnTo>
                      <a:lnTo>
                        <a:pt x="988" y="879"/>
                      </a:lnTo>
                      <a:lnTo>
                        <a:pt x="988" y="880"/>
                      </a:lnTo>
                      <a:lnTo>
                        <a:pt x="988" y="881"/>
                      </a:lnTo>
                      <a:lnTo>
                        <a:pt x="989" y="881"/>
                      </a:lnTo>
                      <a:lnTo>
                        <a:pt x="988" y="881"/>
                      </a:lnTo>
                      <a:lnTo>
                        <a:pt x="987" y="881"/>
                      </a:lnTo>
                      <a:lnTo>
                        <a:pt x="986" y="883"/>
                      </a:lnTo>
                      <a:lnTo>
                        <a:pt x="986" y="884"/>
                      </a:lnTo>
                      <a:lnTo>
                        <a:pt x="984" y="884"/>
                      </a:lnTo>
                      <a:lnTo>
                        <a:pt x="984" y="885"/>
                      </a:lnTo>
                      <a:lnTo>
                        <a:pt x="983" y="885"/>
                      </a:lnTo>
                      <a:lnTo>
                        <a:pt x="983" y="884"/>
                      </a:lnTo>
                      <a:lnTo>
                        <a:pt x="982" y="884"/>
                      </a:lnTo>
                      <a:lnTo>
                        <a:pt x="982" y="885"/>
                      </a:lnTo>
                      <a:lnTo>
                        <a:pt x="983" y="885"/>
                      </a:lnTo>
                      <a:lnTo>
                        <a:pt x="983" y="886"/>
                      </a:lnTo>
                      <a:lnTo>
                        <a:pt x="982" y="886"/>
                      </a:lnTo>
                      <a:lnTo>
                        <a:pt x="981" y="885"/>
                      </a:lnTo>
                      <a:lnTo>
                        <a:pt x="980" y="885"/>
                      </a:lnTo>
                      <a:lnTo>
                        <a:pt x="979" y="886"/>
                      </a:lnTo>
                      <a:lnTo>
                        <a:pt x="979" y="887"/>
                      </a:lnTo>
                      <a:lnTo>
                        <a:pt x="978" y="887"/>
                      </a:lnTo>
                      <a:lnTo>
                        <a:pt x="977" y="887"/>
                      </a:lnTo>
                      <a:lnTo>
                        <a:pt x="977" y="886"/>
                      </a:lnTo>
                      <a:lnTo>
                        <a:pt x="977" y="885"/>
                      </a:lnTo>
                      <a:lnTo>
                        <a:pt x="978" y="885"/>
                      </a:lnTo>
                      <a:lnTo>
                        <a:pt x="978" y="886"/>
                      </a:lnTo>
                      <a:lnTo>
                        <a:pt x="979" y="886"/>
                      </a:lnTo>
                      <a:lnTo>
                        <a:pt x="979" y="885"/>
                      </a:lnTo>
                      <a:lnTo>
                        <a:pt x="978" y="884"/>
                      </a:lnTo>
                      <a:lnTo>
                        <a:pt x="978" y="885"/>
                      </a:lnTo>
                      <a:lnTo>
                        <a:pt x="977" y="884"/>
                      </a:lnTo>
                      <a:lnTo>
                        <a:pt x="977" y="885"/>
                      </a:lnTo>
                      <a:lnTo>
                        <a:pt x="976" y="885"/>
                      </a:lnTo>
                      <a:lnTo>
                        <a:pt x="976" y="884"/>
                      </a:lnTo>
                      <a:lnTo>
                        <a:pt x="975" y="884"/>
                      </a:lnTo>
                      <a:lnTo>
                        <a:pt x="974" y="884"/>
                      </a:lnTo>
                      <a:lnTo>
                        <a:pt x="973" y="885"/>
                      </a:lnTo>
                      <a:lnTo>
                        <a:pt x="973" y="884"/>
                      </a:lnTo>
                      <a:lnTo>
                        <a:pt x="974" y="884"/>
                      </a:lnTo>
                      <a:lnTo>
                        <a:pt x="974" y="883"/>
                      </a:lnTo>
                      <a:lnTo>
                        <a:pt x="974" y="881"/>
                      </a:lnTo>
                      <a:lnTo>
                        <a:pt x="973" y="881"/>
                      </a:lnTo>
                      <a:lnTo>
                        <a:pt x="974" y="881"/>
                      </a:lnTo>
                      <a:lnTo>
                        <a:pt x="974" y="880"/>
                      </a:lnTo>
                      <a:lnTo>
                        <a:pt x="975" y="880"/>
                      </a:lnTo>
                      <a:lnTo>
                        <a:pt x="976" y="880"/>
                      </a:lnTo>
                      <a:lnTo>
                        <a:pt x="977" y="880"/>
                      </a:lnTo>
                      <a:lnTo>
                        <a:pt x="977" y="881"/>
                      </a:lnTo>
                      <a:lnTo>
                        <a:pt x="976" y="881"/>
                      </a:lnTo>
                      <a:lnTo>
                        <a:pt x="977" y="881"/>
                      </a:lnTo>
                      <a:lnTo>
                        <a:pt x="978" y="881"/>
                      </a:lnTo>
                      <a:lnTo>
                        <a:pt x="978" y="880"/>
                      </a:lnTo>
                      <a:lnTo>
                        <a:pt x="978" y="879"/>
                      </a:lnTo>
                      <a:lnTo>
                        <a:pt x="979" y="879"/>
                      </a:lnTo>
                      <a:lnTo>
                        <a:pt x="979" y="878"/>
                      </a:lnTo>
                      <a:lnTo>
                        <a:pt x="980" y="877"/>
                      </a:lnTo>
                      <a:lnTo>
                        <a:pt x="981" y="876"/>
                      </a:lnTo>
                      <a:lnTo>
                        <a:pt x="982" y="875"/>
                      </a:lnTo>
                      <a:lnTo>
                        <a:pt x="982" y="873"/>
                      </a:lnTo>
                      <a:lnTo>
                        <a:pt x="982" y="872"/>
                      </a:lnTo>
                      <a:lnTo>
                        <a:pt x="981" y="871"/>
                      </a:lnTo>
                      <a:lnTo>
                        <a:pt x="980" y="871"/>
                      </a:lnTo>
                      <a:lnTo>
                        <a:pt x="980" y="870"/>
                      </a:lnTo>
                      <a:lnTo>
                        <a:pt x="979" y="870"/>
                      </a:lnTo>
                      <a:lnTo>
                        <a:pt x="978" y="870"/>
                      </a:lnTo>
                      <a:lnTo>
                        <a:pt x="978" y="868"/>
                      </a:lnTo>
                      <a:lnTo>
                        <a:pt x="977" y="868"/>
                      </a:lnTo>
                      <a:lnTo>
                        <a:pt x="976" y="868"/>
                      </a:lnTo>
                      <a:lnTo>
                        <a:pt x="975" y="868"/>
                      </a:lnTo>
                      <a:lnTo>
                        <a:pt x="974" y="868"/>
                      </a:lnTo>
                      <a:lnTo>
                        <a:pt x="973" y="868"/>
                      </a:lnTo>
                      <a:lnTo>
                        <a:pt x="971" y="868"/>
                      </a:lnTo>
                      <a:lnTo>
                        <a:pt x="970" y="868"/>
                      </a:lnTo>
                      <a:lnTo>
                        <a:pt x="970" y="870"/>
                      </a:lnTo>
                      <a:lnTo>
                        <a:pt x="969" y="870"/>
                      </a:lnTo>
                      <a:lnTo>
                        <a:pt x="969" y="871"/>
                      </a:lnTo>
                      <a:lnTo>
                        <a:pt x="968" y="872"/>
                      </a:lnTo>
                      <a:lnTo>
                        <a:pt x="968" y="873"/>
                      </a:lnTo>
                      <a:lnTo>
                        <a:pt x="968" y="874"/>
                      </a:lnTo>
                      <a:lnTo>
                        <a:pt x="967" y="874"/>
                      </a:lnTo>
                      <a:lnTo>
                        <a:pt x="967" y="875"/>
                      </a:lnTo>
                      <a:lnTo>
                        <a:pt x="967" y="877"/>
                      </a:lnTo>
                      <a:lnTo>
                        <a:pt x="967" y="878"/>
                      </a:lnTo>
                      <a:lnTo>
                        <a:pt x="966" y="878"/>
                      </a:lnTo>
                      <a:lnTo>
                        <a:pt x="965" y="878"/>
                      </a:lnTo>
                      <a:lnTo>
                        <a:pt x="965" y="877"/>
                      </a:lnTo>
                      <a:lnTo>
                        <a:pt x="964" y="877"/>
                      </a:lnTo>
                      <a:lnTo>
                        <a:pt x="965" y="877"/>
                      </a:lnTo>
                      <a:lnTo>
                        <a:pt x="965" y="876"/>
                      </a:lnTo>
                      <a:lnTo>
                        <a:pt x="966" y="876"/>
                      </a:lnTo>
                      <a:lnTo>
                        <a:pt x="966" y="875"/>
                      </a:lnTo>
                      <a:lnTo>
                        <a:pt x="966" y="874"/>
                      </a:lnTo>
                      <a:lnTo>
                        <a:pt x="966" y="873"/>
                      </a:lnTo>
                      <a:lnTo>
                        <a:pt x="966" y="872"/>
                      </a:lnTo>
                      <a:lnTo>
                        <a:pt x="966" y="871"/>
                      </a:lnTo>
                      <a:lnTo>
                        <a:pt x="966" y="870"/>
                      </a:lnTo>
                      <a:lnTo>
                        <a:pt x="966" y="868"/>
                      </a:lnTo>
                      <a:lnTo>
                        <a:pt x="966" y="867"/>
                      </a:lnTo>
                      <a:lnTo>
                        <a:pt x="965" y="867"/>
                      </a:lnTo>
                      <a:lnTo>
                        <a:pt x="965" y="868"/>
                      </a:lnTo>
                      <a:lnTo>
                        <a:pt x="965" y="870"/>
                      </a:lnTo>
                      <a:lnTo>
                        <a:pt x="964" y="870"/>
                      </a:lnTo>
                      <a:lnTo>
                        <a:pt x="964" y="871"/>
                      </a:lnTo>
                      <a:lnTo>
                        <a:pt x="964" y="872"/>
                      </a:lnTo>
                      <a:lnTo>
                        <a:pt x="964" y="873"/>
                      </a:lnTo>
                      <a:lnTo>
                        <a:pt x="964" y="874"/>
                      </a:lnTo>
                      <a:lnTo>
                        <a:pt x="963" y="874"/>
                      </a:lnTo>
                      <a:lnTo>
                        <a:pt x="963" y="873"/>
                      </a:lnTo>
                      <a:lnTo>
                        <a:pt x="962" y="873"/>
                      </a:lnTo>
                      <a:lnTo>
                        <a:pt x="961" y="873"/>
                      </a:lnTo>
                      <a:lnTo>
                        <a:pt x="961" y="872"/>
                      </a:lnTo>
                      <a:lnTo>
                        <a:pt x="961" y="871"/>
                      </a:lnTo>
                      <a:lnTo>
                        <a:pt x="960" y="871"/>
                      </a:lnTo>
                      <a:lnTo>
                        <a:pt x="960" y="870"/>
                      </a:lnTo>
                      <a:lnTo>
                        <a:pt x="958" y="870"/>
                      </a:lnTo>
                      <a:lnTo>
                        <a:pt x="958" y="868"/>
                      </a:lnTo>
                      <a:lnTo>
                        <a:pt x="958" y="867"/>
                      </a:lnTo>
                      <a:lnTo>
                        <a:pt x="958" y="866"/>
                      </a:lnTo>
                      <a:lnTo>
                        <a:pt x="958" y="865"/>
                      </a:lnTo>
                      <a:lnTo>
                        <a:pt x="960" y="865"/>
                      </a:lnTo>
                      <a:lnTo>
                        <a:pt x="960" y="864"/>
                      </a:lnTo>
                      <a:lnTo>
                        <a:pt x="960" y="863"/>
                      </a:lnTo>
                      <a:lnTo>
                        <a:pt x="960" y="862"/>
                      </a:lnTo>
                      <a:lnTo>
                        <a:pt x="960" y="861"/>
                      </a:lnTo>
                      <a:lnTo>
                        <a:pt x="961" y="860"/>
                      </a:lnTo>
                      <a:lnTo>
                        <a:pt x="961" y="859"/>
                      </a:lnTo>
                      <a:lnTo>
                        <a:pt x="961" y="858"/>
                      </a:lnTo>
                      <a:lnTo>
                        <a:pt x="961" y="857"/>
                      </a:lnTo>
                      <a:lnTo>
                        <a:pt x="960" y="857"/>
                      </a:lnTo>
                      <a:lnTo>
                        <a:pt x="960" y="855"/>
                      </a:lnTo>
                      <a:lnTo>
                        <a:pt x="958" y="855"/>
                      </a:lnTo>
                      <a:lnTo>
                        <a:pt x="957" y="855"/>
                      </a:lnTo>
                      <a:lnTo>
                        <a:pt x="954" y="855"/>
                      </a:lnTo>
                      <a:lnTo>
                        <a:pt x="953" y="855"/>
                      </a:lnTo>
                      <a:lnTo>
                        <a:pt x="952" y="857"/>
                      </a:lnTo>
                      <a:lnTo>
                        <a:pt x="951" y="857"/>
                      </a:lnTo>
                      <a:lnTo>
                        <a:pt x="951" y="858"/>
                      </a:lnTo>
                      <a:lnTo>
                        <a:pt x="950" y="857"/>
                      </a:lnTo>
                      <a:lnTo>
                        <a:pt x="950" y="858"/>
                      </a:lnTo>
                      <a:lnTo>
                        <a:pt x="950" y="859"/>
                      </a:lnTo>
                      <a:lnTo>
                        <a:pt x="951" y="859"/>
                      </a:lnTo>
                      <a:lnTo>
                        <a:pt x="951" y="861"/>
                      </a:lnTo>
                      <a:lnTo>
                        <a:pt x="951" y="862"/>
                      </a:lnTo>
                      <a:lnTo>
                        <a:pt x="952" y="862"/>
                      </a:lnTo>
                      <a:lnTo>
                        <a:pt x="953" y="863"/>
                      </a:lnTo>
                      <a:lnTo>
                        <a:pt x="954" y="863"/>
                      </a:lnTo>
                      <a:lnTo>
                        <a:pt x="954" y="864"/>
                      </a:lnTo>
                      <a:lnTo>
                        <a:pt x="955" y="864"/>
                      </a:lnTo>
                      <a:lnTo>
                        <a:pt x="956" y="864"/>
                      </a:lnTo>
                      <a:lnTo>
                        <a:pt x="956" y="865"/>
                      </a:lnTo>
                      <a:lnTo>
                        <a:pt x="956" y="866"/>
                      </a:lnTo>
                      <a:lnTo>
                        <a:pt x="955" y="867"/>
                      </a:lnTo>
                      <a:lnTo>
                        <a:pt x="955" y="868"/>
                      </a:lnTo>
                      <a:lnTo>
                        <a:pt x="955" y="870"/>
                      </a:lnTo>
                      <a:lnTo>
                        <a:pt x="954" y="870"/>
                      </a:lnTo>
                      <a:lnTo>
                        <a:pt x="953" y="870"/>
                      </a:lnTo>
                      <a:lnTo>
                        <a:pt x="953" y="871"/>
                      </a:lnTo>
                      <a:lnTo>
                        <a:pt x="954" y="871"/>
                      </a:lnTo>
                      <a:lnTo>
                        <a:pt x="954" y="872"/>
                      </a:lnTo>
                      <a:lnTo>
                        <a:pt x="953" y="872"/>
                      </a:lnTo>
                      <a:lnTo>
                        <a:pt x="952" y="873"/>
                      </a:lnTo>
                      <a:lnTo>
                        <a:pt x="952" y="874"/>
                      </a:lnTo>
                      <a:lnTo>
                        <a:pt x="953" y="874"/>
                      </a:lnTo>
                      <a:lnTo>
                        <a:pt x="953" y="875"/>
                      </a:lnTo>
                      <a:lnTo>
                        <a:pt x="952" y="875"/>
                      </a:lnTo>
                      <a:lnTo>
                        <a:pt x="952" y="876"/>
                      </a:lnTo>
                      <a:lnTo>
                        <a:pt x="952" y="877"/>
                      </a:lnTo>
                      <a:lnTo>
                        <a:pt x="952" y="878"/>
                      </a:lnTo>
                      <a:lnTo>
                        <a:pt x="952" y="879"/>
                      </a:lnTo>
                      <a:lnTo>
                        <a:pt x="951" y="879"/>
                      </a:lnTo>
                      <a:lnTo>
                        <a:pt x="951" y="880"/>
                      </a:lnTo>
                      <a:lnTo>
                        <a:pt x="951" y="881"/>
                      </a:lnTo>
                      <a:lnTo>
                        <a:pt x="952" y="881"/>
                      </a:lnTo>
                      <a:lnTo>
                        <a:pt x="953" y="881"/>
                      </a:lnTo>
                      <a:lnTo>
                        <a:pt x="953" y="883"/>
                      </a:lnTo>
                      <a:lnTo>
                        <a:pt x="954" y="883"/>
                      </a:lnTo>
                      <a:lnTo>
                        <a:pt x="954" y="884"/>
                      </a:lnTo>
                      <a:lnTo>
                        <a:pt x="955" y="884"/>
                      </a:lnTo>
                      <a:lnTo>
                        <a:pt x="955" y="885"/>
                      </a:lnTo>
                      <a:lnTo>
                        <a:pt x="954" y="885"/>
                      </a:lnTo>
                      <a:lnTo>
                        <a:pt x="953" y="885"/>
                      </a:lnTo>
                      <a:lnTo>
                        <a:pt x="952" y="885"/>
                      </a:lnTo>
                      <a:lnTo>
                        <a:pt x="952" y="886"/>
                      </a:lnTo>
                      <a:lnTo>
                        <a:pt x="951" y="886"/>
                      </a:lnTo>
                      <a:lnTo>
                        <a:pt x="951" y="887"/>
                      </a:lnTo>
                      <a:lnTo>
                        <a:pt x="951" y="888"/>
                      </a:lnTo>
                      <a:lnTo>
                        <a:pt x="951" y="889"/>
                      </a:lnTo>
                      <a:lnTo>
                        <a:pt x="952" y="889"/>
                      </a:lnTo>
                      <a:lnTo>
                        <a:pt x="952" y="890"/>
                      </a:lnTo>
                      <a:lnTo>
                        <a:pt x="953" y="890"/>
                      </a:lnTo>
                      <a:lnTo>
                        <a:pt x="954" y="890"/>
                      </a:lnTo>
                      <a:lnTo>
                        <a:pt x="954" y="889"/>
                      </a:lnTo>
                      <a:lnTo>
                        <a:pt x="955" y="889"/>
                      </a:lnTo>
                      <a:lnTo>
                        <a:pt x="956" y="889"/>
                      </a:lnTo>
                      <a:lnTo>
                        <a:pt x="956" y="890"/>
                      </a:lnTo>
                      <a:lnTo>
                        <a:pt x="956" y="889"/>
                      </a:lnTo>
                      <a:lnTo>
                        <a:pt x="957" y="889"/>
                      </a:lnTo>
                      <a:lnTo>
                        <a:pt x="957" y="890"/>
                      </a:lnTo>
                      <a:lnTo>
                        <a:pt x="958" y="889"/>
                      </a:lnTo>
                      <a:lnTo>
                        <a:pt x="960" y="889"/>
                      </a:lnTo>
                      <a:lnTo>
                        <a:pt x="960" y="890"/>
                      </a:lnTo>
                      <a:lnTo>
                        <a:pt x="960" y="891"/>
                      </a:lnTo>
                      <a:lnTo>
                        <a:pt x="958" y="891"/>
                      </a:lnTo>
                      <a:lnTo>
                        <a:pt x="957" y="891"/>
                      </a:lnTo>
                      <a:lnTo>
                        <a:pt x="956" y="891"/>
                      </a:lnTo>
                      <a:lnTo>
                        <a:pt x="956" y="890"/>
                      </a:lnTo>
                      <a:lnTo>
                        <a:pt x="955" y="890"/>
                      </a:lnTo>
                      <a:lnTo>
                        <a:pt x="954" y="891"/>
                      </a:lnTo>
                      <a:lnTo>
                        <a:pt x="953" y="891"/>
                      </a:lnTo>
                      <a:lnTo>
                        <a:pt x="952" y="891"/>
                      </a:lnTo>
                      <a:lnTo>
                        <a:pt x="951" y="891"/>
                      </a:lnTo>
                      <a:lnTo>
                        <a:pt x="950" y="890"/>
                      </a:lnTo>
                      <a:lnTo>
                        <a:pt x="949" y="890"/>
                      </a:lnTo>
                      <a:lnTo>
                        <a:pt x="949" y="891"/>
                      </a:lnTo>
                      <a:lnTo>
                        <a:pt x="948" y="891"/>
                      </a:lnTo>
                      <a:lnTo>
                        <a:pt x="948" y="892"/>
                      </a:lnTo>
                      <a:lnTo>
                        <a:pt x="948" y="893"/>
                      </a:lnTo>
                      <a:lnTo>
                        <a:pt x="947" y="892"/>
                      </a:lnTo>
                      <a:lnTo>
                        <a:pt x="945" y="892"/>
                      </a:lnTo>
                      <a:lnTo>
                        <a:pt x="947" y="892"/>
                      </a:lnTo>
                      <a:lnTo>
                        <a:pt x="945" y="892"/>
                      </a:lnTo>
                      <a:lnTo>
                        <a:pt x="944" y="892"/>
                      </a:lnTo>
                      <a:lnTo>
                        <a:pt x="944" y="891"/>
                      </a:lnTo>
                      <a:lnTo>
                        <a:pt x="944" y="892"/>
                      </a:lnTo>
                      <a:lnTo>
                        <a:pt x="943" y="891"/>
                      </a:lnTo>
                      <a:lnTo>
                        <a:pt x="943" y="892"/>
                      </a:lnTo>
                      <a:lnTo>
                        <a:pt x="942" y="892"/>
                      </a:lnTo>
                      <a:lnTo>
                        <a:pt x="941" y="892"/>
                      </a:lnTo>
                      <a:lnTo>
                        <a:pt x="940" y="892"/>
                      </a:lnTo>
                      <a:lnTo>
                        <a:pt x="939" y="893"/>
                      </a:lnTo>
                      <a:lnTo>
                        <a:pt x="938" y="893"/>
                      </a:lnTo>
                      <a:lnTo>
                        <a:pt x="937" y="893"/>
                      </a:lnTo>
                      <a:lnTo>
                        <a:pt x="936" y="893"/>
                      </a:lnTo>
                      <a:lnTo>
                        <a:pt x="935" y="892"/>
                      </a:lnTo>
                      <a:lnTo>
                        <a:pt x="935" y="891"/>
                      </a:lnTo>
                      <a:lnTo>
                        <a:pt x="935" y="890"/>
                      </a:lnTo>
                      <a:lnTo>
                        <a:pt x="934" y="890"/>
                      </a:lnTo>
                      <a:lnTo>
                        <a:pt x="934" y="889"/>
                      </a:lnTo>
                      <a:lnTo>
                        <a:pt x="932" y="889"/>
                      </a:lnTo>
                      <a:lnTo>
                        <a:pt x="931" y="889"/>
                      </a:lnTo>
                      <a:lnTo>
                        <a:pt x="931" y="888"/>
                      </a:lnTo>
                      <a:lnTo>
                        <a:pt x="930" y="889"/>
                      </a:lnTo>
                      <a:lnTo>
                        <a:pt x="929" y="889"/>
                      </a:lnTo>
                      <a:lnTo>
                        <a:pt x="928" y="889"/>
                      </a:lnTo>
                      <a:lnTo>
                        <a:pt x="927" y="889"/>
                      </a:lnTo>
                      <a:lnTo>
                        <a:pt x="927" y="890"/>
                      </a:lnTo>
                      <a:lnTo>
                        <a:pt x="926" y="890"/>
                      </a:lnTo>
                      <a:lnTo>
                        <a:pt x="925" y="891"/>
                      </a:lnTo>
                      <a:lnTo>
                        <a:pt x="924" y="891"/>
                      </a:lnTo>
                      <a:lnTo>
                        <a:pt x="923" y="892"/>
                      </a:lnTo>
                      <a:lnTo>
                        <a:pt x="922" y="892"/>
                      </a:lnTo>
                      <a:lnTo>
                        <a:pt x="922" y="891"/>
                      </a:lnTo>
                      <a:lnTo>
                        <a:pt x="919" y="890"/>
                      </a:lnTo>
                      <a:lnTo>
                        <a:pt x="918" y="889"/>
                      </a:lnTo>
                      <a:lnTo>
                        <a:pt x="918" y="888"/>
                      </a:lnTo>
                      <a:lnTo>
                        <a:pt x="918" y="886"/>
                      </a:lnTo>
                      <a:lnTo>
                        <a:pt x="917" y="885"/>
                      </a:lnTo>
                      <a:lnTo>
                        <a:pt x="917" y="884"/>
                      </a:lnTo>
                      <a:lnTo>
                        <a:pt x="917" y="883"/>
                      </a:lnTo>
                      <a:lnTo>
                        <a:pt x="917" y="881"/>
                      </a:lnTo>
                      <a:lnTo>
                        <a:pt x="916" y="881"/>
                      </a:lnTo>
                      <a:lnTo>
                        <a:pt x="916" y="880"/>
                      </a:lnTo>
                      <a:lnTo>
                        <a:pt x="917" y="880"/>
                      </a:lnTo>
                      <a:lnTo>
                        <a:pt x="917" y="879"/>
                      </a:lnTo>
                      <a:lnTo>
                        <a:pt x="917" y="878"/>
                      </a:lnTo>
                      <a:lnTo>
                        <a:pt x="916" y="878"/>
                      </a:lnTo>
                      <a:lnTo>
                        <a:pt x="916" y="879"/>
                      </a:lnTo>
                      <a:lnTo>
                        <a:pt x="915" y="879"/>
                      </a:lnTo>
                      <a:lnTo>
                        <a:pt x="915" y="878"/>
                      </a:lnTo>
                      <a:lnTo>
                        <a:pt x="915" y="877"/>
                      </a:lnTo>
                      <a:lnTo>
                        <a:pt x="915" y="876"/>
                      </a:lnTo>
                      <a:lnTo>
                        <a:pt x="914" y="876"/>
                      </a:lnTo>
                      <a:lnTo>
                        <a:pt x="914" y="875"/>
                      </a:lnTo>
                      <a:lnTo>
                        <a:pt x="913" y="875"/>
                      </a:lnTo>
                      <a:lnTo>
                        <a:pt x="913" y="874"/>
                      </a:lnTo>
                      <a:lnTo>
                        <a:pt x="912" y="874"/>
                      </a:lnTo>
                      <a:lnTo>
                        <a:pt x="912" y="873"/>
                      </a:lnTo>
                      <a:lnTo>
                        <a:pt x="912" y="874"/>
                      </a:lnTo>
                      <a:lnTo>
                        <a:pt x="911" y="874"/>
                      </a:lnTo>
                      <a:lnTo>
                        <a:pt x="910" y="874"/>
                      </a:lnTo>
                      <a:lnTo>
                        <a:pt x="909" y="874"/>
                      </a:lnTo>
                      <a:lnTo>
                        <a:pt x="909" y="875"/>
                      </a:lnTo>
                      <a:lnTo>
                        <a:pt x="908" y="875"/>
                      </a:lnTo>
                      <a:lnTo>
                        <a:pt x="906" y="876"/>
                      </a:lnTo>
                      <a:lnTo>
                        <a:pt x="905" y="876"/>
                      </a:lnTo>
                      <a:lnTo>
                        <a:pt x="905" y="875"/>
                      </a:lnTo>
                      <a:lnTo>
                        <a:pt x="904" y="875"/>
                      </a:lnTo>
                      <a:lnTo>
                        <a:pt x="904" y="874"/>
                      </a:lnTo>
                      <a:lnTo>
                        <a:pt x="904" y="873"/>
                      </a:lnTo>
                      <a:lnTo>
                        <a:pt x="904" y="872"/>
                      </a:lnTo>
                      <a:lnTo>
                        <a:pt x="903" y="872"/>
                      </a:lnTo>
                      <a:lnTo>
                        <a:pt x="903" y="871"/>
                      </a:lnTo>
                      <a:lnTo>
                        <a:pt x="903" y="868"/>
                      </a:lnTo>
                      <a:lnTo>
                        <a:pt x="902" y="867"/>
                      </a:lnTo>
                      <a:lnTo>
                        <a:pt x="902" y="866"/>
                      </a:lnTo>
                      <a:lnTo>
                        <a:pt x="903" y="866"/>
                      </a:lnTo>
                      <a:lnTo>
                        <a:pt x="903" y="865"/>
                      </a:lnTo>
                      <a:lnTo>
                        <a:pt x="902" y="866"/>
                      </a:lnTo>
                      <a:lnTo>
                        <a:pt x="901" y="866"/>
                      </a:lnTo>
                      <a:lnTo>
                        <a:pt x="901" y="865"/>
                      </a:lnTo>
                      <a:lnTo>
                        <a:pt x="901" y="864"/>
                      </a:lnTo>
                      <a:lnTo>
                        <a:pt x="900" y="864"/>
                      </a:lnTo>
                      <a:lnTo>
                        <a:pt x="898" y="863"/>
                      </a:lnTo>
                      <a:lnTo>
                        <a:pt x="897" y="863"/>
                      </a:lnTo>
                      <a:lnTo>
                        <a:pt x="897" y="864"/>
                      </a:lnTo>
                      <a:lnTo>
                        <a:pt x="898" y="865"/>
                      </a:lnTo>
                      <a:lnTo>
                        <a:pt x="898" y="866"/>
                      </a:lnTo>
                      <a:lnTo>
                        <a:pt x="897" y="867"/>
                      </a:lnTo>
                      <a:lnTo>
                        <a:pt x="896" y="867"/>
                      </a:lnTo>
                      <a:lnTo>
                        <a:pt x="896" y="866"/>
                      </a:lnTo>
                      <a:lnTo>
                        <a:pt x="896" y="865"/>
                      </a:lnTo>
                      <a:lnTo>
                        <a:pt x="895" y="865"/>
                      </a:lnTo>
                      <a:lnTo>
                        <a:pt x="895" y="866"/>
                      </a:lnTo>
                      <a:lnTo>
                        <a:pt x="896" y="866"/>
                      </a:lnTo>
                      <a:lnTo>
                        <a:pt x="896" y="867"/>
                      </a:lnTo>
                      <a:lnTo>
                        <a:pt x="895" y="867"/>
                      </a:lnTo>
                      <a:lnTo>
                        <a:pt x="895" y="866"/>
                      </a:lnTo>
                      <a:lnTo>
                        <a:pt x="895" y="867"/>
                      </a:lnTo>
                      <a:lnTo>
                        <a:pt x="893" y="866"/>
                      </a:lnTo>
                      <a:lnTo>
                        <a:pt x="893" y="867"/>
                      </a:lnTo>
                      <a:lnTo>
                        <a:pt x="893" y="866"/>
                      </a:lnTo>
                      <a:lnTo>
                        <a:pt x="892" y="866"/>
                      </a:lnTo>
                      <a:lnTo>
                        <a:pt x="890" y="866"/>
                      </a:lnTo>
                      <a:lnTo>
                        <a:pt x="889" y="866"/>
                      </a:lnTo>
                      <a:lnTo>
                        <a:pt x="888" y="867"/>
                      </a:lnTo>
                      <a:lnTo>
                        <a:pt x="887" y="867"/>
                      </a:lnTo>
                      <a:lnTo>
                        <a:pt x="888" y="867"/>
                      </a:lnTo>
                      <a:lnTo>
                        <a:pt x="888" y="868"/>
                      </a:lnTo>
                      <a:lnTo>
                        <a:pt x="887" y="868"/>
                      </a:lnTo>
                      <a:lnTo>
                        <a:pt x="887" y="867"/>
                      </a:lnTo>
                      <a:lnTo>
                        <a:pt x="887" y="866"/>
                      </a:lnTo>
                      <a:lnTo>
                        <a:pt x="887" y="865"/>
                      </a:lnTo>
                      <a:lnTo>
                        <a:pt x="886" y="866"/>
                      </a:lnTo>
                      <a:lnTo>
                        <a:pt x="885" y="866"/>
                      </a:lnTo>
                      <a:lnTo>
                        <a:pt x="885" y="867"/>
                      </a:lnTo>
                      <a:lnTo>
                        <a:pt x="886" y="867"/>
                      </a:lnTo>
                      <a:lnTo>
                        <a:pt x="887" y="867"/>
                      </a:lnTo>
                      <a:lnTo>
                        <a:pt x="886" y="867"/>
                      </a:lnTo>
                      <a:lnTo>
                        <a:pt x="885" y="867"/>
                      </a:lnTo>
                      <a:lnTo>
                        <a:pt x="884" y="867"/>
                      </a:lnTo>
                      <a:lnTo>
                        <a:pt x="884" y="866"/>
                      </a:lnTo>
                      <a:lnTo>
                        <a:pt x="885" y="866"/>
                      </a:lnTo>
                      <a:lnTo>
                        <a:pt x="885" y="865"/>
                      </a:lnTo>
                      <a:lnTo>
                        <a:pt x="884" y="865"/>
                      </a:lnTo>
                      <a:lnTo>
                        <a:pt x="884" y="864"/>
                      </a:lnTo>
                      <a:lnTo>
                        <a:pt x="884" y="863"/>
                      </a:lnTo>
                      <a:lnTo>
                        <a:pt x="884" y="862"/>
                      </a:lnTo>
                      <a:lnTo>
                        <a:pt x="883" y="862"/>
                      </a:lnTo>
                      <a:lnTo>
                        <a:pt x="883" y="861"/>
                      </a:lnTo>
                      <a:lnTo>
                        <a:pt x="883" y="860"/>
                      </a:lnTo>
                      <a:lnTo>
                        <a:pt x="882" y="860"/>
                      </a:lnTo>
                      <a:lnTo>
                        <a:pt x="880" y="860"/>
                      </a:lnTo>
                      <a:lnTo>
                        <a:pt x="879" y="860"/>
                      </a:lnTo>
                      <a:lnTo>
                        <a:pt x="878" y="860"/>
                      </a:lnTo>
                      <a:lnTo>
                        <a:pt x="877" y="860"/>
                      </a:lnTo>
                      <a:lnTo>
                        <a:pt x="877" y="859"/>
                      </a:lnTo>
                      <a:lnTo>
                        <a:pt x="876" y="859"/>
                      </a:lnTo>
                      <a:lnTo>
                        <a:pt x="876" y="858"/>
                      </a:lnTo>
                      <a:lnTo>
                        <a:pt x="875" y="857"/>
                      </a:lnTo>
                      <a:lnTo>
                        <a:pt x="874" y="857"/>
                      </a:lnTo>
                      <a:lnTo>
                        <a:pt x="873" y="857"/>
                      </a:lnTo>
                      <a:lnTo>
                        <a:pt x="872" y="857"/>
                      </a:lnTo>
                      <a:lnTo>
                        <a:pt x="870" y="857"/>
                      </a:lnTo>
                      <a:lnTo>
                        <a:pt x="869" y="857"/>
                      </a:lnTo>
                      <a:lnTo>
                        <a:pt x="867" y="855"/>
                      </a:lnTo>
                      <a:lnTo>
                        <a:pt x="866" y="853"/>
                      </a:lnTo>
                      <a:lnTo>
                        <a:pt x="865" y="852"/>
                      </a:lnTo>
                      <a:lnTo>
                        <a:pt x="864" y="851"/>
                      </a:lnTo>
                      <a:lnTo>
                        <a:pt x="863" y="850"/>
                      </a:lnTo>
                      <a:lnTo>
                        <a:pt x="863" y="849"/>
                      </a:lnTo>
                      <a:lnTo>
                        <a:pt x="863" y="848"/>
                      </a:lnTo>
                      <a:lnTo>
                        <a:pt x="862" y="848"/>
                      </a:lnTo>
                      <a:lnTo>
                        <a:pt x="861" y="848"/>
                      </a:lnTo>
                      <a:lnTo>
                        <a:pt x="861" y="847"/>
                      </a:lnTo>
                      <a:lnTo>
                        <a:pt x="861" y="846"/>
                      </a:lnTo>
                      <a:lnTo>
                        <a:pt x="861" y="845"/>
                      </a:lnTo>
                      <a:lnTo>
                        <a:pt x="862" y="845"/>
                      </a:lnTo>
                      <a:lnTo>
                        <a:pt x="862" y="844"/>
                      </a:lnTo>
                      <a:lnTo>
                        <a:pt x="862" y="842"/>
                      </a:lnTo>
                      <a:lnTo>
                        <a:pt x="863" y="842"/>
                      </a:lnTo>
                      <a:lnTo>
                        <a:pt x="863" y="841"/>
                      </a:lnTo>
                      <a:lnTo>
                        <a:pt x="864" y="841"/>
                      </a:lnTo>
                      <a:lnTo>
                        <a:pt x="865" y="840"/>
                      </a:lnTo>
                      <a:lnTo>
                        <a:pt x="866" y="840"/>
                      </a:lnTo>
                      <a:lnTo>
                        <a:pt x="867" y="840"/>
                      </a:lnTo>
                      <a:lnTo>
                        <a:pt x="867" y="841"/>
                      </a:lnTo>
                      <a:lnTo>
                        <a:pt x="867" y="842"/>
                      </a:lnTo>
                      <a:lnTo>
                        <a:pt x="869" y="842"/>
                      </a:lnTo>
                      <a:lnTo>
                        <a:pt x="870" y="842"/>
                      </a:lnTo>
                      <a:lnTo>
                        <a:pt x="872" y="842"/>
                      </a:lnTo>
                      <a:lnTo>
                        <a:pt x="873" y="842"/>
                      </a:lnTo>
                      <a:lnTo>
                        <a:pt x="874" y="842"/>
                      </a:lnTo>
                      <a:lnTo>
                        <a:pt x="874" y="841"/>
                      </a:lnTo>
                      <a:lnTo>
                        <a:pt x="875" y="841"/>
                      </a:lnTo>
                      <a:lnTo>
                        <a:pt x="875" y="840"/>
                      </a:lnTo>
                      <a:lnTo>
                        <a:pt x="874" y="840"/>
                      </a:lnTo>
                      <a:lnTo>
                        <a:pt x="873" y="840"/>
                      </a:lnTo>
                      <a:lnTo>
                        <a:pt x="872" y="840"/>
                      </a:lnTo>
                      <a:lnTo>
                        <a:pt x="871" y="840"/>
                      </a:lnTo>
                      <a:lnTo>
                        <a:pt x="870" y="840"/>
                      </a:lnTo>
                      <a:lnTo>
                        <a:pt x="870" y="839"/>
                      </a:lnTo>
                      <a:lnTo>
                        <a:pt x="869" y="838"/>
                      </a:lnTo>
                      <a:lnTo>
                        <a:pt x="869" y="837"/>
                      </a:lnTo>
                      <a:lnTo>
                        <a:pt x="867" y="836"/>
                      </a:lnTo>
                      <a:lnTo>
                        <a:pt x="865" y="836"/>
                      </a:lnTo>
                      <a:lnTo>
                        <a:pt x="864" y="837"/>
                      </a:lnTo>
                      <a:lnTo>
                        <a:pt x="864" y="838"/>
                      </a:lnTo>
                      <a:lnTo>
                        <a:pt x="863" y="838"/>
                      </a:lnTo>
                      <a:lnTo>
                        <a:pt x="863" y="839"/>
                      </a:lnTo>
                      <a:lnTo>
                        <a:pt x="862" y="839"/>
                      </a:lnTo>
                      <a:lnTo>
                        <a:pt x="862" y="838"/>
                      </a:lnTo>
                      <a:lnTo>
                        <a:pt x="862" y="836"/>
                      </a:lnTo>
                      <a:lnTo>
                        <a:pt x="861" y="835"/>
                      </a:lnTo>
                      <a:lnTo>
                        <a:pt x="860" y="835"/>
                      </a:lnTo>
                      <a:lnTo>
                        <a:pt x="859" y="835"/>
                      </a:lnTo>
                      <a:lnTo>
                        <a:pt x="858" y="835"/>
                      </a:lnTo>
                      <a:lnTo>
                        <a:pt x="857" y="835"/>
                      </a:lnTo>
                      <a:lnTo>
                        <a:pt x="857" y="836"/>
                      </a:lnTo>
                      <a:lnTo>
                        <a:pt x="855" y="837"/>
                      </a:lnTo>
                      <a:lnTo>
                        <a:pt x="854" y="837"/>
                      </a:lnTo>
                      <a:lnTo>
                        <a:pt x="853" y="838"/>
                      </a:lnTo>
                      <a:lnTo>
                        <a:pt x="852" y="838"/>
                      </a:lnTo>
                      <a:lnTo>
                        <a:pt x="852" y="837"/>
                      </a:lnTo>
                      <a:lnTo>
                        <a:pt x="852" y="836"/>
                      </a:lnTo>
                      <a:lnTo>
                        <a:pt x="851" y="837"/>
                      </a:lnTo>
                      <a:lnTo>
                        <a:pt x="850" y="838"/>
                      </a:lnTo>
                      <a:lnTo>
                        <a:pt x="851" y="839"/>
                      </a:lnTo>
                      <a:lnTo>
                        <a:pt x="850" y="839"/>
                      </a:lnTo>
                      <a:lnTo>
                        <a:pt x="849" y="839"/>
                      </a:lnTo>
                      <a:lnTo>
                        <a:pt x="848" y="839"/>
                      </a:lnTo>
                      <a:lnTo>
                        <a:pt x="847" y="839"/>
                      </a:lnTo>
                      <a:lnTo>
                        <a:pt x="846" y="840"/>
                      </a:lnTo>
                      <a:lnTo>
                        <a:pt x="845" y="840"/>
                      </a:lnTo>
                      <a:lnTo>
                        <a:pt x="845" y="839"/>
                      </a:lnTo>
                      <a:lnTo>
                        <a:pt x="845" y="838"/>
                      </a:lnTo>
                      <a:lnTo>
                        <a:pt x="844" y="838"/>
                      </a:lnTo>
                      <a:lnTo>
                        <a:pt x="842" y="837"/>
                      </a:lnTo>
                      <a:lnTo>
                        <a:pt x="842" y="836"/>
                      </a:lnTo>
                      <a:lnTo>
                        <a:pt x="841" y="836"/>
                      </a:lnTo>
                      <a:lnTo>
                        <a:pt x="841" y="835"/>
                      </a:lnTo>
                      <a:lnTo>
                        <a:pt x="840" y="835"/>
                      </a:lnTo>
                      <a:lnTo>
                        <a:pt x="839" y="834"/>
                      </a:lnTo>
                      <a:lnTo>
                        <a:pt x="838" y="834"/>
                      </a:lnTo>
                      <a:lnTo>
                        <a:pt x="837" y="834"/>
                      </a:lnTo>
                      <a:lnTo>
                        <a:pt x="836" y="833"/>
                      </a:lnTo>
                      <a:lnTo>
                        <a:pt x="836" y="832"/>
                      </a:lnTo>
                      <a:lnTo>
                        <a:pt x="836" y="831"/>
                      </a:lnTo>
                      <a:lnTo>
                        <a:pt x="836" y="829"/>
                      </a:lnTo>
                      <a:lnTo>
                        <a:pt x="837" y="829"/>
                      </a:lnTo>
                      <a:lnTo>
                        <a:pt x="836" y="829"/>
                      </a:lnTo>
                      <a:lnTo>
                        <a:pt x="836" y="828"/>
                      </a:lnTo>
                      <a:lnTo>
                        <a:pt x="835" y="828"/>
                      </a:lnTo>
                      <a:lnTo>
                        <a:pt x="834" y="827"/>
                      </a:lnTo>
                      <a:lnTo>
                        <a:pt x="834" y="826"/>
                      </a:lnTo>
                      <a:lnTo>
                        <a:pt x="833" y="826"/>
                      </a:lnTo>
                      <a:lnTo>
                        <a:pt x="832" y="826"/>
                      </a:lnTo>
                      <a:lnTo>
                        <a:pt x="831" y="826"/>
                      </a:lnTo>
                      <a:lnTo>
                        <a:pt x="829" y="826"/>
                      </a:lnTo>
                      <a:lnTo>
                        <a:pt x="828" y="825"/>
                      </a:lnTo>
                      <a:lnTo>
                        <a:pt x="828" y="824"/>
                      </a:lnTo>
                      <a:lnTo>
                        <a:pt x="828" y="823"/>
                      </a:lnTo>
                      <a:lnTo>
                        <a:pt x="828" y="822"/>
                      </a:lnTo>
                      <a:lnTo>
                        <a:pt x="828" y="821"/>
                      </a:lnTo>
                      <a:lnTo>
                        <a:pt x="828" y="820"/>
                      </a:lnTo>
                      <a:lnTo>
                        <a:pt x="827" y="820"/>
                      </a:lnTo>
                      <a:lnTo>
                        <a:pt x="827" y="817"/>
                      </a:lnTo>
                      <a:lnTo>
                        <a:pt x="827" y="816"/>
                      </a:lnTo>
                      <a:lnTo>
                        <a:pt x="827" y="815"/>
                      </a:lnTo>
                      <a:lnTo>
                        <a:pt x="827" y="814"/>
                      </a:lnTo>
                      <a:lnTo>
                        <a:pt x="827" y="813"/>
                      </a:lnTo>
                      <a:lnTo>
                        <a:pt x="827" y="812"/>
                      </a:lnTo>
                      <a:lnTo>
                        <a:pt x="827" y="811"/>
                      </a:lnTo>
                      <a:lnTo>
                        <a:pt x="828" y="811"/>
                      </a:lnTo>
                      <a:lnTo>
                        <a:pt x="829" y="811"/>
                      </a:lnTo>
                      <a:lnTo>
                        <a:pt x="829" y="810"/>
                      </a:lnTo>
                      <a:lnTo>
                        <a:pt x="829" y="809"/>
                      </a:lnTo>
                      <a:lnTo>
                        <a:pt x="831" y="809"/>
                      </a:lnTo>
                      <a:lnTo>
                        <a:pt x="832" y="809"/>
                      </a:lnTo>
                      <a:lnTo>
                        <a:pt x="832" y="808"/>
                      </a:lnTo>
                      <a:lnTo>
                        <a:pt x="832" y="807"/>
                      </a:lnTo>
                      <a:lnTo>
                        <a:pt x="832" y="806"/>
                      </a:lnTo>
                      <a:lnTo>
                        <a:pt x="833" y="806"/>
                      </a:lnTo>
                      <a:lnTo>
                        <a:pt x="833" y="804"/>
                      </a:lnTo>
                      <a:lnTo>
                        <a:pt x="834" y="804"/>
                      </a:lnTo>
                      <a:lnTo>
                        <a:pt x="835" y="804"/>
                      </a:lnTo>
                      <a:lnTo>
                        <a:pt x="836" y="804"/>
                      </a:lnTo>
                      <a:lnTo>
                        <a:pt x="836" y="803"/>
                      </a:lnTo>
                      <a:lnTo>
                        <a:pt x="836" y="802"/>
                      </a:lnTo>
                      <a:lnTo>
                        <a:pt x="836" y="801"/>
                      </a:lnTo>
                      <a:lnTo>
                        <a:pt x="836" y="800"/>
                      </a:lnTo>
                      <a:lnTo>
                        <a:pt x="837" y="799"/>
                      </a:lnTo>
                      <a:lnTo>
                        <a:pt x="838" y="798"/>
                      </a:lnTo>
                      <a:lnTo>
                        <a:pt x="839" y="799"/>
                      </a:lnTo>
                      <a:lnTo>
                        <a:pt x="839" y="798"/>
                      </a:lnTo>
                      <a:lnTo>
                        <a:pt x="839" y="797"/>
                      </a:lnTo>
                      <a:lnTo>
                        <a:pt x="839" y="796"/>
                      </a:lnTo>
                      <a:lnTo>
                        <a:pt x="840" y="795"/>
                      </a:lnTo>
                      <a:lnTo>
                        <a:pt x="840" y="794"/>
                      </a:lnTo>
                      <a:lnTo>
                        <a:pt x="841" y="791"/>
                      </a:lnTo>
                      <a:lnTo>
                        <a:pt x="840" y="791"/>
                      </a:lnTo>
                      <a:lnTo>
                        <a:pt x="841" y="790"/>
                      </a:lnTo>
                      <a:lnTo>
                        <a:pt x="841" y="789"/>
                      </a:lnTo>
                      <a:lnTo>
                        <a:pt x="841" y="788"/>
                      </a:lnTo>
                      <a:lnTo>
                        <a:pt x="842" y="786"/>
                      </a:lnTo>
                      <a:lnTo>
                        <a:pt x="841" y="786"/>
                      </a:lnTo>
                      <a:lnTo>
                        <a:pt x="841" y="785"/>
                      </a:lnTo>
                      <a:lnTo>
                        <a:pt x="841" y="784"/>
                      </a:lnTo>
                      <a:lnTo>
                        <a:pt x="841" y="781"/>
                      </a:lnTo>
                      <a:lnTo>
                        <a:pt x="840" y="780"/>
                      </a:lnTo>
                      <a:lnTo>
                        <a:pt x="840" y="778"/>
                      </a:lnTo>
                      <a:lnTo>
                        <a:pt x="839" y="778"/>
                      </a:lnTo>
                      <a:lnTo>
                        <a:pt x="839" y="777"/>
                      </a:lnTo>
                      <a:lnTo>
                        <a:pt x="840" y="776"/>
                      </a:lnTo>
                      <a:lnTo>
                        <a:pt x="841" y="775"/>
                      </a:lnTo>
                      <a:lnTo>
                        <a:pt x="841" y="774"/>
                      </a:lnTo>
                      <a:lnTo>
                        <a:pt x="842" y="773"/>
                      </a:lnTo>
                      <a:lnTo>
                        <a:pt x="842" y="772"/>
                      </a:lnTo>
                      <a:lnTo>
                        <a:pt x="841" y="771"/>
                      </a:lnTo>
                      <a:lnTo>
                        <a:pt x="841" y="770"/>
                      </a:lnTo>
                      <a:lnTo>
                        <a:pt x="841" y="769"/>
                      </a:lnTo>
                      <a:lnTo>
                        <a:pt x="841" y="768"/>
                      </a:lnTo>
                      <a:lnTo>
                        <a:pt x="842" y="767"/>
                      </a:lnTo>
                      <a:lnTo>
                        <a:pt x="841" y="764"/>
                      </a:lnTo>
                      <a:lnTo>
                        <a:pt x="841" y="763"/>
                      </a:lnTo>
                      <a:lnTo>
                        <a:pt x="841" y="761"/>
                      </a:lnTo>
                      <a:lnTo>
                        <a:pt x="841" y="760"/>
                      </a:lnTo>
                      <a:lnTo>
                        <a:pt x="841" y="759"/>
                      </a:lnTo>
                      <a:lnTo>
                        <a:pt x="840" y="759"/>
                      </a:lnTo>
                      <a:lnTo>
                        <a:pt x="839" y="757"/>
                      </a:lnTo>
                      <a:lnTo>
                        <a:pt x="839" y="756"/>
                      </a:lnTo>
                      <a:lnTo>
                        <a:pt x="838" y="755"/>
                      </a:lnTo>
                      <a:lnTo>
                        <a:pt x="838" y="754"/>
                      </a:lnTo>
                      <a:lnTo>
                        <a:pt x="838" y="752"/>
                      </a:lnTo>
                      <a:lnTo>
                        <a:pt x="838" y="751"/>
                      </a:lnTo>
                      <a:lnTo>
                        <a:pt x="837" y="750"/>
                      </a:lnTo>
                      <a:lnTo>
                        <a:pt x="837" y="749"/>
                      </a:lnTo>
                      <a:lnTo>
                        <a:pt x="836" y="749"/>
                      </a:lnTo>
                      <a:lnTo>
                        <a:pt x="835" y="748"/>
                      </a:lnTo>
                      <a:lnTo>
                        <a:pt x="835" y="747"/>
                      </a:lnTo>
                      <a:lnTo>
                        <a:pt x="836" y="746"/>
                      </a:lnTo>
                      <a:lnTo>
                        <a:pt x="837" y="746"/>
                      </a:lnTo>
                      <a:lnTo>
                        <a:pt x="839" y="746"/>
                      </a:lnTo>
                      <a:lnTo>
                        <a:pt x="839" y="747"/>
                      </a:lnTo>
                      <a:lnTo>
                        <a:pt x="840" y="746"/>
                      </a:lnTo>
                      <a:lnTo>
                        <a:pt x="841" y="745"/>
                      </a:lnTo>
                      <a:lnTo>
                        <a:pt x="840" y="745"/>
                      </a:lnTo>
                      <a:lnTo>
                        <a:pt x="839" y="745"/>
                      </a:lnTo>
                      <a:lnTo>
                        <a:pt x="839" y="744"/>
                      </a:lnTo>
                      <a:lnTo>
                        <a:pt x="838" y="744"/>
                      </a:lnTo>
                      <a:lnTo>
                        <a:pt x="838" y="743"/>
                      </a:lnTo>
                      <a:lnTo>
                        <a:pt x="837" y="743"/>
                      </a:lnTo>
                      <a:lnTo>
                        <a:pt x="836" y="743"/>
                      </a:lnTo>
                      <a:lnTo>
                        <a:pt x="835" y="742"/>
                      </a:lnTo>
                      <a:lnTo>
                        <a:pt x="834" y="742"/>
                      </a:lnTo>
                      <a:lnTo>
                        <a:pt x="833" y="742"/>
                      </a:lnTo>
                      <a:lnTo>
                        <a:pt x="832" y="742"/>
                      </a:lnTo>
                      <a:lnTo>
                        <a:pt x="831" y="742"/>
                      </a:lnTo>
                      <a:lnTo>
                        <a:pt x="831" y="743"/>
                      </a:lnTo>
                      <a:lnTo>
                        <a:pt x="829" y="743"/>
                      </a:lnTo>
                      <a:lnTo>
                        <a:pt x="829" y="744"/>
                      </a:lnTo>
                      <a:lnTo>
                        <a:pt x="829" y="745"/>
                      </a:lnTo>
                      <a:lnTo>
                        <a:pt x="828" y="746"/>
                      </a:lnTo>
                      <a:lnTo>
                        <a:pt x="827" y="746"/>
                      </a:lnTo>
                      <a:lnTo>
                        <a:pt x="827" y="747"/>
                      </a:lnTo>
                      <a:lnTo>
                        <a:pt x="826" y="746"/>
                      </a:lnTo>
                      <a:lnTo>
                        <a:pt x="826" y="745"/>
                      </a:lnTo>
                      <a:lnTo>
                        <a:pt x="826" y="744"/>
                      </a:lnTo>
                      <a:lnTo>
                        <a:pt x="826" y="743"/>
                      </a:lnTo>
                      <a:lnTo>
                        <a:pt x="825" y="743"/>
                      </a:lnTo>
                      <a:lnTo>
                        <a:pt x="825" y="742"/>
                      </a:lnTo>
                      <a:lnTo>
                        <a:pt x="826" y="742"/>
                      </a:lnTo>
                      <a:lnTo>
                        <a:pt x="827" y="742"/>
                      </a:lnTo>
                      <a:lnTo>
                        <a:pt x="827" y="741"/>
                      </a:lnTo>
                      <a:lnTo>
                        <a:pt x="828" y="741"/>
                      </a:lnTo>
                      <a:lnTo>
                        <a:pt x="829" y="741"/>
                      </a:lnTo>
                      <a:lnTo>
                        <a:pt x="831" y="739"/>
                      </a:lnTo>
                      <a:lnTo>
                        <a:pt x="829" y="739"/>
                      </a:lnTo>
                      <a:lnTo>
                        <a:pt x="829" y="738"/>
                      </a:lnTo>
                      <a:lnTo>
                        <a:pt x="829" y="737"/>
                      </a:lnTo>
                      <a:lnTo>
                        <a:pt x="831" y="737"/>
                      </a:lnTo>
                      <a:lnTo>
                        <a:pt x="832" y="737"/>
                      </a:lnTo>
                      <a:lnTo>
                        <a:pt x="832" y="736"/>
                      </a:lnTo>
                      <a:lnTo>
                        <a:pt x="831" y="736"/>
                      </a:lnTo>
                      <a:lnTo>
                        <a:pt x="829" y="736"/>
                      </a:lnTo>
                      <a:lnTo>
                        <a:pt x="828" y="736"/>
                      </a:lnTo>
                      <a:lnTo>
                        <a:pt x="827" y="736"/>
                      </a:lnTo>
                      <a:lnTo>
                        <a:pt x="827" y="737"/>
                      </a:lnTo>
                      <a:lnTo>
                        <a:pt x="826" y="736"/>
                      </a:lnTo>
                      <a:lnTo>
                        <a:pt x="826" y="737"/>
                      </a:lnTo>
                      <a:lnTo>
                        <a:pt x="825" y="737"/>
                      </a:lnTo>
                      <a:lnTo>
                        <a:pt x="824" y="737"/>
                      </a:lnTo>
                      <a:lnTo>
                        <a:pt x="823" y="737"/>
                      </a:lnTo>
                      <a:lnTo>
                        <a:pt x="823" y="738"/>
                      </a:lnTo>
                      <a:lnTo>
                        <a:pt x="822" y="738"/>
                      </a:lnTo>
                      <a:lnTo>
                        <a:pt x="822" y="739"/>
                      </a:lnTo>
                      <a:lnTo>
                        <a:pt x="821" y="741"/>
                      </a:lnTo>
                      <a:lnTo>
                        <a:pt x="821" y="742"/>
                      </a:lnTo>
                      <a:lnTo>
                        <a:pt x="820" y="742"/>
                      </a:lnTo>
                      <a:lnTo>
                        <a:pt x="821" y="742"/>
                      </a:lnTo>
                      <a:lnTo>
                        <a:pt x="821" y="741"/>
                      </a:lnTo>
                      <a:lnTo>
                        <a:pt x="821" y="739"/>
                      </a:lnTo>
                      <a:lnTo>
                        <a:pt x="821" y="738"/>
                      </a:lnTo>
                      <a:lnTo>
                        <a:pt x="821" y="737"/>
                      </a:lnTo>
                      <a:lnTo>
                        <a:pt x="821" y="736"/>
                      </a:lnTo>
                      <a:lnTo>
                        <a:pt x="821" y="735"/>
                      </a:lnTo>
                      <a:lnTo>
                        <a:pt x="821" y="734"/>
                      </a:lnTo>
                      <a:lnTo>
                        <a:pt x="821" y="733"/>
                      </a:lnTo>
                      <a:lnTo>
                        <a:pt x="820" y="733"/>
                      </a:lnTo>
                      <a:lnTo>
                        <a:pt x="819" y="733"/>
                      </a:lnTo>
                      <a:lnTo>
                        <a:pt x="818" y="733"/>
                      </a:lnTo>
                      <a:lnTo>
                        <a:pt x="816" y="732"/>
                      </a:lnTo>
                      <a:lnTo>
                        <a:pt x="815" y="732"/>
                      </a:lnTo>
                      <a:lnTo>
                        <a:pt x="814" y="732"/>
                      </a:lnTo>
                      <a:lnTo>
                        <a:pt x="814" y="731"/>
                      </a:lnTo>
                      <a:lnTo>
                        <a:pt x="813" y="732"/>
                      </a:lnTo>
                      <a:lnTo>
                        <a:pt x="812" y="732"/>
                      </a:lnTo>
                      <a:lnTo>
                        <a:pt x="809" y="732"/>
                      </a:lnTo>
                      <a:lnTo>
                        <a:pt x="809" y="731"/>
                      </a:lnTo>
                      <a:lnTo>
                        <a:pt x="808" y="731"/>
                      </a:lnTo>
                      <a:lnTo>
                        <a:pt x="807" y="731"/>
                      </a:lnTo>
                      <a:lnTo>
                        <a:pt x="806" y="731"/>
                      </a:lnTo>
                      <a:lnTo>
                        <a:pt x="805" y="731"/>
                      </a:lnTo>
                      <a:lnTo>
                        <a:pt x="803" y="732"/>
                      </a:lnTo>
                      <a:lnTo>
                        <a:pt x="802" y="733"/>
                      </a:lnTo>
                      <a:lnTo>
                        <a:pt x="801" y="733"/>
                      </a:lnTo>
                      <a:lnTo>
                        <a:pt x="801" y="734"/>
                      </a:lnTo>
                      <a:lnTo>
                        <a:pt x="801" y="735"/>
                      </a:lnTo>
                      <a:lnTo>
                        <a:pt x="802" y="735"/>
                      </a:lnTo>
                      <a:lnTo>
                        <a:pt x="803" y="735"/>
                      </a:lnTo>
                      <a:lnTo>
                        <a:pt x="803" y="737"/>
                      </a:lnTo>
                      <a:lnTo>
                        <a:pt x="805" y="737"/>
                      </a:lnTo>
                      <a:lnTo>
                        <a:pt x="805" y="738"/>
                      </a:lnTo>
                      <a:lnTo>
                        <a:pt x="806" y="738"/>
                      </a:lnTo>
                      <a:lnTo>
                        <a:pt x="806" y="739"/>
                      </a:lnTo>
                      <a:lnTo>
                        <a:pt x="806" y="741"/>
                      </a:lnTo>
                      <a:lnTo>
                        <a:pt x="806" y="742"/>
                      </a:lnTo>
                      <a:lnTo>
                        <a:pt x="806" y="743"/>
                      </a:lnTo>
                      <a:lnTo>
                        <a:pt x="806" y="745"/>
                      </a:lnTo>
                      <a:lnTo>
                        <a:pt x="807" y="745"/>
                      </a:lnTo>
                      <a:lnTo>
                        <a:pt x="807" y="747"/>
                      </a:lnTo>
                      <a:lnTo>
                        <a:pt x="806" y="748"/>
                      </a:lnTo>
                      <a:lnTo>
                        <a:pt x="807" y="749"/>
                      </a:lnTo>
                      <a:lnTo>
                        <a:pt x="806" y="749"/>
                      </a:lnTo>
                      <a:lnTo>
                        <a:pt x="806" y="750"/>
                      </a:lnTo>
                      <a:lnTo>
                        <a:pt x="805" y="750"/>
                      </a:lnTo>
                      <a:lnTo>
                        <a:pt x="803" y="751"/>
                      </a:lnTo>
                      <a:lnTo>
                        <a:pt x="803" y="752"/>
                      </a:lnTo>
                      <a:lnTo>
                        <a:pt x="803" y="754"/>
                      </a:lnTo>
                      <a:lnTo>
                        <a:pt x="802" y="755"/>
                      </a:lnTo>
                      <a:lnTo>
                        <a:pt x="802" y="754"/>
                      </a:lnTo>
                      <a:lnTo>
                        <a:pt x="802" y="752"/>
                      </a:lnTo>
                      <a:lnTo>
                        <a:pt x="801" y="752"/>
                      </a:lnTo>
                      <a:lnTo>
                        <a:pt x="800" y="752"/>
                      </a:lnTo>
                      <a:lnTo>
                        <a:pt x="800" y="756"/>
                      </a:lnTo>
                      <a:lnTo>
                        <a:pt x="800" y="757"/>
                      </a:lnTo>
                      <a:lnTo>
                        <a:pt x="801" y="757"/>
                      </a:lnTo>
                      <a:lnTo>
                        <a:pt x="801" y="758"/>
                      </a:lnTo>
                      <a:lnTo>
                        <a:pt x="800" y="758"/>
                      </a:lnTo>
                      <a:lnTo>
                        <a:pt x="800" y="759"/>
                      </a:lnTo>
                      <a:lnTo>
                        <a:pt x="799" y="759"/>
                      </a:lnTo>
                      <a:lnTo>
                        <a:pt x="799" y="760"/>
                      </a:lnTo>
                      <a:lnTo>
                        <a:pt x="799" y="761"/>
                      </a:lnTo>
                      <a:lnTo>
                        <a:pt x="799" y="762"/>
                      </a:lnTo>
                      <a:lnTo>
                        <a:pt x="799" y="763"/>
                      </a:lnTo>
                      <a:lnTo>
                        <a:pt x="799" y="764"/>
                      </a:lnTo>
                      <a:lnTo>
                        <a:pt x="800" y="765"/>
                      </a:lnTo>
                      <a:lnTo>
                        <a:pt x="800" y="767"/>
                      </a:lnTo>
                      <a:lnTo>
                        <a:pt x="801" y="768"/>
                      </a:lnTo>
                      <a:lnTo>
                        <a:pt x="802" y="768"/>
                      </a:lnTo>
                      <a:lnTo>
                        <a:pt x="803" y="768"/>
                      </a:lnTo>
                      <a:lnTo>
                        <a:pt x="803" y="769"/>
                      </a:lnTo>
                      <a:lnTo>
                        <a:pt x="802" y="769"/>
                      </a:lnTo>
                      <a:lnTo>
                        <a:pt x="801" y="770"/>
                      </a:lnTo>
                      <a:lnTo>
                        <a:pt x="801" y="771"/>
                      </a:lnTo>
                      <a:lnTo>
                        <a:pt x="800" y="772"/>
                      </a:lnTo>
                      <a:lnTo>
                        <a:pt x="800" y="774"/>
                      </a:lnTo>
                      <a:lnTo>
                        <a:pt x="800" y="775"/>
                      </a:lnTo>
                      <a:lnTo>
                        <a:pt x="799" y="776"/>
                      </a:lnTo>
                      <a:lnTo>
                        <a:pt x="799" y="777"/>
                      </a:lnTo>
                      <a:lnTo>
                        <a:pt x="800" y="778"/>
                      </a:lnTo>
                      <a:lnTo>
                        <a:pt x="800" y="781"/>
                      </a:lnTo>
                      <a:lnTo>
                        <a:pt x="801" y="781"/>
                      </a:lnTo>
                      <a:lnTo>
                        <a:pt x="800" y="782"/>
                      </a:lnTo>
                      <a:lnTo>
                        <a:pt x="800" y="783"/>
                      </a:lnTo>
                      <a:lnTo>
                        <a:pt x="801" y="784"/>
                      </a:lnTo>
                      <a:lnTo>
                        <a:pt x="802" y="786"/>
                      </a:lnTo>
                      <a:lnTo>
                        <a:pt x="803" y="786"/>
                      </a:lnTo>
                      <a:lnTo>
                        <a:pt x="805" y="788"/>
                      </a:lnTo>
                      <a:lnTo>
                        <a:pt x="806" y="789"/>
                      </a:lnTo>
                      <a:lnTo>
                        <a:pt x="806" y="790"/>
                      </a:lnTo>
                      <a:lnTo>
                        <a:pt x="807" y="790"/>
                      </a:lnTo>
                      <a:lnTo>
                        <a:pt x="808" y="793"/>
                      </a:lnTo>
                      <a:lnTo>
                        <a:pt x="809" y="794"/>
                      </a:lnTo>
                      <a:lnTo>
                        <a:pt x="809" y="795"/>
                      </a:lnTo>
                      <a:lnTo>
                        <a:pt x="809" y="796"/>
                      </a:lnTo>
                      <a:lnTo>
                        <a:pt x="809" y="798"/>
                      </a:lnTo>
                      <a:lnTo>
                        <a:pt x="809" y="799"/>
                      </a:lnTo>
                      <a:lnTo>
                        <a:pt x="809" y="800"/>
                      </a:lnTo>
                      <a:lnTo>
                        <a:pt x="809" y="801"/>
                      </a:lnTo>
                      <a:lnTo>
                        <a:pt x="808" y="802"/>
                      </a:lnTo>
                      <a:lnTo>
                        <a:pt x="808" y="803"/>
                      </a:lnTo>
                      <a:lnTo>
                        <a:pt x="807" y="803"/>
                      </a:lnTo>
                      <a:lnTo>
                        <a:pt x="806" y="804"/>
                      </a:lnTo>
                      <a:lnTo>
                        <a:pt x="805" y="804"/>
                      </a:lnTo>
                      <a:lnTo>
                        <a:pt x="805" y="806"/>
                      </a:lnTo>
                      <a:lnTo>
                        <a:pt x="806" y="806"/>
                      </a:lnTo>
                      <a:lnTo>
                        <a:pt x="807" y="806"/>
                      </a:lnTo>
                      <a:lnTo>
                        <a:pt x="806" y="806"/>
                      </a:lnTo>
                      <a:lnTo>
                        <a:pt x="806" y="807"/>
                      </a:lnTo>
                      <a:lnTo>
                        <a:pt x="807" y="807"/>
                      </a:lnTo>
                      <a:lnTo>
                        <a:pt x="806" y="807"/>
                      </a:lnTo>
                      <a:lnTo>
                        <a:pt x="806" y="808"/>
                      </a:lnTo>
                      <a:lnTo>
                        <a:pt x="807" y="809"/>
                      </a:lnTo>
                      <a:lnTo>
                        <a:pt x="807" y="808"/>
                      </a:lnTo>
                      <a:lnTo>
                        <a:pt x="807" y="809"/>
                      </a:lnTo>
                      <a:lnTo>
                        <a:pt x="808" y="809"/>
                      </a:lnTo>
                      <a:lnTo>
                        <a:pt x="808" y="810"/>
                      </a:lnTo>
                      <a:lnTo>
                        <a:pt x="807" y="810"/>
                      </a:lnTo>
                      <a:lnTo>
                        <a:pt x="807" y="811"/>
                      </a:lnTo>
                      <a:lnTo>
                        <a:pt x="806" y="811"/>
                      </a:lnTo>
                      <a:lnTo>
                        <a:pt x="805" y="811"/>
                      </a:lnTo>
                      <a:lnTo>
                        <a:pt x="803" y="811"/>
                      </a:lnTo>
                      <a:lnTo>
                        <a:pt x="803" y="812"/>
                      </a:lnTo>
                      <a:lnTo>
                        <a:pt x="802" y="812"/>
                      </a:lnTo>
                      <a:lnTo>
                        <a:pt x="802" y="811"/>
                      </a:lnTo>
                      <a:lnTo>
                        <a:pt x="802" y="812"/>
                      </a:lnTo>
                      <a:lnTo>
                        <a:pt x="801" y="812"/>
                      </a:lnTo>
                      <a:lnTo>
                        <a:pt x="800" y="812"/>
                      </a:lnTo>
                      <a:lnTo>
                        <a:pt x="799" y="812"/>
                      </a:lnTo>
                      <a:lnTo>
                        <a:pt x="798" y="812"/>
                      </a:lnTo>
                      <a:lnTo>
                        <a:pt x="798" y="811"/>
                      </a:lnTo>
                      <a:lnTo>
                        <a:pt x="797" y="811"/>
                      </a:lnTo>
                      <a:lnTo>
                        <a:pt x="797" y="812"/>
                      </a:lnTo>
                      <a:lnTo>
                        <a:pt x="796" y="812"/>
                      </a:lnTo>
                      <a:lnTo>
                        <a:pt x="795" y="812"/>
                      </a:lnTo>
                      <a:lnTo>
                        <a:pt x="794" y="812"/>
                      </a:lnTo>
                      <a:lnTo>
                        <a:pt x="793" y="812"/>
                      </a:lnTo>
                      <a:lnTo>
                        <a:pt x="793" y="813"/>
                      </a:lnTo>
                      <a:lnTo>
                        <a:pt x="794" y="813"/>
                      </a:lnTo>
                      <a:lnTo>
                        <a:pt x="793" y="813"/>
                      </a:lnTo>
                      <a:lnTo>
                        <a:pt x="793" y="814"/>
                      </a:lnTo>
                      <a:lnTo>
                        <a:pt x="792" y="814"/>
                      </a:lnTo>
                      <a:lnTo>
                        <a:pt x="790" y="814"/>
                      </a:lnTo>
                      <a:lnTo>
                        <a:pt x="789" y="814"/>
                      </a:lnTo>
                      <a:lnTo>
                        <a:pt x="788" y="814"/>
                      </a:lnTo>
                      <a:lnTo>
                        <a:pt x="787" y="815"/>
                      </a:lnTo>
                      <a:lnTo>
                        <a:pt x="786" y="815"/>
                      </a:lnTo>
                      <a:lnTo>
                        <a:pt x="785" y="816"/>
                      </a:lnTo>
                      <a:lnTo>
                        <a:pt x="784" y="816"/>
                      </a:lnTo>
                      <a:lnTo>
                        <a:pt x="783" y="816"/>
                      </a:lnTo>
                      <a:lnTo>
                        <a:pt x="783" y="817"/>
                      </a:lnTo>
                      <a:lnTo>
                        <a:pt x="782" y="819"/>
                      </a:lnTo>
                      <a:lnTo>
                        <a:pt x="781" y="819"/>
                      </a:lnTo>
                      <a:lnTo>
                        <a:pt x="781" y="820"/>
                      </a:lnTo>
                      <a:lnTo>
                        <a:pt x="780" y="821"/>
                      </a:lnTo>
                      <a:lnTo>
                        <a:pt x="780" y="822"/>
                      </a:lnTo>
                      <a:lnTo>
                        <a:pt x="779" y="822"/>
                      </a:lnTo>
                      <a:lnTo>
                        <a:pt x="779" y="823"/>
                      </a:lnTo>
                      <a:lnTo>
                        <a:pt x="779" y="824"/>
                      </a:lnTo>
                      <a:lnTo>
                        <a:pt x="777" y="824"/>
                      </a:lnTo>
                      <a:lnTo>
                        <a:pt x="777" y="825"/>
                      </a:lnTo>
                      <a:lnTo>
                        <a:pt x="779" y="825"/>
                      </a:lnTo>
                      <a:lnTo>
                        <a:pt x="779" y="826"/>
                      </a:lnTo>
                      <a:lnTo>
                        <a:pt x="779" y="827"/>
                      </a:lnTo>
                      <a:lnTo>
                        <a:pt x="777" y="827"/>
                      </a:lnTo>
                      <a:lnTo>
                        <a:pt x="777" y="828"/>
                      </a:lnTo>
                      <a:lnTo>
                        <a:pt x="776" y="829"/>
                      </a:lnTo>
                      <a:lnTo>
                        <a:pt x="776" y="831"/>
                      </a:lnTo>
                      <a:lnTo>
                        <a:pt x="775" y="832"/>
                      </a:lnTo>
                      <a:lnTo>
                        <a:pt x="775" y="833"/>
                      </a:lnTo>
                      <a:lnTo>
                        <a:pt x="775" y="834"/>
                      </a:lnTo>
                      <a:lnTo>
                        <a:pt x="774" y="834"/>
                      </a:lnTo>
                      <a:lnTo>
                        <a:pt x="774" y="835"/>
                      </a:lnTo>
                      <a:lnTo>
                        <a:pt x="773" y="835"/>
                      </a:lnTo>
                      <a:lnTo>
                        <a:pt x="773" y="836"/>
                      </a:lnTo>
                      <a:lnTo>
                        <a:pt x="772" y="836"/>
                      </a:lnTo>
                      <a:lnTo>
                        <a:pt x="772" y="837"/>
                      </a:lnTo>
                      <a:lnTo>
                        <a:pt x="771" y="837"/>
                      </a:lnTo>
                      <a:lnTo>
                        <a:pt x="770" y="838"/>
                      </a:lnTo>
                      <a:lnTo>
                        <a:pt x="771" y="838"/>
                      </a:lnTo>
                      <a:lnTo>
                        <a:pt x="771" y="839"/>
                      </a:lnTo>
                      <a:lnTo>
                        <a:pt x="772" y="839"/>
                      </a:lnTo>
                      <a:lnTo>
                        <a:pt x="772" y="840"/>
                      </a:lnTo>
                      <a:lnTo>
                        <a:pt x="773" y="841"/>
                      </a:lnTo>
                      <a:lnTo>
                        <a:pt x="773" y="842"/>
                      </a:lnTo>
                      <a:lnTo>
                        <a:pt x="774" y="842"/>
                      </a:lnTo>
                      <a:lnTo>
                        <a:pt x="774" y="844"/>
                      </a:lnTo>
                      <a:lnTo>
                        <a:pt x="775" y="844"/>
                      </a:lnTo>
                      <a:lnTo>
                        <a:pt x="776" y="844"/>
                      </a:lnTo>
                      <a:lnTo>
                        <a:pt x="776" y="845"/>
                      </a:lnTo>
                      <a:lnTo>
                        <a:pt x="777" y="845"/>
                      </a:lnTo>
                      <a:lnTo>
                        <a:pt x="779" y="845"/>
                      </a:lnTo>
                      <a:lnTo>
                        <a:pt x="779" y="846"/>
                      </a:lnTo>
                      <a:lnTo>
                        <a:pt x="780" y="846"/>
                      </a:lnTo>
                      <a:lnTo>
                        <a:pt x="780" y="847"/>
                      </a:lnTo>
                      <a:lnTo>
                        <a:pt x="780" y="846"/>
                      </a:lnTo>
                      <a:lnTo>
                        <a:pt x="781" y="846"/>
                      </a:lnTo>
                      <a:lnTo>
                        <a:pt x="782" y="846"/>
                      </a:lnTo>
                      <a:lnTo>
                        <a:pt x="782" y="845"/>
                      </a:lnTo>
                      <a:lnTo>
                        <a:pt x="783" y="845"/>
                      </a:lnTo>
                      <a:lnTo>
                        <a:pt x="784" y="845"/>
                      </a:lnTo>
                      <a:lnTo>
                        <a:pt x="785" y="845"/>
                      </a:lnTo>
                      <a:lnTo>
                        <a:pt x="786" y="845"/>
                      </a:lnTo>
                      <a:lnTo>
                        <a:pt x="785" y="845"/>
                      </a:lnTo>
                      <a:lnTo>
                        <a:pt x="785" y="846"/>
                      </a:lnTo>
                      <a:lnTo>
                        <a:pt x="786" y="847"/>
                      </a:lnTo>
                      <a:lnTo>
                        <a:pt x="786" y="848"/>
                      </a:lnTo>
                      <a:lnTo>
                        <a:pt x="787" y="848"/>
                      </a:lnTo>
                      <a:lnTo>
                        <a:pt x="787" y="847"/>
                      </a:lnTo>
                      <a:lnTo>
                        <a:pt x="788" y="847"/>
                      </a:lnTo>
                      <a:lnTo>
                        <a:pt x="788" y="848"/>
                      </a:lnTo>
                      <a:lnTo>
                        <a:pt x="789" y="848"/>
                      </a:lnTo>
                      <a:lnTo>
                        <a:pt x="789" y="850"/>
                      </a:lnTo>
                      <a:lnTo>
                        <a:pt x="788" y="849"/>
                      </a:lnTo>
                      <a:lnTo>
                        <a:pt x="787" y="849"/>
                      </a:lnTo>
                      <a:lnTo>
                        <a:pt x="786" y="849"/>
                      </a:lnTo>
                      <a:lnTo>
                        <a:pt x="785" y="849"/>
                      </a:lnTo>
                      <a:lnTo>
                        <a:pt x="785" y="850"/>
                      </a:lnTo>
                      <a:lnTo>
                        <a:pt x="784" y="850"/>
                      </a:lnTo>
                      <a:lnTo>
                        <a:pt x="784" y="849"/>
                      </a:lnTo>
                      <a:lnTo>
                        <a:pt x="783" y="849"/>
                      </a:lnTo>
                      <a:lnTo>
                        <a:pt x="783" y="848"/>
                      </a:lnTo>
                      <a:lnTo>
                        <a:pt x="782" y="848"/>
                      </a:lnTo>
                      <a:lnTo>
                        <a:pt x="781" y="848"/>
                      </a:lnTo>
                      <a:lnTo>
                        <a:pt x="780" y="848"/>
                      </a:lnTo>
                      <a:lnTo>
                        <a:pt x="777" y="848"/>
                      </a:lnTo>
                      <a:lnTo>
                        <a:pt x="776" y="849"/>
                      </a:lnTo>
                      <a:lnTo>
                        <a:pt x="775" y="849"/>
                      </a:lnTo>
                      <a:lnTo>
                        <a:pt x="774" y="849"/>
                      </a:lnTo>
                      <a:lnTo>
                        <a:pt x="773" y="849"/>
                      </a:lnTo>
                      <a:lnTo>
                        <a:pt x="772" y="849"/>
                      </a:lnTo>
                      <a:lnTo>
                        <a:pt x="770" y="849"/>
                      </a:lnTo>
                      <a:lnTo>
                        <a:pt x="770" y="850"/>
                      </a:lnTo>
                      <a:lnTo>
                        <a:pt x="769" y="850"/>
                      </a:lnTo>
                      <a:lnTo>
                        <a:pt x="769" y="851"/>
                      </a:lnTo>
                      <a:lnTo>
                        <a:pt x="768" y="852"/>
                      </a:lnTo>
                      <a:lnTo>
                        <a:pt x="768" y="853"/>
                      </a:lnTo>
                      <a:lnTo>
                        <a:pt x="768" y="854"/>
                      </a:lnTo>
                      <a:lnTo>
                        <a:pt x="768" y="855"/>
                      </a:lnTo>
                      <a:lnTo>
                        <a:pt x="769" y="855"/>
                      </a:lnTo>
                      <a:lnTo>
                        <a:pt x="768" y="855"/>
                      </a:lnTo>
                      <a:lnTo>
                        <a:pt x="768" y="857"/>
                      </a:lnTo>
                      <a:lnTo>
                        <a:pt x="768" y="858"/>
                      </a:lnTo>
                      <a:lnTo>
                        <a:pt x="768" y="859"/>
                      </a:lnTo>
                      <a:lnTo>
                        <a:pt x="769" y="859"/>
                      </a:lnTo>
                      <a:lnTo>
                        <a:pt x="769" y="858"/>
                      </a:lnTo>
                      <a:lnTo>
                        <a:pt x="770" y="858"/>
                      </a:lnTo>
                      <a:lnTo>
                        <a:pt x="770" y="859"/>
                      </a:lnTo>
                      <a:lnTo>
                        <a:pt x="770" y="858"/>
                      </a:lnTo>
                      <a:lnTo>
                        <a:pt x="770" y="859"/>
                      </a:lnTo>
                      <a:lnTo>
                        <a:pt x="769" y="859"/>
                      </a:lnTo>
                      <a:lnTo>
                        <a:pt x="769" y="860"/>
                      </a:lnTo>
                      <a:lnTo>
                        <a:pt x="769" y="861"/>
                      </a:lnTo>
                      <a:lnTo>
                        <a:pt x="768" y="861"/>
                      </a:lnTo>
                      <a:lnTo>
                        <a:pt x="768" y="862"/>
                      </a:lnTo>
                      <a:lnTo>
                        <a:pt x="767" y="862"/>
                      </a:lnTo>
                      <a:lnTo>
                        <a:pt x="767" y="863"/>
                      </a:lnTo>
                      <a:lnTo>
                        <a:pt x="768" y="863"/>
                      </a:lnTo>
                      <a:lnTo>
                        <a:pt x="767" y="864"/>
                      </a:lnTo>
                      <a:lnTo>
                        <a:pt x="768" y="864"/>
                      </a:lnTo>
                      <a:lnTo>
                        <a:pt x="769" y="864"/>
                      </a:lnTo>
                      <a:lnTo>
                        <a:pt x="769" y="863"/>
                      </a:lnTo>
                      <a:lnTo>
                        <a:pt x="770" y="863"/>
                      </a:lnTo>
                      <a:lnTo>
                        <a:pt x="770" y="862"/>
                      </a:lnTo>
                      <a:lnTo>
                        <a:pt x="771" y="862"/>
                      </a:lnTo>
                      <a:lnTo>
                        <a:pt x="772" y="861"/>
                      </a:lnTo>
                      <a:lnTo>
                        <a:pt x="772" y="860"/>
                      </a:lnTo>
                      <a:lnTo>
                        <a:pt x="773" y="860"/>
                      </a:lnTo>
                      <a:lnTo>
                        <a:pt x="773" y="861"/>
                      </a:lnTo>
                      <a:lnTo>
                        <a:pt x="774" y="861"/>
                      </a:lnTo>
                      <a:lnTo>
                        <a:pt x="774" y="862"/>
                      </a:lnTo>
                      <a:lnTo>
                        <a:pt x="774" y="863"/>
                      </a:lnTo>
                      <a:lnTo>
                        <a:pt x="774" y="864"/>
                      </a:lnTo>
                      <a:lnTo>
                        <a:pt x="773" y="864"/>
                      </a:lnTo>
                      <a:lnTo>
                        <a:pt x="773" y="865"/>
                      </a:lnTo>
                      <a:lnTo>
                        <a:pt x="774" y="865"/>
                      </a:lnTo>
                      <a:lnTo>
                        <a:pt x="774" y="866"/>
                      </a:lnTo>
                      <a:lnTo>
                        <a:pt x="773" y="866"/>
                      </a:lnTo>
                      <a:lnTo>
                        <a:pt x="773" y="867"/>
                      </a:lnTo>
                      <a:lnTo>
                        <a:pt x="773" y="868"/>
                      </a:lnTo>
                      <a:lnTo>
                        <a:pt x="773" y="870"/>
                      </a:lnTo>
                      <a:lnTo>
                        <a:pt x="774" y="870"/>
                      </a:lnTo>
                      <a:lnTo>
                        <a:pt x="775" y="871"/>
                      </a:lnTo>
                      <a:lnTo>
                        <a:pt x="776" y="872"/>
                      </a:lnTo>
                      <a:lnTo>
                        <a:pt x="776" y="873"/>
                      </a:lnTo>
                      <a:lnTo>
                        <a:pt x="777" y="873"/>
                      </a:lnTo>
                      <a:lnTo>
                        <a:pt x="777" y="872"/>
                      </a:lnTo>
                      <a:lnTo>
                        <a:pt x="779" y="872"/>
                      </a:lnTo>
                      <a:lnTo>
                        <a:pt x="779" y="873"/>
                      </a:lnTo>
                      <a:lnTo>
                        <a:pt x="780" y="873"/>
                      </a:lnTo>
                      <a:lnTo>
                        <a:pt x="780" y="872"/>
                      </a:lnTo>
                      <a:lnTo>
                        <a:pt x="780" y="873"/>
                      </a:lnTo>
                      <a:lnTo>
                        <a:pt x="781" y="873"/>
                      </a:lnTo>
                      <a:lnTo>
                        <a:pt x="782" y="873"/>
                      </a:lnTo>
                      <a:lnTo>
                        <a:pt x="783" y="873"/>
                      </a:lnTo>
                      <a:lnTo>
                        <a:pt x="783" y="874"/>
                      </a:lnTo>
                      <a:lnTo>
                        <a:pt x="783" y="873"/>
                      </a:lnTo>
                      <a:lnTo>
                        <a:pt x="784" y="873"/>
                      </a:lnTo>
                      <a:lnTo>
                        <a:pt x="785" y="873"/>
                      </a:lnTo>
                      <a:lnTo>
                        <a:pt x="786" y="873"/>
                      </a:lnTo>
                      <a:lnTo>
                        <a:pt x="787" y="872"/>
                      </a:lnTo>
                      <a:lnTo>
                        <a:pt x="787" y="873"/>
                      </a:lnTo>
                      <a:lnTo>
                        <a:pt x="788" y="873"/>
                      </a:lnTo>
                      <a:lnTo>
                        <a:pt x="789" y="873"/>
                      </a:lnTo>
                      <a:lnTo>
                        <a:pt x="790" y="873"/>
                      </a:lnTo>
                      <a:lnTo>
                        <a:pt x="792" y="873"/>
                      </a:lnTo>
                      <a:lnTo>
                        <a:pt x="792" y="874"/>
                      </a:lnTo>
                      <a:lnTo>
                        <a:pt x="793" y="874"/>
                      </a:lnTo>
                      <a:lnTo>
                        <a:pt x="793" y="875"/>
                      </a:lnTo>
                      <a:lnTo>
                        <a:pt x="793" y="876"/>
                      </a:lnTo>
                      <a:lnTo>
                        <a:pt x="794" y="877"/>
                      </a:lnTo>
                      <a:lnTo>
                        <a:pt x="795" y="877"/>
                      </a:lnTo>
                      <a:lnTo>
                        <a:pt x="796" y="878"/>
                      </a:lnTo>
                      <a:lnTo>
                        <a:pt x="795" y="878"/>
                      </a:lnTo>
                      <a:lnTo>
                        <a:pt x="795" y="879"/>
                      </a:lnTo>
                      <a:lnTo>
                        <a:pt x="795" y="880"/>
                      </a:lnTo>
                      <a:lnTo>
                        <a:pt x="795" y="881"/>
                      </a:lnTo>
                      <a:lnTo>
                        <a:pt x="796" y="883"/>
                      </a:lnTo>
                      <a:lnTo>
                        <a:pt x="797" y="884"/>
                      </a:lnTo>
                      <a:lnTo>
                        <a:pt x="797" y="885"/>
                      </a:lnTo>
                      <a:lnTo>
                        <a:pt x="798" y="885"/>
                      </a:lnTo>
                      <a:lnTo>
                        <a:pt x="798" y="886"/>
                      </a:lnTo>
                      <a:lnTo>
                        <a:pt x="799" y="886"/>
                      </a:lnTo>
                      <a:lnTo>
                        <a:pt x="799" y="885"/>
                      </a:lnTo>
                      <a:lnTo>
                        <a:pt x="800" y="885"/>
                      </a:lnTo>
                      <a:lnTo>
                        <a:pt x="800" y="886"/>
                      </a:lnTo>
                      <a:lnTo>
                        <a:pt x="801" y="886"/>
                      </a:lnTo>
                      <a:lnTo>
                        <a:pt x="801" y="885"/>
                      </a:lnTo>
                      <a:lnTo>
                        <a:pt x="802" y="884"/>
                      </a:lnTo>
                      <a:lnTo>
                        <a:pt x="802" y="885"/>
                      </a:lnTo>
                      <a:lnTo>
                        <a:pt x="802" y="884"/>
                      </a:lnTo>
                      <a:lnTo>
                        <a:pt x="803" y="884"/>
                      </a:lnTo>
                      <a:lnTo>
                        <a:pt x="803" y="883"/>
                      </a:lnTo>
                      <a:lnTo>
                        <a:pt x="802" y="883"/>
                      </a:lnTo>
                      <a:lnTo>
                        <a:pt x="803" y="883"/>
                      </a:lnTo>
                      <a:lnTo>
                        <a:pt x="805" y="883"/>
                      </a:lnTo>
                      <a:lnTo>
                        <a:pt x="806" y="883"/>
                      </a:lnTo>
                      <a:lnTo>
                        <a:pt x="808" y="883"/>
                      </a:lnTo>
                      <a:lnTo>
                        <a:pt x="809" y="883"/>
                      </a:lnTo>
                      <a:lnTo>
                        <a:pt x="810" y="883"/>
                      </a:lnTo>
                      <a:lnTo>
                        <a:pt x="811" y="883"/>
                      </a:lnTo>
                      <a:lnTo>
                        <a:pt x="812" y="883"/>
                      </a:lnTo>
                      <a:lnTo>
                        <a:pt x="812" y="881"/>
                      </a:lnTo>
                      <a:lnTo>
                        <a:pt x="811" y="880"/>
                      </a:lnTo>
                      <a:lnTo>
                        <a:pt x="812" y="880"/>
                      </a:lnTo>
                      <a:lnTo>
                        <a:pt x="812" y="879"/>
                      </a:lnTo>
                      <a:lnTo>
                        <a:pt x="812" y="878"/>
                      </a:lnTo>
                      <a:lnTo>
                        <a:pt x="812" y="877"/>
                      </a:lnTo>
                      <a:lnTo>
                        <a:pt x="812" y="876"/>
                      </a:lnTo>
                      <a:lnTo>
                        <a:pt x="813" y="876"/>
                      </a:lnTo>
                      <a:lnTo>
                        <a:pt x="813" y="875"/>
                      </a:lnTo>
                      <a:lnTo>
                        <a:pt x="813" y="874"/>
                      </a:lnTo>
                      <a:lnTo>
                        <a:pt x="813" y="875"/>
                      </a:lnTo>
                      <a:lnTo>
                        <a:pt x="813" y="876"/>
                      </a:lnTo>
                      <a:lnTo>
                        <a:pt x="812" y="877"/>
                      </a:lnTo>
                      <a:lnTo>
                        <a:pt x="813" y="878"/>
                      </a:lnTo>
                      <a:lnTo>
                        <a:pt x="814" y="878"/>
                      </a:lnTo>
                      <a:lnTo>
                        <a:pt x="814" y="879"/>
                      </a:lnTo>
                      <a:lnTo>
                        <a:pt x="815" y="879"/>
                      </a:lnTo>
                      <a:lnTo>
                        <a:pt x="816" y="880"/>
                      </a:lnTo>
                      <a:lnTo>
                        <a:pt x="818" y="881"/>
                      </a:lnTo>
                      <a:lnTo>
                        <a:pt x="818" y="883"/>
                      </a:lnTo>
                      <a:lnTo>
                        <a:pt x="818" y="884"/>
                      </a:lnTo>
                      <a:lnTo>
                        <a:pt x="818" y="885"/>
                      </a:lnTo>
                      <a:lnTo>
                        <a:pt x="819" y="886"/>
                      </a:lnTo>
                      <a:lnTo>
                        <a:pt x="819" y="887"/>
                      </a:lnTo>
                      <a:lnTo>
                        <a:pt x="820" y="887"/>
                      </a:lnTo>
                      <a:lnTo>
                        <a:pt x="820" y="888"/>
                      </a:lnTo>
                      <a:lnTo>
                        <a:pt x="820" y="889"/>
                      </a:lnTo>
                      <a:lnTo>
                        <a:pt x="820" y="890"/>
                      </a:lnTo>
                      <a:lnTo>
                        <a:pt x="821" y="891"/>
                      </a:lnTo>
                      <a:lnTo>
                        <a:pt x="820" y="892"/>
                      </a:lnTo>
                      <a:lnTo>
                        <a:pt x="821" y="892"/>
                      </a:lnTo>
                      <a:lnTo>
                        <a:pt x="822" y="892"/>
                      </a:lnTo>
                      <a:lnTo>
                        <a:pt x="822" y="893"/>
                      </a:lnTo>
                      <a:lnTo>
                        <a:pt x="823" y="893"/>
                      </a:lnTo>
                      <a:lnTo>
                        <a:pt x="824" y="893"/>
                      </a:lnTo>
                      <a:lnTo>
                        <a:pt x="824" y="894"/>
                      </a:lnTo>
                      <a:lnTo>
                        <a:pt x="825" y="894"/>
                      </a:lnTo>
                      <a:lnTo>
                        <a:pt x="826" y="894"/>
                      </a:lnTo>
                      <a:lnTo>
                        <a:pt x="826" y="893"/>
                      </a:lnTo>
                      <a:lnTo>
                        <a:pt x="827" y="893"/>
                      </a:lnTo>
                      <a:lnTo>
                        <a:pt x="828" y="893"/>
                      </a:lnTo>
                      <a:lnTo>
                        <a:pt x="829" y="893"/>
                      </a:lnTo>
                      <a:lnTo>
                        <a:pt x="831" y="893"/>
                      </a:lnTo>
                      <a:lnTo>
                        <a:pt x="829" y="894"/>
                      </a:lnTo>
                      <a:lnTo>
                        <a:pt x="831" y="896"/>
                      </a:lnTo>
                      <a:lnTo>
                        <a:pt x="831" y="897"/>
                      </a:lnTo>
                      <a:lnTo>
                        <a:pt x="831" y="898"/>
                      </a:lnTo>
                      <a:lnTo>
                        <a:pt x="831" y="897"/>
                      </a:lnTo>
                      <a:lnTo>
                        <a:pt x="832" y="897"/>
                      </a:lnTo>
                      <a:lnTo>
                        <a:pt x="833" y="897"/>
                      </a:lnTo>
                      <a:lnTo>
                        <a:pt x="833" y="896"/>
                      </a:lnTo>
                      <a:lnTo>
                        <a:pt x="833" y="899"/>
                      </a:lnTo>
                      <a:lnTo>
                        <a:pt x="832" y="899"/>
                      </a:lnTo>
                      <a:lnTo>
                        <a:pt x="832" y="900"/>
                      </a:lnTo>
                      <a:lnTo>
                        <a:pt x="833" y="900"/>
                      </a:lnTo>
                      <a:lnTo>
                        <a:pt x="834" y="900"/>
                      </a:lnTo>
                      <a:lnTo>
                        <a:pt x="835" y="900"/>
                      </a:lnTo>
                      <a:lnTo>
                        <a:pt x="835" y="901"/>
                      </a:lnTo>
                      <a:lnTo>
                        <a:pt x="836" y="901"/>
                      </a:lnTo>
                      <a:lnTo>
                        <a:pt x="836" y="902"/>
                      </a:lnTo>
                      <a:lnTo>
                        <a:pt x="837" y="902"/>
                      </a:lnTo>
                      <a:lnTo>
                        <a:pt x="838" y="902"/>
                      </a:lnTo>
                      <a:lnTo>
                        <a:pt x="839" y="902"/>
                      </a:lnTo>
                      <a:lnTo>
                        <a:pt x="840" y="901"/>
                      </a:lnTo>
                      <a:lnTo>
                        <a:pt x="840" y="900"/>
                      </a:lnTo>
                      <a:lnTo>
                        <a:pt x="840" y="899"/>
                      </a:lnTo>
                      <a:lnTo>
                        <a:pt x="840" y="898"/>
                      </a:lnTo>
                      <a:lnTo>
                        <a:pt x="841" y="898"/>
                      </a:lnTo>
                      <a:lnTo>
                        <a:pt x="840" y="898"/>
                      </a:lnTo>
                      <a:lnTo>
                        <a:pt x="841" y="897"/>
                      </a:lnTo>
                      <a:lnTo>
                        <a:pt x="842" y="897"/>
                      </a:lnTo>
                      <a:lnTo>
                        <a:pt x="842" y="898"/>
                      </a:lnTo>
                      <a:lnTo>
                        <a:pt x="844" y="897"/>
                      </a:lnTo>
                      <a:lnTo>
                        <a:pt x="845" y="897"/>
                      </a:lnTo>
                      <a:lnTo>
                        <a:pt x="846" y="898"/>
                      </a:lnTo>
                      <a:lnTo>
                        <a:pt x="847" y="898"/>
                      </a:lnTo>
                      <a:lnTo>
                        <a:pt x="848" y="898"/>
                      </a:lnTo>
                      <a:lnTo>
                        <a:pt x="848" y="899"/>
                      </a:lnTo>
                      <a:lnTo>
                        <a:pt x="849" y="899"/>
                      </a:lnTo>
                      <a:lnTo>
                        <a:pt x="850" y="899"/>
                      </a:lnTo>
                      <a:lnTo>
                        <a:pt x="851" y="900"/>
                      </a:lnTo>
                      <a:lnTo>
                        <a:pt x="852" y="900"/>
                      </a:lnTo>
                      <a:lnTo>
                        <a:pt x="853" y="900"/>
                      </a:lnTo>
                      <a:lnTo>
                        <a:pt x="854" y="900"/>
                      </a:lnTo>
                      <a:lnTo>
                        <a:pt x="855" y="900"/>
                      </a:lnTo>
                      <a:lnTo>
                        <a:pt x="855" y="901"/>
                      </a:lnTo>
                      <a:lnTo>
                        <a:pt x="854" y="901"/>
                      </a:lnTo>
                      <a:lnTo>
                        <a:pt x="854" y="902"/>
                      </a:lnTo>
                      <a:lnTo>
                        <a:pt x="855" y="903"/>
                      </a:lnTo>
                      <a:lnTo>
                        <a:pt x="855" y="902"/>
                      </a:lnTo>
                      <a:lnTo>
                        <a:pt x="857" y="901"/>
                      </a:lnTo>
                      <a:lnTo>
                        <a:pt x="857" y="900"/>
                      </a:lnTo>
                      <a:lnTo>
                        <a:pt x="857" y="899"/>
                      </a:lnTo>
                      <a:lnTo>
                        <a:pt x="858" y="899"/>
                      </a:lnTo>
                      <a:lnTo>
                        <a:pt x="859" y="899"/>
                      </a:lnTo>
                      <a:lnTo>
                        <a:pt x="859" y="898"/>
                      </a:lnTo>
                      <a:lnTo>
                        <a:pt x="859" y="899"/>
                      </a:lnTo>
                      <a:lnTo>
                        <a:pt x="860" y="899"/>
                      </a:lnTo>
                      <a:lnTo>
                        <a:pt x="861" y="900"/>
                      </a:lnTo>
                      <a:lnTo>
                        <a:pt x="862" y="899"/>
                      </a:lnTo>
                      <a:lnTo>
                        <a:pt x="862" y="900"/>
                      </a:lnTo>
                      <a:lnTo>
                        <a:pt x="863" y="900"/>
                      </a:lnTo>
                      <a:lnTo>
                        <a:pt x="864" y="900"/>
                      </a:lnTo>
                      <a:lnTo>
                        <a:pt x="865" y="900"/>
                      </a:lnTo>
                      <a:lnTo>
                        <a:pt x="865" y="899"/>
                      </a:lnTo>
                      <a:lnTo>
                        <a:pt x="865" y="900"/>
                      </a:lnTo>
                      <a:lnTo>
                        <a:pt x="866" y="900"/>
                      </a:lnTo>
                      <a:lnTo>
                        <a:pt x="867" y="900"/>
                      </a:lnTo>
                      <a:lnTo>
                        <a:pt x="867" y="899"/>
                      </a:lnTo>
                      <a:lnTo>
                        <a:pt x="869" y="899"/>
                      </a:lnTo>
                      <a:lnTo>
                        <a:pt x="870" y="899"/>
                      </a:lnTo>
                      <a:lnTo>
                        <a:pt x="871" y="899"/>
                      </a:lnTo>
                      <a:lnTo>
                        <a:pt x="871" y="900"/>
                      </a:lnTo>
                      <a:lnTo>
                        <a:pt x="870" y="900"/>
                      </a:lnTo>
                      <a:lnTo>
                        <a:pt x="870" y="901"/>
                      </a:lnTo>
                      <a:lnTo>
                        <a:pt x="870" y="902"/>
                      </a:lnTo>
                      <a:lnTo>
                        <a:pt x="871" y="904"/>
                      </a:lnTo>
                      <a:lnTo>
                        <a:pt x="870" y="904"/>
                      </a:lnTo>
                      <a:lnTo>
                        <a:pt x="869" y="904"/>
                      </a:lnTo>
                      <a:lnTo>
                        <a:pt x="867" y="903"/>
                      </a:lnTo>
                      <a:lnTo>
                        <a:pt x="866" y="903"/>
                      </a:lnTo>
                      <a:lnTo>
                        <a:pt x="866" y="904"/>
                      </a:lnTo>
                      <a:lnTo>
                        <a:pt x="865" y="904"/>
                      </a:lnTo>
                      <a:lnTo>
                        <a:pt x="864" y="904"/>
                      </a:lnTo>
                      <a:lnTo>
                        <a:pt x="864" y="905"/>
                      </a:lnTo>
                      <a:lnTo>
                        <a:pt x="863" y="905"/>
                      </a:lnTo>
                      <a:lnTo>
                        <a:pt x="862" y="905"/>
                      </a:lnTo>
                      <a:lnTo>
                        <a:pt x="861" y="905"/>
                      </a:lnTo>
                      <a:lnTo>
                        <a:pt x="860" y="905"/>
                      </a:lnTo>
                      <a:lnTo>
                        <a:pt x="860" y="906"/>
                      </a:lnTo>
                      <a:lnTo>
                        <a:pt x="860" y="907"/>
                      </a:lnTo>
                      <a:lnTo>
                        <a:pt x="860" y="909"/>
                      </a:lnTo>
                      <a:lnTo>
                        <a:pt x="859" y="909"/>
                      </a:lnTo>
                      <a:lnTo>
                        <a:pt x="860" y="910"/>
                      </a:lnTo>
                      <a:lnTo>
                        <a:pt x="860" y="911"/>
                      </a:lnTo>
                      <a:lnTo>
                        <a:pt x="861" y="911"/>
                      </a:lnTo>
                      <a:lnTo>
                        <a:pt x="861" y="912"/>
                      </a:lnTo>
                      <a:lnTo>
                        <a:pt x="862" y="912"/>
                      </a:lnTo>
                      <a:lnTo>
                        <a:pt x="862" y="911"/>
                      </a:lnTo>
                      <a:lnTo>
                        <a:pt x="861" y="910"/>
                      </a:lnTo>
                      <a:lnTo>
                        <a:pt x="861" y="909"/>
                      </a:lnTo>
                      <a:lnTo>
                        <a:pt x="862" y="907"/>
                      </a:lnTo>
                      <a:lnTo>
                        <a:pt x="864" y="907"/>
                      </a:lnTo>
                      <a:lnTo>
                        <a:pt x="865" y="909"/>
                      </a:lnTo>
                      <a:lnTo>
                        <a:pt x="865" y="907"/>
                      </a:lnTo>
                      <a:lnTo>
                        <a:pt x="866" y="907"/>
                      </a:lnTo>
                      <a:lnTo>
                        <a:pt x="866" y="906"/>
                      </a:lnTo>
                      <a:lnTo>
                        <a:pt x="867" y="906"/>
                      </a:lnTo>
                      <a:lnTo>
                        <a:pt x="867" y="905"/>
                      </a:lnTo>
                      <a:lnTo>
                        <a:pt x="869" y="905"/>
                      </a:lnTo>
                      <a:lnTo>
                        <a:pt x="869" y="906"/>
                      </a:lnTo>
                      <a:lnTo>
                        <a:pt x="869" y="907"/>
                      </a:lnTo>
                      <a:lnTo>
                        <a:pt x="870" y="909"/>
                      </a:lnTo>
                      <a:lnTo>
                        <a:pt x="870" y="910"/>
                      </a:lnTo>
                      <a:lnTo>
                        <a:pt x="870" y="911"/>
                      </a:lnTo>
                      <a:lnTo>
                        <a:pt x="870" y="912"/>
                      </a:lnTo>
                      <a:lnTo>
                        <a:pt x="870" y="913"/>
                      </a:lnTo>
                      <a:lnTo>
                        <a:pt x="871" y="913"/>
                      </a:lnTo>
                      <a:lnTo>
                        <a:pt x="871" y="912"/>
                      </a:lnTo>
                      <a:lnTo>
                        <a:pt x="870" y="912"/>
                      </a:lnTo>
                      <a:lnTo>
                        <a:pt x="871" y="912"/>
                      </a:lnTo>
                      <a:lnTo>
                        <a:pt x="871" y="913"/>
                      </a:lnTo>
                      <a:lnTo>
                        <a:pt x="872" y="912"/>
                      </a:lnTo>
                      <a:lnTo>
                        <a:pt x="872" y="913"/>
                      </a:lnTo>
                      <a:lnTo>
                        <a:pt x="872" y="914"/>
                      </a:lnTo>
                      <a:lnTo>
                        <a:pt x="873" y="915"/>
                      </a:lnTo>
                      <a:lnTo>
                        <a:pt x="873" y="916"/>
                      </a:lnTo>
                      <a:lnTo>
                        <a:pt x="874" y="917"/>
                      </a:lnTo>
                      <a:lnTo>
                        <a:pt x="875" y="918"/>
                      </a:lnTo>
                      <a:lnTo>
                        <a:pt x="875" y="919"/>
                      </a:lnTo>
                      <a:lnTo>
                        <a:pt x="875" y="921"/>
                      </a:lnTo>
                      <a:lnTo>
                        <a:pt x="875" y="922"/>
                      </a:lnTo>
                      <a:lnTo>
                        <a:pt x="874" y="922"/>
                      </a:lnTo>
                      <a:lnTo>
                        <a:pt x="874" y="923"/>
                      </a:lnTo>
                      <a:lnTo>
                        <a:pt x="873" y="925"/>
                      </a:lnTo>
                      <a:lnTo>
                        <a:pt x="873" y="926"/>
                      </a:lnTo>
                      <a:lnTo>
                        <a:pt x="874" y="926"/>
                      </a:lnTo>
                      <a:lnTo>
                        <a:pt x="874" y="927"/>
                      </a:lnTo>
                      <a:lnTo>
                        <a:pt x="874" y="928"/>
                      </a:lnTo>
                      <a:lnTo>
                        <a:pt x="874" y="929"/>
                      </a:lnTo>
                      <a:lnTo>
                        <a:pt x="875" y="929"/>
                      </a:lnTo>
                      <a:lnTo>
                        <a:pt x="875" y="930"/>
                      </a:lnTo>
                      <a:lnTo>
                        <a:pt x="874" y="930"/>
                      </a:lnTo>
                      <a:lnTo>
                        <a:pt x="873" y="930"/>
                      </a:lnTo>
                      <a:lnTo>
                        <a:pt x="873" y="931"/>
                      </a:lnTo>
                      <a:lnTo>
                        <a:pt x="872" y="931"/>
                      </a:lnTo>
                      <a:lnTo>
                        <a:pt x="872" y="930"/>
                      </a:lnTo>
                      <a:lnTo>
                        <a:pt x="871" y="930"/>
                      </a:lnTo>
                      <a:lnTo>
                        <a:pt x="870" y="930"/>
                      </a:lnTo>
                      <a:lnTo>
                        <a:pt x="869" y="931"/>
                      </a:lnTo>
                      <a:lnTo>
                        <a:pt x="869" y="932"/>
                      </a:lnTo>
                      <a:lnTo>
                        <a:pt x="867" y="932"/>
                      </a:lnTo>
                      <a:lnTo>
                        <a:pt x="867" y="934"/>
                      </a:lnTo>
                      <a:lnTo>
                        <a:pt x="866" y="934"/>
                      </a:lnTo>
                      <a:lnTo>
                        <a:pt x="866" y="935"/>
                      </a:lnTo>
                      <a:lnTo>
                        <a:pt x="867" y="935"/>
                      </a:lnTo>
                      <a:lnTo>
                        <a:pt x="867" y="936"/>
                      </a:lnTo>
                      <a:lnTo>
                        <a:pt x="869" y="936"/>
                      </a:lnTo>
                      <a:lnTo>
                        <a:pt x="869" y="937"/>
                      </a:lnTo>
                      <a:lnTo>
                        <a:pt x="870" y="937"/>
                      </a:lnTo>
                      <a:lnTo>
                        <a:pt x="870" y="938"/>
                      </a:lnTo>
                      <a:lnTo>
                        <a:pt x="871" y="938"/>
                      </a:lnTo>
                      <a:lnTo>
                        <a:pt x="871" y="939"/>
                      </a:lnTo>
                      <a:lnTo>
                        <a:pt x="872" y="939"/>
                      </a:lnTo>
                      <a:lnTo>
                        <a:pt x="873" y="940"/>
                      </a:lnTo>
                      <a:lnTo>
                        <a:pt x="874" y="940"/>
                      </a:lnTo>
                      <a:lnTo>
                        <a:pt x="873" y="940"/>
                      </a:lnTo>
                      <a:lnTo>
                        <a:pt x="873" y="941"/>
                      </a:lnTo>
                      <a:lnTo>
                        <a:pt x="874" y="941"/>
                      </a:lnTo>
                      <a:lnTo>
                        <a:pt x="875" y="941"/>
                      </a:lnTo>
                      <a:lnTo>
                        <a:pt x="875" y="942"/>
                      </a:lnTo>
                      <a:lnTo>
                        <a:pt x="874" y="942"/>
                      </a:lnTo>
                      <a:lnTo>
                        <a:pt x="874" y="943"/>
                      </a:lnTo>
                      <a:lnTo>
                        <a:pt x="874" y="944"/>
                      </a:lnTo>
                      <a:lnTo>
                        <a:pt x="875" y="945"/>
                      </a:lnTo>
                      <a:lnTo>
                        <a:pt x="876" y="945"/>
                      </a:lnTo>
                      <a:lnTo>
                        <a:pt x="877" y="945"/>
                      </a:lnTo>
                      <a:lnTo>
                        <a:pt x="878" y="945"/>
                      </a:lnTo>
                      <a:lnTo>
                        <a:pt x="877" y="947"/>
                      </a:lnTo>
                      <a:lnTo>
                        <a:pt x="876" y="947"/>
                      </a:lnTo>
                      <a:lnTo>
                        <a:pt x="875" y="948"/>
                      </a:lnTo>
                      <a:lnTo>
                        <a:pt x="874" y="948"/>
                      </a:lnTo>
                      <a:lnTo>
                        <a:pt x="874" y="949"/>
                      </a:lnTo>
                      <a:lnTo>
                        <a:pt x="875" y="950"/>
                      </a:lnTo>
                      <a:lnTo>
                        <a:pt x="876" y="950"/>
                      </a:lnTo>
                      <a:lnTo>
                        <a:pt x="877" y="949"/>
                      </a:lnTo>
                      <a:lnTo>
                        <a:pt x="878" y="949"/>
                      </a:lnTo>
                      <a:lnTo>
                        <a:pt x="879" y="949"/>
                      </a:lnTo>
                      <a:lnTo>
                        <a:pt x="880" y="949"/>
                      </a:lnTo>
                      <a:lnTo>
                        <a:pt x="880" y="948"/>
                      </a:lnTo>
                      <a:lnTo>
                        <a:pt x="882" y="948"/>
                      </a:lnTo>
                      <a:lnTo>
                        <a:pt x="882" y="949"/>
                      </a:lnTo>
                      <a:lnTo>
                        <a:pt x="883" y="949"/>
                      </a:lnTo>
                      <a:lnTo>
                        <a:pt x="884" y="949"/>
                      </a:lnTo>
                      <a:lnTo>
                        <a:pt x="885" y="949"/>
                      </a:lnTo>
                      <a:lnTo>
                        <a:pt x="886" y="949"/>
                      </a:lnTo>
                      <a:lnTo>
                        <a:pt x="886" y="948"/>
                      </a:lnTo>
                      <a:lnTo>
                        <a:pt x="886" y="949"/>
                      </a:lnTo>
                      <a:lnTo>
                        <a:pt x="886" y="950"/>
                      </a:lnTo>
                      <a:lnTo>
                        <a:pt x="886" y="951"/>
                      </a:lnTo>
                      <a:lnTo>
                        <a:pt x="887" y="951"/>
                      </a:lnTo>
                      <a:lnTo>
                        <a:pt x="887" y="952"/>
                      </a:lnTo>
                      <a:lnTo>
                        <a:pt x="887" y="951"/>
                      </a:lnTo>
                      <a:lnTo>
                        <a:pt x="887" y="952"/>
                      </a:lnTo>
                      <a:lnTo>
                        <a:pt x="887" y="953"/>
                      </a:lnTo>
                      <a:lnTo>
                        <a:pt x="886" y="953"/>
                      </a:lnTo>
                      <a:lnTo>
                        <a:pt x="885" y="953"/>
                      </a:lnTo>
                      <a:lnTo>
                        <a:pt x="884" y="954"/>
                      </a:lnTo>
                      <a:lnTo>
                        <a:pt x="883" y="954"/>
                      </a:lnTo>
                      <a:lnTo>
                        <a:pt x="883" y="955"/>
                      </a:lnTo>
                      <a:lnTo>
                        <a:pt x="884" y="955"/>
                      </a:lnTo>
                      <a:lnTo>
                        <a:pt x="884" y="956"/>
                      </a:lnTo>
                      <a:lnTo>
                        <a:pt x="883" y="956"/>
                      </a:lnTo>
                      <a:lnTo>
                        <a:pt x="883" y="957"/>
                      </a:lnTo>
                      <a:lnTo>
                        <a:pt x="883" y="958"/>
                      </a:lnTo>
                      <a:lnTo>
                        <a:pt x="883" y="960"/>
                      </a:lnTo>
                      <a:lnTo>
                        <a:pt x="883" y="961"/>
                      </a:lnTo>
                      <a:lnTo>
                        <a:pt x="884" y="961"/>
                      </a:lnTo>
                      <a:lnTo>
                        <a:pt x="885" y="961"/>
                      </a:lnTo>
                      <a:lnTo>
                        <a:pt x="885" y="962"/>
                      </a:lnTo>
                      <a:lnTo>
                        <a:pt x="884" y="962"/>
                      </a:lnTo>
                      <a:lnTo>
                        <a:pt x="884" y="963"/>
                      </a:lnTo>
                      <a:lnTo>
                        <a:pt x="885" y="963"/>
                      </a:lnTo>
                      <a:lnTo>
                        <a:pt x="886" y="963"/>
                      </a:lnTo>
                      <a:lnTo>
                        <a:pt x="886" y="964"/>
                      </a:lnTo>
                      <a:lnTo>
                        <a:pt x="887" y="965"/>
                      </a:lnTo>
                      <a:lnTo>
                        <a:pt x="886" y="965"/>
                      </a:lnTo>
                      <a:lnTo>
                        <a:pt x="885" y="965"/>
                      </a:lnTo>
                      <a:lnTo>
                        <a:pt x="885" y="966"/>
                      </a:lnTo>
                      <a:lnTo>
                        <a:pt x="884" y="966"/>
                      </a:lnTo>
                      <a:lnTo>
                        <a:pt x="883" y="966"/>
                      </a:lnTo>
                      <a:lnTo>
                        <a:pt x="883" y="965"/>
                      </a:lnTo>
                      <a:lnTo>
                        <a:pt x="884" y="965"/>
                      </a:lnTo>
                      <a:lnTo>
                        <a:pt x="883" y="965"/>
                      </a:lnTo>
                      <a:lnTo>
                        <a:pt x="883" y="964"/>
                      </a:lnTo>
                      <a:lnTo>
                        <a:pt x="882" y="964"/>
                      </a:lnTo>
                      <a:lnTo>
                        <a:pt x="882" y="963"/>
                      </a:lnTo>
                      <a:lnTo>
                        <a:pt x="882" y="962"/>
                      </a:lnTo>
                      <a:lnTo>
                        <a:pt x="880" y="961"/>
                      </a:lnTo>
                      <a:lnTo>
                        <a:pt x="879" y="962"/>
                      </a:lnTo>
                      <a:lnTo>
                        <a:pt x="879" y="961"/>
                      </a:lnTo>
                      <a:lnTo>
                        <a:pt x="878" y="962"/>
                      </a:lnTo>
                      <a:lnTo>
                        <a:pt x="877" y="962"/>
                      </a:lnTo>
                      <a:lnTo>
                        <a:pt x="877" y="963"/>
                      </a:lnTo>
                      <a:lnTo>
                        <a:pt x="876" y="963"/>
                      </a:lnTo>
                      <a:lnTo>
                        <a:pt x="876" y="962"/>
                      </a:lnTo>
                      <a:lnTo>
                        <a:pt x="875" y="961"/>
                      </a:lnTo>
                      <a:lnTo>
                        <a:pt x="874" y="961"/>
                      </a:lnTo>
                      <a:lnTo>
                        <a:pt x="874" y="962"/>
                      </a:lnTo>
                      <a:lnTo>
                        <a:pt x="874" y="963"/>
                      </a:lnTo>
                      <a:lnTo>
                        <a:pt x="875" y="963"/>
                      </a:lnTo>
                      <a:lnTo>
                        <a:pt x="876" y="963"/>
                      </a:lnTo>
                      <a:lnTo>
                        <a:pt x="877" y="963"/>
                      </a:lnTo>
                      <a:lnTo>
                        <a:pt x="877" y="964"/>
                      </a:lnTo>
                      <a:lnTo>
                        <a:pt x="878" y="964"/>
                      </a:lnTo>
                      <a:lnTo>
                        <a:pt x="879" y="965"/>
                      </a:lnTo>
                      <a:lnTo>
                        <a:pt x="880" y="965"/>
                      </a:lnTo>
                      <a:lnTo>
                        <a:pt x="880" y="964"/>
                      </a:lnTo>
                      <a:lnTo>
                        <a:pt x="882" y="964"/>
                      </a:lnTo>
                      <a:lnTo>
                        <a:pt x="883" y="964"/>
                      </a:lnTo>
                      <a:lnTo>
                        <a:pt x="883" y="965"/>
                      </a:lnTo>
                      <a:lnTo>
                        <a:pt x="883" y="966"/>
                      </a:lnTo>
                      <a:lnTo>
                        <a:pt x="882" y="966"/>
                      </a:lnTo>
                      <a:lnTo>
                        <a:pt x="883" y="966"/>
                      </a:lnTo>
                      <a:lnTo>
                        <a:pt x="883" y="967"/>
                      </a:lnTo>
                      <a:lnTo>
                        <a:pt x="884" y="967"/>
                      </a:lnTo>
                      <a:lnTo>
                        <a:pt x="884" y="968"/>
                      </a:lnTo>
                      <a:lnTo>
                        <a:pt x="883" y="968"/>
                      </a:lnTo>
                      <a:lnTo>
                        <a:pt x="882" y="968"/>
                      </a:lnTo>
                      <a:lnTo>
                        <a:pt x="882" y="967"/>
                      </a:lnTo>
                      <a:lnTo>
                        <a:pt x="880" y="967"/>
                      </a:lnTo>
                      <a:lnTo>
                        <a:pt x="880" y="968"/>
                      </a:lnTo>
                      <a:lnTo>
                        <a:pt x="879" y="968"/>
                      </a:lnTo>
                      <a:lnTo>
                        <a:pt x="879" y="969"/>
                      </a:lnTo>
                      <a:lnTo>
                        <a:pt x="879" y="970"/>
                      </a:lnTo>
                      <a:lnTo>
                        <a:pt x="880" y="971"/>
                      </a:lnTo>
                      <a:lnTo>
                        <a:pt x="882" y="971"/>
                      </a:lnTo>
                      <a:lnTo>
                        <a:pt x="882" y="973"/>
                      </a:lnTo>
                      <a:lnTo>
                        <a:pt x="883" y="973"/>
                      </a:lnTo>
                      <a:lnTo>
                        <a:pt x="884" y="973"/>
                      </a:lnTo>
                      <a:lnTo>
                        <a:pt x="884" y="974"/>
                      </a:lnTo>
                      <a:lnTo>
                        <a:pt x="884" y="973"/>
                      </a:lnTo>
                      <a:lnTo>
                        <a:pt x="884" y="974"/>
                      </a:lnTo>
                      <a:lnTo>
                        <a:pt x="884" y="975"/>
                      </a:lnTo>
                      <a:lnTo>
                        <a:pt x="883" y="975"/>
                      </a:lnTo>
                      <a:lnTo>
                        <a:pt x="883" y="976"/>
                      </a:lnTo>
                      <a:lnTo>
                        <a:pt x="882" y="976"/>
                      </a:lnTo>
                      <a:lnTo>
                        <a:pt x="882" y="975"/>
                      </a:lnTo>
                      <a:lnTo>
                        <a:pt x="880" y="976"/>
                      </a:lnTo>
                      <a:lnTo>
                        <a:pt x="880" y="975"/>
                      </a:lnTo>
                      <a:lnTo>
                        <a:pt x="879" y="975"/>
                      </a:lnTo>
                      <a:lnTo>
                        <a:pt x="878" y="976"/>
                      </a:lnTo>
                      <a:lnTo>
                        <a:pt x="877" y="976"/>
                      </a:lnTo>
                      <a:lnTo>
                        <a:pt x="878" y="976"/>
                      </a:lnTo>
                      <a:lnTo>
                        <a:pt x="878" y="975"/>
                      </a:lnTo>
                      <a:lnTo>
                        <a:pt x="879" y="975"/>
                      </a:lnTo>
                      <a:lnTo>
                        <a:pt x="879" y="974"/>
                      </a:lnTo>
                      <a:lnTo>
                        <a:pt x="879" y="973"/>
                      </a:lnTo>
                      <a:lnTo>
                        <a:pt x="880" y="973"/>
                      </a:lnTo>
                      <a:lnTo>
                        <a:pt x="879" y="973"/>
                      </a:lnTo>
                      <a:lnTo>
                        <a:pt x="879" y="971"/>
                      </a:lnTo>
                      <a:lnTo>
                        <a:pt x="879" y="970"/>
                      </a:lnTo>
                      <a:lnTo>
                        <a:pt x="879" y="969"/>
                      </a:lnTo>
                      <a:lnTo>
                        <a:pt x="878" y="969"/>
                      </a:lnTo>
                      <a:lnTo>
                        <a:pt x="878" y="968"/>
                      </a:lnTo>
                      <a:lnTo>
                        <a:pt x="877" y="968"/>
                      </a:lnTo>
                      <a:lnTo>
                        <a:pt x="877" y="967"/>
                      </a:lnTo>
                      <a:lnTo>
                        <a:pt x="877" y="966"/>
                      </a:lnTo>
                      <a:lnTo>
                        <a:pt x="877" y="965"/>
                      </a:lnTo>
                      <a:lnTo>
                        <a:pt x="877" y="964"/>
                      </a:lnTo>
                      <a:lnTo>
                        <a:pt x="876" y="964"/>
                      </a:lnTo>
                      <a:lnTo>
                        <a:pt x="875" y="964"/>
                      </a:lnTo>
                      <a:lnTo>
                        <a:pt x="875" y="965"/>
                      </a:lnTo>
                      <a:lnTo>
                        <a:pt x="875" y="966"/>
                      </a:lnTo>
                      <a:lnTo>
                        <a:pt x="876" y="966"/>
                      </a:lnTo>
                      <a:lnTo>
                        <a:pt x="876" y="967"/>
                      </a:lnTo>
                      <a:lnTo>
                        <a:pt x="876" y="968"/>
                      </a:lnTo>
                      <a:lnTo>
                        <a:pt x="875" y="968"/>
                      </a:lnTo>
                      <a:lnTo>
                        <a:pt x="875" y="969"/>
                      </a:lnTo>
                      <a:lnTo>
                        <a:pt x="874" y="969"/>
                      </a:lnTo>
                      <a:lnTo>
                        <a:pt x="874" y="970"/>
                      </a:lnTo>
                      <a:lnTo>
                        <a:pt x="874" y="971"/>
                      </a:lnTo>
                      <a:lnTo>
                        <a:pt x="874" y="973"/>
                      </a:lnTo>
                      <a:lnTo>
                        <a:pt x="873" y="973"/>
                      </a:lnTo>
                      <a:lnTo>
                        <a:pt x="873" y="974"/>
                      </a:lnTo>
                      <a:lnTo>
                        <a:pt x="872" y="974"/>
                      </a:lnTo>
                      <a:lnTo>
                        <a:pt x="872" y="975"/>
                      </a:lnTo>
                      <a:lnTo>
                        <a:pt x="872" y="976"/>
                      </a:lnTo>
                      <a:lnTo>
                        <a:pt x="873" y="976"/>
                      </a:lnTo>
                      <a:lnTo>
                        <a:pt x="873" y="975"/>
                      </a:lnTo>
                      <a:lnTo>
                        <a:pt x="874" y="976"/>
                      </a:lnTo>
                      <a:lnTo>
                        <a:pt x="873" y="976"/>
                      </a:lnTo>
                      <a:lnTo>
                        <a:pt x="873" y="977"/>
                      </a:lnTo>
                      <a:lnTo>
                        <a:pt x="872" y="977"/>
                      </a:lnTo>
                      <a:lnTo>
                        <a:pt x="873" y="979"/>
                      </a:lnTo>
                      <a:lnTo>
                        <a:pt x="873" y="980"/>
                      </a:lnTo>
                      <a:lnTo>
                        <a:pt x="873" y="979"/>
                      </a:lnTo>
                      <a:lnTo>
                        <a:pt x="874" y="979"/>
                      </a:lnTo>
                      <a:lnTo>
                        <a:pt x="873" y="979"/>
                      </a:lnTo>
                      <a:lnTo>
                        <a:pt x="873" y="978"/>
                      </a:lnTo>
                      <a:lnTo>
                        <a:pt x="873" y="979"/>
                      </a:lnTo>
                      <a:lnTo>
                        <a:pt x="874" y="979"/>
                      </a:lnTo>
                      <a:lnTo>
                        <a:pt x="874" y="978"/>
                      </a:lnTo>
                      <a:lnTo>
                        <a:pt x="875" y="978"/>
                      </a:lnTo>
                      <a:lnTo>
                        <a:pt x="874" y="978"/>
                      </a:lnTo>
                      <a:lnTo>
                        <a:pt x="874" y="977"/>
                      </a:lnTo>
                      <a:lnTo>
                        <a:pt x="875" y="976"/>
                      </a:lnTo>
                      <a:lnTo>
                        <a:pt x="875" y="977"/>
                      </a:lnTo>
                      <a:lnTo>
                        <a:pt x="875" y="976"/>
                      </a:lnTo>
                      <a:lnTo>
                        <a:pt x="875" y="977"/>
                      </a:lnTo>
                      <a:lnTo>
                        <a:pt x="875" y="978"/>
                      </a:lnTo>
                      <a:lnTo>
                        <a:pt x="875" y="979"/>
                      </a:lnTo>
                      <a:lnTo>
                        <a:pt x="874" y="979"/>
                      </a:lnTo>
                      <a:lnTo>
                        <a:pt x="873" y="980"/>
                      </a:lnTo>
                      <a:lnTo>
                        <a:pt x="873" y="981"/>
                      </a:lnTo>
                      <a:lnTo>
                        <a:pt x="874" y="982"/>
                      </a:lnTo>
                      <a:lnTo>
                        <a:pt x="874" y="983"/>
                      </a:lnTo>
                      <a:lnTo>
                        <a:pt x="875" y="983"/>
                      </a:lnTo>
                      <a:lnTo>
                        <a:pt x="875" y="984"/>
                      </a:lnTo>
                      <a:lnTo>
                        <a:pt x="876" y="984"/>
                      </a:lnTo>
                      <a:lnTo>
                        <a:pt x="876" y="986"/>
                      </a:lnTo>
                      <a:lnTo>
                        <a:pt x="877" y="987"/>
                      </a:lnTo>
                      <a:lnTo>
                        <a:pt x="877" y="988"/>
                      </a:lnTo>
                      <a:lnTo>
                        <a:pt x="878" y="988"/>
                      </a:lnTo>
                      <a:lnTo>
                        <a:pt x="878" y="989"/>
                      </a:lnTo>
                      <a:lnTo>
                        <a:pt x="879" y="989"/>
                      </a:lnTo>
                      <a:lnTo>
                        <a:pt x="879" y="990"/>
                      </a:lnTo>
                      <a:lnTo>
                        <a:pt x="878" y="990"/>
                      </a:lnTo>
                      <a:lnTo>
                        <a:pt x="879" y="990"/>
                      </a:lnTo>
                      <a:lnTo>
                        <a:pt x="879" y="991"/>
                      </a:lnTo>
                      <a:lnTo>
                        <a:pt x="878" y="991"/>
                      </a:lnTo>
                      <a:lnTo>
                        <a:pt x="877" y="991"/>
                      </a:lnTo>
                      <a:lnTo>
                        <a:pt x="877" y="992"/>
                      </a:lnTo>
                      <a:lnTo>
                        <a:pt x="878" y="992"/>
                      </a:lnTo>
                      <a:lnTo>
                        <a:pt x="879" y="992"/>
                      </a:lnTo>
                      <a:lnTo>
                        <a:pt x="880" y="992"/>
                      </a:lnTo>
                      <a:lnTo>
                        <a:pt x="880" y="993"/>
                      </a:lnTo>
                      <a:lnTo>
                        <a:pt x="882" y="994"/>
                      </a:lnTo>
                      <a:lnTo>
                        <a:pt x="880" y="994"/>
                      </a:lnTo>
                      <a:lnTo>
                        <a:pt x="880" y="995"/>
                      </a:lnTo>
                      <a:lnTo>
                        <a:pt x="879" y="995"/>
                      </a:lnTo>
                      <a:lnTo>
                        <a:pt x="879" y="994"/>
                      </a:lnTo>
                      <a:lnTo>
                        <a:pt x="878" y="994"/>
                      </a:lnTo>
                      <a:lnTo>
                        <a:pt x="879" y="994"/>
                      </a:lnTo>
                      <a:lnTo>
                        <a:pt x="878" y="994"/>
                      </a:lnTo>
                      <a:lnTo>
                        <a:pt x="879" y="994"/>
                      </a:lnTo>
                      <a:lnTo>
                        <a:pt x="878" y="994"/>
                      </a:lnTo>
                      <a:lnTo>
                        <a:pt x="878" y="995"/>
                      </a:lnTo>
                      <a:lnTo>
                        <a:pt x="879" y="995"/>
                      </a:lnTo>
                      <a:lnTo>
                        <a:pt x="878" y="995"/>
                      </a:lnTo>
                      <a:lnTo>
                        <a:pt x="877" y="994"/>
                      </a:lnTo>
                      <a:lnTo>
                        <a:pt x="876" y="994"/>
                      </a:lnTo>
                      <a:lnTo>
                        <a:pt x="876" y="993"/>
                      </a:lnTo>
                      <a:lnTo>
                        <a:pt x="875" y="993"/>
                      </a:lnTo>
                      <a:lnTo>
                        <a:pt x="874" y="993"/>
                      </a:lnTo>
                      <a:lnTo>
                        <a:pt x="874" y="992"/>
                      </a:lnTo>
                      <a:lnTo>
                        <a:pt x="873" y="990"/>
                      </a:lnTo>
                      <a:lnTo>
                        <a:pt x="873" y="989"/>
                      </a:lnTo>
                      <a:lnTo>
                        <a:pt x="872" y="989"/>
                      </a:lnTo>
                      <a:lnTo>
                        <a:pt x="871" y="988"/>
                      </a:lnTo>
                      <a:lnTo>
                        <a:pt x="870" y="987"/>
                      </a:lnTo>
                      <a:lnTo>
                        <a:pt x="870" y="986"/>
                      </a:lnTo>
                      <a:lnTo>
                        <a:pt x="867" y="984"/>
                      </a:lnTo>
                      <a:lnTo>
                        <a:pt x="867" y="983"/>
                      </a:lnTo>
                      <a:lnTo>
                        <a:pt x="866" y="983"/>
                      </a:lnTo>
                      <a:lnTo>
                        <a:pt x="866" y="982"/>
                      </a:lnTo>
                      <a:lnTo>
                        <a:pt x="865" y="982"/>
                      </a:lnTo>
                      <a:lnTo>
                        <a:pt x="865" y="981"/>
                      </a:lnTo>
                      <a:lnTo>
                        <a:pt x="865" y="980"/>
                      </a:lnTo>
                      <a:lnTo>
                        <a:pt x="864" y="980"/>
                      </a:lnTo>
                      <a:lnTo>
                        <a:pt x="863" y="978"/>
                      </a:lnTo>
                      <a:lnTo>
                        <a:pt x="862" y="978"/>
                      </a:lnTo>
                      <a:lnTo>
                        <a:pt x="863" y="978"/>
                      </a:lnTo>
                      <a:lnTo>
                        <a:pt x="862" y="977"/>
                      </a:lnTo>
                      <a:lnTo>
                        <a:pt x="861" y="976"/>
                      </a:lnTo>
                      <a:lnTo>
                        <a:pt x="860" y="975"/>
                      </a:lnTo>
                      <a:lnTo>
                        <a:pt x="859" y="975"/>
                      </a:lnTo>
                      <a:lnTo>
                        <a:pt x="859" y="974"/>
                      </a:lnTo>
                      <a:lnTo>
                        <a:pt x="859" y="973"/>
                      </a:lnTo>
                      <a:lnTo>
                        <a:pt x="858" y="973"/>
                      </a:lnTo>
                      <a:lnTo>
                        <a:pt x="858" y="971"/>
                      </a:lnTo>
                      <a:lnTo>
                        <a:pt x="857" y="971"/>
                      </a:lnTo>
                      <a:lnTo>
                        <a:pt x="857" y="970"/>
                      </a:lnTo>
                      <a:lnTo>
                        <a:pt x="855" y="970"/>
                      </a:lnTo>
                      <a:lnTo>
                        <a:pt x="857" y="971"/>
                      </a:lnTo>
                      <a:lnTo>
                        <a:pt x="855" y="971"/>
                      </a:lnTo>
                      <a:lnTo>
                        <a:pt x="854" y="971"/>
                      </a:lnTo>
                      <a:lnTo>
                        <a:pt x="854" y="970"/>
                      </a:lnTo>
                      <a:lnTo>
                        <a:pt x="854" y="969"/>
                      </a:lnTo>
                      <a:lnTo>
                        <a:pt x="853" y="969"/>
                      </a:lnTo>
                      <a:lnTo>
                        <a:pt x="853" y="968"/>
                      </a:lnTo>
                      <a:lnTo>
                        <a:pt x="852" y="968"/>
                      </a:lnTo>
                      <a:lnTo>
                        <a:pt x="852" y="967"/>
                      </a:lnTo>
                      <a:lnTo>
                        <a:pt x="852" y="966"/>
                      </a:lnTo>
                      <a:lnTo>
                        <a:pt x="852" y="965"/>
                      </a:lnTo>
                      <a:lnTo>
                        <a:pt x="851" y="966"/>
                      </a:lnTo>
                      <a:lnTo>
                        <a:pt x="851" y="965"/>
                      </a:lnTo>
                      <a:lnTo>
                        <a:pt x="851" y="964"/>
                      </a:lnTo>
                      <a:lnTo>
                        <a:pt x="850" y="963"/>
                      </a:lnTo>
                      <a:lnTo>
                        <a:pt x="849" y="963"/>
                      </a:lnTo>
                      <a:lnTo>
                        <a:pt x="849" y="964"/>
                      </a:lnTo>
                      <a:lnTo>
                        <a:pt x="849" y="965"/>
                      </a:lnTo>
                      <a:lnTo>
                        <a:pt x="850" y="965"/>
                      </a:lnTo>
                      <a:lnTo>
                        <a:pt x="850" y="966"/>
                      </a:lnTo>
                      <a:lnTo>
                        <a:pt x="851" y="966"/>
                      </a:lnTo>
                      <a:lnTo>
                        <a:pt x="850" y="967"/>
                      </a:lnTo>
                      <a:lnTo>
                        <a:pt x="849" y="966"/>
                      </a:lnTo>
                      <a:lnTo>
                        <a:pt x="849" y="965"/>
                      </a:lnTo>
                      <a:lnTo>
                        <a:pt x="847" y="965"/>
                      </a:lnTo>
                      <a:lnTo>
                        <a:pt x="846" y="965"/>
                      </a:lnTo>
                      <a:lnTo>
                        <a:pt x="845" y="965"/>
                      </a:lnTo>
                      <a:lnTo>
                        <a:pt x="846" y="965"/>
                      </a:lnTo>
                      <a:lnTo>
                        <a:pt x="847" y="966"/>
                      </a:lnTo>
                      <a:lnTo>
                        <a:pt x="847" y="967"/>
                      </a:lnTo>
                      <a:lnTo>
                        <a:pt x="847" y="968"/>
                      </a:lnTo>
                      <a:lnTo>
                        <a:pt x="848" y="969"/>
                      </a:lnTo>
                      <a:lnTo>
                        <a:pt x="848" y="970"/>
                      </a:lnTo>
                      <a:lnTo>
                        <a:pt x="849" y="970"/>
                      </a:lnTo>
                      <a:lnTo>
                        <a:pt x="849" y="971"/>
                      </a:lnTo>
                      <a:lnTo>
                        <a:pt x="849" y="970"/>
                      </a:lnTo>
                      <a:lnTo>
                        <a:pt x="848" y="969"/>
                      </a:lnTo>
                      <a:lnTo>
                        <a:pt x="848" y="968"/>
                      </a:lnTo>
                      <a:lnTo>
                        <a:pt x="847" y="967"/>
                      </a:lnTo>
                      <a:lnTo>
                        <a:pt x="847" y="966"/>
                      </a:lnTo>
                      <a:lnTo>
                        <a:pt x="848" y="966"/>
                      </a:lnTo>
                      <a:lnTo>
                        <a:pt x="849" y="966"/>
                      </a:lnTo>
                      <a:lnTo>
                        <a:pt x="849" y="967"/>
                      </a:lnTo>
                      <a:lnTo>
                        <a:pt x="850" y="967"/>
                      </a:lnTo>
                      <a:lnTo>
                        <a:pt x="850" y="968"/>
                      </a:lnTo>
                      <a:lnTo>
                        <a:pt x="850" y="969"/>
                      </a:lnTo>
                      <a:lnTo>
                        <a:pt x="850" y="970"/>
                      </a:lnTo>
                      <a:lnTo>
                        <a:pt x="850" y="971"/>
                      </a:lnTo>
                      <a:lnTo>
                        <a:pt x="851" y="971"/>
                      </a:lnTo>
                      <a:lnTo>
                        <a:pt x="851" y="973"/>
                      </a:lnTo>
                      <a:lnTo>
                        <a:pt x="852" y="974"/>
                      </a:lnTo>
                      <a:lnTo>
                        <a:pt x="853" y="975"/>
                      </a:lnTo>
                      <a:lnTo>
                        <a:pt x="854" y="976"/>
                      </a:lnTo>
                      <a:lnTo>
                        <a:pt x="854" y="977"/>
                      </a:lnTo>
                      <a:lnTo>
                        <a:pt x="854" y="978"/>
                      </a:lnTo>
                      <a:lnTo>
                        <a:pt x="855" y="978"/>
                      </a:lnTo>
                      <a:lnTo>
                        <a:pt x="855" y="977"/>
                      </a:lnTo>
                      <a:lnTo>
                        <a:pt x="857" y="978"/>
                      </a:lnTo>
                      <a:lnTo>
                        <a:pt x="858" y="978"/>
                      </a:lnTo>
                      <a:lnTo>
                        <a:pt x="858" y="979"/>
                      </a:lnTo>
                      <a:lnTo>
                        <a:pt x="859" y="979"/>
                      </a:lnTo>
                      <a:lnTo>
                        <a:pt x="859" y="978"/>
                      </a:lnTo>
                      <a:lnTo>
                        <a:pt x="859" y="979"/>
                      </a:lnTo>
                      <a:lnTo>
                        <a:pt x="860" y="979"/>
                      </a:lnTo>
                      <a:lnTo>
                        <a:pt x="861" y="979"/>
                      </a:lnTo>
                      <a:lnTo>
                        <a:pt x="860" y="980"/>
                      </a:lnTo>
                      <a:lnTo>
                        <a:pt x="860" y="981"/>
                      </a:lnTo>
                      <a:lnTo>
                        <a:pt x="859" y="981"/>
                      </a:lnTo>
                      <a:lnTo>
                        <a:pt x="859" y="980"/>
                      </a:lnTo>
                      <a:lnTo>
                        <a:pt x="859" y="979"/>
                      </a:lnTo>
                      <a:lnTo>
                        <a:pt x="858" y="979"/>
                      </a:lnTo>
                      <a:lnTo>
                        <a:pt x="858" y="980"/>
                      </a:lnTo>
                      <a:lnTo>
                        <a:pt x="859" y="980"/>
                      </a:lnTo>
                      <a:lnTo>
                        <a:pt x="859" y="981"/>
                      </a:lnTo>
                      <a:lnTo>
                        <a:pt x="857" y="981"/>
                      </a:lnTo>
                      <a:lnTo>
                        <a:pt x="855" y="982"/>
                      </a:lnTo>
                      <a:lnTo>
                        <a:pt x="854" y="981"/>
                      </a:lnTo>
                      <a:lnTo>
                        <a:pt x="855" y="980"/>
                      </a:lnTo>
                      <a:lnTo>
                        <a:pt x="854" y="979"/>
                      </a:lnTo>
                      <a:lnTo>
                        <a:pt x="853" y="979"/>
                      </a:lnTo>
                      <a:lnTo>
                        <a:pt x="853" y="978"/>
                      </a:lnTo>
                      <a:lnTo>
                        <a:pt x="852" y="978"/>
                      </a:lnTo>
                      <a:lnTo>
                        <a:pt x="852" y="979"/>
                      </a:lnTo>
                      <a:lnTo>
                        <a:pt x="851" y="979"/>
                      </a:lnTo>
                      <a:lnTo>
                        <a:pt x="851" y="980"/>
                      </a:lnTo>
                      <a:lnTo>
                        <a:pt x="850" y="980"/>
                      </a:lnTo>
                      <a:lnTo>
                        <a:pt x="850" y="979"/>
                      </a:lnTo>
                      <a:lnTo>
                        <a:pt x="849" y="979"/>
                      </a:lnTo>
                      <a:lnTo>
                        <a:pt x="849" y="978"/>
                      </a:lnTo>
                      <a:lnTo>
                        <a:pt x="848" y="977"/>
                      </a:lnTo>
                      <a:lnTo>
                        <a:pt x="848" y="976"/>
                      </a:lnTo>
                      <a:lnTo>
                        <a:pt x="849" y="976"/>
                      </a:lnTo>
                      <a:lnTo>
                        <a:pt x="849" y="977"/>
                      </a:lnTo>
                      <a:lnTo>
                        <a:pt x="850" y="977"/>
                      </a:lnTo>
                      <a:lnTo>
                        <a:pt x="850" y="978"/>
                      </a:lnTo>
                      <a:lnTo>
                        <a:pt x="851" y="978"/>
                      </a:lnTo>
                      <a:lnTo>
                        <a:pt x="852" y="978"/>
                      </a:lnTo>
                      <a:lnTo>
                        <a:pt x="852" y="977"/>
                      </a:lnTo>
                      <a:lnTo>
                        <a:pt x="851" y="977"/>
                      </a:lnTo>
                      <a:lnTo>
                        <a:pt x="851" y="976"/>
                      </a:lnTo>
                      <a:lnTo>
                        <a:pt x="850" y="975"/>
                      </a:lnTo>
                      <a:lnTo>
                        <a:pt x="849" y="975"/>
                      </a:lnTo>
                      <a:lnTo>
                        <a:pt x="849" y="974"/>
                      </a:lnTo>
                      <a:lnTo>
                        <a:pt x="850" y="974"/>
                      </a:lnTo>
                      <a:lnTo>
                        <a:pt x="849" y="974"/>
                      </a:lnTo>
                      <a:lnTo>
                        <a:pt x="849" y="973"/>
                      </a:lnTo>
                      <a:lnTo>
                        <a:pt x="848" y="971"/>
                      </a:lnTo>
                      <a:lnTo>
                        <a:pt x="847" y="971"/>
                      </a:lnTo>
                      <a:lnTo>
                        <a:pt x="848" y="973"/>
                      </a:lnTo>
                      <a:lnTo>
                        <a:pt x="848" y="974"/>
                      </a:lnTo>
                      <a:lnTo>
                        <a:pt x="847" y="974"/>
                      </a:lnTo>
                      <a:lnTo>
                        <a:pt x="847" y="975"/>
                      </a:lnTo>
                      <a:lnTo>
                        <a:pt x="846" y="975"/>
                      </a:lnTo>
                      <a:lnTo>
                        <a:pt x="846" y="974"/>
                      </a:lnTo>
                      <a:lnTo>
                        <a:pt x="845" y="974"/>
                      </a:lnTo>
                      <a:lnTo>
                        <a:pt x="845" y="973"/>
                      </a:lnTo>
                      <a:lnTo>
                        <a:pt x="844" y="971"/>
                      </a:lnTo>
                      <a:lnTo>
                        <a:pt x="844" y="970"/>
                      </a:lnTo>
                      <a:lnTo>
                        <a:pt x="845" y="970"/>
                      </a:lnTo>
                      <a:lnTo>
                        <a:pt x="845" y="971"/>
                      </a:lnTo>
                      <a:lnTo>
                        <a:pt x="846" y="971"/>
                      </a:lnTo>
                      <a:lnTo>
                        <a:pt x="846" y="973"/>
                      </a:lnTo>
                      <a:lnTo>
                        <a:pt x="847" y="971"/>
                      </a:lnTo>
                      <a:lnTo>
                        <a:pt x="846" y="971"/>
                      </a:lnTo>
                      <a:lnTo>
                        <a:pt x="846" y="970"/>
                      </a:lnTo>
                      <a:lnTo>
                        <a:pt x="845" y="969"/>
                      </a:lnTo>
                      <a:lnTo>
                        <a:pt x="844" y="969"/>
                      </a:lnTo>
                      <a:lnTo>
                        <a:pt x="844" y="968"/>
                      </a:lnTo>
                      <a:lnTo>
                        <a:pt x="845" y="968"/>
                      </a:lnTo>
                      <a:lnTo>
                        <a:pt x="846" y="968"/>
                      </a:lnTo>
                      <a:lnTo>
                        <a:pt x="846" y="969"/>
                      </a:lnTo>
                      <a:lnTo>
                        <a:pt x="847" y="968"/>
                      </a:lnTo>
                      <a:lnTo>
                        <a:pt x="846" y="968"/>
                      </a:lnTo>
                      <a:lnTo>
                        <a:pt x="846" y="967"/>
                      </a:lnTo>
                      <a:lnTo>
                        <a:pt x="845" y="967"/>
                      </a:lnTo>
                      <a:lnTo>
                        <a:pt x="844" y="967"/>
                      </a:lnTo>
                      <a:lnTo>
                        <a:pt x="844" y="966"/>
                      </a:lnTo>
                      <a:lnTo>
                        <a:pt x="842" y="966"/>
                      </a:lnTo>
                      <a:lnTo>
                        <a:pt x="842" y="965"/>
                      </a:lnTo>
                      <a:lnTo>
                        <a:pt x="841" y="965"/>
                      </a:lnTo>
                      <a:lnTo>
                        <a:pt x="840" y="965"/>
                      </a:lnTo>
                      <a:lnTo>
                        <a:pt x="840" y="966"/>
                      </a:lnTo>
                      <a:lnTo>
                        <a:pt x="841" y="966"/>
                      </a:lnTo>
                      <a:lnTo>
                        <a:pt x="842" y="966"/>
                      </a:lnTo>
                      <a:lnTo>
                        <a:pt x="842" y="967"/>
                      </a:lnTo>
                      <a:lnTo>
                        <a:pt x="844" y="968"/>
                      </a:lnTo>
                      <a:lnTo>
                        <a:pt x="844" y="969"/>
                      </a:lnTo>
                      <a:lnTo>
                        <a:pt x="844" y="970"/>
                      </a:lnTo>
                      <a:lnTo>
                        <a:pt x="842" y="970"/>
                      </a:lnTo>
                      <a:lnTo>
                        <a:pt x="842" y="969"/>
                      </a:lnTo>
                      <a:lnTo>
                        <a:pt x="842" y="968"/>
                      </a:lnTo>
                      <a:lnTo>
                        <a:pt x="841" y="968"/>
                      </a:lnTo>
                      <a:lnTo>
                        <a:pt x="841" y="969"/>
                      </a:lnTo>
                      <a:lnTo>
                        <a:pt x="840" y="968"/>
                      </a:lnTo>
                      <a:lnTo>
                        <a:pt x="840" y="967"/>
                      </a:lnTo>
                      <a:lnTo>
                        <a:pt x="839" y="966"/>
                      </a:lnTo>
                      <a:lnTo>
                        <a:pt x="838" y="965"/>
                      </a:lnTo>
                      <a:lnTo>
                        <a:pt x="837" y="964"/>
                      </a:lnTo>
                      <a:lnTo>
                        <a:pt x="836" y="963"/>
                      </a:lnTo>
                      <a:lnTo>
                        <a:pt x="835" y="962"/>
                      </a:lnTo>
                      <a:lnTo>
                        <a:pt x="833" y="961"/>
                      </a:lnTo>
                      <a:lnTo>
                        <a:pt x="832" y="960"/>
                      </a:lnTo>
                      <a:lnTo>
                        <a:pt x="832" y="961"/>
                      </a:lnTo>
                      <a:lnTo>
                        <a:pt x="832" y="962"/>
                      </a:lnTo>
                      <a:lnTo>
                        <a:pt x="831" y="962"/>
                      </a:lnTo>
                      <a:lnTo>
                        <a:pt x="831" y="963"/>
                      </a:lnTo>
                      <a:lnTo>
                        <a:pt x="831" y="964"/>
                      </a:lnTo>
                      <a:lnTo>
                        <a:pt x="829" y="963"/>
                      </a:lnTo>
                      <a:lnTo>
                        <a:pt x="828" y="963"/>
                      </a:lnTo>
                      <a:lnTo>
                        <a:pt x="828" y="962"/>
                      </a:lnTo>
                      <a:lnTo>
                        <a:pt x="827" y="962"/>
                      </a:lnTo>
                      <a:lnTo>
                        <a:pt x="826" y="962"/>
                      </a:lnTo>
                      <a:lnTo>
                        <a:pt x="826" y="961"/>
                      </a:lnTo>
                      <a:lnTo>
                        <a:pt x="826" y="962"/>
                      </a:lnTo>
                      <a:lnTo>
                        <a:pt x="827" y="962"/>
                      </a:lnTo>
                      <a:lnTo>
                        <a:pt x="829" y="961"/>
                      </a:lnTo>
                      <a:lnTo>
                        <a:pt x="831" y="962"/>
                      </a:lnTo>
                      <a:lnTo>
                        <a:pt x="831" y="961"/>
                      </a:lnTo>
                      <a:lnTo>
                        <a:pt x="828" y="961"/>
                      </a:lnTo>
                      <a:lnTo>
                        <a:pt x="827" y="961"/>
                      </a:lnTo>
                      <a:lnTo>
                        <a:pt x="826" y="961"/>
                      </a:lnTo>
                      <a:lnTo>
                        <a:pt x="826" y="960"/>
                      </a:lnTo>
                      <a:lnTo>
                        <a:pt x="827" y="960"/>
                      </a:lnTo>
                      <a:lnTo>
                        <a:pt x="827" y="958"/>
                      </a:lnTo>
                      <a:lnTo>
                        <a:pt x="827" y="957"/>
                      </a:lnTo>
                      <a:lnTo>
                        <a:pt x="826" y="956"/>
                      </a:lnTo>
                      <a:lnTo>
                        <a:pt x="825" y="956"/>
                      </a:lnTo>
                      <a:lnTo>
                        <a:pt x="824" y="956"/>
                      </a:lnTo>
                      <a:lnTo>
                        <a:pt x="825" y="955"/>
                      </a:lnTo>
                      <a:lnTo>
                        <a:pt x="824" y="955"/>
                      </a:lnTo>
                      <a:lnTo>
                        <a:pt x="824" y="956"/>
                      </a:lnTo>
                      <a:lnTo>
                        <a:pt x="825" y="957"/>
                      </a:lnTo>
                      <a:lnTo>
                        <a:pt x="824" y="957"/>
                      </a:lnTo>
                      <a:lnTo>
                        <a:pt x="825" y="957"/>
                      </a:lnTo>
                      <a:lnTo>
                        <a:pt x="825" y="956"/>
                      </a:lnTo>
                      <a:lnTo>
                        <a:pt x="825" y="957"/>
                      </a:lnTo>
                      <a:lnTo>
                        <a:pt x="826" y="958"/>
                      </a:lnTo>
                      <a:lnTo>
                        <a:pt x="825" y="958"/>
                      </a:lnTo>
                      <a:lnTo>
                        <a:pt x="825" y="960"/>
                      </a:lnTo>
                      <a:lnTo>
                        <a:pt x="825" y="958"/>
                      </a:lnTo>
                      <a:lnTo>
                        <a:pt x="824" y="958"/>
                      </a:lnTo>
                      <a:lnTo>
                        <a:pt x="825" y="958"/>
                      </a:lnTo>
                      <a:lnTo>
                        <a:pt x="825" y="957"/>
                      </a:lnTo>
                      <a:lnTo>
                        <a:pt x="824" y="957"/>
                      </a:lnTo>
                      <a:lnTo>
                        <a:pt x="823" y="956"/>
                      </a:lnTo>
                      <a:lnTo>
                        <a:pt x="821" y="954"/>
                      </a:lnTo>
                      <a:lnTo>
                        <a:pt x="822" y="954"/>
                      </a:lnTo>
                      <a:lnTo>
                        <a:pt x="822" y="953"/>
                      </a:lnTo>
                      <a:lnTo>
                        <a:pt x="819" y="954"/>
                      </a:lnTo>
                      <a:lnTo>
                        <a:pt x="821" y="954"/>
                      </a:lnTo>
                      <a:lnTo>
                        <a:pt x="822" y="955"/>
                      </a:lnTo>
                      <a:lnTo>
                        <a:pt x="823" y="956"/>
                      </a:lnTo>
                      <a:lnTo>
                        <a:pt x="824" y="957"/>
                      </a:lnTo>
                      <a:lnTo>
                        <a:pt x="824" y="958"/>
                      </a:lnTo>
                      <a:lnTo>
                        <a:pt x="824" y="960"/>
                      </a:lnTo>
                      <a:lnTo>
                        <a:pt x="823" y="960"/>
                      </a:lnTo>
                      <a:lnTo>
                        <a:pt x="823" y="961"/>
                      </a:lnTo>
                      <a:lnTo>
                        <a:pt x="823" y="960"/>
                      </a:lnTo>
                      <a:lnTo>
                        <a:pt x="823" y="958"/>
                      </a:lnTo>
                      <a:lnTo>
                        <a:pt x="822" y="958"/>
                      </a:lnTo>
                      <a:lnTo>
                        <a:pt x="823" y="958"/>
                      </a:lnTo>
                      <a:lnTo>
                        <a:pt x="823" y="960"/>
                      </a:lnTo>
                      <a:lnTo>
                        <a:pt x="823" y="961"/>
                      </a:lnTo>
                      <a:lnTo>
                        <a:pt x="824" y="961"/>
                      </a:lnTo>
                      <a:lnTo>
                        <a:pt x="823" y="961"/>
                      </a:lnTo>
                      <a:lnTo>
                        <a:pt x="822" y="961"/>
                      </a:lnTo>
                      <a:lnTo>
                        <a:pt x="823" y="961"/>
                      </a:lnTo>
                      <a:lnTo>
                        <a:pt x="822" y="961"/>
                      </a:lnTo>
                      <a:lnTo>
                        <a:pt x="823" y="960"/>
                      </a:lnTo>
                      <a:lnTo>
                        <a:pt x="822" y="958"/>
                      </a:lnTo>
                      <a:lnTo>
                        <a:pt x="822" y="957"/>
                      </a:lnTo>
                      <a:lnTo>
                        <a:pt x="821" y="957"/>
                      </a:lnTo>
                      <a:lnTo>
                        <a:pt x="821" y="956"/>
                      </a:lnTo>
                      <a:lnTo>
                        <a:pt x="820" y="956"/>
                      </a:lnTo>
                      <a:lnTo>
                        <a:pt x="819" y="956"/>
                      </a:lnTo>
                      <a:lnTo>
                        <a:pt x="819" y="955"/>
                      </a:lnTo>
                      <a:lnTo>
                        <a:pt x="818" y="955"/>
                      </a:lnTo>
                      <a:lnTo>
                        <a:pt x="816" y="955"/>
                      </a:lnTo>
                      <a:lnTo>
                        <a:pt x="816" y="954"/>
                      </a:lnTo>
                      <a:lnTo>
                        <a:pt x="818" y="954"/>
                      </a:lnTo>
                      <a:lnTo>
                        <a:pt x="816" y="954"/>
                      </a:lnTo>
                      <a:lnTo>
                        <a:pt x="816" y="953"/>
                      </a:lnTo>
                      <a:lnTo>
                        <a:pt x="815" y="953"/>
                      </a:lnTo>
                      <a:lnTo>
                        <a:pt x="815" y="952"/>
                      </a:lnTo>
                      <a:lnTo>
                        <a:pt x="814" y="952"/>
                      </a:lnTo>
                      <a:lnTo>
                        <a:pt x="814" y="951"/>
                      </a:lnTo>
                      <a:lnTo>
                        <a:pt x="815" y="951"/>
                      </a:lnTo>
                      <a:lnTo>
                        <a:pt x="815" y="950"/>
                      </a:lnTo>
                      <a:lnTo>
                        <a:pt x="814" y="950"/>
                      </a:lnTo>
                      <a:lnTo>
                        <a:pt x="814" y="952"/>
                      </a:lnTo>
                      <a:lnTo>
                        <a:pt x="814" y="954"/>
                      </a:lnTo>
                      <a:lnTo>
                        <a:pt x="813" y="953"/>
                      </a:lnTo>
                      <a:lnTo>
                        <a:pt x="812" y="952"/>
                      </a:lnTo>
                      <a:lnTo>
                        <a:pt x="811" y="952"/>
                      </a:lnTo>
                      <a:lnTo>
                        <a:pt x="810" y="951"/>
                      </a:lnTo>
                      <a:lnTo>
                        <a:pt x="809" y="951"/>
                      </a:lnTo>
                      <a:lnTo>
                        <a:pt x="812" y="953"/>
                      </a:lnTo>
                      <a:lnTo>
                        <a:pt x="811" y="954"/>
                      </a:lnTo>
                      <a:lnTo>
                        <a:pt x="811" y="955"/>
                      </a:lnTo>
                      <a:lnTo>
                        <a:pt x="810" y="955"/>
                      </a:lnTo>
                      <a:lnTo>
                        <a:pt x="809" y="955"/>
                      </a:lnTo>
                      <a:lnTo>
                        <a:pt x="809" y="954"/>
                      </a:lnTo>
                      <a:lnTo>
                        <a:pt x="808" y="953"/>
                      </a:lnTo>
                      <a:lnTo>
                        <a:pt x="808" y="952"/>
                      </a:lnTo>
                      <a:lnTo>
                        <a:pt x="807" y="952"/>
                      </a:lnTo>
                      <a:lnTo>
                        <a:pt x="807" y="953"/>
                      </a:lnTo>
                      <a:lnTo>
                        <a:pt x="808" y="954"/>
                      </a:lnTo>
                      <a:lnTo>
                        <a:pt x="809" y="954"/>
                      </a:lnTo>
                      <a:lnTo>
                        <a:pt x="809" y="955"/>
                      </a:lnTo>
                      <a:lnTo>
                        <a:pt x="810" y="955"/>
                      </a:lnTo>
                      <a:lnTo>
                        <a:pt x="811" y="955"/>
                      </a:lnTo>
                      <a:lnTo>
                        <a:pt x="811" y="956"/>
                      </a:lnTo>
                      <a:lnTo>
                        <a:pt x="812" y="956"/>
                      </a:lnTo>
                      <a:lnTo>
                        <a:pt x="812" y="957"/>
                      </a:lnTo>
                      <a:lnTo>
                        <a:pt x="812" y="958"/>
                      </a:lnTo>
                      <a:lnTo>
                        <a:pt x="813" y="958"/>
                      </a:lnTo>
                      <a:lnTo>
                        <a:pt x="813" y="960"/>
                      </a:lnTo>
                      <a:lnTo>
                        <a:pt x="814" y="960"/>
                      </a:lnTo>
                      <a:lnTo>
                        <a:pt x="814" y="961"/>
                      </a:lnTo>
                      <a:lnTo>
                        <a:pt x="815" y="961"/>
                      </a:lnTo>
                      <a:lnTo>
                        <a:pt x="815" y="962"/>
                      </a:lnTo>
                      <a:lnTo>
                        <a:pt x="816" y="963"/>
                      </a:lnTo>
                      <a:lnTo>
                        <a:pt x="815" y="963"/>
                      </a:lnTo>
                      <a:lnTo>
                        <a:pt x="816" y="963"/>
                      </a:lnTo>
                      <a:lnTo>
                        <a:pt x="816" y="964"/>
                      </a:lnTo>
                      <a:lnTo>
                        <a:pt x="816" y="965"/>
                      </a:lnTo>
                      <a:lnTo>
                        <a:pt x="818" y="965"/>
                      </a:lnTo>
                      <a:lnTo>
                        <a:pt x="816" y="965"/>
                      </a:lnTo>
                      <a:lnTo>
                        <a:pt x="818" y="965"/>
                      </a:lnTo>
                      <a:lnTo>
                        <a:pt x="818" y="966"/>
                      </a:lnTo>
                      <a:lnTo>
                        <a:pt x="818" y="967"/>
                      </a:lnTo>
                      <a:lnTo>
                        <a:pt x="819" y="967"/>
                      </a:lnTo>
                      <a:lnTo>
                        <a:pt x="819" y="968"/>
                      </a:lnTo>
                      <a:lnTo>
                        <a:pt x="819" y="969"/>
                      </a:lnTo>
                      <a:lnTo>
                        <a:pt x="820" y="969"/>
                      </a:lnTo>
                      <a:lnTo>
                        <a:pt x="821" y="969"/>
                      </a:lnTo>
                      <a:lnTo>
                        <a:pt x="822" y="970"/>
                      </a:lnTo>
                      <a:lnTo>
                        <a:pt x="821" y="970"/>
                      </a:lnTo>
                      <a:lnTo>
                        <a:pt x="820" y="970"/>
                      </a:lnTo>
                      <a:lnTo>
                        <a:pt x="820" y="969"/>
                      </a:lnTo>
                      <a:lnTo>
                        <a:pt x="819" y="969"/>
                      </a:lnTo>
                      <a:lnTo>
                        <a:pt x="819" y="970"/>
                      </a:lnTo>
                      <a:lnTo>
                        <a:pt x="819" y="971"/>
                      </a:lnTo>
                      <a:lnTo>
                        <a:pt x="820" y="971"/>
                      </a:lnTo>
                      <a:lnTo>
                        <a:pt x="821" y="971"/>
                      </a:lnTo>
                      <a:lnTo>
                        <a:pt x="821" y="973"/>
                      </a:lnTo>
                      <a:lnTo>
                        <a:pt x="821" y="974"/>
                      </a:lnTo>
                      <a:lnTo>
                        <a:pt x="821" y="975"/>
                      </a:lnTo>
                      <a:lnTo>
                        <a:pt x="821" y="974"/>
                      </a:lnTo>
                      <a:lnTo>
                        <a:pt x="821" y="975"/>
                      </a:lnTo>
                      <a:lnTo>
                        <a:pt x="822" y="975"/>
                      </a:lnTo>
                      <a:lnTo>
                        <a:pt x="823" y="975"/>
                      </a:lnTo>
                      <a:lnTo>
                        <a:pt x="823" y="974"/>
                      </a:lnTo>
                      <a:lnTo>
                        <a:pt x="823" y="973"/>
                      </a:lnTo>
                      <a:lnTo>
                        <a:pt x="822" y="973"/>
                      </a:lnTo>
                      <a:lnTo>
                        <a:pt x="823" y="973"/>
                      </a:lnTo>
                      <a:lnTo>
                        <a:pt x="824" y="973"/>
                      </a:lnTo>
                      <a:lnTo>
                        <a:pt x="824" y="971"/>
                      </a:lnTo>
                      <a:lnTo>
                        <a:pt x="825" y="971"/>
                      </a:lnTo>
                      <a:lnTo>
                        <a:pt x="826" y="971"/>
                      </a:lnTo>
                      <a:lnTo>
                        <a:pt x="826" y="970"/>
                      </a:lnTo>
                      <a:lnTo>
                        <a:pt x="826" y="971"/>
                      </a:lnTo>
                      <a:lnTo>
                        <a:pt x="826" y="970"/>
                      </a:lnTo>
                      <a:lnTo>
                        <a:pt x="826" y="971"/>
                      </a:lnTo>
                      <a:lnTo>
                        <a:pt x="826" y="973"/>
                      </a:lnTo>
                      <a:lnTo>
                        <a:pt x="827" y="971"/>
                      </a:lnTo>
                      <a:lnTo>
                        <a:pt x="828" y="971"/>
                      </a:lnTo>
                      <a:lnTo>
                        <a:pt x="828" y="973"/>
                      </a:lnTo>
                      <a:lnTo>
                        <a:pt x="827" y="973"/>
                      </a:lnTo>
                      <a:lnTo>
                        <a:pt x="828" y="973"/>
                      </a:lnTo>
                      <a:lnTo>
                        <a:pt x="828" y="974"/>
                      </a:lnTo>
                      <a:lnTo>
                        <a:pt x="829" y="974"/>
                      </a:lnTo>
                      <a:lnTo>
                        <a:pt x="829" y="975"/>
                      </a:lnTo>
                      <a:lnTo>
                        <a:pt x="829" y="976"/>
                      </a:lnTo>
                      <a:lnTo>
                        <a:pt x="828" y="976"/>
                      </a:lnTo>
                      <a:lnTo>
                        <a:pt x="828" y="975"/>
                      </a:lnTo>
                      <a:lnTo>
                        <a:pt x="827" y="975"/>
                      </a:lnTo>
                      <a:lnTo>
                        <a:pt x="826" y="975"/>
                      </a:lnTo>
                      <a:lnTo>
                        <a:pt x="825" y="975"/>
                      </a:lnTo>
                      <a:lnTo>
                        <a:pt x="824" y="975"/>
                      </a:lnTo>
                      <a:lnTo>
                        <a:pt x="824" y="976"/>
                      </a:lnTo>
                      <a:lnTo>
                        <a:pt x="824" y="977"/>
                      </a:lnTo>
                      <a:lnTo>
                        <a:pt x="824" y="978"/>
                      </a:lnTo>
                      <a:lnTo>
                        <a:pt x="825" y="978"/>
                      </a:lnTo>
                      <a:lnTo>
                        <a:pt x="825" y="979"/>
                      </a:lnTo>
                      <a:lnTo>
                        <a:pt x="824" y="979"/>
                      </a:lnTo>
                      <a:lnTo>
                        <a:pt x="823" y="979"/>
                      </a:lnTo>
                      <a:lnTo>
                        <a:pt x="823" y="980"/>
                      </a:lnTo>
                      <a:lnTo>
                        <a:pt x="824" y="979"/>
                      </a:lnTo>
                      <a:lnTo>
                        <a:pt x="825" y="979"/>
                      </a:lnTo>
                      <a:lnTo>
                        <a:pt x="826" y="979"/>
                      </a:lnTo>
                      <a:lnTo>
                        <a:pt x="826" y="980"/>
                      </a:lnTo>
                      <a:lnTo>
                        <a:pt x="825" y="980"/>
                      </a:lnTo>
                      <a:lnTo>
                        <a:pt x="825" y="981"/>
                      </a:lnTo>
                      <a:lnTo>
                        <a:pt x="824" y="981"/>
                      </a:lnTo>
                      <a:lnTo>
                        <a:pt x="824" y="980"/>
                      </a:lnTo>
                      <a:lnTo>
                        <a:pt x="824" y="981"/>
                      </a:lnTo>
                      <a:lnTo>
                        <a:pt x="824" y="982"/>
                      </a:lnTo>
                      <a:lnTo>
                        <a:pt x="825" y="982"/>
                      </a:lnTo>
                      <a:lnTo>
                        <a:pt x="825" y="981"/>
                      </a:lnTo>
                      <a:lnTo>
                        <a:pt x="826" y="981"/>
                      </a:lnTo>
                      <a:lnTo>
                        <a:pt x="826" y="980"/>
                      </a:lnTo>
                      <a:lnTo>
                        <a:pt x="827" y="981"/>
                      </a:lnTo>
                      <a:lnTo>
                        <a:pt x="827" y="982"/>
                      </a:lnTo>
                      <a:lnTo>
                        <a:pt x="827" y="983"/>
                      </a:lnTo>
                      <a:lnTo>
                        <a:pt x="826" y="983"/>
                      </a:lnTo>
                      <a:lnTo>
                        <a:pt x="826" y="982"/>
                      </a:lnTo>
                      <a:lnTo>
                        <a:pt x="826" y="983"/>
                      </a:lnTo>
                      <a:lnTo>
                        <a:pt x="827" y="983"/>
                      </a:lnTo>
                      <a:lnTo>
                        <a:pt x="827" y="984"/>
                      </a:lnTo>
                      <a:lnTo>
                        <a:pt x="828" y="984"/>
                      </a:lnTo>
                      <a:lnTo>
                        <a:pt x="828" y="983"/>
                      </a:lnTo>
                      <a:lnTo>
                        <a:pt x="827" y="983"/>
                      </a:lnTo>
                      <a:lnTo>
                        <a:pt x="827" y="982"/>
                      </a:lnTo>
                      <a:lnTo>
                        <a:pt x="827" y="983"/>
                      </a:lnTo>
                      <a:lnTo>
                        <a:pt x="828" y="983"/>
                      </a:lnTo>
                      <a:lnTo>
                        <a:pt x="828" y="984"/>
                      </a:lnTo>
                      <a:lnTo>
                        <a:pt x="829" y="984"/>
                      </a:lnTo>
                      <a:lnTo>
                        <a:pt x="829" y="986"/>
                      </a:lnTo>
                      <a:lnTo>
                        <a:pt x="829" y="984"/>
                      </a:lnTo>
                      <a:lnTo>
                        <a:pt x="829" y="986"/>
                      </a:lnTo>
                      <a:lnTo>
                        <a:pt x="828" y="986"/>
                      </a:lnTo>
                      <a:lnTo>
                        <a:pt x="827" y="986"/>
                      </a:lnTo>
                      <a:lnTo>
                        <a:pt x="827" y="984"/>
                      </a:lnTo>
                      <a:lnTo>
                        <a:pt x="826" y="984"/>
                      </a:lnTo>
                      <a:lnTo>
                        <a:pt x="827" y="984"/>
                      </a:lnTo>
                      <a:lnTo>
                        <a:pt x="827" y="986"/>
                      </a:lnTo>
                      <a:lnTo>
                        <a:pt x="828" y="987"/>
                      </a:lnTo>
                      <a:lnTo>
                        <a:pt x="827" y="987"/>
                      </a:lnTo>
                      <a:lnTo>
                        <a:pt x="832" y="987"/>
                      </a:lnTo>
                      <a:lnTo>
                        <a:pt x="833" y="987"/>
                      </a:lnTo>
                      <a:lnTo>
                        <a:pt x="834" y="987"/>
                      </a:lnTo>
                      <a:lnTo>
                        <a:pt x="827" y="987"/>
                      </a:lnTo>
                      <a:lnTo>
                        <a:pt x="835" y="988"/>
                      </a:lnTo>
                      <a:lnTo>
                        <a:pt x="834" y="988"/>
                      </a:lnTo>
                      <a:lnTo>
                        <a:pt x="833" y="988"/>
                      </a:lnTo>
                      <a:lnTo>
                        <a:pt x="832" y="988"/>
                      </a:lnTo>
                      <a:lnTo>
                        <a:pt x="831" y="988"/>
                      </a:lnTo>
                      <a:lnTo>
                        <a:pt x="831" y="989"/>
                      </a:lnTo>
                      <a:lnTo>
                        <a:pt x="829" y="989"/>
                      </a:lnTo>
                      <a:lnTo>
                        <a:pt x="831" y="990"/>
                      </a:lnTo>
                      <a:lnTo>
                        <a:pt x="831" y="991"/>
                      </a:lnTo>
                      <a:lnTo>
                        <a:pt x="831" y="992"/>
                      </a:lnTo>
                      <a:lnTo>
                        <a:pt x="832" y="992"/>
                      </a:lnTo>
                      <a:lnTo>
                        <a:pt x="833" y="994"/>
                      </a:lnTo>
                      <a:lnTo>
                        <a:pt x="833" y="995"/>
                      </a:lnTo>
                      <a:lnTo>
                        <a:pt x="833" y="994"/>
                      </a:lnTo>
                      <a:lnTo>
                        <a:pt x="832" y="994"/>
                      </a:lnTo>
                      <a:lnTo>
                        <a:pt x="832" y="993"/>
                      </a:lnTo>
                      <a:lnTo>
                        <a:pt x="831" y="993"/>
                      </a:lnTo>
                      <a:lnTo>
                        <a:pt x="831" y="994"/>
                      </a:lnTo>
                      <a:lnTo>
                        <a:pt x="831" y="993"/>
                      </a:lnTo>
                      <a:lnTo>
                        <a:pt x="829" y="993"/>
                      </a:lnTo>
                      <a:lnTo>
                        <a:pt x="829" y="992"/>
                      </a:lnTo>
                      <a:lnTo>
                        <a:pt x="828" y="992"/>
                      </a:lnTo>
                      <a:lnTo>
                        <a:pt x="829" y="992"/>
                      </a:lnTo>
                      <a:lnTo>
                        <a:pt x="828" y="992"/>
                      </a:lnTo>
                      <a:lnTo>
                        <a:pt x="828" y="991"/>
                      </a:lnTo>
                      <a:lnTo>
                        <a:pt x="827" y="991"/>
                      </a:lnTo>
                      <a:lnTo>
                        <a:pt x="827" y="992"/>
                      </a:lnTo>
                      <a:lnTo>
                        <a:pt x="827" y="993"/>
                      </a:lnTo>
                      <a:lnTo>
                        <a:pt x="827" y="994"/>
                      </a:lnTo>
                      <a:lnTo>
                        <a:pt x="827" y="995"/>
                      </a:lnTo>
                      <a:lnTo>
                        <a:pt x="828" y="995"/>
                      </a:lnTo>
                      <a:lnTo>
                        <a:pt x="828" y="996"/>
                      </a:lnTo>
                      <a:lnTo>
                        <a:pt x="829" y="996"/>
                      </a:lnTo>
                      <a:lnTo>
                        <a:pt x="829" y="998"/>
                      </a:lnTo>
                      <a:lnTo>
                        <a:pt x="831" y="998"/>
                      </a:lnTo>
                      <a:lnTo>
                        <a:pt x="829" y="998"/>
                      </a:lnTo>
                      <a:lnTo>
                        <a:pt x="829" y="996"/>
                      </a:lnTo>
                      <a:lnTo>
                        <a:pt x="829" y="995"/>
                      </a:lnTo>
                      <a:lnTo>
                        <a:pt x="831" y="996"/>
                      </a:lnTo>
                      <a:lnTo>
                        <a:pt x="831" y="998"/>
                      </a:lnTo>
                      <a:lnTo>
                        <a:pt x="831" y="999"/>
                      </a:lnTo>
                      <a:lnTo>
                        <a:pt x="832" y="999"/>
                      </a:lnTo>
                      <a:lnTo>
                        <a:pt x="832" y="1000"/>
                      </a:lnTo>
                      <a:lnTo>
                        <a:pt x="833" y="1000"/>
                      </a:lnTo>
                      <a:lnTo>
                        <a:pt x="833" y="1001"/>
                      </a:lnTo>
                      <a:lnTo>
                        <a:pt x="833" y="1002"/>
                      </a:lnTo>
                      <a:lnTo>
                        <a:pt x="833" y="1003"/>
                      </a:lnTo>
                      <a:lnTo>
                        <a:pt x="833" y="1004"/>
                      </a:lnTo>
                      <a:lnTo>
                        <a:pt x="834" y="1004"/>
                      </a:lnTo>
                      <a:lnTo>
                        <a:pt x="834" y="1005"/>
                      </a:lnTo>
                      <a:lnTo>
                        <a:pt x="833" y="1005"/>
                      </a:lnTo>
                      <a:lnTo>
                        <a:pt x="833" y="1006"/>
                      </a:lnTo>
                      <a:lnTo>
                        <a:pt x="832" y="1006"/>
                      </a:lnTo>
                      <a:lnTo>
                        <a:pt x="832" y="1007"/>
                      </a:lnTo>
                      <a:lnTo>
                        <a:pt x="832" y="1008"/>
                      </a:lnTo>
                      <a:lnTo>
                        <a:pt x="832" y="1009"/>
                      </a:lnTo>
                      <a:lnTo>
                        <a:pt x="832" y="1011"/>
                      </a:lnTo>
                      <a:lnTo>
                        <a:pt x="833" y="1011"/>
                      </a:lnTo>
                      <a:lnTo>
                        <a:pt x="834" y="1011"/>
                      </a:lnTo>
                      <a:lnTo>
                        <a:pt x="834" y="1012"/>
                      </a:lnTo>
                      <a:lnTo>
                        <a:pt x="834" y="1013"/>
                      </a:lnTo>
                      <a:lnTo>
                        <a:pt x="835" y="1014"/>
                      </a:lnTo>
                      <a:lnTo>
                        <a:pt x="836" y="1015"/>
                      </a:lnTo>
                      <a:lnTo>
                        <a:pt x="837" y="1015"/>
                      </a:lnTo>
                      <a:lnTo>
                        <a:pt x="838" y="1015"/>
                      </a:lnTo>
                      <a:lnTo>
                        <a:pt x="839" y="1015"/>
                      </a:lnTo>
                      <a:lnTo>
                        <a:pt x="839" y="1016"/>
                      </a:lnTo>
                      <a:lnTo>
                        <a:pt x="839" y="1017"/>
                      </a:lnTo>
                      <a:lnTo>
                        <a:pt x="839" y="1018"/>
                      </a:lnTo>
                      <a:lnTo>
                        <a:pt x="840" y="1018"/>
                      </a:lnTo>
                      <a:lnTo>
                        <a:pt x="839" y="1018"/>
                      </a:lnTo>
                      <a:lnTo>
                        <a:pt x="840" y="1018"/>
                      </a:lnTo>
                      <a:lnTo>
                        <a:pt x="839" y="1018"/>
                      </a:lnTo>
                      <a:lnTo>
                        <a:pt x="840" y="1018"/>
                      </a:lnTo>
                      <a:lnTo>
                        <a:pt x="841" y="1018"/>
                      </a:lnTo>
                      <a:lnTo>
                        <a:pt x="842" y="1018"/>
                      </a:lnTo>
                      <a:lnTo>
                        <a:pt x="841" y="1018"/>
                      </a:lnTo>
                      <a:lnTo>
                        <a:pt x="840" y="1018"/>
                      </a:lnTo>
                      <a:lnTo>
                        <a:pt x="840" y="1019"/>
                      </a:lnTo>
                      <a:lnTo>
                        <a:pt x="841" y="1019"/>
                      </a:lnTo>
                      <a:lnTo>
                        <a:pt x="839" y="1021"/>
                      </a:lnTo>
                      <a:lnTo>
                        <a:pt x="840" y="1021"/>
                      </a:lnTo>
                      <a:lnTo>
                        <a:pt x="841" y="1020"/>
                      </a:lnTo>
                      <a:lnTo>
                        <a:pt x="841" y="1021"/>
                      </a:lnTo>
                      <a:lnTo>
                        <a:pt x="842" y="1021"/>
                      </a:lnTo>
                      <a:lnTo>
                        <a:pt x="844" y="1021"/>
                      </a:lnTo>
                      <a:lnTo>
                        <a:pt x="842" y="1022"/>
                      </a:lnTo>
                      <a:lnTo>
                        <a:pt x="842" y="1024"/>
                      </a:lnTo>
                      <a:lnTo>
                        <a:pt x="841" y="1024"/>
                      </a:lnTo>
                      <a:lnTo>
                        <a:pt x="841" y="1025"/>
                      </a:lnTo>
                      <a:lnTo>
                        <a:pt x="842" y="1026"/>
                      </a:lnTo>
                      <a:lnTo>
                        <a:pt x="844" y="1026"/>
                      </a:lnTo>
                      <a:lnTo>
                        <a:pt x="844" y="1027"/>
                      </a:lnTo>
                      <a:lnTo>
                        <a:pt x="845" y="1028"/>
                      </a:lnTo>
                      <a:lnTo>
                        <a:pt x="842" y="1028"/>
                      </a:lnTo>
                      <a:lnTo>
                        <a:pt x="844" y="1029"/>
                      </a:lnTo>
                      <a:lnTo>
                        <a:pt x="845" y="1030"/>
                      </a:lnTo>
                      <a:lnTo>
                        <a:pt x="845" y="1033"/>
                      </a:lnTo>
                      <a:lnTo>
                        <a:pt x="845" y="1034"/>
                      </a:lnTo>
                      <a:lnTo>
                        <a:pt x="845" y="1035"/>
                      </a:lnTo>
                      <a:lnTo>
                        <a:pt x="846" y="1035"/>
                      </a:lnTo>
                      <a:lnTo>
                        <a:pt x="846" y="1037"/>
                      </a:lnTo>
                      <a:lnTo>
                        <a:pt x="845" y="1037"/>
                      </a:lnTo>
                      <a:lnTo>
                        <a:pt x="845" y="1038"/>
                      </a:lnTo>
                      <a:lnTo>
                        <a:pt x="844" y="1038"/>
                      </a:lnTo>
                      <a:lnTo>
                        <a:pt x="844" y="1039"/>
                      </a:lnTo>
                      <a:lnTo>
                        <a:pt x="845" y="1039"/>
                      </a:lnTo>
                      <a:lnTo>
                        <a:pt x="846" y="1039"/>
                      </a:lnTo>
                      <a:lnTo>
                        <a:pt x="846" y="1040"/>
                      </a:lnTo>
                      <a:lnTo>
                        <a:pt x="845" y="1040"/>
                      </a:lnTo>
                      <a:lnTo>
                        <a:pt x="846" y="1040"/>
                      </a:lnTo>
                      <a:lnTo>
                        <a:pt x="847" y="1040"/>
                      </a:lnTo>
                      <a:lnTo>
                        <a:pt x="847" y="1041"/>
                      </a:lnTo>
                      <a:lnTo>
                        <a:pt x="848" y="1040"/>
                      </a:lnTo>
                      <a:lnTo>
                        <a:pt x="849" y="1040"/>
                      </a:lnTo>
                      <a:lnTo>
                        <a:pt x="849" y="1041"/>
                      </a:lnTo>
                      <a:lnTo>
                        <a:pt x="849" y="1042"/>
                      </a:lnTo>
                      <a:lnTo>
                        <a:pt x="848" y="1042"/>
                      </a:lnTo>
                      <a:lnTo>
                        <a:pt x="847" y="1042"/>
                      </a:lnTo>
                      <a:lnTo>
                        <a:pt x="846" y="1042"/>
                      </a:lnTo>
                      <a:lnTo>
                        <a:pt x="846" y="1041"/>
                      </a:lnTo>
                      <a:lnTo>
                        <a:pt x="845" y="1042"/>
                      </a:lnTo>
                      <a:lnTo>
                        <a:pt x="846" y="1042"/>
                      </a:lnTo>
                      <a:lnTo>
                        <a:pt x="845" y="1042"/>
                      </a:lnTo>
                      <a:lnTo>
                        <a:pt x="845" y="1043"/>
                      </a:lnTo>
                      <a:lnTo>
                        <a:pt x="846" y="1042"/>
                      </a:lnTo>
                      <a:lnTo>
                        <a:pt x="847" y="1043"/>
                      </a:lnTo>
                      <a:lnTo>
                        <a:pt x="847" y="1044"/>
                      </a:lnTo>
                      <a:lnTo>
                        <a:pt x="847" y="1045"/>
                      </a:lnTo>
                      <a:lnTo>
                        <a:pt x="848" y="1045"/>
                      </a:lnTo>
                      <a:lnTo>
                        <a:pt x="848" y="1044"/>
                      </a:lnTo>
                      <a:lnTo>
                        <a:pt x="848" y="1043"/>
                      </a:lnTo>
                      <a:lnTo>
                        <a:pt x="849" y="1043"/>
                      </a:lnTo>
                      <a:lnTo>
                        <a:pt x="848" y="1044"/>
                      </a:lnTo>
                      <a:lnTo>
                        <a:pt x="848" y="1045"/>
                      </a:lnTo>
                      <a:lnTo>
                        <a:pt x="848" y="1046"/>
                      </a:lnTo>
                      <a:lnTo>
                        <a:pt x="849" y="1046"/>
                      </a:lnTo>
                      <a:lnTo>
                        <a:pt x="848" y="1046"/>
                      </a:lnTo>
                      <a:lnTo>
                        <a:pt x="847" y="1046"/>
                      </a:lnTo>
                      <a:lnTo>
                        <a:pt x="846" y="1045"/>
                      </a:lnTo>
                      <a:lnTo>
                        <a:pt x="846" y="1044"/>
                      </a:lnTo>
                      <a:lnTo>
                        <a:pt x="846" y="1043"/>
                      </a:lnTo>
                      <a:lnTo>
                        <a:pt x="846" y="1044"/>
                      </a:lnTo>
                      <a:lnTo>
                        <a:pt x="845" y="1044"/>
                      </a:lnTo>
                      <a:lnTo>
                        <a:pt x="845" y="1043"/>
                      </a:lnTo>
                      <a:lnTo>
                        <a:pt x="845" y="1042"/>
                      </a:lnTo>
                      <a:lnTo>
                        <a:pt x="844" y="1043"/>
                      </a:lnTo>
                      <a:lnTo>
                        <a:pt x="845" y="1044"/>
                      </a:lnTo>
                      <a:lnTo>
                        <a:pt x="845" y="1045"/>
                      </a:lnTo>
                      <a:lnTo>
                        <a:pt x="845" y="1046"/>
                      </a:lnTo>
                      <a:lnTo>
                        <a:pt x="846" y="1046"/>
                      </a:lnTo>
                      <a:lnTo>
                        <a:pt x="846" y="1047"/>
                      </a:lnTo>
                      <a:lnTo>
                        <a:pt x="846" y="1048"/>
                      </a:lnTo>
                      <a:lnTo>
                        <a:pt x="846" y="1050"/>
                      </a:lnTo>
                      <a:lnTo>
                        <a:pt x="847" y="1051"/>
                      </a:lnTo>
                      <a:lnTo>
                        <a:pt x="848" y="1051"/>
                      </a:lnTo>
                      <a:lnTo>
                        <a:pt x="849" y="1051"/>
                      </a:lnTo>
                      <a:lnTo>
                        <a:pt x="850" y="1051"/>
                      </a:lnTo>
                      <a:lnTo>
                        <a:pt x="850" y="1050"/>
                      </a:lnTo>
                      <a:lnTo>
                        <a:pt x="850" y="1051"/>
                      </a:lnTo>
                      <a:lnTo>
                        <a:pt x="850" y="1052"/>
                      </a:lnTo>
                      <a:lnTo>
                        <a:pt x="851" y="1052"/>
                      </a:lnTo>
                      <a:lnTo>
                        <a:pt x="852" y="1052"/>
                      </a:lnTo>
                      <a:lnTo>
                        <a:pt x="853" y="1052"/>
                      </a:lnTo>
                      <a:lnTo>
                        <a:pt x="853" y="1051"/>
                      </a:lnTo>
                      <a:lnTo>
                        <a:pt x="854" y="1051"/>
                      </a:lnTo>
                      <a:lnTo>
                        <a:pt x="854" y="1052"/>
                      </a:lnTo>
                      <a:lnTo>
                        <a:pt x="853" y="1052"/>
                      </a:lnTo>
                      <a:lnTo>
                        <a:pt x="853" y="1053"/>
                      </a:lnTo>
                      <a:lnTo>
                        <a:pt x="852" y="1053"/>
                      </a:lnTo>
                      <a:lnTo>
                        <a:pt x="851" y="1053"/>
                      </a:lnTo>
                      <a:lnTo>
                        <a:pt x="851" y="1052"/>
                      </a:lnTo>
                      <a:lnTo>
                        <a:pt x="850" y="1052"/>
                      </a:lnTo>
                      <a:lnTo>
                        <a:pt x="849" y="1052"/>
                      </a:lnTo>
                      <a:lnTo>
                        <a:pt x="849" y="1051"/>
                      </a:lnTo>
                      <a:lnTo>
                        <a:pt x="849" y="1052"/>
                      </a:lnTo>
                      <a:lnTo>
                        <a:pt x="848" y="1052"/>
                      </a:lnTo>
                      <a:lnTo>
                        <a:pt x="847" y="1052"/>
                      </a:lnTo>
                      <a:lnTo>
                        <a:pt x="847" y="1051"/>
                      </a:lnTo>
                      <a:lnTo>
                        <a:pt x="847" y="1052"/>
                      </a:lnTo>
                      <a:lnTo>
                        <a:pt x="846" y="1052"/>
                      </a:lnTo>
                      <a:lnTo>
                        <a:pt x="846" y="1051"/>
                      </a:lnTo>
                      <a:lnTo>
                        <a:pt x="845" y="1051"/>
                      </a:lnTo>
                      <a:lnTo>
                        <a:pt x="845" y="1050"/>
                      </a:lnTo>
                      <a:lnTo>
                        <a:pt x="845" y="1051"/>
                      </a:lnTo>
                      <a:lnTo>
                        <a:pt x="846" y="1051"/>
                      </a:lnTo>
                      <a:lnTo>
                        <a:pt x="845" y="1051"/>
                      </a:lnTo>
                      <a:lnTo>
                        <a:pt x="846" y="1051"/>
                      </a:lnTo>
                      <a:lnTo>
                        <a:pt x="845" y="1051"/>
                      </a:lnTo>
                      <a:lnTo>
                        <a:pt x="846" y="1052"/>
                      </a:lnTo>
                      <a:lnTo>
                        <a:pt x="847" y="1052"/>
                      </a:lnTo>
                      <a:lnTo>
                        <a:pt x="846" y="1052"/>
                      </a:lnTo>
                      <a:lnTo>
                        <a:pt x="846" y="1053"/>
                      </a:lnTo>
                      <a:lnTo>
                        <a:pt x="846" y="1054"/>
                      </a:lnTo>
                      <a:lnTo>
                        <a:pt x="846" y="1055"/>
                      </a:lnTo>
                      <a:lnTo>
                        <a:pt x="846" y="1056"/>
                      </a:lnTo>
                      <a:lnTo>
                        <a:pt x="847" y="1056"/>
                      </a:lnTo>
                      <a:lnTo>
                        <a:pt x="847" y="1057"/>
                      </a:lnTo>
                      <a:lnTo>
                        <a:pt x="847" y="1058"/>
                      </a:lnTo>
                      <a:lnTo>
                        <a:pt x="847" y="1057"/>
                      </a:lnTo>
                      <a:lnTo>
                        <a:pt x="846" y="1057"/>
                      </a:lnTo>
                      <a:lnTo>
                        <a:pt x="847" y="1057"/>
                      </a:lnTo>
                      <a:lnTo>
                        <a:pt x="847" y="1058"/>
                      </a:lnTo>
                      <a:lnTo>
                        <a:pt x="848" y="1058"/>
                      </a:lnTo>
                      <a:lnTo>
                        <a:pt x="848" y="1059"/>
                      </a:lnTo>
                      <a:lnTo>
                        <a:pt x="848" y="1058"/>
                      </a:lnTo>
                      <a:lnTo>
                        <a:pt x="848" y="1059"/>
                      </a:lnTo>
                      <a:lnTo>
                        <a:pt x="848" y="1060"/>
                      </a:lnTo>
                      <a:lnTo>
                        <a:pt x="849" y="1060"/>
                      </a:lnTo>
                      <a:lnTo>
                        <a:pt x="849" y="1059"/>
                      </a:lnTo>
                      <a:lnTo>
                        <a:pt x="849" y="1060"/>
                      </a:lnTo>
                      <a:lnTo>
                        <a:pt x="849" y="1061"/>
                      </a:lnTo>
                      <a:lnTo>
                        <a:pt x="849" y="1063"/>
                      </a:lnTo>
                      <a:lnTo>
                        <a:pt x="849" y="1064"/>
                      </a:lnTo>
                      <a:lnTo>
                        <a:pt x="850" y="1065"/>
                      </a:lnTo>
                      <a:lnTo>
                        <a:pt x="850" y="1066"/>
                      </a:lnTo>
                      <a:lnTo>
                        <a:pt x="849" y="1066"/>
                      </a:lnTo>
                      <a:lnTo>
                        <a:pt x="849" y="1067"/>
                      </a:lnTo>
                      <a:lnTo>
                        <a:pt x="850" y="1067"/>
                      </a:lnTo>
                      <a:lnTo>
                        <a:pt x="849" y="1068"/>
                      </a:lnTo>
                      <a:lnTo>
                        <a:pt x="849" y="1067"/>
                      </a:lnTo>
                      <a:lnTo>
                        <a:pt x="849" y="1068"/>
                      </a:lnTo>
                      <a:lnTo>
                        <a:pt x="849" y="1069"/>
                      </a:lnTo>
                      <a:lnTo>
                        <a:pt x="850" y="1069"/>
                      </a:lnTo>
                      <a:lnTo>
                        <a:pt x="850" y="1070"/>
                      </a:lnTo>
                      <a:lnTo>
                        <a:pt x="850" y="1071"/>
                      </a:lnTo>
                      <a:lnTo>
                        <a:pt x="849" y="1071"/>
                      </a:lnTo>
                      <a:lnTo>
                        <a:pt x="850" y="1071"/>
                      </a:lnTo>
                      <a:lnTo>
                        <a:pt x="849" y="1071"/>
                      </a:lnTo>
                      <a:lnTo>
                        <a:pt x="849" y="1072"/>
                      </a:lnTo>
                      <a:lnTo>
                        <a:pt x="849" y="1073"/>
                      </a:lnTo>
                      <a:lnTo>
                        <a:pt x="849" y="1074"/>
                      </a:lnTo>
                      <a:lnTo>
                        <a:pt x="850" y="1074"/>
                      </a:lnTo>
                      <a:lnTo>
                        <a:pt x="849" y="1073"/>
                      </a:lnTo>
                      <a:lnTo>
                        <a:pt x="850" y="1073"/>
                      </a:lnTo>
                      <a:lnTo>
                        <a:pt x="850" y="1074"/>
                      </a:lnTo>
                      <a:lnTo>
                        <a:pt x="851" y="1074"/>
                      </a:lnTo>
                      <a:lnTo>
                        <a:pt x="852" y="1073"/>
                      </a:lnTo>
                      <a:lnTo>
                        <a:pt x="852" y="1072"/>
                      </a:lnTo>
                      <a:lnTo>
                        <a:pt x="851" y="1072"/>
                      </a:lnTo>
                      <a:lnTo>
                        <a:pt x="851" y="1071"/>
                      </a:lnTo>
                      <a:lnTo>
                        <a:pt x="850" y="1071"/>
                      </a:lnTo>
                      <a:lnTo>
                        <a:pt x="851" y="1071"/>
                      </a:lnTo>
                      <a:lnTo>
                        <a:pt x="851" y="1072"/>
                      </a:lnTo>
                      <a:lnTo>
                        <a:pt x="852" y="1072"/>
                      </a:lnTo>
                      <a:lnTo>
                        <a:pt x="851" y="1071"/>
                      </a:lnTo>
                      <a:lnTo>
                        <a:pt x="851" y="1070"/>
                      </a:lnTo>
                      <a:lnTo>
                        <a:pt x="851" y="1071"/>
                      </a:lnTo>
                      <a:lnTo>
                        <a:pt x="852" y="1070"/>
                      </a:lnTo>
                      <a:lnTo>
                        <a:pt x="851" y="1070"/>
                      </a:lnTo>
                      <a:lnTo>
                        <a:pt x="851" y="1071"/>
                      </a:lnTo>
                      <a:lnTo>
                        <a:pt x="850" y="1071"/>
                      </a:lnTo>
                      <a:lnTo>
                        <a:pt x="850" y="1070"/>
                      </a:lnTo>
                      <a:lnTo>
                        <a:pt x="851" y="1070"/>
                      </a:lnTo>
                      <a:lnTo>
                        <a:pt x="851" y="1069"/>
                      </a:lnTo>
                      <a:lnTo>
                        <a:pt x="852" y="1069"/>
                      </a:lnTo>
                      <a:lnTo>
                        <a:pt x="852" y="1070"/>
                      </a:lnTo>
                      <a:lnTo>
                        <a:pt x="852" y="1071"/>
                      </a:lnTo>
                      <a:lnTo>
                        <a:pt x="853" y="1071"/>
                      </a:lnTo>
                      <a:lnTo>
                        <a:pt x="853" y="1072"/>
                      </a:lnTo>
                      <a:lnTo>
                        <a:pt x="854" y="1072"/>
                      </a:lnTo>
                      <a:lnTo>
                        <a:pt x="854" y="1071"/>
                      </a:lnTo>
                      <a:lnTo>
                        <a:pt x="853" y="1071"/>
                      </a:lnTo>
                      <a:lnTo>
                        <a:pt x="853" y="1070"/>
                      </a:lnTo>
                      <a:lnTo>
                        <a:pt x="854" y="1071"/>
                      </a:lnTo>
                      <a:lnTo>
                        <a:pt x="854" y="1070"/>
                      </a:lnTo>
                      <a:lnTo>
                        <a:pt x="854" y="1071"/>
                      </a:lnTo>
                      <a:lnTo>
                        <a:pt x="855" y="1071"/>
                      </a:lnTo>
                      <a:lnTo>
                        <a:pt x="855" y="1070"/>
                      </a:lnTo>
                      <a:lnTo>
                        <a:pt x="857" y="1070"/>
                      </a:lnTo>
                      <a:lnTo>
                        <a:pt x="855" y="1071"/>
                      </a:lnTo>
                      <a:lnTo>
                        <a:pt x="857" y="1071"/>
                      </a:lnTo>
                      <a:lnTo>
                        <a:pt x="857" y="1070"/>
                      </a:lnTo>
                      <a:lnTo>
                        <a:pt x="858" y="1070"/>
                      </a:lnTo>
                      <a:lnTo>
                        <a:pt x="858" y="1071"/>
                      </a:lnTo>
                      <a:lnTo>
                        <a:pt x="858" y="1070"/>
                      </a:lnTo>
                      <a:lnTo>
                        <a:pt x="857" y="1071"/>
                      </a:lnTo>
                      <a:lnTo>
                        <a:pt x="855" y="1071"/>
                      </a:lnTo>
                      <a:lnTo>
                        <a:pt x="855" y="1072"/>
                      </a:lnTo>
                      <a:lnTo>
                        <a:pt x="857" y="1072"/>
                      </a:lnTo>
                      <a:lnTo>
                        <a:pt x="857" y="1071"/>
                      </a:lnTo>
                      <a:lnTo>
                        <a:pt x="857" y="1072"/>
                      </a:lnTo>
                      <a:lnTo>
                        <a:pt x="857" y="1073"/>
                      </a:lnTo>
                      <a:lnTo>
                        <a:pt x="855" y="1073"/>
                      </a:lnTo>
                      <a:lnTo>
                        <a:pt x="855" y="1074"/>
                      </a:lnTo>
                      <a:lnTo>
                        <a:pt x="855" y="1076"/>
                      </a:lnTo>
                      <a:lnTo>
                        <a:pt x="855" y="1074"/>
                      </a:lnTo>
                      <a:lnTo>
                        <a:pt x="855" y="1073"/>
                      </a:lnTo>
                      <a:lnTo>
                        <a:pt x="854" y="1073"/>
                      </a:lnTo>
                      <a:lnTo>
                        <a:pt x="854" y="1072"/>
                      </a:lnTo>
                      <a:lnTo>
                        <a:pt x="854" y="1073"/>
                      </a:lnTo>
                      <a:lnTo>
                        <a:pt x="853" y="1073"/>
                      </a:lnTo>
                      <a:lnTo>
                        <a:pt x="853" y="1074"/>
                      </a:lnTo>
                      <a:lnTo>
                        <a:pt x="854" y="1074"/>
                      </a:lnTo>
                      <a:lnTo>
                        <a:pt x="854" y="1076"/>
                      </a:lnTo>
                      <a:lnTo>
                        <a:pt x="854" y="1077"/>
                      </a:lnTo>
                      <a:lnTo>
                        <a:pt x="853" y="1077"/>
                      </a:lnTo>
                      <a:lnTo>
                        <a:pt x="852" y="1077"/>
                      </a:lnTo>
                      <a:lnTo>
                        <a:pt x="851" y="1078"/>
                      </a:lnTo>
                      <a:lnTo>
                        <a:pt x="852" y="1078"/>
                      </a:lnTo>
                      <a:lnTo>
                        <a:pt x="853" y="1078"/>
                      </a:lnTo>
                      <a:lnTo>
                        <a:pt x="852" y="1078"/>
                      </a:lnTo>
                      <a:lnTo>
                        <a:pt x="852" y="1077"/>
                      </a:lnTo>
                      <a:lnTo>
                        <a:pt x="853" y="1077"/>
                      </a:lnTo>
                      <a:lnTo>
                        <a:pt x="854" y="1077"/>
                      </a:lnTo>
                      <a:lnTo>
                        <a:pt x="854" y="1076"/>
                      </a:lnTo>
                      <a:lnTo>
                        <a:pt x="855" y="1076"/>
                      </a:lnTo>
                      <a:lnTo>
                        <a:pt x="855" y="1077"/>
                      </a:lnTo>
                      <a:lnTo>
                        <a:pt x="855" y="1078"/>
                      </a:lnTo>
                      <a:lnTo>
                        <a:pt x="854" y="1078"/>
                      </a:lnTo>
                      <a:lnTo>
                        <a:pt x="853" y="1078"/>
                      </a:lnTo>
                      <a:lnTo>
                        <a:pt x="854" y="1079"/>
                      </a:lnTo>
                      <a:lnTo>
                        <a:pt x="855" y="1079"/>
                      </a:lnTo>
                      <a:lnTo>
                        <a:pt x="855" y="1078"/>
                      </a:lnTo>
                      <a:lnTo>
                        <a:pt x="855" y="1077"/>
                      </a:lnTo>
                      <a:lnTo>
                        <a:pt x="855" y="1076"/>
                      </a:lnTo>
                      <a:lnTo>
                        <a:pt x="857" y="1076"/>
                      </a:lnTo>
                      <a:lnTo>
                        <a:pt x="858" y="1076"/>
                      </a:lnTo>
                      <a:lnTo>
                        <a:pt x="859" y="1076"/>
                      </a:lnTo>
                      <a:lnTo>
                        <a:pt x="859" y="1077"/>
                      </a:lnTo>
                      <a:lnTo>
                        <a:pt x="858" y="1077"/>
                      </a:lnTo>
                      <a:lnTo>
                        <a:pt x="857" y="1077"/>
                      </a:lnTo>
                      <a:lnTo>
                        <a:pt x="857" y="1078"/>
                      </a:lnTo>
                      <a:lnTo>
                        <a:pt x="858" y="1078"/>
                      </a:lnTo>
                      <a:lnTo>
                        <a:pt x="859" y="1078"/>
                      </a:lnTo>
                      <a:lnTo>
                        <a:pt x="860" y="1078"/>
                      </a:lnTo>
                      <a:lnTo>
                        <a:pt x="861" y="1078"/>
                      </a:lnTo>
                      <a:lnTo>
                        <a:pt x="862" y="1078"/>
                      </a:lnTo>
                      <a:lnTo>
                        <a:pt x="861" y="1078"/>
                      </a:lnTo>
                      <a:lnTo>
                        <a:pt x="861" y="1077"/>
                      </a:lnTo>
                      <a:lnTo>
                        <a:pt x="862" y="1077"/>
                      </a:lnTo>
                      <a:lnTo>
                        <a:pt x="861" y="1077"/>
                      </a:lnTo>
                      <a:lnTo>
                        <a:pt x="861" y="1076"/>
                      </a:lnTo>
                      <a:lnTo>
                        <a:pt x="861" y="1077"/>
                      </a:lnTo>
                      <a:lnTo>
                        <a:pt x="860" y="1077"/>
                      </a:lnTo>
                      <a:lnTo>
                        <a:pt x="860" y="1076"/>
                      </a:lnTo>
                      <a:lnTo>
                        <a:pt x="860" y="1077"/>
                      </a:lnTo>
                      <a:lnTo>
                        <a:pt x="860" y="1076"/>
                      </a:lnTo>
                      <a:lnTo>
                        <a:pt x="859" y="1076"/>
                      </a:lnTo>
                      <a:lnTo>
                        <a:pt x="860" y="1076"/>
                      </a:lnTo>
                      <a:lnTo>
                        <a:pt x="860" y="1074"/>
                      </a:lnTo>
                      <a:lnTo>
                        <a:pt x="861" y="1074"/>
                      </a:lnTo>
                      <a:lnTo>
                        <a:pt x="861" y="1076"/>
                      </a:lnTo>
                      <a:lnTo>
                        <a:pt x="862" y="1076"/>
                      </a:lnTo>
                      <a:lnTo>
                        <a:pt x="862" y="1074"/>
                      </a:lnTo>
                      <a:lnTo>
                        <a:pt x="863" y="1074"/>
                      </a:lnTo>
                      <a:lnTo>
                        <a:pt x="863" y="1076"/>
                      </a:lnTo>
                      <a:lnTo>
                        <a:pt x="863" y="1074"/>
                      </a:lnTo>
                      <a:lnTo>
                        <a:pt x="862" y="1076"/>
                      </a:lnTo>
                      <a:lnTo>
                        <a:pt x="862" y="1077"/>
                      </a:lnTo>
                      <a:lnTo>
                        <a:pt x="861" y="1077"/>
                      </a:lnTo>
                      <a:lnTo>
                        <a:pt x="862" y="1077"/>
                      </a:lnTo>
                      <a:lnTo>
                        <a:pt x="863" y="1077"/>
                      </a:lnTo>
                      <a:lnTo>
                        <a:pt x="863" y="1076"/>
                      </a:lnTo>
                      <a:lnTo>
                        <a:pt x="863" y="1074"/>
                      </a:lnTo>
                      <a:lnTo>
                        <a:pt x="864" y="1074"/>
                      </a:lnTo>
                      <a:lnTo>
                        <a:pt x="864" y="1073"/>
                      </a:lnTo>
                      <a:lnTo>
                        <a:pt x="865" y="1073"/>
                      </a:lnTo>
                      <a:lnTo>
                        <a:pt x="865" y="1072"/>
                      </a:lnTo>
                      <a:lnTo>
                        <a:pt x="865" y="1071"/>
                      </a:lnTo>
                      <a:lnTo>
                        <a:pt x="866" y="1071"/>
                      </a:lnTo>
                      <a:lnTo>
                        <a:pt x="865" y="1071"/>
                      </a:lnTo>
                      <a:lnTo>
                        <a:pt x="866" y="1071"/>
                      </a:lnTo>
                      <a:lnTo>
                        <a:pt x="866" y="1070"/>
                      </a:lnTo>
                      <a:lnTo>
                        <a:pt x="866" y="1069"/>
                      </a:lnTo>
                      <a:lnTo>
                        <a:pt x="865" y="1069"/>
                      </a:lnTo>
                      <a:lnTo>
                        <a:pt x="865" y="1068"/>
                      </a:lnTo>
                      <a:lnTo>
                        <a:pt x="865" y="1067"/>
                      </a:lnTo>
                      <a:lnTo>
                        <a:pt x="865" y="1068"/>
                      </a:lnTo>
                      <a:lnTo>
                        <a:pt x="866" y="1068"/>
                      </a:lnTo>
                      <a:lnTo>
                        <a:pt x="867" y="1069"/>
                      </a:lnTo>
                      <a:lnTo>
                        <a:pt x="869" y="1069"/>
                      </a:lnTo>
                      <a:lnTo>
                        <a:pt x="870" y="1068"/>
                      </a:lnTo>
                      <a:lnTo>
                        <a:pt x="870" y="1067"/>
                      </a:lnTo>
                      <a:lnTo>
                        <a:pt x="871" y="1068"/>
                      </a:lnTo>
                      <a:lnTo>
                        <a:pt x="871" y="1069"/>
                      </a:lnTo>
                      <a:lnTo>
                        <a:pt x="871" y="1070"/>
                      </a:lnTo>
                      <a:lnTo>
                        <a:pt x="872" y="1070"/>
                      </a:lnTo>
                      <a:lnTo>
                        <a:pt x="872" y="1069"/>
                      </a:lnTo>
                      <a:lnTo>
                        <a:pt x="873" y="1069"/>
                      </a:lnTo>
                      <a:lnTo>
                        <a:pt x="874" y="1069"/>
                      </a:lnTo>
                      <a:lnTo>
                        <a:pt x="873" y="1069"/>
                      </a:lnTo>
                      <a:lnTo>
                        <a:pt x="874" y="1069"/>
                      </a:lnTo>
                      <a:lnTo>
                        <a:pt x="874" y="1068"/>
                      </a:lnTo>
                      <a:lnTo>
                        <a:pt x="873" y="1068"/>
                      </a:lnTo>
                      <a:lnTo>
                        <a:pt x="874" y="1068"/>
                      </a:lnTo>
                      <a:lnTo>
                        <a:pt x="875" y="1068"/>
                      </a:lnTo>
                      <a:lnTo>
                        <a:pt x="876" y="1068"/>
                      </a:lnTo>
                      <a:lnTo>
                        <a:pt x="876" y="1067"/>
                      </a:lnTo>
                      <a:lnTo>
                        <a:pt x="876" y="1068"/>
                      </a:lnTo>
                      <a:lnTo>
                        <a:pt x="877" y="1068"/>
                      </a:lnTo>
                      <a:lnTo>
                        <a:pt x="877" y="1067"/>
                      </a:lnTo>
                      <a:lnTo>
                        <a:pt x="877" y="1066"/>
                      </a:lnTo>
                      <a:lnTo>
                        <a:pt x="878" y="1066"/>
                      </a:lnTo>
                      <a:lnTo>
                        <a:pt x="877" y="1066"/>
                      </a:lnTo>
                      <a:lnTo>
                        <a:pt x="878" y="1066"/>
                      </a:lnTo>
                      <a:lnTo>
                        <a:pt x="878" y="1065"/>
                      </a:lnTo>
                      <a:lnTo>
                        <a:pt x="877" y="1065"/>
                      </a:lnTo>
                      <a:lnTo>
                        <a:pt x="878" y="1065"/>
                      </a:lnTo>
                      <a:lnTo>
                        <a:pt x="878" y="1066"/>
                      </a:lnTo>
                      <a:lnTo>
                        <a:pt x="878" y="1065"/>
                      </a:lnTo>
                      <a:lnTo>
                        <a:pt x="879" y="1066"/>
                      </a:lnTo>
                      <a:lnTo>
                        <a:pt x="878" y="1065"/>
                      </a:lnTo>
                      <a:lnTo>
                        <a:pt x="879" y="1065"/>
                      </a:lnTo>
                      <a:lnTo>
                        <a:pt x="879" y="1064"/>
                      </a:lnTo>
                      <a:lnTo>
                        <a:pt x="880" y="1064"/>
                      </a:lnTo>
                      <a:lnTo>
                        <a:pt x="879" y="1064"/>
                      </a:lnTo>
                      <a:lnTo>
                        <a:pt x="879" y="1063"/>
                      </a:lnTo>
                      <a:lnTo>
                        <a:pt x="880" y="1063"/>
                      </a:lnTo>
                      <a:lnTo>
                        <a:pt x="879" y="1063"/>
                      </a:lnTo>
                      <a:lnTo>
                        <a:pt x="879" y="1064"/>
                      </a:lnTo>
                      <a:lnTo>
                        <a:pt x="880" y="1064"/>
                      </a:lnTo>
                      <a:lnTo>
                        <a:pt x="879" y="1064"/>
                      </a:lnTo>
                      <a:lnTo>
                        <a:pt x="880" y="1063"/>
                      </a:lnTo>
                      <a:lnTo>
                        <a:pt x="880" y="1064"/>
                      </a:lnTo>
                      <a:lnTo>
                        <a:pt x="880" y="1065"/>
                      </a:lnTo>
                      <a:lnTo>
                        <a:pt x="880" y="1066"/>
                      </a:lnTo>
                      <a:lnTo>
                        <a:pt x="879" y="1066"/>
                      </a:lnTo>
                      <a:lnTo>
                        <a:pt x="879" y="1067"/>
                      </a:lnTo>
                      <a:lnTo>
                        <a:pt x="878" y="1068"/>
                      </a:lnTo>
                      <a:lnTo>
                        <a:pt x="877" y="1069"/>
                      </a:lnTo>
                      <a:lnTo>
                        <a:pt x="877" y="1070"/>
                      </a:lnTo>
                      <a:lnTo>
                        <a:pt x="876" y="1070"/>
                      </a:lnTo>
                      <a:lnTo>
                        <a:pt x="876" y="1071"/>
                      </a:lnTo>
                      <a:lnTo>
                        <a:pt x="876" y="1070"/>
                      </a:lnTo>
                      <a:lnTo>
                        <a:pt x="875" y="1071"/>
                      </a:lnTo>
                      <a:lnTo>
                        <a:pt x="875" y="1072"/>
                      </a:lnTo>
                      <a:lnTo>
                        <a:pt x="874" y="1072"/>
                      </a:lnTo>
                      <a:lnTo>
                        <a:pt x="874" y="1073"/>
                      </a:lnTo>
                      <a:lnTo>
                        <a:pt x="874" y="1074"/>
                      </a:lnTo>
                      <a:lnTo>
                        <a:pt x="873" y="1076"/>
                      </a:lnTo>
                      <a:lnTo>
                        <a:pt x="873" y="1077"/>
                      </a:lnTo>
                      <a:lnTo>
                        <a:pt x="873" y="1076"/>
                      </a:lnTo>
                      <a:lnTo>
                        <a:pt x="872" y="1076"/>
                      </a:lnTo>
                      <a:lnTo>
                        <a:pt x="872" y="1077"/>
                      </a:lnTo>
                      <a:lnTo>
                        <a:pt x="873" y="1077"/>
                      </a:lnTo>
                      <a:lnTo>
                        <a:pt x="872" y="1077"/>
                      </a:lnTo>
                      <a:lnTo>
                        <a:pt x="872" y="1078"/>
                      </a:lnTo>
                      <a:lnTo>
                        <a:pt x="872" y="1079"/>
                      </a:lnTo>
                      <a:lnTo>
                        <a:pt x="871" y="1079"/>
                      </a:lnTo>
                      <a:lnTo>
                        <a:pt x="871" y="1080"/>
                      </a:lnTo>
                      <a:lnTo>
                        <a:pt x="871" y="1081"/>
                      </a:lnTo>
                      <a:lnTo>
                        <a:pt x="870" y="1081"/>
                      </a:lnTo>
                      <a:lnTo>
                        <a:pt x="870" y="1082"/>
                      </a:lnTo>
                      <a:lnTo>
                        <a:pt x="869" y="1082"/>
                      </a:lnTo>
                      <a:lnTo>
                        <a:pt x="870" y="1082"/>
                      </a:lnTo>
                      <a:lnTo>
                        <a:pt x="870" y="1083"/>
                      </a:lnTo>
                      <a:lnTo>
                        <a:pt x="869" y="1083"/>
                      </a:lnTo>
                      <a:lnTo>
                        <a:pt x="869" y="1084"/>
                      </a:lnTo>
                      <a:lnTo>
                        <a:pt x="867" y="1084"/>
                      </a:lnTo>
                      <a:lnTo>
                        <a:pt x="869" y="1084"/>
                      </a:lnTo>
                      <a:lnTo>
                        <a:pt x="867" y="1084"/>
                      </a:lnTo>
                      <a:lnTo>
                        <a:pt x="867" y="1085"/>
                      </a:lnTo>
                      <a:lnTo>
                        <a:pt x="866" y="1086"/>
                      </a:lnTo>
                      <a:lnTo>
                        <a:pt x="866" y="1085"/>
                      </a:lnTo>
                      <a:lnTo>
                        <a:pt x="866" y="1086"/>
                      </a:lnTo>
                      <a:lnTo>
                        <a:pt x="867" y="1086"/>
                      </a:lnTo>
                      <a:lnTo>
                        <a:pt x="867" y="1085"/>
                      </a:lnTo>
                      <a:lnTo>
                        <a:pt x="867" y="1086"/>
                      </a:lnTo>
                      <a:lnTo>
                        <a:pt x="866" y="1086"/>
                      </a:lnTo>
                      <a:lnTo>
                        <a:pt x="866" y="1088"/>
                      </a:lnTo>
                      <a:lnTo>
                        <a:pt x="865" y="1088"/>
                      </a:lnTo>
                      <a:lnTo>
                        <a:pt x="864" y="1090"/>
                      </a:lnTo>
                      <a:lnTo>
                        <a:pt x="865" y="1090"/>
                      </a:lnTo>
                      <a:lnTo>
                        <a:pt x="865" y="1091"/>
                      </a:lnTo>
                      <a:lnTo>
                        <a:pt x="864" y="1091"/>
                      </a:lnTo>
                      <a:lnTo>
                        <a:pt x="864" y="1092"/>
                      </a:lnTo>
                      <a:lnTo>
                        <a:pt x="863" y="1092"/>
                      </a:lnTo>
                      <a:lnTo>
                        <a:pt x="862" y="1092"/>
                      </a:lnTo>
                      <a:lnTo>
                        <a:pt x="862" y="1093"/>
                      </a:lnTo>
                      <a:lnTo>
                        <a:pt x="861" y="1093"/>
                      </a:lnTo>
                      <a:lnTo>
                        <a:pt x="861" y="1094"/>
                      </a:lnTo>
                      <a:lnTo>
                        <a:pt x="859" y="1095"/>
                      </a:lnTo>
                      <a:lnTo>
                        <a:pt x="858" y="1095"/>
                      </a:lnTo>
                      <a:lnTo>
                        <a:pt x="858" y="1094"/>
                      </a:lnTo>
                      <a:lnTo>
                        <a:pt x="858" y="1095"/>
                      </a:lnTo>
                      <a:lnTo>
                        <a:pt x="858" y="1096"/>
                      </a:lnTo>
                      <a:lnTo>
                        <a:pt x="857" y="1096"/>
                      </a:lnTo>
                      <a:lnTo>
                        <a:pt x="857" y="1097"/>
                      </a:lnTo>
                      <a:lnTo>
                        <a:pt x="855" y="1097"/>
                      </a:lnTo>
                      <a:lnTo>
                        <a:pt x="846" y="1106"/>
                      </a:lnTo>
                      <a:lnTo>
                        <a:pt x="840" y="1110"/>
                      </a:lnTo>
                      <a:lnTo>
                        <a:pt x="834" y="1115"/>
                      </a:lnTo>
                      <a:lnTo>
                        <a:pt x="825" y="1121"/>
                      </a:lnTo>
                      <a:lnTo>
                        <a:pt x="806" y="1134"/>
                      </a:lnTo>
                      <a:lnTo>
                        <a:pt x="801" y="1137"/>
                      </a:lnTo>
                      <a:lnTo>
                        <a:pt x="797" y="1142"/>
                      </a:lnTo>
                      <a:lnTo>
                        <a:pt x="796" y="1142"/>
                      </a:lnTo>
                      <a:lnTo>
                        <a:pt x="787" y="1147"/>
                      </a:lnTo>
                      <a:lnTo>
                        <a:pt x="785" y="1148"/>
                      </a:lnTo>
                      <a:lnTo>
                        <a:pt x="784" y="1148"/>
                      </a:lnTo>
                      <a:lnTo>
                        <a:pt x="783" y="1149"/>
                      </a:lnTo>
                      <a:lnTo>
                        <a:pt x="782" y="1149"/>
                      </a:lnTo>
                      <a:lnTo>
                        <a:pt x="780" y="1150"/>
                      </a:lnTo>
                      <a:lnTo>
                        <a:pt x="779" y="1151"/>
                      </a:lnTo>
                      <a:lnTo>
                        <a:pt x="777" y="1153"/>
                      </a:lnTo>
                      <a:lnTo>
                        <a:pt x="776" y="1153"/>
                      </a:lnTo>
                      <a:lnTo>
                        <a:pt x="775" y="1154"/>
                      </a:lnTo>
                      <a:lnTo>
                        <a:pt x="773" y="1155"/>
                      </a:lnTo>
                      <a:lnTo>
                        <a:pt x="773" y="1154"/>
                      </a:lnTo>
                      <a:lnTo>
                        <a:pt x="773" y="1153"/>
                      </a:lnTo>
                      <a:lnTo>
                        <a:pt x="773" y="1151"/>
                      </a:lnTo>
                      <a:lnTo>
                        <a:pt x="773" y="1150"/>
                      </a:lnTo>
                      <a:lnTo>
                        <a:pt x="774" y="1149"/>
                      </a:lnTo>
                      <a:lnTo>
                        <a:pt x="774" y="1148"/>
                      </a:lnTo>
                      <a:lnTo>
                        <a:pt x="774" y="1147"/>
                      </a:lnTo>
                      <a:lnTo>
                        <a:pt x="774" y="1146"/>
                      </a:lnTo>
                      <a:lnTo>
                        <a:pt x="774" y="1145"/>
                      </a:lnTo>
                      <a:lnTo>
                        <a:pt x="775" y="1145"/>
                      </a:lnTo>
                      <a:lnTo>
                        <a:pt x="775" y="1144"/>
                      </a:lnTo>
                      <a:lnTo>
                        <a:pt x="776" y="1143"/>
                      </a:lnTo>
                      <a:lnTo>
                        <a:pt x="777" y="1143"/>
                      </a:lnTo>
                      <a:lnTo>
                        <a:pt x="777" y="1142"/>
                      </a:lnTo>
                      <a:lnTo>
                        <a:pt x="780" y="1141"/>
                      </a:lnTo>
                      <a:lnTo>
                        <a:pt x="780" y="1140"/>
                      </a:lnTo>
                      <a:lnTo>
                        <a:pt x="776" y="1141"/>
                      </a:lnTo>
                      <a:lnTo>
                        <a:pt x="775" y="1143"/>
                      </a:lnTo>
                      <a:lnTo>
                        <a:pt x="774" y="1144"/>
                      </a:lnTo>
                      <a:lnTo>
                        <a:pt x="773" y="1145"/>
                      </a:lnTo>
                      <a:lnTo>
                        <a:pt x="773" y="1146"/>
                      </a:lnTo>
                      <a:lnTo>
                        <a:pt x="773" y="1147"/>
                      </a:lnTo>
                      <a:lnTo>
                        <a:pt x="772" y="1147"/>
                      </a:lnTo>
                      <a:lnTo>
                        <a:pt x="772" y="1148"/>
                      </a:lnTo>
                      <a:lnTo>
                        <a:pt x="772" y="1149"/>
                      </a:lnTo>
                      <a:lnTo>
                        <a:pt x="771" y="1151"/>
                      </a:lnTo>
                      <a:lnTo>
                        <a:pt x="771" y="1153"/>
                      </a:lnTo>
                      <a:lnTo>
                        <a:pt x="770" y="1151"/>
                      </a:lnTo>
                      <a:lnTo>
                        <a:pt x="769" y="1151"/>
                      </a:lnTo>
                      <a:lnTo>
                        <a:pt x="768" y="1151"/>
                      </a:lnTo>
                      <a:lnTo>
                        <a:pt x="767" y="1150"/>
                      </a:lnTo>
                      <a:lnTo>
                        <a:pt x="764" y="1150"/>
                      </a:lnTo>
                      <a:lnTo>
                        <a:pt x="763" y="1149"/>
                      </a:lnTo>
                      <a:lnTo>
                        <a:pt x="762" y="1149"/>
                      </a:lnTo>
                      <a:lnTo>
                        <a:pt x="757" y="1149"/>
                      </a:lnTo>
                      <a:lnTo>
                        <a:pt x="756" y="1149"/>
                      </a:lnTo>
                      <a:lnTo>
                        <a:pt x="756" y="1148"/>
                      </a:lnTo>
                      <a:lnTo>
                        <a:pt x="757" y="1147"/>
                      </a:lnTo>
                      <a:lnTo>
                        <a:pt x="757" y="1148"/>
                      </a:lnTo>
                      <a:lnTo>
                        <a:pt x="758" y="1148"/>
                      </a:lnTo>
                      <a:lnTo>
                        <a:pt x="758" y="1147"/>
                      </a:lnTo>
                      <a:lnTo>
                        <a:pt x="758" y="1146"/>
                      </a:lnTo>
                      <a:lnTo>
                        <a:pt x="759" y="1146"/>
                      </a:lnTo>
                      <a:lnTo>
                        <a:pt x="760" y="1146"/>
                      </a:lnTo>
                      <a:lnTo>
                        <a:pt x="761" y="1147"/>
                      </a:lnTo>
                      <a:lnTo>
                        <a:pt x="762" y="1147"/>
                      </a:lnTo>
                      <a:lnTo>
                        <a:pt x="763" y="1148"/>
                      </a:lnTo>
                      <a:lnTo>
                        <a:pt x="764" y="1148"/>
                      </a:lnTo>
                      <a:lnTo>
                        <a:pt x="766" y="1148"/>
                      </a:lnTo>
                      <a:lnTo>
                        <a:pt x="764" y="1148"/>
                      </a:lnTo>
                      <a:lnTo>
                        <a:pt x="764" y="1147"/>
                      </a:lnTo>
                      <a:lnTo>
                        <a:pt x="763" y="1147"/>
                      </a:lnTo>
                      <a:lnTo>
                        <a:pt x="762" y="1147"/>
                      </a:lnTo>
                      <a:lnTo>
                        <a:pt x="762" y="1146"/>
                      </a:lnTo>
                      <a:lnTo>
                        <a:pt x="762" y="1145"/>
                      </a:lnTo>
                      <a:lnTo>
                        <a:pt x="762" y="1144"/>
                      </a:lnTo>
                      <a:lnTo>
                        <a:pt x="761" y="1144"/>
                      </a:lnTo>
                      <a:lnTo>
                        <a:pt x="760" y="1143"/>
                      </a:lnTo>
                      <a:lnTo>
                        <a:pt x="759" y="1142"/>
                      </a:lnTo>
                      <a:lnTo>
                        <a:pt x="759" y="1141"/>
                      </a:lnTo>
                      <a:lnTo>
                        <a:pt x="758" y="1141"/>
                      </a:lnTo>
                      <a:lnTo>
                        <a:pt x="757" y="1140"/>
                      </a:lnTo>
                      <a:lnTo>
                        <a:pt x="757" y="1138"/>
                      </a:lnTo>
                      <a:lnTo>
                        <a:pt x="758" y="1137"/>
                      </a:lnTo>
                      <a:lnTo>
                        <a:pt x="758" y="1138"/>
                      </a:lnTo>
                      <a:lnTo>
                        <a:pt x="759" y="1138"/>
                      </a:lnTo>
                      <a:lnTo>
                        <a:pt x="759" y="1137"/>
                      </a:lnTo>
                      <a:lnTo>
                        <a:pt x="758" y="1137"/>
                      </a:lnTo>
                      <a:lnTo>
                        <a:pt x="759" y="1137"/>
                      </a:lnTo>
                      <a:lnTo>
                        <a:pt x="760" y="1137"/>
                      </a:lnTo>
                      <a:lnTo>
                        <a:pt x="761" y="1137"/>
                      </a:lnTo>
                      <a:lnTo>
                        <a:pt x="761" y="1138"/>
                      </a:lnTo>
                      <a:lnTo>
                        <a:pt x="762" y="1138"/>
                      </a:lnTo>
                      <a:lnTo>
                        <a:pt x="762" y="1140"/>
                      </a:lnTo>
                      <a:lnTo>
                        <a:pt x="763" y="1140"/>
                      </a:lnTo>
                      <a:lnTo>
                        <a:pt x="763" y="1138"/>
                      </a:lnTo>
                      <a:lnTo>
                        <a:pt x="764" y="1138"/>
                      </a:lnTo>
                      <a:lnTo>
                        <a:pt x="764" y="1140"/>
                      </a:lnTo>
                      <a:lnTo>
                        <a:pt x="764" y="1137"/>
                      </a:lnTo>
                      <a:lnTo>
                        <a:pt x="766" y="1137"/>
                      </a:lnTo>
                      <a:lnTo>
                        <a:pt x="767" y="1136"/>
                      </a:lnTo>
                      <a:lnTo>
                        <a:pt x="767" y="1135"/>
                      </a:lnTo>
                      <a:lnTo>
                        <a:pt x="767" y="1132"/>
                      </a:lnTo>
                      <a:lnTo>
                        <a:pt x="767" y="1131"/>
                      </a:lnTo>
                      <a:lnTo>
                        <a:pt x="767" y="1130"/>
                      </a:lnTo>
                      <a:lnTo>
                        <a:pt x="767" y="1128"/>
                      </a:lnTo>
                      <a:lnTo>
                        <a:pt x="767" y="1127"/>
                      </a:lnTo>
                      <a:lnTo>
                        <a:pt x="768" y="1125"/>
                      </a:lnTo>
                      <a:lnTo>
                        <a:pt x="767" y="1125"/>
                      </a:lnTo>
                      <a:lnTo>
                        <a:pt x="767" y="1124"/>
                      </a:lnTo>
                      <a:lnTo>
                        <a:pt x="767" y="1123"/>
                      </a:lnTo>
                      <a:lnTo>
                        <a:pt x="766" y="1123"/>
                      </a:lnTo>
                      <a:lnTo>
                        <a:pt x="766" y="1122"/>
                      </a:lnTo>
                      <a:lnTo>
                        <a:pt x="764" y="1122"/>
                      </a:lnTo>
                      <a:lnTo>
                        <a:pt x="763" y="1123"/>
                      </a:lnTo>
                      <a:lnTo>
                        <a:pt x="762" y="1123"/>
                      </a:lnTo>
                      <a:lnTo>
                        <a:pt x="762" y="1122"/>
                      </a:lnTo>
                      <a:lnTo>
                        <a:pt x="761" y="1121"/>
                      </a:lnTo>
                      <a:lnTo>
                        <a:pt x="761" y="1120"/>
                      </a:lnTo>
                      <a:lnTo>
                        <a:pt x="761" y="1119"/>
                      </a:lnTo>
                      <a:lnTo>
                        <a:pt x="760" y="1118"/>
                      </a:lnTo>
                      <a:lnTo>
                        <a:pt x="760" y="1117"/>
                      </a:lnTo>
                      <a:lnTo>
                        <a:pt x="760" y="1116"/>
                      </a:lnTo>
                      <a:lnTo>
                        <a:pt x="759" y="1116"/>
                      </a:lnTo>
                      <a:lnTo>
                        <a:pt x="759" y="1117"/>
                      </a:lnTo>
                      <a:lnTo>
                        <a:pt x="758" y="1117"/>
                      </a:lnTo>
                      <a:lnTo>
                        <a:pt x="758" y="1116"/>
                      </a:lnTo>
                      <a:lnTo>
                        <a:pt x="758" y="1117"/>
                      </a:lnTo>
                      <a:lnTo>
                        <a:pt x="757" y="1117"/>
                      </a:lnTo>
                      <a:lnTo>
                        <a:pt x="756" y="1117"/>
                      </a:lnTo>
                      <a:lnTo>
                        <a:pt x="755" y="1117"/>
                      </a:lnTo>
                      <a:lnTo>
                        <a:pt x="753" y="1117"/>
                      </a:lnTo>
                      <a:lnTo>
                        <a:pt x="751" y="1117"/>
                      </a:lnTo>
                      <a:lnTo>
                        <a:pt x="750" y="1117"/>
                      </a:lnTo>
                      <a:lnTo>
                        <a:pt x="749" y="1117"/>
                      </a:lnTo>
                      <a:lnTo>
                        <a:pt x="748" y="1117"/>
                      </a:lnTo>
                      <a:lnTo>
                        <a:pt x="747" y="1117"/>
                      </a:lnTo>
                      <a:lnTo>
                        <a:pt x="746" y="1117"/>
                      </a:lnTo>
                      <a:lnTo>
                        <a:pt x="745" y="1117"/>
                      </a:lnTo>
                      <a:lnTo>
                        <a:pt x="745" y="1116"/>
                      </a:lnTo>
                      <a:lnTo>
                        <a:pt x="744" y="1116"/>
                      </a:lnTo>
                      <a:lnTo>
                        <a:pt x="743" y="1116"/>
                      </a:lnTo>
                      <a:lnTo>
                        <a:pt x="743" y="1115"/>
                      </a:lnTo>
                      <a:lnTo>
                        <a:pt x="744" y="1115"/>
                      </a:lnTo>
                      <a:lnTo>
                        <a:pt x="745" y="1115"/>
                      </a:lnTo>
                      <a:lnTo>
                        <a:pt x="745" y="1114"/>
                      </a:lnTo>
                      <a:lnTo>
                        <a:pt x="746" y="1114"/>
                      </a:lnTo>
                      <a:lnTo>
                        <a:pt x="747" y="1114"/>
                      </a:lnTo>
                      <a:lnTo>
                        <a:pt x="747" y="1115"/>
                      </a:lnTo>
                      <a:lnTo>
                        <a:pt x="748" y="1115"/>
                      </a:lnTo>
                      <a:lnTo>
                        <a:pt x="748" y="1116"/>
                      </a:lnTo>
                      <a:lnTo>
                        <a:pt x="748" y="1115"/>
                      </a:lnTo>
                      <a:lnTo>
                        <a:pt x="749" y="1114"/>
                      </a:lnTo>
                      <a:lnTo>
                        <a:pt x="750" y="1114"/>
                      </a:lnTo>
                      <a:lnTo>
                        <a:pt x="751" y="1114"/>
                      </a:lnTo>
                      <a:lnTo>
                        <a:pt x="753" y="1114"/>
                      </a:lnTo>
                      <a:lnTo>
                        <a:pt x="754" y="1114"/>
                      </a:lnTo>
                      <a:lnTo>
                        <a:pt x="755" y="1114"/>
                      </a:lnTo>
                      <a:lnTo>
                        <a:pt x="755" y="1112"/>
                      </a:lnTo>
                      <a:lnTo>
                        <a:pt x="756" y="1112"/>
                      </a:lnTo>
                      <a:lnTo>
                        <a:pt x="756" y="1111"/>
                      </a:lnTo>
                      <a:lnTo>
                        <a:pt x="758" y="1111"/>
                      </a:lnTo>
                      <a:lnTo>
                        <a:pt x="759" y="1111"/>
                      </a:lnTo>
                      <a:lnTo>
                        <a:pt x="760" y="1110"/>
                      </a:lnTo>
                      <a:lnTo>
                        <a:pt x="760" y="1109"/>
                      </a:lnTo>
                      <a:lnTo>
                        <a:pt x="759" y="1109"/>
                      </a:lnTo>
                      <a:lnTo>
                        <a:pt x="759" y="1108"/>
                      </a:lnTo>
                      <a:lnTo>
                        <a:pt x="758" y="1108"/>
                      </a:lnTo>
                      <a:lnTo>
                        <a:pt x="757" y="1108"/>
                      </a:lnTo>
                      <a:lnTo>
                        <a:pt x="756" y="1108"/>
                      </a:lnTo>
                      <a:lnTo>
                        <a:pt x="756" y="1109"/>
                      </a:lnTo>
                      <a:lnTo>
                        <a:pt x="756" y="1108"/>
                      </a:lnTo>
                      <a:lnTo>
                        <a:pt x="755" y="1107"/>
                      </a:lnTo>
                      <a:lnTo>
                        <a:pt x="753" y="1106"/>
                      </a:lnTo>
                      <a:lnTo>
                        <a:pt x="751" y="1105"/>
                      </a:lnTo>
                      <a:lnTo>
                        <a:pt x="750" y="1104"/>
                      </a:lnTo>
                      <a:lnTo>
                        <a:pt x="748" y="1104"/>
                      </a:lnTo>
                      <a:lnTo>
                        <a:pt x="748" y="1105"/>
                      </a:lnTo>
                      <a:lnTo>
                        <a:pt x="747" y="1105"/>
                      </a:lnTo>
                      <a:lnTo>
                        <a:pt x="747" y="1106"/>
                      </a:lnTo>
                      <a:lnTo>
                        <a:pt x="746" y="1106"/>
                      </a:lnTo>
                      <a:lnTo>
                        <a:pt x="746" y="1105"/>
                      </a:lnTo>
                      <a:lnTo>
                        <a:pt x="747" y="1105"/>
                      </a:lnTo>
                      <a:lnTo>
                        <a:pt x="747" y="1104"/>
                      </a:lnTo>
                      <a:lnTo>
                        <a:pt x="747" y="1103"/>
                      </a:lnTo>
                      <a:lnTo>
                        <a:pt x="747" y="1104"/>
                      </a:lnTo>
                      <a:lnTo>
                        <a:pt x="747" y="1105"/>
                      </a:lnTo>
                      <a:lnTo>
                        <a:pt x="746" y="1104"/>
                      </a:lnTo>
                      <a:lnTo>
                        <a:pt x="746" y="1105"/>
                      </a:lnTo>
                      <a:lnTo>
                        <a:pt x="746" y="1106"/>
                      </a:lnTo>
                      <a:lnTo>
                        <a:pt x="745" y="1107"/>
                      </a:lnTo>
                      <a:lnTo>
                        <a:pt x="744" y="1105"/>
                      </a:lnTo>
                      <a:lnTo>
                        <a:pt x="743" y="1104"/>
                      </a:lnTo>
                      <a:lnTo>
                        <a:pt x="743" y="1103"/>
                      </a:lnTo>
                      <a:lnTo>
                        <a:pt x="742" y="1103"/>
                      </a:lnTo>
                      <a:lnTo>
                        <a:pt x="741" y="1103"/>
                      </a:lnTo>
                      <a:lnTo>
                        <a:pt x="740" y="1104"/>
                      </a:lnTo>
                      <a:lnTo>
                        <a:pt x="738" y="1105"/>
                      </a:lnTo>
                      <a:lnTo>
                        <a:pt x="737" y="1105"/>
                      </a:lnTo>
                      <a:lnTo>
                        <a:pt x="737" y="1104"/>
                      </a:lnTo>
                      <a:lnTo>
                        <a:pt x="738" y="1103"/>
                      </a:lnTo>
                      <a:lnTo>
                        <a:pt x="740" y="1102"/>
                      </a:lnTo>
                      <a:lnTo>
                        <a:pt x="741" y="1102"/>
                      </a:lnTo>
                      <a:lnTo>
                        <a:pt x="742" y="1102"/>
                      </a:lnTo>
                      <a:lnTo>
                        <a:pt x="743" y="1102"/>
                      </a:lnTo>
                      <a:lnTo>
                        <a:pt x="743" y="1103"/>
                      </a:lnTo>
                      <a:lnTo>
                        <a:pt x="744" y="1103"/>
                      </a:lnTo>
                      <a:lnTo>
                        <a:pt x="745" y="1103"/>
                      </a:lnTo>
                      <a:lnTo>
                        <a:pt x="747" y="1102"/>
                      </a:lnTo>
                      <a:lnTo>
                        <a:pt x="748" y="1101"/>
                      </a:lnTo>
                      <a:lnTo>
                        <a:pt x="749" y="1101"/>
                      </a:lnTo>
                      <a:lnTo>
                        <a:pt x="749" y="1099"/>
                      </a:lnTo>
                      <a:lnTo>
                        <a:pt x="750" y="1099"/>
                      </a:lnTo>
                      <a:lnTo>
                        <a:pt x="750" y="1101"/>
                      </a:lnTo>
                      <a:lnTo>
                        <a:pt x="751" y="1102"/>
                      </a:lnTo>
                      <a:lnTo>
                        <a:pt x="753" y="1102"/>
                      </a:lnTo>
                      <a:lnTo>
                        <a:pt x="754" y="1102"/>
                      </a:lnTo>
                      <a:lnTo>
                        <a:pt x="754" y="1103"/>
                      </a:lnTo>
                      <a:lnTo>
                        <a:pt x="755" y="1103"/>
                      </a:lnTo>
                      <a:lnTo>
                        <a:pt x="756" y="1103"/>
                      </a:lnTo>
                      <a:lnTo>
                        <a:pt x="757" y="1103"/>
                      </a:lnTo>
                      <a:lnTo>
                        <a:pt x="757" y="1102"/>
                      </a:lnTo>
                      <a:lnTo>
                        <a:pt x="757" y="1098"/>
                      </a:lnTo>
                      <a:lnTo>
                        <a:pt x="756" y="1097"/>
                      </a:lnTo>
                      <a:lnTo>
                        <a:pt x="755" y="1098"/>
                      </a:lnTo>
                      <a:lnTo>
                        <a:pt x="754" y="1098"/>
                      </a:lnTo>
                      <a:lnTo>
                        <a:pt x="754" y="1097"/>
                      </a:lnTo>
                      <a:lnTo>
                        <a:pt x="754" y="1096"/>
                      </a:lnTo>
                      <a:lnTo>
                        <a:pt x="753" y="1096"/>
                      </a:lnTo>
                      <a:lnTo>
                        <a:pt x="753" y="1095"/>
                      </a:lnTo>
                      <a:lnTo>
                        <a:pt x="753" y="1094"/>
                      </a:lnTo>
                      <a:lnTo>
                        <a:pt x="751" y="1094"/>
                      </a:lnTo>
                      <a:lnTo>
                        <a:pt x="750" y="1094"/>
                      </a:lnTo>
                      <a:lnTo>
                        <a:pt x="749" y="1094"/>
                      </a:lnTo>
                      <a:lnTo>
                        <a:pt x="748" y="1093"/>
                      </a:lnTo>
                      <a:lnTo>
                        <a:pt x="747" y="1093"/>
                      </a:lnTo>
                      <a:lnTo>
                        <a:pt x="747" y="1094"/>
                      </a:lnTo>
                      <a:lnTo>
                        <a:pt x="746" y="1094"/>
                      </a:lnTo>
                      <a:lnTo>
                        <a:pt x="745" y="1094"/>
                      </a:lnTo>
                      <a:lnTo>
                        <a:pt x="744" y="1094"/>
                      </a:lnTo>
                      <a:lnTo>
                        <a:pt x="743" y="1095"/>
                      </a:lnTo>
                      <a:lnTo>
                        <a:pt x="742" y="1095"/>
                      </a:lnTo>
                      <a:lnTo>
                        <a:pt x="742" y="1096"/>
                      </a:lnTo>
                      <a:lnTo>
                        <a:pt x="742" y="1095"/>
                      </a:lnTo>
                      <a:lnTo>
                        <a:pt x="741" y="1095"/>
                      </a:lnTo>
                      <a:lnTo>
                        <a:pt x="741" y="1094"/>
                      </a:lnTo>
                      <a:lnTo>
                        <a:pt x="740" y="1094"/>
                      </a:lnTo>
                      <a:lnTo>
                        <a:pt x="738" y="1095"/>
                      </a:lnTo>
                      <a:lnTo>
                        <a:pt x="737" y="1095"/>
                      </a:lnTo>
                      <a:lnTo>
                        <a:pt x="738" y="1093"/>
                      </a:lnTo>
                      <a:lnTo>
                        <a:pt x="738" y="1094"/>
                      </a:lnTo>
                      <a:lnTo>
                        <a:pt x="738" y="1093"/>
                      </a:lnTo>
                      <a:lnTo>
                        <a:pt x="740" y="1093"/>
                      </a:lnTo>
                      <a:lnTo>
                        <a:pt x="740" y="1092"/>
                      </a:lnTo>
                      <a:lnTo>
                        <a:pt x="741" y="1092"/>
                      </a:lnTo>
                      <a:lnTo>
                        <a:pt x="741" y="1091"/>
                      </a:lnTo>
                      <a:lnTo>
                        <a:pt x="741" y="1090"/>
                      </a:lnTo>
                      <a:lnTo>
                        <a:pt x="742" y="1090"/>
                      </a:lnTo>
                      <a:lnTo>
                        <a:pt x="742" y="1091"/>
                      </a:lnTo>
                      <a:lnTo>
                        <a:pt x="743" y="1091"/>
                      </a:lnTo>
                      <a:lnTo>
                        <a:pt x="743" y="1092"/>
                      </a:lnTo>
                      <a:lnTo>
                        <a:pt x="743" y="1091"/>
                      </a:lnTo>
                      <a:lnTo>
                        <a:pt x="744" y="1091"/>
                      </a:lnTo>
                      <a:lnTo>
                        <a:pt x="744" y="1090"/>
                      </a:lnTo>
                      <a:lnTo>
                        <a:pt x="745" y="1090"/>
                      </a:lnTo>
                      <a:lnTo>
                        <a:pt x="746" y="1090"/>
                      </a:lnTo>
                      <a:lnTo>
                        <a:pt x="746" y="1089"/>
                      </a:lnTo>
                      <a:lnTo>
                        <a:pt x="747" y="1089"/>
                      </a:lnTo>
                      <a:lnTo>
                        <a:pt x="748" y="1089"/>
                      </a:lnTo>
                      <a:lnTo>
                        <a:pt x="748" y="1090"/>
                      </a:lnTo>
                      <a:lnTo>
                        <a:pt x="749" y="1090"/>
                      </a:lnTo>
                      <a:lnTo>
                        <a:pt x="749" y="1091"/>
                      </a:lnTo>
                      <a:lnTo>
                        <a:pt x="750" y="1092"/>
                      </a:lnTo>
                      <a:lnTo>
                        <a:pt x="750" y="1091"/>
                      </a:lnTo>
                      <a:lnTo>
                        <a:pt x="751" y="1090"/>
                      </a:lnTo>
                      <a:lnTo>
                        <a:pt x="753" y="1090"/>
                      </a:lnTo>
                      <a:lnTo>
                        <a:pt x="754" y="1089"/>
                      </a:lnTo>
                      <a:lnTo>
                        <a:pt x="754" y="1088"/>
                      </a:lnTo>
                      <a:lnTo>
                        <a:pt x="753" y="1086"/>
                      </a:lnTo>
                      <a:lnTo>
                        <a:pt x="753" y="1085"/>
                      </a:lnTo>
                      <a:lnTo>
                        <a:pt x="751" y="1085"/>
                      </a:lnTo>
                      <a:lnTo>
                        <a:pt x="750" y="1085"/>
                      </a:lnTo>
                      <a:lnTo>
                        <a:pt x="750" y="1086"/>
                      </a:lnTo>
                      <a:lnTo>
                        <a:pt x="750" y="1088"/>
                      </a:lnTo>
                      <a:lnTo>
                        <a:pt x="749" y="1088"/>
                      </a:lnTo>
                      <a:lnTo>
                        <a:pt x="749" y="1089"/>
                      </a:lnTo>
                      <a:lnTo>
                        <a:pt x="749" y="1088"/>
                      </a:lnTo>
                      <a:lnTo>
                        <a:pt x="749" y="1086"/>
                      </a:lnTo>
                      <a:lnTo>
                        <a:pt x="749" y="1085"/>
                      </a:lnTo>
                      <a:lnTo>
                        <a:pt x="750" y="1085"/>
                      </a:lnTo>
                      <a:lnTo>
                        <a:pt x="751" y="1082"/>
                      </a:lnTo>
                      <a:lnTo>
                        <a:pt x="750" y="1081"/>
                      </a:lnTo>
                      <a:lnTo>
                        <a:pt x="750" y="1080"/>
                      </a:lnTo>
                      <a:lnTo>
                        <a:pt x="749" y="1081"/>
                      </a:lnTo>
                      <a:lnTo>
                        <a:pt x="749" y="1080"/>
                      </a:lnTo>
                      <a:lnTo>
                        <a:pt x="748" y="1080"/>
                      </a:lnTo>
                      <a:lnTo>
                        <a:pt x="748" y="1081"/>
                      </a:lnTo>
                      <a:lnTo>
                        <a:pt x="748" y="1080"/>
                      </a:lnTo>
                      <a:lnTo>
                        <a:pt x="748" y="1079"/>
                      </a:lnTo>
                      <a:lnTo>
                        <a:pt x="749" y="1079"/>
                      </a:lnTo>
                      <a:lnTo>
                        <a:pt x="750" y="1079"/>
                      </a:lnTo>
                      <a:lnTo>
                        <a:pt x="750" y="1078"/>
                      </a:lnTo>
                      <a:lnTo>
                        <a:pt x="749" y="1078"/>
                      </a:lnTo>
                      <a:lnTo>
                        <a:pt x="750" y="1077"/>
                      </a:lnTo>
                      <a:lnTo>
                        <a:pt x="750" y="1078"/>
                      </a:lnTo>
                      <a:lnTo>
                        <a:pt x="750" y="1077"/>
                      </a:lnTo>
                      <a:lnTo>
                        <a:pt x="750" y="1076"/>
                      </a:lnTo>
                      <a:lnTo>
                        <a:pt x="751" y="1074"/>
                      </a:lnTo>
                      <a:lnTo>
                        <a:pt x="751" y="1073"/>
                      </a:lnTo>
                      <a:lnTo>
                        <a:pt x="751" y="1072"/>
                      </a:lnTo>
                      <a:lnTo>
                        <a:pt x="751" y="1070"/>
                      </a:lnTo>
                      <a:lnTo>
                        <a:pt x="750" y="1070"/>
                      </a:lnTo>
                      <a:lnTo>
                        <a:pt x="750" y="1071"/>
                      </a:lnTo>
                      <a:lnTo>
                        <a:pt x="750" y="1072"/>
                      </a:lnTo>
                      <a:lnTo>
                        <a:pt x="749" y="1072"/>
                      </a:lnTo>
                      <a:lnTo>
                        <a:pt x="749" y="1071"/>
                      </a:lnTo>
                      <a:lnTo>
                        <a:pt x="750" y="1071"/>
                      </a:lnTo>
                      <a:lnTo>
                        <a:pt x="750" y="1070"/>
                      </a:lnTo>
                      <a:lnTo>
                        <a:pt x="749" y="1069"/>
                      </a:lnTo>
                      <a:lnTo>
                        <a:pt x="748" y="1069"/>
                      </a:lnTo>
                      <a:lnTo>
                        <a:pt x="747" y="1069"/>
                      </a:lnTo>
                      <a:lnTo>
                        <a:pt x="747" y="1070"/>
                      </a:lnTo>
                      <a:lnTo>
                        <a:pt x="748" y="1072"/>
                      </a:lnTo>
                      <a:lnTo>
                        <a:pt x="749" y="1072"/>
                      </a:lnTo>
                      <a:lnTo>
                        <a:pt x="749" y="1073"/>
                      </a:lnTo>
                      <a:lnTo>
                        <a:pt x="749" y="1074"/>
                      </a:lnTo>
                      <a:lnTo>
                        <a:pt x="748" y="1074"/>
                      </a:lnTo>
                      <a:lnTo>
                        <a:pt x="747" y="1074"/>
                      </a:lnTo>
                      <a:lnTo>
                        <a:pt x="745" y="1074"/>
                      </a:lnTo>
                      <a:lnTo>
                        <a:pt x="744" y="1074"/>
                      </a:lnTo>
                      <a:lnTo>
                        <a:pt x="743" y="1074"/>
                      </a:lnTo>
                      <a:lnTo>
                        <a:pt x="743" y="1073"/>
                      </a:lnTo>
                      <a:lnTo>
                        <a:pt x="744" y="1073"/>
                      </a:lnTo>
                      <a:lnTo>
                        <a:pt x="744" y="1072"/>
                      </a:lnTo>
                      <a:lnTo>
                        <a:pt x="744" y="1071"/>
                      </a:lnTo>
                      <a:lnTo>
                        <a:pt x="744" y="1070"/>
                      </a:lnTo>
                      <a:lnTo>
                        <a:pt x="743" y="1069"/>
                      </a:lnTo>
                      <a:lnTo>
                        <a:pt x="742" y="1069"/>
                      </a:lnTo>
                      <a:lnTo>
                        <a:pt x="742" y="1068"/>
                      </a:lnTo>
                      <a:lnTo>
                        <a:pt x="741" y="1067"/>
                      </a:lnTo>
                      <a:lnTo>
                        <a:pt x="741" y="1066"/>
                      </a:lnTo>
                      <a:lnTo>
                        <a:pt x="742" y="1066"/>
                      </a:lnTo>
                      <a:lnTo>
                        <a:pt x="743" y="1066"/>
                      </a:lnTo>
                      <a:lnTo>
                        <a:pt x="743" y="1067"/>
                      </a:lnTo>
                      <a:lnTo>
                        <a:pt x="744" y="1067"/>
                      </a:lnTo>
                      <a:lnTo>
                        <a:pt x="745" y="1067"/>
                      </a:lnTo>
                      <a:lnTo>
                        <a:pt x="746" y="1066"/>
                      </a:lnTo>
                      <a:lnTo>
                        <a:pt x="747" y="1066"/>
                      </a:lnTo>
                      <a:lnTo>
                        <a:pt x="747" y="1065"/>
                      </a:lnTo>
                      <a:lnTo>
                        <a:pt x="747" y="1064"/>
                      </a:lnTo>
                      <a:lnTo>
                        <a:pt x="748" y="1064"/>
                      </a:lnTo>
                      <a:lnTo>
                        <a:pt x="748" y="1063"/>
                      </a:lnTo>
                      <a:lnTo>
                        <a:pt x="748" y="1061"/>
                      </a:lnTo>
                      <a:lnTo>
                        <a:pt x="749" y="1061"/>
                      </a:lnTo>
                      <a:lnTo>
                        <a:pt x="750" y="1063"/>
                      </a:lnTo>
                      <a:lnTo>
                        <a:pt x="750" y="1064"/>
                      </a:lnTo>
                      <a:lnTo>
                        <a:pt x="750" y="1065"/>
                      </a:lnTo>
                      <a:lnTo>
                        <a:pt x="750" y="1066"/>
                      </a:lnTo>
                      <a:lnTo>
                        <a:pt x="750" y="1067"/>
                      </a:lnTo>
                      <a:lnTo>
                        <a:pt x="750" y="1068"/>
                      </a:lnTo>
                      <a:lnTo>
                        <a:pt x="751" y="1069"/>
                      </a:lnTo>
                      <a:lnTo>
                        <a:pt x="753" y="1069"/>
                      </a:lnTo>
                      <a:lnTo>
                        <a:pt x="754" y="1069"/>
                      </a:lnTo>
                      <a:lnTo>
                        <a:pt x="754" y="1070"/>
                      </a:lnTo>
                      <a:lnTo>
                        <a:pt x="755" y="1070"/>
                      </a:lnTo>
                      <a:lnTo>
                        <a:pt x="756" y="1070"/>
                      </a:lnTo>
                      <a:lnTo>
                        <a:pt x="755" y="1070"/>
                      </a:lnTo>
                      <a:lnTo>
                        <a:pt x="755" y="1069"/>
                      </a:lnTo>
                      <a:lnTo>
                        <a:pt x="755" y="1068"/>
                      </a:lnTo>
                      <a:lnTo>
                        <a:pt x="756" y="1067"/>
                      </a:lnTo>
                      <a:lnTo>
                        <a:pt x="756" y="1066"/>
                      </a:lnTo>
                      <a:lnTo>
                        <a:pt x="757" y="1066"/>
                      </a:lnTo>
                      <a:lnTo>
                        <a:pt x="756" y="1065"/>
                      </a:lnTo>
                      <a:lnTo>
                        <a:pt x="757" y="1064"/>
                      </a:lnTo>
                      <a:lnTo>
                        <a:pt x="757" y="1063"/>
                      </a:lnTo>
                      <a:lnTo>
                        <a:pt x="757" y="1061"/>
                      </a:lnTo>
                      <a:lnTo>
                        <a:pt x="757" y="1060"/>
                      </a:lnTo>
                      <a:lnTo>
                        <a:pt x="757" y="1059"/>
                      </a:lnTo>
                      <a:lnTo>
                        <a:pt x="758" y="1059"/>
                      </a:lnTo>
                      <a:lnTo>
                        <a:pt x="759" y="1058"/>
                      </a:lnTo>
                      <a:lnTo>
                        <a:pt x="760" y="1058"/>
                      </a:lnTo>
                      <a:lnTo>
                        <a:pt x="761" y="1058"/>
                      </a:lnTo>
                      <a:lnTo>
                        <a:pt x="762" y="1057"/>
                      </a:lnTo>
                      <a:lnTo>
                        <a:pt x="763" y="1056"/>
                      </a:lnTo>
                      <a:lnTo>
                        <a:pt x="764" y="1056"/>
                      </a:lnTo>
                      <a:lnTo>
                        <a:pt x="764" y="1055"/>
                      </a:lnTo>
                      <a:lnTo>
                        <a:pt x="766" y="1055"/>
                      </a:lnTo>
                      <a:lnTo>
                        <a:pt x="766" y="1054"/>
                      </a:lnTo>
                      <a:lnTo>
                        <a:pt x="764" y="1053"/>
                      </a:lnTo>
                      <a:lnTo>
                        <a:pt x="764" y="1052"/>
                      </a:lnTo>
                      <a:lnTo>
                        <a:pt x="764" y="1051"/>
                      </a:lnTo>
                      <a:lnTo>
                        <a:pt x="764" y="1050"/>
                      </a:lnTo>
                      <a:lnTo>
                        <a:pt x="763" y="1048"/>
                      </a:lnTo>
                      <a:lnTo>
                        <a:pt x="762" y="1048"/>
                      </a:lnTo>
                      <a:lnTo>
                        <a:pt x="761" y="1048"/>
                      </a:lnTo>
                      <a:lnTo>
                        <a:pt x="759" y="1048"/>
                      </a:lnTo>
                      <a:lnTo>
                        <a:pt x="759" y="1050"/>
                      </a:lnTo>
                      <a:lnTo>
                        <a:pt x="758" y="1051"/>
                      </a:lnTo>
                      <a:lnTo>
                        <a:pt x="757" y="1051"/>
                      </a:lnTo>
                      <a:lnTo>
                        <a:pt x="756" y="1052"/>
                      </a:lnTo>
                      <a:lnTo>
                        <a:pt x="756" y="1053"/>
                      </a:lnTo>
                      <a:lnTo>
                        <a:pt x="755" y="1054"/>
                      </a:lnTo>
                      <a:lnTo>
                        <a:pt x="755" y="1055"/>
                      </a:lnTo>
                      <a:lnTo>
                        <a:pt x="755" y="1056"/>
                      </a:lnTo>
                      <a:lnTo>
                        <a:pt x="754" y="1056"/>
                      </a:lnTo>
                      <a:lnTo>
                        <a:pt x="754" y="1057"/>
                      </a:lnTo>
                      <a:lnTo>
                        <a:pt x="753" y="1056"/>
                      </a:lnTo>
                      <a:lnTo>
                        <a:pt x="751" y="1056"/>
                      </a:lnTo>
                      <a:lnTo>
                        <a:pt x="751" y="1055"/>
                      </a:lnTo>
                      <a:lnTo>
                        <a:pt x="753" y="1054"/>
                      </a:lnTo>
                      <a:lnTo>
                        <a:pt x="754" y="1053"/>
                      </a:lnTo>
                      <a:lnTo>
                        <a:pt x="755" y="1051"/>
                      </a:lnTo>
                      <a:lnTo>
                        <a:pt x="756" y="1050"/>
                      </a:lnTo>
                      <a:lnTo>
                        <a:pt x="756" y="1048"/>
                      </a:lnTo>
                      <a:lnTo>
                        <a:pt x="755" y="1047"/>
                      </a:lnTo>
                      <a:lnTo>
                        <a:pt x="755" y="1046"/>
                      </a:lnTo>
                      <a:lnTo>
                        <a:pt x="755" y="1045"/>
                      </a:lnTo>
                      <a:lnTo>
                        <a:pt x="755" y="1044"/>
                      </a:lnTo>
                      <a:lnTo>
                        <a:pt x="755" y="1043"/>
                      </a:lnTo>
                      <a:lnTo>
                        <a:pt x="754" y="1043"/>
                      </a:lnTo>
                      <a:lnTo>
                        <a:pt x="755" y="1043"/>
                      </a:lnTo>
                      <a:lnTo>
                        <a:pt x="754" y="1042"/>
                      </a:lnTo>
                      <a:lnTo>
                        <a:pt x="755" y="1041"/>
                      </a:lnTo>
                      <a:lnTo>
                        <a:pt x="755" y="1039"/>
                      </a:lnTo>
                      <a:lnTo>
                        <a:pt x="754" y="1039"/>
                      </a:lnTo>
                      <a:lnTo>
                        <a:pt x="754" y="1038"/>
                      </a:lnTo>
                      <a:lnTo>
                        <a:pt x="754" y="1037"/>
                      </a:lnTo>
                      <a:lnTo>
                        <a:pt x="753" y="1037"/>
                      </a:lnTo>
                      <a:lnTo>
                        <a:pt x="753" y="1035"/>
                      </a:lnTo>
                      <a:lnTo>
                        <a:pt x="753" y="1034"/>
                      </a:lnTo>
                      <a:lnTo>
                        <a:pt x="751" y="1034"/>
                      </a:lnTo>
                      <a:lnTo>
                        <a:pt x="751" y="1033"/>
                      </a:lnTo>
                      <a:lnTo>
                        <a:pt x="750" y="1032"/>
                      </a:lnTo>
                      <a:lnTo>
                        <a:pt x="749" y="1032"/>
                      </a:lnTo>
                      <a:lnTo>
                        <a:pt x="748" y="1032"/>
                      </a:lnTo>
                      <a:lnTo>
                        <a:pt x="747" y="1032"/>
                      </a:lnTo>
                      <a:lnTo>
                        <a:pt x="746" y="1032"/>
                      </a:lnTo>
                      <a:lnTo>
                        <a:pt x="745" y="1032"/>
                      </a:lnTo>
                      <a:lnTo>
                        <a:pt x="745" y="1031"/>
                      </a:lnTo>
                      <a:lnTo>
                        <a:pt x="745" y="1030"/>
                      </a:lnTo>
                      <a:lnTo>
                        <a:pt x="744" y="1029"/>
                      </a:lnTo>
                      <a:lnTo>
                        <a:pt x="743" y="1028"/>
                      </a:lnTo>
                      <a:lnTo>
                        <a:pt x="742" y="1027"/>
                      </a:lnTo>
                      <a:lnTo>
                        <a:pt x="741" y="1027"/>
                      </a:lnTo>
                      <a:lnTo>
                        <a:pt x="740" y="1027"/>
                      </a:lnTo>
                      <a:lnTo>
                        <a:pt x="738" y="1027"/>
                      </a:lnTo>
                      <a:lnTo>
                        <a:pt x="737" y="1027"/>
                      </a:lnTo>
                      <a:lnTo>
                        <a:pt x="737" y="1028"/>
                      </a:lnTo>
                      <a:lnTo>
                        <a:pt x="737" y="1029"/>
                      </a:lnTo>
                      <a:lnTo>
                        <a:pt x="737" y="1030"/>
                      </a:lnTo>
                      <a:lnTo>
                        <a:pt x="736" y="1031"/>
                      </a:lnTo>
                      <a:lnTo>
                        <a:pt x="735" y="1031"/>
                      </a:lnTo>
                      <a:lnTo>
                        <a:pt x="735" y="1032"/>
                      </a:lnTo>
                      <a:lnTo>
                        <a:pt x="736" y="1033"/>
                      </a:lnTo>
                      <a:lnTo>
                        <a:pt x="736" y="1034"/>
                      </a:lnTo>
                      <a:lnTo>
                        <a:pt x="736" y="1037"/>
                      </a:lnTo>
                      <a:lnTo>
                        <a:pt x="736" y="1038"/>
                      </a:lnTo>
                      <a:lnTo>
                        <a:pt x="737" y="1039"/>
                      </a:lnTo>
                      <a:lnTo>
                        <a:pt x="738" y="1039"/>
                      </a:lnTo>
                      <a:lnTo>
                        <a:pt x="737" y="1040"/>
                      </a:lnTo>
                      <a:lnTo>
                        <a:pt x="736" y="1040"/>
                      </a:lnTo>
                      <a:lnTo>
                        <a:pt x="735" y="1041"/>
                      </a:lnTo>
                      <a:lnTo>
                        <a:pt x="735" y="1042"/>
                      </a:lnTo>
                      <a:lnTo>
                        <a:pt x="736" y="1042"/>
                      </a:lnTo>
                      <a:lnTo>
                        <a:pt x="735" y="1045"/>
                      </a:lnTo>
                      <a:lnTo>
                        <a:pt x="736" y="1045"/>
                      </a:lnTo>
                      <a:lnTo>
                        <a:pt x="736" y="1046"/>
                      </a:lnTo>
                      <a:lnTo>
                        <a:pt x="737" y="1047"/>
                      </a:lnTo>
                      <a:lnTo>
                        <a:pt x="737" y="1048"/>
                      </a:lnTo>
                      <a:lnTo>
                        <a:pt x="737" y="1050"/>
                      </a:lnTo>
                      <a:lnTo>
                        <a:pt x="737" y="1053"/>
                      </a:lnTo>
                      <a:lnTo>
                        <a:pt x="736" y="1055"/>
                      </a:lnTo>
                      <a:lnTo>
                        <a:pt x="737" y="1055"/>
                      </a:lnTo>
                      <a:lnTo>
                        <a:pt x="737" y="1056"/>
                      </a:lnTo>
                      <a:lnTo>
                        <a:pt x="736" y="1057"/>
                      </a:lnTo>
                      <a:lnTo>
                        <a:pt x="736" y="1059"/>
                      </a:lnTo>
                      <a:lnTo>
                        <a:pt x="735" y="1058"/>
                      </a:lnTo>
                      <a:lnTo>
                        <a:pt x="735" y="1057"/>
                      </a:lnTo>
                      <a:lnTo>
                        <a:pt x="735" y="1056"/>
                      </a:lnTo>
                      <a:lnTo>
                        <a:pt x="734" y="1055"/>
                      </a:lnTo>
                      <a:lnTo>
                        <a:pt x="734" y="1054"/>
                      </a:lnTo>
                      <a:lnTo>
                        <a:pt x="734" y="1053"/>
                      </a:lnTo>
                      <a:lnTo>
                        <a:pt x="734" y="1052"/>
                      </a:lnTo>
                      <a:lnTo>
                        <a:pt x="733" y="1051"/>
                      </a:lnTo>
                      <a:lnTo>
                        <a:pt x="733" y="1050"/>
                      </a:lnTo>
                      <a:lnTo>
                        <a:pt x="733" y="1048"/>
                      </a:lnTo>
                      <a:lnTo>
                        <a:pt x="733" y="1047"/>
                      </a:lnTo>
                      <a:lnTo>
                        <a:pt x="733" y="1046"/>
                      </a:lnTo>
                      <a:lnTo>
                        <a:pt x="733" y="1045"/>
                      </a:lnTo>
                      <a:lnTo>
                        <a:pt x="732" y="1045"/>
                      </a:lnTo>
                      <a:lnTo>
                        <a:pt x="731" y="1045"/>
                      </a:lnTo>
                      <a:lnTo>
                        <a:pt x="730" y="1044"/>
                      </a:lnTo>
                      <a:lnTo>
                        <a:pt x="730" y="1043"/>
                      </a:lnTo>
                      <a:lnTo>
                        <a:pt x="730" y="1042"/>
                      </a:lnTo>
                      <a:lnTo>
                        <a:pt x="730" y="1041"/>
                      </a:lnTo>
                      <a:lnTo>
                        <a:pt x="730" y="1040"/>
                      </a:lnTo>
                      <a:lnTo>
                        <a:pt x="729" y="1040"/>
                      </a:lnTo>
                      <a:lnTo>
                        <a:pt x="728" y="1040"/>
                      </a:lnTo>
                      <a:lnTo>
                        <a:pt x="728" y="1039"/>
                      </a:lnTo>
                      <a:lnTo>
                        <a:pt x="728" y="1038"/>
                      </a:lnTo>
                      <a:lnTo>
                        <a:pt x="728" y="1037"/>
                      </a:lnTo>
                      <a:lnTo>
                        <a:pt x="727" y="1034"/>
                      </a:lnTo>
                      <a:lnTo>
                        <a:pt x="727" y="1033"/>
                      </a:lnTo>
                      <a:lnTo>
                        <a:pt x="727" y="1032"/>
                      </a:lnTo>
                      <a:lnTo>
                        <a:pt x="725" y="1032"/>
                      </a:lnTo>
                      <a:lnTo>
                        <a:pt x="725" y="1031"/>
                      </a:lnTo>
                      <a:lnTo>
                        <a:pt x="725" y="1030"/>
                      </a:lnTo>
                      <a:lnTo>
                        <a:pt x="724" y="1030"/>
                      </a:lnTo>
                      <a:lnTo>
                        <a:pt x="724" y="1029"/>
                      </a:lnTo>
                      <a:lnTo>
                        <a:pt x="723" y="1028"/>
                      </a:lnTo>
                      <a:lnTo>
                        <a:pt x="724" y="1027"/>
                      </a:lnTo>
                      <a:lnTo>
                        <a:pt x="723" y="1026"/>
                      </a:lnTo>
                      <a:lnTo>
                        <a:pt x="722" y="1026"/>
                      </a:lnTo>
                      <a:lnTo>
                        <a:pt x="722" y="1025"/>
                      </a:lnTo>
                      <a:lnTo>
                        <a:pt x="721" y="1024"/>
                      </a:lnTo>
                      <a:lnTo>
                        <a:pt x="720" y="1024"/>
                      </a:lnTo>
                      <a:lnTo>
                        <a:pt x="720" y="1025"/>
                      </a:lnTo>
                      <a:lnTo>
                        <a:pt x="720" y="1026"/>
                      </a:lnTo>
                      <a:lnTo>
                        <a:pt x="719" y="1026"/>
                      </a:lnTo>
                      <a:lnTo>
                        <a:pt x="718" y="1026"/>
                      </a:lnTo>
                      <a:lnTo>
                        <a:pt x="718" y="1025"/>
                      </a:lnTo>
                      <a:lnTo>
                        <a:pt x="717" y="1025"/>
                      </a:lnTo>
                      <a:lnTo>
                        <a:pt x="717" y="1024"/>
                      </a:lnTo>
                      <a:lnTo>
                        <a:pt x="717" y="1022"/>
                      </a:lnTo>
                      <a:lnTo>
                        <a:pt x="716" y="1021"/>
                      </a:lnTo>
                      <a:lnTo>
                        <a:pt x="716" y="1020"/>
                      </a:lnTo>
                      <a:lnTo>
                        <a:pt x="715" y="1020"/>
                      </a:lnTo>
                      <a:lnTo>
                        <a:pt x="715" y="1022"/>
                      </a:lnTo>
                      <a:lnTo>
                        <a:pt x="713" y="1022"/>
                      </a:lnTo>
                      <a:lnTo>
                        <a:pt x="712" y="1024"/>
                      </a:lnTo>
                      <a:lnTo>
                        <a:pt x="711" y="1022"/>
                      </a:lnTo>
                      <a:lnTo>
                        <a:pt x="712" y="1022"/>
                      </a:lnTo>
                      <a:lnTo>
                        <a:pt x="712" y="1021"/>
                      </a:lnTo>
                      <a:lnTo>
                        <a:pt x="712" y="1020"/>
                      </a:lnTo>
                      <a:lnTo>
                        <a:pt x="712" y="1019"/>
                      </a:lnTo>
                      <a:lnTo>
                        <a:pt x="712" y="1018"/>
                      </a:lnTo>
                      <a:lnTo>
                        <a:pt x="712" y="1017"/>
                      </a:lnTo>
                      <a:lnTo>
                        <a:pt x="712" y="1016"/>
                      </a:lnTo>
                      <a:lnTo>
                        <a:pt x="713" y="1016"/>
                      </a:lnTo>
                      <a:lnTo>
                        <a:pt x="711" y="1014"/>
                      </a:lnTo>
                      <a:lnTo>
                        <a:pt x="710" y="1013"/>
                      </a:lnTo>
                      <a:lnTo>
                        <a:pt x="709" y="1013"/>
                      </a:lnTo>
                      <a:lnTo>
                        <a:pt x="709" y="1015"/>
                      </a:lnTo>
                      <a:lnTo>
                        <a:pt x="708" y="1015"/>
                      </a:lnTo>
                      <a:lnTo>
                        <a:pt x="707" y="1015"/>
                      </a:lnTo>
                      <a:lnTo>
                        <a:pt x="707" y="1016"/>
                      </a:lnTo>
                      <a:lnTo>
                        <a:pt x="707" y="1017"/>
                      </a:lnTo>
                      <a:lnTo>
                        <a:pt x="707" y="1018"/>
                      </a:lnTo>
                      <a:lnTo>
                        <a:pt x="706" y="1018"/>
                      </a:lnTo>
                      <a:lnTo>
                        <a:pt x="706" y="1017"/>
                      </a:lnTo>
                      <a:lnTo>
                        <a:pt x="705" y="1016"/>
                      </a:lnTo>
                      <a:lnTo>
                        <a:pt x="705" y="1015"/>
                      </a:lnTo>
                      <a:lnTo>
                        <a:pt x="704" y="1015"/>
                      </a:lnTo>
                      <a:lnTo>
                        <a:pt x="703" y="1014"/>
                      </a:lnTo>
                      <a:lnTo>
                        <a:pt x="704" y="1014"/>
                      </a:lnTo>
                      <a:lnTo>
                        <a:pt x="704" y="1013"/>
                      </a:lnTo>
                      <a:lnTo>
                        <a:pt x="703" y="1012"/>
                      </a:lnTo>
                      <a:lnTo>
                        <a:pt x="702" y="1012"/>
                      </a:lnTo>
                      <a:lnTo>
                        <a:pt x="700" y="1011"/>
                      </a:lnTo>
                      <a:lnTo>
                        <a:pt x="700" y="1012"/>
                      </a:lnTo>
                      <a:lnTo>
                        <a:pt x="699" y="1012"/>
                      </a:lnTo>
                      <a:lnTo>
                        <a:pt x="698" y="1012"/>
                      </a:lnTo>
                      <a:lnTo>
                        <a:pt x="698" y="1011"/>
                      </a:lnTo>
                      <a:lnTo>
                        <a:pt x="699" y="1011"/>
                      </a:lnTo>
                      <a:lnTo>
                        <a:pt x="700" y="1011"/>
                      </a:lnTo>
                      <a:lnTo>
                        <a:pt x="702" y="1011"/>
                      </a:lnTo>
                      <a:lnTo>
                        <a:pt x="704" y="1009"/>
                      </a:lnTo>
                      <a:lnTo>
                        <a:pt x="705" y="1008"/>
                      </a:lnTo>
                      <a:lnTo>
                        <a:pt x="706" y="1007"/>
                      </a:lnTo>
                      <a:lnTo>
                        <a:pt x="707" y="1006"/>
                      </a:lnTo>
                      <a:lnTo>
                        <a:pt x="707" y="1005"/>
                      </a:lnTo>
                      <a:lnTo>
                        <a:pt x="707" y="1004"/>
                      </a:lnTo>
                      <a:lnTo>
                        <a:pt x="707" y="1003"/>
                      </a:lnTo>
                      <a:lnTo>
                        <a:pt x="707" y="1002"/>
                      </a:lnTo>
                      <a:lnTo>
                        <a:pt x="707" y="1001"/>
                      </a:lnTo>
                      <a:lnTo>
                        <a:pt x="707" y="1000"/>
                      </a:lnTo>
                      <a:lnTo>
                        <a:pt x="707" y="999"/>
                      </a:lnTo>
                      <a:lnTo>
                        <a:pt x="707" y="998"/>
                      </a:lnTo>
                      <a:lnTo>
                        <a:pt x="707" y="996"/>
                      </a:lnTo>
                      <a:lnTo>
                        <a:pt x="706" y="995"/>
                      </a:lnTo>
                      <a:lnTo>
                        <a:pt x="706" y="994"/>
                      </a:lnTo>
                      <a:lnTo>
                        <a:pt x="704" y="993"/>
                      </a:lnTo>
                      <a:lnTo>
                        <a:pt x="703" y="992"/>
                      </a:lnTo>
                      <a:lnTo>
                        <a:pt x="703" y="991"/>
                      </a:lnTo>
                      <a:lnTo>
                        <a:pt x="703" y="990"/>
                      </a:lnTo>
                      <a:lnTo>
                        <a:pt x="702" y="989"/>
                      </a:lnTo>
                      <a:lnTo>
                        <a:pt x="700" y="989"/>
                      </a:lnTo>
                      <a:lnTo>
                        <a:pt x="699" y="988"/>
                      </a:lnTo>
                      <a:lnTo>
                        <a:pt x="698" y="988"/>
                      </a:lnTo>
                      <a:lnTo>
                        <a:pt x="698" y="987"/>
                      </a:lnTo>
                      <a:lnTo>
                        <a:pt x="699" y="986"/>
                      </a:lnTo>
                      <a:lnTo>
                        <a:pt x="700" y="987"/>
                      </a:lnTo>
                      <a:lnTo>
                        <a:pt x="702" y="986"/>
                      </a:lnTo>
                      <a:lnTo>
                        <a:pt x="702" y="984"/>
                      </a:lnTo>
                      <a:lnTo>
                        <a:pt x="700" y="984"/>
                      </a:lnTo>
                      <a:lnTo>
                        <a:pt x="700" y="983"/>
                      </a:lnTo>
                      <a:lnTo>
                        <a:pt x="700" y="981"/>
                      </a:lnTo>
                      <a:lnTo>
                        <a:pt x="699" y="981"/>
                      </a:lnTo>
                      <a:lnTo>
                        <a:pt x="699" y="980"/>
                      </a:lnTo>
                      <a:lnTo>
                        <a:pt x="698" y="980"/>
                      </a:lnTo>
                      <a:lnTo>
                        <a:pt x="698" y="979"/>
                      </a:lnTo>
                      <a:lnTo>
                        <a:pt x="698" y="978"/>
                      </a:lnTo>
                      <a:lnTo>
                        <a:pt x="697" y="978"/>
                      </a:lnTo>
                      <a:lnTo>
                        <a:pt x="697" y="977"/>
                      </a:lnTo>
                      <a:lnTo>
                        <a:pt x="696" y="977"/>
                      </a:lnTo>
                      <a:lnTo>
                        <a:pt x="696" y="976"/>
                      </a:lnTo>
                      <a:lnTo>
                        <a:pt x="695" y="975"/>
                      </a:lnTo>
                      <a:lnTo>
                        <a:pt x="694" y="975"/>
                      </a:lnTo>
                      <a:lnTo>
                        <a:pt x="693" y="975"/>
                      </a:lnTo>
                      <a:lnTo>
                        <a:pt x="692" y="975"/>
                      </a:lnTo>
                      <a:lnTo>
                        <a:pt x="692" y="976"/>
                      </a:lnTo>
                      <a:lnTo>
                        <a:pt x="692" y="977"/>
                      </a:lnTo>
                      <a:lnTo>
                        <a:pt x="692" y="978"/>
                      </a:lnTo>
                      <a:lnTo>
                        <a:pt x="692" y="979"/>
                      </a:lnTo>
                      <a:lnTo>
                        <a:pt x="692" y="980"/>
                      </a:lnTo>
                      <a:lnTo>
                        <a:pt x="693" y="980"/>
                      </a:lnTo>
                      <a:lnTo>
                        <a:pt x="693" y="981"/>
                      </a:lnTo>
                      <a:lnTo>
                        <a:pt x="693" y="982"/>
                      </a:lnTo>
                      <a:lnTo>
                        <a:pt x="693" y="983"/>
                      </a:lnTo>
                      <a:lnTo>
                        <a:pt x="694" y="984"/>
                      </a:lnTo>
                      <a:lnTo>
                        <a:pt x="694" y="986"/>
                      </a:lnTo>
                      <a:lnTo>
                        <a:pt x="695" y="986"/>
                      </a:lnTo>
                      <a:lnTo>
                        <a:pt x="695" y="987"/>
                      </a:lnTo>
                      <a:lnTo>
                        <a:pt x="696" y="988"/>
                      </a:lnTo>
                      <a:lnTo>
                        <a:pt x="696" y="989"/>
                      </a:lnTo>
                      <a:lnTo>
                        <a:pt x="695" y="989"/>
                      </a:lnTo>
                      <a:lnTo>
                        <a:pt x="695" y="990"/>
                      </a:lnTo>
                      <a:lnTo>
                        <a:pt x="695" y="991"/>
                      </a:lnTo>
                      <a:lnTo>
                        <a:pt x="695" y="992"/>
                      </a:lnTo>
                      <a:lnTo>
                        <a:pt x="695" y="993"/>
                      </a:lnTo>
                      <a:lnTo>
                        <a:pt x="695" y="994"/>
                      </a:lnTo>
                      <a:lnTo>
                        <a:pt x="696" y="995"/>
                      </a:lnTo>
                      <a:lnTo>
                        <a:pt x="697" y="995"/>
                      </a:lnTo>
                      <a:lnTo>
                        <a:pt x="697" y="996"/>
                      </a:lnTo>
                      <a:lnTo>
                        <a:pt x="697" y="998"/>
                      </a:lnTo>
                      <a:lnTo>
                        <a:pt x="697" y="999"/>
                      </a:lnTo>
                      <a:lnTo>
                        <a:pt x="697" y="998"/>
                      </a:lnTo>
                      <a:lnTo>
                        <a:pt x="696" y="998"/>
                      </a:lnTo>
                      <a:lnTo>
                        <a:pt x="697" y="998"/>
                      </a:lnTo>
                      <a:lnTo>
                        <a:pt x="697" y="999"/>
                      </a:lnTo>
                      <a:lnTo>
                        <a:pt x="696" y="999"/>
                      </a:lnTo>
                      <a:lnTo>
                        <a:pt x="697" y="999"/>
                      </a:lnTo>
                      <a:lnTo>
                        <a:pt x="697" y="1000"/>
                      </a:lnTo>
                      <a:lnTo>
                        <a:pt x="698" y="1000"/>
                      </a:lnTo>
                      <a:lnTo>
                        <a:pt x="698" y="1001"/>
                      </a:lnTo>
                      <a:lnTo>
                        <a:pt x="699" y="1001"/>
                      </a:lnTo>
                      <a:lnTo>
                        <a:pt x="699" y="1002"/>
                      </a:lnTo>
                      <a:lnTo>
                        <a:pt x="699" y="1003"/>
                      </a:lnTo>
                      <a:lnTo>
                        <a:pt x="700" y="1003"/>
                      </a:lnTo>
                      <a:lnTo>
                        <a:pt x="700" y="1004"/>
                      </a:lnTo>
                      <a:lnTo>
                        <a:pt x="702" y="1003"/>
                      </a:lnTo>
                      <a:lnTo>
                        <a:pt x="702" y="1004"/>
                      </a:lnTo>
                      <a:lnTo>
                        <a:pt x="703" y="1004"/>
                      </a:lnTo>
                      <a:lnTo>
                        <a:pt x="702" y="1004"/>
                      </a:lnTo>
                      <a:lnTo>
                        <a:pt x="700" y="1004"/>
                      </a:lnTo>
                      <a:lnTo>
                        <a:pt x="699" y="1004"/>
                      </a:lnTo>
                      <a:lnTo>
                        <a:pt x="698" y="1003"/>
                      </a:lnTo>
                      <a:lnTo>
                        <a:pt x="697" y="1003"/>
                      </a:lnTo>
                      <a:lnTo>
                        <a:pt x="696" y="1001"/>
                      </a:lnTo>
                      <a:lnTo>
                        <a:pt x="696" y="1000"/>
                      </a:lnTo>
                      <a:lnTo>
                        <a:pt x="695" y="1000"/>
                      </a:lnTo>
                      <a:lnTo>
                        <a:pt x="694" y="1000"/>
                      </a:lnTo>
                      <a:lnTo>
                        <a:pt x="694" y="999"/>
                      </a:lnTo>
                      <a:lnTo>
                        <a:pt x="693" y="998"/>
                      </a:lnTo>
                      <a:lnTo>
                        <a:pt x="692" y="998"/>
                      </a:lnTo>
                      <a:lnTo>
                        <a:pt x="692" y="996"/>
                      </a:lnTo>
                      <a:lnTo>
                        <a:pt x="691" y="996"/>
                      </a:lnTo>
                      <a:lnTo>
                        <a:pt x="690" y="996"/>
                      </a:lnTo>
                      <a:lnTo>
                        <a:pt x="689" y="996"/>
                      </a:lnTo>
                      <a:lnTo>
                        <a:pt x="689" y="998"/>
                      </a:lnTo>
                      <a:lnTo>
                        <a:pt x="689" y="999"/>
                      </a:lnTo>
                      <a:lnTo>
                        <a:pt x="689" y="1000"/>
                      </a:lnTo>
                      <a:lnTo>
                        <a:pt x="687" y="1001"/>
                      </a:lnTo>
                      <a:lnTo>
                        <a:pt x="687" y="1002"/>
                      </a:lnTo>
                      <a:lnTo>
                        <a:pt x="686" y="1002"/>
                      </a:lnTo>
                      <a:lnTo>
                        <a:pt x="686" y="1003"/>
                      </a:lnTo>
                      <a:lnTo>
                        <a:pt x="687" y="1003"/>
                      </a:lnTo>
                      <a:lnTo>
                        <a:pt x="687" y="1005"/>
                      </a:lnTo>
                      <a:lnTo>
                        <a:pt x="685" y="1005"/>
                      </a:lnTo>
                      <a:lnTo>
                        <a:pt x="683" y="1005"/>
                      </a:lnTo>
                      <a:lnTo>
                        <a:pt x="682" y="1005"/>
                      </a:lnTo>
                      <a:lnTo>
                        <a:pt x="682" y="1004"/>
                      </a:lnTo>
                      <a:lnTo>
                        <a:pt x="683" y="1003"/>
                      </a:lnTo>
                      <a:lnTo>
                        <a:pt x="684" y="1003"/>
                      </a:lnTo>
                      <a:lnTo>
                        <a:pt x="684" y="1002"/>
                      </a:lnTo>
                      <a:lnTo>
                        <a:pt x="684" y="1001"/>
                      </a:lnTo>
                      <a:lnTo>
                        <a:pt x="684" y="1000"/>
                      </a:lnTo>
                      <a:lnTo>
                        <a:pt x="684" y="999"/>
                      </a:lnTo>
                      <a:lnTo>
                        <a:pt x="683" y="999"/>
                      </a:lnTo>
                      <a:lnTo>
                        <a:pt x="684" y="998"/>
                      </a:lnTo>
                      <a:lnTo>
                        <a:pt x="683" y="998"/>
                      </a:lnTo>
                      <a:lnTo>
                        <a:pt x="682" y="999"/>
                      </a:lnTo>
                      <a:lnTo>
                        <a:pt x="682" y="1000"/>
                      </a:lnTo>
                      <a:lnTo>
                        <a:pt x="681" y="1001"/>
                      </a:lnTo>
                      <a:lnTo>
                        <a:pt x="681" y="1002"/>
                      </a:lnTo>
                      <a:lnTo>
                        <a:pt x="681" y="1004"/>
                      </a:lnTo>
                      <a:lnTo>
                        <a:pt x="681" y="1005"/>
                      </a:lnTo>
                      <a:lnTo>
                        <a:pt x="681" y="1006"/>
                      </a:lnTo>
                      <a:lnTo>
                        <a:pt x="681" y="1007"/>
                      </a:lnTo>
                      <a:lnTo>
                        <a:pt x="680" y="1007"/>
                      </a:lnTo>
                      <a:lnTo>
                        <a:pt x="679" y="1008"/>
                      </a:lnTo>
                      <a:lnTo>
                        <a:pt x="679" y="1009"/>
                      </a:lnTo>
                      <a:lnTo>
                        <a:pt x="679" y="1011"/>
                      </a:lnTo>
                      <a:lnTo>
                        <a:pt x="679" y="1012"/>
                      </a:lnTo>
                      <a:lnTo>
                        <a:pt x="679" y="1013"/>
                      </a:lnTo>
                      <a:lnTo>
                        <a:pt x="678" y="1014"/>
                      </a:lnTo>
                      <a:lnTo>
                        <a:pt x="678" y="1015"/>
                      </a:lnTo>
                      <a:lnTo>
                        <a:pt x="678" y="1016"/>
                      </a:lnTo>
                      <a:lnTo>
                        <a:pt x="679" y="1017"/>
                      </a:lnTo>
                      <a:lnTo>
                        <a:pt x="678" y="1018"/>
                      </a:lnTo>
                      <a:lnTo>
                        <a:pt x="679" y="1018"/>
                      </a:lnTo>
                      <a:lnTo>
                        <a:pt x="679" y="1019"/>
                      </a:lnTo>
                      <a:lnTo>
                        <a:pt x="679" y="1020"/>
                      </a:lnTo>
                      <a:lnTo>
                        <a:pt x="679" y="1021"/>
                      </a:lnTo>
                      <a:lnTo>
                        <a:pt x="680" y="1022"/>
                      </a:lnTo>
                      <a:lnTo>
                        <a:pt x="681" y="1021"/>
                      </a:lnTo>
                      <a:lnTo>
                        <a:pt x="682" y="1021"/>
                      </a:lnTo>
                      <a:lnTo>
                        <a:pt x="682" y="1022"/>
                      </a:lnTo>
                      <a:lnTo>
                        <a:pt x="681" y="1022"/>
                      </a:lnTo>
                      <a:lnTo>
                        <a:pt x="681" y="1024"/>
                      </a:lnTo>
                      <a:lnTo>
                        <a:pt x="681" y="1025"/>
                      </a:lnTo>
                      <a:lnTo>
                        <a:pt x="681" y="1026"/>
                      </a:lnTo>
                      <a:lnTo>
                        <a:pt x="681" y="1027"/>
                      </a:lnTo>
                      <a:lnTo>
                        <a:pt x="682" y="1028"/>
                      </a:lnTo>
                      <a:lnTo>
                        <a:pt x="682" y="1029"/>
                      </a:lnTo>
                      <a:lnTo>
                        <a:pt x="681" y="1029"/>
                      </a:lnTo>
                      <a:lnTo>
                        <a:pt x="680" y="1029"/>
                      </a:lnTo>
                      <a:lnTo>
                        <a:pt x="679" y="1031"/>
                      </a:lnTo>
                      <a:lnTo>
                        <a:pt x="678" y="1031"/>
                      </a:lnTo>
                      <a:lnTo>
                        <a:pt x="678" y="1032"/>
                      </a:lnTo>
                      <a:lnTo>
                        <a:pt x="678" y="1033"/>
                      </a:lnTo>
                      <a:lnTo>
                        <a:pt x="678" y="1034"/>
                      </a:lnTo>
                      <a:lnTo>
                        <a:pt x="677" y="1034"/>
                      </a:lnTo>
                      <a:lnTo>
                        <a:pt x="676" y="1034"/>
                      </a:lnTo>
                      <a:lnTo>
                        <a:pt x="677" y="1033"/>
                      </a:lnTo>
                      <a:lnTo>
                        <a:pt x="677" y="1032"/>
                      </a:lnTo>
                      <a:lnTo>
                        <a:pt x="677" y="1031"/>
                      </a:lnTo>
                      <a:lnTo>
                        <a:pt x="677" y="1030"/>
                      </a:lnTo>
                      <a:lnTo>
                        <a:pt x="677" y="1029"/>
                      </a:lnTo>
                      <a:lnTo>
                        <a:pt x="677" y="1027"/>
                      </a:lnTo>
                      <a:lnTo>
                        <a:pt x="676" y="1026"/>
                      </a:lnTo>
                      <a:lnTo>
                        <a:pt x="676" y="1025"/>
                      </a:lnTo>
                      <a:lnTo>
                        <a:pt x="674" y="1025"/>
                      </a:lnTo>
                      <a:lnTo>
                        <a:pt x="674" y="1027"/>
                      </a:lnTo>
                      <a:lnTo>
                        <a:pt x="674" y="1028"/>
                      </a:lnTo>
                      <a:lnTo>
                        <a:pt x="674" y="1029"/>
                      </a:lnTo>
                      <a:lnTo>
                        <a:pt x="673" y="1029"/>
                      </a:lnTo>
                      <a:lnTo>
                        <a:pt x="672" y="1029"/>
                      </a:lnTo>
                      <a:lnTo>
                        <a:pt x="673" y="1028"/>
                      </a:lnTo>
                      <a:lnTo>
                        <a:pt x="673" y="1027"/>
                      </a:lnTo>
                      <a:lnTo>
                        <a:pt x="671" y="1026"/>
                      </a:lnTo>
                      <a:lnTo>
                        <a:pt x="670" y="1027"/>
                      </a:lnTo>
                      <a:lnTo>
                        <a:pt x="670" y="1029"/>
                      </a:lnTo>
                      <a:lnTo>
                        <a:pt x="669" y="1029"/>
                      </a:lnTo>
                      <a:lnTo>
                        <a:pt x="668" y="1028"/>
                      </a:lnTo>
                      <a:lnTo>
                        <a:pt x="667" y="1029"/>
                      </a:lnTo>
                      <a:lnTo>
                        <a:pt x="667" y="1028"/>
                      </a:lnTo>
                      <a:lnTo>
                        <a:pt x="667" y="1027"/>
                      </a:lnTo>
                      <a:lnTo>
                        <a:pt x="667" y="1026"/>
                      </a:lnTo>
                      <a:lnTo>
                        <a:pt x="667" y="1025"/>
                      </a:lnTo>
                      <a:lnTo>
                        <a:pt x="667" y="1024"/>
                      </a:lnTo>
                      <a:lnTo>
                        <a:pt x="667" y="1021"/>
                      </a:lnTo>
                      <a:lnTo>
                        <a:pt x="666" y="1021"/>
                      </a:lnTo>
                      <a:lnTo>
                        <a:pt x="665" y="1021"/>
                      </a:lnTo>
                      <a:lnTo>
                        <a:pt x="665" y="1020"/>
                      </a:lnTo>
                      <a:lnTo>
                        <a:pt x="666" y="1019"/>
                      </a:lnTo>
                      <a:lnTo>
                        <a:pt x="666" y="1018"/>
                      </a:lnTo>
                      <a:lnTo>
                        <a:pt x="666" y="1015"/>
                      </a:lnTo>
                      <a:lnTo>
                        <a:pt x="666" y="1014"/>
                      </a:lnTo>
                      <a:lnTo>
                        <a:pt x="667" y="1014"/>
                      </a:lnTo>
                      <a:lnTo>
                        <a:pt x="667" y="1013"/>
                      </a:lnTo>
                      <a:lnTo>
                        <a:pt x="667" y="1012"/>
                      </a:lnTo>
                      <a:lnTo>
                        <a:pt x="668" y="1012"/>
                      </a:lnTo>
                      <a:lnTo>
                        <a:pt x="668" y="1011"/>
                      </a:lnTo>
                      <a:lnTo>
                        <a:pt x="668" y="1009"/>
                      </a:lnTo>
                      <a:lnTo>
                        <a:pt x="668" y="1007"/>
                      </a:lnTo>
                      <a:lnTo>
                        <a:pt x="669" y="1007"/>
                      </a:lnTo>
                      <a:lnTo>
                        <a:pt x="669" y="1006"/>
                      </a:lnTo>
                      <a:lnTo>
                        <a:pt x="670" y="1005"/>
                      </a:lnTo>
                      <a:lnTo>
                        <a:pt x="669" y="1005"/>
                      </a:lnTo>
                      <a:lnTo>
                        <a:pt x="669" y="1004"/>
                      </a:lnTo>
                      <a:lnTo>
                        <a:pt x="668" y="1003"/>
                      </a:lnTo>
                      <a:lnTo>
                        <a:pt x="668" y="1002"/>
                      </a:lnTo>
                      <a:lnTo>
                        <a:pt x="667" y="1001"/>
                      </a:lnTo>
                      <a:lnTo>
                        <a:pt x="667" y="1000"/>
                      </a:lnTo>
                      <a:lnTo>
                        <a:pt x="667" y="999"/>
                      </a:lnTo>
                      <a:lnTo>
                        <a:pt x="667" y="998"/>
                      </a:lnTo>
                      <a:lnTo>
                        <a:pt x="667" y="996"/>
                      </a:lnTo>
                      <a:lnTo>
                        <a:pt x="667" y="995"/>
                      </a:lnTo>
                      <a:lnTo>
                        <a:pt x="666" y="995"/>
                      </a:lnTo>
                      <a:lnTo>
                        <a:pt x="665" y="995"/>
                      </a:lnTo>
                      <a:lnTo>
                        <a:pt x="664" y="995"/>
                      </a:lnTo>
                      <a:lnTo>
                        <a:pt x="663" y="995"/>
                      </a:lnTo>
                      <a:lnTo>
                        <a:pt x="663" y="994"/>
                      </a:lnTo>
                      <a:lnTo>
                        <a:pt x="661" y="994"/>
                      </a:lnTo>
                      <a:lnTo>
                        <a:pt x="660" y="994"/>
                      </a:lnTo>
                      <a:lnTo>
                        <a:pt x="660" y="993"/>
                      </a:lnTo>
                      <a:lnTo>
                        <a:pt x="659" y="993"/>
                      </a:lnTo>
                      <a:lnTo>
                        <a:pt x="658" y="992"/>
                      </a:lnTo>
                      <a:lnTo>
                        <a:pt x="658" y="991"/>
                      </a:lnTo>
                      <a:lnTo>
                        <a:pt x="658" y="990"/>
                      </a:lnTo>
                      <a:lnTo>
                        <a:pt x="657" y="990"/>
                      </a:lnTo>
                      <a:lnTo>
                        <a:pt x="656" y="990"/>
                      </a:lnTo>
                      <a:lnTo>
                        <a:pt x="655" y="990"/>
                      </a:lnTo>
                      <a:lnTo>
                        <a:pt x="655" y="989"/>
                      </a:lnTo>
                      <a:lnTo>
                        <a:pt x="655" y="988"/>
                      </a:lnTo>
                      <a:lnTo>
                        <a:pt x="655" y="987"/>
                      </a:lnTo>
                      <a:lnTo>
                        <a:pt x="654" y="987"/>
                      </a:lnTo>
                      <a:lnTo>
                        <a:pt x="653" y="987"/>
                      </a:lnTo>
                      <a:lnTo>
                        <a:pt x="652" y="986"/>
                      </a:lnTo>
                      <a:lnTo>
                        <a:pt x="651" y="986"/>
                      </a:lnTo>
                      <a:lnTo>
                        <a:pt x="651" y="984"/>
                      </a:lnTo>
                      <a:lnTo>
                        <a:pt x="650" y="984"/>
                      </a:lnTo>
                      <a:lnTo>
                        <a:pt x="650" y="986"/>
                      </a:lnTo>
                      <a:lnTo>
                        <a:pt x="650" y="984"/>
                      </a:lnTo>
                      <a:lnTo>
                        <a:pt x="650" y="982"/>
                      </a:lnTo>
                      <a:lnTo>
                        <a:pt x="648" y="981"/>
                      </a:lnTo>
                      <a:lnTo>
                        <a:pt x="648" y="980"/>
                      </a:lnTo>
                      <a:lnTo>
                        <a:pt x="650" y="979"/>
                      </a:lnTo>
                      <a:lnTo>
                        <a:pt x="648" y="979"/>
                      </a:lnTo>
                      <a:lnTo>
                        <a:pt x="647" y="979"/>
                      </a:lnTo>
                      <a:lnTo>
                        <a:pt x="647" y="978"/>
                      </a:lnTo>
                      <a:lnTo>
                        <a:pt x="647" y="977"/>
                      </a:lnTo>
                      <a:lnTo>
                        <a:pt x="647" y="976"/>
                      </a:lnTo>
                      <a:lnTo>
                        <a:pt x="647" y="975"/>
                      </a:lnTo>
                      <a:lnTo>
                        <a:pt x="647" y="976"/>
                      </a:lnTo>
                      <a:lnTo>
                        <a:pt x="646" y="976"/>
                      </a:lnTo>
                      <a:lnTo>
                        <a:pt x="646" y="975"/>
                      </a:lnTo>
                      <a:lnTo>
                        <a:pt x="646" y="973"/>
                      </a:lnTo>
                      <a:lnTo>
                        <a:pt x="647" y="971"/>
                      </a:lnTo>
                      <a:lnTo>
                        <a:pt x="647" y="970"/>
                      </a:lnTo>
                      <a:lnTo>
                        <a:pt x="647" y="969"/>
                      </a:lnTo>
                      <a:lnTo>
                        <a:pt x="646" y="969"/>
                      </a:lnTo>
                      <a:lnTo>
                        <a:pt x="645" y="970"/>
                      </a:lnTo>
                      <a:lnTo>
                        <a:pt x="644" y="970"/>
                      </a:lnTo>
                      <a:lnTo>
                        <a:pt x="644" y="969"/>
                      </a:lnTo>
                      <a:lnTo>
                        <a:pt x="643" y="969"/>
                      </a:lnTo>
                      <a:lnTo>
                        <a:pt x="642" y="969"/>
                      </a:lnTo>
                      <a:lnTo>
                        <a:pt x="641" y="969"/>
                      </a:lnTo>
                      <a:lnTo>
                        <a:pt x="640" y="969"/>
                      </a:lnTo>
                      <a:lnTo>
                        <a:pt x="639" y="969"/>
                      </a:lnTo>
                      <a:lnTo>
                        <a:pt x="638" y="968"/>
                      </a:lnTo>
                      <a:lnTo>
                        <a:pt x="638" y="967"/>
                      </a:lnTo>
                      <a:lnTo>
                        <a:pt x="637" y="967"/>
                      </a:lnTo>
                      <a:lnTo>
                        <a:pt x="635" y="968"/>
                      </a:lnTo>
                      <a:lnTo>
                        <a:pt x="635" y="969"/>
                      </a:lnTo>
                      <a:lnTo>
                        <a:pt x="635" y="970"/>
                      </a:lnTo>
                      <a:lnTo>
                        <a:pt x="637" y="970"/>
                      </a:lnTo>
                      <a:lnTo>
                        <a:pt x="635" y="970"/>
                      </a:lnTo>
                      <a:lnTo>
                        <a:pt x="634" y="971"/>
                      </a:lnTo>
                      <a:lnTo>
                        <a:pt x="633" y="973"/>
                      </a:lnTo>
                      <a:lnTo>
                        <a:pt x="632" y="973"/>
                      </a:lnTo>
                      <a:lnTo>
                        <a:pt x="631" y="974"/>
                      </a:lnTo>
                      <a:lnTo>
                        <a:pt x="630" y="974"/>
                      </a:lnTo>
                      <a:lnTo>
                        <a:pt x="630" y="975"/>
                      </a:lnTo>
                      <a:lnTo>
                        <a:pt x="630" y="976"/>
                      </a:lnTo>
                      <a:lnTo>
                        <a:pt x="629" y="976"/>
                      </a:lnTo>
                      <a:lnTo>
                        <a:pt x="629" y="977"/>
                      </a:lnTo>
                      <a:lnTo>
                        <a:pt x="628" y="977"/>
                      </a:lnTo>
                      <a:lnTo>
                        <a:pt x="628" y="978"/>
                      </a:lnTo>
                      <a:lnTo>
                        <a:pt x="629" y="978"/>
                      </a:lnTo>
                      <a:lnTo>
                        <a:pt x="630" y="979"/>
                      </a:lnTo>
                      <a:lnTo>
                        <a:pt x="630" y="980"/>
                      </a:lnTo>
                      <a:lnTo>
                        <a:pt x="630" y="981"/>
                      </a:lnTo>
                      <a:lnTo>
                        <a:pt x="631" y="982"/>
                      </a:lnTo>
                      <a:lnTo>
                        <a:pt x="631" y="983"/>
                      </a:lnTo>
                      <a:lnTo>
                        <a:pt x="632" y="983"/>
                      </a:lnTo>
                      <a:lnTo>
                        <a:pt x="632" y="984"/>
                      </a:lnTo>
                      <a:lnTo>
                        <a:pt x="633" y="984"/>
                      </a:lnTo>
                      <a:lnTo>
                        <a:pt x="634" y="986"/>
                      </a:lnTo>
                      <a:lnTo>
                        <a:pt x="634" y="987"/>
                      </a:lnTo>
                      <a:lnTo>
                        <a:pt x="634" y="988"/>
                      </a:lnTo>
                      <a:lnTo>
                        <a:pt x="633" y="988"/>
                      </a:lnTo>
                      <a:lnTo>
                        <a:pt x="633" y="989"/>
                      </a:lnTo>
                      <a:lnTo>
                        <a:pt x="632" y="990"/>
                      </a:lnTo>
                      <a:lnTo>
                        <a:pt x="633" y="990"/>
                      </a:lnTo>
                      <a:lnTo>
                        <a:pt x="632" y="991"/>
                      </a:lnTo>
                      <a:lnTo>
                        <a:pt x="631" y="991"/>
                      </a:lnTo>
                      <a:lnTo>
                        <a:pt x="631" y="992"/>
                      </a:lnTo>
                      <a:lnTo>
                        <a:pt x="631" y="993"/>
                      </a:lnTo>
                      <a:lnTo>
                        <a:pt x="630" y="993"/>
                      </a:lnTo>
                      <a:lnTo>
                        <a:pt x="629" y="994"/>
                      </a:lnTo>
                      <a:lnTo>
                        <a:pt x="628" y="994"/>
                      </a:lnTo>
                      <a:lnTo>
                        <a:pt x="628" y="995"/>
                      </a:lnTo>
                      <a:lnTo>
                        <a:pt x="627" y="996"/>
                      </a:lnTo>
                      <a:lnTo>
                        <a:pt x="626" y="996"/>
                      </a:lnTo>
                      <a:lnTo>
                        <a:pt x="626" y="998"/>
                      </a:lnTo>
                      <a:lnTo>
                        <a:pt x="625" y="998"/>
                      </a:lnTo>
                      <a:lnTo>
                        <a:pt x="625" y="999"/>
                      </a:lnTo>
                      <a:lnTo>
                        <a:pt x="625" y="1000"/>
                      </a:lnTo>
                      <a:lnTo>
                        <a:pt x="625" y="1001"/>
                      </a:lnTo>
                      <a:lnTo>
                        <a:pt x="625" y="1002"/>
                      </a:lnTo>
                      <a:lnTo>
                        <a:pt x="624" y="1003"/>
                      </a:lnTo>
                      <a:lnTo>
                        <a:pt x="622" y="1004"/>
                      </a:lnTo>
                      <a:lnTo>
                        <a:pt x="622" y="1005"/>
                      </a:lnTo>
                      <a:lnTo>
                        <a:pt x="621" y="1005"/>
                      </a:lnTo>
                      <a:lnTo>
                        <a:pt x="620" y="1005"/>
                      </a:lnTo>
                      <a:lnTo>
                        <a:pt x="620" y="1006"/>
                      </a:lnTo>
                      <a:lnTo>
                        <a:pt x="619" y="1006"/>
                      </a:lnTo>
                      <a:lnTo>
                        <a:pt x="618" y="1007"/>
                      </a:lnTo>
                      <a:lnTo>
                        <a:pt x="617" y="1008"/>
                      </a:lnTo>
                      <a:lnTo>
                        <a:pt x="617" y="1009"/>
                      </a:lnTo>
                      <a:lnTo>
                        <a:pt x="616" y="1009"/>
                      </a:lnTo>
                      <a:lnTo>
                        <a:pt x="616" y="1008"/>
                      </a:lnTo>
                      <a:lnTo>
                        <a:pt x="616" y="1007"/>
                      </a:lnTo>
                      <a:lnTo>
                        <a:pt x="615" y="1006"/>
                      </a:lnTo>
                      <a:lnTo>
                        <a:pt x="615" y="1005"/>
                      </a:lnTo>
                      <a:lnTo>
                        <a:pt x="614" y="1005"/>
                      </a:lnTo>
                      <a:lnTo>
                        <a:pt x="614" y="1006"/>
                      </a:lnTo>
                      <a:lnTo>
                        <a:pt x="614" y="1007"/>
                      </a:lnTo>
                      <a:lnTo>
                        <a:pt x="613" y="1007"/>
                      </a:lnTo>
                      <a:lnTo>
                        <a:pt x="613" y="1008"/>
                      </a:lnTo>
                      <a:lnTo>
                        <a:pt x="613" y="1007"/>
                      </a:lnTo>
                      <a:lnTo>
                        <a:pt x="612" y="1007"/>
                      </a:lnTo>
                      <a:lnTo>
                        <a:pt x="612" y="1006"/>
                      </a:lnTo>
                      <a:lnTo>
                        <a:pt x="611" y="1006"/>
                      </a:lnTo>
                      <a:lnTo>
                        <a:pt x="611" y="1007"/>
                      </a:lnTo>
                      <a:lnTo>
                        <a:pt x="609" y="1006"/>
                      </a:lnTo>
                      <a:lnTo>
                        <a:pt x="608" y="1006"/>
                      </a:lnTo>
                      <a:lnTo>
                        <a:pt x="607" y="1006"/>
                      </a:lnTo>
                      <a:lnTo>
                        <a:pt x="607" y="1005"/>
                      </a:lnTo>
                      <a:lnTo>
                        <a:pt x="606" y="1005"/>
                      </a:lnTo>
                      <a:lnTo>
                        <a:pt x="604" y="1004"/>
                      </a:lnTo>
                      <a:lnTo>
                        <a:pt x="604" y="1003"/>
                      </a:lnTo>
                      <a:lnTo>
                        <a:pt x="603" y="1003"/>
                      </a:lnTo>
                      <a:lnTo>
                        <a:pt x="603" y="1002"/>
                      </a:lnTo>
                      <a:lnTo>
                        <a:pt x="603" y="1001"/>
                      </a:lnTo>
                      <a:lnTo>
                        <a:pt x="603" y="1000"/>
                      </a:lnTo>
                      <a:lnTo>
                        <a:pt x="602" y="1000"/>
                      </a:lnTo>
                      <a:lnTo>
                        <a:pt x="601" y="1000"/>
                      </a:lnTo>
                      <a:lnTo>
                        <a:pt x="600" y="1000"/>
                      </a:lnTo>
                      <a:lnTo>
                        <a:pt x="599" y="1000"/>
                      </a:lnTo>
                      <a:lnTo>
                        <a:pt x="598" y="1000"/>
                      </a:lnTo>
                      <a:lnTo>
                        <a:pt x="598" y="1001"/>
                      </a:lnTo>
                      <a:lnTo>
                        <a:pt x="598" y="1002"/>
                      </a:lnTo>
                      <a:lnTo>
                        <a:pt x="596" y="1002"/>
                      </a:lnTo>
                      <a:lnTo>
                        <a:pt x="596" y="1003"/>
                      </a:lnTo>
                      <a:lnTo>
                        <a:pt x="595" y="1003"/>
                      </a:lnTo>
                      <a:lnTo>
                        <a:pt x="594" y="1002"/>
                      </a:lnTo>
                      <a:lnTo>
                        <a:pt x="593" y="1002"/>
                      </a:lnTo>
                      <a:lnTo>
                        <a:pt x="592" y="1002"/>
                      </a:lnTo>
                      <a:lnTo>
                        <a:pt x="591" y="1002"/>
                      </a:lnTo>
                      <a:lnTo>
                        <a:pt x="590" y="1002"/>
                      </a:lnTo>
                      <a:lnTo>
                        <a:pt x="590" y="1001"/>
                      </a:lnTo>
                      <a:lnTo>
                        <a:pt x="589" y="1000"/>
                      </a:lnTo>
                      <a:lnTo>
                        <a:pt x="588" y="1000"/>
                      </a:lnTo>
                      <a:lnTo>
                        <a:pt x="587" y="1000"/>
                      </a:lnTo>
                      <a:lnTo>
                        <a:pt x="586" y="1001"/>
                      </a:lnTo>
                      <a:lnTo>
                        <a:pt x="585" y="1001"/>
                      </a:lnTo>
                      <a:lnTo>
                        <a:pt x="585" y="1002"/>
                      </a:lnTo>
                      <a:lnTo>
                        <a:pt x="583" y="1002"/>
                      </a:lnTo>
                      <a:lnTo>
                        <a:pt x="583" y="1001"/>
                      </a:lnTo>
                      <a:lnTo>
                        <a:pt x="582" y="1001"/>
                      </a:lnTo>
                      <a:lnTo>
                        <a:pt x="581" y="1001"/>
                      </a:lnTo>
                      <a:lnTo>
                        <a:pt x="581" y="1000"/>
                      </a:lnTo>
                      <a:lnTo>
                        <a:pt x="581" y="999"/>
                      </a:lnTo>
                      <a:lnTo>
                        <a:pt x="580" y="999"/>
                      </a:lnTo>
                      <a:lnTo>
                        <a:pt x="580" y="998"/>
                      </a:lnTo>
                      <a:lnTo>
                        <a:pt x="580" y="996"/>
                      </a:lnTo>
                      <a:lnTo>
                        <a:pt x="579" y="998"/>
                      </a:lnTo>
                      <a:lnTo>
                        <a:pt x="579" y="999"/>
                      </a:lnTo>
                      <a:lnTo>
                        <a:pt x="578" y="999"/>
                      </a:lnTo>
                      <a:lnTo>
                        <a:pt x="578" y="998"/>
                      </a:lnTo>
                      <a:lnTo>
                        <a:pt x="579" y="998"/>
                      </a:lnTo>
                      <a:lnTo>
                        <a:pt x="579" y="996"/>
                      </a:lnTo>
                      <a:lnTo>
                        <a:pt x="578" y="995"/>
                      </a:lnTo>
                      <a:lnTo>
                        <a:pt x="578" y="994"/>
                      </a:lnTo>
                      <a:lnTo>
                        <a:pt x="578" y="993"/>
                      </a:lnTo>
                      <a:lnTo>
                        <a:pt x="578" y="992"/>
                      </a:lnTo>
                      <a:lnTo>
                        <a:pt x="577" y="992"/>
                      </a:lnTo>
                      <a:lnTo>
                        <a:pt x="576" y="992"/>
                      </a:lnTo>
                      <a:lnTo>
                        <a:pt x="575" y="992"/>
                      </a:lnTo>
                      <a:lnTo>
                        <a:pt x="575" y="991"/>
                      </a:lnTo>
                      <a:lnTo>
                        <a:pt x="574" y="992"/>
                      </a:lnTo>
                      <a:lnTo>
                        <a:pt x="573" y="992"/>
                      </a:lnTo>
                      <a:lnTo>
                        <a:pt x="571" y="992"/>
                      </a:lnTo>
                      <a:lnTo>
                        <a:pt x="570" y="992"/>
                      </a:lnTo>
                      <a:lnTo>
                        <a:pt x="570" y="993"/>
                      </a:lnTo>
                      <a:lnTo>
                        <a:pt x="570" y="994"/>
                      </a:lnTo>
                      <a:lnTo>
                        <a:pt x="569" y="994"/>
                      </a:lnTo>
                      <a:lnTo>
                        <a:pt x="569" y="995"/>
                      </a:lnTo>
                      <a:lnTo>
                        <a:pt x="569" y="996"/>
                      </a:lnTo>
                      <a:lnTo>
                        <a:pt x="568" y="996"/>
                      </a:lnTo>
                      <a:lnTo>
                        <a:pt x="567" y="996"/>
                      </a:lnTo>
                      <a:lnTo>
                        <a:pt x="567" y="998"/>
                      </a:lnTo>
                      <a:lnTo>
                        <a:pt x="566" y="998"/>
                      </a:lnTo>
                      <a:lnTo>
                        <a:pt x="567" y="998"/>
                      </a:lnTo>
                      <a:lnTo>
                        <a:pt x="567" y="999"/>
                      </a:lnTo>
                      <a:lnTo>
                        <a:pt x="568" y="1000"/>
                      </a:lnTo>
                      <a:lnTo>
                        <a:pt x="567" y="1000"/>
                      </a:lnTo>
                      <a:lnTo>
                        <a:pt x="567" y="1001"/>
                      </a:lnTo>
                      <a:lnTo>
                        <a:pt x="567" y="1000"/>
                      </a:lnTo>
                      <a:lnTo>
                        <a:pt x="566" y="1000"/>
                      </a:lnTo>
                      <a:lnTo>
                        <a:pt x="567" y="1000"/>
                      </a:lnTo>
                      <a:lnTo>
                        <a:pt x="567" y="999"/>
                      </a:lnTo>
                      <a:lnTo>
                        <a:pt x="566" y="999"/>
                      </a:lnTo>
                      <a:lnTo>
                        <a:pt x="566" y="998"/>
                      </a:lnTo>
                      <a:lnTo>
                        <a:pt x="565" y="998"/>
                      </a:lnTo>
                      <a:lnTo>
                        <a:pt x="566" y="996"/>
                      </a:lnTo>
                      <a:lnTo>
                        <a:pt x="565" y="996"/>
                      </a:lnTo>
                      <a:lnTo>
                        <a:pt x="564" y="996"/>
                      </a:lnTo>
                      <a:lnTo>
                        <a:pt x="564" y="995"/>
                      </a:lnTo>
                      <a:lnTo>
                        <a:pt x="563" y="995"/>
                      </a:lnTo>
                      <a:lnTo>
                        <a:pt x="563" y="994"/>
                      </a:lnTo>
                      <a:lnTo>
                        <a:pt x="562" y="994"/>
                      </a:lnTo>
                      <a:lnTo>
                        <a:pt x="561" y="994"/>
                      </a:lnTo>
                      <a:lnTo>
                        <a:pt x="560" y="993"/>
                      </a:lnTo>
                      <a:lnTo>
                        <a:pt x="558" y="993"/>
                      </a:lnTo>
                      <a:lnTo>
                        <a:pt x="557" y="994"/>
                      </a:lnTo>
                      <a:lnTo>
                        <a:pt x="556" y="994"/>
                      </a:lnTo>
                      <a:lnTo>
                        <a:pt x="555" y="995"/>
                      </a:lnTo>
                      <a:lnTo>
                        <a:pt x="554" y="995"/>
                      </a:lnTo>
                      <a:lnTo>
                        <a:pt x="554" y="994"/>
                      </a:lnTo>
                      <a:lnTo>
                        <a:pt x="553" y="995"/>
                      </a:lnTo>
                      <a:lnTo>
                        <a:pt x="552" y="995"/>
                      </a:lnTo>
                      <a:lnTo>
                        <a:pt x="552" y="994"/>
                      </a:lnTo>
                      <a:lnTo>
                        <a:pt x="552" y="993"/>
                      </a:lnTo>
                      <a:lnTo>
                        <a:pt x="551" y="993"/>
                      </a:lnTo>
                      <a:lnTo>
                        <a:pt x="551" y="992"/>
                      </a:lnTo>
                      <a:lnTo>
                        <a:pt x="550" y="993"/>
                      </a:lnTo>
                      <a:lnTo>
                        <a:pt x="550" y="994"/>
                      </a:lnTo>
                      <a:lnTo>
                        <a:pt x="549" y="994"/>
                      </a:lnTo>
                      <a:lnTo>
                        <a:pt x="549" y="996"/>
                      </a:lnTo>
                      <a:lnTo>
                        <a:pt x="550" y="996"/>
                      </a:lnTo>
                      <a:lnTo>
                        <a:pt x="549" y="998"/>
                      </a:lnTo>
                      <a:lnTo>
                        <a:pt x="550" y="998"/>
                      </a:lnTo>
                      <a:lnTo>
                        <a:pt x="549" y="999"/>
                      </a:lnTo>
                      <a:lnTo>
                        <a:pt x="548" y="999"/>
                      </a:lnTo>
                      <a:lnTo>
                        <a:pt x="547" y="998"/>
                      </a:lnTo>
                      <a:lnTo>
                        <a:pt x="547" y="999"/>
                      </a:lnTo>
                      <a:lnTo>
                        <a:pt x="545" y="999"/>
                      </a:lnTo>
                      <a:lnTo>
                        <a:pt x="545" y="998"/>
                      </a:lnTo>
                      <a:lnTo>
                        <a:pt x="544" y="998"/>
                      </a:lnTo>
                      <a:lnTo>
                        <a:pt x="544" y="996"/>
                      </a:lnTo>
                      <a:lnTo>
                        <a:pt x="543" y="996"/>
                      </a:lnTo>
                      <a:lnTo>
                        <a:pt x="542" y="998"/>
                      </a:lnTo>
                      <a:lnTo>
                        <a:pt x="542" y="999"/>
                      </a:lnTo>
                      <a:lnTo>
                        <a:pt x="541" y="1000"/>
                      </a:lnTo>
                      <a:lnTo>
                        <a:pt x="542" y="1000"/>
                      </a:lnTo>
                      <a:lnTo>
                        <a:pt x="543" y="1000"/>
                      </a:lnTo>
                      <a:lnTo>
                        <a:pt x="543" y="1001"/>
                      </a:lnTo>
                      <a:lnTo>
                        <a:pt x="543" y="1002"/>
                      </a:lnTo>
                      <a:lnTo>
                        <a:pt x="543" y="1003"/>
                      </a:lnTo>
                      <a:lnTo>
                        <a:pt x="543" y="1004"/>
                      </a:lnTo>
                      <a:lnTo>
                        <a:pt x="543" y="1005"/>
                      </a:lnTo>
                      <a:lnTo>
                        <a:pt x="542" y="1005"/>
                      </a:lnTo>
                      <a:lnTo>
                        <a:pt x="542" y="1004"/>
                      </a:lnTo>
                      <a:lnTo>
                        <a:pt x="541" y="1004"/>
                      </a:lnTo>
                      <a:lnTo>
                        <a:pt x="541" y="1003"/>
                      </a:lnTo>
                      <a:lnTo>
                        <a:pt x="540" y="1003"/>
                      </a:lnTo>
                      <a:lnTo>
                        <a:pt x="539" y="1003"/>
                      </a:lnTo>
                      <a:lnTo>
                        <a:pt x="538" y="1004"/>
                      </a:lnTo>
                      <a:lnTo>
                        <a:pt x="538" y="1003"/>
                      </a:lnTo>
                      <a:lnTo>
                        <a:pt x="537" y="1002"/>
                      </a:lnTo>
                      <a:lnTo>
                        <a:pt x="536" y="1002"/>
                      </a:lnTo>
                      <a:lnTo>
                        <a:pt x="536" y="1003"/>
                      </a:lnTo>
                      <a:lnTo>
                        <a:pt x="535" y="1003"/>
                      </a:lnTo>
                      <a:lnTo>
                        <a:pt x="535" y="1004"/>
                      </a:lnTo>
                      <a:lnTo>
                        <a:pt x="535" y="1005"/>
                      </a:lnTo>
                      <a:lnTo>
                        <a:pt x="535" y="1006"/>
                      </a:lnTo>
                      <a:lnTo>
                        <a:pt x="534" y="1007"/>
                      </a:lnTo>
                      <a:lnTo>
                        <a:pt x="534" y="1006"/>
                      </a:lnTo>
                      <a:lnTo>
                        <a:pt x="532" y="1006"/>
                      </a:lnTo>
                      <a:lnTo>
                        <a:pt x="531" y="1005"/>
                      </a:lnTo>
                      <a:lnTo>
                        <a:pt x="531" y="1006"/>
                      </a:lnTo>
                      <a:lnTo>
                        <a:pt x="530" y="1006"/>
                      </a:lnTo>
                      <a:lnTo>
                        <a:pt x="531" y="1007"/>
                      </a:lnTo>
                      <a:lnTo>
                        <a:pt x="532" y="1007"/>
                      </a:lnTo>
                      <a:lnTo>
                        <a:pt x="532" y="1008"/>
                      </a:lnTo>
                      <a:lnTo>
                        <a:pt x="534" y="1008"/>
                      </a:lnTo>
                      <a:lnTo>
                        <a:pt x="534" y="1009"/>
                      </a:lnTo>
                      <a:lnTo>
                        <a:pt x="532" y="1008"/>
                      </a:lnTo>
                      <a:lnTo>
                        <a:pt x="531" y="1008"/>
                      </a:lnTo>
                      <a:lnTo>
                        <a:pt x="530" y="1009"/>
                      </a:lnTo>
                      <a:lnTo>
                        <a:pt x="530" y="1011"/>
                      </a:lnTo>
                      <a:lnTo>
                        <a:pt x="530" y="1012"/>
                      </a:lnTo>
                      <a:lnTo>
                        <a:pt x="530" y="1013"/>
                      </a:lnTo>
                      <a:lnTo>
                        <a:pt x="530" y="1014"/>
                      </a:lnTo>
                      <a:lnTo>
                        <a:pt x="531" y="1014"/>
                      </a:lnTo>
                      <a:lnTo>
                        <a:pt x="532" y="1015"/>
                      </a:lnTo>
                      <a:lnTo>
                        <a:pt x="532" y="1016"/>
                      </a:lnTo>
                      <a:lnTo>
                        <a:pt x="532" y="1017"/>
                      </a:lnTo>
                      <a:lnTo>
                        <a:pt x="532" y="1018"/>
                      </a:lnTo>
                      <a:lnTo>
                        <a:pt x="534" y="1018"/>
                      </a:lnTo>
                      <a:lnTo>
                        <a:pt x="534" y="1019"/>
                      </a:lnTo>
                      <a:lnTo>
                        <a:pt x="535" y="1019"/>
                      </a:lnTo>
                      <a:lnTo>
                        <a:pt x="535" y="1020"/>
                      </a:lnTo>
                      <a:lnTo>
                        <a:pt x="536" y="1020"/>
                      </a:lnTo>
                      <a:lnTo>
                        <a:pt x="536" y="1021"/>
                      </a:lnTo>
                      <a:lnTo>
                        <a:pt x="537" y="1021"/>
                      </a:lnTo>
                      <a:lnTo>
                        <a:pt x="538" y="1022"/>
                      </a:lnTo>
                      <a:lnTo>
                        <a:pt x="539" y="1024"/>
                      </a:lnTo>
                      <a:lnTo>
                        <a:pt x="539" y="1025"/>
                      </a:lnTo>
                      <a:lnTo>
                        <a:pt x="540" y="1025"/>
                      </a:lnTo>
                      <a:lnTo>
                        <a:pt x="541" y="1027"/>
                      </a:lnTo>
                      <a:lnTo>
                        <a:pt x="542" y="1027"/>
                      </a:lnTo>
                      <a:lnTo>
                        <a:pt x="543" y="1028"/>
                      </a:lnTo>
                      <a:lnTo>
                        <a:pt x="543" y="1027"/>
                      </a:lnTo>
                      <a:lnTo>
                        <a:pt x="544" y="1027"/>
                      </a:lnTo>
                      <a:lnTo>
                        <a:pt x="544" y="1025"/>
                      </a:lnTo>
                      <a:lnTo>
                        <a:pt x="545" y="1025"/>
                      </a:lnTo>
                      <a:lnTo>
                        <a:pt x="545" y="1024"/>
                      </a:lnTo>
                      <a:lnTo>
                        <a:pt x="547" y="1022"/>
                      </a:lnTo>
                      <a:lnTo>
                        <a:pt x="548" y="1022"/>
                      </a:lnTo>
                      <a:lnTo>
                        <a:pt x="549" y="1021"/>
                      </a:lnTo>
                      <a:lnTo>
                        <a:pt x="550" y="1022"/>
                      </a:lnTo>
                      <a:lnTo>
                        <a:pt x="550" y="1024"/>
                      </a:lnTo>
                      <a:lnTo>
                        <a:pt x="550" y="1025"/>
                      </a:lnTo>
                      <a:lnTo>
                        <a:pt x="549" y="1025"/>
                      </a:lnTo>
                      <a:lnTo>
                        <a:pt x="548" y="1025"/>
                      </a:lnTo>
                      <a:lnTo>
                        <a:pt x="547" y="1025"/>
                      </a:lnTo>
                      <a:lnTo>
                        <a:pt x="547" y="1026"/>
                      </a:lnTo>
                      <a:lnTo>
                        <a:pt x="547" y="1027"/>
                      </a:lnTo>
                      <a:lnTo>
                        <a:pt x="548" y="1027"/>
                      </a:lnTo>
                      <a:lnTo>
                        <a:pt x="548" y="1028"/>
                      </a:lnTo>
                      <a:lnTo>
                        <a:pt x="549" y="1028"/>
                      </a:lnTo>
                      <a:lnTo>
                        <a:pt x="549" y="1029"/>
                      </a:lnTo>
                      <a:lnTo>
                        <a:pt x="548" y="1029"/>
                      </a:lnTo>
                      <a:lnTo>
                        <a:pt x="548" y="1030"/>
                      </a:lnTo>
                      <a:lnTo>
                        <a:pt x="549" y="1030"/>
                      </a:lnTo>
                      <a:lnTo>
                        <a:pt x="549" y="1031"/>
                      </a:lnTo>
                      <a:lnTo>
                        <a:pt x="550" y="1032"/>
                      </a:lnTo>
                      <a:lnTo>
                        <a:pt x="549" y="1032"/>
                      </a:lnTo>
                      <a:lnTo>
                        <a:pt x="549" y="1033"/>
                      </a:lnTo>
                      <a:lnTo>
                        <a:pt x="549" y="1034"/>
                      </a:lnTo>
                      <a:lnTo>
                        <a:pt x="549" y="1035"/>
                      </a:lnTo>
                      <a:lnTo>
                        <a:pt x="549" y="1037"/>
                      </a:lnTo>
                      <a:lnTo>
                        <a:pt x="548" y="1038"/>
                      </a:lnTo>
                      <a:lnTo>
                        <a:pt x="548" y="1039"/>
                      </a:lnTo>
                      <a:lnTo>
                        <a:pt x="548" y="1040"/>
                      </a:lnTo>
                      <a:lnTo>
                        <a:pt x="548" y="1041"/>
                      </a:lnTo>
                      <a:lnTo>
                        <a:pt x="548" y="1043"/>
                      </a:lnTo>
                      <a:lnTo>
                        <a:pt x="547" y="1043"/>
                      </a:lnTo>
                      <a:lnTo>
                        <a:pt x="547" y="1045"/>
                      </a:lnTo>
                      <a:lnTo>
                        <a:pt x="545" y="1045"/>
                      </a:lnTo>
                      <a:lnTo>
                        <a:pt x="544" y="1045"/>
                      </a:lnTo>
                      <a:lnTo>
                        <a:pt x="543" y="1045"/>
                      </a:lnTo>
                      <a:lnTo>
                        <a:pt x="542" y="1044"/>
                      </a:lnTo>
                      <a:lnTo>
                        <a:pt x="542" y="1043"/>
                      </a:lnTo>
                      <a:lnTo>
                        <a:pt x="542" y="1042"/>
                      </a:lnTo>
                      <a:lnTo>
                        <a:pt x="541" y="1042"/>
                      </a:lnTo>
                      <a:lnTo>
                        <a:pt x="541" y="1041"/>
                      </a:lnTo>
                      <a:lnTo>
                        <a:pt x="540" y="1041"/>
                      </a:lnTo>
                      <a:lnTo>
                        <a:pt x="540" y="1040"/>
                      </a:lnTo>
                      <a:lnTo>
                        <a:pt x="539" y="1039"/>
                      </a:lnTo>
                      <a:lnTo>
                        <a:pt x="538" y="1039"/>
                      </a:lnTo>
                      <a:lnTo>
                        <a:pt x="537" y="1039"/>
                      </a:lnTo>
                      <a:lnTo>
                        <a:pt x="537" y="1038"/>
                      </a:lnTo>
                      <a:lnTo>
                        <a:pt x="537" y="1037"/>
                      </a:lnTo>
                      <a:lnTo>
                        <a:pt x="537" y="1035"/>
                      </a:lnTo>
                      <a:lnTo>
                        <a:pt x="536" y="1035"/>
                      </a:lnTo>
                      <a:lnTo>
                        <a:pt x="535" y="1034"/>
                      </a:lnTo>
                      <a:lnTo>
                        <a:pt x="534" y="1034"/>
                      </a:lnTo>
                      <a:lnTo>
                        <a:pt x="532" y="1034"/>
                      </a:lnTo>
                      <a:lnTo>
                        <a:pt x="531" y="1034"/>
                      </a:lnTo>
                      <a:lnTo>
                        <a:pt x="530" y="1034"/>
                      </a:lnTo>
                      <a:lnTo>
                        <a:pt x="528" y="1033"/>
                      </a:lnTo>
                      <a:lnTo>
                        <a:pt x="526" y="1033"/>
                      </a:lnTo>
                      <a:lnTo>
                        <a:pt x="525" y="1033"/>
                      </a:lnTo>
                      <a:lnTo>
                        <a:pt x="525" y="1034"/>
                      </a:lnTo>
                      <a:lnTo>
                        <a:pt x="524" y="1034"/>
                      </a:lnTo>
                      <a:lnTo>
                        <a:pt x="524" y="1035"/>
                      </a:lnTo>
                      <a:lnTo>
                        <a:pt x="524" y="1037"/>
                      </a:lnTo>
                      <a:lnTo>
                        <a:pt x="523" y="1038"/>
                      </a:lnTo>
                      <a:lnTo>
                        <a:pt x="523" y="1039"/>
                      </a:lnTo>
                      <a:lnTo>
                        <a:pt x="524" y="1040"/>
                      </a:lnTo>
                      <a:lnTo>
                        <a:pt x="525" y="1041"/>
                      </a:lnTo>
                      <a:lnTo>
                        <a:pt x="525" y="1042"/>
                      </a:lnTo>
                      <a:lnTo>
                        <a:pt x="526" y="1042"/>
                      </a:lnTo>
                      <a:lnTo>
                        <a:pt x="526" y="1043"/>
                      </a:lnTo>
                      <a:lnTo>
                        <a:pt x="526" y="1044"/>
                      </a:lnTo>
                      <a:lnTo>
                        <a:pt x="527" y="1044"/>
                      </a:lnTo>
                      <a:lnTo>
                        <a:pt x="527" y="1045"/>
                      </a:lnTo>
                      <a:lnTo>
                        <a:pt x="528" y="1046"/>
                      </a:lnTo>
                      <a:lnTo>
                        <a:pt x="528" y="1047"/>
                      </a:lnTo>
                      <a:lnTo>
                        <a:pt x="529" y="1047"/>
                      </a:lnTo>
                      <a:lnTo>
                        <a:pt x="530" y="1047"/>
                      </a:lnTo>
                      <a:lnTo>
                        <a:pt x="530" y="1046"/>
                      </a:lnTo>
                      <a:lnTo>
                        <a:pt x="531" y="1046"/>
                      </a:lnTo>
                      <a:lnTo>
                        <a:pt x="532" y="1047"/>
                      </a:lnTo>
                      <a:lnTo>
                        <a:pt x="531" y="1047"/>
                      </a:lnTo>
                      <a:lnTo>
                        <a:pt x="531" y="1048"/>
                      </a:lnTo>
                      <a:lnTo>
                        <a:pt x="531" y="1050"/>
                      </a:lnTo>
                      <a:lnTo>
                        <a:pt x="532" y="1051"/>
                      </a:lnTo>
                      <a:lnTo>
                        <a:pt x="535" y="1052"/>
                      </a:lnTo>
                      <a:lnTo>
                        <a:pt x="536" y="1053"/>
                      </a:lnTo>
                      <a:lnTo>
                        <a:pt x="536" y="1054"/>
                      </a:lnTo>
                      <a:lnTo>
                        <a:pt x="537" y="1054"/>
                      </a:lnTo>
                      <a:lnTo>
                        <a:pt x="538" y="1055"/>
                      </a:lnTo>
                      <a:lnTo>
                        <a:pt x="539" y="1056"/>
                      </a:lnTo>
                      <a:lnTo>
                        <a:pt x="539" y="1057"/>
                      </a:lnTo>
                      <a:lnTo>
                        <a:pt x="538" y="1057"/>
                      </a:lnTo>
                      <a:lnTo>
                        <a:pt x="537" y="1057"/>
                      </a:lnTo>
                      <a:lnTo>
                        <a:pt x="537" y="1056"/>
                      </a:lnTo>
                      <a:lnTo>
                        <a:pt x="537" y="1055"/>
                      </a:lnTo>
                      <a:lnTo>
                        <a:pt x="536" y="1055"/>
                      </a:lnTo>
                      <a:lnTo>
                        <a:pt x="535" y="1054"/>
                      </a:lnTo>
                      <a:lnTo>
                        <a:pt x="534" y="1054"/>
                      </a:lnTo>
                      <a:lnTo>
                        <a:pt x="534" y="1055"/>
                      </a:lnTo>
                      <a:lnTo>
                        <a:pt x="534" y="1056"/>
                      </a:lnTo>
                      <a:lnTo>
                        <a:pt x="534" y="1057"/>
                      </a:lnTo>
                      <a:lnTo>
                        <a:pt x="535" y="1058"/>
                      </a:lnTo>
                      <a:lnTo>
                        <a:pt x="535" y="1059"/>
                      </a:lnTo>
                      <a:lnTo>
                        <a:pt x="536" y="1060"/>
                      </a:lnTo>
                      <a:lnTo>
                        <a:pt x="536" y="1061"/>
                      </a:lnTo>
                      <a:lnTo>
                        <a:pt x="536" y="1063"/>
                      </a:lnTo>
                      <a:lnTo>
                        <a:pt x="536" y="1064"/>
                      </a:lnTo>
                      <a:lnTo>
                        <a:pt x="535" y="1064"/>
                      </a:lnTo>
                      <a:lnTo>
                        <a:pt x="535" y="1063"/>
                      </a:lnTo>
                      <a:lnTo>
                        <a:pt x="535" y="1060"/>
                      </a:lnTo>
                      <a:lnTo>
                        <a:pt x="534" y="1058"/>
                      </a:lnTo>
                      <a:lnTo>
                        <a:pt x="532" y="1058"/>
                      </a:lnTo>
                      <a:lnTo>
                        <a:pt x="532" y="1057"/>
                      </a:lnTo>
                      <a:lnTo>
                        <a:pt x="531" y="1056"/>
                      </a:lnTo>
                      <a:lnTo>
                        <a:pt x="531" y="1054"/>
                      </a:lnTo>
                      <a:lnTo>
                        <a:pt x="530" y="1054"/>
                      </a:lnTo>
                      <a:lnTo>
                        <a:pt x="530" y="1053"/>
                      </a:lnTo>
                      <a:lnTo>
                        <a:pt x="530" y="1052"/>
                      </a:lnTo>
                      <a:lnTo>
                        <a:pt x="529" y="1051"/>
                      </a:lnTo>
                      <a:lnTo>
                        <a:pt x="528" y="1050"/>
                      </a:lnTo>
                      <a:lnTo>
                        <a:pt x="528" y="1048"/>
                      </a:lnTo>
                      <a:lnTo>
                        <a:pt x="527" y="1048"/>
                      </a:lnTo>
                      <a:lnTo>
                        <a:pt x="527" y="1047"/>
                      </a:lnTo>
                      <a:lnTo>
                        <a:pt x="526" y="1047"/>
                      </a:lnTo>
                      <a:lnTo>
                        <a:pt x="526" y="1046"/>
                      </a:lnTo>
                      <a:lnTo>
                        <a:pt x="525" y="1045"/>
                      </a:lnTo>
                      <a:lnTo>
                        <a:pt x="524" y="1044"/>
                      </a:lnTo>
                      <a:lnTo>
                        <a:pt x="524" y="1043"/>
                      </a:lnTo>
                      <a:lnTo>
                        <a:pt x="523" y="1042"/>
                      </a:lnTo>
                      <a:lnTo>
                        <a:pt x="522" y="1042"/>
                      </a:lnTo>
                      <a:lnTo>
                        <a:pt x="522" y="1041"/>
                      </a:lnTo>
                      <a:lnTo>
                        <a:pt x="521" y="1041"/>
                      </a:lnTo>
                      <a:lnTo>
                        <a:pt x="521" y="1042"/>
                      </a:lnTo>
                      <a:lnTo>
                        <a:pt x="519" y="1042"/>
                      </a:lnTo>
                      <a:lnTo>
                        <a:pt x="519" y="1043"/>
                      </a:lnTo>
                      <a:lnTo>
                        <a:pt x="518" y="1043"/>
                      </a:lnTo>
                      <a:lnTo>
                        <a:pt x="517" y="1043"/>
                      </a:lnTo>
                      <a:lnTo>
                        <a:pt x="517" y="1044"/>
                      </a:lnTo>
                      <a:lnTo>
                        <a:pt x="517" y="1045"/>
                      </a:lnTo>
                      <a:lnTo>
                        <a:pt x="518" y="1046"/>
                      </a:lnTo>
                      <a:lnTo>
                        <a:pt x="518" y="1047"/>
                      </a:lnTo>
                      <a:lnTo>
                        <a:pt x="519" y="1047"/>
                      </a:lnTo>
                      <a:lnTo>
                        <a:pt x="519" y="1048"/>
                      </a:lnTo>
                      <a:lnTo>
                        <a:pt x="521" y="1048"/>
                      </a:lnTo>
                      <a:lnTo>
                        <a:pt x="522" y="1048"/>
                      </a:lnTo>
                      <a:lnTo>
                        <a:pt x="522" y="1050"/>
                      </a:lnTo>
                      <a:lnTo>
                        <a:pt x="521" y="1050"/>
                      </a:lnTo>
                      <a:lnTo>
                        <a:pt x="521" y="1051"/>
                      </a:lnTo>
                      <a:lnTo>
                        <a:pt x="519" y="1052"/>
                      </a:lnTo>
                      <a:lnTo>
                        <a:pt x="519" y="1053"/>
                      </a:lnTo>
                      <a:lnTo>
                        <a:pt x="519" y="1054"/>
                      </a:lnTo>
                      <a:lnTo>
                        <a:pt x="519" y="1055"/>
                      </a:lnTo>
                      <a:lnTo>
                        <a:pt x="519" y="1056"/>
                      </a:lnTo>
                      <a:lnTo>
                        <a:pt x="518" y="1056"/>
                      </a:lnTo>
                      <a:lnTo>
                        <a:pt x="518" y="1057"/>
                      </a:lnTo>
                      <a:lnTo>
                        <a:pt x="518" y="1058"/>
                      </a:lnTo>
                      <a:lnTo>
                        <a:pt x="518" y="1057"/>
                      </a:lnTo>
                      <a:lnTo>
                        <a:pt x="518" y="1056"/>
                      </a:lnTo>
                      <a:lnTo>
                        <a:pt x="517" y="1056"/>
                      </a:lnTo>
                      <a:lnTo>
                        <a:pt x="517" y="1055"/>
                      </a:lnTo>
                      <a:lnTo>
                        <a:pt x="517" y="1054"/>
                      </a:lnTo>
                      <a:lnTo>
                        <a:pt x="518" y="1054"/>
                      </a:lnTo>
                      <a:lnTo>
                        <a:pt x="518" y="1053"/>
                      </a:lnTo>
                      <a:lnTo>
                        <a:pt x="518" y="1052"/>
                      </a:lnTo>
                      <a:lnTo>
                        <a:pt x="518" y="1051"/>
                      </a:lnTo>
                      <a:lnTo>
                        <a:pt x="518" y="1050"/>
                      </a:lnTo>
                      <a:lnTo>
                        <a:pt x="517" y="1050"/>
                      </a:lnTo>
                      <a:lnTo>
                        <a:pt x="517" y="1048"/>
                      </a:lnTo>
                      <a:lnTo>
                        <a:pt x="516" y="1048"/>
                      </a:lnTo>
                      <a:lnTo>
                        <a:pt x="516" y="1047"/>
                      </a:lnTo>
                      <a:lnTo>
                        <a:pt x="515" y="1047"/>
                      </a:lnTo>
                      <a:lnTo>
                        <a:pt x="515" y="1050"/>
                      </a:lnTo>
                      <a:lnTo>
                        <a:pt x="514" y="1050"/>
                      </a:lnTo>
                      <a:lnTo>
                        <a:pt x="513" y="1050"/>
                      </a:lnTo>
                      <a:lnTo>
                        <a:pt x="512" y="1050"/>
                      </a:lnTo>
                      <a:lnTo>
                        <a:pt x="512" y="1051"/>
                      </a:lnTo>
                      <a:lnTo>
                        <a:pt x="511" y="1051"/>
                      </a:lnTo>
                      <a:lnTo>
                        <a:pt x="511" y="1052"/>
                      </a:lnTo>
                      <a:lnTo>
                        <a:pt x="510" y="1052"/>
                      </a:lnTo>
                      <a:lnTo>
                        <a:pt x="509" y="1052"/>
                      </a:lnTo>
                      <a:lnTo>
                        <a:pt x="508" y="1052"/>
                      </a:lnTo>
                      <a:lnTo>
                        <a:pt x="508" y="1053"/>
                      </a:lnTo>
                      <a:lnTo>
                        <a:pt x="506" y="1053"/>
                      </a:lnTo>
                      <a:lnTo>
                        <a:pt x="506" y="1054"/>
                      </a:lnTo>
                      <a:lnTo>
                        <a:pt x="505" y="1054"/>
                      </a:lnTo>
                      <a:lnTo>
                        <a:pt x="505" y="1055"/>
                      </a:lnTo>
                      <a:lnTo>
                        <a:pt x="505" y="1056"/>
                      </a:lnTo>
                      <a:lnTo>
                        <a:pt x="505" y="1055"/>
                      </a:lnTo>
                      <a:lnTo>
                        <a:pt x="504" y="1055"/>
                      </a:lnTo>
                      <a:lnTo>
                        <a:pt x="504" y="1054"/>
                      </a:lnTo>
                      <a:lnTo>
                        <a:pt x="503" y="1053"/>
                      </a:lnTo>
                      <a:lnTo>
                        <a:pt x="503" y="1052"/>
                      </a:lnTo>
                      <a:lnTo>
                        <a:pt x="502" y="1051"/>
                      </a:lnTo>
                      <a:lnTo>
                        <a:pt x="501" y="1052"/>
                      </a:lnTo>
                      <a:lnTo>
                        <a:pt x="500" y="1052"/>
                      </a:lnTo>
                      <a:lnTo>
                        <a:pt x="500" y="1053"/>
                      </a:lnTo>
                      <a:lnTo>
                        <a:pt x="500" y="1054"/>
                      </a:lnTo>
                      <a:lnTo>
                        <a:pt x="500" y="1056"/>
                      </a:lnTo>
                      <a:lnTo>
                        <a:pt x="501" y="1057"/>
                      </a:lnTo>
                      <a:lnTo>
                        <a:pt x="501" y="1058"/>
                      </a:lnTo>
                      <a:lnTo>
                        <a:pt x="501" y="1059"/>
                      </a:lnTo>
                      <a:lnTo>
                        <a:pt x="501" y="1060"/>
                      </a:lnTo>
                      <a:lnTo>
                        <a:pt x="501" y="1061"/>
                      </a:lnTo>
                      <a:lnTo>
                        <a:pt x="501" y="1063"/>
                      </a:lnTo>
                      <a:lnTo>
                        <a:pt x="502" y="1065"/>
                      </a:lnTo>
                      <a:lnTo>
                        <a:pt x="502" y="1066"/>
                      </a:lnTo>
                      <a:lnTo>
                        <a:pt x="502" y="1067"/>
                      </a:lnTo>
                      <a:lnTo>
                        <a:pt x="502" y="1068"/>
                      </a:lnTo>
                      <a:lnTo>
                        <a:pt x="502" y="1069"/>
                      </a:lnTo>
                      <a:lnTo>
                        <a:pt x="501" y="1069"/>
                      </a:lnTo>
                      <a:lnTo>
                        <a:pt x="501" y="1070"/>
                      </a:lnTo>
                      <a:lnTo>
                        <a:pt x="500" y="1070"/>
                      </a:lnTo>
                      <a:lnTo>
                        <a:pt x="499" y="1070"/>
                      </a:lnTo>
                      <a:lnTo>
                        <a:pt x="499" y="1069"/>
                      </a:lnTo>
                      <a:lnTo>
                        <a:pt x="498" y="1068"/>
                      </a:lnTo>
                      <a:lnTo>
                        <a:pt x="497" y="1068"/>
                      </a:lnTo>
                      <a:lnTo>
                        <a:pt x="497" y="1069"/>
                      </a:lnTo>
                      <a:lnTo>
                        <a:pt x="497" y="1068"/>
                      </a:lnTo>
                      <a:lnTo>
                        <a:pt x="496" y="1068"/>
                      </a:lnTo>
                      <a:lnTo>
                        <a:pt x="496" y="1067"/>
                      </a:lnTo>
                      <a:lnTo>
                        <a:pt x="496" y="1066"/>
                      </a:lnTo>
                      <a:lnTo>
                        <a:pt x="495" y="1066"/>
                      </a:lnTo>
                      <a:lnTo>
                        <a:pt x="495" y="1065"/>
                      </a:lnTo>
                      <a:lnTo>
                        <a:pt x="495" y="1064"/>
                      </a:lnTo>
                      <a:lnTo>
                        <a:pt x="495" y="1063"/>
                      </a:lnTo>
                      <a:lnTo>
                        <a:pt x="495" y="1061"/>
                      </a:lnTo>
                      <a:lnTo>
                        <a:pt x="493" y="1061"/>
                      </a:lnTo>
                      <a:lnTo>
                        <a:pt x="493" y="1060"/>
                      </a:lnTo>
                      <a:lnTo>
                        <a:pt x="493" y="1059"/>
                      </a:lnTo>
                      <a:lnTo>
                        <a:pt x="493" y="1058"/>
                      </a:lnTo>
                      <a:lnTo>
                        <a:pt x="495" y="1058"/>
                      </a:lnTo>
                      <a:lnTo>
                        <a:pt x="495" y="1057"/>
                      </a:lnTo>
                      <a:lnTo>
                        <a:pt x="495" y="1056"/>
                      </a:lnTo>
                      <a:lnTo>
                        <a:pt x="493" y="1056"/>
                      </a:lnTo>
                      <a:lnTo>
                        <a:pt x="493" y="1057"/>
                      </a:lnTo>
                      <a:lnTo>
                        <a:pt x="492" y="1057"/>
                      </a:lnTo>
                      <a:lnTo>
                        <a:pt x="491" y="1057"/>
                      </a:lnTo>
                      <a:lnTo>
                        <a:pt x="490" y="1057"/>
                      </a:lnTo>
                      <a:lnTo>
                        <a:pt x="490" y="1058"/>
                      </a:lnTo>
                      <a:lnTo>
                        <a:pt x="489" y="1058"/>
                      </a:lnTo>
                      <a:lnTo>
                        <a:pt x="490" y="1059"/>
                      </a:lnTo>
                      <a:lnTo>
                        <a:pt x="489" y="1059"/>
                      </a:lnTo>
                      <a:lnTo>
                        <a:pt x="489" y="1060"/>
                      </a:lnTo>
                      <a:lnTo>
                        <a:pt x="488" y="1060"/>
                      </a:lnTo>
                      <a:lnTo>
                        <a:pt x="487" y="1060"/>
                      </a:lnTo>
                      <a:lnTo>
                        <a:pt x="487" y="1061"/>
                      </a:lnTo>
                      <a:lnTo>
                        <a:pt x="488" y="1061"/>
                      </a:lnTo>
                      <a:lnTo>
                        <a:pt x="487" y="1063"/>
                      </a:lnTo>
                      <a:lnTo>
                        <a:pt x="487" y="1064"/>
                      </a:lnTo>
                      <a:lnTo>
                        <a:pt x="487" y="1065"/>
                      </a:lnTo>
                      <a:lnTo>
                        <a:pt x="487" y="1066"/>
                      </a:lnTo>
                      <a:lnTo>
                        <a:pt x="488" y="1066"/>
                      </a:lnTo>
                      <a:lnTo>
                        <a:pt x="489" y="1067"/>
                      </a:lnTo>
                      <a:lnTo>
                        <a:pt x="488" y="1067"/>
                      </a:lnTo>
                      <a:lnTo>
                        <a:pt x="488" y="1068"/>
                      </a:lnTo>
                      <a:lnTo>
                        <a:pt x="487" y="1068"/>
                      </a:lnTo>
                      <a:lnTo>
                        <a:pt x="488" y="1069"/>
                      </a:lnTo>
                      <a:lnTo>
                        <a:pt x="488" y="1070"/>
                      </a:lnTo>
                      <a:lnTo>
                        <a:pt x="487" y="1070"/>
                      </a:lnTo>
                      <a:lnTo>
                        <a:pt x="488" y="1070"/>
                      </a:lnTo>
                      <a:lnTo>
                        <a:pt x="488" y="1071"/>
                      </a:lnTo>
                      <a:lnTo>
                        <a:pt x="490" y="1071"/>
                      </a:lnTo>
                      <a:lnTo>
                        <a:pt x="492" y="1072"/>
                      </a:lnTo>
                      <a:lnTo>
                        <a:pt x="491" y="1072"/>
                      </a:lnTo>
                      <a:lnTo>
                        <a:pt x="492" y="1073"/>
                      </a:lnTo>
                      <a:lnTo>
                        <a:pt x="493" y="1073"/>
                      </a:lnTo>
                      <a:lnTo>
                        <a:pt x="495" y="1073"/>
                      </a:lnTo>
                      <a:lnTo>
                        <a:pt x="495" y="1074"/>
                      </a:lnTo>
                      <a:lnTo>
                        <a:pt x="493" y="1074"/>
                      </a:lnTo>
                      <a:lnTo>
                        <a:pt x="492" y="1074"/>
                      </a:lnTo>
                      <a:lnTo>
                        <a:pt x="492" y="1076"/>
                      </a:lnTo>
                      <a:lnTo>
                        <a:pt x="493" y="1076"/>
                      </a:lnTo>
                      <a:lnTo>
                        <a:pt x="493" y="1077"/>
                      </a:lnTo>
                      <a:lnTo>
                        <a:pt x="493" y="1078"/>
                      </a:lnTo>
                      <a:lnTo>
                        <a:pt x="495" y="1078"/>
                      </a:lnTo>
                      <a:lnTo>
                        <a:pt x="496" y="1078"/>
                      </a:lnTo>
                      <a:lnTo>
                        <a:pt x="497" y="1078"/>
                      </a:lnTo>
                      <a:lnTo>
                        <a:pt x="497" y="1077"/>
                      </a:lnTo>
                      <a:lnTo>
                        <a:pt x="497" y="1076"/>
                      </a:lnTo>
                      <a:lnTo>
                        <a:pt x="497" y="1074"/>
                      </a:lnTo>
                      <a:lnTo>
                        <a:pt x="498" y="1074"/>
                      </a:lnTo>
                      <a:lnTo>
                        <a:pt x="499" y="1074"/>
                      </a:lnTo>
                      <a:lnTo>
                        <a:pt x="499" y="1076"/>
                      </a:lnTo>
                      <a:lnTo>
                        <a:pt x="498" y="1077"/>
                      </a:lnTo>
                      <a:lnTo>
                        <a:pt x="499" y="1078"/>
                      </a:lnTo>
                      <a:lnTo>
                        <a:pt x="499" y="1079"/>
                      </a:lnTo>
                      <a:lnTo>
                        <a:pt x="500" y="1079"/>
                      </a:lnTo>
                      <a:lnTo>
                        <a:pt x="500" y="1080"/>
                      </a:lnTo>
                      <a:lnTo>
                        <a:pt x="501" y="1081"/>
                      </a:lnTo>
                      <a:lnTo>
                        <a:pt x="500" y="1082"/>
                      </a:lnTo>
                      <a:lnTo>
                        <a:pt x="499" y="1082"/>
                      </a:lnTo>
                      <a:lnTo>
                        <a:pt x="498" y="1082"/>
                      </a:lnTo>
                      <a:lnTo>
                        <a:pt x="497" y="1082"/>
                      </a:lnTo>
                      <a:lnTo>
                        <a:pt x="496" y="1083"/>
                      </a:lnTo>
                      <a:lnTo>
                        <a:pt x="496" y="1084"/>
                      </a:lnTo>
                      <a:lnTo>
                        <a:pt x="496" y="1085"/>
                      </a:lnTo>
                      <a:lnTo>
                        <a:pt x="496" y="1086"/>
                      </a:lnTo>
                      <a:lnTo>
                        <a:pt x="496" y="1088"/>
                      </a:lnTo>
                      <a:lnTo>
                        <a:pt x="496" y="1089"/>
                      </a:lnTo>
                      <a:lnTo>
                        <a:pt x="496" y="1090"/>
                      </a:lnTo>
                      <a:lnTo>
                        <a:pt x="496" y="1091"/>
                      </a:lnTo>
                      <a:lnTo>
                        <a:pt x="497" y="1091"/>
                      </a:lnTo>
                      <a:lnTo>
                        <a:pt x="497" y="1092"/>
                      </a:lnTo>
                      <a:lnTo>
                        <a:pt x="497" y="1093"/>
                      </a:lnTo>
                      <a:lnTo>
                        <a:pt x="496" y="1093"/>
                      </a:lnTo>
                      <a:lnTo>
                        <a:pt x="495" y="1093"/>
                      </a:lnTo>
                      <a:lnTo>
                        <a:pt x="493" y="1093"/>
                      </a:lnTo>
                      <a:lnTo>
                        <a:pt x="493" y="1094"/>
                      </a:lnTo>
                      <a:lnTo>
                        <a:pt x="492" y="1094"/>
                      </a:lnTo>
                      <a:lnTo>
                        <a:pt x="491" y="1094"/>
                      </a:lnTo>
                      <a:lnTo>
                        <a:pt x="490" y="1094"/>
                      </a:lnTo>
                      <a:lnTo>
                        <a:pt x="489" y="1095"/>
                      </a:lnTo>
                      <a:lnTo>
                        <a:pt x="489" y="1096"/>
                      </a:lnTo>
                      <a:lnTo>
                        <a:pt x="490" y="1097"/>
                      </a:lnTo>
                      <a:lnTo>
                        <a:pt x="490" y="1098"/>
                      </a:lnTo>
                      <a:lnTo>
                        <a:pt x="489" y="1098"/>
                      </a:lnTo>
                      <a:lnTo>
                        <a:pt x="489" y="1099"/>
                      </a:lnTo>
                      <a:lnTo>
                        <a:pt x="489" y="1101"/>
                      </a:lnTo>
                      <a:lnTo>
                        <a:pt x="490" y="1101"/>
                      </a:lnTo>
                      <a:lnTo>
                        <a:pt x="490" y="1102"/>
                      </a:lnTo>
                      <a:lnTo>
                        <a:pt x="490" y="1103"/>
                      </a:lnTo>
                      <a:lnTo>
                        <a:pt x="490" y="1104"/>
                      </a:lnTo>
                      <a:lnTo>
                        <a:pt x="491" y="1104"/>
                      </a:lnTo>
                      <a:lnTo>
                        <a:pt x="492" y="1104"/>
                      </a:lnTo>
                      <a:lnTo>
                        <a:pt x="492" y="1105"/>
                      </a:lnTo>
                      <a:lnTo>
                        <a:pt x="492" y="1106"/>
                      </a:lnTo>
                      <a:lnTo>
                        <a:pt x="491" y="1106"/>
                      </a:lnTo>
                      <a:lnTo>
                        <a:pt x="491" y="1107"/>
                      </a:lnTo>
                      <a:lnTo>
                        <a:pt x="490" y="1107"/>
                      </a:lnTo>
                      <a:lnTo>
                        <a:pt x="489" y="1108"/>
                      </a:lnTo>
                      <a:lnTo>
                        <a:pt x="489" y="1109"/>
                      </a:lnTo>
                      <a:lnTo>
                        <a:pt x="488" y="1109"/>
                      </a:lnTo>
                      <a:lnTo>
                        <a:pt x="488" y="1110"/>
                      </a:lnTo>
                      <a:lnTo>
                        <a:pt x="488" y="1111"/>
                      </a:lnTo>
                      <a:lnTo>
                        <a:pt x="488" y="1112"/>
                      </a:lnTo>
                      <a:lnTo>
                        <a:pt x="488" y="1114"/>
                      </a:lnTo>
                      <a:lnTo>
                        <a:pt x="488" y="1115"/>
                      </a:lnTo>
                      <a:lnTo>
                        <a:pt x="488" y="1116"/>
                      </a:lnTo>
                      <a:lnTo>
                        <a:pt x="488" y="1117"/>
                      </a:lnTo>
                      <a:lnTo>
                        <a:pt x="488" y="1116"/>
                      </a:lnTo>
                      <a:lnTo>
                        <a:pt x="487" y="1115"/>
                      </a:lnTo>
                      <a:lnTo>
                        <a:pt x="487" y="1114"/>
                      </a:lnTo>
                      <a:lnTo>
                        <a:pt x="486" y="1115"/>
                      </a:lnTo>
                      <a:lnTo>
                        <a:pt x="485" y="1115"/>
                      </a:lnTo>
                      <a:lnTo>
                        <a:pt x="486" y="1116"/>
                      </a:lnTo>
                      <a:lnTo>
                        <a:pt x="486" y="1117"/>
                      </a:lnTo>
                      <a:lnTo>
                        <a:pt x="485" y="1118"/>
                      </a:lnTo>
                      <a:lnTo>
                        <a:pt x="484" y="1118"/>
                      </a:lnTo>
                      <a:lnTo>
                        <a:pt x="484" y="1117"/>
                      </a:lnTo>
                      <a:lnTo>
                        <a:pt x="483" y="1116"/>
                      </a:lnTo>
                      <a:lnTo>
                        <a:pt x="482" y="1115"/>
                      </a:lnTo>
                      <a:lnTo>
                        <a:pt x="480" y="1116"/>
                      </a:lnTo>
                      <a:lnTo>
                        <a:pt x="480" y="1115"/>
                      </a:lnTo>
                      <a:lnTo>
                        <a:pt x="480" y="1114"/>
                      </a:lnTo>
                      <a:lnTo>
                        <a:pt x="479" y="1114"/>
                      </a:lnTo>
                      <a:lnTo>
                        <a:pt x="479" y="1112"/>
                      </a:lnTo>
                      <a:lnTo>
                        <a:pt x="479" y="1111"/>
                      </a:lnTo>
                      <a:lnTo>
                        <a:pt x="478" y="1111"/>
                      </a:lnTo>
                      <a:lnTo>
                        <a:pt x="477" y="1111"/>
                      </a:lnTo>
                      <a:lnTo>
                        <a:pt x="477" y="1112"/>
                      </a:lnTo>
                      <a:lnTo>
                        <a:pt x="476" y="1112"/>
                      </a:lnTo>
                      <a:lnTo>
                        <a:pt x="475" y="1112"/>
                      </a:lnTo>
                      <a:lnTo>
                        <a:pt x="474" y="1112"/>
                      </a:lnTo>
                      <a:lnTo>
                        <a:pt x="473" y="1112"/>
                      </a:lnTo>
                      <a:lnTo>
                        <a:pt x="471" y="1112"/>
                      </a:lnTo>
                      <a:lnTo>
                        <a:pt x="470" y="1112"/>
                      </a:lnTo>
                      <a:lnTo>
                        <a:pt x="470" y="1114"/>
                      </a:lnTo>
                      <a:lnTo>
                        <a:pt x="469" y="1114"/>
                      </a:lnTo>
                      <a:lnTo>
                        <a:pt x="469" y="1115"/>
                      </a:lnTo>
                      <a:lnTo>
                        <a:pt x="467" y="1115"/>
                      </a:lnTo>
                      <a:lnTo>
                        <a:pt x="469" y="1116"/>
                      </a:lnTo>
                      <a:lnTo>
                        <a:pt x="469" y="1117"/>
                      </a:lnTo>
                      <a:lnTo>
                        <a:pt x="470" y="1117"/>
                      </a:lnTo>
                      <a:lnTo>
                        <a:pt x="471" y="1117"/>
                      </a:lnTo>
                      <a:lnTo>
                        <a:pt x="471" y="1118"/>
                      </a:lnTo>
                      <a:lnTo>
                        <a:pt x="470" y="1118"/>
                      </a:lnTo>
                      <a:lnTo>
                        <a:pt x="469" y="1119"/>
                      </a:lnTo>
                      <a:lnTo>
                        <a:pt x="467" y="1118"/>
                      </a:lnTo>
                      <a:lnTo>
                        <a:pt x="467" y="1119"/>
                      </a:lnTo>
                      <a:lnTo>
                        <a:pt x="467" y="1118"/>
                      </a:lnTo>
                      <a:lnTo>
                        <a:pt x="466" y="1118"/>
                      </a:lnTo>
                      <a:lnTo>
                        <a:pt x="466" y="1117"/>
                      </a:lnTo>
                      <a:lnTo>
                        <a:pt x="465" y="1117"/>
                      </a:lnTo>
                      <a:lnTo>
                        <a:pt x="464" y="1118"/>
                      </a:lnTo>
                      <a:lnTo>
                        <a:pt x="463" y="1118"/>
                      </a:lnTo>
                      <a:lnTo>
                        <a:pt x="464" y="1117"/>
                      </a:lnTo>
                      <a:lnTo>
                        <a:pt x="464" y="1116"/>
                      </a:lnTo>
                      <a:lnTo>
                        <a:pt x="463" y="1116"/>
                      </a:lnTo>
                      <a:lnTo>
                        <a:pt x="463" y="1117"/>
                      </a:lnTo>
                      <a:lnTo>
                        <a:pt x="462" y="1117"/>
                      </a:lnTo>
                      <a:lnTo>
                        <a:pt x="461" y="1117"/>
                      </a:lnTo>
                      <a:lnTo>
                        <a:pt x="461" y="1116"/>
                      </a:lnTo>
                      <a:lnTo>
                        <a:pt x="460" y="1116"/>
                      </a:lnTo>
                      <a:lnTo>
                        <a:pt x="458" y="1116"/>
                      </a:lnTo>
                      <a:lnTo>
                        <a:pt x="458" y="1117"/>
                      </a:lnTo>
                      <a:lnTo>
                        <a:pt x="457" y="1118"/>
                      </a:lnTo>
                      <a:lnTo>
                        <a:pt x="458" y="1118"/>
                      </a:lnTo>
                      <a:lnTo>
                        <a:pt x="459" y="1118"/>
                      </a:lnTo>
                      <a:lnTo>
                        <a:pt x="459" y="1119"/>
                      </a:lnTo>
                      <a:lnTo>
                        <a:pt x="459" y="1120"/>
                      </a:lnTo>
                      <a:lnTo>
                        <a:pt x="459" y="1121"/>
                      </a:lnTo>
                      <a:lnTo>
                        <a:pt x="458" y="1122"/>
                      </a:lnTo>
                      <a:lnTo>
                        <a:pt x="458" y="1123"/>
                      </a:lnTo>
                      <a:lnTo>
                        <a:pt x="457" y="1123"/>
                      </a:lnTo>
                      <a:lnTo>
                        <a:pt x="457" y="1124"/>
                      </a:lnTo>
                      <a:lnTo>
                        <a:pt x="457" y="1125"/>
                      </a:lnTo>
                      <a:lnTo>
                        <a:pt x="456" y="1125"/>
                      </a:lnTo>
                      <a:lnTo>
                        <a:pt x="454" y="1125"/>
                      </a:lnTo>
                      <a:lnTo>
                        <a:pt x="454" y="1127"/>
                      </a:lnTo>
                      <a:lnTo>
                        <a:pt x="454" y="1128"/>
                      </a:lnTo>
                      <a:lnTo>
                        <a:pt x="454" y="1129"/>
                      </a:lnTo>
                      <a:lnTo>
                        <a:pt x="456" y="1129"/>
                      </a:lnTo>
                      <a:lnTo>
                        <a:pt x="456" y="1130"/>
                      </a:lnTo>
                      <a:lnTo>
                        <a:pt x="454" y="1130"/>
                      </a:lnTo>
                      <a:lnTo>
                        <a:pt x="454" y="1131"/>
                      </a:lnTo>
                      <a:lnTo>
                        <a:pt x="454" y="1132"/>
                      </a:lnTo>
                      <a:lnTo>
                        <a:pt x="453" y="1132"/>
                      </a:lnTo>
                      <a:lnTo>
                        <a:pt x="452" y="1131"/>
                      </a:lnTo>
                      <a:lnTo>
                        <a:pt x="451" y="1131"/>
                      </a:lnTo>
                      <a:lnTo>
                        <a:pt x="450" y="1131"/>
                      </a:lnTo>
                      <a:lnTo>
                        <a:pt x="449" y="1131"/>
                      </a:lnTo>
                      <a:lnTo>
                        <a:pt x="450" y="1131"/>
                      </a:lnTo>
                      <a:lnTo>
                        <a:pt x="450" y="1130"/>
                      </a:lnTo>
                      <a:lnTo>
                        <a:pt x="449" y="1130"/>
                      </a:lnTo>
                      <a:lnTo>
                        <a:pt x="449" y="1129"/>
                      </a:lnTo>
                      <a:lnTo>
                        <a:pt x="450" y="1129"/>
                      </a:lnTo>
                      <a:lnTo>
                        <a:pt x="449" y="1128"/>
                      </a:lnTo>
                      <a:lnTo>
                        <a:pt x="449" y="1129"/>
                      </a:lnTo>
                      <a:lnTo>
                        <a:pt x="448" y="1129"/>
                      </a:lnTo>
                      <a:lnTo>
                        <a:pt x="448" y="1128"/>
                      </a:lnTo>
                      <a:lnTo>
                        <a:pt x="448" y="1127"/>
                      </a:lnTo>
                      <a:lnTo>
                        <a:pt x="449" y="1127"/>
                      </a:lnTo>
                      <a:lnTo>
                        <a:pt x="450" y="1127"/>
                      </a:lnTo>
                      <a:lnTo>
                        <a:pt x="450" y="1125"/>
                      </a:lnTo>
                      <a:lnTo>
                        <a:pt x="449" y="1125"/>
                      </a:lnTo>
                      <a:lnTo>
                        <a:pt x="448" y="1125"/>
                      </a:lnTo>
                      <a:lnTo>
                        <a:pt x="448" y="1124"/>
                      </a:lnTo>
                      <a:lnTo>
                        <a:pt x="448" y="1125"/>
                      </a:lnTo>
                      <a:lnTo>
                        <a:pt x="447" y="1125"/>
                      </a:lnTo>
                      <a:lnTo>
                        <a:pt x="446" y="1125"/>
                      </a:lnTo>
                      <a:lnTo>
                        <a:pt x="446" y="1127"/>
                      </a:lnTo>
                      <a:lnTo>
                        <a:pt x="445" y="1127"/>
                      </a:lnTo>
                      <a:lnTo>
                        <a:pt x="445" y="1125"/>
                      </a:lnTo>
                      <a:lnTo>
                        <a:pt x="444" y="1125"/>
                      </a:lnTo>
                      <a:lnTo>
                        <a:pt x="443" y="1125"/>
                      </a:lnTo>
                      <a:lnTo>
                        <a:pt x="443" y="1127"/>
                      </a:lnTo>
                      <a:lnTo>
                        <a:pt x="441" y="1127"/>
                      </a:lnTo>
                      <a:lnTo>
                        <a:pt x="441" y="1128"/>
                      </a:lnTo>
                      <a:lnTo>
                        <a:pt x="443" y="1129"/>
                      </a:lnTo>
                      <a:lnTo>
                        <a:pt x="444" y="1129"/>
                      </a:lnTo>
                      <a:lnTo>
                        <a:pt x="444" y="1130"/>
                      </a:lnTo>
                      <a:lnTo>
                        <a:pt x="443" y="1131"/>
                      </a:lnTo>
                      <a:lnTo>
                        <a:pt x="443" y="1132"/>
                      </a:lnTo>
                      <a:lnTo>
                        <a:pt x="441" y="1133"/>
                      </a:lnTo>
                      <a:lnTo>
                        <a:pt x="440" y="1134"/>
                      </a:lnTo>
                      <a:lnTo>
                        <a:pt x="439" y="1134"/>
                      </a:lnTo>
                      <a:lnTo>
                        <a:pt x="438" y="1135"/>
                      </a:lnTo>
                      <a:lnTo>
                        <a:pt x="438" y="1136"/>
                      </a:lnTo>
                      <a:lnTo>
                        <a:pt x="437" y="1136"/>
                      </a:lnTo>
                      <a:lnTo>
                        <a:pt x="437" y="1137"/>
                      </a:lnTo>
                      <a:lnTo>
                        <a:pt x="436" y="1137"/>
                      </a:lnTo>
                      <a:lnTo>
                        <a:pt x="436" y="1138"/>
                      </a:lnTo>
                      <a:lnTo>
                        <a:pt x="436" y="1140"/>
                      </a:lnTo>
                      <a:lnTo>
                        <a:pt x="437" y="1141"/>
                      </a:lnTo>
                      <a:lnTo>
                        <a:pt x="437" y="1142"/>
                      </a:lnTo>
                      <a:lnTo>
                        <a:pt x="436" y="1142"/>
                      </a:lnTo>
                      <a:lnTo>
                        <a:pt x="435" y="1142"/>
                      </a:lnTo>
                      <a:lnTo>
                        <a:pt x="434" y="1141"/>
                      </a:lnTo>
                      <a:lnTo>
                        <a:pt x="434" y="1140"/>
                      </a:lnTo>
                      <a:lnTo>
                        <a:pt x="433" y="1140"/>
                      </a:lnTo>
                      <a:lnTo>
                        <a:pt x="433" y="1141"/>
                      </a:lnTo>
                      <a:lnTo>
                        <a:pt x="433" y="1140"/>
                      </a:lnTo>
                      <a:lnTo>
                        <a:pt x="432" y="1140"/>
                      </a:lnTo>
                      <a:lnTo>
                        <a:pt x="432" y="1138"/>
                      </a:lnTo>
                      <a:lnTo>
                        <a:pt x="432" y="1137"/>
                      </a:lnTo>
                      <a:lnTo>
                        <a:pt x="433" y="1137"/>
                      </a:lnTo>
                      <a:lnTo>
                        <a:pt x="433" y="1136"/>
                      </a:lnTo>
                      <a:lnTo>
                        <a:pt x="434" y="1136"/>
                      </a:lnTo>
                      <a:lnTo>
                        <a:pt x="434" y="1135"/>
                      </a:lnTo>
                      <a:lnTo>
                        <a:pt x="434" y="1134"/>
                      </a:lnTo>
                      <a:lnTo>
                        <a:pt x="435" y="1134"/>
                      </a:lnTo>
                      <a:lnTo>
                        <a:pt x="435" y="1133"/>
                      </a:lnTo>
                      <a:lnTo>
                        <a:pt x="436" y="1133"/>
                      </a:lnTo>
                      <a:lnTo>
                        <a:pt x="436" y="1132"/>
                      </a:lnTo>
                      <a:lnTo>
                        <a:pt x="435" y="1132"/>
                      </a:lnTo>
                      <a:lnTo>
                        <a:pt x="435" y="1131"/>
                      </a:lnTo>
                      <a:lnTo>
                        <a:pt x="434" y="1131"/>
                      </a:lnTo>
                      <a:lnTo>
                        <a:pt x="434" y="1130"/>
                      </a:lnTo>
                      <a:lnTo>
                        <a:pt x="433" y="1130"/>
                      </a:lnTo>
                      <a:lnTo>
                        <a:pt x="433" y="1129"/>
                      </a:lnTo>
                      <a:lnTo>
                        <a:pt x="432" y="1129"/>
                      </a:lnTo>
                      <a:lnTo>
                        <a:pt x="431" y="1129"/>
                      </a:lnTo>
                      <a:lnTo>
                        <a:pt x="431" y="1128"/>
                      </a:lnTo>
                      <a:lnTo>
                        <a:pt x="429" y="1128"/>
                      </a:lnTo>
                      <a:lnTo>
                        <a:pt x="428" y="1127"/>
                      </a:lnTo>
                      <a:lnTo>
                        <a:pt x="427" y="1127"/>
                      </a:lnTo>
                      <a:lnTo>
                        <a:pt x="426" y="1127"/>
                      </a:lnTo>
                      <a:lnTo>
                        <a:pt x="425" y="1125"/>
                      </a:lnTo>
                      <a:lnTo>
                        <a:pt x="424" y="1125"/>
                      </a:lnTo>
                      <a:lnTo>
                        <a:pt x="423" y="1125"/>
                      </a:lnTo>
                      <a:lnTo>
                        <a:pt x="422" y="1127"/>
                      </a:lnTo>
                      <a:lnTo>
                        <a:pt x="421" y="1128"/>
                      </a:lnTo>
                      <a:lnTo>
                        <a:pt x="420" y="1128"/>
                      </a:lnTo>
                      <a:lnTo>
                        <a:pt x="420" y="1129"/>
                      </a:lnTo>
                      <a:lnTo>
                        <a:pt x="419" y="1129"/>
                      </a:lnTo>
                      <a:lnTo>
                        <a:pt x="419" y="1128"/>
                      </a:lnTo>
                      <a:lnTo>
                        <a:pt x="420" y="1128"/>
                      </a:lnTo>
                      <a:lnTo>
                        <a:pt x="420" y="1127"/>
                      </a:lnTo>
                      <a:lnTo>
                        <a:pt x="419" y="1127"/>
                      </a:lnTo>
                      <a:lnTo>
                        <a:pt x="418" y="1128"/>
                      </a:lnTo>
                      <a:lnTo>
                        <a:pt x="416" y="1128"/>
                      </a:lnTo>
                      <a:lnTo>
                        <a:pt x="415" y="1128"/>
                      </a:lnTo>
                      <a:lnTo>
                        <a:pt x="414" y="1128"/>
                      </a:lnTo>
                      <a:lnTo>
                        <a:pt x="413" y="1129"/>
                      </a:lnTo>
                      <a:lnTo>
                        <a:pt x="412" y="1128"/>
                      </a:lnTo>
                      <a:lnTo>
                        <a:pt x="412" y="1129"/>
                      </a:lnTo>
                      <a:lnTo>
                        <a:pt x="412" y="1130"/>
                      </a:lnTo>
                      <a:lnTo>
                        <a:pt x="412" y="1131"/>
                      </a:lnTo>
                      <a:lnTo>
                        <a:pt x="412" y="1132"/>
                      </a:lnTo>
                      <a:lnTo>
                        <a:pt x="413" y="1132"/>
                      </a:lnTo>
                      <a:lnTo>
                        <a:pt x="413" y="1133"/>
                      </a:lnTo>
                      <a:lnTo>
                        <a:pt x="413" y="1134"/>
                      </a:lnTo>
                      <a:lnTo>
                        <a:pt x="412" y="1134"/>
                      </a:lnTo>
                      <a:lnTo>
                        <a:pt x="412" y="1133"/>
                      </a:lnTo>
                      <a:lnTo>
                        <a:pt x="411" y="1133"/>
                      </a:lnTo>
                      <a:lnTo>
                        <a:pt x="411" y="1132"/>
                      </a:lnTo>
                      <a:lnTo>
                        <a:pt x="411" y="1131"/>
                      </a:lnTo>
                      <a:lnTo>
                        <a:pt x="410" y="1130"/>
                      </a:lnTo>
                      <a:lnTo>
                        <a:pt x="409" y="1130"/>
                      </a:lnTo>
                      <a:lnTo>
                        <a:pt x="408" y="1130"/>
                      </a:lnTo>
                      <a:lnTo>
                        <a:pt x="408" y="1132"/>
                      </a:lnTo>
                      <a:lnTo>
                        <a:pt x="407" y="1132"/>
                      </a:lnTo>
                      <a:lnTo>
                        <a:pt x="407" y="1133"/>
                      </a:lnTo>
                      <a:lnTo>
                        <a:pt x="407" y="1134"/>
                      </a:lnTo>
                      <a:lnTo>
                        <a:pt x="407" y="1135"/>
                      </a:lnTo>
                      <a:lnTo>
                        <a:pt x="406" y="1135"/>
                      </a:lnTo>
                      <a:lnTo>
                        <a:pt x="405" y="1135"/>
                      </a:lnTo>
                      <a:lnTo>
                        <a:pt x="405" y="1136"/>
                      </a:lnTo>
                      <a:lnTo>
                        <a:pt x="403" y="1137"/>
                      </a:lnTo>
                      <a:lnTo>
                        <a:pt x="403" y="1136"/>
                      </a:lnTo>
                      <a:lnTo>
                        <a:pt x="402" y="1135"/>
                      </a:lnTo>
                      <a:lnTo>
                        <a:pt x="401" y="1135"/>
                      </a:lnTo>
                      <a:lnTo>
                        <a:pt x="400" y="1135"/>
                      </a:lnTo>
                      <a:lnTo>
                        <a:pt x="400" y="1136"/>
                      </a:lnTo>
                      <a:lnTo>
                        <a:pt x="400" y="1137"/>
                      </a:lnTo>
                      <a:lnTo>
                        <a:pt x="400" y="1138"/>
                      </a:lnTo>
                      <a:lnTo>
                        <a:pt x="399" y="1138"/>
                      </a:lnTo>
                      <a:lnTo>
                        <a:pt x="399" y="1140"/>
                      </a:lnTo>
                      <a:lnTo>
                        <a:pt x="398" y="1140"/>
                      </a:lnTo>
                      <a:lnTo>
                        <a:pt x="398" y="1141"/>
                      </a:lnTo>
                      <a:lnTo>
                        <a:pt x="397" y="1141"/>
                      </a:lnTo>
                      <a:lnTo>
                        <a:pt x="397" y="1142"/>
                      </a:lnTo>
                      <a:lnTo>
                        <a:pt x="397" y="1141"/>
                      </a:lnTo>
                      <a:lnTo>
                        <a:pt x="396" y="1141"/>
                      </a:lnTo>
                      <a:lnTo>
                        <a:pt x="395" y="1142"/>
                      </a:lnTo>
                      <a:lnTo>
                        <a:pt x="394" y="1142"/>
                      </a:lnTo>
                      <a:lnTo>
                        <a:pt x="393" y="1141"/>
                      </a:lnTo>
                      <a:lnTo>
                        <a:pt x="393" y="1140"/>
                      </a:lnTo>
                      <a:lnTo>
                        <a:pt x="392" y="1140"/>
                      </a:lnTo>
                      <a:lnTo>
                        <a:pt x="392" y="1141"/>
                      </a:lnTo>
                      <a:lnTo>
                        <a:pt x="390" y="1141"/>
                      </a:lnTo>
                      <a:lnTo>
                        <a:pt x="389" y="1140"/>
                      </a:lnTo>
                      <a:lnTo>
                        <a:pt x="388" y="1140"/>
                      </a:lnTo>
                      <a:lnTo>
                        <a:pt x="387" y="1140"/>
                      </a:lnTo>
                      <a:lnTo>
                        <a:pt x="386" y="1140"/>
                      </a:lnTo>
                      <a:lnTo>
                        <a:pt x="385" y="1140"/>
                      </a:lnTo>
                      <a:lnTo>
                        <a:pt x="385" y="1141"/>
                      </a:lnTo>
                      <a:lnTo>
                        <a:pt x="384" y="1141"/>
                      </a:lnTo>
                      <a:lnTo>
                        <a:pt x="384" y="1142"/>
                      </a:lnTo>
                      <a:lnTo>
                        <a:pt x="384" y="1145"/>
                      </a:lnTo>
                      <a:lnTo>
                        <a:pt x="384" y="1146"/>
                      </a:lnTo>
                      <a:lnTo>
                        <a:pt x="385" y="1146"/>
                      </a:lnTo>
                      <a:lnTo>
                        <a:pt x="384" y="1147"/>
                      </a:lnTo>
                      <a:lnTo>
                        <a:pt x="385" y="1147"/>
                      </a:lnTo>
                      <a:lnTo>
                        <a:pt x="385" y="1148"/>
                      </a:lnTo>
                      <a:lnTo>
                        <a:pt x="386" y="1149"/>
                      </a:lnTo>
                      <a:lnTo>
                        <a:pt x="386" y="1150"/>
                      </a:lnTo>
                      <a:lnTo>
                        <a:pt x="385" y="1150"/>
                      </a:lnTo>
                      <a:lnTo>
                        <a:pt x="385" y="1149"/>
                      </a:lnTo>
                      <a:lnTo>
                        <a:pt x="384" y="1149"/>
                      </a:lnTo>
                      <a:lnTo>
                        <a:pt x="384" y="1148"/>
                      </a:lnTo>
                      <a:lnTo>
                        <a:pt x="383" y="1147"/>
                      </a:lnTo>
                      <a:lnTo>
                        <a:pt x="384" y="1146"/>
                      </a:lnTo>
                      <a:lnTo>
                        <a:pt x="383" y="1146"/>
                      </a:lnTo>
                      <a:lnTo>
                        <a:pt x="383" y="1145"/>
                      </a:lnTo>
                      <a:lnTo>
                        <a:pt x="383" y="1144"/>
                      </a:lnTo>
                      <a:lnTo>
                        <a:pt x="383" y="1143"/>
                      </a:lnTo>
                      <a:lnTo>
                        <a:pt x="383" y="1142"/>
                      </a:lnTo>
                      <a:lnTo>
                        <a:pt x="383" y="1141"/>
                      </a:lnTo>
                      <a:lnTo>
                        <a:pt x="382" y="1141"/>
                      </a:lnTo>
                      <a:lnTo>
                        <a:pt x="382" y="1142"/>
                      </a:lnTo>
                      <a:lnTo>
                        <a:pt x="381" y="1142"/>
                      </a:lnTo>
                      <a:lnTo>
                        <a:pt x="380" y="1142"/>
                      </a:lnTo>
                      <a:lnTo>
                        <a:pt x="379" y="1141"/>
                      </a:lnTo>
                      <a:lnTo>
                        <a:pt x="379" y="1140"/>
                      </a:lnTo>
                      <a:lnTo>
                        <a:pt x="377" y="1140"/>
                      </a:lnTo>
                      <a:lnTo>
                        <a:pt x="376" y="1140"/>
                      </a:lnTo>
                      <a:lnTo>
                        <a:pt x="375" y="1140"/>
                      </a:lnTo>
                      <a:lnTo>
                        <a:pt x="374" y="1140"/>
                      </a:lnTo>
                      <a:lnTo>
                        <a:pt x="374" y="1138"/>
                      </a:lnTo>
                      <a:lnTo>
                        <a:pt x="374" y="1137"/>
                      </a:lnTo>
                      <a:lnTo>
                        <a:pt x="374" y="1136"/>
                      </a:lnTo>
                      <a:lnTo>
                        <a:pt x="375" y="1135"/>
                      </a:lnTo>
                      <a:lnTo>
                        <a:pt x="376" y="1134"/>
                      </a:lnTo>
                      <a:lnTo>
                        <a:pt x="377" y="1133"/>
                      </a:lnTo>
                      <a:lnTo>
                        <a:pt x="377" y="1132"/>
                      </a:lnTo>
                      <a:lnTo>
                        <a:pt x="377" y="1131"/>
                      </a:lnTo>
                      <a:lnTo>
                        <a:pt x="379" y="1131"/>
                      </a:lnTo>
                      <a:lnTo>
                        <a:pt x="379" y="1130"/>
                      </a:lnTo>
                      <a:lnTo>
                        <a:pt x="377" y="1129"/>
                      </a:lnTo>
                      <a:lnTo>
                        <a:pt x="377" y="1128"/>
                      </a:lnTo>
                      <a:lnTo>
                        <a:pt x="375" y="1128"/>
                      </a:lnTo>
                      <a:lnTo>
                        <a:pt x="375" y="1129"/>
                      </a:lnTo>
                      <a:lnTo>
                        <a:pt x="374" y="1129"/>
                      </a:lnTo>
                      <a:lnTo>
                        <a:pt x="374" y="1130"/>
                      </a:lnTo>
                      <a:lnTo>
                        <a:pt x="374" y="1131"/>
                      </a:lnTo>
                      <a:lnTo>
                        <a:pt x="373" y="1131"/>
                      </a:lnTo>
                      <a:lnTo>
                        <a:pt x="372" y="1131"/>
                      </a:lnTo>
                      <a:lnTo>
                        <a:pt x="372" y="1132"/>
                      </a:lnTo>
                      <a:lnTo>
                        <a:pt x="371" y="1131"/>
                      </a:lnTo>
                      <a:lnTo>
                        <a:pt x="371" y="1132"/>
                      </a:lnTo>
                      <a:lnTo>
                        <a:pt x="370" y="1131"/>
                      </a:lnTo>
                      <a:lnTo>
                        <a:pt x="369" y="1131"/>
                      </a:lnTo>
                      <a:lnTo>
                        <a:pt x="367" y="1129"/>
                      </a:lnTo>
                      <a:lnTo>
                        <a:pt x="366" y="1129"/>
                      </a:lnTo>
                      <a:lnTo>
                        <a:pt x="366" y="1128"/>
                      </a:lnTo>
                      <a:lnTo>
                        <a:pt x="367" y="1128"/>
                      </a:lnTo>
                      <a:lnTo>
                        <a:pt x="368" y="1127"/>
                      </a:lnTo>
                      <a:lnTo>
                        <a:pt x="369" y="1127"/>
                      </a:lnTo>
                      <a:lnTo>
                        <a:pt x="370" y="1127"/>
                      </a:lnTo>
                      <a:lnTo>
                        <a:pt x="370" y="1125"/>
                      </a:lnTo>
                      <a:lnTo>
                        <a:pt x="370" y="1124"/>
                      </a:lnTo>
                      <a:lnTo>
                        <a:pt x="369" y="1123"/>
                      </a:lnTo>
                      <a:lnTo>
                        <a:pt x="369" y="1122"/>
                      </a:lnTo>
                      <a:lnTo>
                        <a:pt x="368" y="1123"/>
                      </a:lnTo>
                      <a:lnTo>
                        <a:pt x="368" y="1124"/>
                      </a:lnTo>
                      <a:lnTo>
                        <a:pt x="367" y="1124"/>
                      </a:lnTo>
                      <a:lnTo>
                        <a:pt x="366" y="1124"/>
                      </a:lnTo>
                      <a:lnTo>
                        <a:pt x="366" y="1123"/>
                      </a:lnTo>
                      <a:lnTo>
                        <a:pt x="366" y="1122"/>
                      </a:lnTo>
                      <a:lnTo>
                        <a:pt x="366" y="1121"/>
                      </a:lnTo>
                      <a:lnTo>
                        <a:pt x="364" y="1121"/>
                      </a:lnTo>
                      <a:lnTo>
                        <a:pt x="363" y="1121"/>
                      </a:lnTo>
                      <a:lnTo>
                        <a:pt x="363" y="1122"/>
                      </a:lnTo>
                      <a:lnTo>
                        <a:pt x="362" y="1122"/>
                      </a:lnTo>
                      <a:lnTo>
                        <a:pt x="361" y="1122"/>
                      </a:lnTo>
                      <a:lnTo>
                        <a:pt x="361" y="1121"/>
                      </a:lnTo>
                      <a:lnTo>
                        <a:pt x="361" y="1120"/>
                      </a:lnTo>
                      <a:lnTo>
                        <a:pt x="360" y="1120"/>
                      </a:lnTo>
                      <a:lnTo>
                        <a:pt x="359" y="1121"/>
                      </a:lnTo>
                      <a:lnTo>
                        <a:pt x="359" y="1120"/>
                      </a:lnTo>
                      <a:lnTo>
                        <a:pt x="358" y="1120"/>
                      </a:lnTo>
                      <a:lnTo>
                        <a:pt x="358" y="1119"/>
                      </a:lnTo>
                      <a:lnTo>
                        <a:pt x="358" y="1118"/>
                      </a:lnTo>
                      <a:lnTo>
                        <a:pt x="359" y="1118"/>
                      </a:lnTo>
                      <a:lnTo>
                        <a:pt x="359" y="1117"/>
                      </a:lnTo>
                      <a:lnTo>
                        <a:pt x="360" y="1117"/>
                      </a:lnTo>
                      <a:lnTo>
                        <a:pt x="360" y="1116"/>
                      </a:lnTo>
                      <a:lnTo>
                        <a:pt x="361" y="1116"/>
                      </a:lnTo>
                      <a:lnTo>
                        <a:pt x="362" y="1115"/>
                      </a:lnTo>
                      <a:lnTo>
                        <a:pt x="362" y="1114"/>
                      </a:lnTo>
                      <a:lnTo>
                        <a:pt x="361" y="1114"/>
                      </a:lnTo>
                      <a:lnTo>
                        <a:pt x="360" y="1112"/>
                      </a:lnTo>
                      <a:lnTo>
                        <a:pt x="360" y="1111"/>
                      </a:lnTo>
                      <a:lnTo>
                        <a:pt x="359" y="1111"/>
                      </a:lnTo>
                      <a:lnTo>
                        <a:pt x="358" y="1112"/>
                      </a:lnTo>
                      <a:lnTo>
                        <a:pt x="357" y="1114"/>
                      </a:lnTo>
                      <a:lnTo>
                        <a:pt x="356" y="1115"/>
                      </a:lnTo>
                      <a:lnTo>
                        <a:pt x="356" y="1116"/>
                      </a:lnTo>
                      <a:lnTo>
                        <a:pt x="355" y="1116"/>
                      </a:lnTo>
                      <a:lnTo>
                        <a:pt x="354" y="1116"/>
                      </a:lnTo>
                      <a:lnTo>
                        <a:pt x="354" y="1115"/>
                      </a:lnTo>
                      <a:lnTo>
                        <a:pt x="354" y="1114"/>
                      </a:lnTo>
                      <a:lnTo>
                        <a:pt x="355" y="1114"/>
                      </a:lnTo>
                      <a:lnTo>
                        <a:pt x="355" y="1112"/>
                      </a:lnTo>
                      <a:lnTo>
                        <a:pt x="354" y="1112"/>
                      </a:lnTo>
                      <a:lnTo>
                        <a:pt x="353" y="1112"/>
                      </a:lnTo>
                      <a:lnTo>
                        <a:pt x="351" y="1111"/>
                      </a:lnTo>
                      <a:lnTo>
                        <a:pt x="353" y="1111"/>
                      </a:lnTo>
                      <a:lnTo>
                        <a:pt x="353" y="1110"/>
                      </a:lnTo>
                      <a:lnTo>
                        <a:pt x="353" y="1109"/>
                      </a:lnTo>
                      <a:lnTo>
                        <a:pt x="351" y="1109"/>
                      </a:lnTo>
                      <a:lnTo>
                        <a:pt x="350" y="1110"/>
                      </a:lnTo>
                      <a:lnTo>
                        <a:pt x="350" y="1111"/>
                      </a:lnTo>
                      <a:lnTo>
                        <a:pt x="349" y="1111"/>
                      </a:lnTo>
                      <a:lnTo>
                        <a:pt x="349" y="1110"/>
                      </a:lnTo>
                      <a:lnTo>
                        <a:pt x="348" y="1110"/>
                      </a:lnTo>
                      <a:lnTo>
                        <a:pt x="348" y="1109"/>
                      </a:lnTo>
                      <a:lnTo>
                        <a:pt x="347" y="1109"/>
                      </a:lnTo>
                      <a:lnTo>
                        <a:pt x="346" y="1108"/>
                      </a:lnTo>
                      <a:lnTo>
                        <a:pt x="345" y="1108"/>
                      </a:lnTo>
                      <a:lnTo>
                        <a:pt x="345" y="1107"/>
                      </a:lnTo>
                      <a:lnTo>
                        <a:pt x="344" y="1106"/>
                      </a:lnTo>
                      <a:lnTo>
                        <a:pt x="343" y="1105"/>
                      </a:lnTo>
                      <a:lnTo>
                        <a:pt x="342" y="1105"/>
                      </a:lnTo>
                      <a:lnTo>
                        <a:pt x="342" y="1104"/>
                      </a:lnTo>
                      <a:lnTo>
                        <a:pt x="341" y="1104"/>
                      </a:lnTo>
                      <a:lnTo>
                        <a:pt x="340" y="1103"/>
                      </a:lnTo>
                      <a:lnTo>
                        <a:pt x="340" y="1102"/>
                      </a:lnTo>
                      <a:lnTo>
                        <a:pt x="338" y="1101"/>
                      </a:lnTo>
                      <a:lnTo>
                        <a:pt x="337" y="1101"/>
                      </a:lnTo>
                      <a:lnTo>
                        <a:pt x="336" y="1099"/>
                      </a:lnTo>
                      <a:lnTo>
                        <a:pt x="336" y="1098"/>
                      </a:lnTo>
                      <a:lnTo>
                        <a:pt x="335" y="1098"/>
                      </a:lnTo>
                      <a:lnTo>
                        <a:pt x="334" y="1097"/>
                      </a:lnTo>
                      <a:lnTo>
                        <a:pt x="335" y="1097"/>
                      </a:lnTo>
                      <a:lnTo>
                        <a:pt x="335" y="1096"/>
                      </a:lnTo>
                      <a:lnTo>
                        <a:pt x="335" y="1095"/>
                      </a:lnTo>
                      <a:lnTo>
                        <a:pt x="336" y="1095"/>
                      </a:lnTo>
                      <a:lnTo>
                        <a:pt x="336" y="1094"/>
                      </a:lnTo>
                      <a:lnTo>
                        <a:pt x="337" y="1094"/>
                      </a:lnTo>
                      <a:lnTo>
                        <a:pt x="337" y="1093"/>
                      </a:lnTo>
                      <a:lnTo>
                        <a:pt x="336" y="1093"/>
                      </a:lnTo>
                      <a:lnTo>
                        <a:pt x="336" y="1092"/>
                      </a:lnTo>
                      <a:lnTo>
                        <a:pt x="336" y="1091"/>
                      </a:lnTo>
                      <a:lnTo>
                        <a:pt x="336" y="1090"/>
                      </a:lnTo>
                      <a:lnTo>
                        <a:pt x="337" y="1089"/>
                      </a:lnTo>
                      <a:lnTo>
                        <a:pt x="337" y="1088"/>
                      </a:lnTo>
                      <a:lnTo>
                        <a:pt x="336" y="1086"/>
                      </a:lnTo>
                      <a:lnTo>
                        <a:pt x="336" y="1085"/>
                      </a:lnTo>
                      <a:lnTo>
                        <a:pt x="335" y="1085"/>
                      </a:lnTo>
                      <a:lnTo>
                        <a:pt x="334" y="1085"/>
                      </a:lnTo>
                      <a:lnTo>
                        <a:pt x="334" y="1086"/>
                      </a:lnTo>
                      <a:lnTo>
                        <a:pt x="333" y="1086"/>
                      </a:lnTo>
                      <a:lnTo>
                        <a:pt x="333" y="1088"/>
                      </a:lnTo>
                      <a:lnTo>
                        <a:pt x="332" y="1088"/>
                      </a:lnTo>
                      <a:lnTo>
                        <a:pt x="333" y="1089"/>
                      </a:lnTo>
                      <a:lnTo>
                        <a:pt x="332" y="1090"/>
                      </a:lnTo>
                      <a:lnTo>
                        <a:pt x="333" y="1091"/>
                      </a:lnTo>
                      <a:lnTo>
                        <a:pt x="332" y="1091"/>
                      </a:lnTo>
                      <a:lnTo>
                        <a:pt x="332" y="1092"/>
                      </a:lnTo>
                      <a:lnTo>
                        <a:pt x="331" y="1091"/>
                      </a:lnTo>
                      <a:lnTo>
                        <a:pt x="330" y="1091"/>
                      </a:lnTo>
                      <a:lnTo>
                        <a:pt x="329" y="1091"/>
                      </a:lnTo>
                      <a:lnTo>
                        <a:pt x="329" y="1090"/>
                      </a:lnTo>
                      <a:lnTo>
                        <a:pt x="329" y="1089"/>
                      </a:lnTo>
                      <a:lnTo>
                        <a:pt x="328" y="1088"/>
                      </a:lnTo>
                      <a:lnTo>
                        <a:pt x="328" y="1089"/>
                      </a:lnTo>
                      <a:lnTo>
                        <a:pt x="327" y="1089"/>
                      </a:lnTo>
                      <a:lnTo>
                        <a:pt x="327" y="1088"/>
                      </a:lnTo>
                      <a:lnTo>
                        <a:pt x="327" y="1086"/>
                      </a:lnTo>
                      <a:lnTo>
                        <a:pt x="327" y="1085"/>
                      </a:lnTo>
                      <a:lnTo>
                        <a:pt x="325" y="1085"/>
                      </a:lnTo>
                      <a:lnTo>
                        <a:pt x="324" y="1084"/>
                      </a:lnTo>
                      <a:lnTo>
                        <a:pt x="323" y="1084"/>
                      </a:lnTo>
                      <a:lnTo>
                        <a:pt x="322" y="1083"/>
                      </a:lnTo>
                      <a:lnTo>
                        <a:pt x="322" y="1082"/>
                      </a:lnTo>
                      <a:lnTo>
                        <a:pt x="321" y="1082"/>
                      </a:lnTo>
                      <a:lnTo>
                        <a:pt x="320" y="1082"/>
                      </a:lnTo>
                      <a:lnTo>
                        <a:pt x="317" y="1082"/>
                      </a:lnTo>
                      <a:lnTo>
                        <a:pt x="316" y="1082"/>
                      </a:lnTo>
                      <a:lnTo>
                        <a:pt x="316" y="1081"/>
                      </a:lnTo>
                      <a:lnTo>
                        <a:pt x="317" y="1080"/>
                      </a:lnTo>
                      <a:lnTo>
                        <a:pt x="317" y="1079"/>
                      </a:lnTo>
                      <a:lnTo>
                        <a:pt x="318" y="1078"/>
                      </a:lnTo>
                      <a:lnTo>
                        <a:pt x="318" y="1077"/>
                      </a:lnTo>
                      <a:lnTo>
                        <a:pt x="318" y="1076"/>
                      </a:lnTo>
                      <a:lnTo>
                        <a:pt x="318" y="1077"/>
                      </a:lnTo>
                      <a:lnTo>
                        <a:pt x="320" y="1077"/>
                      </a:lnTo>
                      <a:lnTo>
                        <a:pt x="321" y="1077"/>
                      </a:lnTo>
                      <a:lnTo>
                        <a:pt x="322" y="1076"/>
                      </a:lnTo>
                      <a:lnTo>
                        <a:pt x="323" y="1076"/>
                      </a:lnTo>
                      <a:lnTo>
                        <a:pt x="324" y="1076"/>
                      </a:lnTo>
                      <a:lnTo>
                        <a:pt x="325" y="1076"/>
                      </a:lnTo>
                      <a:lnTo>
                        <a:pt x="327" y="1076"/>
                      </a:lnTo>
                      <a:lnTo>
                        <a:pt x="328" y="1076"/>
                      </a:lnTo>
                      <a:lnTo>
                        <a:pt x="328" y="1077"/>
                      </a:lnTo>
                      <a:lnTo>
                        <a:pt x="329" y="1077"/>
                      </a:lnTo>
                      <a:lnTo>
                        <a:pt x="330" y="1077"/>
                      </a:lnTo>
                      <a:lnTo>
                        <a:pt x="331" y="1077"/>
                      </a:lnTo>
                      <a:lnTo>
                        <a:pt x="332" y="1077"/>
                      </a:lnTo>
                      <a:lnTo>
                        <a:pt x="332" y="1078"/>
                      </a:lnTo>
                      <a:lnTo>
                        <a:pt x="333" y="1078"/>
                      </a:lnTo>
                      <a:lnTo>
                        <a:pt x="334" y="1078"/>
                      </a:lnTo>
                      <a:lnTo>
                        <a:pt x="334" y="1077"/>
                      </a:lnTo>
                      <a:lnTo>
                        <a:pt x="335" y="1077"/>
                      </a:lnTo>
                      <a:lnTo>
                        <a:pt x="335" y="1076"/>
                      </a:lnTo>
                      <a:lnTo>
                        <a:pt x="335" y="1074"/>
                      </a:lnTo>
                      <a:lnTo>
                        <a:pt x="335" y="1073"/>
                      </a:lnTo>
                      <a:lnTo>
                        <a:pt x="334" y="1073"/>
                      </a:lnTo>
                      <a:lnTo>
                        <a:pt x="333" y="1072"/>
                      </a:lnTo>
                      <a:lnTo>
                        <a:pt x="332" y="1072"/>
                      </a:lnTo>
                      <a:lnTo>
                        <a:pt x="331" y="1072"/>
                      </a:lnTo>
                      <a:lnTo>
                        <a:pt x="330" y="1072"/>
                      </a:lnTo>
                      <a:lnTo>
                        <a:pt x="329" y="1072"/>
                      </a:lnTo>
                      <a:lnTo>
                        <a:pt x="328" y="1073"/>
                      </a:lnTo>
                      <a:lnTo>
                        <a:pt x="327" y="1073"/>
                      </a:lnTo>
                      <a:lnTo>
                        <a:pt x="325" y="1072"/>
                      </a:lnTo>
                      <a:lnTo>
                        <a:pt x="324" y="1072"/>
                      </a:lnTo>
                      <a:lnTo>
                        <a:pt x="323" y="1072"/>
                      </a:lnTo>
                      <a:lnTo>
                        <a:pt x="322" y="1072"/>
                      </a:lnTo>
                      <a:lnTo>
                        <a:pt x="322" y="1073"/>
                      </a:lnTo>
                      <a:lnTo>
                        <a:pt x="321" y="1073"/>
                      </a:lnTo>
                      <a:lnTo>
                        <a:pt x="320" y="1073"/>
                      </a:lnTo>
                      <a:lnTo>
                        <a:pt x="319" y="1073"/>
                      </a:lnTo>
                      <a:lnTo>
                        <a:pt x="317" y="1073"/>
                      </a:lnTo>
                      <a:lnTo>
                        <a:pt x="316" y="1073"/>
                      </a:lnTo>
                      <a:lnTo>
                        <a:pt x="315" y="1073"/>
                      </a:lnTo>
                      <a:lnTo>
                        <a:pt x="315" y="1074"/>
                      </a:lnTo>
                      <a:lnTo>
                        <a:pt x="315" y="1076"/>
                      </a:lnTo>
                      <a:lnTo>
                        <a:pt x="314" y="1076"/>
                      </a:lnTo>
                      <a:lnTo>
                        <a:pt x="314" y="1077"/>
                      </a:lnTo>
                      <a:lnTo>
                        <a:pt x="312" y="1077"/>
                      </a:lnTo>
                      <a:lnTo>
                        <a:pt x="312" y="1076"/>
                      </a:lnTo>
                      <a:lnTo>
                        <a:pt x="312" y="1077"/>
                      </a:lnTo>
                      <a:lnTo>
                        <a:pt x="311" y="1077"/>
                      </a:lnTo>
                      <a:lnTo>
                        <a:pt x="310" y="1077"/>
                      </a:lnTo>
                      <a:lnTo>
                        <a:pt x="310" y="1078"/>
                      </a:lnTo>
                      <a:lnTo>
                        <a:pt x="310" y="1079"/>
                      </a:lnTo>
                      <a:lnTo>
                        <a:pt x="311" y="1079"/>
                      </a:lnTo>
                      <a:lnTo>
                        <a:pt x="312" y="1079"/>
                      </a:lnTo>
                      <a:lnTo>
                        <a:pt x="311" y="1080"/>
                      </a:lnTo>
                      <a:lnTo>
                        <a:pt x="312" y="1080"/>
                      </a:lnTo>
                      <a:lnTo>
                        <a:pt x="311" y="1081"/>
                      </a:lnTo>
                      <a:lnTo>
                        <a:pt x="310" y="1082"/>
                      </a:lnTo>
                      <a:lnTo>
                        <a:pt x="309" y="1082"/>
                      </a:lnTo>
                      <a:lnTo>
                        <a:pt x="309" y="1083"/>
                      </a:lnTo>
                      <a:lnTo>
                        <a:pt x="309" y="1084"/>
                      </a:lnTo>
                      <a:lnTo>
                        <a:pt x="310" y="1084"/>
                      </a:lnTo>
                      <a:lnTo>
                        <a:pt x="310" y="1085"/>
                      </a:lnTo>
                      <a:lnTo>
                        <a:pt x="311" y="1085"/>
                      </a:lnTo>
                      <a:lnTo>
                        <a:pt x="311" y="1086"/>
                      </a:lnTo>
                      <a:lnTo>
                        <a:pt x="311" y="1088"/>
                      </a:lnTo>
                      <a:lnTo>
                        <a:pt x="312" y="1086"/>
                      </a:lnTo>
                      <a:lnTo>
                        <a:pt x="312" y="1088"/>
                      </a:lnTo>
                      <a:lnTo>
                        <a:pt x="314" y="1086"/>
                      </a:lnTo>
                      <a:lnTo>
                        <a:pt x="314" y="1088"/>
                      </a:lnTo>
                      <a:lnTo>
                        <a:pt x="315" y="1088"/>
                      </a:lnTo>
                      <a:lnTo>
                        <a:pt x="315" y="1086"/>
                      </a:lnTo>
                      <a:lnTo>
                        <a:pt x="316" y="1086"/>
                      </a:lnTo>
                      <a:lnTo>
                        <a:pt x="316" y="1088"/>
                      </a:lnTo>
                      <a:lnTo>
                        <a:pt x="315" y="1088"/>
                      </a:lnTo>
                      <a:lnTo>
                        <a:pt x="315" y="1089"/>
                      </a:lnTo>
                      <a:lnTo>
                        <a:pt x="315" y="1088"/>
                      </a:lnTo>
                      <a:lnTo>
                        <a:pt x="316" y="1088"/>
                      </a:lnTo>
                      <a:lnTo>
                        <a:pt x="317" y="1088"/>
                      </a:lnTo>
                      <a:lnTo>
                        <a:pt x="317" y="1089"/>
                      </a:lnTo>
                      <a:lnTo>
                        <a:pt x="316" y="1089"/>
                      </a:lnTo>
                      <a:lnTo>
                        <a:pt x="315" y="1089"/>
                      </a:lnTo>
                      <a:lnTo>
                        <a:pt x="315" y="1090"/>
                      </a:lnTo>
                      <a:lnTo>
                        <a:pt x="314" y="1090"/>
                      </a:lnTo>
                      <a:lnTo>
                        <a:pt x="312" y="1091"/>
                      </a:lnTo>
                      <a:lnTo>
                        <a:pt x="311" y="1091"/>
                      </a:lnTo>
                      <a:lnTo>
                        <a:pt x="310" y="1091"/>
                      </a:lnTo>
                      <a:lnTo>
                        <a:pt x="310" y="1092"/>
                      </a:lnTo>
                      <a:lnTo>
                        <a:pt x="309" y="1092"/>
                      </a:lnTo>
                      <a:lnTo>
                        <a:pt x="308" y="1092"/>
                      </a:lnTo>
                      <a:lnTo>
                        <a:pt x="307" y="1092"/>
                      </a:lnTo>
                      <a:lnTo>
                        <a:pt x="305" y="1092"/>
                      </a:lnTo>
                      <a:lnTo>
                        <a:pt x="304" y="1092"/>
                      </a:lnTo>
                      <a:lnTo>
                        <a:pt x="304" y="1091"/>
                      </a:lnTo>
                      <a:lnTo>
                        <a:pt x="303" y="1091"/>
                      </a:lnTo>
                      <a:lnTo>
                        <a:pt x="303" y="1090"/>
                      </a:lnTo>
                      <a:lnTo>
                        <a:pt x="303" y="1091"/>
                      </a:lnTo>
                      <a:lnTo>
                        <a:pt x="302" y="1091"/>
                      </a:lnTo>
                      <a:lnTo>
                        <a:pt x="302" y="1092"/>
                      </a:lnTo>
                      <a:lnTo>
                        <a:pt x="300" y="1092"/>
                      </a:lnTo>
                      <a:lnTo>
                        <a:pt x="300" y="1093"/>
                      </a:lnTo>
                      <a:lnTo>
                        <a:pt x="299" y="1093"/>
                      </a:lnTo>
                      <a:lnTo>
                        <a:pt x="298" y="1093"/>
                      </a:lnTo>
                      <a:lnTo>
                        <a:pt x="297" y="1093"/>
                      </a:lnTo>
                      <a:lnTo>
                        <a:pt x="297" y="1092"/>
                      </a:lnTo>
                      <a:lnTo>
                        <a:pt x="296" y="1093"/>
                      </a:lnTo>
                      <a:lnTo>
                        <a:pt x="296" y="1092"/>
                      </a:lnTo>
                      <a:lnTo>
                        <a:pt x="295" y="1092"/>
                      </a:lnTo>
                      <a:lnTo>
                        <a:pt x="294" y="1092"/>
                      </a:lnTo>
                      <a:lnTo>
                        <a:pt x="293" y="1092"/>
                      </a:lnTo>
                      <a:lnTo>
                        <a:pt x="292" y="1092"/>
                      </a:lnTo>
                      <a:lnTo>
                        <a:pt x="292" y="1091"/>
                      </a:lnTo>
                      <a:lnTo>
                        <a:pt x="291" y="1091"/>
                      </a:lnTo>
                      <a:lnTo>
                        <a:pt x="291" y="1090"/>
                      </a:lnTo>
                      <a:lnTo>
                        <a:pt x="292" y="1090"/>
                      </a:lnTo>
                      <a:lnTo>
                        <a:pt x="292" y="1089"/>
                      </a:lnTo>
                      <a:lnTo>
                        <a:pt x="291" y="1088"/>
                      </a:lnTo>
                      <a:lnTo>
                        <a:pt x="291" y="1086"/>
                      </a:lnTo>
                      <a:lnTo>
                        <a:pt x="290" y="1085"/>
                      </a:lnTo>
                      <a:lnTo>
                        <a:pt x="291" y="1085"/>
                      </a:lnTo>
                      <a:lnTo>
                        <a:pt x="292" y="1085"/>
                      </a:lnTo>
                      <a:lnTo>
                        <a:pt x="293" y="1085"/>
                      </a:lnTo>
                      <a:lnTo>
                        <a:pt x="293" y="1084"/>
                      </a:lnTo>
                      <a:lnTo>
                        <a:pt x="294" y="1084"/>
                      </a:lnTo>
                      <a:lnTo>
                        <a:pt x="294" y="1083"/>
                      </a:lnTo>
                      <a:lnTo>
                        <a:pt x="293" y="1082"/>
                      </a:lnTo>
                      <a:lnTo>
                        <a:pt x="293" y="1081"/>
                      </a:lnTo>
                      <a:lnTo>
                        <a:pt x="293" y="1080"/>
                      </a:lnTo>
                      <a:lnTo>
                        <a:pt x="293" y="1079"/>
                      </a:lnTo>
                      <a:lnTo>
                        <a:pt x="294" y="1079"/>
                      </a:lnTo>
                      <a:lnTo>
                        <a:pt x="293" y="1079"/>
                      </a:lnTo>
                      <a:lnTo>
                        <a:pt x="293" y="1078"/>
                      </a:lnTo>
                      <a:lnTo>
                        <a:pt x="292" y="1078"/>
                      </a:lnTo>
                      <a:lnTo>
                        <a:pt x="292" y="1077"/>
                      </a:lnTo>
                      <a:lnTo>
                        <a:pt x="293" y="1077"/>
                      </a:lnTo>
                      <a:lnTo>
                        <a:pt x="293" y="1076"/>
                      </a:lnTo>
                      <a:lnTo>
                        <a:pt x="293" y="1074"/>
                      </a:lnTo>
                      <a:lnTo>
                        <a:pt x="293" y="1076"/>
                      </a:lnTo>
                      <a:lnTo>
                        <a:pt x="293" y="1077"/>
                      </a:lnTo>
                      <a:lnTo>
                        <a:pt x="294" y="1077"/>
                      </a:lnTo>
                      <a:lnTo>
                        <a:pt x="295" y="1077"/>
                      </a:lnTo>
                      <a:lnTo>
                        <a:pt x="294" y="1076"/>
                      </a:lnTo>
                      <a:lnTo>
                        <a:pt x="295" y="1076"/>
                      </a:lnTo>
                      <a:lnTo>
                        <a:pt x="296" y="1076"/>
                      </a:lnTo>
                      <a:lnTo>
                        <a:pt x="297" y="1076"/>
                      </a:lnTo>
                      <a:lnTo>
                        <a:pt x="298" y="1074"/>
                      </a:lnTo>
                      <a:lnTo>
                        <a:pt x="299" y="1074"/>
                      </a:lnTo>
                      <a:lnTo>
                        <a:pt x="300" y="1073"/>
                      </a:lnTo>
                      <a:lnTo>
                        <a:pt x="299" y="1073"/>
                      </a:lnTo>
                      <a:lnTo>
                        <a:pt x="300" y="1073"/>
                      </a:lnTo>
                      <a:lnTo>
                        <a:pt x="302" y="1073"/>
                      </a:lnTo>
                      <a:lnTo>
                        <a:pt x="302" y="1074"/>
                      </a:lnTo>
                      <a:lnTo>
                        <a:pt x="303" y="1074"/>
                      </a:lnTo>
                      <a:lnTo>
                        <a:pt x="303" y="1073"/>
                      </a:lnTo>
                      <a:lnTo>
                        <a:pt x="303" y="1072"/>
                      </a:lnTo>
                      <a:lnTo>
                        <a:pt x="303" y="1071"/>
                      </a:lnTo>
                      <a:lnTo>
                        <a:pt x="302" y="1069"/>
                      </a:lnTo>
                      <a:lnTo>
                        <a:pt x="300" y="1069"/>
                      </a:lnTo>
                      <a:lnTo>
                        <a:pt x="300" y="1071"/>
                      </a:lnTo>
                      <a:lnTo>
                        <a:pt x="300" y="1070"/>
                      </a:lnTo>
                      <a:lnTo>
                        <a:pt x="299" y="1070"/>
                      </a:lnTo>
                      <a:lnTo>
                        <a:pt x="299" y="1069"/>
                      </a:lnTo>
                      <a:lnTo>
                        <a:pt x="298" y="1069"/>
                      </a:lnTo>
                      <a:lnTo>
                        <a:pt x="298" y="1068"/>
                      </a:lnTo>
                      <a:lnTo>
                        <a:pt x="299" y="1068"/>
                      </a:lnTo>
                      <a:lnTo>
                        <a:pt x="299" y="1067"/>
                      </a:lnTo>
                      <a:lnTo>
                        <a:pt x="298" y="1067"/>
                      </a:lnTo>
                      <a:lnTo>
                        <a:pt x="298" y="1068"/>
                      </a:lnTo>
                      <a:lnTo>
                        <a:pt x="297" y="1067"/>
                      </a:lnTo>
                      <a:lnTo>
                        <a:pt x="297" y="1066"/>
                      </a:lnTo>
                      <a:lnTo>
                        <a:pt x="297" y="1065"/>
                      </a:lnTo>
                      <a:lnTo>
                        <a:pt x="297" y="1064"/>
                      </a:lnTo>
                      <a:lnTo>
                        <a:pt x="297" y="1063"/>
                      </a:lnTo>
                      <a:lnTo>
                        <a:pt x="296" y="1063"/>
                      </a:lnTo>
                      <a:lnTo>
                        <a:pt x="295" y="1061"/>
                      </a:lnTo>
                      <a:lnTo>
                        <a:pt x="294" y="1061"/>
                      </a:lnTo>
                      <a:lnTo>
                        <a:pt x="293" y="1061"/>
                      </a:lnTo>
                      <a:lnTo>
                        <a:pt x="294" y="1061"/>
                      </a:lnTo>
                      <a:lnTo>
                        <a:pt x="293" y="1063"/>
                      </a:lnTo>
                      <a:lnTo>
                        <a:pt x="292" y="1064"/>
                      </a:lnTo>
                      <a:lnTo>
                        <a:pt x="291" y="1065"/>
                      </a:lnTo>
                      <a:lnTo>
                        <a:pt x="290" y="1065"/>
                      </a:lnTo>
                      <a:lnTo>
                        <a:pt x="290" y="1066"/>
                      </a:lnTo>
                      <a:lnTo>
                        <a:pt x="289" y="1066"/>
                      </a:lnTo>
                      <a:lnTo>
                        <a:pt x="287" y="1066"/>
                      </a:lnTo>
                      <a:lnTo>
                        <a:pt x="287" y="1067"/>
                      </a:lnTo>
                      <a:lnTo>
                        <a:pt x="287" y="1068"/>
                      </a:lnTo>
                      <a:lnTo>
                        <a:pt x="287" y="1069"/>
                      </a:lnTo>
                      <a:lnTo>
                        <a:pt x="286" y="1069"/>
                      </a:lnTo>
                      <a:lnTo>
                        <a:pt x="285" y="1069"/>
                      </a:lnTo>
                      <a:lnTo>
                        <a:pt x="284" y="1070"/>
                      </a:lnTo>
                      <a:lnTo>
                        <a:pt x="283" y="1070"/>
                      </a:lnTo>
                      <a:lnTo>
                        <a:pt x="282" y="1070"/>
                      </a:lnTo>
                      <a:lnTo>
                        <a:pt x="282" y="1071"/>
                      </a:lnTo>
                      <a:lnTo>
                        <a:pt x="282" y="1072"/>
                      </a:lnTo>
                      <a:lnTo>
                        <a:pt x="281" y="1072"/>
                      </a:lnTo>
                      <a:lnTo>
                        <a:pt x="280" y="1072"/>
                      </a:lnTo>
                      <a:lnTo>
                        <a:pt x="280" y="1070"/>
                      </a:lnTo>
                      <a:lnTo>
                        <a:pt x="279" y="1070"/>
                      </a:lnTo>
                      <a:lnTo>
                        <a:pt x="279" y="1071"/>
                      </a:lnTo>
                      <a:lnTo>
                        <a:pt x="279" y="1072"/>
                      </a:lnTo>
                      <a:lnTo>
                        <a:pt x="278" y="1072"/>
                      </a:lnTo>
                      <a:lnTo>
                        <a:pt x="278" y="1071"/>
                      </a:lnTo>
                      <a:lnTo>
                        <a:pt x="277" y="1071"/>
                      </a:lnTo>
                      <a:lnTo>
                        <a:pt x="277" y="1070"/>
                      </a:lnTo>
                      <a:lnTo>
                        <a:pt x="276" y="1069"/>
                      </a:lnTo>
                      <a:lnTo>
                        <a:pt x="276" y="1068"/>
                      </a:lnTo>
                      <a:lnTo>
                        <a:pt x="274" y="1068"/>
                      </a:lnTo>
                      <a:lnTo>
                        <a:pt x="274" y="1067"/>
                      </a:lnTo>
                      <a:lnTo>
                        <a:pt x="274" y="1066"/>
                      </a:lnTo>
                      <a:lnTo>
                        <a:pt x="273" y="1065"/>
                      </a:lnTo>
                      <a:lnTo>
                        <a:pt x="273" y="1064"/>
                      </a:lnTo>
                      <a:lnTo>
                        <a:pt x="272" y="1064"/>
                      </a:lnTo>
                      <a:lnTo>
                        <a:pt x="272" y="1065"/>
                      </a:lnTo>
                      <a:lnTo>
                        <a:pt x="272" y="1066"/>
                      </a:lnTo>
                      <a:lnTo>
                        <a:pt x="272" y="1067"/>
                      </a:lnTo>
                      <a:lnTo>
                        <a:pt x="271" y="1067"/>
                      </a:lnTo>
                      <a:lnTo>
                        <a:pt x="270" y="1068"/>
                      </a:lnTo>
                      <a:lnTo>
                        <a:pt x="269" y="1069"/>
                      </a:lnTo>
                      <a:lnTo>
                        <a:pt x="269" y="1070"/>
                      </a:lnTo>
                      <a:lnTo>
                        <a:pt x="269" y="1071"/>
                      </a:lnTo>
                      <a:lnTo>
                        <a:pt x="268" y="1071"/>
                      </a:lnTo>
                      <a:lnTo>
                        <a:pt x="268" y="1072"/>
                      </a:lnTo>
                      <a:lnTo>
                        <a:pt x="267" y="1073"/>
                      </a:lnTo>
                      <a:lnTo>
                        <a:pt x="267" y="1074"/>
                      </a:lnTo>
                      <a:lnTo>
                        <a:pt x="267" y="1076"/>
                      </a:lnTo>
                      <a:lnTo>
                        <a:pt x="267" y="1077"/>
                      </a:lnTo>
                      <a:lnTo>
                        <a:pt x="267" y="1078"/>
                      </a:lnTo>
                      <a:lnTo>
                        <a:pt x="267" y="1079"/>
                      </a:lnTo>
                      <a:lnTo>
                        <a:pt x="266" y="1079"/>
                      </a:lnTo>
                      <a:lnTo>
                        <a:pt x="265" y="1078"/>
                      </a:lnTo>
                      <a:lnTo>
                        <a:pt x="265" y="1079"/>
                      </a:lnTo>
                      <a:lnTo>
                        <a:pt x="264" y="1079"/>
                      </a:lnTo>
                      <a:lnTo>
                        <a:pt x="264" y="1080"/>
                      </a:lnTo>
                      <a:lnTo>
                        <a:pt x="264" y="1081"/>
                      </a:lnTo>
                      <a:lnTo>
                        <a:pt x="265" y="1081"/>
                      </a:lnTo>
                      <a:lnTo>
                        <a:pt x="264" y="1081"/>
                      </a:lnTo>
                      <a:lnTo>
                        <a:pt x="264" y="1082"/>
                      </a:lnTo>
                      <a:lnTo>
                        <a:pt x="263" y="1082"/>
                      </a:lnTo>
                      <a:lnTo>
                        <a:pt x="263" y="1083"/>
                      </a:lnTo>
                      <a:lnTo>
                        <a:pt x="263" y="1084"/>
                      </a:lnTo>
                      <a:lnTo>
                        <a:pt x="261" y="1084"/>
                      </a:lnTo>
                      <a:lnTo>
                        <a:pt x="260" y="1084"/>
                      </a:lnTo>
                      <a:lnTo>
                        <a:pt x="260" y="1085"/>
                      </a:lnTo>
                      <a:lnTo>
                        <a:pt x="259" y="1085"/>
                      </a:lnTo>
                      <a:lnTo>
                        <a:pt x="258" y="1085"/>
                      </a:lnTo>
                      <a:lnTo>
                        <a:pt x="257" y="1083"/>
                      </a:lnTo>
                      <a:lnTo>
                        <a:pt x="254" y="1082"/>
                      </a:lnTo>
                      <a:lnTo>
                        <a:pt x="252" y="1081"/>
                      </a:lnTo>
                      <a:lnTo>
                        <a:pt x="250" y="1081"/>
                      </a:lnTo>
                      <a:lnTo>
                        <a:pt x="250" y="1080"/>
                      </a:lnTo>
                      <a:lnTo>
                        <a:pt x="248" y="1080"/>
                      </a:lnTo>
                      <a:lnTo>
                        <a:pt x="246" y="1080"/>
                      </a:lnTo>
                      <a:lnTo>
                        <a:pt x="245" y="1080"/>
                      </a:lnTo>
                      <a:lnTo>
                        <a:pt x="245" y="1081"/>
                      </a:lnTo>
                      <a:lnTo>
                        <a:pt x="243" y="1081"/>
                      </a:lnTo>
                      <a:lnTo>
                        <a:pt x="240" y="1080"/>
                      </a:lnTo>
                      <a:lnTo>
                        <a:pt x="239" y="1078"/>
                      </a:lnTo>
                      <a:lnTo>
                        <a:pt x="238" y="1077"/>
                      </a:lnTo>
                      <a:lnTo>
                        <a:pt x="235" y="1073"/>
                      </a:lnTo>
                      <a:lnTo>
                        <a:pt x="230" y="1070"/>
                      </a:lnTo>
                      <a:lnTo>
                        <a:pt x="229" y="1068"/>
                      </a:lnTo>
                      <a:lnTo>
                        <a:pt x="225" y="1064"/>
                      </a:lnTo>
                      <a:lnTo>
                        <a:pt x="219" y="1060"/>
                      </a:lnTo>
                      <a:lnTo>
                        <a:pt x="218" y="1059"/>
                      </a:lnTo>
                      <a:lnTo>
                        <a:pt x="218" y="1058"/>
                      </a:lnTo>
                      <a:lnTo>
                        <a:pt x="217" y="1058"/>
                      </a:lnTo>
                      <a:lnTo>
                        <a:pt x="217" y="1059"/>
                      </a:lnTo>
                      <a:lnTo>
                        <a:pt x="217" y="1060"/>
                      </a:lnTo>
                      <a:lnTo>
                        <a:pt x="214" y="1061"/>
                      </a:lnTo>
                      <a:lnTo>
                        <a:pt x="213" y="1061"/>
                      </a:lnTo>
                      <a:lnTo>
                        <a:pt x="212" y="1060"/>
                      </a:lnTo>
                      <a:lnTo>
                        <a:pt x="211" y="1060"/>
                      </a:lnTo>
                      <a:lnTo>
                        <a:pt x="207" y="1059"/>
                      </a:lnTo>
                      <a:lnTo>
                        <a:pt x="204" y="1058"/>
                      </a:lnTo>
                      <a:lnTo>
                        <a:pt x="203" y="1058"/>
                      </a:lnTo>
                      <a:lnTo>
                        <a:pt x="201" y="1057"/>
                      </a:lnTo>
                      <a:lnTo>
                        <a:pt x="200" y="1058"/>
                      </a:lnTo>
                      <a:lnTo>
                        <a:pt x="196" y="1057"/>
                      </a:lnTo>
                      <a:lnTo>
                        <a:pt x="190" y="1057"/>
                      </a:lnTo>
                      <a:lnTo>
                        <a:pt x="179" y="1057"/>
                      </a:lnTo>
                      <a:lnTo>
                        <a:pt x="175" y="1057"/>
                      </a:lnTo>
                      <a:lnTo>
                        <a:pt x="172" y="1056"/>
                      </a:lnTo>
                      <a:lnTo>
                        <a:pt x="169" y="1056"/>
                      </a:lnTo>
                      <a:lnTo>
                        <a:pt x="165" y="1055"/>
                      </a:lnTo>
                      <a:lnTo>
                        <a:pt x="162" y="1054"/>
                      </a:lnTo>
                      <a:lnTo>
                        <a:pt x="160" y="1053"/>
                      </a:lnTo>
                      <a:lnTo>
                        <a:pt x="157" y="1052"/>
                      </a:lnTo>
                      <a:lnTo>
                        <a:pt x="155" y="1051"/>
                      </a:lnTo>
                      <a:lnTo>
                        <a:pt x="153" y="1050"/>
                      </a:lnTo>
                      <a:lnTo>
                        <a:pt x="151" y="1048"/>
                      </a:lnTo>
                      <a:lnTo>
                        <a:pt x="150" y="1048"/>
                      </a:lnTo>
                      <a:lnTo>
                        <a:pt x="149" y="1047"/>
                      </a:lnTo>
                      <a:lnTo>
                        <a:pt x="148" y="1047"/>
                      </a:lnTo>
                      <a:lnTo>
                        <a:pt x="145" y="1047"/>
                      </a:lnTo>
                      <a:lnTo>
                        <a:pt x="143" y="1046"/>
                      </a:lnTo>
                      <a:lnTo>
                        <a:pt x="142" y="1045"/>
                      </a:lnTo>
                      <a:lnTo>
                        <a:pt x="141" y="1045"/>
                      </a:lnTo>
                      <a:lnTo>
                        <a:pt x="140" y="1044"/>
                      </a:lnTo>
                      <a:lnTo>
                        <a:pt x="139" y="1044"/>
                      </a:lnTo>
                      <a:lnTo>
                        <a:pt x="138" y="1043"/>
                      </a:lnTo>
                      <a:lnTo>
                        <a:pt x="137" y="1043"/>
                      </a:lnTo>
                      <a:lnTo>
                        <a:pt x="135" y="1042"/>
                      </a:lnTo>
                      <a:lnTo>
                        <a:pt x="132" y="1041"/>
                      </a:lnTo>
                      <a:lnTo>
                        <a:pt x="131" y="1041"/>
                      </a:lnTo>
                      <a:lnTo>
                        <a:pt x="129" y="1040"/>
                      </a:lnTo>
                      <a:lnTo>
                        <a:pt x="127" y="1039"/>
                      </a:lnTo>
                      <a:lnTo>
                        <a:pt x="126" y="1038"/>
                      </a:lnTo>
                      <a:lnTo>
                        <a:pt x="125" y="1037"/>
                      </a:lnTo>
                      <a:lnTo>
                        <a:pt x="121" y="1034"/>
                      </a:lnTo>
                      <a:lnTo>
                        <a:pt x="121" y="1033"/>
                      </a:lnTo>
                      <a:lnTo>
                        <a:pt x="116" y="1030"/>
                      </a:lnTo>
                      <a:lnTo>
                        <a:pt x="114" y="1028"/>
                      </a:lnTo>
                      <a:lnTo>
                        <a:pt x="113" y="1027"/>
                      </a:lnTo>
                      <a:lnTo>
                        <a:pt x="112" y="1026"/>
                      </a:lnTo>
                      <a:lnTo>
                        <a:pt x="112" y="1025"/>
                      </a:lnTo>
                      <a:lnTo>
                        <a:pt x="111" y="1024"/>
                      </a:lnTo>
                      <a:lnTo>
                        <a:pt x="110" y="1024"/>
                      </a:lnTo>
                      <a:lnTo>
                        <a:pt x="108" y="1019"/>
                      </a:lnTo>
                      <a:lnTo>
                        <a:pt x="106" y="1019"/>
                      </a:lnTo>
                      <a:lnTo>
                        <a:pt x="105" y="1017"/>
                      </a:lnTo>
                      <a:lnTo>
                        <a:pt x="104" y="1016"/>
                      </a:lnTo>
                      <a:lnTo>
                        <a:pt x="103" y="1015"/>
                      </a:lnTo>
                      <a:lnTo>
                        <a:pt x="103" y="1014"/>
                      </a:lnTo>
                      <a:lnTo>
                        <a:pt x="101" y="1013"/>
                      </a:lnTo>
                      <a:lnTo>
                        <a:pt x="100" y="1012"/>
                      </a:lnTo>
                      <a:lnTo>
                        <a:pt x="99" y="1009"/>
                      </a:lnTo>
                      <a:lnTo>
                        <a:pt x="98" y="1008"/>
                      </a:lnTo>
                      <a:lnTo>
                        <a:pt x="97" y="1008"/>
                      </a:lnTo>
                      <a:lnTo>
                        <a:pt x="96" y="1006"/>
                      </a:lnTo>
                      <a:lnTo>
                        <a:pt x="93" y="1004"/>
                      </a:lnTo>
                      <a:lnTo>
                        <a:pt x="92" y="1002"/>
                      </a:lnTo>
                      <a:lnTo>
                        <a:pt x="91" y="1001"/>
                      </a:lnTo>
                      <a:lnTo>
                        <a:pt x="90" y="1000"/>
                      </a:lnTo>
                      <a:lnTo>
                        <a:pt x="89" y="998"/>
                      </a:lnTo>
                      <a:lnTo>
                        <a:pt x="89" y="996"/>
                      </a:lnTo>
                      <a:lnTo>
                        <a:pt x="90" y="998"/>
                      </a:lnTo>
                      <a:lnTo>
                        <a:pt x="91" y="998"/>
                      </a:lnTo>
                      <a:lnTo>
                        <a:pt x="91" y="999"/>
                      </a:lnTo>
                      <a:lnTo>
                        <a:pt x="92" y="998"/>
                      </a:lnTo>
                      <a:lnTo>
                        <a:pt x="92" y="999"/>
                      </a:lnTo>
                      <a:lnTo>
                        <a:pt x="93" y="999"/>
                      </a:lnTo>
                      <a:lnTo>
                        <a:pt x="95" y="999"/>
                      </a:lnTo>
                      <a:lnTo>
                        <a:pt x="95" y="998"/>
                      </a:lnTo>
                      <a:lnTo>
                        <a:pt x="96" y="998"/>
                      </a:lnTo>
                      <a:lnTo>
                        <a:pt x="96" y="999"/>
                      </a:lnTo>
                      <a:lnTo>
                        <a:pt x="97" y="999"/>
                      </a:lnTo>
                      <a:lnTo>
                        <a:pt x="98" y="1000"/>
                      </a:lnTo>
                      <a:lnTo>
                        <a:pt x="99" y="1000"/>
                      </a:lnTo>
                      <a:lnTo>
                        <a:pt x="100" y="999"/>
                      </a:lnTo>
                      <a:lnTo>
                        <a:pt x="101" y="999"/>
                      </a:lnTo>
                      <a:lnTo>
                        <a:pt x="102" y="999"/>
                      </a:lnTo>
                      <a:lnTo>
                        <a:pt x="103" y="1000"/>
                      </a:lnTo>
                      <a:lnTo>
                        <a:pt x="104" y="1000"/>
                      </a:lnTo>
                      <a:lnTo>
                        <a:pt x="105" y="1000"/>
                      </a:lnTo>
                      <a:lnTo>
                        <a:pt x="108" y="1000"/>
                      </a:lnTo>
                      <a:lnTo>
                        <a:pt x="109" y="1000"/>
                      </a:lnTo>
                      <a:lnTo>
                        <a:pt x="110" y="1000"/>
                      </a:lnTo>
                      <a:lnTo>
                        <a:pt x="110" y="999"/>
                      </a:lnTo>
                      <a:lnTo>
                        <a:pt x="110" y="998"/>
                      </a:lnTo>
                      <a:lnTo>
                        <a:pt x="111" y="998"/>
                      </a:lnTo>
                      <a:lnTo>
                        <a:pt x="112" y="998"/>
                      </a:lnTo>
                      <a:lnTo>
                        <a:pt x="115" y="998"/>
                      </a:lnTo>
                      <a:lnTo>
                        <a:pt x="117" y="998"/>
                      </a:lnTo>
                      <a:lnTo>
                        <a:pt x="118" y="996"/>
                      </a:lnTo>
                      <a:lnTo>
                        <a:pt x="119" y="995"/>
                      </a:lnTo>
                      <a:lnTo>
                        <a:pt x="119" y="994"/>
                      </a:lnTo>
                      <a:lnTo>
                        <a:pt x="121" y="993"/>
                      </a:lnTo>
                      <a:lnTo>
                        <a:pt x="121" y="992"/>
                      </a:lnTo>
                      <a:lnTo>
                        <a:pt x="121" y="991"/>
                      </a:lnTo>
                      <a:lnTo>
                        <a:pt x="121" y="990"/>
                      </a:lnTo>
                      <a:lnTo>
                        <a:pt x="121" y="989"/>
                      </a:lnTo>
                      <a:lnTo>
                        <a:pt x="122" y="989"/>
                      </a:lnTo>
                      <a:lnTo>
                        <a:pt x="124" y="987"/>
                      </a:lnTo>
                      <a:lnTo>
                        <a:pt x="125" y="987"/>
                      </a:lnTo>
                      <a:lnTo>
                        <a:pt x="127" y="986"/>
                      </a:lnTo>
                      <a:lnTo>
                        <a:pt x="127" y="984"/>
                      </a:lnTo>
                      <a:lnTo>
                        <a:pt x="128" y="983"/>
                      </a:lnTo>
                      <a:lnTo>
                        <a:pt x="129" y="982"/>
                      </a:lnTo>
                      <a:lnTo>
                        <a:pt x="129" y="981"/>
                      </a:lnTo>
                      <a:lnTo>
                        <a:pt x="129" y="978"/>
                      </a:lnTo>
                      <a:lnTo>
                        <a:pt x="129" y="976"/>
                      </a:lnTo>
                      <a:lnTo>
                        <a:pt x="129" y="974"/>
                      </a:lnTo>
                      <a:lnTo>
                        <a:pt x="129" y="973"/>
                      </a:lnTo>
                      <a:lnTo>
                        <a:pt x="130" y="971"/>
                      </a:lnTo>
                      <a:lnTo>
                        <a:pt x="131" y="970"/>
                      </a:lnTo>
                      <a:lnTo>
                        <a:pt x="131" y="969"/>
                      </a:lnTo>
                      <a:lnTo>
                        <a:pt x="132" y="967"/>
                      </a:lnTo>
                      <a:lnTo>
                        <a:pt x="132" y="966"/>
                      </a:lnTo>
                      <a:lnTo>
                        <a:pt x="132" y="965"/>
                      </a:lnTo>
                      <a:lnTo>
                        <a:pt x="132" y="963"/>
                      </a:lnTo>
                      <a:lnTo>
                        <a:pt x="135" y="962"/>
                      </a:lnTo>
                      <a:lnTo>
                        <a:pt x="136" y="961"/>
                      </a:lnTo>
                      <a:lnTo>
                        <a:pt x="138" y="961"/>
                      </a:lnTo>
                      <a:lnTo>
                        <a:pt x="139" y="960"/>
                      </a:lnTo>
                      <a:lnTo>
                        <a:pt x="140" y="960"/>
                      </a:lnTo>
                      <a:lnTo>
                        <a:pt x="141" y="960"/>
                      </a:lnTo>
                      <a:lnTo>
                        <a:pt x="141" y="958"/>
                      </a:lnTo>
                      <a:lnTo>
                        <a:pt x="143" y="957"/>
                      </a:lnTo>
                      <a:lnTo>
                        <a:pt x="143" y="956"/>
                      </a:lnTo>
                      <a:lnTo>
                        <a:pt x="144" y="956"/>
                      </a:lnTo>
                      <a:lnTo>
                        <a:pt x="145" y="955"/>
                      </a:lnTo>
                      <a:lnTo>
                        <a:pt x="147" y="955"/>
                      </a:lnTo>
                      <a:lnTo>
                        <a:pt x="151" y="954"/>
                      </a:lnTo>
                      <a:lnTo>
                        <a:pt x="153" y="953"/>
                      </a:lnTo>
                      <a:lnTo>
                        <a:pt x="153" y="954"/>
                      </a:lnTo>
                      <a:lnTo>
                        <a:pt x="152" y="955"/>
                      </a:lnTo>
                      <a:lnTo>
                        <a:pt x="152" y="956"/>
                      </a:lnTo>
                      <a:lnTo>
                        <a:pt x="152" y="957"/>
                      </a:lnTo>
                      <a:lnTo>
                        <a:pt x="152" y="958"/>
                      </a:lnTo>
                      <a:lnTo>
                        <a:pt x="152" y="961"/>
                      </a:lnTo>
                      <a:lnTo>
                        <a:pt x="151" y="962"/>
                      </a:lnTo>
                      <a:lnTo>
                        <a:pt x="150" y="962"/>
                      </a:lnTo>
                      <a:lnTo>
                        <a:pt x="150" y="963"/>
                      </a:lnTo>
                      <a:lnTo>
                        <a:pt x="151" y="963"/>
                      </a:lnTo>
                      <a:lnTo>
                        <a:pt x="151" y="964"/>
                      </a:lnTo>
                      <a:lnTo>
                        <a:pt x="151" y="965"/>
                      </a:lnTo>
                      <a:lnTo>
                        <a:pt x="151" y="966"/>
                      </a:lnTo>
                      <a:lnTo>
                        <a:pt x="151" y="967"/>
                      </a:lnTo>
                      <a:lnTo>
                        <a:pt x="151" y="968"/>
                      </a:lnTo>
                      <a:lnTo>
                        <a:pt x="152" y="968"/>
                      </a:lnTo>
                      <a:lnTo>
                        <a:pt x="153" y="968"/>
                      </a:lnTo>
                      <a:lnTo>
                        <a:pt x="154" y="969"/>
                      </a:lnTo>
                      <a:lnTo>
                        <a:pt x="154" y="970"/>
                      </a:lnTo>
                      <a:lnTo>
                        <a:pt x="155" y="973"/>
                      </a:lnTo>
                      <a:lnTo>
                        <a:pt x="156" y="973"/>
                      </a:lnTo>
                      <a:lnTo>
                        <a:pt x="157" y="975"/>
                      </a:lnTo>
                      <a:lnTo>
                        <a:pt x="158" y="976"/>
                      </a:lnTo>
                      <a:lnTo>
                        <a:pt x="158" y="977"/>
                      </a:lnTo>
                      <a:lnTo>
                        <a:pt x="160" y="978"/>
                      </a:lnTo>
                      <a:lnTo>
                        <a:pt x="160" y="979"/>
                      </a:lnTo>
                      <a:lnTo>
                        <a:pt x="160" y="980"/>
                      </a:lnTo>
                      <a:lnTo>
                        <a:pt x="160" y="981"/>
                      </a:lnTo>
                      <a:lnTo>
                        <a:pt x="161" y="982"/>
                      </a:lnTo>
                      <a:lnTo>
                        <a:pt x="161" y="983"/>
                      </a:lnTo>
                      <a:lnTo>
                        <a:pt x="161" y="984"/>
                      </a:lnTo>
                      <a:lnTo>
                        <a:pt x="162" y="984"/>
                      </a:lnTo>
                      <a:lnTo>
                        <a:pt x="163" y="986"/>
                      </a:lnTo>
                      <a:lnTo>
                        <a:pt x="165" y="987"/>
                      </a:lnTo>
                      <a:lnTo>
                        <a:pt x="166" y="988"/>
                      </a:lnTo>
                      <a:lnTo>
                        <a:pt x="166" y="989"/>
                      </a:lnTo>
                      <a:lnTo>
                        <a:pt x="166" y="990"/>
                      </a:lnTo>
                      <a:lnTo>
                        <a:pt x="166" y="991"/>
                      </a:lnTo>
                      <a:lnTo>
                        <a:pt x="167" y="991"/>
                      </a:lnTo>
                      <a:lnTo>
                        <a:pt x="168" y="993"/>
                      </a:lnTo>
                      <a:lnTo>
                        <a:pt x="169" y="993"/>
                      </a:lnTo>
                      <a:lnTo>
                        <a:pt x="170" y="993"/>
                      </a:lnTo>
                      <a:lnTo>
                        <a:pt x="172" y="992"/>
                      </a:lnTo>
                      <a:lnTo>
                        <a:pt x="173" y="993"/>
                      </a:lnTo>
                      <a:lnTo>
                        <a:pt x="174" y="994"/>
                      </a:lnTo>
                      <a:lnTo>
                        <a:pt x="174" y="996"/>
                      </a:lnTo>
                      <a:lnTo>
                        <a:pt x="175" y="998"/>
                      </a:lnTo>
                      <a:lnTo>
                        <a:pt x="175" y="999"/>
                      </a:lnTo>
                      <a:lnTo>
                        <a:pt x="175" y="1000"/>
                      </a:lnTo>
                      <a:lnTo>
                        <a:pt x="176" y="1000"/>
                      </a:lnTo>
                      <a:lnTo>
                        <a:pt x="177" y="1000"/>
                      </a:lnTo>
                      <a:lnTo>
                        <a:pt x="178" y="1000"/>
                      </a:lnTo>
                      <a:lnTo>
                        <a:pt x="179" y="1001"/>
                      </a:lnTo>
                      <a:lnTo>
                        <a:pt x="180" y="1003"/>
                      </a:lnTo>
                      <a:lnTo>
                        <a:pt x="181" y="1003"/>
                      </a:lnTo>
                      <a:lnTo>
                        <a:pt x="182" y="1003"/>
                      </a:lnTo>
                      <a:lnTo>
                        <a:pt x="183" y="1002"/>
                      </a:lnTo>
                      <a:lnTo>
                        <a:pt x="183" y="1001"/>
                      </a:lnTo>
                      <a:lnTo>
                        <a:pt x="182" y="1000"/>
                      </a:lnTo>
                      <a:lnTo>
                        <a:pt x="181" y="1000"/>
                      </a:lnTo>
                      <a:lnTo>
                        <a:pt x="180" y="998"/>
                      </a:lnTo>
                      <a:lnTo>
                        <a:pt x="180" y="996"/>
                      </a:lnTo>
                      <a:lnTo>
                        <a:pt x="181" y="996"/>
                      </a:lnTo>
                      <a:lnTo>
                        <a:pt x="181" y="998"/>
                      </a:lnTo>
                      <a:lnTo>
                        <a:pt x="182" y="998"/>
                      </a:lnTo>
                      <a:lnTo>
                        <a:pt x="182" y="999"/>
                      </a:lnTo>
                      <a:lnTo>
                        <a:pt x="182" y="998"/>
                      </a:lnTo>
                      <a:lnTo>
                        <a:pt x="182" y="996"/>
                      </a:lnTo>
                      <a:lnTo>
                        <a:pt x="182" y="995"/>
                      </a:lnTo>
                      <a:lnTo>
                        <a:pt x="183" y="994"/>
                      </a:lnTo>
                      <a:lnTo>
                        <a:pt x="185" y="993"/>
                      </a:lnTo>
                      <a:lnTo>
                        <a:pt x="186" y="993"/>
                      </a:lnTo>
                      <a:lnTo>
                        <a:pt x="186" y="992"/>
                      </a:lnTo>
                      <a:lnTo>
                        <a:pt x="187" y="992"/>
                      </a:lnTo>
                      <a:lnTo>
                        <a:pt x="187" y="991"/>
                      </a:lnTo>
                      <a:lnTo>
                        <a:pt x="188" y="991"/>
                      </a:lnTo>
                      <a:lnTo>
                        <a:pt x="189" y="991"/>
                      </a:lnTo>
                      <a:lnTo>
                        <a:pt x="190" y="991"/>
                      </a:lnTo>
                      <a:lnTo>
                        <a:pt x="189" y="991"/>
                      </a:lnTo>
                      <a:lnTo>
                        <a:pt x="189" y="990"/>
                      </a:lnTo>
                      <a:lnTo>
                        <a:pt x="188" y="990"/>
                      </a:lnTo>
                      <a:lnTo>
                        <a:pt x="189" y="989"/>
                      </a:lnTo>
                      <a:lnTo>
                        <a:pt x="190" y="989"/>
                      </a:lnTo>
                      <a:lnTo>
                        <a:pt x="191" y="988"/>
                      </a:lnTo>
                      <a:lnTo>
                        <a:pt x="191" y="987"/>
                      </a:lnTo>
                      <a:lnTo>
                        <a:pt x="192" y="987"/>
                      </a:lnTo>
                      <a:lnTo>
                        <a:pt x="192" y="986"/>
                      </a:lnTo>
                      <a:lnTo>
                        <a:pt x="193" y="987"/>
                      </a:lnTo>
                      <a:lnTo>
                        <a:pt x="195" y="987"/>
                      </a:lnTo>
                      <a:lnTo>
                        <a:pt x="196" y="988"/>
                      </a:lnTo>
                      <a:lnTo>
                        <a:pt x="198" y="989"/>
                      </a:lnTo>
                      <a:lnTo>
                        <a:pt x="199" y="990"/>
                      </a:lnTo>
                      <a:lnTo>
                        <a:pt x="199" y="991"/>
                      </a:lnTo>
                      <a:lnTo>
                        <a:pt x="198" y="992"/>
                      </a:lnTo>
                      <a:lnTo>
                        <a:pt x="196" y="993"/>
                      </a:lnTo>
                      <a:lnTo>
                        <a:pt x="195" y="995"/>
                      </a:lnTo>
                      <a:lnTo>
                        <a:pt x="194" y="998"/>
                      </a:lnTo>
                      <a:lnTo>
                        <a:pt x="194" y="999"/>
                      </a:lnTo>
                      <a:lnTo>
                        <a:pt x="194" y="1000"/>
                      </a:lnTo>
                      <a:lnTo>
                        <a:pt x="193" y="1002"/>
                      </a:lnTo>
                      <a:lnTo>
                        <a:pt x="193" y="1003"/>
                      </a:lnTo>
                      <a:lnTo>
                        <a:pt x="194" y="1004"/>
                      </a:lnTo>
                      <a:lnTo>
                        <a:pt x="193" y="1005"/>
                      </a:lnTo>
                      <a:lnTo>
                        <a:pt x="193" y="1006"/>
                      </a:lnTo>
                      <a:lnTo>
                        <a:pt x="193" y="1007"/>
                      </a:lnTo>
                      <a:lnTo>
                        <a:pt x="193" y="1008"/>
                      </a:lnTo>
                      <a:lnTo>
                        <a:pt x="194" y="1011"/>
                      </a:lnTo>
                      <a:lnTo>
                        <a:pt x="194" y="1013"/>
                      </a:lnTo>
                      <a:lnTo>
                        <a:pt x="194" y="1014"/>
                      </a:lnTo>
                      <a:lnTo>
                        <a:pt x="192" y="1018"/>
                      </a:lnTo>
                      <a:lnTo>
                        <a:pt x="192" y="1019"/>
                      </a:lnTo>
                      <a:lnTo>
                        <a:pt x="192" y="1020"/>
                      </a:lnTo>
                      <a:lnTo>
                        <a:pt x="191" y="1021"/>
                      </a:lnTo>
                      <a:lnTo>
                        <a:pt x="192" y="1021"/>
                      </a:lnTo>
                      <a:lnTo>
                        <a:pt x="192" y="1022"/>
                      </a:lnTo>
                      <a:lnTo>
                        <a:pt x="191" y="1022"/>
                      </a:lnTo>
                      <a:lnTo>
                        <a:pt x="190" y="1024"/>
                      </a:lnTo>
                      <a:lnTo>
                        <a:pt x="189" y="1024"/>
                      </a:lnTo>
                      <a:lnTo>
                        <a:pt x="188" y="1024"/>
                      </a:lnTo>
                      <a:lnTo>
                        <a:pt x="187" y="1021"/>
                      </a:lnTo>
                      <a:lnTo>
                        <a:pt x="186" y="1022"/>
                      </a:lnTo>
                      <a:lnTo>
                        <a:pt x="186" y="1025"/>
                      </a:lnTo>
                      <a:lnTo>
                        <a:pt x="187" y="1025"/>
                      </a:lnTo>
                      <a:lnTo>
                        <a:pt x="188" y="1025"/>
                      </a:lnTo>
                      <a:lnTo>
                        <a:pt x="189" y="1026"/>
                      </a:lnTo>
                      <a:lnTo>
                        <a:pt x="190" y="1026"/>
                      </a:lnTo>
                      <a:lnTo>
                        <a:pt x="191" y="1026"/>
                      </a:lnTo>
                      <a:lnTo>
                        <a:pt x="192" y="1027"/>
                      </a:lnTo>
                      <a:lnTo>
                        <a:pt x="193" y="1028"/>
                      </a:lnTo>
                      <a:lnTo>
                        <a:pt x="194" y="1028"/>
                      </a:lnTo>
                      <a:lnTo>
                        <a:pt x="195" y="1029"/>
                      </a:lnTo>
                      <a:lnTo>
                        <a:pt x="195" y="1030"/>
                      </a:lnTo>
                      <a:lnTo>
                        <a:pt x="196" y="1032"/>
                      </a:lnTo>
                      <a:lnTo>
                        <a:pt x="198" y="1032"/>
                      </a:lnTo>
                      <a:lnTo>
                        <a:pt x="199" y="1032"/>
                      </a:lnTo>
                      <a:lnTo>
                        <a:pt x="202" y="1033"/>
                      </a:lnTo>
                      <a:lnTo>
                        <a:pt x="203" y="1033"/>
                      </a:lnTo>
                      <a:lnTo>
                        <a:pt x="203" y="1034"/>
                      </a:lnTo>
                      <a:lnTo>
                        <a:pt x="204" y="1035"/>
                      </a:lnTo>
                      <a:lnTo>
                        <a:pt x="203" y="1035"/>
                      </a:lnTo>
                      <a:lnTo>
                        <a:pt x="203" y="1034"/>
                      </a:lnTo>
                      <a:lnTo>
                        <a:pt x="202" y="1034"/>
                      </a:lnTo>
                      <a:lnTo>
                        <a:pt x="201" y="1034"/>
                      </a:lnTo>
                      <a:lnTo>
                        <a:pt x="200" y="1034"/>
                      </a:lnTo>
                      <a:lnTo>
                        <a:pt x="199" y="1034"/>
                      </a:lnTo>
                      <a:lnTo>
                        <a:pt x="198" y="1034"/>
                      </a:lnTo>
                      <a:lnTo>
                        <a:pt x="196" y="1035"/>
                      </a:lnTo>
                      <a:lnTo>
                        <a:pt x="196" y="1037"/>
                      </a:lnTo>
                      <a:lnTo>
                        <a:pt x="195" y="1038"/>
                      </a:lnTo>
                      <a:lnTo>
                        <a:pt x="195" y="1039"/>
                      </a:lnTo>
                      <a:lnTo>
                        <a:pt x="194" y="1040"/>
                      </a:lnTo>
                      <a:lnTo>
                        <a:pt x="194" y="1041"/>
                      </a:lnTo>
                      <a:lnTo>
                        <a:pt x="193" y="1042"/>
                      </a:lnTo>
                      <a:lnTo>
                        <a:pt x="193" y="1043"/>
                      </a:lnTo>
                      <a:lnTo>
                        <a:pt x="193" y="1044"/>
                      </a:lnTo>
                      <a:lnTo>
                        <a:pt x="192" y="1045"/>
                      </a:lnTo>
                      <a:lnTo>
                        <a:pt x="192" y="1046"/>
                      </a:lnTo>
                      <a:lnTo>
                        <a:pt x="192" y="1047"/>
                      </a:lnTo>
                      <a:lnTo>
                        <a:pt x="193" y="1048"/>
                      </a:lnTo>
                      <a:lnTo>
                        <a:pt x="193" y="1050"/>
                      </a:lnTo>
                      <a:lnTo>
                        <a:pt x="194" y="1050"/>
                      </a:lnTo>
                      <a:lnTo>
                        <a:pt x="195" y="1050"/>
                      </a:lnTo>
                      <a:lnTo>
                        <a:pt x="196" y="1050"/>
                      </a:lnTo>
                      <a:lnTo>
                        <a:pt x="198" y="1050"/>
                      </a:lnTo>
                      <a:lnTo>
                        <a:pt x="198" y="1048"/>
                      </a:lnTo>
                      <a:lnTo>
                        <a:pt x="196" y="1048"/>
                      </a:lnTo>
                      <a:lnTo>
                        <a:pt x="195" y="1048"/>
                      </a:lnTo>
                      <a:lnTo>
                        <a:pt x="196" y="1046"/>
                      </a:lnTo>
                      <a:lnTo>
                        <a:pt x="196" y="1045"/>
                      </a:lnTo>
                      <a:lnTo>
                        <a:pt x="198" y="1045"/>
                      </a:lnTo>
                      <a:lnTo>
                        <a:pt x="199" y="1045"/>
                      </a:lnTo>
                      <a:lnTo>
                        <a:pt x="200" y="1045"/>
                      </a:lnTo>
                      <a:lnTo>
                        <a:pt x="202" y="1044"/>
                      </a:lnTo>
                      <a:lnTo>
                        <a:pt x="205" y="1044"/>
                      </a:lnTo>
                      <a:lnTo>
                        <a:pt x="206" y="1044"/>
                      </a:lnTo>
                      <a:lnTo>
                        <a:pt x="207" y="1044"/>
                      </a:lnTo>
                      <a:lnTo>
                        <a:pt x="208" y="1043"/>
                      </a:lnTo>
                      <a:lnTo>
                        <a:pt x="208" y="1042"/>
                      </a:lnTo>
                      <a:lnTo>
                        <a:pt x="208" y="1041"/>
                      </a:lnTo>
                      <a:lnTo>
                        <a:pt x="208" y="1039"/>
                      </a:lnTo>
                      <a:lnTo>
                        <a:pt x="209" y="1038"/>
                      </a:lnTo>
                      <a:lnTo>
                        <a:pt x="211" y="1038"/>
                      </a:lnTo>
                      <a:lnTo>
                        <a:pt x="211" y="1039"/>
                      </a:lnTo>
                      <a:lnTo>
                        <a:pt x="213" y="1039"/>
                      </a:lnTo>
                      <a:lnTo>
                        <a:pt x="214" y="1039"/>
                      </a:lnTo>
                      <a:lnTo>
                        <a:pt x="214" y="1040"/>
                      </a:lnTo>
                      <a:lnTo>
                        <a:pt x="215" y="1040"/>
                      </a:lnTo>
                      <a:lnTo>
                        <a:pt x="215" y="1041"/>
                      </a:lnTo>
                      <a:lnTo>
                        <a:pt x="216" y="1041"/>
                      </a:lnTo>
                      <a:lnTo>
                        <a:pt x="216" y="1042"/>
                      </a:lnTo>
                      <a:lnTo>
                        <a:pt x="217" y="1042"/>
                      </a:lnTo>
                      <a:lnTo>
                        <a:pt x="217" y="1041"/>
                      </a:lnTo>
                      <a:lnTo>
                        <a:pt x="217" y="1040"/>
                      </a:lnTo>
                      <a:lnTo>
                        <a:pt x="218" y="1040"/>
                      </a:lnTo>
                      <a:lnTo>
                        <a:pt x="219" y="1040"/>
                      </a:lnTo>
                      <a:lnTo>
                        <a:pt x="220" y="1040"/>
                      </a:lnTo>
                      <a:lnTo>
                        <a:pt x="221" y="1040"/>
                      </a:lnTo>
                      <a:lnTo>
                        <a:pt x="222" y="1039"/>
                      </a:lnTo>
                      <a:lnTo>
                        <a:pt x="222" y="1038"/>
                      </a:lnTo>
                      <a:lnTo>
                        <a:pt x="224" y="1038"/>
                      </a:lnTo>
                      <a:lnTo>
                        <a:pt x="224" y="1037"/>
                      </a:lnTo>
                      <a:lnTo>
                        <a:pt x="224" y="1035"/>
                      </a:lnTo>
                      <a:lnTo>
                        <a:pt x="225" y="1035"/>
                      </a:lnTo>
                      <a:lnTo>
                        <a:pt x="225" y="1034"/>
                      </a:lnTo>
                      <a:lnTo>
                        <a:pt x="226" y="1034"/>
                      </a:lnTo>
                      <a:lnTo>
                        <a:pt x="226" y="1033"/>
                      </a:lnTo>
                      <a:lnTo>
                        <a:pt x="226" y="1032"/>
                      </a:lnTo>
                      <a:lnTo>
                        <a:pt x="226" y="1033"/>
                      </a:lnTo>
                      <a:lnTo>
                        <a:pt x="226" y="1032"/>
                      </a:lnTo>
                      <a:lnTo>
                        <a:pt x="225" y="1032"/>
                      </a:lnTo>
                      <a:lnTo>
                        <a:pt x="225" y="1031"/>
                      </a:lnTo>
                      <a:lnTo>
                        <a:pt x="224" y="1031"/>
                      </a:lnTo>
                      <a:lnTo>
                        <a:pt x="225" y="1030"/>
                      </a:lnTo>
                      <a:lnTo>
                        <a:pt x="225" y="1028"/>
                      </a:lnTo>
                      <a:lnTo>
                        <a:pt x="225" y="1027"/>
                      </a:lnTo>
                      <a:lnTo>
                        <a:pt x="225" y="1026"/>
                      </a:lnTo>
                      <a:lnTo>
                        <a:pt x="224" y="1025"/>
                      </a:lnTo>
                      <a:lnTo>
                        <a:pt x="224" y="1024"/>
                      </a:lnTo>
                      <a:lnTo>
                        <a:pt x="224" y="1022"/>
                      </a:lnTo>
                      <a:lnTo>
                        <a:pt x="224" y="1021"/>
                      </a:lnTo>
                      <a:lnTo>
                        <a:pt x="221" y="1020"/>
                      </a:lnTo>
                      <a:lnTo>
                        <a:pt x="222" y="1019"/>
                      </a:lnTo>
                      <a:lnTo>
                        <a:pt x="224" y="1018"/>
                      </a:lnTo>
                      <a:lnTo>
                        <a:pt x="222" y="1019"/>
                      </a:lnTo>
                      <a:lnTo>
                        <a:pt x="221" y="1019"/>
                      </a:lnTo>
                      <a:lnTo>
                        <a:pt x="220" y="1019"/>
                      </a:lnTo>
                      <a:lnTo>
                        <a:pt x="220" y="1020"/>
                      </a:lnTo>
                      <a:lnTo>
                        <a:pt x="220" y="1021"/>
                      </a:lnTo>
                      <a:lnTo>
                        <a:pt x="221" y="1022"/>
                      </a:lnTo>
                      <a:lnTo>
                        <a:pt x="220" y="1022"/>
                      </a:lnTo>
                      <a:lnTo>
                        <a:pt x="219" y="1021"/>
                      </a:lnTo>
                      <a:lnTo>
                        <a:pt x="219" y="1020"/>
                      </a:lnTo>
                      <a:lnTo>
                        <a:pt x="218" y="1020"/>
                      </a:lnTo>
                      <a:lnTo>
                        <a:pt x="218" y="1019"/>
                      </a:lnTo>
                      <a:lnTo>
                        <a:pt x="217" y="1018"/>
                      </a:lnTo>
                      <a:lnTo>
                        <a:pt x="217" y="1017"/>
                      </a:lnTo>
                      <a:lnTo>
                        <a:pt x="216" y="1017"/>
                      </a:lnTo>
                      <a:lnTo>
                        <a:pt x="216" y="1016"/>
                      </a:lnTo>
                      <a:lnTo>
                        <a:pt x="217" y="1014"/>
                      </a:lnTo>
                      <a:lnTo>
                        <a:pt x="219" y="1014"/>
                      </a:lnTo>
                      <a:lnTo>
                        <a:pt x="220" y="1014"/>
                      </a:lnTo>
                      <a:lnTo>
                        <a:pt x="221" y="1014"/>
                      </a:lnTo>
                      <a:lnTo>
                        <a:pt x="222" y="1014"/>
                      </a:lnTo>
                      <a:lnTo>
                        <a:pt x="224" y="1014"/>
                      </a:lnTo>
                      <a:lnTo>
                        <a:pt x="225" y="1014"/>
                      </a:lnTo>
                      <a:lnTo>
                        <a:pt x="226" y="1014"/>
                      </a:lnTo>
                      <a:lnTo>
                        <a:pt x="227" y="1013"/>
                      </a:lnTo>
                      <a:lnTo>
                        <a:pt x="228" y="1013"/>
                      </a:lnTo>
                      <a:lnTo>
                        <a:pt x="228" y="1012"/>
                      </a:lnTo>
                      <a:lnTo>
                        <a:pt x="228" y="1011"/>
                      </a:lnTo>
                      <a:lnTo>
                        <a:pt x="228" y="1009"/>
                      </a:lnTo>
                      <a:lnTo>
                        <a:pt x="227" y="1009"/>
                      </a:lnTo>
                      <a:lnTo>
                        <a:pt x="226" y="1009"/>
                      </a:lnTo>
                      <a:lnTo>
                        <a:pt x="224" y="1007"/>
                      </a:lnTo>
                      <a:lnTo>
                        <a:pt x="222" y="1007"/>
                      </a:lnTo>
                      <a:lnTo>
                        <a:pt x="221" y="1006"/>
                      </a:lnTo>
                      <a:lnTo>
                        <a:pt x="222" y="1005"/>
                      </a:lnTo>
                      <a:lnTo>
                        <a:pt x="225" y="1003"/>
                      </a:lnTo>
                      <a:lnTo>
                        <a:pt x="225" y="1002"/>
                      </a:lnTo>
                      <a:lnTo>
                        <a:pt x="224" y="1002"/>
                      </a:lnTo>
                      <a:lnTo>
                        <a:pt x="224" y="1001"/>
                      </a:lnTo>
                      <a:lnTo>
                        <a:pt x="225" y="1001"/>
                      </a:lnTo>
                      <a:lnTo>
                        <a:pt x="225" y="1000"/>
                      </a:lnTo>
                      <a:lnTo>
                        <a:pt x="225" y="999"/>
                      </a:lnTo>
                      <a:lnTo>
                        <a:pt x="225" y="998"/>
                      </a:lnTo>
                      <a:lnTo>
                        <a:pt x="224" y="995"/>
                      </a:lnTo>
                      <a:lnTo>
                        <a:pt x="224" y="993"/>
                      </a:lnTo>
                      <a:lnTo>
                        <a:pt x="224" y="991"/>
                      </a:lnTo>
                      <a:lnTo>
                        <a:pt x="222" y="990"/>
                      </a:lnTo>
                      <a:lnTo>
                        <a:pt x="221" y="989"/>
                      </a:lnTo>
                      <a:lnTo>
                        <a:pt x="220" y="989"/>
                      </a:lnTo>
                      <a:lnTo>
                        <a:pt x="220" y="988"/>
                      </a:lnTo>
                      <a:lnTo>
                        <a:pt x="221" y="986"/>
                      </a:lnTo>
                      <a:lnTo>
                        <a:pt x="221" y="983"/>
                      </a:lnTo>
                      <a:lnTo>
                        <a:pt x="220" y="981"/>
                      </a:lnTo>
                      <a:lnTo>
                        <a:pt x="220" y="980"/>
                      </a:lnTo>
                      <a:lnTo>
                        <a:pt x="219" y="979"/>
                      </a:lnTo>
                      <a:lnTo>
                        <a:pt x="219" y="978"/>
                      </a:lnTo>
                      <a:lnTo>
                        <a:pt x="218" y="977"/>
                      </a:lnTo>
                      <a:lnTo>
                        <a:pt x="217" y="976"/>
                      </a:lnTo>
                      <a:lnTo>
                        <a:pt x="216" y="975"/>
                      </a:lnTo>
                      <a:lnTo>
                        <a:pt x="215" y="974"/>
                      </a:lnTo>
                      <a:lnTo>
                        <a:pt x="213" y="974"/>
                      </a:lnTo>
                      <a:lnTo>
                        <a:pt x="211" y="973"/>
                      </a:lnTo>
                      <a:lnTo>
                        <a:pt x="209" y="973"/>
                      </a:lnTo>
                      <a:lnTo>
                        <a:pt x="208" y="973"/>
                      </a:lnTo>
                      <a:lnTo>
                        <a:pt x="206" y="973"/>
                      </a:lnTo>
                      <a:lnTo>
                        <a:pt x="205" y="971"/>
                      </a:lnTo>
                      <a:lnTo>
                        <a:pt x="205" y="969"/>
                      </a:lnTo>
                      <a:lnTo>
                        <a:pt x="205" y="968"/>
                      </a:lnTo>
                      <a:lnTo>
                        <a:pt x="204" y="968"/>
                      </a:lnTo>
                      <a:lnTo>
                        <a:pt x="204" y="967"/>
                      </a:lnTo>
                      <a:lnTo>
                        <a:pt x="205" y="967"/>
                      </a:lnTo>
                      <a:lnTo>
                        <a:pt x="206" y="967"/>
                      </a:lnTo>
                      <a:lnTo>
                        <a:pt x="207" y="967"/>
                      </a:lnTo>
                      <a:lnTo>
                        <a:pt x="208" y="967"/>
                      </a:lnTo>
                      <a:lnTo>
                        <a:pt x="208" y="968"/>
                      </a:lnTo>
                      <a:lnTo>
                        <a:pt x="209" y="968"/>
                      </a:lnTo>
                      <a:lnTo>
                        <a:pt x="209" y="969"/>
                      </a:lnTo>
                      <a:lnTo>
                        <a:pt x="211" y="970"/>
                      </a:lnTo>
                      <a:lnTo>
                        <a:pt x="211" y="969"/>
                      </a:lnTo>
                      <a:lnTo>
                        <a:pt x="209" y="969"/>
                      </a:lnTo>
                      <a:lnTo>
                        <a:pt x="209" y="968"/>
                      </a:lnTo>
                      <a:lnTo>
                        <a:pt x="209" y="967"/>
                      </a:lnTo>
                      <a:lnTo>
                        <a:pt x="208" y="967"/>
                      </a:lnTo>
                      <a:lnTo>
                        <a:pt x="206" y="966"/>
                      </a:lnTo>
                      <a:lnTo>
                        <a:pt x="205" y="966"/>
                      </a:lnTo>
                      <a:lnTo>
                        <a:pt x="204" y="965"/>
                      </a:lnTo>
                      <a:lnTo>
                        <a:pt x="204" y="964"/>
                      </a:lnTo>
                      <a:lnTo>
                        <a:pt x="203" y="964"/>
                      </a:lnTo>
                      <a:lnTo>
                        <a:pt x="203" y="963"/>
                      </a:lnTo>
                      <a:lnTo>
                        <a:pt x="202" y="963"/>
                      </a:lnTo>
                      <a:lnTo>
                        <a:pt x="201" y="962"/>
                      </a:lnTo>
                      <a:lnTo>
                        <a:pt x="200" y="961"/>
                      </a:lnTo>
                      <a:lnTo>
                        <a:pt x="199" y="961"/>
                      </a:lnTo>
                      <a:lnTo>
                        <a:pt x="198" y="960"/>
                      </a:lnTo>
                      <a:lnTo>
                        <a:pt x="196" y="961"/>
                      </a:lnTo>
                      <a:lnTo>
                        <a:pt x="196" y="960"/>
                      </a:lnTo>
                      <a:lnTo>
                        <a:pt x="195" y="960"/>
                      </a:lnTo>
                      <a:lnTo>
                        <a:pt x="194" y="960"/>
                      </a:lnTo>
                      <a:lnTo>
                        <a:pt x="193" y="960"/>
                      </a:lnTo>
                      <a:lnTo>
                        <a:pt x="192" y="960"/>
                      </a:lnTo>
                      <a:lnTo>
                        <a:pt x="191" y="958"/>
                      </a:lnTo>
                      <a:lnTo>
                        <a:pt x="191" y="960"/>
                      </a:lnTo>
                      <a:lnTo>
                        <a:pt x="190" y="960"/>
                      </a:lnTo>
                      <a:lnTo>
                        <a:pt x="189" y="960"/>
                      </a:lnTo>
                      <a:lnTo>
                        <a:pt x="189" y="957"/>
                      </a:lnTo>
                      <a:lnTo>
                        <a:pt x="189" y="956"/>
                      </a:lnTo>
                      <a:lnTo>
                        <a:pt x="185" y="955"/>
                      </a:lnTo>
                      <a:lnTo>
                        <a:pt x="182" y="954"/>
                      </a:lnTo>
                      <a:lnTo>
                        <a:pt x="179" y="954"/>
                      </a:lnTo>
                      <a:lnTo>
                        <a:pt x="178" y="952"/>
                      </a:lnTo>
                      <a:lnTo>
                        <a:pt x="178" y="951"/>
                      </a:lnTo>
                      <a:lnTo>
                        <a:pt x="177" y="951"/>
                      </a:lnTo>
                      <a:lnTo>
                        <a:pt x="176" y="951"/>
                      </a:lnTo>
                      <a:lnTo>
                        <a:pt x="176" y="950"/>
                      </a:lnTo>
                      <a:lnTo>
                        <a:pt x="177" y="948"/>
                      </a:lnTo>
                      <a:lnTo>
                        <a:pt x="177" y="945"/>
                      </a:lnTo>
                      <a:lnTo>
                        <a:pt x="176" y="944"/>
                      </a:lnTo>
                      <a:lnTo>
                        <a:pt x="176" y="943"/>
                      </a:lnTo>
                      <a:lnTo>
                        <a:pt x="176" y="942"/>
                      </a:lnTo>
                      <a:lnTo>
                        <a:pt x="175" y="942"/>
                      </a:lnTo>
                      <a:lnTo>
                        <a:pt x="175" y="940"/>
                      </a:lnTo>
                      <a:lnTo>
                        <a:pt x="174" y="940"/>
                      </a:lnTo>
                      <a:lnTo>
                        <a:pt x="173" y="939"/>
                      </a:lnTo>
                      <a:lnTo>
                        <a:pt x="173" y="938"/>
                      </a:lnTo>
                      <a:lnTo>
                        <a:pt x="172" y="937"/>
                      </a:lnTo>
                      <a:lnTo>
                        <a:pt x="169" y="937"/>
                      </a:lnTo>
                      <a:lnTo>
                        <a:pt x="168" y="937"/>
                      </a:lnTo>
                      <a:lnTo>
                        <a:pt x="167" y="936"/>
                      </a:lnTo>
                      <a:lnTo>
                        <a:pt x="166" y="936"/>
                      </a:lnTo>
                      <a:lnTo>
                        <a:pt x="164" y="936"/>
                      </a:lnTo>
                      <a:lnTo>
                        <a:pt x="163" y="936"/>
                      </a:lnTo>
                      <a:lnTo>
                        <a:pt x="163" y="935"/>
                      </a:lnTo>
                      <a:lnTo>
                        <a:pt x="163" y="934"/>
                      </a:lnTo>
                      <a:lnTo>
                        <a:pt x="163" y="930"/>
                      </a:lnTo>
                      <a:lnTo>
                        <a:pt x="164" y="929"/>
                      </a:lnTo>
                      <a:lnTo>
                        <a:pt x="164" y="928"/>
                      </a:lnTo>
                      <a:lnTo>
                        <a:pt x="165" y="928"/>
                      </a:lnTo>
                      <a:lnTo>
                        <a:pt x="166" y="928"/>
                      </a:lnTo>
                      <a:lnTo>
                        <a:pt x="167" y="929"/>
                      </a:lnTo>
                      <a:lnTo>
                        <a:pt x="167" y="928"/>
                      </a:lnTo>
                      <a:lnTo>
                        <a:pt x="167" y="926"/>
                      </a:lnTo>
                      <a:lnTo>
                        <a:pt x="166" y="925"/>
                      </a:lnTo>
                      <a:lnTo>
                        <a:pt x="166" y="924"/>
                      </a:lnTo>
                      <a:lnTo>
                        <a:pt x="166" y="923"/>
                      </a:lnTo>
                      <a:lnTo>
                        <a:pt x="168" y="923"/>
                      </a:lnTo>
                      <a:lnTo>
                        <a:pt x="168" y="922"/>
                      </a:lnTo>
                      <a:lnTo>
                        <a:pt x="169" y="922"/>
                      </a:lnTo>
                      <a:lnTo>
                        <a:pt x="169" y="921"/>
                      </a:lnTo>
                      <a:lnTo>
                        <a:pt x="168" y="921"/>
                      </a:lnTo>
                      <a:lnTo>
                        <a:pt x="168" y="919"/>
                      </a:lnTo>
                      <a:lnTo>
                        <a:pt x="168" y="918"/>
                      </a:lnTo>
                      <a:lnTo>
                        <a:pt x="168" y="917"/>
                      </a:lnTo>
                      <a:lnTo>
                        <a:pt x="167" y="916"/>
                      </a:lnTo>
                      <a:lnTo>
                        <a:pt x="166" y="914"/>
                      </a:lnTo>
                      <a:lnTo>
                        <a:pt x="166" y="913"/>
                      </a:lnTo>
                      <a:lnTo>
                        <a:pt x="165" y="913"/>
                      </a:lnTo>
                      <a:lnTo>
                        <a:pt x="165" y="912"/>
                      </a:lnTo>
                      <a:lnTo>
                        <a:pt x="165" y="911"/>
                      </a:lnTo>
                      <a:lnTo>
                        <a:pt x="165" y="910"/>
                      </a:lnTo>
                      <a:lnTo>
                        <a:pt x="165" y="909"/>
                      </a:lnTo>
                      <a:lnTo>
                        <a:pt x="164" y="909"/>
                      </a:lnTo>
                      <a:lnTo>
                        <a:pt x="163" y="907"/>
                      </a:lnTo>
                      <a:lnTo>
                        <a:pt x="162" y="907"/>
                      </a:lnTo>
                      <a:lnTo>
                        <a:pt x="161" y="907"/>
                      </a:lnTo>
                      <a:lnTo>
                        <a:pt x="160" y="907"/>
                      </a:lnTo>
                      <a:lnTo>
                        <a:pt x="158" y="907"/>
                      </a:lnTo>
                      <a:lnTo>
                        <a:pt x="157" y="907"/>
                      </a:lnTo>
                      <a:lnTo>
                        <a:pt x="156" y="907"/>
                      </a:lnTo>
                      <a:lnTo>
                        <a:pt x="155" y="907"/>
                      </a:lnTo>
                      <a:lnTo>
                        <a:pt x="154" y="907"/>
                      </a:lnTo>
                      <a:lnTo>
                        <a:pt x="153" y="906"/>
                      </a:lnTo>
                      <a:lnTo>
                        <a:pt x="152" y="906"/>
                      </a:lnTo>
                      <a:lnTo>
                        <a:pt x="152" y="905"/>
                      </a:lnTo>
                      <a:lnTo>
                        <a:pt x="151" y="905"/>
                      </a:lnTo>
                      <a:lnTo>
                        <a:pt x="149" y="904"/>
                      </a:lnTo>
                      <a:lnTo>
                        <a:pt x="148" y="903"/>
                      </a:lnTo>
                      <a:lnTo>
                        <a:pt x="145" y="902"/>
                      </a:lnTo>
                      <a:lnTo>
                        <a:pt x="144" y="902"/>
                      </a:lnTo>
                      <a:lnTo>
                        <a:pt x="143" y="902"/>
                      </a:lnTo>
                      <a:lnTo>
                        <a:pt x="142" y="902"/>
                      </a:lnTo>
                      <a:lnTo>
                        <a:pt x="141" y="902"/>
                      </a:lnTo>
                      <a:lnTo>
                        <a:pt x="140" y="902"/>
                      </a:lnTo>
                      <a:lnTo>
                        <a:pt x="140" y="901"/>
                      </a:lnTo>
                      <a:lnTo>
                        <a:pt x="140" y="900"/>
                      </a:lnTo>
                      <a:lnTo>
                        <a:pt x="140" y="898"/>
                      </a:lnTo>
                      <a:lnTo>
                        <a:pt x="140" y="896"/>
                      </a:lnTo>
                      <a:lnTo>
                        <a:pt x="140" y="893"/>
                      </a:lnTo>
                      <a:lnTo>
                        <a:pt x="140" y="891"/>
                      </a:lnTo>
                      <a:lnTo>
                        <a:pt x="139" y="889"/>
                      </a:lnTo>
                      <a:lnTo>
                        <a:pt x="139" y="888"/>
                      </a:lnTo>
                      <a:lnTo>
                        <a:pt x="138" y="887"/>
                      </a:lnTo>
                      <a:lnTo>
                        <a:pt x="136" y="885"/>
                      </a:lnTo>
                      <a:lnTo>
                        <a:pt x="136" y="884"/>
                      </a:lnTo>
                      <a:lnTo>
                        <a:pt x="137" y="883"/>
                      </a:lnTo>
                      <a:lnTo>
                        <a:pt x="137" y="881"/>
                      </a:lnTo>
                      <a:lnTo>
                        <a:pt x="137" y="880"/>
                      </a:lnTo>
                      <a:lnTo>
                        <a:pt x="136" y="880"/>
                      </a:lnTo>
                      <a:lnTo>
                        <a:pt x="136" y="878"/>
                      </a:lnTo>
                      <a:lnTo>
                        <a:pt x="136" y="877"/>
                      </a:lnTo>
                      <a:lnTo>
                        <a:pt x="135" y="876"/>
                      </a:lnTo>
                      <a:lnTo>
                        <a:pt x="136" y="876"/>
                      </a:lnTo>
                      <a:lnTo>
                        <a:pt x="136" y="875"/>
                      </a:lnTo>
                      <a:lnTo>
                        <a:pt x="137" y="875"/>
                      </a:lnTo>
                      <a:lnTo>
                        <a:pt x="137" y="874"/>
                      </a:lnTo>
                      <a:lnTo>
                        <a:pt x="137" y="873"/>
                      </a:lnTo>
                      <a:lnTo>
                        <a:pt x="137" y="872"/>
                      </a:lnTo>
                      <a:lnTo>
                        <a:pt x="137" y="871"/>
                      </a:lnTo>
                      <a:lnTo>
                        <a:pt x="137" y="870"/>
                      </a:lnTo>
                      <a:lnTo>
                        <a:pt x="136" y="870"/>
                      </a:lnTo>
                      <a:lnTo>
                        <a:pt x="136" y="868"/>
                      </a:lnTo>
                      <a:lnTo>
                        <a:pt x="136" y="867"/>
                      </a:lnTo>
                      <a:lnTo>
                        <a:pt x="136" y="866"/>
                      </a:lnTo>
                      <a:lnTo>
                        <a:pt x="136" y="865"/>
                      </a:lnTo>
                      <a:lnTo>
                        <a:pt x="137" y="865"/>
                      </a:lnTo>
                      <a:lnTo>
                        <a:pt x="137" y="864"/>
                      </a:lnTo>
                      <a:lnTo>
                        <a:pt x="138" y="863"/>
                      </a:lnTo>
                      <a:lnTo>
                        <a:pt x="137" y="863"/>
                      </a:lnTo>
                      <a:lnTo>
                        <a:pt x="136" y="863"/>
                      </a:lnTo>
                      <a:lnTo>
                        <a:pt x="136" y="862"/>
                      </a:lnTo>
                      <a:lnTo>
                        <a:pt x="136" y="861"/>
                      </a:lnTo>
                      <a:lnTo>
                        <a:pt x="135" y="860"/>
                      </a:lnTo>
                      <a:lnTo>
                        <a:pt x="134" y="860"/>
                      </a:lnTo>
                      <a:lnTo>
                        <a:pt x="135" y="859"/>
                      </a:lnTo>
                      <a:lnTo>
                        <a:pt x="135" y="858"/>
                      </a:lnTo>
                      <a:lnTo>
                        <a:pt x="136" y="857"/>
                      </a:lnTo>
                      <a:lnTo>
                        <a:pt x="136" y="855"/>
                      </a:lnTo>
                      <a:lnTo>
                        <a:pt x="136" y="854"/>
                      </a:lnTo>
                      <a:lnTo>
                        <a:pt x="136" y="853"/>
                      </a:lnTo>
                      <a:lnTo>
                        <a:pt x="135" y="853"/>
                      </a:lnTo>
                      <a:lnTo>
                        <a:pt x="135" y="851"/>
                      </a:lnTo>
                      <a:lnTo>
                        <a:pt x="134" y="851"/>
                      </a:lnTo>
                      <a:lnTo>
                        <a:pt x="134" y="849"/>
                      </a:lnTo>
                      <a:lnTo>
                        <a:pt x="132" y="849"/>
                      </a:lnTo>
                      <a:lnTo>
                        <a:pt x="132" y="848"/>
                      </a:lnTo>
                      <a:lnTo>
                        <a:pt x="131" y="847"/>
                      </a:lnTo>
                      <a:lnTo>
                        <a:pt x="131" y="846"/>
                      </a:lnTo>
                      <a:lnTo>
                        <a:pt x="131" y="844"/>
                      </a:lnTo>
                      <a:lnTo>
                        <a:pt x="131" y="842"/>
                      </a:lnTo>
                      <a:lnTo>
                        <a:pt x="131" y="841"/>
                      </a:lnTo>
                      <a:lnTo>
                        <a:pt x="131" y="840"/>
                      </a:lnTo>
                      <a:lnTo>
                        <a:pt x="131" y="838"/>
                      </a:lnTo>
                      <a:lnTo>
                        <a:pt x="132" y="837"/>
                      </a:lnTo>
                      <a:lnTo>
                        <a:pt x="132" y="836"/>
                      </a:lnTo>
                      <a:lnTo>
                        <a:pt x="134" y="835"/>
                      </a:lnTo>
                      <a:lnTo>
                        <a:pt x="135" y="834"/>
                      </a:lnTo>
                      <a:lnTo>
                        <a:pt x="135" y="833"/>
                      </a:lnTo>
                      <a:lnTo>
                        <a:pt x="136" y="833"/>
                      </a:lnTo>
                      <a:lnTo>
                        <a:pt x="137" y="832"/>
                      </a:lnTo>
                      <a:lnTo>
                        <a:pt x="138" y="832"/>
                      </a:lnTo>
                      <a:lnTo>
                        <a:pt x="141" y="832"/>
                      </a:lnTo>
                      <a:lnTo>
                        <a:pt x="143" y="832"/>
                      </a:lnTo>
                      <a:lnTo>
                        <a:pt x="144" y="831"/>
                      </a:lnTo>
                      <a:lnTo>
                        <a:pt x="147" y="831"/>
                      </a:lnTo>
                      <a:lnTo>
                        <a:pt x="148" y="831"/>
                      </a:lnTo>
                      <a:lnTo>
                        <a:pt x="149" y="829"/>
                      </a:lnTo>
                      <a:lnTo>
                        <a:pt x="150" y="829"/>
                      </a:lnTo>
                      <a:lnTo>
                        <a:pt x="151" y="829"/>
                      </a:lnTo>
                      <a:lnTo>
                        <a:pt x="153" y="827"/>
                      </a:lnTo>
                      <a:lnTo>
                        <a:pt x="154" y="827"/>
                      </a:lnTo>
                      <a:lnTo>
                        <a:pt x="154" y="826"/>
                      </a:lnTo>
                      <a:lnTo>
                        <a:pt x="156" y="824"/>
                      </a:lnTo>
                      <a:lnTo>
                        <a:pt x="158" y="823"/>
                      </a:lnTo>
                      <a:lnTo>
                        <a:pt x="158" y="822"/>
                      </a:lnTo>
                      <a:lnTo>
                        <a:pt x="160" y="821"/>
                      </a:lnTo>
                      <a:lnTo>
                        <a:pt x="161" y="821"/>
                      </a:lnTo>
                      <a:lnTo>
                        <a:pt x="161" y="820"/>
                      </a:lnTo>
                      <a:lnTo>
                        <a:pt x="161" y="819"/>
                      </a:lnTo>
                      <a:lnTo>
                        <a:pt x="161" y="817"/>
                      </a:lnTo>
                      <a:lnTo>
                        <a:pt x="160" y="814"/>
                      </a:lnTo>
                      <a:lnTo>
                        <a:pt x="160" y="812"/>
                      </a:lnTo>
                      <a:lnTo>
                        <a:pt x="160" y="811"/>
                      </a:lnTo>
                      <a:lnTo>
                        <a:pt x="160" y="809"/>
                      </a:lnTo>
                      <a:lnTo>
                        <a:pt x="161" y="809"/>
                      </a:lnTo>
                      <a:lnTo>
                        <a:pt x="161" y="808"/>
                      </a:lnTo>
                      <a:lnTo>
                        <a:pt x="162" y="807"/>
                      </a:lnTo>
                      <a:lnTo>
                        <a:pt x="163" y="806"/>
                      </a:lnTo>
                      <a:lnTo>
                        <a:pt x="164" y="803"/>
                      </a:lnTo>
                      <a:lnTo>
                        <a:pt x="165" y="802"/>
                      </a:lnTo>
                      <a:lnTo>
                        <a:pt x="167" y="800"/>
                      </a:lnTo>
                      <a:lnTo>
                        <a:pt x="168" y="799"/>
                      </a:lnTo>
                      <a:lnTo>
                        <a:pt x="170" y="798"/>
                      </a:lnTo>
                      <a:lnTo>
                        <a:pt x="173" y="796"/>
                      </a:lnTo>
                      <a:lnTo>
                        <a:pt x="174" y="795"/>
                      </a:lnTo>
                      <a:lnTo>
                        <a:pt x="175" y="794"/>
                      </a:lnTo>
                      <a:lnTo>
                        <a:pt x="176" y="793"/>
                      </a:lnTo>
                      <a:lnTo>
                        <a:pt x="177" y="793"/>
                      </a:lnTo>
                      <a:lnTo>
                        <a:pt x="179" y="791"/>
                      </a:lnTo>
                      <a:lnTo>
                        <a:pt x="180" y="791"/>
                      </a:lnTo>
                      <a:lnTo>
                        <a:pt x="181" y="790"/>
                      </a:lnTo>
                      <a:lnTo>
                        <a:pt x="182" y="790"/>
                      </a:lnTo>
                      <a:lnTo>
                        <a:pt x="183" y="789"/>
                      </a:lnTo>
                      <a:lnTo>
                        <a:pt x="183" y="788"/>
                      </a:lnTo>
                      <a:lnTo>
                        <a:pt x="185" y="787"/>
                      </a:lnTo>
                      <a:lnTo>
                        <a:pt x="186" y="787"/>
                      </a:lnTo>
                      <a:lnTo>
                        <a:pt x="187" y="786"/>
                      </a:lnTo>
                      <a:lnTo>
                        <a:pt x="188" y="786"/>
                      </a:lnTo>
                      <a:lnTo>
                        <a:pt x="189" y="786"/>
                      </a:lnTo>
                      <a:lnTo>
                        <a:pt x="190" y="786"/>
                      </a:lnTo>
                      <a:lnTo>
                        <a:pt x="191" y="787"/>
                      </a:lnTo>
                      <a:lnTo>
                        <a:pt x="191" y="788"/>
                      </a:lnTo>
                      <a:lnTo>
                        <a:pt x="191" y="789"/>
                      </a:lnTo>
                      <a:lnTo>
                        <a:pt x="191" y="790"/>
                      </a:lnTo>
                      <a:lnTo>
                        <a:pt x="191" y="791"/>
                      </a:lnTo>
                      <a:lnTo>
                        <a:pt x="191" y="794"/>
                      </a:lnTo>
                      <a:lnTo>
                        <a:pt x="192" y="795"/>
                      </a:lnTo>
                      <a:lnTo>
                        <a:pt x="193" y="796"/>
                      </a:lnTo>
                      <a:lnTo>
                        <a:pt x="194" y="797"/>
                      </a:lnTo>
                      <a:lnTo>
                        <a:pt x="195" y="797"/>
                      </a:lnTo>
                      <a:lnTo>
                        <a:pt x="196" y="797"/>
                      </a:lnTo>
                      <a:lnTo>
                        <a:pt x="198" y="798"/>
                      </a:lnTo>
                      <a:lnTo>
                        <a:pt x="199" y="798"/>
                      </a:lnTo>
                      <a:lnTo>
                        <a:pt x="200" y="797"/>
                      </a:lnTo>
                      <a:lnTo>
                        <a:pt x="201" y="796"/>
                      </a:lnTo>
                      <a:lnTo>
                        <a:pt x="202" y="796"/>
                      </a:lnTo>
                      <a:lnTo>
                        <a:pt x="202" y="795"/>
                      </a:lnTo>
                      <a:lnTo>
                        <a:pt x="203" y="794"/>
                      </a:lnTo>
                      <a:lnTo>
                        <a:pt x="203" y="793"/>
                      </a:lnTo>
                      <a:lnTo>
                        <a:pt x="203" y="791"/>
                      </a:lnTo>
                      <a:lnTo>
                        <a:pt x="204" y="790"/>
                      </a:lnTo>
                      <a:lnTo>
                        <a:pt x="205" y="790"/>
                      </a:lnTo>
                      <a:lnTo>
                        <a:pt x="206" y="790"/>
                      </a:lnTo>
                      <a:lnTo>
                        <a:pt x="207" y="790"/>
                      </a:lnTo>
                      <a:lnTo>
                        <a:pt x="209" y="791"/>
                      </a:lnTo>
                      <a:lnTo>
                        <a:pt x="211" y="791"/>
                      </a:lnTo>
                      <a:lnTo>
                        <a:pt x="212" y="791"/>
                      </a:lnTo>
                      <a:lnTo>
                        <a:pt x="213" y="790"/>
                      </a:lnTo>
                      <a:lnTo>
                        <a:pt x="213" y="789"/>
                      </a:lnTo>
                      <a:lnTo>
                        <a:pt x="212" y="787"/>
                      </a:lnTo>
                      <a:lnTo>
                        <a:pt x="213" y="787"/>
                      </a:lnTo>
                      <a:lnTo>
                        <a:pt x="213" y="786"/>
                      </a:lnTo>
                      <a:lnTo>
                        <a:pt x="214" y="786"/>
                      </a:lnTo>
                      <a:lnTo>
                        <a:pt x="216" y="786"/>
                      </a:lnTo>
                      <a:lnTo>
                        <a:pt x="217" y="786"/>
                      </a:lnTo>
                      <a:lnTo>
                        <a:pt x="218" y="787"/>
                      </a:lnTo>
                      <a:lnTo>
                        <a:pt x="219" y="787"/>
                      </a:lnTo>
                      <a:lnTo>
                        <a:pt x="222" y="787"/>
                      </a:lnTo>
                      <a:lnTo>
                        <a:pt x="224" y="787"/>
                      </a:lnTo>
                      <a:lnTo>
                        <a:pt x="225" y="786"/>
                      </a:lnTo>
                      <a:lnTo>
                        <a:pt x="225" y="785"/>
                      </a:lnTo>
                      <a:lnTo>
                        <a:pt x="226" y="783"/>
                      </a:lnTo>
                      <a:lnTo>
                        <a:pt x="226" y="782"/>
                      </a:lnTo>
                      <a:lnTo>
                        <a:pt x="226" y="781"/>
                      </a:lnTo>
                      <a:lnTo>
                        <a:pt x="227" y="780"/>
                      </a:lnTo>
                      <a:lnTo>
                        <a:pt x="228" y="780"/>
                      </a:lnTo>
                      <a:lnTo>
                        <a:pt x="229" y="780"/>
                      </a:lnTo>
                      <a:lnTo>
                        <a:pt x="231" y="780"/>
                      </a:lnTo>
                      <a:lnTo>
                        <a:pt x="232" y="780"/>
                      </a:lnTo>
                      <a:lnTo>
                        <a:pt x="233" y="780"/>
                      </a:lnTo>
                      <a:lnTo>
                        <a:pt x="234" y="780"/>
                      </a:lnTo>
                      <a:lnTo>
                        <a:pt x="235" y="780"/>
                      </a:lnTo>
                      <a:lnTo>
                        <a:pt x="237" y="777"/>
                      </a:lnTo>
                      <a:lnTo>
                        <a:pt x="238" y="776"/>
                      </a:lnTo>
                      <a:lnTo>
                        <a:pt x="239" y="776"/>
                      </a:lnTo>
                      <a:lnTo>
                        <a:pt x="240" y="776"/>
                      </a:lnTo>
                      <a:lnTo>
                        <a:pt x="242" y="777"/>
                      </a:lnTo>
                      <a:lnTo>
                        <a:pt x="243" y="777"/>
                      </a:lnTo>
                      <a:lnTo>
                        <a:pt x="244" y="776"/>
                      </a:lnTo>
                      <a:lnTo>
                        <a:pt x="245" y="776"/>
                      </a:lnTo>
                      <a:lnTo>
                        <a:pt x="246" y="775"/>
                      </a:lnTo>
                      <a:lnTo>
                        <a:pt x="247" y="774"/>
                      </a:lnTo>
                      <a:lnTo>
                        <a:pt x="247" y="773"/>
                      </a:lnTo>
                      <a:lnTo>
                        <a:pt x="261" y="756"/>
                      </a:lnTo>
                      <a:lnTo>
                        <a:pt x="268" y="747"/>
                      </a:lnTo>
                      <a:lnTo>
                        <a:pt x="269" y="745"/>
                      </a:lnTo>
                      <a:lnTo>
                        <a:pt x="270" y="744"/>
                      </a:lnTo>
                      <a:lnTo>
                        <a:pt x="273" y="738"/>
                      </a:lnTo>
                      <a:lnTo>
                        <a:pt x="290" y="717"/>
                      </a:lnTo>
                      <a:lnTo>
                        <a:pt x="294" y="711"/>
                      </a:lnTo>
                      <a:lnTo>
                        <a:pt x="309" y="691"/>
                      </a:lnTo>
                      <a:lnTo>
                        <a:pt x="316" y="681"/>
                      </a:lnTo>
                      <a:lnTo>
                        <a:pt x="330" y="657"/>
                      </a:lnTo>
                      <a:lnTo>
                        <a:pt x="334" y="648"/>
                      </a:lnTo>
                      <a:lnTo>
                        <a:pt x="344" y="631"/>
                      </a:lnTo>
                      <a:lnTo>
                        <a:pt x="344" y="630"/>
                      </a:lnTo>
                      <a:lnTo>
                        <a:pt x="344" y="628"/>
                      </a:lnTo>
                      <a:lnTo>
                        <a:pt x="348" y="613"/>
                      </a:lnTo>
                      <a:lnTo>
                        <a:pt x="353" y="597"/>
                      </a:lnTo>
                      <a:lnTo>
                        <a:pt x="368" y="596"/>
                      </a:lnTo>
                      <a:lnTo>
                        <a:pt x="368" y="577"/>
                      </a:lnTo>
                      <a:lnTo>
                        <a:pt x="368" y="574"/>
                      </a:lnTo>
                      <a:lnTo>
                        <a:pt x="368" y="564"/>
                      </a:lnTo>
                      <a:lnTo>
                        <a:pt x="368" y="556"/>
                      </a:lnTo>
                      <a:lnTo>
                        <a:pt x="367" y="556"/>
                      </a:lnTo>
                      <a:lnTo>
                        <a:pt x="362" y="556"/>
                      </a:lnTo>
                      <a:lnTo>
                        <a:pt x="351" y="556"/>
                      </a:lnTo>
                      <a:lnTo>
                        <a:pt x="343" y="556"/>
                      </a:lnTo>
                      <a:lnTo>
                        <a:pt x="343" y="541"/>
                      </a:lnTo>
                      <a:lnTo>
                        <a:pt x="343" y="537"/>
                      </a:lnTo>
                      <a:lnTo>
                        <a:pt x="343" y="526"/>
                      </a:lnTo>
                      <a:lnTo>
                        <a:pt x="334" y="526"/>
                      </a:lnTo>
                      <a:lnTo>
                        <a:pt x="330" y="526"/>
                      </a:lnTo>
                      <a:lnTo>
                        <a:pt x="322" y="526"/>
                      </a:lnTo>
                      <a:lnTo>
                        <a:pt x="322" y="505"/>
                      </a:lnTo>
                      <a:lnTo>
                        <a:pt x="322" y="485"/>
                      </a:lnTo>
                      <a:lnTo>
                        <a:pt x="320" y="485"/>
                      </a:lnTo>
                      <a:lnTo>
                        <a:pt x="320" y="475"/>
                      </a:lnTo>
                      <a:lnTo>
                        <a:pt x="320" y="469"/>
                      </a:lnTo>
                      <a:lnTo>
                        <a:pt x="320" y="467"/>
                      </a:lnTo>
                      <a:lnTo>
                        <a:pt x="320" y="463"/>
                      </a:lnTo>
                      <a:lnTo>
                        <a:pt x="319" y="464"/>
                      </a:lnTo>
                      <a:lnTo>
                        <a:pt x="315" y="464"/>
                      </a:lnTo>
                      <a:lnTo>
                        <a:pt x="309" y="464"/>
                      </a:lnTo>
                      <a:lnTo>
                        <a:pt x="307" y="464"/>
                      </a:lnTo>
                      <a:lnTo>
                        <a:pt x="304" y="462"/>
                      </a:lnTo>
                      <a:lnTo>
                        <a:pt x="298" y="459"/>
                      </a:lnTo>
                      <a:lnTo>
                        <a:pt x="297" y="457"/>
                      </a:lnTo>
                      <a:lnTo>
                        <a:pt x="294" y="454"/>
                      </a:lnTo>
                      <a:lnTo>
                        <a:pt x="282" y="457"/>
                      </a:lnTo>
                      <a:lnTo>
                        <a:pt x="282" y="456"/>
                      </a:lnTo>
                      <a:lnTo>
                        <a:pt x="281" y="456"/>
                      </a:lnTo>
                      <a:lnTo>
                        <a:pt x="270" y="459"/>
                      </a:lnTo>
                      <a:lnTo>
                        <a:pt x="267" y="460"/>
                      </a:lnTo>
                      <a:lnTo>
                        <a:pt x="266" y="459"/>
                      </a:lnTo>
                      <a:lnTo>
                        <a:pt x="264" y="461"/>
                      </a:lnTo>
                      <a:lnTo>
                        <a:pt x="260" y="459"/>
                      </a:lnTo>
                      <a:lnTo>
                        <a:pt x="257" y="456"/>
                      </a:lnTo>
                      <a:lnTo>
                        <a:pt x="255" y="454"/>
                      </a:lnTo>
                      <a:lnTo>
                        <a:pt x="254" y="454"/>
                      </a:lnTo>
                      <a:lnTo>
                        <a:pt x="252" y="452"/>
                      </a:lnTo>
                      <a:lnTo>
                        <a:pt x="250" y="455"/>
                      </a:lnTo>
                      <a:lnTo>
                        <a:pt x="243" y="456"/>
                      </a:lnTo>
                      <a:lnTo>
                        <a:pt x="243" y="466"/>
                      </a:lnTo>
                      <a:lnTo>
                        <a:pt x="233" y="466"/>
                      </a:lnTo>
                      <a:lnTo>
                        <a:pt x="232" y="453"/>
                      </a:lnTo>
                      <a:lnTo>
                        <a:pt x="232" y="443"/>
                      </a:lnTo>
                      <a:lnTo>
                        <a:pt x="232" y="434"/>
                      </a:lnTo>
                      <a:lnTo>
                        <a:pt x="243" y="434"/>
                      </a:lnTo>
                      <a:lnTo>
                        <a:pt x="243" y="433"/>
                      </a:lnTo>
                      <a:lnTo>
                        <a:pt x="243" y="430"/>
                      </a:lnTo>
                      <a:lnTo>
                        <a:pt x="243" y="427"/>
                      </a:lnTo>
                      <a:lnTo>
                        <a:pt x="243" y="415"/>
                      </a:lnTo>
                      <a:lnTo>
                        <a:pt x="243" y="414"/>
                      </a:lnTo>
                      <a:lnTo>
                        <a:pt x="243" y="401"/>
                      </a:lnTo>
                      <a:lnTo>
                        <a:pt x="250" y="397"/>
                      </a:lnTo>
                      <a:lnTo>
                        <a:pt x="251" y="396"/>
                      </a:lnTo>
                      <a:lnTo>
                        <a:pt x="253" y="397"/>
                      </a:lnTo>
                      <a:lnTo>
                        <a:pt x="255" y="382"/>
                      </a:lnTo>
                      <a:lnTo>
                        <a:pt x="259" y="367"/>
                      </a:lnTo>
                      <a:lnTo>
                        <a:pt x="261" y="362"/>
                      </a:lnTo>
                      <a:lnTo>
                        <a:pt x="261" y="360"/>
                      </a:lnTo>
                      <a:lnTo>
                        <a:pt x="263" y="357"/>
                      </a:lnTo>
                      <a:lnTo>
                        <a:pt x="268" y="339"/>
                      </a:lnTo>
                      <a:lnTo>
                        <a:pt x="270" y="333"/>
                      </a:lnTo>
                      <a:lnTo>
                        <a:pt x="270" y="332"/>
                      </a:lnTo>
                      <a:lnTo>
                        <a:pt x="272" y="325"/>
                      </a:lnTo>
                      <a:lnTo>
                        <a:pt x="273" y="321"/>
                      </a:lnTo>
                      <a:lnTo>
                        <a:pt x="279" y="307"/>
                      </a:lnTo>
                      <a:lnTo>
                        <a:pt x="284" y="288"/>
                      </a:lnTo>
                      <a:lnTo>
                        <a:pt x="286" y="285"/>
                      </a:lnTo>
                      <a:lnTo>
                        <a:pt x="285" y="284"/>
                      </a:lnTo>
                      <a:lnTo>
                        <a:pt x="285" y="283"/>
                      </a:lnTo>
                      <a:lnTo>
                        <a:pt x="284" y="283"/>
                      </a:lnTo>
                      <a:lnTo>
                        <a:pt x="283" y="284"/>
                      </a:lnTo>
                      <a:lnTo>
                        <a:pt x="282" y="285"/>
                      </a:lnTo>
                      <a:lnTo>
                        <a:pt x="281" y="285"/>
                      </a:lnTo>
                      <a:lnTo>
                        <a:pt x="281" y="286"/>
                      </a:lnTo>
                      <a:lnTo>
                        <a:pt x="280" y="286"/>
                      </a:lnTo>
                      <a:lnTo>
                        <a:pt x="278" y="287"/>
                      </a:lnTo>
                      <a:lnTo>
                        <a:pt x="276" y="287"/>
                      </a:lnTo>
                      <a:lnTo>
                        <a:pt x="274" y="287"/>
                      </a:lnTo>
                      <a:lnTo>
                        <a:pt x="273" y="287"/>
                      </a:lnTo>
                      <a:lnTo>
                        <a:pt x="272" y="287"/>
                      </a:lnTo>
                      <a:lnTo>
                        <a:pt x="271" y="287"/>
                      </a:lnTo>
                      <a:lnTo>
                        <a:pt x="270" y="287"/>
                      </a:lnTo>
                      <a:lnTo>
                        <a:pt x="269" y="286"/>
                      </a:lnTo>
                      <a:lnTo>
                        <a:pt x="268" y="286"/>
                      </a:lnTo>
                      <a:lnTo>
                        <a:pt x="267" y="286"/>
                      </a:lnTo>
                      <a:lnTo>
                        <a:pt x="266" y="286"/>
                      </a:lnTo>
                      <a:lnTo>
                        <a:pt x="265" y="287"/>
                      </a:lnTo>
                      <a:lnTo>
                        <a:pt x="265" y="286"/>
                      </a:lnTo>
                      <a:lnTo>
                        <a:pt x="265" y="285"/>
                      </a:lnTo>
                      <a:lnTo>
                        <a:pt x="264" y="285"/>
                      </a:lnTo>
                      <a:lnTo>
                        <a:pt x="263" y="285"/>
                      </a:lnTo>
                      <a:lnTo>
                        <a:pt x="261" y="286"/>
                      </a:lnTo>
                      <a:lnTo>
                        <a:pt x="261" y="285"/>
                      </a:lnTo>
                      <a:lnTo>
                        <a:pt x="260" y="285"/>
                      </a:lnTo>
                      <a:lnTo>
                        <a:pt x="259" y="285"/>
                      </a:lnTo>
                      <a:lnTo>
                        <a:pt x="259" y="284"/>
                      </a:lnTo>
                      <a:lnTo>
                        <a:pt x="258" y="285"/>
                      </a:lnTo>
                      <a:lnTo>
                        <a:pt x="257" y="284"/>
                      </a:lnTo>
                      <a:lnTo>
                        <a:pt x="256" y="284"/>
                      </a:lnTo>
                      <a:lnTo>
                        <a:pt x="255" y="284"/>
                      </a:lnTo>
                      <a:lnTo>
                        <a:pt x="254" y="284"/>
                      </a:lnTo>
                      <a:lnTo>
                        <a:pt x="252" y="284"/>
                      </a:lnTo>
                      <a:lnTo>
                        <a:pt x="251" y="284"/>
                      </a:lnTo>
                      <a:lnTo>
                        <a:pt x="250" y="284"/>
                      </a:lnTo>
                      <a:lnTo>
                        <a:pt x="248" y="284"/>
                      </a:lnTo>
                      <a:lnTo>
                        <a:pt x="247" y="284"/>
                      </a:lnTo>
                      <a:lnTo>
                        <a:pt x="246" y="284"/>
                      </a:lnTo>
                      <a:lnTo>
                        <a:pt x="245" y="284"/>
                      </a:lnTo>
                      <a:lnTo>
                        <a:pt x="243" y="284"/>
                      </a:lnTo>
                      <a:lnTo>
                        <a:pt x="242" y="284"/>
                      </a:lnTo>
                      <a:lnTo>
                        <a:pt x="241" y="283"/>
                      </a:lnTo>
                      <a:lnTo>
                        <a:pt x="240" y="283"/>
                      </a:lnTo>
                      <a:lnTo>
                        <a:pt x="240" y="284"/>
                      </a:lnTo>
                      <a:lnTo>
                        <a:pt x="239" y="284"/>
                      </a:lnTo>
                      <a:lnTo>
                        <a:pt x="238" y="284"/>
                      </a:lnTo>
                      <a:lnTo>
                        <a:pt x="237" y="284"/>
                      </a:lnTo>
                      <a:lnTo>
                        <a:pt x="235" y="284"/>
                      </a:lnTo>
                      <a:lnTo>
                        <a:pt x="235" y="285"/>
                      </a:lnTo>
                      <a:lnTo>
                        <a:pt x="234" y="285"/>
                      </a:lnTo>
                      <a:lnTo>
                        <a:pt x="233" y="285"/>
                      </a:lnTo>
                      <a:lnTo>
                        <a:pt x="232" y="286"/>
                      </a:lnTo>
                      <a:lnTo>
                        <a:pt x="231" y="286"/>
                      </a:lnTo>
                      <a:lnTo>
                        <a:pt x="231" y="287"/>
                      </a:lnTo>
                      <a:lnTo>
                        <a:pt x="231" y="286"/>
                      </a:lnTo>
                      <a:lnTo>
                        <a:pt x="230" y="287"/>
                      </a:lnTo>
                      <a:lnTo>
                        <a:pt x="229" y="287"/>
                      </a:lnTo>
                      <a:lnTo>
                        <a:pt x="228" y="287"/>
                      </a:lnTo>
                      <a:lnTo>
                        <a:pt x="228" y="288"/>
                      </a:lnTo>
                      <a:lnTo>
                        <a:pt x="227" y="288"/>
                      </a:lnTo>
                      <a:lnTo>
                        <a:pt x="226" y="289"/>
                      </a:lnTo>
                      <a:lnTo>
                        <a:pt x="225" y="288"/>
                      </a:lnTo>
                      <a:lnTo>
                        <a:pt x="224" y="288"/>
                      </a:lnTo>
                      <a:lnTo>
                        <a:pt x="222" y="288"/>
                      </a:lnTo>
                      <a:lnTo>
                        <a:pt x="221" y="288"/>
                      </a:lnTo>
                      <a:lnTo>
                        <a:pt x="220" y="288"/>
                      </a:lnTo>
                      <a:lnTo>
                        <a:pt x="219" y="288"/>
                      </a:lnTo>
                      <a:lnTo>
                        <a:pt x="219" y="287"/>
                      </a:lnTo>
                      <a:lnTo>
                        <a:pt x="218" y="288"/>
                      </a:lnTo>
                      <a:lnTo>
                        <a:pt x="217" y="288"/>
                      </a:lnTo>
                      <a:lnTo>
                        <a:pt x="216" y="288"/>
                      </a:lnTo>
                      <a:lnTo>
                        <a:pt x="215" y="287"/>
                      </a:lnTo>
                      <a:lnTo>
                        <a:pt x="214" y="287"/>
                      </a:lnTo>
                      <a:lnTo>
                        <a:pt x="214" y="286"/>
                      </a:lnTo>
                      <a:lnTo>
                        <a:pt x="214" y="285"/>
                      </a:lnTo>
                      <a:lnTo>
                        <a:pt x="213" y="285"/>
                      </a:lnTo>
                      <a:lnTo>
                        <a:pt x="212" y="284"/>
                      </a:lnTo>
                      <a:lnTo>
                        <a:pt x="211" y="284"/>
                      </a:lnTo>
                      <a:lnTo>
                        <a:pt x="211" y="283"/>
                      </a:lnTo>
                      <a:lnTo>
                        <a:pt x="211" y="282"/>
                      </a:lnTo>
                      <a:lnTo>
                        <a:pt x="211" y="281"/>
                      </a:lnTo>
                      <a:close/>
                      <a:moveTo>
                        <a:pt x="576" y="1150"/>
                      </a:moveTo>
                      <a:lnTo>
                        <a:pt x="576" y="1151"/>
                      </a:lnTo>
                      <a:lnTo>
                        <a:pt x="577" y="1151"/>
                      </a:lnTo>
                      <a:lnTo>
                        <a:pt x="578" y="1151"/>
                      </a:lnTo>
                      <a:lnTo>
                        <a:pt x="579" y="1153"/>
                      </a:lnTo>
                      <a:lnTo>
                        <a:pt x="580" y="1154"/>
                      </a:lnTo>
                      <a:lnTo>
                        <a:pt x="581" y="1154"/>
                      </a:lnTo>
                      <a:lnTo>
                        <a:pt x="579" y="1153"/>
                      </a:lnTo>
                      <a:lnTo>
                        <a:pt x="579" y="1151"/>
                      </a:lnTo>
                      <a:lnTo>
                        <a:pt x="580" y="1153"/>
                      </a:lnTo>
                      <a:lnTo>
                        <a:pt x="581" y="1153"/>
                      </a:lnTo>
                      <a:lnTo>
                        <a:pt x="581" y="1154"/>
                      </a:lnTo>
                      <a:lnTo>
                        <a:pt x="581" y="1153"/>
                      </a:lnTo>
                      <a:lnTo>
                        <a:pt x="581" y="1154"/>
                      </a:lnTo>
                      <a:lnTo>
                        <a:pt x="582" y="1154"/>
                      </a:lnTo>
                      <a:lnTo>
                        <a:pt x="582" y="1155"/>
                      </a:lnTo>
                      <a:lnTo>
                        <a:pt x="583" y="1155"/>
                      </a:lnTo>
                      <a:lnTo>
                        <a:pt x="585" y="1155"/>
                      </a:lnTo>
                      <a:lnTo>
                        <a:pt x="585" y="1156"/>
                      </a:lnTo>
                      <a:lnTo>
                        <a:pt x="586" y="1156"/>
                      </a:lnTo>
                      <a:lnTo>
                        <a:pt x="586" y="1157"/>
                      </a:lnTo>
                      <a:lnTo>
                        <a:pt x="586" y="1156"/>
                      </a:lnTo>
                      <a:lnTo>
                        <a:pt x="587" y="1156"/>
                      </a:lnTo>
                      <a:lnTo>
                        <a:pt x="588" y="1157"/>
                      </a:lnTo>
                      <a:lnTo>
                        <a:pt x="589" y="1158"/>
                      </a:lnTo>
                      <a:lnTo>
                        <a:pt x="590" y="1158"/>
                      </a:lnTo>
                      <a:lnTo>
                        <a:pt x="590" y="1157"/>
                      </a:lnTo>
                      <a:lnTo>
                        <a:pt x="591" y="1158"/>
                      </a:lnTo>
                      <a:lnTo>
                        <a:pt x="591" y="1159"/>
                      </a:lnTo>
                      <a:lnTo>
                        <a:pt x="592" y="1159"/>
                      </a:lnTo>
                      <a:lnTo>
                        <a:pt x="594" y="1159"/>
                      </a:lnTo>
                      <a:lnTo>
                        <a:pt x="595" y="1160"/>
                      </a:lnTo>
                      <a:lnTo>
                        <a:pt x="595" y="1159"/>
                      </a:lnTo>
                      <a:lnTo>
                        <a:pt x="595" y="1160"/>
                      </a:lnTo>
                      <a:lnTo>
                        <a:pt x="596" y="1160"/>
                      </a:lnTo>
                      <a:lnTo>
                        <a:pt x="596" y="1159"/>
                      </a:lnTo>
                      <a:lnTo>
                        <a:pt x="598" y="1159"/>
                      </a:lnTo>
                      <a:lnTo>
                        <a:pt x="599" y="1160"/>
                      </a:lnTo>
                      <a:lnTo>
                        <a:pt x="600" y="1160"/>
                      </a:lnTo>
                      <a:lnTo>
                        <a:pt x="600" y="1161"/>
                      </a:lnTo>
                      <a:lnTo>
                        <a:pt x="602" y="1161"/>
                      </a:lnTo>
                      <a:lnTo>
                        <a:pt x="602" y="1162"/>
                      </a:lnTo>
                      <a:lnTo>
                        <a:pt x="603" y="1161"/>
                      </a:lnTo>
                      <a:lnTo>
                        <a:pt x="604" y="1161"/>
                      </a:lnTo>
                      <a:lnTo>
                        <a:pt x="604" y="1162"/>
                      </a:lnTo>
                      <a:lnTo>
                        <a:pt x="605" y="1164"/>
                      </a:lnTo>
                      <a:lnTo>
                        <a:pt x="605" y="1163"/>
                      </a:lnTo>
                      <a:lnTo>
                        <a:pt x="606" y="1163"/>
                      </a:lnTo>
                      <a:lnTo>
                        <a:pt x="606" y="1164"/>
                      </a:lnTo>
                      <a:lnTo>
                        <a:pt x="608" y="1166"/>
                      </a:lnTo>
                      <a:lnTo>
                        <a:pt x="612" y="1167"/>
                      </a:lnTo>
                      <a:lnTo>
                        <a:pt x="614" y="1167"/>
                      </a:lnTo>
                      <a:lnTo>
                        <a:pt x="615" y="1166"/>
                      </a:lnTo>
                      <a:lnTo>
                        <a:pt x="616" y="1166"/>
                      </a:lnTo>
                      <a:lnTo>
                        <a:pt x="618" y="1166"/>
                      </a:lnTo>
                      <a:lnTo>
                        <a:pt x="618" y="1167"/>
                      </a:lnTo>
                      <a:lnTo>
                        <a:pt x="617" y="1167"/>
                      </a:lnTo>
                      <a:lnTo>
                        <a:pt x="617" y="1168"/>
                      </a:lnTo>
                      <a:lnTo>
                        <a:pt x="615" y="1168"/>
                      </a:lnTo>
                      <a:lnTo>
                        <a:pt x="616" y="1168"/>
                      </a:lnTo>
                      <a:lnTo>
                        <a:pt x="617" y="1168"/>
                      </a:lnTo>
                      <a:lnTo>
                        <a:pt x="618" y="1168"/>
                      </a:lnTo>
                      <a:lnTo>
                        <a:pt x="620" y="1168"/>
                      </a:lnTo>
                      <a:lnTo>
                        <a:pt x="620" y="1169"/>
                      </a:lnTo>
                      <a:lnTo>
                        <a:pt x="620" y="1170"/>
                      </a:lnTo>
                      <a:lnTo>
                        <a:pt x="620" y="1169"/>
                      </a:lnTo>
                      <a:lnTo>
                        <a:pt x="621" y="1168"/>
                      </a:lnTo>
                      <a:lnTo>
                        <a:pt x="621" y="1167"/>
                      </a:lnTo>
                      <a:lnTo>
                        <a:pt x="622" y="1167"/>
                      </a:lnTo>
                      <a:lnTo>
                        <a:pt x="624" y="1167"/>
                      </a:lnTo>
                      <a:lnTo>
                        <a:pt x="626" y="1167"/>
                      </a:lnTo>
                      <a:lnTo>
                        <a:pt x="626" y="1168"/>
                      </a:lnTo>
                      <a:lnTo>
                        <a:pt x="625" y="1168"/>
                      </a:lnTo>
                      <a:lnTo>
                        <a:pt x="622" y="1168"/>
                      </a:lnTo>
                      <a:lnTo>
                        <a:pt x="622" y="1169"/>
                      </a:lnTo>
                      <a:lnTo>
                        <a:pt x="621" y="1170"/>
                      </a:lnTo>
                      <a:lnTo>
                        <a:pt x="621" y="1172"/>
                      </a:lnTo>
                      <a:lnTo>
                        <a:pt x="627" y="1173"/>
                      </a:lnTo>
                      <a:lnTo>
                        <a:pt x="628" y="1172"/>
                      </a:lnTo>
                      <a:lnTo>
                        <a:pt x="628" y="1173"/>
                      </a:lnTo>
                      <a:lnTo>
                        <a:pt x="629" y="1173"/>
                      </a:lnTo>
                      <a:lnTo>
                        <a:pt x="631" y="1173"/>
                      </a:lnTo>
                      <a:lnTo>
                        <a:pt x="633" y="1174"/>
                      </a:lnTo>
                      <a:lnTo>
                        <a:pt x="633" y="1173"/>
                      </a:lnTo>
                      <a:lnTo>
                        <a:pt x="632" y="1172"/>
                      </a:lnTo>
                      <a:lnTo>
                        <a:pt x="633" y="1172"/>
                      </a:lnTo>
                      <a:lnTo>
                        <a:pt x="633" y="1171"/>
                      </a:lnTo>
                      <a:lnTo>
                        <a:pt x="633" y="1170"/>
                      </a:lnTo>
                      <a:lnTo>
                        <a:pt x="632" y="1169"/>
                      </a:lnTo>
                      <a:lnTo>
                        <a:pt x="632" y="1168"/>
                      </a:lnTo>
                      <a:lnTo>
                        <a:pt x="631" y="1167"/>
                      </a:lnTo>
                      <a:lnTo>
                        <a:pt x="632" y="1166"/>
                      </a:lnTo>
                      <a:lnTo>
                        <a:pt x="633" y="1166"/>
                      </a:lnTo>
                      <a:lnTo>
                        <a:pt x="633" y="1167"/>
                      </a:lnTo>
                      <a:lnTo>
                        <a:pt x="634" y="1168"/>
                      </a:lnTo>
                      <a:lnTo>
                        <a:pt x="635" y="1168"/>
                      </a:lnTo>
                      <a:lnTo>
                        <a:pt x="635" y="1170"/>
                      </a:lnTo>
                      <a:lnTo>
                        <a:pt x="637" y="1170"/>
                      </a:lnTo>
                      <a:lnTo>
                        <a:pt x="638" y="1170"/>
                      </a:lnTo>
                      <a:lnTo>
                        <a:pt x="638" y="1171"/>
                      </a:lnTo>
                      <a:lnTo>
                        <a:pt x="639" y="1172"/>
                      </a:lnTo>
                      <a:lnTo>
                        <a:pt x="637" y="1172"/>
                      </a:lnTo>
                      <a:lnTo>
                        <a:pt x="637" y="1173"/>
                      </a:lnTo>
                      <a:lnTo>
                        <a:pt x="635" y="1173"/>
                      </a:lnTo>
                      <a:lnTo>
                        <a:pt x="635" y="1174"/>
                      </a:lnTo>
                      <a:lnTo>
                        <a:pt x="634" y="1174"/>
                      </a:lnTo>
                      <a:lnTo>
                        <a:pt x="638" y="1175"/>
                      </a:lnTo>
                      <a:lnTo>
                        <a:pt x="640" y="1175"/>
                      </a:lnTo>
                      <a:lnTo>
                        <a:pt x="641" y="1175"/>
                      </a:lnTo>
                      <a:lnTo>
                        <a:pt x="642" y="1176"/>
                      </a:lnTo>
                      <a:lnTo>
                        <a:pt x="642" y="1175"/>
                      </a:lnTo>
                      <a:lnTo>
                        <a:pt x="642" y="1174"/>
                      </a:lnTo>
                      <a:lnTo>
                        <a:pt x="643" y="1174"/>
                      </a:lnTo>
                      <a:lnTo>
                        <a:pt x="643" y="1175"/>
                      </a:lnTo>
                      <a:lnTo>
                        <a:pt x="644" y="1175"/>
                      </a:lnTo>
                      <a:lnTo>
                        <a:pt x="644" y="1174"/>
                      </a:lnTo>
                      <a:lnTo>
                        <a:pt x="645" y="1175"/>
                      </a:lnTo>
                      <a:lnTo>
                        <a:pt x="646" y="1175"/>
                      </a:lnTo>
                      <a:lnTo>
                        <a:pt x="647" y="1174"/>
                      </a:lnTo>
                      <a:lnTo>
                        <a:pt x="648" y="1173"/>
                      </a:lnTo>
                      <a:lnTo>
                        <a:pt x="647" y="1173"/>
                      </a:lnTo>
                      <a:lnTo>
                        <a:pt x="647" y="1172"/>
                      </a:lnTo>
                      <a:lnTo>
                        <a:pt x="648" y="1172"/>
                      </a:lnTo>
                      <a:lnTo>
                        <a:pt x="648" y="1171"/>
                      </a:lnTo>
                      <a:lnTo>
                        <a:pt x="650" y="1172"/>
                      </a:lnTo>
                      <a:lnTo>
                        <a:pt x="651" y="1173"/>
                      </a:lnTo>
                      <a:lnTo>
                        <a:pt x="650" y="1174"/>
                      </a:lnTo>
                      <a:lnTo>
                        <a:pt x="648" y="1176"/>
                      </a:lnTo>
                      <a:lnTo>
                        <a:pt x="646" y="1176"/>
                      </a:lnTo>
                      <a:lnTo>
                        <a:pt x="642" y="1176"/>
                      </a:lnTo>
                      <a:lnTo>
                        <a:pt x="639" y="1176"/>
                      </a:lnTo>
                      <a:lnTo>
                        <a:pt x="635" y="1175"/>
                      </a:lnTo>
                      <a:lnTo>
                        <a:pt x="632" y="1175"/>
                      </a:lnTo>
                      <a:lnTo>
                        <a:pt x="630" y="1174"/>
                      </a:lnTo>
                      <a:lnTo>
                        <a:pt x="628" y="1174"/>
                      </a:lnTo>
                      <a:lnTo>
                        <a:pt x="624" y="1173"/>
                      </a:lnTo>
                      <a:lnTo>
                        <a:pt x="620" y="1172"/>
                      </a:lnTo>
                      <a:lnTo>
                        <a:pt x="618" y="1172"/>
                      </a:lnTo>
                      <a:lnTo>
                        <a:pt x="617" y="1171"/>
                      </a:lnTo>
                      <a:lnTo>
                        <a:pt x="614" y="1170"/>
                      </a:lnTo>
                      <a:lnTo>
                        <a:pt x="611" y="1169"/>
                      </a:lnTo>
                      <a:lnTo>
                        <a:pt x="605" y="1167"/>
                      </a:lnTo>
                      <a:lnTo>
                        <a:pt x="604" y="1167"/>
                      </a:lnTo>
                      <a:lnTo>
                        <a:pt x="601" y="1166"/>
                      </a:lnTo>
                      <a:lnTo>
                        <a:pt x="598" y="1164"/>
                      </a:lnTo>
                      <a:lnTo>
                        <a:pt x="593" y="1162"/>
                      </a:lnTo>
                      <a:lnTo>
                        <a:pt x="592" y="1161"/>
                      </a:lnTo>
                      <a:lnTo>
                        <a:pt x="589" y="1160"/>
                      </a:lnTo>
                      <a:lnTo>
                        <a:pt x="582" y="1156"/>
                      </a:lnTo>
                      <a:lnTo>
                        <a:pt x="579" y="1155"/>
                      </a:lnTo>
                      <a:lnTo>
                        <a:pt x="577" y="1153"/>
                      </a:lnTo>
                      <a:lnTo>
                        <a:pt x="575" y="1151"/>
                      </a:lnTo>
                      <a:lnTo>
                        <a:pt x="573" y="1149"/>
                      </a:lnTo>
                      <a:lnTo>
                        <a:pt x="573" y="1148"/>
                      </a:lnTo>
                      <a:lnTo>
                        <a:pt x="574" y="1148"/>
                      </a:lnTo>
                      <a:lnTo>
                        <a:pt x="574" y="1149"/>
                      </a:lnTo>
                      <a:lnTo>
                        <a:pt x="576" y="1150"/>
                      </a:lnTo>
                      <a:close/>
                      <a:moveTo>
                        <a:pt x="834" y="962"/>
                      </a:moveTo>
                      <a:lnTo>
                        <a:pt x="835" y="962"/>
                      </a:lnTo>
                      <a:lnTo>
                        <a:pt x="835" y="963"/>
                      </a:lnTo>
                      <a:lnTo>
                        <a:pt x="836" y="963"/>
                      </a:lnTo>
                      <a:lnTo>
                        <a:pt x="836" y="964"/>
                      </a:lnTo>
                      <a:lnTo>
                        <a:pt x="837" y="965"/>
                      </a:lnTo>
                      <a:lnTo>
                        <a:pt x="838" y="965"/>
                      </a:lnTo>
                      <a:lnTo>
                        <a:pt x="839" y="966"/>
                      </a:lnTo>
                      <a:lnTo>
                        <a:pt x="840" y="968"/>
                      </a:lnTo>
                      <a:lnTo>
                        <a:pt x="841" y="969"/>
                      </a:lnTo>
                      <a:lnTo>
                        <a:pt x="841" y="970"/>
                      </a:lnTo>
                      <a:lnTo>
                        <a:pt x="840" y="970"/>
                      </a:lnTo>
                      <a:lnTo>
                        <a:pt x="839" y="969"/>
                      </a:lnTo>
                      <a:lnTo>
                        <a:pt x="838" y="968"/>
                      </a:lnTo>
                      <a:lnTo>
                        <a:pt x="838" y="967"/>
                      </a:lnTo>
                      <a:lnTo>
                        <a:pt x="838" y="968"/>
                      </a:lnTo>
                      <a:lnTo>
                        <a:pt x="837" y="968"/>
                      </a:lnTo>
                      <a:lnTo>
                        <a:pt x="838" y="969"/>
                      </a:lnTo>
                      <a:lnTo>
                        <a:pt x="838" y="970"/>
                      </a:lnTo>
                      <a:lnTo>
                        <a:pt x="838" y="971"/>
                      </a:lnTo>
                      <a:lnTo>
                        <a:pt x="839" y="971"/>
                      </a:lnTo>
                      <a:lnTo>
                        <a:pt x="840" y="971"/>
                      </a:lnTo>
                      <a:lnTo>
                        <a:pt x="840" y="973"/>
                      </a:lnTo>
                      <a:lnTo>
                        <a:pt x="839" y="973"/>
                      </a:lnTo>
                      <a:lnTo>
                        <a:pt x="839" y="974"/>
                      </a:lnTo>
                      <a:lnTo>
                        <a:pt x="838" y="975"/>
                      </a:lnTo>
                      <a:lnTo>
                        <a:pt x="838" y="976"/>
                      </a:lnTo>
                      <a:lnTo>
                        <a:pt x="839" y="977"/>
                      </a:lnTo>
                      <a:lnTo>
                        <a:pt x="839" y="978"/>
                      </a:lnTo>
                      <a:lnTo>
                        <a:pt x="839" y="979"/>
                      </a:lnTo>
                      <a:lnTo>
                        <a:pt x="838" y="979"/>
                      </a:lnTo>
                      <a:lnTo>
                        <a:pt x="838" y="978"/>
                      </a:lnTo>
                      <a:lnTo>
                        <a:pt x="837" y="978"/>
                      </a:lnTo>
                      <a:lnTo>
                        <a:pt x="837" y="977"/>
                      </a:lnTo>
                      <a:lnTo>
                        <a:pt x="836" y="977"/>
                      </a:lnTo>
                      <a:lnTo>
                        <a:pt x="835" y="977"/>
                      </a:lnTo>
                      <a:lnTo>
                        <a:pt x="834" y="977"/>
                      </a:lnTo>
                      <a:lnTo>
                        <a:pt x="833" y="977"/>
                      </a:lnTo>
                      <a:lnTo>
                        <a:pt x="833" y="976"/>
                      </a:lnTo>
                      <a:lnTo>
                        <a:pt x="832" y="976"/>
                      </a:lnTo>
                      <a:lnTo>
                        <a:pt x="832" y="975"/>
                      </a:lnTo>
                      <a:lnTo>
                        <a:pt x="833" y="975"/>
                      </a:lnTo>
                      <a:lnTo>
                        <a:pt x="833" y="974"/>
                      </a:lnTo>
                      <a:lnTo>
                        <a:pt x="834" y="974"/>
                      </a:lnTo>
                      <a:lnTo>
                        <a:pt x="834" y="973"/>
                      </a:lnTo>
                      <a:lnTo>
                        <a:pt x="834" y="971"/>
                      </a:lnTo>
                      <a:lnTo>
                        <a:pt x="834" y="970"/>
                      </a:lnTo>
                      <a:lnTo>
                        <a:pt x="833" y="970"/>
                      </a:lnTo>
                      <a:lnTo>
                        <a:pt x="834" y="970"/>
                      </a:lnTo>
                      <a:lnTo>
                        <a:pt x="833" y="970"/>
                      </a:lnTo>
                      <a:lnTo>
                        <a:pt x="833" y="969"/>
                      </a:lnTo>
                      <a:lnTo>
                        <a:pt x="833" y="970"/>
                      </a:lnTo>
                      <a:lnTo>
                        <a:pt x="833" y="969"/>
                      </a:lnTo>
                      <a:lnTo>
                        <a:pt x="832" y="969"/>
                      </a:lnTo>
                      <a:lnTo>
                        <a:pt x="832" y="968"/>
                      </a:lnTo>
                      <a:lnTo>
                        <a:pt x="831" y="968"/>
                      </a:lnTo>
                      <a:lnTo>
                        <a:pt x="829" y="968"/>
                      </a:lnTo>
                      <a:lnTo>
                        <a:pt x="828" y="967"/>
                      </a:lnTo>
                      <a:lnTo>
                        <a:pt x="828" y="968"/>
                      </a:lnTo>
                      <a:lnTo>
                        <a:pt x="827" y="967"/>
                      </a:lnTo>
                      <a:lnTo>
                        <a:pt x="826" y="967"/>
                      </a:lnTo>
                      <a:lnTo>
                        <a:pt x="825" y="967"/>
                      </a:lnTo>
                      <a:lnTo>
                        <a:pt x="825" y="966"/>
                      </a:lnTo>
                      <a:lnTo>
                        <a:pt x="825" y="965"/>
                      </a:lnTo>
                      <a:lnTo>
                        <a:pt x="826" y="965"/>
                      </a:lnTo>
                      <a:lnTo>
                        <a:pt x="827" y="966"/>
                      </a:lnTo>
                      <a:lnTo>
                        <a:pt x="828" y="966"/>
                      </a:lnTo>
                      <a:lnTo>
                        <a:pt x="828" y="967"/>
                      </a:lnTo>
                      <a:lnTo>
                        <a:pt x="829" y="967"/>
                      </a:lnTo>
                      <a:lnTo>
                        <a:pt x="829" y="966"/>
                      </a:lnTo>
                      <a:lnTo>
                        <a:pt x="828" y="966"/>
                      </a:lnTo>
                      <a:lnTo>
                        <a:pt x="827" y="966"/>
                      </a:lnTo>
                      <a:lnTo>
                        <a:pt x="827" y="965"/>
                      </a:lnTo>
                      <a:lnTo>
                        <a:pt x="826" y="965"/>
                      </a:lnTo>
                      <a:lnTo>
                        <a:pt x="825" y="964"/>
                      </a:lnTo>
                      <a:lnTo>
                        <a:pt x="825" y="963"/>
                      </a:lnTo>
                      <a:lnTo>
                        <a:pt x="826" y="963"/>
                      </a:lnTo>
                      <a:lnTo>
                        <a:pt x="827" y="963"/>
                      </a:lnTo>
                      <a:lnTo>
                        <a:pt x="826" y="963"/>
                      </a:lnTo>
                      <a:lnTo>
                        <a:pt x="827" y="964"/>
                      </a:lnTo>
                      <a:lnTo>
                        <a:pt x="827" y="963"/>
                      </a:lnTo>
                      <a:lnTo>
                        <a:pt x="827" y="964"/>
                      </a:lnTo>
                      <a:lnTo>
                        <a:pt x="828" y="964"/>
                      </a:lnTo>
                      <a:lnTo>
                        <a:pt x="828" y="963"/>
                      </a:lnTo>
                      <a:lnTo>
                        <a:pt x="829" y="963"/>
                      </a:lnTo>
                      <a:lnTo>
                        <a:pt x="829" y="964"/>
                      </a:lnTo>
                      <a:lnTo>
                        <a:pt x="829" y="965"/>
                      </a:lnTo>
                      <a:lnTo>
                        <a:pt x="828" y="965"/>
                      </a:lnTo>
                      <a:lnTo>
                        <a:pt x="829" y="965"/>
                      </a:lnTo>
                      <a:lnTo>
                        <a:pt x="831" y="964"/>
                      </a:lnTo>
                      <a:lnTo>
                        <a:pt x="831" y="965"/>
                      </a:lnTo>
                      <a:lnTo>
                        <a:pt x="832" y="965"/>
                      </a:lnTo>
                      <a:lnTo>
                        <a:pt x="832" y="966"/>
                      </a:lnTo>
                      <a:lnTo>
                        <a:pt x="832" y="967"/>
                      </a:lnTo>
                      <a:lnTo>
                        <a:pt x="833" y="967"/>
                      </a:lnTo>
                      <a:lnTo>
                        <a:pt x="832" y="967"/>
                      </a:lnTo>
                      <a:lnTo>
                        <a:pt x="832" y="968"/>
                      </a:lnTo>
                      <a:lnTo>
                        <a:pt x="832" y="967"/>
                      </a:lnTo>
                      <a:lnTo>
                        <a:pt x="831" y="967"/>
                      </a:lnTo>
                      <a:lnTo>
                        <a:pt x="831" y="966"/>
                      </a:lnTo>
                      <a:lnTo>
                        <a:pt x="831" y="967"/>
                      </a:lnTo>
                      <a:lnTo>
                        <a:pt x="832" y="967"/>
                      </a:lnTo>
                      <a:lnTo>
                        <a:pt x="831" y="967"/>
                      </a:lnTo>
                      <a:lnTo>
                        <a:pt x="832" y="967"/>
                      </a:lnTo>
                      <a:lnTo>
                        <a:pt x="832" y="968"/>
                      </a:lnTo>
                      <a:lnTo>
                        <a:pt x="833" y="968"/>
                      </a:lnTo>
                      <a:lnTo>
                        <a:pt x="832" y="968"/>
                      </a:lnTo>
                      <a:lnTo>
                        <a:pt x="833" y="967"/>
                      </a:lnTo>
                      <a:lnTo>
                        <a:pt x="833" y="966"/>
                      </a:lnTo>
                      <a:lnTo>
                        <a:pt x="833" y="965"/>
                      </a:lnTo>
                      <a:lnTo>
                        <a:pt x="832" y="965"/>
                      </a:lnTo>
                      <a:lnTo>
                        <a:pt x="832" y="964"/>
                      </a:lnTo>
                      <a:lnTo>
                        <a:pt x="831" y="964"/>
                      </a:lnTo>
                      <a:lnTo>
                        <a:pt x="832" y="963"/>
                      </a:lnTo>
                      <a:lnTo>
                        <a:pt x="832" y="962"/>
                      </a:lnTo>
                      <a:lnTo>
                        <a:pt x="832" y="961"/>
                      </a:lnTo>
                      <a:lnTo>
                        <a:pt x="833" y="961"/>
                      </a:lnTo>
                      <a:lnTo>
                        <a:pt x="834" y="962"/>
                      </a:lnTo>
                      <a:close/>
                      <a:moveTo>
                        <a:pt x="697" y="1125"/>
                      </a:moveTo>
                      <a:lnTo>
                        <a:pt x="697" y="1127"/>
                      </a:lnTo>
                      <a:lnTo>
                        <a:pt x="696" y="1127"/>
                      </a:lnTo>
                      <a:lnTo>
                        <a:pt x="696" y="1125"/>
                      </a:lnTo>
                      <a:lnTo>
                        <a:pt x="696" y="1127"/>
                      </a:lnTo>
                      <a:lnTo>
                        <a:pt x="695" y="1128"/>
                      </a:lnTo>
                      <a:lnTo>
                        <a:pt x="696" y="1128"/>
                      </a:lnTo>
                      <a:lnTo>
                        <a:pt x="695" y="1129"/>
                      </a:lnTo>
                      <a:lnTo>
                        <a:pt x="695" y="1130"/>
                      </a:lnTo>
                      <a:lnTo>
                        <a:pt x="696" y="1131"/>
                      </a:lnTo>
                      <a:lnTo>
                        <a:pt x="697" y="1131"/>
                      </a:lnTo>
                      <a:lnTo>
                        <a:pt x="697" y="1130"/>
                      </a:lnTo>
                      <a:lnTo>
                        <a:pt x="698" y="1130"/>
                      </a:lnTo>
                      <a:lnTo>
                        <a:pt x="698" y="1129"/>
                      </a:lnTo>
                      <a:lnTo>
                        <a:pt x="697" y="1129"/>
                      </a:lnTo>
                      <a:lnTo>
                        <a:pt x="697" y="1128"/>
                      </a:lnTo>
                      <a:lnTo>
                        <a:pt x="696" y="1128"/>
                      </a:lnTo>
                      <a:lnTo>
                        <a:pt x="696" y="1127"/>
                      </a:lnTo>
                      <a:lnTo>
                        <a:pt x="697" y="1127"/>
                      </a:lnTo>
                      <a:lnTo>
                        <a:pt x="698" y="1127"/>
                      </a:lnTo>
                      <a:lnTo>
                        <a:pt x="698" y="1125"/>
                      </a:lnTo>
                      <a:lnTo>
                        <a:pt x="697" y="1125"/>
                      </a:lnTo>
                      <a:lnTo>
                        <a:pt x="697" y="1124"/>
                      </a:lnTo>
                      <a:lnTo>
                        <a:pt x="698" y="1123"/>
                      </a:lnTo>
                      <a:lnTo>
                        <a:pt x="697" y="1123"/>
                      </a:lnTo>
                      <a:lnTo>
                        <a:pt x="697" y="1124"/>
                      </a:lnTo>
                      <a:lnTo>
                        <a:pt x="697" y="1125"/>
                      </a:lnTo>
                      <a:lnTo>
                        <a:pt x="697" y="1124"/>
                      </a:lnTo>
                      <a:lnTo>
                        <a:pt x="697" y="1123"/>
                      </a:lnTo>
                      <a:lnTo>
                        <a:pt x="698" y="1123"/>
                      </a:lnTo>
                      <a:lnTo>
                        <a:pt x="700" y="1124"/>
                      </a:lnTo>
                      <a:lnTo>
                        <a:pt x="702" y="1125"/>
                      </a:lnTo>
                      <a:lnTo>
                        <a:pt x="702" y="1127"/>
                      </a:lnTo>
                      <a:lnTo>
                        <a:pt x="702" y="1128"/>
                      </a:lnTo>
                      <a:lnTo>
                        <a:pt x="703" y="1128"/>
                      </a:lnTo>
                      <a:lnTo>
                        <a:pt x="702" y="1129"/>
                      </a:lnTo>
                      <a:lnTo>
                        <a:pt x="700" y="1130"/>
                      </a:lnTo>
                      <a:lnTo>
                        <a:pt x="699" y="1131"/>
                      </a:lnTo>
                      <a:lnTo>
                        <a:pt x="698" y="1131"/>
                      </a:lnTo>
                      <a:lnTo>
                        <a:pt x="698" y="1132"/>
                      </a:lnTo>
                      <a:lnTo>
                        <a:pt x="696" y="1132"/>
                      </a:lnTo>
                      <a:lnTo>
                        <a:pt x="696" y="1133"/>
                      </a:lnTo>
                      <a:lnTo>
                        <a:pt x="695" y="1133"/>
                      </a:lnTo>
                      <a:lnTo>
                        <a:pt x="694" y="1133"/>
                      </a:lnTo>
                      <a:lnTo>
                        <a:pt x="692" y="1134"/>
                      </a:lnTo>
                      <a:lnTo>
                        <a:pt x="691" y="1134"/>
                      </a:lnTo>
                      <a:lnTo>
                        <a:pt x="690" y="1134"/>
                      </a:lnTo>
                      <a:lnTo>
                        <a:pt x="689" y="1135"/>
                      </a:lnTo>
                      <a:lnTo>
                        <a:pt x="687" y="1135"/>
                      </a:lnTo>
                      <a:lnTo>
                        <a:pt x="686" y="1136"/>
                      </a:lnTo>
                      <a:lnTo>
                        <a:pt x="684" y="1136"/>
                      </a:lnTo>
                      <a:lnTo>
                        <a:pt x="683" y="1136"/>
                      </a:lnTo>
                      <a:lnTo>
                        <a:pt x="681" y="1137"/>
                      </a:lnTo>
                      <a:lnTo>
                        <a:pt x="680" y="1137"/>
                      </a:lnTo>
                      <a:lnTo>
                        <a:pt x="680" y="1136"/>
                      </a:lnTo>
                      <a:lnTo>
                        <a:pt x="681" y="1136"/>
                      </a:lnTo>
                      <a:lnTo>
                        <a:pt x="682" y="1136"/>
                      </a:lnTo>
                      <a:lnTo>
                        <a:pt x="683" y="1135"/>
                      </a:lnTo>
                      <a:lnTo>
                        <a:pt x="684" y="1135"/>
                      </a:lnTo>
                      <a:lnTo>
                        <a:pt x="685" y="1134"/>
                      </a:lnTo>
                      <a:lnTo>
                        <a:pt x="687" y="1134"/>
                      </a:lnTo>
                      <a:lnTo>
                        <a:pt x="689" y="1134"/>
                      </a:lnTo>
                      <a:lnTo>
                        <a:pt x="690" y="1133"/>
                      </a:lnTo>
                      <a:lnTo>
                        <a:pt x="692" y="1133"/>
                      </a:lnTo>
                      <a:lnTo>
                        <a:pt x="693" y="1133"/>
                      </a:lnTo>
                      <a:lnTo>
                        <a:pt x="693" y="1132"/>
                      </a:lnTo>
                      <a:lnTo>
                        <a:pt x="693" y="1131"/>
                      </a:lnTo>
                      <a:lnTo>
                        <a:pt x="694" y="1131"/>
                      </a:lnTo>
                      <a:lnTo>
                        <a:pt x="694" y="1130"/>
                      </a:lnTo>
                      <a:lnTo>
                        <a:pt x="695" y="1129"/>
                      </a:lnTo>
                      <a:lnTo>
                        <a:pt x="695" y="1128"/>
                      </a:lnTo>
                      <a:lnTo>
                        <a:pt x="695" y="1127"/>
                      </a:lnTo>
                      <a:lnTo>
                        <a:pt x="695" y="1125"/>
                      </a:lnTo>
                      <a:lnTo>
                        <a:pt x="694" y="1125"/>
                      </a:lnTo>
                      <a:lnTo>
                        <a:pt x="694" y="1124"/>
                      </a:lnTo>
                      <a:lnTo>
                        <a:pt x="694" y="1123"/>
                      </a:lnTo>
                      <a:lnTo>
                        <a:pt x="695" y="1122"/>
                      </a:lnTo>
                      <a:lnTo>
                        <a:pt x="696" y="1123"/>
                      </a:lnTo>
                      <a:lnTo>
                        <a:pt x="696" y="1124"/>
                      </a:lnTo>
                      <a:lnTo>
                        <a:pt x="695" y="1124"/>
                      </a:lnTo>
                      <a:lnTo>
                        <a:pt x="695" y="1125"/>
                      </a:lnTo>
                      <a:lnTo>
                        <a:pt x="696" y="1125"/>
                      </a:lnTo>
                      <a:lnTo>
                        <a:pt x="697" y="1125"/>
                      </a:lnTo>
                      <a:close/>
                      <a:moveTo>
                        <a:pt x="721" y="1166"/>
                      </a:moveTo>
                      <a:lnTo>
                        <a:pt x="720" y="1166"/>
                      </a:lnTo>
                      <a:lnTo>
                        <a:pt x="719" y="1167"/>
                      </a:lnTo>
                      <a:lnTo>
                        <a:pt x="718" y="1167"/>
                      </a:lnTo>
                      <a:lnTo>
                        <a:pt x="717" y="1167"/>
                      </a:lnTo>
                      <a:lnTo>
                        <a:pt x="716" y="1168"/>
                      </a:lnTo>
                      <a:lnTo>
                        <a:pt x="713" y="1168"/>
                      </a:lnTo>
                      <a:lnTo>
                        <a:pt x="713" y="1169"/>
                      </a:lnTo>
                      <a:lnTo>
                        <a:pt x="711" y="1169"/>
                      </a:lnTo>
                      <a:lnTo>
                        <a:pt x="710" y="1169"/>
                      </a:lnTo>
                      <a:lnTo>
                        <a:pt x="710" y="1170"/>
                      </a:lnTo>
                      <a:lnTo>
                        <a:pt x="709" y="1170"/>
                      </a:lnTo>
                      <a:lnTo>
                        <a:pt x="708" y="1170"/>
                      </a:lnTo>
                      <a:lnTo>
                        <a:pt x="708" y="1171"/>
                      </a:lnTo>
                      <a:lnTo>
                        <a:pt x="707" y="1171"/>
                      </a:lnTo>
                      <a:lnTo>
                        <a:pt x="705" y="1171"/>
                      </a:lnTo>
                      <a:lnTo>
                        <a:pt x="704" y="1171"/>
                      </a:lnTo>
                      <a:lnTo>
                        <a:pt x="704" y="1170"/>
                      </a:lnTo>
                      <a:lnTo>
                        <a:pt x="703" y="1169"/>
                      </a:lnTo>
                      <a:lnTo>
                        <a:pt x="704" y="1169"/>
                      </a:lnTo>
                      <a:lnTo>
                        <a:pt x="705" y="1169"/>
                      </a:lnTo>
                      <a:lnTo>
                        <a:pt x="706" y="1169"/>
                      </a:lnTo>
                      <a:lnTo>
                        <a:pt x="707" y="1168"/>
                      </a:lnTo>
                      <a:lnTo>
                        <a:pt x="708" y="1167"/>
                      </a:lnTo>
                      <a:lnTo>
                        <a:pt x="709" y="1166"/>
                      </a:lnTo>
                      <a:lnTo>
                        <a:pt x="710" y="1166"/>
                      </a:lnTo>
                      <a:lnTo>
                        <a:pt x="711" y="1166"/>
                      </a:lnTo>
                      <a:lnTo>
                        <a:pt x="712" y="1166"/>
                      </a:lnTo>
                      <a:lnTo>
                        <a:pt x="715" y="1166"/>
                      </a:lnTo>
                      <a:lnTo>
                        <a:pt x="716" y="1166"/>
                      </a:lnTo>
                      <a:lnTo>
                        <a:pt x="717" y="1164"/>
                      </a:lnTo>
                      <a:lnTo>
                        <a:pt x="718" y="1164"/>
                      </a:lnTo>
                      <a:lnTo>
                        <a:pt x="718" y="1163"/>
                      </a:lnTo>
                      <a:lnTo>
                        <a:pt x="719" y="1163"/>
                      </a:lnTo>
                      <a:lnTo>
                        <a:pt x="720" y="1163"/>
                      </a:lnTo>
                      <a:lnTo>
                        <a:pt x="721" y="1163"/>
                      </a:lnTo>
                      <a:lnTo>
                        <a:pt x="721" y="1164"/>
                      </a:lnTo>
                      <a:lnTo>
                        <a:pt x="721" y="1166"/>
                      </a:lnTo>
                      <a:close/>
                      <a:moveTo>
                        <a:pt x="887" y="911"/>
                      </a:moveTo>
                      <a:lnTo>
                        <a:pt x="888" y="911"/>
                      </a:lnTo>
                      <a:lnTo>
                        <a:pt x="889" y="911"/>
                      </a:lnTo>
                      <a:lnTo>
                        <a:pt x="889" y="912"/>
                      </a:lnTo>
                      <a:lnTo>
                        <a:pt x="890" y="912"/>
                      </a:lnTo>
                      <a:lnTo>
                        <a:pt x="890" y="913"/>
                      </a:lnTo>
                      <a:lnTo>
                        <a:pt x="890" y="912"/>
                      </a:lnTo>
                      <a:lnTo>
                        <a:pt x="890" y="913"/>
                      </a:lnTo>
                      <a:lnTo>
                        <a:pt x="891" y="913"/>
                      </a:lnTo>
                      <a:lnTo>
                        <a:pt x="891" y="914"/>
                      </a:lnTo>
                      <a:lnTo>
                        <a:pt x="892" y="914"/>
                      </a:lnTo>
                      <a:lnTo>
                        <a:pt x="892" y="913"/>
                      </a:lnTo>
                      <a:lnTo>
                        <a:pt x="893" y="913"/>
                      </a:lnTo>
                      <a:lnTo>
                        <a:pt x="893" y="914"/>
                      </a:lnTo>
                      <a:lnTo>
                        <a:pt x="892" y="914"/>
                      </a:lnTo>
                      <a:lnTo>
                        <a:pt x="891" y="914"/>
                      </a:lnTo>
                      <a:lnTo>
                        <a:pt x="891" y="915"/>
                      </a:lnTo>
                      <a:lnTo>
                        <a:pt x="891" y="914"/>
                      </a:lnTo>
                      <a:lnTo>
                        <a:pt x="890" y="914"/>
                      </a:lnTo>
                      <a:lnTo>
                        <a:pt x="891" y="914"/>
                      </a:lnTo>
                      <a:lnTo>
                        <a:pt x="890" y="914"/>
                      </a:lnTo>
                      <a:lnTo>
                        <a:pt x="890" y="915"/>
                      </a:lnTo>
                      <a:lnTo>
                        <a:pt x="889" y="915"/>
                      </a:lnTo>
                      <a:lnTo>
                        <a:pt x="889" y="916"/>
                      </a:lnTo>
                      <a:lnTo>
                        <a:pt x="887" y="918"/>
                      </a:lnTo>
                      <a:lnTo>
                        <a:pt x="886" y="918"/>
                      </a:lnTo>
                      <a:lnTo>
                        <a:pt x="886" y="919"/>
                      </a:lnTo>
                      <a:lnTo>
                        <a:pt x="887" y="921"/>
                      </a:lnTo>
                      <a:lnTo>
                        <a:pt x="887" y="922"/>
                      </a:lnTo>
                      <a:lnTo>
                        <a:pt x="886" y="922"/>
                      </a:lnTo>
                      <a:lnTo>
                        <a:pt x="885" y="922"/>
                      </a:lnTo>
                      <a:lnTo>
                        <a:pt x="884" y="922"/>
                      </a:lnTo>
                      <a:lnTo>
                        <a:pt x="884" y="921"/>
                      </a:lnTo>
                      <a:lnTo>
                        <a:pt x="884" y="919"/>
                      </a:lnTo>
                      <a:lnTo>
                        <a:pt x="885" y="919"/>
                      </a:lnTo>
                      <a:lnTo>
                        <a:pt x="885" y="918"/>
                      </a:lnTo>
                      <a:lnTo>
                        <a:pt x="884" y="918"/>
                      </a:lnTo>
                      <a:lnTo>
                        <a:pt x="885" y="917"/>
                      </a:lnTo>
                      <a:lnTo>
                        <a:pt x="885" y="916"/>
                      </a:lnTo>
                      <a:lnTo>
                        <a:pt x="886" y="916"/>
                      </a:lnTo>
                      <a:lnTo>
                        <a:pt x="886" y="914"/>
                      </a:lnTo>
                      <a:lnTo>
                        <a:pt x="887" y="914"/>
                      </a:lnTo>
                      <a:lnTo>
                        <a:pt x="886" y="913"/>
                      </a:lnTo>
                      <a:lnTo>
                        <a:pt x="886" y="914"/>
                      </a:lnTo>
                      <a:lnTo>
                        <a:pt x="883" y="912"/>
                      </a:lnTo>
                      <a:lnTo>
                        <a:pt x="884" y="912"/>
                      </a:lnTo>
                      <a:lnTo>
                        <a:pt x="884" y="911"/>
                      </a:lnTo>
                      <a:lnTo>
                        <a:pt x="885" y="911"/>
                      </a:lnTo>
                      <a:lnTo>
                        <a:pt x="885" y="910"/>
                      </a:lnTo>
                      <a:lnTo>
                        <a:pt x="886" y="910"/>
                      </a:lnTo>
                      <a:lnTo>
                        <a:pt x="887" y="910"/>
                      </a:lnTo>
                      <a:lnTo>
                        <a:pt x="887" y="911"/>
                      </a:lnTo>
                      <a:close/>
                      <a:moveTo>
                        <a:pt x="844" y="988"/>
                      </a:moveTo>
                      <a:lnTo>
                        <a:pt x="846" y="988"/>
                      </a:lnTo>
                      <a:lnTo>
                        <a:pt x="847" y="988"/>
                      </a:lnTo>
                      <a:lnTo>
                        <a:pt x="845" y="989"/>
                      </a:lnTo>
                      <a:lnTo>
                        <a:pt x="844" y="991"/>
                      </a:lnTo>
                      <a:lnTo>
                        <a:pt x="842" y="991"/>
                      </a:lnTo>
                      <a:lnTo>
                        <a:pt x="842" y="992"/>
                      </a:lnTo>
                      <a:lnTo>
                        <a:pt x="841" y="992"/>
                      </a:lnTo>
                      <a:lnTo>
                        <a:pt x="841" y="993"/>
                      </a:lnTo>
                      <a:lnTo>
                        <a:pt x="841" y="994"/>
                      </a:lnTo>
                      <a:lnTo>
                        <a:pt x="840" y="994"/>
                      </a:lnTo>
                      <a:lnTo>
                        <a:pt x="841" y="994"/>
                      </a:lnTo>
                      <a:lnTo>
                        <a:pt x="842" y="994"/>
                      </a:lnTo>
                      <a:lnTo>
                        <a:pt x="842" y="993"/>
                      </a:lnTo>
                      <a:lnTo>
                        <a:pt x="842" y="992"/>
                      </a:lnTo>
                      <a:lnTo>
                        <a:pt x="844" y="992"/>
                      </a:lnTo>
                      <a:lnTo>
                        <a:pt x="842" y="992"/>
                      </a:lnTo>
                      <a:lnTo>
                        <a:pt x="842" y="991"/>
                      </a:lnTo>
                      <a:lnTo>
                        <a:pt x="844" y="991"/>
                      </a:lnTo>
                      <a:lnTo>
                        <a:pt x="844" y="992"/>
                      </a:lnTo>
                      <a:lnTo>
                        <a:pt x="844" y="993"/>
                      </a:lnTo>
                      <a:lnTo>
                        <a:pt x="844" y="994"/>
                      </a:lnTo>
                      <a:lnTo>
                        <a:pt x="844" y="995"/>
                      </a:lnTo>
                      <a:lnTo>
                        <a:pt x="844" y="996"/>
                      </a:lnTo>
                      <a:lnTo>
                        <a:pt x="844" y="998"/>
                      </a:lnTo>
                      <a:lnTo>
                        <a:pt x="845" y="998"/>
                      </a:lnTo>
                      <a:lnTo>
                        <a:pt x="845" y="996"/>
                      </a:lnTo>
                      <a:lnTo>
                        <a:pt x="846" y="998"/>
                      </a:lnTo>
                      <a:lnTo>
                        <a:pt x="846" y="999"/>
                      </a:lnTo>
                      <a:lnTo>
                        <a:pt x="847" y="999"/>
                      </a:lnTo>
                      <a:lnTo>
                        <a:pt x="848" y="999"/>
                      </a:lnTo>
                      <a:lnTo>
                        <a:pt x="849" y="999"/>
                      </a:lnTo>
                      <a:lnTo>
                        <a:pt x="848" y="999"/>
                      </a:lnTo>
                      <a:lnTo>
                        <a:pt x="848" y="1000"/>
                      </a:lnTo>
                      <a:lnTo>
                        <a:pt x="849" y="1000"/>
                      </a:lnTo>
                      <a:lnTo>
                        <a:pt x="849" y="1001"/>
                      </a:lnTo>
                      <a:lnTo>
                        <a:pt x="848" y="1001"/>
                      </a:lnTo>
                      <a:lnTo>
                        <a:pt x="848" y="1000"/>
                      </a:lnTo>
                      <a:lnTo>
                        <a:pt x="847" y="1000"/>
                      </a:lnTo>
                      <a:lnTo>
                        <a:pt x="846" y="1000"/>
                      </a:lnTo>
                      <a:lnTo>
                        <a:pt x="847" y="1000"/>
                      </a:lnTo>
                      <a:lnTo>
                        <a:pt x="847" y="1001"/>
                      </a:lnTo>
                      <a:lnTo>
                        <a:pt x="848" y="1001"/>
                      </a:lnTo>
                      <a:lnTo>
                        <a:pt x="848" y="1000"/>
                      </a:lnTo>
                      <a:lnTo>
                        <a:pt x="848" y="1001"/>
                      </a:lnTo>
                      <a:lnTo>
                        <a:pt x="847" y="1002"/>
                      </a:lnTo>
                      <a:lnTo>
                        <a:pt x="848" y="1003"/>
                      </a:lnTo>
                      <a:lnTo>
                        <a:pt x="848" y="1004"/>
                      </a:lnTo>
                      <a:lnTo>
                        <a:pt x="847" y="1003"/>
                      </a:lnTo>
                      <a:lnTo>
                        <a:pt x="846" y="1003"/>
                      </a:lnTo>
                      <a:lnTo>
                        <a:pt x="846" y="1002"/>
                      </a:lnTo>
                      <a:lnTo>
                        <a:pt x="846" y="1001"/>
                      </a:lnTo>
                      <a:lnTo>
                        <a:pt x="846" y="1002"/>
                      </a:lnTo>
                      <a:lnTo>
                        <a:pt x="847" y="1001"/>
                      </a:lnTo>
                      <a:lnTo>
                        <a:pt x="846" y="1001"/>
                      </a:lnTo>
                      <a:lnTo>
                        <a:pt x="845" y="1001"/>
                      </a:lnTo>
                      <a:lnTo>
                        <a:pt x="845" y="1000"/>
                      </a:lnTo>
                      <a:lnTo>
                        <a:pt x="844" y="1000"/>
                      </a:lnTo>
                      <a:lnTo>
                        <a:pt x="844" y="999"/>
                      </a:lnTo>
                      <a:lnTo>
                        <a:pt x="845" y="999"/>
                      </a:lnTo>
                      <a:lnTo>
                        <a:pt x="844" y="998"/>
                      </a:lnTo>
                      <a:lnTo>
                        <a:pt x="842" y="998"/>
                      </a:lnTo>
                      <a:lnTo>
                        <a:pt x="841" y="998"/>
                      </a:lnTo>
                      <a:lnTo>
                        <a:pt x="841" y="996"/>
                      </a:lnTo>
                      <a:lnTo>
                        <a:pt x="841" y="995"/>
                      </a:lnTo>
                      <a:lnTo>
                        <a:pt x="840" y="995"/>
                      </a:lnTo>
                      <a:lnTo>
                        <a:pt x="841" y="995"/>
                      </a:lnTo>
                      <a:lnTo>
                        <a:pt x="840" y="995"/>
                      </a:lnTo>
                      <a:lnTo>
                        <a:pt x="840" y="994"/>
                      </a:lnTo>
                      <a:lnTo>
                        <a:pt x="840" y="993"/>
                      </a:lnTo>
                      <a:lnTo>
                        <a:pt x="839" y="993"/>
                      </a:lnTo>
                      <a:lnTo>
                        <a:pt x="839" y="992"/>
                      </a:lnTo>
                      <a:lnTo>
                        <a:pt x="839" y="993"/>
                      </a:lnTo>
                      <a:lnTo>
                        <a:pt x="839" y="992"/>
                      </a:lnTo>
                      <a:lnTo>
                        <a:pt x="839" y="991"/>
                      </a:lnTo>
                      <a:lnTo>
                        <a:pt x="838" y="990"/>
                      </a:lnTo>
                      <a:lnTo>
                        <a:pt x="838" y="989"/>
                      </a:lnTo>
                      <a:lnTo>
                        <a:pt x="837" y="989"/>
                      </a:lnTo>
                      <a:lnTo>
                        <a:pt x="838" y="989"/>
                      </a:lnTo>
                      <a:lnTo>
                        <a:pt x="838" y="990"/>
                      </a:lnTo>
                      <a:lnTo>
                        <a:pt x="839" y="990"/>
                      </a:lnTo>
                      <a:lnTo>
                        <a:pt x="839" y="991"/>
                      </a:lnTo>
                      <a:lnTo>
                        <a:pt x="840" y="991"/>
                      </a:lnTo>
                      <a:lnTo>
                        <a:pt x="840" y="990"/>
                      </a:lnTo>
                      <a:lnTo>
                        <a:pt x="841" y="990"/>
                      </a:lnTo>
                      <a:lnTo>
                        <a:pt x="841" y="989"/>
                      </a:lnTo>
                      <a:lnTo>
                        <a:pt x="842" y="989"/>
                      </a:lnTo>
                      <a:lnTo>
                        <a:pt x="841" y="989"/>
                      </a:lnTo>
                      <a:lnTo>
                        <a:pt x="842" y="989"/>
                      </a:lnTo>
                      <a:lnTo>
                        <a:pt x="842" y="988"/>
                      </a:lnTo>
                      <a:lnTo>
                        <a:pt x="841" y="989"/>
                      </a:lnTo>
                      <a:lnTo>
                        <a:pt x="841" y="988"/>
                      </a:lnTo>
                      <a:lnTo>
                        <a:pt x="841" y="989"/>
                      </a:lnTo>
                      <a:lnTo>
                        <a:pt x="840" y="989"/>
                      </a:lnTo>
                      <a:lnTo>
                        <a:pt x="840" y="988"/>
                      </a:lnTo>
                      <a:lnTo>
                        <a:pt x="839" y="988"/>
                      </a:lnTo>
                      <a:lnTo>
                        <a:pt x="839" y="989"/>
                      </a:lnTo>
                      <a:lnTo>
                        <a:pt x="839" y="988"/>
                      </a:lnTo>
                      <a:lnTo>
                        <a:pt x="844" y="988"/>
                      </a:lnTo>
                      <a:close/>
                      <a:moveTo>
                        <a:pt x="876" y="897"/>
                      </a:moveTo>
                      <a:lnTo>
                        <a:pt x="877" y="898"/>
                      </a:lnTo>
                      <a:lnTo>
                        <a:pt x="878" y="898"/>
                      </a:lnTo>
                      <a:lnTo>
                        <a:pt x="878" y="899"/>
                      </a:lnTo>
                      <a:lnTo>
                        <a:pt x="879" y="899"/>
                      </a:lnTo>
                      <a:lnTo>
                        <a:pt x="880" y="899"/>
                      </a:lnTo>
                      <a:lnTo>
                        <a:pt x="882" y="899"/>
                      </a:lnTo>
                      <a:lnTo>
                        <a:pt x="882" y="900"/>
                      </a:lnTo>
                      <a:lnTo>
                        <a:pt x="882" y="899"/>
                      </a:lnTo>
                      <a:lnTo>
                        <a:pt x="882" y="898"/>
                      </a:lnTo>
                      <a:lnTo>
                        <a:pt x="883" y="898"/>
                      </a:lnTo>
                      <a:lnTo>
                        <a:pt x="883" y="899"/>
                      </a:lnTo>
                      <a:lnTo>
                        <a:pt x="883" y="900"/>
                      </a:lnTo>
                      <a:lnTo>
                        <a:pt x="884" y="900"/>
                      </a:lnTo>
                      <a:lnTo>
                        <a:pt x="883" y="900"/>
                      </a:lnTo>
                      <a:lnTo>
                        <a:pt x="883" y="901"/>
                      </a:lnTo>
                      <a:lnTo>
                        <a:pt x="883" y="902"/>
                      </a:lnTo>
                      <a:lnTo>
                        <a:pt x="883" y="903"/>
                      </a:lnTo>
                      <a:lnTo>
                        <a:pt x="883" y="904"/>
                      </a:lnTo>
                      <a:lnTo>
                        <a:pt x="882" y="904"/>
                      </a:lnTo>
                      <a:lnTo>
                        <a:pt x="882" y="905"/>
                      </a:lnTo>
                      <a:lnTo>
                        <a:pt x="880" y="904"/>
                      </a:lnTo>
                      <a:lnTo>
                        <a:pt x="880" y="903"/>
                      </a:lnTo>
                      <a:lnTo>
                        <a:pt x="879" y="903"/>
                      </a:lnTo>
                      <a:lnTo>
                        <a:pt x="878" y="904"/>
                      </a:lnTo>
                      <a:lnTo>
                        <a:pt x="878" y="903"/>
                      </a:lnTo>
                      <a:lnTo>
                        <a:pt x="877" y="902"/>
                      </a:lnTo>
                      <a:lnTo>
                        <a:pt x="878" y="901"/>
                      </a:lnTo>
                      <a:lnTo>
                        <a:pt x="879" y="901"/>
                      </a:lnTo>
                      <a:lnTo>
                        <a:pt x="879" y="902"/>
                      </a:lnTo>
                      <a:lnTo>
                        <a:pt x="880" y="902"/>
                      </a:lnTo>
                      <a:lnTo>
                        <a:pt x="880" y="903"/>
                      </a:lnTo>
                      <a:lnTo>
                        <a:pt x="880" y="902"/>
                      </a:lnTo>
                      <a:lnTo>
                        <a:pt x="879" y="902"/>
                      </a:lnTo>
                      <a:lnTo>
                        <a:pt x="880" y="902"/>
                      </a:lnTo>
                      <a:lnTo>
                        <a:pt x="879" y="901"/>
                      </a:lnTo>
                      <a:lnTo>
                        <a:pt x="880" y="901"/>
                      </a:lnTo>
                      <a:lnTo>
                        <a:pt x="880" y="900"/>
                      </a:lnTo>
                      <a:lnTo>
                        <a:pt x="880" y="899"/>
                      </a:lnTo>
                      <a:lnTo>
                        <a:pt x="880" y="900"/>
                      </a:lnTo>
                      <a:lnTo>
                        <a:pt x="879" y="900"/>
                      </a:lnTo>
                      <a:lnTo>
                        <a:pt x="880" y="900"/>
                      </a:lnTo>
                      <a:lnTo>
                        <a:pt x="879" y="901"/>
                      </a:lnTo>
                      <a:lnTo>
                        <a:pt x="879" y="900"/>
                      </a:lnTo>
                      <a:lnTo>
                        <a:pt x="879" y="901"/>
                      </a:lnTo>
                      <a:lnTo>
                        <a:pt x="878" y="901"/>
                      </a:lnTo>
                      <a:lnTo>
                        <a:pt x="878" y="900"/>
                      </a:lnTo>
                      <a:lnTo>
                        <a:pt x="878" y="901"/>
                      </a:lnTo>
                      <a:lnTo>
                        <a:pt x="877" y="900"/>
                      </a:lnTo>
                      <a:lnTo>
                        <a:pt x="877" y="901"/>
                      </a:lnTo>
                      <a:lnTo>
                        <a:pt x="877" y="902"/>
                      </a:lnTo>
                      <a:lnTo>
                        <a:pt x="876" y="902"/>
                      </a:lnTo>
                      <a:lnTo>
                        <a:pt x="875" y="902"/>
                      </a:lnTo>
                      <a:lnTo>
                        <a:pt x="875" y="901"/>
                      </a:lnTo>
                      <a:lnTo>
                        <a:pt x="875" y="900"/>
                      </a:lnTo>
                      <a:lnTo>
                        <a:pt x="875" y="899"/>
                      </a:lnTo>
                      <a:lnTo>
                        <a:pt x="876" y="899"/>
                      </a:lnTo>
                      <a:lnTo>
                        <a:pt x="876" y="898"/>
                      </a:lnTo>
                      <a:lnTo>
                        <a:pt x="875" y="898"/>
                      </a:lnTo>
                      <a:lnTo>
                        <a:pt x="874" y="898"/>
                      </a:lnTo>
                      <a:lnTo>
                        <a:pt x="874" y="899"/>
                      </a:lnTo>
                      <a:lnTo>
                        <a:pt x="874" y="898"/>
                      </a:lnTo>
                      <a:lnTo>
                        <a:pt x="874" y="897"/>
                      </a:lnTo>
                      <a:lnTo>
                        <a:pt x="875" y="897"/>
                      </a:lnTo>
                      <a:lnTo>
                        <a:pt x="876" y="897"/>
                      </a:lnTo>
                      <a:lnTo>
                        <a:pt x="876" y="896"/>
                      </a:lnTo>
                      <a:lnTo>
                        <a:pt x="876" y="897"/>
                      </a:lnTo>
                      <a:close/>
                      <a:moveTo>
                        <a:pt x="814" y="955"/>
                      </a:moveTo>
                      <a:lnTo>
                        <a:pt x="815" y="955"/>
                      </a:lnTo>
                      <a:lnTo>
                        <a:pt x="816" y="955"/>
                      </a:lnTo>
                      <a:lnTo>
                        <a:pt x="816" y="956"/>
                      </a:lnTo>
                      <a:lnTo>
                        <a:pt x="818" y="956"/>
                      </a:lnTo>
                      <a:lnTo>
                        <a:pt x="819" y="958"/>
                      </a:lnTo>
                      <a:lnTo>
                        <a:pt x="820" y="961"/>
                      </a:lnTo>
                      <a:lnTo>
                        <a:pt x="820" y="962"/>
                      </a:lnTo>
                      <a:lnTo>
                        <a:pt x="819" y="962"/>
                      </a:lnTo>
                      <a:lnTo>
                        <a:pt x="820" y="962"/>
                      </a:lnTo>
                      <a:lnTo>
                        <a:pt x="819" y="961"/>
                      </a:lnTo>
                      <a:lnTo>
                        <a:pt x="819" y="960"/>
                      </a:lnTo>
                      <a:lnTo>
                        <a:pt x="819" y="958"/>
                      </a:lnTo>
                      <a:lnTo>
                        <a:pt x="818" y="958"/>
                      </a:lnTo>
                      <a:lnTo>
                        <a:pt x="818" y="957"/>
                      </a:lnTo>
                      <a:lnTo>
                        <a:pt x="816" y="957"/>
                      </a:lnTo>
                      <a:lnTo>
                        <a:pt x="816" y="958"/>
                      </a:lnTo>
                      <a:lnTo>
                        <a:pt x="816" y="960"/>
                      </a:lnTo>
                      <a:lnTo>
                        <a:pt x="818" y="960"/>
                      </a:lnTo>
                      <a:lnTo>
                        <a:pt x="818" y="961"/>
                      </a:lnTo>
                      <a:lnTo>
                        <a:pt x="819" y="961"/>
                      </a:lnTo>
                      <a:lnTo>
                        <a:pt x="819" y="962"/>
                      </a:lnTo>
                      <a:lnTo>
                        <a:pt x="820" y="962"/>
                      </a:lnTo>
                      <a:lnTo>
                        <a:pt x="820" y="963"/>
                      </a:lnTo>
                      <a:lnTo>
                        <a:pt x="821" y="964"/>
                      </a:lnTo>
                      <a:lnTo>
                        <a:pt x="822" y="964"/>
                      </a:lnTo>
                      <a:lnTo>
                        <a:pt x="820" y="963"/>
                      </a:lnTo>
                      <a:lnTo>
                        <a:pt x="820" y="962"/>
                      </a:lnTo>
                      <a:lnTo>
                        <a:pt x="820" y="963"/>
                      </a:lnTo>
                      <a:lnTo>
                        <a:pt x="821" y="963"/>
                      </a:lnTo>
                      <a:lnTo>
                        <a:pt x="822" y="963"/>
                      </a:lnTo>
                      <a:lnTo>
                        <a:pt x="822" y="964"/>
                      </a:lnTo>
                      <a:lnTo>
                        <a:pt x="822" y="965"/>
                      </a:lnTo>
                      <a:lnTo>
                        <a:pt x="823" y="965"/>
                      </a:lnTo>
                      <a:lnTo>
                        <a:pt x="823" y="966"/>
                      </a:lnTo>
                      <a:lnTo>
                        <a:pt x="823" y="965"/>
                      </a:lnTo>
                      <a:lnTo>
                        <a:pt x="822" y="965"/>
                      </a:lnTo>
                      <a:lnTo>
                        <a:pt x="821" y="965"/>
                      </a:lnTo>
                      <a:lnTo>
                        <a:pt x="820" y="965"/>
                      </a:lnTo>
                      <a:lnTo>
                        <a:pt x="820" y="964"/>
                      </a:lnTo>
                      <a:lnTo>
                        <a:pt x="819" y="964"/>
                      </a:lnTo>
                      <a:lnTo>
                        <a:pt x="819" y="963"/>
                      </a:lnTo>
                      <a:lnTo>
                        <a:pt x="818" y="963"/>
                      </a:lnTo>
                      <a:lnTo>
                        <a:pt x="818" y="962"/>
                      </a:lnTo>
                      <a:lnTo>
                        <a:pt x="816" y="962"/>
                      </a:lnTo>
                      <a:lnTo>
                        <a:pt x="816" y="961"/>
                      </a:lnTo>
                      <a:lnTo>
                        <a:pt x="815" y="961"/>
                      </a:lnTo>
                      <a:lnTo>
                        <a:pt x="815" y="960"/>
                      </a:lnTo>
                      <a:lnTo>
                        <a:pt x="815" y="958"/>
                      </a:lnTo>
                      <a:lnTo>
                        <a:pt x="814" y="958"/>
                      </a:lnTo>
                      <a:lnTo>
                        <a:pt x="814" y="957"/>
                      </a:lnTo>
                      <a:lnTo>
                        <a:pt x="813" y="956"/>
                      </a:lnTo>
                      <a:lnTo>
                        <a:pt x="812" y="956"/>
                      </a:lnTo>
                      <a:lnTo>
                        <a:pt x="811" y="955"/>
                      </a:lnTo>
                      <a:lnTo>
                        <a:pt x="812" y="953"/>
                      </a:lnTo>
                      <a:lnTo>
                        <a:pt x="814" y="954"/>
                      </a:lnTo>
                      <a:lnTo>
                        <a:pt x="814" y="955"/>
                      </a:lnTo>
                      <a:close/>
                      <a:moveTo>
                        <a:pt x="877" y="995"/>
                      </a:moveTo>
                      <a:lnTo>
                        <a:pt x="878" y="996"/>
                      </a:lnTo>
                      <a:lnTo>
                        <a:pt x="879" y="996"/>
                      </a:lnTo>
                      <a:lnTo>
                        <a:pt x="879" y="995"/>
                      </a:lnTo>
                      <a:lnTo>
                        <a:pt x="879" y="996"/>
                      </a:lnTo>
                      <a:lnTo>
                        <a:pt x="880" y="996"/>
                      </a:lnTo>
                      <a:lnTo>
                        <a:pt x="880" y="998"/>
                      </a:lnTo>
                      <a:lnTo>
                        <a:pt x="882" y="998"/>
                      </a:lnTo>
                      <a:lnTo>
                        <a:pt x="883" y="998"/>
                      </a:lnTo>
                      <a:lnTo>
                        <a:pt x="883" y="996"/>
                      </a:lnTo>
                      <a:lnTo>
                        <a:pt x="882" y="996"/>
                      </a:lnTo>
                      <a:lnTo>
                        <a:pt x="883" y="996"/>
                      </a:lnTo>
                      <a:lnTo>
                        <a:pt x="884" y="998"/>
                      </a:lnTo>
                      <a:lnTo>
                        <a:pt x="885" y="998"/>
                      </a:lnTo>
                      <a:lnTo>
                        <a:pt x="884" y="998"/>
                      </a:lnTo>
                      <a:lnTo>
                        <a:pt x="885" y="998"/>
                      </a:lnTo>
                      <a:lnTo>
                        <a:pt x="886" y="998"/>
                      </a:lnTo>
                      <a:lnTo>
                        <a:pt x="887" y="998"/>
                      </a:lnTo>
                      <a:lnTo>
                        <a:pt x="887" y="999"/>
                      </a:lnTo>
                      <a:lnTo>
                        <a:pt x="887" y="1000"/>
                      </a:lnTo>
                      <a:lnTo>
                        <a:pt x="886" y="999"/>
                      </a:lnTo>
                      <a:lnTo>
                        <a:pt x="887" y="1000"/>
                      </a:lnTo>
                      <a:lnTo>
                        <a:pt x="887" y="1001"/>
                      </a:lnTo>
                      <a:lnTo>
                        <a:pt x="888" y="1001"/>
                      </a:lnTo>
                      <a:lnTo>
                        <a:pt x="888" y="1002"/>
                      </a:lnTo>
                      <a:lnTo>
                        <a:pt x="887" y="1002"/>
                      </a:lnTo>
                      <a:lnTo>
                        <a:pt x="887" y="1003"/>
                      </a:lnTo>
                      <a:lnTo>
                        <a:pt x="886" y="1004"/>
                      </a:lnTo>
                      <a:lnTo>
                        <a:pt x="885" y="1004"/>
                      </a:lnTo>
                      <a:lnTo>
                        <a:pt x="884" y="1004"/>
                      </a:lnTo>
                      <a:lnTo>
                        <a:pt x="884" y="1003"/>
                      </a:lnTo>
                      <a:lnTo>
                        <a:pt x="885" y="1003"/>
                      </a:lnTo>
                      <a:lnTo>
                        <a:pt x="886" y="1003"/>
                      </a:lnTo>
                      <a:lnTo>
                        <a:pt x="887" y="1002"/>
                      </a:lnTo>
                      <a:lnTo>
                        <a:pt x="886" y="1002"/>
                      </a:lnTo>
                      <a:lnTo>
                        <a:pt x="886" y="1003"/>
                      </a:lnTo>
                      <a:lnTo>
                        <a:pt x="886" y="1002"/>
                      </a:lnTo>
                      <a:lnTo>
                        <a:pt x="886" y="1003"/>
                      </a:lnTo>
                      <a:lnTo>
                        <a:pt x="886" y="1002"/>
                      </a:lnTo>
                      <a:lnTo>
                        <a:pt x="885" y="1002"/>
                      </a:lnTo>
                      <a:lnTo>
                        <a:pt x="886" y="1001"/>
                      </a:lnTo>
                      <a:lnTo>
                        <a:pt x="887" y="1002"/>
                      </a:lnTo>
                      <a:lnTo>
                        <a:pt x="887" y="1001"/>
                      </a:lnTo>
                      <a:lnTo>
                        <a:pt x="886" y="1001"/>
                      </a:lnTo>
                      <a:lnTo>
                        <a:pt x="885" y="1002"/>
                      </a:lnTo>
                      <a:lnTo>
                        <a:pt x="885" y="1001"/>
                      </a:lnTo>
                      <a:lnTo>
                        <a:pt x="885" y="1000"/>
                      </a:lnTo>
                      <a:lnTo>
                        <a:pt x="884" y="1000"/>
                      </a:lnTo>
                      <a:lnTo>
                        <a:pt x="883" y="1000"/>
                      </a:lnTo>
                      <a:lnTo>
                        <a:pt x="883" y="999"/>
                      </a:lnTo>
                      <a:lnTo>
                        <a:pt x="883" y="1000"/>
                      </a:lnTo>
                      <a:lnTo>
                        <a:pt x="882" y="999"/>
                      </a:lnTo>
                      <a:lnTo>
                        <a:pt x="880" y="999"/>
                      </a:lnTo>
                      <a:lnTo>
                        <a:pt x="879" y="999"/>
                      </a:lnTo>
                      <a:lnTo>
                        <a:pt x="878" y="999"/>
                      </a:lnTo>
                      <a:lnTo>
                        <a:pt x="878" y="998"/>
                      </a:lnTo>
                      <a:lnTo>
                        <a:pt x="878" y="999"/>
                      </a:lnTo>
                      <a:lnTo>
                        <a:pt x="877" y="999"/>
                      </a:lnTo>
                      <a:lnTo>
                        <a:pt x="876" y="999"/>
                      </a:lnTo>
                      <a:lnTo>
                        <a:pt x="876" y="998"/>
                      </a:lnTo>
                      <a:lnTo>
                        <a:pt x="876" y="996"/>
                      </a:lnTo>
                      <a:lnTo>
                        <a:pt x="875" y="996"/>
                      </a:lnTo>
                      <a:lnTo>
                        <a:pt x="876" y="995"/>
                      </a:lnTo>
                      <a:lnTo>
                        <a:pt x="877" y="995"/>
                      </a:lnTo>
                      <a:close/>
                      <a:moveTo>
                        <a:pt x="674" y="1031"/>
                      </a:moveTo>
                      <a:lnTo>
                        <a:pt x="673" y="1031"/>
                      </a:lnTo>
                      <a:lnTo>
                        <a:pt x="673" y="1032"/>
                      </a:lnTo>
                      <a:lnTo>
                        <a:pt x="673" y="1033"/>
                      </a:lnTo>
                      <a:lnTo>
                        <a:pt x="672" y="1033"/>
                      </a:lnTo>
                      <a:lnTo>
                        <a:pt x="672" y="1034"/>
                      </a:lnTo>
                      <a:lnTo>
                        <a:pt x="672" y="1035"/>
                      </a:lnTo>
                      <a:lnTo>
                        <a:pt x="671" y="1037"/>
                      </a:lnTo>
                      <a:lnTo>
                        <a:pt x="671" y="1039"/>
                      </a:lnTo>
                      <a:lnTo>
                        <a:pt x="671" y="1040"/>
                      </a:lnTo>
                      <a:lnTo>
                        <a:pt x="671" y="1041"/>
                      </a:lnTo>
                      <a:lnTo>
                        <a:pt x="671" y="1042"/>
                      </a:lnTo>
                      <a:lnTo>
                        <a:pt x="671" y="1043"/>
                      </a:lnTo>
                      <a:lnTo>
                        <a:pt x="670" y="1044"/>
                      </a:lnTo>
                      <a:lnTo>
                        <a:pt x="669" y="1045"/>
                      </a:lnTo>
                      <a:lnTo>
                        <a:pt x="669" y="1044"/>
                      </a:lnTo>
                      <a:lnTo>
                        <a:pt x="670" y="1044"/>
                      </a:lnTo>
                      <a:lnTo>
                        <a:pt x="670" y="1043"/>
                      </a:lnTo>
                      <a:lnTo>
                        <a:pt x="669" y="1043"/>
                      </a:lnTo>
                      <a:lnTo>
                        <a:pt x="669" y="1042"/>
                      </a:lnTo>
                      <a:lnTo>
                        <a:pt x="670" y="1042"/>
                      </a:lnTo>
                      <a:lnTo>
                        <a:pt x="669" y="1042"/>
                      </a:lnTo>
                      <a:lnTo>
                        <a:pt x="669" y="1041"/>
                      </a:lnTo>
                      <a:lnTo>
                        <a:pt x="670" y="1041"/>
                      </a:lnTo>
                      <a:lnTo>
                        <a:pt x="670" y="1040"/>
                      </a:lnTo>
                      <a:lnTo>
                        <a:pt x="670" y="1039"/>
                      </a:lnTo>
                      <a:lnTo>
                        <a:pt x="670" y="1038"/>
                      </a:lnTo>
                      <a:lnTo>
                        <a:pt x="670" y="1037"/>
                      </a:lnTo>
                      <a:lnTo>
                        <a:pt x="670" y="1035"/>
                      </a:lnTo>
                      <a:lnTo>
                        <a:pt x="669" y="1035"/>
                      </a:lnTo>
                      <a:lnTo>
                        <a:pt x="669" y="1034"/>
                      </a:lnTo>
                      <a:lnTo>
                        <a:pt x="668" y="1034"/>
                      </a:lnTo>
                      <a:lnTo>
                        <a:pt x="668" y="1033"/>
                      </a:lnTo>
                      <a:lnTo>
                        <a:pt x="668" y="1032"/>
                      </a:lnTo>
                      <a:lnTo>
                        <a:pt x="668" y="1031"/>
                      </a:lnTo>
                      <a:lnTo>
                        <a:pt x="669" y="1031"/>
                      </a:lnTo>
                      <a:lnTo>
                        <a:pt x="670" y="1031"/>
                      </a:lnTo>
                      <a:lnTo>
                        <a:pt x="670" y="1032"/>
                      </a:lnTo>
                      <a:lnTo>
                        <a:pt x="670" y="1033"/>
                      </a:lnTo>
                      <a:lnTo>
                        <a:pt x="671" y="1033"/>
                      </a:lnTo>
                      <a:lnTo>
                        <a:pt x="671" y="1032"/>
                      </a:lnTo>
                      <a:lnTo>
                        <a:pt x="672" y="1032"/>
                      </a:lnTo>
                      <a:lnTo>
                        <a:pt x="673" y="1032"/>
                      </a:lnTo>
                      <a:lnTo>
                        <a:pt x="673" y="1031"/>
                      </a:lnTo>
                      <a:lnTo>
                        <a:pt x="674" y="1031"/>
                      </a:lnTo>
                      <a:close/>
                      <a:moveTo>
                        <a:pt x="877" y="902"/>
                      </a:moveTo>
                      <a:lnTo>
                        <a:pt x="878" y="903"/>
                      </a:lnTo>
                      <a:lnTo>
                        <a:pt x="878" y="904"/>
                      </a:lnTo>
                      <a:lnTo>
                        <a:pt x="879" y="904"/>
                      </a:lnTo>
                      <a:lnTo>
                        <a:pt x="878" y="905"/>
                      </a:lnTo>
                      <a:lnTo>
                        <a:pt x="879" y="905"/>
                      </a:lnTo>
                      <a:lnTo>
                        <a:pt x="879" y="906"/>
                      </a:lnTo>
                      <a:lnTo>
                        <a:pt x="880" y="906"/>
                      </a:lnTo>
                      <a:lnTo>
                        <a:pt x="880" y="905"/>
                      </a:lnTo>
                      <a:lnTo>
                        <a:pt x="879" y="905"/>
                      </a:lnTo>
                      <a:lnTo>
                        <a:pt x="879" y="904"/>
                      </a:lnTo>
                      <a:lnTo>
                        <a:pt x="879" y="903"/>
                      </a:lnTo>
                      <a:lnTo>
                        <a:pt x="880" y="904"/>
                      </a:lnTo>
                      <a:lnTo>
                        <a:pt x="880" y="905"/>
                      </a:lnTo>
                      <a:lnTo>
                        <a:pt x="882" y="905"/>
                      </a:lnTo>
                      <a:lnTo>
                        <a:pt x="882" y="904"/>
                      </a:lnTo>
                      <a:lnTo>
                        <a:pt x="883" y="904"/>
                      </a:lnTo>
                      <a:lnTo>
                        <a:pt x="883" y="905"/>
                      </a:lnTo>
                      <a:lnTo>
                        <a:pt x="883" y="906"/>
                      </a:lnTo>
                      <a:lnTo>
                        <a:pt x="884" y="906"/>
                      </a:lnTo>
                      <a:lnTo>
                        <a:pt x="885" y="906"/>
                      </a:lnTo>
                      <a:lnTo>
                        <a:pt x="885" y="907"/>
                      </a:lnTo>
                      <a:lnTo>
                        <a:pt x="884" y="907"/>
                      </a:lnTo>
                      <a:lnTo>
                        <a:pt x="883" y="907"/>
                      </a:lnTo>
                      <a:lnTo>
                        <a:pt x="883" y="909"/>
                      </a:lnTo>
                      <a:lnTo>
                        <a:pt x="882" y="910"/>
                      </a:lnTo>
                      <a:lnTo>
                        <a:pt x="882" y="911"/>
                      </a:lnTo>
                      <a:lnTo>
                        <a:pt x="880" y="911"/>
                      </a:lnTo>
                      <a:lnTo>
                        <a:pt x="880" y="912"/>
                      </a:lnTo>
                      <a:lnTo>
                        <a:pt x="882" y="913"/>
                      </a:lnTo>
                      <a:lnTo>
                        <a:pt x="880" y="913"/>
                      </a:lnTo>
                      <a:lnTo>
                        <a:pt x="880" y="912"/>
                      </a:lnTo>
                      <a:lnTo>
                        <a:pt x="880" y="911"/>
                      </a:lnTo>
                      <a:lnTo>
                        <a:pt x="880" y="910"/>
                      </a:lnTo>
                      <a:lnTo>
                        <a:pt x="880" y="909"/>
                      </a:lnTo>
                      <a:lnTo>
                        <a:pt x="880" y="907"/>
                      </a:lnTo>
                      <a:lnTo>
                        <a:pt x="880" y="909"/>
                      </a:lnTo>
                      <a:lnTo>
                        <a:pt x="879" y="907"/>
                      </a:lnTo>
                      <a:lnTo>
                        <a:pt x="879" y="906"/>
                      </a:lnTo>
                      <a:lnTo>
                        <a:pt x="878" y="906"/>
                      </a:lnTo>
                      <a:lnTo>
                        <a:pt x="877" y="906"/>
                      </a:lnTo>
                      <a:lnTo>
                        <a:pt x="878" y="906"/>
                      </a:lnTo>
                      <a:lnTo>
                        <a:pt x="877" y="904"/>
                      </a:lnTo>
                      <a:lnTo>
                        <a:pt x="877" y="903"/>
                      </a:lnTo>
                      <a:lnTo>
                        <a:pt x="876" y="903"/>
                      </a:lnTo>
                      <a:lnTo>
                        <a:pt x="876" y="902"/>
                      </a:lnTo>
                      <a:lnTo>
                        <a:pt x="875" y="902"/>
                      </a:lnTo>
                      <a:lnTo>
                        <a:pt x="876" y="902"/>
                      </a:lnTo>
                      <a:lnTo>
                        <a:pt x="877" y="902"/>
                      </a:lnTo>
                      <a:lnTo>
                        <a:pt x="877" y="901"/>
                      </a:lnTo>
                      <a:lnTo>
                        <a:pt x="878" y="901"/>
                      </a:lnTo>
                      <a:lnTo>
                        <a:pt x="877" y="902"/>
                      </a:lnTo>
                      <a:close/>
                      <a:moveTo>
                        <a:pt x="697" y="1140"/>
                      </a:moveTo>
                      <a:lnTo>
                        <a:pt x="698" y="1140"/>
                      </a:lnTo>
                      <a:lnTo>
                        <a:pt x="699" y="1140"/>
                      </a:lnTo>
                      <a:lnTo>
                        <a:pt x="700" y="1140"/>
                      </a:lnTo>
                      <a:lnTo>
                        <a:pt x="699" y="1141"/>
                      </a:lnTo>
                      <a:lnTo>
                        <a:pt x="698" y="1141"/>
                      </a:lnTo>
                      <a:lnTo>
                        <a:pt x="697" y="1142"/>
                      </a:lnTo>
                      <a:lnTo>
                        <a:pt x="696" y="1142"/>
                      </a:lnTo>
                      <a:lnTo>
                        <a:pt x="695" y="1142"/>
                      </a:lnTo>
                      <a:lnTo>
                        <a:pt x="694" y="1142"/>
                      </a:lnTo>
                      <a:lnTo>
                        <a:pt x="692" y="1142"/>
                      </a:lnTo>
                      <a:lnTo>
                        <a:pt x="690" y="1142"/>
                      </a:lnTo>
                      <a:lnTo>
                        <a:pt x="689" y="1142"/>
                      </a:lnTo>
                      <a:lnTo>
                        <a:pt x="689" y="1141"/>
                      </a:lnTo>
                      <a:lnTo>
                        <a:pt x="690" y="1141"/>
                      </a:lnTo>
                      <a:lnTo>
                        <a:pt x="691" y="1141"/>
                      </a:lnTo>
                      <a:lnTo>
                        <a:pt x="691" y="1140"/>
                      </a:lnTo>
                      <a:lnTo>
                        <a:pt x="692" y="1140"/>
                      </a:lnTo>
                      <a:lnTo>
                        <a:pt x="694" y="1140"/>
                      </a:lnTo>
                      <a:lnTo>
                        <a:pt x="695" y="1140"/>
                      </a:lnTo>
                      <a:lnTo>
                        <a:pt x="696" y="1140"/>
                      </a:lnTo>
                      <a:lnTo>
                        <a:pt x="696" y="1138"/>
                      </a:lnTo>
                      <a:lnTo>
                        <a:pt x="697" y="1138"/>
                      </a:lnTo>
                      <a:lnTo>
                        <a:pt x="697" y="1140"/>
                      </a:lnTo>
                      <a:close/>
                      <a:moveTo>
                        <a:pt x="787" y="863"/>
                      </a:moveTo>
                      <a:lnTo>
                        <a:pt x="787" y="864"/>
                      </a:lnTo>
                      <a:lnTo>
                        <a:pt x="787" y="865"/>
                      </a:lnTo>
                      <a:lnTo>
                        <a:pt x="787" y="866"/>
                      </a:lnTo>
                      <a:lnTo>
                        <a:pt x="787" y="867"/>
                      </a:lnTo>
                      <a:lnTo>
                        <a:pt x="788" y="867"/>
                      </a:lnTo>
                      <a:lnTo>
                        <a:pt x="789" y="867"/>
                      </a:lnTo>
                      <a:lnTo>
                        <a:pt x="789" y="868"/>
                      </a:lnTo>
                      <a:lnTo>
                        <a:pt x="788" y="868"/>
                      </a:lnTo>
                      <a:lnTo>
                        <a:pt x="787" y="868"/>
                      </a:lnTo>
                      <a:lnTo>
                        <a:pt x="787" y="867"/>
                      </a:lnTo>
                      <a:lnTo>
                        <a:pt x="786" y="867"/>
                      </a:lnTo>
                      <a:lnTo>
                        <a:pt x="785" y="867"/>
                      </a:lnTo>
                      <a:lnTo>
                        <a:pt x="785" y="866"/>
                      </a:lnTo>
                      <a:lnTo>
                        <a:pt x="784" y="866"/>
                      </a:lnTo>
                      <a:lnTo>
                        <a:pt x="783" y="866"/>
                      </a:lnTo>
                      <a:lnTo>
                        <a:pt x="782" y="865"/>
                      </a:lnTo>
                      <a:lnTo>
                        <a:pt x="781" y="865"/>
                      </a:lnTo>
                      <a:lnTo>
                        <a:pt x="780" y="865"/>
                      </a:lnTo>
                      <a:lnTo>
                        <a:pt x="780" y="864"/>
                      </a:lnTo>
                      <a:lnTo>
                        <a:pt x="781" y="864"/>
                      </a:lnTo>
                      <a:lnTo>
                        <a:pt x="782" y="864"/>
                      </a:lnTo>
                      <a:lnTo>
                        <a:pt x="782" y="863"/>
                      </a:lnTo>
                      <a:lnTo>
                        <a:pt x="783" y="863"/>
                      </a:lnTo>
                      <a:lnTo>
                        <a:pt x="783" y="864"/>
                      </a:lnTo>
                      <a:lnTo>
                        <a:pt x="784" y="864"/>
                      </a:lnTo>
                      <a:lnTo>
                        <a:pt x="785" y="864"/>
                      </a:lnTo>
                      <a:lnTo>
                        <a:pt x="785" y="863"/>
                      </a:lnTo>
                      <a:lnTo>
                        <a:pt x="786" y="863"/>
                      </a:lnTo>
                      <a:lnTo>
                        <a:pt x="787" y="863"/>
                      </a:lnTo>
                      <a:close/>
                      <a:moveTo>
                        <a:pt x="871" y="989"/>
                      </a:moveTo>
                      <a:lnTo>
                        <a:pt x="872" y="989"/>
                      </a:lnTo>
                      <a:lnTo>
                        <a:pt x="872" y="990"/>
                      </a:lnTo>
                      <a:lnTo>
                        <a:pt x="873" y="992"/>
                      </a:lnTo>
                      <a:lnTo>
                        <a:pt x="874" y="993"/>
                      </a:lnTo>
                      <a:lnTo>
                        <a:pt x="875" y="993"/>
                      </a:lnTo>
                      <a:lnTo>
                        <a:pt x="876" y="994"/>
                      </a:lnTo>
                      <a:lnTo>
                        <a:pt x="875" y="994"/>
                      </a:lnTo>
                      <a:lnTo>
                        <a:pt x="875" y="995"/>
                      </a:lnTo>
                      <a:lnTo>
                        <a:pt x="876" y="995"/>
                      </a:lnTo>
                      <a:lnTo>
                        <a:pt x="875" y="996"/>
                      </a:lnTo>
                      <a:lnTo>
                        <a:pt x="874" y="995"/>
                      </a:lnTo>
                      <a:lnTo>
                        <a:pt x="873" y="996"/>
                      </a:lnTo>
                      <a:lnTo>
                        <a:pt x="873" y="998"/>
                      </a:lnTo>
                      <a:lnTo>
                        <a:pt x="874" y="998"/>
                      </a:lnTo>
                      <a:lnTo>
                        <a:pt x="873" y="998"/>
                      </a:lnTo>
                      <a:lnTo>
                        <a:pt x="873" y="996"/>
                      </a:lnTo>
                      <a:lnTo>
                        <a:pt x="872" y="996"/>
                      </a:lnTo>
                      <a:lnTo>
                        <a:pt x="871" y="996"/>
                      </a:lnTo>
                      <a:lnTo>
                        <a:pt x="870" y="996"/>
                      </a:lnTo>
                      <a:lnTo>
                        <a:pt x="870" y="995"/>
                      </a:lnTo>
                      <a:lnTo>
                        <a:pt x="871" y="995"/>
                      </a:lnTo>
                      <a:lnTo>
                        <a:pt x="870" y="995"/>
                      </a:lnTo>
                      <a:lnTo>
                        <a:pt x="870" y="994"/>
                      </a:lnTo>
                      <a:lnTo>
                        <a:pt x="871" y="994"/>
                      </a:lnTo>
                      <a:lnTo>
                        <a:pt x="872" y="994"/>
                      </a:lnTo>
                      <a:lnTo>
                        <a:pt x="872" y="993"/>
                      </a:lnTo>
                      <a:lnTo>
                        <a:pt x="871" y="993"/>
                      </a:lnTo>
                      <a:lnTo>
                        <a:pt x="872" y="993"/>
                      </a:lnTo>
                      <a:lnTo>
                        <a:pt x="872" y="994"/>
                      </a:lnTo>
                      <a:lnTo>
                        <a:pt x="873" y="994"/>
                      </a:lnTo>
                      <a:lnTo>
                        <a:pt x="873" y="993"/>
                      </a:lnTo>
                      <a:lnTo>
                        <a:pt x="873" y="992"/>
                      </a:lnTo>
                      <a:lnTo>
                        <a:pt x="872" y="992"/>
                      </a:lnTo>
                      <a:lnTo>
                        <a:pt x="872" y="991"/>
                      </a:lnTo>
                      <a:lnTo>
                        <a:pt x="871" y="991"/>
                      </a:lnTo>
                      <a:lnTo>
                        <a:pt x="871" y="990"/>
                      </a:lnTo>
                      <a:lnTo>
                        <a:pt x="870" y="989"/>
                      </a:lnTo>
                      <a:lnTo>
                        <a:pt x="869" y="989"/>
                      </a:lnTo>
                      <a:lnTo>
                        <a:pt x="870" y="989"/>
                      </a:lnTo>
                      <a:lnTo>
                        <a:pt x="871" y="989"/>
                      </a:lnTo>
                      <a:close/>
                      <a:moveTo>
                        <a:pt x="743" y="1063"/>
                      </a:moveTo>
                      <a:lnTo>
                        <a:pt x="744" y="1063"/>
                      </a:lnTo>
                      <a:lnTo>
                        <a:pt x="744" y="1060"/>
                      </a:lnTo>
                      <a:lnTo>
                        <a:pt x="745" y="1060"/>
                      </a:lnTo>
                      <a:lnTo>
                        <a:pt x="745" y="1059"/>
                      </a:lnTo>
                      <a:lnTo>
                        <a:pt x="746" y="1059"/>
                      </a:lnTo>
                      <a:lnTo>
                        <a:pt x="746" y="1058"/>
                      </a:lnTo>
                      <a:lnTo>
                        <a:pt x="747" y="1059"/>
                      </a:lnTo>
                      <a:lnTo>
                        <a:pt x="747" y="1060"/>
                      </a:lnTo>
                      <a:lnTo>
                        <a:pt x="746" y="1061"/>
                      </a:lnTo>
                      <a:lnTo>
                        <a:pt x="746" y="1063"/>
                      </a:lnTo>
                      <a:lnTo>
                        <a:pt x="746" y="1064"/>
                      </a:lnTo>
                      <a:lnTo>
                        <a:pt x="745" y="1065"/>
                      </a:lnTo>
                      <a:lnTo>
                        <a:pt x="744" y="1064"/>
                      </a:lnTo>
                      <a:lnTo>
                        <a:pt x="743" y="1063"/>
                      </a:lnTo>
                      <a:lnTo>
                        <a:pt x="741" y="1063"/>
                      </a:lnTo>
                      <a:lnTo>
                        <a:pt x="741" y="1061"/>
                      </a:lnTo>
                      <a:lnTo>
                        <a:pt x="740" y="1060"/>
                      </a:lnTo>
                      <a:lnTo>
                        <a:pt x="738" y="1060"/>
                      </a:lnTo>
                      <a:lnTo>
                        <a:pt x="738" y="1059"/>
                      </a:lnTo>
                      <a:lnTo>
                        <a:pt x="738" y="1058"/>
                      </a:lnTo>
                      <a:lnTo>
                        <a:pt x="740" y="1058"/>
                      </a:lnTo>
                      <a:lnTo>
                        <a:pt x="740" y="1059"/>
                      </a:lnTo>
                      <a:lnTo>
                        <a:pt x="741" y="1060"/>
                      </a:lnTo>
                      <a:lnTo>
                        <a:pt x="742" y="1060"/>
                      </a:lnTo>
                      <a:lnTo>
                        <a:pt x="742" y="1061"/>
                      </a:lnTo>
                      <a:lnTo>
                        <a:pt x="743" y="1061"/>
                      </a:lnTo>
                      <a:lnTo>
                        <a:pt x="743" y="1063"/>
                      </a:lnTo>
                      <a:close/>
                      <a:moveTo>
                        <a:pt x="740" y="1090"/>
                      </a:moveTo>
                      <a:lnTo>
                        <a:pt x="738" y="1090"/>
                      </a:lnTo>
                      <a:lnTo>
                        <a:pt x="737" y="1090"/>
                      </a:lnTo>
                      <a:lnTo>
                        <a:pt x="736" y="1090"/>
                      </a:lnTo>
                      <a:lnTo>
                        <a:pt x="735" y="1091"/>
                      </a:lnTo>
                      <a:lnTo>
                        <a:pt x="734" y="1090"/>
                      </a:lnTo>
                      <a:lnTo>
                        <a:pt x="735" y="1089"/>
                      </a:lnTo>
                      <a:lnTo>
                        <a:pt x="736" y="1088"/>
                      </a:lnTo>
                      <a:lnTo>
                        <a:pt x="737" y="1088"/>
                      </a:lnTo>
                      <a:lnTo>
                        <a:pt x="736" y="1088"/>
                      </a:lnTo>
                      <a:lnTo>
                        <a:pt x="737" y="1088"/>
                      </a:lnTo>
                      <a:lnTo>
                        <a:pt x="737" y="1086"/>
                      </a:lnTo>
                      <a:lnTo>
                        <a:pt x="737" y="1085"/>
                      </a:lnTo>
                      <a:lnTo>
                        <a:pt x="737" y="1084"/>
                      </a:lnTo>
                      <a:lnTo>
                        <a:pt x="738" y="1084"/>
                      </a:lnTo>
                      <a:lnTo>
                        <a:pt x="738" y="1085"/>
                      </a:lnTo>
                      <a:lnTo>
                        <a:pt x="740" y="1086"/>
                      </a:lnTo>
                      <a:lnTo>
                        <a:pt x="741" y="1086"/>
                      </a:lnTo>
                      <a:lnTo>
                        <a:pt x="742" y="1086"/>
                      </a:lnTo>
                      <a:lnTo>
                        <a:pt x="742" y="1088"/>
                      </a:lnTo>
                      <a:lnTo>
                        <a:pt x="741" y="1089"/>
                      </a:lnTo>
                      <a:lnTo>
                        <a:pt x="740" y="1089"/>
                      </a:lnTo>
                      <a:lnTo>
                        <a:pt x="740" y="1090"/>
                      </a:lnTo>
                      <a:close/>
                      <a:moveTo>
                        <a:pt x="891" y="1003"/>
                      </a:moveTo>
                      <a:lnTo>
                        <a:pt x="892" y="1004"/>
                      </a:lnTo>
                      <a:lnTo>
                        <a:pt x="893" y="1004"/>
                      </a:lnTo>
                      <a:lnTo>
                        <a:pt x="893" y="1003"/>
                      </a:lnTo>
                      <a:lnTo>
                        <a:pt x="895" y="1003"/>
                      </a:lnTo>
                      <a:lnTo>
                        <a:pt x="893" y="1004"/>
                      </a:lnTo>
                      <a:lnTo>
                        <a:pt x="892" y="1004"/>
                      </a:lnTo>
                      <a:lnTo>
                        <a:pt x="892" y="1006"/>
                      </a:lnTo>
                      <a:lnTo>
                        <a:pt x="893" y="1006"/>
                      </a:lnTo>
                      <a:lnTo>
                        <a:pt x="893" y="1007"/>
                      </a:lnTo>
                      <a:lnTo>
                        <a:pt x="893" y="1008"/>
                      </a:lnTo>
                      <a:lnTo>
                        <a:pt x="895" y="1008"/>
                      </a:lnTo>
                      <a:lnTo>
                        <a:pt x="893" y="1009"/>
                      </a:lnTo>
                      <a:lnTo>
                        <a:pt x="893" y="1011"/>
                      </a:lnTo>
                      <a:lnTo>
                        <a:pt x="893" y="1012"/>
                      </a:lnTo>
                      <a:lnTo>
                        <a:pt x="892" y="1012"/>
                      </a:lnTo>
                      <a:lnTo>
                        <a:pt x="892" y="1011"/>
                      </a:lnTo>
                      <a:lnTo>
                        <a:pt x="892" y="1009"/>
                      </a:lnTo>
                      <a:lnTo>
                        <a:pt x="891" y="1009"/>
                      </a:lnTo>
                      <a:lnTo>
                        <a:pt x="891" y="1008"/>
                      </a:lnTo>
                      <a:lnTo>
                        <a:pt x="890" y="1008"/>
                      </a:lnTo>
                      <a:lnTo>
                        <a:pt x="891" y="1007"/>
                      </a:lnTo>
                      <a:lnTo>
                        <a:pt x="891" y="1006"/>
                      </a:lnTo>
                      <a:lnTo>
                        <a:pt x="892" y="1006"/>
                      </a:lnTo>
                      <a:lnTo>
                        <a:pt x="891" y="1005"/>
                      </a:lnTo>
                      <a:lnTo>
                        <a:pt x="891" y="1006"/>
                      </a:lnTo>
                      <a:lnTo>
                        <a:pt x="890" y="1006"/>
                      </a:lnTo>
                      <a:lnTo>
                        <a:pt x="891" y="1005"/>
                      </a:lnTo>
                      <a:lnTo>
                        <a:pt x="890" y="1005"/>
                      </a:lnTo>
                      <a:lnTo>
                        <a:pt x="891" y="1005"/>
                      </a:lnTo>
                      <a:lnTo>
                        <a:pt x="890" y="1005"/>
                      </a:lnTo>
                      <a:lnTo>
                        <a:pt x="890" y="1004"/>
                      </a:lnTo>
                      <a:lnTo>
                        <a:pt x="890" y="1003"/>
                      </a:lnTo>
                      <a:lnTo>
                        <a:pt x="890" y="1004"/>
                      </a:lnTo>
                      <a:lnTo>
                        <a:pt x="891" y="1004"/>
                      </a:lnTo>
                      <a:lnTo>
                        <a:pt x="890" y="1003"/>
                      </a:lnTo>
                      <a:lnTo>
                        <a:pt x="891" y="1003"/>
                      </a:lnTo>
                      <a:lnTo>
                        <a:pt x="891" y="1002"/>
                      </a:lnTo>
                      <a:lnTo>
                        <a:pt x="892" y="1002"/>
                      </a:lnTo>
                      <a:lnTo>
                        <a:pt x="892" y="1003"/>
                      </a:lnTo>
                      <a:lnTo>
                        <a:pt x="891" y="1003"/>
                      </a:lnTo>
                      <a:close/>
                      <a:moveTo>
                        <a:pt x="899" y="1003"/>
                      </a:moveTo>
                      <a:lnTo>
                        <a:pt x="899" y="1004"/>
                      </a:lnTo>
                      <a:lnTo>
                        <a:pt x="900" y="1004"/>
                      </a:lnTo>
                      <a:lnTo>
                        <a:pt x="901" y="1005"/>
                      </a:lnTo>
                      <a:lnTo>
                        <a:pt x="900" y="1005"/>
                      </a:lnTo>
                      <a:lnTo>
                        <a:pt x="900" y="1006"/>
                      </a:lnTo>
                      <a:lnTo>
                        <a:pt x="901" y="1007"/>
                      </a:lnTo>
                      <a:lnTo>
                        <a:pt x="901" y="1008"/>
                      </a:lnTo>
                      <a:lnTo>
                        <a:pt x="900" y="1009"/>
                      </a:lnTo>
                      <a:lnTo>
                        <a:pt x="900" y="1011"/>
                      </a:lnTo>
                      <a:lnTo>
                        <a:pt x="899" y="1011"/>
                      </a:lnTo>
                      <a:lnTo>
                        <a:pt x="899" y="1012"/>
                      </a:lnTo>
                      <a:lnTo>
                        <a:pt x="898" y="1013"/>
                      </a:lnTo>
                      <a:lnTo>
                        <a:pt x="898" y="1012"/>
                      </a:lnTo>
                      <a:lnTo>
                        <a:pt x="899" y="1011"/>
                      </a:lnTo>
                      <a:lnTo>
                        <a:pt x="899" y="1009"/>
                      </a:lnTo>
                      <a:lnTo>
                        <a:pt x="899" y="1008"/>
                      </a:lnTo>
                      <a:lnTo>
                        <a:pt x="899" y="1007"/>
                      </a:lnTo>
                      <a:lnTo>
                        <a:pt x="898" y="1007"/>
                      </a:lnTo>
                      <a:lnTo>
                        <a:pt x="898" y="1006"/>
                      </a:lnTo>
                      <a:lnTo>
                        <a:pt x="897" y="1006"/>
                      </a:lnTo>
                      <a:lnTo>
                        <a:pt x="898" y="1006"/>
                      </a:lnTo>
                      <a:lnTo>
                        <a:pt x="898" y="1005"/>
                      </a:lnTo>
                      <a:lnTo>
                        <a:pt x="899" y="1005"/>
                      </a:lnTo>
                      <a:lnTo>
                        <a:pt x="898" y="1005"/>
                      </a:lnTo>
                      <a:lnTo>
                        <a:pt x="898" y="1004"/>
                      </a:lnTo>
                      <a:lnTo>
                        <a:pt x="897" y="1004"/>
                      </a:lnTo>
                      <a:lnTo>
                        <a:pt x="898" y="1003"/>
                      </a:lnTo>
                      <a:lnTo>
                        <a:pt x="899" y="1003"/>
                      </a:lnTo>
                      <a:close/>
                      <a:moveTo>
                        <a:pt x="665" y="1039"/>
                      </a:moveTo>
                      <a:lnTo>
                        <a:pt x="664" y="1039"/>
                      </a:lnTo>
                      <a:lnTo>
                        <a:pt x="664" y="1040"/>
                      </a:lnTo>
                      <a:lnTo>
                        <a:pt x="665" y="1040"/>
                      </a:lnTo>
                      <a:lnTo>
                        <a:pt x="665" y="1041"/>
                      </a:lnTo>
                      <a:lnTo>
                        <a:pt x="665" y="1042"/>
                      </a:lnTo>
                      <a:lnTo>
                        <a:pt x="666" y="1042"/>
                      </a:lnTo>
                      <a:lnTo>
                        <a:pt x="666" y="1043"/>
                      </a:lnTo>
                      <a:lnTo>
                        <a:pt x="666" y="1044"/>
                      </a:lnTo>
                      <a:lnTo>
                        <a:pt x="667" y="1044"/>
                      </a:lnTo>
                      <a:lnTo>
                        <a:pt x="667" y="1045"/>
                      </a:lnTo>
                      <a:lnTo>
                        <a:pt x="666" y="1045"/>
                      </a:lnTo>
                      <a:lnTo>
                        <a:pt x="666" y="1046"/>
                      </a:lnTo>
                      <a:lnTo>
                        <a:pt x="665" y="1046"/>
                      </a:lnTo>
                      <a:lnTo>
                        <a:pt x="665" y="1047"/>
                      </a:lnTo>
                      <a:lnTo>
                        <a:pt x="664" y="1047"/>
                      </a:lnTo>
                      <a:lnTo>
                        <a:pt x="664" y="1048"/>
                      </a:lnTo>
                      <a:lnTo>
                        <a:pt x="664" y="1050"/>
                      </a:lnTo>
                      <a:lnTo>
                        <a:pt x="665" y="1050"/>
                      </a:lnTo>
                      <a:lnTo>
                        <a:pt x="664" y="1050"/>
                      </a:lnTo>
                      <a:lnTo>
                        <a:pt x="664" y="1051"/>
                      </a:lnTo>
                      <a:lnTo>
                        <a:pt x="663" y="1051"/>
                      </a:lnTo>
                      <a:lnTo>
                        <a:pt x="663" y="1050"/>
                      </a:lnTo>
                      <a:lnTo>
                        <a:pt x="664" y="1048"/>
                      </a:lnTo>
                      <a:lnTo>
                        <a:pt x="664" y="1047"/>
                      </a:lnTo>
                      <a:lnTo>
                        <a:pt x="663" y="1047"/>
                      </a:lnTo>
                      <a:lnTo>
                        <a:pt x="663" y="1046"/>
                      </a:lnTo>
                      <a:lnTo>
                        <a:pt x="664" y="1046"/>
                      </a:lnTo>
                      <a:lnTo>
                        <a:pt x="665" y="1046"/>
                      </a:lnTo>
                      <a:lnTo>
                        <a:pt x="665" y="1045"/>
                      </a:lnTo>
                      <a:lnTo>
                        <a:pt x="665" y="1044"/>
                      </a:lnTo>
                      <a:lnTo>
                        <a:pt x="665" y="1043"/>
                      </a:lnTo>
                      <a:lnTo>
                        <a:pt x="665" y="1042"/>
                      </a:lnTo>
                      <a:lnTo>
                        <a:pt x="664" y="1042"/>
                      </a:lnTo>
                      <a:lnTo>
                        <a:pt x="664" y="1041"/>
                      </a:lnTo>
                      <a:lnTo>
                        <a:pt x="664" y="1040"/>
                      </a:lnTo>
                      <a:lnTo>
                        <a:pt x="663" y="1039"/>
                      </a:lnTo>
                      <a:lnTo>
                        <a:pt x="664" y="1039"/>
                      </a:lnTo>
                      <a:lnTo>
                        <a:pt x="664" y="1038"/>
                      </a:lnTo>
                      <a:lnTo>
                        <a:pt x="665" y="1038"/>
                      </a:lnTo>
                      <a:lnTo>
                        <a:pt x="665" y="1039"/>
                      </a:lnTo>
                      <a:close/>
                      <a:moveTo>
                        <a:pt x="859" y="983"/>
                      </a:moveTo>
                      <a:lnTo>
                        <a:pt x="859" y="986"/>
                      </a:lnTo>
                      <a:lnTo>
                        <a:pt x="859" y="987"/>
                      </a:lnTo>
                      <a:lnTo>
                        <a:pt x="859" y="988"/>
                      </a:lnTo>
                      <a:lnTo>
                        <a:pt x="858" y="988"/>
                      </a:lnTo>
                      <a:lnTo>
                        <a:pt x="857" y="988"/>
                      </a:lnTo>
                      <a:lnTo>
                        <a:pt x="854" y="988"/>
                      </a:lnTo>
                      <a:lnTo>
                        <a:pt x="853" y="988"/>
                      </a:lnTo>
                      <a:lnTo>
                        <a:pt x="853" y="987"/>
                      </a:lnTo>
                      <a:lnTo>
                        <a:pt x="852" y="987"/>
                      </a:lnTo>
                      <a:lnTo>
                        <a:pt x="853" y="987"/>
                      </a:lnTo>
                      <a:lnTo>
                        <a:pt x="852" y="987"/>
                      </a:lnTo>
                      <a:lnTo>
                        <a:pt x="852" y="986"/>
                      </a:lnTo>
                      <a:lnTo>
                        <a:pt x="853" y="986"/>
                      </a:lnTo>
                      <a:lnTo>
                        <a:pt x="854" y="986"/>
                      </a:lnTo>
                      <a:lnTo>
                        <a:pt x="853" y="986"/>
                      </a:lnTo>
                      <a:lnTo>
                        <a:pt x="852" y="986"/>
                      </a:lnTo>
                      <a:lnTo>
                        <a:pt x="853" y="986"/>
                      </a:lnTo>
                      <a:lnTo>
                        <a:pt x="853" y="987"/>
                      </a:lnTo>
                      <a:lnTo>
                        <a:pt x="854" y="987"/>
                      </a:lnTo>
                      <a:lnTo>
                        <a:pt x="855" y="987"/>
                      </a:lnTo>
                      <a:lnTo>
                        <a:pt x="857" y="987"/>
                      </a:lnTo>
                      <a:lnTo>
                        <a:pt x="855" y="986"/>
                      </a:lnTo>
                      <a:lnTo>
                        <a:pt x="857" y="986"/>
                      </a:lnTo>
                      <a:lnTo>
                        <a:pt x="855" y="984"/>
                      </a:lnTo>
                      <a:lnTo>
                        <a:pt x="857" y="984"/>
                      </a:lnTo>
                      <a:lnTo>
                        <a:pt x="858" y="984"/>
                      </a:lnTo>
                      <a:lnTo>
                        <a:pt x="857" y="984"/>
                      </a:lnTo>
                      <a:lnTo>
                        <a:pt x="857" y="986"/>
                      </a:lnTo>
                      <a:lnTo>
                        <a:pt x="858" y="986"/>
                      </a:lnTo>
                      <a:lnTo>
                        <a:pt x="858" y="984"/>
                      </a:lnTo>
                      <a:lnTo>
                        <a:pt x="858" y="983"/>
                      </a:lnTo>
                      <a:lnTo>
                        <a:pt x="859" y="983"/>
                      </a:lnTo>
                      <a:close/>
                      <a:moveTo>
                        <a:pt x="809" y="810"/>
                      </a:moveTo>
                      <a:lnTo>
                        <a:pt x="809" y="811"/>
                      </a:lnTo>
                      <a:lnTo>
                        <a:pt x="810" y="811"/>
                      </a:lnTo>
                      <a:lnTo>
                        <a:pt x="809" y="811"/>
                      </a:lnTo>
                      <a:lnTo>
                        <a:pt x="808" y="811"/>
                      </a:lnTo>
                      <a:lnTo>
                        <a:pt x="809" y="811"/>
                      </a:lnTo>
                      <a:lnTo>
                        <a:pt x="810" y="811"/>
                      </a:lnTo>
                      <a:lnTo>
                        <a:pt x="811" y="811"/>
                      </a:lnTo>
                      <a:lnTo>
                        <a:pt x="811" y="812"/>
                      </a:lnTo>
                      <a:lnTo>
                        <a:pt x="811" y="813"/>
                      </a:lnTo>
                      <a:lnTo>
                        <a:pt x="810" y="813"/>
                      </a:lnTo>
                      <a:lnTo>
                        <a:pt x="809" y="813"/>
                      </a:lnTo>
                      <a:lnTo>
                        <a:pt x="808" y="813"/>
                      </a:lnTo>
                      <a:lnTo>
                        <a:pt x="808" y="814"/>
                      </a:lnTo>
                      <a:lnTo>
                        <a:pt x="807" y="814"/>
                      </a:lnTo>
                      <a:lnTo>
                        <a:pt x="806" y="814"/>
                      </a:lnTo>
                      <a:lnTo>
                        <a:pt x="806" y="813"/>
                      </a:lnTo>
                      <a:lnTo>
                        <a:pt x="807" y="813"/>
                      </a:lnTo>
                      <a:lnTo>
                        <a:pt x="806" y="813"/>
                      </a:lnTo>
                      <a:lnTo>
                        <a:pt x="805" y="813"/>
                      </a:lnTo>
                      <a:lnTo>
                        <a:pt x="805" y="812"/>
                      </a:lnTo>
                      <a:lnTo>
                        <a:pt x="806" y="811"/>
                      </a:lnTo>
                      <a:lnTo>
                        <a:pt x="807" y="811"/>
                      </a:lnTo>
                      <a:lnTo>
                        <a:pt x="808" y="810"/>
                      </a:lnTo>
                      <a:lnTo>
                        <a:pt x="809" y="810"/>
                      </a:lnTo>
                      <a:close/>
                      <a:moveTo>
                        <a:pt x="703" y="1083"/>
                      </a:moveTo>
                      <a:lnTo>
                        <a:pt x="700" y="1083"/>
                      </a:lnTo>
                      <a:lnTo>
                        <a:pt x="700" y="1084"/>
                      </a:lnTo>
                      <a:lnTo>
                        <a:pt x="699" y="1084"/>
                      </a:lnTo>
                      <a:lnTo>
                        <a:pt x="698" y="1085"/>
                      </a:lnTo>
                      <a:lnTo>
                        <a:pt x="698" y="1086"/>
                      </a:lnTo>
                      <a:lnTo>
                        <a:pt x="697" y="1088"/>
                      </a:lnTo>
                      <a:lnTo>
                        <a:pt x="697" y="1089"/>
                      </a:lnTo>
                      <a:lnTo>
                        <a:pt x="696" y="1089"/>
                      </a:lnTo>
                      <a:lnTo>
                        <a:pt x="696" y="1088"/>
                      </a:lnTo>
                      <a:lnTo>
                        <a:pt x="695" y="1088"/>
                      </a:lnTo>
                      <a:lnTo>
                        <a:pt x="696" y="1086"/>
                      </a:lnTo>
                      <a:lnTo>
                        <a:pt x="697" y="1085"/>
                      </a:lnTo>
                      <a:lnTo>
                        <a:pt x="697" y="1084"/>
                      </a:lnTo>
                      <a:lnTo>
                        <a:pt x="697" y="1083"/>
                      </a:lnTo>
                      <a:lnTo>
                        <a:pt x="698" y="1083"/>
                      </a:lnTo>
                      <a:lnTo>
                        <a:pt x="699" y="1082"/>
                      </a:lnTo>
                      <a:lnTo>
                        <a:pt x="699" y="1083"/>
                      </a:lnTo>
                      <a:lnTo>
                        <a:pt x="702" y="1083"/>
                      </a:lnTo>
                      <a:lnTo>
                        <a:pt x="702" y="1082"/>
                      </a:lnTo>
                      <a:lnTo>
                        <a:pt x="703" y="1081"/>
                      </a:lnTo>
                      <a:lnTo>
                        <a:pt x="704" y="1081"/>
                      </a:lnTo>
                      <a:lnTo>
                        <a:pt x="703" y="1082"/>
                      </a:lnTo>
                      <a:lnTo>
                        <a:pt x="703" y="1083"/>
                      </a:lnTo>
                      <a:close/>
                      <a:moveTo>
                        <a:pt x="838" y="984"/>
                      </a:moveTo>
                      <a:lnTo>
                        <a:pt x="839" y="984"/>
                      </a:lnTo>
                      <a:lnTo>
                        <a:pt x="839" y="986"/>
                      </a:lnTo>
                      <a:lnTo>
                        <a:pt x="839" y="987"/>
                      </a:lnTo>
                      <a:lnTo>
                        <a:pt x="840" y="987"/>
                      </a:lnTo>
                      <a:lnTo>
                        <a:pt x="841" y="987"/>
                      </a:lnTo>
                      <a:lnTo>
                        <a:pt x="842" y="986"/>
                      </a:lnTo>
                      <a:lnTo>
                        <a:pt x="844" y="986"/>
                      </a:lnTo>
                      <a:lnTo>
                        <a:pt x="846" y="986"/>
                      </a:lnTo>
                      <a:lnTo>
                        <a:pt x="846" y="987"/>
                      </a:lnTo>
                      <a:lnTo>
                        <a:pt x="847" y="987"/>
                      </a:lnTo>
                      <a:lnTo>
                        <a:pt x="848" y="987"/>
                      </a:lnTo>
                      <a:lnTo>
                        <a:pt x="848" y="988"/>
                      </a:lnTo>
                      <a:lnTo>
                        <a:pt x="847" y="988"/>
                      </a:lnTo>
                      <a:lnTo>
                        <a:pt x="838" y="987"/>
                      </a:lnTo>
                      <a:lnTo>
                        <a:pt x="839" y="986"/>
                      </a:lnTo>
                      <a:lnTo>
                        <a:pt x="838" y="986"/>
                      </a:lnTo>
                      <a:lnTo>
                        <a:pt x="839" y="986"/>
                      </a:lnTo>
                      <a:lnTo>
                        <a:pt x="838" y="986"/>
                      </a:lnTo>
                      <a:lnTo>
                        <a:pt x="838" y="984"/>
                      </a:lnTo>
                      <a:lnTo>
                        <a:pt x="838" y="983"/>
                      </a:lnTo>
                      <a:lnTo>
                        <a:pt x="838" y="982"/>
                      </a:lnTo>
                      <a:lnTo>
                        <a:pt x="838" y="983"/>
                      </a:lnTo>
                      <a:lnTo>
                        <a:pt x="838" y="984"/>
                      </a:lnTo>
                      <a:close/>
                      <a:moveTo>
                        <a:pt x="883" y="984"/>
                      </a:moveTo>
                      <a:lnTo>
                        <a:pt x="884" y="984"/>
                      </a:lnTo>
                      <a:lnTo>
                        <a:pt x="885" y="984"/>
                      </a:lnTo>
                      <a:lnTo>
                        <a:pt x="885" y="986"/>
                      </a:lnTo>
                      <a:lnTo>
                        <a:pt x="884" y="986"/>
                      </a:lnTo>
                      <a:lnTo>
                        <a:pt x="884" y="987"/>
                      </a:lnTo>
                      <a:lnTo>
                        <a:pt x="884" y="988"/>
                      </a:lnTo>
                      <a:lnTo>
                        <a:pt x="883" y="988"/>
                      </a:lnTo>
                      <a:lnTo>
                        <a:pt x="883" y="987"/>
                      </a:lnTo>
                      <a:lnTo>
                        <a:pt x="882" y="987"/>
                      </a:lnTo>
                      <a:lnTo>
                        <a:pt x="882" y="986"/>
                      </a:lnTo>
                      <a:lnTo>
                        <a:pt x="880" y="986"/>
                      </a:lnTo>
                      <a:lnTo>
                        <a:pt x="879" y="986"/>
                      </a:lnTo>
                      <a:lnTo>
                        <a:pt x="878" y="986"/>
                      </a:lnTo>
                      <a:lnTo>
                        <a:pt x="878" y="984"/>
                      </a:lnTo>
                      <a:lnTo>
                        <a:pt x="879" y="984"/>
                      </a:lnTo>
                      <a:lnTo>
                        <a:pt x="879" y="983"/>
                      </a:lnTo>
                      <a:lnTo>
                        <a:pt x="880" y="983"/>
                      </a:lnTo>
                      <a:lnTo>
                        <a:pt x="880" y="984"/>
                      </a:lnTo>
                      <a:lnTo>
                        <a:pt x="882" y="984"/>
                      </a:lnTo>
                      <a:lnTo>
                        <a:pt x="882" y="983"/>
                      </a:lnTo>
                      <a:lnTo>
                        <a:pt x="883" y="983"/>
                      </a:lnTo>
                      <a:lnTo>
                        <a:pt x="883" y="984"/>
                      </a:lnTo>
                      <a:close/>
                      <a:moveTo>
                        <a:pt x="878" y="912"/>
                      </a:moveTo>
                      <a:lnTo>
                        <a:pt x="878" y="913"/>
                      </a:lnTo>
                      <a:lnTo>
                        <a:pt x="879" y="913"/>
                      </a:lnTo>
                      <a:lnTo>
                        <a:pt x="878" y="914"/>
                      </a:lnTo>
                      <a:lnTo>
                        <a:pt x="879" y="914"/>
                      </a:lnTo>
                      <a:lnTo>
                        <a:pt x="879" y="913"/>
                      </a:lnTo>
                      <a:lnTo>
                        <a:pt x="880" y="914"/>
                      </a:lnTo>
                      <a:lnTo>
                        <a:pt x="879" y="915"/>
                      </a:lnTo>
                      <a:lnTo>
                        <a:pt x="879" y="916"/>
                      </a:lnTo>
                      <a:lnTo>
                        <a:pt x="878" y="916"/>
                      </a:lnTo>
                      <a:lnTo>
                        <a:pt x="877" y="916"/>
                      </a:lnTo>
                      <a:lnTo>
                        <a:pt x="877" y="915"/>
                      </a:lnTo>
                      <a:lnTo>
                        <a:pt x="877" y="916"/>
                      </a:lnTo>
                      <a:lnTo>
                        <a:pt x="878" y="916"/>
                      </a:lnTo>
                      <a:lnTo>
                        <a:pt x="878" y="917"/>
                      </a:lnTo>
                      <a:lnTo>
                        <a:pt x="879" y="916"/>
                      </a:lnTo>
                      <a:lnTo>
                        <a:pt x="879" y="917"/>
                      </a:lnTo>
                      <a:lnTo>
                        <a:pt x="878" y="917"/>
                      </a:lnTo>
                      <a:lnTo>
                        <a:pt x="879" y="917"/>
                      </a:lnTo>
                      <a:lnTo>
                        <a:pt x="878" y="917"/>
                      </a:lnTo>
                      <a:lnTo>
                        <a:pt x="877" y="917"/>
                      </a:lnTo>
                      <a:lnTo>
                        <a:pt x="877" y="916"/>
                      </a:lnTo>
                      <a:lnTo>
                        <a:pt x="877" y="915"/>
                      </a:lnTo>
                      <a:lnTo>
                        <a:pt x="876" y="914"/>
                      </a:lnTo>
                      <a:lnTo>
                        <a:pt x="876" y="913"/>
                      </a:lnTo>
                      <a:lnTo>
                        <a:pt x="875" y="913"/>
                      </a:lnTo>
                      <a:lnTo>
                        <a:pt x="876" y="913"/>
                      </a:lnTo>
                      <a:lnTo>
                        <a:pt x="876" y="912"/>
                      </a:lnTo>
                      <a:lnTo>
                        <a:pt x="877" y="912"/>
                      </a:lnTo>
                      <a:lnTo>
                        <a:pt x="877" y="913"/>
                      </a:lnTo>
                      <a:lnTo>
                        <a:pt x="877" y="912"/>
                      </a:lnTo>
                      <a:lnTo>
                        <a:pt x="878" y="912"/>
                      </a:lnTo>
                      <a:close/>
                      <a:moveTo>
                        <a:pt x="885" y="914"/>
                      </a:moveTo>
                      <a:lnTo>
                        <a:pt x="886" y="914"/>
                      </a:lnTo>
                      <a:lnTo>
                        <a:pt x="886" y="915"/>
                      </a:lnTo>
                      <a:lnTo>
                        <a:pt x="885" y="915"/>
                      </a:lnTo>
                      <a:lnTo>
                        <a:pt x="885" y="916"/>
                      </a:lnTo>
                      <a:lnTo>
                        <a:pt x="885" y="917"/>
                      </a:lnTo>
                      <a:lnTo>
                        <a:pt x="884" y="917"/>
                      </a:lnTo>
                      <a:lnTo>
                        <a:pt x="884" y="916"/>
                      </a:lnTo>
                      <a:lnTo>
                        <a:pt x="883" y="916"/>
                      </a:lnTo>
                      <a:lnTo>
                        <a:pt x="883" y="915"/>
                      </a:lnTo>
                      <a:lnTo>
                        <a:pt x="882" y="915"/>
                      </a:lnTo>
                      <a:lnTo>
                        <a:pt x="883" y="915"/>
                      </a:lnTo>
                      <a:lnTo>
                        <a:pt x="883" y="914"/>
                      </a:lnTo>
                      <a:lnTo>
                        <a:pt x="882" y="915"/>
                      </a:lnTo>
                      <a:lnTo>
                        <a:pt x="879" y="913"/>
                      </a:lnTo>
                      <a:lnTo>
                        <a:pt x="880" y="913"/>
                      </a:lnTo>
                      <a:lnTo>
                        <a:pt x="880" y="914"/>
                      </a:lnTo>
                      <a:lnTo>
                        <a:pt x="882" y="914"/>
                      </a:lnTo>
                      <a:lnTo>
                        <a:pt x="882" y="913"/>
                      </a:lnTo>
                      <a:lnTo>
                        <a:pt x="882" y="912"/>
                      </a:lnTo>
                      <a:lnTo>
                        <a:pt x="883" y="912"/>
                      </a:lnTo>
                      <a:lnTo>
                        <a:pt x="884" y="913"/>
                      </a:lnTo>
                      <a:lnTo>
                        <a:pt x="885" y="914"/>
                      </a:lnTo>
                      <a:close/>
                      <a:moveTo>
                        <a:pt x="738" y="1158"/>
                      </a:moveTo>
                      <a:lnTo>
                        <a:pt x="738" y="1159"/>
                      </a:lnTo>
                      <a:lnTo>
                        <a:pt x="737" y="1159"/>
                      </a:lnTo>
                      <a:lnTo>
                        <a:pt x="736" y="1160"/>
                      </a:lnTo>
                      <a:lnTo>
                        <a:pt x="735" y="1160"/>
                      </a:lnTo>
                      <a:lnTo>
                        <a:pt x="734" y="1160"/>
                      </a:lnTo>
                      <a:lnTo>
                        <a:pt x="733" y="1160"/>
                      </a:lnTo>
                      <a:lnTo>
                        <a:pt x="732" y="1159"/>
                      </a:lnTo>
                      <a:lnTo>
                        <a:pt x="731" y="1158"/>
                      </a:lnTo>
                      <a:lnTo>
                        <a:pt x="732" y="1158"/>
                      </a:lnTo>
                      <a:lnTo>
                        <a:pt x="732" y="1159"/>
                      </a:lnTo>
                      <a:lnTo>
                        <a:pt x="733" y="1159"/>
                      </a:lnTo>
                      <a:lnTo>
                        <a:pt x="734" y="1159"/>
                      </a:lnTo>
                      <a:lnTo>
                        <a:pt x="734" y="1158"/>
                      </a:lnTo>
                      <a:lnTo>
                        <a:pt x="735" y="1158"/>
                      </a:lnTo>
                      <a:lnTo>
                        <a:pt x="736" y="1158"/>
                      </a:lnTo>
                      <a:lnTo>
                        <a:pt x="737" y="1158"/>
                      </a:lnTo>
                      <a:lnTo>
                        <a:pt x="737" y="1157"/>
                      </a:lnTo>
                      <a:lnTo>
                        <a:pt x="738" y="1157"/>
                      </a:lnTo>
                      <a:lnTo>
                        <a:pt x="738" y="1158"/>
                      </a:lnTo>
                      <a:close/>
                      <a:moveTo>
                        <a:pt x="833" y="983"/>
                      </a:moveTo>
                      <a:lnTo>
                        <a:pt x="833" y="984"/>
                      </a:lnTo>
                      <a:lnTo>
                        <a:pt x="833" y="986"/>
                      </a:lnTo>
                      <a:lnTo>
                        <a:pt x="833" y="984"/>
                      </a:lnTo>
                      <a:lnTo>
                        <a:pt x="833" y="986"/>
                      </a:lnTo>
                      <a:lnTo>
                        <a:pt x="832" y="986"/>
                      </a:lnTo>
                      <a:lnTo>
                        <a:pt x="833" y="986"/>
                      </a:lnTo>
                      <a:lnTo>
                        <a:pt x="833" y="987"/>
                      </a:lnTo>
                      <a:lnTo>
                        <a:pt x="828" y="987"/>
                      </a:lnTo>
                      <a:lnTo>
                        <a:pt x="828" y="986"/>
                      </a:lnTo>
                      <a:lnTo>
                        <a:pt x="828" y="987"/>
                      </a:lnTo>
                      <a:lnTo>
                        <a:pt x="828" y="986"/>
                      </a:lnTo>
                      <a:lnTo>
                        <a:pt x="829" y="986"/>
                      </a:lnTo>
                      <a:lnTo>
                        <a:pt x="829" y="984"/>
                      </a:lnTo>
                      <a:lnTo>
                        <a:pt x="831" y="984"/>
                      </a:lnTo>
                      <a:lnTo>
                        <a:pt x="829" y="984"/>
                      </a:lnTo>
                      <a:lnTo>
                        <a:pt x="829" y="983"/>
                      </a:lnTo>
                      <a:lnTo>
                        <a:pt x="831" y="983"/>
                      </a:lnTo>
                      <a:lnTo>
                        <a:pt x="832" y="983"/>
                      </a:lnTo>
                      <a:lnTo>
                        <a:pt x="832" y="982"/>
                      </a:lnTo>
                      <a:lnTo>
                        <a:pt x="832" y="983"/>
                      </a:lnTo>
                      <a:lnTo>
                        <a:pt x="832" y="982"/>
                      </a:lnTo>
                      <a:lnTo>
                        <a:pt x="833" y="983"/>
                      </a:lnTo>
                      <a:close/>
                      <a:moveTo>
                        <a:pt x="673" y="1166"/>
                      </a:moveTo>
                      <a:lnTo>
                        <a:pt x="674" y="1166"/>
                      </a:lnTo>
                      <a:lnTo>
                        <a:pt x="676" y="1166"/>
                      </a:lnTo>
                      <a:lnTo>
                        <a:pt x="677" y="1166"/>
                      </a:lnTo>
                      <a:lnTo>
                        <a:pt x="678" y="1167"/>
                      </a:lnTo>
                      <a:lnTo>
                        <a:pt x="679" y="1167"/>
                      </a:lnTo>
                      <a:lnTo>
                        <a:pt x="679" y="1168"/>
                      </a:lnTo>
                      <a:lnTo>
                        <a:pt x="678" y="1167"/>
                      </a:lnTo>
                      <a:lnTo>
                        <a:pt x="672" y="1166"/>
                      </a:lnTo>
                      <a:lnTo>
                        <a:pt x="671" y="1166"/>
                      </a:lnTo>
                      <a:lnTo>
                        <a:pt x="670" y="1166"/>
                      </a:lnTo>
                      <a:lnTo>
                        <a:pt x="669" y="1164"/>
                      </a:lnTo>
                      <a:lnTo>
                        <a:pt x="668" y="1163"/>
                      </a:lnTo>
                      <a:lnTo>
                        <a:pt x="669" y="1163"/>
                      </a:lnTo>
                      <a:lnTo>
                        <a:pt x="670" y="1164"/>
                      </a:lnTo>
                      <a:lnTo>
                        <a:pt x="672" y="1164"/>
                      </a:lnTo>
                      <a:lnTo>
                        <a:pt x="673" y="1166"/>
                      </a:lnTo>
                      <a:close/>
                      <a:moveTo>
                        <a:pt x="886" y="976"/>
                      </a:moveTo>
                      <a:lnTo>
                        <a:pt x="887" y="977"/>
                      </a:lnTo>
                      <a:lnTo>
                        <a:pt x="888" y="977"/>
                      </a:lnTo>
                      <a:lnTo>
                        <a:pt x="887" y="978"/>
                      </a:lnTo>
                      <a:lnTo>
                        <a:pt x="887" y="979"/>
                      </a:lnTo>
                      <a:lnTo>
                        <a:pt x="886" y="979"/>
                      </a:lnTo>
                      <a:lnTo>
                        <a:pt x="886" y="980"/>
                      </a:lnTo>
                      <a:lnTo>
                        <a:pt x="886" y="981"/>
                      </a:lnTo>
                      <a:lnTo>
                        <a:pt x="885" y="980"/>
                      </a:lnTo>
                      <a:lnTo>
                        <a:pt x="885" y="981"/>
                      </a:lnTo>
                      <a:lnTo>
                        <a:pt x="884" y="981"/>
                      </a:lnTo>
                      <a:lnTo>
                        <a:pt x="884" y="980"/>
                      </a:lnTo>
                      <a:lnTo>
                        <a:pt x="885" y="979"/>
                      </a:lnTo>
                      <a:lnTo>
                        <a:pt x="885" y="978"/>
                      </a:lnTo>
                      <a:lnTo>
                        <a:pt x="884" y="978"/>
                      </a:lnTo>
                      <a:lnTo>
                        <a:pt x="884" y="977"/>
                      </a:lnTo>
                      <a:lnTo>
                        <a:pt x="885" y="977"/>
                      </a:lnTo>
                      <a:lnTo>
                        <a:pt x="885" y="976"/>
                      </a:lnTo>
                      <a:lnTo>
                        <a:pt x="886" y="976"/>
                      </a:lnTo>
                      <a:close/>
                      <a:moveTo>
                        <a:pt x="889" y="1006"/>
                      </a:moveTo>
                      <a:lnTo>
                        <a:pt x="889" y="1007"/>
                      </a:lnTo>
                      <a:lnTo>
                        <a:pt x="889" y="1008"/>
                      </a:lnTo>
                      <a:lnTo>
                        <a:pt x="888" y="1008"/>
                      </a:lnTo>
                      <a:lnTo>
                        <a:pt x="887" y="1007"/>
                      </a:lnTo>
                      <a:lnTo>
                        <a:pt x="886" y="1007"/>
                      </a:lnTo>
                      <a:lnTo>
                        <a:pt x="885" y="1008"/>
                      </a:lnTo>
                      <a:lnTo>
                        <a:pt x="885" y="1007"/>
                      </a:lnTo>
                      <a:lnTo>
                        <a:pt x="884" y="1006"/>
                      </a:lnTo>
                      <a:lnTo>
                        <a:pt x="885" y="1005"/>
                      </a:lnTo>
                      <a:lnTo>
                        <a:pt x="885" y="1006"/>
                      </a:lnTo>
                      <a:lnTo>
                        <a:pt x="886" y="1006"/>
                      </a:lnTo>
                      <a:lnTo>
                        <a:pt x="886" y="1007"/>
                      </a:lnTo>
                      <a:lnTo>
                        <a:pt x="887" y="1007"/>
                      </a:lnTo>
                      <a:lnTo>
                        <a:pt x="887" y="1006"/>
                      </a:lnTo>
                      <a:lnTo>
                        <a:pt x="888" y="1006"/>
                      </a:lnTo>
                      <a:lnTo>
                        <a:pt x="888" y="1005"/>
                      </a:lnTo>
                      <a:lnTo>
                        <a:pt x="887" y="1004"/>
                      </a:lnTo>
                      <a:lnTo>
                        <a:pt x="887" y="1003"/>
                      </a:lnTo>
                      <a:lnTo>
                        <a:pt x="888" y="1004"/>
                      </a:lnTo>
                      <a:lnTo>
                        <a:pt x="888" y="1005"/>
                      </a:lnTo>
                      <a:lnTo>
                        <a:pt x="889" y="1006"/>
                      </a:lnTo>
                      <a:close/>
                      <a:moveTo>
                        <a:pt x="862" y="980"/>
                      </a:moveTo>
                      <a:lnTo>
                        <a:pt x="863" y="980"/>
                      </a:lnTo>
                      <a:lnTo>
                        <a:pt x="863" y="981"/>
                      </a:lnTo>
                      <a:lnTo>
                        <a:pt x="864" y="982"/>
                      </a:lnTo>
                      <a:lnTo>
                        <a:pt x="865" y="982"/>
                      </a:lnTo>
                      <a:lnTo>
                        <a:pt x="865" y="983"/>
                      </a:lnTo>
                      <a:lnTo>
                        <a:pt x="865" y="984"/>
                      </a:lnTo>
                      <a:lnTo>
                        <a:pt x="865" y="983"/>
                      </a:lnTo>
                      <a:lnTo>
                        <a:pt x="864" y="983"/>
                      </a:lnTo>
                      <a:lnTo>
                        <a:pt x="863" y="983"/>
                      </a:lnTo>
                      <a:lnTo>
                        <a:pt x="862" y="983"/>
                      </a:lnTo>
                      <a:lnTo>
                        <a:pt x="861" y="983"/>
                      </a:lnTo>
                      <a:lnTo>
                        <a:pt x="860" y="983"/>
                      </a:lnTo>
                      <a:lnTo>
                        <a:pt x="860" y="982"/>
                      </a:lnTo>
                      <a:lnTo>
                        <a:pt x="861" y="982"/>
                      </a:lnTo>
                      <a:lnTo>
                        <a:pt x="862" y="982"/>
                      </a:lnTo>
                      <a:lnTo>
                        <a:pt x="862" y="981"/>
                      </a:lnTo>
                      <a:lnTo>
                        <a:pt x="862" y="980"/>
                      </a:lnTo>
                      <a:lnTo>
                        <a:pt x="861" y="980"/>
                      </a:lnTo>
                      <a:lnTo>
                        <a:pt x="862" y="980"/>
                      </a:lnTo>
                      <a:close/>
                      <a:moveTo>
                        <a:pt x="819" y="957"/>
                      </a:moveTo>
                      <a:lnTo>
                        <a:pt x="819" y="958"/>
                      </a:lnTo>
                      <a:lnTo>
                        <a:pt x="820" y="958"/>
                      </a:lnTo>
                      <a:lnTo>
                        <a:pt x="820" y="957"/>
                      </a:lnTo>
                      <a:lnTo>
                        <a:pt x="821" y="957"/>
                      </a:lnTo>
                      <a:lnTo>
                        <a:pt x="821" y="958"/>
                      </a:lnTo>
                      <a:lnTo>
                        <a:pt x="822" y="960"/>
                      </a:lnTo>
                      <a:lnTo>
                        <a:pt x="823" y="960"/>
                      </a:lnTo>
                      <a:lnTo>
                        <a:pt x="822" y="960"/>
                      </a:lnTo>
                      <a:lnTo>
                        <a:pt x="822" y="961"/>
                      </a:lnTo>
                      <a:lnTo>
                        <a:pt x="822" y="962"/>
                      </a:lnTo>
                      <a:lnTo>
                        <a:pt x="822" y="963"/>
                      </a:lnTo>
                      <a:lnTo>
                        <a:pt x="821" y="963"/>
                      </a:lnTo>
                      <a:lnTo>
                        <a:pt x="822" y="962"/>
                      </a:lnTo>
                      <a:lnTo>
                        <a:pt x="821" y="962"/>
                      </a:lnTo>
                      <a:lnTo>
                        <a:pt x="820" y="962"/>
                      </a:lnTo>
                      <a:lnTo>
                        <a:pt x="820" y="961"/>
                      </a:lnTo>
                      <a:lnTo>
                        <a:pt x="821" y="961"/>
                      </a:lnTo>
                      <a:lnTo>
                        <a:pt x="821" y="962"/>
                      </a:lnTo>
                      <a:lnTo>
                        <a:pt x="822" y="962"/>
                      </a:lnTo>
                      <a:lnTo>
                        <a:pt x="821" y="961"/>
                      </a:lnTo>
                      <a:lnTo>
                        <a:pt x="820" y="961"/>
                      </a:lnTo>
                      <a:lnTo>
                        <a:pt x="820" y="960"/>
                      </a:lnTo>
                      <a:lnTo>
                        <a:pt x="819" y="958"/>
                      </a:lnTo>
                      <a:lnTo>
                        <a:pt x="818" y="956"/>
                      </a:lnTo>
                      <a:lnTo>
                        <a:pt x="819" y="957"/>
                      </a:lnTo>
                      <a:close/>
                      <a:moveTo>
                        <a:pt x="891" y="915"/>
                      </a:moveTo>
                      <a:lnTo>
                        <a:pt x="891" y="916"/>
                      </a:lnTo>
                      <a:lnTo>
                        <a:pt x="890" y="916"/>
                      </a:lnTo>
                      <a:lnTo>
                        <a:pt x="890" y="917"/>
                      </a:lnTo>
                      <a:lnTo>
                        <a:pt x="889" y="917"/>
                      </a:lnTo>
                      <a:lnTo>
                        <a:pt x="889" y="918"/>
                      </a:lnTo>
                      <a:lnTo>
                        <a:pt x="889" y="917"/>
                      </a:lnTo>
                      <a:lnTo>
                        <a:pt x="889" y="918"/>
                      </a:lnTo>
                      <a:lnTo>
                        <a:pt x="889" y="919"/>
                      </a:lnTo>
                      <a:lnTo>
                        <a:pt x="888" y="919"/>
                      </a:lnTo>
                      <a:lnTo>
                        <a:pt x="888" y="921"/>
                      </a:lnTo>
                      <a:lnTo>
                        <a:pt x="889" y="921"/>
                      </a:lnTo>
                      <a:lnTo>
                        <a:pt x="889" y="922"/>
                      </a:lnTo>
                      <a:lnTo>
                        <a:pt x="888" y="922"/>
                      </a:lnTo>
                      <a:lnTo>
                        <a:pt x="888" y="921"/>
                      </a:lnTo>
                      <a:lnTo>
                        <a:pt x="887" y="921"/>
                      </a:lnTo>
                      <a:lnTo>
                        <a:pt x="887" y="919"/>
                      </a:lnTo>
                      <a:lnTo>
                        <a:pt x="887" y="918"/>
                      </a:lnTo>
                      <a:lnTo>
                        <a:pt x="889" y="916"/>
                      </a:lnTo>
                      <a:lnTo>
                        <a:pt x="890" y="916"/>
                      </a:lnTo>
                      <a:lnTo>
                        <a:pt x="890" y="915"/>
                      </a:lnTo>
                      <a:lnTo>
                        <a:pt x="890" y="916"/>
                      </a:lnTo>
                      <a:lnTo>
                        <a:pt x="890" y="915"/>
                      </a:lnTo>
                      <a:lnTo>
                        <a:pt x="891" y="915"/>
                      </a:lnTo>
                      <a:close/>
                      <a:moveTo>
                        <a:pt x="858" y="1053"/>
                      </a:moveTo>
                      <a:lnTo>
                        <a:pt x="859" y="1053"/>
                      </a:lnTo>
                      <a:lnTo>
                        <a:pt x="859" y="1054"/>
                      </a:lnTo>
                      <a:lnTo>
                        <a:pt x="860" y="1054"/>
                      </a:lnTo>
                      <a:lnTo>
                        <a:pt x="860" y="1055"/>
                      </a:lnTo>
                      <a:lnTo>
                        <a:pt x="860" y="1056"/>
                      </a:lnTo>
                      <a:lnTo>
                        <a:pt x="860" y="1057"/>
                      </a:lnTo>
                      <a:lnTo>
                        <a:pt x="859" y="1057"/>
                      </a:lnTo>
                      <a:lnTo>
                        <a:pt x="859" y="1056"/>
                      </a:lnTo>
                      <a:lnTo>
                        <a:pt x="859" y="1055"/>
                      </a:lnTo>
                      <a:lnTo>
                        <a:pt x="858" y="1055"/>
                      </a:lnTo>
                      <a:lnTo>
                        <a:pt x="857" y="1055"/>
                      </a:lnTo>
                      <a:lnTo>
                        <a:pt x="858" y="1055"/>
                      </a:lnTo>
                      <a:lnTo>
                        <a:pt x="857" y="1054"/>
                      </a:lnTo>
                      <a:lnTo>
                        <a:pt x="857" y="1053"/>
                      </a:lnTo>
                      <a:lnTo>
                        <a:pt x="857" y="1052"/>
                      </a:lnTo>
                      <a:lnTo>
                        <a:pt x="858" y="1053"/>
                      </a:lnTo>
                      <a:close/>
                      <a:moveTo>
                        <a:pt x="875" y="899"/>
                      </a:moveTo>
                      <a:lnTo>
                        <a:pt x="874" y="899"/>
                      </a:lnTo>
                      <a:lnTo>
                        <a:pt x="874" y="900"/>
                      </a:lnTo>
                      <a:lnTo>
                        <a:pt x="875" y="901"/>
                      </a:lnTo>
                      <a:lnTo>
                        <a:pt x="874" y="901"/>
                      </a:lnTo>
                      <a:lnTo>
                        <a:pt x="873" y="901"/>
                      </a:lnTo>
                      <a:lnTo>
                        <a:pt x="872" y="901"/>
                      </a:lnTo>
                      <a:lnTo>
                        <a:pt x="872" y="900"/>
                      </a:lnTo>
                      <a:lnTo>
                        <a:pt x="871" y="900"/>
                      </a:lnTo>
                      <a:lnTo>
                        <a:pt x="871" y="899"/>
                      </a:lnTo>
                      <a:lnTo>
                        <a:pt x="872" y="899"/>
                      </a:lnTo>
                      <a:lnTo>
                        <a:pt x="873" y="899"/>
                      </a:lnTo>
                      <a:lnTo>
                        <a:pt x="874" y="899"/>
                      </a:lnTo>
                      <a:lnTo>
                        <a:pt x="874" y="898"/>
                      </a:lnTo>
                      <a:lnTo>
                        <a:pt x="875" y="898"/>
                      </a:lnTo>
                      <a:lnTo>
                        <a:pt x="875" y="899"/>
                      </a:lnTo>
                      <a:lnTo>
                        <a:pt x="876" y="899"/>
                      </a:lnTo>
                      <a:lnTo>
                        <a:pt x="875" y="899"/>
                      </a:lnTo>
                      <a:close/>
                      <a:moveTo>
                        <a:pt x="849" y="1016"/>
                      </a:moveTo>
                      <a:lnTo>
                        <a:pt x="849" y="1017"/>
                      </a:lnTo>
                      <a:lnTo>
                        <a:pt x="848" y="1017"/>
                      </a:lnTo>
                      <a:lnTo>
                        <a:pt x="848" y="1018"/>
                      </a:lnTo>
                      <a:lnTo>
                        <a:pt x="849" y="1019"/>
                      </a:lnTo>
                      <a:lnTo>
                        <a:pt x="850" y="1018"/>
                      </a:lnTo>
                      <a:lnTo>
                        <a:pt x="850" y="1017"/>
                      </a:lnTo>
                      <a:lnTo>
                        <a:pt x="850" y="1016"/>
                      </a:lnTo>
                      <a:lnTo>
                        <a:pt x="850" y="1017"/>
                      </a:lnTo>
                      <a:lnTo>
                        <a:pt x="850" y="1018"/>
                      </a:lnTo>
                      <a:lnTo>
                        <a:pt x="850" y="1019"/>
                      </a:lnTo>
                      <a:lnTo>
                        <a:pt x="850" y="1020"/>
                      </a:lnTo>
                      <a:lnTo>
                        <a:pt x="850" y="1021"/>
                      </a:lnTo>
                      <a:lnTo>
                        <a:pt x="850" y="1020"/>
                      </a:lnTo>
                      <a:lnTo>
                        <a:pt x="849" y="1020"/>
                      </a:lnTo>
                      <a:lnTo>
                        <a:pt x="848" y="1020"/>
                      </a:lnTo>
                      <a:lnTo>
                        <a:pt x="847" y="1020"/>
                      </a:lnTo>
                      <a:lnTo>
                        <a:pt x="847" y="1019"/>
                      </a:lnTo>
                      <a:lnTo>
                        <a:pt x="846" y="1019"/>
                      </a:lnTo>
                      <a:lnTo>
                        <a:pt x="846" y="1018"/>
                      </a:lnTo>
                      <a:lnTo>
                        <a:pt x="846" y="1019"/>
                      </a:lnTo>
                      <a:lnTo>
                        <a:pt x="847" y="1019"/>
                      </a:lnTo>
                      <a:lnTo>
                        <a:pt x="847" y="1020"/>
                      </a:lnTo>
                      <a:lnTo>
                        <a:pt x="848" y="1020"/>
                      </a:lnTo>
                      <a:lnTo>
                        <a:pt x="848" y="1019"/>
                      </a:lnTo>
                      <a:lnTo>
                        <a:pt x="848" y="1018"/>
                      </a:lnTo>
                      <a:lnTo>
                        <a:pt x="848" y="1017"/>
                      </a:lnTo>
                      <a:lnTo>
                        <a:pt x="849" y="1016"/>
                      </a:lnTo>
                      <a:close/>
                      <a:moveTo>
                        <a:pt x="861" y="983"/>
                      </a:moveTo>
                      <a:lnTo>
                        <a:pt x="861" y="984"/>
                      </a:lnTo>
                      <a:lnTo>
                        <a:pt x="860" y="984"/>
                      </a:lnTo>
                      <a:lnTo>
                        <a:pt x="860" y="986"/>
                      </a:lnTo>
                      <a:lnTo>
                        <a:pt x="860" y="984"/>
                      </a:lnTo>
                      <a:lnTo>
                        <a:pt x="861" y="984"/>
                      </a:lnTo>
                      <a:lnTo>
                        <a:pt x="862" y="984"/>
                      </a:lnTo>
                      <a:lnTo>
                        <a:pt x="863" y="986"/>
                      </a:lnTo>
                      <a:lnTo>
                        <a:pt x="862" y="987"/>
                      </a:lnTo>
                      <a:lnTo>
                        <a:pt x="862" y="986"/>
                      </a:lnTo>
                      <a:lnTo>
                        <a:pt x="861" y="986"/>
                      </a:lnTo>
                      <a:lnTo>
                        <a:pt x="861" y="987"/>
                      </a:lnTo>
                      <a:lnTo>
                        <a:pt x="861" y="988"/>
                      </a:lnTo>
                      <a:lnTo>
                        <a:pt x="860" y="988"/>
                      </a:lnTo>
                      <a:lnTo>
                        <a:pt x="860" y="986"/>
                      </a:lnTo>
                      <a:lnTo>
                        <a:pt x="860" y="984"/>
                      </a:lnTo>
                      <a:lnTo>
                        <a:pt x="860" y="983"/>
                      </a:lnTo>
                      <a:lnTo>
                        <a:pt x="861" y="983"/>
                      </a:lnTo>
                      <a:close/>
                      <a:moveTo>
                        <a:pt x="866" y="984"/>
                      </a:moveTo>
                      <a:lnTo>
                        <a:pt x="867" y="984"/>
                      </a:lnTo>
                      <a:lnTo>
                        <a:pt x="867" y="986"/>
                      </a:lnTo>
                      <a:lnTo>
                        <a:pt x="869" y="986"/>
                      </a:lnTo>
                      <a:lnTo>
                        <a:pt x="870" y="987"/>
                      </a:lnTo>
                      <a:lnTo>
                        <a:pt x="869" y="987"/>
                      </a:lnTo>
                      <a:lnTo>
                        <a:pt x="869" y="988"/>
                      </a:lnTo>
                      <a:lnTo>
                        <a:pt x="867" y="988"/>
                      </a:lnTo>
                      <a:lnTo>
                        <a:pt x="866" y="987"/>
                      </a:lnTo>
                      <a:lnTo>
                        <a:pt x="867" y="987"/>
                      </a:lnTo>
                      <a:lnTo>
                        <a:pt x="866" y="987"/>
                      </a:lnTo>
                      <a:lnTo>
                        <a:pt x="866" y="986"/>
                      </a:lnTo>
                      <a:lnTo>
                        <a:pt x="865" y="984"/>
                      </a:lnTo>
                      <a:lnTo>
                        <a:pt x="866" y="984"/>
                      </a:lnTo>
                      <a:close/>
                      <a:moveTo>
                        <a:pt x="866" y="1005"/>
                      </a:moveTo>
                      <a:lnTo>
                        <a:pt x="866" y="1004"/>
                      </a:lnTo>
                      <a:lnTo>
                        <a:pt x="867" y="1005"/>
                      </a:lnTo>
                      <a:lnTo>
                        <a:pt x="867" y="1004"/>
                      </a:lnTo>
                      <a:lnTo>
                        <a:pt x="869" y="1004"/>
                      </a:lnTo>
                      <a:lnTo>
                        <a:pt x="869" y="1005"/>
                      </a:lnTo>
                      <a:lnTo>
                        <a:pt x="869" y="1006"/>
                      </a:lnTo>
                      <a:lnTo>
                        <a:pt x="867" y="1006"/>
                      </a:lnTo>
                      <a:lnTo>
                        <a:pt x="866" y="1006"/>
                      </a:lnTo>
                      <a:lnTo>
                        <a:pt x="864" y="1006"/>
                      </a:lnTo>
                      <a:lnTo>
                        <a:pt x="864" y="1005"/>
                      </a:lnTo>
                      <a:lnTo>
                        <a:pt x="863" y="1005"/>
                      </a:lnTo>
                      <a:lnTo>
                        <a:pt x="863" y="1004"/>
                      </a:lnTo>
                      <a:lnTo>
                        <a:pt x="864" y="1005"/>
                      </a:lnTo>
                      <a:lnTo>
                        <a:pt x="865" y="1005"/>
                      </a:lnTo>
                      <a:lnTo>
                        <a:pt x="865" y="1004"/>
                      </a:lnTo>
                      <a:lnTo>
                        <a:pt x="865" y="1003"/>
                      </a:lnTo>
                      <a:lnTo>
                        <a:pt x="866" y="1003"/>
                      </a:lnTo>
                      <a:lnTo>
                        <a:pt x="866" y="1004"/>
                      </a:lnTo>
                      <a:lnTo>
                        <a:pt x="865" y="1004"/>
                      </a:lnTo>
                      <a:lnTo>
                        <a:pt x="866" y="1005"/>
                      </a:lnTo>
                      <a:close/>
                      <a:moveTo>
                        <a:pt x="870" y="996"/>
                      </a:moveTo>
                      <a:lnTo>
                        <a:pt x="870" y="998"/>
                      </a:lnTo>
                      <a:lnTo>
                        <a:pt x="869" y="998"/>
                      </a:lnTo>
                      <a:lnTo>
                        <a:pt x="870" y="998"/>
                      </a:lnTo>
                      <a:lnTo>
                        <a:pt x="869" y="999"/>
                      </a:lnTo>
                      <a:lnTo>
                        <a:pt x="870" y="1000"/>
                      </a:lnTo>
                      <a:lnTo>
                        <a:pt x="869" y="1000"/>
                      </a:lnTo>
                      <a:lnTo>
                        <a:pt x="870" y="1000"/>
                      </a:lnTo>
                      <a:lnTo>
                        <a:pt x="869" y="1001"/>
                      </a:lnTo>
                      <a:lnTo>
                        <a:pt x="869" y="1000"/>
                      </a:lnTo>
                      <a:lnTo>
                        <a:pt x="867" y="999"/>
                      </a:lnTo>
                      <a:lnTo>
                        <a:pt x="866" y="998"/>
                      </a:lnTo>
                      <a:lnTo>
                        <a:pt x="866" y="996"/>
                      </a:lnTo>
                      <a:lnTo>
                        <a:pt x="866" y="998"/>
                      </a:lnTo>
                      <a:lnTo>
                        <a:pt x="867" y="998"/>
                      </a:lnTo>
                      <a:lnTo>
                        <a:pt x="869" y="998"/>
                      </a:lnTo>
                      <a:lnTo>
                        <a:pt x="869" y="996"/>
                      </a:lnTo>
                      <a:lnTo>
                        <a:pt x="870" y="996"/>
                      </a:lnTo>
                      <a:close/>
                      <a:moveTo>
                        <a:pt x="850" y="1004"/>
                      </a:moveTo>
                      <a:lnTo>
                        <a:pt x="850" y="1005"/>
                      </a:lnTo>
                      <a:lnTo>
                        <a:pt x="850" y="1006"/>
                      </a:lnTo>
                      <a:lnTo>
                        <a:pt x="849" y="1006"/>
                      </a:lnTo>
                      <a:lnTo>
                        <a:pt x="850" y="1006"/>
                      </a:lnTo>
                      <a:lnTo>
                        <a:pt x="850" y="1007"/>
                      </a:lnTo>
                      <a:lnTo>
                        <a:pt x="850" y="1008"/>
                      </a:lnTo>
                      <a:lnTo>
                        <a:pt x="851" y="1008"/>
                      </a:lnTo>
                      <a:lnTo>
                        <a:pt x="851" y="1009"/>
                      </a:lnTo>
                      <a:lnTo>
                        <a:pt x="850" y="1009"/>
                      </a:lnTo>
                      <a:lnTo>
                        <a:pt x="850" y="1008"/>
                      </a:lnTo>
                      <a:lnTo>
                        <a:pt x="849" y="1008"/>
                      </a:lnTo>
                      <a:lnTo>
                        <a:pt x="850" y="1008"/>
                      </a:lnTo>
                      <a:lnTo>
                        <a:pt x="849" y="1008"/>
                      </a:lnTo>
                      <a:lnTo>
                        <a:pt x="849" y="1007"/>
                      </a:lnTo>
                      <a:lnTo>
                        <a:pt x="850" y="1007"/>
                      </a:lnTo>
                      <a:lnTo>
                        <a:pt x="849" y="1007"/>
                      </a:lnTo>
                      <a:lnTo>
                        <a:pt x="849" y="1006"/>
                      </a:lnTo>
                      <a:lnTo>
                        <a:pt x="849" y="1005"/>
                      </a:lnTo>
                      <a:lnTo>
                        <a:pt x="849" y="1004"/>
                      </a:lnTo>
                      <a:lnTo>
                        <a:pt x="850" y="1004"/>
                      </a:lnTo>
                      <a:close/>
                      <a:moveTo>
                        <a:pt x="891" y="947"/>
                      </a:moveTo>
                      <a:lnTo>
                        <a:pt x="891" y="948"/>
                      </a:lnTo>
                      <a:lnTo>
                        <a:pt x="890" y="948"/>
                      </a:lnTo>
                      <a:lnTo>
                        <a:pt x="888" y="948"/>
                      </a:lnTo>
                      <a:lnTo>
                        <a:pt x="887" y="948"/>
                      </a:lnTo>
                      <a:lnTo>
                        <a:pt x="887" y="947"/>
                      </a:lnTo>
                      <a:lnTo>
                        <a:pt x="889" y="947"/>
                      </a:lnTo>
                      <a:lnTo>
                        <a:pt x="889" y="945"/>
                      </a:lnTo>
                      <a:lnTo>
                        <a:pt x="890" y="945"/>
                      </a:lnTo>
                      <a:lnTo>
                        <a:pt x="891" y="947"/>
                      </a:lnTo>
                      <a:close/>
                      <a:moveTo>
                        <a:pt x="841" y="1004"/>
                      </a:moveTo>
                      <a:lnTo>
                        <a:pt x="842" y="1004"/>
                      </a:lnTo>
                      <a:lnTo>
                        <a:pt x="844" y="1004"/>
                      </a:lnTo>
                      <a:lnTo>
                        <a:pt x="844" y="1005"/>
                      </a:lnTo>
                      <a:lnTo>
                        <a:pt x="842" y="1005"/>
                      </a:lnTo>
                      <a:lnTo>
                        <a:pt x="842" y="1006"/>
                      </a:lnTo>
                      <a:lnTo>
                        <a:pt x="844" y="1006"/>
                      </a:lnTo>
                      <a:lnTo>
                        <a:pt x="844" y="1005"/>
                      </a:lnTo>
                      <a:lnTo>
                        <a:pt x="844" y="1006"/>
                      </a:lnTo>
                      <a:lnTo>
                        <a:pt x="845" y="1006"/>
                      </a:lnTo>
                      <a:lnTo>
                        <a:pt x="845" y="1007"/>
                      </a:lnTo>
                      <a:lnTo>
                        <a:pt x="846" y="1007"/>
                      </a:lnTo>
                      <a:lnTo>
                        <a:pt x="846" y="1008"/>
                      </a:lnTo>
                      <a:lnTo>
                        <a:pt x="845" y="1008"/>
                      </a:lnTo>
                      <a:lnTo>
                        <a:pt x="845" y="1007"/>
                      </a:lnTo>
                      <a:lnTo>
                        <a:pt x="845" y="1006"/>
                      </a:lnTo>
                      <a:lnTo>
                        <a:pt x="844" y="1006"/>
                      </a:lnTo>
                      <a:lnTo>
                        <a:pt x="842" y="1006"/>
                      </a:lnTo>
                      <a:lnTo>
                        <a:pt x="844" y="1007"/>
                      </a:lnTo>
                      <a:lnTo>
                        <a:pt x="844" y="1008"/>
                      </a:lnTo>
                      <a:lnTo>
                        <a:pt x="845" y="1008"/>
                      </a:lnTo>
                      <a:lnTo>
                        <a:pt x="844" y="1008"/>
                      </a:lnTo>
                      <a:lnTo>
                        <a:pt x="844" y="1007"/>
                      </a:lnTo>
                      <a:lnTo>
                        <a:pt x="842" y="1006"/>
                      </a:lnTo>
                      <a:lnTo>
                        <a:pt x="842" y="1007"/>
                      </a:lnTo>
                      <a:lnTo>
                        <a:pt x="842" y="1008"/>
                      </a:lnTo>
                      <a:lnTo>
                        <a:pt x="841" y="1008"/>
                      </a:lnTo>
                      <a:lnTo>
                        <a:pt x="842" y="1008"/>
                      </a:lnTo>
                      <a:lnTo>
                        <a:pt x="842" y="1009"/>
                      </a:lnTo>
                      <a:lnTo>
                        <a:pt x="844" y="1009"/>
                      </a:lnTo>
                      <a:lnTo>
                        <a:pt x="841" y="1009"/>
                      </a:lnTo>
                      <a:lnTo>
                        <a:pt x="841" y="1008"/>
                      </a:lnTo>
                      <a:lnTo>
                        <a:pt x="842" y="1008"/>
                      </a:lnTo>
                      <a:lnTo>
                        <a:pt x="841" y="1008"/>
                      </a:lnTo>
                      <a:lnTo>
                        <a:pt x="842" y="1007"/>
                      </a:lnTo>
                      <a:lnTo>
                        <a:pt x="842" y="1006"/>
                      </a:lnTo>
                      <a:lnTo>
                        <a:pt x="842" y="1005"/>
                      </a:lnTo>
                      <a:lnTo>
                        <a:pt x="841" y="1004"/>
                      </a:lnTo>
                      <a:lnTo>
                        <a:pt x="842" y="1004"/>
                      </a:lnTo>
                      <a:lnTo>
                        <a:pt x="841" y="1004"/>
                      </a:lnTo>
                      <a:close/>
                      <a:moveTo>
                        <a:pt x="888" y="950"/>
                      </a:moveTo>
                      <a:lnTo>
                        <a:pt x="888" y="949"/>
                      </a:lnTo>
                      <a:lnTo>
                        <a:pt x="888" y="950"/>
                      </a:lnTo>
                      <a:lnTo>
                        <a:pt x="889" y="950"/>
                      </a:lnTo>
                      <a:lnTo>
                        <a:pt x="889" y="949"/>
                      </a:lnTo>
                      <a:lnTo>
                        <a:pt x="889" y="950"/>
                      </a:lnTo>
                      <a:lnTo>
                        <a:pt x="889" y="951"/>
                      </a:lnTo>
                      <a:lnTo>
                        <a:pt x="888" y="951"/>
                      </a:lnTo>
                      <a:lnTo>
                        <a:pt x="887" y="951"/>
                      </a:lnTo>
                      <a:lnTo>
                        <a:pt x="887" y="950"/>
                      </a:lnTo>
                      <a:lnTo>
                        <a:pt x="886" y="950"/>
                      </a:lnTo>
                      <a:lnTo>
                        <a:pt x="887" y="949"/>
                      </a:lnTo>
                      <a:lnTo>
                        <a:pt x="887" y="948"/>
                      </a:lnTo>
                      <a:lnTo>
                        <a:pt x="888" y="948"/>
                      </a:lnTo>
                      <a:lnTo>
                        <a:pt x="888" y="949"/>
                      </a:lnTo>
                      <a:lnTo>
                        <a:pt x="888" y="950"/>
                      </a:lnTo>
                      <a:close/>
                      <a:moveTo>
                        <a:pt x="841" y="980"/>
                      </a:moveTo>
                      <a:lnTo>
                        <a:pt x="842" y="980"/>
                      </a:lnTo>
                      <a:lnTo>
                        <a:pt x="842" y="981"/>
                      </a:lnTo>
                      <a:lnTo>
                        <a:pt x="844" y="981"/>
                      </a:lnTo>
                      <a:lnTo>
                        <a:pt x="844" y="982"/>
                      </a:lnTo>
                      <a:lnTo>
                        <a:pt x="844" y="983"/>
                      </a:lnTo>
                      <a:lnTo>
                        <a:pt x="842" y="983"/>
                      </a:lnTo>
                      <a:lnTo>
                        <a:pt x="842" y="984"/>
                      </a:lnTo>
                      <a:lnTo>
                        <a:pt x="842" y="983"/>
                      </a:lnTo>
                      <a:lnTo>
                        <a:pt x="841" y="983"/>
                      </a:lnTo>
                      <a:lnTo>
                        <a:pt x="842" y="982"/>
                      </a:lnTo>
                      <a:lnTo>
                        <a:pt x="842" y="983"/>
                      </a:lnTo>
                      <a:lnTo>
                        <a:pt x="844" y="982"/>
                      </a:lnTo>
                      <a:lnTo>
                        <a:pt x="842" y="982"/>
                      </a:lnTo>
                      <a:lnTo>
                        <a:pt x="841" y="982"/>
                      </a:lnTo>
                      <a:lnTo>
                        <a:pt x="841" y="981"/>
                      </a:lnTo>
                      <a:lnTo>
                        <a:pt x="840" y="981"/>
                      </a:lnTo>
                      <a:lnTo>
                        <a:pt x="840" y="982"/>
                      </a:lnTo>
                      <a:lnTo>
                        <a:pt x="841" y="982"/>
                      </a:lnTo>
                      <a:lnTo>
                        <a:pt x="841" y="983"/>
                      </a:lnTo>
                      <a:lnTo>
                        <a:pt x="841" y="982"/>
                      </a:lnTo>
                      <a:lnTo>
                        <a:pt x="841" y="983"/>
                      </a:lnTo>
                      <a:lnTo>
                        <a:pt x="841" y="982"/>
                      </a:lnTo>
                      <a:lnTo>
                        <a:pt x="840" y="982"/>
                      </a:lnTo>
                      <a:lnTo>
                        <a:pt x="840" y="981"/>
                      </a:lnTo>
                      <a:lnTo>
                        <a:pt x="841" y="981"/>
                      </a:lnTo>
                      <a:lnTo>
                        <a:pt x="841" y="980"/>
                      </a:lnTo>
                      <a:close/>
                      <a:moveTo>
                        <a:pt x="863" y="1058"/>
                      </a:moveTo>
                      <a:lnTo>
                        <a:pt x="863" y="1059"/>
                      </a:lnTo>
                      <a:lnTo>
                        <a:pt x="864" y="1059"/>
                      </a:lnTo>
                      <a:lnTo>
                        <a:pt x="864" y="1060"/>
                      </a:lnTo>
                      <a:lnTo>
                        <a:pt x="864" y="1061"/>
                      </a:lnTo>
                      <a:lnTo>
                        <a:pt x="863" y="1060"/>
                      </a:lnTo>
                      <a:lnTo>
                        <a:pt x="862" y="1060"/>
                      </a:lnTo>
                      <a:lnTo>
                        <a:pt x="862" y="1059"/>
                      </a:lnTo>
                      <a:lnTo>
                        <a:pt x="861" y="1059"/>
                      </a:lnTo>
                      <a:lnTo>
                        <a:pt x="861" y="1058"/>
                      </a:lnTo>
                      <a:lnTo>
                        <a:pt x="861" y="1059"/>
                      </a:lnTo>
                      <a:lnTo>
                        <a:pt x="861" y="1058"/>
                      </a:lnTo>
                      <a:lnTo>
                        <a:pt x="862" y="1057"/>
                      </a:lnTo>
                      <a:lnTo>
                        <a:pt x="863" y="1057"/>
                      </a:lnTo>
                      <a:lnTo>
                        <a:pt x="863" y="1058"/>
                      </a:lnTo>
                      <a:close/>
                      <a:moveTo>
                        <a:pt x="885" y="1012"/>
                      </a:moveTo>
                      <a:lnTo>
                        <a:pt x="884" y="1012"/>
                      </a:lnTo>
                      <a:lnTo>
                        <a:pt x="884" y="1013"/>
                      </a:lnTo>
                      <a:lnTo>
                        <a:pt x="883" y="1013"/>
                      </a:lnTo>
                      <a:lnTo>
                        <a:pt x="882" y="1013"/>
                      </a:lnTo>
                      <a:lnTo>
                        <a:pt x="882" y="1014"/>
                      </a:lnTo>
                      <a:lnTo>
                        <a:pt x="882" y="1013"/>
                      </a:lnTo>
                      <a:lnTo>
                        <a:pt x="880" y="1012"/>
                      </a:lnTo>
                      <a:lnTo>
                        <a:pt x="882" y="1012"/>
                      </a:lnTo>
                      <a:lnTo>
                        <a:pt x="883" y="1012"/>
                      </a:lnTo>
                      <a:lnTo>
                        <a:pt x="884" y="1012"/>
                      </a:lnTo>
                      <a:lnTo>
                        <a:pt x="884" y="1011"/>
                      </a:lnTo>
                      <a:lnTo>
                        <a:pt x="885" y="1011"/>
                      </a:lnTo>
                      <a:lnTo>
                        <a:pt x="885" y="1009"/>
                      </a:lnTo>
                      <a:lnTo>
                        <a:pt x="885" y="1011"/>
                      </a:lnTo>
                      <a:lnTo>
                        <a:pt x="885" y="1012"/>
                      </a:lnTo>
                      <a:close/>
                      <a:moveTo>
                        <a:pt x="855" y="982"/>
                      </a:moveTo>
                      <a:lnTo>
                        <a:pt x="857" y="982"/>
                      </a:lnTo>
                      <a:lnTo>
                        <a:pt x="857" y="983"/>
                      </a:lnTo>
                      <a:lnTo>
                        <a:pt x="857" y="984"/>
                      </a:lnTo>
                      <a:lnTo>
                        <a:pt x="855" y="984"/>
                      </a:lnTo>
                      <a:lnTo>
                        <a:pt x="854" y="984"/>
                      </a:lnTo>
                      <a:lnTo>
                        <a:pt x="853" y="984"/>
                      </a:lnTo>
                      <a:lnTo>
                        <a:pt x="852" y="984"/>
                      </a:lnTo>
                      <a:lnTo>
                        <a:pt x="852" y="983"/>
                      </a:lnTo>
                      <a:lnTo>
                        <a:pt x="853" y="983"/>
                      </a:lnTo>
                      <a:lnTo>
                        <a:pt x="853" y="984"/>
                      </a:lnTo>
                      <a:lnTo>
                        <a:pt x="854" y="984"/>
                      </a:lnTo>
                      <a:lnTo>
                        <a:pt x="855" y="984"/>
                      </a:lnTo>
                      <a:lnTo>
                        <a:pt x="854" y="983"/>
                      </a:lnTo>
                      <a:lnTo>
                        <a:pt x="853" y="983"/>
                      </a:lnTo>
                      <a:lnTo>
                        <a:pt x="854" y="983"/>
                      </a:lnTo>
                      <a:lnTo>
                        <a:pt x="855" y="983"/>
                      </a:lnTo>
                      <a:lnTo>
                        <a:pt x="855" y="982"/>
                      </a:lnTo>
                      <a:close/>
                      <a:moveTo>
                        <a:pt x="866" y="999"/>
                      </a:moveTo>
                      <a:lnTo>
                        <a:pt x="866" y="1000"/>
                      </a:lnTo>
                      <a:lnTo>
                        <a:pt x="867" y="1000"/>
                      </a:lnTo>
                      <a:lnTo>
                        <a:pt x="867" y="1001"/>
                      </a:lnTo>
                      <a:lnTo>
                        <a:pt x="867" y="1002"/>
                      </a:lnTo>
                      <a:lnTo>
                        <a:pt x="866" y="1002"/>
                      </a:lnTo>
                      <a:lnTo>
                        <a:pt x="866" y="1001"/>
                      </a:lnTo>
                      <a:lnTo>
                        <a:pt x="866" y="1002"/>
                      </a:lnTo>
                      <a:lnTo>
                        <a:pt x="865" y="1002"/>
                      </a:lnTo>
                      <a:lnTo>
                        <a:pt x="864" y="1002"/>
                      </a:lnTo>
                      <a:lnTo>
                        <a:pt x="865" y="1002"/>
                      </a:lnTo>
                      <a:lnTo>
                        <a:pt x="865" y="1001"/>
                      </a:lnTo>
                      <a:lnTo>
                        <a:pt x="864" y="1001"/>
                      </a:lnTo>
                      <a:lnTo>
                        <a:pt x="865" y="1001"/>
                      </a:lnTo>
                      <a:lnTo>
                        <a:pt x="864" y="1001"/>
                      </a:lnTo>
                      <a:lnTo>
                        <a:pt x="864" y="1000"/>
                      </a:lnTo>
                      <a:lnTo>
                        <a:pt x="865" y="1000"/>
                      </a:lnTo>
                      <a:lnTo>
                        <a:pt x="865" y="1001"/>
                      </a:lnTo>
                      <a:lnTo>
                        <a:pt x="866" y="1001"/>
                      </a:lnTo>
                      <a:lnTo>
                        <a:pt x="866" y="1000"/>
                      </a:lnTo>
                      <a:lnTo>
                        <a:pt x="865" y="1000"/>
                      </a:lnTo>
                      <a:lnTo>
                        <a:pt x="865" y="999"/>
                      </a:lnTo>
                      <a:lnTo>
                        <a:pt x="866" y="1000"/>
                      </a:lnTo>
                      <a:lnTo>
                        <a:pt x="866" y="999"/>
                      </a:lnTo>
                      <a:close/>
                      <a:moveTo>
                        <a:pt x="789" y="873"/>
                      </a:moveTo>
                      <a:lnTo>
                        <a:pt x="789" y="872"/>
                      </a:lnTo>
                      <a:lnTo>
                        <a:pt x="788" y="872"/>
                      </a:lnTo>
                      <a:lnTo>
                        <a:pt x="789" y="872"/>
                      </a:lnTo>
                      <a:lnTo>
                        <a:pt x="789" y="871"/>
                      </a:lnTo>
                      <a:lnTo>
                        <a:pt x="789" y="870"/>
                      </a:lnTo>
                      <a:lnTo>
                        <a:pt x="790" y="871"/>
                      </a:lnTo>
                      <a:lnTo>
                        <a:pt x="790" y="872"/>
                      </a:lnTo>
                      <a:lnTo>
                        <a:pt x="790" y="873"/>
                      </a:lnTo>
                      <a:lnTo>
                        <a:pt x="789" y="873"/>
                      </a:lnTo>
                      <a:close/>
                      <a:moveTo>
                        <a:pt x="842" y="1009"/>
                      </a:moveTo>
                      <a:lnTo>
                        <a:pt x="846" y="1009"/>
                      </a:lnTo>
                      <a:lnTo>
                        <a:pt x="846" y="1011"/>
                      </a:lnTo>
                      <a:lnTo>
                        <a:pt x="846" y="1012"/>
                      </a:lnTo>
                      <a:lnTo>
                        <a:pt x="846" y="1011"/>
                      </a:lnTo>
                      <a:lnTo>
                        <a:pt x="846" y="1012"/>
                      </a:lnTo>
                      <a:lnTo>
                        <a:pt x="845" y="1011"/>
                      </a:lnTo>
                      <a:lnTo>
                        <a:pt x="846" y="1012"/>
                      </a:lnTo>
                      <a:lnTo>
                        <a:pt x="847" y="1012"/>
                      </a:lnTo>
                      <a:lnTo>
                        <a:pt x="847" y="1013"/>
                      </a:lnTo>
                      <a:lnTo>
                        <a:pt x="847" y="1012"/>
                      </a:lnTo>
                      <a:lnTo>
                        <a:pt x="846" y="1012"/>
                      </a:lnTo>
                      <a:lnTo>
                        <a:pt x="845" y="1012"/>
                      </a:lnTo>
                      <a:lnTo>
                        <a:pt x="845" y="1011"/>
                      </a:lnTo>
                      <a:lnTo>
                        <a:pt x="845" y="1012"/>
                      </a:lnTo>
                      <a:lnTo>
                        <a:pt x="844" y="1012"/>
                      </a:lnTo>
                      <a:lnTo>
                        <a:pt x="844" y="1011"/>
                      </a:lnTo>
                      <a:lnTo>
                        <a:pt x="842" y="1011"/>
                      </a:lnTo>
                      <a:lnTo>
                        <a:pt x="842" y="1009"/>
                      </a:lnTo>
                      <a:lnTo>
                        <a:pt x="842" y="1011"/>
                      </a:lnTo>
                      <a:lnTo>
                        <a:pt x="841" y="1011"/>
                      </a:lnTo>
                      <a:lnTo>
                        <a:pt x="841" y="1009"/>
                      </a:lnTo>
                      <a:lnTo>
                        <a:pt x="842" y="1009"/>
                      </a:lnTo>
                      <a:close/>
                      <a:moveTo>
                        <a:pt x="895" y="1013"/>
                      </a:moveTo>
                      <a:lnTo>
                        <a:pt x="896" y="1013"/>
                      </a:lnTo>
                      <a:lnTo>
                        <a:pt x="897" y="1013"/>
                      </a:lnTo>
                      <a:lnTo>
                        <a:pt x="897" y="1014"/>
                      </a:lnTo>
                      <a:lnTo>
                        <a:pt x="896" y="1014"/>
                      </a:lnTo>
                      <a:lnTo>
                        <a:pt x="896" y="1015"/>
                      </a:lnTo>
                      <a:lnTo>
                        <a:pt x="895" y="1015"/>
                      </a:lnTo>
                      <a:lnTo>
                        <a:pt x="893" y="1015"/>
                      </a:lnTo>
                      <a:lnTo>
                        <a:pt x="893" y="1014"/>
                      </a:lnTo>
                      <a:lnTo>
                        <a:pt x="895" y="1014"/>
                      </a:lnTo>
                      <a:lnTo>
                        <a:pt x="895" y="1013"/>
                      </a:lnTo>
                      <a:close/>
                      <a:moveTo>
                        <a:pt x="886" y="981"/>
                      </a:moveTo>
                      <a:lnTo>
                        <a:pt x="886" y="982"/>
                      </a:lnTo>
                      <a:lnTo>
                        <a:pt x="886" y="983"/>
                      </a:lnTo>
                      <a:lnTo>
                        <a:pt x="885" y="982"/>
                      </a:lnTo>
                      <a:lnTo>
                        <a:pt x="885" y="983"/>
                      </a:lnTo>
                      <a:lnTo>
                        <a:pt x="884" y="983"/>
                      </a:lnTo>
                      <a:lnTo>
                        <a:pt x="884" y="982"/>
                      </a:lnTo>
                      <a:lnTo>
                        <a:pt x="884" y="981"/>
                      </a:lnTo>
                      <a:lnTo>
                        <a:pt x="885" y="981"/>
                      </a:lnTo>
                      <a:lnTo>
                        <a:pt x="886" y="981"/>
                      </a:lnTo>
                      <a:close/>
                      <a:moveTo>
                        <a:pt x="844" y="973"/>
                      </a:moveTo>
                      <a:lnTo>
                        <a:pt x="844" y="974"/>
                      </a:lnTo>
                      <a:lnTo>
                        <a:pt x="844" y="973"/>
                      </a:lnTo>
                      <a:lnTo>
                        <a:pt x="842" y="973"/>
                      </a:lnTo>
                      <a:lnTo>
                        <a:pt x="841" y="973"/>
                      </a:lnTo>
                      <a:lnTo>
                        <a:pt x="841" y="971"/>
                      </a:lnTo>
                      <a:lnTo>
                        <a:pt x="841" y="970"/>
                      </a:lnTo>
                      <a:lnTo>
                        <a:pt x="841" y="969"/>
                      </a:lnTo>
                      <a:lnTo>
                        <a:pt x="842" y="969"/>
                      </a:lnTo>
                      <a:lnTo>
                        <a:pt x="842" y="970"/>
                      </a:lnTo>
                      <a:lnTo>
                        <a:pt x="842" y="971"/>
                      </a:lnTo>
                      <a:lnTo>
                        <a:pt x="844" y="971"/>
                      </a:lnTo>
                      <a:lnTo>
                        <a:pt x="844" y="973"/>
                      </a:lnTo>
                      <a:close/>
                      <a:moveTo>
                        <a:pt x="803" y="767"/>
                      </a:moveTo>
                      <a:lnTo>
                        <a:pt x="802" y="767"/>
                      </a:lnTo>
                      <a:lnTo>
                        <a:pt x="801" y="767"/>
                      </a:lnTo>
                      <a:lnTo>
                        <a:pt x="801" y="765"/>
                      </a:lnTo>
                      <a:lnTo>
                        <a:pt x="800" y="764"/>
                      </a:lnTo>
                      <a:lnTo>
                        <a:pt x="801" y="764"/>
                      </a:lnTo>
                      <a:lnTo>
                        <a:pt x="801" y="765"/>
                      </a:lnTo>
                      <a:lnTo>
                        <a:pt x="802" y="765"/>
                      </a:lnTo>
                      <a:lnTo>
                        <a:pt x="803" y="767"/>
                      </a:lnTo>
                      <a:close/>
                      <a:moveTo>
                        <a:pt x="825" y="961"/>
                      </a:moveTo>
                      <a:lnTo>
                        <a:pt x="825" y="962"/>
                      </a:lnTo>
                      <a:lnTo>
                        <a:pt x="825" y="963"/>
                      </a:lnTo>
                      <a:lnTo>
                        <a:pt x="824" y="962"/>
                      </a:lnTo>
                      <a:lnTo>
                        <a:pt x="823" y="962"/>
                      </a:lnTo>
                      <a:lnTo>
                        <a:pt x="823" y="961"/>
                      </a:lnTo>
                      <a:lnTo>
                        <a:pt x="824" y="961"/>
                      </a:lnTo>
                      <a:lnTo>
                        <a:pt x="824" y="960"/>
                      </a:lnTo>
                      <a:lnTo>
                        <a:pt x="825" y="960"/>
                      </a:lnTo>
                      <a:lnTo>
                        <a:pt x="825" y="961"/>
                      </a:lnTo>
                      <a:close/>
                      <a:moveTo>
                        <a:pt x="840" y="1016"/>
                      </a:moveTo>
                      <a:lnTo>
                        <a:pt x="841" y="1016"/>
                      </a:lnTo>
                      <a:lnTo>
                        <a:pt x="841" y="1017"/>
                      </a:lnTo>
                      <a:lnTo>
                        <a:pt x="842" y="1017"/>
                      </a:lnTo>
                      <a:lnTo>
                        <a:pt x="844" y="1017"/>
                      </a:lnTo>
                      <a:lnTo>
                        <a:pt x="845" y="1017"/>
                      </a:lnTo>
                      <a:lnTo>
                        <a:pt x="845" y="1018"/>
                      </a:lnTo>
                      <a:lnTo>
                        <a:pt x="844" y="1018"/>
                      </a:lnTo>
                      <a:lnTo>
                        <a:pt x="844" y="1017"/>
                      </a:lnTo>
                      <a:lnTo>
                        <a:pt x="842" y="1017"/>
                      </a:lnTo>
                      <a:lnTo>
                        <a:pt x="841" y="1017"/>
                      </a:lnTo>
                      <a:lnTo>
                        <a:pt x="840" y="1017"/>
                      </a:lnTo>
                      <a:lnTo>
                        <a:pt x="840" y="1016"/>
                      </a:lnTo>
                      <a:close/>
                      <a:moveTo>
                        <a:pt x="880" y="915"/>
                      </a:moveTo>
                      <a:lnTo>
                        <a:pt x="883" y="916"/>
                      </a:lnTo>
                      <a:lnTo>
                        <a:pt x="884" y="917"/>
                      </a:lnTo>
                      <a:lnTo>
                        <a:pt x="884" y="918"/>
                      </a:lnTo>
                      <a:lnTo>
                        <a:pt x="884" y="917"/>
                      </a:lnTo>
                      <a:lnTo>
                        <a:pt x="883" y="917"/>
                      </a:lnTo>
                      <a:lnTo>
                        <a:pt x="883" y="916"/>
                      </a:lnTo>
                      <a:lnTo>
                        <a:pt x="882" y="916"/>
                      </a:lnTo>
                      <a:lnTo>
                        <a:pt x="880" y="916"/>
                      </a:lnTo>
                      <a:lnTo>
                        <a:pt x="879" y="916"/>
                      </a:lnTo>
                      <a:lnTo>
                        <a:pt x="880" y="915"/>
                      </a:lnTo>
                      <a:close/>
                      <a:moveTo>
                        <a:pt x="883" y="923"/>
                      </a:moveTo>
                      <a:lnTo>
                        <a:pt x="882" y="923"/>
                      </a:lnTo>
                      <a:lnTo>
                        <a:pt x="882" y="922"/>
                      </a:lnTo>
                      <a:lnTo>
                        <a:pt x="883" y="922"/>
                      </a:lnTo>
                      <a:lnTo>
                        <a:pt x="883" y="921"/>
                      </a:lnTo>
                      <a:lnTo>
                        <a:pt x="883" y="922"/>
                      </a:lnTo>
                      <a:lnTo>
                        <a:pt x="884" y="922"/>
                      </a:lnTo>
                      <a:lnTo>
                        <a:pt x="883" y="922"/>
                      </a:lnTo>
                      <a:lnTo>
                        <a:pt x="884" y="923"/>
                      </a:lnTo>
                      <a:lnTo>
                        <a:pt x="883" y="923"/>
                      </a:lnTo>
                      <a:close/>
                      <a:moveTo>
                        <a:pt x="846" y="1021"/>
                      </a:moveTo>
                      <a:lnTo>
                        <a:pt x="847" y="1020"/>
                      </a:lnTo>
                      <a:lnTo>
                        <a:pt x="847" y="1021"/>
                      </a:lnTo>
                      <a:lnTo>
                        <a:pt x="847" y="1022"/>
                      </a:lnTo>
                      <a:lnTo>
                        <a:pt x="846" y="1022"/>
                      </a:lnTo>
                      <a:lnTo>
                        <a:pt x="846" y="1021"/>
                      </a:lnTo>
                      <a:lnTo>
                        <a:pt x="846" y="1022"/>
                      </a:lnTo>
                      <a:lnTo>
                        <a:pt x="845" y="1022"/>
                      </a:lnTo>
                      <a:lnTo>
                        <a:pt x="845" y="1021"/>
                      </a:lnTo>
                      <a:lnTo>
                        <a:pt x="846" y="1021"/>
                      </a:lnTo>
                      <a:lnTo>
                        <a:pt x="845" y="1021"/>
                      </a:lnTo>
                      <a:lnTo>
                        <a:pt x="846" y="1021"/>
                      </a:lnTo>
                      <a:lnTo>
                        <a:pt x="846" y="1020"/>
                      </a:lnTo>
                      <a:lnTo>
                        <a:pt x="847" y="1020"/>
                      </a:lnTo>
                      <a:lnTo>
                        <a:pt x="846" y="1020"/>
                      </a:lnTo>
                      <a:lnTo>
                        <a:pt x="846" y="1021"/>
                      </a:lnTo>
                      <a:close/>
                      <a:moveTo>
                        <a:pt x="862" y="1004"/>
                      </a:moveTo>
                      <a:lnTo>
                        <a:pt x="863" y="1004"/>
                      </a:lnTo>
                      <a:lnTo>
                        <a:pt x="863" y="1005"/>
                      </a:lnTo>
                      <a:lnTo>
                        <a:pt x="861" y="1006"/>
                      </a:lnTo>
                      <a:lnTo>
                        <a:pt x="860" y="1005"/>
                      </a:lnTo>
                      <a:lnTo>
                        <a:pt x="859" y="1005"/>
                      </a:lnTo>
                      <a:lnTo>
                        <a:pt x="860" y="1005"/>
                      </a:lnTo>
                      <a:lnTo>
                        <a:pt x="860" y="1004"/>
                      </a:lnTo>
                      <a:lnTo>
                        <a:pt x="860" y="1005"/>
                      </a:lnTo>
                      <a:lnTo>
                        <a:pt x="861" y="1005"/>
                      </a:lnTo>
                      <a:lnTo>
                        <a:pt x="862" y="1004"/>
                      </a:lnTo>
                      <a:close/>
                      <a:moveTo>
                        <a:pt x="859" y="982"/>
                      </a:moveTo>
                      <a:lnTo>
                        <a:pt x="859" y="983"/>
                      </a:lnTo>
                      <a:lnTo>
                        <a:pt x="857" y="983"/>
                      </a:lnTo>
                      <a:lnTo>
                        <a:pt x="858" y="983"/>
                      </a:lnTo>
                      <a:lnTo>
                        <a:pt x="858" y="982"/>
                      </a:lnTo>
                      <a:lnTo>
                        <a:pt x="858" y="981"/>
                      </a:lnTo>
                      <a:lnTo>
                        <a:pt x="859" y="982"/>
                      </a:lnTo>
                      <a:close/>
                      <a:moveTo>
                        <a:pt x="855" y="1014"/>
                      </a:moveTo>
                      <a:lnTo>
                        <a:pt x="857" y="1014"/>
                      </a:lnTo>
                      <a:lnTo>
                        <a:pt x="858" y="1014"/>
                      </a:lnTo>
                      <a:lnTo>
                        <a:pt x="857" y="1015"/>
                      </a:lnTo>
                      <a:lnTo>
                        <a:pt x="855" y="1015"/>
                      </a:lnTo>
                      <a:lnTo>
                        <a:pt x="854" y="1015"/>
                      </a:lnTo>
                      <a:lnTo>
                        <a:pt x="853" y="1014"/>
                      </a:lnTo>
                      <a:lnTo>
                        <a:pt x="854" y="1014"/>
                      </a:lnTo>
                      <a:lnTo>
                        <a:pt x="854" y="1013"/>
                      </a:lnTo>
                      <a:lnTo>
                        <a:pt x="854" y="1014"/>
                      </a:lnTo>
                      <a:lnTo>
                        <a:pt x="855" y="1014"/>
                      </a:lnTo>
                      <a:close/>
                      <a:moveTo>
                        <a:pt x="872" y="893"/>
                      </a:moveTo>
                      <a:lnTo>
                        <a:pt x="873" y="893"/>
                      </a:lnTo>
                      <a:lnTo>
                        <a:pt x="873" y="896"/>
                      </a:lnTo>
                      <a:lnTo>
                        <a:pt x="872" y="896"/>
                      </a:lnTo>
                      <a:lnTo>
                        <a:pt x="872" y="893"/>
                      </a:lnTo>
                      <a:close/>
                      <a:moveTo>
                        <a:pt x="892" y="1013"/>
                      </a:moveTo>
                      <a:lnTo>
                        <a:pt x="892" y="1014"/>
                      </a:lnTo>
                      <a:lnTo>
                        <a:pt x="893" y="1014"/>
                      </a:lnTo>
                      <a:lnTo>
                        <a:pt x="892" y="1014"/>
                      </a:lnTo>
                      <a:lnTo>
                        <a:pt x="892" y="1015"/>
                      </a:lnTo>
                      <a:lnTo>
                        <a:pt x="891" y="1015"/>
                      </a:lnTo>
                      <a:lnTo>
                        <a:pt x="891" y="1014"/>
                      </a:lnTo>
                      <a:lnTo>
                        <a:pt x="892" y="1014"/>
                      </a:lnTo>
                      <a:lnTo>
                        <a:pt x="892" y="1013"/>
                      </a:lnTo>
                      <a:close/>
                      <a:moveTo>
                        <a:pt x="866" y="893"/>
                      </a:moveTo>
                      <a:lnTo>
                        <a:pt x="867" y="893"/>
                      </a:lnTo>
                      <a:lnTo>
                        <a:pt x="867" y="894"/>
                      </a:lnTo>
                      <a:lnTo>
                        <a:pt x="866" y="894"/>
                      </a:lnTo>
                      <a:lnTo>
                        <a:pt x="866" y="893"/>
                      </a:lnTo>
                      <a:lnTo>
                        <a:pt x="865" y="893"/>
                      </a:lnTo>
                      <a:lnTo>
                        <a:pt x="864" y="893"/>
                      </a:lnTo>
                      <a:lnTo>
                        <a:pt x="865" y="893"/>
                      </a:lnTo>
                      <a:lnTo>
                        <a:pt x="866" y="892"/>
                      </a:lnTo>
                      <a:lnTo>
                        <a:pt x="866" y="893"/>
                      </a:lnTo>
                      <a:close/>
                      <a:moveTo>
                        <a:pt x="846" y="1008"/>
                      </a:moveTo>
                      <a:lnTo>
                        <a:pt x="846" y="1009"/>
                      </a:lnTo>
                      <a:lnTo>
                        <a:pt x="844" y="1009"/>
                      </a:lnTo>
                      <a:lnTo>
                        <a:pt x="845" y="1009"/>
                      </a:lnTo>
                      <a:lnTo>
                        <a:pt x="845" y="1008"/>
                      </a:lnTo>
                      <a:lnTo>
                        <a:pt x="845" y="1009"/>
                      </a:lnTo>
                      <a:lnTo>
                        <a:pt x="844" y="1009"/>
                      </a:lnTo>
                      <a:lnTo>
                        <a:pt x="844" y="1008"/>
                      </a:lnTo>
                      <a:lnTo>
                        <a:pt x="845" y="1008"/>
                      </a:lnTo>
                      <a:lnTo>
                        <a:pt x="846" y="1008"/>
                      </a:lnTo>
                      <a:close/>
                      <a:moveTo>
                        <a:pt x="689" y="1002"/>
                      </a:moveTo>
                      <a:lnTo>
                        <a:pt x="691" y="1002"/>
                      </a:lnTo>
                      <a:lnTo>
                        <a:pt x="691" y="1003"/>
                      </a:lnTo>
                      <a:lnTo>
                        <a:pt x="689" y="1003"/>
                      </a:lnTo>
                      <a:lnTo>
                        <a:pt x="689" y="1002"/>
                      </a:lnTo>
                      <a:close/>
                      <a:moveTo>
                        <a:pt x="871" y="988"/>
                      </a:moveTo>
                      <a:lnTo>
                        <a:pt x="871" y="989"/>
                      </a:lnTo>
                      <a:lnTo>
                        <a:pt x="869" y="989"/>
                      </a:lnTo>
                      <a:lnTo>
                        <a:pt x="867" y="989"/>
                      </a:lnTo>
                      <a:lnTo>
                        <a:pt x="869" y="988"/>
                      </a:lnTo>
                      <a:lnTo>
                        <a:pt x="867" y="988"/>
                      </a:lnTo>
                      <a:lnTo>
                        <a:pt x="867" y="989"/>
                      </a:lnTo>
                      <a:lnTo>
                        <a:pt x="867" y="988"/>
                      </a:lnTo>
                      <a:lnTo>
                        <a:pt x="871" y="988"/>
                      </a:lnTo>
                      <a:close/>
                      <a:moveTo>
                        <a:pt x="850" y="1068"/>
                      </a:moveTo>
                      <a:lnTo>
                        <a:pt x="851" y="1068"/>
                      </a:lnTo>
                      <a:lnTo>
                        <a:pt x="851" y="1070"/>
                      </a:lnTo>
                      <a:lnTo>
                        <a:pt x="850" y="1070"/>
                      </a:lnTo>
                      <a:lnTo>
                        <a:pt x="850" y="1068"/>
                      </a:lnTo>
                      <a:close/>
                      <a:moveTo>
                        <a:pt x="885" y="994"/>
                      </a:moveTo>
                      <a:lnTo>
                        <a:pt x="887" y="994"/>
                      </a:lnTo>
                      <a:lnTo>
                        <a:pt x="887" y="995"/>
                      </a:lnTo>
                      <a:lnTo>
                        <a:pt x="885" y="995"/>
                      </a:lnTo>
                      <a:lnTo>
                        <a:pt x="885" y="994"/>
                      </a:lnTo>
                      <a:close/>
                      <a:moveTo>
                        <a:pt x="667" y="1041"/>
                      </a:moveTo>
                      <a:lnTo>
                        <a:pt x="668" y="1041"/>
                      </a:lnTo>
                      <a:lnTo>
                        <a:pt x="669" y="1042"/>
                      </a:lnTo>
                      <a:lnTo>
                        <a:pt x="668" y="1042"/>
                      </a:lnTo>
                      <a:lnTo>
                        <a:pt x="667" y="1042"/>
                      </a:lnTo>
                      <a:lnTo>
                        <a:pt x="666" y="1041"/>
                      </a:lnTo>
                      <a:lnTo>
                        <a:pt x="666" y="1040"/>
                      </a:lnTo>
                      <a:lnTo>
                        <a:pt x="667" y="1040"/>
                      </a:lnTo>
                      <a:lnTo>
                        <a:pt x="667" y="1041"/>
                      </a:lnTo>
                      <a:close/>
                      <a:moveTo>
                        <a:pt x="852" y="1011"/>
                      </a:moveTo>
                      <a:lnTo>
                        <a:pt x="853" y="1011"/>
                      </a:lnTo>
                      <a:lnTo>
                        <a:pt x="854" y="1011"/>
                      </a:lnTo>
                      <a:lnTo>
                        <a:pt x="853" y="1011"/>
                      </a:lnTo>
                      <a:lnTo>
                        <a:pt x="853" y="1012"/>
                      </a:lnTo>
                      <a:lnTo>
                        <a:pt x="852" y="1012"/>
                      </a:lnTo>
                      <a:lnTo>
                        <a:pt x="852" y="1011"/>
                      </a:lnTo>
                      <a:lnTo>
                        <a:pt x="851" y="1011"/>
                      </a:lnTo>
                      <a:lnTo>
                        <a:pt x="852" y="1011"/>
                      </a:lnTo>
                      <a:lnTo>
                        <a:pt x="851" y="1011"/>
                      </a:lnTo>
                      <a:lnTo>
                        <a:pt x="852" y="1011"/>
                      </a:lnTo>
                      <a:close/>
                      <a:moveTo>
                        <a:pt x="865" y="1057"/>
                      </a:moveTo>
                      <a:lnTo>
                        <a:pt x="866" y="1057"/>
                      </a:lnTo>
                      <a:lnTo>
                        <a:pt x="865" y="1057"/>
                      </a:lnTo>
                      <a:lnTo>
                        <a:pt x="865" y="1058"/>
                      </a:lnTo>
                      <a:lnTo>
                        <a:pt x="864" y="1058"/>
                      </a:lnTo>
                      <a:lnTo>
                        <a:pt x="864" y="1057"/>
                      </a:lnTo>
                      <a:lnTo>
                        <a:pt x="865" y="1057"/>
                      </a:lnTo>
                      <a:close/>
                      <a:moveTo>
                        <a:pt x="699" y="998"/>
                      </a:moveTo>
                      <a:lnTo>
                        <a:pt x="702" y="998"/>
                      </a:lnTo>
                      <a:lnTo>
                        <a:pt x="702" y="1000"/>
                      </a:lnTo>
                      <a:lnTo>
                        <a:pt x="699" y="1000"/>
                      </a:lnTo>
                      <a:lnTo>
                        <a:pt x="699" y="998"/>
                      </a:lnTo>
                      <a:close/>
                      <a:moveTo>
                        <a:pt x="872" y="897"/>
                      </a:moveTo>
                      <a:lnTo>
                        <a:pt x="873" y="897"/>
                      </a:lnTo>
                      <a:lnTo>
                        <a:pt x="873" y="899"/>
                      </a:lnTo>
                      <a:lnTo>
                        <a:pt x="872" y="899"/>
                      </a:lnTo>
                      <a:lnTo>
                        <a:pt x="872" y="897"/>
                      </a:lnTo>
                      <a:close/>
                      <a:moveTo>
                        <a:pt x="858" y="1060"/>
                      </a:moveTo>
                      <a:lnTo>
                        <a:pt x="859" y="1060"/>
                      </a:lnTo>
                      <a:lnTo>
                        <a:pt x="859" y="1061"/>
                      </a:lnTo>
                      <a:lnTo>
                        <a:pt x="860" y="1063"/>
                      </a:lnTo>
                      <a:lnTo>
                        <a:pt x="859" y="1063"/>
                      </a:lnTo>
                      <a:lnTo>
                        <a:pt x="859" y="1061"/>
                      </a:lnTo>
                      <a:lnTo>
                        <a:pt x="858" y="1061"/>
                      </a:lnTo>
                      <a:lnTo>
                        <a:pt x="858" y="1060"/>
                      </a:lnTo>
                      <a:lnTo>
                        <a:pt x="858" y="1059"/>
                      </a:lnTo>
                      <a:lnTo>
                        <a:pt x="858" y="1060"/>
                      </a:lnTo>
                      <a:close/>
                      <a:moveTo>
                        <a:pt x="846" y="988"/>
                      </a:moveTo>
                      <a:lnTo>
                        <a:pt x="840" y="988"/>
                      </a:lnTo>
                      <a:lnTo>
                        <a:pt x="838" y="988"/>
                      </a:lnTo>
                      <a:lnTo>
                        <a:pt x="838" y="987"/>
                      </a:lnTo>
                      <a:lnTo>
                        <a:pt x="846" y="988"/>
                      </a:lnTo>
                      <a:close/>
                      <a:moveTo>
                        <a:pt x="859" y="993"/>
                      </a:moveTo>
                      <a:lnTo>
                        <a:pt x="858" y="993"/>
                      </a:lnTo>
                      <a:lnTo>
                        <a:pt x="857" y="993"/>
                      </a:lnTo>
                      <a:lnTo>
                        <a:pt x="855" y="993"/>
                      </a:lnTo>
                      <a:lnTo>
                        <a:pt x="857" y="993"/>
                      </a:lnTo>
                      <a:lnTo>
                        <a:pt x="858" y="993"/>
                      </a:lnTo>
                      <a:lnTo>
                        <a:pt x="859" y="993"/>
                      </a:lnTo>
                      <a:lnTo>
                        <a:pt x="859" y="992"/>
                      </a:lnTo>
                      <a:lnTo>
                        <a:pt x="859" y="993"/>
                      </a:lnTo>
                      <a:close/>
                      <a:moveTo>
                        <a:pt x="685" y="1015"/>
                      </a:moveTo>
                      <a:lnTo>
                        <a:pt x="687" y="1015"/>
                      </a:lnTo>
                      <a:lnTo>
                        <a:pt x="687" y="1017"/>
                      </a:lnTo>
                      <a:lnTo>
                        <a:pt x="685" y="1017"/>
                      </a:lnTo>
                      <a:lnTo>
                        <a:pt x="685" y="1015"/>
                      </a:lnTo>
                      <a:close/>
                      <a:moveTo>
                        <a:pt x="863" y="1006"/>
                      </a:moveTo>
                      <a:lnTo>
                        <a:pt x="862" y="1006"/>
                      </a:lnTo>
                      <a:lnTo>
                        <a:pt x="861" y="1006"/>
                      </a:lnTo>
                      <a:lnTo>
                        <a:pt x="863" y="1005"/>
                      </a:lnTo>
                      <a:lnTo>
                        <a:pt x="863" y="1006"/>
                      </a:lnTo>
                      <a:close/>
                      <a:moveTo>
                        <a:pt x="814" y="953"/>
                      </a:moveTo>
                      <a:lnTo>
                        <a:pt x="815" y="953"/>
                      </a:lnTo>
                      <a:lnTo>
                        <a:pt x="815" y="954"/>
                      </a:lnTo>
                      <a:lnTo>
                        <a:pt x="814" y="954"/>
                      </a:lnTo>
                      <a:lnTo>
                        <a:pt x="814" y="953"/>
                      </a:lnTo>
                      <a:close/>
                      <a:moveTo>
                        <a:pt x="869" y="1001"/>
                      </a:moveTo>
                      <a:lnTo>
                        <a:pt x="871" y="1001"/>
                      </a:lnTo>
                      <a:lnTo>
                        <a:pt x="871" y="1003"/>
                      </a:lnTo>
                      <a:lnTo>
                        <a:pt x="869" y="1003"/>
                      </a:lnTo>
                      <a:lnTo>
                        <a:pt x="869" y="1001"/>
                      </a:lnTo>
                      <a:close/>
                      <a:moveTo>
                        <a:pt x="845" y="1019"/>
                      </a:moveTo>
                      <a:lnTo>
                        <a:pt x="846" y="1020"/>
                      </a:lnTo>
                      <a:lnTo>
                        <a:pt x="845" y="1020"/>
                      </a:lnTo>
                      <a:lnTo>
                        <a:pt x="845" y="1019"/>
                      </a:lnTo>
                      <a:lnTo>
                        <a:pt x="845" y="1020"/>
                      </a:lnTo>
                      <a:lnTo>
                        <a:pt x="845" y="1019"/>
                      </a:lnTo>
                      <a:lnTo>
                        <a:pt x="844" y="1018"/>
                      </a:lnTo>
                      <a:lnTo>
                        <a:pt x="845" y="1018"/>
                      </a:lnTo>
                      <a:lnTo>
                        <a:pt x="845" y="1019"/>
                      </a:lnTo>
                      <a:close/>
                      <a:moveTo>
                        <a:pt x="893" y="914"/>
                      </a:moveTo>
                      <a:lnTo>
                        <a:pt x="893" y="915"/>
                      </a:lnTo>
                      <a:lnTo>
                        <a:pt x="892" y="915"/>
                      </a:lnTo>
                      <a:lnTo>
                        <a:pt x="891" y="915"/>
                      </a:lnTo>
                      <a:lnTo>
                        <a:pt x="891" y="914"/>
                      </a:lnTo>
                      <a:lnTo>
                        <a:pt x="892" y="915"/>
                      </a:lnTo>
                      <a:lnTo>
                        <a:pt x="892" y="914"/>
                      </a:lnTo>
                      <a:lnTo>
                        <a:pt x="893" y="914"/>
                      </a:lnTo>
                      <a:close/>
                      <a:moveTo>
                        <a:pt x="682" y="1017"/>
                      </a:moveTo>
                      <a:lnTo>
                        <a:pt x="681" y="1017"/>
                      </a:lnTo>
                      <a:lnTo>
                        <a:pt x="682" y="1016"/>
                      </a:lnTo>
                      <a:lnTo>
                        <a:pt x="683" y="1017"/>
                      </a:lnTo>
                      <a:lnTo>
                        <a:pt x="682" y="1017"/>
                      </a:lnTo>
                      <a:close/>
                      <a:moveTo>
                        <a:pt x="888" y="948"/>
                      </a:moveTo>
                      <a:lnTo>
                        <a:pt x="889" y="948"/>
                      </a:lnTo>
                      <a:lnTo>
                        <a:pt x="889" y="949"/>
                      </a:lnTo>
                      <a:lnTo>
                        <a:pt x="888" y="949"/>
                      </a:lnTo>
                      <a:lnTo>
                        <a:pt x="888" y="948"/>
                      </a:lnTo>
                      <a:close/>
                      <a:moveTo>
                        <a:pt x="888" y="971"/>
                      </a:moveTo>
                      <a:lnTo>
                        <a:pt x="889" y="971"/>
                      </a:lnTo>
                      <a:lnTo>
                        <a:pt x="889" y="970"/>
                      </a:lnTo>
                      <a:lnTo>
                        <a:pt x="889" y="971"/>
                      </a:lnTo>
                      <a:lnTo>
                        <a:pt x="888" y="971"/>
                      </a:lnTo>
                      <a:lnTo>
                        <a:pt x="887" y="971"/>
                      </a:lnTo>
                      <a:lnTo>
                        <a:pt x="888" y="971"/>
                      </a:lnTo>
                      <a:lnTo>
                        <a:pt x="888" y="970"/>
                      </a:lnTo>
                      <a:lnTo>
                        <a:pt x="888" y="971"/>
                      </a:lnTo>
                      <a:close/>
                      <a:moveTo>
                        <a:pt x="845" y="982"/>
                      </a:moveTo>
                      <a:lnTo>
                        <a:pt x="847" y="982"/>
                      </a:lnTo>
                      <a:lnTo>
                        <a:pt x="847" y="984"/>
                      </a:lnTo>
                      <a:lnTo>
                        <a:pt x="845" y="984"/>
                      </a:lnTo>
                      <a:lnTo>
                        <a:pt x="845" y="982"/>
                      </a:lnTo>
                      <a:close/>
                      <a:moveTo>
                        <a:pt x="862" y="983"/>
                      </a:moveTo>
                      <a:lnTo>
                        <a:pt x="863" y="983"/>
                      </a:lnTo>
                      <a:lnTo>
                        <a:pt x="863" y="986"/>
                      </a:lnTo>
                      <a:lnTo>
                        <a:pt x="862" y="986"/>
                      </a:lnTo>
                      <a:lnTo>
                        <a:pt x="862" y="983"/>
                      </a:lnTo>
                      <a:close/>
                      <a:moveTo>
                        <a:pt x="886" y="986"/>
                      </a:moveTo>
                      <a:lnTo>
                        <a:pt x="887" y="986"/>
                      </a:lnTo>
                      <a:lnTo>
                        <a:pt x="886" y="986"/>
                      </a:lnTo>
                      <a:lnTo>
                        <a:pt x="887" y="986"/>
                      </a:lnTo>
                      <a:lnTo>
                        <a:pt x="887" y="987"/>
                      </a:lnTo>
                      <a:lnTo>
                        <a:pt x="886" y="986"/>
                      </a:lnTo>
                      <a:lnTo>
                        <a:pt x="886" y="987"/>
                      </a:lnTo>
                      <a:lnTo>
                        <a:pt x="885" y="987"/>
                      </a:lnTo>
                      <a:lnTo>
                        <a:pt x="886" y="986"/>
                      </a:lnTo>
                      <a:close/>
                      <a:moveTo>
                        <a:pt x="887" y="922"/>
                      </a:moveTo>
                      <a:lnTo>
                        <a:pt x="886" y="922"/>
                      </a:lnTo>
                      <a:lnTo>
                        <a:pt x="885" y="922"/>
                      </a:lnTo>
                      <a:lnTo>
                        <a:pt x="884" y="923"/>
                      </a:lnTo>
                      <a:lnTo>
                        <a:pt x="884" y="922"/>
                      </a:lnTo>
                      <a:lnTo>
                        <a:pt x="886" y="922"/>
                      </a:lnTo>
                      <a:lnTo>
                        <a:pt x="887" y="922"/>
                      </a:lnTo>
                      <a:close/>
                      <a:moveTo>
                        <a:pt x="876" y="994"/>
                      </a:moveTo>
                      <a:lnTo>
                        <a:pt x="877" y="994"/>
                      </a:lnTo>
                      <a:lnTo>
                        <a:pt x="877" y="995"/>
                      </a:lnTo>
                      <a:lnTo>
                        <a:pt x="876" y="995"/>
                      </a:lnTo>
                      <a:lnTo>
                        <a:pt x="876" y="994"/>
                      </a:lnTo>
                      <a:close/>
                      <a:moveTo>
                        <a:pt x="872" y="1000"/>
                      </a:moveTo>
                      <a:lnTo>
                        <a:pt x="873" y="1000"/>
                      </a:lnTo>
                      <a:lnTo>
                        <a:pt x="873" y="1001"/>
                      </a:lnTo>
                      <a:lnTo>
                        <a:pt x="872" y="1001"/>
                      </a:lnTo>
                      <a:lnTo>
                        <a:pt x="872" y="1000"/>
                      </a:lnTo>
                      <a:close/>
                      <a:moveTo>
                        <a:pt x="880" y="968"/>
                      </a:moveTo>
                      <a:lnTo>
                        <a:pt x="883" y="968"/>
                      </a:lnTo>
                      <a:lnTo>
                        <a:pt x="880" y="968"/>
                      </a:lnTo>
                      <a:close/>
                      <a:moveTo>
                        <a:pt x="836" y="988"/>
                      </a:moveTo>
                      <a:lnTo>
                        <a:pt x="837" y="988"/>
                      </a:lnTo>
                      <a:lnTo>
                        <a:pt x="837" y="989"/>
                      </a:lnTo>
                      <a:lnTo>
                        <a:pt x="836" y="989"/>
                      </a:lnTo>
                      <a:lnTo>
                        <a:pt x="836" y="988"/>
                      </a:lnTo>
                      <a:close/>
                      <a:moveTo>
                        <a:pt x="869" y="987"/>
                      </a:moveTo>
                      <a:lnTo>
                        <a:pt x="871" y="987"/>
                      </a:lnTo>
                      <a:lnTo>
                        <a:pt x="871" y="988"/>
                      </a:lnTo>
                      <a:lnTo>
                        <a:pt x="869" y="988"/>
                      </a:lnTo>
                      <a:lnTo>
                        <a:pt x="869" y="987"/>
                      </a:lnTo>
                      <a:close/>
                      <a:moveTo>
                        <a:pt x="878" y="891"/>
                      </a:moveTo>
                      <a:lnTo>
                        <a:pt x="879" y="891"/>
                      </a:lnTo>
                      <a:lnTo>
                        <a:pt x="879" y="892"/>
                      </a:lnTo>
                      <a:lnTo>
                        <a:pt x="878" y="892"/>
                      </a:lnTo>
                      <a:lnTo>
                        <a:pt x="878" y="891"/>
                      </a:lnTo>
                      <a:close/>
                      <a:moveTo>
                        <a:pt x="864" y="1064"/>
                      </a:moveTo>
                      <a:lnTo>
                        <a:pt x="864" y="1065"/>
                      </a:lnTo>
                      <a:lnTo>
                        <a:pt x="864" y="1064"/>
                      </a:lnTo>
                      <a:lnTo>
                        <a:pt x="863" y="1064"/>
                      </a:lnTo>
                      <a:lnTo>
                        <a:pt x="863" y="1063"/>
                      </a:lnTo>
                      <a:lnTo>
                        <a:pt x="864" y="1063"/>
                      </a:lnTo>
                      <a:lnTo>
                        <a:pt x="864" y="1064"/>
                      </a:lnTo>
                      <a:close/>
                      <a:moveTo>
                        <a:pt x="849" y="988"/>
                      </a:moveTo>
                      <a:lnTo>
                        <a:pt x="850" y="988"/>
                      </a:lnTo>
                      <a:lnTo>
                        <a:pt x="850" y="989"/>
                      </a:lnTo>
                      <a:lnTo>
                        <a:pt x="849" y="989"/>
                      </a:lnTo>
                      <a:lnTo>
                        <a:pt x="849" y="988"/>
                      </a:lnTo>
                      <a:close/>
                      <a:moveTo>
                        <a:pt x="859" y="1003"/>
                      </a:moveTo>
                      <a:lnTo>
                        <a:pt x="860" y="1003"/>
                      </a:lnTo>
                      <a:lnTo>
                        <a:pt x="859" y="1003"/>
                      </a:lnTo>
                      <a:close/>
                      <a:moveTo>
                        <a:pt x="857" y="988"/>
                      </a:moveTo>
                      <a:lnTo>
                        <a:pt x="854" y="988"/>
                      </a:lnTo>
                      <a:lnTo>
                        <a:pt x="854" y="989"/>
                      </a:lnTo>
                      <a:lnTo>
                        <a:pt x="853" y="989"/>
                      </a:lnTo>
                      <a:lnTo>
                        <a:pt x="853" y="988"/>
                      </a:lnTo>
                      <a:lnTo>
                        <a:pt x="854" y="988"/>
                      </a:lnTo>
                      <a:lnTo>
                        <a:pt x="857" y="988"/>
                      </a:lnTo>
                      <a:close/>
                      <a:moveTo>
                        <a:pt x="862" y="1064"/>
                      </a:moveTo>
                      <a:lnTo>
                        <a:pt x="863" y="1064"/>
                      </a:lnTo>
                      <a:lnTo>
                        <a:pt x="863" y="1065"/>
                      </a:lnTo>
                      <a:lnTo>
                        <a:pt x="862" y="1065"/>
                      </a:lnTo>
                      <a:lnTo>
                        <a:pt x="862" y="1064"/>
                      </a:lnTo>
                      <a:close/>
                      <a:moveTo>
                        <a:pt x="845" y="1016"/>
                      </a:moveTo>
                      <a:lnTo>
                        <a:pt x="846" y="1016"/>
                      </a:lnTo>
                      <a:lnTo>
                        <a:pt x="846" y="1017"/>
                      </a:lnTo>
                      <a:lnTo>
                        <a:pt x="845" y="1017"/>
                      </a:lnTo>
                      <a:lnTo>
                        <a:pt x="845" y="1016"/>
                      </a:lnTo>
                      <a:close/>
                      <a:moveTo>
                        <a:pt x="668" y="1043"/>
                      </a:moveTo>
                      <a:lnTo>
                        <a:pt x="669" y="1043"/>
                      </a:lnTo>
                      <a:lnTo>
                        <a:pt x="669" y="1044"/>
                      </a:lnTo>
                      <a:lnTo>
                        <a:pt x="668" y="1044"/>
                      </a:lnTo>
                      <a:lnTo>
                        <a:pt x="668" y="1043"/>
                      </a:lnTo>
                      <a:close/>
                      <a:moveTo>
                        <a:pt x="882" y="1002"/>
                      </a:moveTo>
                      <a:lnTo>
                        <a:pt x="883" y="1002"/>
                      </a:lnTo>
                      <a:lnTo>
                        <a:pt x="883" y="1003"/>
                      </a:lnTo>
                      <a:lnTo>
                        <a:pt x="882" y="1003"/>
                      </a:lnTo>
                      <a:lnTo>
                        <a:pt x="882" y="1002"/>
                      </a:lnTo>
                      <a:close/>
                      <a:moveTo>
                        <a:pt x="883" y="1004"/>
                      </a:moveTo>
                      <a:lnTo>
                        <a:pt x="884" y="1004"/>
                      </a:lnTo>
                      <a:lnTo>
                        <a:pt x="884" y="1005"/>
                      </a:lnTo>
                      <a:lnTo>
                        <a:pt x="883" y="1005"/>
                      </a:lnTo>
                      <a:lnTo>
                        <a:pt x="883" y="1004"/>
                      </a:lnTo>
                      <a:close/>
                      <a:moveTo>
                        <a:pt x="667" y="1047"/>
                      </a:moveTo>
                      <a:lnTo>
                        <a:pt x="668" y="1047"/>
                      </a:lnTo>
                      <a:lnTo>
                        <a:pt x="668" y="1048"/>
                      </a:lnTo>
                      <a:lnTo>
                        <a:pt x="667" y="1048"/>
                      </a:lnTo>
                      <a:lnTo>
                        <a:pt x="667" y="1047"/>
                      </a:lnTo>
                      <a:close/>
                      <a:moveTo>
                        <a:pt x="851" y="1014"/>
                      </a:moveTo>
                      <a:lnTo>
                        <a:pt x="852" y="1014"/>
                      </a:lnTo>
                      <a:lnTo>
                        <a:pt x="852" y="1015"/>
                      </a:lnTo>
                      <a:lnTo>
                        <a:pt x="851" y="1015"/>
                      </a:lnTo>
                      <a:lnTo>
                        <a:pt x="851" y="1014"/>
                      </a:lnTo>
                      <a:close/>
                      <a:moveTo>
                        <a:pt x="882" y="897"/>
                      </a:moveTo>
                      <a:lnTo>
                        <a:pt x="882" y="898"/>
                      </a:lnTo>
                      <a:lnTo>
                        <a:pt x="882" y="897"/>
                      </a:lnTo>
                      <a:close/>
                      <a:moveTo>
                        <a:pt x="874" y="999"/>
                      </a:moveTo>
                      <a:lnTo>
                        <a:pt x="874" y="1000"/>
                      </a:lnTo>
                      <a:lnTo>
                        <a:pt x="874" y="999"/>
                      </a:lnTo>
                      <a:close/>
                      <a:moveTo>
                        <a:pt x="858" y="988"/>
                      </a:moveTo>
                      <a:lnTo>
                        <a:pt x="859" y="988"/>
                      </a:lnTo>
                      <a:lnTo>
                        <a:pt x="859" y="989"/>
                      </a:lnTo>
                      <a:lnTo>
                        <a:pt x="858" y="989"/>
                      </a:lnTo>
                      <a:lnTo>
                        <a:pt x="858" y="988"/>
                      </a:lnTo>
                      <a:close/>
                      <a:moveTo>
                        <a:pt x="887" y="992"/>
                      </a:moveTo>
                      <a:lnTo>
                        <a:pt x="888" y="992"/>
                      </a:lnTo>
                      <a:lnTo>
                        <a:pt x="888" y="993"/>
                      </a:lnTo>
                      <a:lnTo>
                        <a:pt x="887" y="993"/>
                      </a:lnTo>
                      <a:lnTo>
                        <a:pt x="887" y="992"/>
                      </a:lnTo>
                      <a:close/>
                      <a:moveTo>
                        <a:pt x="875" y="921"/>
                      </a:moveTo>
                      <a:lnTo>
                        <a:pt x="876" y="921"/>
                      </a:lnTo>
                      <a:lnTo>
                        <a:pt x="875" y="921"/>
                      </a:lnTo>
                      <a:close/>
                      <a:moveTo>
                        <a:pt x="869" y="994"/>
                      </a:moveTo>
                      <a:lnTo>
                        <a:pt x="870" y="994"/>
                      </a:lnTo>
                      <a:lnTo>
                        <a:pt x="870" y="995"/>
                      </a:lnTo>
                      <a:lnTo>
                        <a:pt x="869" y="995"/>
                      </a:lnTo>
                      <a:lnTo>
                        <a:pt x="869" y="994"/>
                      </a:lnTo>
                      <a:close/>
                      <a:moveTo>
                        <a:pt x="858" y="1069"/>
                      </a:moveTo>
                      <a:lnTo>
                        <a:pt x="858" y="1070"/>
                      </a:lnTo>
                      <a:lnTo>
                        <a:pt x="858" y="1069"/>
                      </a:lnTo>
                      <a:close/>
                      <a:moveTo>
                        <a:pt x="860" y="1064"/>
                      </a:moveTo>
                      <a:lnTo>
                        <a:pt x="861" y="1064"/>
                      </a:lnTo>
                      <a:lnTo>
                        <a:pt x="861" y="1065"/>
                      </a:lnTo>
                      <a:lnTo>
                        <a:pt x="860" y="1065"/>
                      </a:lnTo>
                      <a:lnTo>
                        <a:pt x="860" y="1064"/>
                      </a:lnTo>
                      <a:close/>
                      <a:moveTo>
                        <a:pt x="883" y="1003"/>
                      </a:moveTo>
                      <a:lnTo>
                        <a:pt x="883" y="1004"/>
                      </a:lnTo>
                      <a:lnTo>
                        <a:pt x="883" y="1003"/>
                      </a:lnTo>
                      <a:close/>
                      <a:moveTo>
                        <a:pt x="865" y="1002"/>
                      </a:moveTo>
                      <a:lnTo>
                        <a:pt x="866" y="1002"/>
                      </a:lnTo>
                      <a:lnTo>
                        <a:pt x="866" y="1003"/>
                      </a:lnTo>
                      <a:lnTo>
                        <a:pt x="865" y="1003"/>
                      </a:lnTo>
                      <a:lnTo>
                        <a:pt x="865" y="1002"/>
                      </a:lnTo>
                      <a:close/>
                      <a:moveTo>
                        <a:pt x="877" y="897"/>
                      </a:moveTo>
                      <a:lnTo>
                        <a:pt x="877" y="898"/>
                      </a:lnTo>
                      <a:lnTo>
                        <a:pt x="877" y="897"/>
                      </a:lnTo>
                      <a:close/>
                      <a:moveTo>
                        <a:pt x="841" y="992"/>
                      </a:moveTo>
                      <a:lnTo>
                        <a:pt x="842" y="992"/>
                      </a:lnTo>
                      <a:lnTo>
                        <a:pt x="841" y="992"/>
                      </a:lnTo>
                      <a:close/>
                      <a:moveTo>
                        <a:pt x="853" y="1012"/>
                      </a:moveTo>
                      <a:lnTo>
                        <a:pt x="854" y="1012"/>
                      </a:lnTo>
                      <a:lnTo>
                        <a:pt x="854" y="1013"/>
                      </a:lnTo>
                      <a:lnTo>
                        <a:pt x="853" y="1013"/>
                      </a:lnTo>
                      <a:lnTo>
                        <a:pt x="853" y="1012"/>
                      </a:lnTo>
                      <a:close/>
                      <a:moveTo>
                        <a:pt x="841" y="992"/>
                      </a:moveTo>
                      <a:lnTo>
                        <a:pt x="841" y="993"/>
                      </a:lnTo>
                      <a:lnTo>
                        <a:pt x="841" y="992"/>
                      </a:lnTo>
                      <a:close/>
                      <a:moveTo>
                        <a:pt x="873" y="896"/>
                      </a:moveTo>
                      <a:lnTo>
                        <a:pt x="873" y="897"/>
                      </a:lnTo>
                      <a:lnTo>
                        <a:pt x="873" y="896"/>
                      </a:lnTo>
                      <a:close/>
                      <a:moveTo>
                        <a:pt x="852" y="1068"/>
                      </a:moveTo>
                      <a:lnTo>
                        <a:pt x="852" y="1069"/>
                      </a:lnTo>
                      <a:lnTo>
                        <a:pt x="852" y="1068"/>
                      </a:lnTo>
                      <a:close/>
                      <a:moveTo>
                        <a:pt x="860" y="983"/>
                      </a:moveTo>
                      <a:lnTo>
                        <a:pt x="860" y="984"/>
                      </a:lnTo>
                      <a:lnTo>
                        <a:pt x="860" y="983"/>
                      </a:lnTo>
                      <a:close/>
                      <a:moveTo>
                        <a:pt x="882" y="924"/>
                      </a:moveTo>
                      <a:lnTo>
                        <a:pt x="883" y="924"/>
                      </a:lnTo>
                      <a:lnTo>
                        <a:pt x="882" y="924"/>
                      </a:lnTo>
                      <a:close/>
                      <a:moveTo>
                        <a:pt x="696" y="1130"/>
                      </a:moveTo>
                      <a:lnTo>
                        <a:pt x="697" y="1130"/>
                      </a:lnTo>
                      <a:lnTo>
                        <a:pt x="696" y="1130"/>
                      </a:lnTo>
                      <a:close/>
                      <a:moveTo>
                        <a:pt x="859" y="988"/>
                      </a:moveTo>
                      <a:lnTo>
                        <a:pt x="860" y="988"/>
                      </a:lnTo>
                      <a:lnTo>
                        <a:pt x="860" y="989"/>
                      </a:lnTo>
                      <a:lnTo>
                        <a:pt x="859" y="989"/>
                      </a:lnTo>
                      <a:lnTo>
                        <a:pt x="859" y="988"/>
                      </a:lnTo>
                      <a:close/>
                      <a:moveTo>
                        <a:pt x="831" y="992"/>
                      </a:moveTo>
                      <a:lnTo>
                        <a:pt x="832" y="992"/>
                      </a:lnTo>
                      <a:lnTo>
                        <a:pt x="831" y="992"/>
                      </a:lnTo>
                      <a:close/>
                      <a:moveTo>
                        <a:pt x="859" y="1059"/>
                      </a:moveTo>
                      <a:lnTo>
                        <a:pt x="860" y="1059"/>
                      </a:lnTo>
                      <a:lnTo>
                        <a:pt x="859" y="1059"/>
                      </a:lnTo>
                      <a:close/>
                      <a:moveTo>
                        <a:pt x="515" y="1168"/>
                      </a:moveTo>
                      <a:lnTo>
                        <a:pt x="514" y="1168"/>
                      </a:lnTo>
                      <a:lnTo>
                        <a:pt x="512" y="1169"/>
                      </a:lnTo>
                      <a:lnTo>
                        <a:pt x="511" y="1170"/>
                      </a:lnTo>
                      <a:lnTo>
                        <a:pt x="509" y="1170"/>
                      </a:lnTo>
                      <a:lnTo>
                        <a:pt x="508" y="1171"/>
                      </a:lnTo>
                      <a:lnTo>
                        <a:pt x="506" y="1171"/>
                      </a:lnTo>
                      <a:lnTo>
                        <a:pt x="505" y="1171"/>
                      </a:lnTo>
                      <a:lnTo>
                        <a:pt x="504" y="1171"/>
                      </a:lnTo>
                      <a:lnTo>
                        <a:pt x="503" y="1172"/>
                      </a:lnTo>
                      <a:lnTo>
                        <a:pt x="502" y="1172"/>
                      </a:lnTo>
                      <a:lnTo>
                        <a:pt x="501" y="1172"/>
                      </a:lnTo>
                      <a:lnTo>
                        <a:pt x="500" y="1172"/>
                      </a:lnTo>
                      <a:lnTo>
                        <a:pt x="498" y="1172"/>
                      </a:lnTo>
                      <a:lnTo>
                        <a:pt x="497" y="1172"/>
                      </a:lnTo>
                      <a:lnTo>
                        <a:pt x="495" y="1173"/>
                      </a:lnTo>
                      <a:lnTo>
                        <a:pt x="493" y="1173"/>
                      </a:lnTo>
                      <a:lnTo>
                        <a:pt x="491" y="1173"/>
                      </a:lnTo>
                      <a:lnTo>
                        <a:pt x="490" y="1173"/>
                      </a:lnTo>
                      <a:lnTo>
                        <a:pt x="489" y="1173"/>
                      </a:lnTo>
                      <a:lnTo>
                        <a:pt x="486" y="1174"/>
                      </a:lnTo>
                      <a:lnTo>
                        <a:pt x="484" y="1174"/>
                      </a:lnTo>
                      <a:lnTo>
                        <a:pt x="482" y="1175"/>
                      </a:lnTo>
                      <a:lnTo>
                        <a:pt x="480" y="1175"/>
                      </a:lnTo>
                      <a:lnTo>
                        <a:pt x="478" y="1176"/>
                      </a:lnTo>
                      <a:lnTo>
                        <a:pt x="477" y="1176"/>
                      </a:lnTo>
                      <a:lnTo>
                        <a:pt x="476" y="1178"/>
                      </a:lnTo>
                      <a:lnTo>
                        <a:pt x="475" y="1178"/>
                      </a:lnTo>
                      <a:lnTo>
                        <a:pt x="474" y="1178"/>
                      </a:lnTo>
                      <a:lnTo>
                        <a:pt x="473" y="1179"/>
                      </a:lnTo>
                      <a:lnTo>
                        <a:pt x="472" y="1179"/>
                      </a:lnTo>
                      <a:lnTo>
                        <a:pt x="471" y="1179"/>
                      </a:lnTo>
                      <a:lnTo>
                        <a:pt x="467" y="1180"/>
                      </a:lnTo>
                      <a:lnTo>
                        <a:pt x="466" y="1180"/>
                      </a:lnTo>
                      <a:lnTo>
                        <a:pt x="465" y="1180"/>
                      </a:lnTo>
                      <a:lnTo>
                        <a:pt x="464" y="1180"/>
                      </a:lnTo>
                      <a:lnTo>
                        <a:pt x="463" y="1181"/>
                      </a:lnTo>
                      <a:lnTo>
                        <a:pt x="462" y="1181"/>
                      </a:lnTo>
                      <a:lnTo>
                        <a:pt x="461" y="1181"/>
                      </a:lnTo>
                      <a:lnTo>
                        <a:pt x="460" y="1181"/>
                      </a:lnTo>
                      <a:lnTo>
                        <a:pt x="459" y="1181"/>
                      </a:lnTo>
                      <a:lnTo>
                        <a:pt x="458" y="1182"/>
                      </a:lnTo>
                      <a:lnTo>
                        <a:pt x="457" y="1182"/>
                      </a:lnTo>
                      <a:lnTo>
                        <a:pt x="454" y="1182"/>
                      </a:lnTo>
                      <a:lnTo>
                        <a:pt x="453" y="1182"/>
                      </a:lnTo>
                      <a:lnTo>
                        <a:pt x="452" y="1182"/>
                      </a:lnTo>
                      <a:lnTo>
                        <a:pt x="451" y="1182"/>
                      </a:lnTo>
                      <a:lnTo>
                        <a:pt x="448" y="1182"/>
                      </a:lnTo>
                      <a:lnTo>
                        <a:pt x="447" y="1182"/>
                      </a:lnTo>
                      <a:lnTo>
                        <a:pt x="446" y="1182"/>
                      </a:lnTo>
                      <a:lnTo>
                        <a:pt x="443" y="1182"/>
                      </a:lnTo>
                      <a:lnTo>
                        <a:pt x="441" y="1182"/>
                      </a:lnTo>
                      <a:lnTo>
                        <a:pt x="440" y="1181"/>
                      </a:lnTo>
                      <a:lnTo>
                        <a:pt x="441" y="1181"/>
                      </a:lnTo>
                      <a:lnTo>
                        <a:pt x="443" y="1181"/>
                      </a:lnTo>
                      <a:lnTo>
                        <a:pt x="444" y="1181"/>
                      </a:lnTo>
                      <a:lnTo>
                        <a:pt x="446" y="1181"/>
                      </a:lnTo>
                      <a:lnTo>
                        <a:pt x="447" y="1180"/>
                      </a:lnTo>
                      <a:lnTo>
                        <a:pt x="448" y="1180"/>
                      </a:lnTo>
                      <a:lnTo>
                        <a:pt x="449" y="1179"/>
                      </a:lnTo>
                      <a:lnTo>
                        <a:pt x="449" y="1180"/>
                      </a:lnTo>
                      <a:lnTo>
                        <a:pt x="450" y="1180"/>
                      </a:lnTo>
                      <a:lnTo>
                        <a:pt x="452" y="1180"/>
                      </a:lnTo>
                      <a:lnTo>
                        <a:pt x="453" y="1180"/>
                      </a:lnTo>
                      <a:lnTo>
                        <a:pt x="456" y="1180"/>
                      </a:lnTo>
                      <a:lnTo>
                        <a:pt x="458" y="1180"/>
                      </a:lnTo>
                      <a:lnTo>
                        <a:pt x="458" y="1179"/>
                      </a:lnTo>
                      <a:lnTo>
                        <a:pt x="459" y="1179"/>
                      </a:lnTo>
                      <a:lnTo>
                        <a:pt x="460" y="1178"/>
                      </a:lnTo>
                      <a:lnTo>
                        <a:pt x="460" y="1176"/>
                      </a:lnTo>
                      <a:lnTo>
                        <a:pt x="461" y="1176"/>
                      </a:lnTo>
                      <a:lnTo>
                        <a:pt x="463" y="1176"/>
                      </a:lnTo>
                      <a:lnTo>
                        <a:pt x="464" y="1176"/>
                      </a:lnTo>
                      <a:lnTo>
                        <a:pt x="464" y="1175"/>
                      </a:lnTo>
                      <a:lnTo>
                        <a:pt x="465" y="1175"/>
                      </a:lnTo>
                      <a:lnTo>
                        <a:pt x="466" y="1175"/>
                      </a:lnTo>
                      <a:lnTo>
                        <a:pt x="467" y="1175"/>
                      </a:lnTo>
                      <a:lnTo>
                        <a:pt x="470" y="1175"/>
                      </a:lnTo>
                      <a:lnTo>
                        <a:pt x="470" y="1174"/>
                      </a:lnTo>
                      <a:lnTo>
                        <a:pt x="471" y="1174"/>
                      </a:lnTo>
                      <a:lnTo>
                        <a:pt x="472" y="1174"/>
                      </a:lnTo>
                      <a:lnTo>
                        <a:pt x="473" y="1174"/>
                      </a:lnTo>
                      <a:lnTo>
                        <a:pt x="473" y="1173"/>
                      </a:lnTo>
                      <a:lnTo>
                        <a:pt x="472" y="1172"/>
                      </a:lnTo>
                      <a:lnTo>
                        <a:pt x="472" y="1171"/>
                      </a:lnTo>
                      <a:lnTo>
                        <a:pt x="473" y="1172"/>
                      </a:lnTo>
                      <a:lnTo>
                        <a:pt x="473" y="1171"/>
                      </a:lnTo>
                      <a:lnTo>
                        <a:pt x="474" y="1170"/>
                      </a:lnTo>
                      <a:lnTo>
                        <a:pt x="474" y="1171"/>
                      </a:lnTo>
                      <a:lnTo>
                        <a:pt x="475" y="1171"/>
                      </a:lnTo>
                      <a:lnTo>
                        <a:pt x="475" y="1172"/>
                      </a:lnTo>
                      <a:lnTo>
                        <a:pt x="474" y="1172"/>
                      </a:lnTo>
                      <a:lnTo>
                        <a:pt x="473" y="1173"/>
                      </a:lnTo>
                      <a:lnTo>
                        <a:pt x="473" y="1174"/>
                      </a:lnTo>
                      <a:lnTo>
                        <a:pt x="474" y="1174"/>
                      </a:lnTo>
                      <a:lnTo>
                        <a:pt x="475" y="1174"/>
                      </a:lnTo>
                      <a:lnTo>
                        <a:pt x="477" y="1174"/>
                      </a:lnTo>
                      <a:lnTo>
                        <a:pt x="477" y="1173"/>
                      </a:lnTo>
                      <a:lnTo>
                        <a:pt x="478" y="1174"/>
                      </a:lnTo>
                      <a:lnTo>
                        <a:pt x="479" y="1173"/>
                      </a:lnTo>
                      <a:lnTo>
                        <a:pt x="480" y="1173"/>
                      </a:lnTo>
                      <a:lnTo>
                        <a:pt x="482" y="1172"/>
                      </a:lnTo>
                      <a:lnTo>
                        <a:pt x="482" y="1171"/>
                      </a:lnTo>
                      <a:lnTo>
                        <a:pt x="483" y="1171"/>
                      </a:lnTo>
                      <a:lnTo>
                        <a:pt x="484" y="1171"/>
                      </a:lnTo>
                      <a:lnTo>
                        <a:pt x="487" y="1171"/>
                      </a:lnTo>
                      <a:lnTo>
                        <a:pt x="488" y="1170"/>
                      </a:lnTo>
                      <a:lnTo>
                        <a:pt x="489" y="1170"/>
                      </a:lnTo>
                      <a:lnTo>
                        <a:pt x="491" y="1170"/>
                      </a:lnTo>
                      <a:lnTo>
                        <a:pt x="492" y="1170"/>
                      </a:lnTo>
                      <a:lnTo>
                        <a:pt x="493" y="1170"/>
                      </a:lnTo>
                      <a:lnTo>
                        <a:pt x="499" y="1170"/>
                      </a:lnTo>
                      <a:lnTo>
                        <a:pt x="500" y="1170"/>
                      </a:lnTo>
                      <a:lnTo>
                        <a:pt x="500" y="1169"/>
                      </a:lnTo>
                      <a:lnTo>
                        <a:pt x="499" y="1169"/>
                      </a:lnTo>
                      <a:lnTo>
                        <a:pt x="499" y="1168"/>
                      </a:lnTo>
                      <a:lnTo>
                        <a:pt x="500" y="1168"/>
                      </a:lnTo>
                      <a:lnTo>
                        <a:pt x="500" y="1169"/>
                      </a:lnTo>
                      <a:lnTo>
                        <a:pt x="501" y="1169"/>
                      </a:lnTo>
                      <a:lnTo>
                        <a:pt x="502" y="1169"/>
                      </a:lnTo>
                      <a:lnTo>
                        <a:pt x="503" y="1170"/>
                      </a:lnTo>
                      <a:lnTo>
                        <a:pt x="504" y="1169"/>
                      </a:lnTo>
                      <a:lnTo>
                        <a:pt x="505" y="1169"/>
                      </a:lnTo>
                      <a:lnTo>
                        <a:pt x="506" y="1169"/>
                      </a:lnTo>
                      <a:lnTo>
                        <a:pt x="508" y="1169"/>
                      </a:lnTo>
                      <a:lnTo>
                        <a:pt x="509" y="1169"/>
                      </a:lnTo>
                      <a:lnTo>
                        <a:pt x="509" y="1168"/>
                      </a:lnTo>
                      <a:lnTo>
                        <a:pt x="511" y="1168"/>
                      </a:lnTo>
                      <a:lnTo>
                        <a:pt x="512" y="1168"/>
                      </a:lnTo>
                      <a:lnTo>
                        <a:pt x="513" y="1168"/>
                      </a:lnTo>
                      <a:lnTo>
                        <a:pt x="514" y="1166"/>
                      </a:lnTo>
                      <a:lnTo>
                        <a:pt x="515" y="1166"/>
                      </a:lnTo>
                      <a:lnTo>
                        <a:pt x="515" y="1164"/>
                      </a:lnTo>
                      <a:lnTo>
                        <a:pt x="516" y="1164"/>
                      </a:lnTo>
                      <a:lnTo>
                        <a:pt x="517" y="1163"/>
                      </a:lnTo>
                      <a:lnTo>
                        <a:pt x="518" y="1163"/>
                      </a:lnTo>
                      <a:lnTo>
                        <a:pt x="517" y="1164"/>
                      </a:lnTo>
                      <a:lnTo>
                        <a:pt x="516" y="1166"/>
                      </a:lnTo>
                      <a:lnTo>
                        <a:pt x="515" y="1167"/>
                      </a:lnTo>
                      <a:lnTo>
                        <a:pt x="515" y="1168"/>
                      </a:lnTo>
                      <a:close/>
                      <a:moveTo>
                        <a:pt x="400" y="1153"/>
                      </a:moveTo>
                      <a:lnTo>
                        <a:pt x="401" y="1153"/>
                      </a:lnTo>
                      <a:lnTo>
                        <a:pt x="402" y="1154"/>
                      </a:lnTo>
                      <a:lnTo>
                        <a:pt x="403" y="1154"/>
                      </a:lnTo>
                      <a:lnTo>
                        <a:pt x="405" y="1154"/>
                      </a:lnTo>
                      <a:lnTo>
                        <a:pt x="406" y="1154"/>
                      </a:lnTo>
                      <a:lnTo>
                        <a:pt x="406" y="1153"/>
                      </a:lnTo>
                      <a:lnTo>
                        <a:pt x="407" y="1153"/>
                      </a:lnTo>
                      <a:lnTo>
                        <a:pt x="407" y="1154"/>
                      </a:lnTo>
                      <a:lnTo>
                        <a:pt x="408" y="1154"/>
                      </a:lnTo>
                      <a:lnTo>
                        <a:pt x="408" y="1155"/>
                      </a:lnTo>
                      <a:lnTo>
                        <a:pt x="407" y="1155"/>
                      </a:lnTo>
                      <a:lnTo>
                        <a:pt x="406" y="1155"/>
                      </a:lnTo>
                      <a:lnTo>
                        <a:pt x="406" y="1156"/>
                      </a:lnTo>
                      <a:lnTo>
                        <a:pt x="406" y="1157"/>
                      </a:lnTo>
                      <a:lnTo>
                        <a:pt x="406" y="1158"/>
                      </a:lnTo>
                      <a:lnTo>
                        <a:pt x="405" y="1158"/>
                      </a:lnTo>
                      <a:lnTo>
                        <a:pt x="403" y="1159"/>
                      </a:lnTo>
                      <a:lnTo>
                        <a:pt x="402" y="1159"/>
                      </a:lnTo>
                      <a:lnTo>
                        <a:pt x="401" y="1159"/>
                      </a:lnTo>
                      <a:lnTo>
                        <a:pt x="401" y="1160"/>
                      </a:lnTo>
                      <a:lnTo>
                        <a:pt x="401" y="1159"/>
                      </a:lnTo>
                      <a:lnTo>
                        <a:pt x="400" y="1159"/>
                      </a:lnTo>
                      <a:lnTo>
                        <a:pt x="400" y="1158"/>
                      </a:lnTo>
                      <a:lnTo>
                        <a:pt x="399" y="1158"/>
                      </a:lnTo>
                      <a:lnTo>
                        <a:pt x="398" y="1158"/>
                      </a:lnTo>
                      <a:lnTo>
                        <a:pt x="398" y="1159"/>
                      </a:lnTo>
                      <a:lnTo>
                        <a:pt x="397" y="1159"/>
                      </a:lnTo>
                      <a:lnTo>
                        <a:pt x="397" y="1161"/>
                      </a:lnTo>
                      <a:lnTo>
                        <a:pt x="397" y="1162"/>
                      </a:lnTo>
                      <a:lnTo>
                        <a:pt x="398" y="1162"/>
                      </a:lnTo>
                      <a:lnTo>
                        <a:pt x="398" y="1161"/>
                      </a:lnTo>
                      <a:lnTo>
                        <a:pt x="398" y="1160"/>
                      </a:lnTo>
                      <a:lnTo>
                        <a:pt x="398" y="1159"/>
                      </a:lnTo>
                      <a:lnTo>
                        <a:pt x="399" y="1159"/>
                      </a:lnTo>
                      <a:lnTo>
                        <a:pt x="399" y="1160"/>
                      </a:lnTo>
                      <a:lnTo>
                        <a:pt x="399" y="1161"/>
                      </a:lnTo>
                      <a:lnTo>
                        <a:pt x="399" y="1162"/>
                      </a:lnTo>
                      <a:lnTo>
                        <a:pt x="398" y="1162"/>
                      </a:lnTo>
                      <a:lnTo>
                        <a:pt x="398" y="1163"/>
                      </a:lnTo>
                      <a:lnTo>
                        <a:pt x="399" y="1163"/>
                      </a:lnTo>
                      <a:lnTo>
                        <a:pt x="400" y="1163"/>
                      </a:lnTo>
                      <a:lnTo>
                        <a:pt x="401" y="1163"/>
                      </a:lnTo>
                      <a:lnTo>
                        <a:pt x="401" y="1164"/>
                      </a:lnTo>
                      <a:lnTo>
                        <a:pt x="400" y="1164"/>
                      </a:lnTo>
                      <a:lnTo>
                        <a:pt x="399" y="1166"/>
                      </a:lnTo>
                      <a:lnTo>
                        <a:pt x="399" y="1167"/>
                      </a:lnTo>
                      <a:lnTo>
                        <a:pt x="398" y="1167"/>
                      </a:lnTo>
                      <a:lnTo>
                        <a:pt x="398" y="1168"/>
                      </a:lnTo>
                      <a:lnTo>
                        <a:pt x="397" y="1167"/>
                      </a:lnTo>
                      <a:lnTo>
                        <a:pt x="396" y="1167"/>
                      </a:lnTo>
                      <a:lnTo>
                        <a:pt x="396" y="1166"/>
                      </a:lnTo>
                      <a:lnTo>
                        <a:pt x="395" y="1166"/>
                      </a:lnTo>
                      <a:lnTo>
                        <a:pt x="394" y="1166"/>
                      </a:lnTo>
                      <a:lnTo>
                        <a:pt x="393" y="1164"/>
                      </a:lnTo>
                      <a:lnTo>
                        <a:pt x="392" y="1164"/>
                      </a:lnTo>
                      <a:lnTo>
                        <a:pt x="393" y="1164"/>
                      </a:lnTo>
                      <a:lnTo>
                        <a:pt x="393" y="1163"/>
                      </a:lnTo>
                      <a:lnTo>
                        <a:pt x="392" y="1163"/>
                      </a:lnTo>
                      <a:lnTo>
                        <a:pt x="390" y="1162"/>
                      </a:lnTo>
                      <a:lnTo>
                        <a:pt x="389" y="1162"/>
                      </a:lnTo>
                      <a:lnTo>
                        <a:pt x="388" y="1162"/>
                      </a:lnTo>
                      <a:lnTo>
                        <a:pt x="388" y="1161"/>
                      </a:lnTo>
                      <a:lnTo>
                        <a:pt x="388" y="1160"/>
                      </a:lnTo>
                      <a:lnTo>
                        <a:pt x="389" y="1160"/>
                      </a:lnTo>
                      <a:lnTo>
                        <a:pt x="390" y="1160"/>
                      </a:lnTo>
                      <a:lnTo>
                        <a:pt x="390" y="1159"/>
                      </a:lnTo>
                      <a:lnTo>
                        <a:pt x="390" y="1158"/>
                      </a:lnTo>
                      <a:lnTo>
                        <a:pt x="392" y="1157"/>
                      </a:lnTo>
                      <a:lnTo>
                        <a:pt x="393" y="1157"/>
                      </a:lnTo>
                      <a:lnTo>
                        <a:pt x="393" y="1158"/>
                      </a:lnTo>
                      <a:lnTo>
                        <a:pt x="393" y="1159"/>
                      </a:lnTo>
                      <a:lnTo>
                        <a:pt x="395" y="1159"/>
                      </a:lnTo>
                      <a:lnTo>
                        <a:pt x="395" y="1158"/>
                      </a:lnTo>
                      <a:lnTo>
                        <a:pt x="396" y="1158"/>
                      </a:lnTo>
                      <a:lnTo>
                        <a:pt x="397" y="1157"/>
                      </a:lnTo>
                      <a:lnTo>
                        <a:pt x="398" y="1157"/>
                      </a:lnTo>
                      <a:lnTo>
                        <a:pt x="399" y="1157"/>
                      </a:lnTo>
                      <a:lnTo>
                        <a:pt x="400" y="1157"/>
                      </a:lnTo>
                      <a:lnTo>
                        <a:pt x="399" y="1156"/>
                      </a:lnTo>
                      <a:lnTo>
                        <a:pt x="398" y="1155"/>
                      </a:lnTo>
                      <a:lnTo>
                        <a:pt x="399" y="1155"/>
                      </a:lnTo>
                      <a:lnTo>
                        <a:pt x="398" y="1154"/>
                      </a:lnTo>
                      <a:lnTo>
                        <a:pt x="397" y="1154"/>
                      </a:lnTo>
                      <a:lnTo>
                        <a:pt x="397" y="1153"/>
                      </a:lnTo>
                      <a:lnTo>
                        <a:pt x="396" y="1153"/>
                      </a:lnTo>
                      <a:lnTo>
                        <a:pt x="397" y="1153"/>
                      </a:lnTo>
                      <a:lnTo>
                        <a:pt x="398" y="1153"/>
                      </a:lnTo>
                      <a:lnTo>
                        <a:pt x="399" y="1153"/>
                      </a:lnTo>
                      <a:lnTo>
                        <a:pt x="400" y="1151"/>
                      </a:lnTo>
                      <a:lnTo>
                        <a:pt x="400" y="1153"/>
                      </a:lnTo>
                      <a:close/>
                      <a:moveTo>
                        <a:pt x="414" y="1175"/>
                      </a:moveTo>
                      <a:lnTo>
                        <a:pt x="415" y="1175"/>
                      </a:lnTo>
                      <a:lnTo>
                        <a:pt x="416" y="1175"/>
                      </a:lnTo>
                      <a:lnTo>
                        <a:pt x="418" y="1176"/>
                      </a:lnTo>
                      <a:lnTo>
                        <a:pt x="416" y="1176"/>
                      </a:lnTo>
                      <a:lnTo>
                        <a:pt x="416" y="1178"/>
                      </a:lnTo>
                      <a:lnTo>
                        <a:pt x="415" y="1179"/>
                      </a:lnTo>
                      <a:lnTo>
                        <a:pt x="414" y="1180"/>
                      </a:lnTo>
                      <a:lnTo>
                        <a:pt x="413" y="1180"/>
                      </a:lnTo>
                      <a:lnTo>
                        <a:pt x="412" y="1181"/>
                      </a:lnTo>
                      <a:lnTo>
                        <a:pt x="411" y="1182"/>
                      </a:lnTo>
                      <a:lnTo>
                        <a:pt x="410" y="1182"/>
                      </a:lnTo>
                      <a:lnTo>
                        <a:pt x="409" y="1182"/>
                      </a:lnTo>
                      <a:lnTo>
                        <a:pt x="409" y="1183"/>
                      </a:lnTo>
                      <a:lnTo>
                        <a:pt x="408" y="1183"/>
                      </a:lnTo>
                      <a:lnTo>
                        <a:pt x="407" y="1183"/>
                      </a:lnTo>
                      <a:lnTo>
                        <a:pt x="406" y="1183"/>
                      </a:lnTo>
                      <a:lnTo>
                        <a:pt x="399" y="1183"/>
                      </a:lnTo>
                      <a:lnTo>
                        <a:pt x="398" y="1183"/>
                      </a:lnTo>
                      <a:lnTo>
                        <a:pt x="397" y="1182"/>
                      </a:lnTo>
                      <a:lnTo>
                        <a:pt x="395" y="1182"/>
                      </a:lnTo>
                      <a:lnTo>
                        <a:pt x="394" y="1182"/>
                      </a:lnTo>
                      <a:lnTo>
                        <a:pt x="393" y="1181"/>
                      </a:lnTo>
                      <a:lnTo>
                        <a:pt x="392" y="1179"/>
                      </a:lnTo>
                      <a:lnTo>
                        <a:pt x="390" y="1179"/>
                      </a:lnTo>
                      <a:lnTo>
                        <a:pt x="389" y="1179"/>
                      </a:lnTo>
                      <a:lnTo>
                        <a:pt x="388" y="1179"/>
                      </a:lnTo>
                      <a:lnTo>
                        <a:pt x="387" y="1178"/>
                      </a:lnTo>
                      <a:lnTo>
                        <a:pt x="386" y="1178"/>
                      </a:lnTo>
                      <a:lnTo>
                        <a:pt x="385" y="1176"/>
                      </a:lnTo>
                      <a:lnTo>
                        <a:pt x="384" y="1176"/>
                      </a:lnTo>
                      <a:lnTo>
                        <a:pt x="383" y="1176"/>
                      </a:lnTo>
                      <a:lnTo>
                        <a:pt x="382" y="1176"/>
                      </a:lnTo>
                      <a:lnTo>
                        <a:pt x="382" y="1175"/>
                      </a:lnTo>
                      <a:lnTo>
                        <a:pt x="382" y="1174"/>
                      </a:lnTo>
                      <a:lnTo>
                        <a:pt x="383" y="1175"/>
                      </a:lnTo>
                      <a:lnTo>
                        <a:pt x="384" y="1175"/>
                      </a:lnTo>
                      <a:lnTo>
                        <a:pt x="385" y="1175"/>
                      </a:lnTo>
                      <a:lnTo>
                        <a:pt x="386" y="1175"/>
                      </a:lnTo>
                      <a:lnTo>
                        <a:pt x="387" y="1175"/>
                      </a:lnTo>
                      <a:lnTo>
                        <a:pt x="388" y="1176"/>
                      </a:lnTo>
                      <a:lnTo>
                        <a:pt x="390" y="1178"/>
                      </a:lnTo>
                      <a:lnTo>
                        <a:pt x="392" y="1178"/>
                      </a:lnTo>
                      <a:lnTo>
                        <a:pt x="392" y="1179"/>
                      </a:lnTo>
                      <a:lnTo>
                        <a:pt x="393" y="1179"/>
                      </a:lnTo>
                      <a:lnTo>
                        <a:pt x="394" y="1179"/>
                      </a:lnTo>
                      <a:lnTo>
                        <a:pt x="395" y="1178"/>
                      </a:lnTo>
                      <a:lnTo>
                        <a:pt x="396" y="1178"/>
                      </a:lnTo>
                      <a:lnTo>
                        <a:pt x="397" y="1178"/>
                      </a:lnTo>
                      <a:lnTo>
                        <a:pt x="398" y="1179"/>
                      </a:lnTo>
                      <a:lnTo>
                        <a:pt x="398" y="1180"/>
                      </a:lnTo>
                      <a:lnTo>
                        <a:pt x="398" y="1181"/>
                      </a:lnTo>
                      <a:lnTo>
                        <a:pt x="400" y="1181"/>
                      </a:lnTo>
                      <a:lnTo>
                        <a:pt x="401" y="1180"/>
                      </a:lnTo>
                      <a:lnTo>
                        <a:pt x="403" y="1181"/>
                      </a:lnTo>
                      <a:lnTo>
                        <a:pt x="403" y="1180"/>
                      </a:lnTo>
                      <a:lnTo>
                        <a:pt x="405" y="1180"/>
                      </a:lnTo>
                      <a:lnTo>
                        <a:pt x="406" y="1180"/>
                      </a:lnTo>
                      <a:lnTo>
                        <a:pt x="407" y="1180"/>
                      </a:lnTo>
                      <a:lnTo>
                        <a:pt x="408" y="1180"/>
                      </a:lnTo>
                      <a:lnTo>
                        <a:pt x="409" y="1180"/>
                      </a:lnTo>
                      <a:lnTo>
                        <a:pt x="410" y="1180"/>
                      </a:lnTo>
                      <a:lnTo>
                        <a:pt x="410" y="1179"/>
                      </a:lnTo>
                      <a:lnTo>
                        <a:pt x="410" y="1178"/>
                      </a:lnTo>
                      <a:lnTo>
                        <a:pt x="409" y="1178"/>
                      </a:lnTo>
                      <a:lnTo>
                        <a:pt x="409" y="1176"/>
                      </a:lnTo>
                      <a:lnTo>
                        <a:pt x="410" y="1175"/>
                      </a:lnTo>
                      <a:lnTo>
                        <a:pt x="409" y="1175"/>
                      </a:lnTo>
                      <a:lnTo>
                        <a:pt x="408" y="1175"/>
                      </a:lnTo>
                      <a:lnTo>
                        <a:pt x="407" y="1175"/>
                      </a:lnTo>
                      <a:lnTo>
                        <a:pt x="407" y="1174"/>
                      </a:lnTo>
                      <a:lnTo>
                        <a:pt x="408" y="1174"/>
                      </a:lnTo>
                      <a:lnTo>
                        <a:pt x="409" y="1174"/>
                      </a:lnTo>
                      <a:lnTo>
                        <a:pt x="410" y="1174"/>
                      </a:lnTo>
                      <a:lnTo>
                        <a:pt x="411" y="1174"/>
                      </a:lnTo>
                      <a:lnTo>
                        <a:pt x="412" y="1175"/>
                      </a:lnTo>
                      <a:lnTo>
                        <a:pt x="414" y="1175"/>
                      </a:lnTo>
                      <a:close/>
                      <a:moveTo>
                        <a:pt x="422" y="1136"/>
                      </a:moveTo>
                      <a:lnTo>
                        <a:pt x="423" y="1136"/>
                      </a:lnTo>
                      <a:lnTo>
                        <a:pt x="424" y="1135"/>
                      </a:lnTo>
                      <a:lnTo>
                        <a:pt x="424" y="1136"/>
                      </a:lnTo>
                      <a:lnTo>
                        <a:pt x="423" y="1136"/>
                      </a:lnTo>
                      <a:lnTo>
                        <a:pt x="424" y="1136"/>
                      </a:lnTo>
                      <a:lnTo>
                        <a:pt x="424" y="1137"/>
                      </a:lnTo>
                      <a:lnTo>
                        <a:pt x="423" y="1138"/>
                      </a:lnTo>
                      <a:lnTo>
                        <a:pt x="424" y="1138"/>
                      </a:lnTo>
                      <a:lnTo>
                        <a:pt x="424" y="1140"/>
                      </a:lnTo>
                      <a:lnTo>
                        <a:pt x="424" y="1141"/>
                      </a:lnTo>
                      <a:lnTo>
                        <a:pt x="425" y="1140"/>
                      </a:lnTo>
                      <a:lnTo>
                        <a:pt x="426" y="1140"/>
                      </a:lnTo>
                      <a:lnTo>
                        <a:pt x="426" y="1138"/>
                      </a:lnTo>
                      <a:lnTo>
                        <a:pt x="427" y="1138"/>
                      </a:lnTo>
                      <a:lnTo>
                        <a:pt x="427" y="1140"/>
                      </a:lnTo>
                      <a:lnTo>
                        <a:pt x="426" y="1140"/>
                      </a:lnTo>
                      <a:lnTo>
                        <a:pt x="426" y="1141"/>
                      </a:lnTo>
                      <a:lnTo>
                        <a:pt x="426" y="1142"/>
                      </a:lnTo>
                      <a:lnTo>
                        <a:pt x="425" y="1143"/>
                      </a:lnTo>
                      <a:lnTo>
                        <a:pt x="425" y="1144"/>
                      </a:lnTo>
                      <a:lnTo>
                        <a:pt x="425" y="1145"/>
                      </a:lnTo>
                      <a:lnTo>
                        <a:pt x="425" y="1146"/>
                      </a:lnTo>
                      <a:lnTo>
                        <a:pt x="424" y="1146"/>
                      </a:lnTo>
                      <a:lnTo>
                        <a:pt x="424" y="1147"/>
                      </a:lnTo>
                      <a:lnTo>
                        <a:pt x="424" y="1148"/>
                      </a:lnTo>
                      <a:lnTo>
                        <a:pt x="423" y="1148"/>
                      </a:lnTo>
                      <a:lnTo>
                        <a:pt x="423" y="1147"/>
                      </a:lnTo>
                      <a:lnTo>
                        <a:pt x="422" y="1147"/>
                      </a:lnTo>
                      <a:lnTo>
                        <a:pt x="421" y="1147"/>
                      </a:lnTo>
                      <a:lnTo>
                        <a:pt x="420" y="1147"/>
                      </a:lnTo>
                      <a:lnTo>
                        <a:pt x="420" y="1148"/>
                      </a:lnTo>
                      <a:lnTo>
                        <a:pt x="419" y="1149"/>
                      </a:lnTo>
                      <a:lnTo>
                        <a:pt x="419" y="1150"/>
                      </a:lnTo>
                      <a:lnTo>
                        <a:pt x="419" y="1151"/>
                      </a:lnTo>
                      <a:lnTo>
                        <a:pt x="418" y="1151"/>
                      </a:lnTo>
                      <a:lnTo>
                        <a:pt x="418" y="1150"/>
                      </a:lnTo>
                      <a:lnTo>
                        <a:pt x="418" y="1149"/>
                      </a:lnTo>
                      <a:lnTo>
                        <a:pt x="418" y="1148"/>
                      </a:lnTo>
                      <a:lnTo>
                        <a:pt x="419" y="1147"/>
                      </a:lnTo>
                      <a:lnTo>
                        <a:pt x="420" y="1147"/>
                      </a:lnTo>
                      <a:lnTo>
                        <a:pt x="421" y="1146"/>
                      </a:lnTo>
                      <a:lnTo>
                        <a:pt x="422" y="1146"/>
                      </a:lnTo>
                      <a:lnTo>
                        <a:pt x="424" y="1146"/>
                      </a:lnTo>
                      <a:lnTo>
                        <a:pt x="424" y="1145"/>
                      </a:lnTo>
                      <a:lnTo>
                        <a:pt x="423" y="1145"/>
                      </a:lnTo>
                      <a:lnTo>
                        <a:pt x="422" y="1145"/>
                      </a:lnTo>
                      <a:lnTo>
                        <a:pt x="421" y="1145"/>
                      </a:lnTo>
                      <a:lnTo>
                        <a:pt x="420" y="1146"/>
                      </a:lnTo>
                      <a:lnTo>
                        <a:pt x="420" y="1145"/>
                      </a:lnTo>
                      <a:lnTo>
                        <a:pt x="421" y="1145"/>
                      </a:lnTo>
                      <a:lnTo>
                        <a:pt x="421" y="1144"/>
                      </a:lnTo>
                      <a:lnTo>
                        <a:pt x="421" y="1143"/>
                      </a:lnTo>
                      <a:lnTo>
                        <a:pt x="420" y="1143"/>
                      </a:lnTo>
                      <a:lnTo>
                        <a:pt x="419" y="1143"/>
                      </a:lnTo>
                      <a:lnTo>
                        <a:pt x="419" y="1142"/>
                      </a:lnTo>
                      <a:lnTo>
                        <a:pt x="419" y="1141"/>
                      </a:lnTo>
                      <a:lnTo>
                        <a:pt x="419" y="1142"/>
                      </a:lnTo>
                      <a:lnTo>
                        <a:pt x="420" y="1142"/>
                      </a:lnTo>
                      <a:lnTo>
                        <a:pt x="421" y="1142"/>
                      </a:lnTo>
                      <a:lnTo>
                        <a:pt x="421" y="1141"/>
                      </a:lnTo>
                      <a:lnTo>
                        <a:pt x="422" y="1141"/>
                      </a:lnTo>
                      <a:lnTo>
                        <a:pt x="423" y="1141"/>
                      </a:lnTo>
                      <a:lnTo>
                        <a:pt x="423" y="1140"/>
                      </a:lnTo>
                      <a:lnTo>
                        <a:pt x="423" y="1138"/>
                      </a:lnTo>
                      <a:lnTo>
                        <a:pt x="422" y="1137"/>
                      </a:lnTo>
                      <a:lnTo>
                        <a:pt x="421" y="1137"/>
                      </a:lnTo>
                      <a:lnTo>
                        <a:pt x="420" y="1137"/>
                      </a:lnTo>
                      <a:lnTo>
                        <a:pt x="419" y="1137"/>
                      </a:lnTo>
                      <a:lnTo>
                        <a:pt x="418" y="1137"/>
                      </a:lnTo>
                      <a:lnTo>
                        <a:pt x="418" y="1138"/>
                      </a:lnTo>
                      <a:lnTo>
                        <a:pt x="418" y="1137"/>
                      </a:lnTo>
                      <a:lnTo>
                        <a:pt x="418" y="1136"/>
                      </a:lnTo>
                      <a:lnTo>
                        <a:pt x="419" y="1136"/>
                      </a:lnTo>
                      <a:lnTo>
                        <a:pt x="419" y="1135"/>
                      </a:lnTo>
                      <a:lnTo>
                        <a:pt x="420" y="1135"/>
                      </a:lnTo>
                      <a:lnTo>
                        <a:pt x="420" y="1134"/>
                      </a:lnTo>
                      <a:lnTo>
                        <a:pt x="421" y="1134"/>
                      </a:lnTo>
                      <a:lnTo>
                        <a:pt x="421" y="1135"/>
                      </a:lnTo>
                      <a:lnTo>
                        <a:pt x="422" y="1135"/>
                      </a:lnTo>
                      <a:lnTo>
                        <a:pt x="422" y="1136"/>
                      </a:lnTo>
                      <a:close/>
                      <a:moveTo>
                        <a:pt x="505" y="1067"/>
                      </a:moveTo>
                      <a:lnTo>
                        <a:pt x="506" y="1068"/>
                      </a:lnTo>
                      <a:lnTo>
                        <a:pt x="508" y="1068"/>
                      </a:lnTo>
                      <a:lnTo>
                        <a:pt x="508" y="1071"/>
                      </a:lnTo>
                      <a:lnTo>
                        <a:pt x="506" y="1071"/>
                      </a:lnTo>
                      <a:lnTo>
                        <a:pt x="505" y="1072"/>
                      </a:lnTo>
                      <a:lnTo>
                        <a:pt x="506" y="1073"/>
                      </a:lnTo>
                      <a:lnTo>
                        <a:pt x="506" y="1074"/>
                      </a:lnTo>
                      <a:lnTo>
                        <a:pt x="508" y="1074"/>
                      </a:lnTo>
                      <a:lnTo>
                        <a:pt x="509" y="1076"/>
                      </a:lnTo>
                      <a:lnTo>
                        <a:pt x="509" y="1077"/>
                      </a:lnTo>
                      <a:lnTo>
                        <a:pt x="510" y="1077"/>
                      </a:lnTo>
                      <a:lnTo>
                        <a:pt x="510" y="1078"/>
                      </a:lnTo>
                      <a:lnTo>
                        <a:pt x="509" y="1078"/>
                      </a:lnTo>
                      <a:lnTo>
                        <a:pt x="508" y="1078"/>
                      </a:lnTo>
                      <a:lnTo>
                        <a:pt x="509" y="1079"/>
                      </a:lnTo>
                      <a:lnTo>
                        <a:pt x="510" y="1079"/>
                      </a:lnTo>
                      <a:lnTo>
                        <a:pt x="511" y="1079"/>
                      </a:lnTo>
                      <a:lnTo>
                        <a:pt x="511" y="1078"/>
                      </a:lnTo>
                      <a:lnTo>
                        <a:pt x="512" y="1078"/>
                      </a:lnTo>
                      <a:lnTo>
                        <a:pt x="512" y="1077"/>
                      </a:lnTo>
                      <a:lnTo>
                        <a:pt x="512" y="1076"/>
                      </a:lnTo>
                      <a:lnTo>
                        <a:pt x="513" y="1076"/>
                      </a:lnTo>
                      <a:lnTo>
                        <a:pt x="513" y="1079"/>
                      </a:lnTo>
                      <a:lnTo>
                        <a:pt x="512" y="1080"/>
                      </a:lnTo>
                      <a:lnTo>
                        <a:pt x="513" y="1080"/>
                      </a:lnTo>
                      <a:lnTo>
                        <a:pt x="513" y="1081"/>
                      </a:lnTo>
                      <a:lnTo>
                        <a:pt x="514" y="1081"/>
                      </a:lnTo>
                      <a:lnTo>
                        <a:pt x="514" y="1082"/>
                      </a:lnTo>
                      <a:lnTo>
                        <a:pt x="514" y="1083"/>
                      </a:lnTo>
                      <a:lnTo>
                        <a:pt x="515" y="1084"/>
                      </a:lnTo>
                      <a:lnTo>
                        <a:pt x="514" y="1085"/>
                      </a:lnTo>
                      <a:lnTo>
                        <a:pt x="515" y="1085"/>
                      </a:lnTo>
                      <a:lnTo>
                        <a:pt x="515" y="1086"/>
                      </a:lnTo>
                      <a:lnTo>
                        <a:pt x="514" y="1088"/>
                      </a:lnTo>
                      <a:lnTo>
                        <a:pt x="513" y="1089"/>
                      </a:lnTo>
                      <a:lnTo>
                        <a:pt x="512" y="1089"/>
                      </a:lnTo>
                      <a:lnTo>
                        <a:pt x="512" y="1088"/>
                      </a:lnTo>
                      <a:lnTo>
                        <a:pt x="513" y="1088"/>
                      </a:lnTo>
                      <a:lnTo>
                        <a:pt x="513" y="1086"/>
                      </a:lnTo>
                      <a:lnTo>
                        <a:pt x="513" y="1085"/>
                      </a:lnTo>
                      <a:lnTo>
                        <a:pt x="513" y="1084"/>
                      </a:lnTo>
                      <a:lnTo>
                        <a:pt x="513" y="1083"/>
                      </a:lnTo>
                      <a:lnTo>
                        <a:pt x="512" y="1082"/>
                      </a:lnTo>
                      <a:lnTo>
                        <a:pt x="512" y="1083"/>
                      </a:lnTo>
                      <a:lnTo>
                        <a:pt x="511" y="1082"/>
                      </a:lnTo>
                      <a:lnTo>
                        <a:pt x="510" y="1082"/>
                      </a:lnTo>
                      <a:lnTo>
                        <a:pt x="509" y="1082"/>
                      </a:lnTo>
                      <a:lnTo>
                        <a:pt x="509" y="1081"/>
                      </a:lnTo>
                      <a:lnTo>
                        <a:pt x="508" y="1081"/>
                      </a:lnTo>
                      <a:lnTo>
                        <a:pt x="508" y="1080"/>
                      </a:lnTo>
                      <a:lnTo>
                        <a:pt x="506" y="1079"/>
                      </a:lnTo>
                      <a:lnTo>
                        <a:pt x="506" y="1078"/>
                      </a:lnTo>
                      <a:lnTo>
                        <a:pt x="506" y="1077"/>
                      </a:lnTo>
                      <a:lnTo>
                        <a:pt x="506" y="1076"/>
                      </a:lnTo>
                      <a:lnTo>
                        <a:pt x="506" y="1074"/>
                      </a:lnTo>
                      <a:lnTo>
                        <a:pt x="505" y="1074"/>
                      </a:lnTo>
                      <a:lnTo>
                        <a:pt x="505" y="1073"/>
                      </a:lnTo>
                      <a:lnTo>
                        <a:pt x="504" y="1073"/>
                      </a:lnTo>
                      <a:lnTo>
                        <a:pt x="504" y="1072"/>
                      </a:lnTo>
                      <a:lnTo>
                        <a:pt x="504" y="1071"/>
                      </a:lnTo>
                      <a:lnTo>
                        <a:pt x="504" y="1070"/>
                      </a:lnTo>
                      <a:lnTo>
                        <a:pt x="504" y="1069"/>
                      </a:lnTo>
                      <a:lnTo>
                        <a:pt x="504" y="1068"/>
                      </a:lnTo>
                      <a:lnTo>
                        <a:pt x="505" y="1068"/>
                      </a:lnTo>
                      <a:lnTo>
                        <a:pt x="505" y="1067"/>
                      </a:lnTo>
                      <a:close/>
                      <a:moveTo>
                        <a:pt x="287" y="1079"/>
                      </a:moveTo>
                      <a:lnTo>
                        <a:pt x="289" y="1079"/>
                      </a:lnTo>
                      <a:lnTo>
                        <a:pt x="289" y="1078"/>
                      </a:lnTo>
                      <a:lnTo>
                        <a:pt x="290" y="1079"/>
                      </a:lnTo>
                      <a:lnTo>
                        <a:pt x="291" y="1079"/>
                      </a:lnTo>
                      <a:lnTo>
                        <a:pt x="292" y="1079"/>
                      </a:lnTo>
                      <a:lnTo>
                        <a:pt x="292" y="1080"/>
                      </a:lnTo>
                      <a:lnTo>
                        <a:pt x="292" y="1082"/>
                      </a:lnTo>
                      <a:lnTo>
                        <a:pt x="293" y="1083"/>
                      </a:lnTo>
                      <a:lnTo>
                        <a:pt x="293" y="1084"/>
                      </a:lnTo>
                      <a:lnTo>
                        <a:pt x="292" y="1084"/>
                      </a:lnTo>
                      <a:lnTo>
                        <a:pt x="292" y="1083"/>
                      </a:lnTo>
                      <a:lnTo>
                        <a:pt x="291" y="1084"/>
                      </a:lnTo>
                      <a:lnTo>
                        <a:pt x="291" y="1083"/>
                      </a:lnTo>
                      <a:lnTo>
                        <a:pt x="290" y="1083"/>
                      </a:lnTo>
                      <a:lnTo>
                        <a:pt x="290" y="1084"/>
                      </a:lnTo>
                      <a:lnTo>
                        <a:pt x="289" y="1085"/>
                      </a:lnTo>
                      <a:lnTo>
                        <a:pt x="289" y="1086"/>
                      </a:lnTo>
                      <a:lnTo>
                        <a:pt x="290" y="1088"/>
                      </a:lnTo>
                      <a:lnTo>
                        <a:pt x="289" y="1088"/>
                      </a:lnTo>
                      <a:lnTo>
                        <a:pt x="289" y="1086"/>
                      </a:lnTo>
                      <a:lnTo>
                        <a:pt x="287" y="1086"/>
                      </a:lnTo>
                      <a:lnTo>
                        <a:pt x="286" y="1088"/>
                      </a:lnTo>
                      <a:lnTo>
                        <a:pt x="286" y="1089"/>
                      </a:lnTo>
                      <a:lnTo>
                        <a:pt x="285" y="1089"/>
                      </a:lnTo>
                      <a:lnTo>
                        <a:pt x="285" y="1088"/>
                      </a:lnTo>
                      <a:lnTo>
                        <a:pt x="285" y="1086"/>
                      </a:lnTo>
                      <a:lnTo>
                        <a:pt x="285" y="1085"/>
                      </a:lnTo>
                      <a:lnTo>
                        <a:pt x="284" y="1084"/>
                      </a:lnTo>
                      <a:lnTo>
                        <a:pt x="285" y="1084"/>
                      </a:lnTo>
                      <a:lnTo>
                        <a:pt x="285" y="1083"/>
                      </a:lnTo>
                      <a:lnTo>
                        <a:pt x="285" y="1082"/>
                      </a:lnTo>
                      <a:lnTo>
                        <a:pt x="285" y="1081"/>
                      </a:lnTo>
                      <a:lnTo>
                        <a:pt x="286" y="1081"/>
                      </a:lnTo>
                      <a:lnTo>
                        <a:pt x="286" y="1080"/>
                      </a:lnTo>
                      <a:lnTo>
                        <a:pt x="285" y="1080"/>
                      </a:lnTo>
                      <a:lnTo>
                        <a:pt x="285" y="1079"/>
                      </a:lnTo>
                      <a:lnTo>
                        <a:pt x="286" y="1078"/>
                      </a:lnTo>
                      <a:lnTo>
                        <a:pt x="286" y="1079"/>
                      </a:lnTo>
                      <a:lnTo>
                        <a:pt x="287" y="1079"/>
                      </a:lnTo>
                      <a:close/>
                      <a:moveTo>
                        <a:pt x="343" y="1179"/>
                      </a:moveTo>
                      <a:lnTo>
                        <a:pt x="346" y="1179"/>
                      </a:lnTo>
                      <a:lnTo>
                        <a:pt x="348" y="1179"/>
                      </a:lnTo>
                      <a:lnTo>
                        <a:pt x="348" y="1180"/>
                      </a:lnTo>
                      <a:lnTo>
                        <a:pt x="347" y="1180"/>
                      </a:lnTo>
                      <a:lnTo>
                        <a:pt x="346" y="1180"/>
                      </a:lnTo>
                      <a:lnTo>
                        <a:pt x="345" y="1180"/>
                      </a:lnTo>
                      <a:lnTo>
                        <a:pt x="343" y="1180"/>
                      </a:lnTo>
                      <a:lnTo>
                        <a:pt x="341" y="1179"/>
                      </a:lnTo>
                      <a:lnTo>
                        <a:pt x="340" y="1178"/>
                      </a:lnTo>
                      <a:lnTo>
                        <a:pt x="338" y="1178"/>
                      </a:lnTo>
                      <a:lnTo>
                        <a:pt x="337" y="1176"/>
                      </a:lnTo>
                      <a:lnTo>
                        <a:pt x="336" y="1175"/>
                      </a:lnTo>
                      <a:lnTo>
                        <a:pt x="335" y="1175"/>
                      </a:lnTo>
                      <a:lnTo>
                        <a:pt x="334" y="1174"/>
                      </a:lnTo>
                      <a:lnTo>
                        <a:pt x="333" y="1174"/>
                      </a:lnTo>
                      <a:lnTo>
                        <a:pt x="332" y="1173"/>
                      </a:lnTo>
                      <a:lnTo>
                        <a:pt x="331" y="1172"/>
                      </a:lnTo>
                      <a:lnTo>
                        <a:pt x="330" y="1172"/>
                      </a:lnTo>
                      <a:lnTo>
                        <a:pt x="329" y="1171"/>
                      </a:lnTo>
                      <a:lnTo>
                        <a:pt x="325" y="1169"/>
                      </a:lnTo>
                      <a:lnTo>
                        <a:pt x="324" y="1168"/>
                      </a:lnTo>
                      <a:lnTo>
                        <a:pt x="323" y="1167"/>
                      </a:lnTo>
                      <a:lnTo>
                        <a:pt x="324" y="1167"/>
                      </a:lnTo>
                      <a:lnTo>
                        <a:pt x="325" y="1167"/>
                      </a:lnTo>
                      <a:lnTo>
                        <a:pt x="327" y="1167"/>
                      </a:lnTo>
                      <a:lnTo>
                        <a:pt x="328" y="1168"/>
                      </a:lnTo>
                      <a:lnTo>
                        <a:pt x="329" y="1169"/>
                      </a:lnTo>
                      <a:lnTo>
                        <a:pt x="334" y="1173"/>
                      </a:lnTo>
                      <a:lnTo>
                        <a:pt x="335" y="1173"/>
                      </a:lnTo>
                      <a:lnTo>
                        <a:pt x="336" y="1174"/>
                      </a:lnTo>
                      <a:lnTo>
                        <a:pt x="338" y="1175"/>
                      </a:lnTo>
                      <a:lnTo>
                        <a:pt x="338" y="1176"/>
                      </a:lnTo>
                      <a:lnTo>
                        <a:pt x="340" y="1176"/>
                      </a:lnTo>
                      <a:lnTo>
                        <a:pt x="341" y="1178"/>
                      </a:lnTo>
                      <a:lnTo>
                        <a:pt x="342" y="1178"/>
                      </a:lnTo>
                      <a:lnTo>
                        <a:pt x="343" y="1179"/>
                      </a:lnTo>
                      <a:close/>
                      <a:moveTo>
                        <a:pt x="508" y="1066"/>
                      </a:moveTo>
                      <a:lnTo>
                        <a:pt x="505" y="1066"/>
                      </a:lnTo>
                      <a:lnTo>
                        <a:pt x="505" y="1065"/>
                      </a:lnTo>
                      <a:lnTo>
                        <a:pt x="504" y="1064"/>
                      </a:lnTo>
                      <a:lnTo>
                        <a:pt x="504" y="1063"/>
                      </a:lnTo>
                      <a:lnTo>
                        <a:pt x="504" y="1061"/>
                      </a:lnTo>
                      <a:lnTo>
                        <a:pt x="504" y="1059"/>
                      </a:lnTo>
                      <a:lnTo>
                        <a:pt x="504" y="1058"/>
                      </a:lnTo>
                      <a:lnTo>
                        <a:pt x="504" y="1057"/>
                      </a:lnTo>
                      <a:lnTo>
                        <a:pt x="505" y="1057"/>
                      </a:lnTo>
                      <a:lnTo>
                        <a:pt x="505" y="1058"/>
                      </a:lnTo>
                      <a:lnTo>
                        <a:pt x="506" y="1058"/>
                      </a:lnTo>
                      <a:lnTo>
                        <a:pt x="506" y="1059"/>
                      </a:lnTo>
                      <a:lnTo>
                        <a:pt x="508" y="1059"/>
                      </a:lnTo>
                      <a:lnTo>
                        <a:pt x="508" y="1060"/>
                      </a:lnTo>
                      <a:lnTo>
                        <a:pt x="509" y="1060"/>
                      </a:lnTo>
                      <a:lnTo>
                        <a:pt x="509" y="1061"/>
                      </a:lnTo>
                      <a:lnTo>
                        <a:pt x="510" y="1061"/>
                      </a:lnTo>
                      <a:lnTo>
                        <a:pt x="510" y="1063"/>
                      </a:lnTo>
                      <a:lnTo>
                        <a:pt x="510" y="1064"/>
                      </a:lnTo>
                      <a:lnTo>
                        <a:pt x="509" y="1065"/>
                      </a:lnTo>
                      <a:lnTo>
                        <a:pt x="508" y="1066"/>
                      </a:lnTo>
                      <a:close/>
                      <a:moveTo>
                        <a:pt x="471" y="1121"/>
                      </a:moveTo>
                      <a:lnTo>
                        <a:pt x="472" y="1121"/>
                      </a:lnTo>
                      <a:lnTo>
                        <a:pt x="472" y="1122"/>
                      </a:lnTo>
                      <a:lnTo>
                        <a:pt x="473" y="1122"/>
                      </a:lnTo>
                      <a:lnTo>
                        <a:pt x="474" y="1122"/>
                      </a:lnTo>
                      <a:lnTo>
                        <a:pt x="475" y="1122"/>
                      </a:lnTo>
                      <a:lnTo>
                        <a:pt x="474" y="1123"/>
                      </a:lnTo>
                      <a:lnTo>
                        <a:pt x="474" y="1122"/>
                      </a:lnTo>
                      <a:lnTo>
                        <a:pt x="473" y="1123"/>
                      </a:lnTo>
                      <a:lnTo>
                        <a:pt x="473" y="1124"/>
                      </a:lnTo>
                      <a:lnTo>
                        <a:pt x="473" y="1125"/>
                      </a:lnTo>
                      <a:lnTo>
                        <a:pt x="473" y="1127"/>
                      </a:lnTo>
                      <a:lnTo>
                        <a:pt x="473" y="1128"/>
                      </a:lnTo>
                      <a:lnTo>
                        <a:pt x="474" y="1128"/>
                      </a:lnTo>
                      <a:lnTo>
                        <a:pt x="474" y="1129"/>
                      </a:lnTo>
                      <a:lnTo>
                        <a:pt x="474" y="1130"/>
                      </a:lnTo>
                      <a:lnTo>
                        <a:pt x="474" y="1131"/>
                      </a:lnTo>
                      <a:lnTo>
                        <a:pt x="475" y="1131"/>
                      </a:lnTo>
                      <a:lnTo>
                        <a:pt x="475" y="1130"/>
                      </a:lnTo>
                      <a:lnTo>
                        <a:pt x="476" y="1130"/>
                      </a:lnTo>
                      <a:lnTo>
                        <a:pt x="476" y="1129"/>
                      </a:lnTo>
                      <a:lnTo>
                        <a:pt x="476" y="1130"/>
                      </a:lnTo>
                      <a:lnTo>
                        <a:pt x="475" y="1131"/>
                      </a:lnTo>
                      <a:lnTo>
                        <a:pt x="475" y="1132"/>
                      </a:lnTo>
                      <a:lnTo>
                        <a:pt x="474" y="1132"/>
                      </a:lnTo>
                      <a:lnTo>
                        <a:pt x="473" y="1132"/>
                      </a:lnTo>
                      <a:lnTo>
                        <a:pt x="473" y="1131"/>
                      </a:lnTo>
                      <a:lnTo>
                        <a:pt x="474" y="1131"/>
                      </a:lnTo>
                      <a:lnTo>
                        <a:pt x="473" y="1131"/>
                      </a:lnTo>
                      <a:lnTo>
                        <a:pt x="473" y="1130"/>
                      </a:lnTo>
                      <a:lnTo>
                        <a:pt x="473" y="1129"/>
                      </a:lnTo>
                      <a:lnTo>
                        <a:pt x="473" y="1128"/>
                      </a:lnTo>
                      <a:lnTo>
                        <a:pt x="472" y="1127"/>
                      </a:lnTo>
                      <a:lnTo>
                        <a:pt x="472" y="1125"/>
                      </a:lnTo>
                      <a:lnTo>
                        <a:pt x="471" y="1125"/>
                      </a:lnTo>
                      <a:lnTo>
                        <a:pt x="471" y="1124"/>
                      </a:lnTo>
                      <a:lnTo>
                        <a:pt x="470" y="1124"/>
                      </a:lnTo>
                      <a:lnTo>
                        <a:pt x="470" y="1123"/>
                      </a:lnTo>
                      <a:lnTo>
                        <a:pt x="470" y="1122"/>
                      </a:lnTo>
                      <a:lnTo>
                        <a:pt x="471" y="1122"/>
                      </a:lnTo>
                      <a:lnTo>
                        <a:pt x="471" y="1121"/>
                      </a:lnTo>
                      <a:close/>
                      <a:moveTo>
                        <a:pt x="642" y="1034"/>
                      </a:moveTo>
                      <a:lnTo>
                        <a:pt x="643" y="1034"/>
                      </a:lnTo>
                      <a:lnTo>
                        <a:pt x="643" y="1035"/>
                      </a:lnTo>
                      <a:lnTo>
                        <a:pt x="644" y="1035"/>
                      </a:lnTo>
                      <a:lnTo>
                        <a:pt x="643" y="1037"/>
                      </a:lnTo>
                      <a:lnTo>
                        <a:pt x="642" y="1037"/>
                      </a:lnTo>
                      <a:lnTo>
                        <a:pt x="642" y="1038"/>
                      </a:lnTo>
                      <a:lnTo>
                        <a:pt x="641" y="1038"/>
                      </a:lnTo>
                      <a:lnTo>
                        <a:pt x="640" y="1038"/>
                      </a:lnTo>
                      <a:lnTo>
                        <a:pt x="639" y="1038"/>
                      </a:lnTo>
                      <a:lnTo>
                        <a:pt x="639" y="1037"/>
                      </a:lnTo>
                      <a:lnTo>
                        <a:pt x="639" y="1035"/>
                      </a:lnTo>
                      <a:lnTo>
                        <a:pt x="639" y="1034"/>
                      </a:lnTo>
                      <a:lnTo>
                        <a:pt x="639" y="1033"/>
                      </a:lnTo>
                      <a:lnTo>
                        <a:pt x="639" y="1032"/>
                      </a:lnTo>
                      <a:lnTo>
                        <a:pt x="638" y="1031"/>
                      </a:lnTo>
                      <a:lnTo>
                        <a:pt x="638" y="1030"/>
                      </a:lnTo>
                      <a:lnTo>
                        <a:pt x="638" y="1029"/>
                      </a:lnTo>
                      <a:lnTo>
                        <a:pt x="638" y="1030"/>
                      </a:lnTo>
                      <a:lnTo>
                        <a:pt x="639" y="1031"/>
                      </a:lnTo>
                      <a:lnTo>
                        <a:pt x="639" y="1032"/>
                      </a:lnTo>
                      <a:lnTo>
                        <a:pt x="640" y="1032"/>
                      </a:lnTo>
                      <a:lnTo>
                        <a:pt x="640" y="1033"/>
                      </a:lnTo>
                      <a:lnTo>
                        <a:pt x="641" y="1033"/>
                      </a:lnTo>
                      <a:lnTo>
                        <a:pt x="642" y="1034"/>
                      </a:lnTo>
                      <a:close/>
                      <a:moveTo>
                        <a:pt x="553" y="1045"/>
                      </a:moveTo>
                      <a:lnTo>
                        <a:pt x="554" y="1045"/>
                      </a:lnTo>
                      <a:lnTo>
                        <a:pt x="554" y="1044"/>
                      </a:lnTo>
                      <a:lnTo>
                        <a:pt x="555" y="1044"/>
                      </a:lnTo>
                      <a:lnTo>
                        <a:pt x="554" y="1045"/>
                      </a:lnTo>
                      <a:lnTo>
                        <a:pt x="554" y="1046"/>
                      </a:lnTo>
                      <a:lnTo>
                        <a:pt x="553" y="1046"/>
                      </a:lnTo>
                      <a:lnTo>
                        <a:pt x="553" y="1047"/>
                      </a:lnTo>
                      <a:lnTo>
                        <a:pt x="553" y="1048"/>
                      </a:lnTo>
                      <a:lnTo>
                        <a:pt x="554" y="1048"/>
                      </a:lnTo>
                      <a:lnTo>
                        <a:pt x="556" y="1051"/>
                      </a:lnTo>
                      <a:lnTo>
                        <a:pt x="557" y="1052"/>
                      </a:lnTo>
                      <a:lnTo>
                        <a:pt x="558" y="1052"/>
                      </a:lnTo>
                      <a:lnTo>
                        <a:pt x="558" y="1053"/>
                      </a:lnTo>
                      <a:lnTo>
                        <a:pt x="557" y="1053"/>
                      </a:lnTo>
                      <a:lnTo>
                        <a:pt x="556" y="1052"/>
                      </a:lnTo>
                      <a:lnTo>
                        <a:pt x="556" y="1051"/>
                      </a:lnTo>
                      <a:lnTo>
                        <a:pt x="555" y="1051"/>
                      </a:lnTo>
                      <a:lnTo>
                        <a:pt x="555" y="1050"/>
                      </a:lnTo>
                      <a:lnTo>
                        <a:pt x="554" y="1050"/>
                      </a:lnTo>
                      <a:lnTo>
                        <a:pt x="553" y="1050"/>
                      </a:lnTo>
                      <a:lnTo>
                        <a:pt x="553" y="1048"/>
                      </a:lnTo>
                      <a:lnTo>
                        <a:pt x="552" y="1048"/>
                      </a:lnTo>
                      <a:lnTo>
                        <a:pt x="552" y="1047"/>
                      </a:lnTo>
                      <a:lnTo>
                        <a:pt x="551" y="1047"/>
                      </a:lnTo>
                      <a:lnTo>
                        <a:pt x="551" y="1046"/>
                      </a:lnTo>
                      <a:lnTo>
                        <a:pt x="550" y="1046"/>
                      </a:lnTo>
                      <a:lnTo>
                        <a:pt x="550" y="1045"/>
                      </a:lnTo>
                      <a:lnTo>
                        <a:pt x="550" y="1044"/>
                      </a:lnTo>
                      <a:lnTo>
                        <a:pt x="551" y="1044"/>
                      </a:lnTo>
                      <a:lnTo>
                        <a:pt x="552" y="1045"/>
                      </a:lnTo>
                      <a:lnTo>
                        <a:pt x="553" y="1045"/>
                      </a:lnTo>
                      <a:close/>
                      <a:moveTo>
                        <a:pt x="542" y="1009"/>
                      </a:moveTo>
                      <a:lnTo>
                        <a:pt x="542" y="1011"/>
                      </a:lnTo>
                      <a:lnTo>
                        <a:pt x="542" y="1012"/>
                      </a:lnTo>
                      <a:lnTo>
                        <a:pt x="543" y="1013"/>
                      </a:lnTo>
                      <a:lnTo>
                        <a:pt x="542" y="1013"/>
                      </a:lnTo>
                      <a:lnTo>
                        <a:pt x="542" y="1014"/>
                      </a:lnTo>
                      <a:lnTo>
                        <a:pt x="541" y="1014"/>
                      </a:lnTo>
                      <a:lnTo>
                        <a:pt x="541" y="1015"/>
                      </a:lnTo>
                      <a:lnTo>
                        <a:pt x="540" y="1014"/>
                      </a:lnTo>
                      <a:lnTo>
                        <a:pt x="540" y="1013"/>
                      </a:lnTo>
                      <a:lnTo>
                        <a:pt x="541" y="1013"/>
                      </a:lnTo>
                      <a:lnTo>
                        <a:pt x="541" y="1012"/>
                      </a:lnTo>
                      <a:lnTo>
                        <a:pt x="541" y="1011"/>
                      </a:lnTo>
                      <a:lnTo>
                        <a:pt x="541" y="1009"/>
                      </a:lnTo>
                      <a:lnTo>
                        <a:pt x="541" y="1011"/>
                      </a:lnTo>
                      <a:lnTo>
                        <a:pt x="540" y="1011"/>
                      </a:lnTo>
                      <a:lnTo>
                        <a:pt x="540" y="1009"/>
                      </a:lnTo>
                      <a:lnTo>
                        <a:pt x="540" y="1008"/>
                      </a:lnTo>
                      <a:lnTo>
                        <a:pt x="539" y="1008"/>
                      </a:lnTo>
                      <a:lnTo>
                        <a:pt x="539" y="1007"/>
                      </a:lnTo>
                      <a:lnTo>
                        <a:pt x="540" y="1007"/>
                      </a:lnTo>
                      <a:lnTo>
                        <a:pt x="539" y="1007"/>
                      </a:lnTo>
                      <a:lnTo>
                        <a:pt x="539" y="1006"/>
                      </a:lnTo>
                      <a:lnTo>
                        <a:pt x="540" y="1006"/>
                      </a:lnTo>
                      <a:lnTo>
                        <a:pt x="541" y="1006"/>
                      </a:lnTo>
                      <a:lnTo>
                        <a:pt x="541" y="1007"/>
                      </a:lnTo>
                      <a:lnTo>
                        <a:pt x="541" y="1008"/>
                      </a:lnTo>
                      <a:lnTo>
                        <a:pt x="542" y="1008"/>
                      </a:lnTo>
                      <a:lnTo>
                        <a:pt x="542" y="1009"/>
                      </a:lnTo>
                      <a:close/>
                      <a:moveTo>
                        <a:pt x="407" y="1167"/>
                      </a:moveTo>
                      <a:lnTo>
                        <a:pt x="406" y="1167"/>
                      </a:lnTo>
                      <a:lnTo>
                        <a:pt x="405" y="1167"/>
                      </a:lnTo>
                      <a:lnTo>
                        <a:pt x="405" y="1168"/>
                      </a:lnTo>
                      <a:lnTo>
                        <a:pt x="403" y="1168"/>
                      </a:lnTo>
                      <a:lnTo>
                        <a:pt x="403" y="1167"/>
                      </a:lnTo>
                      <a:lnTo>
                        <a:pt x="405" y="1166"/>
                      </a:lnTo>
                      <a:lnTo>
                        <a:pt x="403" y="1166"/>
                      </a:lnTo>
                      <a:lnTo>
                        <a:pt x="405" y="1163"/>
                      </a:lnTo>
                      <a:lnTo>
                        <a:pt x="405" y="1162"/>
                      </a:lnTo>
                      <a:lnTo>
                        <a:pt x="405" y="1161"/>
                      </a:lnTo>
                      <a:lnTo>
                        <a:pt x="406" y="1161"/>
                      </a:lnTo>
                      <a:lnTo>
                        <a:pt x="406" y="1162"/>
                      </a:lnTo>
                      <a:lnTo>
                        <a:pt x="406" y="1163"/>
                      </a:lnTo>
                      <a:lnTo>
                        <a:pt x="407" y="1163"/>
                      </a:lnTo>
                      <a:lnTo>
                        <a:pt x="407" y="1164"/>
                      </a:lnTo>
                      <a:lnTo>
                        <a:pt x="407" y="1166"/>
                      </a:lnTo>
                      <a:lnTo>
                        <a:pt x="407" y="1167"/>
                      </a:lnTo>
                      <a:close/>
                      <a:moveTo>
                        <a:pt x="392" y="1151"/>
                      </a:moveTo>
                      <a:lnTo>
                        <a:pt x="392" y="1150"/>
                      </a:lnTo>
                      <a:lnTo>
                        <a:pt x="393" y="1150"/>
                      </a:lnTo>
                      <a:lnTo>
                        <a:pt x="393" y="1151"/>
                      </a:lnTo>
                      <a:lnTo>
                        <a:pt x="394" y="1151"/>
                      </a:lnTo>
                      <a:lnTo>
                        <a:pt x="395" y="1151"/>
                      </a:lnTo>
                      <a:lnTo>
                        <a:pt x="394" y="1153"/>
                      </a:lnTo>
                      <a:lnTo>
                        <a:pt x="393" y="1153"/>
                      </a:lnTo>
                      <a:lnTo>
                        <a:pt x="392" y="1153"/>
                      </a:lnTo>
                      <a:lnTo>
                        <a:pt x="390" y="1154"/>
                      </a:lnTo>
                      <a:lnTo>
                        <a:pt x="390" y="1153"/>
                      </a:lnTo>
                      <a:lnTo>
                        <a:pt x="389" y="1153"/>
                      </a:lnTo>
                      <a:lnTo>
                        <a:pt x="389" y="1151"/>
                      </a:lnTo>
                      <a:lnTo>
                        <a:pt x="389" y="1150"/>
                      </a:lnTo>
                      <a:lnTo>
                        <a:pt x="389" y="1149"/>
                      </a:lnTo>
                      <a:lnTo>
                        <a:pt x="389" y="1150"/>
                      </a:lnTo>
                      <a:lnTo>
                        <a:pt x="390" y="1150"/>
                      </a:lnTo>
                      <a:lnTo>
                        <a:pt x="392" y="1151"/>
                      </a:lnTo>
                      <a:close/>
                      <a:moveTo>
                        <a:pt x="276" y="1082"/>
                      </a:moveTo>
                      <a:lnTo>
                        <a:pt x="276" y="1083"/>
                      </a:lnTo>
                      <a:lnTo>
                        <a:pt x="274" y="1082"/>
                      </a:lnTo>
                      <a:lnTo>
                        <a:pt x="273" y="1082"/>
                      </a:lnTo>
                      <a:lnTo>
                        <a:pt x="273" y="1081"/>
                      </a:lnTo>
                      <a:lnTo>
                        <a:pt x="272" y="1081"/>
                      </a:lnTo>
                      <a:lnTo>
                        <a:pt x="272" y="1080"/>
                      </a:lnTo>
                      <a:lnTo>
                        <a:pt x="272" y="1079"/>
                      </a:lnTo>
                      <a:lnTo>
                        <a:pt x="273" y="1079"/>
                      </a:lnTo>
                      <a:lnTo>
                        <a:pt x="273" y="1080"/>
                      </a:lnTo>
                      <a:lnTo>
                        <a:pt x="274" y="1080"/>
                      </a:lnTo>
                      <a:lnTo>
                        <a:pt x="276" y="1081"/>
                      </a:lnTo>
                      <a:lnTo>
                        <a:pt x="276" y="1082"/>
                      </a:lnTo>
                      <a:close/>
                      <a:moveTo>
                        <a:pt x="485" y="1120"/>
                      </a:moveTo>
                      <a:lnTo>
                        <a:pt x="485" y="1121"/>
                      </a:lnTo>
                      <a:lnTo>
                        <a:pt x="484" y="1121"/>
                      </a:lnTo>
                      <a:lnTo>
                        <a:pt x="485" y="1121"/>
                      </a:lnTo>
                      <a:lnTo>
                        <a:pt x="486" y="1121"/>
                      </a:lnTo>
                      <a:lnTo>
                        <a:pt x="486" y="1122"/>
                      </a:lnTo>
                      <a:lnTo>
                        <a:pt x="485" y="1122"/>
                      </a:lnTo>
                      <a:lnTo>
                        <a:pt x="485" y="1123"/>
                      </a:lnTo>
                      <a:lnTo>
                        <a:pt x="485" y="1124"/>
                      </a:lnTo>
                      <a:lnTo>
                        <a:pt x="485" y="1125"/>
                      </a:lnTo>
                      <a:lnTo>
                        <a:pt x="485" y="1127"/>
                      </a:lnTo>
                      <a:lnTo>
                        <a:pt x="485" y="1125"/>
                      </a:lnTo>
                      <a:lnTo>
                        <a:pt x="485" y="1124"/>
                      </a:lnTo>
                      <a:lnTo>
                        <a:pt x="484" y="1124"/>
                      </a:lnTo>
                      <a:lnTo>
                        <a:pt x="484" y="1123"/>
                      </a:lnTo>
                      <a:lnTo>
                        <a:pt x="484" y="1122"/>
                      </a:lnTo>
                      <a:lnTo>
                        <a:pt x="483" y="1122"/>
                      </a:lnTo>
                      <a:lnTo>
                        <a:pt x="483" y="1123"/>
                      </a:lnTo>
                      <a:lnTo>
                        <a:pt x="483" y="1122"/>
                      </a:lnTo>
                      <a:lnTo>
                        <a:pt x="483" y="1121"/>
                      </a:lnTo>
                      <a:lnTo>
                        <a:pt x="483" y="1120"/>
                      </a:lnTo>
                      <a:lnTo>
                        <a:pt x="484" y="1120"/>
                      </a:lnTo>
                      <a:lnTo>
                        <a:pt x="485" y="1120"/>
                      </a:lnTo>
                      <a:close/>
                      <a:moveTo>
                        <a:pt x="574" y="1006"/>
                      </a:moveTo>
                      <a:lnTo>
                        <a:pt x="574" y="1007"/>
                      </a:lnTo>
                      <a:lnTo>
                        <a:pt x="575" y="1007"/>
                      </a:lnTo>
                      <a:lnTo>
                        <a:pt x="575" y="1006"/>
                      </a:lnTo>
                      <a:lnTo>
                        <a:pt x="576" y="1006"/>
                      </a:lnTo>
                      <a:lnTo>
                        <a:pt x="577" y="1006"/>
                      </a:lnTo>
                      <a:lnTo>
                        <a:pt x="577" y="1007"/>
                      </a:lnTo>
                      <a:lnTo>
                        <a:pt x="576" y="1007"/>
                      </a:lnTo>
                      <a:lnTo>
                        <a:pt x="576" y="1006"/>
                      </a:lnTo>
                      <a:lnTo>
                        <a:pt x="575" y="1007"/>
                      </a:lnTo>
                      <a:lnTo>
                        <a:pt x="575" y="1008"/>
                      </a:lnTo>
                      <a:lnTo>
                        <a:pt x="574" y="1008"/>
                      </a:lnTo>
                      <a:lnTo>
                        <a:pt x="574" y="1007"/>
                      </a:lnTo>
                      <a:lnTo>
                        <a:pt x="573" y="1007"/>
                      </a:lnTo>
                      <a:lnTo>
                        <a:pt x="571" y="1007"/>
                      </a:lnTo>
                      <a:lnTo>
                        <a:pt x="570" y="1007"/>
                      </a:lnTo>
                      <a:lnTo>
                        <a:pt x="570" y="1006"/>
                      </a:lnTo>
                      <a:lnTo>
                        <a:pt x="571" y="1006"/>
                      </a:lnTo>
                      <a:lnTo>
                        <a:pt x="571" y="1005"/>
                      </a:lnTo>
                      <a:lnTo>
                        <a:pt x="573" y="1005"/>
                      </a:lnTo>
                      <a:lnTo>
                        <a:pt x="573" y="1004"/>
                      </a:lnTo>
                      <a:lnTo>
                        <a:pt x="573" y="1005"/>
                      </a:lnTo>
                      <a:lnTo>
                        <a:pt x="574" y="1005"/>
                      </a:lnTo>
                      <a:lnTo>
                        <a:pt x="574" y="1006"/>
                      </a:lnTo>
                      <a:close/>
                      <a:moveTo>
                        <a:pt x="563" y="1067"/>
                      </a:moveTo>
                      <a:lnTo>
                        <a:pt x="564" y="1067"/>
                      </a:lnTo>
                      <a:lnTo>
                        <a:pt x="564" y="1068"/>
                      </a:lnTo>
                      <a:lnTo>
                        <a:pt x="565" y="1068"/>
                      </a:lnTo>
                      <a:lnTo>
                        <a:pt x="566" y="1068"/>
                      </a:lnTo>
                      <a:lnTo>
                        <a:pt x="566" y="1069"/>
                      </a:lnTo>
                      <a:lnTo>
                        <a:pt x="565" y="1069"/>
                      </a:lnTo>
                      <a:lnTo>
                        <a:pt x="565" y="1068"/>
                      </a:lnTo>
                      <a:lnTo>
                        <a:pt x="564" y="1068"/>
                      </a:lnTo>
                      <a:lnTo>
                        <a:pt x="563" y="1068"/>
                      </a:lnTo>
                      <a:lnTo>
                        <a:pt x="562" y="1068"/>
                      </a:lnTo>
                      <a:lnTo>
                        <a:pt x="562" y="1067"/>
                      </a:lnTo>
                      <a:lnTo>
                        <a:pt x="561" y="1068"/>
                      </a:lnTo>
                      <a:lnTo>
                        <a:pt x="560" y="1067"/>
                      </a:lnTo>
                      <a:lnTo>
                        <a:pt x="558" y="1067"/>
                      </a:lnTo>
                      <a:lnTo>
                        <a:pt x="557" y="1067"/>
                      </a:lnTo>
                      <a:lnTo>
                        <a:pt x="557" y="1066"/>
                      </a:lnTo>
                      <a:lnTo>
                        <a:pt x="558" y="1066"/>
                      </a:lnTo>
                      <a:lnTo>
                        <a:pt x="558" y="1067"/>
                      </a:lnTo>
                      <a:lnTo>
                        <a:pt x="560" y="1067"/>
                      </a:lnTo>
                      <a:lnTo>
                        <a:pt x="561" y="1067"/>
                      </a:lnTo>
                      <a:lnTo>
                        <a:pt x="561" y="1066"/>
                      </a:lnTo>
                      <a:lnTo>
                        <a:pt x="562" y="1066"/>
                      </a:lnTo>
                      <a:lnTo>
                        <a:pt x="562" y="1067"/>
                      </a:lnTo>
                      <a:lnTo>
                        <a:pt x="563" y="1067"/>
                      </a:lnTo>
                      <a:close/>
                      <a:moveTo>
                        <a:pt x="516" y="1079"/>
                      </a:moveTo>
                      <a:lnTo>
                        <a:pt x="515" y="1079"/>
                      </a:lnTo>
                      <a:lnTo>
                        <a:pt x="515" y="1078"/>
                      </a:lnTo>
                      <a:lnTo>
                        <a:pt x="514" y="1078"/>
                      </a:lnTo>
                      <a:lnTo>
                        <a:pt x="514" y="1077"/>
                      </a:lnTo>
                      <a:lnTo>
                        <a:pt x="514" y="1074"/>
                      </a:lnTo>
                      <a:lnTo>
                        <a:pt x="515" y="1074"/>
                      </a:lnTo>
                      <a:lnTo>
                        <a:pt x="515" y="1076"/>
                      </a:lnTo>
                      <a:lnTo>
                        <a:pt x="516" y="1077"/>
                      </a:lnTo>
                      <a:lnTo>
                        <a:pt x="516" y="1078"/>
                      </a:lnTo>
                      <a:lnTo>
                        <a:pt x="516" y="1079"/>
                      </a:lnTo>
                      <a:close/>
                      <a:moveTo>
                        <a:pt x="535" y="1079"/>
                      </a:moveTo>
                      <a:lnTo>
                        <a:pt x="534" y="1079"/>
                      </a:lnTo>
                      <a:lnTo>
                        <a:pt x="531" y="1077"/>
                      </a:lnTo>
                      <a:lnTo>
                        <a:pt x="531" y="1076"/>
                      </a:lnTo>
                      <a:lnTo>
                        <a:pt x="532" y="1076"/>
                      </a:lnTo>
                      <a:lnTo>
                        <a:pt x="534" y="1076"/>
                      </a:lnTo>
                      <a:lnTo>
                        <a:pt x="534" y="1077"/>
                      </a:lnTo>
                      <a:lnTo>
                        <a:pt x="535" y="1077"/>
                      </a:lnTo>
                      <a:lnTo>
                        <a:pt x="535" y="1078"/>
                      </a:lnTo>
                      <a:lnTo>
                        <a:pt x="535" y="1079"/>
                      </a:lnTo>
                      <a:close/>
                      <a:moveTo>
                        <a:pt x="221" y="1013"/>
                      </a:moveTo>
                      <a:lnTo>
                        <a:pt x="220" y="1013"/>
                      </a:lnTo>
                      <a:lnTo>
                        <a:pt x="219" y="1012"/>
                      </a:lnTo>
                      <a:lnTo>
                        <a:pt x="220" y="1011"/>
                      </a:lnTo>
                      <a:lnTo>
                        <a:pt x="221" y="1009"/>
                      </a:lnTo>
                      <a:lnTo>
                        <a:pt x="221" y="1011"/>
                      </a:lnTo>
                      <a:lnTo>
                        <a:pt x="222" y="1011"/>
                      </a:lnTo>
                      <a:lnTo>
                        <a:pt x="222" y="1012"/>
                      </a:lnTo>
                      <a:lnTo>
                        <a:pt x="221" y="1013"/>
                      </a:lnTo>
                      <a:close/>
                      <a:moveTo>
                        <a:pt x="514" y="1096"/>
                      </a:moveTo>
                      <a:lnTo>
                        <a:pt x="513" y="1096"/>
                      </a:lnTo>
                      <a:lnTo>
                        <a:pt x="513" y="1095"/>
                      </a:lnTo>
                      <a:lnTo>
                        <a:pt x="513" y="1094"/>
                      </a:lnTo>
                      <a:lnTo>
                        <a:pt x="512" y="1093"/>
                      </a:lnTo>
                      <a:lnTo>
                        <a:pt x="512" y="1092"/>
                      </a:lnTo>
                      <a:lnTo>
                        <a:pt x="513" y="1092"/>
                      </a:lnTo>
                      <a:lnTo>
                        <a:pt x="513" y="1093"/>
                      </a:lnTo>
                      <a:lnTo>
                        <a:pt x="514" y="1094"/>
                      </a:lnTo>
                      <a:lnTo>
                        <a:pt x="514" y="1096"/>
                      </a:lnTo>
                      <a:close/>
                      <a:moveTo>
                        <a:pt x="543" y="1005"/>
                      </a:moveTo>
                      <a:lnTo>
                        <a:pt x="543" y="1006"/>
                      </a:lnTo>
                      <a:lnTo>
                        <a:pt x="544" y="1007"/>
                      </a:lnTo>
                      <a:lnTo>
                        <a:pt x="543" y="1007"/>
                      </a:lnTo>
                      <a:lnTo>
                        <a:pt x="542" y="1006"/>
                      </a:lnTo>
                      <a:lnTo>
                        <a:pt x="541" y="1005"/>
                      </a:lnTo>
                      <a:lnTo>
                        <a:pt x="540" y="1005"/>
                      </a:lnTo>
                      <a:lnTo>
                        <a:pt x="539" y="1005"/>
                      </a:lnTo>
                      <a:lnTo>
                        <a:pt x="539" y="1006"/>
                      </a:lnTo>
                      <a:lnTo>
                        <a:pt x="539" y="1005"/>
                      </a:lnTo>
                      <a:lnTo>
                        <a:pt x="539" y="1004"/>
                      </a:lnTo>
                      <a:lnTo>
                        <a:pt x="540" y="1004"/>
                      </a:lnTo>
                      <a:lnTo>
                        <a:pt x="541" y="1004"/>
                      </a:lnTo>
                      <a:lnTo>
                        <a:pt x="542" y="1005"/>
                      </a:lnTo>
                      <a:lnTo>
                        <a:pt x="543" y="1005"/>
                      </a:lnTo>
                      <a:close/>
                      <a:moveTo>
                        <a:pt x="524" y="1064"/>
                      </a:moveTo>
                      <a:lnTo>
                        <a:pt x="523" y="1064"/>
                      </a:lnTo>
                      <a:lnTo>
                        <a:pt x="522" y="1064"/>
                      </a:lnTo>
                      <a:lnTo>
                        <a:pt x="522" y="1065"/>
                      </a:lnTo>
                      <a:lnTo>
                        <a:pt x="522" y="1064"/>
                      </a:lnTo>
                      <a:lnTo>
                        <a:pt x="521" y="1064"/>
                      </a:lnTo>
                      <a:lnTo>
                        <a:pt x="521" y="1063"/>
                      </a:lnTo>
                      <a:lnTo>
                        <a:pt x="519" y="1063"/>
                      </a:lnTo>
                      <a:lnTo>
                        <a:pt x="519" y="1061"/>
                      </a:lnTo>
                      <a:lnTo>
                        <a:pt x="519" y="1060"/>
                      </a:lnTo>
                      <a:lnTo>
                        <a:pt x="518" y="1060"/>
                      </a:lnTo>
                      <a:lnTo>
                        <a:pt x="519" y="1060"/>
                      </a:lnTo>
                      <a:lnTo>
                        <a:pt x="521" y="1061"/>
                      </a:lnTo>
                      <a:lnTo>
                        <a:pt x="521" y="1063"/>
                      </a:lnTo>
                      <a:lnTo>
                        <a:pt x="522" y="1063"/>
                      </a:lnTo>
                      <a:lnTo>
                        <a:pt x="523" y="1063"/>
                      </a:lnTo>
                      <a:lnTo>
                        <a:pt x="524" y="1063"/>
                      </a:lnTo>
                      <a:lnTo>
                        <a:pt x="524" y="1064"/>
                      </a:lnTo>
                      <a:close/>
                      <a:moveTo>
                        <a:pt x="84" y="986"/>
                      </a:moveTo>
                      <a:lnTo>
                        <a:pt x="83" y="987"/>
                      </a:lnTo>
                      <a:lnTo>
                        <a:pt x="83" y="984"/>
                      </a:lnTo>
                      <a:lnTo>
                        <a:pt x="83" y="983"/>
                      </a:lnTo>
                      <a:lnTo>
                        <a:pt x="83" y="982"/>
                      </a:lnTo>
                      <a:lnTo>
                        <a:pt x="83" y="981"/>
                      </a:lnTo>
                      <a:lnTo>
                        <a:pt x="83" y="982"/>
                      </a:lnTo>
                      <a:lnTo>
                        <a:pt x="84" y="982"/>
                      </a:lnTo>
                      <a:lnTo>
                        <a:pt x="84" y="983"/>
                      </a:lnTo>
                      <a:lnTo>
                        <a:pt x="84" y="984"/>
                      </a:lnTo>
                      <a:lnTo>
                        <a:pt x="84" y="986"/>
                      </a:lnTo>
                      <a:close/>
                      <a:moveTo>
                        <a:pt x="537" y="1149"/>
                      </a:moveTo>
                      <a:lnTo>
                        <a:pt x="536" y="1149"/>
                      </a:lnTo>
                      <a:lnTo>
                        <a:pt x="535" y="1149"/>
                      </a:lnTo>
                      <a:lnTo>
                        <a:pt x="535" y="1148"/>
                      </a:lnTo>
                      <a:lnTo>
                        <a:pt x="535" y="1147"/>
                      </a:lnTo>
                      <a:lnTo>
                        <a:pt x="536" y="1147"/>
                      </a:lnTo>
                      <a:lnTo>
                        <a:pt x="537" y="1147"/>
                      </a:lnTo>
                      <a:lnTo>
                        <a:pt x="538" y="1147"/>
                      </a:lnTo>
                      <a:lnTo>
                        <a:pt x="538" y="1148"/>
                      </a:lnTo>
                      <a:lnTo>
                        <a:pt x="537" y="1148"/>
                      </a:lnTo>
                      <a:lnTo>
                        <a:pt x="537" y="1149"/>
                      </a:lnTo>
                      <a:close/>
                      <a:moveTo>
                        <a:pt x="426" y="1133"/>
                      </a:moveTo>
                      <a:lnTo>
                        <a:pt x="425" y="1133"/>
                      </a:lnTo>
                      <a:lnTo>
                        <a:pt x="426" y="1133"/>
                      </a:lnTo>
                      <a:lnTo>
                        <a:pt x="426" y="1132"/>
                      </a:lnTo>
                      <a:lnTo>
                        <a:pt x="426" y="1131"/>
                      </a:lnTo>
                      <a:lnTo>
                        <a:pt x="427" y="1131"/>
                      </a:lnTo>
                      <a:lnTo>
                        <a:pt x="428" y="1131"/>
                      </a:lnTo>
                      <a:lnTo>
                        <a:pt x="428" y="1132"/>
                      </a:lnTo>
                      <a:lnTo>
                        <a:pt x="427" y="1132"/>
                      </a:lnTo>
                      <a:lnTo>
                        <a:pt x="427" y="1133"/>
                      </a:lnTo>
                      <a:lnTo>
                        <a:pt x="426" y="1133"/>
                      </a:lnTo>
                      <a:close/>
                      <a:moveTo>
                        <a:pt x="563" y="999"/>
                      </a:moveTo>
                      <a:lnTo>
                        <a:pt x="564" y="1000"/>
                      </a:lnTo>
                      <a:lnTo>
                        <a:pt x="564" y="999"/>
                      </a:lnTo>
                      <a:lnTo>
                        <a:pt x="565" y="999"/>
                      </a:lnTo>
                      <a:lnTo>
                        <a:pt x="565" y="1000"/>
                      </a:lnTo>
                      <a:lnTo>
                        <a:pt x="565" y="1001"/>
                      </a:lnTo>
                      <a:lnTo>
                        <a:pt x="565" y="1000"/>
                      </a:lnTo>
                      <a:lnTo>
                        <a:pt x="564" y="1001"/>
                      </a:lnTo>
                      <a:lnTo>
                        <a:pt x="563" y="1001"/>
                      </a:lnTo>
                      <a:lnTo>
                        <a:pt x="563" y="1000"/>
                      </a:lnTo>
                      <a:lnTo>
                        <a:pt x="562" y="1000"/>
                      </a:lnTo>
                      <a:lnTo>
                        <a:pt x="562" y="999"/>
                      </a:lnTo>
                      <a:lnTo>
                        <a:pt x="562" y="998"/>
                      </a:lnTo>
                      <a:lnTo>
                        <a:pt x="561" y="998"/>
                      </a:lnTo>
                      <a:lnTo>
                        <a:pt x="562" y="998"/>
                      </a:lnTo>
                      <a:lnTo>
                        <a:pt x="562" y="999"/>
                      </a:lnTo>
                      <a:lnTo>
                        <a:pt x="563" y="999"/>
                      </a:lnTo>
                      <a:close/>
                      <a:moveTo>
                        <a:pt x="413" y="1168"/>
                      </a:moveTo>
                      <a:lnTo>
                        <a:pt x="414" y="1168"/>
                      </a:lnTo>
                      <a:lnTo>
                        <a:pt x="414" y="1169"/>
                      </a:lnTo>
                      <a:lnTo>
                        <a:pt x="413" y="1169"/>
                      </a:lnTo>
                      <a:lnTo>
                        <a:pt x="412" y="1168"/>
                      </a:lnTo>
                      <a:lnTo>
                        <a:pt x="411" y="1168"/>
                      </a:lnTo>
                      <a:lnTo>
                        <a:pt x="411" y="1167"/>
                      </a:lnTo>
                      <a:lnTo>
                        <a:pt x="412" y="1167"/>
                      </a:lnTo>
                      <a:lnTo>
                        <a:pt x="412" y="1168"/>
                      </a:lnTo>
                      <a:lnTo>
                        <a:pt x="413" y="1168"/>
                      </a:lnTo>
                      <a:close/>
                      <a:moveTo>
                        <a:pt x="562" y="1047"/>
                      </a:moveTo>
                      <a:lnTo>
                        <a:pt x="563" y="1047"/>
                      </a:lnTo>
                      <a:lnTo>
                        <a:pt x="564" y="1048"/>
                      </a:lnTo>
                      <a:lnTo>
                        <a:pt x="565" y="1048"/>
                      </a:lnTo>
                      <a:lnTo>
                        <a:pt x="566" y="1050"/>
                      </a:lnTo>
                      <a:lnTo>
                        <a:pt x="565" y="1050"/>
                      </a:lnTo>
                      <a:lnTo>
                        <a:pt x="564" y="1050"/>
                      </a:lnTo>
                      <a:lnTo>
                        <a:pt x="564" y="1048"/>
                      </a:lnTo>
                      <a:lnTo>
                        <a:pt x="563" y="1048"/>
                      </a:lnTo>
                      <a:lnTo>
                        <a:pt x="562" y="1048"/>
                      </a:lnTo>
                      <a:lnTo>
                        <a:pt x="561" y="1047"/>
                      </a:lnTo>
                      <a:lnTo>
                        <a:pt x="561" y="1046"/>
                      </a:lnTo>
                      <a:lnTo>
                        <a:pt x="562" y="1046"/>
                      </a:lnTo>
                      <a:lnTo>
                        <a:pt x="562" y="1047"/>
                      </a:lnTo>
                      <a:close/>
                      <a:moveTo>
                        <a:pt x="381" y="1146"/>
                      </a:moveTo>
                      <a:lnTo>
                        <a:pt x="380" y="1146"/>
                      </a:lnTo>
                      <a:lnTo>
                        <a:pt x="379" y="1146"/>
                      </a:lnTo>
                      <a:lnTo>
                        <a:pt x="377" y="1146"/>
                      </a:lnTo>
                      <a:lnTo>
                        <a:pt x="377" y="1145"/>
                      </a:lnTo>
                      <a:lnTo>
                        <a:pt x="377" y="1143"/>
                      </a:lnTo>
                      <a:lnTo>
                        <a:pt x="377" y="1144"/>
                      </a:lnTo>
                      <a:lnTo>
                        <a:pt x="377" y="1145"/>
                      </a:lnTo>
                      <a:lnTo>
                        <a:pt x="379" y="1145"/>
                      </a:lnTo>
                      <a:lnTo>
                        <a:pt x="380" y="1145"/>
                      </a:lnTo>
                      <a:lnTo>
                        <a:pt x="381" y="1145"/>
                      </a:lnTo>
                      <a:lnTo>
                        <a:pt x="381" y="1146"/>
                      </a:lnTo>
                      <a:close/>
                      <a:moveTo>
                        <a:pt x="281" y="1082"/>
                      </a:moveTo>
                      <a:lnTo>
                        <a:pt x="281" y="1081"/>
                      </a:lnTo>
                      <a:lnTo>
                        <a:pt x="281" y="1080"/>
                      </a:lnTo>
                      <a:lnTo>
                        <a:pt x="282" y="1078"/>
                      </a:lnTo>
                      <a:lnTo>
                        <a:pt x="281" y="1078"/>
                      </a:lnTo>
                      <a:lnTo>
                        <a:pt x="282" y="1078"/>
                      </a:lnTo>
                      <a:lnTo>
                        <a:pt x="282" y="1079"/>
                      </a:lnTo>
                      <a:lnTo>
                        <a:pt x="283" y="1079"/>
                      </a:lnTo>
                      <a:lnTo>
                        <a:pt x="283" y="1080"/>
                      </a:lnTo>
                      <a:lnTo>
                        <a:pt x="282" y="1081"/>
                      </a:lnTo>
                      <a:lnTo>
                        <a:pt x="281" y="1082"/>
                      </a:lnTo>
                      <a:close/>
                      <a:moveTo>
                        <a:pt x="500" y="1086"/>
                      </a:moveTo>
                      <a:lnTo>
                        <a:pt x="499" y="1086"/>
                      </a:lnTo>
                      <a:lnTo>
                        <a:pt x="499" y="1085"/>
                      </a:lnTo>
                      <a:lnTo>
                        <a:pt x="500" y="1084"/>
                      </a:lnTo>
                      <a:lnTo>
                        <a:pt x="500" y="1083"/>
                      </a:lnTo>
                      <a:lnTo>
                        <a:pt x="501" y="1082"/>
                      </a:lnTo>
                      <a:lnTo>
                        <a:pt x="501" y="1083"/>
                      </a:lnTo>
                      <a:lnTo>
                        <a:pt x="500" y="1084"/>
                      </a:lnTo>
                      <a:lnTo>
                        <a:pt x="500" y="1085"/>
                      </a:lnTo>
                      <a:lnTo>
                        <a:pt x="500" y="1086"/>
                      </a:lnTo>
                      <a:close/>
                      <a:moveTo>
                        <a:pt x="513" y="1054"/>
                      </a:moveTo>
                      <a:lnTo>
                        <a:pt x="514" y="1054"/>
                      </a:lnTo>
                      <a:lnTo>
                        <a:pt x="514" y="1055"/>
                      </a:lnTo>
                      <a:lnTo>
                        <a:pt x="513" y="1056"/>
                      </a:lnTo>
                      <a:lnTo>
                        <a:pt x="513" y="1055"/>
                      </a:lnTo>
                      <a:lnTo>
                        <a:pt x="512" y="1054"/>
                      </a:lnTo>
                      <a:lnTo>
                        <a:pt x="511" y="1054"/>
                      </a:lnTo>
                      <a:lnTo>
                        <a:pt x="511" y="1053"/>
                      </a:lnTo>
                      <a:lnTo>
                        <a:pt x="512" y="1053"/>
                      </a:lnTo>
                      <a:lnTo>
                        <a:pt x="513" y="1053"/>
                      </a:lnTo>
                      <a:lnTo>
                        <a:pt x="513" y="1054"/>
                      </a:lnTo>
                      <a:close/>
                      <a:moveTo>
                        <a:pt x="579" y="1005"/>
                      </a:moveTo>
                      <a:lnTo>
                        <a:pt x="580" y="1005"/>
                      </a:lnTo>
                      <a:lnTo>
                        <a:pt x="581" y="1005"/>
                      </a:lnTo>
                      <a:lnTo>
                        <a:pt x="581" y="1006"/>
                      </a:lnTo>
                      <a:lnTo>
                        <a:pt x="580" y="1006"/>
                      </a:lnTo>
                      <a:lnTo>
                        <a:pt x="579" y="1006"/>
                      </a:lnTo>
                      <a:lnTo>
                        <a:pt x="578" y="1006"/>
                      </a:lnTo>
                      <a:lnTo>
                        <a:pt x="578" y="1005"/>
                      </a:lnTo>
                      <a:lnTo>
                        <a:pt x="577" y="1005"/>
                      </a:lnTo>
                      <a:lnTo>
                        <a:pt x="578" y="1005"/>
                      </a:lnTo>
                      <a:lnTo>
                        <a:pt x="579" y="1005"/>
                      </a:lnTo>
                      <a:close/>
                      <a:moveTo>
                        <a:pt x="475" y="1115"/>
                      </a:moveTo>
                      <a:lnTo>
                        <a:pt x="476" y="1115"/>
                      </a:lnTo>
                      <a:lnTo>
                        <a:pt x="477" y="1115"/>
                      </a:lnTo>
                      <a:lnTo>
                        <a:pt x="476" y="1116"/>
                      </a:lnTo>
                      <a:lnTo>
                        <a:pt x="476" y="1117"/>
                      </a:lnTo>
                      <a:lnTo>
                        <a:pt x="476" y="1118"/>
                      </a:lnTo>
                      <a:lnTo>
                        <a:pt x="476" y="1119"/>
                      </a:lnTo>
                      <a:lnTo>
                        <a:pt x="475" y="1118"/>
                      </a:lnTo>
                      <a:lnTo>
                        <a:pt x="476" y="1118"/>
                      </a:lnTo>
                      <a:lnTo>
                        <a:pt x="476" y="1117"/>
                      </a:lnTo>
                      <a:lnTo>
                        <a:pt x="476" y="1116"/>
                      </a:lnTo>
                      <a:lnTo>
                        <a:pt x="475" y="1116"/>
                      </a:lnTo>
                      <a:lnTo>
                        <a:pt x="474" y="1116"/>
                      </a:lnTo>
                      <a:lnTo>
                        <a:pt x="474" y="1115"/>
                      </a:lnTo>
                      <a:lnTo>
                        <a:pt x="473" y="1115"/>
                      </a:lnTo>
                      <a:lnTo>
                        <a:pt x="473" y="1114"/>
                      </a:lnTo>
                      <a:lnTo>
                        <a:pt x="474" y="1114"/>
                      </a:lnTo>
                      <a:lnTo>
                        <a:pt x="474" y="1115"/>
                      </a:lnTo>
                      <a:lnTo>
                        <a:pt x="475" y="1115"/>
                      </a:lnTo>
                      <a:close/>
                      <a:moveTo>
                        <a:pt x="478" y="1120"/>
                      </a:moveTo>
                      <a:lnTo>
                        <a:pt x="478" y="1121"/>
                      </a:lnTo>
                      <a:lnTo>
                        <a:pt x="478" y="1120"/>
                      </a:lnTo>
                      <a:lnTo>
                        <a:pt x="479" y="1120"/>
                      </a:lnTo>
                      <a:lnTo>
                        <a:pt x="479" y="1121"/>
                      </a:lnTo>
                      <a:lnTo>
                        <a:pt x="480" y="1121"/>
                      </a:lnTo>
                      <a:lnTo>
                        <a:pt x="479" y="1121"/>
                      </a:lnTo>
                      <a:lnTo>
                        <a:pt x="478" y="1121"/>
                      </a:lnTo>
                      <a:lnTo>
                        <a:pt x="477" y="1121"/>
                      </a:lnTo>
                      <a:lnTo>
                        <a:pt x="477" y="1122"/>
                      </a:lnTo>
                      <a:lnTo>
                        <a:pt x="476" y="1122"/>
                      </a:lnTo>
                      <a:lnTo>
                        <a:pt x="476" y="1121"/>
                      </a:lnTo>
                      <a:lnTo>
                        <a:pt x="477" y="1121"/>
                      </a:lnTo>
                      <a:lnTo>
                        <a:pt x="477" y="1120"/>
                      </a:lnTo>
                      <a:lnTo>
                        <a:pt x="478" y="1120"/>
                      </a:lnTo>
                      <a:close/>
                      <a:moveTo>
                        <a:pt x="290" y="1073"/>
                      </a:moveTo>
                      <a:lnTo>
                        <a:pt x="289" y="1073"/>
                      </a:lnTo>
                      <a:lnTo>
                        <a:pt x="289" y="1074"/>
                      </a:lnTo>
                      <a:lnTo>
                        <a:pt x="287" y="1074"/>
                      </a:lnTo>
                      <a:lnTo>
                        <a:pt x="287" y="1076"/>
                      </a:lnTo>
                      <a:lnTo>
                        <a:pt x="287" y="1077"/>
                      </a:lnTo>
                      <a:lnTo>
                        <a:pt x="286" y="1077"/>
                      </a:lnTo>
                      <a:lnTo>
                        <a:pt x="286" y="1076"/>
                      </a:lnTo>
                      <a:lnTo>
                        <a:pt x="287" y="1076"/>
                      </a:lnTo>
                      <a:lnTo>
                        <a:pt x="287" y="1074"/>
                      </a:lnTo>
                      <a:lnTo>
                        <a:pt x="287" y="1073"/>
                      </a:lnTo>
                      <a:lnTo>
                        <a:pt x="287" y="1072"/>
                      </a:lnTo>
                      <a:lnTo>
                        <a:pt x="287" y="1073"/>
                      </a:lnTo>
                      <a:lnTo>
                        <a:pt x="289" y="1073"/>
                      </a:lnTo>
                      <a:lnTo>
                        <a:pt x="290" y="1073"/>
                      </a:lnTo>
                      <a:close/>
                      <a:moveTo>
                        <a:pt x="530" y="1043"/>
                      </a:moveTo>
                      <a:lnTo>
                        <a:pt x="530" y="1044"/>
                      </a:lnTo>
                      <a:lnTo>
                        <a:pt x="529" y="1044"/>
                      </a:lnTo>
                      <a:lnTo>
                        <a:pt x="528" y="1044"/>
                      </a:lnTo>
                      <a:lnTo>
                        <a:pt x="528" y="1043"/>
                      </a:lnTo>
                      <a:lnTo>
                        <a:pt x="529" y="1043"/>
                      </a:lnTo>
                      <a:lnTo>
                        <a:pt x="529" y="1042"/>
                      </a:lnTo>
                      <a:lnTo>
                        <a:pt x="529" y="1043"/>
                      </a:lnTo>
                      <a:lnTo>
                        <a:pt x="530" y="1043"/>
                      </a:lnTo>
                      <a:close/>
                      <a:moveTo>
                        <a:pt x="416" y="1169"/>
                      </a:moveTo>
                      <a:lnTo>
                        <a:pt x="415" y="1169"/>
                      </a:lnTo>
                      <a:lnTo>
                        <a:pt x="415" y="1168"/>
                      </a:lnTo>
                      <a:lnTo>
                        <a:pt x="416" y="1168"/>
                      </a:lnTo>
                      <a:lnTo>
                        <a:pt x="416" y="1167"/>
                      </a:lnTo>
                      <a:lnTo>
                        <a:pt x="418" y="1166"/>
                      </a:lnTo>
                      <a:lnTo>
                        <a:pt x="418" y="1167"/>
                      </a:lnTo>
                      <a:lnTo>
                        <a:pt x="416" y="1168"/>
                      </a:lnTo>
                      <a:lnTo>
                        <a:pt x="416" y="1169"/>
                      </a:lnTo>
                      <a:close/>
                      <a:moveTo>
                        <a:pt x="319" y="1086"/>
                      </a:moveTo>
                      <a:lnTo>
                        <a:pt x="318" y="1086"/>
                      </a:lnTo>
                      <a:lnTo>
                        <a:pt x="318" y="1085"/>
                      </a:lnTo>
                      <a:lnTo>
                        <a:pt x="319" y="1085"/>
                      </a:lnTo>
                      <a:lnTo>
                        <a:pt x="320" y="1085"/>
                      </a:lnTo>
                      <a:lnTo>
                        <a:pt x="320" y="1086"/>
                      </a:lnTo>
                      <a:lnTo>
                        <a:pt x="319" y="1086"/>
                      </a:lnTo>
                      <a:close/>
                      <a:moveTo>
                        <a:pt x="537" y="1019"/>
                      </a:moveTo>
                      <a:lnTo>
                        <a:pt x="538" y="1019"/>
                      </a:lnTo>
                      <a:lnTo>
                        <a:pt x="537" y="1020"/>
                      </a:lnTo>
                      <a:lnTo>
                        <a:pt x="536" y="1020"/>
                      </a:lnTo>
                      <a:lnTo>
                        <a:pt x="535" y="1020"/>
                      </a:lnTo>
                      <a:lnTo>
                        <a:pt x="535" y="1019"/>
                      </a:lnTo>
                      <a:lnTo>
                        <a:pt x="536" y="1019"/>
                      </a:lnTo>
                      <a:lnTo>
                        <a:pt x="537" y="1019"/>
                      </a:lnTo>
                      <a:close/>
                      <a:moveTo>
                        <a:pt x="473" y="1116"/>
                      </a:moveTo>
                      <a:lnTo>
                        <a:pt x="472" y="1116"/>
                      </a:lnTo>
                      <a:lnTo>
                        <a:pt x="471" y="1116"/>
                      </a:lnTo>
                      <a:lnTo>
                        <a:pt x="471" y="1115"/>
                      </a:lnTo>
                      <a:lnTo>
                        <a:pt x="470" y="1114"/>
                      </a:lnTo>
                      <a:lnTo>
                        <a:pt x="471" y="1114"/>
                      </a:lnTo>
                      <a:lnTo>
                        <a:pt x="471" y="1115"/>
                      </a:lnTo>
                      <a:lnTo>
                        <a:pt x="472" y="1115"/>
                      </a:lnTo>
                      <a:lnTo>
                        <a:pt x="473" y="1116"/>
                      </a:lnTo>
                      <a:close/>
                      <a:moveTo>
                        <a:pt x="503" y="1096"/>
                      </a:moveTo>
                      <a:lnTo>
                        <a:pt x="504" y="1097"/>
                      </a:lnTo>
                      <a:lnTo>
                        <a:pt x="504" y="1098"/>
                      </a:lnTo>
                      <a:lnTo>
                        <a:pt x="503" y="1097"/>
                      </a:lnTo>
                      <a:lnTo>
                        <a:pt x="502" y="1097"/>
                      </a:lnTo>
                      <a:lnTo>
                        <a:pt x="503" y="1097"/>
                      </a:lnTo>
                      <a:lnTo>
                        <a:pt x="502" y="1096"/>
                      </a:lnTo>
                      <a:lnTo>
                        <a:pt x="503" y="1096"/>
                      </a:lnTo>
                      <a:close/>
                      <a:moveTo>
                        <a:pt x="84" y="981"/>
                      </a:moveTo>
                      <a:lnTo>
                        <a:pt x="86" y="981"/>
                      </a:lnTo>
                      <a:lnTo>
                        <a:pt x="86" y="982"/>
                      </a:lnTo>
                      <a:lnTo>
                        <a:pt x="84" y="982"/>
                      </a:lnTo>
                      <a:lnTo>
                        <a:pt x="84" y="981"/>
                      </a:lnTo>
                      <a:close/>
                      <a:moveTo>
                        <a:pt x="512" y="1059"/>
                      </a:moveTo>
                      <a:lnTo>
                        <a:pt x="513" y="1059"/>
                      </a:lnTo>
                      <a:lnTo>
                        <a:pt x="513" y="1061"/>
                      </a:lnTo>
                      <a:lnTo>
                        <a:pt x="512" y="1061"/>
                      </a:lnTo>
                      <a:lnTo>
                        <a:pt x="512" y="1059"/>
                      </a:lnTo>
                      <a:close/>
                      <a:moveTo>
                        <a:pt x="573" y="1013"/>
                      </a:moveTo>
                      <a:lnTo>
                        <a:pt x="573" y="1014"/>
                      </a:lnTo>
                      <a:lnTo>
                        <a:pt x="571" y="1014"/>
                      </a:lnTo>
                      <a:lnTo>
                        <a:pt x="570" y="1014"/>
                      </a:lnTo>
                      <a:lnTo>
                        <a:pt x="570" y="1013"/>
                      </a:lnTo>
                      <a:lnTo>
                        <a:pt x="571" y="1013"/>
                      </a:lnTo>
                      <a:lnTo>
                        <a:pt x="573" y="1013"/>
                      </a:lnTo>
                      <a:close/>
                      <a:moveTo>
                        <a:pt x="495" y="1121"/>
                      </a:moveTo>
                      <a:lnTo>
                        <a:pt x="495" y="1120"/>
                      </a:lnTo>
                      <a:lnTo>
                        <a:pt x="495" y="1119"/>
                      </a:lnTo>
                      <a:lnTo>
                        <a:pt x="495" y="1118"/>
                      </a:lnTo>
                      <a:lnTo>
                        <a:pt x="495" y="1119"/>
                      </a:lnTo>
                      <a:lnTo>
                        <a:pt x="495" y="1120"/>
                      </a:lnTo>
                      <a:lnTo>
                        <a:pt x="495" y="1121"/>
                      </a:lnTo>
                      <a:close/>
                      <a:moveTo>
                        <a:pt x="658" y="1053"/>
                      </a:moveTo>
                      <a:lnTo>
                        <a:pt x="659" y="1053"/>
                      </a:lnTo>
                      <a:lnTo>
                        <a:pt x="659" y="1054"/>
                      </a:lnTo>
                      <a:lnTo>
                        <a:pt x="658" y="1054"/>
                      </a:lnTo>
                      <a:lnTo>
                        <a:pt x="658" y="1053"/>
                      </a:lnTo>
                      <a:close/>
                      <a:moveTo>
                        <a:pt x="477" y="1128"/>
                      </a:moveTo>
                      <a:lnTo>
                        <a:pt x="477" y="1130"/>
                      </a:lnTo>
                      <a:lnTo>
                        <a:pt x="477" y="1128"/>
                      </a:lnTo>
                      <a:close/>
                      <a:moveTo>
                        <a:pt x="477" y="1118"/>
                      </a:moveTo>
                      <a:lnTo>
                        <a:pt x="478" y="1118"/>
                      </a:lnTo>
                      <a:lnTo>
                        <a:pt x="478" y="1120"/>
                      </a:lnTo>
                      <a:lnTo>
                        <a:pt x="477" y="1120"/>
                      </a:lnTo>
                      <a:lnTo>
                        <a:pt x="477" y="1118"/>
                      </a:lnTo>
                      <a:close/>
                      <a:moveTo>
                        <a:pt x="87" y="993"/>
                      </a:moveTo>
                      <a:lnTo>
                        <a:pt x="88" y="993"/>
                      </a:lnTo>
                      <a:lnTo>
                        <a:pt x="88" y="994"/>
                      </a:lnTo>
                      <a:lnTo>
                        <a:pt x="87" y="994"/>
                      </a:lnTo>
                      <a:lnTo>
                        <a:pt x="87" y="993"/>
                      </a:lnTo>
                      <a:close/>
                      <a:moveTo>
                        <a:pt x="286" y="1077"/>
                      </a:moveTo>
                      <a:lnTo>
                        <a:pt x="287" y="1077"/>
                      </a:lnTo>
                      <a:lnTo>
                        <a:pt x="287" y="1078"/>
                      </a:lnTo>
                      <a:lnTo>
                        <a:pt x="286" y="1078"/>
                      </a:lnTo>
                      <a:lnTo>
                        <a:pt x="286" y="1077"/>
                      </a:lnTo>
                      <a:close/>
                      <a:moveTo>
                        <a:pt x="317" y="1086"/>
                      </a:moveTo>
                      <a:lnTo>
                        <a:pt x="319" y="1086"/>
                      </a:lnTo>
                      <a:lnTo>
                        <a:pt x="319" y="1088"/>
                      </a:lnTo>
                      <a:lnTo>
                        <a:pt x="317" y="1088"/>
                      </a:lnTo>
                      <a:lnTo>
                        <a:pt x="317" y="1086"/>
                      </a:lnTo>
                      <a:close/>
                      <a:moveTo>
                        <a:pt x="475" y="1120"/>
                      </a:moveTo>
                      <a:lnTo>
                        <a:pt x="476" y="1120"/>
                      </a:lnTo>
                      <a:lnTo>
                        <a:pt x="476" y="1122"/>
                      </a:lnTo>
                      <a:lnTo>
                        <a:pt x="475" y="1122"/>
                      </a:lnTo>
                      <a:lnTo>
                        <a:pt x="475" y="1120"/>
                      </a:lnTo>
                      <a:close/>
                      <a:moveTo>
                        <a:pt x="513" y="1090"/>
                      </a:moveTo>
                      <a:lnTo>
                        <a:pt x="513" y="1091"/>
                      </a:lnTo>
                      <a:lnTo>
                        <a:pt x="513" y="1090"/>
                      </a:lnTo>
                      <a:close/>
                      <a:moveTo>
                        <a:pt x="476" y="1114"/>
                      </a:moveTo>
                      <a:lnTo>
                        <a:pt x="478" y="1114"/>
                      </a:lnTo>
                      <a:lnTo>
                        <a:pt x="476" y="1114"/>
                      </a:lnTo>
                      <a:close/>
                      <a:moveTo>
                        <a:pt x="194" y="983"/>
                      </a:moveTo>
                      <a:lnTo>
                        <a:pt x="195" y="983"/>
                      </a:lnTo>
                      <a:lnTo>
                        <a:pt x="194" y="983"/>
                      </a:lnTo>
                      <a:close/>
                      <a:moveTo>
                        <a:pt x="196" y="983"/>
                      </a:moveTo>
                      <a:lnTo>
                        <a:pt x="198" y="983"/>
                      </a:lnTo>
                      <a:lnTo>
                        <a:pt x="196" y="983"/>
                      </a:lnTo>
                      <a:close/>
                      <a:moveTo>
                        <a:pt x="1443" y="1065"/>
                      </a:moveTo>
                      <a:lnTo>
                        <a:pt x="1443" y="1066"/>
                      </a:lnTo>
                      <a:lnTo>
                        <a:pt x="1442" y="1066"/>
                      </a:lnTo>
                      <a:lnTo>
                        <a:pt x="1442" y="1067"/>
                      </a:lnTo>
                      <a:lnTo>
                        <a:pt x="1442" y="1068"/>
                      </a:lnTo>
                      <a:lnTo>
                        <a:pt x="1440" y="1069"/>
                      </a:lnTo>
                      <a:lnTo>
                        <a:pt x="1437" y="1071"/>
                      </a:lnTo>
                      <a:lnTo>
                        <a:pt x="1437" y="1072"/>
                      </a:lnTo>
                      <a:lnTo>
                        <a:pt x="1435" y="1072"/>
                      </a:lnTo>
                      <a:lnTo>
                        <a:pt x="1434" y="1073"/>
                      </a:lnTo>
                      <a:lnTo>
                        <a:pt x="1433" y="1073"/>
                      </a:lnTo>
                      <a:lnTo>
                        <a:pt x="1433" y="1074"/>
                      </a:lnTo>
                      <a:lnTo>
                        <a:pt x="1432" y="1074"/>
                      </a:lnTo>
                      <a:lnTo>
                        <a:pt x="1431" y="1076"/>
                      </a:lnTo>
                      <a:lnTo>
                        <a:pt x="1430" y="1077"/>
                      </a:lnTo>
                      <a:lnTo>
                        <a:pt x="1430" y="1079"/>
                      </a:lnTo>
                      <a:lnTo>
                        <a:pt x="1429" y="1079"/>
                      </a:lnTo>
                      <a:lnTo>
                        <a:pt x="1429" y="1080"/>
                      </a:lnTo>
                      <a:lnTo>
                        <a:pt x="1429" y="1081"/>
                      </a:lnTo>
                      <a:lnTo>
                        <a:pt x="1428" y="1081"/>
                      </a:lnTo>
                      <a:lnTo>
                        <a:pt x="1428" y="1082"/>
                      </a:lnTo>
                      <a:lnTo>
                        <a:pt x="1427" y="1082"/>
                      </a:lnTo>
                      <a:lnTo>
                        <a:pt x="1428" y="1082"/>
                      </a:lnTo>
                      <a:lnTo>
                        <a:pt x="1428" y="1081"/>
                      </a:lnTo>
                      <a:lnTo>
                        <a:pt x="1429" y="1081"/>
                      </a:lnTo>
                      <a:lnTo>
                        <a:pt x="1429" y="1080"/>
                      </a:lnTo>
                      <a:lnTo>
                        <a:pt x="1430" y="1079"/>
                      </a:lnTo>
                      <a:lnTo>
                        <a:pt x="1430" y="1078"/>
                      </a:lnTo>
                      <a:lnTo>
                        <a:pt x="1430" y="1077"/>
                      </a:lnTo>
                      <a:lnTo>
                        <a:pt x="1431" y="1077"/>
                      </a:lnTo>
                      <a:lnTo>
                        <a:pt x="1431" y="1076"/>
                      </a:lnTo>
                      <a:lnTo>
                        <a:pt x="1432" y="1076"/>
                      </a:lnTo>
                      <a:lnTo>
                        <a:pt x="1432" y="1074"/>
                      </a:lnTo>
                      <a:lnTo>
                        <a:pt x="1433" y="1074"/>
                      </a:lnTo>
                      <a:lnTo>
                        <a:pt x="1434" y="1073"/>
                      </a:lnTo>
                      <a:lnTo>
                        <a:pt x="1435" y="1073"/>
                      </a:lnTo>
                      <a:lnTo>
                        <a:pt x="1434" y="1076"/>
                      </a:lnTo>
                      <a:lnTo>
                        <a:pt x="1433" y="1076"/>
                      </a:lnTo>
                      <a:lnTo>
                        <a:pt x="1433" y="1077"/>
                      </a:lnTo>
                      <a:lnTo>
                        <a:pt x="1433" y="1078"/>
                      </a:lnTo>
                      <a:lnTo>
                        <a:pt x="1433" y="1080"/>
                      </a:lnTo>
                      <a:lnTo>
                        <a:pt x="1433" y="1081"/>
                      </a:lnTo>
                      <a:lnTo>
                        <a:pt x="1432" y="1082"/>
                      </a:lnTo>
                      <a:lnTo>
                        <a:pt x="1432" y="1083"/>
                      </a:lnTo>
                      <a:lnTo>
                        <a:pt x="1431" y="1084"/>
                      </a:lnTo>
                      <a:lnTo>
                        <a:pt x="1428" y="1086"/>
                      </a:lnTo>
                      <a:lnTo>
                        <a:pt x="1426" y="1089"/>
                      </a:lnTo>
                      <a:lnTo>
                        <a:pt x="1425" y="1089"/>
                      </a:lnTo>
                      <a:lnTo>
                        <a:pt x="1425" y="1090"/>
                      </a:lnTo>
                      <a:lnTo>
                        <a:pt x="1424" y="1091"/>
                      </a:lnTo>
                      <a:lnTo>
                        <a:pt x="1424" y="1092"/>
                      </a:lnTo>
                      <a:lnTo>
                        <a:pt x="1422" y="1092"/>
                      </a:lnTo>
                      <a:lnTo>
                        <a:pt x="1421" y="1092"/>
                      </a:lnTo>
                      <a:lnTo>
                        <a:pt x="1420" y="1092"/>
                      </a:lnTo>
                      <a:lnTo>
                        <a:pt x="1419" y="1091"/>
                      </a:lnTo>
                      <a:lnTo>
                        <a:pt x="1418" y="1090"/>
                      </a:lnTo>
                      <a:lnTo>
                        <a:pt x="1417" y="1090"/>
                      </a:lnTo>
                      <a:lnTo>
                        <a:pt x="1416" y="1090"/>
                      </a:lnTo>
                      <a:lnTo>
                        <a:pt x="1414" y="1090"/>
                      </a:lnTo>
                      <a:lnTo>
                        <a:pt x="1414" y="1089"/>
                      </a:lnTo>
                      <a:lnTo>
                        <a:pt x="1414" y="1090"/>
                      </a:lnTo>
                      <a:lnTo>
                        <a:pt x="1413" y="1090"/>
                      </a:lnTo>
                      <a:lnTo>
                        <a:pt x="1413" y="1089"/>
                      </a:lnTo>
                      <a:lnTo>
                        <a:pt x="1412" y="1089"/>
                      </a:lnTo>
                      <a:lnTo>
                        <a:pt x="1410" y="1089"/>
                      </a:lnTo>
                      <a:lnTo>
                        <a:pt x="1409" y="1089"/>
                      </a:lnTo>
                      <a:lnTo>
                        <a:pt x="1408" y="1089"/>
                      </a:lnTo>
                      <a:lnTo>
                        <a:pt x="1407" y="1089"/>
                      </a:lnTo>
                      <a:lnTo>
                        <a:pt x="1407" y="1088"/>
                      </a:lnTo>
                      <a:lnTo>
                        <a:pt x="1406" y="1088"/>
                      </a:lnTo>
                      <a:lnTo>
                        <a:pt x="1406" y="1086"/>
                      </a:lnTo>
                      <a:lnTo>
                        <a:pt x="1405" y="1086"/>
                      </a:lnTo>
                      <a:lnTo>
                        <a:pt x="1406" y="1086"/>
                      </a:lnTo>
                      <a:lnTo>
                        <a:pt x="1407" y="1085"/>
                      </a:lnTo>
                      <a:lnTo>
                        <a:pt x="1408" y="1085"/>
                      </a:lnTo>
                      <a:lnTo>
                        <a:pt x="1410" y="1084"/>
                      </a:lnTo>
                      <a:lnTo>
                        <a:pt x="1412" y="1084"/>
                      </a:lnTo>
                      <a:lnTo>
                        <a:pt x="1413" y="1083"/>
                      </a:lnTo>
                      <a:lnTo>
                        <a:pt x="1415" y="1083"/>
                      </a:lnTo>
                      <a:lnTo>
                        <a:pt x="1414" y="1083"/>
                      </a:lnTo>
                      <a:lnTo>
                        <a:pt x="1413" y="1083"/>
                      </a:lnTo>
                      <a:lnTo>
                        <a:pt x="1412" y="1084"/>
                      </a:lnTo>
                      <a:lnTo>
                        <a:pt x="1410" y="1084"/>
                      </a:lnTo>
                      <a:lnTo>
                        <a:pt x="1409" y="1085"/>
                      </a:lnTo>
                      <a:lnTo>
                        <a:pt x="1408" y="1085"/>
                      </a:lnTo>
                      <a:lnTo>
                        <a:pt x="1406" y="1085"/>
                      </a:lnTo>
                      <a:lnTo>
                        <a:pt x="1405" y="1086"/>
                      </a:lnTo>
                      <a:lnTo>
                        <a:pt x="1405" y="1085"/>
                      </a:lnTo>
                      <a:lnTo>
                        <a:pt x="1404" y="1085"/>
                      </a:lnTo>
                      <a:lnTo>
                        <a:pt x="1402" y="1085"/>
                      </a:lnTo>
                      <a:lnTo>
                        <a:pt x="1400" y="1086"/>
                      </a:lnTo>
                      <a:lnTo>
                        <a:pt x="1397" y="1086"/>
                      </a:lnTo>
                      <a:lnTo>
                        <a:pt x="1396" y="1088"/>
                      </a:lnTo>
                      <a:lnTo>
                        <a:pt x="1395" y="1088"/>
                      </a:lnTo>
                      <a:lnTo>
                        <a:pt x="1396" y="1088"/>
                      </a:lnTo>
                      <a:lnTo>
                        <a:pt x="1395" y="1088"/>
                      </a:lnTo>
                      <a:lnTo>
                        <a:pt x="1394" y="1088"/>
                      </a:lnTo>
                      <a:lnTo>
                        <a:pt x="1393" y="1088"/>
                      </a:lnTo>
                      <a:lnTo>
                        <a:pt x="1392" y="1088"/>
                      </a:lnTo>
                      <a:lnTo>
                        <a:pt x="1389" y="1088"/>
                      </a:lnTo>
                      <a:lnTo>
                        <a:pt x="1389" y="1086"/>
                      </a:lnTo>
                      <a:lnTo>
                        <a:pt x="1387" y="1086"/>
                      </a:lnTo>
                      <a:lnTo>
                        <a:pt x="1386" y="1086"/>
                      </a:lnTo>
                      <a:lnTo>
                        <a:pt x="1382" y="1085"/>
                      </a:lnTo>
                      <a:lnTo>
                        <a:pt x="1380" y="1085"/>
                      </a:lnTo>
                      <a:lnTo>
                        <a:pt x="1379" y="1085"/>
                      </a:lnTo>
                      <a:lnTo>
                        <a:pt x="1378" y="1085"/>
                      </a:lnTo>
                      <a:lnTo>
                        <a:pt x="1376" y="1085"/>
                      </a:lnTo>
                      <a:lnTo>
                        <a:pt x="1375" y="1085"/>
                      </a:lnTo>
                      <a:lnTo>
                        <a:pt x="1374" y="1084"/>
                      </a:lnTo>
                      <a:lnTo>
                        <a:pt x="1371" y="1084"/>
                      </a:lnTo>
                      <a:lnTo>
                        <a:pt x="1370" y="1083"/>
                      </a:lnTo>
                      <a:lnTo>
                        <a:pt x="1369" y="1082"/>
                      </a:lnTo>
                      <a:lnTo>
                        <a:pt x="1368" y="1082"/>
                      </a:lnTo>
                      <a:lnTo>
                        <a:pt x="1367" y="1081"/>
                      </a:lnTo>
                      <a:lnTo>
                        <a:pt x="1366" y="1081"/>
                      </a:lnTo>
                      <a:lnTo>
                        <a:pt x="1366" y="1080"/>
                      </a:lnTo>
                      <a:lnTo>
                        <a:pt x="1366" y="1079"/>
                      </a:lnTo>
                      <a:lnTo>
                        <a:pt x="1367" y="1079"/>
                      </a:lnTo>
                      <a:lnTo>
                        <a:pt x="1369" y="1078"/>
                      </a:lnTo>
                      <a:lnTo>
                        <a:pt x="1370" y="1078"/>
                      </a:lnTo>
                      <a:lnTo>
                        <a:pt x="1371" y="1078"/>
                      </a:lnTo>
                      <a:lnTo>
                        <a:pt x="1374" y="1077"/>
                      </a:lnTo>
                      <a:lnTo>
                        <a:pt x="1375" y="1077"/>
                      </a:lnTo>
                      <a:lnTo>
                        <a:pt x="1376" y="1077"/>
                      </a:lnTo>
                      <a:lnTo>
                        <a:pt x="1377" y="1077"/>
                      </a:lnTo>
                      <a:lnTo>
                        <a:pt x="1378" y="1077"/>
                      </a:lnTo>
                      <a:lnTo>
                        <a:pt x="1379" y="1077"/>
                      </a:lnTo>
                      <a:lnTo>
                        <a:pt x="1380" y="1076"/>
                      </a:lnTo>
                      <a:lnTo>
                        <a:pt x="1381" y="1076"/>
                      </a:lnTo>
                      <a:lnTo>
                        <a:pt x="1382" y="1074"/>
                      </a:lnTo>
                      <a:lnTo>
                        <a:pt x="1382" y="1073"/>
                      </a:lnTo>
                      <a:lnTo>
                        <a:pt x="1383" y="1073"/>
                      </a:lnTo>
                      <a:lnTo>
                        <a:pt x="1383" y="1072"/>
                      </a:lnTo>
                      <a:lnTo>
                        <a:pt x="1384" y="1070"/>
                      </a:lnTo>
                      <a:lnTo>
                        <a:pt x="1384" y="1069"/>
                      </a:lnTo>
                      <a:lnTo>
                        <a:pt x="1386" y="1069"/>
                      </a:lnTo>
                      <a:lnTo>
                        <a:pt x="1386" y="1068"/>
                      </a:lnTo>
                      <a:lnTo>
                        <a:pt x="1387" y="1068"/>
                      </a:lnTo>
                      <a:lnTo>
                        <a:pt x="1388" y="1068"/>
                      </a:lnTo>
                      <a:lnTo>
                        <a:pt x="1388" y="1067"/>
                      </a:lnTo>
                      <a:lnTo>
                        <a:pt x="1389" y="1067"/>
                      </a:lnTo>
                      <a:lnTo>
                        <a:pt x="1390" y="1066"/>
                      </a:lnTo>
                      <a:lnTo>
                        <a:pt x="1391" y="1066"/>
                      </a:lnTo>
                      <a:lnTo>
                        <a:pt x="1392" y="1066"/>
                      </a:lnTo>
                      <a:lnTo>
                        <a:pt x="1392" y="1065"/>
                      </a:lnTo>
                      <a:lnTo>
                        <a:pt x="1394" y="1065"/>
                      </a:lnTo>
                      <a:lnTo>
                        <a:pt x="1395" y="1065"/>
                      </a:lnTo>
                      <a:lnTo>
                        <a:pt x="1395" y="1064"/>
                      </a:lnTo>
                      <a:lnTo>
                        <a:pt x="1396" y="1063"/>
                      </a:lnTo>
                      <a:lnTo>
                        <a:pt x="1397" y="1063"/>
                      </a:lnTo>
                      <a:lnTo>
                        <a:pt x="1399" y="1061"/>
                      </a:lnTo>
                      <a:lnTo>
                        <a:pt x="1400" y="1063"/>
                      </a:lnTo>
                      <a:lnTo>
                        <a:pt x="1399" y="1063"/>
                      </a:lnTo>
                      <a:lnTo>
                        <a:pt x="1397" y="1063"/>
                      </a:lnTo>
                      <a:lnTo>
                        <a:pt x="1397" y="1064"/>
                      </a:lnTo>
                      <a:lnTo>
                        <a:pt x="1397" y="1063"/>
                      </a:lnTo>
                      <a:lnTo>
                        <a:pt x="1399" y="1063"/>
                      </a:lnTo>
                      <a:lnTo>
                        <a:pt x="1400" y="1063"/>
                      </a:lnTo>
                      <a:lnTo>
                        <a:pt x="1401" y="1063"/>
                      </a:lnTo>
                      <a:lnTo>
                        <a:pt x="1402" y="1063"/>
                      </a:lnTo>
                      <a:lnTo>
                        <a:pt x="1403" y="1063"/>
                      </a:lnTo>
                      <a:lnTo>
                        <a:pt x="1404" y="1064"/>
                      </a:lnTo>
                      <a:lnTo>
                        <a:pt x="1405" y="1064"/>
                      </a:lnTo>
                      <a:lnTo>
                        <a:pt x="1405" y="1063"/>
                      </a:lnTo>
                      <a:lnTo>
                        <a:pt x="1406" y="1063"/>
                      </a:lnTo>
                      <a:lnTo>
                        <a:pt x="1406" y="1064"/>
                      </a:lnTo>
                      <a:lnTo>
                        <a:pt x="1406" y="1063"/>
                      </a:lnTo>
                      <a:lnTo>
                        <a:pt x="1407" y="1063"/>
                      </a:lnTo>
                      <a:lnTo>
                        <a:pt x="1408" y="1063"/>
                      </a:lnTo>
                      <a:lnTo>
                        <a:pt x="1409" y="1064"/>
                      </a:lnTo>
                      <a:lnTo>
                        <a:pt x="1412" y="1065"/>
                      </a:lnTo>
                      <a:lnTo>
                        <a:pt x="1413" y="1065"/>
                      </a:lnTo>
                      <a:lnTo>
                        <a:pt x="1414" y="1065"/>
                      </a:lnTo>
                      <a:lnTo>
                        <a:pt x="1415" y="1065"/>
                      </a:lnTo>
                      <a:lnTo>
                        <a:pt x="1416" y="1065"/>
                      </a:lnTo>
                      <a:lnTo>
                        <a:pt x="1417" y="1065"/>
                      </a:lnTo>
                      <a:lnTo>
                        <a:pt x="1418" y="1064"/>
                      </a:lnTo>
                      <a:lnTo>
                        <a:pt x="1420" y="1063"/>
                      </a:lnTo>
                      <a:lnTo>
                        <a:pt x="1421" y="1063"/>
                      </a:lnTo>
                      <a:lnTo>
                        <a:pt x="1422" y="1063"/>
                      </a:lnTo>
                      <a:lnTo>
                        <a:pt x="1424" y="1061"/>
                      </a:lnTo>
                      <a:lnTo>
                        <a:pt x="1424" y="1060"/>
                      </a:lnTo>
                      <a:lnTo>
                        <a:pt x="1425" y="1060"/>
                      </a:lnTo>
                      <a:lnTo>
                        <a:pt x="1427" y="1060"/>
                      </a:lnTo>
                      <a:lnTo>
                        <a:pt x="1428" y="1059"/>
                      </a:lnTo>
                      <a:lnTo>
                        <a:pt x="1429" y="1058"/>
                      </a:lnTo>
                      <a:lnTo>
                        <a:pt x="1429" y="1057"/>
                      </a:lnTo>
                      <a:lnTo>
                        <a:pt x="1430" y="1056"/>
                      </a:lnTo>
                      <a:lnTo>
                        <a:pt x="1431" y="1055"/>
                      </a:lnTo>
                      <a:lnTo>
                        <a:pt x="1432" y="1054"/>
                      </a:lnTo>
                      <a:lnTo>
                        <a:pt x="1432" y="1055"/>
                      </a:lnTo>
                      <a:lnTo>
                        <a:pt x="1433" y="1055"/>
                      </a:lnTo>
                      <a:lnTo>
                        <a:pt x="1434" y="1057"/>
                      </a:lnTo>
                      <a:lnTo>
                        <a:pt x="1435" y="1057"/>
                      </a:lnTo>
                      <a:lnTo>
                        <a:pt x="1437" y="1057"/>
                      </a:lnTo>
                      <a:lnTo>
                        <a:pt x="1437" y="1058"/>
                      </a:lnTo>
                      <a:lnTo>
                        <a:pt x="1437" y="1060"/>
                      </a:lnTo>
                      <a:lnTo>
                        <a:pt x="1438" y="1061"/>
                      </a:lnTo>
                      <a:lnTo>
                        <a:pt x="1439" y="1061"/>
                      </a:lnTo>
                      <a:lnTo>
                        <a:pt x="1440" y="1061"/>
                      </a:lnTo>
                      <a:lnTo>
                        <a:pt x="1441" y="1063"/>
                      </a:lnTo>
                      <a:lnTo>
                        <a:pt x="1442" y="1063"/>
                      </a:lnTo>
                      <a:lnTo>
                        <a:pt x="1442" y="1064"/>
                      </a:lnTo>
                      <a:lnTo>
                        <a:pt x="1443" y="1064"/>
                      </a:lnTo>
                      <a:lnTo>
                        <a:pt x="1443" y="1065"/>
                      </a:lnTo>
                      <a:close/>
                      <a:moveTo>
                        <a:pt x="864" y="860"/>
                      </a:moveTo>
                      <a:lnTo>
                        <a:pt x="865" y="861"/>
                      </a:lnTo>
                      <a:lnTo>
                        <a:pt x="865" y="862"/>
                      </a:lnTo>
                      <a:lnTo>
                        <a:pt x="866" y="862"/>
                      </a:lnTo>
                      <a:lnTo>
                        <a:pt x="867" y="862"/>
                      </a:lnTo>
                      <a:lnTo>
                        <a:pt x="869" y="863"/>
                      </a:lnTo>
                      <a:lnTo>
                        <a:pt x="870" y="863"/>
                      </a:lnTo>
                      <a:lnTo>
                        <a:pt x="871" y="863"/>
                      </a:lnTo>
                      <a:lnTo>
                        <a:pt x="872" y="862"/>
                      </a:lnTo>
                      <a:lnTo>
                        <a:pt x="872" y="863"/>
                      </a:lnTo>
                      <a:lnTo>
                        <a:pt x="872" y="862"/>
                      </a:lnTo>
                      <a:lnTo>
                        <a:pt x="872" y="861"/>
                      </a:lnTo>
                      <a:lnTo>
                        <a:pt x="873" y="861"/>
                      </a:lnTo>
                      <a:lnTo>
                        <a:pt x="872" y="860"/>
                      </a:lnTo>
                      <a:lnTo>
                        <a:pt x="873" y="860"/>
                      </a:lnTo>
                      <a:lnTo>
                        <a:pt x="874" y="860"/>
                      </a:lnTo>
                      <a:lnTo>
                        <a:pt x="874" y="861"/>
                      </a:lnTo>
                      <a:lnTo>
                        <a:pt x="874" y="862"/>
                      </a:lnTo>
                      <a:lnTo>
                        <a:pt x="875" y="862"/>
                      </a:lnTo>
                      <a:lnTo>
                        <a:pt x="875" y="861"/>
                      </a:lnTo>
                      <a:lnTo>
                        <a:pt x="876" y="861"/>
                      </a:lnTo>
                      <a:lnTo>
                        <a:pt x="876" y="862"/>
                      </a:lnTo>
                      <a:lnTo>
                        <a:pt x="875" y="862"/>
                      </a:lnTo>
                      <a:lnTo>
                        <a:pt x="876" y="862"/>
                      </a:lnTo>
                      <a:lnTo>
                        <a:pt x="876" y="863"/>
                      </a:lnTo>
                      <a:lnTo>
                        <a:pt x="876" y="864"/>
                      </a:lnTo>
                      <a:lnTo>
                        <a:pt x="877" y="864"/>
                      </a:lnTo>
                      <a:lnTo>
                        <a:pt x="877" y="865"/>
                      </a:lnTo>
                      <a:lnTo>
                        <a:pt x="876" y="865"/>
                      </a:lnTo>
                      <a:lnTo>
                        <a:pt x="875" y="865"/>
                      </a:lnTo>
                      <a:lnTo>
                        <a:pt x="875" y="866"/>
                      </a:lnTo>
                      <a:lnTo>
                        <a:pt x="875" y="867"/>
                      </a:lnTo>
                      <a:lnTo>
                        <a:pt x="876" y="867"/>
                      </a:lnTo>
                      <a:lnTo>
                        <a:pt x="876" y="868"/>
                      </a:lnTo>
                      <a:lnTo>
                        <a:pt x="875" y="868"/>
                      </a:lnTo>
                      <a:lnTo>
                        <a:pt x="874" y="871"/>
                      </a:lnTo>
                      <a:lnTo>
                        <a:pt x="873" y="872"/>
                      </a:lnTo>
                      <a:lnTo>
                        <a:pt x="874" y="873"/>
                      </a:lnTo>
                      <a:lnTo>
                        <a:pt x="874" y="874"/>
                      </a:lnTo>
                      <a:lnTo>
                        <a:pt x="875" y="875"/>
                      </a:lnTo>
                      <a:lnTo>
                        <a:pt x="876" y="875"/>
                      </a:lnTo>
                      <a:lnTo>
                        <a:pt x="876" y="876"/>
                      </a:lnTo>
                      <a:lnTo>
                        <a:pt x="877" y="876"/>
                      </a:lnTo>
                      <a:lnTo>
                        <a:pt x="878" y="877"/>
                      </a:lnTo>
                      <a:lnTo>
                        <a:pt x="879" y="877"/>
                      </a:lnTo>
                      <a:lnTo>
                        <a:pt x="880" y="877"/>
                      </a:lnTo>
                      <a:lnTo>
                        <a:pt x="880" y="878"/>
                      </a:lnTo>
                      <a:lnTo>
                        <a:pt x="882" y="879"/>
                      </a:lnTo>
                      <a:lnTo>
                        <a:pt x="879" y="880"/>
                      </a:lnTo>
                      <a:lnTo>
                        <a:pt x="876" y="880"/>
                      </a:lnTo>
                      <a:lnTo>
                        <a:pt x="876" y="879"/>
                      </a:lnTo>
                      <a:lnTo>
                        <a:pt x="876" y="878"/>
                      </a:lnTo>
                      <a:lnTo>
                        <a:pt x="876" y="877"/>
                      </a:lnTo>
                      <a:lnTo>
                        <a:pt x="875" y="877"/>
                      </a:lnTo>
                      <a:lnTo>
                        <a:pt x="875" y="876"/>
                      </a:lnTo>
                      <a:lnTo>
                        <a:pt x="874" y="876"/>
                      </a:lnTo>
                      <a:lnTo>
                        <a:pt x="874" y="875"/>
                      </a:lnTo>
                      <a:lnTo>
                        <a:pt x="873" y="875"/>
                      </a:lnTo>
                      <a:lnTo>
                        <a:pt x="873" y="874"/>
                      </a:lnTo>
                      <a:lnTo>
                        <a:pt x="873" y="873"/>
                      </a:lnTo>
                      <a:lnTo>
                        <a:pt x="873" y="872"/>
                      </a:lnTo>
                      <a:lnTo>
                        <a:pt x="872" y="872"/>
                      </a:lnTo>
                      <a:lnTo>
                        <a:pt x="871" y="872"/>
                      </a:lnTo>
                      <a:lnTo>
                        <a:pt x="871" y="871"/>
                      </a:lnTo>
                      <a:lnTo>
                        <a:pt x="870" y="871"/>
                      </a:lnTo>
                      <a:lnTo>
                        <a:pt x="869" y="870"/>
                      </a:lnTo>
                      <a:lnTo>
                        <a:pt x="867" y="870"/>
                      </a:lnTo>
                      <a:lnTo>
                        <a:pt x="866" y="871"/>
                      </a:lnTo>
                      <a:lnTo>
                        <a:pt x="865" y="870"/>
                      </a:lnTo>
                      <a:lnTo>
                        <a:pt x="864" y="868"/>
                      </a:lnTo>
                      <a:lnTo>
                        <a:pt x="863" y="868"/>
                      </a:lnTo>
                      <a:lnTo>
                        <a:pt x="863" y="867"/>
                      </a:lnTo>
                      <a:lnTo>
                        <a:pt x="861" y="867"/>
                      </a:lnTo>
                      <a:lnTo>
                        <a:pt x="859" y="867"/>
                      </a:lnTo>
                      <a:lnTo>
                        <a:pt x="857" y="867"/>
                      </a:lnTo>
                      <a:lnTo>
                        <a:pt x="855" y="867"/>
                      </a:lnTo>
                      <a:lnTo>
                        <a:pt x="855" y="868"/>
                      </a:lnTo>
                      <a:lnTo>
                        <a:pt x="854" y="870"/>
                      </a:lnTo>
                      <a:lnTo>
                        <a:pt x="854" y="871"/>
                      </a:lnTo>
                      <a:lnTo>
                        <a:pt x="855" y="871"/>
                      </a:lnTo>
                      <a:lnTo>
                        <a:pt x="855" y="872"/>
                      </a:lnTo>
                      <a:lnTo>
                        <a:pt x="857" y="872"/>
                      </a:lnTo>
                      <a:lnTo>
                        <a:pt x="857" y="873"/>
                      </a:lnTo>
                      <a:lnTo>
                        <a:pt x="858" y="873"/>
                      </a:lnTo>
                      <a:lnTo>
                        <a:pt x="858" y="874"/>
                      </a:lnTo>
                      <a:lnTo>
                        <a:pt x="859" y="874"/>
                      </a:lnTo>
                      <a:lnTo>
                        <a:pt x="859" y="875"/>
                      </a:lnTo>
                      <a:lnTo>
                        <a:pt x="859" y="876"/>
                      </a:lnTo>
                      <a:lnTo>
                        <a:pt x="859" y="877"/>
                      </a:lnTo>
                      <a:lnTo>
                        <a:pt x="860" y="877"/>
                      </a:lnTo>
                      <a:lnTo>
                        <a:pt x="860" y="878"/>
                      </a:lnTo>
                      <a:lnTo>
                        <a:pt x="860" y="879"/>
                      </a:lnTo>
                      <a:lnTo>
                        <a:pt x="859" y="879"/>
                      </a:lnTo>
                      <a:lnTo>
                        <a:pt x="858" y="880"/>
                      </a:lnTo>
                      <a:lnTo>
                        <a:pt x="857" y="880"/>
                      </a:lnTo>
                      <a:lnTo>
                        <a:pt x="857" y="881"/>
                      </a:lnTo>
                      <a:lnTo>
                        <a:pt x="855" y="881"/>
                      </a:lnTo>
                      <a:lnTo>
                        <a:pt x="855" y="883"/>
                      </a:lnTo>
                      <a:lnTo>
                        <a:pt x="854" y="883"/>
                      </a:lnTo>
                      <a:lnTo>
                        <a:pt x="854" y="884"/>
                      </a:lnTo>
                      <a:lnTo>
                        <a:pt x="854" y="885"/>
                      </a:lnTo>
                      <a:lnTo>
                        <a:pt x="853" y="885"/>
                      </a:lnTo>
                      <a:lnTo>
                        <a:pt x="852" y="885"/>
                      </a:lnTo>
                      <a:lnTo>
                        <a:pt x="851" y="886"/>
                      </a:lnTo>
                      <a:lnTo>
                        <a:pt x="850" y="886"/>
                      </a:lnTo>
                      <a:lnTo>
                        <a:pt x="850" y="885"/>
                      </a:lnTo>
                      <a:lnTo>
                        <a:pt x="851" y="885"/>
                      </a:lnTo>
                      <a:lnTo>
                        <a:pt x="851" y="884"/>
                      </a:lnTo>
                      <a:lnTo>
                        <a:pt x="852" y="881"/>
                      </a:lnTo>
                      <a:lnTo>
                        <a:pt x="851" y="880"/>
                      </a:lnTo>
                      <a:lnTo>
                        <a:pt x="851" y="879"/>
                      </a:lnTo>
                      <a:lnTo>
                        <a:pt x="851" y="878"/>
                      </a:lnTo>
                      <a:lnTo>
                        <a:pt x="851" y="877"/>
                      </a:lnTo>
                      <a:lnTo>
                        <a:pt x="851" y="876"/>
                      </a:lnTo>
                      <a:lnTo>
                        <a:pt x="851" y="875"/>
                      </a:lnTo>
                      <a:lnTo>
                        <a:pt x="851" y="874"/>
                      </a:lnTo>
                      <a:lnTo>
                        <a:pt x="850" y="874"/>
                      </a:lnTo>
                      <a:lnTo>
                        <a:pt x="849" y="874"/>
                      </a:lnTo>
                      <a:lnTo>
                        <a:pt x="849" y="873"/>
                      </a:lnTo>
                      <a:lnTo>
                        <a:pt x="849" y="870"/>
                      </a:lnTo>
                      <a:lnTo>
                        <a:pt x="848" y="870"/>
                      </a:lnTo>
                      <a:lnTo>
                        <a:pt x="848" y="868"/>
                      </a:lnTo>
                      <a:lnTo>
                        <a:pt x="847" y="868"/>
                      </a:lnTo>
                      <a:lnTo>
                        <a:pt x="846" y="868"/>
                      </a:lnTo>
                      <a:lnTo>
                        <a:pt x="842" y="867"/>
                      </a:lnTo>
                      <a:lnTo>
                        <a:pt x="839" y="867"/>
                      </a:lnTo>
                      <a:lnTo>
                        <a:pt x="839" y="868"/>
                      </a:lnTo>
                      <a:lnTo>
                        <a:pt x="838" y="868"/>
                      </a:lnTo>
                      <a:lnTo>
                        <a:pt x="838" y="867"/>
                      </a:lnTo>
                      <a:lnTo>
                        <a:pt x="837" y="867"/>
                      </a:lnTo>
                      <a:lnTo>
                        <a:pt x="838" y="867"/>
                      </a:lnTo>
                      <a:lnTo>
                        <a:pt x="838" y="866"/>
                      </a:lnTo>
                      <a:lnTo>
                        <a:pt x="838" y="865"/>
                      </a:lnTo>
                      <a:lnTo>
                        <a:pt x="839" y="865"/>
                      </a:lnTo>
                      <a:lnTo>
                        <a:pt x="839" y="864"/>
                      </a:lnTo>
                      <a:lnTo>
                        <a:pt x="839" y="863"/>
                      </a:lnTo>
                      <a:lnTo>
                        <a:pt x="840" y="863"/>
                      </a:lnTo>
                      <a:lnTo>
                        <a:pt x="841" y="863"/>
                      </a:lnTo>
                      <a:lnTo>
                        <a:pt x="841" y="862"/>
                      </a:lnTo>
                      <a:lnTo>
                        <a:pt x="842" y="861"/>
                      </a:lnTo>
                      <a:lnTo>
                        <a:pt x="844" y="861"/>
                      </a:lnTo>
                      <a:lnTo>
                        <a:pt x="845" y="861"/>
                      </a:lnTo>
                      <a:lnTo>
                        <a:pt x="846" y="861"/>
                      </a:lnTo>
                      <a:lnTo>
                        <a:pt x="847" y="861"/>
                      </a:lnTo>
                      <a:lnTo>
                        <a:pt x="847" y="860"/>
                      </a:lnTo>
                      <a:lnTo>
                        <a:pt x="848" y="860"/>
                      </a:lnTo>
                      <a:lnTo>
                        <a:pt x="848" y="859"/>
                      </a:lnTo>
                      <a:lnTo>
                        <a:pt x="850" y="860"/>
                      </a:lnTo>
                      <a:lnTo>
                        <a:pt x="851" y="860"/>
                      </a:lnTo>
                      <a:lnTo>
                        <a:pt x="851" y="859"/>
                      </a:lnTo>
                      <a:lnTo>
                        <a:pt x="852" y="859"/>
                      </a:lnTo>
                      <a:lnTo>
                        <a:pt x="853" y="860"/>
                      </a:lnTo>
                      <a:lnTo>
                        <a:pt x="855" y="861"/>
                      </a:lnTo>
                      <a:lnTo>
                        <a:pt x="857" y="861"/>
                      </a:lnTo>
                      <a:lnTo>
                        <a:pt x="858" y="861"/>
                      </a:lnTo>
                      <a:lnTo>
                        <a:pt x="859" y="860"/>
                      </a:lnTo>
                      <a:lnTo>
                        <a:pt x="860" y="860"/>
                      </a:lnTo>
                      <a:lnTo>
                        <a:pt x="860" y="859"/>
                      </a:lnTo>
                      <a:lnTo>
                        <a:pt x="860" y="858"/>
                      </a:lnTo>
                      <a:lnTo>
                        <a:pt x="861" y="858"/>
                      </a:lnTo>
                      <a:lnTo>
                        <a:pt x="861" y="857"/>
                      </a:lnTo>
                      <a:lnTo>
                        <a:pt x="861" y="855"/>
                      </a:lnTo>
                      <a:lnTo>
                        <a:pt x="861" y="854"/>
                      </a:lnTo>
                      <a:lnTo>
                        <a:pt x="862" y="854"/>
                      </a:lnTo>
                      <a:lnTo>
                        <a:pt x="862" y="853"/>
                      </a:lnTo>
                      <a:lnTo>
                        <a:pt x="863" y="854"/>
                      </a:lnTo>
                      <a:lnTo>
                        <a:pt x="863" y="855"/>
                      </a:lnTo>
                      <a:lnTo>
                        <a:pt x="864" y="857"/>
                      </a:lnTo>
                      <a:lnTo>
                        <a:pt x="864" y="858"/>
                      </a:lnTo>
                      <a:lnTo>
                        <a:pt x="864" y="859"/>
                      </a:lnTo>
                      <a:lnTo>
                        <a:pt x="864" y="860"/>
                      </a:lnTo>
                      <a:close/>
                      <a:moveTo>
                        <a:pt x="821" y="809"/>
                      </a:moveTo>
                      <a:lnTo>
                        <a:pt x="821" y="810"/>
                      </a:lnTo>
                      <a:lnTo>
                        <a:pt x="822" y="810"/>
                      </a:lnTo>
                      <a:lnTo>
                        <a:pt x="822" y="809"/>
                      </a:lnTo>
                      <a:lnTo>
                        <a:pt x="822" y="810"/>
                      </a:lnTo>
                      <a:lnTo>
                        <a:pt x="823" y="811"/>
                      </a:lnTo>
                      <a:lnTo>
                        <a:pt x="824" y="811"/>
                      </a:lnTo>
                      <a:lnTo>
                        <a:pt x="825" y="812"/>
                      </a:lnTo>
                      <a:lnTo>
                        <a:pt x="826" y="812"/>
                      </a:lnTo>
                      <a:lnTo>
                        <a:pt x="826" y="813"/>
                      </a:lnTo>
                      <a:lnTo>
                        <a:pt x="826" y="814"/>
                      </a:lnTo>
                      <a:lnTo>
                        <a:pt x="826" y="815"/>
                      </a:lnTo>
                      <a:lnTo>
                        <a:pt x="826" y="816"/>
                      </a:lnTo>
                      <a:lnTo>
                        <a:pt x="826" y="817"/>
                      </a:lnTo>
                      <a:lnTo>
                        <a:pt x="827" y="819"/>
                      </a:lnTo>
                      <a:lnTo>
                        <a:pt x="827" y="820"/>
                      </a:lnTo>
                      <a:lnTo>
                        <a:pt x="827" y="821"/>
                      </a:lnTo>
                      <a:lnTo>
                        <a:pt x="827" y="822"/>
                      </a:lnTo>
                      <a:lnTo>
                        <a:pt x="827" y="823"/>
                      </a:lnTo>
                      <a:lnTo>
                        <a:pt x="827" y="825"/>
                      </a:lnTo>
                      <a:lnTo>
                        <a:pt x="828" y="825"/>
                      </a:lnTo>
                      <a:lnTo>
                        <a:pt x="827" y="826"/>
                      </a:lnTo>
                      <a:lnTo>
                        <a:pt x="827" y="827"/>
                      </a:lnTo>
                      <a:lnTo>
                        <a:pt x="826" y="827"/>
                      </a:lnTo>
                      <a:lnTo>
                        <a:pt x="825" y="829"/>
                      </a:lnTo>
                      <a:lnTo>
                        <a:pt x="824" y="831"/>
                      </a:lnTo>
                      <a:lnTo>
                        <a:pt x="824" y="832"/>
                      </a:lnTo>
                      <a:lnTo>
                        <a:pt x="823" y="833"/>
                      </a:lnTo>
                      <a:lnTo>
                        <a:pt x="823" y="834"/>
                      </a:lnTo>
                      <a:lnTo>
                        <a:pt x="822" y="834"/>
                      </a:lnTo>
                      <a:lnTo>
                        <a:pt x="822" y="835"/>
                      </a:lnTo>
                      <a:lnTo>
                        <a:pt x="821" y="836"/>
                      </a:lnTo>
                      <a:lnTo>
                        <a:pt x="821" y="837"/>
                      </a:lnTo>
                      <a:lnTo>
                        <a:pt x="820" y="837"/>
                      </a:lnTo>
                      <a:lnTo>
                        <a:pt x="820" y="838"/>
                      </a:lnTo>
                      <a:lnTo>
                        <a:pt x="819" y="839"/>
                      </a:lnTo>
                      <a:lnTo>
                        <a:pt x="819" y="838"/>
                      </a:lnTo>
                      <a:lnTo>
                        <a:pt x="819" y="837"/>
                      </a:lnTo>
                      <a:lnTo>
                        <a:pt x="818" y="837"/>
                      </a:lnTo>
                      <a:lnTo>
                        <a:pt x="816" y="837"/>
                      </a:lnTo>
                      <a:lnTo>
                        <a:pt x="815" y="837"/>
                      </a:lnTo>
                      <a:lnTo>
                        <a:pt x="814" y="837"/>
                      </a:lnTo>
                      <a:lnTo>
                        <a:pt x="814" y="836"/>
                      </a:lnTo>
                      <a:lnTo>
                        <a:pt x="815" y="836"/>
                      </a:lnTo>
                      <a:lnTo>
                        <a:pt x="816" y="836"/>
                      </a:lnTo>
                      <a:lnTo>
                        <a:pt x="816" y="835"/>
                      </a:lnTo>
                      <a:lnTo>
                        <a:pt x="815" y="835"/>
                      </a:lnTo>
                      <a:lnTo>
                        <a:pt x="815" y="836"/>
                      </a:lnTo>
                      <a:lnTo>
                        <a:pt x="814" y="836"/>
                      </a:lnTo>
                      <a:lnTo>
                        <a:pt x="814" y="835"/>
                      </a:lnTo>
                      <a:lnTo>
                        <a:pt x="814" y="833"/>
                      </a:lnTo>
                      <a:lnTo>
                        <a:pt x="815" y="833"/>
                      </a:lnTo>
                      <a:lnTo>
                        <a:pt x="815" y="832"/>
                      </a:lnTo>
                      <a:lnTo>
                        <a:pt x="815" y="831"/>
                      </a:lnTo>
                      <a:lnTo>
                        <a:pt x="815" y="829"/>
                      </a:lnTo>
                      <a:lnTo>
                        <a:pt x="815" y="828"/>
                      </a:lnTo>
                      <a:lnTo>
                        <a:pt x="815" y="829"/>
                      </a:lnTo>
                      <a:lnTo>
                        <a:pt x="814" y="829"/>
                      </a:lnTo>
                      <a:lnTo>
                        <a:pt x="814" y="828"/>
                      </a:lnTo>
                      <a:lnTo>
                        <a:pt x="814" y="827"/>
                      </a:lnTo>
                      <a:lnTo>
                        <a:pt x="813" y="827"/>
                      </a:lnTo>
                      <a:lnTo>
                        <a:pt x="814" y="829"/>
                      </a:lnTo>
                      <a:lnTo>
                        <a:pt x="813" y="829"/>
                      </a:lnTo>
                      <a:lnTo>
                        <a:pt x="813" y="828"/>
                      </a:lnTo>
                      <a:lnTo>
                        <a:pt x="813" y="827"/>
                      </a:lnTo>
                      <a:lnTo>
                        <a:pt x="813" y="826"/>
                      </a:lnTo>
                      <a:lnTo>
                        <a:pt x="812" y="826"/>
                      </a:lnTo>
                      <a:lnTo>
                        <a:pt x="812" y="825"/>
                      </a:lnTo>
                      <a:lnTo>
                        <a:pt x="811" y="825"/>
                      </a:lnTo>
                      <a:lnTo>
                        <a:pt x="810" y="825"/>
                      </a:lnTo>
                      <a:lnTo>
                        <a:pt x="810" y="824"/>
                      </a:lnTo>
                      <a:lnTo>
                        <a:pt x="809" y="824"/>
                      </a:lnTo>
                      <a:lnTo>
                        <a:pt x="808" y="824"/>
                      </a:lnTo>
                      <a:lnTo>
                        <a:pt x="807" y="823"/>
                      </a:lnTo>
                      <a:lnTo>
                        <a:pt x="807" y="822"/>
                      </a:lnTo>
                      <a:lnTo>
                        <a:pt x="807" y="821"/>
                      </a:lnTo>
                      <a:lnTo>
                        <a:pt x="806" y="821"/>
                      </a:lnTo>
                      <a:lnTo>
                        <a:pt x="805" y="821"/>
                      </a:lnTo>
                      <a:lnTo>
                        <a:pt x="803" y="821"/>
                      </a:lnTo>
                      <a:lnTo>
                        <a:pt x="802" y="821"/>
                      </a:lnTo>
                      <a:lnTo>
                        <a:pt x="803" y="821"/>
                      </a:lnTo>
                      <a:lnTo>
                        <a:pt x="803" y="820"/>
                      </a:lnTo>
                      <a:lnTo>
                        <a:pt x="803" y="819"/>
                      </a:lnTo>
                      <a:lnTo>
                        <a:pt x="805" y="817"/>
                      </a:lnTo>
                      <a:lnTo>
                        <a:pt x="805" y="816"/>
                      </a:lnTo>
                      <a:lnTo>
                        <a:pt x="806" y="816"/>
                      </a:lnTo>
                      <a:lnTo>
                        <a:pt x="807" y="817"/>
                      </a:lnTo>
                      <a:lnTo>
                        <a:pt x="808" y="817"/>
                      </a:lnTo>
                      <a:lnTo>
                        <a:pt x="809" y="817"/>
                      </a:lnTo>
                      <a:lnTo>
                        <a:pt x="809" y="816"/>
                      </a:lnTo>
                      <a:lnTo>
                        <a:pt x="810" y="817"/>
                      </a:lnTo>
                      <a:lnTo>
                        <a:pt x="810" y="816"/>
                      </a:lnTo>
                      <a:lnTo>
                        <a:pt x="811" y="816"/>
                      </a:lnTo>
                      <a:lnTo>
                        <a:pt x="811" y="817"/>
                      </a:lnTo>
                      <a:lnTo>
                        <a:pt x="812" y="817"/>
                      </a:lnTo>
                      <a:lnTo>
                        <a:pt x="813" y="817"/>
                      </a:lnTo>
                      <a:lnTo>
                        <a:pt x="813" y="816"/>
                      </a:lnTo>
                      <a:lnTo>
                        <a:pt x="814" y="816"/>
                      </a:lnTo>
                      <a:lnTo>
                        <a:pt x="814" y="815"/>
                      </a:lnTo>
                      <a:lnTo>
                        <a:pt x="815" y="815"/>
                      </a:lnTo>
                      <a:lnTo>
                        <a:pt x="815" y="814"/>
                      </a:lnTo>
                      <a:lnTo>
                        <a:pt x="814" y="813"/>
                      </a:lnTo>
                      <a:lnTo>
                        <a:pt x="814" y="812"/>
                      </a:lnTo>
                      <a:lnTo>
                        <a:pt x="814" y="811"/>
                      </a:lnTo>
                      <a:lnTo>
                        <a:pt x="814" y="810"/>
                      </a:lnTo>
                      <a:lnTo>
                        <a:pt x="814" y="809"/>
                      </a:lnTo>
                      <a:lnTo>
                        <a:pt x="814" y="808"/>
                      </a:lnTo>
                      <a:lnTo>
                        <a:pt x="815" y="808"/>
                      </a:lnTo>
                      <a:lnTo>
                        <a:pt x="816" y="808"/>
                      </a:lnTo>
                      <a:lnTo>
                        <a:pt x="815" y="808"/>
                      </a:lnTo>
                      <a:lnTo>
                        <a:pt x="816" y="809"/>
                      </a:lnTo>
                      <a:lnTo>
                        <a:pt x="816" y="808"/>
                      </a:lnTo>
                      <a:lnTo>
                        <a:pt x="818" y="808"/>
                      </a:lnTo>
                      <a:lnTo>
                        <a:pt x="819" y="808"/>
                      </a:lnTo>
                      <a:lnTo>
                        <a:pt x="819" y="807"/>
                      </a:lnTo>
                      <a:lnTo>
                        <a:pt x="820" y="807"/>
                      </a:lnTo>
                      <a:lnTo>
                        <a:pt x="821" y="806"/>
                      </a:lnTo>
                      <a:lnTo>
                        <a:pt x="821" y="807"/>
                      </a:lnTo>
                      <a:lnTo>
                        <a:pt x="821" y="808"/>
                      </a:lnTo>
                      <a:lnTo>
                        <a:pt x="821" y="809"/>
                      </a:lnTo>
                      <a:close/>
                      <a:moveTo>
                        <a:pt x="939" y="1025"/>
                      </a:moveTo>
                      <a:lnTo>
                        <a:pt x="940" y="1026"/>
                      </a:lnTo>
                      <a:lnTo>
                        <a:pt x="941" y="1027"/>
                      </a:lnTo>
                      <a:lnTo>
                        <a:pt x="941" y="1028"/>
                      </a:lnTo>
                      <a:lnTo>
                        <a:pt x="941" y="1029"/>
                      </a:lnTo>
                      <a:lnTo>
                        <a:pt x="941" y="1030"/>
                      </a:lnTo>
                      <a:lnTo>
                        <a:pt x="941" y="1031"/>
                      </a:lnTo>
                      <a:lnTo>
                        <a:pt x="940" y="1032"/>
                      </a:lnTo>
                      <a:lnTo>
                        <a:pt x="939" y="1033"/>
                      </a:lnTo>
                      <a:lnTo>
                        <a:pt x="939" y="1034"/>
                      </a:lnTo>
                      <a:lnTo>
                        <a:pt x="939" y="1035"/>
                      </a:lnTo>
                      <a:lnTo>
                        <a:pt x="938" y="1035"/>
                      </a:lnTo>
                      <a:lnTo>
                        <a:pt x="938" y="1037"/>
                      </a:lnTo>
                      <a:lnTo>
                        <a:pt x="937" y="1037"/>
                      </a:lnTo>
                      <a:lnTo>
                        <a:pt x="936" y="1038"/>
                      </a:lnTo>
                      <a:lnTo>
                        <a:pt x="934" y="1039"/>
                      </a:lnTo>
                      <a:lnTo>
                        <a:pt x="931" y="1040"/>
                      </a:lnTo>
                      <a:lnTo>
                        <a:pt x="930" y="1041"/>
                      </a:lnTo>
                      <a:lnTo>
                        <a:pt x="929" y="1042"/>
                      </a:lnTo>
                      <a:lnTo>
                        <a:pt x="928" y="1042"/>
                      </a:lnTo>
                      <a:lnTo>
                        <a:pt x="927" y="1042"/>
                      </a:lnTo>
                      <a:lnTo>
                        <a:pt x="926" y="1043"/>
                      </a:lnTo>
                      <a:lnTo>
                        <a:pt x="925" y="1044"/>
                      </a:lnTo>
                      <a:lnTo>
                        <a:pt x="923" y="1045"/>
                      </a:lnTo>
                      <a:lnTo>
                        <a:pt x="922" y="1046"/>
                      </a:lnTo>
                      <a:lnTo>
                        <a:pt x="921" y="1046"/>
                      </a:lnTo>
                      <a:lnTo>
                        <a:pt x="919" y="1047"/>
                      </a:lnTo>
                      <a:lnTo>
                        <a:pt x="917" y="1048"/>
                      </a:lnTo>
                      <a:lnTo>
                        <a:pt x="917" y="1050"/>
                      </a:lnTo>
                      <a:lnTo>
                        <a:pt x="916" y="1050"/>
                      </a:lnTo>
                      <a:lnTo>
                        <a:pt x="916" y="1051"/>
                      </a:lnTo>
                      <a:lnTo>
                        <a:pt x="914" y="1052"/>
                      </a:lnTo>
                      <a:lnTo>
                        <a:pt x="913" y="1052"/>
                      </a:lnTo>
                      <a:lnTo>
                        <a:pt x="912" y="1053"/>
                      </a:lnTo>
                      <a:lnTo>
                        <a:pt x="911" y="1054"/>
                      </a:lnTo>
                      <a:lnTo>
                        <a:pt x="909" y="1055"/>
                      </a:lnTo>
                      <a:lnTo>
                        <a:pt x="906" y="1056"/>
                      </a:lnTo>
                      <a:lnTo>
                        <a:pt x="903" y="1058"/>
                      </a:lnTo>
                      <a:lnTo>
                        <a:pt x="898" y="1063"/>
                      </a:lnTo>
                      <a:lnTo>
                        <a:pt x="893" y="1066"/>
                      </a:lnTo>
                      <a:lnTo>
                        <a:pt x="890" y="1068"/>
                      </a:lnTo>
                      <a:lnTo>
                        <a:pt x="889" y="1070"/>
                      </a:lnTo>
                      <a:lnTo>
                        <a:pt x="885" y="1074"/>
                      </a:lnTo>
                      <a:lnTo>
                        <a:pt x="884" y="1074"/>
                      </a:lnTo>
                      <a:lnTo>
                        <a:pt x="884" y="1073"/>
                      </a:lnTo>
                      <a:lnTo>
                        <a:pt x="883" y="1073"/>
                      </a:lnTo>
                      <a:lnTo>
                        <a:pt x="883" y="1072"/>
                      </a:lnTo>
                      <a:lnTo>
                        <a:pt x="884" y="1071"/>
                      </a:lnTo>
                      <a:lnTo>
                        <a:pt x="885" y="1071"/>
                      </a:lnTo>
                      <a:lnTo>
                        <a:pt x="886" y="1070"/>
                      </a:lnTo>
                      <a:lnTo>
                        <a:pt x="887" y="1070"/>
                      </a:lnTo>
                      <a:lnTo>
                        <a:pt x="887" y="1069"/>
                      </a:lnTo>
                      <a:lnTo>
                        <a:pt x="887" y="1068"/>
                      </a:lnTo>
                      <a:lnTo>
                        <a:pt x="888" y="1069"/>
                      </a:lnTo>
                      <a:lnTo>
                        <a:pt x="888" y="1068"/>
                      </a:lnTo>
                      <a:lnTo>
                        <a:pt x="889" y="1068"/>
                      </a:lnTo>
                      <a:lnTo>
                        <a:pt x="888" y="1068"/>
                      </a:lnTo>
                      <a:lnTo>
                        <a:pt x="888" y="1067"/>
                      </a:lnTo>
                      <a:lnTo>
                        <a:pt x="889" y="1068"/>
                      </a:lnTo>
                      <a:lnTo>
                        <a:pt x="888" y="1067"/>
                      </a:lnTo>
                      <a:lnTo>
                        <a:pt x="889" y="1068"/>
                      </a:lnTo>
                      <a:lnTo>
                        <a:pt x="889" y="1067"/>
                      </a:lnTo>
                      <a:lnTo>
                        <a:pt x="888" y="1067"/>
                      </a:lnTo>
                      <a:lnTo>
                        <a:pt x="889" y="1067"/>
                      </a:lnTo>
                      <a:lnTo>
                        <a:pt x="889" y="1066"/>
                      </a:lnTo>
                      <a:lnTo>
                        <a:pt x="890" y="1066"/>
                      </a:lnTo>
                      <a:lnTo>
                        <a:pt x="890" y="1065"/>
                      </a:lnTo>
                      <a:lnTo>
                        <a:pt x="890" y="1066"/>
                      </a:lnTo>
                      <a:lnTo>
                        <a:pt x="891" y="1065"/>
                      </a:lnTo>
                      <a:lnTo>
                        <a:pt x="892" y="1064"/>
                      </a:lnTo>
                      <a:lnTo>
                        <a:pt x="891" y="1064"/>
                      </a:lnTo>
                      <a:lnTo>
                        <a:pt x="892" y="1064"/>
                      </a:lnTo>
                      <a:lnTo>
                        <a:pt x="892" y="1063"/>
                      </a:lnTo>
                      <a:lnTo>
                        <a:pt x="893" y="1063"/>
                      </a:lnTo>
                      <a:lnTo>
                        <a:pt x="893" y="1061"/>
                      </a:lnTo>
                      <a:lnTo>
                        <a:pt x="895" y="1061"/>
                      </a:lnTo>
                      <a:lnTo>
                        <a:pt x="893" y="1061"/>
                      </a:lnTo>
                      <a:lnTo>
                        <a:pt x="895" y="1061"/>
                      </a:lnTo>
                      <a:lnTo>
                        <a:pt x="895" y="1060"/>
                      </a:lnTo>
                      <a:lnTo>
                        <a:pt x="896" y="1060"/>
                      </a:lnTo>
                      <a:lnTo>
                        <a:pt x="896" y="1059"/>
                      </a:lnTo>
                      <a:lnTo>
                        <a:pt x="897" y="1059"/>
                      </a:lnTo>
                      <a:lnTo>
                        <a:pt x="897" y="1058"/>
                      </a:lnTo>
                      <a:lnTo>
                        <a:pt x="897" y="1057"/>
                      </a:lnTo>
                      <a:lnTo>
                        <a:pt x="898" y="1057"/>
                      </a:lnTo>
                      <a:lnTo>
                        <a:pt x="897" y="1057"/>
                      </a:lnTo>
                      <a:lnTo>
                        <a:pt x="897" y="1056"/>
                      </a:lnTo>
                      <a:lnTo>
                        <a:pt x="898" y="1057"/>
                      </a:lnTo>
                      <a:lnTo>
                        <a:pt x="897" y="1057"/>
                      </a:lnTo>
                      <a:lnTo>
                        <a:pt x="898" y="1057"/>
                      </a:lnTo>
                      <a:lnTo>
                        <a:pt x="898" y="1056"/>
                      </a:lnTo>
                      <a:lnTo>
                        <a:pt x="898" y="1057"/>
                      </a:lnTo>
                      <a:lnTo>
                        <a:pt x="898" y="1056"/>
                      </a:lnTo>
                      <a:lnTo>
                        <a:pt x="898" y="1055"/>
                      </a:lnTo>
                      <a:lnTo>
                        <a:pt x="898" y="1056"/>
                      </a:lnTo>
                      <a:lnTo>
                        <a:pt x="899" y="1055"/>
                      </a:lnTo>
                      <a:lnTo>
                        <a:pt x="900" y="1055"/>
                      </a:lnTo>
                      <a:lnTo>
                        <a:pt x="900" y="1054"/>
                      </a:lnTo>
                      <a:lnTo>
                        <a:pt x="899" y="1054"/>
                      </a:lnTo>
                      <a:lnTo>
                        <a:pt x="900" y="1054"/>
                      </a:lnTo>
                      <a:lnTo>
                        <a:pt x="899" y="1054"/>
                      </a:lnTo>
                      <a:lnTo>
                        <a:pt x="900" y="1054"/>
                      </a:lnTo>
                      <a:lnTo>
                        <a:pt x="901" y="1055"/>
                      </a:lnTo>
                      <a:lnTo>
                        <a:pt x="900" y="1054"/>
                      </a:lnTo>
                      <a:lnTo>
                        <a:pt x="900" y="1053"/>
                      </a:lnTo>
                      <a:lnTo>
                        <a:pt x="900" y="1052"/>
                      </a:lnTo>
                      <a:lnTo>
                        <a:pt x="900" y="1053"/>
                      </a:lnTo>
                      <a:lnTo>
                        <a:pt x="901" y="1052"/>
                      </a:lnTo>
                      <a:lnTo>
                        <a:pt x="902" y="1052"/>
                      </a:lnTo>
                      <a:lnTo>
                        <a:pt x="902" y="1053"/>
                      </a:lnTo>
                      <a:lnTo>
                        <a:pt x="902" y="1054"/>
                      </a:lnTo>
                      <a:lnTo>
                        <a:pt x="902" y="1053"/>
                      </a:lnTo>
                      <a:lnTo>
                        <a:pt x="902" y="1052"/>
                      </a:lnTo>
                      <a:lnTo>
                        <a:pt x="903" y="1052"/>
                      </a:lnTo>
                      <a:lnTo>
                        <a:pt x="902" y="1052"/>
                      </a:lnTo>
                      <a:lnTo>
                        <a:pt x="903" y="1052"/>
                      </a:lnTo>
                      <a:lnTo>
                        <a:pt x="903" y="1051"/>
                      </a:lnTo>
                      <a:lnTo>
                        <a:pt x="904" y="1051"/>
                      </a:lnTo>
                      <a:lnTo>
                        <a:pt x="905" y="1051"/>
                      </a:lnTo>
                      <a:lnTo>
                        <a:pt x="905" y="1050"/>
                      </a:lnTo>
                      <a:lnTo>
                        <a:pt x="906" y="1050"/>
                      </a:lnTo>
                      <a:lnTo>
                        <a:pt x="906" y="1051"/>
                      </a:lnTo>
                      <a:lnTo>
                        <a:pt x="908" y="1051"/>
                      </a:lnTo>
                      <a:lnTo>
                        <a:pt x="906" y="1051"/>
                      </a:lnTo>
                      <a:lnTo>
                        <a:pt x="906" y="1050"/>
                      </a:lnTo>
                      <a:lnTo>
                        <a:pt x="906" y="1051"/>
                      </a:lnTo>
                      <a:lnTo>
                        <a:pt x="906" y="1050"/>
                      </a:lnTo>
                      <a:lnTo>
                        <a:pt x="908" y="1050"/>
                      </a:lnTo>
                      <a:lnTo>
                        <a:pt x="906" y="1050"/>
                      </a:lnTo>
                      <a:lnTo>
                        <a:pt x="906" y="1048"/>
                      </a:lnTo>
                      <a:lnTo>
                        <a:pt x="906" y="1050"/>
                      </a:lnTo>
                      <a:lnTo>
                        <a:pt x="906" y="1048"/>
                      </a:lnTo>
                      <a:lnTo>
                        <a:pt x="906" y="1047"/>
                      </a:lnTo>
                      <a:lnTo>
                        <a:pt x="908" y="1047"/>
                      </a:lnTo>
                      <a:lnTo>
                        <a:pt x="908" y="1046"/>
                      </a:lnTo>
                      <a:lnTo>
                        <a:pt x="909" y="1046"/>
                      </a:lnTo>
                      <a:lnTo>
                        <a:pt x="910" y="1046"/>
                      </a:lnTo>
                      <a:lnTo>
                        <a:pt x="911" y="1046"/>
                      </a:lnTo>
                      <a:lnTo>
                        <a:pt x="911" y="1045"/>
                      </a:lnTo>
                      <a:lnTo>
                        <a:pt x="911" y="1046"/>
                      </a:lnTo>
                      <a:lnTo>
                        <a:pt x="911" y="1045"/>
                      </a:lnTo>
                      <a:lnTo>
                        <a:pt x="912" y="1046"/>
                      </a:lnTo>
                      <a:lnTo>
                        <a:pt x="912" y="1045"/>
                      </a:lnTo>
                      <a:lnTo>
                        <a:pt x="913" y="1045"/>
                      </a:lnTo>
                      <a:lnTo>
                        <a:pt x="914" y="1045"/>
                      </a:lnTo>
                      <a:lnTo>
                        <a:pt x="914" y="1044"/>
                      </a:lnTo>
                      <a:lnTo>
                        <a:pt x="915" y="1044"/>
                      </a:lnTo>
                      <a:lnTo>
                        <a:pt x="916" y="1044"/>
                      </a:lnTo>
                      <a:lnTo>
                        <a:pt x="915" y="1043"/>
                      </a:lnTo>
                      <a:lnTo>
                        <a:pt x="916" y="1043"/>
                      </a:lnTo>
                      <a:lnTo>
                        <a:pt x="916" y="1044"/>
                      </a:lnTo>
                      <a:lnTo>
                        <a:pt x="916" y="1043"/>
                      </a:lnTo>
                      <a:lnTo>
                        <a:pt x="917" y="1043"/>
                      </a:lnTo>
                      <a:lnTo>
                        <a:pt x="917" y="1042"/>
                      </a:lnTo>
                      <a:lnTo>
                        <a:pt x="918" y="1042"/>
                      </a:lnTo>
                      <a:lnTo>
                        <a:pt x="918" y="1041"/>
                      </a:lnTo>
                      <a:lnTo>
                        <a:pt x="919" y="1041"/>
                      </a:lnTo>
                      <a:lnTo>
                        <a:pt x="921" y="1041"/>
                      </a:lnTo>
                      <a:lnTo>
                        <a:pt x="921" y="1040"/>
                      </a:lnTo>
                      <a:lnTo>
                        <a:pt x="922" y="1040"/>
                      </a:lnTo>
                      <a:lnTo>
                        <a:pt x="922" y="1039"/>
                      </a:lnTo>
                      <a:lnTo>
                        <a:pt x="923" y="1039"/>
                      </a:lnTo>
                      <a:lnTo>
                        <a:pt x="924" y="1038"/>
                      </a:lnTo>
                      <a:lnTo>
                        <a:pt x="924" y="1037"/>
                      </a:lnTo>
                      <a:lnTo>
                        <a:pt x="925" y="1037"/>
                      </a:lnTo>
                      <a:lnTo>
                        <a:pt x="925" y="1038"/>
                      </a:lnTo>
                      <a:lnTo>
                        <a:pt x="925" y="1037"/>
                      </a:lnTo>
                      <a:lnTo>
                        <a:pt x="928" y="1035"/>
                      </a:lnTo>
                      <a:lnTo>
                        <a:pt x="929" y="1037"/>
                      </a:lnTo>
                      <a:lnTo>
                        <a:pt x="930" y="1035"/>
                      </a:lnTo>
                      <a:lnTo>
                        <a:pt x="929" y="1035"/>
                      </a:lnTo>
                      <a:lnTo>
                        <a:pt x="930" y="1033"/>
                      </a:lnTo>
                      <a:lnTo>
                        <a:pt x="931" y="1033"/>
                      </a:lnTo>
                      <a:lnTo>
                        <a:pt x="931" y="1032"/>
                      </a:lnTo>
                      <a:lnTo>
                        <a:pt x="931" y="1033"/>
                      </a:lnTo>
                      <a:lnTo>
                        <a:pt x="931" y="1032"/>
                      </a:lnTo>
                      <a:lnTo>
                        <a:pt x="932" y="1031"/>
                      </a:lnTo>
                      <a:lnTo>
                        <a:pt x="932" y="1030"/>
                      </a:lnTo>
                      <a:lnTo>
                        <a:pt x="934" y="1030"/>
                      </a:lnTo>
                      <a:lnTo>
                        <a:pt x="932" y="1030"/>
                      </a:lnTo>
                      <a:lnTo>
                        <a:pt x="934" y="1030"/>
                      </a:lnTo>
                      <a:lnTo>
                        <a:pt x="935" y="1029"/>
                      </a:lnTo>
                      <a:lnTo>
                        <a:pt x="936" y="1029"/>
                      </a:lnTo>
                      <a:lnTo>
                        <a:pt x="935" y="1029"/>
                      </a:lnTo>
                      <a:lnTo>
                        <a:pt x="936" y="1029"/>
                      </a:lnTo>
                      <a:lnTo>
                        <a:pt x="936" y="1030"/>
                      </a:lnTo>
                      <a:lnTo>
                        <a:pt x="936" y="1031"/>
                      </a:lnTo>
                      <a:lnTo>
                        <a:pt x="936" y="1030"/>
                      </a:lnTo>
                      <a:lnTo>
                        <a:pt x="937" y="1030"/>
                      </a:lnTo>
                      <a:lnTo>
                        <a:pt x="936" y="1031"/>
                      </a:lnTo>
                      <a:lnTo>
                        <a:pt x="937" y="1030"/>
                      </a:lnTo>
                      <a:lnTo>
                        <a:pt x="936" y="1030"/>
                      </a:lnTo>
                      <a:lnTo>
                        <a:pt x="936" y="1029"/>
                      </a:lnTo>
                      <a:lnTo>
                        <a:pt x="937" y="1029"/>
                      </a:lnTo>
                      <a:lnTo>
                        <a:pt x="936" y="1029"/>
                      </a:lnTo>
                      <a:lnTo>
                        <a:pt x="936" y="1028"/>
                      </a:lnTo>
                      <a:lnTo>
                        <a:pt x="936" y="1027"/>
                      </a:lnTo>
                      <a:lnTo>
                        <a:pt x="937" y="1027"/>
                      </a:lnTo>
                      <a:lnTo>
                        <a:pt x="938" y="1027"/>
                      </a:lnTo>
                      <a:lnTo>
                        <a:pt x="938" y="1028"/>
                      </a:lnTo>
                      <a:lnTo>
                        <a:pt x="939" y="1027"/>
                      </a:lnTo>
                      <a:lnTo>
                        <a:pt x="940" y="1028"/>
                      </a:lnTo>
                      <a:lnTo>
                        <a:pt x="940" y="1027"/>
                      </a:lnTo>
                      <a:lnTo>
                        <a:pt x="940" y="1026"/>
                      </a:lnTo>
                      <a:lnTo>
                        <a:pt x="939" y="1026"/>
                      </a:lnTo>
                      <a:lnTo>
                        <a:pt x="938" y="1026"/>
                      </a:lnTo>
                      <a:lnTo>
                        <a:pt x="937" y="1026"/>
                      </a:lnTo>
                      <a:lnTo>
                        <a:pt x="937" y="1025"/>
                      </a:lnTo>
                      <a:lnTo>
                        <a:pt x="938" y="1025"/>
                      </a:lnTo>
                      <a:lnTo>
                        <a:pt x="939" y="1025"/>
                      </a:lnTo>
                      <a:close/>
                      <a:moveTo>
                        <a:pt x="874" y="880"/>
                      </a:moveTo>
                      <a:lnTo>
                        <a:pt x="875" y="881"/>
                      </a:lnTo>
                      <a:lnTo>
                        <a:pt x="876" y="881"/>
                      </a:lnTo>
                      <a:lnTo>
                        <a:pt x="876" y="883"/>
                      </a:lnTo>
                      <a:lnTo>
                        <a:pt x="876" y="881"/>
                      </a:lnTo>
                      <a:lnTo>
                        <a:pt x="877" y="881"/>
                      </a:lnTo>
                      <a:lnTo>
                        <a:pt x="878" y="883"/>
                      </a:lnTo>
                      <a:lnTo>
                        <a:pt x="879" y="883"/>
                      </a:lnTo>
                      <a:lnTo>
                        <a:pt x="880" y="883"/>
                      </a:lnTo>
                      <a:lnTo>
                        <a:pt x="880" y="881"/>
                      </a:lnTo>
                      <a:lnTo>
                        <a:pt x="882" y="881"/>
                      </a:lnTo>
                      <a:lnTo>
                        <a:pt x="883" y="881"/>
                      </a:lnTo>
                      <a:lnTo>
                        <a:pt x="884" y="881"/>
                      </a:lnTo>
                      <a:lnTo>
                        <a:pt x="885" y="881"/>
                      </a:lnTo>
                      <a:lnTo>
                        <a:pt x="886" y="881"/>
                      </a:lnTo>
                      <a:lnTo>
                        <a:pt x="887" y="880"/>
                      </a:lnTo>
                      <a:lnTo>
                        <a:pt x="887" y="881"/>
                      </a:lnTo>
                      <a:lnTo>
                        <a:pt x="888" y="881"/>
                      </a:lnTo>
                      <a:lnTo>
                        <a:pt x="888" y="883"/>
                      </a:lnTo>
                      <a:lnTo>
                        <a:pt x="889" y="883"/>
                      </a:lnTo>
                      <a:lnTo>
                        <a:pt x="890" y="883"/>
                      </a:lnTo>
                      <a:lnTo>
                        <a:pt x="890" y="884"/>
                      </a:lnTo>
                      <a:lnTo>
                        <a:pt x="892" y="885"/>
                      </a:lnTo>
                      <a:lnTo>
                        <a:pt x="893" y="885"/>
                      </a:lnTo>
                      <a:lnTo>
                        <a:pt x="895" y="884"/>
                      </a:lnTo>
                      <a:lnTo>
                        <a:pt x="893" y="884"/>
                      </a:lnTo>
                      <a:lnTo>
                        <a:pt x="895" y="884"/>
                      </a:lnTo>
                      <a:lnTo>
                        <a:pt x="895" y="883"/>
                      </a:lnTo>
                      <a:lnTo>
                        <a:pt x="896" y="883"/>
                      </a:lnTo>
                      <a:lnTo>
                        <a:pt x="896" y="884"/>
                      </a:lnTo>
                      <a:lnTo>
                        <a:pt x="895" y="884"/>
                      </a:lnTo>
                      <a:lnTo>
                        <a:pt x="896" y="884"/>
                      </a:lnTo>
                      <a:lnTo>
                        <a:pt x="896" y="885"/>
                      </a:lnTo>
                      <a:lnTo>
                        <a:pt x="896" y="886"/>
                      </a:lnTo>
                      <a:lnTo>
                        <a:pt x="896" y="887"/>
                      </a:lnTo>
                      <a:lnTo>
                        <a:pt x="895" y="887"/>
                      </a:lnTo>
                      <a:lnTo>
                        <a:pt x="896" y="887"/>
                      </a:lnTo>
                      <a:lnTo>
                        <a:pt x="896" y="888"/>
                      </a:lnTo>
                      <a:lnTo>
                        <a:pt x="897" y="888"/>
                      </a:lnTo>
                      <a:lnTo>
                        <a:pt x="898" y="889"/>
                      </a:lnTo>
                      <a:lnTo>
                        <a:pt x="899" y="889"/>
                      </a:lnTo>
                      <a:lnTo>
                        <a:pt x="899" y="890"/>
                      </a:lnTo>
                      <a:lnTo>
                        <a:pt x="900" y="890"/>
                      </a:lnTo>
                      <a:lnTo>
                        <a:pt x="900" y="891"/>
                      </a:lnTo>
                      <a:lnTo>
                        <a:pt x="900" y="892"/>
                      </a:lnTo>
                      <a:lnTo>
                        <a:pt x="901" y="893"/>
                      </a:lnTo>
                      <a:lnTo>
                        <a:pt x="901" y="894"/>
                      </a:lnTo>
                      <a:lnTo>
                        <a:pt x="901" y="896"/>
                      </a:lnTo>
                      <a:lnTo>
                        <a:pt x="902" y="896"/>
                      </a:lnTo>
                      <a:lnTo>
                        <a:pt x="902" y="897"/>
                      </a:lnTo>
                      <a:lnTo>
                        <a:pt x="902" y="898"/>
                      </a:lnTo>
                      <a:lnTo>
                        <a:pt x="903" y="898"/>
                      </a:lnTo>
                      <a:lnTo>
                        <a:pt x="904" y="898"/>
                      </a:lnTo>
                      <a:lnTo>
                        <a:pt x="904" y="897"/>
                      </a:lnTo>
                      <a:lnTo>
                        <a:pt x="904" y="896"/>
                      </a:lnTo>
                      <a:lnTo>
                        <a:pt x="903" y="894"/>
                      </a:lnTo>
                      <a:lnTo>
                        <a:pt x="905" y="894"/>
                      </a:lnTo>
                      <a:lnTo>
                        <a:pt x="906" y="894"/>
                      </a:lnTo>
                      <a:lnTo>
                        <a:pt x="908" y="893"/>
                      </a:lnTo>
                      <a:lnTo>
                        <a:pt x="909" y="892"/>
                      </a:lnTo>
                      <a:lnTo>
                        <a:pt x="910" y="892"/>
                      </a:lnTo>
                      <a:lnTo>
                        <a:pt x="910" y="891"/>
                      </a:lnTo>
                      <a:lnTo>
                        <a:pt x="910" y="890"/>
                      </a:lnTo>
                      <a:lnTo>
                        <a:pt x="911" y="891"/>
                      </a:lnTo>
                      <a:lnTo>
                        <a:pt x="911" y="892"/>
                      </a:lnTo>
                      <a:lnTo>
                        <a:pt x="910" y="893"/>
                      </a:lnTo>
                      <a:lnTo>
                        <a:pt x="910" y="894"/>
                      </a:lnTo>
                      <a:lnTo>
                        <a:pt x="909" y="896"/>
                      </a:lnTo>
                      <a:lnTo>
                        <a:pt x="908" y="897"/>
                      </a:lnTo>
                      <a:lnTo>
                        <a:pt x="908" y="898"/>
                      </a:lnTo>
                      <a:lnTo>
                        <a:pt x="908" y="899"/>
                      </a:lnTo>
                      <a:lnTo>
                        <a:pt x="909" y="899"/>
                      </a:lnTo>
                      <a:lnTo>
                        <a:pt x="909" y="900"/>
                      </a:lnTo>
                      <a:lnTo>
                        <a:pt x="909" y="901"/>
                      </a:lnTo>
                      <a:lnTo>
                        <a:pt x="910" y="903"/>
                      </a:lnTo>
                      <a:lnTo>
                        <a:pt x="909" y="903"/>
                      </a:lnTo>
                      <a:lnTo>
                        <a:pt x="909" y="904"/>
                      </a:lnTo>
                      <a:lnTo>
                        <a:pt x="910" y="904"/>
                      </a:lnTo>
                      <a:lnTo>
                        <a:pt x="910" y="905"/>
                      </a:lnTo>
                      <a:lnTo>
                        <a:pt x="911" y="906"/>
                      </a:lnTo>
                      <a:lnTo>
                        <a:pt x="912" y="906"/>
                      </a:lnTo>
                      <a:lnTo>
                        <a:pt x="912" y="905"/>
                      </a:lnTo>
                      <a:lnTo>
                        <a:pt x="912" y="904"/>
                      </a:lnTo>
                      <a:lnTo>
                        <a:pt x="911" y="904"/>
                      </a:lnTo>
                      <a:lnTo>
                        <a:pt x="911" y="903"/>
                      </a:lnTo>
                      <a:lnTo>
                        <a:pt x="912" y="902"/>
                      </a:lnTo>
                      <a:lnTo>
                        <a:pt x="911" y="900"/>
                      </a:lnTo>
                      <a:lnTo>
                        <a:pt x="911" y="899"/>
                      </a:lnTo>
                      <a:lnTo>
                        <a:pt x="910" y="898"/>
                      </a:lnTo>
                      <a:lnTo>
                        <a:pt x="909" y="897"/>
                      </a:lnTo>
                      <a:lnTo>
                        <a:pt x="910" y="897"/>
                      </a:lnTo>
                      <a:lnTo>
                        <a:pt x="911" y="897"/>
                      </a:lnTo>
                      <a:lnTo>
                        <a:pt x="911" y="894"/>
                      </a:lnTo>
                      <a:lnTo>
                        <a:pt x="911" y="896"/>
                      </a:lnTo>
                      <a:lnTo>
                        <a:pt x="911" y="897"/>
                      </a:lnTo>
                      <a:lnTo>
                        <a:pt x="911" y="898"/>
                      </a:lnTo>
                      <a:lnTo>
                        <a:pt x="912" y="901"/>
                      </a:lnTo>
                      <a:lnTo>
                        <a:pt x="912" y="902"/>
                      </a:lnTo>
                      <a:lnTo>
                        <a:pt x="912" y="903"/>
                      </a:lnTo>
                      <a:lnTo>
                        <a:pt x="913" y="904"/>
                      </a:lnTo>
                      <a:lnTo>
                        <a:pt x="913" y="905"/>
                      </a:lnTo>
                      <a:lnTo>
                        <a:pt x="913" y="906"/>
                      </a:lnTo>
                      <a:lnTo>
                        <a:pt x="913" y="909"/>
                      </a:lnTo>
                      <a:lnTo>
                        <a:pt x="913" y="910"/>
                      </a:lnTo>
                      <a:lnTo>
                        <a:pt x="913" y="911"/>
                      </a:lnTo>
                      <a:lnTo>
                        <a:pt x="913" y="912"/>
                      </a:lnTo>
                      <a:lnTo>
                        <a:pt x="914" y="914"/>
                      </a:lnTo>
                      <a:lnTo>
                        <a:pt x="914" y="915"/>
                      </a:lnTo>
                      <a:lnTo>
                        <a:pt x="914" y="916"/>
                      </a:lnTo>
                      <a:lnTo>
                        <a:pt x="913" y="916"/>
                      </a:lnTo>
                      <a:lnTo>
                        <a:pt x="913" y="915"/>
                      </a:lnTo>
                      <a:lnTo>
                        <a:pt x="912" y="915"/>
                      </a:lnTo>
                      <a:lnTo>
                        <a:pt x="912" y="916"/>
                      </a:lnTo>
                      <a:lnTo>
                        <a:pt x="911" y="916"/>
                      </a:lnTo>
                      <a:lnTo>
                        <a:pt x="911" y="917"/>
                      </a:lnTo>
                      <a:lnTo>
                        <a:pt x="911" y="918"/>
                      </a:lnTo>
                      <a:lnTo>
                        <a:pt x="910" y="919"/>
                      </a:lnTo>
                      <a:lnTo>
                        <a:pt x="910" y="918"/>
                      </a:lnTo>
                      <a:lnTo>
                        <a:pt x="909" y="918"/>
                      </a:lnTo>
                      <a:lnTo>
                        <a:pt x="909" y="917"/>
                      </a:lnTo>
                      <a:lnTo>
                        <a:pt x="909" y="916"/>
                      </a:lnTo>
                      <a:lnTo>
                        <a:pt x="910" y="916"/>
                      </a:lnTo>
                      <a:lnTo>
                        <a:pt x="911" y="916"/>
                      </a:lnTo>
                      <a:lnTo>
                        <a:pt x="911" y="915"/>
                      </a:lnTo>
                      <a:lnTo>
                        <a:pt x="912" y="915"/>
                      </a:lnTo>
                      <a:lnTo>
                        <a:pt x="912" y="914"/>
                      </a:lnTo>
                      <a:lnTo>
                        <a:pt x="912" y="915"/>
                      </a:lnTo>
                      <a:lnTo>
                        <a:pt x="911" y="915"/>
                      </a:lnTo>
                      <a:lnTo>
                        <a:pt x="911" y="914"/>
                      </a:lnTo>
                      <a:lnTo>
                        <a:pt x="911" y="915"/>
                      </a:lnTo>
                      <a:lnTo>
                        <a:pt x="910" y="915"/>
                      </a:lnTo>
                      <a:lnTo>
                        <a:pt x="910" y="914"/>
                      </a:lnTo>
                      <a:lnTo>
                        <a:pt x="910" y="913"/>
                      </a:lnTo>
                      <a:lnTo>
                        <a:pt x="911" y="913"/>
                      </a:lnTo>
                      <a:lnTo>
                        <a:pt x="912" y="913"/>
                      </a:lnTo>
                      <a:lnTo>
                        <a:pt x="913" y="913"/>
                      </a:lnTo>
                      <a:lnTo>
                        <a:pt x="913" y="912"/>
                      </a:lnTo>
                      <a:lnTo>
                        <a:pt x="913" y="910"/>
                      </a:lnTo>
                      <a:lnTo>
                        <a:pt x="912" y="909"/>
                      </a:lnTo>
                      <a:lnTo>
                        <a:pt x="912" y="907"/>
                      </a:lnTo>
                      <a:lnTo>
                        <a:pt x="911" y="907"/>
                      </a:lnTo>
                      <a:lnTo>
                        <a:pt x="910" y="909"/>
                      </a:lnTo>
                      <a:lnTo>
                        <a:pt x="910" y="910"/>
                      </a:lnTo>
                      <a:lnTo>
                        <a:pt x="909" y="910"/>
                      </a:lnTo>
                      <a:lnTo>
                        <a:pt x="909" y="911"/>
                      </a:lnTo>
                      <a:lnTo>
                        <a:pt x="910" y="911"/>
                      </a:lnTo>
                      <a:lnTo>
                        <a:pt x="910" y="912"/>
                      </a:lnTo>
                      <a:lnTo>
                        <a:pt x="909" y="912"/>
                      </a:lnTo>
                      <a:lnTo>
                        <a:pt x="908" y="912"/>
                      </a:lnTo>
                      <a:lnTo>
                        <a:pt x="908" y="911"/>
                      </a:lnTo>
                      <a:lnTo>
                        <a:pt x="908" y="910"/>
                      </a:lnTo>
                      <a:lnTo>
                        <a:pt x="908" y="909"/>
                      </a:lnTo>
                      <a:lnTo>
                        <a:pt x="908" y="910"/>
                      </a:lnTo>
                      <a:lnTo>
                        <a:pt x="908" y="911"/>
                      </a:lnTo>
                      <a:lnTo>
                        <a:pt x="906" y="910"/>
                      </a:lnTo>
                      <a:lnTo>
                        <a:pt x="906" y="911"/>
                      </a:lnTo>
                      <a:lnTo>
                        <a:pt x="906" y="910"/>
                      </a:lnTo>
                      <a:lnTo>
                        <a:pt x="905" y="910"/>
                      </a:lnTo>
                      <a:lnTo>
                        <a:pt x="905" y="909"/>
                      </a:lnTo>
                      <a:lnTo>
                        <a:pt x="906" y="909"/>
                      </a:lnTo>
                      <a:lnTo>
                        <a:pt x="906" y="910"/>
                      </a:lnTo>
                      <a:lnTo>
                        <a:pt x="906" y="909"/>
                      </a:lnTo>
                      <a:lnTo>
                        <a:pt x="908" y="909"/>
                      </a:lnTo>
                      <a:lnTo>
                        <a:pt x="909" y="907"/>
                      </a:lnTo>
                      <a:lnTo>
                        <a:pt x="909" y="909"/>
                      </a:lnTo>
                      <a:lnTo>
                        <a:pt x="910" y="909"/>
                      </a:lnTo>
                      <a:lnTo>
                        <a:pt x="909" y="909"/>
                      </a:lnTo>
                      <a:lnTo>
                        <a:pt x="910" y="907"/>
                      </a:lnTo>
                      <a:lnTo>
                        <a:pt x="911" y="907"/>
                      </a:lnTo>
                      <a:lnTo>
                        <a:pt x="910" y="907"/>
                      </a:lnTo>
                      <a:lnTo>
                        <a:pt x="910" y="906"/>
                      </a:lnTo>
                      <a:lnTo>
                        <a:pt x="910" y="907"/>
                      </a:lnTo>
                      <a:lnTo>
                        <a:pt x="909" y="907"/>
                      </a:lnTo>
                      <a:lnTo>
                        <a:pt x="909" y="906"/>
                      </a:lnTo>
                      <a:lnTo>
                        <a:pt x="908" y="906"/>
                      </a:lnTo>
                      <a:lnTo>
                        <a:pt x="909" y="906"/>
                      </a:lnTo>
                      <a:lnTo>
                        <a:pt x="910" y="906"/>
                      </a:lnTo>
                      <a:lnTo>
                        <a:pt x="910" y="905"/>
                      </a:lnTo>
                      <a:lnTo>
                        <a:pt x="909" y="905"/>
                      </a:lnTo>
                      <a:lnTo>
                        <a:pt x="908" y="905"/>
                      </a:lnTo>
                      <a:lnTo>
                        <a:pt x="906" y="905"/>
                      </a:lnTo>
                      <a:lnTo>
                        <a:pt x="908" y="905"/>
                      </a:lnTo>
                      <a:lnTo>
                        <a:pt x="908" y="904"/>
                      </a:lnTo>
                      <a:lnTo>
                        <a:pt x="909" y="904"/>
                      </a:lnTo>
                      <a:lnTo>
                        <a:pt x="909" y="905"/>
                      </a:lnTo>
                      <a:lnTo>
                        <a:pt x="909" y="904"/>
                      </a:lnTo>
                      <a:lnTo>
                        <a:pt x="909" y="903"/>
                      </a:lnTo>
                      <a:lnTo>
                        <a:pt x="909" y="902"/>
                      </a:lnTo>
                      <a:lnTo>
                        <a:pt x="908" y="902"/>
                      </a:lnTo>
                      <a:lnTo>
                        <a:pt x="909" y="902"/>
                      </a:lnTo>
                      <a:lnTo>
                        <a:pt x="909" y="903"/>
                      </a:lnTo>
                      <a:lnTo>
                        <a:pt x="908" y="903"/>
                      </a:lnTo>
                      <a:lnTo>
                        <a:pt x="906" y="904"/>
                      </a:lnTo>
                      <a:lnTo>
                        <a:pt x="905" y="904"/>
                      </a:lnTo>
                      <a:lnTo>
                        <a:pt x="905" y="903"/>
                      </a:lnTo>
                      <a:lnTo>
                        <a:pt x="906" y="903"/>
                      </a:lnTo>
                      <a:lnTo>
                        <a:pt x="908" y="903"/>
                      </a:lnTo>
                      <a:lnTo>
                        <a:pt x="906" y="902"/>
                      </a:lnTo>
                      <a:lnTo>
                        <a:pt x="906" y="903"/>
                      </a:lnTo>
                      <a:lnTo>
                        <a:pt x="905" y="902"/>
                      </a:lnTo>
                      <a:lnTo>
                        <a:pt x="904" y="902"/>
                      </a:lnTo>
                      <a:lnTo>
                        <a:pt x="904" y="901"/>
                      </a:lnTo>
                      <a:lnTo>
                        <a:pt x="904" y="902"/>
                      </a:lnTo>
                      <a:lnTo>
                        <a:pt x="903" y="902"/>
                      </a:lnTo>
                      <a:lnTo>
                        <a:pt x="902" y="902"/>
                      </a:lnTo>
                      <a:lnTo>
                        <a:pt x="903" y="903"/>
                      </a:lnTo>
                      <a:lnTo>
                        <a:pt x="902" y="903"/>
                      </a:lnTo>
                      <a:lnTo>
                        <a:pt x="902" y="904"/>
                      </a:lnTo>
                      <a:lnTo>
                        <a:pt x="902" y="903"/>
                      </a:lnTo>
                      <a:lnTo>
                        <a:pt x="901" y="903"/>
                      </a:lnTo>
                      <a:lnTo>
                        <a:pt x="900" y="902"/>
                      </a:lnTo>
                      <a:lnTo>
                        <a:pt x="900" y="903"/>
                      </a:lnTo>
                      <a:lnTo>
                        <a:pt x="899" y="903"/>
                      </a:lnTo>
                      <a:lnTo>
                        <a:pt x="899" y="902"/>
                      </a:lnTo>
                      <a:lnTo>
                        <a:pt x="898" y="902"/>
                      </a:lnTo>
                      <a:lnTo>
                        <a:pt x="898" y="903"/>
                      </a:lnTo>
                      <a:lnTo>
                        <a:pt x="897" y="903"/>
                      </a:lnTo>
                      <a:lnTo>
                        <a:pt x="897" y="902"/>
                      </a:lnTo>
                      <a:lnTo>
                        <a:pt x="898" y="902"/>
                      </a:lnTo>
                      <a:lnTo>
                        <a:pt x="899" y="902"/>
                      </a:lnTo>
                      <a:lnTo>
                        <a:pt x="900" y="902"/>
                      </a:lnTo>
                      <a:lnTo>
                        <a:pt x="900" y="901"/>
                      </a:lnTo>
                      <a:lnTo>
                        <a:pt x="900" y="902"/>
                      </a:lnTo>
                      <a:lnTo>
                        <a:pt x="901" y="902"/>
                      </a:lnTo>
                      <a:lnTo>
                        <a:pt x="901" y="901"/>
                      </a:lnTo>
                      <a:lnTo>
                        <a:pt x="900" y="901"/>
                      </a:lnTo>
                      <a:lnTo>
                        <a:pt x="900" y="900"/>
                      </a:lnTo>
                      <a:lnTo>
                        <a:pt x="900" y="901"/>
                      </a:lnTo>
                      <a:lnTo>
                        <a:pt x="900" y="900"/>
                      </a:lnTo>
                      <a:lnTo>
                        <a:pt x="900" y="899"/>
                      </a:lnTo>
                      <a:lnTo>
                        <a:pt x="898" y="897"/>
                      </a:lnTo>
                      <a:lnTo>
                        <a:pt x="898" y="896"/>
                      </a:lnTo>
                      <a:lnTo>
                        <a:pt x="898" y="894"/>
                      </a:lnTo>
                      <a:lnTo>
                        <a:pt x="898" y="893"/>
                      </a:lnTo>
                      <a:lnTo>
                        <a:pt x="898" y="892"/>
                      </a:lnTo>
                      <a:lnTo>
                        <a:pt x="897" y="892"/>
                      </a:lnTo>
                      <a:lnTo>
                        <a:pt x="896" y="890"/>
                      </a:lnTo>
                      <a:lnTo>
                        <a:pt x="893" y="889"/>
                      </a:lnTo>
                      <a:lnTo>
                        <a:pt x="892" y="888"/>
                      </a:lnTo>
                      <a:lnTo>
                        <a:pt x="891" y="888"/>
                      </a:lnTo>
                      <a:lnTo>
                        <a:pt x="890" y="888"/>
                      </a:lnTo>
                      <a:lnTo>
                        <a:pt x="889" y="887"/>
                      </a:lnTo>
                      <a:lnTo>
                        <a:pt x="888" y="887"/>
                      </a:lnTo>
                      <a:lnTo>
                        <a:pt x="888" y="888"/>
                      </a:lnTo>
                      <a:lnTo>
                        <a:pt x="888" y="887"/>
                      </a:lnTo>
                      <a:lnTo>
                        <a:pt x="888" y="888"/>
                      </a:lnTo>
                      <a:lnTo>
                        <a:pt x="887" y="888"/>
                      </a:lnTo>
                      <a:lnTo>
                        <a:pt x="887" y="887"/>
                      </a:lnTo>
                      <a:lnTo>
                        <a:pt x="886" y="887"/>
                      </a:lnTo>
                      <a:lnTo>
                        <a:pt x="887" y="887"/>
                      </a:lnTo>
                      <a:lnTo>
                        <a:pt x="887" y="888"/>
                      </a:lnTo>
                      <a:lnTo>
                        <a:pt x="887" y="887"/>
                      </a:lnTo>
                      <a:lnTo>
                        <a:pt x="886" y="887"/>
                      </a:lnTo>
                      <a:lnTo>
                        <a:pt x="885" y="887"/>
                      </a:lnTo>
                      <a:lnTo>
                        <a:pt x="884" y="887"/>
                      </a:lnTo>
                      <a:lnTo>
                        <a:pt x="883" y="887"/>
                      </a:lnTo>
                      <a:lnTo>
                        <a:pt x="883" y="888"/>
                      </a:lnTo>
                      <a:lnTo>
                        <a:pt x="882" y="888"/>
                      </a:lnTo>
                      <a:lnTo>
                        <a:pt x="882" y="889"/>
                      </a:lnTo>
                      <a:lnTo>
                        <a:pt x="880" y="889"/>
                      </a:lnTo>
                      <a:lnTo>
                        <a:pt x="879" y="889"/>
                      </a:lnTo>
                      <a:lnTo>
                        <a:pt x="878" y="889"/>
                      </a:lnTo>
                      <a:lnTo>
                        <a:pt x="877" y="889"/>
                      </a:lnTo>
                      <a:lnTo>
                        <a:pt x="876" y="889"/>
                      </a:lnTo>
                      <a:lnTo>
                        <a:pt x="875" y="889"/>
                      </a:lnTo>
                      <a:lnTo>
                        <a:pt x="875" y="888"/>
                      </a:lnTo>
                      <a:lnTo>
                        <a:pt x="875" y="887"/>
                      </a:lnTo>
                      <a:lnTo>
                        <a:pt x="874" y="887"/>
                      </a:lnTo>
                      <a:lnTo>
                        <a:pt x="874" y="886"/>
                      </a:lnTo>
                      <a:lnTo>
                        <a:pt x="873" y="886"/>
                      </a:lnTo>
                      <a:lnTo>
                        <a:pt x="872" y="886"/>
                      </a:lnTo>
                      <a:lnTo>
                        <a:pt x="872" y="885"/>
                      </a:lnTo>
                      <a:lnTo>
                        <a:pt x="872" y="884"/>
                      </a:lnTo>
                      <a:lnTo>
                        <a:pt x="872" y="885"/>
                      </a:lnTo>
                      <a:lnTo>
                        <a:pt x="871" y="885"/>
                      </a:lnTo>
                      <a:lnTo>
                        <a:pt x="871" y="884"/>
                      </a:lnTo>
                      <a:lnTo>
                        <a:pt x="871" y="883"/>
                      </a:lnTo>
                      <a:lnTo>
                        <a:pt x="871" y="881"/>
                      </a:lnTo>
                      <a:lnTo>
                        <a:pt x="872" y="881"/>
                      </a:lnTo>
                      <a:lnTo>
                        <a:pt x="873" y="881"/>
                      </a:lnTo>
                      <a:lnTo>
                        <a:pt x="872" y="881"/>
                      </a:lnTo>
                      <a:lnTo>
                        <a:pt x="873" y="881"/>
                      </a:lnTo>
                      <a:lnTo>
                        <a:pt x="873" y="880"/>
                      </a:lnTo>
                      <a:lnTo>
                        <a:pt x="874" y="880"/>
                      </a:lnTo>
                      <a:close/>
                      <a:moveTo>
                        <a:pt x="825" y="754"/>
                      </a:moveTo>
                      <a:lnTo>
                        <a:pt x="825" y="755"/>
                      </a:lnTo>
                      <a:lnTo>
                        <a:pt x="826" y="755"/>
                      </a:lnTo>
                      <a:lnTo>
                        <a:pt x="827" y="755"/>
                      </a:lnTo>
                      <a:lnTo>
                        <a:pt x="828" y="756"/>
                      </a:lnTo>
                      <a:lnTo>
                        <a:pt x="828" y="757"/>
                      </a:lnTo>
                      <a:lnTo>
                        <a:pt x="829" y="757"/>
                      </a:lnTo>
                      <a:lnTo>
                        <a:pt x="829" y="758"/>
                      </a:lnTo>
                      <a:lnTo>
                        <a:pt x="831" y="758"/>
                      </a:lnTo>
                      <a:lnTo>
                        <a:pt x="831" y="759"/>
                      </a:lnTo>
                      <a:lnTo>
                        <a:pt x="829" y="759"/>
                      </a:lnTo>
                      <a:lnTo>
                        <a:pt x="829" y="760"/>
                      </a:lnTo>
                      <a:lnTo>
                        <a:pt x="829" y="761"/>
                      </a:lnTo>
                      <a:lnTo>
                        <a:pt x="829" y="762"/>
                      </a:lnTo>
                      <a:lnTo>
                        <a:pt x="828" y="762"/>
                      </a:lnTo>
                      <a:lnTo>
                        <a:pt x="828" y="763"/>
                      </a:lnTo>
                      <a:lnTo>
                        <a:pt x="828" y="764"/>
                      </a:lnTo>
                      <a:lnTo>
                        <a:pt x="828" y="765"/>
                      </a:lnTo>
                      <a:lnTo>
                        <a:pt x="829" y="767"/>
                      </a:lnTo>
                      <a:lnTo>
                        <a:pt x="829" y="768"/>
                      </a:lnTo>
                      <a:lnTo>
                        <a:pt x="828" y="769"/>
                      </a:lnTo>
                      <a:lnTo>
                        <a:pt x="827" y="769"/>
                      </a:lnTo>
                      <a:lnTo>
                        <a:pt x="827" y="770"/>
                      </a:lnTo>
                      <a:lnTo>
                        <a:pt x="827" y="771"/>
                      </a:lnTo>
                      <a:lnTo>
                        <a:pt x="826" y="772"/>
                      </a:lnTo>
                      <a:lnTo>
                        <a:pt x="826" y="771"/>
                      </a:lnTo>
                      <a:lnTo>
                        <a:pt x="825" y="771"/>
                      </a:lnTo>
                      <a:lnTo>
                        <a:pt x="825" y="772"/>
                      </a:lnTo>
                      <a:lnTo>
                        <a:pt x="824" y="772"/>
                      </a:lnTo>
                      <a:lnTo>
                        <a:pt x="823" y="773"/>
                      </a:lnTo>
                      <a:lnTo>
                        <a:pt x="822" y="774"/>
                      </a:lnTo>
                      <a:lnTo>
                        <a:pt x="822" y="776"/>
                      </a:lnTo>
                      <a:lnTo>
                        <a:pt x="823" y="776"/>
                      </a:lnTo>
                      <a:lnTo>
                        <a:pt x="823" y="777"/>
                      </a:lnTo>
                      <a:lnTo>
                        <a:pt x="822" y="778"/>
                      </a:lnTo>
                      <a:lnTo>
                        <a:pt x="822" y="780"/>
                      </a:lnTo>
                      <a:lnTo>
                        <a:pt x="822" y="781"/>
                      </a:lnTo>
                      <a:lnTo>
                        <a:pt x="823" y="783"/>
                      </a:lnTo>
                      <a:lnTo>
                        <a:pt x="824" y="785"/>
                      </a:lnTo>
                      <a:lnTo>
                        <a:pt x="825" y="785"/>
                      </a:lnTo>
                      <a:lnTo>
                        <a:pt x="825" y="786"/>
                      </a:lnTo>
                      <a:lnTo>
                        <a:pt x="826" y="786"/>
                      </a:lnTo>
                      <a:lnTo>
                        <a:pt x="826" y="785"/>
                      </a:lnTo>
                      <a:lnTo>
                        <a:pt x="826" y="784"/>
                      </a:lnTo>
                      <a:lnTo>
                        <a:pt x="827" y="784"/>
                      </a:lnTo>
                      <a:lnTo>
                        <a:pt x="828" y="784"/>
                      </a:lnTo>
                      <a:lnTo>
                        <a:pt x="828" y="785"/>
                      </a:lnTo>
                      <a:lnTo>
                        <a:pt x="828" y="786"/>
                      </a:lnTo>
                      <a:lnTo>
                        <a:pt x="828" y="787"/>
                      </a:lnTo>
                      <a:lnTo>
                        <a:pt x="828" y="788"/>
                      </a:lnTo>
                      <a:lnTo>
                        <a:pt x="828" y="789"/>
                      </a:lnTo>
                      <a:lnTo>
                        <a:pt x="826" y="790"/>
                      </a:lnTo>
                      <a:lnTo>
                        <a:pt x="825" y="791"/>
                      </a:lnTo>
                      <a:lnTo>
                        <a:pt x="825" y="793"/>
                      </a:lnTo>
                      <a:lnTo>
                        <a:pt x="824" y="794"/>
                      </a:lnTo>
                      <a:lnTo>
                        <a:pt x="824" y="795"/>
                      </a:lnTo>
                      <a:lnTo>
                        <a:pt x="824" y="796"/>
                      </a:lnTo>
                      <a:lnTo>
                        <a:pt x="824" y="797"/>
                      </a:lnTo>
                      <a:lnTo>
                        <a:pt x="823" y="800"/>
                      </a:lnTo>
                      <a:lnTo>
                        <a:pt x="822" y="802"/>
                      </a:lnTo>
                      <a:lnTo>
                        <a:pt x="821" y="802"/>
                      </a:lnTo>
                      <a:lnTo>
                        <a:pt x="821" y="801"/>
                      </a:lnTo>
                      <a:lnTo>
                        <a:pt x="822" y="798"/>
                      </a:lnTo>
                      <a:lnTo>
                        <a:pt x="823" y="797"/>
                      </a:lnTo>
                      <a:lnTo>
                        <a:pt x="823" y="796"/>
                      </a:lnTo>
                      <a:lnTo>
                        <a:pt x="823" y="795"/>
                      </a:lnTo>
                      <a:lnTo>
                        <a:pt x="823" y="794"/>
                      </a:lnTo>
                      <a:lnTo>
                        <a:pt x="822" y="794"/>
                      </a:lnTo>
                      <a:lnTo>
                        <a:pt x="822" y="793"/>
                      </a:lnTo>
                      <a:lnTo>
                        <a:pt x="821" y="793"/>
                      </a:lnTo>
                      <a:lnTo>
                        <a:pt x="821" y="791"/>
                      </a:lnTo>
                      <a:lnTo>
                        <a:pt x="821" y="790"/>
                      </a:lnTo>
                      <a:lnTo>
                        <a:pt x="821" y="789"/>
                      </a:lnTo>
                      <a:lnTo>
                        <a:pt x="822" y="788"/>
                      </a:lnTo>
                      <a:lnTo>
                        <a:pt x="822" y="787"/>
                      </a:lnTo>
                      <a:lnTo>
                        <a:pt x="822" y="786"/>
                      </a:lnTo>
                      <a:lnTo>
                        <a:pt x="821" y="786"/>
                      </a:lnTo>
                      <a:lnTo>
                        <a:pt x="821" y="785"/>
                      </a:lnTo>
                      <a:lnTo>
                        <a:pt x="820" y="785"/>
                      </a:lnTo>
                      <a:lnTo>
                        <a:pt x="819" y="785"/>
                      </a:lnTo>
                      <a:lnTo>
                        <a:pt x="819" y="784"/>
                      </a:lnTo>
                      <a:lnTo>
                        <a:pt x="820" y="783"/>
                      </a:lnTo>
                      <a:lnTo>
                        <a:pt x="819" y="782"/>
                      </a:lnTo>
                      <a:lnTo>
                        <a:pt x="818" y="781"/>
                      </a:lnTo>
                      <a:lnTo>
                        <a:pt x="818" y="780"/>
                      </a:lnTo>
                      <a:lnTo>
                        <a:pt x="819" y="778"/>
                      </a:lnTo>
                      <a:lnTo>
                        <a:pt x="819" y="777"/>
                      </a:lnTo>
                      <a:lnTo>
                        <a:pt x="819" y="776"/>
                      </a:lnTo>
                      <a:lnTo>
                        <a:pt x="819" y="775"/>
                      </a:lnTo>
                      <a:lnTo>
                        <a:pt x="819" y="773"/>
                      </a:lnTo>
                      <a:lnTo>
                        <a:pt x="820" y="773"/>
                      </a:lnTo>
                      <a:lnTo>
                        <a:pt x="820" y="772"/>
                      </a:lnTo>
                      <a:lnTo>
                        <a:pt x="819" y="771"/>
                      </a:lnTo>
                      <a:lnTo>
                        <a:pt x="819" y="770"/>
                      </a:lnTo>
                      <a:lnTo>
                        <a:pt x="819" y="769"/>
                      </a:lnTo>
                      <a:lnTo>
                        <a:pt x="820" y="767"/>
                      </a:lnTo>
                      <a:lnTo>
                        <a:pt x="821" y="765"/>
                      </a:lnTo>
                      <a:lnTo>
                        <a:pt x="821" y="764"/>
                      </a:lnTo>
                      <a:lnTo>
                        <a:pt x="820" y="763"/>
                      </a:lnTo>
                      <a:lnTo>
                        <a:pt x="820" y="762"/>
                      </a:lnTo>
                      <a:lnTo>
                        <a:pt x="820" y="761"/>
                      </a:lnTo>
                      <a:lnTo>
                        <a:pt x="820" y="760"/>
                      </a:lnTo>
                      <a:lnTo>
                        <a:pt x="820" y="759"/>
                      </a:lnTo>
                      <a:lnTo>
                        <a:pt x="820" y="758"/>
                      </a:lnTo>
                      <a:lnTo>
                        <a:pt x="820" y="757"/>
                      </a:lnTo>
                      <a:lnTo>
                        <a:pt x="821" y="757"/>
                      </a:lnTo>
                      <a:lnTo>
                        <a:pt x="821" y="756"/>
                      </a:lnTo>
                      <a:lnTo>
                        <a:pt x="821" y="755"/>
                      </a:lnTo>
                      <a:lnTo>
                        <a:pt x="821" y="754"/>
                      </a:lnTo>
                      <a:lnTo>
                        <a:pt x="822" y="754"/>
                      </a:lnTo>
                      <a:lnTo>
                        <a:pt x="823" y="754"/>
                      </a:lnTo>
                      <a:lnTo>
                        <a:pt x="824" y="754"/>
                      </a:lnTo>
                      <a:lnTo>
                        <a:pt x="825" y="754"/>
                      </a:lnTo>
                      <a:close/>
                      <a:moveTo>
                        <a:pt x="879" y="867"/>
                      </a:moveTo>
                      <a:lnTo>
                        <a:pt x="879" y="868"/>
                      </a:lnTo>
                      <a:lnTo>
                        <a:pt x="880" y="867"/>
                      </a:lnTo>
                      <a:lnTo>
                        <a:pt x="880" y="868"/>
                      </a:lnTo>
                      <a:lnTo>
                        <a:pt x="882" y="868"/>
                      </a:lnTo>
                      <a:lnTo>
                        <a:pt x="883" y="870"/>
                      </a:lnTo>
                      <a:lnTo>
                        <a:pt x="884" y="871"/>
                      </a:lnTo>
                      <a:lnTo>
                        <a:pt x="885" y="871"/>
                      </a:lnTo>
                      <a:lnTo>
                        <a:pt x="885" y="872"/>
                      </a:lnTo>
                      <a:lnTo>
                        <a:pt x="886" y="872"/>
                      </a:lnTo>
                      <a:lnTo>
                        <a:pt x="886" y="873"/>
                      </a:lnTo>
                      <a:lnTo>
                        <a:pt x="888" y="873"/>
                      </a:lnTo>
                      <a:lnTo>
                        <a:pt x="889" y="873"/>
                      </a:lnTo>
                      <a:lnTo>
                        <a:pt x="890" y="872"/>
                      </a:lnTo>
                      <a:lnTo>
                        <a:pt x="891" y="872"/>
                      </a:lnTo>
                      <a:lnTo>
                        <a:pt x="891" y="871"/>
                      </a:lnTo>
                      <a:lnTo>
                        <a:pt x="892" y="871"/>
                      </a:lnTo>
                      <a:lnTo>
                        <a:pt x="893" y="871"/>
                      </a:lnTo>
                      <a:lnTo>
                        <a:pt x="893" y="872"/>
                      </a:lnTo>
                      <a:lnTo>
                        <a:pt x="895" y="872"/>
                      </a:lnTo>
                      <a:lnTo>
                        <a:pt x="896" y="872"/>
                      </a:lnTo>
                      <a:lnTo>
                        <a:pt x="897" y="872"/>
                      </a:lnTo>
                      <a:lnTo>
                        <a:pt x="898" y="872"/>
                      </a:lnTo>
                      <a:lnTo>
                        <a:pt x="898" y="873"/>
                      </a:lnTo>
                      <a:lnTo>
                        <a:pt x="899" y="873"/>
                      </a:lnTo>
                      <a:lnTo>
                        <a:pt x="899" y="874"/>
                      </a:lnTo>
                      <a:lnTo>
                        <a:pt x="899" y="875"/>
                      </a:lnTo>
                      <a:lnTo>
                        <a:pt x="900" y="876"/>
                      </a:lnTo>
                      <a:lnTo>
                        <a:pt x="900" y="877"/>
                      </a:lnTo>
                      <a:lnTo>
                        <a:pt x="901" y="877"/>
                      </a:lnTo>
                      <a:lnTo>
                        <a:pt x="901" y="878"/>
                      </a:lnTo>
                      <a:lnTo>
                        <a:pt x="900" y="877"/>
                      </a:lnTo>
                      <a:lnTo>
                        <a:pt x="900" y="878"/>
                      </a:lnTo>
                      <a:lnTo>
                        <a:pt x="899" y="878"/>
                      </a:lnTo>
                      <a:lnTo>
                        <a:pt x="899" y="877"/>
                      </a:lnTo>
                      <a:lnTo>
                        <a:pt x="898" y="877"/>
                      </a:lnTo>
                      <a:lnTo>
                        <a:pt x="898" y="878"/>
                      </a:lnTo>
                      <a:lnTo>
                        <a:pt x="899" y="878"/>
                      </a:lnTo>
                      <a:lnTo>
                        <a:pt x="898" y="878"/>
                      </a:lnTo>
                      <a:lnTo>
                        <a:pt x="898" y="879"/>
                      </a:lnTo>
                      <a:lnTo>
                        <a:pt x="899" y="879"/>
                      </a:lnTo>
                      <a:lnTo>
                        <a:pt x="900" y="879"/>
                      </a:lnTo>
                      <a:lnTo>
                        <a:pt x="900" y="880"/>
                      </a:lnTo>
                      <a:lnTo>
                        <a:pt x="899" y="880"/>
                      </a:lnTo>
                      <a:lnTo>
                        <a:pt x="898" y="880"/>
                      </a:lnTo>
                      <a:lnTo>
                        <a:pt x="897" y="880"/>
                      </a:lnTo>
                      <a:lnTo>
                        <a:pt x="896" y="879"/>
                      </a:lnTo>
                      <a:lnTo>
                        <a:pt x="895" y="880"/>
                      </a:lnTo>
                      <a:lnTo>
                        <a:pt x="895" y="879"/>
                      </a:lnTo>
                      <a:lnTo>
                        <a:pt x="893" y="879"/>
                      </a:lnTo>
                      <a:lnTo>
                        <a:pt x="892" y="879"/>
                      </a:lnTo>
                      <a:lnTo>
                        <a:pt x="892" y="880"/>
                      </a:lnTo>
                      <a:lnTo>
                        <a:pt x="891" y="880"/>
                      </a:lnTo>
                      <a:lnTo>
                        <a:pt x="891" y="879"/>
                      </a:lnTo>
                      <a:lnTo>
                        <a:pt x="890" y="879"/>
                      </a:lnTo>
                      <a:lnTo>
                        <a:pt x="889" y="879"/>
                      </a:lnTo>
                      <a:lnTo>
                        <a:pt x="888" y="879"/>
                      </a:lnTo>
                      <a:lnTo>
                        <a:pt x="887" y="879"/>
                      </a:lnTo>
                      <a:lnTo>
                        <a:pt x="886" y="879"/>
                      </a:lnTo>
                      <a:lnTo>
                        <a:pt x="885" y="879"/>
                      </a:lnTo>
                      <a:lnTo>
                        <a:pt x="884" y="879"/>
                      </a:lnTo>
                      <a:lnTo>
                        <a:pt x="883" y="879"/>
                      </a:lnTo>
                      <a:lnTo>
                        <a:pt x="882" y="878"/>
                      </a:lnTo>
                      <a:lnTo>
                        <a:pt x="883" y="878"/>
                      </a:lnTo>
                      <a:lnTo>
                        <a:pt x="884" y="878"/>
                      </a:lnTo>
                      <a:lnTo>
                        <a:pt x="883" y="877"/>
                      </a:lnTo>
                      <a:lnTo>
                        <a:pt x="883" y="878"/>
                      </a:lnTo>
                      <a:lnTo>
                        <a:pt x="883" y="877"/>
                      </a:lnTo>
                      <a:lnTo>
                        <a:pt x="883" y="876"/>
                      </a:lnTo>
                      <a:lnTo>
                        <a:pt x="884" y="876"/>
                      </a:lnTo>
                      <a:lnTo>
                        <a:pt x="884" y="875"/>
                      </a:lnTo>
                      <a:lnTo>
                        <a:pt x="885" y="875"/>
                      </a:lnTo>
                      <a:lnTo>
                        <a:pt x="885" y="876"/>
                      </a:lnTo>
                      <a:lnTo>
                        <a:pt x="885" y="875"/>
                      </a:lnTo>
                      <a:lnTo>
                        <a:pt x="884" y="874"/>
                      </a:lnTo>
                      <a:lnTo>
                        <a:pt x="884" y="873"/>
                      </a:lnTo>
                      <a:lnTo>
                        <a:pt x="883" y="873"/>
                      </a:lnTo>
                      <a:lnTo>
                        <a:pt x="882" y="873"/>
                      </a:lnTo>
                      <a:lnTo>
                        <a:pt x="882" y="872"/>
                      </a:lnTo>
                      <a:lnTo>
                        <a:pt x="880" y="872"/>
                      </a:lnTo>
                      <a:lnTo>
                        <a:pt x="880" y="871"/>
                      </a:lnTo>
                      <a:lnTo>
                        <a:pt x="879" y="871"/>
                      </a:lnTo>
                      <a:lnTo>
                        <a:pt x="879" y="870"/>
                      </a:lnTo>
                      <a:lnTo>
                        <a:pt x="879" y="868"/>
                      </a:lnTo>
                      <a:lnTo>
                        <a:pt x="878" y="867"/>
                      </a:lnTo>
                      <a:lnTo>
                        <a:pt x="878" y="866"/>
                      </a:lnTo>
                      <a:lnTo>
                        <a:pt x="879" y="867"/>
                      </a:lnTo>
                      <a:close/>
                      <a:moveTo>
                        <a:pt x="967" y="1006"/>
                      </a:moveTo>
                      <a:lnTo>
                        <a:pt x="968" y="1006"/>
                      </a:lnTo>
                      <a:lnTo>
                        <a:pt x="968" y="1007"/>
                      </a:lnTo>
                      <a:lnTo>
                        <a:pt x="967" y="1008"/>
                      </a:lnTo>
                      <a:lnTo>
                        <a:pt x="966" y="1009"/>
                      </a:lnTo>
                      <a:lnTo>
                        <a:pt x="965" y="1011"/>
                      </a:lnTo>
                      <a:lnTo>
                        <a:pt x="964" y="1011"/>
                      </a:lnTo>
                      <a:lnTo>
                        <a:pt x="963" y="1012"/>
                      </a:lnTo>
                      <a:lnTo>
                        <a:pt x="962" y="1013"/>
                      </a:lnTo>
                      <a:lnTo>
                        <a:pt x="961" y="1014"/>
                      </a:lnTo>
                      <a:lnTo>
                        <a:pt x="960" y="1014"/>
                      </a:lnTo>
                      <a:lnTo>
                        <a:pt x="956" y="1016"/>
                      </a:lnTo>
                      <a:lnTo>
                        <a:pt x="953" y="1018"/>
                      </a:lnTo>
                      <a:lnTo>
                        <a:pt x="952" y="1018"/>
                      </a:lnTo>
                      <a:lnTo>
                        <a:pt x="950" y="1019"/>
                      </a:lnTo>
                      <a:lnTo>
                        <a:pt x="949" y="1020"/>
                      </a:lnTo>
                      <a:lnTo>
                        <a:pt x="947" y="1022"/>
                      </a:lnTo>
                      <a:lnTo>
                        <a:pt x="945" y="1024"/>
                      </a:lnTo>
                      <a:lnTo>
                        <a:pt x="944" y="1024"/>
                      </a:lnTo>
                      <a:lnTo>
                        <a:pt x="943" y="1024"/>
                      </a:lnTo>
                      <a:lnTo>
                        <a:pt x="943" y="1022"/>
                      </a:lnTo>
                      <a:lnTo>
                        <a:pt x="942" y="1022"/>
                      </a:lnTo>
                      <a:lnTo>
                        <a:pt x="942" y="1021"/>
                      </a:lnTo>
                      <a:lnTo>
                        <a:pt x="942" y="1020"/>
                      </a:lnTo>
                      <a:lnTo>
                        <a:pt x="941" y="1020"/>
                      </a:lnTo>
                      <a:lnTo>
                        <a:pt x="941" y="1019"/>
                      </a:lnTo>
                      <a:lnTo>
                        <a:pt x="942" y="1020"/>
                      </a:lnTo>
                      <a:lnTo>
                        <a:pt x="943" y="1020"/>
                      </a:lnTo>
                      <a:lnTo>
                        <a:pt x="943" y="1021"/>
                      </a:lnTo>
                      <a:lnTo>
                        <a:pt x="944" y="1020"/>
                      </a:lnTo>
                      <a:lnTo>
                        <a:pt x="944" y="1019"/>
                      </a:lnTo>
                      <a:lnTo>
                        <a:pt x="944" y="1018"/>
                      </a:lnTo>
                      <a:lnTo>
                        <a:pt x="945" y="1019"/>
                      </a:lnTo>
                      <a:lnTo>
                        <a:pt x="945" y="1021"/>
                      </a:lnTo>
                      <a:lnTo>
                        <a:pt x="945" y="1020"/>
                      </a:lnTo>
                      <a:lnTo>
                        <a:pt x="945" y="1019"/>
                      </a:lnTo>
                      <a:lnTo>
                        <a:pt x="945" y="1020"/>
                      </a:lnTo>
                      <a:lnTo>
                        <a:pt x="945" y="1019"/>
                      </a:lnTo>
                      <a:lnTo>
                        <a:pt x="945" y="1018"/>
                      </a:lnTo>
                      <a:lnTo>
                        <a:pt x="944" y="1017"/>
                      </a:lnTo>
                      <a:lnTo>
                        <a:pt x="945" y="1018"/>
                      </a:lnTo>
                      <a:lnTo>
                        <a:pt x="947" y="1018"/>
                      </a:lnTo>
                      <a:lnTo>
                        <a:pt x="948" y="1017"/>
                      </a:lnTo>
                      <a:lnTo>
                        <a:pt x="949" y="1017"/>
                      </a:lnTo>
                      <a:lnTo>
                        <a:pt x="948" y="1017"/>
                      </a:lnTo>
                      <a:lnTo>
                        <a:pt x="949" y="1016"/>
                      </a:lnTo>
                      <a:lnTo>
                        <a:pt x="950" y="1016"/>
                      </a:lnTo>
                      <a:lnTo>
                        <a:pt x="951" y="1016"/>
                      </a:lnTo>
                      <a:lnTo>
                        <a:pt x="952" y="1016"/>
                      </a:lnTo>
                      <a:lnTo>
                        <a:pt x="952" y="1015"/>
                      </a:lnTo>
                      <a:lnTo>
                        <a:pt x="953" y="1015"/>
                      </a:lnTo>
                      <a:lnTo>
                        <a:pt x="954" y="1015"/>
                      </a:lnTo>
                      <a:lnTo>
                        <a:pt x="954" y="1014"/>
                      </a:lnTo>
                      <a:lnTo>
                        <a:pt x="955" y="1014"/>
                      </a:lnTo>
                      <a:lnTo>
                        <a:pt x="954" y="1014"/>
                      </a:lnTo>
                      <a:lnTo>
                        <a:pt x="953" y="1015"/>
                      </a:lnTo>
                      <a:lnTo>
                        <a:pt x="952" y="1015"/>
                      </a:lnTo>
                      <a:lnTo>
                        <a:pt x="950" y="1016"/>
                      </a:lnTo>
                      <a:lnTo>
                        <a:pt x="949" y="1016"/>
                      </a:lnTo>
                      <a:lnTo>
                        <a:pt x="948" y="1016"/>
                      </a:lnTo>
                      <a:lnTo>
                        <a:pt x="949" y="1016"/>
                      </a:lnTo>
                      <a:lnTo>
                        <a:pt x="949" y="1015"/>
                      </a:lnTo>
                      <a:lnTo>
                        <a:pt x="950" y="1015"/>
                      </a:lnTo>
                      <a:lnTo>
                        <a:pt x="950" y="1014"/>
                      </a:lnTo>
                      <a:lnTo>
                        <a:pt x="950" y="1013"/>
                      </a:lnTo>
                      <a:lnTo>
                        <a:pt x="951" y="1013"/>
                      </a:lnTo>
                      <a:lnTo>
                        <a:pt x="952" y="1013"/>
                      </a:lnTo>
                      <a:lnTo>
                        <a:pt x="953" y="1013"/>
                      </a:lnTo>
                      <a:lnTo>
                        <a:pt x="954" y="1013"/>
                      </a:lnTo>
                      <a:lnTo>
                        <a:pt x="955" y="1013"/>
                      </a:lnTo>
                      <a:lnTo>
                        <a:pt x="955" y="1012"/>
                      </a:lnTo>
                      <a:lnTo>
                        <a:pt x="956" y="1012"/>
                      </a:lnTo>
                      <a:lnTo>
                        <a:pt x="957" y="1011"/>
                      </a:lnTo>
                      <a:lnTo>
                        <a:pt x="958" y="1011"/>
                      </a:lnTo>
                      <a:lnTo>
                        <a:pt x="960" y="1009"/>
                      </a:lnTo>
                      <a:lnTo>
                        <a:pt x="961" y="1009"/>
                      </a:lnTo>
                      <a:lnTo>
                        <a:pt x="962" y="1008"/>
                      </a:lnTo>
                      <a:lnTo>
                        <a:pt x="965" y="1007"/>
                      </a:lnTo>
                      <a:lnTo>
                        <a:pt x="965" y="1006"/>
                      </a:lnTo>
                      <a:lnTo>
                        <a:pt x="966" y="1006"/>
                      </a:lnTo>
                      <a:lnTo>
                        <a:pt x="967" y="1006"/>
                      </a:lnTo>
                      <a:close/>
                      <a:moveTo>
                        <a:pt x="906" y="958"/>
                      </a:moveTo>
                      <a:lnTo>
                        <a:pt x="906" y="960"/>
                      </a:lnTo>
                      <a:lnTo>
                        <a:pt x="905" y="960"/>
                      </a:lnTo>
                      <a:lnTo>
                        <a:pt x="904" y="961"/>
                      </a:lnTo>
                      <a:lnTo>
                        <a:pt x="904" y="962"/>
                      </a:lnTo>
                      <a:lnTo>
                        <a:pt x="904" y="964"/>
                      </a:lnTo>
                      <a:lnTo>
                        <a:pt x="904" y="965"/>
                      </a:lnTo>
                      <a:lnTo>
                        <a:pt x="905" y="967"/>
                      </a:lnTo>
                      <a:lnTo>
                        <a:pt x="906" y="968"/>
                      </a:lnTo>
                      <a:lnTo>
                        <a:pt x="908" y="968"/>
                      </a:lnTo>
                      <a:lnTo>
                        <a:pt x="909" y="969"/>
                      </a:lnTo>
                      <a:lnTo>
                        <a:pt x="910" y="969"/>
                      </a:lnTo>
                      <a:lnTo>
                        <a:pt x="909" y="969"/>
                      </a:lnTo>
                      <a:lnTo>
                        <a:pt x="910" y="969"/>
                      </a:lnTo>
                      <a:lnTo>
                        <a:pt x="911" y="969"/>
                      </a:lnTo>
                      <a:lnTo>
                        <a:pt x="911" y="970"/>
                      </a:lnTo>
                      <a:lnTo>
                        <a:pt x="910" y="970"/>
                      </a:lnTo>
                      <a:lnTo>
                        <a:pt x="911" y="971"/>
                      </a:lnTo>
                      <a:lnTo>
                        <a:pt x="911" y="970"/>
                      </a:lnTo>
                      <a:lnTo>
                        <a:pt x="911" y="971"/>
                      </a:lnTo>
                      <a:lnTo>
                        <a:pt x="911" y="970"/>
                      </a:lnTo>
                      <a:lnTo>
                        <a:pt x="912" y="970"/>
                      </a:lnTo>
                      <a:lnTo>
                        <a:pt x="912" y="969"/>
                      </a:lnTo>
                      <a:lnTo>
                        <a:pt x="913" y="969"/>
                      </a:lnTo>
                      <a:lnTo>
                        <a:pt x="914" y="969"/>
                      </a:lnTo>
                      <a:lnTo>
                        <a:pt x="914" y="968"/>
                      </a:lnTo>
                      <a:lnTo>
                        <a:pt x="915" y="968"/>
                      </a:lnTo>
                      <a:lnTo>
                        <a:pt x="915" y="967"/>
                      </a:lnTo>
                      <a:lnTo>
                        <a:pt x="916" y="967"/>
                      </a:lnTo>
                      <a:lnTo>
                        <a:pt x="910" y="971"/>
                      </a:lnTo>
                      <a:lnTo>
                        <a:pt x="909" y="973"/>
                      </a:lnTo>
                      <a:lnTo>
                        <a:pt x="908" y="973"/>
                      </a:lnTo>
                      <a:lnTo>
                        <a:pt x="906" y="974"/>
                      </a:lnTo>
                      <a:lnTo>
                        <a:pt x="905" y="974"/>
                      </a:lnTo>
                      <a:lnTo>
                        <a:pt x="905" y="973"/>
                      </a:lnTo>
                      <a:lnTo>
                        <a:pt x="904" y="973"/>
                      </a:lnTo>
                      <a:lnTo>
                        <a:pt x="904" y="971"/>
                      </a:lnTo>
                      <a:lnTo>
                        <a:pt x="903" y="971"/>
                      </a:lnTo>
                      <a:lnTo>
                        <a:pt x="903" y="970"/>
                      </a:lnTo>
                      <a:lnTo>
                        <a:pt x="903" y="969"/>
                      </a:lnTo>
                      <a:lnTo>
                        <a:pt x="902" y="969"/>
                      </a:lnTo>
                      <a:lnTo>
                        <a:pt x="902" y="968"/>
                      </a:lnTo>
                      <a:lnTo>
                        <a:pt x="903" y="968"/>
                      </a:lnTo>
                      <a:lnTo>
                        <a:pt x="903" y="969"/>
                      </a:lnTo>
                      <a:lnTo>
                        <a:pt x="904" y="969"/>
                      </a:lnTo>
                      <a:lnTo>
                        <a:pt x="904" y="968"/>
                      </a:lnTo>
                      <a:lnTo>
                        <a:pt x="904" y="967"/>
                      </a:lnTo>
                      <a:lnTo>
                        <a:pt x="904" y="966"/>
                      </a:lnTo>
                      <a:lnTo>
                        <a:pt x="904" y="967"/>
                      </a:lnTo>
                      <a:lnTo>
                        <a:pt x="904" y="966"/>
                      </a:lnTo>
                      <a:lnTo>
                        <a:pt x="904" y="965"/>
                      </a:lnTo>
                      <a:lnTo>
                        <a:pt x="903" y="964"/>
                      </a:lnTo>
                      <a:lnTo>
                        <a:pt x="903" y="963"/>
                      </a:lnTo>
                      <a:lnTo>
                        <a:pt x="903" y="962"/>
                      </a:lnTo>
                      <a:lnTo>
                        <a:pt x="903" y="961"/>
                      </a:lnTo>
                      <a:lnTo>
                        <a:pt x="904" y="961"/>
                      </a:lnTo>
                      <a:lnTo>
                        <a:pt x="904" y="960"/>
                      </a:lnTo>
                      <a:lnTo>
                        <a:pt x="904" y="958"/>
                      </a:lnTo>
                      <a:lnTo>
                        <a:pt x="905" y="958"/>
                      </a:lnTo>
                      <a:lnTo>
                        <a:pt x="905" y="957"/>
                      </a:lnTo>
                      <a:lnTo>
                        <a:pt x="905" y="956"/>
                      </a:lnTo>
                      <a:lnTo>
                        <a:pt x="906" y="955"/>
                      </a:lnTo>
                      <a:lnTo>
                        <a:pt x="908" y="955"/>
                      </a:lnTo>
                      <a:lnTo>
                        <a:pt x="906" y="955"/>
                      </a:lnTo>
                      <a:lnTo>
                        <a:pt x="905" y="956"/>
                      </a:lnTo>
                      <a:lnTo>
                        <a:pt x="905" y="957"/>
                      </a:lnTo>
                      <a:lnTo>
                        <a:pt x="905" y="958"/>
                      </a:lnTo>
                      <a:lnTo>
                        <a:pt x="906" y="958"/>
                      </a:lnTo>
                      <a:close/>
                      <a:moveTo>
                        <a:pt x="929" y="1029"/>
                      </a:moveTo>
                      <a:lnTo>
                        <a:pt x="930" y="1029"/>
                      </a:lnTo>
                      <a:lnTo>
                        <a:pt x="931" y="1029"/>
                      </a:lnTo>
                      <a:lnTo>
                        <a:pt x="931" y="1030"/>
                      </a:lnTo>
                      <a:lnTo>
                        <a:pt x="932" y="1030"/>
                      </a:lnTo>
                      <a:lnTo>
                        <a:pt x="931" y="1030"/>
                      </a:lnTo>
                      <a:lnTo>
                        <a:pt x="931" y="1031"/>
                      </a:lnTo>
                      <a:lnTo>
                        <a:pt x="930" y="1032"/>
                      </a:lnTo>
                      <a:lnTo>
                        <a:pt x="929" y="1033"/>
                      </a:lnTo>
                      <a:lnTo>
                        <a:pt x="928" y="1034"/>
                      </a:lnTo>
                      <a:lnTo>
                        <a:pt x="927" y="1034"/>
                      </a:lnTo>
                      <a:lnTo>
                        <a:pt x="925" y="1034"/>
                      </a:lnTo>
                      <a:lnTo>
                        <a:pt x="924" y="1034"/>
                      </a:lnTo>
                      <a:lnTo>
                        <a:pt x="924" y="1035"/>
                      </a:lnTo>
                      <a:lnTo>
                        <a:pt x="923" y="1035"/>
                      </a:lnTo>
                      <a:lnTo>
                        <a:pt x="922" y="1037"/>
                      </a:lnTo>
                      <a:lnTo>
                        <a:pt x="921" y="1037"/>
                      </a:lnTo>
                      <a:lnTo>
                        <a:pt x="922" y="1035"/>
                      </a:lnTo>
                      <a:lnTo>
                        <a:pt x="922" y="1034"/>
                      </a:lnTo>
                      <a:lnTo>
                        <a:pt x="921" y="1034"/>
                      </a:lnTo>
                      <a:lnTo>
                        <a:pt x="921" y="1033"/>
                      </a:lnTo>
                      <a:lnTo>
                        <a:pt x="922" y="1033"/>
                      </a:lnTo>
                      <a:lnTo>
                        <a:pt x="921" y="1033"/>
                      </a:lnTo>
                      <a:lnTo>
                        <a:pt x="919" y="1033"/>
                      </a:lnTo>
                      <a:lnTo>
                        <a:pt x="919" y="1032"/>
                      </a:lnTo>
                      <a:lnTo>
                        <a:pt x="921" y="1032"/>
                      </a:lnTo>
                      <a:lnTo>
                        <a:pt x="921" y="1033"/>
                      </a:lnTo>
                      <a:lnTo>
                        <a:pt x="922" y="1033"/>
                      </a:lnTo>
                      <a:lnTo>
                        <a:pt x="922" y="1032"/>
                      </a:lnTo>
                      <a:lnTo>
                        <a:pt x="921" y="1032"/>
                      </a:lnTo>
                      <a:lnTo>
                        <a:pt x="922" y="1032"/>
                      </a:lnTo>
                      <a:lnTo>
                        <a:pt x="921" y="1032"/>
                      </a:lnTo>
                      <a:lnTo>
                        <a:pt x="922" y="1032"/>
                      </a:lnTo>
                      <a:lnTo>
                        <a:pt x="923" y="1032"/>
                      </a:lnTo>
                      <a:lnTo>
                        <a:pt x="924" y="1033"/>
                      </a:lnTo>
                      <a:lnTo>
                        <a:pt x="925" y="1033"/>
                      </a:lnTo>
                      <a:lnTo>
                        <a:pt x="925" y="1034"/>
                      </a:lnTo>
                      <a:lnTo>
                        <a:pt x="925" y="1033"/>
                      </a:lnTo>
                      <a:lnTo>
                        <a:pt x="926" y="1033"/>
                      </a:lnTo>
                      <a:lnTo>
                        <a:pt x="927" y="1033"/>
                      </a:lnTo>
                      <a:lnTo>
                        <a:pt x="927" y="1032"/>
                      </a:lnTo>
                      <a:lnTo>
                        <a:pt x="927" y="1031"/>
                      </a:lnTo>
                      <a:lnTo>
                        <a:pt x="927" y="1030"/>
                      </a:lnTo>
                      <a:lnTo>
                        <a:pt x="927" y="1029"/>
                      </a:lnTo>
                      <a:lnTo>
                        <a:pt x="927" y="1030"/>
                      </a:lnTo>
                      <a:lnTo>
                        <a:pt x="927" y="1031"/>
                      </a:lnTo>
                      <a:lnTo>
                        <a:pt x="928" y="1031"/>
                      </a:lnTo>
                      <a:lnTo>
                        <a:pt x="928" y="1030"/>
                      </a:lnTo>
                      <a:lnTo>
                        <a:pt x="928" y="1031"/>
                      </a:lnTo>
                      <a:lnTo>
                        <a:pt x="928" y="1030"/>
                      </a:lnTo>
                      <a:lnTo>
                        <a:pt x="928" y="1029"/>
                      </a:lnTo>
                      <a:lnTo>
                        <a:pt x="929" y="1029"/>
                      </a:lnTo>
                      <a:close/>
                      <a:moveTo>
                        <a:pt x="892" y="897"/>
                      </a:moveTo>
                      <a:lnTo>
                        <a:pt x="893" y="897"/>
                      </a:lnTo>
                      <a:lnTo>
                        <a:pt x="893" y="898"/>
                      </a:lnTo>
                      <a:lnTo>
                        <a:pt x="895" y="898"/>
                      </a:lnTo>
                      <a:lnTo>
                        <a:pt x="895" y="899"/>
                      </a:lnTo>
                      <a:lnTo>
                        <a:pt x="895" y="898"/>
                      </a:lnTo>
                      <a:lnTo>
                        <a:pt x="893" y="898"/>
                      </a:lnTo>
                      <a:lnTo>
                        <a:pt x="892" y="898"/>
                      </a:lnTo>
                      <a:lnTo>
                        <a:pt x="891" y="898"/>
                      </a:lnTo>
                      <a:lnTo>
                        <a:pt x="891" y="899"/>
                      </a:lnTo>
                      <a:lnTo>
                        <a:pt x="891" y="900"/>
                      </a:lnTo>
                      <a:lnTo>
                        <a:pt x="891" y="901"/>
                      </a:lnTo>
                      <a:lnTo>
                        <a:pt x="890" y="901"/>
                      </a:lnTo>
                      <a:lnTo>
                        <a:pt x="890" y="900"/>
                      </a:lnTo>
                      <a:lnTo>
                        <a:pt x="890" y="901"/>
                      </a:lnTo>
                      <a:lnTo>
                        <a:pt x="890" y="902"/>
                      </a:lnTo>
                      <a:lnTo>
                        <a:pt x="890" y="901"/>
                      </a:lnTo>
                      <a:lnTo>
                        <a:pt x="890" y="902"/>
                      </a:lnTo>
                      <a:lnTo>
                        <a:pt x="889" y="902"/>
                      </a:lnTo>
                      <a:lnTo>
                        <a:pt x="888" y="902"/>
                      </a:lnTo>
                      <a:lnTo>
                        <a:pt x="889" y="903"/>
                      </a:lnTo>
                      <a:lnTo>
                        <a:pt x="888" y="903"/>
                      </a:lnTo>
                      <a:lnTo>
                        <a:pt x="888" y="904"/>
                      </a:lnTo>
                      <a:lnTo>
                        <a:pt x="887" y="904"/>
                      </a:lnTo>
                      <a:lnTo>
                        <a:pt x="888" y="904"/>
                      </a:lnTo>
                      <a:lnTo>
                        <a:pt x="889" y="904"/>
                      </a:lnTo>
                      <a:lnTo>
                        <a:pt x="890" y="904"/>
                      </a:lnTo>
                      <a:lnTo>
                        <a:pt x="890" y="903"/>
                      </a:lnTo>
                      <a:lnTo>
                        <a:pt x="890" y="904"/>
                      </a:lnTo>
                      <a:lnTo>
                        <a:pt x="890" y="903"/>
                      </a:lnTo>
                      <a:lnTo>
                        <a:pt x="889" y="903"/>
                      </a:lnTo>
                      <a:lnTo>
                        <a:pt x="890" y="903"/>
                      </a:lnTo>
                      <a:lnTo>
                        <a:pt x="890" y="902"/>
                      </a:lnTo>
                      <a:lnTo>
                        <a:pt x="890" y="903"/>
                      </a:lnTo>
                      <a:lnTo>
                        <a:pt x="891" y="903"/>
                      </a:lnTo>
                      <a:lnTo>
                        <a:pt x="891" y="902"/>
                      </a:lnTo>
                      <a:lnTo>
                        <a:pt x="891" y="903"/>
                      </a:lnTo>
                      <a:lnTo>
                        <a:pt x="892" y="903"/>
                      </a:lnTo>
                      <a:lnTo>
                        <a:pt x="893" y="903"/>
                      </a:lnTo>
                      <a:lnTo>
                        <a:pt x="893" y="904"/>
                      </a:lnTo>
                      <a:lnTo>
                        <a:pt x="892" y="904"/>
                      </a:lnTo>
                      <a:lnTo>
                        <a:pt x="891" y="905"/>
                      </a:lnTo>
                      <a:lnTo>
                        <a:pt x="891" y="906"/>
                      </a:lnTo>
                      <a:lnTo>
                        <a:pt x="890" y="906"/>
                      </a:lnTo>
                      <a:lnTo>
                        <a:pt x="891" y="907"/>
                      </a:lnTo>
                      <a:lnTo>
                        <a:pt x="891" y="909"/>
                      </a:lnTo>
                      <a:lnTo>
                        <a:pt x="892" y="909"/>
                      </a:lnTo>
                      <a:lnTo>
                        <a:pt x="892" y="910"/>
                      </a:lnTo>
                      <a:lnTo>
                        <a:pt x="891" y="910"/>
                      </a:lnTo>
                      <a:lnTo>
                        <a:pt x="891" y="909"/>
                      </a:lnTo>
                      <a:lnTo>
                        <a:pt x="890" y="909"/>
                      </a:lnTo>
                      <a:lnTo>
                        <a:pt x="890" y="907"/>
                      </a:lnTo>
                      <a:lnTo>
                        <a:pt x="889" y="907"/>
                      </a:lnTo>
                      <a:lnTo>
                        <a:pt x="888" y="907"/>
                      </a:lnTo>
                      <a:lnTo>
                        <a:pt x="887" y="906"/>
                      </a:lnTo>
                      <a:lnTo>
                        <a:pt x="887" y="905"/>
                      </a:lnTo>
                      <a:lnTo>
                        <a:pt x="887" y="904"/>
                      </a:lnTo>
                      <a:lnTo>
                        <a:pt x="887" y="903"/>
                      </a:lnTo>
                      <a:lnTo>
                        <a:pt x="887" y="902"/>
                      </a:lnTo>
                      <a:lnTo>
                        <a:pt x="888" y="902"/>
                      </a:lnTo>
                      <a:lnTo>
                        <a:pt x="888" y="901"/>
                      </a:lnTo>
                      <a:lnTo>
                        <a:pt x="889" y="901"/>
                      </a:lnTo>
                      <a:lnTo>
                        <a:pt x="889" y="900"/>
                      </a:lnTo>
                      <a:lnTo>
                        <a:pt x="890" y="900"/>
                      </a:lnTo>
                      <a:lnTo>
                        <a:pt x="890" y="899"/>
                      </a:lnTo>
                      <a:lnTo>
                        <a:pt x="890" y="898"/>
                      </a:lnTo>
                      <a:lnTo>
                        <a:pt x="889" y="898"/>
                      </a:lnTo>
                      <a:lnTo>
                        <a:pt x="890" y="898"/>
                      </a:lnTo>
                      <a:lnTo>
                        <a:pt x="889" y="898"/>
                      </a:lnTo>
                      <a:lnTo>
                        <a:pt x="889" y="897"/>
                      </a:lnTo>
                      <a:lnTo>
                        <a:pt x="890" y="897"/>
                      </a:lnTo>
                      <a:lnTo>
                        <a:pt x="891" y="897"/>
                      </a:lnTo>
                      <a:lnTo>
                        <a:pt x="891" y="898"/>
                      </a:lnTo>
                      <a:lnTo>
                        <a:pt x="892" y="897"/>
                      </a:lnTo>
                      <a:close/>
                      <a:moveTo>
                        <a:pt x="917" y="896"/>
                      </a:moveTo>
                      <a:lnTo>
                        <a:pt x="917" y="897"/>
                      </a:lnTo>
                      <a:lnTo>
                        <a:pt x="916" y="897"/>
                      </a:lnTo>
                      <a:lnTo>
                        <a:pt x="915" y="898"/>
                      </a:lnTo>
                      <a:lnTo>
                        <a:pt x="915" y="899"/>
                      </a:lnTo>
                      <a:lnTo>
                        <a:pt x="915" y="900"/>
                      </a:lnTo>
                      <a:lnTo>
                        <a:pt x="915" y="901"/>
                      </a:lnTo>
                      <a:lnTo>
                        <a:pt x="914" y="902"/>
                      </a:lnTo>
                      <a:lnTo>
                        <a:pt x="913" y="903"/>
                      </a:lnTo>
                      <a:lnTo>
                        <a:pt x="913" y="904"/>
                      </a:lnTo>
                      <a:lnTo>
                        <a:pt x="913" y="903"/>
                      </a:lnTo>
                      <a:lnTo>
                        <a:pt x="913" y="902"/>
                      </a:lnTo>
                      <a:lnTo>
                        <a:pt x="913" y="900"/>
                      </a:lnTo>
                      <a:lnTo>
                        <a:pt x="913" y="899"/>
                      </a:lnTo>
                      <a:lnTo>
                        <a:pt x="912" y="899"/>
                      </a:lnTo>
                      <a:lnTo>
                        <a:pt x="912" y="898"/>
                      </a:lnTo>
                      <a:lnTo>
                        <a:pt x="912" y="897"/>
                      </a:lnTo>
                      <a:lnTo>
                        <a:pt x="912" y="896"/>
                      </a:lnTo>
                      <a:lnTo>
                        <a:pt x="912" y="893"/>
                      </a:lnTo>
                      <a:lnTo>
                        <a:pt x="912" y="892"/>
                      </a:lnTo>
                      <a:lnTo>
                        <a:pt x="911" y="892"/>
                      </a:lnTo>
                      <a:lnTo>
                        <a:pt x="911" y="891"/>
                      </a:lnTo>
                      <a:lnTo>
                        <a:pt x="912" y="891"/>
                      </a:lnTo>
                      <a:lnTo>
                        <a:pt x="912" y="892"/>
                      </a:lnTo>
                      <a:lnTo>
                        <a:pt x="913" y="891"/>
                      </a:lnTo>
                      <a:lnTo>
                        <a:pt x="913" y="892"/>
                      </a:lnTo>
                      <a:lnTo>
                        <a:pt x="913" y="893"/>
                      </a:lnTo>
                      <a:lnTo>
                        <a:pt x="913" y="894"/>
                      </a:lnTo>
                      <a:lnTo>
                        <a:pt x="912" y="894"/>
                      </a:lnTo>
                      <a:lnTo>
                        <a:pt x="912" y="893"/>
                      </a:lnTo>
                      <a:lnTo>
                        <a:pt x="912" y="894"/>
                      </a:lnTo>
                      <a:lnTo>
                        <a:pt x="912" y="896"/>
                      </a:lnTo>
                      <a:lnTo>
                        <a:pt x="915" y="894"/>
                      </a:lnTo>
                      <a:lnTo>
                        <a:pt x="915" y="893"/>
                      </a:lnTo>
                      <a:lnTo>
                        <a:pt x="915" y="892"/>
                      </a:lnTo>
                      <a:lnTo>
                        <a:pt x="914" y="891"/>
                      </a:lnTo>
                      <a:lnTo>
                        <a:pt x="915" y="891"/>
                      </a:lnTo>
                      <a:lnTo>
                        <a:pt x="916" y="892"/>
                      </a:lnTo>
                      <a:lnTo>
                        <a:pt x="916" y="893"/>
                      </a:lnTo>
                      <a:lnTo>
                        <a:pt x="917" y="893"/>
                      </a:lnTo>
                      <a:lnTo>
                        <a:pt x="917" y="894"/>
                      </a:lnTo>
                      <a:lnTo>
                        <a:pt x="917" y="896"/>
                      </a:lnTo>
                      <a:close/>
                      <a:moveTo>
                        <a:pt x="916" y="917"/>
                      </a:moveTo>
                      <a:lnTo>
                        <a:pt x="916" y="918"/>
                      </a:lnTo>
                      <a:lnTo>
                        <a:pt x="917" y="918"/>
                      </a:lnTo>
                      <a:lnTo>
                        <a:pt x="918" y="918"/>
                      </a:lnTo>
                      <a:lnTo>
                        <a:pt x="918" y="919"/>
                      </a:lnTo>
                      <a:lnTo>
                        <a:pt x="919" y="919"/>
                      </a:lnTo>
                      <a:lnTo>
                        <a:pt x="921" y="919"/>
                      </a:lnTo>
                      <a:lnTo>
                        <a:pt x="921" y="918"/>
                      </a:lnTo>
                      <a:lnTo>
                        <a:pt x="921" y="919"/>
                      </a:lnTo>
                      <a:lnTo>
                        <a:pt x="922" y="919"/>
                      </a:lnTo>
                      <a:lnTo>
                        <a:pt x="923" y="919"/>
                      </a:lnTo>
                      <a:lnTo>
                        <a:pt x="922" y="919"/>
                      </a:lnTo>
                      <a:lnTo>
                        <a:pt x="922" y="921"/>
                      </a:lnTo>
                      <a:lnTo>
                        <a:pt x="921" y="921"/>
                      </a:lnTo>
                      <a:lnTo>
                        <a:pt x="921" y="922"/>
                      </a:lnTo>
                      <a:lnTo>
                        <a:pt x="921" y="923"/>
                      </a:lnTo>
                      <a:lnTo>
                        <a:pt x="919" y="923"/>
                      </a:lnTo>
                      <a:lnTo>
                        <a:pt x="919" y="924"/>
                      </a:lnTo>
                      <a:lnTo>
                        <a:pt x="918" y="925"/>
                      </a:lnTo>
                      <a:lnTo>
                        <a:pt x="918" y="926"/>
                      </a:lnTo>
                      <a:lnTo>
                        <a:pt x="918" y="927"/>
                      </a:lnTo>
                      <a:lnTo>
                        <a:pt x="918" y="928"/>
                      </a:lnTo>
                      <a:lnTo>
                        <a:pt x="917" y="928"/>
                      </a:lnTo>
                      <a:lnTo>
                        <a:pt x="917" y="929"/>
                      </a:lnTo>
                      <a:lnTo>
                        <a:pt x="917" y="928"/>
                      </a:lnTo>
                      <a:lnTo>
                        <a:pt x="916" y="928"/>
                      </a:lnTo>
                      <a:lnTo>
                        <a:pt x="916" y="927"/>
                      </a:lnTo>
                      <a:lnTo>
                        <a:pt x="916" y="926"/>
                      </a:lnTo>
                      <a:lnTo>
                        <a:pt x="916" y="925"/>
                      </a:lnTo>
                      <a:lnTo>
                        <a:pt x="916" y="924"/>
                      </a:lnTo>
                      <a:lnTo>
                        <a:pt x="916" y="923"/>
                      </a:lnTo>
                      <a:lnTo>
                        <a:pt x="916" y="922"/>
                      </a:lnTo>
                      <a:lnTo>
                        <a:pt x="916" y="921"/>
                      </a:lnTo>
                      <a:lnTo>
                        <a:pt x="916" y="919"/>
                      </a:lnTo>
                      <a:lnTo>
                        <a:pt x="915" y="918"/>
                      </a:lnTo>
                      <a:lnTo>
                        <a:pt x="915" y="917"/>
                      </a:lnTo>
                      <a:lnTo>
                        <a:pt x="916" y="917"/>
                      </a:lnTo>
                      <a:close/>
                      <a:moveTo>
                        <a:pt x="928" y="993"/>
                      </a:moveTo>
                      <a:lnTo>
                        <a:pt x="928" y="994"/>
                      </a:lnTo>
                      <a:lnTo>
                        <a:pt x="928" y="995"/>
                      </a:lnTo>
                      <a:lnTo>
                        <a:pt x="929" y="995"/>
                      </a:lnTo>
                      <a:lnTo>
                        <a:pt x="929" y="996"/>
                      </a:lnTo>
                      <a:lnTo>
                        <a:pt x="929" y="998"/>
                      </a:lnTo>
                      <a:lnTo>
                        <a:pt x="928" y="998"/>
                      </a:lnTo>
                      <a:lnTo>
                        <a:pt x="928" y="999"/>
                      </a:lnTo>
                      <a:lnTo>
                        <a:pt x="928" y="998"/>
                      </a:lnTo>
                      <a:lnTo>
                        <a:pt x="927" y="998"/>
                      </a:lnTo>
                      <a:lnTo>
                        <a:pt x="927" y="999"/>
                      </a:lnTo>
                      <a:lnTo>
                        <a:pt x="928" y="1000"/>
                      </a:lnTo>
                      <a:lnTo>
                        <a:pt x="927" y="1000"/>
                      </a:lnTo>
                      <a:lnTo>
                        <a:pt x="927" y="999"/>
                      </a:lnTo>
                      <a:lnTo>
                        <a:pt x="927" y="1000"/>
                      </a:lnTo>
                      <a:lnTo>
                        <a:pt x="926" y="1000"/>
                      </a:lnTo>
                      <a:lnTo>
                        <a:pt x="926" y="1001"/>
                      </a:lnTo>
                      <a:lnTo>
                        <a:pt x="927" y="1001"/>
                      </a:lnTo>
                      <a:lnTo>
                        <a:pt x="927" y="1000"/>
                      </a:lnTo>
                      <a:lnTo>
                        <a:pt x="928" y="1000"/>
                      </a:lnTo>
                      <a:lnTo>
                        <a:pt x="928" y="1001"/>
                      </a:lnTo>
                      <a:lnTo>
                        <a:pt x="928" y="1002"/>
                      </a:lnTo>
                      <a:lnTo>
                        <a:pt x="927" y="1002"/>
                      </a:lnTo>
                      <a:lnTo>
                        <a:pt x="927" y="1003"/>
                      </a:lnTo>
                      <a:lnTo>
                        <a:pt x="926" y="1003"/>
                      </a:lnTo>
                      <a:lnTo>
                        <a:pt x="925" y="1002"/>
                      </a:lnTo>
                      <a:lnTo>
                        <a:pt x="925" y="1003"/>
                      </a:lnTo>
                      <a:lnTo>
                        <a:pt x="925" y="1002"/>
                      </a:lnTo>
                      <a:lnTo>
                        <a:pt x="924" y="1002"/>
                      </a:lnTo>
                      <a:lnTo>
                        <a:pt x="924" y="1001"/>
                      </a:lnTo>
                      <a:lnTo>
                        <a:pt x="925" y="1001"/>
                      </a:lnTo>
                      <a:lnTo>
                        <a:pt x="924" y="1001"/>
                      </a:lnTo>
                      <a:lnTo>
                        <a:pt x="924" y="1000"/>
                      </a:lnTo>
                      <a:lnTo>
                        <a:pt x="923" y="1000"/>
                      </a:lnTo>
                      <a:lnTo>
                        <a:pt x="924" y="1000"/>
                      </a:lnTo>
                      <a:lnTo>
                        <a:pt x="924" y="999"/>
                      </a:lnTo>
                      <a:lnTo>
                        <a:pt x="924" y="998"/>
                      </a:lnTo>
                      <a:lnTo>
                        <a:pt x="924" y="999"/>
                      </a:lnTo>
                      <a:lnTo>
                        <a:pt x="925" y="999"/>
                      </a:lnTo>
                      <a:lnTo>
                        <a:pt x="926" y="998"/>
                      </a:lnTo>
                      <a:lnTo>
                        <a:pt x="926" y="999"/>
                      </a:lnTo>
                      <a:lnTo>
                        <a:pt x="925" y="999"/>
                      </a:lnTo>
                      <a:lnTo>
                        <a:pt x="926" y="999"/>
                      </a:lnTo>
                      <a:lnTo>
                        <a:pt x="926" y="998"/>
                      </a:lnTo>
                      <a:lnTo>
                        <a:pt x="926" y="996"/>
                      </a:lnTo>
                      <a:lnTo>
                        <a:pt x="925" y="996"/>
                      </a:lnTo>
                      <a:lnTo>
                        <a:pt x="926" y="996"/>
                      </a:lnTo>
                      <a:lnTo>
                        <a:pt x="926" y="995"/>
                      </a:lnTo>
                      <a:lnTo>
                        <a:pt x="925" y="995"/>
                      </a:lnTo>
                      <a:lnTo>
                        <a:pt x="925" y="994"/>
                      </a:lnTo>
                      <a:lnTo>
                        <a:pt x="926" y="995"/>
                      </a:lnTo>
                      <a:lnTo>
                        <a:pt x="926" y="994"/>
                      </a:lnTo>
                      <a:lnTo>
                        <a:pt x="926" y="995"/>
                      </a:lnTo>
                      <a:lnTo>
                        <a:pt x="926" y="996"/>
                      </a:lnTo>
                      <a:lnTo>
                        <a:pt x="926" y="995"/>
                      </a:lnTo>
                      <a:lnTo>
                        <a:pt x="926" y="994"/>
                      </a:lnTo>
                      <a:lnTo>
                        <a:pt x="927" y="994"/>
                      </a:lnTo>
                      <a:lnTo>
                        <a:pt x="926" y="1001"/>
                      </a:lnTo>
                      <a:lnTo>
                        <a:pt x="927" y="994"/>
                      </a:lnTo>
                      <a:lnTo>
                        <a:pt x="928" y="994"/>
                      </a:lnTo>
                      <a:lnTo>
                        <a:pt x="927" y="994"/>
                      </a:lnTo>
                      <a:lnTo>
                        <a:pt x="927" y="993"/>
                      </a:lnTo>
                      <a:lnTo>
                        <a:pt x="928" y="993"/>
                      </a:lnTo>
                      <a:lnTo>
                        <a:pt x="927" y="993"/>
                      </a:lnTo>
                      <a:lnTo>
                        <a:pt x="927" y="992"/>
                      </a:lnTo>
                      <a:lnTo>
                        <a:pt x="927" y="991"/>
                      </a:lnTo>
                      <a:lnTo>
                        <a:pt x="928" y="991"/>
                      </a:lnTo>
                      <a:lnTo>
                        <a:pt x="928" y="993"/>
                      </a:lnTo>
                      <a:close/>
                      <a:moveTo>
                        <a:pt x="917" y="904"/>
                      </a:moveTo>
                      <a:lnTo>
                        <a:pt x="917" y="905"/>
                      </a:lnTo>
                      <a:lnTo>
                        <a:pt x="917" y="906"/>
                      </a:lnTo>
                      <a:lnTo>
                        <a:pt x="918" y="906"/>
                      </a:lnTo>
                      <a:lnTo>
                        <a:pt x="919" y="906"/>
                      </a:lnTo>
                      <a:lnTo>
                        <a:pt x="918" y="907"/>
                      </a:lnTo>
                      <a:lnTo>
                        <a:pt x="917" y="907"/>
                      </a:lnTo>
                      <a:lnTo>
                        <a:pt x="917" y="909"/>
                      </a:lnTo>
                      <a:lnTo>
                        <a:pt x="916" y="909"/>
                      </a:lnTo>
                      <a:lnTo>
                        <a:pt x="916" y="910"/>
                      </a:lnTo>
                      <a:lnTo>
                        <a:pt x="916" y="911"/>
                      </a:lnTo>
                      <a:lnTo>
                        <a:pt x="916" y="912"/>
                      </a:lnTo>
                      <a:lnTo>
                        <a:pt x="916" y="913"/>
                      </a:lnTo>
                      <a:lnTo>
                        <a:pt x="916" y="914"/>
                      </a:lnTo>
                      <a:lnTo>
                        <a:pt x="916" y="913"/>
                      </a:lnTo>
                      <a:lnTo>
                        <a:pt x="915" y="913"/>
                      </a:lnTo>
                      <a:lnTo>
                        <a:pt x="915" y="914"/>
                      </a:lnTo>
                      <a:lnTo>
                        <a:pt x="916" y="914"/>
                      </a:lnTo>
                      <a:lnTo>
                        <a:pt x="916" y="915"/>
                      </a:lnTo>
                      <a:lnTo>
                        <a:pt x="915" y="915"/>
                      </a:lnTo>
                      <a:lnTo>
                        <a:pt x="915" y="914"/>
                      </a:lnTo>
                      <a:lnTo>
                        <a:pt x="914" y="914"/>
                      </a:lnTo>
                      <a:lnTo>
                        <a:pt x="914" y="913"/>
                      </a:lnTo>
                      <a:lnTo>
                        <a:pt x="914" y="912"/>
                      </a:lnTo>
                      <a:lnTo>
                        <a:pt x="914" y="911"/>
                      </a:lnTo>
                      <a:lnTo>
                        <a:pt x="914" y="910"/>
                      </a:lnTo>
                      <a:lnTo>
                        <a:pt x="914" y="907"/>
                      </a:lnTo>
                      <a:lnTo>
                        <a:pt x="913" y="907"/>
                      </a:lnTo>
                      <a:lnTo>
                        <a:pt x="914" y="906"/>
                      </a:lnTo>
                      <a:lnTo>
                        <a:pt x="913" y="906"/>
                      </a:lnTo>
                      <a:lnTo>
                        <a:pt x="913" y="905"/>
                      </a:lnTo>
                      <a:lnTo>
                        <a:pt x="914" y="906"/>
                      </a:lnTo>
                      <a:lnTo>
                        <a:pt x="915" y="906"/>
                      </a:lnTo>
                      <a:lnTo>
                        <a:pt x="916" y="905"/>
                      </a:lnTo>
                      <a:lnTo>
                        <a:pt x="915" y="905"/>
                      </a:lnTo>
                      <a:lnTo>
                        <a:pt x="915" y="906"/>
                      </a:lnTo>
                      <a:lnTo>
                        <a:pt x="915" y="905"/>
                      </a:lnTo>
                      <a:lnTo>
                        <a:pt x="915" y="904"/>
                      </a:lnTo>
                      <a:lnTo>
                        <a:pt x="916" y="904"/>
                      </a:lnTo>
                      <a:lnTo>
                        <a:pt x="916" y="903"/>
                      </a:lnTo>
                      <a:lnTo>
                        <a:pt x="917" y="903"/>
                      </a:lnTo>
                      <a:lnTo>
                        <a:pt x="917" y="904"/>
                      </a:lnTo>
                      <a:close/>
                      <a:moveTo>
                        <a:pt x="901" y="1039"/>
                      </a:moveTo>
                      <a:lnTo>
                        <a:pt x="902" y="1039"/>
                      </a:lnTo>
                      <a:lnTo>
                        <a:pt x="902" y="1040"/>
                      </a:lnTo>
                      <a:lnTo>
                        <a:pt x="903" y="1040"/>
                      </a:lnTo>
                      <a:lnTo>
                        <a:pt x="902" y="1040"/>
                      </a:lnTo>
                      <a:lnTo>
                        <a:pt x="903" y="1041"/>
                      </a:lnTo>
                      <a:lnTo>
                        <a:pt x="903" y="1042"/>
                      </a:lnTo>
                      <a:lnTo>
                        <a:pt x="903" y="1043"/>
                      </a:lnTo>
                      <a:lnTo>
                        <a:pt x="903" y="1044"/>
                      </a:lnTo>
                      <a:lnTo>
                        <a:pt x="904" y="1044"/>
                      </a:lnTo>
                      <a:lnTo>
                        <a:pt x="904" y="1045"/>
                      </a:lnTo>
                      <a:lnTo>
                        <a:pt x="905" y="1045"/>
                      </a:lnTo>
                      <a:lnTo>
                        <a:pt x="904" y="1045"/>
                      </a:lnTo>
                      <a:lnTo>
                        <a:pt x="903" y="1045"/>
                      </a:lnTo>
                      <a:lnTo>
                        <a:pt x="903" y="1046"/>
                      </a:lnTo>
                      <a:lnTo>
                        <a:pt x="903" y="1045"/>
                      </a:lnTo>
                      <a:lnTo>
                        <a:pt x="902" y="1045"/>
                      </a:lnTo>
                      <a:lnTo>
                        <a:pt x="903" y="1045"/>
                      </a:lnTo>
                      <a:lnTo>
                        <a:pt x="902" y="1044"/>
                      </a:lnTo>
                      <a:lnTo>
                        <a:pt x="903" y="1044"/>
                      </a:lnTo>
                      <a:lnTo>
                        <a:pt x="902" y="1044"/>
                      </a:lnTo>
                      <a:lnTo>
                        <a:pt x="901" y="1045"/>
                      </a:lnTo>
                      <a:lnTo>
                        <a:pt x="900" y="1045"/>
                      </a:lnTo>
                      <a:lnTo>
                        <a:pt x="900" y="1044"/>
                      </a:lnTo>
                      <a:lnTo>
                        <a:pt x="901" y="1044"/>
                      </a:lnTo>
                      <a:lnTo>
                        <a:pt x="900" y="1044"/>
                      </a:lnTo>
                      <a:lnTo>
                        <a:pt x="901" y="1044"/>
                      </a:lnTo>
                      <a:lnTo>
                        <a:pt x="901" y="1043"/>
                      </a:lnTo>
                      <a:lnTo>
                        <a:pt x="900" y="1043"/>
                      </a:lnTo>
                      <a:lnTo>
                        <a:pt x="900" y="1044"/>
                      </a:lnTo>
                      <a:lnTo>
                        <a:pt x="899" y="1044"/>
                      </a:lnTo>
                      <a:lnTo>
                        <a:pt x="898" y="1045"/>
                      </a:lnTo>
                      <a:lnTo>
                        <a:pt x="898" y="1046"/>
                      </a:lnTo>
                      <a:lnTo>
                        <a:pt x="897" y="1046"/>
                      </a:lnTo>
                      <a:lnTo>
                        <a:pt x="896" y="1046"/>
                      </a:lnTo>
                      <a:lnTo>
                        <a:pt x="896" y="1045"/>
                      </a:lnTo>
                      <a:lnTo>
                        <a:pt x="895" y="1045"/>
                      </a:lnTo>
                      <a:lnTo>
                        <a:pt x="896" y="1045"/>
                      </a:lnTo>
                      <a:lnTo>
                        <a:pt x="897" y="1045"/>
                      </a:lnTo>
                      <a:lnTo>
                        <a:pt x="896" y="1045"/>
                      </a:lnTo>
                      <a:lnTo>
                        <a:pt x="897" y="1045"/>
                      </a:lnTo>
                      <a:lnTo>
                        <a:pt x="897" y="1044"/>
                      </a:lnTo>
                      <a:lnTo>
                        <a:pt x="898" y="1044"/>
                      </a:lnTo>
                      <a:lnTo>
                        <a:pt x="897" y="1044"/>
                      </a:lnTo>
                      <a:lnTo>
                        <a:pt x="898" y="1043"/>
                      </a:lnTo>
                      <a:lnTo>
                        <a:pt x="897" y="1043"/>
                      </a:lnTo>
                      <a:lnTo>
                        <a:pt x="898" y="1043"/>
                      </a:lnTo>
                      <a:lnTo>
                        <a:pt x="898" y="1044"/>
                      </a:lnTo>
                      <a:lnTo>
                        <a:pt x="898" y="1043"/>
                      </a:lnTo>
                      <a:lnTo>
                        <a:pt x="899" y="1042"/>
                      </a:lnTo>
                      <a:lnTo>
                        <a:pt x="899" y="1041"/>
                      </a:lnTo>
                      <a:lnTo>
                        <a:pt x="900" y="1041"/>
                      </a:lnTo>
                      <a:lnTo>
                        <a:pt x="900" y="1040"/>
                      </a:lnTo>
                      <a:lnTo>
                        <a:pt x="901" y="1040"/>
                      </a:lnTo>
                      <a:lnTo>
                        <a:pt x="901" y="1041"/>
                      </a:lnTo>
                      <a:lnTo>
                        <a:pt x="902" y="1041"/>
                      </a:lnTo>
                      <a:lnTo>
                        <a:pt x="902" y="1040"/>
                      </a:lnTo>
                      <a:lnTo>
                        <a:pt x="902" y="1039"/>
                      </a:lnTo>
                      <a:lnTo>
                        <a:pt x="901" y="1039"/>
                      </a:lnTo>
                      <a:lnTo>
                        <a:pt x="900" y="1039"/>
                      </a:lnTo>
                      <a:lnTo>
                        <a:pt x="901" y="1039"/>
                      </a:lnTo>
                      <a:close/>
                      <a:moveTo>
                        <a:pt x="872" y="876"/>
                      </a:moveTo>
                      <a:lnTo>
                        <a:pt x="873" y="877"/>
                      </a:lnTo>
                      <a:lnTo>
                        <a:pt x="872" y="877"/>
                      </a:lnTo>
                      <a:lnTo>
                        <a:pt x="872" y="878"/>
                      </a:lnTo>
                      <a:lnTo>
                        <a:pt x="872" y="877"/>
                      </a:lnTo>
                      <a:lnTo>
                        <a:pt x="871" y="877"/>
                      </a:lnTo>
                      <a:lnTo>
                        <a:pt x="871" y="876"/>
                      </a:lnTo>
                      <a:lnTo>
                        <a:pt x="870" y="876"/>
                      </a:lnTo>
                      <a:lnTo>
                        <a:pt x="867" y="877"/>
                      </a:lnTo>
                      <a:lnTo>
                        <a:pt x="866" y="877"/>
                      </a:lnTo>
                      <a:lnTo>
                        <a:pt x="866" y="878"/>
                      </a:lnTo>
                      <a:lnTo>
                        <a:pt x="866" y="879"/>
                      </a:lnTo>
                      <a:lnTo>
                        <a:pt x="866" y="880"/>
                      </a:lnTo>
                      <a:lnTo>
                        <a:pt x="865" y="880"/>
                      </a:lnTo>
                      <a:lnTo>
                        <a:pt x="863" y="880"/>
                      </a:lnTo>
                      <a:lnTo>
                        <a:pt x="863" y="879"/>
                      </a:lnTo>
                      <a:lnTo>
                        <a:pt x="862" y="879"/>
                      </a:lnTo>
                      <a:lnTo>
                        <a:pt x="863" y="879"/>
                      </a:lnTo>
                      <a:lnTo>
                        <a:pt x="863" y="878"/>
                      </a:lnTo>
                      <a:lnTo>
                        <a:pt x="864" y="878"/>
                      </a:lnTo>
                      <a:lnTo>
                        <a:pt x="865" y="878"/>
                      </a:lnTo>
                      <a:lnTo>
                        <a:pt x="866" y="877"/>
                      </a:lnTo>
                      <a:lnTo>
                        <a:pt x="866" y="876"/>
                      </a:lnTo>
                      <a:lnTo>
                        <a:pt x="866" y="875"/>
                      </a:lnTo>
                      <a:lnTo>
                        <a:pt x="867" y="875"/>
                      </a:lnTo>
                      <a:lnTo>
                        <a:pt x="869" y="874"/>
                      </a:lnTo>
                      <a:lnTo>
                        <a:pt x="869" y="873"/>
                      </a:lnTo>
                      <a:lnTo>
                        <a:pt x="869" y="872"/>
                      </a:lnTo>
                      <a:lnTo>
                        <a:pt x="870" y="872"/>
                      </a:lnTo>
                      <a:lnTo>
                        <a:pt x="871" y="872"/>
                      </a:lnTo>
                      <a:lnTo>
                        <a:pt x="871" y="873"/>
                      </a:lnTo>
                      <a:lnTo>
                        <a:pt x="872" y="873"/>
                      </a:lnTo>
                      <a:lnTo>
                        <a:pt x="871" y="873"/>
                      </a:lnTo>
                      <a:lnTo>
                        <a:pt x="871" y="874"/>
                      </a:lnTo>
                      <a:lnTo>
                        <a:pt x="871" y="875"/>
                      </a:lnTo>
                      <a:lnTo>
                        <a:pt x="872" y="875"/>
                      </a:lnTo>
                      <a:lnTo>
                        <a:pt x="872" y="876"/>
                      </a:lnTo>
                      <a:close/>
                      <a:moveTo>
                        <a:pt x="857" y="839"/>
                      </a:moveTo>
                      <a:lnTo>
                        <a:pt x="855" y="840"/>
                      </a:lnTo>
                      <a:lnTo>
                        <a:pt x="855" y="841"/>
                      </a:lnTo>
                      <a:lnTo>
                        <a:pt x="855" y="842"/>
                      </a:lnTo>
                      <a:lnTo>
                        <a:pt x="857" y="842"/>
                      </a:lnTo>
                      <a:lnTo>
                        <a:pt x="858" y="842"/>
                      </a:lnTo>
                      <a:lnTo>
                        <a:pt x="859" y="842"/>
                      </a:lnTo>
                      <a:lnTo>
                        <a:pt x="859" y="844"/>
                      </a:lnTo>
                      <a:lnTo>
                        <a:pt x="858" y="844"/>
                      </a:lnTo>
                      <a:lnTo>
                        <a:pt x="859" y="844"/>
                      </a:lnTo>
                      <a:lnTo>
                        <a:pt x="858" y="845"/>
                      </a:lnTo>
                      <a:lnTo>
                        <a:pt x="857" y="845"/>
                      </a:lnTo>
                      <a:lnTo>
                        <a:pt x="857" y="846"/>
                      </a:lnTo>
                      <a:lnTo>
                        <a:pt x="855" y="846"/>
                      </a:lnTo>
                      <a:lnTo>
                        <a:pt x="854" y="846"/>
                      </a:lnTo>
                      <a:lnTo>
                        <a:pt x="854" y="845"/>
                      </a:lnTo>
                      <a:lnTo>
                        <a:pt x="854" y="844"/>
                      </a:lnTo>
                      <a:lnTo>
                        <a:pt x="854" y="842"/>
                      </a:lnTo>
                      <a:lnTo>
                        <a:pt x="853" y="842"/>
                      </a:lnTo>
                      <a:lnTo>
                        <a:pt x="852" y="842"/>
                      </a:lnTo>
                      <a:lnTo>
                        <a:pt x="852" y="841"/>
                      </a:lnTo>
                      <a:lnTo>
                        <a:pt x="852" y="840"/>
                      </a:lnTo>
                      <a:lnTo>
                        <a:pt x="853" y="840"/>
                      </a:lnTo>
                      <a:lnTo>
                        <a:pt x="853" y="839"/>
                      </a:lnTo>
                      <a:lnTo>
                        <a:pt x="854" y="839"/>
                      </a:lnTo>
                      <a:lnTo>
                        <a:pt x="855" y="838"/>
                      </a:lnTo>
                      <a:lnTo>
                        <a:pt x="855" y="839"/>
                      </a:lnTo>
                      <a:lnTo>
                        <a:pt x="857" y="839"/>
                      </a:lnTo>
                      <a:close/>
                      <a:moveTo>
                        <a:pt x="878" y="1072"/>
                      </a:moveTo>
                      <a:lnTo>
                        <a:pt x="878" y="1074"/>
                      </a:lnTo>
                      <a:lnTo>
                        <a:pt x="879" y="1076"/>
                      </a:lnTo>
                      <a:lnTo>
                        <a:pt x="879" y="1077"/>
                      </a:lnTo>
                      <a:lnTo>
                        <a:pt x="880" y="1077"/>
                      </a:lnTo>
                      <a:lnTo>
                        <a:pt x="880" y="1078"/>
                      </a:lnTo>
                      <a:lnTo>
                        <a:pt x="880" y="1079"/>
                      </a:lnTo>
                      <a:lnTo>
                        <a:pt x="880" y="1080"/>
                      </a:lnTo>
                      <a:lnTo>
                        <a:pt x="879" y="1081"/>
                      </a:lnTo>
                      <a:lnTo>
                        <a:pt x="878" y="1081"/>
                      </a:lnTo>
                      <a:lnTo>
                        <a:pt x="878" y="1082"/>
                      </a:lnTo>
                      <a:lnTo>
                        <a:pt x="877" y="1082"/>
                      </a:lnTo>
                      <a:lnTo>
                        <a:pt x="875" y="1084"/>
                      </a:lnTo>
                      <a:lnTo>
                        <a:pt x="874" y="1085"/>
                      </a:lnTo>
                      <a:lnTo>
                        <a:pt x="871" y="1086"/>
                      </a:lnTo>
                      <a:lnTo>
                        <a:pt x="872" y="1086"/>
                      </a:lnTo>
                      <a:lnTo>
                        <a:pt x="872" y="1085"/>
                      </a:lnTo>
                      <a:lnTo>
                        <a:pt x="873" y="1085"/>
                      </a:lnTo>
                      <a:lnTo>
                        <a:pt x="873" y="1084"/>
                      </a:lnTo>
                      <a:lnTo>
                        <a:pt x="873" y="1083"/>
                      </a:lnTo>
                      <a:lnTo>
                        <a:pt x="874" y="1083"/>
                      </a:lnTo>
                      <a:lnTo>
                        <a:pt x="874" y="1084"/>
                      </a:lnTo>
                      <a:lnTo>
                        <a:pt x="874" y="1083"/>
                      </a:lnTo>
                      <a:lnTo>
                        <a:pt x="875" y="1083"/>
                      </a:lnTo>
                      <a:lnTo>
                        <a:pt x="875" y="1082"/>
                      </a:lnTo>
                      <a:lnTo>
                        <a:pt x="876" y="1081"/>
                      </a:lnTo>
                      <a:lnTo>
                        <a:pt x="876" y="1082"/>
                      </a:lnTo>
                      <a:lnTo>
                        <a:pt x="876" y="1081"/>
                      </a:lnTo>
                      <a:lnTo>
                        <a:pt x="877" y="1081"/>
                      </a:lnTo>
                      <a:lnTo>
                        <a:pt x="877" y="1082"/>
                      </a:lnTo>
                      <a:lnTo>
                        <a:pt x="877" y="1081"/>
                      </a:lnTo>
                      <a:lnTo>
                        <a:pt x="877" y="1082"/>
                      </a:lnTo>
                      <a:lnTo>
                        <a:pt x="878" y="1081"/>
                      </a:lnTo>
                      <a:lnTo>
                        <a:pt x="879" y="1081"/>
                      </a:lnTo>
                      <a:lnTo>
                        <a:pt x="879" y="1080"/>
                      </a:lnTo>
                      <a:lnTo>
                        <a:pt x="879" y="1079"/>
                      </a:lnTo>
                      <a:lnTo>
                        <a:pt x="880" y="1079"/>
                      </a:lnTo>
                      <a:lnTo>
                        <a:pt x="880" y="1078"/>
                      </a:lnTo>
                      <a:lnTo>
                        <a:pt x="879" y="1078"/>
                      </a:lnTo>
                      <a:lnTo>
                        <a:pt x="879" y="1077"/>
                      </a:lnTo>
                      <a:lnTo>
                        <a:pt x="879" y="1076"/>
                      </a:lnTo>
                      <a:lnTo>
                        <a:pt x="878" y="1076"/>
                      </a:lnTo>
                      <a:lnTo>
                        <a:pt x="878" y="1074"/>
                      </a:lnTo>
                      <a:lnTo>
                        <a:pt x="877" y="1074"/>
                      </a:lnTo>
                      <a:lnTo>
                        <a:pt x="876" y="1074"/>
                      </a:lnTo>
                      <a:lnTo>
                        <a:pt x="876" y="1073"/>
                      </a:lnTo>
                      <a:lnTo>
                        <a:pt x="876" y="1072"/>
                      </a:lnTo>
                      <a:lnTo>
                        <a:pt x="876" y="1073"/>
                      </a:lnTo>
                      <a:lnTo>
                        <a:pt x="876" y="1072"/>
                      </a:lnTo>
                      <a:lnTo>
                        <a:pt x="877" y="1072"/>
                      </a:lnTo>
                      <a:lnTo>
                        <a:pt x="877" y="1071"/>
                      </a:lnTo>
                      <a:lnTo>
                        <a:pt x="878" y="1071"/>
                      </a:lnTo>
                      <a:lnTo>
                        <a:pt x="878" y="1072"/>
                      </a:lnTo>
                      <a:close/>
                      <a:moveTo>
                        <a:pt x="931" y="1019"/>
                      </a:moveTo>
                      <a:lnTo>
                        <a:pt x="930" y="1020"/>
                      </a:lnTo>
                      <a:lnTo>
                        <a:pt x="931" y="1020"/>
                      </a:lnTo>
                      <a:lnTo>
                        <a:pt x="931" y="1021"/>
                      </a:lnTo>
                      <a:lnTo>
                        <a:pt x="930" y="1022"/>
                      </a:lnTo>
                      <a:lnTo>
                        <a:pt x="930" y="1024"/>
                      </a:lnTo>
                      <a:lnTo>
                        <a:pt x="929" y="1024"/>
                      </a:lnTo>
                      <a:lnTo>
                        <a:pt x="929" y="1022"/>
                      </a:lnTo>
                      <a:lnTo>
                        <a:pt x="928" y="1022"/>
                      </a:lnTo>
                      <a:lnTo>
                        <a:pt x="928" y="1021"/>
                      </a:lnTo>
                      <a:lnTo>
                        <a:pt x="929" y="1021"/>
                      </a:lnTo>
                      <a:lnTo>
                        <a:pt x="929" y="1020"/>
                      </a:lnTo>
                      <a:lnTo>
                        <a:pt x="928" y="1020"/>
                      </a:lnTo>
                      <a:lnTo>
                        <a:pt x="927" y="1019"/>
                      </a:lnTo>
                      <a:lnTo>
                        <a:pt x="926" y="1019"/>
                      </a:lnTo>
                      <a:lnTo>
                        <a:pt x="927" y="1019"/>
                      </a:lnTo>
                      <a:lnTo>
                        <a:pt x="927" y="1020"/>
                      </a:lnTo>
                      <a:lnTo>
                        <a:pt x="926" y="1020"/>
                      </a:lnTo>
                      <a:lnTo>
                        <a:pt x="925" y="1020"/>
                      </a:lnTo>
                      <a:lnTo>
                        <a:pt x="924" y="1020"/>
                      </a:lnTo>
                      <a:lnTo>
                        <a:pt x="924" y="1019"/>
                      </a:lnTo>
                      <a:lnTo>
                        <a:pt x="923" y="1019"/>
                      </a:lnTo>
                      <a:lnTo>
                        <a:pt x="924" y="1019"/>
                      </a:lnTo>
                      <a:lnTo>
                        <a:pt x="925" y="1019"/>
                      </a:lnTo>
                      <a:lnTo>
                        <a:pt x="926" y="1019"/>
                      </a:lnTo>
                      <a:lnTo>
                        <a:pt x="927" y="1019"/>
                      </a:lnTo>
                      <a:lnTo>
                        <a:pt x="927" y="1018"/>
                      </a:lnTo>
                      <a:lnTo>
                        <a:pt x="928" y="1018"/>
                      </a:lnTo>
                      <a:lnTo>
                        <a:pt x="928" y="1017"/>
                      </a:lnTo>
                      <a:lnTo>
                        <a:pt x="929" y="1017"/>
                      </a:lnTo>
                      <a:lnTo>
                        <a:pt x="929" y="1018"/>
                      </a:lnTo>
                      <a:lnTo>
                        <a:pt x="930" y="1018"/>
                      </a:lnTo>
                      <a:lnTo>
                        <a:pt x="930" y="1019"/>
                      </a:lnTo>
                      <a:lnTo>
                        <a:pt x="931" y="1019"/>
                      </a:lnTo>
                      <a:close/>
                      <a:moveTo>
                        <a:pt x="919" y="967"/>
                      </a:moveTo>
                      <a:lnTo>
                        <a:pt x="919" y="968"/>
                      </a:lnTo>
                      <a:lnTo>
                        <a:pt x="919" y="969"/>
                      </a:lnTo>
                      <a:lnTo>
                        <a:pt x="919" y="970"/>
                      </a:lnTo>
                      <a:lnTo>
                        <a:pt x="918" y="970"/>
                      </a:lnTo>
                      <a:lnTo>
                        <a:pt x="918" y="969"/>
                      </a:lnTo>
                      <a:lnTo>
                        <a:pt x="918" y="968"/>
                      </a:lnTo>
                      <a:lnTo>
                        <a:pt x="917" y="968"/>
                      </a:lnTo>
                      <a:lnTo>
                        <a:pt x="916" y="968"/>
                      </a:lnTo>
                      <a:lnTo>
                        <a:pt x="915" y="969"/>
                      </a:lnTo>
                      <a:lnTo>
                        <a:pt x="915" y="970"/>
                      </a:lnTo>
                      <a:lnTo>
                        <a:pt x="915" y="971"/>
                      </a:lnTo>
                      <a:lnTo>
                        <a:pt x="916" y="971"/>
                      </a:lnTo>
                      <a:lnTo>
                        <a:pt x="916" y="973"/>
                      </a:lnTo>
                      <a:lnTo>
                        <a:pt x="917" y="973"/>
                      </a:lnTo>
                      <a:lnTo>
                        <a:pt x="917" y="974"/>
                      </a:lnTo>
                      <a:lnTo>
                        <a:pt x="916" y="973"/>
                      </a:lnTo>
                      <a:lnTo>
                        <a:pt x="915" y="973"/>
                      </a:lnTo>
                      <a:lnTo>
                        <a:pt x="914" y="973"/>
                      </a:lnTo>
                      <a:lnTo>
                        <a:pt x="914" y="974"/>
                      </a:lnTo>
                      <a:lnTo>
                        <a:pt x="913" y="974"/>
                      </a:lnTo>
                      <a:lnTo>
                        <a:pt x="913" y="975"/>
                      </a:lnTo>
                      <a:lnTo>
                        <a:pt x="913" y="974"/>
                      </a:lnTo>
                      <a:lnTo>
                        <a:pt x="912" y="974"/>
                      </a:lnTo>
                      <a:lnTo>
                        <a:pt x="912" y="973"/>
                      </a:lnTo>
                      <a:lnTo>
                        <a:pt x="913" y="971"/>
                      </a:lnTo>
                      <a:lnTo>
                        <a:pt x="914" y="970"/>
                      </a:lnTo>
                      <a:lnTo>
                        <a:pt x="914" y="969"/>
                      </a:lnTo>
                      <a:lnTo>
                        <a:pt x="918" y="966"/>
                      </a:lnTo>
                      <a:lnTo>
                        <a:pt x="919" y="967"/>
                      </a:lnTo>
                      <a:close/>
                      <a:moveTo>
                        <a:pt x="892" y="963"/>
                      </a:moveTo>
                      <a:lnTo>
                        <a:pt x="892" y="964"/>
                      </a:lnTo>
                      <a:lnTo>
                        <a:pt x="893" y="964"/>
                      </a:lnTo>
                      <a:lnTo>
                        <a:pt x="895" y="964"/>
                      </a:lnTo>
                      <a:lnTo>
                        <a:pt x="895" y="965"/>
                      </a:lnTo>
                      <a:lnTo>
                        <a:pt x="895" y="966"/>
                      </a:lnTo>
                      <a:lnTo>
                        <a:pt x="896" y="966"/>
                      </a:lnTo>
                      <a:lnTo>
                        <a:pt x="896" y="967"/>
                      </a:lnTo>
                      <a:lnTo>
                        <a:pt x="895" y="967"/>
                      </a:lnTo>
                      <a:lnTo>
                        <a:pt x="895" y="966"/>
                      </a:lnTo>
                      <a:lnTo>
                        <a:pt x="895" y="965"/>
                      </a:lnTo>
                      <a:lnTo>
                        <a:pt x="895" y="966"/>
                      </a:lnTo>
                      <a:lnTo>
                        <a:pt x="895" y="967"/>
                      </a:lnTo>
                      <a:lnTo>
                        <a:pt x="893" y="967"/>
                      </a:lnTo>
                      <a:lnTo>
                        <a:pt x="893" y="968"/>
                      </a:lnTo>
                      <a:lnTo>
                        <a:pt x="892" y="968"/>
                      </a:lnTo>
                      <a:lnTo>
                        <a:pt x="892" y="967"/>
                      </a:lnTo>
                      <a:lnTo>
                        <a:pt x="891" y="967"/>
                      </a:lnTo>
                      <a:lnTo>
                        <a:pt x="891" y="966"/>
                      </a:lnTo>
                      <a:lnTo>
                        <a:pt x="891" y="965"/>
                      </a:lnTo>
                      <a:lnTo>
                        <a:pt x="890" y="965"/>
                      </a:lnTo>
                      <a:lnTo>
                        <a:pt x="890" y="964"/>
                      </a:lnTo>
                      <a:lnTo>
                        <a:pt x="891" y="964"/>
                      </a:lnTo>
                      <a:lnTo>
                        <a:pt x="891" y="963"/>
                      </a:lnTo>
                      <a:lnTo>
                        <a:pt x="892" y="963"/>
                      </a:lnTo>
                      <a:lnTo>
                        <a:pt x="891" y="963"/>
                      </a:lnTo>
                      <a:lnTo>
                        <a:pt x="892" y="963"/>
                      </a:lnTo>
                      <a:lnTo>
                        <a:pt x="892" y="962"/>
                      </a:lnTo>
                      <a:lnTo>
                        <a:pt x="892" y="963"/>
                      </a:lnTo>
                      <a:close/>
                      <a:moveTo>
                        <a:pt x="921" y="966"/>
                      </a:moveTo>
                      <a:lnTo>
                        <a:pt x="922" y="966"/>
                      </a:lnTo>
                      <a:lnTo>
                        <a:pt x="923" y="966"/>
                      </a:lnTo>
                      <a:lnTo>
                        <a:pt x="924" y="966"/>
                      </a:lnTo>
                      <a:lnTo>
                        <a:pt x="925" y="966"/>
                      </a:lnTo>
                      <a:lnTo>
                        <a:pt x="925" y="967"/>
                      </a:lnTo>
                      <a:lnTo>
                        <a:pt x="924" y="967"/>
                      </a:lnTo>
                      <a:lnTo>
                        <a:pt x="923" y="967"/>
                      </a:lnTo>
                      <a:lnTo>
                        <a:pt x="923" y="968"/>
                      </a:lnTo>
                      <a:lnTo>
                        <a:pt x="923" y="969"/>
                      </a:lnTo>
                      <a:lnTo>
                        <a:pt x="923" y="970"/>
                      </a:lnTo>
                      <a:lnTo>
                        <a:pt x="923" y="971"/>
                      </a:lnTo>
                      <a:lnTo>
                        <a:pt x="922" y="971"/>
                      </a:lnTo>
                      <a:lnTo>
                        <a:pt x="922" y="970"/>
                      </a:lnTo>
                      <a:lnTo>
                        <a:pt x="922" y="971"/>
                      </a:lnTo>
                      <a:lnTo>
                        <a:pt x="923" y="971"/>
                      </a:lnTo>
                      <a:lnTo>
                        <a:pt x="923" y="970"/>
                      </a:lnTo>
                      <a:lnTo>
                        <a:pt x="922" y="970"/>
                      </a:lnTo>
                      <a:lnTo>
                        <a:pt x="921" y="970"/>
                      </a:lnTo>
                      <a:lnTo>
                        <a:pt x="921" y="969"/>
                      </a:lnTo>
                      <a:lnTo>
                        <a:pt x="921" y="970"/>
                      </a:lnTo>
                      <a:lnTo>
                        <a:pt x="921" y="971"/>
                      </a:lnTo>
                      <a:lnTo>
                        <a:pt x="919" y="971"/>
                      </a:lnTo>
                      <a:lnTo>
                        <a:pt x="919" y="970"/>
                      </a:lnTo>
                      <a:lnTo>
                        <a:pt x="919" y="969"/>
                      </a:lnTo>
                      <a:lnTo>
                        <a:pt x="921" y="969"/>
                      </a:lnTo>
                      <a:lnTo>
                        <a:pt x="919" y="968"/>
                      </a:lnTo>
                      <a:lnTo>
                        <a:pt x="921" y="968"/>
                      </a:lnTo>
                      <a:lnTo>
                        <a:pt x="921" y="967"/>
                      </a:lnTo>
                      <a:lnTo>
                        <a:pt x="919" y="967"/>
                      </a:lnTo>
                      <a:lnTo>
                        <a:pt x="921" y="966"/>
                      </a:lnTo>
                      <a:close/>
                      <a:moveTo>
                        <a:pt x="896" y="1027"/>
                      </a:moveTo>
                      <a:lnTo>
                        <a:pt x="897" y="1027"/>
                      </a:lnTo>
                      <a:lnTo>
                        <a:pt x="897" y="1028"/>
                      </a:lnTo>
                      <a:lnTo>
                        <a:pt x="898" y="1028"/>
                      </a:lnTo>
                      <a:lnTo>
                        <a:pt x="897" y="1028"/>
                      </a:lnTo>
                      <a:lnTo>
                        <a:pt x="897" y="1029"/>
                      </a:lnTo>
                      <a:lnTo>
                        <a:pt x="898" y="1029"/>
                      </a:lnTo>
                      <a:lnTo>
                        <a:pt x="897" y="1029"/>
                      </a:lnTo>
                      <a:lnTo>
                        <a:pt x="897" y="1030"/>
                      </a:lnTo>
                      <a:lnTo>
                        <a:pt x="896" y="1031"/>
                      </a:lnTo>
                      <a:lnTo>
                        <a:pt x="896" y="1030"/>
                      </a:lnTo>
                      <a:lnTo>
                        <a:pt x="895" y="1030"/>
                      </a:lnTo>
                      <a:lnTo>
                        <a:pt x="895" y="1031"/>
                      </a:lnTo>
                      <a:lnTo>
                        <a:pt x="893" y="1032"/>
                      </a:lnTo>
                      <a:lnTo>
                        <a:pt x="893" y="1031"/>
                      </a:lnTo>
                      <a:lnTo>
                        <a:pt x="893" y="1030"/>
                      </a:lnTo>
                      <a:lnTo>
                        <a:pt x="892" y="1030"/>
                      </a:lnTo>
                      <a:lnTo>
                        <a:pt x="893" y="1030"/>
                      </a:lnTo>
                      <a:lnTo>
                        <a:pt x="893" y="1029"/>
                      </a:lnTo>
                      <a:lnTo>
                        <a:pt x="895" y="1029"/>
                      </a:lnTo>
                      <a:lnTo>
                        <a:pt x="896" y="1029"/>
                      </a:lnTo>
                      <a:lnTo>
                        <a:pt x="895" y="1028"/>
                      </a:lnTo>
                      <a:lnTo>
                        <a:pt x="895" y="1029"/>
                      </a:lnTo>
                      <a:lnTo>
                        <a:pt x="893" y="1029"/>
                      </a:lnTo>
                      <a:lnTo>
                        <a:pt x="892" y="1029"/>
                      </a:lnTo>
                      <a:lnTo>
                        <a:pt x="893" y="1028"/>
                      </a:lnTo>
                      <a:lnTo>
                        <a:pt x="895" y="1028"/>
                      </a:lnTo>
                      <a:lnTo>
                        <a:pt x="895" y="1027"/>
                      </a:lnTo>
                      <a:lnTo>
                        <a:pt x="896" y="1028"/>
                      </a:lnTo>
                      <a:lnTo>
                        <a:pt x="896" y="1027"/>
                      </a:lnTo>
                      <a:close/>
                      <a:moveTo>
                        <a:pt x="923" y="992"/>
                      </a:moveTo>
                      <a:lnTo>
                        <a:pt x="924" y="992"/>
                      </a:lnTo>
                      <a:lnTo>
                        <a:pt x="924" y="993"/>
                      </a:lnTo>
                      <a:lnTo>
                        <a:pt x="924" y="994"/>
                      </a:lnTo>
                      <a:lnTo>
                        <a:pt x="924" y="995"/>
                      </a:lnTo>
                      <a:lnTo>
                        <a:pt x="924" y="996"/>
                      </a:lnTo>
                      <a:lnTo>
                        <a:pt x="923" y="996"/>
                      </a:lnTo>
                      <a:lnTo>
                        <a:pt x="923" y="998"/>
                      </a:lnTo>
                      <a:lnTo>
                        <a:pt x="924" y="998"/>
                      </a:lnTo>
                      <a:lnTo>
                        <a:pt x="924" y="999"/>
                      </a:lnTo>
                      <a:lnTo>
                        <a:pt x="923" y="1000"/>
                      </a:lnTo>
                      <a:lnTo>
                        <a:pt x="923" y="999"/>
                      </a:lnTo>
                      <a:lnTo>
                        <a:pt x="923" y="1000"/>
                      </a:lnTo>
                      <a:lnTo>
                        <a:pt x="922" y="999"/>
                      </a:lnTo>
                      <a:lnTo>
                        <a:pt x="922" y="998"/>
                      </a:lnTo>
                      <a:lnTo>
                        <a:pt x="921" y="996"/>
                      </a:lnTo>
                      <a:lnTo>
                        <a:pt x="921" y="995"/>
                      </a:lnTo>
                      <a:lnTo>
                        <a:pt x="921" y="994"/>
                      </a:lnTo>
                      <a:lnTo>
                        <a:pt x="922" y="994"/>
                      </a:lnTo>
                      <a:lnTo>
                        <a:pt x="922" y="995"/>
                      </a:lnTo>
                      <a:lnTo>
                        <a:pt x="923" y="995"/>
                      </a:lnTo>
                      <a:lnTo>
                        <a:pt x="923" y="996"/>
                      </a:lnTo>
                      <a:lnTo>
                        <a:pt x="923" y="995"/>
                      </a:lnTo>
                      <a:lnTo>
                        <a:pt x="923" y="994"/>
                      </a:lnTo>
                      <a:lnTo>
                        <a:pt x="924" y="994"/>
                      </a:lnTo>
                      <a:lnTo>
                        <a:pt x="923" y="994"/>
                      </a:lnTo>
                      <a:lnTo>
                        <a:pt x="924" y="994"/>
                      </a:lnTo>
                      <a:lnTo>
                        <a:pt x="923" y="994"/>
                      </a:lnTo>
                      <a:lnTo>
                        <a:pt x="924" y="994"/>
                      </a:lnTo>
                      <a:lnTo>
                        <a:pt x="923" y="993"/>
                      </a:lnTo>
                      <a:lnTo>
                        <a:pt x="924" y="993"/>
                      </a:lnTo>
                      <a:lnTo>
                        <a:pt x="923" y="993"/>
                      </a:lnTo>
                      <a:lnTo>
                        <a:pt x="922" y="992"/>
                      </a:lnTo>
                      <a:lnTo>
                        <a:pt x="922" y="991"/>
                      </a:lnTo>
                      <a:lnTo>
                        <a:pt x="923" y="991"/>
                      </a:lnTo>
                      <a:lnTo>
                        <a:pt x="922" y="992"/>
                      </a:lnTo>
                      <a:lnTo>
                        <a:pt x="923" y="992"/>
                      </a:lnTo>
                      <a:close/>
                      <a:moveTo>
                        <a:pt x="822" y="848"/>
                      </a:moveTo>
                      <a:lnTo>
                        <a:pt x="823" y="848"/>
                      </a:lnTo>
                      <a:lnTo>
                        <a:pt x="825" y="847"/>
                      </a:lnTo>
                      <a:lnTo>
                        <a:pt x="825" y="848"/>
                      </a:lnTo>
                      <a:lnTo>
                        <a:pt x="825" y="849"/>
                      </a:lnTo>
                      <a:lnTo>
                        <a:pt x="824" y="849"/>
                      </a:lnTo>
                      <a:lnTo>
                        <a:pt x="824" y="848"/>
                      </a:lnTo>
                      <a:lnTo>
                        <a:pt x="823" y="849"/>
                      </a:lnTo>
                      <a:lnTo>
                        <a:pt x="822" y="849"/>
                      </a:lnTo>
                      <a:lnTo>
                        <a:pt x="821" y="849"/>
                      </a:lnTo>
                      <a:lnTo>
                        <a:pt x="821" y="850"/>
                      </a:lnTo>
                      <a:lnTo>
                        <a:pt x="820" y="850"/>
                      </a:lnTo>
                      <a:lnTo>
                        <a:pt x="819" y="850"/>
                      </a:lnTo>
                      <a:lnTo>
                        <a:pt x="819" y="849"/>
                      </a:lnTo>
                      <a:lnTo>
                        <a:pt x="819" y="848"/>
                      </a:lnTo>
                      <a:lnTo>
                        <a:pt x="820" y="847"/>
                      </a:lnTo>
                      <a:lnTo>
                        <a:pt x="820" y="846"/>
                      </a:lnTo>
                      <a:lnTo>
                        <a:pt x="821" y="846"/>
                      </a:lnTo>
                      <a:lnTo>
                        <a:pt x="821" y="847"/>
                      </a:lnTo>
                      <a:lnTo>
                        <a:pt x="822" y="847"/>
                      </a:lnTo>
                      <a:lnTo>
                        <a:pt x="822" y="848"/>
                      </a:lnTo>
                      <a:close/>
                      <a:moveTo>
                        <a:pt x="902" y="938"/>
                      </a:moveTo>
                      <a:lnTo>
                        <a:pt x="902" y="939"/>
                      </a:lnTo>
                      <a:lnTo>
                        <a:pt x="903" y="939"/>
                      </a:lnTo>
                      <a:lnTo>
                        <a:pt x="903" y="940"/>
                      </a:lnTo>
                      <a:lnTo>
                        <a:pt x="904" y="940"/>
                      </a:lnTo>
                      <a:lnTo>
                        <a:pt x="904" y="941"/>
                      </a:lnTo>
                      <a:lnTo>
                        <a:pt x="905" y="941"/>
                      </a:lnTo>
                      <a:lnTo>
                        <a:pt x="905" y="940"/>
                      </a:lnTo>
                      <a:lnTo>
                        <a:pt x="906" y="940"/>
                      </a:lnTo>
                      <a:lnTo>
                        <a:pt x="905" y="941"/>
                      </a:lnTo>
                      <a:lnTo>
                        <a:pt x="906" y="941"/>
                      </a:lnTo>
                      <a:lnTo>
                        <a:pt x="906" y="942"/>
                      </a:lnTo>
                      <a:lnTo>
                        <a:pt x="905" y="942"/>
                      </a:lnTo>
                      <a:lnTo>
                        <a:pt x="904" y="942"/>
                      </a:lnTo>
                      <a:lnTo>
                        <a:pt x="904" y="943"/>
                      </a:lnTo>
                      <a:lnTo>
                        <a:pt x="904" y="944"/>
                      </a:lnTo>
                      <a:lnTo>
                        <a:pt x="903" y="944"/>
                      </a:lnTo>
                      <a:lnTo>
                        <a:pt x="903" y="943"/>
                      </a:lnTo>
                      <a:lnTo>
                        <a:pt x="903" y="942"/>
                      </a:lnTo>
                      <a:lnTo>
                        <a:pt x="903" y="941"/>
                      </a:lnTo>
                      <a:lnTo>
                        <a:pt x="902" y="940"/>
                      </a:lnTo>
                      <a:lnTo>
                        <a:pt x="901" y="940"/>
                      </a:lnTo>
                      <a:lnTo>
                        <a:pt x="900" y="939"/>
                      </a:lnTo>
                      <a:lnTo>
                        <a:pt x="901" y="939"/>
                      </a:lnTo>
                      <a:lnTo>
                        <a:pt x="902" y="938"/>
                      </a:lnTo>
                      <a:lnTo>
                        <a:pt x="902" y="939"/>
                      </a:lnTo>
                      <a:lnTo>
                        <a:pt x="902" y="938"/>
                      </a:lnTo>
                      <a:close/>
                      <a:moveTo>
                        <a:pt x="904" y="934"/>
                      </a:moveTo>
                      <a:lnTo>
                        <a:pt x="904" y="935"/>
                      </a:lnTo>
                      <a:lnTo>
                        <a:pt x="903" y="935"/>
                      </a:lnTo>
                      <a:lnTo>
                        <a:pt x="904" y="935"/>
                      </a:lnTo>
                      <a:lnTo>
                        <a:pt x="904" y="936"/>
                      </a:lnTo>
                      <a:lnTo>
                        <a:pt x="904" y="935"/>
                      </a:lnTo>
                      <a:lnTo>
                        <a:pt x="904" y="936"/>
                      </a:lnTo>
                      <a:lnTo>
                        <a:pt x="905" y="936"/>
                      </a:lnTo>
                      <a:lnTo>
                        <a:pt x="905" y="937"/>
                      </a:lnTo>
                      <a:lnTo>
                        <a:pt x="904" y="937"/>
                      </a:lnTo>
                      <a:lnTo>
                        <a:pt x="903" y="936"/>
                      </a:lnTo>
                      <a:lnTo>
                        <a:pt x="902" y="936"/>
                      </a:lnTo>
                      <a:lnTo>
                        <a:pt x="901" y="936"/>
                      </a:lnTo>
                      <a:lnTo>
                        <a:pt x="901" y="937"/>
                      </a:lnTo>
                      <a:lnTo>
                        <a:pt x="901" y="936"/>
                      </a:lnTo>
                      <a:lnTo>
                        <a:pt x="900" y="936"/>
                      </a:lnTo>
                      <a:lnTo>
                        <a:pt x="899" y="936"/>
                      </a:lnTo>
                      <a:lnTo>
                        <a:pt x="898" y="936"/>
                      </a:lnTo>
                      <a:lnTo>
                        <a:pt x="899" y="936"/>
                      </a:lnTo>
                      <a:lnTo>
                        <a:pt x="900" y="936"/>
                      </a:lnTo>
                      <a:lnTo>
                        <a:pt x="900" y="935"/>
                      </a:lnTo>
                      <a:lnTo>
                        <a:pt x="901" y="935"/>
                      </a:lnTo>
                      <a:lnTo>
                        <a:pt x="901" y="934"/>
                      </a:lnTo>
                      <a:lnTo>
                        <a:pt x="902" y="935"/>
                      </a:lnTo>
                      <a:lnTo>
                        <a:pt x="903" y="935"/>
                      </a:lnTo>
                      <a:lnTo>
                        <a:pt x="903" y="934"/>
                      </a:lnTo>
                      <a:lnTo>
                        <a:pt x="903" y="932"/>
                      </a:lnTo>
                      <a:lnTo>
                        <a:pt x="904" y="932"/>
                      </a:lnTo>
                      <a:lnTo>
                        <a:pt x="904" y="931"/>
                      </a:lnTo>
                      <a:lnTo>
                        <a:pt x="904" y="930"/>
                      </a:lnTo>
                      <a:lnTo>
                        <a:pt x="905" y="930"/>
                      </a:lnTo>
                      <a:lnTo>
                        <a:pt x="905" y="931"/>
                      </a:lnTo>
                      <a:lnTo>
                        <a:pt x="904" y="931"/>
                      </a:lnTo>
                      <a:lnTo>
                        <a:pt x="904" y="932"/>
                      </a:lnTo>
                      <a:lnTo>
                        <a:pt x="905" y="932"/>
                      </a:lnTo>
                      <a:lnTo>
                        <a:pt x="904" y="932"/>
                      </a:lnTo>
                      <a:lnTo>
                        <a:pt x="905" y="934"/>
                      </a:lnTo>
                      <a:lnTo>
                        <a:pt x="904" y="934"/>
                      </a:lnTo>
                      <a:close/>
                      <a:moveTo>
                        <a:pt x="903" y="912"/>
                      </a:moveTo>
                      <a:lnTo>
                        <a:pt x="904" y="912"/>
                      </a:lnTo>
                      <a:lnTo>
                        <a:pt x="904" y="913"/>
                      </a:lnTo>
                      <a:lnTo>
                        <a:pt x="905" y="913"/>
                      </a:lnTo>
                      <a:lnTo>
                        <a:pt x="904" y="913"/>
                      </a:lnTo>
                      <a:lnTo>
                        <a:pt x="904" y="912"/>
                      </a:lnTo>
                      <a:lnTo>
                        <a:pt x="905" y="913"/>
                      </a:lnTo>
                      <a:lnTo>
                        <a:pt x="905" y="914"/>
                      </a:lnTo>
                      <a:lnTo>
                        <a:pt x="906" y="914"/>
                      </a:lnTo>
                      <a:lnTo>
                        <a:pt x="906" y="915"/>
                      </a:lnTo>
                      <a:lnTo>
                        <a:pt x="905" y="915"/>
                      </a:lnTo>
                      <a:lnTo>
                        <a:pt x="905" y="916"/>
                      </a:lnTo>
                      <a:lnTo>
                        <a:pt x="904" y="916"/>
                      </a:lnTo>
                      <a:lnTo>
                        <a:pt x="904" y="915"/>
                      </a:lnTo>
                      <a:lnTo>
                        <a:pt x="903" y="915"/>
                      </a:lnTo>
                      <a:lnTo>
                        <a:pt x="904" y="915"/>
                      </a:lnTo>
                      <a:lnTo>
                        <a:pt x="903" y="915"/>
                      </a:lnTo>
                      <a:lnTo>
                        <a:pt x="902" y="915"/>
                      </a:lnTo>
                      <a:lnTo>
                        <a:pt x="902" y="914"/>
                      </a:lnTo>
                      <a:lnTo>
                        <a:pt x="902" y="913"/>
                      </a:lnTo>
                      <a:lnTo>
                        <a:pt x="902" y="914"/>
                      </a:lnTo>
                      <a:lnTo>
                        <a:pt x="903" y="913"/>
                      </a:lnTo>
                      <a:lnTo>
                        <a:pt x="903" y="914"/>
                      </a:lnTo>
                      <a:lnTo>
                        <a:pt x="903" y="913"/>
                      </a:lnTo>
                      <a:lnTo>
                        <a:pt x="903" y="912"/>
                      </a:lnTo>
                      <a:close/>
                      <a:moveTo>
                        <a:pt x="928" y="1015"/>
                      </a:moveTo>
                      <a:lnTo>
                        <a:pt x="927" y="1015"/>
                      </a:lnTo>
                      <a:lnTo>
                        <a:pt x="928" y="1016"/>
                      </a:lnTo>
                      <a:lnTo>
                        <a:pt x="929" y="1016"/>
                      </a:lnTo>
                      <a:lnTo>
                        <a:pt x="928" y="1016"/>
                      </a:lnTo>
                      <a:lnTo>
                        <a:pt x="928" y="1017"/>
                      </a:lnTo>
                      <a:lnTo>
                        <a:pt x="927" y="1017"/>
                      </a:lnTo>
                      <a:lnTo>
                        <a:pt x="927" y="1018"/>
                      </a:lnTo>
                      <a:lnTo>
                        <a:pt x="926" y="1018"/>
                      </a:lnTo>
                      <a:lnTo>
                        <a:pt x="925" y="1018"/>
                      </a:lnTo>
                      <a:lnTo>
                        <a:pt x="925" y="1019"/>
                      </a:lnTo>
                      <a:lnTo>
                        <a:pt x="924" y="1019"/>
                      </a:lnTo>
                      <a:lnTo>
                        <a:pt x="924" y="1018"/>
                      </a:lnTo>
                      <a:lnTo>
                        <a:pt x="924" y="1017"/>
                      </a:lnTo>
                      <a:lnTo>
                        <a:pt x="925" y="1017"/>
                      </a:lnTo>
                      <a:lnTo>
                        <a:pt x="926" y="1017"/>
                      </a:lnTo>
                      <a:lnTo>
                        <a:pt x="925" y="1017"/>
                      </a:lnTo>
                      <a:lnTo>
                        <a:pt x="925" y="1016"/>
                      </a:lnTo>
                      <a:lnTo>
                        <a:pt x="926" y="1016"/>
                      </a:lnTo>
                      <a:lnTo>
                        <a:pt x="926" y="1015"/>
                      </a:lnTo>
                      <a:lnTo>
                        <a:pt x="927" y="1015"/>
                      </a:lnTo>
                      <a:lnTo>
                        <a:pt x="928" y="1014"/>
                      </a:lnTo>
                      <a:lnTo>
                        <a:pt x="928" y="1015"/>
                      </a:lnTo>
                      <a:close/>
                      <a:moveTo>
                        <a:pt x="901" y="967"/>
                      </a:moveTo>
                      <a:lnTo>
                        <a:pt x="901" y="968"/>
                      </a:lnTo>
                      <a:lnTo>
                        <a:pt x="902" y="968"/>
                      </a:lnTo>
                      <a:lnTo>
                        <a:pt x="901" y="968"/>
                      </a:lnTo>
                      <a:lnTo>
                        <a:pt x="900" y="968"/>
                      </a:lnTo>
                      <a:lnTo>
                        <a:pt x="899" y="968"/>
                      </a:lnTo>
                      <a:lnTo>
                        <a:pt x="898" y="968"/>
                      </a:lnTo>
                      <a:lnTo>
                        <a:pt x="898" y="969"/>
                      </a:lnTo>
                      <a:lnTo>
                        <a:pt x="898" y="970"/>
                      </a:lnTo>
                      <a:lnTo>
                        <a:pt x="898" y="969"/>
                      </a:lnTo>
                      <a:lnTo>
                        <a:pt x="897" y="969"/>
                      </a:lnTo>
                      <a:lnTo>
                        <a:pt x="896" y="969"/>
                      </a:lnTo>
                      <a:lnTo>
                        <a:pt x="895" y="969"/>
                      </a:lnTo>
                      <a:lnTo>
                        <a:pt x="895" y="968"/>
                      </a:lnTo>
                      <a:lnTo>
                        <a:pt x="895" y="967"/>
                      </a:lnTo>
                      <a:lnTo>
                        <a:pt x="896" y="967"/>
                      </a:lnTo>
                      <a:lnTo>
                        <a:pt x="896" y="968"/>
                      </a:lnTo>
                      <a:lnTo>
                        <a:pt x="896" y="967"/>
                      </a:lnTo>
                      <a:lnTo>
                        <a:pt x="896" y="968"/>
                      </a:lnTo>
                      <a:lnTo>
                        <a:pt x="897" y="968"/>
                      </a:lnTo>
                      <a:lnTo>
                        <a:pt x="898" y="968"/>
                      </a:lnTo>
                      <a:lnTo>
                        <a:pt x="898" y="967"/>
                      </a:lnTo>
                      <a:lnTo>
                        <a:pt x="899" y="967"/>
                      </a:lnTo>
                      <a:lnTo>
                        <a:pt x="899" y="966"/>
                      </a:lnTo>
                      <a:lnTo>
                        <a:pt x="900" y="966"/>
                      </a:lnTo>
                      <a:lnTo>
                        <a:pt x="901" y="966"/>
                      </a:lnTo>
                      <a:lnTo>
                        <a:pt x="901" y="967"/>
                      </a:lnTo>
                      <a:close/>
                      <a:moveTo>
                        <a:pt x="919" y="1032"/>
                      </a:moveTo>
                      <a:lnTo>
                        <a:pt x="918" y="1032"/>
                      </a:lnTo>
                      <a:lnTo>
                        <a:pt x="918" y="1033"/>
                      </a:lnTo>
                      <a:lnTo>
                        <a:pt x="917" y="1033"/>
                      </a:lnTo>
                      <a:lnTo>
                        <a:pt x="917" y="1034"/>
                      </a:lnTo>
                      <a:lnTo>
                        <a:pt x="916" y="1035"/>
                      </a:lnTo>
                      <a:lnTo>
                        <a:pt x="915" y="1037"/>
                      </a:lnTo>
                      <a:lnTo>
                        <a:pt x="915" y="1038"/>
                      </a:lnTo>
                      <a:lnTo>
                        <a:pt x="914" y="1038"/>
                      </a:lnTo>
                      <a:lnTo>
                        <a:pt x="915" y="1037"/>
                      </a:lnTo>
                      <a:lnTo>
                        <a:pt x="914" y="1037"/>
                      </a:lnTo>
                      <a:lnTo>
                        <a:pt x="915" y="1037"/>
                      </a:lnTo>
                      <a:lnTo>
                        <a:pt x="915" y="1035"/>
                      </a:lnTo>
                      <a:lnTo>
                        <a:pt x="915" y="1037"/>
                      </a:lnTo>
                      <a:lnTo>
                        <a:pt x="915" y="1035"/>
                      </a:lnTo>
                      <a:lnTo>
                        <a:pt x="916" y="1035"/>
                      </a:lnTo>
                      <a:lnTo>
                        <a:pt x="916" y="1034"/>
                      </a:lnTo>
                      <a:lnTo>
                        <a:pt x="915" y="1035"/>
                      </a:lnTo>
                      <a:lnTo>
                        <a:pt x="915" y="1034"/>
                      </a:lnTo>
                      <a:lnTo>
                        <a:pt x="916" y="1033"/>
                      </a:lnTo>
                      <a:lnTo>
                        <a:pt x="916" y="1032"/>
                      </a:lnTo>
                      <a:lnTo>
                        <a:pt x="917" y="1032"/>
                      </a:lnTo>
                      <a:lnTo>
                        <a:pt x="917" y="1031"/>
                      </a:lnTo>
                      <a:lnTo>
                        <a:pt x="917" y="1032"/>
                      </a:lnTo>
                      <a:lnTo>
                        <a:pt x="918" y="1032"/>
                      </a:lnTo>
                      <a:lnTo>
                        <a:pt x="918" y="1031"/>
                      </a:lnTo>
                      <a:lnTo>
                        <a:pt x="919" y="1031"/>
                      </a:lnTo>
                      <a:lnTo>
                        <a:pt x="919" y="1032"/>
                      </a:lnTo>
                      <a:close/>
                      <a:moveTo>
                        <a:pt x="895" y="947"/>
                      </a:moveTo>
                      <a:lnTo>
                        <a:pt x="897" y="947"/>
                      </a:lnTo>
                      <a:lnTo>
                        <a:pt x="898" y="947"/>
                      </a:lnTo>
                      <a:lnTo>
                        <a:pt x="898" y="948"/>
                      </a:lnTo>
                      <a:lnTo>
                        <a:pt x="899" y="948"/>
                      </a:lnTo>
                      <a:lnTo>
                        <a:pt x="900" y="948"/>
                      </a:lnTo>
                      <a:lnTo>
                        <a:pt x="900" y="949"/>
                      </a:lnTo>
                      <a:lnTo>
                        <a:pt x="901" y="949"/>
                      </a:lnTo>
                      <a:lnTo>
                        <a:pt x="901" y="950"/>
                      </a:lnTo>
                      <a:lnTo>
                        <a:pt x="900" y="950"/>
                      </a:lnTo>
                      <a:lnTo>
                        <a:pt x="899" y="950"/>
                      </a:lnTo>
                      <a:lnTo>
                        <a:pt x="899" y="949"/>
                      </a:lnTo>
                      <a:lnTo>
                        <a:pt x="898" y="948"/>
                      </a:lnTo>
                      <a:lnTo>
                        <a:pt x="897" y="948"/>
                      </a:lnTo>
                      <a:lnTo>
                        <a:pt x="896" y="948"/>
                      </a:lnTo>
                      <a:lnTo>
                        <a:pt x="895" y="948"/>
                      </a:lnTo>
                      <a:lnTo>
                        <a:pt x="893" y="948"/>
                      </a:lnTo>
                      <a:lnTo>
                        <a:pt x="893" y="947"/>
                      </a:lnTo>
                      <a:lnTo>
                        <a:pt x="893" y="948"/>
                      </a:lnTo>
                      <a:lnTo>
                        <a:pt x="895" y="948"/>
                      </a:lnTo>
                      <a:lnTo>
                        <a:pt x="896" y="948"/>
                      </a:lnTo>
                      <a:lnTo>
                        <a:pt x="895" y="948"/>
                      </a:lnTo>
                      <a:lnTo>
                        <a:pt x="897" y="947"/>
                      </a:lnTo>
                      <a:lnTo>
                        <a:pt x="896" y="947"/>
                      </a:lnTo>
                      <a:lnTo>
                        <a:pt x="895" y="947"/>
                      </a:lnTo>
                      <a:lnTo>
                        <a:pt x="895" y="948"/>
                      </a:lnTo>
                      <a:lnTo>
                        <a:pt x="895" y="947"/>
                      </a:lnTo>
                      <a:lnTo>
                        <a:pt x="893" y="947"/>
                      </a:lnTo>
                      <a:lnTo>
                        <a:pt x="895" y="947"/>
                      </a:lnTo>
                      <a:close/>
                      <a:moveTo>
                        <a:pt x="912" y="973"/>
                      </a:moveTo>
                      <a:lnTo>
                        <a:pt x="912" y="974"/>
                      </a:lnTo>
                      <a:lnTo>
                        <a:pt x="912" y="975"/>
                      </a:lnTo>
                      <a:lnTo>
                        <a:pt x="913" y="975"/>
                      </a:lnTo>
                      <a:lnTo>
                        <a:pt x="912" y="975"/>
                      </a:lnTo>
                      <a:lnTo>
                        <a:pt x="911" y="975"/>
                      </a:lnTo>
                      <a:lnTo>
                        <a:pt x="911" y="974"/>
                      </a:lnTo>
                      <a:lnTo>
                        <a:pt x="910" y="974"/>
                      </a:lnTo>
                      <a:lnTo>
                        <a:pt x="909" y="973"/>
                      </a:lnTo>
                      <a:lnTo>
                        <a:pt x="910" y="973"/>
                      </a:lnTo>
                      <a:lnTo>
                        <a:pt x="914" y="969"/>
                      </a:lnTo>
                      <a:lnTo>
                        <a:pt x="914" y="970"/>
                      </a:lnTo>
                      <a:lnTo>
                        <a:pt x="913" y="970"/>
                      </a:lnTo>
                      <a:lnTo>
                        <a:pt x="913" y="971"/>
                      </a:lnTo>
                      <a:lnTo>
                        <a:pt x="912" y="971"/>
                      </a:lnTo>
                      <a:lnTo>
                        <a:pt x="912" y="973"/>
                      </a:lnTo>
                      <a:close/>
                      <a:moveTo>
                        <a:pt x="927" y="990"/>
                      </a:moveTo>
                      <a:lnTo>
                        <a:pt x="927" y="991"/>
                      </a:lnTo>
                      <a:lnTo>
                        <a:pt x="927" y="993"/>
                      </a:lnTo>
                      <a:lnTo>
                        <a:pt x="926" y="993"/>
                      </a:lnTo>
                      <a:lnTo>
                        <a:pt x="926" y="992"/>
                      </a:lnTo>
                      <a:lnTo>
                        <a:pt x="925" y="992"/>
                      </a:lnTo>
                      <a:lnTo>
                        <a:pt x="925" y="991"/>
                      </a:lnTo>
                      <a:lnTo>
                        <a:pt x="924" y="991"/>
                      </a:lnTo>
                      <a:lnTo>
                        <a:pt x="924" y="990"/>
                      </a:lnTo>
                      <a:lnTo>
                        <a:pt x="924" y="989"/>
                      </a:lnTo>
                      <a:lnTo>
                        <a:pt x="927" y="990"/>
                      </a:lnTo>
                      <a:close/>
                      <a:moveTo>
                        <a:pt x="914" y="956"/>
                      </a:moveTo>
                      <a:lnTo>
                        <a:pt x="914" y="957"/>
                      </a:lnTo>
                      <a:lnTo>
                        <a:pt x="913" y="957"/>
                      </a:lnTo>
                      <a:lnTo>
                        <a:pt x="912" y="957"/>
                      </a:lnTo>
                      <a:lnTo>
                        <a:pt x="911" y="956"/>
                      </a:lnTo>
                      <a:lnTo>
                        <a:pt x="911" y="955"/>
                      </a:lnTo>
                      <a:lnTo>
                        <a:pt x="911" y="954"/>
                      </a:lnTo>
                      <a:lnTo>
                        <a:pt x="912" y="954"/>
                      </a:lnTo>
                      <a:lnTo>
                        <a:pt x="913" y="954"/>
                      </a:lnTo>
                      <a:lnTo>
                        <a:pt x="913" y="955"/>
                      </a:lnTo>
                      <a:lnTo>
                        <a:pt x="914" y="956"/>
                      </a:lnTo>
                      <a:close/>
                      <a:moveTo>
                        <a:pt x="813" y="835"/>
                      </a:moveTo>
                      <a:lnTo>
                        <a:pt x="813" y="836"/>
                      </a:lnTo>
                      <a:lnTo>
                        <a:pt x="812" y="836"/>
                      </a:lnTo>
                      <a:lnTo>
                        <a:pt x="812" y="837"/>
                      </a:lnTo>
                      <a:lnTo>
                        <a:pt x="811" y="837"/>
                      </a:lnTo>
                      <a:lnTo>
                        <a:pt x="810" y="837"/>
                      </a:lnTo>
                      <a:lnTo>
                        <a:pt x="810" y="836"/>
                      </a:lnTo>
                      <a:lnTo>
                        <a:pt x="811" y="836"/>
                      </a:lnTo>
                      <a:lnTo>
                        <a:pt x="811" y="835"/>
                      </a:lnTo>
                      <a:lnTo>
                        <a:pt x="812" y="835"/>
                      </a:lnTo>
                      <a:lnTo>
                        <a:pt x="813" y="835"/>
                      </a:lnTo>
                      <a:lnTo>
                        <a:pt x="813" y="834"/>
                      </a:lnTo>
                      <a:lnTo>
                        <a:pt x="813" y="833"/>
                      </a:lnTo>
                      <a:lnTo>
                        <a:pt x="814" y="833"/>
                      </a:lnTo>
                      <a:lnTo>
                        <a:pt x="814" y="834"/>
                      </a:lnTo>
                      <a:lnTo>
                        <a:pt x="813" y="835"/>
                      </a:lnTo>
                      <a:close/>
                      <a:moveTo>
                        <a:pt x="908" y="930"/>
                      </a:moveTo>
                      <a:lnTo>
                        <a:pt x="909" y="930"/>
                      </a:lnTo>
                      <a:lnTo>
                        <a:pt x="909" y="931"/>
                      </a:lnTo>
                      <a:lnTo>
                        <a:pt x="908" y="931"/>
                      </a:lnTo>
                      <a:lnTo>
                        <a:pt x="908" y="932"/>
                      </a:lnTo>
                      <a:lnTo>
                        <a:pt x="908" y="934"/>
                      </a:lnTo>
                      <a:lnTo>
                        <a:pt x="908" y="935"/>
                      </a:lnTo>
                      <a:lnTo>
                        <a:pt x="906" y="935"/>
                      </a:lnTo>
                      <a:lnTo>
                        <a:pt x="906" y="936"/>
                      </a:lnTo>
                      <a:lnTo>
                        <a:pt x="906" y="937"/>
                      </a:lnTo>
                      <a:lnTo>
                        <a:pt x="906" y="936"/>
                      </a:lnTo>
                      <a:lnTo>
                        <a:pt x="905" y="935"/>
                      </a:lnTo>
                      <a:lnTo>
                        <a:pt x="906" y="935"/>
                      </a:lnTo>
                      <a:lnTo>
                        <a:pt x="906" y="934"/>
                      </a:lnTo>
                      <a:lnTo>
                        <a:pt x="908" y="934"/>
                      </a:lnTo>
                      <a:lnTo>
                        <a:pt x="906" y="934"/>
                      </a:lnTo>
                      <a:lnTo>
                        <a:pt x="908" y="932"/>
                      </a:lnTo>
                      <a:lnTo>
                        <a:pt x="906" y="932"/>
                      </a:lnTo>
                      <a:lnTo>
                        <a:pt x="906" y="931"/>
                      </a:lnTo>
                      <a:lnTo>
                        <a:pt x="908" y="931"/>
                      </a:lnTo>
                      <a:lnTo>
                        <a:pt x="908" y="930"/>
                      </a:lnTo>
                      <a:close/>
                      <a:moveTo>
                        <a:pt x="936" y="1000"/>
                      </a:moveTo>
                      <a:lnTo>
                        <a:pt x="936" y="1001"/>
                      </a:lnTo>
                      <a:lnTo>
                        <a:pt x="937" y="1001"/>
                      </a:lnTo>
                      <a:lnTo>
                        <a:pt x="937" y="1002"/>
                      </a:lnTo>
                      <a:lnTo>
                        <a:pt x="936" y="1002"/>
                      </a:lnTo>
                      <a:lnTo>
                        <a:pt x="934" y="1002"/>
                      </a:lnTo>
                      <a:lnTo>
                        <a:pt x="934" y="1001"/>
                      </a:lnTo>
                      <a:lnTo>
                        <a:pt x="934" y="1000"/>
                      </a:lnTo>
                      <a:lnTo>
                        <a:pt x="935" y="1000"/>
                      </a:lnTo>
                      <a:lnTo>
                        <a:pt x="935" y="999"/>
                      </a:lnTo>
                      <a:lnTo>
                        <a:pt x="935" y="1000"/>
                      </a:lnTo>
                      <a:lnTo>
                        <a:pt x="936" y="1000"/>
                      </a:lnTo>
                      <a:close/>
                      <a:moveTo>
                        <a:pt x="884" y="1057"/>
                      </a:moveTo>
                      <a:lnTo>
                        <a:pt x="884" y="1058"/>
                      </a:lnTo>
                      <a:lnTo>
                        <a:pt x="884" y="1059"/>
                      </a:lnTo>
                      <a:lnTo>
                        <a:pt x="883" y="1059"/>
                      </a:lnTo>
                      <a:lnTo>
                        <a:pt x="883" y="1060"/>
                      </a:lnTo>
                      <a:lnTo>
                        <a:pt x="882" y="1060"/>
                      </a:lnTo>
                      <a:lnTo>
                        <a:pt x="882" y="1061"/>
                      </a:lnTo>
                      <a:lnTo>
                        <a:pt x="880" y="1061"/>
                      </a:lnTo>
                      <a:lnTo>
                        <a:pt x="880" y="1060"/>
                      </a:lnTo>
                      <a:lnTo>
                        <a:pt x="882" y="1060"/>
                      </a:lnTo>
                      <a:lnTo>
                        <a:pt x="880" y="1060"/>
                      </a:lnTo>
                      <a:lnTo>
                        <a:pt x="882" y="1060"/>
                      </a:lnTo>
                      <a:lnTo>
                        <a:pt x="882" y="1059"/>
                      </a:lnTo>
                      <a:lnTo>
                        <a:pt x="882" y="1058"/>
                      </a:lnTo>
                      <a:lnTo>
                        <a:pt x="883" y="1058"/>
                      </a:lnTo>
                      <a:lnTo>
                        <a:pt x="882" y="1058"/>
                      </a:lnTo>
                      <a:lnTo>
                        <a:pt x="883" y="1058"/>
                      </a:lnTo>
                      <a:lnTo>
                        <a:pt x="883" y="1057"/>
                      </a:lnTo>
                      <a:lnTo>
                        <a:pt x="883" y="1058"/>
                      </a:lnTo>
                      <a:lnTo>
                        <a:pt x="884" y="1058"/>
                      </a:lnTo>
                      <a:lnTo>
                        <a:pt x="884" y="1057"/>
                      </a:lnTo>
                      <a:lnTo>
                        <a:pt x="883" y="1057"/>
                      </a:lnTo>
                      <a:lnTo>
                        <a:pt x="883" y="1058"/>
                      </a:lnTo>
                      <a:lnTo>
                        <a:pt x="882" y="1058"/>
                      </a:lnTo>
                      <a:lnTo>
                        <a:pt x="882" y="1057"/>
                      </a:lnTo>
                      <a:lnTo>
                        <a:pt x="883" y="1057"/>
                      </a:lnTo>
                      <a:lnTo>
                        <a:pt x="884" y="1057"/>
                      </a:lnTo>
                      <a:lnTo>
                        <a:pt x="884" y="1056"/>
                      </a:lnTo>
                      <a:lnTo>
                        <a:pt x="884" y="1057"/>
                      </a:lnTo>
                      <a:close/>
                      <a:moveTo>
                        <a:pt x="826" y="741"/>
                      </a:moveTo>
                      <a:lnTo>
                        <a:pt x="825" y="742"/>
                      </a:lnTo>
                      <a:lnTo>
                        <a:pt x="825" y="743"/>
                      </a:lnTo>
                      <a:lnTo>
                        <a:pt x="824" y="743"/>
                      </a:lnTo>
                      <a:lnTo>
                        <a:pt x="824" y="744"/>
                      </a:lnTo>
                      <a:lnTo>
                        <a:pt x="824" y="743"/>
                      </a:lnTo>
                      <a:lnTo>
                        <a:pt x="824" y="742"/>
                      </a:lnTo>
                      <a:lnTo>
                        <a:pt x="823" y="742"/>
                      </a:lnTo>
                      <a:lnTo>
                        <a:pt x="822" y="742"/>
                      </a:lnTo>
                      <a:lnTo>
                        <a:pt x="823" y="742"/>
                      </a:lnTo>
                      <a:lnTo>
                        <a:pt x="823" y="741"/>
                      </a:lnTo>
                      <a:lnTo>
                        <a:pt x="824" y="742"/>
                      </a:lnTo>
                      <a:lnTo>
                        <a:pt x="824" y="741"/>
                      </a:lnTo>
                      <a:lnTo>
                        <a:pt x="825" y="741"/>
                      </a:lnTo>
                      <a:lnTo>
                        <a:pt x="826" y="741"/>
                      </a:lnTo>
                      <a:lnTo>
                        <a:pt x="826" y="739"/>
                      </a:lnTo>
                      <a:lnTo>
                        <a:pt x="827" y="739"/>
                      </a:lnTo>
                      <a:lnTo>
                        <a:pt x="827" y="741"/>
                      </a:lnTo>
                      <a:lnTo>
                        <a:pt x="826" y="741"/>
                      </a:lnTo>
                      <a:close/>
                      <a:moveTo>
                        <a:pt x="883" y="891"/>
                      </a:moveTo>
                      <a:lnTo>
                        <a:pt x="884" y="891"/>
                      </a:lnTo>
                      <a:lnTo>
                        <a:pt x="884" y="892"/>
                      </a:lnTo>
                      <a:lnTo>
                        <a:pt x="884" y="893"/>
                      </a:lnTo>
                      <a:lnTo>
                        <a:pt x="884" y="894"/>
                      </a:lnTo>
                      <a:lnTo>
                        <a:pt x="884" y="893"/>
                      </a:lnTo>
                      <a:lnTo>
                        <a:pt x="883" y="893"/>
                      </a:lnTo>
                      <a:lnTo>
                        <a:pt x="883" y="892"/>
                      </a:lnTo>
                      <a:lnTo>
                        <a:pt x="882" y="893"/>
                      </a:lnTo>
                      <a:lnTo>
                        <a:pt x="882" y="892"/>
                      </a:lnTo>
                      <a:lnTo>
                        <a:pt x="883" y="892"/>
                      </a:lnTo>
                      <a:lnTo>
                        <a:pt x="882" y="892"/>
                      </a:lnTo>
                      <a:lnTo>
                        <a:pt x="883" y="891"/>
                      </a:lnTo>
                      <a:lnTo>
                        <a:pt x="882" y="891"/>
                      </a:lnTo>
                      <a:lnTo>
                        <a:pt x="883" y="891"/>
                      </a:lnTo>
                      <a:lnTo>
                        <a:pt x="882" y="890"/>
                      </a:lnTo>
                      <a:lnTo>
                        <a:pt x="883" y="890"/>
                      </a:lnTo>
                      <a:lnTo>
                        <a:pt x="883" y="889"/>
                      </a:lnTo>
                      <a:lnTo>
                        <a:pt x="883" y="890"/>
                      </a:lnTo>
                      <a:lnTo>
                        <a:pt x="883" y="891"/>
                      </a:lnTo>
                      <a:close/>
                      <a:moveTo>
                        <a:pt x="926" y="993"/>
                      </a:moveTo>
                      <a:lnTo>
                        <a:pt x="926" y="994"/>
                      </a:lnTo>
                      <a:lnTo>
                        <a:pt x="925" y="994"/>
                      </a:lnTo>
                      <a:lnTo>
                        <a:pt x="925" y="995"/>
                      </a:lnTo>
                      <a:lnTo>
                        <a:pt x="924" y="995"/>
                      </a:lnTo>
                      <a:lnTo>
                        <a:pt x="924" y="992"/>
                      </a:lnTo>
                      <a:lnTo>
                        <a:pt x="925" y="992"/>
                      </a:lnTo>
                      <a:lnTo>
                        <a:pt x="925" y="993"/>
                      </a:lnTo>
                      <a:lnTo>
                        <a:pt x="926" y="993"/>
                      </a:lnTo>
                      <a:close/>
                      <a:moveTo>
                        <a:pt x="901" y="927"/>
                      </a:moveTo>
                      <a:lnTo>
                        <a:pt x="901" y="928"/>
                      </a:lnTo>
                      <a:lnTo>
                        <a:pt x="902" y="928"/>
                      </a:lnTo>
                      <a:lnTo>
                        <a:pt x="902" y="929"/>
                      </a:lnTo>
                      <a:lnTo>
                        <a:pt x="902" y="928"/>
                      </a:lnTo>
                      <a:lnTo>
                        <a:pt x="903" y="928"/>
                      </a:lnTo>
                      <a:lnTo>
                        <a:pt x="903" y="929"/>
                      </a:lnTo>
                      <a:lnTo>
                        <a:pt x="902" y="930"/>
                      </a:lnTo>
                      <a:lnTo>
                        <a:pt x="902" y="929"/>
                      </a:lnTo>
                      <a:lnTo>
                        <a:pt x="901" y="929"/>
                      </a:lnTo>
                      <a:lnTo>
                        <a:pt x="901" y="928"/>
                      </a:lnTo>
                      <a:lnTo>
                        <a:pt x="900" y="928"/>
                      </a:lnTo>
                      <a:lnTo>
                        <a:pt x="899" y="928"/>
                      </a:lnTo>
                      <a:lnTo>
                        <a:pt x="898" y="928"/>
                      </a:lnTo>
                      <a:lnTo>
                        <a:pt x="899" y="928"/>
                      </a:lnTo>
                      <a:lnTo>
                        <a:pt x="900" y="928"/>
                      </a:lnTo>
                      <a:lnTo>
                        <a:pt x="900" y="927"/>
                      </a:lnTo>
                      <a:lnTo>
                        <a:pt x="901" y="927"/>
                      </a:lnTo>
                      <a:close/>
                      <a:moveTo>
                        <a:pt x="891" y="967"/>
                      </a:moveTo>
                      <a:lnTo>
                        <a:pt x="891" y="968"/>
                      </a:lnTo>
                      <a:lnTo>
                        <a:pt x="890" y="968"/>
                      </a:lnTo>
                      <a:lnTo>
                        <a:pt x="890" y="967"/>
                      </a:lnTo>
                      <a:lnTo>
                        <a:pt x="889" y="967"/>
                      </a:lnTo>
                      <a:lnTo>
                        <a:pt x="889" y="968"/>
                      </a:lnTo>
                      <a:lnTo>
                        <a:pt x="889" y="967"/>
                      </a:lnTo>
                      <a:lnTo>
                        <a:pt x="890" y="967"/>
                      </a:lnTo>
                      <a:lnTo>
                        <a:pt x="890" y="966"/>
                      </a:lnTo>
                      <a:lnTo>
                        <a:pt x="890" y="965"/>
                      </a:lnTo>
                      <a:lnTo>
                        <a:pt x="891" y="966"/>
                      </a:lnTo>
                      <a:lnTo>
                        <a:pt x="891" y="967"/>
                      </a:lnTo>
                      <a:close/>
                      <a:moveTo>
                        <a:pt x="915" y="926"/>
                      </a:moveTo>
                      <a:lnTo>
                        <a:pt x="915" y="927"/>
                      </a:lnTo>
                      <a:lnTo>
                        <a:pt x="915" y="928"/>
                      </a:lnTo>
                      <a:lnTo>
                        <a:pt x="915" y="929"/>
                      </a:lnTo>
                      <a:lnTo>
                        <a:pt x="914" y="929"/>
                      </a:lnTo>
                      <a:lnTo>
                        <a:pt x="914" y="928"/>
                      </a:lnTo>
                      <a:lnTo>
                        <a:pt x="915" y="928"/>
                      </a:lnTo>
                      <a:lnTo>
                        <a:pt x="915" y="927"/>
                      </a:lnTo>
                      <a:lnTo>
                        <a:pt x="915" y="928"/>
                      </a:lnTo>
                      <a:lnTo>
                        <a:pt x="915" y="927"/>
                      </a:lnTo>
                      <a:lnTo>
                        <a:pt x="914" y="927"/>
                      </a:lnTo>
                      <a:lnTo>
                        <a:pt x="915" y="926"/>
                      </a:lnTo>
                      <a:close/>
                      <a:moveTo>
                        <a:pt x="825" y="748"/>
                      </a:moveTo>
                      <a:lnTo>
                        <a:pt x="824" y="748"/>
                      </a:lnTo>
                      <a:lnTo>
                        <a:pt x="823" y="748"/>
                      </a:lnTo>
                      <a:lnTo>
                        <a:pt x="823" y="747"/>
                      </a:lnTo>
                      <a:lnTo>
                        <a:pt x="824" y="747"/>
                      </a:lnTo>
                      <a:lnTo>
                        <a:pt x="825" y="747"/>
                      </a:lnTo>
                      <a:lnTo>
                        <a:pt x="825" y="748"/>
                      </a:lnTo>
                      <a:close/>
                      <a:moveTo>
                        <a:pt x="814" y="831"/>
                      </a:moveTo>
                      <a:lnTo>
                        <a:pt x="814" y="832"/>
                      </a:lnTo>
                      <a:lnTo>
                        <a:pt x="814" y="833"/>
                      </a:lnTo>
                      <a:lnTo>
                        <a:pt x="813" y="832"/>
                      </a:lnTo>
                      <a:lnTo>
                        <a:pt x="812" y="832"/>
                      </a:lnTo>
                      <a:lnTo>
                        <a:pt x="813" y="832"/>
                      </a:lnTo>
                      <a:lnTo>
                        <a:pt x="813" y="831"/>
                      </a:lnTo>
                      <a:lnTo>
                        <a:pt x="814" y="831"/>
                      </a:lnTo>
                      <a:close/>
                      <a:moveTo>
                        <a:pt x="904" y="948"/>
                      </a:moveTo>
                      <a:lnTo>
                        <a:pt x="903" y="949"/>
                      </a:lnTo>
                      <a:lnTo>
                        <a:pt x="902" y="949"/>
                      </a:lnTo>
                      <a:lnTo>
                        <a:pt x="902" y="948"/>
                      </a:lnTo>
                      <a:lnTo>
                        <a:pt x="901" y="948"/>
                      </a:lnTo>
                      <a:lnTo>
                        <a:pt x="902" y="948"/>
                      </a:lnTo>
                      <a:lnTo>
                        <a:pt x="903" y="948"/>
                      </a:lnTo>
                      <a:lnTo>
                        <a:pt x="903" y="947"/>
                      </a:lnTo>
                      <a:lnTo>
                        <a:pt x="904" y="947"/>
                      </a:lnTo>
                      <a:lnTo>
                        <a:pt x="903" y="947"/>
                      </a:lnTo>
                      <a:lnTo>
                        <a:pt x="904" y="948"/>
                      </a:lnTo>
                      <a:close/>
                      <a:moveTo>
                        <a:pt x="826" y="754"/>
                      </a:moveTo>
                      <a:lnTo>
                        <a:pt x="826" y="752"/>
                      </a:lnTo>
                      <a:lnTo>
                        <a:pt x="825" y="751"/>
                      </a:lnTo>
                      <a:lnTo>
                        <a:pt x="826" y="751"/>
                      </a:lnTo>
                      <a:lnTo>
                        <a:pt x="827" y="751"/>
                      </a:lnTo>
                      <a:lnTo>
                        <a:pt x="826" y="752"/>
                      </a:lnTo>
                      <a:lnTo>
                        <a:pt x="826" y="754"/>
                      </a:lnTo>
                      <a:close/>
                      <a:moveTo>
                        <a:pt x="867" y="1090"/>
                      </a:moveTo>
                      <a:lnTo>
                        <a:pt x="866" y="1089"/>
                      </a:lnTo>
                      <a:lnTo>
                        <a:pt x="867" y="1089"/>
                      </a:lnTo>
                      <a:lnTo>
                        <a:pt x="867" y="1088"/>
                      </a:lnTo>
                      <a:lnTo>
                        <a:pt x="867" y="1086"/>
                      </a:lnTo>
                      <a:lnTo>
                        <a:pt x="869" y="1085"/>
                      </a:lnTo>
                      <a:lnTo>
                        <a:pt x="869" y="1086"/>
                      </a:lnTo>
                      <a:lnTo>
                        <a:pt x="869" y="1088"/>
                      </a:lnTo>
                      <a:lnTo>
                        <a:pt x="867" y="1088"/>
                      </a:lnTo>
                      <a:lnTo>
                        <a:pt x="869" y="1088"/>
                      </a:lnTo>
                      <a:lnTo>
                        <a:pt x="869" y="1089"/>
                      </a:lnTo>
                      <a:lnTo>
                        <a:pt x="867" y="1090"/>
                      </a:lnTo>
                      <a:close/>
                      <a:moveTo>
                        <a:pt x="922" y="993"/>
                      </a:moveTo>
                      <a:lnTo>
                        <a:pt x="921" y="993"/>
                      </a:lnTo>
                      <a:lnTo>
                        <a:pt x="921" y="992"/>
                      </a:lnTo>
                      <a:lnTo>
                        <a:pt x="921" y="991"/>
                      </a:lnTo>
                      <a:lnTo>
                        <a:pt x="922" y="991"/>
                      </a:lnTo>
                      <a:lnTo>
                        <a:pt x="922" y="992"/>
                      </a:lnTo>
                      <a:lnTo>
                        <a:pt x="922" y="993"/>
                      </a:lnTo>
                      <a:close/>
                      <a:moveTo>
                        <a:pt x="821" y="744"/>
                      </a:moveTo>
                      <a:lnTo>
                        <a:pt x="820" y="744"/>
                      </a:lnTo>
                      <a:lnTo>
                        <a:pt x="819" y="744"/>
                      </a:lnTo>
                      <a:lnTo>
                        <a:pt x="820" y="744"/>
                      </a:lnTo>
                      <a:lnTo>
                        <a:pt x="820" y="743"/>
                      </a:lnTo>
                      <a:lnTo>
                        <a:pt x="821" y="742"/>
                      </a:lnTo>
                      <a:lnTo>
                        <a:pt x="821" y="743"/>
                      </a:lnTo>
                      <a:lnTo>
                        <a:pt x="820" y="743"/>
                      </a:lnTo>
                      <a:lnTo>
                        <a:pt x="821" y="743"/>
                      </a:lnTo>
                      <a:lnTo>
                        <a:pt x="821" y="744"/>
                      </a:lnTo>
                      <a:close/>
                      <a:moveTo>
                        <a:pt x="895" y="937"/>
                      </a:moveTo>
                      <a:lnTo>
                        <a:pt x="896" y="937"/>
                      </a:lnTo>
                      <a:lnTo>
                        <a:pt x="896" y="938"/>
                      </a:lnTo>
                      <a:lnTo>
                        <a:pt x="895" y="938"/>
                      </a:lnTo>
                      <a:lnTo>
                        <a:pt x="895" y="937"/>
                      </a:lnTo>
                      <a:close/>
                      <a:moveTo>
                        <a:pt x="913" y="1040"/>
                      </a:moveTo>
                      <a:lnTo>
                        <a:pt x="913" y="1039"/>
                      </a:lnTo>
                      <a:lnTo>
                        <a:pt x="914" y="1039"/>
                      </a:lnTo>
                      <a:lnTo>
                        <a:pt x="915" y="1038"/>
                      </a:lnTo>
                      <a:lnTo>
                        <a:pt x="914" y="1039"/>
                      </a:lnTo>
                      <a:lnTo>
                        <a:pt x="914" y="1040"/>
                      </a:lnTo>
                      <a:lnTo>
                        <a:pt x="913" y="1040"/>
                      </a:lnTo>
                      <a:close/>
                      <a:moveTo>
                        <a:pt x="899" y="865"/>
                      </a:moveTo>
                      <a:lnTo>
                        <a:pt x="900" y="865"/>
                      </a:lnTo>
                      <a:lnTo>
                        <a:pt x="899" y="865"/>
                      </a:lnTo>
                      <a:lnTo>
                        <a:pt x="900" y="865"/>
                      </a:lnTo>
                      <a:lnTo>
                        <a:pt x="900" y="866"/>
                      </a:lnTo>
                      <a:lnTo>
                        <a:pt x="899" y="866"/>
                      </a:lnTo>
                      <a:lnTo>
                        <a:pt x="899" y="867"/>
                      </a:lnTo>
                      <a:lnTo>
                        <a:pt x="900" y="867"/>
                      </a:lnTo>
                      <a:lnTo>
                        <a:pt x="899" y="866"/>
                      </a:lnTo>
                      <a:lnTo>
                        <a:pt x="899" y="865"/>
                      </a:lnTo>
                      <a:lnTo>
                        <a:pt x="898" y="865"/>
                      </a:lnTo>
                      <a:lnTo>
                        <a:pt x="899" y="865"/>
                      </a:lnTo>
                      <a:close/>
                      <a:moveTo>
                        <a:pt x="927" y="911"/>
                      </a:moveTo>
                      <a:lnTo>
                        <a:pt x="927" y="912"/>
                      </a:lnTo>
                      <a:lnTo>
                        <a:pt x="926" y="912"/>
                      </a:lnTo>
                      <a:lnTo>
                        <a:pt x="925" y="912"/>
                      </a:lnTo>
                      <a:lnTo>
                        <a:pt x="925" y="911"/>
                      </a:lnTo>
                      <a:lnTo>
                        <a:pt x="926" y="912"/>
                      </a:lnTo>
                      <a:lnTo>
                        <a:pt x="926" y="911"/>
                      </a:lnTo>
                      <a:lnTo>
                        <a:pt x="927" y="911"/>
                      </a:lnTo>
                      <a:close/>
                      <a:moveTo>
                        <a:pt x="886" y="902"/>
                      </a:moveTo>
                      <a:lnTo>
                        <a:pt x="887" y="902"/>
                      </a:lnTo>
                      <a:lnTo>
                        <a:pt x="887" y="904"/>
                      </a:lnTo>
                      <a:lnTo>
                        <a:pt x="886" y="904"/>
                      </a:lnTo>
                      <a:lnTo>
                        <a:pt x="886" y="902"/>
                      </a:lnTo>
                      <a:close/>
                      <a:moveTo>
                        <a:pt x="866" y="884"/>
                      </a:moveTo>
                      <a:lnTo>
                        <a:pt x="866" y="885"/>
                      </a:lnTo>
                      <a:lnTo>
                        <a:pt x="866" y="886"/>
                      </a:lnTo>
                      <a:lnTo>
                        <a:pt x="865" y="886"/>
                      </a:lnTo>
                      <a:lnTo>
                        <a:pt x="866" y="886"/>
                      </a:lnTo>
                      <a:lnTo>
                        <a:pt x="866" y="885"/>
                      </a:lnTo>
                      <a:lnTo>
                        <a:pt x="865" y="885"/>
                      </a:lnTo>
                      <a:lnTo>
                        <a:pt x="866" y="885"/>
                      </a:lnTo>
                      <a:lnTo>
                        <a:pt x="866" y="884"/>
                      </a:lnTo>
                      <a:close/>
                      <a:moveTo>
                        <a:pt x="919" y="989"/>
                      </a:moveTo>
                      <a:lnTo>
                        <a:pt x="921" y="989"/>
                      </a:lnTo>
                      <a:lnTo>
                        <a:pt x="921" y="991"/>
                      </a:lnTo>
                      <a:lnTo>
                        <a:pt x="919" y="991"/>
                      </a:lnTo>
                      <a:lnTo>
                        <a:pt x="919" y="989"/>
                      </a:lnTo>
                      <a:close/>
                      <a:moveTo>
                        <a:pt x="911" y="874"/>
                      </a:moveTo>
                      <a:lnTo>
                        <a:pt x="911" y="875"/>
                      </a:lnTo>
                      <a:lnTo>
                        <a:pt x="910" y="875"/>
                      </a:lnTo>
                      <a:lnTo>
                        <a:pt x="909" y="875"/>
                      </a:lnTo>
                      <a:lnTo>
                        <a:pt x="910" y="874"/>
                      </a:lnTo>
                      <a:lnTo>
                        <a:pt x="911" y="874"/>
                      </a:lnTo>
                      <a:close/>
                      <a:moveTo>
                        <a:pt x="918" y="973"/>
                      </a:moveTo>
                      <a:lnTo>
                        <a:pt x="918" y="974"/>
                      </a:lnTo>
                      <a:lnTo>
                        <a:pt x="918" y="973"/>
                      </a:lnTo>
                      <a:lnTo>
                        <a:pt x="918" y="971"/>
                      </a:lnTo>
                      <a:lnTo>
                        <a:pt x="918" y="973"/>
                      </a:lnTo>
                      <a:close/>
                      <a:moveTo>
                        <a:pt x="921" y="973"/>
                      </a:moveTo>
                      <a:lnTo>
                        <a:pt x="921" y="974"/>
                      </a:lnTo>
                      <a:lnTo>
                        <a:pt x="921" y="975"/>
                      </a:lnTo>
                      <a:lnTo>
                        <a:pt x="919" y="975"/>
                      </a:lnTo>
                      <a:lnTo>
                        <a:pt x="919" y="974"/>
                      </a:lnTo>
                      <a:lnTo>
                        <a:pt x="919" y="973"/>
                      </a:lnTo>
                      <a:lnTo>
                        <a:pt x="921" y="973"/>
                      </a:lnTo>
                      <a:lnTo>
                        <a:pt x="919" y="973"/>
                      </a:lnTo>
                      <a:lnTo>
                        <a:pt x="921" y="973"/>
                      </a:lnTo>
                      <a:close/>
                      <a:moveTo>
                        <a:pt x="818" y="838"/>
                      </a:moveTo>
                      <a:lnTo>
                        <a:pt x="818" y="839"/>
                      </a:lnTo>
                      <a:lnTo>
                        <a:pt x="816" y="838"/>
                      </a:lnTo>
                      <a:lnTo>
                        <a:pt x="815" y="838"/>
                      </a:lnTo>
                      <a:lnTo>
                        <a:pt x="816" y="838"/>
                      </a:lnTo>
                      <a:lnTo>
                        <a:pt x="818" y="838"/>
                      </a:lnTo>
                      <a:close/>
                      <a:moveTo>
                        <a:pt x="910" y="955"/>
                      </a:moveTo>
                      <a:lnTo>
                        <a:pt x="910" y="956"/>
                      </a:lnTo>
                      <a:lnTo>
                        <a:pt x="911" y="956"/>
                      </a:lnTo>
                      <a:lnTo>
                        <a:pt x="910" y="956"/>
                      </a:lnTo>
                      <a:lnTo>
                        <a:pt x="910" y="955"/>
                      </a:lnTo>
                      <a:lnTo>
                        <a:pt x="910" y="954"/>
                      </a:lnTo>
                      <a:lnTo>
                        <a:pt x="910" y="955"/>
                      </a:lnTo>
                      <a:lnTo>
                        <a:pt x="910" y="954"/>
                      </a:lnTo>
                      <a:lnTo>
                        <a:pt x="911" y="954"/>
                      </a:lnTo>
                      <a:lnTo>
                        <a:pt x="911" y="955"/>
                      </a:lnTo>
                      <a:lnTo>
                        <a:pt x="910" y="955"/>
                      </a:lnTo>
                      <a:close/>
                      <a:moveTo>
                        <a:pt x="903" y="1045"/>
                      </a:moveTo>
                      <a:lnTo>
                        <a:pt x="905" y="1045"/>
                      </a:lnTo>
                      <a:lnTo>
                        <a:pt x="905" y="1047"/>
                      </a:lnTo>
                      <a:lnTo>
                        <a:pt x="903" y="1047"/>
                      </a:lnTo>
                      <a:lnTo>
                        <a:pt x="903" y="1045"/>
                      </a:lnTo>
                      <a:close/>
                      <a:moveTo>
                        <a:pt x="902" y="910"/>
                      </a:moveTo>
                      <a:lnTo>
                        <a:pt x="902" y="911"/>
                      </a:lnTo>
                      <a:lnTo>
                        <a:pt x="901" y="911"/>
                      </a:lnTo>
                      <a:lnTo>
                        <a:pt x="900" y="911"/>
                      </a:lnTo>
                      <a:lnTo>
                        <a:pt x="900" y="912"/>
                      </a:lnTo>
                      <a:lnTo>
                        <a:pt x="899" y="912"/>
                      </a:lnTo>
                      <a:lnTo>
                        <a:pt x="900" y="912"/>
                      </a:lnTo>
                      <a:lnTo>
                        <a:pt x="900" y="911"/>
                      </a:lnTo>
                      <a:lnTo>
                        <a:pt x="901" y="911"/>
                      </a:lnTo>
                      <a:lnTo>
                        <a:pt x="901" y="910"/>
                      </a:lnTo>
                      <a:lnTo>
                        <a:pt x="902" y="910"/>
                      </a:lnTo>
                      <a:close/>
                      <a:moveTo>
                        <a:pt x="911" y="1041"/>
                      </a:moveTo>
                      <a:lnTo>
                        <a:pt x="912" y="1040"/>
                      </a:lnTo>
                      <a:lnTo>
                        <a:pt x="912" y="1041"/>
                      </a:lnTo>
                      <a:lnTo>
                        <a:pt x="911" y="1041"/>
                      </a:lnTo>
                      <a:lnTo>
                        <a:pt x="910" y="1041"/>
                      </a:lnTo>
                      <a:lnTo>
                        <a:pt x="910" y="1042"/>
                      </a:lnTo>
                      <a:lnTo>
                        <a:pt x="910" y="1041"/>
                      </a:lnTo>
                      <a:lnTo>
                        <a:pt x="910" y="1040"/>
                      </a:lnTo>
                      <a:lnTo>
                        <a:pt x="911" y="1040"/>
                      </a:lnTo>
                      <a:lnTo>
                        <a:pt x="911" y="1041"/>
                      </a:lnTo>
                      <a:close/>
                      <a:moveTo>
                        <a:pt x="893" y="1039"/>
                      </a:moveTo>
                      <a:lnTo>
                        <a:pt x="895" y="1039"/>
                      </a:lnTo>
                      <a:lnTo>
                        <a:pt x="895" y="1040"/>
                      </a:lnTo>
                      <a:lnTo>
                        <a:pt x="893" y="1040"/>
                      </a:lnTo>
                      <a:lnTo>
                        <a:pt x="893" y="1039"/>
                      </a:lnTo>
                      <a:lnTo>
                        <a:pt x="893" y="1038"/>
                      </a:lnTo>
                      <a:lnTo>
                        <a:pt x="893" y="1037"/>
                      </a:lnTo>
                      <a:lnTo>
                        <a:pt x="895" y="1037"/>
                      </a:lnTo>
                      <a:lnTo>
                        <a:pt x="895" y="1038"/>
                      </a:lnTo>
                      <a:lnTo>
                        <a:pt x="893" y="1039"/>
                      </a:lnTo>
                      <a:close/>
                      <a:moveTo>
                        <a:pt x="919" y="902"/>
                      </a:moveTo>
                      <a:lnTo>
                        <a:pt x="921" y="902"/>
                      </a:lnTo>
                      <a:lnTo>
                        <a:pt x="921" y="904"/>
                      </a:lnTo>
                      <a:lnTo>
                        <a:pt x="919" y="904"/>
                      </a:lnTo>
                      <a:lnTo>
                        <a:pt x="919" y="902"/>
                      </a:lnTo>
                      <a:close/>
                      <a:moveTo>
                        <a:pt x="896" y="936"/>
                      </a:moveTo>
                      <a:lnTo>
                        <a:pt x="897" y="936"/>
                      </a:lnTo>
                      <a:lnTo>
                        <a:pt x="897" y="938"/>
                      </a:lnTo>
                      <a:lnTo>
                        <a:pt x="896" y="938"/>
                      </a:lnTo>
                      <a:lnTo>
                        <a:pt x="896" y="936"/>
                      </a:lnTo>
                      <a:close/>
                      <a:moveTo>
                        <a:pt x="872" y="889"/>
                      </a:moveTo>
                      <a:lnTo>
                        <a:pt x="873" y="889"/>
                      </a:lnTo>
                      <a:lnTo>
                        <a:pt x="873" y="890"/>
                      </a:lnTo>
                      <a:lnTo>
                        <a:pt x="872" y="890"/>
                      </a:lnTo>
                      <a:lnTo>
                        <a:pt x="872" y="889"/>
                      </a:lnTo>
                      <a:close/>
                      <a:moveTo>
                        <a:pt x="923" y="1016"/>
                      </a:moveTo>
                      <a:lnTo>
                        <a:pt x="924" y="1016"/>
                      </a:lnTo>
                      <a:lnTo>
                        <a:pt x="924" y="1017"/>
                      </a:lnTo>
                      <a:lnTo>
                        <a:pt x="923" y="1017"/>
                      </a:lnTo>
                      <a:lnTo>
                        <a:pt x="923" y="1016"/>
                      </a:lnTo>
                      <a:close/>
                      <a:moveTo>
                        <a:pt x="867" y="888"/>
                      </a:moveTo>
                      <a:lnTo>
                        <a:pt x="869" y="888"/>
                      </a:lnTo>
                      <a:lnTo>
                        <a:pt x="870" y="888"/>
                      </a:lnTo>
                      <a:lnTo>
                        <a:pt x="870" y="889"/>
                      </a:lnTo>
                      <a:lnTo>
                        <a:pt x="869" y="889"/>
                      </a:lnTo>
                      <a:lnTo>
                        <a:pt x="869" y="888"/>
                      </a:lnTo>
                      <a:lnTo>
                        <a:pt x="867" y="888"/>
                      </a:lnTo>
                      <a:close/>
                      <a:moveTo>
                        <a:pt x="934" y="1028"/>
                      </a:moveTo>
                      <a:lnTo>
                        <a:pt x="935" y="1028"/>
                      </a:lnTo>
                      <a:lnTo>
                        <a:pt x="935" y="1029"/>
                      </a:lnTo>
                      <a:lnTo>
                        <a:pt x="934" y="1029"/>
                      </a:lnTo>
                      <a:lnTo>
                        <a:pt x="934" y="1028"/>
                      </a:lnTo>
                      <a:close/>
                      <a:moveTo>
                        <a:pt x="902" y="927"/>
                      </a:moveTo>
                      <a:lnTo>
                        <a:pt x="903" y="927"/>
                      </a:lnTo>
                      <a:lnTo>
                        <a:pt x="903" y="928"/>
                      </a:lnTo>
                      <a:lnTo>
                        <a:pt x="902" y="928"/>
                      </a:lnTo>
                      <a:lnTo>
                        <a:pt x="902" y="927"/>
                      </a:lnTo>
                      <a:close/>
                      <a:moveTo>
                        <a:pt x="876" y="865"/>
                      </a:moveTo>
                      <a:lnTo>
                        <a:pt x="878" y="865"/>
                      </a:lnTo>
                      <a:lnTo>
                        <a:pt x="878" y="867"/>
                      </a:lnTo>
                      <a:lnTo>
                        <a:pt x="876" y="867"/>
                      </a:lnTo>
                      <a:lnTo>
                        <a:pt x="876" y="865"/>
                      </a:lnTo>
                      <a:close/>
                      <a:moveTo>
                        <a:pt x="918" y="963"/>
                      </a:moveTo>
                      <a:lnTo>
                        <a:pt x="918" y="965"/>
                      </a:lnTo>
                      <a:lnTo>
                        <a:pt x="918" y="963"/>
                      </a:lnTo>
                      <a:close/>
                      <a:moveTo>
                        <a:pt x="919" y="998"/>
                      </a:moveTo>
                      <a:lnTo>
                        <a:pt x="921" y="998"/>
                      </a:lnTo>
                      <a:lnTo>
                        <a:pt x="921" y="999"/>
                      </a:lnTo>
                      <a:lnTo>
                        <a:pt x="919" y="999"/>
                      </a:lnTo>
                      <a:lnTo>
                        <a:pt x="919" y="998"/>
                      </a:lnTo>
                      <a:close/>
                      <a:moveTo>
                        <a:pt x="871" y="888"/>
                      </a:moveTo>
                      <a:lnTo>
                        <a:pt x="872" y="888"/>
                      </a:lnTo>
                      <a:lnTo>
                        <a:pt x="872" y="889"/>
                      </a:lnTo>
                      <a:lnTo>
                        <a:pt x="871" y="889"/>
                      </a:lnTo>
                      <a:lnTo>
                        <a:pt x="871" y="888"/>
                      </a:lnTo>
                      <a:close/>
                      <a:moveTo>
                        <a:pt x="893" y="948"/>
                      </a:moveTo>
                      <a:lnTo>
                        <a:pt x="895" y="948"/>
                      </a:lnTo>
                      <a:lnTo>
                        <a:pt x="895" y="950"/>
                      </a:lnTo>
                      <a:lnTo>
                        <a:pt x="893" y="950"/>
                      </a:lnTo>
                      <a:lnTo>
                        <a:pt x="893" y="948"/>
                      </a:lnTo>
                      <a:close/>
                      <a:moveTo>
                        <a:pt x="908" y="954"/>
                      </a:moveTo>
                      <a:lnTo>
                        <a:pt x="909" y="954"/>
                      </a:lnTo>
                      <a:lnTo>
                        <a:pt x="909" y="955"/>
                      </a:lnTo>
                      <a:lnTo>
                        <a:pt x="908" y="955"/>
                      </a:lnTo>
                      <a:lnTo>
                        <a:pt x="908" y="954"/>
                      </a:lnTo>
                      <a:close/>
                      <a:moveTo>
                        <a:pt x="889" y="966"/>
                      </a:moveTo>
                      <a:lnTo>
                        <a:pt x="890" y="966"/>
                      </a:lnTo>
                      <a:lnTo>
                        <a:pt x="890" y="967"/>
                      </a:lnTo>
                      <a:lnTo>
                        <a:pt x="889" y="967"/>
                      </a:lnTo>
                      <a:lnTo>
                        <a:pt x="889" y="966"/>
                      </a:lnTo>
                      <a:close/>
                      <a:moveTo>
                        <a:pt x="929" y="1016"/>
                      </a:moveTo>
                      <a:lnTo>
                        <a:pt x="930" y="1016"/>
                      </a:lnTo>
                      <a:lnTo>
                        <a:pt x="930" y="1017"/>
                      </a:lnTo>
                      <a:lnTo>
                        <a:pt x="929" y="1017"/>
                      </a:lnTo>
                      <a:lnTo>
                        <a:pt x="929" y="1016"/>
                      </a:lnTo>
                      <a:close/>
                      <a:moveTo>
                        <a:pt x="895" y="936"/>
                      </a:moveTo>
                      <a:lnTo>
                        <a:pt x="896" y="936"/>
                      </a:lnTo>
                      <a:lnTo>
                        <a:pt x="895" y="936"/>
                      </a:lnTo>
                      <a:close/>
                      <a:moveTo>
                        <a:pt x="909" y="952"/>
                      </a:moveTo>
                      <a:lnTo>
                        <a:pt x="910" y="952"/>
                      </a:lnTo>
                      <a:lnTo>
                        <a:pt x="910" y="953"/>
                      </a:lnTo>
                      <a:lnTo>
                        <a:pt x="909" y="953"/>
                      </a:lnTo>
                      <a:lnTo>
                        <a:pt x="909" y="952"/>
                      </a:lnTo>
                      <a:close/>
                      <a:moveTo>
                        <a:pt x="903" y="906"/>
                      </a:moveTo>
                      <a:lnTo>
                        <a:pt x="904" y="906"/>
                      </a:lnTo>
                      <a:lnTo>
                        <a:pt x="904" y="907"/>
                      </a:lnTo>
                      <a:lnTo>
                        <a:pt x="903" y="907"/>
                      </a:lnTo>
                      <a:lnTo>
                        <a:pt x="903" y="906"/>
                      </a:lnTo>
                      <a:close/>
                      <a:moveTo>
                        <a:pt x="897" y="1041"/>
                      </a:moveTo>
                      <a:lnTo>
                        <a:pt x="898" y="1041"/>
                      </a:lnTo>
                      <a:lnTo>
                        <a:pt x="897" y="1041"/>
                      </a:lnTo>
                      <a:close/>
                      <a:moveTo>
                        <a:pt x="885" y="1055"/>
                      </a:moveTo>
                      <a:lnTo>
                        <a:pt x="886" y="1055"/>
                      </a:lnTo>
                      <a:lnTo>
                        <a:pt x="885" y="1055"/>
                      </a:lnTo>
                      <a:close/>
                      <a:moveTo>
                        <a:pt x="926" y="989"/>
                      </a:moveTo>
                      <a:lnTo>
                        <a:pt x="926" y="990"/>
                      </a:lnTo>
                      <a:lnTo>
                        <a:pt x="926" y="989"/>
                      </a:lnTo>
                      <a:close/>
                      <a:moveTo>
                        <a:pt x="917" y="966"/>
                      </a:moveTo>
                      <a:lnTo>
                        <a:pt x="918" y="966"/>
                      </a:lnTo>
                      <a:lnTo>
                        <a:pt x="918" y="967"/>
                      </a:lnTo>
                      <a:lnTo>
                        <a:pt x="917" y="967"/>
                      </a:lnTo>
                      <a:lnTo>
                        <a:pt x="917" y="966"/>
                      </a:lnTo>
                      <a:close/>
                      <a:moveTo>
                        <a:pt x="927" y="999"/>
                      </a:moveTo>
                      <a:lnTo>
                        <a:pt x="928" y="999"/>
                      </a:lnTo>
                      <a:lnTo>
                        <a:pt x="928" y="1000"/>
                      </a:lnTo>
                      <a:lnTo>
                        <a:pt x="927" y="1000"/>
                      </a:lnTo>
                      <a:lnTo>
                        <a:pt x="927" y="999"/>
                      </a:lnTo>
                      <a:close/>
                      <a:moveTo>
                        <a:pt x="895" y="1040"/>
                      </a:moveTo>
                      <a:lnTo>
                        <a:pt x="895" y="1041"/>
                      </a:lnTo>
                      <a:lnTo>
                        <a:pt x="895" y="1040"/>
                      </a:lnTo>
                      <a:close/>
                      <a:moveTo>
                        <a:pt x="922" y="1016"/>
                      </a:moveTo>
                      <a:lnTo>
                        <a:pt x="923" y="1016"/>
                      </a:lnTo>
                      <a:lnTo>
                        <a:pt x="923" y="1017"/>
                      </a:lnTo>
                      <a:lnTo>
                        <a:pt x="922" y="1017"/>
                      </a:lnTo>
                      <a:lnTo>
                        <a:pt x="922" y="1016"/>
                      </a:lnTo>
                      <a:close/>
                      <a:moveTo>
                        <a:pt x="905" y="927"/>
                      </a:moveTo>
                      <a:lnTo>
                        <a:pt x="905" y="928"/>
                      </a:lnTo>
                      <a:lnTo>
                        <a:pt x="905" y="927"/>
                      </a:lnTo>
                      <a:close/>
                      <a:moveTo>
                        <a:pt x="896" y="899"/>
                      </a:moveTo>
                      <a:lnTo>
                        <a:pt x="897" y="899"/>
                      </a:lnTo>
                      <a:lnTo>
                        <a:pt x="897" y="900"/>
                      </a:lnTo>
                      <a:lnTo>
                        <a:pt x="896" y="900"/>
                      </a:lnTo>
                      <a:lnTo>
                        <a:pt x="896" y="899"/>
                      </a:lnTo>
                      <a:close/>
                      <a:moveTo>
                        <a:pt x="904" y="906"/>
                      </a:moveTo>
                      <a:lnTo>
                        <a:pt x="905" y="906"/>
                      </a:lnTo>
                      <a:lnTo>
                        <a:pt x="904" y="906"/>
                      </a:lnTo>
                      <a:close/>
                      <a:moveTo>
                        <a:pt x="924" y="988"/>
                      </a:moveTo>
                      <a:lnTo>
                        <a:pt x="925" y="988"/>
                      </a:lnTo>
                      <a:lnTo>
                        <a:pt x="925" y="989"/>
                      </a:lnTo>
                      <a:lnTo>
                        <a:pt x="924" y="989"/>
                      </a:lnTo>
                      <a:lnTo>
                        <a:pt x="924" y="988"/>
                      </a:lnTo>
                      <a:close/>
                      <a:moveTo>
                        <a:pt x="871" y="1069"/>
                      </a:moveTo>
                      <a:lnTo>
                        <a:pt x="872" y="1069"/>
                      </a:lnTo>
                      <a:lnTo>
                        <a:pt x="872" y="1070"/>
                      </a:lnTo>
                      <a:lnTo>
                        <a:pt x="871" y="1070"/>
                      </a:lnTo>
                      <a:lnTo>
                        <a:pt x="871" y="1069"/>
                      </a:lnTo>
                      <a:close/>
                      <a:moveTo>
                        <a:pt x="897" y="929"/>
                      </a:moveTo>
                      <a:lnTo>
                        <a:pt x="897" y="930"/>
                      </a:lnTo>
                      <a:lnTo>
                        <a:pt x="897" y="929"/>
                      </a:lnTo>
                      <a:close/>
                      <a:moveTo>
                        <a:pt x="913" y="976"/>
                      </a:moveTo>
                      <a:lnTo>
                        <a:pt x="914" y="976"/>
                      </a:lnTo>
                      <a:lnTo>
                        <a:pt x="914" y="977"/>
                      </a:lnTo>
                      <a:lnTo>
                        <a:pt x="913" y="977"/>
                      </a:lnTo>
                      <a:lnTo>
                        <a:pt x="913" y="976"/>
                      </a:lnTo>
                      <a:close/>
                      <a:moveTo>
                        <a:pt x="872" y="1068"/>
                      </a:moveTo>
                      <a:lnTo>
                        <a:pt x="872" y="1069"/>
                      </a:lnTo>
                      <a:lnTo>
                        <a:pt x="872" y="1068"/>
                      </a:lnTo>
                      <a:close/>
                      <a:moveTo>
                        <a:pt x="910" y="915"/>
                      </a:moveTo>
                      <a:lnTo>
                        <a:pt x="910" y="916"/>
                      </a:lnTo>
                      <a:lnTo>
                        <a:pt x="910" y="915"/>
                      </a:lnTo>
                      <a:close/>
                      <a:moveTo>
                        <a:pt x="1099" y="184"/>
                      </a:moveTo>
                      <a:lnTo>
                        <a:pt x="1099" y="185"/>
                      </a:lnTo>
                      <a:lnTo>
                        <a:pt x="1099" y="186"/>
                      </a:lnTo>
                      <a:lnTo>
                        <a:pt x="1100" y="186"/>
                      </a:lnTo>
                      <a:lnTo>
                        <a:pt x="1100" y="187"/>
                      </a:lnTo>
                      <a:lnTo>
                        <a:pt x="1099" y="189"/>
                      </a:lnTo>
                      <a:lnTo>
                        <a:pt x="1100" y="190"/>
                      </a:lnTo>
                      <a:lnTo>
                        <a:pt x="1100" y="189"/>
                      </a:lnTo>
                      <a:lnTo>
                        <a:pt x="1102" y="189"/>
                      </a:lnTo>
                      <a:lnTo>
                        <a:pt x="1102" y="187"/>
                      </a:lnTo>
                      <a:lnTo>
                        <a:pt x="1103" y="187"/>
                      </a:lnTo>
                      <a:lnTo>
                        <a:pt x="1103" y="189"/>
                      </a:lnTo>
                      <a:lnTo>
                        <a:pt x="1103" y="190"/>
                      </a:lnTo>
                      <a:lnTo>
                        <a:pt x="1104" y="190"/>
                      </a:lnTo>
                      <a:lnTo>
                        <a:pt x="1104" y="191"/>
                      </a:lnTo>
                      <a:lnTo>
                        <a:pt x="1104" y="192"/>
                      </a:lnTo>
                      <a:lnTo>
                        <a:pt x="1104" y="193"/>
                      </a:lnTo>
                      <a:lnTo>
                        <a:pt x="1103" y="194"/>
                      </a:lnTo>
                      <a:lnTo>
                        <a:pt x="1104" y="194"/>
                      </a:lnTo>
                      <a:lnTo>
                        <a:pt x="1105" y="194"/>
                      </a:lnTo>
                      <a:lnTo>
                        <a:pt x="1105" y="195"/>
                      </a:lnTo>
                      <a:lnTo>
                        <a:pt x="1104" y="195"/>
                      </a:lnTo>
                      <a:lnTo>
                        <a:pt x="1105" y="196"/>
                      </a:lnTo>
                      <a:lnTo>
                        <a:pt x="1104" y="197"/>
                      </a:lnTo>
                      <a:lnTo>
                        <a:pt x="1103" y="197"/>
                      </a:lnTo>
                      <a:lnTo>
                        <a:pt x="1103" y="198"/>
                      </a:lnTo>
                      <a:lnTo>
                        <a:pt x="1103" y="199"/>
                      </a:lnTo>
                      <a:lnTo>
                        <a:pt x="1104" y="200"/>
                      </a:lnTo>
                      <a:lnTo>
                        <a:pt x="1104" y="202"/>
                      </a:lnTo>
                      <a:lnTo>
                        <a:pt x="1104" y="203"/>
                      </a:lnTo>
                      <a:lnTo>
                        <a:pt x="1105" y="203"/>
                      </a:lnTo>
                      <a:lnTo>
                        <a:pt x="1106" y="203"/>
                      </a:lnTo>
                      <a:lnTo>
                        <a:pt x="1106" y="204"/>
                      </a:lnTo>
                      <a:lnTo>
                        <a:pt x="1106" y="205"/>
                      </a:lnTo>
                      <a:lnTo>
                        <a:pt x="1106" y="206"/>
                      </a:lnTo>
                      <a:lnTo>
                        <a:pt x="1105" y="207"/>
                      </a:lnTo>
                      <a:lnTo>
                        <a:pt x="1106" y="207"/>
                      </a:lnTo>
                      <a:lnTo>
                        <a:pt x="1106" y="208"/>
                      </a:lnTo>
                      <a:lnTo>
                        <a:pt x="1107" y="208"/>
                      </a:lnTo>
                      <a:lnTo>
                        <a:pt x="1106" y="209"/>
                      </a:lnTo>
                      <a:lnTo>
                        <a:pt x="1105" y="209"/>
                      </a:lnTo>
                      <a:lnTo>
                        <a:pt x="1105" y="210"/>
                      </a:lnTo>
                      <a:lnTo>
                        <a:pt x="1106" y="210"/>
                      </a:lnTo>
                      <a:lnTo>
                        <a:pt x="1106" y="211"/>
                      </a:lnTo>
                      <a:lnTo>
                        <a:pt x="1106" y="212"/>
                      </a:lnTo>
                      <a:lnTo>
                        <a:pt x="1106" y="213"/>
                      </a:lnTo>
                      <a:lnTo>
                        <a:pt x="1107" y="213"/>
                      </a:lnTo>
                      <a:lnTo>
                        <a:pt x="1107" y="215"/>
                      </a:lnTo>
                      <a:lnTo>
                        <a:pt x="1106" y="215"/>
                      </a:lnTo>
                      <a:lnTo>
                        <a:pt x="1106" y="216"/>
                      </a:lnTo>
                      <a:lnTo>
                        <a:pt x="1107" y="217"/>
                      </a:lnTo>
                      <a:lnTo>
                        <a:pt x="1107" y="218"/>
                      </a:lnTo>
                      <a:lnTo>
                        <a:pt x="1106" y="218"/>
                      </a:lnTo>
                      <a:lnTo>
                        <a:pt x="1106" y="219"/>
                      </a:lnTo>
                      <a:lnTo>
                        <a:pt x="1105" y="219"/>
                      </a:lnTo>
                      <a:lnTo>
                        <a:pt x="1105" y="218"/>
                      </a:lnTo>
                      <a:lnTo>
                        <a:pt x="1104" y="218"/>
                      </a:lnTo>
                      <a:lnTo>
                        <a:pt x="1103" y="218"/>
                      </a:lnTo>
                      <a:lnTo>
                        <a:pt x="1104" y="218"/>
                      </a:lnTo>
                      <a:lnTo>
                        <a:pt x="1104" y="219"/>
                      </a:lnTo>
                      <a:lnTo>
                        <a:pt x="1104" y="220"/>
                      </a:lnTo>
                      <a:lnTo>
                        <a:pt x="1104" y="221"/>
                      </a:lnTo>
                      <a:lnTo>
                        <a:pt x="1104" y="222"/>
                      </a:lnTo>
                      <a:lnTo>
                        <a:pt x="1104" y="223"/>
                      </a:lnTo>
                      <a:lnTo>
                        <a:pt x="1105" y="223"/>
                      </a:lnTo>
                      <a:lnTo>
                        <a:pt x="1105" y="224"/>
                      </a:lnTo>
                      <a:lnTo>
                        <a:pt x="1105" y="225"/>
                      </a:lnTo>
                      <a:lnTo>
                        <a:pt x="1106" y="225"/>
                      </a:lnTo>
                      <a:lnTo>
                        <a:pt x="1107" y="225"/>
                      </a:lnTo>
                      <a:lnTo>
                        <a:pt x="1106" y="226"/>
                      </a:lnTo>
                      <a:lnTo>
                        <a:pt x="1107" y="228"/>
                      </a:lnTo>
                      <a:lnTo>
                        <a:pt x="1107" y="229"/>
                      </a:lnTo>
                      <a:lnTo>
                        <a:pt x="1108" y="229"/>
                      </a:lnTo>
                      <a:lnTo>
                        <a:pt x="1107" y="230"/>
                      </a:lnTo>
                      <a:lnTo>
                        <a:pt x="1108" y="231"/>
                      </a:lnTo>
                      <a:lnTo>
                        <a:pt x="1108" y="232"/>
                      </a:lnTo>
                      <a:lnTo>
                        <a:pt x="1109" y="232"/>
                      </a:lnTo>
                      <a:lnTo>
                        <a:pt x="1110" y="232"/>
                      </a:lnTo>
                      <a:lnTo>
                        <a:pt x="1110" y="233"/>
                      </a:lnTo>
                      <a:lnTo>
                        <a:pt x="1110" y="234"/>
                      </a:lnTo>
                      <a:lnTo>
                        <a:pt x="1111" y="235"/>
                      </a:lnTo>
                      <a:lnTo>
                        <a:pt x="1111" y="236"/>
                      </a:lnTo>
                      <a:lnTo>
                        <a:pt x="1111" y="237"/>
                      </a:lnTo>
                      <a:lnTo>
                        <a:pt x="1111" y="238"/>
                      </a:lnTo>
                      <a:lnTo>
                        <a:pt x="1111" y="240"/>
                      </a:lnTo>
                      <a:lnTo>
                        <a:pt x="1112" y="240"/>
                      </a:lnTo>
                      <a:lnTo>
                        <a:pt x="1112" y="241"/>
                      </a:lnTo>
                      <a:lnTo>
                        <a:pt x="1113" y="241"/>
                      </a:lnTo>
                      <a:lnTo>
                        <a:pt x="1116" y="242"/>
                      </a:lnTo>
                      <a:lnTo>
                        <a:pt x="1115" y="243"/>
                      </a:lnTo>
                      <a:lnTo>
                        <a:pt x="1116" y="243"/>
                      </a:lnTo>
                      <a:lnTo>
                        <a:pt x="1116" y="244"/>
                      </a:lnTo>
                      <a:lnTo>
                        <a:pt x="1116" y="245"/>
                      </a:lnTo>
                      <a:lnTo>
                        <a:pt x="1117" y="245"/>
                      </a:lnTo>
                      <a:lnTo>
                        <a:pt x="1118" y="245"/>
                      </a:lnTo>
                      <a:lnTo>
                        <a:pt x="1118" y="246"/>
                      </a:lnTo>
                      <a:lnTo>
                        <a:pt x="1117" y="246"/>
                      </a:lnTo>
                      <a:lnTo>
                        <a:pt x="1117" y="247"/>
                      </a:lnTo>
                      <a:lnTo>
                        <a:pt x="1118" y="247"/>
                      </a:lnTo>
                      <a:lnTo>
                        <a:pt x="1118" y="248"/>
                      </a:lnTo>
                      <a:lnTo>
                        <a:pt x="1119" y="248"/>
                      </a:lnTo>
                      <a:lnTo>
                        <a:pt x="1119" y="249"/>
                      </a:lnTo>
                      <a:lnTo>
                        <a:pt x="1119" y="250"/>
                      </a:lnTo>
                      <a:lnTo>
                        <a:pt x="1118" y="251"/>
                      </a:lnTo>
                      <a:lnTo>
                        <a:pt x="1118" y="253"/>
                      </a:lnTo>
                      <a:lnTo>
                        <a:pt x="1119" y="253"/>
                      </a:lnTo>
                      <a:lnTo>
                        <a:pt x="1119" y="254"/>
                      </a:lnTo>
                      <a:lnTo>
                        <a:pt x="1119" y="255"/>
                      </a:lnTo>
                      <a:lnTo>
                        <a:pt x="1119" y="256"/>
                      </a:lnTo>
                      <a:lnTo>
                        <a:pt x="1120" y="256"/>
                      </a:lnTo>
                      <a:lnTo>
                        <a:pt x="1120" y="257"/>
                      </a:lnTo>
                      <a:lnTo>
                        <a:pt x="1120" y="258"/>
                      </a:lnTo>
                      <a:lnTo>
                        <a:pt x="1121" y="258"/>
                      </a:lnTo>
                      <a:lnTo>
                        <a:pt x="1122" y="259"/>
                      </a:lnTo>
                      <a:lnTo>
                        <a:pt x="1123" y="259"/>
                      </a:lnTo>
                      <a:lnTo>
                        <a:pt x="1122" y="258"/>
                      </a:lnTo>
                      <a:lnTo>
                        <a:pt x="1123" y="258"/>
                      </a:lnTo>
                      <a:lnTo>
                        <a:pt x="1123" y="259"/>
                      </a:lnTo>
                      <a:lnTo>
                        <a:pt x="1124" y="259"/>
                      </a:lnTo>
                      <a:lnTo>
                        <a:pt x="1125" y="260"/>
                      </a:lnTo>
                      <a:lnTo>
                        <a:pt x="1126" y="260"/>
                      </a:lnTo>
                      <a:lnTo>
                        <a:pt x="1126" y="261"/>
                      </a:lnTo>
                      <a:lnTo>
                        <a:pt x="1128" y="262"/>
                      </a:lnTo>
                      <a:lnTo>
                        <a:pt x="1126" y="262"/>
                      </a:lnTo>
                      <a:lnTo>
                        <a:pt x="1126" y="263"/>
                      </a:lnTo>
                      <a:lnTo>
                        <a:pt x="1128" y="263"/>
                      </a:lnTo>
                      <a:lnTo>
                        <a:pt x="1129" y="263"/>
                      </a:lnTo>
                      <a:lnTo>
                        <a:pt x="1130" y="263"/>
                      </a:lnTo>
                      <a:lnTo>
                        <a:pt x="1129" y="264"/>
                      </a:lnTo>
                      <a:lnTo>
                        <a:pt x="1130" y="264"/>
                      </a:lnTo>
                      <a:lnTo>
                        <a:pt x="1130" y="266"/>
                      </a:lnTo>
                      <a:lnTo>
                        <a:pt x="1131" y="264"/>
                      </a:lnTo>
                      <a:lnTo>
                        <a:pt x="1132" y="264"/>
                      </a:lnTo>
                      <a:lnTo>
                        <a:pt x="1133" y="264"/>
                      </a:lnTo>
                      <a:lnTo>
                        <a:pt x="1133" y="266"/>
                      </a:lnTo>
                      <a:lnTo>
                        <a:pt x="1133" y="267"/>
                      </a:lnTo>
                      <a:lnTo>
                        <a:pt x="1134" y="268"/>
                      </a:lnTo>
                      <a:lnTo>
                        <a:pt x="1134" y="269"/>
                      </a:lnTo>
                      <a:lnTo>
                        <a:pt x="1135" y="270"/>
                      </a:lnTo>
                      <a:lnTo>
                        <a:pt x="1136" y="270"/>
                      </a:lnTo>
                      <a:lnTo>
                        <a:pt x="1136" y="271"/>
                      </a:lnTo>
                      <a:lnTo>
                        <a:pt x="1136" y="272"/>
                      </a:lnTo>
                      <a:lnTo>
                        <a:pt x="1136" y="273"/>
                      </a:lnTo>
                      <a:lnTo>
                        <a:pt x="1136" y="274"/>
                      </a:lnTo>
                      <a:lnTo>
                        <a:pt x="1136" y="275"/>
                      </a:lnTo>
                      <a:lnTo>
                        <a:pt x="1135" y="276"/>
                      </a:lnTo>
                      <a:lnTo>
                        <a:pt x="1135" y="277"/>
                      </a:lnTo>
                      <a:lnTo>
                        <a:pt x="1135" y="279"/>
                      </a:lnTo>
                      <a:lnTo>
                        <a:pt x="1136" y="279"/>
                      </a:lnTo>
                      <a:lnTo>
                        <a:pt x="1137" y="279"/>
                      </a:lnTo>
                      <a:lnTo>
                        <a:pt x="1137" y="280"/>
                      </a:lnTo>
                      <a:lnTo>
                        <a:pt x="1136" y="280"/>
                      </a:lnTo>
                      <a:lnTo>
                        <a:pt x="1136" y="281"/>
                      </a:lnTo>
                      <a:lnTo>
                        <a:pt x="1136" y="282"/>
                      </a:lnTo>
                      <a:lnTo>
                        <a:pt x="1136" y="283"/>
                      </a:lnTo>
                      <a:lnTo>
                        <a:pt x="1135" y="282"/>
                      </a:lnTo>
                      <a:lnTo>
                        <a:pt x="1134" y="282"/>
                      </a:lnTo>
                      <a:lnTo>
                        <a:pt x="1134" y="283"/>
                      </a:lnTo>
                      <a:lnTo>
                        <a:pt x="1135" y="283"/>
                      </a:lnTo>
                      <a:lnTo>
                        <a:pt x="1135" y="284"/>
                      </a:lnTo>
                      <a:lnTo>
                        <a:pt x="1136" y="284"/>
                      </a:lnTo>
                      <a:lnTo>
                        <a:pt x="1136" y="285"/>
                      </a:lnTo>
                      <a:lnTo>
                        <a:pt x="1137" y="285"/>
                      </a:lnTo>
                      <a:lnTo>
                        <a:pt x="1138" y="287"/>
                      </a:lnTo>
                      <a:lnTo>
                        <a:pt x="1138" y="288"/>
                      </a:lnTo>
                      <a:lnTo>
                        <a:pt x="1137" y="288"/>
                      </a:lnTo>
                      <a:lnTo>
                        <a:pt x="1137" y="289"/>
                      </a:lnTo>
                      <a:lnTo>
                        <a:pt x="1136" y="290"/>
                      </a:lnTo>
                      <a:lnTo>
                        <a:pt x="1135" y="292"/>
                      </a:lnTo>
                      <a:lnTo>
                        <a:pt x="1134" y="290"/>
                      </a:lnTo>
                      <a:lnTo>
                        <a:pt x="1134" y="292"/>
                      </a:lnTo>
                      <a:lnTo>
                        <a:pt x="1131" y="293"/>
                      </a:lnTo>
                      <a:lnTo>
                        <a:pt x="1130" y="293"/>
                      </a:lnTo>
                      <a:lnTo>
                        <a:pt x="1130" y="294"/>
                      </a:lnTo>
                      <a:lnTo>
                        <a:pt x="1130" y="295"/>
                      </a:lnTo>
                      <a:lnTo>
                        <a:pt x="1130" y="296"/>
                      </a:lnTo>
                      <a:lnTo>
                        <a:pt x="1130" y="297"/>
                      </a:lnTo>
                      <a:lnTo>
                        <a:pt x="1130" y="298"/>
                      </a:lnTo>
                      <a:lnTo>
                        <a:pt x="1130" y="299"/>
                      </a:lnTo>
                      <a:lnTo>
                        <a:pt x="1130" y="301"/>
                      </a:lnTo>
                      <a:lnTo>
                        <a:pt x="1129" y="302"/>
                      </a:lnTo>
                      <a:lnTo>
                        <a:pt x="1128" y="303"/>
                      </a:lnTo>
                      <a:lnTo>
                        <a:pt x="1126" y="303"/>
                      </a:lnTo>
                      <a:lnTo>
                        <a:pt x="1125" y="303"/>
                      </a:lnTo>
                      <a:lnTo>
                        <a:pt x="1125" y="305"/>
                      </a:lnTo>
                      <a:lnTo>
                        <a:pt x="1126" y="306"/>
                      </a:lnTo>
                      <a:lnTo>
                        <a:pt x="1129" y="307"/>
                      </a:lnTo>
                      <a:lnTo>
                        <a:pt x="1131" y="306"/>
                      </a:lnTo>
                      <a:lnTo>
                        <a:pt x="1132" y="307"/>
                      </a:lnTo>
                      <a:lnTo>
                        <a:pt x="1132" y="308"/>
                      </a:lnTo>
                      <a:lnTo>
                        <a:pt x="1134" y="310"/>
                      </a:lnTo>
                      <a:lnTo>
                        <a:pt x="1135" y="311"/>
                      </a:lnTo>
                      <a:lnTo>
                        <a:pt x="1136" y="312"/>
                      </a:lnTo>
                      <a:lnTo>
                        <a:pt x="1136" y="314"/>
                      </a:lnTo>
                      <a:lnTo>
                        <a:pt x="1135" y="317"/>
                      </a:lnTo>
                      <a:lnTo>
                        <a:pt x="1135" y="318"/>
                      </a:lnTo>
                      <a:lnTo>
                        <a:pt x="1135" y="320"/>
                      </a:lnTo>
                      <a:lnTo>
                        <a:pt x="1136" y="321"/>
                      </a:lnTo>
                      <a:lnTo>
                        <a:pt x="1140" y="322"/>
                      </a:lnTo>
                      <a:lnTo>
                        <a:pt x="1140" y="323"/>
                      </a:lnTo>
                      <a:lnTo>
                        <a:pt x="1140" y="324"/>
                      </a:lnTo>
                      <a:lnTo>
                        <a:pt x="1138" y="324"/>
                      </a:lnTo>
                      <a:lnTo>
                        <a:pt x="1137" y="324"/>
                      </a:lnTo>
                      <a:lnTo>
                        <a:pt x="1136" y="324"/>
                      </a:lnTo>
                      <a:lnTo>
                        <a:pt x="1136" y="325"/>
                      </a:lnTo>
                      <a:lnTo>
                        <a:pt x="1135" y="326"/>
                      </a:lnTo>
                      <a:lnTo>
                        <a:pt x="1135" y="327"/>
                      </a:lnTo>
                      <a:lnTo>
                        <a:pt x="1135" y="328"/>
                      </a:lnTo>
                      <a:lnTo>
                        <a:pt x="1136" y="330"/>
                      </a:lnTo>
                      <a:lnTo>
                        <a:pt x="1137" y="331"/>
                      </a:lnTo>
                      <a:lnTo>
                        <a:pt x="1138" y="332"/>
                      </a:lnTo>
                      <a:lnTo>
                        <a:pt x="1141" y="333"/>
                      </a:lnTo>
                      <a:lnTo>
                        <a:pt x="1141" y="334"/>
                      </a:lnTo>
                      <a:lnTo>
                        <a:pt x="1142" y="334"/>
                      </a:lnTo>
                      <a:lnTo>
                        <a:pt x="1144" y="334"/>
                      </a:lnTo>
                      <a:lnTo>
                        <a:pt x="1145" y="335"/>
                      </a:lnTo>
                      <a:lnTo>
                        <a:pt x="1146" y="335"/>
                      </a:lnTo>
                      <a:lnTo>
                        <a:pt x="1146" y="337"/>
                      </a:lnTo>
                      <a:lnTo>
                        <a:pt x="1146" y="338"/>
                      </a:lnTo>
                      <a:lnTo>
                        <a:pt x="1146" y="339"/>
                      </a:lnTo>
                      <a:lnTo>
                        <a:pt x="1146" y="341"/>
                      </a:lnTo>
                      <a:lnTo>
                        <a:pt x="1145" y="344"/>
                      </a:lnTo>
                      <a:lnTo>
                        <a:pt x="1145" y="347"/>
                      </a:lnTo>
                      <a:lnTo>
                        <a:pt x="1145" y="349"/>
                      </a:lnTo>
                      <a:lnTo>
                        <a:pt x="1145" y="350"/>
                      </a:lnTo>
                      <a:lnTo>
                        <a:pt x="1145" y="352"/>
                      </a:lnTo>
                      <a:lnTo>
                        <a:pt x="1146" y="353"/>
                      </a:lnTo>
                      <a:lnTo>
                        <a:pt x="1147" y="354"/>
                      </a:lnTo>
                      <a:lnTo>
                        <a:pt x="1148" y="356"/>
                      </a:lnTo>
                      <a:lnTo>
                        <a:pt x="1150" y="357"/>
                      </a:lnTo>
                      <a:lnTo>
                        <a:pt x="1151" y="357"/>
                      </a:lnTo>
                      <a:lnTo>
                        <a:pt x="1153" y="357"/>
                      </a:lnTo>
                      <a:lnTo>
                        <a:pt x="1154" y="357"/>
                      </a:lnTo>
                      <a:lnTo>
                        <a:pt x="1155" y="357"/>
                      </a:lnTo>
                      <a:lnTo>
                        <a:pt x="1155" y="358"/>
                      </a:lnTo>
                      <a:lnTo>
                        <a:pt x="1156" y="358"/>
                      </a:lnTo>
                      <a:lnTo>
                        <a:pt x="1157" y="360"/>
                      </a:lnTo>
                      <a:lnTo>
                        <a:pt x="1158" y="361"/>
                      </a:lnTo>
                      <a:lnTo>
                        <a:pt x="1158" y="362"/>
                      </a:lnTo>
                      <a:lnTo>
                        <a:pt x="1159" y="364"/>
                      </a:lnTo>
                      <a:lnTo>
                        <a:pt x="1161" y="367"/>
                      </a:lnTo>
                      <a:lnTo>
                        <a:pt x="1162" y="369"/>
                      </a:lnTo>
                      <a:lnTo>
                        <a:pt x="1162" y="372"/>
                      </a:lnTo>
                      <a:lnTo>
                        <a:pt x="1163" y="373"/>
                      </a:lnTo>
                      <a:lnTo>
                        <a:pt x="1163" y="374"/>
                      </a:lnTo>
                      <a:lnTo>
                        <a:pt x="1164" y="375"/>
                      </a:lnTo>
                      <a:lnTo>
                        <a:pt x="1166" y="376"/>
                      </a:lnTo>
                      <a:lnTo>
                        <a:pt x="1167" y="378"/>
                      </a:lnTo>
                      <a:lnTo>
                        <a:pt x="1168" y="378"/>
                      </a:lnTo>
                      <a:lnTo>
                        <a:pt x="1167" y="379"/>
                      </a:lnTo>
                      <a:lnTo>
                        <a:pt x="1166" y="379"/>
                      </a:lnTo>
                      <a:lnTo>
                        <a:pt x="1164" y="379"/>
                      </a:lnTo>
                      <a:lnTo>
                        <a:pt x="1163" y="380"/>
                      </a:lnTo>
                      <a:lnTo>
                        <a:pt x="1160" y="382"/>
                      </a:lnTo>
                      <a:lnTo>
                        <a:pt x="1159" y="380"/>
                      </a:lnTo>
                      <a:lnTo>
                        <a:pt x="1158" y="380"/>
                      </a:lnTo>
                      <a:lnTo>
                        <a:pt x="1157" y="380"/>
                      </a:lnTo>
                      <a:lnTo>
                        <a:pt x="1157" y="382"/>
                      </a:lnTo>
                      <a:lnTo>
                        <a:pt x="1156" y="380"/>
                      </a:lnTo>
                      <a:lnTo>
                        <a:pt x="1155" y="380"/>
                      </a:lnTo>
                      <a:lnTo>
                        <a:pt x="1154" y="382"/>
                      </a:lnTo>
                      <a:lnTo>
                        <a:pt x="1153" y="382"/>
                      </a:lnTo>
                      <a:lnTo>
                        <a:pt x="1151" y="382"/>
                      </a:lnTo>
                      <a:lnTo>
                        <a:pt x="1148" y="382"/>
                      </a:lnTo>
                      <a:lnTo>
                        <a:pt x="1147" y="382"/>
                      </a:lnTo>
                      <a:lnTo>
                        <a:pt x="1146" y="383"/>
                      </a:lnTo>
                      <a:lnTo>
                        <a:pt x="1145" y="383"/>
                      </a:lnTo>
                      <a:lnTo>
                        <a:pt x="1145" y="384"/>
                      </a:lnTo>
                      <a:lnTo>
                        <a:pt x="1144" y="385"/>
                      </a:lnTo>
                      <a:lnTo>
                        <a:pt x="1143" y="385"/>
                      </a:lnTo>
                      <a:lnTo>
                        <a:pt x="1143" y="388"/>
                      </a:lnTo>
                      <a:lnTo>
                        <a:pt x="1144" y="387"/>
                      </a:lnTo>
                      <a:lnTo>
                        <a:pt x="1145" y="386"/>
                      </a:lnTo>
                      <a:lnTo>
                        <a:pt x="1145" y="385"/>
                      </a:lnTo>
                      <a:lnTo>
                        <a:pt x="1146" y="385"/>
                      </a:lnTo>
                      <a:lnTo>
                        <a:pt x="1147" y="385"/>
                      </a:lnTo>
                      <a:lnTo>
                        <a:pt x="1148" y="386"/>
                      </a:lnTo>
                      <a:lnTo>
                        <a:pt x="1149" y="386"/>
                      </a:lnTo>
                      <a:lnTo>
                        <a:pt x="1149" y="387"/>
                      </a:lnTo>
                      <a:lnTo>
                        <a:pt x="1148" y="387"/>
                      </a:lnTo>
                      <a:lnTo>
                        <a:pt x="1148" y="388"/>
                      </a:lnTo>
                      <a:lnTo>
                        <a:pt x="1147" y="388"/>
                      </a:lnTo>
                      <a:lnTo>
                        <a:pt x="1147" y="389"/>
                      </a:lnTo>
                      <a:lnTo>
                        <a:pt x="1146" y="389"/>
                      </a:lnTo>
                      <a:lnTo>
                        <a:pt x="1145" y="389"/>
                      </a:lnTo>
                      <a:lnTo>
                        <a:pt x="1144" y="389"/>
                      </a:lnTo>
                      <a:lnTo>
                        <a:pt x="1143" y="390"/>
                      </a:lnTo>
                      <a:lnTo>
                        <a:pt x="1142" y="390"/>
                      </a:lnTo>
                      <a:lnTo>
                        <a:pt x="1142" y="391"/>
                      </a:lnTo>
                      <a:lnTo>
                        <a:pt x="1141" y="392"/>
                      </a:lnTo>
                      <a:lnTo>
                        <a:pt x="1140" y="392"/>
                      </a:lnTo>
                      <a:lnTo>
                        <a:pt x="1140" y="393"/>
                      </a:lnTo>
                      <a:lnTo>
                        <a:pt x="1140" y="395"/>
                      </a:lnTo>
                      <a:lnTo>
                        <a:pt x="1138" y="395"/>
                      </a:lnTo>
                      <a:lnTo>
                        <a:pt x="1137" y="395"/>
                      </a:lnTo>
                      <a:lnTo>
                        <a:pt x="1137" y="396"/>
                      </a:lnTo>
                      <a:lnTo>
                        <a:pt x="1137" y="397"/>
                      </a:lnTo>
                      <a:lnTo>
                        <a:pt x="1136" y="397"/>
                      </a:lnTo>
                      <a:lnTo>
                        <a:pt x="1135" y="397"/>
                      </a:lnTo>
                      <a:lnTo>
                        <a:pt x="1134" y="397"/>
                      </a:lnTo>
                      <a:lnTo>
                        <a:pt x="1134" y="396"/>
                      </a:lnTo>
                      <a:lnTo>
                        <a:pt x="1133" y="396"/>
                      </a:lnTo>
                      <a:lnTo>
                        <a:pt x="1132" y="396"/>
                      </a:lnTo>
                      <a:lnTo>
                        <a:pt x="1130" y="396"/>
                      </a:lnTo>
                      <a:lnTo>
                        <a:pt x="1129" y="396"/>
                      </a:lnTo>
                      <a:lnTo>
                        <a:pt x="1128" y="396"/>
                      </a:lnTo>
                      <a:lnTo>
                        <a:pt x="1125" y="396"/>
                      </a:lnTo>
                      <a:lnTo>
                        <a:pt x="1124" y="395"/>
                      </a:lnTo>
                      <a:lnTo>
                        <a:pt x="1123" y="396"/>
                      </a:lnTo>
                      <a:lnTo>
                        <a:pt x="1122" y="396"/>
                      </a:lnTo>
                      <a:lnTo>
                        <a:pt x="1122" y="395"/>
                      </a:lnTo>
                      <a:lnTo>
                        <a:pt x="1121" y="395"/>
                      </a:lnTo>
                      <a:lnTo>
                        <a:pt x="1121" y="393"/>
                      </a:lnTo>
                      <a:lnTo>
                        <a:pt x="1120" y="393"/>
                      </a:lnTo>
                      <a:lnTo>
                        <a:pt x="1120" y="392"/>
                      </a:lnTo>
                      <a:lnTo>
                        <a:pt x="1119" y="392"/>
                      </a:lnTo>
                      <a:lnTo>
                        <a:pt x="1119" y="391"/>
                      </a:lnTo>
                      <a:lnTo>
                        <a:pt x="1118" y="391"/>
                      </a:lnTo>
                      <a:lnTo>
                        <a:pt x="1118" y="390"/>
                      </a:lnTo>
                      <a:lnTo>
                        <a:pt x="1117" y="390"/>
                      </a:lnTo>
                      <a:lnTo>
                        <a:pt x="1116" y="390"/>
                      </a:lnTo>
                      <a:lnTo>
                        <a:pt x="1116" y="389"/>
                      </a:lnTo>
                      <a:lnTo>
                        <a:pt x="1116" y="390"/>
                      </a:lnTo>
                      <a:lnTo>
                        <a:pt x="1116" y="389"/>
                      </a:lnTo>
                      <a:lnTo>
                        <a:pt x="1115" y="389"/>
                      </a:lnTo>
                      <a:lnTo>
                        <a:pt x="1111" y="388"/>
                      </a:lnTo>
                      <a:lnTo>
                        <a:pt x="1110" y="388"/>
                      </a:lnTo>
                      <a:lnTo>
                        <a:pt x="1111" y="388"/>
                      </a:lnTo>
                      <a:lnTo>
                        <a:pt x="1111" y="387"/>
                      </a:lnTo>
                      <a:lnTo>
                        <a:pt x="1110" y="387"/>
                      </a:lnTo>
                      <a:lnTo>
                        <a:pt x="1110" y="388"/>
                      </a:lnTo>
                      <a:lnTo>
                        <a:pt x="1109" y="387"/>
                      </a:lnTo>
                      <a:lnTo>
                        <a:pt x="1108" y="386"/>
                      </a:lnTo>
                      <a:lnTo>
                        <a:pt x="1107" y="386"/>
                      </a:lnTo>
                      <a:lnTo>
                        <a:pt x="1106" y="385"/>
                      </a:lnTo>
                      <a:lnTo>
                        <a:pt x="1105" y="385"/>
                      </a:lnTo>
                      <a:lnTo>
                        <a:pt x="1103" y="384"/>
                      </a:lnTo>
                      <a:lnTo>
                        <a:pt x="1103" y="383"/>
                      </a:lnTo>
                      <a:lnTo>
                        <a:pt x="1102" y="383"/>
                      </a:lnTo>
                      <a:lnTo>
                        <a:pt x="1102" y="384"/>
                      </a:lnTo>
                      <a:lnTo>
                        <a:pt x="1100" y="385"/>
                      </a:lnTo>
                      <a:lnTo>
                        <a:pt x="1097" y="385"/>
                      </a:lnTo>
                      <a:lnTo>
                        <a:pt x="1095" y="386"/>
                      </a:lnTo>
                      <a:lnTo>
                        <a:pt x="1094" y="387"/>
                      </a:lnTo>
                      <a:lnTo>
                        <a:pt x="1093" y="387"/>
                      </a:lnTo>
                      <a:lnTo>
                        <a:pt x="1093" y="388"/>
                      </a:lnTo>
                      <a:lnTo>
                        <a:pt x="1092" y="388"/>
                      </a:lnTo>
                      <a:lnTo>
                        <a:pt x="1091" y="389"/>
                      </a:lnTo>
                      <a:lnTo>
                        <a:pt x="1090" y="389"/>
                      </a:lnTo>
                      <a:lnTo>
                        <a:pt x="1090" y="390"/>
                      </a:lnTo>
                      <a:lnTo>
                        <a:pt x="1089" y="390"/>
                      </a:lnTo>
                      <a:lnTo>
                        <a:pt x="1086" y="391"/>
                      </a:lnTo>
                      <a:lnTo>
                        <a:pt x="1084" y="391"/>
                      </a:lnTo>
                      <a:lnTo>
                        <a:pt x="1084" y="392"/>
                      </a:lnTo>
                      <a:lnTo>
                        <a:pt x="1083" y="392"/>
                      </a:lnTo>
                      <a:lnTo>
                        <a:pt x="1083" y="391"/>
                      </a:lnTo>
                      <a:lnTo>
                        <a:pt x="1082" y="391"/>
                      </a:lnTo>
                      <a:lnTo>
                        <a:pt x="1082" y="390"/>
                      </a:lnTo>
                      <a:lnTo>
                        <a:pt x="1081" y="390"/>
                      </a:lnTo>
                      <a:lnTo>
                        <a:pt x="1080" y="390"/>
                      </a:lnTo>
                      <a:lnTo>
                        <a:pt x="1080" y="389"/>
                      </a:lnTo>
                      <a:lnTo>
                        <a:pt x="1079" y="389"/>
                      </a:lnTo>
                      <a:lnTo>
                        <a:pt x="1079" y="388"/>
                      </a:lnTo>
                      <a:lnTo>
                        <a:pt x="1078" y="388"/>
                      </a:lnTo>
                      <a:lnTo>
                        <a:pt x="1078" y="387"/>
                      </a:lnTo>
                      <a:lnTo>
                        <a:pt x="1078" y="388"/>
                      </a:lnTo>
                      <a:lnTo>
                        <a:pt x="1078" y="387"/>
                      </a:lnTo>
                      <a:lnTo>
                        <a:pt x="1077" y="387"/>
                      </a:lnTo>
                      <a:lnTo>
                        <a:pt x="1076" y="387"/>
                      </a:lnTo>
                      <a:lnTo>
                        <a:pt x="1076" y="386"/>
                      </a:lnTo>
                      <a:lnTo>
                        <a:pt x="1074" y="386"/>
                      </a:lnTo>
                      <a:lnTo>
                        <a:pt x="1074" y="385"/>
                      </a:lnTo>
                      <a:lnTo>
                        <a:pt x="1073" y="385"/>
                      </a:lnTo>
                      <a:lnTo>
                        <a:pt x="1073" y="384"/>
                      </a:lnTo>
                      <a:lnTo>
                        <a:pt x="1072" y="384"/>
                      </a:lnTo>
                      <a:lnTo>
                        <a:pt x="1071" y="384"/>
                      </a:lnTo>
                      <a:lnTo>
                        <a:pt x="1070" y="384"/>
                      </a:lnTo>
                      <a:lnTo>
                        <a:pt x="1070" y="383"/>
                      </a:lnTo>
                      <a:lnTo>
                        <a:pt x="1069" y="383"/>
                      </a:lnTo>
                      <a:lnTo>
                        <a:pt x="1068" y="383"/>
                      </a:lnTo>
                      <a:lnTo>
                        <a:pt x="1067" y="382"/>
                      </a:lnTo>
                      <a:lnTo>
                        <a:pt x="1066" y="382"/>
                      </a:lnTo>
                      <a:lnTo>
                        <a:pt x="1065" y="382"/>
                      </a:lnTo>
                      <a:lnTo>
                        <a:pt x="1065" y="383"/>
                      </a:lnTo>
                      <a:lnTo>
                        <a:pt x="1064" y="382"/>
                      </a:lnTo>
                      <a:lnTo>
                        <a:pt x="1063" y="383"/>
                      </a:lnTo>
                      <a:lnTo>
                        <a:pt x="1061" y="383"/>
                      </a:lnTo>
                      <a:lnTo>
                        <a:pt x="1061" y="384"/>
                      </a:lnTo>
                      <a:lnTo>
                        <a:pt x="1061" y="385"/>
                      </a:lnTo>
                      <a:lnTo>
                        <a:pt x="1060" y="384"/>
                      </a:lnTo>
                      <a:lnTo>
                        <a:pt x="1059" y="380"/>
                      </a:lnTo>
                      <a:lnTo>
                        <a:pt x="1058" y="379"/>
                      </a:lnTo>
                      <a:lnTo>
                        <a:pt x="1058" y="378"/>
                      </a:lnTo>
                      <a:lnTo>
                        <a:pt x="1057" y="377"/>
                      </a:lnTo>
                      <a:lnTo>
                        <a:pt x="1057" y="376"/>
                      </a:lnTo>
                      <a:lnTo>
                        <a:pt x="1056" y="376"/>
                      </a:lnTo>
                      <a:lnTo>
                        <a:pt x="1056" y="375"/>
                      </a:lnTo>
                      <a:lnTo>
                        <a:pt x="1056" y="374"/>
                      </a:lnTo>
                      <a:lnTo>
                        <a:pt x="1055" y="373"/>
                      </a:lnTo>
                      <a:lnTo>
                        <a:pt x="1054" y="371"/>
                      </a:lnTo>
                      <a:lnTo>
                        <a:pt x="1053" y="371"/>
                      </a:lnTo>
                      <a:lnTo>
                        <a:pt x="1052" y="370"/>
                      </a:lnTo>
                      <a:lnTo>
                        <a:pt x="1051" y="370"/>
                      </a:lnTo>
                      <a:lnTo>
                        <a:pt x="1051" y="369"/>
                      </a:lnTo>
                      <a:lnTo>
                        <a:pt x="1050" y="369"/>
                      </a:lnTo>
                      <a:lnTo>
                        <a:pt x="1048" y="367"/>
                      </a:lnTo>
                      <a:lnTo>
                        <a:pt x="1046" y="366"/>
                      </a:lnTo>
                      <a:lnTo>
                        <a:pt x="1045" y="365"/>
                      </a:lnTo>
                      <a:lnTo>
                        <a:pt x="1044" y="364"/>
                      </a:lnTo>
                      <a:lnTo>
                        <a:pt x="1043" y="364"/>
                      </a:lnTo>
                      <a:lnTo>
                        <a:pt x="1042" y="363"/>
                      </a:lnTo>
                      <a:lnTo>
                        <a:pt x="1040" y="362"/>
                      </a:lnTo>
                      <a:lnTo>
                        <a:pt x="1039" y="362"/>
                      </a:lnTo>
                      <a:lnTo>
                        <a:pt x="1040" y="362"/>
                      </a:lnTo>
                      <a:lnTo>
                        <a:pt x="1039" y="361"/>
                      </a:lnTo>
                      <a:lnTo>
                        <a:pt x="1038" y="362"/>
                      </a:lnTo>
                      <a:lnTo>
                        <a:pt x="1037" y="361"/>
                      </a:lnTo>
                      <a:lnTo>
                        <a:pt x="1035" y="361"/>
                      </a:lnTo>
                      <a:lnTo>
                        <a:pt x="1033" y="359"/>
                      </a:lnTo>
                      <a:lnTo>
                        <a:pt x="1032" y="359"/>
                      </a:lnTo>
                      <a:lnTo>
                        <a:pt x="1031" y="359"/>
                      </a:lnTo>
                      <a:lnTo>
                        <a:pt x="1030" y="359"/>
                      </a:lnTo>
                      <a:lnTo>
                        <a:pt x="1030" y="358"/>
                      </a:lnTo>
                      <a:lnTo>
                        <a:pt x="1029" y="358"/>
                      </a:lnTo>
                      <a:lnTo>
                        <a:pt x="1028" y="358"/>
                      </a:lnTo>
                      <a:lnTo>
                        <a:pt x="1028" y="357"/>
                      </a:lnTo>
                      <a:lnTo>
                        <a:pt x="1027" y="357"/>
                      </a:lnTo>
                      <a:lnTo>
                        <a:pt x="1026" y="357"/>
                      </a:lnTo>
                      <a:lnTo>
                        <a:pt x="1025" y="357"/>
                      </a:lnTo>
                      <a:lnTo>
                        <a:pt x="1024" y="357"/>
                      </a:lnTo>
                      <a:lnTo>
                        <a:pt x="1022" y="357"/>
                      </a:lnTo>
                      <a:lnTo>
                        <a:pt x="1021" y="357"/>
                      </a:lnTo>
                      <a:lnTo>
                        <a:pt x="1020" y="357"/>
                      </a:lnTo>
                      <a:lnTo>
                        <a:pt x="1019" y="357"/>
                      </a:lnTo>
                      <a:lnTo>
                        <a:pt x="1019" y="356"/>
                      </a:lnTo>
                      <a:lnTo>
                        <a:pt x="1018" y="356"/>
                      </a:lnTo>
                      <a:lnTo>
                        <a:pt x="1019" y="357"/>
                      </a:lnTo>
                      <a:lnTo>
                        <a:pt x="1018" y="357"/>
                      </a:lnTo>
                      <a:lnTo>
                        <a:pt x="1017" y="357"/>
                      </a:lnTo>
                      <a:lnTo>
                        <a:pt x="1017" y="356"/>
                      </a:lnTo>
                      <a:lnTo>
                        <a:pt x="1018" y="356"/>
                      </a:lnTo>
                      <a:lnTo>
                        <a:pt x="1017" y="356"/>
                      </a:lnTo>
                      <a:lnTo>
                        <a:pt x="1017" y="354"/>
                      </a:lnTo>
                      <a:lnTo>
                        <a:pt x="1016" y="353"/>
                      </a:lnTo>
                      <a:lnTo>
                        <a:pt x="1015" y="353"/>
                      </a:lnTo>
                      <a:lnTo>
                        <a:pt x="1015" y="352"/>
                      </a:lnTo>
                      <a:lnTo>
                        <a:pt x="1014" y="352"/>
                      </a:lnTo>
                      <a:lnTo>
                        <a:pt x="1009" y="352"/>
                      </a:lnTo>
                      <a:lnTo>
                        <a:pt x="1004" y="351"/>
                      </a:lnTo>
                      <a:lnTo>
                        <a:pt x="1003" y="351"/>
                      </a:lnTo>
                      <a:lnTo>
                        <a:pt x="1002" y="351"/>
                      </a:lnTo>
                      <a:lnTo>
                        <a:pt x="1002" y="350"/>
                      </a:lnTo>
                      <a:lnTo>
                        <a:pt x="1001" y="350"/>
                      </a:lnTo>
                      <a:lnTo>
                        <a:pt x="1001" y="349"/>
                      </a:lnTo>
                      <a:lnTo>
                        <a:pt x="1001" y="348"/>
                      </a:lnTo>
                      <a:lnTo>
                        <a:pt x="1000" y="348"/>
                      </a:lnTo>
                      <a:lnTo>
                        <a:pt x="1000" y="347"/>
                      </a:lnTo>
                      <a:lnTo>
                        <a:pt x="1000" y="346"/>
                      </a:lnTo>
                      <a:lnTo>
                        <a:pt x="999" y="346"/>
                      </a:lnTo>
                      <a:lnTo>
                        <a:pt x="999" y="345"/>
                      </a:lnTo>
                      <a:lnTo>
                        <a:pt x="999" y="344"/>
                      </a:lnTo>
                      <a:lnTo>
                        <a:pt x="997" y="344"/>
                      </a:lnTo>
                      <a:lnTo>
                        <a:pt x="996" y="341"/>
                      </a:lnTo>
                      <a:lnTo>
                        <a:pt x="996" y="340"/>
                      </a:lnTo>
                      <a:lnTo>
                        <a:pt x="995" y="339"/>
                      </a:lnTo>
                      <a:lnTo>
                        <a:pt x="995" y="338"/>
                      </a:lnTo>
                      <a:lnTo>
                        <a:pt x="994" y="336"/>
                      </a:lnTo>
                      <a:lnTo>
                        <a:pt x="993" y="335"/>
                      </a:lnTo>
                      <a:lnTo>
                        <a:pt x="993" y="334"/>
                      </a:lnTo>
                      <a:lnTo>
                        <a:pt x="992" y="334"/>
                      </a:lnTo>
                      <a:lnTo>
                        <a:pt x="991" y="333"/>
                      </a:lnTo>
                      <a:lnTo>
                        <a:pt x="990" y="333"/>
                      </a:lnTo>
                      <a:lnTo>
                        <a:pt x="989" y="333"/>
                      </a:lnTo>
                      <a:lnTo>
                        <a:pt x="988" y="333"/>
                      </a:lnTo>
                      <a:lnTo>
                        <a:pt x="987" y="333"/>
                      </a:lnTo>
                      <a:lnTo>
                        <a:pt x="986" y="333"/>
                      </a:lnTo>
                      <a:lnTo>
                        <a:pt x="984" y="333"/>
                      </a:lnTo>
                      <a:lnTo>
                        <a:pt x="983" y="333"/>
                      </a:lnTo>
                      <a:lnTo>
                        <a:pt x="983" y="332"/>
                      </a:lnTo>
                      <a:lnTo>
                        <a:pt x="982" y="332"/>
                      </a:lnTo>
                      <a:lnTo>
                        <a:pt x="982" y="331"/>
                      </a:lnTo>
                      <a:lnTo>
                        <a:pt x="981" y="331"/>
                      </a:lnTo>
                      <a:lnTo>
                        <a:pt x="980" y="331"/>
                      </a:lnTo>
                      <a:lnTo>
                        <a:pt x="979" y="330"/>
                      </a:lnTo>
                      <a:lnTo>
                        <a:pt x="978" y="330"/>
                      </a:lnTo>
                      <a:lnTo>
                        <a:pt x="977" y="328"/>
                      </a:lnTo>
                      <a:lnTo>
                        <a:pt x="976" y="328"/>
                      </a:lnTo>
                      <a:lnTo>
                        <a:pt x="975" y="328"/>
                      </a:lnTo>
                      <a:lnTo>
                        <a:pt x="974" y="328"/>
                      </a:lnTo>
                      <a:lnTo>
                        <a:pt x="973" y="328"/>
                      </a:lnTo>
                      <a:lnTo>
                        <a:pt x="971" y="328"/>
                      </a:lnTo>
                      <a:lnTo>
                        <a:pt x="970" y="328"/>
                      </a:lnTo>
                      <a:lnTo>
                        <a:pt x="969" y="330"/>
                      </a:lnTo>
                      <a:lnTo>
                        <a:pt x="968" y="330"/>
                      </a:lnTo>
                      <a:lnTo>
                        <a:pt x="967" y="331"/>
                      </a:lnTo>
                      <a:lnTo>
                        <a:pt x="968" y="330"/>
                      </a:lnTo>
                      <a:lnTo>
                        <a:pt x="967" y="330"/>
                      </a:lnTo>
                      <a:lnTo>
                        <a:pt x="966" y="330"/>
                      </a:lnTo>
                      <a:lnTo>
                        <a:pt x="965" y="330"/>
                      </a:lnTo>
                      <a:lnTo>
                        <a:pt x="964" y="330"/>
                      </a:lnTo>
                      <a:lnTo>
                        <a:pt x="965" y="330"/>
                      </a:lnTo>
                      <a:lnTo>
                        <a:pt x="965" y="331"/>
                      </a:lnTo>
                      <a:lnTo>
                        <a:pt x="964" y="332"/>
                      </a:lnTo>
                      <a:lnTo>
                        <a:pt x="963" y="332"/>
                      </a:lnTo>
                      <a:lnTo>
                        <a:pt x="962" y="332"/>
                      </a:lnTo>
                      <a:lnTo>
                        <a:pt x="961" y="333"/>
                      </a:lnTo>
                      <a:lnTo>
                        <a:pt x="960" y="333"/>
                      </a:lnTo>
                      <a:lnTo>
                        <a:pt x="958" y="333"/>
                      </a:lnTo>
                      <a:lnTo>
                        <a:pt x="957" y="333"/>
                      </a:lnTo>
                      <a:lnTo>
                        <a:pt x="956" y="333"/>
                      </a:lnTo>
                      <a:lnTo>
                        <a:pt x="955" y="333"/>
                      </a:lnTo>
                      <a:lnTo>
                        <a:pt x="954" y="334"/>
                      </a:lnTo>
                      <a:lnTo>
                        <a:pt x="954" y="333"/>
                      </a:lnTo>
                      <a:lnTo>
                        <a:pt x="953" y="334"/>
                      </a:lnTo>
                      <a:lnTo>
                        <a:pt x="952" y="334"/>
                      </a:lnTo>
                      <a:lnTo>
                        <a:pt x="952" y="333"/>
                      </a:lnTo>
                      <a:lnTo>
                        <a:pt x="951" y="333"/>
                      </a:lnTo>
                      <a:lnTo>
                        <a:pt x="951" y="332"/>
                      </a:lnTo>
                      <a:lnTo>
                        <a:pt x="950" y="332"/>
                      </a:lnTo>
                      <a:lnTo>
                        <a:pt x="950" y="331"/>
                      </a:lnTo>
                      <a:lnTo>
                        <a:pt x="949" y="331"/>
                      </a:lnTo>
                      <a:lnTo>
                        <a:pt x="948" y="330"/>
                      </a:lnTo>
                      <a:lnTo>
                        <a:pt x="948" y="328"/>
                      </a:lnTo>
                      <a:lnTo>
                        <a:pt x="947" y="328"/>
                      </a:lnTo>
                      <a:lnTo>
                        <a:pt x="945" y="328"/>
                      </a:lnTo>
                      <a:lnTo>
                        <a:pt x="944" y="327"/>
                      </a:lnTo>
                      <a:lnTo>
                        <a:pt x="943" y="327"/>
                      </a:lnTo>
                      <a:lnTo>
                        <a:pt x="942" y="327"/>
                      </a:lnTo>
                      <a:lnTo>
                        <a:pt x="941" y="326"/>
                      </a:lnTo>
                      <a:lnTo>
                        <a:pt x="940" y="326"/>
                      </a:lnTo>
                      <a:lnTo>
                        <a:pt x="939" y="326"/>
                      </a:lnTo>
                      <a:lnTo>
                        <a:pt x="939" y="325"/>
                      </a:lnTo>
                      <a:lnTo>
                        <a:pt x="938" y="325"/>
                      </a:lnTo>
                      <a:lnTo>
                        <a:pt x="937" y="325"/>
                      </a:lnTo>
                      <a:lnTo>
                        <a:pt x="936" y="325"/>
                      </a:lnTo>
                      <a:lnTo>
                        <a:pt x="935" y="325"/>
                      </a:lnTo>
                      <a:lnTo>
                        <a:pt x="934" y="325"/>
                      </a:lnTo>
                      <a:lnTo>
                        <a:pt x="932" y="325"/>
                      </a:lnTo>
                      <a:lnTo>
                        <a:pt x="929" y="326"/>
                      </a:lnTo>
                      <a:lnTo>
                        <a:pt x="928" y="326"/>
                      </a:lnTo>
                      <a:lnTo>
                        <a:pt x="927" y="326"/>
                      </a:lnTo>
                      <a:lnTo>
                        <a:pt x="926" y="326"/>
                      </a:lnTo>
                      <a:lnTo>
                        <a:pt x="926" y="327"/>
                      </a:lnTo>
                      <a:lnTo>
                        <a:pt x="925" y="327"/>
                      </a:lnTo>
                      <a:lnTo>
                        <a:pt x="924" y="327"/>
                      </a:lnTo>
                      <a:lnTo>
                        <a:pt x="923" y="327"/>
                      </a:lnTo>
                      <a:lnTo>
                        <a:pt x="922" y="327"/>
                      </a:lnTo>
                      <a:lnTo>
                        <a:pt x="921" y="326"/>
                      </a:lnTo>
                      <a:lnTo>
                        <a:pt x="919" y="325"/>
                      </a:lnTo>
                      <a:lnTo>
                        <a:pt x="919" y="324"/>
                      </a:lnTo>
                      <a:lnTo>
                        <a:pt x="918" y="324"/>
                      </a:lnTo>
                      <a:lnTo>
                        <a:pt x="919" y="325"/>
                      </a:lnTo>
                      <a:lnTo>
                        <a:pt x="918" y="325"/>
                      </a:lnTo>
                      <a:lnTo>
                        <a:pt x="918" y="324"/>
                      </a:lnTo>
                      <a:lnTo>
                        <a:pt x="917" y="323"/>
                      </a:lnTo>
                      <a:lnTo>
                        <a:pt x="917" y="322"/>
                      </a:lnTo>
                      <a:lnTo>
                        <a:pt x="918" y="320"/>
                      </a:lnTo>
                      <a:lnTo>
                        <a:pt x="918" y="319"/>
                      </a:lnTo>
                      <a:lnTo>
                        <a:pt x="918" y="318"/>
                      </a:lnTo>
                      <a:lnTo>
                        <a:pt x="918" y="317"/>
                      </a:lnTo>
                      <a:lnTo>
                        <a:pt x="918" y="315"/>
                      </a:lnTo>
                      <a:lnTo>
                        <a:pt x="918" y="314"/>
                      </a:lnTo>
                      <a:lnTo>
                        <a:pt x="919" y="313"/>
                      </a:lnTo>
                      <a:lnTo>
                        <a:pt x="919" y="312"/>
                      </a:lnTo>
                      <a:lnTo>
                        <a:pt x="919" y="311"/>
                      </a:lnTo>
                      <a:lnTo>
                        <a:pt x="919" y="310"/>
                      </a:lnTo>
                      <a:lnTo>
                        <a:pt x="918" y="308"/>
                      </a:lnTo>
                      <a:lnTo>
                        <a:pt x="918" y="306"/>
                      </a:lnTo>
                      <a:lnTo>
                        <a:pt x="918" y="305"/>
                      </a:lnTo>
                      <a:lnTo>
                        <a:pt x="917" y="303"/>
                      </a:lnTo>
                      <a:lnTo>
                        <a:pt x="917" y="302"/>
                      </a:lnTo>
                      <a:lnTo>
                        <a:pt x="917" y="301"/>
                      </a:lnTo>
                      <a:lnTo>
                        <a:pt x="916" y="300"/>
                      </a:lnTo>
                      <a:lnTo>
                        <a:pt x="916" y="299"/>
                      </a:lnTo>
                      <a:lnTo>
                        <a:pt x="915" y="298"/>
                      </a:lnTo>
                      <a:lnTo>
                        <a:pt x="915" y="297"/>
                      </a:lnTo>
                      <a:lnTo>
                        <a:pt x="914" y="296"/>
                      </a:lnTo>
                      <a:lnTo>
                        <a:pt x="914" y="295"/>
                      </a:lnTo>
                      <a:lnTo>
                        <a:pt x="913" y="294"/>
                      </a:lnTo>
                      <a:lnTo>
                        <a:pt x="912" y="293"/>
                      </a:lnTo>
                      <a:lnTo>
                        <a:pt x="912" y="292"/>
                      </a:lnTo>
                      <a:lnTo>
                        <a:pt x="910" y="290"/>
                      </a:lnTo>
                      <a:lnTo>
                        <a:pt x="910" y="289"/>
                      </a:lnTo>
                      <a:lnTo>
                        <a:pt x="909" y="289"/>
                      </a:lnTo>
                      <a:lnTo>
                        <a:pt x="908" y="288"/>
                      </a:lnTo>
                      <a:lnTo>
                        <a:pt x="906" y="288"/>
                      </a:lnTo>
                      <a:lnTo>
                        <a:pt x="906" y="287"/>
                      </a:lnTo>
                      <a:lnTo>
                        <a:pt x="905" y="287"/>
                      </a:lnTo>
                      <a:lnTo>
                        <a:pt x="905" y="286"/>
                      </a:lnTo>
                      <a:lnTo>
                        <a:pt x="904" y="286"/>
                      </a:lnTo>
                      <a:lnTo>
                        <a:pt x="903" y="286"/>
                      </a:lnTo>
                      <a:lnTo>
                        <a:pt x="902" y="285"/>
                      </a:lnTo>
                      <a:lnTo>
                        <a:pt x="901" y="284"/>
                      </a:lnTo>
                      <a:lnTo>
                        <a:pt x="900" y="284"/>
                      </a:lnTo>
                      <a:lnTo>
                        <a:pt x="899" y="284"/>
                      </a:lnTo>
                      <a:lnTo>
                        <a:pt x="899" y="283"/>
                      </a:lnTo>
                      <a:lnTo>
                        <a:pt x="898" y="283"/>
                      </a:lnTo>
                      <a:lnTo>
                        <a:pt x="897" y="283"/>
                      </a:lnTo>
                      <a:lnTo>
                        <a:pt x="892" y="282"/>
                      </a:lnTo>
                      <a:lnTo>
                        <a:pt x="891" y="281"/>
                      </a:lnTo>
                      <a:lnTo>
                        <a:pt x="890" y="281"/>
                      </a:lnTo>
                      <a:lnTo>
                        <a:pt x="889" y="281"/>
                      </a:lnTo>
                      <a:lnTo>
                        <a:pt x="888" y="281"/>
                      </a:lnTo>
                      <a:lnTo>
                        <a:pt x="887" y="281"/>
                      </a:lnTo>
                      <a:lnTo>
                        <a:pt x="886" y="281"/>
                      </a:lnTo>
                      <a:lnTo>
                        <a:pt x="886" y="280"/>
                      </a:lnTo>
                      <a:lnTo>
                        <a:pt x="885" y="280"/>
                      </a:lnTo>
                      <a:lnTo>
                        <a:pt x="885" y="279"/>
                      </a:lnTo>
                      <a:lnTo>
                        <a:pt x="885" y="277"/>
                      </a:lnTo>
                      <a:lnTo>
                        <a:pt x="884" y="277"/>
                      </a:lnTo>
                      <a:lnTo>
                        <a:pt x="884" y="276"/>
                      </a:lnTo>
                      <a:lnTo>
                        <a:pt x="884" y="275"/>
                      </a:lnTo>
                      <a:lnTo>
                        <a:pt x="884" y="274"/>
                      </a:lnTo>
                      <a:lnTo>
                        <a:pt x="883" y="274"/>
                      </a:lnTo>
                      <a:lnTo>
                        <a:pt x="883" y="273"/>
                      </a:lnTo>
                      <a:lnTo>
                        <a:pt x="882" y="272"/>
                      </a:lnTo>
                      <a:lnTo>
                        <a:pt x="882" y="271"/>
                      </a:lnTo>
                      <a:lnTo>
                        <a:pt x="880" y="271"/>
                      </a:lnTo>
                      <a:lnTo>
                        <a:pt x="880" y="270"/>
                      </a:lnTo>
                      <a:lnTo>
                        <a:pt x="879" y="270"/>
                      </a:lnTo>
                      <a:lnTo>
                        <a:pt x="879" y="269"/>
                      </a:lnTo>
                      <a:lnTo>
                        <a:pt x="878" y="269"/>
                      </a:lnTo>
                      <a:lnTo>
                        <a:pt x="878" y="268"/>
                      </a:lnTo>
                      <a:lnTo>
                        <a:pt x="878" y="267"/>
                      </a:lnTo>
                      <a:lnTo>
                        <a:pt x="877" y="267"/>
                      </a:lnTo>
                      <a:lnTo>
                        <a:pt x="877" y="266"/>
                      </a:lnTo>
                      <a:lnTo>
                        <a:pt x="876" y="266"/>
                      </a:lnTo>
                      <a:lnTo>
                        <a:pt x="875" y="266"/>
                      </a:lnTo>
                      <a:lnTo>
                        <a:pt x="875" y="264"/>
                      </a:lnTo>
                      <a:lnTo>
                        <a:pt x="874" y="264"/>
                      </a:lnTo>
                      <a:lnTo>
                        <a:pt x="874" y="263"/>
                      </a:lnTo>
                      <a:lnTo>
                        <a:pt x="874" y="262"/>
                      </a:lnTo>
                      <a:lnTo>
                        <a:pt x="874" y="263"/>
                      </a:lnTo>
                      <a:lnTo>
                        <a:pt x="873" y="263"/>
                      </a:lnTo>
                      <a:lnTo>
                        <a:pt x="872" y="263"/>
                      </a:lnTo>
                      <a:lnTo>
                        <a:pt x="872" y="262"/>
                      </a:lnTo>
                      <a:lnTo>
                        <a:pt x="871" y="262"/>
                      </a:lnTo>
                      <a:lnTo>
                        <a:pt x="866" y="260"/>
                      </a:lnTo>
                      <a:lnTo>
                        <a:pt x="865" y="259"/>
                      </a:lnTo>
                      <a:lnTo>
                        <a:pt x="863" y="258"/>
                      </a:lnTo>
                      <a:lnTo>
                        <a:pt x="862" y="257"/>
                      </a:lnTo>
                      <a:lnTo>
                        <a:pt x="861" y="257"/>
                      </a:lnTo>
                      <a:lnTo>
                        <a:pt x="861" y="256"/>
                      </a:lnTo>
                      <a:lnTo>
                        <a:pt x="860" y="256"/>
                      </a:lnTo>
                      <a:lnTo>
                        <a:pt x="859" y="256"/>
                      </a:lnTo>
                      <a:lnTo>
                        <a:pt x="860" y="255"/>
                      </a:lnTo>
                      <a:lnTo>
                        <a:pt x="859" y="255"/>
                      </a:lnTo>
                      <a:lnTo>
                        <a:pt x="859" y="254"/>
                      </a:lnTo>
                      <a:lnTo>
                        <a:pt x="858" y="254"/>
                      </a:lnTo>
                      <a:lnTo>
                        <a:pt x="858" y="255"/>
                      </a:lnTo>
                      <a:lnTo>
                        <a:pt x="857" y="255"/>
                      </a:lnTo>
                      <a:lnTo>
                        <a:pt x="855" y="255"/>
                      </a:lnTo>
                      <a:lnTo>
                        <a:pt x="855" y="254"/>
                      </a:lnTo>
                      <a:lnTo>
                        <a:pt x="858" y="255"/>
                      </a:lnTo>
                      <a:lnTo>
                        <a:pt x="858" y="254"/>
                      </a:lnTo>
                      <a:lnTo>
                        <a:pt x="857" y="254"/>
                      </a:lnTo>
                      <a:lnTo>
                        <a:pt x="858" y="253"/>
                      </a:lnTo>
                      <a:lnTo>
                        <a:pt x="858" y="254"/>
                      </a:lnTo>
                      <a:lnTo>
                        <a:pt x="859" y="253"/>
                      </a:lnTo>
                      <a:lnTo>
                        <a:pt x="858" y="253"/>
                      </a:lnTo>
                      <a:lnTo>
                        <a:pt x="857" y="254"/>
                      </a:lnTo>
                      <a:lnTo>
                        <a:pt x="857" y="253"/>
                      </a:lnTo>
                      <a:lnTo>
                        <a:pt x="857" y="254"/>
                      </a:lnTo>
                      <a:lnTo>
                        <a:pt x="855" y="254"/>
                      </a:lnTo>
                      <a:lnTo>
                        <a:pt x="855" y="253"/>
                      </a:lnTo>
                      <a:lnTo>
                        <a:pt x="854" y="253"/>
                      </a:lnTo>
                      <a:lnTo>
                        <a:pt x="854" y="251"/>
                      </a:lnTo>
                      <a:lnTo>
                        <a:pt x="854" y="250"/>
                      </a:lnTo>
                      <a:lnTo>
                        <a:pt x="853" y="250"/>
                      </a:lnTo>
                      <a:lnTo>
                        <a:pt x="853" y="251"/>
                      </a:lnTo>
                      <a:lnTo>
                        <a:pt x="853" y="253"/>
                      </a:lnTo>
                      <a:lnTo>
                        <a:pt x="852" y="253"/>
                      </a:lnTo>
                      <a:lnTo>
                        <a:pt x="852" y="251"/>
                      </a:lnTo>
                      <a:lnTo>
                        <a:pt x="851" y="251"/>
                      </a:lnTo>
                      <a:lnTo>
                        <a:pt x="850" y="251"/>
                      </a:lnTo>
                      <a:lnTo>
                        <a:pt x="849" y="251"/>
                      </a:lnTo>
                      <a:lnTo>
                        <a:pt x="848" y="251"/>
                      </a:lnTo>
                      <a:lnTo>
                        <a:pt x="847" y="251"/>
                      </a:lnTo>
                      <a:lnTo>
                        <a:pt x="846" y="251"/>
                      </a:lnTo>
                      <a:lnTo>
                        <a:pt x="845" y="251"/>
                      </a:lnTo>
                      <a:lnTo>
                        <a:pt x="844" y="251"/>
                      </a:lnTo>
                      <a:lnTo>
                        <a:pt x="844" y="250"/>
                      </a:lnTo>
                      <a:lnTo>
                        <a:pt x="842" y="250"/>
                      </a:lnTo>
                      <a:lnTo>
                        <a:pt x="841" y="250"/>
                      </a:lnTo>
                      <a:lnTo>
                        <a:pt x="840" y="250"/>
                      </a:lnTo>
                      <a:lnTo>
                        <a:pt x="839" y="250"/>
                      </a:lnTo>
                      <a:lnTo>
                        <a:pt x="838" y="250"/>
                      </a:lnTo>
                      <a:lnTo>
                        <a:pt x="837" y="250"/>
                      </a:lnTo>
                      <a:lnTo>
                        <a:pt x="837" y="249"/>
                      </a:lnTo>
                      <a:lnTo>
                        <a:pt x="836" y="249"/>
                      </a:lnTo>
                      <a:lnTo>
                        <a:pt x="835" y="249"/>
                      </a:lnTo>
                      <a:lnTo>
                        <a:pt x="835" y="250"/>
                      </a:lnTo>
                      <a:lnTo>
                        <a:pt x="834" y="249"/>
                      </a:lnTo>
                      <a:lnTo>
                        <a:pt x="834" y="248"/>
                      </a:lnTo>
                      <a:lnTo>
                        <a:pt x="833" y="248"/>
                      </a:lnTo>
                      <a:lnTo>
                        <a:pt x="833" y="249"/>
                      </a:lnTo>
                      <a:lnTo>
                        <a:pt x="833" y="248"/>
                      </a:lnTo>
                      <a:lnTo>
                        <a:pt x="833" y="249"/>
                      </a:lnTo>
                      <a:lnTo>
                        <a:pt x="832" y="249"/>
                      </a:lnTo>
                      <a:lnTo>
                        <a:pt x="832" y="248"/>
                      </a:lnTo>
                      <a:lnTo>
                        <a:pt x="831" y="248"/>
                      </a:lnTo>
                      <a:lnTo>
                        <a:pt x="829" y="248"/>
                      </a:lnTo>
                      <a:lnTo>
                        <a:pt x="828" y="248"/>
                      </a:lnTo>
                      <a:lnTo>
                        <a:pt x="828" y="247"/>
                      </a:lnTo>
                      <a:lnTo>
                        <a:pt x="827" y="247"/>
                      </a:lnTo>
                      <a:lnTo>
                        <a:pt x="827" y="246"/>
                      </a:lnTo>
                      <a:lnTo>
                        <a:pt x="826" y="246"/>
                      </a:lnTo>
                      <a:lnTo>
                        <a:pt x="825" y="246"/>
                      </a:lnTo>
                      <a:lnTo>
                        <a:pt x="824" y="246"/>
                      </a:lnTo>
                      <a:lnTo>
                        <a:pt x="824" y="245"/>
                      </a:lnTo>
                      <a:lnTo>
                        <a:pt x="823" y="245"/>
                      </a:lnTo>
                      <a:lnTo>
                        <a:pt x="822" y="245"/>
                      </a:lnTo>
                      <a:lnTo>
                        <a:pt x="821" y="245"/>
                      </a:lnTo>
                      <a:lnTo>
                        <a:pt x="820" y="245"/>
                      </a:lnTo>
                      <a:lnTo>
                        <a:pt x="819" y="245"/>
                      </a:lnTo>
                      <a:lnTo>
                        <a:pt x="818" y="245"/>
                      </a:lnTo>
                      <a:lnTo>
                        <a:pt x="818" y="244"/>
                      </a:lnTo>
                      <a:lnTo>
                        <a:pt x="818" y="245"/>
                      </a:lnTo>
                      <a:lnTo>
                        <a:pt x="816" y="244"/>
                      </a:lnTo>
                      <a:lnTo>
                        <a:pt x="816" y="245"/>
                      </a:lnTo>
                      <a:lnTo>
                        <a:pt x="816" y="244"/>
                      </a:lnTo>
                      <a:lnTo>
                        <a:pt x="815" y="244"/>
                      </a:lnTo>
                      <a:lnTo>
                        <a:pt x="814" y="244"/>
                      </a:lnTo>
                      <a:lnTo>
                        <a:pt x="813" y="244"/>
                      </a:lnTo>
                      <a:lnTo>
                        <a:pt x="812" y="244"/>
                      </a:lnTo>
                      <a:lnTo>
                        <a:pt x="812" y="243"/>
                      </a:lnTo>
                      <a:lnTo>
                        <a:pt x="813" y="243"/>
                      </a:lnTo>
                      <a:lnTo>
                        <a:pt x="813" y="242"/>
                      </a:lnTo>
                      <a:lnTo>
                        <a:pt x="814" y="242"/>
                      </a:lnTo>
                      <a:lnTo>
                        <a:pt x="814" y="241"/>
                      </a:lnTo>
                      <a:lnTo>
                        <a:pt x="814" y="240"/>
                      </a:lnTo>
                      <a:lnTo>
                        <a:pt x="813" y="240"/>
                      </a:lnTo>
                      <a:lnTo>
                        <a:pt x="812" y="240"/>
                      </a:lnTo>
                      <a:lnTo>
                        <a:pt x="812" y="241"/>
                      </a:lnTo>
                      <a:lnTo>
                        <a:pt x="812" y="242"/>
                      </a:lnTo>
                      <a:lnTo>
                        <a:pt x="811" y="243"/>
                      </a:lnTo>
                      <a:lnTo>
                        <a:pt x="810" y="243"/>
                      </a:lnTo>
                      <a:lnTo>
                        <a:pt x="810" y="242"/>
                      </a:lnTo>
                      <a:lnTo>
                        <a:pt x="810" y="241"/>
                      </a:lnTo>
                      <a:lnTo>
                        <a:pt x="809" y="241"/>
                      </a:lnTo>
                      <a:lnTo>
                        <a:pt x="809" y="240"/>
                      </a:lnTo>
                      <a:lnTo>
                        <a:pt x="808" y="240"/>
                      </a:lnTo>
                      <a:lnTo>
                        <a:pt x="807" y="240"/>
                      </a:lnTo>
                      <a:lnTo>
                        <a:pt x="807" y="241"/>
                      </a:lnTo>
                      <a:lnTo>
                        <a:pt x="807" y="242"/>
                      </a:lnTo>
                      <a:lnTo>
                        <a:pt x="807" y="241"/>
                      </a:lnTo>
                      <a:lnTo>
                        <a:pt x="807" y="240"/>
                      </a:lnTo>
                      <a:lnTo>
                        <a:pt x="806" y="240"/>
                      </a:lnTo>
                      <a:lnTo>
                        <a:pt x="805" y="240"/>
                      </a:lnTo>
                      <a:lnTo>
                        <a:pt x="803" y="240"/>
                      </a:lnTo>
                      <a:lnTo>
                        <a:pt x="802" y="240"/>
                      </a:lnTo>
                      <a:lnTo>
                        <a:pt x="801" y="240"/>
                      </a:lnTo>
                      <a:lnTo>
                        <a:pt x="800" y="240"/>
                      </a:lnTo>
                      <a:lnTo>
                        <a:pt x="799" y="240"/>
                      </a:lnTo>
                      <a:lnTo>
                        <a:pt x="799" y="241"/>
                      </a:lnTo>
                      <a:lnTo>
                        <a:pt x="799" y="240"/>
                      </a:lnTo>
                      <a:lnTo>
                        <a:pt x="799" y="241"/>
                      </a:lnTo>
                      <a:lnTo>
                        <a:pt x="799" y="240"/>
                      </a:lnTo>
                      <a:lnTo>
                        <a:pt x="798" y="240"/>
                      </a:lnTo>
                      <a:lnTo>
                        <a:pt x="797" y="240"/>
                      </a:lnTo>
                      <a:lnTo>
                        <a:pt x="797" y="238"/>
                      </a:lnTo>
                      <a:lnTo>
                        <a:pt x="797" y="237"/>
                      </a:lnTo>
                      <a:lnTo>
                        <a:pt x="796" y="237"/>
                      </a:lnTo>
                      <a:lnTo>
                        <a:pt x="796" y="236"/>
                      </a:lnTo>
                      <a:lnTo>
                        <a:pt x="795" y="236"/>
                      </a:lnTo>
                      <a:lnTo>
                        <a:pt x="794" y="235"/>
                      </a:lnTo>
                      <a:lnTo>
                        <a:pt x="793" y="235"/>
                      </a:lnTo>
                      <a:lnTo>
                        <a:pt x="792" y="235"/>
                      </a:lnTo>
                      <a:lnTo>
                        <a:pt x="790" y="235"/>
                      </a:lnTo>
                      <a:lnTo>
                        <a:pt x="787" y="235"/>
                      </a:lnTo>
                      <a:lnTo>
                        <a:pt x="784" y="236"/>
                      </a:lnTo>
                      <a:lnTo>
                        <a:pt x="783" y="236"/>
                      </a:lnTo>
                      <a:lnTo>
                        <a:pt x="782" y="236"/>
                      </a:lnTo>
                      <a:lnTo>
                        <a:pt x="781" y="236"/>
                      </a:lnTo>
                      <a:lnTo>
                        <a:pt x="781" y="237"/>
                      </a:lnTo>
                      <a:lnTo>
                        <a:pt x="780" y="237"/>
                      </a:lnTo>
                      <a:lnTo>
                        <a:pt x="780" y="238"/>
                      </a:lnTo>
                      <a:lnTo>
                        <a:pt x="779" y="238"/>
                      </a:lnTo>
                      <a:lnTo>
                        <a:pt x="777" y="238"/>
                      </a:lnTo>
                      <a:lnTo>
                        <a:pt x="777" y="240"/>
                      </a:lnTo>
                      <a:lnTo>
                        <a:pt x="776" y="240"/>
                      </a:lnTo>
                      <a:lnTo>
                        <a:pt x="776" y="241"/>
                      </a:lnTo>
                      <a:lnTo>
                        <a:pt x="775" y="241"/>
                      </a:lnTo>
                      <a:lnTo>
                        <a:pt x="774" y="242"/>
                      </a:lnTo>
                      <a:lnTo>
                        <a:pt x="773" y="243"/>
                      </a:lnTo>
                      <a:lnTo>
                        <a:pt x="772" y="243"/>
                      </a:lnTo>
                      <a:lnTo>
                        <a:pt x="772" y="244"/>
                      </a:lnTo>
                      <a:lnTo>
                        <a:pt x="771" y="244"/>
                      </a:lnTo>
                      <a:lnTo>
                        <a:pt x="770" y="245"/>
                      </a:lnTo>
                      <a:lnTo>
                        <a:pt x="769" y="246"/>
                      </a:lnTo>
                      <a:lnTo>
                        <a:pt x="768" y="247"/>
                      </a:lnTo>
                      <a:lnTo>
                        <a:pt x="767" y="248"/>
                      </a:lnTo>
                      <a:lnTo>
                        <a:pt x="766" y="248"/>
                      </a:lnTo>
                      <a:lnTo>
                        <a:pt x="764" y="248"/>
                      </a:lnTo>
                      <a:lnTo>
                        <a:pt x="764" y="249"/>
                      </a:lnTo>
                      <a:lnTo>
                        <a:pt x="763" y="250"/>
                      </a:lnTo>
                      <a:lnTo>
                        <a:pt x="762" y="250"/>
                      </a:lnTo>
                      <a:lnTo>
                        <a:pt x="762" y="251"/>
                      </a:lnTo>
                      <a:lnTo>
                        <a:pt x="761" y="251"/>
                      </a:lnTo>
                      <a:lnTo>
                        <a:pt x="761" y="253"/>
                      </a:lnTo>
                      <a:lnTo>
                        <a:pt x="761" y="244"/>
                      </a:lnTo>
                      <a:lnTo>
                        <a:pt x="761" y="231"/>
                      </a:lnTo>
                      <a:lnTo>
                        <a:pt x="761" y="230"/>
                      </a:lnTo>
                      <a:lnTo>
                        <a:pt x="760" y="230"/>
                      </a:lnTo>
                      <a:lnTo>
                        <a:pt x="761" y="230"/>
                      </a:lnTo>
                      <a:lnTo>
                        <a:pt x="761" y="229"/>
                      </a:lnTo>
                      <a:lnTo>
                        <a:pt x="760" y="221"/>
                      </a:lnTo>
                      <a:lnTo>
                        <a:pt x="760" y="216"/>
                      </a:lnTo>
                      <a:lnTo>
                        <a:pt x="760" y="202"/>
                      </a:lnTo>
                      <a:lnTo>
                        <a:pt x="760" y="200"/>
                      </a:lnTo>
                      <a:lnTo>
                        <a:pt x="760" y="196"/>
                      </a:lnTo>
                      <a:lnTo>
                        <a:pt x="760" y="185"/>
                      </a:lnTo>
                      <a:lnTo>
                        <a:pt x="760" y="179"/>
                      </a:lnTo>
                      <a:lnTo>
                        <a:pt x="760" y="174"/>
                      </a:lnTo>
                      <a:lnTo>
                        <a:pt x="760" y="170"/>
                      </a:lnTo>
                      <a:lnTo>
                        <a:pt x="760" y="166"/>
                      </a:lnTo>
                      <a:lnTo>
                        <a:pt x="760" y="163"/>
                      </a:lnTo>
                      <a:lnTo>
                        <a:pt x="760" y="158"/>
                      </a:lnTo>
                      <a:lnTo>
                        <a:pt x="760" y="157"/>
                      </a:lnTo>
                      <a:lnTo>
                        <a:pt x="760" y="156"/>
                      </a:lnTo>
                      <a:lnTo>
                        <a:pt x="760" y="153"/>
                      </a:lnTo>
                      <a:lnTo>
                        <a:pt x="760" y="152"/>
                      </a:lnTo>
                      <a:lnTo>
                        <a:pt x="760" y="151"/>
                      </a:lnTo>
                      <a:lnTo>
                        <a:pt x="761" y="151"/>
                      </a:lnTo>
                      <a:lnTo>
                        <a:pt x="760" y="150"/>
                      </a:lnTo>
                      <a:lnTo>
                        <a:pt x="760" y="148"/>
                      </a:lnTo>
                      <a:lnTo>
                        <a:pt x="760" y="135"/>
                      </a:lnTo>
                      <a:lnTo>
                        <a:pt x="760" y="134"/>
                      </a:lnTo>
                      <a:lnTo>
                        <a:pt x="760" y="128"/>
                      </a:lnTo>
                      <a:lnTo>
                        <a:pt x="760" y="121"/>
                      </a:lnTo>
                      <a:lnTo>
                        <a:pt x="760" y="117"/>
                      </a:lnTo>
                      <a:lnTo>
                        <a:pt x="761" y="112"/>
                      </a:lnTo>
                      <a:lnTo>
                        <a:pt x="760" y="110"/>
                      </a:lnTo>
                      <a:lnTo>
                        <a:pt x="760" y="109"/>
                      </a:lnTo>
                      <a:lnTo>
                        <a:pt x="760" y="108"/>
                      </a:lnTo>
                      <a:lnTo>
                        <a:pt x="760" y="107"/>
                      </a:lnTo>
                      <a:lnTo>
                        <a:pt x="760" y="105"/>
                      </a:lnTo>
                      <a:lnTo>
                        <a:pt x="760" y="102"/>
                      </a:lnTo>
                      <a:lnTo>
                        <a:pt x="760" y="99"/>
                      </a:lnTo>
                      <a:lnTo>
                        <a:pt x="759" y="97"/>
                      </a:lnTo>
                      <a:lnTo>
                        <a:pt x="759" y="96"/>
                      </a:lnTo>
                      <a:lnTo>
                        <a:pt x="759" y="95"/>
                      </a:lnTo>
                      <a:lnTo>
                        <a:pt x="758" y="95"/>
                      </a:lnTo>
                      <a:lnTo>
                        <a:pt x="759" y="95"/>
                      </a:lnTo>
                      <a:lnTo>
                        <a:pt x="759" y="94"/>
                      </a:lnTo>
                      <a:lnTo>
                        <a:pt x="758" y="94"/>
                      </a:lnTo>
                      <a:lnTo>
                        <a:pt x="758" y="93"/>
                      </a:lnTo>
                      <a:lnTo>
                        <a:pt x="759" y="93"/>
                      </a:lnTo>
                      <a:lnTo>
                        <a:pt x="758" y="93"/>
                      </a:lnTo>
                      <a:lnTo>
                        <a:pt x="759" y="93"/>
                      </a:lnTo>
                      <a:lnTo>
                        <a:pt x="759" y="92"/>
                      </a:lnTo>
                      <a:lnTo>
                        <a:pt x="760" y="92"/>
                      </a:lnTo>
                      <a:lnTo>
                        <a:pt x="760" y="91"/>
                      </a:lnTo>
                      <a:lnTo>
                        <a:pt x="760" y="90"/>
                      </a:lnTo>
                      <a:lnTo>
                        <a:pt x="760" y="91"/>
                      </a:lnTo>
                      <a:lnTo>
                        <a:pt x="760" y="90"/>
                      </a:lnTo>
                      <a:lnTo>
                        <a:pt x="761" y="90"/>
                      </a:lnTo>
                      <a:lnTo>
                        <a:pt x="761" y="89"/>
                      </a:lnTo>
                      <a:lnTo>
                        <a:pt x="761" y="88"/>
                      </a:lnTo>
                      <a:lnTo>
                        <a:pt x="761" y="87"/>
                      </a:lnTo>
                      <a:lnTo>
                        <a:pt x="760" y="87"/>
                      </a:lnTo>
                      <a:lnTo>
                        <a:pt x="760" y="86"/>
                      </a:lnTo>
                      <a:lnTo>
                        <a:pt x="760" y="84"/>
                      </a:lnTo>
                      <a:lnTo>
                        <a:pt x="759" y="84"/>
                      </a:lnTo>
                      <a:lnTo>
                        <a:pt x="759" y="83"/>
                      </a:lnTo>
                      <a:lnTo>
                        <a:pt x="758" y="83"/>
                      </a:lnTo>
                      <a:lnTo>
                        <a:pt x="758" y="82"/>
                      </a:lnTo>
                      <a:lnTo>
                        <a:pt x="758" y="81"/>
                      </a:lnTo>
                      <a:lnTo>
                        <a:pt x="758" y="80"/>
                      </a:lnTo>
                      <a:lnTo>
                        <a:pt x="758" y="81"/>
                      </a:lnTo>
                      <a:lnTo>
                        <a:pt x="758" y="80"/>
                      </a:lnTo>
                      <a:lnTo>
                        <a:pt x="759" y="80"/>
                      </a:lnTo>
                      <a:lnTo>
                        <a:pt x="758" y="79"/>
                      </a:lnTo>
                      <a:lnTo>
                        <a:pt x="759" y="79"/>
                      </a:lnTo>
                      <a:lnTo>
                        <a:pt x="758" y="79"/>
                      </a:lnTo>
                      <a:lnTo>
                        <a:pt x="758" y="78"/>
                      </a:lnTo>
                      <a:lnTo>
                        <a:pt x="759" y="78"/>
                      </a:lnTo>
                      <a:lnTo>
                        <a:pt x="758" y="78"/>
                      </a:lnTo>
                      <a:lnTo>
                        <a:pt x="759" y="78"/>
                      </a:lnTo>
                      <a:lnTo>
                        <a:pt x="758" y="78"/>
                      </a:lnTo>
                      <a:lnTo>
                        <a:pt x="759" y="78"/>
                      </a:lnTo>
                      <a:lnTo>
                        <a:pt x="759" y="77"/>
                      </a:lnTo>
                      <a:lnTo>
                        <a:pt x="758" y="77"/>
                      </a:lnTo>
                      <a:lnTo>
                        <a:pt x="759" y="77"/>
                      </a:lnTo>
                      <a:lnTo>
                        <a:pt x="758" y="77"/>
                      </a:lnTo>
                      <a:lnTo>
                        <a:pt x="758" y="76"/>
                      </a:lnTo>
                      <a:lnTo>
                        <a:pt x="759" y="76"/>
                      </a:lnTo>
                      <a:lnTo>
                        <a:pt x="758" y="76"/>
                      </a:lnTo>
                      <a:lnTo>
                        <a:pt x="759" y="76"/>
                      </a:lnTo>
                      <a:lnTo>
                        <a:pt x="758" y="76"/>
                      </a:lnTo>
                      <a:lnTo>
                        <a:pt x="757" y="76"/>
                      </a:lnTo>
                      <a:lnTo>
                        <a:pt x="757" y="75"/>
                      </a:lnTo>
                      <a:lnTo>
                        <a:pt x="757" y="74"/>
                      </a:lnTo>
                      <a:lnTo>
                        <a:pt x="758" y="74"/>
                      </a:lnTo>
                      <a:lnTo>
                        <a:pt x="758" y="73"/>
                      </a:lnTo>
                      <a:lnTo>
                        <a:pt x="757" y="73"/>
                      </a:lnTo>
                      <a:lnTo>
                        <a:pt x="758" y="73"/>
                      </a:lnTo>
                      <a:lnTo>
                        <a:pt x="757" y="73"/>
                      </a:lnTo>
                      <a:lnTo>
                        <a:pt x="757" y="71"/>
                      </a:lnTo>
                      <a:lnTo>
                        <a:pt x="758" y="70"/>
                      </a:lnTo>
                      <a:lnTo>
                        <a:pt x="757" y="70"/>
                      </a:lnTo>
                      <a:lnTo>
                        <a:pt x="758" y="70"/>
                      </a:lnTo>
                      <a:lnTo>
                        <a:pt x="757" y="70"/>
                      </a:lnTo>
                      <a:lnTo>
                        <a:pt x="758" y="69"/>
                      </a:lnTo>
                      <a:lnTo>
                        <a:pt x="757" y="69"/>
                      </a:lnTo>
                      <a:lnTo>
                        <a:pt x="757" y="68"/>
                      </a:lnTo>
                      <a:lnTo>
                        <a:pt x="756" y="68"/>
                      </a:lnTo>
                      <a:lnTo>
                        <a:pt x="757" y="67"/>
                      </a:lnTo>
                      <a:lnTo>
                        <a:pt x="757" y="66"/>
                      </a:lnTo>
                      <a:lnTo>
                        <a:pt x="756" y="66"/>
                      </a:lnTo>
                      <a:lnTo>
                        <a:pt x="757" y="66"/>
                      </a:lnTo>
                      <a:lnTo>
                        <a:pt x="758" y="66"/>
                      </a:lnTo>
                      <a:lnTo>
                        <a:pt x="758" y="65"/>
                      </a:lnTo>
                      <a:lnTo>
                        <a:pt x="759" y="65"/>
                      </a:lnTo>
                      <a:lnTo>
                        <a:pt x="758" y="65"/>
                      </a:lnTo>
                      <a:lnTo>
                        <a:pt x="758" y="64"/>
                      </a:lnTo>
                      <a:lnTo>
                        <a:pt x="759" y="64"/>
                      </a:lnTo>
                      <a:lnTo>
                        <a:pt x="759" y="63"/>
                      </a:lnTo>
                      <a:lnTo>
                        <a:pt x="760" y="63"/>
                      </a:lnTo>
                      <a:lnTo>
                        <a:pt x="759" y="63"/>
                      </a:lnTo>
                      <a:lnTo>
                        <a:pt x="759" y="62"/>
                      </a:lnTo>
                      <a:lnTo>
                        <a:pt x="759" y="61"/>
                      </a:lnTo>
                      <a:lnTo>
                        <a:pt x="759" y="60"/>
                      </a:lnTo>
                      <a:lnTo>
                        <a:pt x="759" y="58"/>
                      </a:lnTo>
                      <a:lnTo>
                        <a:pt x="760" y="58"/>
                      </a:lnTo>
                      <a:lnTo>
                        <a:pt x="759" y="58"/>
                      </a:lnTo>
                      <a:lnTo>
                        <a:pt x="759" y="57"/>
                      </a:lnTo>
                      <a:lnTo>
                        <a:pt x="760" y="57"/>
                      </a:lnTo>
                      <a:lnTo>
                        <a:pt x="759" y="57"/>
                      </a:lnTo>
                      <a:lnTo>
                        <a:pt x="760" y="57"/>
                      </a:lnTo>
                      <a:lnTo>
                        <a:pt x="760" y="56"/>
                      </a:lnTo>
                      <a:lnTo>
                        <a:pt x="760" y="55"/>
                      </a:lnTo>
                      <a:lnTo>
                        <a:pt x="760" y="54"/>
                      </a:lnTo>
                      <a:lnTo>
                        <a:pt x="759" y="54"/>
                      </a:lnTo>
                      <a:lnTo>
                        <a:pt x="760" y="54"/>
                      </a:lnTo>
                      <a:lnTo>
                        <a:pt x="760" y="53"/>
                      </a:lnTo>
                      <a:lnTo>
                        <a:pt x="761" y="53"/>
                      </a:lnTo>
                      <a:lnTo>
                        <a:pt x="761" y="52"/>
                      </a:lnTo>
                      <a:lnTo>
                        <a:pt x="760" y="53"/>
                      </a:lnTo>
                      <a:lnTo>
                        <a:pt x="760" y="52"/>
                      </a:lnTo>
                      <a:lnTo>
                        <a:pt x="761" y="52"/>
                      </a:lnTo>
                      <a:lnTo>
                        <a:pt x="760" y="52"/>
                      </a:lnTo>
                      <a:lnTo>
                        <a:pt x="761" y="51"/>
                      </a:lnTo>
                      <a:lnTo>
                        <a:pt x="760" y="51"/>
                      </a:lnTo>
                      <a:lnTo>
                        <a:pt x="759" y="50"/>
                      </a:lnTo>
                      <a:lnTo>
                        <a:pt x="758" y="50"/>
                      </a:lnTo>
                      <a:lnTo>
                        <a:pt x="759" y="50"/>
                      </a:lnTo>
                      <a:lnTo>
                        <a:pt x="759" y="49"/>
                      </a:lnTo>
                      <a:lnTo>
                        <a:pt x="758" y="49"/>
                      </a:lnTo>
                      <a:lnTo>
                        <a:pt x="758" y="48"/>
                      </a:lnTo>
                      <a:lnTo>
                        <a:pt x="757" y="48"/>
                      </a:lnTo>
                      <a:lnTo>
                        <a:pt x="757" y="49"/>
                      </a:lnTo>
                      <a:lnTo>
                        <a:pt x="757" y="48"/>
                      </a:lnTo>
                      <a:lnTo>
                        <a:pt x="757" y="46"/>
                      </a:lnTo>
                      <a:lnTo>
                        <a:pt x="757" y="48"/>
                      </a:lnTo>
                      <a:lnTo>
                        <a:pt x="757" y="46"/>
                      </a:lnTo>
                      <a:lnTo>
                        <a:pt x="757" y="45"/>
                      </a:lnTo>
                      <a:lnTo>
                        <a:pt x="758" y="45"/>
                      </a:lnTo>
                      <a:lnTo>
                        <a:pt x="757" y="45"/>
                      </a:lnTo>
                      <a:lnTo>
                        <a:pt x="758" y="44"/>
                      </a:lnTo>
                      <a:lnTo>
                        <a:pt x="757" y="43"/>
                      </a:lnTo>
                      <a:lnTo>
                        <a:pt x="757" y="42"/>
                      </a:lnTo>
                      <a:lnTo>
                        <a:pt x="758" y="42"/>
                      </a:lnTo>
                      <a:lnTo>
                        <a:pt x="758" y="41"/>
                      </a:lnTo>
                      <a:lnTo>
                        <a:pt x="757" y="41"/>
                      </a:lnTo>
                      <a:lnTo>
                        <a:pt x="757" y="40"/>
                      </a:lnTo>
                      <a:lnTo>
                        <a:pt x="756" y="40"/>
                      </a:lnTo>
                      <a:lnTo>
                        <a:pt x="756" y="39"/>
                      </a:lnTo>
                      <a:lnTo>
                        <a:pt x="756" y="38"/>
                      </a:lnTo>
                      <a:lnTo>
                        <a:pt x="757" y="36"/>
                      </a:lnTo>
                      <a:lnTo>
                        <a:pt x="757" y="35"/>
                      </a:lnTo>
                      <a:lnTo>
                        <a:pt x="757" y="33"/>
                      </a:lnTo>
                      <a:lnTo>
                        <a:pt x="757" y="32"/>
                      </a:lnTo>
                      <a:lnTo>
                        <a:pt x="756" y="32"/>
                      </a:lnTo>
                      <a:lnTo>
                        <a:pt x="757" y="32"/>
                      </a:lnTo>
                      <a:lnTo>
                        <a:pt x="757" y="31"/>
                      </a:lnTo>
                      <a:lnTo>
                        <a:pt x="756" y="31"/>
                      </a:lnTo>
                      <a:lnTo>
                        <a:pt x="757" y="31"/>
                      </a:lnTo>
                      <a:lnTo>
                        <a:pt x="757" y="30"/>
                      </a:lnTo>
                      <a:lnTo>
                        <a:pt x="757" y="29"/>
                      </a:lnTo>
                      <a:lnTo>
                        <a:pt x="758" y="29"/>
                      </a:lnTo>
                      <a:lnTo>
                        <a:pt x="759" y="29"/>
                      </a:lnTo>
                      <a:lnTo>
                        <a:pt x="759" y="28"/>
                      </a:lnTo>
                      <a:lnTo>
                        <a:pt x="759" y="27"/>
                      </a:lnTo>
                      <a:lnTo>
                        <a:pt x="759" y="26"/>
                      </a:lnTo>
                      <a:lnTo>
                        <a:pt x="758" y="26"/>
                      </a:lnTo>
                      <a:lnTo>
                        <a:pt x="758" y="25"/>
                      </a:lnTo>
                      <a:lnTo>
                        <a:pt x="757" y="25"/>
                      </a:lnTo>
                      <a:lnTo>
                        <a:pt x="757" y="24"/>
                      </a:lnTo>
                      <a:lnTo>
                        <a:pt x="757" y="23"/>
                      </a:lnTo>
                      <a:lnTo>
                        <a:pt x="757" y="24"/>
                      </a:lnTo>
                      <a:lnTo>
                        <a:pt x="757" y="23"/>
                      </a:lnTo>
                      <a:lnTo>
                        <a:pt x="756" y="23"/>
                      </a:lnTo>
                      <a:lnTo>
                        <a:pt x="756" y="22"/>
                      </a:lnTo>
                      <a:lnTo>
                        <a:pt x="756" y="20"/>
                      </a:lnTo>
                      <a:lnTo>
                        <a:pt x="756" y="19"/>
                      </a:lnTo>
                      <a:lnTo>
                        <a:pt x="757" y="19"/>
                      </a:lnTo>
                      <a:lnTo>
                        <a:pt x="756" y="19"/>
                      </a:lnTo>
                      <a:lnTo>
                        <a:pt x="757" y="18"/>
                      </a:lnTo>
                      <a:lnTo>
                        <a:pt x="756" y="18"/>
                      </a:lnTo>
                      <a:lnTo>
                        <a:pt x="757" y="17"/>
                      </a:lnTo>
                      <a:lnTo>
                        <a:pt x="757" y="16"/>
                      </a:lnTo>
                      <a:lnTo>
                        <a:pt x="756" y="16"/>
                      </a:lnTo>
                      <a:lnTo>
                        <a:pt x="756" y="15"/>
                      </a:lnTo>
                      <a:lnTo>
                        <a:pt x="755" y="15"/>
                      </a:lnTo>
                      <a:lnTo>
                        <a:pt x="756" y="15"/>
                      </a:lnTo>
                      <a:lnTo>
                        <a:pt x="756" y="14"/>
                      </a:lnTo>
                      <a:lnTo>
                        <a:pt x="756" y="13"/>
                      </a:lnTo>
                      <a:lnTo>
                        <a:pt x="755" y="13"/>
                      </a:lnTo>
                      <a:lnTo>
                        <a:pt x="755" y="12"/>
                      </a:lnTo>
                      <a:lnTo>
                        <a:pt x="754" y="12"/>
                      </a:lnTo>
                      <a:lnTo>
                        <a:pt x="754" y="13"/>
                      </a:lnTo>
                      <a:lnTo>
                        <a:pt x="754" y="12"/>
                      </a:lnTo>
                      <a:lnTo>
                        <a:pt x="754" y="11"/>
                      </a:lnTo>
                      <a:lnTo>
                        <a:pt x="755" y="10"/>
                      </a:lnTo>
                      <a:lnTo>
                        <a:pt x="754" y="9"/>
                      </a:lnTo>
                      <a:lnTo>
                        <a:pt x="754" y="7"/>
                      </a:lnTo>
                      <a:lnTo>
                        <a:pt x="754" y="6"/>
                      </a:lnTo>
                      <a:lnTo>
                        <a:pt x="754" y="5"/>
                      </a:lnTo>
                      <a:lnTo>
                        <a:pt x="761" y="6"/>
                      </a:lnTo>
                      <a:lnTo>
                        <a:pt x="772" y="9"/>
                      </a:lnTo>
                      <a:lnTo>
                        <a:pt x="774" y="9"/>
                      </a:lnTo>
                      <a:lnTo>
                        <a:pt x="777" y="10"/>
                      </a:lnTo>
                      <a:lnTo>
                        <a:pt x="779" y="10"/>
                      </a:lnTo>
                      <a:lnTo>
                        <a:pt x="786" y="12"/>
                      </a:lnTo>
                      <a:lnTo>
                        <a:pt x="798" y="14"/>
                      </a:lnTo>
                      <a:lnTo>
                        <a:pt x="803" y="15"/>
                      </a:lnTo>
                      <a:lnTo>
                        <a:pt x="807" y="15"/>
                      </a:lnTo>
                      <a:lnTo>
                        <a:pt x="807" y="16"/>
                      </a:lnTo>
                      <a:lnTo>
                        <a:pt x="809" y="16"/>
                      </a:lnTo>
                      <a:lnTo>
                        <a:pt x="810" y="16"/>
                      </a:lnTo>
                      <a:lnTo>
                        <a:pt x="811" y="16"/>
                      </a:lnTo>
                      <a:lnTo>
                        <a:pt x="825" y="19"/>
                      </a:lnTo>
                      <a:lnTo>
                        <a:pt x="826" y="19"/>
                      </a:lnTo>
                      <a:lnTo>
                        <a:pt x="831" y="20"/>
                      </a:lnTo>
                      <a:lnTo>
                        <a:pt x="835" y="22"/>
                      </a:lnTo>
                      <a:lnTo>
                        <a:pt x="837" y="23"/>
                      </a:lnTo>
                      <a:lnTo>
                        <a:pt x="838" y="23"/>
                      </a:lnTo>
                      <a:lnTo>
                        <a:pt x="841" y="24"/>
                      </a:lnTo>
                      <a:lnTo>
                        <a:pt x="851" y="25"/>
                      </a:lnTo>
                      <a:lnTo>
                        <a:pt x="861" y="27"/>
                      </a:lnTo>
                      <a:lnTo>
                        <a:pt x="869" y="29"/>
                      </a:lnTo>
                      <a:lnTo>
                        <a:pt x="871" y="29"/>
                      </a:lnTo>
                      <a:lnTo>
                        <a:pt x="877" y="30"/>
                      </a:lnTo>
                      <a:lnTo>
                        <a:pt x="883" y="31"/>
                      </a:lnTo>
                      <a:lnTo>
                        <a:pt x="885" y="32"/>
                      </a:lnTo>
                      <a:lnTo>
                        <a:pt x="897" y="35"/>
                      </a:lnTo>
                      <a:lnTo>
                        <a:pt x="904" y="36"/>
                      </a:lnTo>
                      <a:lnTo>
                        <a:pt x="909" y="37"/>
                      </a:lnTo>
                      <a:lnTo>
                        <a:pt x="910" y="37"/>
                      </a:lnTo>
                      <a:lnTo>
                        <a:pt x="912" y="38"/>
                      </a:lnTo>
                      <a:lnTo>
                        <a:pt x="913" y="38"/>
                      </a:lnTo>
                      <a:lnTo>
                        <a:pt x="914" y="38"/>
                      </a:lnTo>
                      <a:lnTo>
                        <a:pt x="915" y="38"/>
                      </a:lnTo>
                      <a:lnTo>
                        <a:pt x="917" y="38"/>
                      </a:lnTo>
                      <a:lnTo>
                        <a:pt x="918" y="38"/>
                      </a:lnTo>
                      <a:lnTo>
                        <a:pt x="921" y="38"/>
                      </a:lnTo>
                      <a:lnTo>
                        <a:pt x="922" y="38"/>
                      </a:lnTo>
                      <a:lnTo>
                        <a:pt x="924" y="38"/>
                      </a:lnTo>
                      <a:lnTo>
                        <a:pt x="932" y="38"/>
                      </a:lnTo>
                      <a:lnTo>
                        <a:pt x="935" y="38"/>
                      </a:lnTo>
                      <a:lnTo>
                        <a:pt x="942" y="38"/>
                      </a:lnTo>
                      <a:lnTo>
                        <a:pt x="943" y="38"/>
                      </a:lnTo>
                      <a:lnTo>
                        <a:pt x="948" y="38"/>
                      </a:lnTo>
                      <a:lnTo>
                        <a:pt x="951" y="38"/>
                      </a:lnTo>
                      <a:lnTo>
                        <a:pt x="956" y="38"/>
                      </a:lnTo>
                      <a:lnTo>
                        <a:pt x="966" y="38"/>
                      </a:lnTo>
                      <a:lnTo>
                        <a:pt x="969" y="38"/>
                      </a:lnTo>
                      <a:lnTo>
                        <a:pt x="973" y="38"/>
                      </a:lnTo>
                      <a:lnTo>
                        <a:pt x="987" y="38"/>
                      </a:lnTo>
                      <a:lnTo>
                        <a:pt x="989" y="38"/>
                      </a:lnTo>
                      <a:lnTo>
                        <a:pt x="990" y="38"/>
                      </a:lnTo>
                      <a:lnTo>
                        <a:pt x="993" y="38"/>
                      </a:lnTo>
                      <a:lnTo>
                        <a:pt x="994" y="38"/>
                      </a:lnTo>
                      <a:lnTo>
                        <a:pt x="995" y="38"/>
                      </a:lnTo>
                      <a:lnTo>
                        <a:pt x="1006" y="38"/>
                      </a:lnTo>
                      <a:lnTo>
                        <a:pt x="1006" y="39"/>
                      </a:lnTo>
                      <a:lnTo>
                        <a:pt x="1006" y="40"/>
                      </a:lnTo>
                      <a:lnTo>
                        <a:pt x="1005" y="40"/>
                      </a:lnTo>
                      <a:lnTo>
                        <a:pt x="1004" y="40"/>
                      </a:lnTo>
                      <a:lnTo>
                        <a:pt x="1003" y="39"/>
                      </a:lnTo>
                      <a:lnTo>
                        <a:pt x="1003" y="38"/>
                      </a:lnTo>
                      <a:lnTo>
                        <a:pt x="1002" y="38"/>
                      </a:lnTo>
                      <a:lnTo>
                        <a:pt x="1001" y="39"/>
                      </a:lnTo>
                      <a:lnTo>
                        <a:pt x="1001" y="40"/>
                      </a:lnTo>
                      <a:lnTo>
                        <a:pt x="1001" y="41"/>
                      </a:lnTo>
                      <a:lnTo>
                        <a:pt x="1002" y="41"/>
                      </a:lnTo>
                      <a:lnTo>
                        <a:pt x="1003" y="41"/>
                      </a:lnTo>
                      <a:lnTo>
                        <a:pt x="1003" y="42"/>
                      </a:lnTo>
                      <a:lnTo>
                        <a:pt x="1004" y="42"/>
                      </a:lnTo>
                      <a:lnTo>
                        <a:pt x="1005" y="42"/>
                      </a:lnTo>
                      <a:lnTo>
                        <a:pt x="1006" y="41"/>
                      </a:lnTo>
                      <a:lnTo>
                        <a:pt x="1007" y="41"/>
                      </a:lnTo>
                      <a:lnTo>
                        <a:pt x="1007" y="42"/>
                      </a:lnTo>
                      <a:lnTo>
                        <a:pt x="1007" y="43"/>
                      </a:lnTo>
                      <a:lnTo>
                        <a:pt x="1007" y="44"/>
                      </a:lnTo>
                      <a:lnTo>
                        <a:pt x="1007" y="45"/>
                      </a:lnTo>
                      <a:lnTo>
                        <a:pt x="1007" y="46"/>
                      </a:lnTo>
                      <a:lnTo>
                        <a:pt x="1007" y="48"/>
                      </a:lnTo>
                      <a:lnTo>
                        <a:pt x="1008" y="48"/>
                      </a:lnTo>
                      <a:lnTo>
                        <a:pt x="1009" y="46"/>
                      </a:lnTo>
                      <a:lnTo>
                        <a:pt x="1009" y="45"/>
                      </a:lnTo>
                      <a:lnTo>
                        <a:pt x="1009" y="44"/>
                      </a:lnTo>
                      <a:lnTo>
                        <a:pt x="1011" y="44"/>
                      </a:lnTo>
                      <a:lnTo>
                        <a:pt x="1011" y="43"/>
                      </a:lnTo>
                      <a:lnTo>
                        <a:pt x="1012" y="43"/>
                      </a:lnTo>
                      <a:lnTo>
                        <a:pt x="1013" y="44"/>
                      </a:lnTo>
                      <a:lnTo>
                        <a:pt x="1013" y="45"/>
                      </a:lnTo>
                      <a:lnTo>
                        <a:pt x="1014" y="46"/>
                      </a:lnTo>
                      <a:lnTo>
                        <a:pt x="1014" y="48"/>
                      </a:lnTo>
                      <a:lnTo>
                        <a:pt x="1014" y="49"/>
                      </a:lnTo>
                      <a:lnTo>
                        <a:pt x="1015" y="49"/>
                      </a:lnTo>
                      <a:lnTo>
                        <a:pt x="1016" y="49"/>
                      </a:lnTo>
                      <a:lnTo>
                        <a:pt x="1017" y="49"/>
                      </a:lnTo>
                      <a:lnTo>
                        <a:pt x="1017" y="50"/>
                      </a:lnTo>
                      <a:lnTo>
                        <a:pt x="1017" y="51"/>
                      </a:lnTo>
                      <a:lnTo>
                        <a:pt x="1017" y="52"/>
                      </a:lnTo>
                      <a:lnTo>
                        <a:pt x="1017" y="53"/>
                      </a:lnTo>
                      <a:lnTo>
                        <a:pt x="1018" y="52"/>
                      </a:lnTo>
                      <a:lnTo>
                        <a:pt x="1019" y="52"/>
                      </a:lnTo>
                      <a:lnTo>
                        <a:pt x="1020" y="52"/>
                      </a:lnTo>
                      <a:lnTo>
                        <a:pt x="1020" y="53"/>
                      </a:lnTo>
                      <a:lnTo>
                        <a:pt x="1019" y="53"/>
                      </a:lnTo>
                      <a:lnTo>
                        <a:pt x="1018" y="54"/>
                      </a:lnTo>
                      <a:lnTo>
                        <a:pt x="1018" y="55"/>
                      </a:lnTo>
                      <a:lnTo>
                        <a:pt x="1018" y="56"/>
                      </a:lnTo>
                      <a:lnTo>
                        <a:pt x="1019" y="57"/>
                      </a:lnTo>
                      <a:lnTo>
                        <a:pt x="1020" y="57"/>
                      </a:lnTo>
                      <a:lnTo>
                        <a:pt x="1021" y="57"/>
                      </a:lnTo>
                      <a:lnTo>
                        <a:pt x="1022" y="56"/>
                      </a:lnTo>
                      <a:lnTo>
                        <a:pt x="1024" y="57"/>
                      </a:lnTo>
                      <a:lnTo>
                        <a:pt x="1024" y="58"/>
                      </a:lnTo>
                      <a:lnTo>
                        <a:pt x="1022" y="60"/>
                      </a:lnTo>
                      <a:lnTo>
                        <a:pt x="1020" y="61"/>
                      </a:lnTo>
                      <a:lnTo>
                        <a:pt x="1020" y="62"/>
                      </a:lnTo>
                      <a:lnTo>
                        <a:pt x="1020" y="63"/>
                      </a:lnTo>
                      <a:lnTo>
                        <a:pt x="1020" y="64"/>
                      </a:lnTo>
                      <a:lnTo>
                        <a:pt x="1020" y="65"/>
                      </a:lnTo>
                      <a:lnTo>
                        <a:pt x="1019" y="65"/>
                      </a:lnTo>
                      <a:lnTo>
                        <a:pt x="1019" y="66"/>
                      </a:lnTo>
                      <a:lnTo>
                        <a:pt x="1018" y="67"/>
                      </a:lnTo>
                      <a:lnTo>
                        <a:pt x="1018" y="68"/>
                      </a:lnTo>
                      <a:lnTo>
                        <a:pt x="1018" y="69"/>
                      </a:lnTo>
                      <a:lnTo>
                        <a:pt x="1017" y="69"/>
                      </a:lnTo>
                      <a:lnTo>
                        <a:pt x="1016" y="69"/>
                      </a:lnTo>
                      <a:lnTo>
                        <a:pt x="1015" y="69"/>
                      </a:lnTo>
                      <a:lnTo>
                        <a:pt x="1015" y="68"/>
                      </a:lnTo>
                      <a:lnTo>
                        <a:pt x="1014" y="69"/>
                      </a:lnTo>
                      <a:lnTo>
                        <a:pt x="1014" y="70"/>
                      </a:lnTo>
                      <a:lnTo>
                        <a:pt x="1014" y="71"/>
                      </a:lnTo>
                      <a:lnTo>
                        <a:pt x="1014" y="73"/>
                      </a:lnTo>
                      <a:lnTo>
                        <a:pt x="1015" y="73"/>
                      </a:lnTo>
                      <a:lnTo>
                        <a:pt x="1015" y="71"/>
                      </a:lnTo>
                      <a:lnTo>
                        <a:pt x="1016" y="71"/>
                      </a:lnTo>
                      <a:lnTo>
                        <a:pt x="1017" y="71"/>
                      </a:lnTo>
                      <a:lnTo>
                        <a:pt x="1018" y="71"/>
                      </a:lnTo>
                      <a:lnTo>
                        <a:pt x="1019" y="70"/>
                      </a:lnTo>
                      <a:lnTo>
                        <a:pt x="1019" y="71"/>
                      </a:lnTo>
                      <a:lnTo>
                        <a:pt x="1019" y="73"/>
                      </a:lnTo>
                      <a:lnTo>
                        <a:pt x="1019" y="74"/>
                      </a:lnTo>
                      <a:lnTo>
                        <a:pt x="1019" y="75"/>
                      </a:lnTo>
                      <a:lnTo>
                        <a:pt x="1019" y="76"/>
                      </a:lnTo>
                      <a:lnTo>
                        <a:pt x="1019" y="77"/>
                      </a:lnTo>
                      <a:lnTo>
                        <a:pt x="1018" y="78"/>
                      </a:lnTo>
                      <a:lnTo>
                        <a:pt x="1018" y="79"/>
                      </a:lnTo>
                      <a:lnTo>
                        <a:pt x="1019" y="79"/>
                      </a:lnTo>
                      <a:lnTo>
                        <a:pt x="1019" y="80"/>
                      </a:lnTo>
                      <a:lnTo>
                        <a:pt x="1019" y="79"/>
                      </a:lnTo>
                      <a:lnTo>
                        <a:pt x="1020" y="79"/>
                      </a:lnTo>
                      <a:lnTo>
                        <a:pt x="1022" y="78"/>
                      </a:lnTo>
                      <a:lnTo>
                        <a:pt x="1024" y="79"/>
                      </a:lnTo>
                      <a:lnTo>
                        <a:pt x="1024" y="80"/>
                      </a:lnTo>
                      <a:lnTo>
                        <a:pt x="1022" y="80"/>
                      </a:lnTo>
                      <a:lnTo>
                        <a:pt x="1022" y="81"/>
                      </a:lnTo>
                      <a:lnTo>
                        <a:pt x="1021" y="81"/>
                      </a:lnTo>
                      <a:lnTo>
                        <a:pt x="1020" y="81"/>
                      </a:lnTo>
                      <a:lnTo>
                        <a:pt x="1020" y="80"/>
                      </a:lnTo>
                      <a:lnTo>
                        <a:pt x="1019" y="80"/>
                      </a:lnTo>
                      <a:lnTo>
                        <a:pt x="1018" y="81"/>
                      </a:lnTo>
                      <a:lnTo>
                        <a:pt x="1019" y="81"/>
                      </a:lnTo>
                      <a:lnTo>
                        <a:pt x="1019" y="82"/>
                      </a:lnTo>
                      <a:lnTo>
                        <a:pt x="1020" y="82"/>
                      </a:lnTo>
                      <a:lnTo>
                        <a:pt x="1020" y="83"/>
                      </a:lnTo>
                      <a:lnTo>
                        <a:pt x="1022" y="84"/>
                      </a:lnTo>
                      <a:lnTo>
                        <a:pt x="1024" y="86"/>
                      </a:lnTo>
                      <a:lnTo>
                        <a:pt x="1024" y="87"/>
                      </a:lnTo>
                      <a:lnTo>
                        <a:pt x="1024" y="88"/>
                      </a:lnTo>
                      <a:lnTo>
                        <a:pt x="1022" y="87"/>
                      </a:lnTo>
                      <a:lnTo>
                        <a:pt x="1021" y="87"/>
                      </a:lnTo>
                      <a:lnTo>
                        <a:pt x="1020" y="87"/>
                      </a:lnTo>
                      <a:lnTo>
                        <a:pt x="1020" y="88"/>
                      </a:lnTo>
                      <a:lnTo>
                        <a:pt x="1020" y="89"/>
                      </a:lnTo>
                      <a:lnTo>
                        <a:pt x="1021" y="90"/>
                      </a:lnTo>
                      <a:lnTo>
                        <a:pt x="1022" y="91"/>
                      </a:lnTo>
                      <a:lnTo>
                        <a:pt x="1024" y="91"/>
                      </a:lnTo>
                      <a:lnTo>
                        <a:pt x="1025" y="90"/>
                      </a:lnTo>
                      <a:lnTo>
                        <a:pt x="1025" y="91"/>
                      </a:lnTo>
                      <a:lnTo>
                        <a:pt x="1026" y="92"/>
                      </a:lnTo>
                      <a:lnTo>
                        <a:pt x="1026" y="93"/>
                      </a:lnTo>
                      <a:lnTo>
                        <a:pt x="1026" y="94"/>
                      </a:lnTo>
                      <a:lnTo>
                        <a:pt x="1027" y="93"/>
                      </a:lnTo>
                      <a:lnTo>
                        <a:pt x="1028" y="93"/>
                      </a:lnTo>
                      <a:lnTo>
                        <a:pt x="1028" y="94"/>
                      </a:lnTo>
                      <a:lnTo>
                        <a:pt x="1028" y="95"/>
                      </a:lnTo>
                      <a:lnTo>
                        <a:pt x="1027" y="95"/>
                      </a:lnTo>
                      <a:lnTo>
                        <a:pt x="1026" y="95"/>
                      </a:lnTo>
                      <a:lnTo>
                        <a:pt x="1025" y="95"/>
                      </a:lnTo>
                      <a:lnTo>
                        <a:pt x="1025" y="94"/>
                      </a:lnTo>
                      <a:lnTo>
                        <a:pt x="1024" y="94"/>
                      </a:lnTo>
                      <a:lnTo>
                        <a:pt x="1022" y="94"/>
                      </a:lnTo>
                      <a:lnTo>
                        <a:pt x="1022" y="95"/>
                      </a:lnTo>
                      <a:lnTo>
                        <a:pt x="1024" y="95"/>
                      </a:lnTo>
                      <a:lnTo>
                        <a:pt x="1024" y="96"/>
                      </a:lnTo>
                      <a:lnTo>
                        <a:pt x="1025" y="97"/>
                      </a:lnTo>
                      <a:lnTo>
                        <a:pt x="1025" y="99"/>
                      </a:lnTo>
                      <a:lnTo>
                        <a:pt x="1026" y="99"/>
                      </a:lnTo>
                      <a:lnTo>
                        <a:pt x="1027" y="99"/>
                      </a:lnTo>
                      <a:lnTo>
                        <a:pt x="1027" y="100"/>
                      </a:lnTo>
                      <a:lnTo>
                        <a:pt x="1027" y="101"/>
                      </a:lnTo>
                      <a:lnTo>
                        <a:pt x="1027" y="102"/>
                      </a:lnTo>
                      <a:lnTo>
                        <a:pt x="1028" y="103"/>
                      </a:lnTo>
                      <a:lnTo>
                        <a:pt x="1028" y="104"/>
                      </a:lnTo>
                      <a:lnTo>
                        <a:pt x="1028" y="105"/>
                      </a:lnTo>
                      <a:lnTo>
                        <a:pt x="1028" y="106"/>
                      </a:lnTo>
                      <a:lnTo>
                        <a:pt x="1028" y="107"/>
                      </a:lnTo>
                      <a:lnTo>
                        <a:pt x="1028" y="108"/>
                      </a:lnTo>
                      <a:lnTo>
                        <a:pt x="1029" y="108"/>
                      </a:lnTo>
                      <a:lnTo>
                        <a:pt x="1029" y="107"/>
                      </a:lnTo>
                      <a:lnTo>
                        <a:pt x="1030" y="107"/>
                      </a:lnTo>
                      <a:lnTo>
                        <a:pt x="1032" y="106"/>
                      </a:lnTo>
                      <a:lnTo>
                        <a:pt x="1033" y="106"/>
                      </a:lnTo>
                      <a:lnTo>
                        <a:pt x="1034" y="106"/>
                      </a:lnTo>
                      <a:lnTo>
                        <a:pt x="1035" y="106"/>
                      </a:lnTo>
                      <a:lnTo>
                        <a:pt x="1037" y="106"/>
                      </a:lnTo>
                      <a:lnTo>
                        <a:pt x="1037" y="107"/>
                      </a:lnTo>
                      <a:lnTo>
                        <a:pt x="1037" y="108"/>
                      </a:lnTo>
                      <a:lnTo>
                        <a:pt x="1035" y="108"/>
                      </a:lnTo>
                      <a:lnTo>
                        <a:pt x="1035" y="109"/>
                      </a:lnTo>
                      <a:lnTo>
                        <a:pt x="1037" y="110"/>
                      </a:lnTo>
                      <a:lnTo>
                        <a:pt x="1038" y="109"/>
                      </a:lnTo>
                      <a:lnTo>
                        <a:pt x="1038" y="108"/>
                      </a:lnTo>
                      <a:lnTo>
                        <a:pt x="1038" y="107"/>
                      </a:lnTo>
                      <a:lnTo>
                        <a:pt x="1038" y="106"/>
                      </a:lnTo>
                      <a:lnTo>
                        <a:pt x="1039" y="106"/>
                      </a:lnTo>
                      <a:lnTo>
                        <a:pt x="1040" y="106"/>
                      </a:lnTo>
                      <a:lnTo>
                        <a:pt x="1041" y="106"/>
                      </a:lnTo>
                      <a:lnTo>
                        <a:pt x="1041" y="107"/>
                      </a:lnTo>
                      <a:lnTo>
                        <a:pt x="1041" y="108"/>
                      </a:lnTo>
                      <a:lnTo>
                        <a:pt x="1040" y="108"/>
                      </a:lnTo>
                      <a:lnTo>
                        <a:pt x="1040" y="109"/>
                      </a:lnTo>
                      <a:lnTo>
                        <a:pt x="1039" y="109"/>
                      </a:lnTo>
                      <a:lnTo>
                        <a:pt x="1039" y="110"/>
                      </a:lnTo>
                      <a:lnTo>
                        <a:pt x="1038" y="112"/>
                      </a:lnTo>
                      <a:lnTo>
                        <a:pt x="1037" y="112"/>
                      </a:lnTo>
                      <a:lnTo>
                        <a:pt x="1035" y="112"/>
                      </a:lnTo>
                      <a:lnTo>
                        <a:pt x="1034" y="112"/>
                      </a:lnTo>
                      <a:lnTo>
                        <a:pt x="1033" y="112"/>
                      </a:lnTo>
                      <a:lnTo>
                        <a:pt x="1032" y="110"/>
                      </a:lnTo>
                      <a:lnTo>
                        <a:pt x="1031" y="110"/>
                      </a:lnTo>
                      <a:lnTo>
                        <a:pt x="1030" y="112"/>
                      </a:lnTo>
                      <a:lnTo>
                        <a:pt x="1030" y="113"/>
                      </a:lnTo>
                      <a:lnTo>
                        <a:pt x="1030" y="114"/>
                      </a:lnTo>
                      <a:lnTo>
                        <a:pt x="1030" y="115"/>
                      </a:lnTo>
                      <a:lnTo>
                        <a:pt x="1031" y="115"/>
                      </a:lnTo>
                      <a:lnTo>
                        <a:pt x="1032" y="115"/>
                      </a:lnTo>
                      <a:lnTo>
                        <a:pt x="1033" y="115"/>
                      </a:lnTo>
                      <a:lnTo>
                        <a:pt x="1034" y="115"/>
                      </a:lnTo>
                      <a:lnTo>
                        <a:pt x="1035" y="115"/>
                      </a:lnTo>
                      <a:lnTo>
                        <a:pt x="1035" y="116"/>
                      </a:lnTo>
                      <a:lnTo>
                        <a:pt x="1037" y="117"/>
                      </a:lnTo>
                      <a:lnTo>
                        <a:pt x="1038" y="118"/>
                      </a:lnTo>
                      <a:lnTo>
                        <a:pt x="1038" y="119"/>
                      </a:lnTo>
                      <a:lnTo>
                        <a:pt x="1038" y="120"/>
                      </a:lnTo>
                      <a:lnTo>
                        <a:pt x="1038" y="121"/>
                      </a:lnTo>
                      <a:lnTo>
                        <a:pt x="1037" y="121"/>
                      </a:lnTo>
                      <a:lnTo>
                        <a:pt x="1035" y="121"/>
                      </a:lnTo>
                      <a:lnTo>
                        <a:pt x="1034" y="120"/>
                      </a:lnTo>
                      <a:lnTo>
                        <a:pt x="1033" y="121"/>
                      </a:lnTo>
                      <a:lnTo>
                        <a:pt x="1032" y="121"/>
                      </a:lnTo>
                      <a:lnTo>
                        <a:pt x="1032" y="120"/>
                      </a:lnTo>
                      <a:lnTo>
                        <a:pt x="1031" y="119"/>
                      </a:lnTo>
                      <a:lnTo>
                        <a:pt x="1030" y="119"/>
                      </a:lnTo>
                      <a:lnTo>
                        <a:pt x="1030" y="120"/>
                      </a:lnTo>
                      <a:lnTo>
                        <a:pt x="1031" y="121"/>
                      </a:lnTo>
                      <a:lnTo>
                        <a:pt x="1032" y="121"/>
                      </a:lnTo>
                      <a:lnTo>
                        <a:pt x="1032" y="122"/>
                      </a:lnTo>
                      <a:lnTo>
                        <a:pt x="1033" y="122"/>
                      </a:lnTo>
                      <a:lnTo>
                        <a:pt x="1034" y="122"/>
                      </a:lnTo>
                      <a:lnTo>
                        <a:pt x="1037" y="123"/>
                      </a:lnTo>
                      <a:lnTo>
                        <a:pt x="1038" y="123"/>
                      </a:lnTo>
                      <a:lnTo>
                        <a:pt x="1039" y="123"/>
                      </a:lnTo>
                      <a:lnTo>
                        <a:pt x="1040" y="125"/>
                      </a:lnTo>
                      <a:lnTo>
                        <a:pt x="1041" y="125"/>
                      </a:lnTo>
                      <a:lnTo>
                        <a:pt x="1042" y="125"/>
                      </a:lnTo>
                      <a:lnTo>
                        <a:pt x="1043" y="125"/>
                      </a:lnTo>
                      <a:lnTo>
                        <a:pt x="1044" y="123"/>
                      </a:lnTo>
                      <a:lnTo>
                        <a:pt x="1045" y="125"/>
                      </a:lnTo>
                      <a:lnTo>
                        <a:pt x="1045" y="126"/>
                      </a:lnTo>
                      <a:lnTo>
                        <a:pt x="1046" y="126"/>
                      </a:lnTo>
                      <a:lnTo>
                        <a:pt x="1046" y="127"/>
                      </a:lnTo>
                      <a:lnTo>
                        <a:pt x="1046" y="128"/>
                      </a:lnTo>
                      <a:lnTo>
                        <a:pt x="1047" y="128"/>
                      </a:lnTo>
                      <a:lnTo>
                        <a:pt x="1048" y="128"/>
                      </a:lnTo>
                      <a:lnTo>
                        <a:pt x="1048" y="129"/>
                      </a:lnTo>
                      <a:lnTo>
                        <a:pt x="1048" y="130"/>
                      </a:lnTo>
                      <a:lnTo>
                        <a:pt x="1047" y="130"/>
                      </a:lnTo>
                      <a:lnTo>
                        <a:pt x="1046" y="131"/>
                      </a:lnTo>
                      <a:lnTo>
                        <a:pt x="1046" y="132"/>
                      </a:lnTo>
                      <a:lnTo>
                        <a:pt x="1047" y="132"/>
                      </a:lnTo>
                      <a:lnTo>
                        <a:pt x="1048" y="132"/>
                      </a:lnTo>
                      <a:lnTo>
                        <a:pt x="1048" y="133"/>
                      </a:lnTo>
                      <a:lnTo>
                        <a:pt x="1048" y="134"/>
                      </a:lnTo>
                      <a:lnTo>
                        <a:pt x="1050" y="134"/>
                      </a:lnTo>
                      <a:lnTo>
                        <a:pt x="1051" y="134"/>
                      </a:lnTo>
                      <a:lnTo>
                        <a:pt x="1052" y="134"/>
                      </a:lnTo>
                      <a:lnTo>
                        <a:pt x="1052" y="135"/>
                      </a:lnTo>
                      <a:lnTo>
                        <a:pt x="1051" y="135"/>
                      </a:lnTo>
                      <a:lnTo>
                        <a:pt x="1051" y="136"/>
                      </a:lnTo>
                      <a:lnTo>
                        <a:pt x="1050" y="136"/>
                      </a:lnTo>
                      <a:lnTo>
                        <a:pt x="1050" y="138"/>
                      </a:lnTo>
                      <a:lnTo>
                        <a:pt x="1051" y="138"/>
                      </a:lnTo>
                      <a:lnTo>
                        <a:pt x="1051" y="139"/>
                      </a:lnTo>
                      <a:lnTo>
                        <a:pt x="1051" y="140"/>
                      </a:lnTo>
                      <a:lnTo>
                        <a:pt x="1051" y="141"/>
                      </a:lnTo>
                      <a:lnTo>
                        <a:pt x="1050" y="141"/>
                      </a:lnTo>
                      <a:lnTo>
                        <a:pt x="1048" y="141"/>
                      </a:lnTo>
                      <a:lnTo>
                        <a:pt x="1050" y="141"/>
                      </a:lnTo>
                      <a:lnTo>
                        <a:pt x="1050" y="142"/>
                      </a:lnTo>
                      <a:lnTo>
                        <a:pt x="1051" y="142"/>
                      </a:lnTo>
                      <a:lnTo>
                        <a:pt x="1052" y="142"/>
                      </a:lnTo>
                      <a:lnTo>
                        <a:pt x="1052" y="143"/>
                      </a:lnTo>
                      <a:lnTo>
                        <a:pt x="1052" y="144"/>
                      </a:lnTo>
                      <a:lnTo>
                        <a:pt x="1052" y="145"/>
                      </a:lnTo>
                      <a:lnTo>
                        <a:pt x="1052" y="146"/>
                      </a:lnTo>
                      <a:lnTo>
                        <a:pt x="1053" y="146"/>
                      </a:lnTo>
                      <a:lnTo>
                        <a:pt x="1054" y="145"/>
                      </a:lnTo>
                      <a:lnTo>
                        <a:pt x="1055" y="144"/>
                      </a:lnTo>
                      <a:lnTo>
                        <a:pt x="1056" y="144"/>
                      </a:lnTo>
                      <a:lnTo>
                        <a:pt x="1056" y="145"/>
                      </a:lnTo>
                      <a:lnTo>
                        <a:pt x="1057" y="145"/>
                      </a:lnTo>
                      <a:lnTo>
                        <a:pt x="1057" y="144"/>
                      </a:lnTo>
                      <a:lnTo>
                        <a:pt x="1057" y="143"/>
                      </a:lnTo>
                      <a:lnTo>
                        <a:pt x="1058" y="142"/>
                      </a:lnTo>
                      <a:lnTo>
                        <a:pt x="1058" y="143"/>
                      </a:lnTo>
                      <a:lnTo>
                        <a:pt x="1058" y="144"/>
                      </a:lnTo>
                      <a:lnTo>
                        <a:pt x="1057" y="145"/>
                      </a:lnTo>
                      <a:lnTo>
                        <a:pt x="1058" y="145"/>
                      </a:lnTo>
                      <a:lnTo>
                        <a:pt x="1058" y="146"/>
                      </a:lnTo>
                      <a:lnTo>
                        <a:pt x="1057" y="146"/>
                      </a:lnTo>
                      <a:lnTo>
                        <a:pt x="1057" y="147"/>
                      </a:lnTo>
                      <a:lnTo>
                        <a:pt x="1056" y="147"/>
                      </a:lnTo>
                      <a:lnTo>
                        <a:pt x="1057" y="147"/>
                      </a:lnTo>
                      <a:lnTo>
                        <a:pt x="1057" y="148"/>
                      </a:lnTo>
                      <a:lnTo>
                        <a:pt x="1058" y="148"/>
                      </a:lnTo>
                      <a:lnTo>
                        <a:pt x="1058" y="150"/>
                      </a:lnTo>
                      <a:lnTo>
                        <a:pt x="1059" y="150"/>
                      </a:lnTo>
                      <a:lnTo>
                        <a:pt x="1059" y="148"/>
                      </a:lnTo>
                      <a:lnTo>
                        <a:pt x="1060" y="148"/>
                      </a:lnTo>
                      <a:lnTo>
                        <a:pt x="1060" y="150"/>
                      </a:lnTo>
                      <a:lnTo>
                        <a:pt x="1059" y="151"/>
                      </a:lnTo>
                      <a:lnTo>
                        <a:pt x="1058" y="151"/>
                      </a:lnTo>
                      <a:lnTo>
                        <a:pt x="1058" y="152"/>
                      </a:lnTo>
                      <a:lnTo>
                        <a:pt x="1059" y="152"/>
                      </a:lnTo>
                      <a:lnTo>
                        <a:pt x="1060" y="152"/>
                      </a:lnTo>
                      <a:lnTo>
                        <a:pt x="1060" y="151"/>
                      </a:lnTo>
                      <a:lnTo>
                        <a:pt x="1061" y="151"/>
                      </a:lnTo>
                      <a:lnTo>
                        <a:pt x="1061" y="152"/>
                      </a:lnTo>
                      <a:lnTo>
                        <a:pt x="1060" y="153"/>
                      </a:lnTo>
                      <a:lnTo>
                        <a:pt x="1061" y="154"/>
                      </a:lnTo>
                      <a:lnTo>
                        <a:pt x="1061" y="155"/>
                      </a:lnTo>
                      <a:lnTo>
                        <a:pt x="1060" y="155"/>
                      </a:lnTo>
                      <a:lnTo>
                        <a:pt x="1059" y="154"/>
                      </a:lnTo>
                      <a:lnTo>
                        <a:pt x="1058" y="155"/>
                      </a:lnTo>
                      <a:lnTo>
                        <a:pt x="1058" y="156"/>
                      </a:lnTo>
                      <a:lnTo>
                        <a:pt x="1059" y="156"/>
                      </a:lnTo>
                      <a:lnTo>
                        <a:pt x="1060" y="156"/>
                      </a:lnTo>
                      <a:lnTo>
                        <a:pt x="1061" y="156"/>
                      </a:lnTo>
                      <a:lnTo>
                        <a:pt x="1061" y="155"/>
                      </a:lnTo>
                      <a:lnTo>
                        <a:pt x="1063" y="155"/>
                      </a:lnTo>
                      <a:lnTo>
                        <a:pt x="1063" y="154"/>
                      </a:lnTo>
                      <a:lnTo>
                        <a:pt x="1064" y="154"/>
                      </a:lnTo>
                      <a:lnTo>
                        <a:pt x="1064" y="155"/>
                      </a:lnTo>
                      <a:lnTo>
                        <a:pt x="1065" y="155"/>
                      </a:lnTo>
                      <a:lnTo>
                        <a:pt x="1065" y="154"/>
                      </a:lnTo>
                      <a:lnTo>
                        <a:pt x="1066" y="154"/>
                      </a:lnTo>
                      <a:lnTo>
                        <a:pt x="1065" y="155"/>
                      </a:lnTo>
                      <a:lnTo>
                        <a:pt x="1065" y="156"/>
                      </a:lnTo>
                      <a:lnTo>
                        <a:pt x="1066" y="156"/>
                      </a:lnTo>
                      <a:lnTo>
                        <a:pt x="1066" y="157"/>
                      </a:lnTo>
                      <a:lnTo>
                        <a:pt x="1067" y="157"/>
                      </a:lnTo>
                      <a:lnTo>
                        <a:pt x="1067" y="156"/>
                      </a:lnTo>
                      <a:lnTo>
                        <a:pt x="1068" y="157"/>
                      </a:lnTo>
                      <a:lnTo>
                        <a:pt x="1067" y="157"/>
                      </a:lnTo>
                      <a:lnTo>
                        <a:pt x="1068" y="157"/>
                      </a:lnTo>
                      <a:lnTo>
                        <a:pt x="1068" y="158"/>
                      </a:lnTo>
                      <a:lnTo>
                        <a:pt x="1067" y="158"/>
                      </a:lnTo>
                      <a:lnTo>
                        <a:pt x="1068" y="158"/>
                      </a:lnTo>
                      <a:lnTo>
                        <a:pt x="1068" y="159"/>
                      </a:lnTo>
                      <a:lnTo>
                        <a:pt x="1067" y="159"/>
                      </a:lnTo>
                      <a:lnTo>
                        <a:pt x="1066" y="159"/>
                      </a:lnTo>
                      <a:lnTo>
                        <a:pt x="1065" y="159"/>
                      </a:lnTo>
                      <a:lnTo>
                        <a:pt x="1065" y="160"/>
                      </a:lnTo>
                      <a:lnTo>
                        <a:pt x="1066" y="161"/>
                      </a:lnTo>
                      <a:lnTo>
                        <a:pt x="1067" y="161"/>
                      </a:lnTo>
                      <a:lnTo>
                        <a:pt x="1067" y="160"/>
                      </a:lnTo>
                      <a:lnTo>
                        <a:pt x="1068" y="160"/>
                      </a:lnTo>
                      <a:lnTo>
                        <a:pt x="1068" y="159"/>
                      </a:lnTo>
                      <a:lnTo>
                        <a:pt x="1069" y="159"/>
                      </a:lnTo>
                      <a:lnTo>
                        <a:pt x="1070" y="158"/>
                      </a:lnTo>
                      <a:lnTo>
                        <a:pt x="1070" y="159"/>
                      </a:lnTo>
                      <a:lnTo>
                        <a:pt x="1070" y="158"/>
                      </a:lnTo>
                      <a:lnTo>
                        <a:pt x="1070" y="159"/>
                      </a:lnTo>
                      <a:lnTo>
                        <a:pt x="1071" y="159"/>
                      </a:lnTo>
                      <a:lnTo>
                        <a:pt x="1072" y="159"/>
                      </a:lnTo>
                      <a:lnTo>
                        <a:pt x="1073" y="159"/>
                      </a:lnTo>
                      <a:lnTo>
                        <a:pt x="1073" y="158"/>
                      </a:lnTo>
                      <a:lnTo>
                        <a:pt x="1073" y="159"/>
                      </a:lnTo>
                      <a:lnTo>
                        <a:pt x="1073" y="160"/>
                      </a:lnTo>
                      <a:lnTo>
                        <a:pt x="1073" y="161"/>
                      </a:lnTo>
                      <a:lnTo>
                        <a:pt x="1073" y="160"/>
                      </a:lnTo>
                      <a:lnTo>
                        <a:pt x="1074" y="161"/>
                      </a:lnTo>
                      <a:lnTo>
                        <a:pt x="1076" y="161"/>
                      </a:lnTo>
                      <a:lnTo>
                        <a:pt x="1076" y="163"/>
                      </a:lnTo>
                      <a:lnTo>
                        <a:pt x="1077" y="163"/>
                      </a:lnTo>
                      <a:lnTo>
                        <a:pt x="1077" y="161"/>
                      </a:lnTo>
                      <a:lnTo>
                        <a:pt x="1078" y="161"/>
                      </a:lnTo>
                      <a:lnTo>
                        <a:pt x="1078" y="160"/>
                      </a:lnTo>
                      <a:lnTo>
                        <a:pt x="1079" y="161"/>
                      </a:lnTo>
                      <a:lnTo>
                        <a:pt x="1079" y="163"/>
                      </a:lnTo>
                      <a:lnTo>
                        <a:pt x="1080" y="163"/>
                      </a:lnTo>
                      <a:lnTo>
                        <a:pt x="1080" y="164"/>
                      </a:lnTo>
                      <a:lnTo>
                        <a:pt x="1081" y="164"/>
                      </a:lnTo>
                      <a:lnTo>
                        <a:pt x="1081" y="165"/>
                      </a:lnTo>
                      <a:lnTo>
                        <a:pt x="1080" y="167"/>
                      </a:lnTo>
                      <a:lnTo>
                        <a:pt x="1079" y="168"/>
                      </a:lnTo>
                      <a:lnTo>
                        <a:pt x="1080" y="169"/>
                      </a:lnTo>
                      <a:lnTo>
                        <a:pt x="1081" y="168"/>
                      </a:lnTo>
                      <a:lnTo>
                        <a:pt x="1082" y="168"/>
                      </a:lnTo>
                      <a:lnTo>
                        <a:pt x="1082" y="169"/>
                      </a:lnTo>
                      <a:lnTo>
                        <a:pt x="1083" y="169"/>
                      </a:lnTo>
                      <a:lnTo>
                        <a:pt x="1083" y="170"/>
                      </a:lnTo>
                      <a:lnTo>
                        <a:pt x="1084" y="171"/>
                      </a:lnTo>
                      <a:lnTo>
                        <a:pt x="1085" y="171"/>
                      </a:lnTo>
                      <a:lnTo>
                        <a:pt x="1086" y="171"/>
                      </a:lnTo>
                      <a:lnTo>
                        <a:pt x="1087" y="171"/>
                      </a:lnTo>
                      <a:lnTo>
                        <a:pt x="1087" y="172"/>
                      </a:lnTo>
                      <a:lnTo>
                        <a:pt x="1089" y="172"/>
                      </a:lnTo>
                      <a:lnTo>
                        <a:pt x="1089" y="173"/>
                      </a:lnTo>
                      <a:lnTo>
                        <a:pt x="1089" y="174"/>
                      </a:lnTo>
                      <a:lnTo>
                        <a:pt x="1089" y="176"/>
                      </a:lnTo>
                      <a:lnTo>
                        <a:pt x="1090" y="174"/>
                      </a:lnTo>
                      <a:lnTo>
                        <a:pt x="1090" y="176"/>
                      </a:lnTo>
                      <a:lnTo>
                        <a:pt x="1091" y="176"/>
                      </a:lnTo>
                      <a:lnTo>
                        <a:pt x="1091" y="177"/>
                      </a:lnTo>
                      <a:lnTo>
                        <a:pt x="1091" y="179"/>
                      </a:lnTo>
                      <a:lnTo>
                        <a:pt x="1091" y="180"/>
                      </a:lnTo>
                      <a:lnTo>
                        <a:pt x="1090" y="180"/>
                      </a:lnTo>
                      <a:lnTo>
                        <a:pt x="1090" y="181"/>
                      </a:lnTo>
                      <a:lnTo>
                        <a:pt x="1091" y="181"/>
                      </a:lnTo>
                      <a:lnTo>
                        <a:pt x="1092" y="181"/>
                      </a:lnTo>
                      <a:lnTo>
                        <a:pt x="1093" y="181"/>
                      </a:lnTo>
                      <a:lnTo>
                        <a:pt x="1093" y="180"/>
                      </a:lnTo>
                      <a:lnTo>
                        <a:pt x="1094" y="181"/>
                      </a:lnTo>
                      <a:lnTo>
                        <a:pt x="1095" y="182"/>
                      </a:lnTo>
                      <a:lnTo>
                        <a:pt x="1096" y="182"/>
                      </a:lnTo>
                      <a:lnTo>
                        <a:pt x="1097" y="182"/>
                      </a:lnTo>
                      <a:lnTo>
                        <a:pt x="1097" y="183"/>
                      </a:lnTo>
                      <a:lnTo>
                        <a:pt x="1098" y="184"/>
                      </a:lnTo>
                      <a:lnTo>
                        <a:pt x="1099" y="184"/>
                      </a:lnTo>
                      <a:close/>
                      <a:moveTo>
                        <a:pt x="1197" y="380"/>
                      </a:moveTo>
                      <a:lnTo>
                        <a:pt x="1197" y="382"/>
                      </a:lnTo>
                      <a:lnTo>
                        <a:pt x="1197" y="385"/>
                      </a:lnTo>
                      <a:lnTo>
                        <a:pt x="1194" y="383"/>
                      </a:lnTo>
                      <a:lnTo>
                        <a:pt x="1194" y="382"/>
                      </a:lnTo>
                      <a:lnTo>
                        <a:pt x="1193" y="382"/>
                      </a:lnTo>
                      <a:lnTo>
                        <a:pt x="1190" y="382"/>
                      </a:lnTo>
                      <a:lnTo>
                        <a:pt x="1182" y="383"/>
                      </a:lnTo>
                      <a:lnTo>
                        <a:pt x="1180" y="384"/>
                      </a:lnTo>
                      <a:lnTo>
                        <a:pt x="1174" y="387"/>
                      </a:lnTo>
                      <a:lnTo>
                        <a:pt x="1172" y="389"/>
                      </a:lnTo>
                      <a:lnTo>
                        <a:pt x="1171" y="391"/>
                      </a:lnTo>
                      <a:lnTo>
                        <a:pt x="1171" y="392"/>
                      </a:lnTo>
                      <a:lnTo>
                        <a:pt x="1171" y="395"/>
                      </a:lnTo>
                      <a:lnTo>
                        <a:pt x="1171" y="396"/>
                      </a:lnTo>
                      <a:lnTo>
                        <a:pt x="1172" y="397"/>
                      </a:lnTo>
                      <a:lnTo>
                        <a:pt x="1171" y="398"/>
                      </a:lnTo>
                      <a:lnTo>
                        <a:pt x="1170" y="399"/>
                      </a:lnTo>
                      <a:lnTo>
                        <a:pt x="1168" y="400"/>
                      </a:lnTo>
                      <a:lnTo>
                        <a:pt x="1166" y="402"/>
                      </a:lnTo>
                      <a:lnTo>
                        <a:pt x="1164" y="402"/>
                      </a:lnTo>
                      <a:lnTo>
                        <a:pt x="1163" y="403"/>
                      </a:lnTo>
                      <a:lnTo>
                        <a:pt x="1162" y="403"/>
                      </a:lnTo>
                      <a:lnTo>
                        <a:pt x="1161" y="403"/>
                      </a:lnTo>
                      <a:lnTo>
                        <a:pt x="1160" y="403"/>
                      </a:lnTo>
                      <a:lnTo>
                        <a:pt x="1158" y="404"/>
                      </a:lnTo>
                      <a:lnTo>
                        <a:pt x="1156" y="402"/>
                      </a:lnTo>
                      <a:lnTo>
                        <a:pt x="1155" y="401"/>
                      </a:lnTo>
                      <a:lnTo>
                        <a:pt x="1154" y="401"/>
                      </a:lnTo>
                      <a:lnTo>
                        <a:pt x="1151" y="401"/>
                      </a:lnTo>
                      <a:lnTo>
                        <a:pt x="1148" y="400"/>
                      </a:lnTo>
                      <a:lnTo>
                        <a:pt x="1147" y="400"/>
                      </a:lnTo>
                      <a:lnTo>
                        <a:pt x="1146" y="400"/>
                      </a:lnTo>
                      <a:lnTo>
                        <a:pt x="1146" y="399"/>
                      </a:lnTo>
                      <a:lnTo>
                        <a:pt x="1141" y="399"/>
                      </a:lnTo>
                      <a:lnTo>
                        <a:pt x="1141" y="398"/>
                      </a:lnTo>
                      <a:lnTo>
                        <a:pt x="1141" y="397"/>
                      </a:lnTo>
                      <a:lnTo>
                        <a:pt x="1141" y="396"/>
                      </a:lnTo>
                      <a:lnTo>
                        <a:pt x="1142" y="395"/>
                      </a:lnTo>
                      <a:lnTo>
                        <a:pt x="1142" y="396"/>
                      </a:lnTo>
                      <a:lnTo>
                        <a:pt x="1143" y="396"/>
                      </a:lnTo>
                      <a:lnTo>
                        <a:pt x="1144" y="396"/>
                      </a:lnTo>
                      <a:lnTo>
                        <a:pt x="1145" y="396"/>
                      </a:lnTo>
                      <a:lnTo>
                        <a:pt x="1146" y="396"/>
                      </a:lnTo>
                      <a:lnTo>
                        <a:pt x="1147" y="397"/>
                      </a:lnTo>
                      <a:lnTo>
                        <a:pt x="1148" y="398"/>
                      </a:lnTo>
                      <a:lnTo>
                        <a:pt x="1149" y="398"/>
                      </a:lnTo>
                      <a:lnTo>
                        <a:pt x="1151" y="398"/>
                      </a:lnTo>
                      <a:lnTo>
                        <a:pt x="1153" y="398"/>
                      </a:lnTo>
                      <a:lnTo>
                        <a:pt x="1153" y="397"/>
                      </a:lnTo>
                      <a:lnTo>
                        <a:pt x="1154" y="396"/>
                      </a:lnTo>
                      <a:lnTo>
                        <a:pt x="1154" y="397"/>
                      </a:lnTo>
                      <a:lnTo>
                        <a:pt x="1155" y="397"/>
                      </a:lnTo>
                      <a:lnTo>
                        <a:pt x="1155" y="398"/>
                      </a:lnTo>
                      <a:lnTo>
                        <a:pt x="1156" y="398"/>
                      </a:lnTo>
                      <a:lnTo>
                        <a:pt x="1156" y="397"/>
                      </a:lnTo>
                      <a:lnTo>
                        <a:pt x="1157" y="397"/>
                      </a:lnTo>
                      <a:lnTo>
                        <a:pt x="1158" y="396"/>
                      </a:lnTo>
                      <a:lnTo>
                        <a:pt x="1159" y="395"/>
                      </a:lnTo>
                      <a:lnTo>
                        <a:pt x="1159" y="393"/>
                      </a:lnTo>
                      <a:lnTo>
                        <a:pt x="1160" y="393"/>
                      </a:lnTo>
                      <a:lnTo>
                        <a:pt x="1161" y="393"/>
                      </a:lnTo>
                      <a:lnTo>
                        <a:pt x="1162" y="393"/>
                      </a:lnTo>
                      <a:lnTo>
                        <a:pt x="1162" y="392"/>
                      </a:lnTo>
                      <a:lnTo>
                        <a:pt x="1163" y="392"/>
                      </a:lnTo>
                      <a:lnTo>
                        <a:pt x="1164" y="391"/>
                      </a:lnTo>
                      <a:lnTo>
                        <a:pt x="1166" y="391"/>
                      </a:lnTo>
                      <a:lnTo>
                        <a:pt x="1167" y="390"/>
                      </a:lnTo>
                      <a:lnTo>
                        <a:pt x="1167" y="389"/>
                      </a:lnTo>
                      <a:lnTo>
                        <a:pt x="1167" y="388"/>
                      </a:lnTo>
                      <a:lnTo>
                        <a:pt x="1167" y="387"/>
                      </a:lnTo>
                      <a:lnTo>
                        <a:pt x="1166" y="386"/>
                      </a:lnTo>
                      <a:lnTo>
                        <a:pt x="1164" y="385"/>
                      </a:lnTo>
                      <a:lnTo>
                        <a:pt x="1163" y="384"/>
                      </a:lnTo>
                      <a:lnTo>
                        <a:pt x="1162" y="384"/>
                      </a:lnTo>
                      <a:lnTo>
                        <a:pt x="1161" y="384"/>
                      </a:lnTo>
                      <a:lnTo>
                        <a:pt x="1160" y="385"/>
                      </a:lnTo>
                      <a:lnTo>
                        <a:pt x="1160" y="384"/>
                      </a:lnTo>
                      <a:lnTo>
                        <a:pt x="1161" y="383"/>
                      </a:lnTo>
                      <a:lnTo>
                        <a:pt x="1163" y="383"/>
                      </a:lnTo>
                      <a:lnTo>
                        <a:pt x="1164" y="382"/>
                      </a:lnTo>
                      <a:lnTo>
                        <a:pt x="1167" y="383"/>
                      </a:lnTo>
                      <a:lnTo>
                        <a:pt x="1170" y="384"/>
                      </a:lnTo>
                      <a:lnTo>
                        <a:pt x="1171" y="384"/>
                      </a:lnTo>
                      <a:lnTo>
                        <a:pt x="1173" y="384"/>
                      </a:lnTo>
                      <a:lnTo>
                        <a:pt x="1174" y="384"/>
                      </a:lnTo>
                      <a:lnTo>
                        <a:pt x="1176" y="383"/>
                      </a:lnTo>
                      <a:lnTo>
                        <a:pt x="1180" y="382"/>
                      </a:lnTo>
                      <a:lnTo>
                        <a:pt x="1181" y="380"/>
                      </a:lnTo>
                      <a:lnTo>
                        <a:pt x="1182" y="380"/>
                      </a:lnTo>
                      <a:lnTo>
                        <a:pt x="1183" y="379"/>
                      </a:lnTo>
                      <a:lnTo>
                        <a:pt x="1184" y="378"/>
                      </a:lnTo>
                      <a:lnTo>
                        <a:pt x="1186" y="377"/>
                      </a:lnTo>
                      <a:lnTo>
                        <a:pt x="1188" y="374"/>
                      </a:lnTo>
                      <a:lnTo>
                        <a:pt x="1189" y="373"/>
                      </a:lnTo>
                      <a:lnTo>
                        <a:pt x="1192" y="373"/>
                      </a:lnTo>
                      <a:lnTo>
                        <a:pt x="1193" y="373"/>
                      </a:lnTo>
                      <a:lnTo>
                        <a:pt x="1194" y="373"/>
                      </a:lnTo>
                      <a:lnTo>
                        <a:pt x="1196" y="374"/>
                      </a:lnTo>
                      <a:lnTo>
                        <a:pt x="1198" y="377"/>
                      </a:lnTo>
                      <a:lnTo>
                        <a:pt x="1198" y="378"/>
                      </a:lnTo>
                      <a:lnTo>
                        <a:pt x="1197" y="380"/>
                      </a:lnTo>
                      <a:close/>
                      <a:moveTo>
                        <a:pt x="1413" y="1006"/>
                      </a:moveTo>
                      <a:lnTo>
                        <a:pt x="1414" y="1006"/>
                      </a:lnTo>
                      <a:lnTo>
                        <a:pt x="1415" y="1006"/>
                      </a:lnTo>
                      <a:lnTo>
                        <a:pt x="1416" y="1006"/>
                      </a:lnTo>
                      <a:lnTo>
                        <a:pt x="1417" y="1006"/>
                      </a:lnTo>
                      <a:lnTo>
                        <a:pt x="1417" y="1007"/>
                      </a:lnTo>
                      <a:lnTo>
                        <a:pt x="1418" y="1007"/>
                      </a:lnTo>
                      <a:lnTo>
                        <a:pt x="1419" y="1008"/>
                      </a:lnTo>
                      <a:lnTo>
                        <a:pt x="1418" y="1008"/>
                      </a:lnTo>
                      <a:lnTo>
                        <a:pt x="1418" y="1007"/>
                      </a:lnTo>
                      <a:lnTo>
                        <a:pt x="1418" y="1008"/>
                      </a:lnTo>
                      <a:lnTo>
                        <a:pt x="1419" y="1008"/>
                      </a:lnTo>
                      <a:lnTo>
                        <a:pt x="1418" y="1008"/>
                      </a:lnTo>
                      <a:lnTo>
                        <a:pt x="1419" y="1008"/>
                      </a:lnTo>
                      <a:lnTo>
                        <a:pt x="1420" y="1008"/>
                      </a:lnTo>
                      <a:lnTo>
                        <a:pt x="1421" y="1009"/>
                      </a:lnTo>
                      <a:lnTo>
                        <a:pt x="1422" y="1009"/>
                      </a:lnTo>
                      <a:lnTo>
                        <a:pt x="1421" y="1011"/>
                      </a:lnTo>
                      <a:lnTo>
                        <a:pt x="1419" y="1013"/>
                      </a:lnTo>
                      <a:lnTo>
                        <a:pt x="1419" y="1014"/>
                      </a:lnTo>
                      <a:lnTo>
                        <a:pt x="1418" y="1014"/>
                      </a:lnTo>
                      <a:lnTo>
                        <a:pt x="1417" y="1015"/>
                      </a:lnTo>
                      <a:lnTo>
                        <a:pt x="1416" y="1014"/>
                      </a:lnTo>
                      <a:lnTo>
                        <a:pt x="1416" y="1013"/>
                      </a:lnTo>
                      <a:lnTo>
                        <a:pt x="1415" y="1013"/>
                      </a:lnTo>
                      <a:lnTo>
                        <a:pt x="1415" y="1012"/>
                      </a:lnTo>
                      <a:lnTo>
                        <a:pt x="1415" y="1013"/>
                      </a:lnTo>
                      <a:lnTo>
                        <a:pt x="1416" y="1014"/>
                      </a:lnTo>
                      <a:lnTo>
                        <a:pt x="1417" y="1015"/>
                      </a:lnTo>
                      <a:lnTo>
                        <a:pt x="1416" y="1015"/>
                      </a:lnTo>
                      <a:lnTo>
                        <a:pt x="1416" y="1016"/>
                      </a:lnTo>
                      <a:lnTo>
                        <a:pt x="1416" y="1017"/>
                      </a:lnTo>
                      <a:lnTo>
                        <a:pt x="1416" y="1016"/>
                      </a:lnTo>
                      <a:lnTo>
                        <a:pt x="1417" y="1016"/>
                      </a:lnTo>
                      <a:lnTo>
                        <a:pt x="1417" y="1017"/>
                      </a:lnTo>
                      <a:lnTo>
                        <a:pt x="1417" y="1018"/>
                      </a:lnTo>
                      <a:lnTo>
                        <a:pt x="1416" y="1019"/>
                      </a:lnTo>
                      <a:lnTo>
                        <a:pt x="1416" y="1020"/>
                      </a:lnTo>
                      <a:lnTo>
                        <a:pt x="1416" y="1021"/>
                      </a:lnTo>
                      <a:lnTo>
                        <a:pt x="1416" y="1022"/>
                      </a:lnTo>
                      <a:lnTo>
                        <a:pt x="1416" y="1024"/>
                      </a:lnTo>
                      <a:lnTo>
                        <a:pt x="1416" y="1025"/>
                      </a:lnTo>
                      <a:lnTo>
                        <a:pt x="1416" y="1026"/>
                      </a:lnTo>
                      <a:lnTo>
                        <a:pt x="1416" y="1027"/>
                      </a:lnTo>
                      <a:lnTo>
                        <a:pt x="1416" y="1028"/>
                      </a:lnTo>
                      <a:lnTo>
                        <a:pt x="1416" y="1029"/>
                      </a:lnTo>
                      <a:lnTo>
                        <a:pt x="1416" y="1030"/>
                      </a:lnTo>
                      <a:lnTo>
                        <a:pt x="1416" y="1031"/>
                      </a:lnTo>
                      <a:lnTo>
                        <a:pt x="1417" y="1031"/>
                      </a:lnTo>
                      <a:lnTo>
                        <a:pt x="1417" y="1032"/>
                      </a:lnTo>
                      <a:lnTo>
                        <a:pt x="1417" y="1033"/>
                      </a:lnTo>
                      <a:lnTo>
                        <a:pt x="1417" y="1034"/>
                      </a:lnTo>
                      <a:lnTo>
                        <a:pt x="1416" y="1034"/>
                      </a:lnTo>
                      <a:lnTo>
                        <a:pt x="1416" y="1035"/>
                      </a:lnTo>
                      <a:lnTo>
                        <a:pt x="1415" y="1037"/>
                      </a:lnTo>
                      <a:lnTo>
                        <a:pt x="1415" y="1038"/>
                      </a:lnTo>
                      <a:lnTo>
                        <a:pt x="1414" y="1039"/>
                      </a:lnTo>
                      <a:lnTo>
                        <a:pt x="1414" y="1038"/>
                      </a:lnTo>
                      <a:lnTo>
                        <a:pt x="1414" y="1039"/>
                      </a:lnTo>
                      <a:lnTo>
                        <a:pt x="1414" y="1038"/>
                      </a:lnTo>
                      <a:lnTo>
                        <a:pt x="1414" y="1039"/>
                      </a:lnTo>
                      <a:lnTo>
                        <a:pt x="1413" y="1039"/>
                      </a:lnTo>
                      <a:lnTo>
                        <a:pt x="1413" y="1040"/>
                      </a:lnTo>
                      <a:lnTo>
                        <a:pt x="1412" y="1040"/>
                      </a:lnTo>
                      <a:lnTo>
                        <a:pt x="1412" y="1041"/>
                      </a:lnTo>
                      <a:lnTo>
                        <a:pt x="1412" y="1042"/>
                      </a:lnTo>
                      <a:lnTo>
                        <a:pt x="1410" y="1043"/>
                      </a:lnTo>
                      <a:lnTo>
                        <a:pt x="1410" y="1044"/>
                      </a:lnTo>
                      <a:lnTo>
                        <a:pt x="1410" y="1045"/>
                      </a:lnTo>
                      <a:lnTo>
                        <a:pt x="1410" y="1046"/>
                      </a:lnTo>
                      <a:lnTo>
                        <a:pt x="1409" y="1047"/>
                      </a:lnTo>
                      <a:lnTo>
                        <a:pt x="1409" y="1046"/>
                      </a:lnTo>
                      <a:lnTo>
                        <a:pt x="1409" y="1047"/>
                      </a:lnTo>
                      <a:lnTo>
                        <a:pt x="1409" y="1048"/>
                      </a:lnTo>
                      <a:lnTo>
                        <a:pt x="1408" y="1048"/>
                      </a:lnTo>
                      <a:lnTo>
                        <a:pt x="1409" y="1048"/>
                      </a:lnTo>
                      <a:lnTo>
                        <a:pt x="1408" y="1048"/>
                      </a:lnTo>
                      <a:lnTo>
                        <a:pt x="1408" y="1050"/>
                      </a:lnTo>
                      <a:lnTo>
                        <a:pt x="1407" y="1050"/>
                      </a:lnTo>
                      <a:lnTo>
                        <a:pt x="1407" y="1051"/>
                      </a:lnTo>
                      <a:lnTo>
                        <a:pt x="1406" y="1052"/>
                      </a:lnTo>
                      <a:lnTo>
                        <a:pt x="1405" y="1052"/>
                      </a:lnTo>
                      <a:lnTo>
                        <a:pt x="1405" y="1053"/>
                      </a:lnTo>
                      <a:lnTo>
                        <a:pt x="1404" y="1053"/>
                      </a:lnTo>
                      <a:lnTo>
                        <a:pt x="1403" y="1053"/>
                      </a:lnTo>
                      <a:lnTo>
                        <a:pt x="1403" y="1054"/>
                      </a:lnTo>
                      <a:lnTo>
                        <a:pt x="1402" y="1054"/>
                      </a:lnTo>
                      <a:lnTo>
                        <a:pt x="1402" y="1055"/>
                      </a:lnTo>
                      <a:lnTo>
                        <a:pt x="1401" y="1055"/>
                      </a:lnTo>
                      <a:lnTo>
                        <a:pt x="1401" y="1056"/>
                      </a:lnTo>
                      <a:lnTo>
                        <a:pt x="1400" y="1056"/>
                      </a:lnTo>
                      <a:lnTo>
                        <a:pt x="1400" y="1057"/>
                      </a:lnTo>
                      <a:lnTo>
                        <a:pt x="1400" y="1058"/>
                      </a:lnTo>
                      <a:lnTo>
                        <a:pt x="1399" y="1058"/>
                      </a:lnTo>
                      <a:lnTo>
                        <a:pt x="1399" y="1059"/>
                      </a:lnTo>
                      <a:lnTo>
                        <a:pt x="1397" y="1060"/>
                      </a:lnTo>
                      <a:lnTo>
                        <a:pt x="1397" y="1061"/>
                      </a:lnTo>
                      <a:lnTo>
                        <a:pt x="1396" y="1061"/>
                      </a:lnTo>
                      <a:lnTo>
                        <a:pt x="1394" y="1063"/>
                      </a:lnTo>
                      <a:lnTo>
                        <a:pt x="1393" y="1063"/>
                      </a:lnTo>
                      <a:lnTo>
                        <a:pt x="1393" y="1064"/>
                      </a:lnTo>
                      <a:lnTo>
                        <a:pt x="1392" y="1064"/>
                      </a:lnTo>
                      <a:lnTo>
                        <a:pt x="1391" y="1065"/>
                      </a:lnTo>
                      <a:lnTo>
                        <a:pt x="1389" y="1065"/>
                      </a:lnTo>
                      <a:lnTo>
                        <a:pt x="1389" y="1066"/>
                      </a:lnTo>
                      <a:lnTo>
                        <a:pt x="1388" y="1066"/>
                      </a:lnTo>
                      <a:lnTo>
                        <a:pt x="1387" y="1066"/>
                      </a:lnTo>
                      <a:lnTo>
                        <a:pt x="1387" y="1067"/>
                      </a:lnTo>
                      <a:lnTo>
                        <a:pt x="1386" y="1067"/>
                      </a:lnTo>
                      <a:lnTo>
                        <a:pt x="1384" y="1067"/>
                      </a:lnTo>
                      <a:lnTo>
                        <a:pt x="1383" y="1067"/>
                      </a:lnTo>
                      <a:lnTo>
                        <a:pt x="1382" y="1068"/>
                      </a:lnTo>
                      <a:lnTo>
                        <a:pt x="1380" y="1069"/>
                      </a:lnTo>
                      <a:lnTo>
                        <a:pt x="1377" y="1070"/>
                      </a:lnTo>
                      <a:lnTo>
                        <a:pt x="1377" y="1071"/>
                      </a:lnTo>
                      <a:lnTo>
                        <a:pt x="1376" y="1071"/>
                      </a:lnTo>
                      <a:lnTo>
                        <a:pt x="1375" y="1072"/>
                      </a:lnTo>
                      <a:lnTo>
                        <a:pt x="1374" y="1072"/>
                      </a:lnTo>
                      <a:lnTo>
                        <a:pt x="1371" y="1072"/>
                      </a:lnTo>
                      <a:lnTo>
                        <a:pt x="1370" y="1073"/>
                      </a:lnTo>
                      <a:lnTo>
                        <a:pt x="1369" y="1073"/>
                      </a:lnTo>
                      <a:lnTo>
                        <a:pt x="1367" y="1073"/>
                      </a:lnTo>
                      <a:lnTo>
                        <a:pt x="1366" y="1073"/>
                      </a:lnTo>
                      <a:lnTo>
                        <a:pt x="1364" y="1073"/>
                      </a:lnTo>
                      <a:lnTo>
                        <a:pt x="1365" y="1072"/>
                      </a:lnTo>
                      <a:lnTo>
                        <a:pt x="1365" y="1071"/>
                      </a:lnTo>
                      <a:lnTo>
                        <a:pt x="1365" y="1070"/>
                      </a:lnTo>
                      <a:lnTo>
                        <a:pt x="1366" y="1069"/>
                      </a:lnTo>
                      <a:lnTo>
                        <a:pt x="1366" y="1068"/>
                      </a:lnTo>
                      <a:lnTo>
                        <a:pt x="1366" y="1067"/>
                      </a:lnTo>
                      <a:lnTo>
                        <a:pt x="1366" y="1066"/>
                      </a:lnTo>
                      <a:lnTo>
                        <a:pt x="1367" y="1065"/>
                      </a:lnTo>
                      <a:lnTo>
                        <a:pt x="1367" y="1064"/>
                      </a:lnTo>
                      <a:lnTo>
                        <a:pt x="1368" y="1061"/>
                      </a:lnTo>
                      <a:lnTo>
                        <a:pt x="1369" y="1060"/>
                      </a:lnTo>
                      <a:lnTo>
                        <a:pt x="1369" y="1061"/>
                      </a:lnTo>
                      <a:lnTo>
                        <a:pt x="1369" y="1060"/>
                      </a:lnTo>
                      <a:lnTo>
                        <a:pt x="1369" y="1059"/>
                      </a:lnTo>
                      <a:lnTo>
                        <a:pt x="1370" y="1059"/>
                      </a:lnTo>
                      <a:lnTo>
                        <a:pt x="1370" y="1057"/>
                      </a:lnTo>
                      <a:lnTo>
                        <a:pt x="1371" y="1055"/>
                      </a:lnTo>
                      <a:lnTo>
                        <a:pt x="1373" y="1054"/>
                      </a:lnTo>
                      <a:lnTo>
                        <a:pt x="1373" y="1053"/>
                      </a:lnTo>
                      <a:lnTo>
                        <a:pt x="1373" y="1052"/>
                      </a:lnTo>
                      <a:lnTo>
                        <a:pt x="1374" y="1052"/>
                      </a:lnTo>
                      <a:lnTo>
                        <a:pt x="1374" y="1051"/>
                      </a:lnTo>
                      <a:lnTo>
                        <a:pt x="1374" y="1048"/>
                      </a:lnTo>
                      <a:lnTo>
                        <a:pt x="1375" y="1046"/>
                      </a:lnTo>
                      <a:lnTo>
                        <a:pt x="1375" y="1045"/>
                      </a:lnTo>
                      <a:lnTo>
                        <a:pt x="1376" y="1045"/>
                      </a:lnTo>
                      <a:lnTo>
                        <a:pt x="1376" y="1044"/>
                      </a:lnTo>
                      <a:lnTo>
                        <a:pt x="1376" y="1043"/>
                      </a:lnTo>
                      <a:lnTo>
                        <a:pt x="1377" y="1043"/>
                      </a:lnTo>
                      <a:lnTo>
                        <a:pt x="1377" y="1042"/>
                      </a:lnTo>
                      <a:lnTo>
                        <a:pt x="1377" y="1041"/>
                      </a:lnTo>
                      <a:lnTo>
                        <a:pt x="1378" y="1041"/>
                      </a:lnTo>
                      <a:lnTo>
                        <a:pt x="1378" y="1040"/>
                      </a:lnTo>
                      <a:lnTo>
                        <a:pt x="1379" y="1039"/>
                      </a:lnTo>
                      <a:lnTo>
                        <a:pt x="1379" y="1038"/>
                      </a:lnTo>
                      <a:lnTo>
                        <a:pt x="1380" y="1038"/>
                      </a:lnTo>
                      <a:lnTo>
                        <a:pt x="1380" y="1037"/>
                      </a:lnTo>
                      <a:lnTo>
                        <a:pt x="1381" y="1037"/>
                      </a:lnTo>
                      <a:lnTo>
                        <a:pt x="1381" y="1035"/>
                      </a:lnTo>
                      <a:lnTo>
                        <a:pt x="1381" y="1034"/>
                      </a:lnTo>
                      <a:lnTo>
                        <a:pt x="1382" y="1034"/>
                      </a:lnTo>
                      <a:lnTo>
                        <a:pt x="1382" y="1033"/>
                      </a:lnTo>
                      <a:lnTo>
                        <a:pt x="1383" y="1033"/>
                      </a:lnTo>
                      <a:lnTo>
                        <a:pt x="1383" y="1032"/>
                      </a:lnTo>
                      <a:lnTo>
                        <a:pt x="1384" y="1031"/>
                      </a:lnTo>
                      <a:lnTo>
                        <a:pt x="1384" y="1030"/>
                      </a:lnTo>
                      <a:lnTo>
                        <a:pt x="1386" y="1030"/>
                      </a:lnTo>
                      <a:lnTo>
                        <a:pt x="1386" y="1031"/>
                      </a:lnTo>
                      <a:lnTo>
                        <a:pt x="1386" y="1032"/>
                      </a:lnTo>
                      <a:lnTo>
                        <a:pt x="1387" y="1032"/>
                      </a:lnTo>
                      <a:lnTo>
                        <a:pt x="1387" y="1033"/>
                      </a:lnTo>
                      <a:lnTo>
                        <a:pt x="1387" y="1034"/>
                      </a:lnTo>
                      <a:lnTo>
                        <a:pt x="1388" y="1034"/>
                      </a:lnTo>
                      <a:lnTo>
                        <a:pt x="1387" y="1034"/>
                      </a:lnTo>
                      <a:lnTo>
                        <a:pt x="1387" y="1033"/>
                      </a:lnTo>
                      <a:lnTo>
                        <a:pt x="1387" y="1032"/>
                      </a:lnTo>
                      <a:lnTo>
                        <a:pt x="1388" y="1032"/>
                      </a:lnTo>
                      <a:lnTo>
                        <a:pt x="1387" y="1032"/>
                      </a:lnTo>
                      <a:lnTo>
                        <a:pt x="1386" y="1031"/>
                      </a:lnTo>
                      <a:lnTo>
                        <a:pt x="1386" y="1030"/>
                      </a:lnTo>
                      <a:lnTo>
                        <a:pt x="1386" y="1029"/>
                      </a:lnTo>
                      <a:lnTo>
                        <a:pt x="1387" y="1029"/>
                      </a:lnTo>
                      <a:lnTo>
                        <a:pt x="1388" y="1029"/>
                      </a:lnTo>
                      <a:lnTo>
                        <a:pt x="1387" y="1029"/>
                      </a:lnTo>
                      <a:lnTo>
                        <a:pt x="1387" y="1028"/>
                      </a:lnTo>
                      <a:lnTo>
                        <a:pt x="1388" y="1027"/>
                      </a:lnTo>
                      <a:lnTo>
                        <a:pt x="1388" y="1026"/>
                      </a:lnTo>
                      <a:lnTo>
                        <a:pt x="1389" y="1026"/>
                      </a:lnTo>
                      <a:lnTo>
                        <a:pt x="1388" y="1026"/>
                      </a:lnTo>
                      <a:lnTo>
                        <a:pt x="1388" y="1025"/>
                      </a:lnTo>
                      <a:lnTo>
                        <a:pt x="1389" y="1025"/>
                      </a:lnTo>
                      <a:lnTo>
                        <a:pt x="1389" y="1024"/>
                      </a:lnTo>
                      <a:lnTo>
                        <a:pt x="1390" y="1024"/>
                      </a:lnTo>
                      <a:lnTo>
                        <a:pt x="1390" y="1022"/>
                      </a:lnTo>
                      <a:lnTo>
                        <a:pt x="1391" y="1021"/>
                      </a:lnTo>
                      <a:lnTo>
                        <a:pt x="1392" y="1020"/>
                      </a:lnTo>
                      <a:lnTo>
                        <a:pt x="1393" y="1021"/>
                      </a:lnTo>
                      <a:lnTo>
                        <a:pt x="1394" y="1022"/>
                      </a:lnTo>
                      <a:lnTo>
                        <a:pt x="1394" y="1021"/>
                      </a:lnTo>
                      <a:lnTo>
                        <a:pt x="1393" y="1021"/>
                      </a:lnTo>
                      <a:lnTo>
                        <a:pt x="1393" y="1020"/>
                      </a:lnTo>
                      <a:lnTo>
                        <a:pt x="1392" y="1020"/>
                      </a:lnTo>
                      <a:lnTo>
                        <a:pt x="1393" y="1019"/>
                      </a:lnTo>
                      <a:lnTo>
                        <a:pt x="1393" y="1018"/>
                      </a:lnTo>
                      <a:lnTo>
                        <a:pt x="1394" y="1018"/>
                      </a:lnTo>
                      <a:lnTo>
                        <a:pt x="1394" y="1017"/>
                      </a:lnTo>
                      <a:lnTo>
                        <a:pt x="1395" y="1017"/>
                      </a:lnTo>
                      <a:lnTo>
                        <a:pt x="1395" y="1016"/>
                      </a:lnTo>
                      <a:lnTo>
                        <a:pt x="1395" y="1017"/>
                      </a:lnTo>
                      <a:lnTo>
                        <a:pt x="1395" y="1016"/>
                      </a:lnTo>
                      <a:lnTo>
                        <a:pt x="1396" y="1016"/>
                      </a:lnTo>
                      <a:lnTo>
                        <a:pt x="1396" y="1015"/>
                      </a:lnTo>
                      <a:lnTo>
                        <a:pt x="1397" y="1015"/>
                      </a:lnTo>
                      <a:lnTo>
                        <a:pt x="1399" y="1014"/>
                      </a:lnTo>
                      <a:lnTo>
                        <a:pt x="1400" y="1013"/>
                      </a:lnTo>
                      <a:lnTo>
                        <a:pt x="1401" y="1012"/>
                      </a:lnTo>
                      <a:lnTo>
                        <a:pt x="1401" y="1011"/>
                      </a:lnTo>
                      <a:lnTo>
                        <a:pt x="1402" y="1011"/>
                      </a:lnTo>
                      <a:lnTo>
                        <a:pt x="1402" y="1009"/>
                      </a:lnTo>
                      <a:lnTo>
                        <a:pt x="1403" y="1009"/>
                      </a:lnTo>
                      <a:lnTo>
                        <a:pt x="1403" y="1008"/>
                      </a:lnTo>
                      <a:lnTo>
                        <a:pt x="1403" y="1007"/>
                      </a:lnTo>
                      <a:lnTo>
                        <a:pt x="1404" y="1008"/>
                      </a:lnTo>
                      <a:lnTo>
                        <a:pt x="1404" y="1007"/>
                      </a:lnTo>
                      <a:lnTo>
                        <a:pt x="1403" y="1007"/>
                      </a:lnTo>
                      <a:lnTo>
                        <a:pt x="1404" y="1007"/>
                      </a:lnTo>
                      <a:lnTo>
                        <a:pt x="1405" y="1008"/>
                      </a:lnTo>
                      <a:lnTo>
                        <a:pt x="1406" y="1008"/>
                      </a:lnTo>
                      <a:lnTo>
                        <a:pt x="1407" y="1009"/>
                      </a:lnTo>
                      <a:lnTo>
                        <a:pt x="1408" y="1009"/>
                      </a:lnTo>
                      <a:lnTo>
                        <a:pt x="1409" y="1009"/>
                      </a:lnTo>
                      <a:lnTo>
                        <a:pt x="1408" y="1009"/>
                      </a:lnTo>
                      <a:lnTo>
                        <a:pt x="1407" y="1009"/>
                      </a:lnTo>
                      <a:lnTo>
                        <a:pt x="1407" y="1008"/>
                      </a:lnTo>
                      <a:lnTo>
                        <a:pt x="1406" y="1008"/>
                      </a:lnTo>
                      <a:lnTo>
                        <a:pt x="1405" y="1008"/>
                      </a:lnTo>
                      <a:lnTo>
                        <a:pt x="1404" y="1007"/>
                      </a:lnTo>
                      <a:lnTo>
                        <a:pt x="1404" y="1006"/>
                      </a:lnTo>
                      <a:lnTo>
                        <a:pt x="1405" y="1005"/>
                      </a:lnTo>
                      <a:lnTo>
                        <a:pt x="1405" y="1004"/>
                      </a:lnTo>
                      <a:lnTo>
                        <a:pt x="1406" y="1004"/>
                      </a:lnTo>
                      <a:lnTo>
                        <a:pt x="1407" y="1004"/>
                      </a:lnTo>
                      <a:lnTo>
                        <a:pt x="1408" y="1004"/>
                      </a:lnTo>
                      <a:lnTo>
                        <a:pt x="1409" y="1005"/>
                      </a:lnTo>
                      <a:lnTo>
                        <a:pt x="1412" y="1005"/>
                      </a:lnTo>
                      <a:lnTo>
                        <a:pt x="1413" y="1006"/>
                      </a:lnTo>
                      <a:close/>
                      <a:moveTo>
                        <a:pt x="1071" y="395"/>
                      </a:moveTo>
                      <a:lnTo>
                        <a:pt x="1072" y="395"/>
                      </a:lnTo>
                      <a:lnTo>
                        <a:pt x="1072" y="396"/>
                      </a:lnTo>
                      <a:lnTo>
                        <a:pt x="1073" y="396"/>
                      </a:lnTo>
                      <a:lnTo>
                        <a:pt x="1073" y="397"/>
                      </a:lnTo>
                      <a:lnTo>
                        <a:pt x="1073" y="398"/>
                      </a:lnTo>
                      <a:lnTo>
                        <a:pt x="1074" y="398"/>
                      </a:lnTo>
                      <a:lnTo>
                        <a:pt x="1073" y="398"/>
                      </a:lnTo>
                      <a:lnTo>
                        <a:pt x="1074" y="399"/>
                      </a:lnTo>
                      <a:lnTo>
                        <a:pt x="1073" y="400"/>
                      </a:lnTo>
                      <a:lnTo>
                        <a:pt x="1074" y="400"/>
                      </a:lnTo>
                      <a:lnTo>
                        <a:pt x="1073" y="400"/>
                      </a:lnTo>
                      <a:lnTo>
                        <a:pt x="1074" y="400"/>
                      </a:lnTo>
                      <a:lnTo>
                        <a:pt x="1074" y="401"/>
                      </a:lnTo>
                      <a:lnTo>
                        <a:pt x="1074" y="402"/>
                      </a:lnTo>
                      <a:lnTo>
                        <a:pt x="1073" y="402"/>
                      </a:lnTo>
                      <a:lnTo>
                        <a:pt x="1073" y="403"/>
                      </a:lnTo>
                      <a:lnTo>
                        <a:pt x="1072" y="403"/>
                      </a:lnTo>
                      <a:lnTo>
                        <a:pt x="1073" y="403"/>
                      </a:lnTo>
                      <a:lnTo>
                        <a:pt x="1072" y="403"/>
                      </a:lnTo>
                      <a:lnTo>
                        <a:pt x="1072" y="404"/>
                      </a:lnTo>
                      <a:lnTo>
                        <a:pt x="1072" y="405"/>
                      </a:lnTo>
                      <a:lnTo>
                        <a:pt x="1071" y="405"/>
                      </a:lnTo>
                      <a:lnTo>
                        <a:pt x="1070" y="405"/>
                      </a:lnTo>
                      <a:lnTo>
                        <a:pt x="1070" y="407"/>
                      </a:lnTo>
                      <a:lnTo>
                        <a:pt x="1070" y="405"/>
                      </a:lnTo>
                      <a:lnTo>
                        <a:pt x="1070" y="407"/>
                      </a:lnTo>
                      <a:lnTo>
                        <a:pt x="1069" y="407"/>
                      </a:lnTo>
                      <a:lnTo>
                        <a:pt x="1068" y="407"/>
                      </a:lnTo>
                      <a:lnTo>
                        <a:pt x="1068" y="408"/>
                      </a:lnTo>
                      <a:lnTo>
                        <a:pt x="1068" y="407"/>
                      </a:lnTo>
                      <a:lnTo>
                        <a:pt x="1069" y="405"/>
                      </a:lnTo>
                      <a:lnTo>
                        <a:pt x="1070" y="404"/>
                      </a:lnTo>
                      <a:lnTo>
                        <a:pt x="1071" y="403"/>
                      </a:lnTo>
                      <a:lnTo>
                        <a:pt x="1071" y="402"/>
                      </a:lnTo>
                      <a:lnTo>
                        <a:pt x="1072" y="402"/>
                      </a:lnTo>
                      <a:lnTo>
                        <a:pt x="1072" y="401"/>
                      </a:lnTo>
                      <a:lnTo>
                        <a:pt x="1072" y="400"/>
                      </a:lnTo>
                      <a:lnTo>
                        <a:pt x="1071" y="399"/>
                      </a:lnTo>
                      <a:lnTo>
                        <a:pt x="1071" y="398"/>
                      </a:lnTo>
                      <a:lnTo>
                        <a:pt x="1072" y="398"/>
                      </a:lnTo>
                      <a:lnTo>
                        <a:pt x="1072" y="397"/>
                      </a:lnTo>
                      <a:lnTo>
                        <a:pt x="1071" y="398"/>
                      </a:lnTo>
                      <a:lnTo>
                        <a:pt x="1071" y="397"/>
                      </a:lnTo>
                      <a:lnTo>
                        <a:pt x="1071" y="396"/>
                      </a:lnTo>
                      <a:lnTo>
                        <a:pt x="1071" y="395"/>
                      </a:lnTo>
                      <a:close/>
                      <a:moveTo>
                        <a:pt x="1069" y="391"/>
                      </a:moveTo>
                      <a:lnTo>
                        <a:pt x="1069" y="392"/>
                      </a:lnTo>
                      <a:lnTo>
                        <a:pt x="1069" y="391"/>
                      </a:lnTo>
                      <a:lnTo>
                        <a:pt x="1068" y="389"/>
                      </a:lnTo>
                      <a:lnTo>
                        <a:pt x="1068" y="388"/>
                      </a:lnTo>
                      <a:lnTo>
                        <a:pt x="1069" y="388"/>
                      </a:lnTo>
                      <a:lnTo>
                        <a:pt x="1069" y="389"/>
                      </a:lnTo>
                      <a:lnTo>
                        <a:pt x="1069" y="390"/>
                      </a:lnTo>
                      <a:lnTo>
                        <a:pt x="1070" y="390"/>
                      </a:lnTo>
                      <a:lnTo>
                        <a:pt x="1070" y="391"/>
                      </a:lnTo>
                      <a:lnTo>
                        <a:pt x="1069" y="391"/>
                      </a:lnTo>
                      <a:close/>
                      <a:moveTo>
                        <a:pt x="1039" y="435"/>
                      </a:moveTo>
                      <a:lnTo>
                        <a:pt x="1039" y="436"/>
                      </a:lnTo>
                      <a:lnTo>
                        <a:pt x="1039" y="435"/>
                      </a:lnTo>
                      <a:close/>
                      <a:moveTo>
                        <a:pt x="1169" y="966"/>
                      </a:moveTo>
                      <a:lnTo>
                        <a:pt x="1168" y="967"/>
                      </a:lnTo>
                      <a:lnTo>
                        <a:pt x="1169" y="967"/>
                      </a:lnTo>
                      <a:lnTo>
                        <a:pt x="1168" y="967"/>
                      </a:lnTo>
                      <a:lnTo>
                        <a:pt x="1168" y="968"/>
                      </a:lnTo>
                      <a:lnTo>
                        <a:pt x="1169" y="968"/>
                      </a:lnTo>
                      <a:lnTo>
                        <a:pt x="1169" y="969"/>
                      </a:lnTo>
                      <a:lnTo>
                        <a:pt x="1169" y="970"/>
                      </a:lnTo>
                      <a:lnTo>
                        <a:pt x="1168" y="970"/>
                      </a:lnTo>
                      <a:lnTo>
                        <a:pt x="1167" y="970"/>
                      </a:lnTo>
                      <a:lnTo>
                        <a:pt x="1167" y="969"/>
                      </a:lnTo>
                      <a:lnTo>
                        <a:pt x="1167" y="968"/>
                      </a:lnTo>
                      <a:lnTo>
                        <a:pt x="1166" y="968"/>
                      </a:lnTo>
                      <a:lnTo>
                        <a:pt x="1167" y="967"/>
                      </a:lnTo>
                      <a:lnTo>
                        <a:pt x="1167" y="966"/>
                      </a:lnTo>
                      <a:lnTo>
                        <a:pt x="1166" y="967"/>
                      </a:lnTo>
                      <a:lnTo>
                        <a:pt x="1167" y="967"/>
                      </a:lnTo>
                      <a:lnTo>
                        <a:pt x="1166" y="967"/>
                      </a:lnTo>
                      <a:lnTo>
                        <a:pt x="1166" y="968"/>
                      </a:lnTo>
                      <a:lnTo>
                        <a:pt x="1166" y="967"/>
                      </a:lnTo>
                      <a:lnTo>
                        <a:pt x="1166" y="966"/>
                      </a:lnTo>
                      <a:lnTo>
                        <a:pt x="1164" y="966"/>
                      </a:lnTo>
                      <a:lnTo>
                        <a:pt x="1166" y="966"/>
                      </a:lnTo>
                      <a:lnTo>
                        <a:pt x="1169" y="961"/>
                      </a:lnTo>
                      <a:lnTo>
                        <a:pt x="1170" y="961"/>
                      </a:lnTo>
                      <a:lnTo>
                        <a:pt x="1169" y="962"/>
                      </a:lnTo>
                      <a:lnTo>
                        <a:pt x="1169" y="963"/>
                      </a:lnTo>
                      <a:lnTo>
                        <a:pt x="1169" y="965"/>
                      </a:lnTo>
                      <a:lnTo>
                        <a:pt x="1169" y="966"/>
                      </a:lnTo>
                      <a:close/>
                      <a:moveTo>
                        <a:pt x="1373" y="428"/>
                      </a:moveTo>
                      <a:lnTo>
                        <a:pt x="1371" y="428"/>
                      </a:lnTo>
                      <a:lnTo>
                        <a:pt x="1371" y="429"/>
                      </a:lnTo>
                      <a:lnTo>
                        <a:pt x="1371" y="430"/>
                      </a:lnTo>
                      <a:lnTo>
                        <a:pt x="1371" y="431"/>
                      </a:lnTo>
                      <a:lnTo>
                        <a:pt x="1370" y="431"/>
                      </a:lnTo>
                      <a:lnTo>
                        <a:pt x="1370" y="433"/>
                      </a:lnTo>
                      <a:lnTo>
                        <a:pt x="1370" y="434"/>
                      </a:lnTo>
                      <a:lnTo>
                        <a:pt x="1369" y="435"/>
                      </a:lnTo>
                      <a:lnTo>
                        <a:pt x="1369" y="437"/>
                      </a:lnTo>
                      <a:lnTo>
                        <a:pt x="1370" y="437"/>
                      </a:lnTo>
                      <a:lnTo>
                        <a:pt x="1370" y="438"/>
                      </a:lnTo>
                      <a:lnTo>
                        <a:pt x="1371" y="438"/>
                      </a:lnTo>
                      <a:lnTo>
                        <a:pt x="1371" y="439"/>
                      </a:lnTo>
                      <a:lnTo>
                        <a:pt x="1371" y="440"/>
                      </a:lnTo>
                      <a:lnTo>
                        <a:pt x="1370" y="439"/>
                      </a:lnTo>
                      <a:lnTo>
                        <a:pt x="1369" y="439"/>
                      </a:lnTo>
                      <a:lnTo>
                        <a:pt x="1368" y="440"/>
                      </a:lnTo>
                      <a:lnTo>
                        <a:pt x="1368" y="441"/>
                      </a:lnTo>
                      <a:lnTo>
                        <a:pt x="1367" y="441"/>
                      </a:lnTo>
                      <a:lnTo>
                        <a:pt x="1367" y="442"/>
                      </a:lnTo>
                      <a:lnTo>
                        <a:pt x="1367" y="443"/>
                      </a:lnTo>
                      <a:lnTo>
                        <a:pt x="1368" y="443"/>
                      </a:lnTo>
                      <a:lnTo>
                        <a:pt x="1368" y="444"/>
                      </a:lnTo>
                      <a:lnTo>
                        <a:pt x="1368" y="446"/>
                      </a:lnTo>
                      <a:lnTo>
                        <a:pt x="1367" y="446"/>
                      </a:lnTo>
                      <a:lnTo>
                        <a:pt x="1366" y="446"/>
                      </a:lnTo>
                      <a:lnTo>
                        <a:pt x="1365" y="446"/>
                      </a:lnTo>
                      <a:lnTo>
                        <a:pt x="1364" y="446"/>
                      </a:lnTo>
                      <a:lnTo>
                        <a:pt x="1363" y="447"/>
                      </a:lnTo>
                      <a:lnTo>
                        <a:pt x="1362" y="448"/>
                      </a:lnTo>
                      <a:lnTo>
                        <a:pt x="1362" y="449"/>
                      </a:lnTo>
                      <a:lnTo>
                        <a:pt x="1361" y="449"/>
                      </a:lnTo>
                      <a:lnTo>
                        <a:pt x="1361" y="450"/>
                      </a:lnTo>
                      <a:lnTo>
                        <a:pt x="1362" y="451"/>
                      </a:lnTo>
                      <a:lnTo>
                        <a:pt x="1363" y="451"/>
                      </a:lnTo>
                      <a:lnTo>
                        <a:pt x="1363" y="452"/>
                      </a:lnTo>
                      <a:lnTo>
                        <a:pt x="1363" y="453"/>
                      </a:lnTo>
                      <a:lnTo>
                        <a:pt x="1362" y="452"/>
                      </a:lnTo>
                      <a:lnTo>
                        <a:pt x="1361" y="452"/>
                      </a:lnTo>
                      <a:lnTo>
                        <a:pt x="1361" y="453"/>
                      </a:lnTo>
                      <a:lnTo>
                        <a:pt x="1360" y="453"/>
                      </a:lnTo>
                      <a:lnTo>
                        <a:pt x="1360" y="455"/>
                      </a:lnTo>
                      <a:lnTo>
                        <a:pt x="1358" y="456"/>
                      </a:lnTo>
                      <a:lnTo>
                        <a:pt x="1358" y="457"/>
                      </a:lnTo>
                      <a:lnTo>
                        <a:pt x="1358" y="459"/>
                      </a:lnTo>
                      <a:lnTo>
                        <a:pt x="1357" y="459"/>
                      </a:lnTo>
                      <a:lnTo>
                        <a:pt x="1357" y="461"/>
                      </a:lnTo>
                      <a:lnTo>
                        <a:pt x="1357" y="462"/>
                      </a:lnTo>
                      <a:lnTo>
                        <a:pt x="1358" y="463"/>
                      </a:lnTo>
                      <a:lnTo>
                        <a:pt x="1358" y="464"/>
                      </a:lnTo>
                      <a:lnTo>
                        <a:pt x="1358" y="465"/>
                      </a:lnTo>
                      <a:lnTo>
                        <a:pt x="1360" y="465"/>
                      </a:lnTo>
                      <a:lnTo>
                        <a:pt x="1360" y="466"/>
                      </a:lnTo>
                      <a:lnTo>
                        <a:pt x="1360" y="467"/>
                      </a:lnTo>
                      <a:lnTo>
                        <a:pt x="1358" y="467"/>
                      </a:lnTo>
                      <a:lnTo>
                        <a:pt x="1358" y="466"/>
                      </a:lnTo>
                      <a:lnTo>
                        <a:pt x="1357" y="465"/>
                      </a:lnTo>
                      <a:lnTo>
                        <a:pt x="1357" y="464"/>
                      </a:lnTo>
                      <a:lnTo>
                        <a:pt x="1356" y="464"/>
                      </a:lnTo>
                      <a:lnTo>
                        <a:pt x="1355" y="464"/>
                      </a:lnTo>
                      <a:lnTo>
                        <a:pt x="1355" y="463"/>
                      </a:lnTo>
                      <a:lnTo>
                        <a:pt x="1354" y="464"/>
                      </a:lnTo>
                      <a:lnTo>
                        <a:pt x="1354" y="465"/>
                      </a:lnTo>
                      <a:lnTo>
                        <a:pt x="1353" y="465"/>
                      </a:lnTo>
                      <a:lnTo>
                        <a:pt x="1351" y="466"/>
                      </a:lnTo>
                      <a:lnTo>
                        <a:pt x="1351" y="467"/>
                      </a:lnTo>
                      <a:lnTo>
                        <a:pt x="1351" y="466"/>
                      </a:lnTo>
                      <a:lnTo>
                        <a:pt x="1350" y="466"/>
                      </a:lnTo>
                      <a:lnTo>
                        <a:pt x="1350" y="467"/>
                      </a:lnTo>
                      <a:lnTo>
                        <a:pt x="1349" y="467"/>
                      </a:lnTo>
                      <a:lnTo>
                        <a:pt x="1349" y="468"/>
                      </a:lnTo>
                      <a:lnTo>
                        <a:pt x="1348" y="468"/>
                      </a:lnTo>
                      <a:lnTo>
                        <a:pt x="1348" y="469"/>
                      </a:lnTo>
                      <a:lnTo>
                        <a:pt x="1347" y="470"/>
                      </a:lnTo>
                      <a:lnTo>
                        <a:pt x="1347" y="472"/>
                      </a:lnTo>
                      <a:lnTo>
                        <a:pt x="1345" y="472"/>
                      </a:lnTo>
                      <a:lnTo>
                        <a:pt x="1345" y="470"/>
                      </a:lnTo>
                      <a:lnTo>
                        <a:pt x="1345" y="469"/>
                      </a:lnTo>
                      <a:lnTo>
                        <a:pt x="1347" y="469"/>
                      </a:lnTo>
                      <a:lnTo>
                        <a:pt x="1347" y="468"/>
                      </a:lnTo>
                      <a:lnTo>
                        <a:pt x="1348" y="468"/>
                      </a:lnTo>
                      <a:lnTo>
                        <a:pt x="1348" y="467"/>
                      </a:lnTo>
                      <a:lnTo>
                        <a:pt x="1347" y="466"/>
                      </a:lnTo>
                      <a:lnTo>
                        <a:pt x="1347" y="465"/>
                      </a:lnTo>
                      <a:lnTo>
                        <a:pt x="1348" y="465"/>
                      </a:lnTo>
                      <a:lnTo>
                        <a:pt x="1349" y="465"/>
                      </a:lnTo>
                      <a:lnTo>
                        <a:pt x="1349" y="464"/>
                      </a:lnTo>
                      <a:lnTo>
                        <a:pt x="1348" y="464"/>
                      </a:lnTo>
                      <a:lnTo>
                        <a:pt x="1348" y="465"/>
                      </a:lnTo>
                      <a:lnTo>
                        <a:pt x="1348" y="464"/>
                      </a:lnTo>
                      <a:lnTo>
                        <a:pt x="1347" y="465"/>
                      </a:lnTo>
                      <a:lnTo>
                        <a:pt x="1347" y="466"/>
                      </a:lnTo>
                      <a:lnTo>
                        <a:pt x="1345" y="466"/>
                      </a:lnTo>
                      <a:lnTo>
                        <a:pt x="1345" y="465"/>
                      </a:lnTo>
                      <a:lnTo>
                        <a:pt x="1344" y="465"/>
                      </a:lnTo>
                      <a:lnTo>
                        <a:pt x="1343" y="465"/>
                      </a:lnTo>
                      <a:lnTo>
                        <a:pt x="1342" y="465"/>
                      </a:lnTo>
                      <a:lnTo>
                        <a:pt x="1341" y="465"/>
                      </a:lnTo>
                      <a:lnTo>
                        <a:pt x="1340" y="465"/>
                      </a:lnTo>
                      <a:lnTo>
                        <a:pt x="1339" y="466"/>
                      </a:lnTo>
                      <a:lnTo>
                        <a:pt x="1338" y="467"/>
                      </a:lnTo>
                      <a:lnTo>
                        <a:pt x="1338" y="468"/>
                      </a:lnTo>
                      <a:lnTo>
                        <a:pt x="1337" y="469"/>
                      </a:lnTo>
                      <a:lnTo>
                        <a:pt x="1337" y="470"/>
                      </a:lnTo>
                      <a:lnTo>
                        <a:pt x="1336" y="470"/>
                      </a:lnTo>
                      <a:lnTo>
                        <a:pt x="1336" y="469"/>
                      </a:lnTo>
                      <a:lnTo>
                        <a:pt x="1336" y="468"/>
                      </a:lnTo>
                      <a:lnTo>
                        <a:pt x="1336" y="467"/>
                      </a:lnTo>
                      <a:lnTo>
                        <a:pt x="1336" y="466"/>
                      </a:lnTo>
                      <a:lnTo>
                        <a:pt x="1335" y="466"/>
                      </a:lnTo>
                      <a:lnTo>
                        <a:pt x="1335" y="465"/>
                      </a:lnTo>
                      <a:lnTo>
                        <a:pt x="1334" y="464"/>
                      </a:lnTo>
                      <a:lnTo>
                        <a:pt x="1332" y="464"/>
                      </a:lnTo>
                      <a:lnTo>
                        <a:pt x="1331" y="464"/>
                      </a:lnTo>
                      <a:lnTo>
                        <a:pt x="1331" y="465"/>
                      </a:lnTo>
                      <a:lnTo>
                        <a:pt x="1330" y="466"/>
                      </a:lnTo>
                      <a:lnTo>
                        <a:pt x="1330" y="467"/>
                      </a:lnTo>
                      <a:lnTo>
                        <a:pt x="1330" y="468"/>
                      </a:lnTo>
                      <a:lnTo>
                        <a:pt x="1329" y="468"/>
                      </a:lnTo>
                      <a:lnTo>
                        <a:pt x="1328" y="468"/>
                      </a:lnTo>
                      <a:lnTo>
                        <a:pt x="1328" y="467"/>
                      </a:lnTo>
                      <a:lnTo>
                        <a:pt x="1327" y="467"/>
                      </a:lnTo>
                      <a:lnTo>
                        <a:pt x="1327" y="466"/>
                      </a:lnTo>
                      <a:lnTo>
                        <a:pt x="1326" y="466"/>
                      </a:lnTo>
                      <a:lnTo>
                        <a:pt x="1326" y="465"/>
                      </a:lnTo>
                      <a:lnTo>
                        <a:pt x="1327" y="464"/>
                      </a:lnTo>
                      <a:lnTo>
                        <a:pt x="1328" y="464"/>
                      </a:lnTo>
                      <a:lnTo>
                        <a:pt x="1328" y="463"/>
                      </a:lnTo>
                      <a:lnTo>
                        <a:pt x="1329" y="463"/>
                      </a:lnTo>
                      <a:lnTo>
                        <a:pt x="1329" y="462"/>
                      </a:lnTo>
                      <a:lnTo>
                        <a:pt x="1329" y="461"/>
                      </a:lnTo>
                      <a:lnTo>
                        <a:pt x="1330" y="461"/>
                      </a:lnTo>
                      <a:lnTo>
                        <a:pt x="1330" y="460"/>
                      </a:lnTo>
                      <a:lnTo>
                        <a:pt x="1331" y="460"/>
                      </a:lnTo>
                      <a:lnTo>
                        <a:pt x="1331" y="459"/>
                      </a:lnTo>
                      <a:lnTo>
                        <a:pt x="1332" y="460"/>
                      </a:lnTo>
                      <a:lnTo>
                        <a:pt x="1334" y="460"/>
                      </a:lnTo>
                      <a:lnTo>
                        <a:pt x="1335" y="460"/>
                      </a:lnTo>
                      <a:lnTo>
                        <a:pt x="1335" y="459"/>
                      </a:lnTo>
                      <a:lnTo>
                        <a:pt x="1336" y="459"/>
                      </a:lnTo>
                      <a:lnTo>
                        <a:pt x="1336" y="457"/>
                      </a:lnTo>
                      <a:lnTo>
                        <a:pt x="1336" y="456"/>
                      </a:lnTo>
                      <a:lnTo>
                        <a:pt x="1336" y="455"/>
                      </a:lnTo>
                      <a:lnTo>
                        <a:pt x="1336" y="454"/>
                      </a:lnTo>
                      <a:lnTo>
                        <a:pt x="1336" y="453"/>
                      </a:lnTo>
                      <a:lnTo>
                        <a:pt x="1336" y="452"/>
                      </a:lnTo>
                      <a:lnTo>
                        <a:pt x="1337" y="452"/>
                      </a:lnTo>
                      <a:lnTo>
                        <a:pt x="1337" y="451"/>
                      </a:lnTo>
                      <a:lnTo>
                        <a:pt x="1337" y="450"/>
                      </a:lnTo>
                      <a:lnTo>
                        <a:pt x="1338" y="450"/>
                      </a:lnTo>
                      <a:lnTo>
                        <a:pt x="1337" y="451"/>
                      </a:lnTo>
                      <a:lnTo>
                        <a:pt x="1337" y="452"/>
                      </a:lnTo>
                      <a:lnTo>
                        <a:pt x="1338" y="452"/>
                      </a:lnTo>
                      <a:lnTo>
                        <a:pt x="1338" y="453"/>
                      </a:lnTo>
                      <a:lnTo>
                        <a:pt x="1338" y="454"/>
                      </a:lnTo>
                      <a:lnTo>
                        <a:pt x="1338" y="455"/>
                      </a:lnTo>
                      <a:lnTo>
                        <a:pt x="1337" y="455"/>
                      </a:lnTo>
                      <a:lnTo>
                        <a:pt x="1337" y="456"/>
                      </a:lnTo>
                      <a:lnTo>
                        <a:pt x="1338" y="457"/>
                      </a:lnTo>
                      <a:lnTo>
                        <a:pt x="1338" y="459"/>
                      </a:lnTo>
                      <a:lnTo>
                        <a:pt x="1338" y="460"/>
                      </a:lnTo>
                      <a:lnTo>
                        <a:pt x="1339" y="460"/>
                      </a:lnTo>
                      <a:lnTo>
                        <a:pt x="1338" y="461"/>
                      </a:lnTo>
                      <a:lnTo>
                        <a:pt x="1339" y="461"/>
                      </a:lnTo>
                      <a:lnTo>
                        <a:pt x="1340" y="461"/>
                      </a:lnTo>
                      <a:lnTo>
                        <a:pt x="1340" y="460"/>
                      </a:lnTo>
                      <a:lnTo>
                        <a:pt x="1339" y="460"/>
                      </a:lnTo>
                      <a:lnTo>
                        <a:pt x="1340" y="460"/>
                      </a:lnTo>
                      <a:lnTo>
                        <a:pt x="1340" y="459"/>
                      </a:lnTo>
                      <a:lnTo>
                        <a:pt x="1339" y="457"/>
                      </a:lnTo>
                      <a:lnTo>
                        <a:pt x="1338" y="457"/>
                      </a:lnTo>
                      <a:lnTo>
                        <a:pt x="1338" y="456"/>
                      </a:lnTo>
                      <a:lnTo>
                        <a:pt x="1338" y="455"/>
                      </a:lnTo>
                      <a:lnTo>
                        <a:pt x="1339" y="456"/>
                      </a:lnTo>
                      <a:lnTo>
                        <a:pt x="1339" y="455"/>
                      </a:lnTo>
                      <a:lnTo>
                        <a:pt x="1339" y="456"/>
                      </a:lnTo>
                      <a:lnTo>
                        <a:pt x="1340" y="456"/>
                      </a:lnTo>
                      <a:lnTo>
                        <a:pt x="1340" y="457"/>
                      </a:lnTo>
                      <a:lnTo>
                        <a:pt x="1341" y="457"/>
                      </a:lnTo>
                      <a:lnTo>
                        <a:pt x="1342" y="457"/>
                      </a:lnTo>
                      <a:lnTo>
                        <a:pt x="1343" y="457"/>
                      </a:lnTo>
                      <a:lnTo>
                        <a:pt x="1343" y="459"/>
                      </a:lnTo>
                      <a:lnTo>
                        <a:pt x="1342" y="459"/>
                      </a:lnTo>
                      <a:lnTo>
                        <a:pt x="1342" y="457"/>
                      </a:lnTo>
                      <a:lnTo>
                        <a:pt x="1342" y="459"/>
                      </a:lnTo>
                      <a:lnTo>
                        <a:pt x="1341" y="459"/>
                      </a:lnTo>
                      <a:lnTo>
                        <a:pt x="1341" y="460"/>
                      </a:lnTo>
                      <a:lnTo>
                        <a:pt x="1341" y="461"/>
                      </a:lnTo>
                      <a:lnTo>
                        <a:pt x="1342" y="461"/>
                      </a:lnTo>
                      <a:lnTo>
                        <a:pt x="1343" y="461"/>
                      </a:lnTo>
                      <a:lnTo>
                        <a:pt x="1343" y="460"/>
                      </a:lnTo>
                      <a:lnTo>
                        <a:pt x="1343" y="459"/>
                      </a:lnTo>
                      <a:lnTo>
                        <a:pt x="1344" y="459"/>
                      </a:lnTo>
                      <a:lnTo>
                        <a:pt x="1344" y="457"/>
                      </a:lnTo>
                      <a:lnTo>
                        <a:pt x="1345" y="459"/>
                      </a:lnTo>
                      <a:lnTo>
                        <a:pt x="1347" y="459"/>
                      </a:lnTo>
                      <a:lnTo>
                        <a:pt x="1347" y="460"/>
                      </a:lnTo>
                      <a:lnTo>
                        <a:pt x="1345" y="460"/>
                      </a:lnTo>
                      <a:lnTo>
                        <a:pt x="1345" y="459"/>
                      </a:lnTo>
                      <a:lnTo>
                        <a:pt x="1344" y="459"/>
                      </a:lnTo>
                      <a:lnTo>
                        <a:pt x="1345" y="460"/>
                      </a:lnTo>
                      <a:lnTo>
                        <a:pt x="1345" y="461"/>
                      </a:lnTo>
                      <a:lnTo>
                        <a:pt x="1347" y="461"/>
                      </a:lnTo>
                      <a:lnTo>
                        <a:pt x="1348" y="462"/>
                      </a:lnTo>
                      <a:lnTo>
                        <a:pt x="1348" y="463"/>
                      </a:lnTo>
                      <a:lnTo>
                        <a:pt x="1347" y="463"/>
                      </a:lnTo>
                      <a:lnTo>
                        <a:pt x="1347" y="462"/>
                      </a:lnTo>
                      <a:lnTo>
                        <a:pt x="1345" y="462"/>
                      </a:lnTo>
                      <a:lnTo>
                        <a:pt x="1344" y="462"/>
                      </a:lnTo>
                      <a:lnTo>
                        <a:pt x="1343" y="462"/>
                      </a:lnTo>
                      <a:lnTo>
                        <a:pt x="1342" y="463"/>
                      </a:lnTo>
                      <a:lnTo>
                        <a:pt x="1341" y="463"/>
                      </a:lnTo>
                      <a:lnTo>
                        <a:pt x="1342" y="463"/>
                      </a:lnTo>
                      <a:lnTo>
                        <a:pt x="1343" y="463"/>
                      </a:lnTo>
                      <a:lnTo>
                        <a:pt x="1344" y="463"/>
                      </a:lnTo>
                      <a:lnTo>
                        <a:pt x="1343" y="464"/>
                      </a:lnTo>
                      <a:lnTo>
                        <a:pt x="1344" y="464"/>
                      </a:lnTo>
                      <a:lnTo>
                        <a:pt x="1344" y="463"/>
                      </a:lnTo>
                      <a:lnTo>
                        <a:pt x="1345" y="463"/>
                      </a:lnTo>
                      <a:lnTo>
                        <a:pt x="1347" y="463"/>
                      </a:lnTo>
                      <a:lnTo>
                        <a:pt x="1348" y="463"/>
                      </a:lnTo>
                      <a:lnTo>
                        <a:pt x="1349" y="463"/>
                      </a:lnTo>
                      <a:lnTo>
                        <a:pt x="1350" y="464"/>
                      </a:lnTo>
                      <a:lnTo>
                        <a:pt x="1351" y="464"/>
                      </a:lnTo>
                      <a:lnTo>
                        <a:pt x="1351" y="463"/>
                      </a:lnTo>
                      <a:lnTo>
                        <a:pt x="1352" y="463"/>
                      </a:lnTo>
                      <a:lnTo>
                        <a:pt x="1352" y="462"/>
                      </a:lnTo>
                      <a:lnTo>
                        <a:pt x="1351" y="462"/>
                      </a:lnTo>
                      <a:lnTo>
                        <a:pt x="1351" y="461"/>
                      </a:lnTo>
                      <a:lnTo>
                        <a:pt x="1350" y="461"/>
                      </a:lnTo>
                      <a:lnTo>
                        <a:pt x="1349" y="461"/>
                      </a:lnTo>
                      <a:lnTo>
                        <a:pt x="1348" y="461"/>
                      </a:lnTo>
                      <a:lnTo>
                        <a:pt x="1347" y="461"/>
                      </a:lnTo>
                      <a:lnTo>
                        <a:pt x="1347" y="460"/>
                      </a:lnTo>
                      <a:lnTo>
                        <a:pt x="1348" y="460"/>
                      </a:lnTo>
                      <a:lnTo>
                        <a:pt x="1348" y="459"/>
                      </a:lnTo>
                      <a:lnTo>
                        <a:pt x="1349" y="459"/>
                      </a:lnTo>
                      <a:lnTo>
                        <a:pt x="1348" y="459"/>
                      </a:lnTo>
                      <a:lnTo>
                        <a:pt x="1348" y="457"/>
                      </a:lnTo>
                      <a:lnTo>
                        <a:pt x="1348" y="456"/>
                      </a:lnTo>
                      <a:lnTo>
                        <a:pt x="1349" y="456"/>
                      </a:lnTo>
                      <a:lnTo>
                        <a:pt x="1349" y="455"/>
                      </a:lnTo>
                      <a:lnTo>
                        <a:pt x="1348" y="455"/>
                      </a:lnTo>
                      <a:lnTo>
                        <a:pt x="1349" y="455"/>
                      </a:lnTo>
                      <a:lnTo>
                        <a:pt x="1349" y="454"/>
                      </a:lnTo>
                      <a:lnTo>
                        <a:pt x="1349" y="453"/>
                      </a:lnTo>
                      <a:lnTo>
                        <a:pt x="1348" y="453"/>
                      </a:lnTo>
                      <a:lnTo>
                        <a:pt x="1349" y="453"/>
                      </a:lnTo>
                      <a:lnTo>
                        <a:pt x="1348" y="453"/>
                      </a:lnTo>
                      <a:lnTo>
                        <a:pt x="1347" y="453"/>
                      </a:lnTo>
                      <a:lnTo>
                        <a:pt x="1347" y="452"/>
                      </a:lnTo>
                      <a:lnTo>
                        <a:pt x="1345" y="452"/>
                      </a:lnTo>
                      <a:lnTo>
                        <a:pt x="1345" y="451"/>
                      </a:lnTo>
                      <a:lnTo>
                        <a:pt x="1345" y="450"/>
                      </a:lnTo>
                      <a:lnTo>
                        <a:pt x="1345" y="451"/>
                      </a:lnTo>
                      <a:lnTo>
                        <a:pt x="1345" y="450"/>
                      </a:lnTo>
                      <a:lnTo>
                        <a:pt x="1344" y="450"/>
                      </a:lnTo>
                      <a:lnTo>
                        <a:pt x="1344" y="451"/>
                      </a:lnTo>
                      <a:lnTo>
                        <a:pt x="1345" y="451"/>
                      </a:lnTo>
                      <a:lnTo>
                        <a:pt x="1344" y="451"/>
                      </a:lnTo>
                      <a:lnTo>
                        <a:pt x="1344" y="452"/>
                      </a:lnTo>
                      <a:lnTo>
                        <a:pt x="1345" y="452"/>
                      </a:lnTo>
                      <a:lnTo>
                        <a:pt x="1344" y="452"/>
                      </a:lnTo>
                      <a:lnTo>
                        <a:pt x="1343" y="452"/>
                      </a:lnTo>
                      <a:lnTo>
                        <a:pt x="1344" y="452"/>
                      </a:lnTo>
                      <a:lnTo>
                        <a:pt x="1344" y="451"/>
                      </a:lnTo>
                      <a:lnTo>
                        <a:pt x="1343" y="451"/>
                      </a:lnTo>
                      <a:lnTo>
                        <a:pt x="1343" y="450"/>
                      </a:lnTo>
                      <a:lnTo>
                        <a:pt x="1344" y="449"/>
                      </a:lnTo>
                      <a:lnTo>
                        <a:pt x="1344" y="448"/>
                      </a:lnTo>
                      <a:lnTo>
                        <a:pt x="1345" y="449"/>
                      </a:lnTo>
                      <a:lnTo>
                        <a:pt x="1347" y="449"/>
                      </a:lnTo>
                      <a:lnTo>
                        <a:pt x="1347" y="450"/>
                      </a:lnTo>
                      <a:lnTo>
                        <a:pt x="1348" y="450"/>
                      </a:lnTo>
                      <a:lnTo>
                        <a:pt x="1348" y="451"/>
                      </a:lnTo>
                      <a:lnTo>
                        <a:pt x="1348" y="450"/>
                      </a:lnTo>
                      <a:lnTo>
                        <a:pt x="1347" y="450"/>
                      </a:lnTo>
                      <a:lnTo>
                        <a:pt x="1347" y="451"/>
                      </a:lnTo>
                      <a:lnTo>
                        <a:pt x="1348" y="451"/>
                      </a:lnTo>
                      <a:lnTo>
                        <a:pt x="1349" y="451"/>
                      </a:lnTo>
                      <a:lnTo>
                        <a:pt x="1348" y="451"/>
                      </a:lnTo>
                      <a:lnTo>
                        <a:pt x="1348" y="452"/>
                      </a:lnTo>
                      <a:lnTo>
                        <a:pt x="1349" y="452"/>
                      </a:lnTo>
                      <a:lnTo>
                        <a:pt x="1349" y="451"/>
                      </a:lnTo>
                      <a:lnTo>
                        <a:pt x="1349" y="452"/>
                      </a:lnTo>
                      <a:lnTo>
                        <a:pt x="1350" y="452"/>
                      </a:lnTo>
                      <a:lnTo>
                        <a:pt x="1350" y="453"/>
                      </a:lnTo>
                      <a:lnTo>
                        <a:pt x="1351" y="453"/>
                      </a:lnTo>
                      <a:lnTo>
                        <a:pt x="1351" y="454"/>
                      </a:lnTo>
                      <a:lnTo>
                        <a:pt x="1351" y="455"/>
                      </a:lnTo>
                      <a:lnTo>
                        <a:pt x="1352" y="455"/>
                      </a:lnTo>
                      <a:lnTo>
                        <a:pt x="1351" y="455"/>
                      </a:lnTo>
                      <a:lnTo>
                        <a:pt x="1352" y="455"/>
                      </a:lnTo>
                      <a:lnTo>
                        <a:pt x="1352" y="454"/>
                      </a:lnTo>
                      <a:lnTo>
                        <a:pt x="1352" y="455"/>
                      </a:lnTo>
                      <a:lnTo>
                        <a:pt x="1352" y="454"/>
                      </a:lnTo>
                      <a:lnTo>
                        <a:pt x="1353" y="454"/>
                      </a:lnTo>
                      <a:lnTo>
                        <a:pt x="1353" y="453"/>
                      </a:lnTo>
                      <a:lnTo>
                        <a:pt x="1353" y="452"/>
                      </a:lnTo>
                      <a:lnTo>
                        <a:pt x="1353" y="451"/>
                      </a:lnTo>
                      <a:lnTo>
                        <a:pt x="1352" y="450"/>
                      </a:lnTo>
                      <a:lnTo>
                        <a:pt x="1353" y="450"/>
                      </a:lnTo>
                      <a:lnTo>
                        <a:pt x="1353" y="451"/>
                      </a:lnTo>
                      <a:lnTo>
                        <a:pt x="1353" y="452"/>
                      </a:lnTo>
                      <a:lnTo>
                        <a:pt x="1354" y="452"/>
                      </a:lnTo>
                      <a:lnTo>
                        <a:pt x="1353" y="452"/>
                      </a:lnTo>
                      <a:lnTo>
                        <a:pt x="1354" y="452"/>
                      </a:lnTo>
                      <a:lnTo>
                        <a:pt x="1354" y="451"/>
                      </a:lnTo>
                      <a:lnTo>
                        <a:pt x="1353" y="451"/>
                      </a:lnTo>
                      <a:lnTo>
                        <a:pt x="1354" y="451"/>
                      </a:lnTo>
                      <a:lnTo>
                        <a:pt x="1353" y="451"/>
                      </a:lnTo>
                      <a:lnTo>
                        <a:pt x="1354" y="451"/>
                      </a:lnTo>
                      <a:lnTo>
                        <a:pt x="1354" y="450"/>
                      </a:lnTo>
                      <a:lnTo>
                        <a:pt x="1354" y="451"/>
                      </a:lnTo>
                      <a:lnTo>
                        <a:pt x="1355" y="451"/>
                      </a:lnTo>
                      <a:lnTo>
                        <a:pt x="1354" y="451"/>
                      </a:lnTo>
                      <a:lnTo>
                        <a:pt x="1355" y="451"/>
                      </a:lnTo>
                      <a:lnTo>
                        <a:pt x="1355" y="450"/>
                      </a:lnTo>
                      <a:lnTo>
                        <a:pt x="1354" y="450"/>
                      </a:lnTo>
                      <a:lnTo>
                        <a:pt x="1355" y="450"/>
                      </a:lnTo>
                      <a:lnTo>
                        <a:pt x="1354" y="450"/>
                      </a:lnTo>
                      <a:lnTo>
                        <a:pt x="1355" y="450"/>
                      </a:lnTo>
                      <a:lnTo>
                        <a:pt x="1354" y="450"/>
                      </a:lnTo>
                      <a:lnTo>
                        <a:pt x="1354" y="449"/>
                      </a:lnTo>
                      <a:lnTo>
                        <a:pt x="1353" y="449"/>
                      </a:lnTo>
                      <a:lnTo>
                        <a:pt x="1353" y="448"/>
                      </a:lnTo>
                      <a:lnTo>
                        <a:pt x="1352" y="447"/>
                      </a:lnTo>
                      <a:lnTo>
                        <a:pt x="1351" y="447"/>
                      </a:lnTo>
                      <a:lnTo>
                        <a:pt x="1351" y="446"/>
                      </a:lnTo>
                      <a:lnTo>
                        <a:pt x="1350" y="447"/>
                      </a:lnTo>
                      <a:lnTo>
                        <a:pt x="1349" y="447"/>
                      </a:lnTo>
                      <a:lnTo>
                        <a:pt x="1349" y="446"/>
                      </a:lnTo>
                      <a:lnTo>
                        <a:pt x="1348" y="446"/>
                      </a:lnTo>
                      <a:lnTo>
                        <a:pt x="1347" y="444"/>
                      </a:lnTo>
                      <a:lnTo>
                        <a:pt x="1347" y="443"/>
                      </a:lnTo>
                      <a:lnTo>
                        <a:pt x="1345" y="443"/>
                      </a:lnTo>
                      <a:lnTo>
                        <a:pt x="1344" y="443"/>
                      </a:lnTo>
                      <a:lnTo>
                        <a:pt x="1343" y="442"/>
                      </a:lnTo>
                      <a:lnTo>
                        <a:pt x="1344" y="442"/>
                      </a:lnTo>
                      <a:lnTo>
                        <a:pt x="1345" y="442"/>
                      </a:lnTo>
                      <a:lnTo>
                        <a:pt x="1347" y="442"/>
                      </a:lnTo>
                      <a:lnTo>
                        <a:pt x="1347" y="441"/>
                      </a:lnTo>
                      <a:lnTo>
                        <a:pt x="1347" y="440"/>
                      </a:lnTo>
                      <a:lnTo>
                        <a:pt x="1348" y="440"/>
                      </a:lnTo>
                      <a:lnTo>
                        <a:pt x="1349" y="441"/>
                      </a:lnTo>
                      <a:lnTo>
                        <a:pt x="1350" y="441"/>
                      </a:lnTo>
                      <a:lnTo>
                        <a:pt x="1349" y="440"/>
                      </a:lnTo>
                      <a:lnTo>
                        <a:pt x="1349" y="439"/>
                      </a:lnTo>
                      <a:lnTo>
                        <a:pt x="1349" y="438"/>
                      </a:lnTo>
                      <a:lnTo>
                        <a:pt x="1350" y="438"/>
                      </a:lnTo>
                      <a:lnTo>
                        <a:pt x="1350" y="439"/>
                      </a:lnTo>
                      <a:lnTo>
                        <a:pt x="1350" y="438"/>
                      </a:lnTo>
                      <a:lnTo>
                        <a:pt x="1351" y="438"/>
                      </a:lnTo>
                      <a:lnTo>
                        <a:pt x="1351" y="439"/>
                      </a:lnTo>
                      <a:lnTo>
                        <a:pt x="1351" y="440"/>
                      </a:lnTo>
                      <a:lnTo>
                        <a:pt x="1351" y="441"/>
                      </a:lnTo>
                      <a:lnTo>
                        <a:pt x="1352" y="441"/>
                      </a:lnTo>
                      <a:lnTo>
                        <a:pt x="1352" y="442"/>
                      </a:lnTo>
                      <a:lnTo>
                        <a:pt x="1353" y="442"/>
                      </a:lnTo>
                      <a:lnTo>
                        <a:pt x="1354" y="442"/>
                      </a:lnTo>
                      <a:lnTo>
                        <a:pt x="1353" y="442"/>
                      </a:lnTo>
                      <a:lnTo>
                        <a:pt x="1354" y="442"/>
                      </a:lnTo>
                      <a:lnTo>
                        <a:pt x="1354" y="441"/>
                      </a:lnTo>
                      <a:lnTo>
                        <a:pt x="1355" y="441"/>
                      </a:lnTo>
                      <a:lnTo>
                        <a:pt x="1355" y="440"/>
                      </a:lnTo>
                      <a:lnTo>
                        <a:pt x="1355" y="441"/>
                      </a:lnTo>
                      <a:lnTo>
                        <a:pt x="1355" y="440"/>
                      </a:lnTo>
                      <a:lnTo>
                        <a:pt x="1354" y="440"/>
                      </a:lnTo>
                      <a:lnTo>
                        <a:pt x="1355" y="440"/>
                      </a:lnTo>
                      <a:lnTo>
                        <a:pt x="1354" y="440"/>
                      </a:lnTo>
                      <a:lnTo>
                        <a:pt x="1355" y="440"/>
                      </a:lnTo>
                      <a:lnTo>
                        <a:pt x="1355" y="439"/>
                      </a:lnTo>
                      <a:lnTo>
                        <a:pt x="1354" y="439"/>
                      </a:lnTo>
                      <a:lnTo>
                        <a:pt x="1354" y="438"/>
                      </a:lnTo>
                      <a:lnTo>
                        <a:pt x="1353" y="438"/>
                      </a:lnTo>
                      <a:lnTo>
                        <a:pt x="1353" y="437"/>
                      </a:lnTo>
                      <a:lnTo>
                        <a:pt x="1354" y="437"/>
                      </a:lnTo>
                      <a:lnTo>
                        <a:pt x="1354" y="438"/>
                      </a:lnTo>
                      <a:lnTo>
                        <a:pt x="1355" y="438"/>
                      </a:lnTo>
                      <a:lnTo>
                        <a:pt x="1355" y="437"/>
                      </a:lnTo>
                      <a:lnTo>
                        <a:pt x="1355" y="436"/>
                      </a:lnTo>
                      <a:lnTo>
                        <a:pt x="1356" y="436"/>
                      </a:lnTo>
                      <a:lnTo>
                        <a:pt x="1356" y="437"/>
                      </a:lnTo>
                      <a:lnTo>
                        <a:pt x="1356" y="438"/>
                      </a:lnTo>
                      <a:lnTo>
                        <a:pt x="1356" y="439"/>
                      </a:lnTo>
                      <a:lnTo>
                        <a:pt x="1356" y="438"/>
                      </a:lnTo>
                      <a:lnTo>
                        <a:pt x="1357" y="438"/>
                      </a:lnTo>
                      <a:lnTo>
                        <a:pt x="1358" y="438"/>
                      </a:lnTo>
                      <a:lnTo>
                        <a:pt x="1358" y="439"/>
                      </a:lnTo>
                      <a:lnTo>
                        <a:pt x="1358" y="438"/>
                      </a:lnTo>
                      <a:lnTo>
                        <a:pt x="1360" y="438"/>
                      </a:lnTo>
                      <a:lnTo>
                        <a:pt x="1360" y="439"/>
                      </a:lnTo>
                      <a:lnTo>
                        <a:pt x="1361" y="439"/>
                      </a:lnTo>
                      <a:lnTo>
                        <a:pt x="1361" y="438"/>
                      </a:lnTo>
                      <a:lnTo>
                        <a:pt x="1361" y="437"/>
                      </a:lnTo>
                      <a:lnTo>
                        <a:pt x="1361" y="436"/>
                      </a:lnTo>
                      <a:lnTo>
                        <a:pt x="1360" y="436"/>
                      </a:lnTo>
                      <a:lnTo>
                        <a:pt x="1360" y="435"/>
                      </a:lnTo>
                      <a:lnTo>
                        <a:pt x="1361" y="435"/>
                      </a:lnTo>
                      <a:lnTo>
                        <a:pt x="1362" y="435"/>
                      </a:lnTo>
                      <a:lnTo>
                        <a:pt x="1361" y="434"/>
                      </a:lnTo>
                      <a:lnTo>
                        <a:pt x="1361" y="433"/>
                      </a:lnTo>
                      <a:lnTo>
                        <a:pt x="1362" y="433"/>
                      </a:lnTo>
                      <a:lnTo>
                        <a:pt x="1362" y="431"/>
                      </a:lnTo>
                      <a:lnTo>
                        <a:pt x="1363" y="431"/>
                      </a:lnTo>
                      <a:lnTo>
                        <a:pt x="1364" y="431"/>
                      </a:lnTo>
                      <a:lnTo>
                        <a:pt x="1364" y="430"/>
                      </a:lnTo>
                      <a:lnTo>
                        <a:pt x="1365" y="430"/>
                      </a:lnTo>
                      <a:lnTo>
                        <a:pt x="1365" y="429"/>
                      </a:lnTo>
                      <a:lnTo>
                        <a:pt x="1366" y="429"/>
                      </a:lnTo>
                      <a:lnTo>
                        <a:pt x="1367" y="429"/>
                      </a:lnTo>
                      <a:lnTo>
                        <a:pt x="1367" y="428"/>
                      </a:lnTo>
                      <a:lnTo>
                        <a:pt x="1368" y="428"/>
                      </a:lnTo>
                      <a:lnTo>
                        <a:pt x="1369" y="428"/>
                      </a:lnTo>
                      <a:lnTo>
                        <a:pt x="1369" y="427"/>
                      </a:lnTo>
                      <a:lnTo>
                        <a:pt x="1370" y="427"/>
                      </a:lnTo>
                      <a:lnTo>
                        <a:pt x="1370" y="426"/>
                      </a:lnTo>
                      <a:lnTo>
                        <a:pt x="1371" y="426"/>
                      </a:lnTo>
                      <a:lnTo>
                        <a:pt x="1371" y="425"/>
                      </a:lnTo>
                      <a:lnTo>
                        <a:pt x="1373" y="425"/>
                      </a:lnTo>
                      <a:lnTo>
                        <a:pt x="1371" y="426"/>
                      </a:lnTo>
                      <a:lnTo>
                        <a:pt x="1371" y="427"/>
                      </a:lnTo>
                      <a:lnTo>
                        <a:pt x="1373" y="427"/>
                      </a:lnTo>
                      <a:lnTo>
                        <a:pt x="1373" y="428"/>
                      </a:lnTo>
                      <a:close/>
                      <a:moveTo>
                        <a:pt x="1391" y="469"/>
                      </a:moveTo>
                      <a:lnTo>
                        <a:pt x="1391" y="470"/>
                      </a:lnTo>
                      <a:lnTo>
                        <a:pt x="1392" y="470"/>
                      </a:lnTo>
                      <a:lnTo>
                        <a:pt x="1392" y="472"/>
                      </a:lnTo>
                      <a:lnTo>
                        <a:pt x="1393" y="472"/>
                      </a:lnTo>
                      <a:lnTo>
                        <a:pt x="1393" y="470"/>
                      </a:lnTo>
                      <a:lnTo>
                        <a:pt x="1393" y="472"/>
                      </a:lnTo>
                      <a:lnTo>
                        <a:pt x="1393" y="473"/>
                      </a:lnTo>
                      <a:lnTo>
                        <a:pt x="1392" y="473"/>
                      </a:lnTo>
                      <a:lnTo>
                        <a:pt x="1391" y="473"/>
                      </a:lnTo>
                      <a:lnTo>
                        <a:pt x="1391" y="474"/>
                      </a:lnTo>
                      <a:lnTo>
                        <a:pt x="1391" y="475"/>
                      </a:lnTo>
                      <a:lnTo>
                        <a:pt x="1392" y="475"/>
                      </a:lnTo>
                      <a:lnTo>
                        <a:pt x="1393" y="475"/>
                      </a:lnTo>
                      <a:lnTo>
                        <a:pt x="1394" y="475"/>
                      </a:lnTo>
                      <a:lnTo>
                        <a:pt x="1394" y="476"/>
                      </a:lnTo>
                      <a:lnTo>
                        <a:pt x="1395" y="476"/>
                      </a:lnTo>
                      <a:lnTo>
                        <a:pt x="1396" y="476"/>
                      </a:lnTo>
                      <a:lnTo>
                        <a:pt x="1396" y="475"/>
                      </a:lnTo>
                      <a:lnTo>
                        <a:pt x="1395" y="474"/>
                      </a:lnTo>
                      <a:lnTo>
                        <a:pt x="1394" y="474"/>
                      </a:lnTo>
                      <a:lnTo>
                        <a:pt x="1394" y="473"/>
                      </a:lnTo>
                      <a:lnTo>
                        <a:pt x="1395" y="473"/>
                      </a:lnTo>
                      <a:lnTo>
                        <a:pt x="1395" y="472"/>
                      </a:lnTo>
                      <a:lnTo>
                        <a:pt x="1395" y="470"/>
                      </a:lnTo>
                      <a:lnTo>
                        <a:pt x="1394" y="470"/>
                      </a:lnTo>
                      <a:lnTo>
                        <a:pt x="1394" y="469"/>
                      </a:lnTo>
                      <a:lnTo>
                        <a:pt x="1393" y="469"/>
                      </a:lnTo>
                      <a:lnTo>
                        <a:pt x="1393" y="470"/>
                      </a:lnTo>
                      <a:lnTo>
                        <a:pt x="1392" y="470"/>
                      </a:lnTo>
                      <a:lnTo>
                        <a:pt x="1391" y="470"/>
                      </a:lnTo>
                      <a:lnTo>
                        <a:pt x="1391" y="469"/>
                      </a:lnTo>
                      <a:lnTo>
                        <a:pt x="1391" y="468"/>
                      </a:lnTo>
                      <a:lnTo>
                        <a:pt x="1392" y="468"/>
                      </a:lnTo>
                      <a:lnTo>
                        <a:pt x="1393" y="468"/>
                      </a:lnTo>
                      <a:lnTo>
                        <a:pt x="1394" y="468"/>
                      </a:lnTo>
                      <a:lnTo>
                        <a:pt x="1394" y="467"/>
                      </a:lnTo>
                      <a:lnTo>
                        <a:pt x="1394" y="466"/>
                      </a:lnTo>
                      <a:lnTo>
                        <a:pt x="1394" y="467"/>
                      </a:lnTo>
                      <a:lnTo>
                        <a:pt x="1395" y="467"/>
                      </a:lnTo>
                      <a:lnTo>
                        <a:pt x="1395" y="468"/>
                      </a:lnTo>
                      <a:lnTo>
                        <a:pt x="1395" y="469"/>
                      </a:lnTo>
                      <a:lnTo>
                        <a:pt x="1396" y="469"/>
                      </a:lnTo>
                      <a:lnTo>
                        <a:pt x="1396" y="470"/>
                      </a:lnTo>
                      <a:lnTo>
                        <a:pt x="1397" y="470"/>
                      </a:lnTo>
                      <a:lnTo>
                        <a:pt x="1397" y="469"/>
                      </a:lnTo>
                      <a:lnTo>
                        <a:pt x="1397" y="468"/>
                      </a:lnTo>
                      <a:lnTo>
                        <a:pt x="1397" y="467"/>
                      </a:lnTo>
                      <a:lnTo>
                        <a:pt x="1399" y="467"/>
                      </a:lnTo>
                      <a:lnTo>
                        <a:pt x="1400" y="468"/>
                      </a:lnTo>
                      <a:lnTo>
                        <a:pt x="1401" y="468"/>
                      </a:lnTo>
                      <a:lnTo>
                        <a:pt x="1400" y="468"/>
                      </a:lnTo>
                      <a:lnTo>
                        <a:pt x="1401" y="468"/>
                      </a:lnTo>
                      <a:lnTo>
                        <a:pt x="1401" y="469"/>
                      </a:lnTo>
                      <a:lnTo>
                        <a:pt x="1401" y="470"/>
                      </a:lnTo>
                      <a:lnTo>
                        <a:pt x="1402" y="472"/>
                      </a:lnTo>
                      <a:lnTo>
                        <a:pt x="1403" y="473"/>
                      </a:lnTo>
                      <a:lnTo>
                        <a:pt x="1403" y="472"/>
                      </a:lnTo>
                      <a:lnTo>
                        <a:pt x="1403" y="473"/>
                      </a:lnTo>
                      <a:lnTo>
                        <a:pt x="1404" y="473"/>
                      </a:lnTo>
                      <a:lnTo>
                        <a:pt x="1405" y="473"/>
                      </a:lnTo>
                      <a:lnTo>
                        <a:pt x="1404" y="474"/>
                      </a:lnTo>
                      <a:lnTo>
                        <a:pt x="1404" y="475"/>
                      </a:lnTo>
                      <a:lnTo>
                        <a:pt x="1403" y="475"/>
                      </a:lnTo>
                      <a:lnTo>
                        <a:pt x="1403" y="476"/>
                      </a:lnTo>
                      <a:lnTo>
                        <a:pt x="1402" y="476"/>
                      </a:lnTo>
                      <a:lnTo>
                        <a:pt x="1402" y="477"/>
                      </a:lnTo>
                      <a:lnTo>
                        <a:pt x="1402" y="478"/>
                      </a:lnTo>
                      <a:lnTo>
                        <a:pt x="1402" y="479"/>
                      </a:lnTo>
                      <a:lnTo>
                        <a:pt x="1402" y="480"/>
                      </a:lnTo>
                      <a:lnTo>
                        <a:pt x="1401" y="480"/>
                      </a:lnTo>
                      <a:lnTo>
                        <a:pt x="1401" y="481"/>
                      </a:lnTo>
                      <a:lnTo>
                        <a:pt x="1400" y="481"/>
                      </a:lnTo>
                      <a:lnTo>
                        <a:pt x="1400" y="482"/>
                      </a:lnTo>
                      <a:lnTo>
                        <a:pt x="1399" y="482"/>
                      </a:lnTo>
                      <a:lnTo>
                        <a:pt x="1399" y="484"/>
                      </a:lnTo>
                      <a:lnTo>
                        <a:pt x="1399" y="485"/>
                      </a:lnTo>
                      <a:lnTo>
                        <a:pt x="1399" y="486"/>
                      </a:lnTo>
                      <a:lnTo>
                        <a:pt x="1397" y="486"/>
                      </a:lnTo>
                      <a:lnTo>
                        <a:pt x="1396" y="486"/>
                      </a:lnTo>
                      <a:lnTo>
                        <a:pt x="1396" y="487"/>
                      </a:lnTo>
                      <a:lnTo>
                        <a:pt x="1395" y="487"/>
                      </a:lnTo>
                      <a:lnTo>
                        <a:pt x="1394" y="488"/>
                      </a:lnTo>
                      <a:lnTo>
                        <a:pt x="1393" y="488"/>
                      </a:lnTo>
                      <a:lnTo>
                        <a:pt x="1394" y="488"/>
                      </a:lnTo>
                      <a:lnTo>
                        <a:pt x="1394" y="487"/>
                      </a:lnTo>
                      <a:lnTo>
                        <a:pt x="1395" y="487"/>
                      </a:lnTo>
                      <a:lnTo>
                        <a:pt x="1395" y="486"/>
                      </a:lnTo>
                      <a:lnTo>
                        <a:pt x="1396" y="485"/>
                      </a:lnTo>
                      <a:lnTo>
                        <a:pt x="1396" y="484"/>
                      </a:lnTo>
                      <a:lnTo>
                        <a:pt x="1395" y="484"/>
                      </a:lnTo>
                      <a:lnTo>
                        <a:pt x="1394" y="484"/>
                      </a:lnTo>
                      <a:lnTo>
                        <a:pt x="1394" y="485"/>
                      </a:lnTo>
                      <a:lnTo>
                        <a:pt x="1393" y="485"/>
                      </a:lnTo>
                      <a:lnTo>
                        <a:pt x="1393" y="486"/>
                      </a:lnTo>
                      <a:lnTo>
                        <a:pt x="1392" y="486"/>
                      </a:lnTo>
                      <a:lnTo>
                        <a:pt x="1393" y="486"/>
                      </a:lnTo>
                      <a:lnTo>
                        <a:pt x="1393" y="485"/>
                      </a:lnTo>
                      <a:lnTo>
                        <a:pt x="1393" y="484"/>
                      </a:lnTo>
                      <a:lnTo>
                        <a:pt x="1394" y="484"/>
                      </a:lnTo>
                      <a:lnTo>
                        <a:pt x="1395" y="484"/>
                      </a:lnTo>
                      <a:lnTo>
                        <a:pt x="1395" y="482"/>
                      </a:lnTo>
                      <a:lnTo>
                        <a:pt x="1395" y="481"/>
                      </a:lnTo>
                      <a:lnTo>
                        <a:pt x="1395" y="482"/>
                      </a:lnTo>
                      <a:lnTo>
                        <a:pt x="1394" y="482"/>
                      </a:lnTo>
                      <a:lnTo>
                        <a:pt x="1393" y="484"/>
                      </a:lnTo>
                      <a:lnTo>
                        <a:pt x="1392" y="484"/>
                      </a:lnTo>
                      <a:lnTo>
                        <a:pt x="1391" y="484"/>
                      </a:lnTo>
                      <a:lnTo>
                        <a:pt x="1392" y="484"/>
                      </a:lnTo>
                      <a:lnTo>
                        <a:pt x="1393" y="484"/>
                      </a:lnTo>
                      <a:lnTo>
                        <a:pt x="1393" y="482"/>
                      </a:lnTo>
                      <a:lnTo>
                        <a:pt x="1393" y="481"/>
                      </a:lnTo>
                      <a:lnTo>
                        <a:pt x="1393" y="480"/>
                      </a:lnTo>
                      <a:lnTo>
                        <a:pt x="1393" y="479"/>
                      </a:lnTo>
                      <a:lnTo>
                        <a:pt x="1392" y="479"/>
                      </a:lnTo>
                      <a:lnTo>
                        <a:pt x="1391" y="478"/>
                      </a:lnTo>
                      <a:lnTo>
                        <a:pt x="1391" y="477"/>
                      </a:lnTo>
                      <a:lnTo>
                        <a:pt x="1391" y="476"/>
                      </a:lnTo>
                      <a:lnTo>
                        <a:pt x="1390" y="476"/>
                      </a:lnTo>
                      <a:lnTo>
                        <a:pt x="1390" y="477"/>
                      </a:lnTo>
                      <a:lnTo>
                        <a:pt x="1390" y="478"/>
                      </a:lnTo>
                      <a:lnTo>
                        <a:pt x="1390" y="479"/>
                      </a:lnTo>
                      <a:lnTo>
                        <a:pt x="1389" y="479"/>
                      </a:lnTo>
                      <a:lnTo>
                        <a:pt x="1389" y="480"/>
                      </a:lnTo>
                      <a:lnTo>
                        <a:pt x="1389" y="481"/>
                      </a:lnTo>
                      <a:lnTo>
                        <a:pt x="1388" y="481"/>
                      </a:lnTo>
                      <a:lnTo>
                        <a:pt x="1387" y="481"/>
                      </a:lnTo>
                      <a:lnTo>
                        <a:pt x="1387" y="482"/>
                      </a:lnTo>
                      <a:lnTo>
                        <a:pt x="1387" y="481"/>
                      </a:lnTo>
                      <a:lnTo>
                        <a:pt x="1386" y="480"/>
                      </a:lnTo>
                      <a:lnTo>
                        <a:pt x="1384" y="480"/>
                      </a:lnTo>
                      <a:lnTo>
                        <a:pt x="1384" y="479"/>
                      </a:lnTo>
                      <a:lnTo>
                        <a:pt x="1384" y="478"/>
                      </a:lnTo>
                      <a:lnTo>
                        <a:pt x="1386" y="478"/>
                      </a:lnTo>
                      <a:lnTo>
                        <a:pt x="1386" y="477"/>
                      </a:lnTo>
                      <a:lnTo>
                        <a:pt x="1386" y="476"/>
                      </a:lnTo>
                      <a:lnTo>
                        <a:pt x="1386" y="475"/>
                      </a:lnTo>
                      <a:lnTo>
                        <a:pt x="1386" y="476"/>
                      </a:lnTo>
                      <a:lnTo>
                        <a:pt x="1387" y="476"/>
                      </a:lnTo>
                      <a:lnTo>
                        <a:pt x="1387" y="475"/>
                      </a:lnTo>
                      <a:lnTo>
                        <a:pt x="1388" y="475"/>
                      </a:lnTo>
                      <a:lnTo>
                        <a:pt x="1387" y="475"/>
                      </a:lnTo>
                      <a:lnTo>
                        <a:pt x="1387" y="474"/>
                      </a:lnTo>
                      <a:lnTo>
                        <a:pt x="1387" y="473"/>
                      </a:lnTo>
                      <a:lnTo>
                        <a:pt x="1388" y="473"/>
                      </a:lnTo>
                      <a:lnTo>
                        <a:pt x="1388" y="472"/>
                      </a:lnTo>
                      <a:lnTo>
                        <a:pt x="1388" y="473"/>
                      </a:lnTo>
                      <a:lnTo>
                        <a:pt x="1389" y="473"/>
                      </a:lnTo>
                      <a:lnTo>
                        <a:pt x="1390" y="473"/>
                      </a:lnTo>
                      <a:lnTo>
                        <a:pt x="1390" y="472"/>
                      </a:lnTo>
                      <a:lnTo>
                        <a:pt x="1391" y="472"/>
                      </a:lnTo>
                      <a:lnTo>
                        <a:pt x="1390" y="472"/>
                      </a:lnTo>
                      <a:lnTo>
                        <a:pt x="1390" y="470"/>
                      </a:lnTo>
                      <a:lnTo>
                        <a:pt x="1389" y="472"/>
                      </a:lnTo>
                      <a:lnTo>
                        <a:pt x="1389" y="470"/>
                      </a:lnTo>
                      <a:lnTo>
                        <a:pt x="1390" y="470"/>
                      </a:lnTo>
                      <a:lnTo>
                        <a:pt x="1390" y="469"/>
                      </a:lnTo>
                      <a:lnTo>
                        <a:pt x="1390" y="468"/>
                      </a:lnTo>
                      <a:lnTo>
                        <a:pt x="1390" y="467"/>
                      </a:lnTo>
                      <a:lnTo>
                        <a:pt x="1391" y="466"/>
                      </a:lnTo>
                      <a:lnTo>
                        <a:pt x="1391" y="465"/>
                      </a:lnTo>
                      <a:lnTo>
                        <a:pt x="1392" y="465"/>
                      </a:lnTo>
                      <a:lnTo>
                        <a:pt x="1392" y="466"/>
                      </a:lnTo>
                      <a:lnTo>
                        <a:pt x="1391" y="466"/>
                      </a:lnTo>
                      <a:lnTo>
                        <a:pt x="1391" y="467"/>
                      </a:lnTo>
                      <a:lnTo>
                        <a:pt x="1390" y="467"/>
                      </a:lnTo>
                      <a:lnTo>
                        <a:pt x="1391" y="468"/>
                      </a:lnTo>
                      <a:lnTo>
                        <a:pt x="1390" y="469"/>
                      </a:lnTo>
                      <a:lnTo>
                        <a:pt x="1391" y="469"/>
                      </a:lnTo>
                      <a:close/>
                      <a:moveTo>
                        <a:pt x="1370" y="546"/>
                      </a:moveTo>
                      <a:lnTo>
                        <a:pt x="1371" y="547"/>
                      </a:lnTo>
                      <a:lnTo>
                        <a:pt x="1373" y="547"/>
                      </a:lnTo>
                      <a:lnTo>
                        <a:pt x="1373" y="549"/>
                      </a:lnTo>
                      <a:lnTo>
                        <a:pt x="1374" y="549"/>
                      </a:lnTo>
                      <a:lnTo>
                        <a:pt x="1374" y="547"/>
                      </a:lnTo>
                      <a:lnTo>
                        <a:pt x="1375" y="547"/>
                      </a:lnTo>
                      <a:lnTo>
                        <a:pt x="1375" y="549"/>
                      </a:lnTo>
                      <a:lnTo>
                        <a:pt x="1376" y="549"/>
                      </a:lnTo>
                      <a:lnTo>
                        <a:pt x="1377" y="549"/>
                      </a:lnTo>
                      <a:lnTo>
                        <a:pt x="1376" y="549"/>
                      </a:lnTo>
                      <a:lnTo>
                        <a:pt x="1376" y="547"/>
                      </a:lnTo>
                      <a:lnTo>
                        <a:pt x="1375" y="547"/>
                      </a:lnTo>
                      <a:lnTo>
                        <a:pt x="1376" y="547"/>
                      </a:lnTo>
                      <a:lnTo>
                        <a:pt x="1377" y="547"/>
                      </a:lnTo>
                      <a:lnTo>
                        <a:pt x="1378" y="547"/>
                      </a:lnTo>
                      <a:lnTo>
                        <a:pt x="1378" y="549"/>
                      </a:lnTo>
                      <a:lnTo>
                        <a:pt x="1377" y="549"/>
                      </a:lnTo>
                      <a:lnTo>
                        <a:pt x="1376" y="550"/>
                      </a:lnTo>
                      <a:lnTo>
                        <a:pt x="1376" y="551"/>
                      </a:lnTo>
                      <a:lnTo>
                        <a:pt x="1376" y="552"/>
                      </a:lnTo>
                      <a:lnTo>
                        <a:pt x="1376" y="553"/>
                      </a:lnTo>
                      <a:lnTo>
                        <a:pt x="1376" y="554"/>
                      </a:lnTo>
                      <a:lnTo>
                        <a:pt x="1376" y="555"/>
                      </a:lnTo>
                      <a:lnTo>
                        <a:pt x="1377" y="555"/>
                      </a:lnTo>
                      <a:lnTo>
                        <a:pt x="1376" y="556"/>
                      </a:lnTo>
                      <a:lnTo>
                        <a:pt x="1376" y="557"/>
                      </a:lnTo>
                      <a:lnTo>
                        <a:pt x="1375" y="557"/>
                      </a:lnTo>
                      <a:lnTo>
                        <a:pt x="1376" y="557"/>
                      </a:lnTo>
                      <a:lnTo>
                        <a:pt x="1377" y="557"/>
                      </a:lnTo>
                      <a:lnTo>
                        <a:pt x="1377" y="556"/>
                      </a:lnTo>
                      <a:lnTo>
                        <a:pt x="1377" y="557"/>
                      </a:lnTo>
                      <a:lnTo>
                        <a:pt x="1378" y="557"/>
                      </a:lnTo>
                      <a:lnTo>
                        <a:pt x="1378" y="558"/>
                      </a:lnTo>
                      <a:lnTo>
                        <a:pt x="1379" y="558"/>
                      </a:lnTo>
                      <a:lnTo>
                        <a:pt x="1380" y="558"/>
                      </a:lnTo>
                      <a:lnTo>
                        <a:pt x="1380" y="559"/>
                      </a:lnTo>
                      <a:lnTo>
                        <a:pt x="1379" y="558"/>
                      </a:lnTo>
                      <a:lnTo>
                        <a:pt x="1378" y="558"/>
                      </a:lnTo>
                      <a:lnTo>
                        <a:pt x="1377" y="558"/>
                      </a:lnTo>
                      <a:lnTo>
                        <a:pt x="1376" y="558"/>
                      </a:lnTo>
                      <a:lnTo>
                        <a:pt x="1375" y="558"/>
                      </a:lnTo>
                      <a:lnTo>
                        <a:pt x="1374" y="559"/>
                      </a:lnTo>
                      <a:lnTo>
                        <a:pt x="1374" y="558"/>
                      </a:lnTo>
                      <a:lnTo>
                        <a:pt x="1373" y="558"/>
                      </a:lnTo>
                      <a:lnTo>
                        <a:pt x="1371" y="558"/>
                      </a:lnTo>
                      <a:lnTo>
                        <a:pt x="1370" y="558"/>
                      </a:lnTo>
                      <a:lnTo>
                        <a:pt x="1369" y="558"/>
                      </a:lnTo>
                      <a:lnTo>
                        <a:pt x="1368" y="558"/>
                      </a:lnTo>
                      <a:lnTo>
                        <a:pt x="1367" y="558"/>
                      </a:lnTo>
                      <a:lnTo>
                        <a:pt x="1366" y="558"/>
                      </a:lnTo>
                      <a:lnTo>
                        <a:pt x="1366" y="559"/>
                      </a:lnTo>
                      <a:lnTo>
                        <a:pt x="1365" y="559"/>
                      </a:lnTo>
                      <a:lnTo>
                        <a:pt x="1363" y="559"/>
                      </a:lnTo>
                      <a:lnTo>
                        <a:pt x="1362" y="559"/>
                      </a:lnTo>
                      <a:lnTo>
                        <a:pt x="1361" y="559"/>
                      </a:lnTo>
                      <a:lnTo>
                        <a:pt x="1360" y="558"/>
                      </a:lnTo>
                      <a:lnTo>
                        <a:pt x="1358" y="558"/>
                      </a:lnTo>
                      <a:lnTo>
                        <a:pt x="1357" y="558"/>
                      </a:lnTo>
                      <a:lnTo>
                        <a:pt x="1356" y="558"/>
                      </a:lnTo>
                      <a:lnTo>
                        <a:pt x="1356" y="557"/>
                      </a:lnTo>
                      <a:lnTo>
                        <a:pt x="1355" y="556"/>
                      </a:lnTo>
                      <a:lnTo>
                        <a:pt x="1355" y="557"/>
                      </a:lnTo>
                      <a:lnTo>
                        <a:pt x="1355" y="558"/>
                      </a:lnTo>
                      <a:lnTo>
                        <a:pt x="1354" y="558"/>
                      </a:lnTo>
                      <a:lnTo>
                        <a:pt x="1354" y="559"/>
                      </a:lnTo>
                      <a:lnTo>
                        <a:pt x="1353" y="559"/>
                      </a:lnTo>
                      <a:lnTo>
                        <a:pt x="1352" y="560"/>
                      </a:lnTo>
                      <a:lnTo>
                        <a:pt x="1351" y="560"/>
                      </a:lnTo>
                      <a:lnTo>
                        <a:pt x="1350" y="562"/>
                      </a:lnTo>
                      <a:lnTo>
                        <a:pt x="1349" y="563"/>
                      </a:lnTo>
                      <a:lnTo>
                        <a:pt x="1348" y="563"/>
                      </a:lnTo>
                      <a:lnTo>
                        <a:pt x="1348" y="564"/>
                      </a:lnTo>
                      <a:lnTo>
                        <a:pt x="1347" y="564"/>
                      </a:lnTo>
                      <a:lnTo>
                        <a:pt x="1348" y="564"/>
                      </a:lnTo>
                      <a:lnTo>
                        <a:pt x="1348" y="565"/>
                      </a:lnTo>
                      <a:lnTo>
                        <a:pt x="1347" y="565"/>
                      </a:lnTo>
                      <a:lnTo>
                        <a:pt x="1347" y="566"/>
                      </a:lnTo>
                      <a:lnTo>
                        <a:pt x="1347" y="565"/>
                      </a:lnTo>
                      <a:lnTo>
                        <a:pt x="1345" y="565"/>
                      </a:lnTo>
                      <a:lnTo>
                        <a:pt x="1344" y="566"/>
                      </a:lnTo>
                      <a:lnTo>
                        <a:pt x="1343" y="566"/>
                      </a:lnTo>
                      <a:lnTo>
                        <a:pt x="1342" y="567"/>
                      </a:lnTo>
                      <a:lnTo>
                        <a:pt x="1341" y="567"/>
                      </a:lnTo>
                      <a:lnTo>
                        <a:pt x="1341" y="568"/>
                      </a:lnTo>
                      <a:lnTo>
                        <a:pt x="1340" y="568"/>
                      </a:lnTo>
                      <a:lnTo>
                        <a:pt x="1339" y="569"/>
                      </a:lnTo>
                      <a:lnTo>
                        <a:pt x="1338" y="570"/>
                      </a:lnTo>
                      <a:lnTo>
                        <a:pt x="1338" y="571"/>
                      </a:lnTo>
                      <a:lnTo>
                        <a:pt x="1337" y="571"/>
                      </a:lnTo>
                      <a:lnTo>
                        <a:pt x="1336" y="570"/>
                      </a:lnTo>
                      <a:lnTo>
                        <a:pt x="1337" y="570"/>
                      </a:lnTo>
                      <a:lnTo>
                        <a:pt x="1337" y="569"/>
                      </a:lnTo>
                      <a:lnTo>
                        <a:pt x="1337" y="568"/>
                      </a:lnTo>
                      <a:lnTo>
                        <a:pt x="1338" y="568"/>
                      </a:lnTo>
                      <a:lnTo>
                        <a:pt x="1339" y="568"/>
                      </a:lnTo>
                      <a:lnTo>
                        <a:pt x="1340" y="567"/>
                      </a:lnTo>
                      <a:lnTo>
                        <a:pt x="1340" y="566"/>
                      </a:lnTo>
                      <a:lnTo>
                        <a:pt x="1341" y="566"/>
                      </a:lnTo>
                      <a:lnTo>
                        <a:pt x="1341" y="565"/>
                      </a:lnTo>
                      <a:lnTo>
                        <a:pt x="1342" y="565"/>
                      </a:lnTo>
                      <a:lnTo>
                        <a:pt x="1343" y="565"/>
                      </a:lnTo>
                      <a:lnTo>
                        <a:pt x="1344" y="565"/>
                      </a:lnTo>
                      <a:lnTo>
                        <a:pt x="1344" y="564"/>
                      </a:lnTo>
                      <a:lnTo>
                        <a:pt x="1345" y="564"/>
                      </a:lnTo>
                      <a:lnTo>
                        <a:pt x="1345" y="563"/>
                      </a:lnTo>
                      <a:lnTo>
                        <a:pt x="1347" y="563"/>
                      </a:lnTo>
                      <a:lnTo>
                        <a:pt x="1347" y="562"/>
                      </a:lnTo>
                      <a:lnTo>
                        <a:pt x="1347" y="560"/>
                      </a:lnTo>
                      <a:lnTo>
                        <a:pt x="1347" y="562"/>
                      </a:lnTo>
                      <a:lnTo>
                        <a:pt x="1347" y="560"/>
                      </a:lnTo>
                      <a:lnTo>
                        <a:pt x="1347" y="559"/>
                      </a:lnTo>
                      <a:lnTo>
                        <a:pt x="1347" y="558"/>
                      </a:lnTo>
                      <a:lnTo>
                        <a:pt x="1348" y="558"/>
                      </a:lnTo>
                      <a:lnTo>
                        <a:pt x="1349" y="558"/>
                      </a:lnTo>
                      <a:lnTo>
                        <a:pt x="1349" y="557"/>
                      </a:lnTo>
                      <a:lnTo>
                        <a:pt x="1350" y="557"/>
                      </a:lnTo>
                      <a:lnTo>
                        <a:pt x="1350" y="556"/>
                      </a:lnTo>
                      <a:lnTo>
                        <a:pt x="1351" y="556"/>
                      </a:lnTo>
                      <a:lnTo>
                        <a:pt x="1351" y="557"/>
                      </a:lnTo>
                      <a:lnTo>
                        <a:pt x="1351" y="558"/>
                      </a:lnTo>
                      <a:lnTo>
                        <a:pt x="1352" y="558"/>
                      </a:lnTo>
                      <a:lnTo>
                        <a:pt x="1353" y="558"/>
                      </a:lnTo>
                      <a:lnTo>
                        <a:pt x="1353" y="557"/>
                      </a:lnTo>
                      <a:lnTo>
                        <a:pt x="1353" y="556"/>
                      </a:lnTo>
                      <a:lnTo>
                        <a:pt x="1354" y="556"/>
                      </a:lnTo>
                      <a:lnTo>
                        <a:pt x="1353" y="555"/>
                      </a:lnTo>
                      <a:lnTo>
                        <a:pt x="1353" y="554"/>
                      </a:lnTo>
                      <a:lnTo>
                        <a:pt x="1354" y="554"/>
                      </a:lnTo>
                      <a:lnTo>
                        <a:pt x="1354" y="553"/>
                      </a:lnTo>
                      <a:lnTo>
                        <a:pt x="1355" y="553"/>
                      </a:lnTo>
                      <a:lnTo>
                        <a:pt x="1355" y="552"/>
                      </a:lnTo>
                      <a:lnTo>
                        <a:pt x="1356" y="552"/>
                      </a:lnTo>
                      <a:lnTo>
                        <a:pt x="1356" y="551"/>
                      </a:lnTo>
                      <a:lnTo>
                        <a:pt x="1357" y="551"/>
                      </a:lnTo>
                      <a:lnTo>
                        <a:pt x="1357" y="552"/>
                      </a:lnTo>
                      <a:lnTo>
                        <a:pt x="1356" y="553"/>
                      </a:lnTo>
                      <a:lnTo>
                        <a:pt x="1356" y="554"/>
                      </a:lnTo>
                      <a:lnTo>
                        <a:pt x="1357" y="554"/>
                      </a:lnTo>
                      <a:lnTo>
                        <a:pt x="1356" y="554"/>
                      </a:lnTo>
                      <a:lnTo>
                        <a:pt x="1356" y="555"/>
                      </a:lnTo>
                      <a:lnTo>
                        <a:pt x="1357" y="555"/>
                      </a:lnTo>
                      <a:lnTo>
                        <a:pt x="1358" y="554"/>
                      </a:lnTo>
                      <a:lnTo>
                        <a:pt x="1357" y="554"/>
                      </a:lnTo>
                      <a:lnTo>
                        <a:pt x="1358" y="554"/>
                      </a:lnTo>
                      <a:lnTo>
                        <a:pt x="1360" y="554"/>
                      </a:lnTo>
                      <a:lnTo>
                        <a:pt x="1360" y="555"/>
                      </a:lnTo>
                      <a:lnTo>
                        <a:pt x="1360" y="554"/>
                      </a:lnTo>
                      <a:lnTo>
                        <a:pt x="1360" y="555"/>
                      </a:lnTo>
                      <a:lnTo>
                        <a:pt x="1361" y="555"/>
                      </a:lnTo>
                      <a:lnTo>
                        <a:pt x="1361" y="556"/>
                      </a:lnTo>
                      <a:lnTo>
                        <a:pt x="1362" y="556"/>
                      </a:lnTo>
                      <a:lnTo>
                        <a:pt x="1363" y="556"/>
                      </a:lnTo>
                      <a:lnTo>
                        <a:pt x="1363" y="557"/>
                      </a:lnTo>
                      <a:lnTo>
                        <a:pt x="1364" y="557"/>
                      </a:lnTo>
                      <a:lnTo>
                        <a:pt x="1365" y="557"/>
                      </a:lnTo>
                      <a:lnTo>
                        <a:pt x="1366" y="558"/>
                      </a:lnTo>
                      <a:lnTo>
                        <a:pt x="1366" y="557"/>
                      </a:lnTo>
                      <a:lnTo>
                        <a:pt x="1367" y="557"/>
                      </a:lnTo>
                      <a:lnTo>
                        <a:pt x="1367" y="558"/>
                      </a:lnTo>
                      <a:lnTo>
                        <a:pt x="1368" y="558"/>
                      </a:lnTo>
                      <a:lnTo>
                        <a:pt x="1368" y="557"/>
                      </a:lnTo>
                      <a:lnTo>
                        <a:pt x="1369" y="557"/>
                      </a:lnTo>
                      <a:lnTo>
                        <a:pt x="1369" y="556"/>
                      </a:lnTo>
                      <a:lnTo>
                        <a:pt x="1370" y="556"/>
                      </a:lnTo>
                      <a:lnTo>
                        <a:pt x="1369" y="557"/>
                      </a:lnTo>
                      <a:lnTo>
                        <a:pt x="1368" y="557"/>
                      </a:lnTo>
                      <a:lnTo>
                        <a:pt x="1369" y="557"/>
                      </a:lnTo>
                      <a:lnTo>
                        <a:pt x="1370" y="557"/>
                      </a:lnTo>
                      <a:lnTo>
                        <a:pt x="1370" y="556"/>
                      </a:lnTo>
                      <a:lnTo>
                        <a:pt x="1369" y="556"/>
                      </a:lnTo>
                      <a:lnTo>
                        <a:pt x="1370" y="556"/>
                      </a:lnTo>
                      <a:lnTo>
                        <a:pt x="1370" y="555"/>
                      </a:lnTo>
                      <a:lnTo>
                        <a:pt x="1371" y="555"/>
                      </a:lnTo>
                      <a:lnTo>
                        <a:pt x="1371" y="554"/>
                      </a:lnTo>
                      <a:lnTo>
                        <a:pt x="1371" y="553"/>
                      </a:lnTo>
                      <a:lnTo>
                        <a:pt x="1370" y="553"/>
                      </a:lnTo>
                      <a:lnTo>
                        <a:pt x="1370" y="552"/>
                      </a:lnTo>
                      <a:lnTo>
                        <a:pt x="1370" y="551"/>
                      </a:lnTo>
                      <a:lnTo>
                        <a:pt x="1370" y="552"/>
                      </a:lnTo>
                      <a:lnTo>
                        <a:pt x="1371" y="552"/>
                      </a:lnTo>
                      <a:lnTo>
                        <a:pt x="1371" y="553"/>
                      </a:lnTo>
                      <a:lnTo>
                        <a:pt x="1373" y="553"/>
                      </a:lnTo>
                      <a:lnTo>
                        <a:pt x="1373" y="552"/>
                      </a:lnTo>
                      <a:lnTo>
                        <a:pt x="1374" y="552"/>
                      </a:lnTo>
                      <a:lnTo>
                        <a:pt x="1374" y="551"/>
                      </a:lnTo>
                      <a:lnTo>
                        <a:pt x="1375" y="551"/>
                      </a:lnTo>
                      <a:lnTo>
                        <a:pt x="1375" y="550"/>
                      </a:lnTo>
                      <a:lnTo>
                        <a:pt x="1375" y="549"/>
                      </a:lnTo>
                      <a:lnTo>
                        <a:pt x="1374" y="550"/>
                      </a:lnTo>
                      <a:lnTo>
                        <a:pt x="1374" y="549"/>
                      </a:lnTo>
                      <a:lnTo>
                        <a:pt x="1373" y="549"/>
                      </a:lnTo>
                      <a:lnTo>
                        <a:pt x="1373" y="547"/>
                      </a:lnTo>
                      <a:lnTo>
                        <a:pt x="1371" y="547"/>
                      </a:lnTo>
                      <a:lnTo>
                        <a:pt x="1370" y="547"/>
                      </a:lnTo>
                      <a:lnTo>
                        <a:pt x="1370" y="546"/>
                      </a:lnTo>
                      <a:lnTo>
                        <a:pt x="1369" y="546"/>
                      </a:lnTo>
                      <a:lnTo>
                        <a:pt x="1370" y="546"/>
                      </a:lnTo>
                      <a:close/>
                      <a:moveTo>
                        <a:pt x="1299" y="633"/>
                      </a:moveTo>
                      <a:lnTo>
                        <a:pt x="1300" y="633"/>
                      </a:lnTo>
                      <a:lnTo>
                        <a:pt x="1301" y="633"/>
                      </a:lnTo>
                      <a:lnTo>
                        <a:pt x="1300" y="633"/>
                      </a:lnTo>
                      <a:lnTo>
                        <a:pt x="1301" y="634"/>
                      </a:lnTo>
                      <a:lnTo>
                        <a:pt x="1301" y="635"/>
                      </a:lnTo>
                      <a:lnTo>
                        <a:pt x="1302" y="636"/>
                      </a:lnTo>
                      <a:lnTo>
                        <a:pt x="1303" y="637"/>
                      </a:lnTo>
                      <a:lnTo>
                        <a:pt x="1304" y="637"/>
                      </a:lnTo>
                      <a:lnTo>
                        <a:pt x="1305" y="637"/>
                      </a:lnTo>
                      <a:lnTo>
                        <a:pt x="1306" y="637"/>
                      </a:lnTo>
                      <a:lnTo>
                        <a:pt x="1308" y="637"/>
                      </a:lnTo>
                      <a:lnTo>
                        <a:pt x="1309" y="637"/>
                      </a:lnTo>
                      <a:lnTo>
                        <a:pt x="1309" y="639"/>
                      </a:lnTo>
                      <a:lnTo>
                        <a:pt x="1310" y="639"/>
                      </a:lnTo>
                      <a:lnTo>
                        <a:pt x="1310" y="640"/>
                      </a:lnTo>
                      <a:lnTo>
                        <a:pt x="1311" y="640"/>
                      </a:lnTo>
                      <a:lnTo>
                        <a:pt x="1311" y="641"/>
                      </a:lnTo>
                      <a:lnTo>
                        <a:pt x="1311" y="642"/>
                      </a:lnTo>
                      <a:lnTo>
                        <a:pt x="1310" y="642"/>
                      </a:lnTo>
                      <a:lnTo>
                        <a:pt x="1311" y="641"/>
                      </a:lnTo>
                      <a:lnTo>
                        <a:pt x="1310" y="641"/>
                      </a:lnTo>
                      <a:lnTo>
                        <a:pt x="1310" y="640"/>
                      </a:lnTo>
                      <a:lnTo>
                        <a:pt x="1309" y="640"/>
                      </a:lnTo>
                      <a:lnTo>
                        <a:pt x="1308" y="641"/>
                      </a:lnTo>
                      <a:lnTo>
                        <a:pt x="1306" y="641"/>
                      </a:lnTo>
                      <a:lnTo>
                        <a:pt x="1305" y="642"/>
                      </a:lnTo>
                      <a:lnTo>
                        <a:pt x="1304" y="642"/>
                      </a:lnTo>
                      <a:lnTo>
                        <a:pt x="1304" y="643"/>
                      </a:lnTo>
                      <a:lnTo>
                        <a:pt x="1304" y="644"/>
                      </a:lnTo>
                      <a:lnTo>
                        <a:pt x="1303" y="644"/>
                      </a:lnTo>
                      <a:lnTo>
                        <a:pt x="1302" y="645"/>
                      </a:lnTo>
                      <a:lnTo>
                        <a:pt x="1302" y="644"/>
                      </a:lnTo>
                      <a:lnTo>
                        <a:pt x="1301" y="643"/>
                      </a:lnTo>
                      <a:lnTo>
                        <a:pt x="1300" y="643"/>
                      </a:lnTo>
                      <a:lnTo>
                        <a:pt x="1298" y="643"/>
                      </a:lnTo>
                      <a:lnTo>
                        <a:pt x="1297" y="643"/>
                      </a:lnTo>
                      <a:lnTo>
                        <a:pt x="1296" y="643"/>
                      </a:lnTo>
                      <a:lnTo>
                        <a:pt x="1295" y="644"/>
                      </a:lnTo>
                      <a:lnTo>
                        <a:pt x="1293" y="644"/>
                      </a:lnTo>
                      <a:lnTo>
                        <a:pt x="1293" y="643"/>
                      </a:lnTo>
                      <a:lnTo>
                        <a:pt x="1292" y="643"/>
                      </a:lnTo>
                      <a:lnTo>
                        <a:pt x="1291" y="642"/>
                      </a:lnTo>
                      <a:lnTo>
                        <a:pt x="1291" y="643"/>
                      </a:lnTo>
                      <a:lnTo>
                        <a:pt x="1291" y="642"/>
                      </a:lnTo>
                      <a:lnTo>
                        <a:pt x="1290" y="642"/>
                      </a:lnTo>
                      <a:lnTo>
                        <a:pt x="1285" y="637"/>
                      </a:lnTo>
                      <a:lnTo>
                        <a:pt x="1284" y="637"/>
                      </a:lnTo>
                      <a:lnTo>
                        <a:pt x="1290" y="642"/>
                      </a:lnTo>
                      <a:lnTo>
                        <a:pt x="1290" y="643"/>
                      </a:lnTo>
                      <a:lnTo>
                        <a:pt x="1291" y="643"/>
                      </a:lnTo>
                      <a:lnTo>
                        <a:pt x="1292" y="644"/>
                      </a:lnTo>
                      <a:lnTo>
                        <a:pt x="1293" y="644"/>
                      </a:lnTo>
                      <a:lnTo>
                        <a:pt x="1295" y="644"/>
                      </a:lnTo>
                      <a:lnTo>
                        <a:pt x="1293" y="644"/>
                      </a:lnTo>
                      <a:lnTo>
                        <a:pt x="1295" y="645"/>
                      </a:lnTo>
                      <a:lnTo>
                        <a:pt x="1293" y="644"/>
                      </a:lnTo>
                      <a:lnTo>
                        <a:pt x="1292" y="645"/>
                      </a:lnTo>
                      <a:lnTo>
                        <a:pt x="1292" y="644"/>
                      </a:lnTo>
                      <a:lnTo>
                        <a:pt x="1291" y="644"/>
                      </a:lnTo>
                      <a:lnTo>
                        <a:pt x="1290" y="644"/>
                      </a:lnTo>
                      <a:lnTo>
                        <a:pt x="1289" y="644"/>
                      </a:lnTo>
                      <a:lnTo>
                        <a:pt x="1290" y="644"/>
                      </a:lnTo>
                      <a:lnTo>
                        <a:pt x="1290" y="643"/>
                      </a:lnTo>
                      <a:lnTo>
                        <a:pt x="1290" y="642"/>
                      </a:lnTo>
                      <a:lnTo>
                        <a:pt x="1289" y="642"/>
                      </a:lnTo>
                      <a:lnTo>
                        <a:pt x="1288" y="642"/>
                      </a:lnTo>
                      <a:lnTo>
                        <a:pt x="1289" y="642"/>
                      </a:lnTo>
                      <a:lnTo>
                        <a:pt x="1288" y="642"/>
                      </a:lnTo>
                      <a:lnTo>
                        <a:pt x="1288" y="641"/>
                      </a:lnTo>
                      <a:lnTo>
                        <a:pt x="1287" y="641"/>
                      </a:lnTo>
                      <a:lnTo>
                        <a:pt x="1287" y="642"/>
                      </a:lnTo>
                      <a:lnTo>
                        <a:pt x="1286" y="641"/>
                      </a:lnTo>
                      <a:lnTo>
                        <a:pt x="1285" y="641"/>
                      </a:lnTo>
                      <a:lnTo>
                        <a:pt x="1284" y="641"/>
                      </a:lnTo>
                      <a:lnTo>
                        <a:pt x="1283" y="640"/>
                      </a:lnTo>
                      <a:lnTo>
                        <a:pt x="1283" y="639"/>
                      </a:lnTo>
                      <a:lnTo>
                        <a:pt x="1284" y="640"/>
                      </a:lnTo>
                      <a:lnTo>
                        <a:pt x="1284" y="639"/>
                      </a:lnTo>
                      <a:lnTo>
                        <a:pt x="1283" y="639"/>
                      </a:lnTo>
                      <a:lnTo>
                        <a:pt x="1284" y="639"/>
                      </a:lnTo>
                      <a:lnTo>
                        <a:pt x="1283" y="639"/>
                      </a:lnTo>
                      <a:lnTo>
                        <a:pt x="1283" y="637"/>
                      </a:lnTo>
                      <a:lnTo>
                        <a:pt x="1282" y="637"/>
                      </a:lnTo>
                      <a:lnTo>
                        <a:pt x="1280" y="637"/>
                      </a:lnTo>
                      <a:lnTo>
                        <a:pt x="1279" y="637"/>
                      </a:lnTo>
                      <a:lnTo>
                        <a:pt x="1278" y="639"/>
                      </a:lnTo>
                      <a:lnTo>
                        <a:pt x="1277" y="639"/>
                      </a:lnTo>
                      <a:lnTo>
                        <a:pt x="1277" y="637"/>
                      </a:lnTo>
                      <a:lnTo>
                        <a:pt x="1278" y="637"/>
                      </a:lnTo>
                      <a:lnTo>
                        <a:pt x="1279" y="637"/>
                      </a:lnTo>
                      <a:lnTo>
                        <a:pt x="1280" y="637"/>
                      </a:lnTo>
                      <a:lnTo>
                        <a:pt x="1282" y="637"/>
                      </a:lnTo>
                      <a:lnTo>
                        <a:pt x="1283" y="636"/>
                      </a:lnTo>
                      <a:lnTo>
                        <a:pt x="1284" y="636"/>
                      </a:lnTo>
                      <a:lnTo>
                        <a:pt x="1285" y="636"/>
                      </a:lnTo>
                      <a:lnTo>
                        <a:pt x="1286" y="636"/>
                      </a:lnTo>
                      <a:lnTo>
                        <a:pt x="1287" y="637"/>
                      </a:lnTo>
                      <a:lnTo>
                        <a:pt x="1287" y="639"/>
                      </a:lnTo>
                      <a:lnTo>
                        <a:pt x="1288" y="637"/>
                      </a:lnTo>
                      <a:lnTo>
                        <a:pt x="1288" y="639"/>
                      </a:lnTo>
                      <a:lnTo>
                        <a:pt x="1288" y="640"/>
                      </a:lnTo>
                      <a:lnTo>
                        <a:pt x="1289" y="641"/>
                      </a:lnTo>
                      <a:lnTo>
                        <a:pt x="1290" y="641"/>
                      </a:lnTo>
                      <a:lnTo>
                        <a:pt x="1291" y="641"/>
                      </a:lnTo>
                      <a:lnTo>
                        <a:pt x="1292" y="641"/>
                      </a:lnTo>
                      <a:lnTo>
                        <a:pt x="1293" y="641"/>
                      </a:lnTo>
                      <a:lnTo>
                        <a:pt x="1293" y="642"/>
                      </a:lnTo>
                      <a:lnTo>
                        <a:pt x="1295" y="642"/>
                      </a:lnTo>
                      <a:lnTo>
                        <a:pt x="1295" y="641"/>
                      </a:lnTo>
                      <a:lnTo>
                        <a:pt x="1296" y="641"/>
                      </a:lnTo>
                      <a:lnTo>
                        <a:pt x="1296" y="640"/>
                      </a:lnTo>
                      <a:lnTo>
                        <a:pt x="1297" y="640"/>
                      </a:lnTo>
                      <a:lnTo>
                        <a:pt x="1297" y="641"/>
                      </a:lnTo>
                      <a:lnTo>
                        <a:pt x="1297" y="642"/>
                      </a:lnTo>
                      <a:lnTo>
                        <a:pt x="1298" y="642"/>
                      </a:lnTo>
                      <a:lnTo>
                        <a:pt x="1299" y="641"/>
                      </a:lnTo>
                      <a:lnTo>
                        <a:pt x="1299" y="640"/>
                      </a:lnTo>
                      <a:lnTo>
                        <a:pt x="1300" y="640"/>
                      </a:lnTo>
                      <a:lnTo>
                        <a:pt x="1300" y="639"/>
                      </a:lnTo>
                      <a:lnTo>
                        <a:pt x="1301" y="639"/>
                      </a:lnTo>
                      <a:lnTo>
                        <a:pt x="1300" y="639"/>
                      </a:lnTo>
                      <a:lnTo>
                        <a:pt x="1300" y="640"/>
                      </a:lnTo>
                      <a:lnTo>
                        <a:pt x="1300" y="641"/>
                      </a:lnTo>
                      <a:lnTo>
                        <a:pt x="1301" y="641"/>
                      </a:lnTo>
                      <a:lnTo>
                        <a:pt x="1302" y="641"/>
                      </a:lnTo>
                      <a:lnTo>
                        <a:pt x="1302" y="640"/>
                      </a:lnTo>
                      <a:lnTo>
                        <a:pt x="1302" y="639"/>
                      </a:lnTo>
                      <a:lnTo>
                        <a:pt x="1301" y="639"/>
                      </a:lnTo>
                      <a:lnTo>
                        <a:pt x="1301" y="637"/>
                      </a:lnTo>
                      <a:lnTo>
                        <a:pt x="1300" y="637"/>
                      </a:lnTo>
                      <a:lnTo>
                        <a:pt x="1300" y="639"/>
                      </a:lnTo>
                      <a:lnTo>
                        <a:pt x="1300" y="637"/>
                      </a:lnTo>
                      <a:lnTo>
                        <a:pt x="1299" y="637"/>
                      </a:lnTo>
                      <a:lnTo>
                        <a:pt x="1299" y="639"/>
                      </a:lnTo>
                      <a:lnTo>
                        <a:pt x="1298" y="637"/>
                      </a:lnTo>
                      <a:lnTo>
                        <a:pt x="1297" y="636"/>
                      </a:lnTo>
                      <a:lnTo>
                        <a:pt x="1297" y="637"/>
                      </a:lnTo>
                      <a:lnTo>
                        <a:pt x="1297" y="636"/>
                      </a:lnTo>
                      <a:lnTo>
                        <a:pt x="1296" y="635"/>
                      </a:lnTo>
                      <a:lnTo>
                        <a:pt x="1297" y="635"/>
                      </a:lnTo>
                      <a:lnTo>
                        <a:pt x="1297" y="634"/>
                      </a:lnTo>
                      <a:lnTo>
                        <a:pt x="1296" y="635"/>
                      </a:lnTo>
                      <a:lnTo>
                        <a:pt x="1296" y="636"/>
                      </a:lnTo>
                      <a:lnTo>
                        <a:pt x="1295" y="637"/>
                      </a:lnTo>
                      <a:lnTo>
                        <a:pt x="1295" y="636"/>
                      </a:lnTo>
                      <a:lnTo>
                        <a:pt x="1295" y="635"/>
                      </a:lnTo>
                      <a:lnTo>
                        <a:pt x="1293" y="635"/>
                      </a:lnTo>
                      <a:lnTo>
                        <a:pt x="1293" y="636"/>
                      </a:lnTo>
                      <a:lnTo>
                        <a:pt x="1295" y="637"/>
                      </a:lnTo>
                      <a:lnTo>
                        <a:pt x="1296" y="637"/>
                      </a:lnTo>
                      <a:lnTo>
                        <a:pt x="1297" y="637"/>
                      </a:lnTo>
                      <a:lnTo>
                        <a:pt x="1298" y="637"/>
                      </a:lnTo>
                      <a:lnTo>
                        <a:pt x="1298" y="639"/>
                      </a:lnTo>
                      <a:lnTo>
                        <a:pt x="1298" y="640"/>
                      </a:lnTo>
                      <a:lnTo>
                        <a:pt x="1298" y="641"/>
                      </a:lnTo>
                      <a:lnTo>
                        <a:pt x="1298" y="640"/>
                      </a:lnTo>
                      <a:lnTo>
                        <a:pt x="1297" y="640"/>
                      </a:lnTo>
                      <a:lnTo>
                        <a:pt x="1297" y="639"/>
                      </a:lnTo>
                      <a:lnTo>
                        <a:pt x="1296" y="639"/>
                      </a:lnTo>
                      <a:lnTo>
                        <a:pt x="1295" y="639"/>
                      </a:lnTo>
                      <a:lnTo>
                        <a:pt x="1295" y="640"/>
                      </a:lnTo>
                      <a:lnTo>
                        <a:pt x="1295" y="639"/>
                      </a:lnTo>
                      <a:lnTo>
                        <a:pt x="1293" y="639"/>
                      </a:lnTo>
                      <a:lnTo>
                        <a:pt x="1292" y="639"/>
                      </a:lnTo>
                      <a:lnTo>
                        <a:pt x="1291" y="637"/>
                      </a:lnTo>
                      <a:lnTo>
                        <a:pt x="1292" y="637"/>
                      </a:lnTo>
                      <a:lnTo>
                        <a:pt x="1292" y="636"/>
                      </a:lnTo>
                      <a:lnTo>
                        <a:pt x="1291" y="636"/>
                      </a:lnTo>
                      <a:lnTo>
                        <a:pt x="1292" y="637"/>
                      </a:lnTo>
                      <a:lnTo>
                        <a:pt x="1291" y="637"/>
                      </a:lnTo>
                      <a:lnTo>
                        <a:pt x="1290" y="637"/>
                      </a:lnTo>
                      <a:lnTo>
                        <a:pt x="1290" y="636"/>
                      </a:lnTo>
                      <a:lnTo>
                        <a:pt x="1289" y="636"/>
                      </a:lnTo>
                      <a:lnTo>
                        <a:pt x="1290" y="636"/>
                      </a:lnTo>
                      <a:lnTo>
                        <a:pt x="1291" y="636"/>
                      </a:lnTo>
                      <a:lnTo>
                        <a:pt x="1291" y="635"/>
                      </a:lnTo>
                      <a:lnTo>
                        <a:pt x="1292" y="635"/>
                      </a:lnTo>
                      <a:lnTo>
                        <a:pt x="1293" y="635"/>
                      </a:lnTo>
                      <a:lnTo>
                        <a:pt x="1295" y="635"/>
                      </a:lnTo>
                      <a:lnTo>
                        <a:pt x="1295" y="634"/>
                      </a:lnTo>
                      <a:lnTo>
                        <a:pt x="1297" y="633"/>
                      </a:lnTo>
                      <a:lnTo>
                        <a:pt x="1298" y="633"/>
                      </a:lnTo>
                      <a:lnTo>
                        <a:pt x="1299" y="633"/>
                      </a:lnTo>
                      <a:close/>
                      <a:moveTo>
                        <a:pt x="1260" y="405"/>
                      </a:moveTo>
                      <a:lnTo>
                        <a:pt x="1261" y="405"/>
                      </a:lnTo>
                      <a:lnTo>
                        <a:pt x="1262" y="405"/>
                      </a:lnTo>
                      <a:lnTo>
                        <a:pt x="1262" y="407"/>
                      </a:lnTo>
                      <a:lnTo>
                        <a:pt x="1263" y="407"/>
                      </a:lnTo>
                      <a:lnTo>
                        <a:pt x="1263" y="408"/>
                      </a:lnTo>
                      <a:lnTo>
                        <a:pt x="1264" y="408"/>
                      </a:lnTo>
                      <a:lnTo>
                        <a:pt x="1265" y="409"/>
                      </a:lnTo>
                      <a:lnTo>
                        <a:pt x="1265" y="410"/>
                      </a:lnTo>
                      <a:lnTo>
                        <a:pt x="1265" y="411"/>
                      </a:lnTo>
                      <a:lnTo>
                        <a:pt x="1264" y="412"/>
                      </a:lnTo>
                      <a:lnTo>
                        <a:pt x="1264" y="413"/>
                      </a:lnTo>
                      <a:lnTo>
                        <a:pt x="1263" y="415"/>
                      </a:lnTo>
                      <a:lnTo>
                        <a:pt x="1263" y="416"/>
                      </a:lnTo>
                      <a:lnTo>
                        <a:pt x="1262" y="417"/>
                      </a:lnTo>
                      <a:lnTo>
                        <a:pt x="1261" y="417"/>
                      </a:lnTo>
                      <a:lnTo>
                        <a:pt x="1261" y="418"/>
                      </a:lnTo>
                      <a:lnTo>
                        <a:pt x="1260" y="418"/>
                      </a:lnTo>
                      <a:lnTo>
                        <a:pt x="1259" y="418"/>
                      </a:lnTo>
                      <a:lnTo>
                        <a:pt x="1258" y="420"/>
                      </a:lnTo>
                      <a:lnTo>
                        <a:pt x="1257" y="420"/>
                      </a:lnTo>
                      <a:lnTo>
                        <a:pt x="1255" y="420"/>
                      </a:lnTo>
                      <a:lnTo>
                        <a:pt x="1254" y="420"/>
                      </a:lnTo>
                      <a:lnTo>
                        <a:pt x="1253" y="420"/>
                      </a:lnTo>
                      <a:lnTo>
                        <a:pt x="1252" y="420"/>
                      </a:lnTo>
                      <a:lnTo>
                        <a:pt x="1251" y="418"/>
                      </a:lnTo>
                      <a:lnTo>
                        <a:pt x="1250" y="418"/>
                      </a:lnTo>
                      <a:lnTo>
                        <a:pt x="1249" y="417"/>
                      </a:lnTo>
                      <a:lnTo>
                        <a:pt x="1250" y="417"/>
                      </a:lnTo>
                      <a:lnTo>
                        <a:pt x="1251" y="416"/>
                      </a:lnTo>
                      <a:lnTo>
                        <a:pt x="1252" y="416"/>
                      </a:lnTo>
                      <a:lnTo>
                        <a:pt x="1252" y="415"/>
                      </a:lnTo>
                      <a:lnTo>
                        <a:pt x="1252" y="416"/>
                      </a:lnTo>
                      <a:lnTo>
                        <a:pt x="1253" y="415"/>
                      </a:lnTo>
                      <a:lnTo>
                        <a:pt x="1252" y="416"/>
                      </a:lnTo>
                      <a:lnTo>
                        <a:pt x="1252" y="415"/>
                      </a:lnTo>
                      <a:lnTo>
                        <a:pt x="1252" y="414"/>
                      </a:lnTo>
                      <a:lnTo>
                        <a:pt x="1252" y="413"/>
                      </a:lnTo>
                      <a:lnTo>
                        <a:pt x="1252" y="412"/>
                      </a:lnTo>
                      <a:lnTo>
                        <a:pt x="1252" y="410"/>
                      </a:lnTo>
                      <a:lnTo>
                        <a:pt x="1252" y="409"/>
                      </a:lnTo>
                      <a:lnTo>
                        <a:pt x="1252" y="408"/>
                      </a:lnTo>
                      <a:lnTo>
                        <a:pt x="1253" y="408"/>
                      </a:lnTo>
                      <a:lnTo>
                        <a:pt x="1254" y="409"/>
                      </a:lnTo>
                      <a:lnTo>
                        <a:pt x="1255" y="409"/>
                      </a:lnTo>
                      <a:lnTo>
                        <a:pt x="1255" y="410"/>
                      </a:lnTo>
                      <a:lnTo>
                        <a:pt x="1257" y="410"/>
                      </a:lnTo>
                      <a:lnTo>
                        <a:pt x="1257" y="411"/>
                      </a:lnTo>
                      <a:lnTo>
                        <a:pt x="1258" y="411"/>
                      </a:lnTo>
                      <a:lnTo>
                        <a:pt x="1258" y="412"/>
                      </a:lnTo>
                      <a:lnTo>
                        <a:pt x="1258" y="413"/>
                      </a:lnTo>
                      <a:lnTo>
                        <a:pt x="1258" y="412"/>
                      </a:lnTo>
                      <a:lnTo>
                        <a:pt x="1259" y="412"/>
                      </a:lnTo>
                      <a:lnTo>
                        <a:pt x="1259" y="413"/>
                      </a:lnTo>
                      <a:lnTo>
                        <a:pt x="1260" y="413"/>
                      </a:lnTo>
                      <a:lnTo>
                        <a:pt x="1261" y="412"/>
                      </a:lnTo>
                      <a:lnTo>
                        <a:pt x="1261" y="413"/>
                      </a:lnTo>
                      <a:lnTo>
                        <a:pt x="1261" y="414"/>
                      </a:lnTo>
                      <a:lnTo>
                        <a:pt x="1262" y="414"/>
                      </a:lnTo>
                      <a:lnTo>
                        <a:pt x="1262" y="413"/>
                      </a:lnTo>
                      <a:lnTo>
                        <a:pt x="1261" y="413"/>
                      </a:lnTo>
                      <a:lnTo>
                        <a:pt x="1261" y="412"/>
                      </a:lnTo>
                      <a:lnTo>
                        <a:pt x="1260" y="412"/>
                      </a:lnTo>
                      <a:lnTo>
                        <a:pt x="1259" y="412"/>
                      </a:lnTo>
                      <a:lnTo>
                        <a:pt x="1259" y="411"/>
                      </a:lnTo>
                      <a:lnTo>
                        <a:pt x="1259" y="410"/>
                      </a:lnTo>
                      <a:lnTo>
                        <a:pt x="1259" y="409"/>
                      </a:lnTo>
                      <a:lnTo>
                        <a:pt x="1259" y="408"/>
                      </a:lnTo>
                      <a:lnTo>
                        <a:pt x="1260" y="408"/>
                      </a:lnTo>
                      <a:lnTo>
                        <a:pt x="1260" y="407"/>
                      </a:lnTo>
                      <a:lnTo>
                        <a:pt x="1260" y="405"/>
                      </a:lnTo>
                      <a:close/>
                      <a:moveTo>
                        <a:pt x="1375" y="440"/>
                      </a:moveTo>
                      <a:lnTo>
                        <a:pt x="1375" y="441"/>
                      </a:lnTo>
                      <a:lnTo>
                        <a:pt x="1376" y="442"/>
                      </a:lnTo>
                      <a:lnTo>
                        <a:pt x="1376" y="443"/>
                      </a:lnTo>
                      <a:lnTo>
                        <a:pt x="1377" y="443"/>
                      </a:lnTo>
                      <a:lnTo>
                        <a:pt x="1378" y="443"/>
                      </a:lnTo>
                      <a:lnTo>
                        <a:pt x="1378" y="444"/>
                      </a:lnTo>
                      <a:lnTo>
                        <a:pt x="1377" y="444"/>
                      </a:lnTo>
                      <a:lnTo>
                        <a:pt x="1377" y="446"/>
                      </a:lnTo>
                      <a:lnTo>
                        <a:pt x="1377" y="444"/>
                      </a:lnTo>
                      <a:lnTo>
                        <a:pt x="1377" y="446"/>
                      </a:lnTo>
                      <a:lnTo>
                        <a:pt x="1378" y="446"/>
                      </a:lnTo>
                      <a:lnTo>
                        <a:pt x="1377" y="446"/>
                      </a:lnTo>
                      <a:lnTo>
                        <a:pt x="1377" y="444"/>
                      </a:lnTo>
                      <a:lnTo>
                        <a:pt x="1378" y="446"/>
                      </a:lnTo>
                      <a:lnTo>
                        <a:pt x="1378" y="444"/>
                      </a:lnTo>
                      <a:lnTo>
                        <a:pt x="1378" y="446"/>
                      </a:lnTo>
                      <a:lnTo>
                        <a:pt x="1378" y="447"/>
                      </a:lnTo>
                      <a:lnTo>
                        <a:pt x="1378" y="446"/>
                      </a:lnTo>
                      <a:lnTo>
                        <a:pt x="1378" y="447"/>
                      </a:lnTo>
                      <a:lnTo>
                        <a:pt x="1378" y="446"/>
                      </a:lnTo>
                      <a:lnTo>
                        <a:pt x="1379" y="446"/>
                      </a:lnTo>
                      <a:lnTo>
                        <a:pt x="1378" y="446"/>
                      </a:lnTo>
                      <a:lnTo>
                        <a:pt x="1378" y="444"/>
                      </a:lnTo>
                      <a:lnTo>
                        <a:pt x="1379" y="444"/>
                      </a:lnTo>
                      <a:lnTo>
                        <a:pt x="1379" y="443"/>
                      </a:lnTo>
                      <a:lnTo>
                        <a:pt x="1378" y="443"/>
                      </a:lnTo>
                      <a:lnTo>
                        <a:pt x="1378" y="442"/>
                      </a:lnTo>
                      <a:lnTo>
                        <a:pt x="1379" y="442"/>
                      </a:lnTo>
                      <a:lnTo>
                        <a:pt x="1380" y="442"/>
                      </a:lnTo>
                      <a:lnTo>
                        <a:pt x="1380" y="441"/>
                      </a:lnTo>
                      <a:lnTo>
                        <a:pt x="1381" y="441"/>
                      </a:lnTo>
                      <a:lnTo>
                        <a:pt x="1381" y="440"/>
                      </a:lnTo>
                      <a:lnTo>
                        <a:pt x="1381" y="441"/>
                      </a:lnTo>
                      <a:lnTo>
                        <a:pt x="1382" y="442"/>
                      </a:lnTo>
                      <a:lnTo>
                        <a:pt x="1382" y="443"/>
                      </a:lnTo>
                      <a:lnTo>
                        <a:pt x="1382" y="444"/>
                      </a:lnTo>
                      <a:lnTo>
                        <a:pt x="1382" y="446"/>
                      </a:lnTo>
                      <a:lnTo>
                        <a:pt x="1382" y="447"/>
                      </a:lnTo>
                      <a:lnTo>
                        <a:pt x="1382" y="448"/>
                      </a:lnTo>
                      <a:lnTo>
                        <a:pt x="1381" y="449"/>
                      </a:lnTo>
                      <a:lnTo>
                        <a:pt x="1381" y="448"/>
                      </a:lnTo>
                      <a:lnTo>
                        <a:pt x="1380" y="448"/>
                      </a:lnTo>
                      <a:lnTo>
                        <a:pt x="1380" y="449"/>
                      </a:lnTo>
                      <a:lnTo>
                        <a:pt x="1379" y="449"/>
                      </a:lnTo>
                      <a:lnTo>
                        <a:pt x="1379" y="448"/>
                      </a:lnTo>
                      <a:lnTo>
                        <a:pt x="1379" y="449"/>
                      </a:lnTo>
                      <a:lnTo>
                        <a:pt x="1378" y="449"/>
                      </a:lnTo>
                      <a:lnTo>
                        <a:pt x="1378" y="448"/>
                      </a:lnTo>
                      <a:lnTo>
                        <a:pt x="1377" y="447"/>
                      </a:lnTo>
                      <a:lnTo>
                        <a:pt x="1378" y="447"/>
                      </a:lnTo>
                      <a:lnTo>
                        <a:pt x="1377" y="447"/>
                      </a:lnTo>
                      <a:lnTo>
                        <a:pt x="1376" y="448"/>
                      </a:lnTo>
                      <a:lnTo>
                        <a:pt x="1375" y="448"/>
                      </a:lnTo>
                      <a:lnTo>
                        <a:pt x="1375" y="449"/>
                      </a:lnTo>
                      <a:lnTo>
                        <a:pt x="1375" y="450"/>
                      </a:lnTo>
                      <a:lnTo>
                        <a:pt x="1376" y="450"/>
                      </a:lnTo>
                      <a:lnTo>
                        <a:pt x="1376" y="451"/>
                      </a:lnTo>
                      <a:lnTo>
                        <a:pt x="1376" y="452"/>
                      </a:lnTo>
                      <a:lnTo>
                        <a:pt x="1377" y="453"/>
                      </a:lnTo>
                      <a:lnTo>
                        <a:pt x="1378" y="453"/>
                      </a:lnTo>
                      <a:lnTo>
                        <a:pt x="1378" y="452"/>
                      </a:lnTo>
                      <a:lnTo>
                        <a:pt x="1379" y="453"/>
                      </a:lnTo>
                      <a:lnTo>
                        <a:pt x="1380" y="453"/>
                      </a:lnTo>
                      <a:lnTo>
                        <a:pt x="1379" y="453"/>
                      </a:lnTo>
                      <a:lnTo>
                        <a:pt x="1379" y="454"/>
                      </a:lnTo>
                      <a:lnTo>
                        <a:pt x="1379" y="455"/>
                      </a:lnTo>
                      <a:lnTo>
                        <a:pt x="1379" y="456"/>
                      </a:lnTo>
                      <a:lnTo>
                        <a:pt x="1379" y="457"/>
                      </a:lnTo>
                      <a:lnTo>
                        <a:pt x="1379" y="456"/>
                      </a:lnTo>
                      <a:lnTo>
                        <a:pt x="1378" y="456"/>
                      </a:lnTo>
                      <a:lnTo>
                        <a:pt x="1378" y="455"/>
                      </a:lnTo>
                      <a:lnTo>
                        <a:pt x="1377" y="454"/>
                      </a:lnTo>
                      <a:lnTo>
                        <a:pt x="1376" y="454"/>
                      </a:lnTo>
                      <a:lnTo>
                        <a:pt x="1376" y="455"/>
                      </a:lnTo>
                      <a:lnTo>
                        <a:pt x="1376" y="456"/>
                      </a:lnTo>
                      <a:lnTo>
                        <a:pt x="1375" y="456"/>
                      </a:lnTo>
                      <a:lnTo>
                        <a:pt x="1375" y="457"/>
                      </a:lnTo>
                      <a:lnTo>
                        <a:pt x="1374" y="457"/>
                      </a:lnTo>
                      <a:lnTo>
                        <a:pt x="1374" y="459"/>
                      </a:lnTo>
                      <a:lnTo>
                        <a:pt x="1373" y="459"/>
                      </a:lnTo>
                      <a:lnTo>
                        <a:pt x="1371" y="460"/>
                      </a:lnTo>
                      <a:lnTo>
                        <a:pt x="1371" y="459"/>
                      </a:lnTo>
                      <a:lnTo>
                        <a:pt x="1371" y="457"/>
                      </a:lnTo>
                      <a:lnTo>
                        <a:pt x="1373" y="457"/>
                      </a:lnTo>
                      <a:lnTo>
                        <a:pt x="1374" y="457"/>
                      </a:lnTo>
                      <a:lnTo>
                        <a:pt x="1374" y="456"/>
                      </a:lnTo>
                      <a:lnTo>
                        <a:pt x="1373" y="456"/>
                      </a:lnTo>
                      <a:lnTo>
                        <a:pt x="1374" y="456"/>
                      </a:lnTo>
                      <a:lnTo>
                        <a:pt x="1373" y="455"/>
                      </a:lnTo>
                      <a:lnTo>
                        <a:pt x="1371" y="455"/>
                      </a:lnTo>
                      <a:lnTo>
                        <a:pt x="1370" y="455"/>
                      </a:lnTo>
                      <a:lnTo>
                        <a:pt x="1369" y="455"/>
                      </a:lnTo>
                      <a:lnTo>
                        <a:pt x="1369" y="454"/>
                      </a:lnTo>
                      <a:lnTo>
                        <a:pt x="1369" y="453"/>
                      </a:lnTo>
                      <a:lnTo>
                        <a:pt x="1369" y="452"/>
                      </a:lnTo>
                      <a:lnTo>
                        <a:pt x="1369" y="451"/>
                      </a:lnTo>
                      <a:lnTo>
                        <a:pt x="1369" y="450"/>
                      </a:lnTo>
                      <a:lnTo>
                        <a:pt x="1369" y="449"/>
                      </a:lnTo>
                      <a:lnTo>
                        <a:pt x="1370" y="449"/>
                      </a:lnTo>
                      <a:lnTo>
                        <a:pt x="1370" y="448"/>
                      </a:lnTo>
                      <a:lnTo>
                        <a:pt x="1371" y="449"/>
                      </a:lnTo>
                      <a:lnTo>
                        <a:pt x="1370" y="449"/>
                      </a:lnTo>
                      <a:lnTo>
                        <a:pt x="1371" y="450"/>
                      </a:lnTo>
                      <a:lnTo>
                        <a:pt x="1371" y="451"/>
                      </a:lnTo>
                      <a:lnTo>
                        <a:pt x="1371" y="452"/>
                      </a:lnTo>
                      <a:lnTo>
                        <a:pt x="1373" y="452"/>
                      </a:lnTo>
                      <a:lnTo>
                        <a:pt x="1373" y="451"/>
                      </a:lnTo>
                      <a:lnTo>
                        <a:pt x="1373" y="450"/>
                      </a:lnTo>
                      <a:lnTo>
                        <a:pt x="1371" y="450"/>
                      </a:lnTo>
                      <a:lnTo>
                        <a:pt x="1371" y="449"/>
                      </a:lnTo>
                      <a:lnTo>
                        <a:pt x="1371" y="448"/>
                      </a:lnTo>
                      <a:lnTo>
                        <a:pt x="1371" y="447"/>
                      </a:lnTo>
                      <a:lnTo>
                        <a:pt x="1370" y="447"/>
                      </a:lnTo>
                      <a:lnTo>
                        <a:pt x="1370" y="446"/>
                      </a:lnTo>
                      <a:lnTo>
                        <a:pt x="1370" y="447"/>
                      </a:lnTo>
                      <a:lnTo>
                        <a:pt x="1369" y="447"/>
                      </a:lnTo>
                      <a:lnTo>
                        <a:pt x="1370" y="447"/>
                      </a:lnTo>
                      <a:lnTo>
                        <a:pt x="1371" y="448"/>
                      </a:lnTo>
                      <a:lnTo>
                        <a:pt x="1370" y="448"/>
                      </a:lnTo>
                      <a:lnTo>
                        <a:pt x="1369" y="449"/>
                      </a:lnTo>
                      <a:lnTo>
                        <a:pt x="1369" y="448"/>
                      </a:lnTo>
                      <a:lnTo>
                        <a:pt x="1368" y="448"/>
                      </a:lnTo>
                      <a:lnTo>
                        <a:pt x="1368" y="447"/>
                      </a:lnTo>
                      <a:lnTo>
                        <a:pt x="1369" y="447"/>
                      </a:lnTo>
                      <a:lnTo>
                        <a:pt x="1369" y="446"/>
                      </a:lnTo>
                      <a:lnTo>
                        <a:pt x="1370" y="446"/>
                      </a:lnTo>
                      <a:lnTo>
                        <a:pt x="1370" y="444"/>
                      </a:lnTo>
                      <a:lnTo>
                        <a:pt x="1369" y="444"/>
                      </a:lnTo>
                      <a:lnTo>
                        <a:pt x="1369" y="446"/>
                      </a:lnTo>
                      <a:lnTo>
                        <a:pt x="1369" y="444"/>
                      </a:lnTo>
                      <a:lnTo>
                        <a:pt x="1370" y="444"/>
                      </a:lnTo>
                      <a:lnTo>
                        <a:pt x="1371" y="444"/>
                      </a:lnTo>
                      <a:lnTo>
                        <a:pt x="1373" y="443"/>
                      </a:lnTo>
                      <a:lnTo>
                        <a:pt x="1373" y="442"/>
                      </a:lnTo>
                      <a:lnTo>
                        <a:pt x="1373" y="441"/>
                      </a:lnTo>
                      <a:lnTo>
                        <a:pt x="1371" y="441"/>
                      </a:lnTo>
                      <a:lnTo>
                        <a:pt x="1371" y="440"/>
                      </a:lnTo>
                      <a:lnTo>
                        <a:pt x="1373" y="440"/>
                      </a:lnTo>
                      <a:lnTo>
                        <a:pt x="1373" y="441"/>
                      </a:lnTo>
                      <a:lnTo>
                        <a:pt x="1374" y="441"/>
                      </a:lnTo>
                      <a:lnTo>
                        <a:pt x="1374" y="440"/>
                      </a:lnTo>
                      <a:lnTo>
                        <a:pt x="1373" y="440"/>
                      </a:lnTo>
                      <a:lnTo>
                        <a:pt x="1374" y="440"/>
                      </a:lnTo>
                      <a:lnTo>
                        <a:pt x="1374" y="439"/>
                      </a:lnTo>
                      <a:lnTo>
                        <a:pt x="1374" y="440"/>
                      </a:lnTo>
                      <a:lnTo>
                        <a:pt x="1375" y="440"/>
                      </a:lnTo>
                      <a:close/>
                      <a:moveTo>
                        <a:pt x="1201" y="714"/>
                      </a:moveTo>
                      <a:lnTo>
                        <a:pt x="1202" y="716"/>
                      </a:lnTo>
                      <a:lnTo>
                        <a:pt x="1202" y="714"/>
                      </a:lnTo>
                      <a:lnTo>
                        <a:pt x="1202" y="716"/>
                      </a:lnTo>
                      <a:lnTo>
                        <a:pt x="1202" y="717"/>
                      </a:lnTo>
                      <a:lnTo>
                        <a:pt x="1203" y="717"/>
                      </a:lnTo>
                      <a:lnTo>
                        <a:pt x="1203" y="718"/>
                      </a:lnTo>
                      <a:lnTo>
                        <a:pt x="1203" y="719"/>
                      </a:lnTo>
                      <a:lnTo>
                        <a:pt x="1203" y="720"/>
                      </a:lnTo>
                      <a:lnTo>
                        <a:pt x="1205" y="721"/>
                      </a:lnTo>
                      <a:lnTo>
                        <a:pt x="1205" y="722"/>
                      </a:lnTo>
                      <a:lnTo>
                        <a:pt x="1205" y="723"/>
                      </a:lnTo>
                      <a:lnTo>
                        <a:pt x="1205" y="724"/>
                      </a:lnTo>
                      <a:lnTo>
                        <a:pt x="1206" y="723"/>
                      </a:lnTo>
                      <a:lnTo>
                        <a:pt x="1207" y="724"/>
                      </a:lnTo>
                      <a:lnTo>
                        <a:pt x="1208" y="724"/>
                      </a:lnTo>
                      <a:lnTo>
                        <a:pt x="1208" y="725"/>
                      </a:lnTo>
                      <a:lnTo>
                        <a:pt x="1207" y="725"/>
                      </a:lnTo>
                      <a:lnTo>
                        <a:pt x="1207" y="726"/>
                      </a:lnTo>
                      <a:lnTo>
                        <a:pt x="1208" y="726"/>
                      </a:lnTo>
                      <a:lnTo>
                        <a:pt x="1209" y="725"/>
                      </a:lnTo>
                      <a:lnTo>
                        <a:pt x="1208" y="725"/>
                      </a:lnTo>
                      <a:lnTo>
                        <a:pt x="1208" y="724"/>
                      </a:lnTo>
                      <a:lnTo>
                        <a:pt x="1209" y="724"/>
                      </a:lnTo>
                      <a:lnTo>
                        <a:pt x="1209" y="723"/>
                      </a:lnTo>
                      <a:lnTo>
                        <a:pt x="1209" y="724"/>
                      </a:lnTo>
                      <a:lnTo>
                        <a:pt x="1210" y="725"/>
                      </a:lnTo>
                      <a:lnTo>
                        <a:pt x="1210" y="726"/>
                      </a:lnTo>
                      <a:lnTo>
                        <a:pt x="1211" y="726"/>
                      </a:lnTo>
                      <a:lnTo>
                        <a:pt x="1210" y="727"/>
                      </a:lnTo>
                      <a:lnTo>
                        <a:pt x="1209" y="726"/>
                      </a:lnTo>
                      <a:lnTo>
                        <a:pt x="1209" y="727"/>
                      </a:lnTo>
                      <a:lnTo>
                        <a:pt x="1208" y="727"/>
                      </a:lnTo>
                      <a:lnTo>
                        <a:pt x="1207" y="729"/>
                      </a:lnTo>
                      <a:lnTo>
                        <a:pt x="1206" y="729"/>
                      </a:lnTo>
                      <a:lnTo>
                        <a:pt x="1205" y="729"/>
                      </a:lnTo>
                      <a:lnTo>
                        <a:pt x="1203" y="727"/>
                      </a:lnTo>
                      <a:lnTo>
                        <a:pt x="1203" y="726"/>
                      </a:lnTo>
                      <a:lnTo>
                        <a:pt x="1202" y="726"/>
                      </a:lnTo>
                      <a:lnTo>
                        <a:pt x="1201" y="726"/>
                      </a:lnTo>
                      <a:lnTo>
                        <a:pt x="1201" y="727"/>
                      </a:lnTo>
                      <a:lnTo>
                        <a:pt x="1201" y="729"/>
                      </a:lnTo>
                      <a:lnTo>
                        <a:pt x="1201" y="730"/>
                      </a:lnTo>
                      <a:lnTo>
                        <a:pt x="1202" y="730"/>
                      </a:lnTo>
                      <a:lnTo>
                        <a:pt x="1202" y="731"/>
                      </a:lnTo>
                      <a:lnTo>
                        <a:pt x="1201" y="731"/>
                      </a:lnTo>
                      <a:lnTo>
                        <a:pt x="1200" y="731"/>
                      </a:lnTo>
                      <a:lnTo>
                        <a:pt x="1200" y="732"/>
                      </a:lnTo>
                      <a:lnTo>
                        <a:pt x="1199" y="732"/>
                      </a:lnTo>
                      <a:lnTo>
                        <a:pt x="1197" y="732"/>
                      </a:lnTo>
                      <a:lnTo>
                        <a:pt x="1197" y="731"/>
                      </a:lnTo>
                      <a:lnTo>
                        <a:pt x="1198" y="731"/>
                      </a:lnTo>
                      <a:lnTo>
                        <a:pt x="1199" y="731"/>
                      </a:lnTo>
                      <a:lnTo>
                        <a:pt x="1199" y="730"/>
                      </a:lnTo>
                      <a:lnTo>
                        <a:pt x="1199" y="729"/>
                      </a:lnTo>
                      <a:lnTo>
                        <a:pt x="1199" y="727"/>
                      </a:lnTo>
                      <a:lnTo>
                        <a:pt x="1199" y="726"/>
                      </a:lnTo>
                      <a:lnTo>
                        <a:pt x="1198" y="726"/>
                      </a:lnTo>
                      <a:lnTo>
                        <a:pt x="1197" y="726"/>
                      </a:lnTo>
                      <a:lnTo>
                        <a:pt x="1196" y="726"/>
                      </a:lnTo>
                      <a:lnTo>
                        <a:pt x="1196" y="725"/>
                      </a:lnTo>
                      <a:lnTo>
                        <a:pt x="1195" y="725"/>
                      </a:lnTo>
                      <a:lnTo>
                        <a:pt x="1196" y="724"/>
                      </a:lnTo>
                      <a:lnTo>
                        <a:pt x="1195" y="725"/>
                      </a:lnTo>
                      <a:lnTo>
                        <a:pt x="1196" y="725"/>
                      </a:lnTo>
                      <a:lnTo>
                        <a:pt x="1196" y="724"/>
                      </a:lnTo>
                      <a:lnTo>
                        <a:pt x="1196" y="725"/>
                      </a:lnTo>
                      <a:lnTo>
                        <a:pt x="1197" y="725"/>
                      </a:lnTo>
                      <a:lnTo>
                        <a:pt x="1198" y="725"/>
                      </a:lnTo>
                      <a:lnTo>
                        <a:pt x="1198" y="724"/>
                      </a:lnTo>
                      <a:lnTo>
                        <a:pt x="1198" y="723"/>
                      </a:lnTo>
                      <a:lnTo>
                        <a:pt x="1199" y="723"/>
                      </a:lnTo>
                      <a:lnTo>
                        <a:pt x="1199" y="724"/>
                      </a:lnTo>
                      <a:lnTo>
                        <a:pt x="1200" y="724"/>
                      </a:lnTo>
                      <a:lnTo>
                        <a:pt x="1200" y="723"/>
                      </a:lnTo>
                      <a:lnTo>
                        <a:pt x="1200" y="724"/>
                      </a:lnTo>
                      <a:lnTo>
                        <a:pt x="1199" y="724"/>
                      </a:lnTo>
                      <a:lnTo>
                        <a:pt x="1200" y="723"/>
                      </a:lnTo>
                      <a:lnTo>
                        <a:pt x="1199" y="723"/>
                      </a:lnTo>
                      <a:lnTo>
                        <a:pt x="1198" y="723"/>
                      </a:lnTo>
                      <a:lnTo>
                        <a:pt x="1197" y="723"/>
                      </a:lnTo>
                      <a:lnTo>
                        <a:pt x="1198" y="723"/>
                      </a:lnTo>
                      <a:lnTo>
                        <a:pt x="1197" y="722"/>
                      </a:lnTo>
                      <a:lnTo>
                        <a:pt x="1197" y="723"/>
                      </a:lnTo>
                      <a:lnTo>
                        <a:pt x="1196" y="723"/>
                      </a:lnTo>
                      <a:lnTo>
                        <a:pt x="1196" y="722"/>
                      </a:lnTo>
                      <a:lnTo>
                        <a:pt x="1196" y="721"/>
                      </a:lnTo>
                      <a:lnTo>
                        <a:pt x="1195" y="721"/>
                      </a:lnTo>
                      <a:lnTo>
                        <a:pt x="1194" y="720"/>
                      </a:lnTo>
                      <a:lnTo>
                        <a:pt x="1195" y="720"/>
                      </a:lnTo>
                      <a:lnTo>
                        <a:pt x="1195" y="719"/>
                      </a:lnTo>
                      <a:lnTo>
                        <a:pt x="1194" y="719"/>
                      </a:lnTo>
                      <a:lnTo>
                        <a:pt x="1194" y="720"/>
                      </a:lnTo>
                      <a:lnTo>
                        <a:pt x="1194" y="719"/>
                      </a:lnTo>
                      <a:lnTo>
                        <a:pt x="1195" y="719"/>
                      </a:lnTo>
                      <a:lnTo>
                        <a:pt x="1195" y="718"/>
                      </a:lnTo>
                      <a:lnTo>
                        <a:pt x="1196" y="718"/>
                      </a:lnTo>
                      <a:lnTo>
                        <a:pt x="1197" y="718"/>
                      </a:lnTo>
                      <a:lnTo>
                        <a:pt x="1197" y="717"/>
                      </a:lnTo>
                      <a:lnTo>
                        <a:pt x="1198" y="717"/>
                      </a:lnTo>
                      <a:lnTo>
                        <a:pt x="1198" y="718"/>
                      </a:lnTo>
                      <a:lnTo>
                        <a:pt x="1199" y="718"/>
                      </a:lnTo>
                      <a:lnTo>
                        <a:pt x="1199" y="717"/>
                      </a:lnTo>
                      <a:lnTo>
                        <a:pt x="1199" y="718"/>
                      </a:lnTo>
                      <a:lnTo>
                        <a:pt x="1199" y="717"/>
                      </a:lnTo>
                      <a:lnTo>
                        <a:pt x="1199" y="716"/>
                      </a:lnTo>
                      <a:lnTo>
                        <a:pt x="1199" y="714"/>
                      </a:lnTo>
                      <a:lnTo>
                        <a:pt x="1200" y="714"/>
                      </a:lnTo>
                      <a:lnTo>
                        <a:pt x="1201" y="714"/>
                      </a:lnTo>
                      <a:close/>
                      <a:moveTo>
                        <a:pt x="1289" y="473"/>
                      </a:moveTo>
                      <a:lnTo>
                        <a:pt x="1289" y="474"/>
                      </a:lnTo>
                      <a:lnTo>
                        <a:pt x="1289" y="475"/>
                      </a:lnTo>
                      <a:lnTo>
                        <a:pt x="1290" y="475"/>
                      </a:lnTo>
                      <a:lnTo>
                        <a:pt x="1291" y="475"/>
                      </a:lnTo>
                      <a:lnTo>
                        <a:pt x="1292" y="475"/>
                      </a:lnTo>
                      <a:lnTo>
                        <a:pt x="1293" y="475"/>
                      </a:lnTo>
                      <a:lnTo>
                        <a:pt x="1295" y="475"/>
                      </a:lnTo>
                      <a:lnTo>
                        <a:pt x="1293" y="475"/>
                      </a:lnTo>
                      <a:lnTo>
                        <a:pt x="1292" y="476"/>
                      </a:lnTo>
                      <a:lnTo>
                        <a:pt x="1291" y="476"/>
                      </a:lnTo>
                      <a:lnTo>
                        <a:pt x="1291" y="477"/>
                      </a:lnTo>
                      <a:lnTo>
                        <a:pt x="1290" y="478"/>
                      </a:lnTo>
                      <a:lnTo>
                        <a:pt x="1289" y="479"/>
                      </a:lnTo>
                      <a:lnTo>
                        <a:pt x="1289" y="480"/>
                      </a:lnTo>
                      <a:lnTo>
                        <a:pt x="1289" y="481"/>
                      </a:lnTo>
                      <a:lnTo>
                        <a:pt x="1289" y="482"/>
                      </a:lnTo>
                      <a:lnTo>
                        <a:pt x="1290" y="482"/>
                      </a:lnTo>
                      <a:lnTo>
                        <a:pt x="1291" y="482"/>
                      </a:lnTo>
                      <a:lnTo>
                        <a:pt x="1292" y="484"/>
                      </a:lnTo>
                      <a:lnTo>
                        <a:pt x="1293" y="485"/>
                      </a:lnTo>
                      <a:lnTo>
                        <a:pt x="1293" y="486"/>
                      </a:lnTo>
                      <a:lnTo>
                        <a:pt x="1293" y="487"/>
                      </a:lnTo>
                      <a:lnTo>
                        <a:pt x="1292" y="487"/>
                      </a:lnTo>
                      <a:lnTo>
                        <a:pt x="1291" y="487"/>
                      </a:lnTo>
                      <a:lnTo>
                        <a:pt x="1291" y="486"/>
                      </a:lnTo>
                      <a:lnTo>
                        <a:pt x="1289" y="486"/>
                      </a:lnTo>
                      <a:lnTo>
                        <a:pt x="1288" y="486"/>
                      </a:lnTo>
                      <a:lnTo>
                        <a:pt x="1287" y="486"/>
                      </a:lnTo>
                      <a:lnTo>
                        <a:pt x="1286" y="486"/>
                      </a:lnTo>
                      <a:lnTo>
                        <a:pt x="1285" y="486"/>
                      </a:lnTo>
                      <a:lnTo>
                        <a:pt x="1284" y="487"/>
                      </a:lnTo>
                      <a:lnTo>
                        <a:pt x="1284" y="486"/>
                      </a:lnTo>
                      <a:lnTo>
                        <a:pt x="1284" y="485"/>
                      </a:lnTo>
                      <a:lnTo>
                        <a:pt x="1284" y="484"/>
                      </a:lnTo>
                      <a:lnTo>
                        <a:pt x="1284" y="482"/>
                      </a:lnTo>
                      <a:lnTo>
                        <a:pt x="1283" y="482"/>
                      </a:lnTo>
                      <a:lnTo>
                        <a:pt x="1284" y="482"/>
                      </a:lnTo>
                      <a:lnTo>
                        <a:pt x="1284" y="481"/>
                      </a:lnTo>
                      <a:lnTo>
                        <a:pt x="1284" y="480"/>
                      </a:lnTo>
                      <a:lnTo>
                        <a:pt x="1285" y="480"/>
                      </a:lnTo>
                      <a:lnTo>
                        <a:pt x="1285" y="479"/>
                      </a:lnTo>
                      <a:lnTo>
                        <a:pt x="1285" y="480"/>
                      </a:lnTo>
                      <a:lnTo>
                        <a:pt x="1284" y="479"/>
                      </a:lnTo>
                      <a:lnTo>
                        <a:pt x="1284" y="478"/>
                      </a:lnTo>
                      <a:lnTo>
                        <a:pt x="1283" y="478"/>
                      </a:lnTo>
                      <a:lnTo>
                        <a:pt x="1283" y="477"/>
                      </a:lnTo>
                      <a:lnTo>
                        <a:pt x="1283" y="476"/>
                      </a:lnTo>
                      <a:lnTo>
                        <a:pt x="1283" y="475"/>
                      </a:lnTo>
                      <a:lnTo>
                        <a:pt x="1282" y="475"/>
                      </a:lnTo>
                      <a:lnTo>
                        <a:pt x="1283" y="476"/>
                      </a:lnTo>
                      <a:lnTo>
                        <a:pt x="1282" y="476"/>
                      </a:lnTo>
                      <a:lnTo>
                        <a:pt x="1283" y="476"/>
                      </a:lnTo>
                      <a:lnTo>
                        <a:pt x="1283" y="477"/>
                      </a:lnTo>
                      <a:lnTo>
                        <a:pt x="1283" y="476"/>
                      </a:lnTo>
                      <a:lnTo>
                        <a:pt x="1282" y="477"/>
                      </a:lnTo>
                      <a:lnTo>
                        <a:pt x="1282" y="478"/>
                      </a:lnTo>
                      <a:lnTo>
                        <a:pt x="1280" y="478"/>
                      </a:lnTo>
                      <a:lnTo>
                        <a:pt x="1280" y="479"/>
                      </a:lnTo>
                      <a:lnTo>
                        <a:pt x="1280" y="478"/>
                      </a:lnTo>
                      <a:lnTo>
                        <a:pt x="1279" y="478"/>
                      </a:lnTo>
                      <a:lnTo>
                        <a:pt x="1279" y="479"/>
                      </a:lnTo>
                      <a:lnTo>
                        <a:pt x="1278" y="479"/>
                      </a:lnTo>
                      <a:lnTo>
                        <a:pt x="1277" y="479"/>
                      </a:lnTo>
                      <a:lnTo>
                        <a:pt x="1277" y="480"/>
                      </a:lnTo>
                      <a:lnTo>
                        <a:pt x="1276" y="480"/>
                      </a:lnTo>
                      <a:lnTo>
                        <a:pt x="1276" y="479"/>
                      </a:lnTo>
                      <a:lnTo>
                        <a:pt x="1275" y="479"/>
                      </a:lnTo>
                      <a:lnTo>
                        <a:pt x="1274" y="479"/>
                      </a:lnTo>
                      <a:lnTo>
                        <a:pt x="1274" y="478"/>
                      </a:lnTo>
                      <a:lnTo>
                        <a:pt x="1273" y="477"/>
                      </a:lnTo>
                      <a:lnTo>
                        <a:pt x="1274" y="477"/>
                      </a:lnTo>
                      <a:lnTo>
                        <a:pt x="1274" y="476"/>
                      </a:lnTo>
                      <a:lnTo>
                        <a:pt x="1275" y="476"/>
                      </a:lnTo>
                      <a:lnTo>
                        <a:pt x="1276" y="476"/>
                      </a:lnTo>
                      <a:lnTo>
                        <a:pt x="1277" y="476"/>
                      </a:lnTo>
                      <a:lnTo>
                        <a:pt x="1278" y="476"/>
                      </a:lnTo>
                      <a:lnTo>
                        <a:pt x="1279" y="476"/>
                      </a:lnTo>
                      <a:lnTo>
                        <a:pt x="1280" y="476"/>
                      </a:lnTo>
                      <a:lnTo>
                        <a:pt x="1282" y="476"/>
                      </a:lnTo>
                      <a:lnTo>
                        <a:pt x="1282" y="475"/>
                      </a:lnTo>
                      <a:lnTo>
                        <a:pt x="1282" y="474"/>
                      </a:lnTo>
                      <a:lnTo>
                        <a:pt x="1283" y="474"/>
                      </a:lnTo>
                      <a:lnTo>
                        <a:pt x="1284" y="474"/>
                      </a:lnTo>
                      <a:lnTo>
                        <a:pt x="1283" y="475"/>
                      </a:lnTo>
                      <a:lnTo>
                        <a:pt x="1284" y="476"/>
                      </a:lnTo>
                      <a:lnTo>
                        <a:pt x="1285" y="477"/>
                      </a:lnTo>
                      <a:lnTo>
                        <a:pt x="1284" y="476"/>
                      </a:lnTo>
                      <a:lnTo>
                        <a:pt x="1283" y="475"/>
                      </a:lnTo>
                      <a:lnTo>
                        <a:pt x="1284" y="474"/>
                      </a:lnTo>
                      <a:lnTo>
                        <a:pt x="1285" y="474"/>
                      </a:lnTo>
                      <a:lnTo>
                        <a:pt x="1285" y="475"/>
                      </a:lnTo>
                      <a:lnTo>
                        <a:pt x="1285" y="476"/>
                      </a:lnTo>
                      <a:lnTo>
                        <a:pt x="1286" y="476"/>
                      </a:lnTo>
                      <a:lnTo>
                        <a:pt x="1286" y="477"/>
                      </a:lnTo>
                      <a:lnTo>
                        <a:pt x="1286" y="476"/>
                      </a:lnTo>
                      <a:lnTo>
                        <a:pt x="1286" y="475"/>
                      </a:lnTo>
                      <a:lnTo>
                        <a:pt x="1287" y="475"/>
                      </a:lnTo>
                      <a:lnTo>
                        <a:pt x="1287" y="474"/>
                      </a:lnTo>
                      <a:lnTo>
                        <a:pt x="1286" y="474"/>
                      </a:lnTo>
                      <a:lnTo>
                        <a:pt x="1287" y="474"/>
                      </a:lnTo>
                      <a:lnTo>
                        <a:pt x="1288" y="474"/>
                      </a:lnTo>
                      <a:lnTo>
                        <a:pt x="1288" y="473"/>
                      </a:lnTo>
                      <a:lnTo>
                        <a:pt x="1289" y="473"/>
                      </a:lnTo>
                      <a:close/>
                      <a:moveTo>
                        <a:pt x="1344" y="604"/>
                      </a:moveTo>
                      <a:lnTo>
                        <a:pt x="1347" y="604"/>
                      </a:lnTo>
                      <a:lnTo>
                        <a:pt x="1347" y="605"/>
                      </a:lnTo>
                      <a:lnTo>
                        <a:pt x="1347" y="606"/>
                      </a:lnTo>
                      <a:lnTo>
                        <a:pt x="1347" y="605"/>
                      </a:lnTo>
                      <a:lnTo>
                        <a:pt x="1348" y="605"/>
                      </a:lnTo>
                      <a:lnTo>
                        <a:pt x="1348" y="604"/>
                      </a:lnTo>
                      <a:lnTo>
                        <a:pt x="1348" y="605"/>
                      </a:lnTo>
                      <a:lnTo>
                        <a:pt x="1349" y="605"/>
                      </a:lnTo>
                      <a:lnTo>
                        <a:pt x="1349" y="604"/>
                      </a:lnTo>
                      <a:lnTo>
                        <a:pt x="1349" y="605"/>
                      </a:lnTo>
                      <a:lnTo>
                        <a:pt x="1350" y="605"/>
                      </a:lnTo>
                      <a:lnTo>
                        <a:pt x="1350" y="603"/>
                      </a:lnTo>
                      <a:lnTo>
                        <a:pt x="1351" y="602"/>
                      </a:lnTo>
                      <a:lnTo>
                        <a:pt x="1352" y="602"/>
                      </a:lnTo>
                      <a:lnTo>
                        <a:pt x="1353" y="602"/>
                      </a:lnTo>
                      <a:lnTo>
                        <a:pt x="1354" y="602"/>
                      </a:lnTo>
                      <a:lnTo>
                        <a:pt x="1355" y="603"/>
                      </a:lnTo>
                      <a:lnTo>
                        <a:pt x="1355" y="602"/>
                      </a:lnTo>
                      <a:lnTo>
                        <a:pt x="1355" y="603"/>
                      </a:lnTo>
                      <a:lnTo>
                        <a:pt x="1355" y="604"/>
                      </a:lnTo>
                      <a:lnTo>
                        <a:pt x="1355" y="605"/>
                      </a:lnTo>
                      <a:lnTo>
                        <a:pt x="1355" y="606"/>
                      </a:lnTo>
                      <a:lnTo>
                        <a:pt x="1355" y="607"/>
                      </a:lnTo>
                      <a:lnTo>
                        <a:pt x="1355" y="608"/>
                      </a:lnTo>
                      <a:lnTo>
                        <a:pt x="1355" y="607"/>
                      </a:lnTo>
                      <a:lnTo>
                        <a:pt x="1355" y="606"/>
                      </a:lnTo>
                      <a:lnTo>
                        <a:pt x="1354" y="606"/>
                      </a:lnTo>
                      <a:lnTo>
                        <a:pt x="1353" y="606"/>
                      </a:lnTo>
                      <a:lnTo>
                        <a:pt x="1352" y="606"/>
                      </a:lnTo>
                      <a:lnTo>
                        <a:pt x="1351" y="607"/>
                      </a:lnTo>
                      <a:lnTo>
                        <a:pt x="1350" y="607"/>
                      </a:lnTo>
                      <a:lnTo>
                        <a:pt x="1350" y="608"/>
                      </a:lnTo>
                      <a:lnTo>
                        <a:pt x="1351" y="608"/>
                      </a:lnTo>
                      <a:lnTo>
                        <a:pt x="1352" y="608"/>
                      </a:lnTo>
                      <a:lnTo>
                        <a:pt x="1352" y="607"/>
                      </a:lnTo>
                      <a:lnTo>
                        <a:pt x="1351" y="607"/>
                      </a:lnTo>
                      <a:lnTo>
                        <a:pt x="1352" y="607"/>
                      </a:lnTo>
                      <a:lnTo>
                        <a:pt x="1352" y="606"/>
                      </a:lnTo>
                      <a:lnTo>
                        <a:pt x="1353" y="606"/>
                      </a:lnTo>
                      <a:lnTo>
                        <a:pt x="1354" y="606"/>
                      </a:lnTo>
                      <a:lnTo>
                        <a:pt x="1354" y="607"/>
                      </a:lnTo>
                      <a:lnTo>
                        <a:pt x="1354" y="606"/>
                      </a:lnTo>
                      <a:lnTo>
                        <a:pt x="1354" y="607"/>
                      </a:lnTo>
                      <a:lnTo>
                        <a:pt x="1355" y="607"/>
                      </a:lnTo>
                      <a:lnTo>
                        <a:pt x="1354" y="607"/>
                      </a:lnTo>
                      <a:lnTo>
                        <a:pt x="1355" y="608"/>
                      </a:lnTo>
                      <a:lnTo>
                        <a:pt x="1355" y="609"/>
                      </a:lnTo>
                      <a:lnTo>
                        <a:pt x="1355" y="610"/>
                      </a:lnTo>
                      <a:lnTo>
                        <a:pt x="1356" y="610"/>
                      </a:lnTo>
                      <a:lnTo>
                        <a:pt x="1356" y="611"/>
                      </a:lnTo>
                      <a:lnTo>
                        <a:pt x="1356" y="613"/>
                      </a:lnTo>
                      <a:lnTo>
                        <a:pt x="1356" y="614"/>
                      </a:lnTo>
                      <a:lnTo>
                        <a:pt x="1356" y="615"/>
                      </a:lnTo>
                      <a:lnTo>
                        <a:pt x="1355" y="616"/>
                      </a:lnTo>
                      <a:lnTo>
                        <a:pt x="1354" y="617"/>
                      </a:lnTo>
                      <a:lnTo>
                        <a:pt x="1353" y="617"/>
                      </a:lnTo>
                      <a:lnTo>
                        <a:pt x="1352" y="616"/>
                      </a:lnTo>
                      <a:lnTo>
                        <a:pt x="1351" y="615"/>
                      </a:lnTo>
                      <a:lnTo>
                        <a:pt x="1351" y="616"/>
                      </a:lnTo>
                      <a:lnTo>
                        <a:pt x="1351" y="615"/>
                      </a:lnTo>
                      <a:lnTo>
                        <a:pt x="1350" y="615"/>
                      </a:lnTo>
                      <a:lnTo>
                        <a:pt x="1349" y="615"/>
                      </a:lnTo>
                      <a:lnTo>
                        <a:pt x="1348" y="616"/>
                      </a:lnTo>
                      <a:lnTo>
                        <a:pt x="1347" y="616"/>
                      </a:lnTo>
                      <a:lnTo>
                        <a:pt x="1347" y="615"/>
                      </a:lnTo>
                      <a:lnTo>
                        <a:pt x="1348" y="615"/>
                      </a:lnTo>
                      <a:lnTo>
                        <a:pt x="1348" y="614"/>
                      </a:lnTo>
                      <a:lnTo>
                        <a:pt x="1348" y="615"/>
                      </a:lnTo>
                      <a:lnTo>
                        <a:pt x="1349" y="615"/>
                      </a:lnTo>
                      <a:lnTo>
                        <a:pt x="1350" y="615"/>
                      </a:lnTo>
                      <a:lnTo>
                        <a:pt x="1351" y="615"/>
                      </a:lnTo>
                      <a:lnTo>
                        <a:pt x="1351" y="614"/>
                      </a:lnTo>
                      <a:lnTo>
                        <a:pt x="1350" y="614"/>
                      </a:lnTo>
                      <a:lnTo>
                        <a:pt x="1351" y="613"/>
                      </a:lnTo>
                      <a:lnTo>
                        <a:pt x="1352" y="614"/>
                      </a:lnTo>
                      <a:lnTo>
                        <a:pt x="1352" y="615"/>
                      </a:lnTo>
                      <a:lnTo>
                        <a:pt x="1352" y="616"/>
                      </a:lnTo>
                      <a:lnTo>
                        <a:pt x="1353" y="616"/>
                      </a:lnTo>
                      <a:lnTo>
                        <a:pt x="1353" y="617"/>
                      </a:lnTo>
                      <a:lnTo>
                        <a:pt x="1354" y="617"/>
                      </a:lnTo>
                      <a:lnTo>
                        <a:pt x="1355" y="616"/>
                      </a:lnTo>
                      <a:lnTo>
                        <a:pt x="1355" y="615"/>
                      </a:lnTo>
                      <a:lnTo>
                        <a:pt x="1355" y="614"/>
                      </a:lnTo>
                      <a:lnTo>
                        <a:pt x="1354" y="614"/>
                      </a:lnTo>
                      <a:lnTo>
                        <a:pt x="1353" y="614"/>
                      </a:lnTo>
                      <a:lnTo>
                        <a:pt x="1352" y="613"/>
                      </a:lnTo>
                      <a:lnTo>
                        <a:pt x="1352" y="611"/>
                      </a:lnTo>
                      <a:lnTo>
                        <a:pt x="1351" y="611"/>
                      </a:lnTo>
                      <a:lnTo>
                        <a:pt x="1350" y="611"/>
                      </a:lnTo>
                      <a:lnTo>
                        <a:pt x="1349" y="611"/>
                      </a:lnTo>
                      <a:lnTo>
                        <a:pt x="1349" y="610"/>
                      </a:lnTo>
                      <a:lnTo>
                        <a:pt x="1348" y="610"/>
                      </a:lnTo>
                      <a:lnTo>
                        <a:pt x="1347" y="610"/>
                      </a:lnTo>
                      <a:lnTo>
                        <a:pt x="1345" y="610"/>
                      </a:lnTo>
                      <a:lnTo>
                        <a:pt x="1345" y="609"/>
                      </a:lnTo>
                      <a:lnTo>
                        <a:pt x="1344" y="609"/>
                      </a:lnTo>
                      <a:lnTo>
                        <a:pt x="1343" y="609"/>
                      </a:lnTo>
                      <a:lnTo>
                        <a:pt x="1344" y="609"/>
                      </a:lnTo>
                      <a:lnTo>
                        <a:pt x="1344" y="608"/>
                      </a:lnTo>
                      <a:lnTo>
                        <a:pt x="1345" y="609"/>
                      </a:lnTo>
                      <a:lnTo>
                        <a:pt x="1345" y="608"/>
                      </a:lnTo>
                      <a:lnTo>
                        <a:pt x="1347" y="608"/>
                      </a:lnTo>
                      <a:lnTo>
                        <a:pt x="1348" y="608"/>
                      </a:lnTo>
                      <a:lnTo>
                        <a:pt x="1348" y="607"/>
                      </a:lnTo>
                      <a:lnTo>
                        <a:pt x="1347" y="606"/>
                      </a:lnTo>
                      <a:lnTo>
                        <a:pt x="1345" y="606"/>
                      </a:lnTo>
                      <a:lnTo>
                        <a:pt x="1344" y="607"/>
                      </a:lnTo>
                      <a:lnTo>
                        <a:pt x="1344" y="606"/>
                      </a:lnTo>
                      <a:lnTo>
                        <a:pt x="1344" y="607"/>
                      </a:lnTo>
                      <a:lnTo>
                        <a:pt x="1343" y="607"/>
                      </a:lnTo>
                      <a:lnTo>
                        <a:pt x="1342" y="606"/>
                      </a:lnTo>
                      <a:lnTo>
                        <a:pt x="1343" y="606"/>
                      </a:lnTo>
                      <a:lnTo>
                        <a:pt x="1344" y="606"/>
                      </a:lnTo>
                      <a:lnTo>
                        <a:pt x="1344" y="605"/>
                      </a:lnTo>
                      <a:lnTo>
                        <a:pt x="1343" y="604"/>
                      </a:lnTo>
                      <a:lnTo>
                        <a:pt x="1342" y="604"/>
                      </a:lnTo>
                      <a:lnTo>
                        <a:pt x="1341" y="605"/>
                      </a:lnTo>
                      <a:lnTo>
                        <a:pt x="1340" y="605"/>
                      </a:lnTo>
                      <a:lnTo>
                        <a:pt x="1339" y="605"/>
                      </a:lnTo>
                      <a:lnTo>
                        <a:pt x="1338" y="605"/>
                      </a:lnTo>
                      <a:lnTo>
                        <a:pt x="1337" y="605"/>
                      </a:lnTo>
                      <a:lnTo>
                        <a:pt x="1336" y="604"/>
                      </a:lnTo>
                      <a:lnTo>
                        <a:pt x="1335" y="604"/>
                      </a:lnTo>
                      <a:lnTo>
                        <a:pt x="1335" y="605"/>
                      </a:lnTo>
                      <a:lnTo>
                        <a:pt x="1335" y="604"/>
                      </a:lnTo>
                      <a:lnTo>
                        <a:pt x="1334" y="603"/>
                      </a:lnTo>
                      <a:lnTo>
                        <a:pt x="1335" y="603"/>
                      </a:lnTo>
                      <a:lnTo>
                        <a:pt x="1335" y="604"/>
                      </a:lnTo>
                      <a:lnTo>
                        <a:pt x="1336" y="604"/>
                      </a:lnTo>
                      <a:lnTo>
                        <a:pt x="1337" y="604"/>
                      </a:lnTo>
                      <a:lnTo>
                        <a:pt x="1338" y="604"/>
                      </a:lnTo>
                      <a:lnTo>
                        <a:pt x="1339" y="605"/>
                      </a:lnTo>
                      <a:lnTo>
                        <a:pt x="1339" y="604"/>
                      </a:lnTo>
                      <a:lnTo>
                        <a:pt x="1339" y="603"/>
                      </a:lnTo>
                      <a:lnTo>
                        <a:pt x="1340" y="603"/>
                      </a:lnTo>
                      <a:lnTo>
                        <a:pt x="1340" y="602"/>
                      </a:lnTo>
                      <a:lnTo>
                        <a:pt x="1339" y="602"/>
                      </a:lnTo>
                      <a:lnTo>
                        <a:pt x="1339" y="601"/>
                      </a:lnTo>
                      <a:lnTo>
                        <a:pt x="1340" y="601"/>
                      </a:lnTo>
                      <a:lnTo>
                        <a:pt x="1341" y="601"/>
                      </a:lnTo>
                      <a:lnTo>
                        <a:pt x="1342" y="602"/>
                      </a:lnTo>
                      <a:lnTo>
                        <a:pt x="1343" y="603"/>
                      </a:lnTo>
                      <a:lnTo>
                        <a:pt x="1344" y="604"/>
                      </a:lnTo>
                      <a:close/>
                      <a:moveTo>
                        <a:pt x="1326" y="467"/>
                      </a:moveTo>
                      <a:lnTo>
                        <a:pt x="1327" y="468"/>
                      </a:lnTo>
                      <a:lnTo>
                        <a:pt x="1328" y="468"/>
                      </a:lnTo>
                      <a:lnTo>
                        <a:pt x="1328" y="469"/>
                      </a:lnTo>
                      <a:lnTo>
                        <a:pt x="1329" y="469"/>
                      </a:lnTo>
                      <a:lnTo>
                        <a:pt x="1330" y="469"/>
                      </a:lnTo>
                      <a:lnTo>
                        <a:pt x="1331" y="469"/>
                      </a:lnTo>
                      <a:lnTo>
                        <a:pt x="1331" y="468"/>
                      </a:lnTo>
                      <a:lnTo>
                        <a:pt x="1332" y="468"/>
                      </a:lnTo>
                      <a:lnTo>
                        <a:pt x="1332" y="467"/>
                      </a:lnTo>
                      <a:lnTo>
                        <a:pt x="1332" y="466"/>
                      </a:lnTo>
                      <a:lnTo>
                        <a:pt x="1334" y="466"/>
                      </a:lnTo>
                      <a:lnTo>
                        <a:pt x="1334" y="467"/>
                      </a:lnTo>
                      <a:lnTo>
                        <a:pt x="1334" y="468"/>
                      </a:lnTo>
                      <a:lnTo>
                        <a:pt x="1335" y="469"/>
                      </a:lnTo>
                      <a:lnTo>
                        <a:pt x="1335" y="470"/>
                      </a:lnTo>
                      <a:lnTo>
                        <a:pt x="1334" y="470"/>
                      </a:lnTo>
                      <a:lnTo>
                        <a:pt x="1334" y="472"/>
                      </a:lnTo>
                      <a:lnTo>
                        <a:pt x="1332" y="472"/>
                      </a:lnTo>
                      <a:lnTo>
                        <a:pt x="1331" y="473"/>
                      </a:lnTo>
                      <a:lnTo>
                        <a:pt x="1331" y="474"/>
                      </a:lnTo>
                      <a:lnTo>
                        <a:pt x="1331" y="473"/>
                      </a:lnTo>
                      <a:lnTo>
                        <a:pt x="1331" y="472"/>
                      </a:lnTo>
                      <a:lnTo>
                        <a:pt x="1331" y="470"/>
                      </a:lnTo>
                      <a:lnTo>
                        <a:pt x="1331" y="469"/>
                      </a:lnTo>
                      <a:lnTo>
                        <a:pt x="1330" y="469"/>
                      </a:lnTo>
                      <a:lnTo>
                        <a:pt x="1329" y="469"/>
                      </a:lnTo>
                      <a:lnTo>
                        <a:pt x="1329" y="470"/>
                      </a:lnTo>
                      <a:lnTo>
                        <a:pt x="1328" y="470"/>
                      </a:lnTo>
                      <a:lnTo>
                        <a:pt x="1327" y="470"/>
                      </a:lnTo>
                      <a:lnTo>
                        <a:pt x="1327" y="469"/>
                      </a:lnTo>
                      <a:lnTo>
                        <a:pt x="1328" y="469"/>
                      </a:lnTo>
                      <a:lnTo>
                        <a:pt x="1327" y="469"/>
                      </a:lnTo>
                      <a:lnTo>
                        <a:pt x="1326" y="470"/>
                      </a:lnTo>
                      <a:lnTo>
                        <a:pt x="1326" y="472"/>
                      </a:lnTo>
                      <a:lnTo>
                        <a:pt x="1325" y="470"/>
                      </a:lnTo>
                      <a:lnTo>
                        <a:pt x="1324" y="470"/>
                      </a:lnTo>
                      <a:lnTo>
                        <a:pt x="1324" y="472"/>
                      </a:lnTo>
                      <a:lnTo>
                        <a:pt x="1323" y="472"/>
                      </a:lnTo>
                      <a:lnTo>
                        <a:pt x="1322" y="472"/>
                      </a:lnTo>
                      <a:lnTo>
                        <a:pt x="1322" y="473"/>
                      </a:lnTo>
                      <a:lnTo>
                        <a:pt x="1321" y="473"/>
                      </a:lnTo>
                      <a:lnTo>
                        <a:pt x="1321" y="474"/>
                      </a:lnTo>
                      <a:lnTo>
                        <a:pt x="1321" y="475"/>
                      </a:lnTo>
                      <a:lnTo>
                        <a:pt x="1321" y="476"/>
                      </a:lnTo>
                      <a:lnTo>
                        <a:pt x="1319" y="476"/>
                      </a:lnTo>
                      <a:lnTo>
                        <a:pt x="1319" y="477"/>
                      </a:lnTo>
                      <a:lnTo>
                        <a:pt x="1319" y="478"/>
                      </a:lnTo>
                      <a:lnTo>
                        <a:pt x="1319" y="479"/>
                      </a:lnTo>
                      <a:lnTo>
                        <a:pt x="1321" y="480"/>
                      </a:lnTo>
                      <a:lnTo>
                        <a:pt x="1319" y="480"/>
                      </a:lnTo>
                      <a:lnTo>
                        <a:pt x="1319" y="481"/>
                      </a:lnTo>
                      <a:lnTo>
                        <a:pt x="1319" y="482"/>
                      </a:lnTo>
                      <a:lnTo>
                        <a:pt x="1321" y="482"/>
                      </a:lnTo>
                      <a:lnTo>
                        <a:pt x="1321" y="484"/>
                      </a:lnTo>
                      <a:lnTo>
                        <a:pt x="1322" y="484"/>
                      </a:lnTo>
                      <a:lnTo>
                        <a:pt x="1321" y="484"/>
                      </a:lnTo>
                      <a:lnTo>
                        <a:pt x="1319" y="484"/>
                      </a:lnTo>
                      <a:lnTo>
                        <a:pt x="1319" y="485"/>
                      </a:lnTo>
                      <a:lnTo>
                        <a:pt x="1318" y="485"/>
                      </a:lnTo>
                      <a:lnTo>
                        <a:pt x="1318" y="484"/>
                      </a:lnTo>
                      <a:lnTo>
                        <a:pt x="1317" y="484"/>
                      </a:lnTo>
                      <a:lnTo>
                        <a:pt x="1317" y="482"/>
                      </a:lnTo>
                      <a:lnTo>
                        <a:pt x="1318" y="482"/>
                      </a:lnTo>
                      <a:lnTo>
                        <a:pt x="1317" y="482"/>
                      </a:lnTo>
                      <a:lnTo>
                        <a:pt x="1317" y="481"/>
                      </a:lnTo>
                      <a:lnTo>
                        <a:pt x="1316" y="481"/>
                      </a:lnTo>
                      <a:lnTo>
                        <a:pt x="1316" y="480"/>
                      </a:lnTo>
                      <a:lnTo>
                        <a:pt x="1315" y="480"/>
                      </a:lnTo>
                      <a:lnTo>
                        <a:pt x="1315" y="479"/>
                      </a:lnTo>
                      <a:lnTo>
                        <a:pt x="1314" y="478"/>
                      </a:lnTo>
                      <a:lnTo>
                        <a:pt x="1315" y="478"/>
                      </a:lnTo>
                      <a:lnTo>
                        <a:pt x="1316" y="478"/>
                      </a:lnTo>
                      <a:lnTo>
                        <a:pt x="1316" y="479"/>
                      </a:lnTo>
                      <a:lnTo>
                        <a:pt x="1317" y="479"/>
                      </a:lnTo>
                      <a:lnTo>
                        <a:pt x="1317" y="478"/>
                      </a:lnTo>
                      <a:lnTo>
                        <a:pt x="1317" y="477"/>
                      </a:lnTo>
                      <a:lnTo>
                        <a:pt x="1316" y="477"/>
                      </a:lnTo>
                      <a:lnTo>
                        <a:pt x="1317" y="477"/>
                      </a:lnTo>
                      <a:lnTo>
                        <a:pt x="1316" y="477"/>
                      </a:lnTo>
                      <a:lnTo>
                        <a:pt x="1316" y="476"/>
                      </a:lnTo>
                      <a:lnTo>
                        <a:pt x="1316" y="475"/>
                      </a:lnTo>
                      <a:lnTo>
                        <a:pt x="1316" y="474"/>
                      </a:lnTo>
                      <a:lnTo>
                        <a:pt x="1317" y="474"/>
                      </a:lnTo>
                      <a:lnTo>
                        <a:pt x="1317" y="473"/>
                      </a:lnTo>
                      <a:lnTo>
                        <a:pt x="1317" y="472"/>
                      </a:lnTo>
                      <a:lnTo>
                        <a:pt x="1318" y="472"/>
                      </a:lnTo>
                      <a:lnTo>
                        <a:pt x="1317" y="470"/>
                      </a:lnTo>
                      <a:lnTo>
                        <a:pt x="1318" y="469"/>
                      </a:lnTo>
                      <a:lnTo>
                        <a:pt x="1317" y="469"/>
                      </a:lnTo>
                      <a:lnTo>
                        <a:pt x="1317" y="468"/>
                      </a:lnTo>
                      <a:lnTo>
                        <a:pt x="1318" y="467"/>
                      </a:lnTo>
                      <a:lnTo>
                        <a:pt x="1319" y="467"/>
                      </a:lnTo>
                      <a:lnTo>
                        <a:pt x="1321" y="467"/>
                      </a:lnTo>
                      <a:lnTo>
                        <a:pt x="1322" y="467"/>
                      </a:lnTo>
                      <a:lnTo>
                        <a:pt x="1322" y="466"/>
                      </a:lnTo>
                      <a:lnTo>
                        <a:pt x="1323" y="466"/>
                      </a:lnTo>
                      <a:lnTo>
                        <a:pt x="1323" y="465"/>
                      </a:lnTo>
                      <a:lnTo>
                        <a:pt x="1324" y="465"/>
                      </a:lnTo>
                      <a:lnTo>
                        <a:pt x="1324" y="464"/>
                      </a:lnTo>
                      <a:lnTo>
                        <a:pt x="1324" y="465"/>
                      </a:lnTo>
                      <a:lnTo>
                        <a:pt x="1325" y="465"/>
                      </a:lnTo>
                      <a:lnTo>
                        <a:pt x="1325" y="466"/>
                      </a:lnTo>
                      <a:lnTo>
                        <a:pt x="1326" y="467"/>
                      </a:lnTo>
                      <a:close/>
                      <a:moveTo>
                        <a:pt x="1271" y="482"/>
                      </a:moveTo>
                      <a:lnTo>
                        <a:pt x="1271" y="484"/>
                      </a:lnTo>
                      <a:lnTo>
                        <a:pt x="1271" y="482"/>
                      </a:lnTo>
                      <a:lnTo>
                        <a:pt x="1271" y="484"/>
                      </a:lnTo>
                      <a:lnTo>
                        <a:pt x="1272" y="484"/>
                      </a:lnTo>
                      <a:lnTo>
                        <a:pt x="1272" y="485"/>
                      </a:lnTo>
                      <a:lnTo>
                        <a:pt x="1273" y="485"/>
                      </a:lnTo>
                      <a:lnTo>
                        <a:pt x="1274" y="485"/>
                      </a:lnTo>
                      <a:lnTo>
                        <a:pt x="1275" y="485"/>
                      </a:lnTo>
                      <a:lnTo>
                        <a:pt x="1276" y="485"/>
                      </a:lnTo>
                      <a:lnTo>
                        <a:pt x="1277" y="485"/>
                      </a:lnTo>
                      <a:lnTo>
                        <a:pt x="1278" y="485"/>
                      </a:lnTo>
                      <a:lnTo>
                        <a:pt x="1279" y="486"/>
                      </a:lnTo>
                      <a:lnTo>
                        <a:pt x="1280" y="486"/>
                      </a:lnTo>
                      <a:lnTo>
                        <a:pt x="1280" y="485"/>
                      </a:lnTo>
                      <a:lnTo>
                        <a:pt x="1282" y="485"/>
                      </a:lnTo>
                      <a:lnTo>
                        <a:pt x="1282" y="486"/>
                      </a:lnTo>
                      <a:lnTo>
                        <a:pt x="1282" y="487"/>
                      </a:lnTo>
                      <a:lnTo>
                        <a:pt x="1282" y="486"/>
                      </a:lnTo>
                      <a:lnTo>
                        <a:pt x="1283" y="487"/>
                      </a:lnTo>
                      <a:lnTo>
                        <a:pt x="1284" y="487"/>
                      </a:lnTo>
                      <a:lnTo>
                        <a:pt x="1285" y="487"/>
                      </a:lnTo>
                      <a:lnTo>
                        <a:pt x="1285" y="488"/>
                      </a:lnTo>
                      <a:lnTo>
                        <a:pt x="1284" y="488"/>
                      </a:lnTo>
                      <a:lnTo>
                        <a:pt x="1285" y="488"/>
                      </a:lnTo>
                      <a:lnTo>
                        <a:pt x="1285" y="487"/>
                      </a:lnTo>
                      <a:lnTo>
                        <a:pt x="1286" y="487"/>
                      </a:lnTo>
                      <a:lnTo>
                        <a:pt x="1285" y="488"/>
                      </a:lnTo>
                      <a:lnTo>
                        <a:pt x="1284" y="489"/>
                      </a:lnTo>
                      <a:lnTo>
                        <a:pt x="1283" y="489"/>
                      </a:lnTo>
                      <a:lnTo>
                        <a:pt x="1282" y="488"/>
                      </a:lnTo>
                      <a:lnTo>
                        <a:pt x="1280" y="489"/>
                      </a:lnTo>
                      <a:lnTo>
                        <a:pt x="1279" y="489"/>
                      </a:lnTo>
                      <a:lnTo>
                        <a:pt x="1277" y="489"/>
                      </a:lnTo>
                      <a:lnTo>
                        <a:pt x="1276" y="489"/>
                      </a:lnTo>
                      <a:lnTo>
                        <a:pt x="1274" y="490"/>
                      </a:lnTo>
                      <a:lnTo>
                        <a:pt x="1274" y="491"/>
                      </a:lnTo>
                      <a:lnTo>
                        <a:pt x="1273" y="491"/>
                      </a:lnTo>
                      <a:lnTo>
                        <a:pt x="1273" y="492"/>
                      </a:lnTo>
                      <a:lnTo>
                        <a:pt x="1272" y="492"/>
                      </a:lnTo>
                      <a:lnTo>
                        <a:pt x="1272" y="493"/>
                      </a:lnTo>
                      <a:lnTo>
                        <a:pt x="1271" y="492"/>
                      </a:lnTo>
                      <a:lnTo>
                        <a:pt x="1271" y="491"/>
                      </a:lnTo>
                      <a:lnTo>
                        <a:pt x="1272" y="490"/>
                      </a:lnTo>
                      <a:lnTo>
                        <a:pt x="1272" y="489"/>
                      </a:lnTo>
                      <a:lnTo>
                        <a:pt x="1271" y="488"/>
                      </a:lnTo>
                      <a:lnTo>
                        <a:pt x="1272" y="488"/>
                      </a:lnTo>
                      <a:lnTo>
                        <a:pt x="1272" y="487"/>
                      </a:lnTo>
                      <a:lnTo>
                        <a:pt x="1272" y="488"/>
                      </a:lnTo>
                      <a:lnTo>
                        <a:pt x="1271" y="488"/>
                      </a:lnTo>
                      <a:lnTo>
                        <a:pt x="1270" y="488"/>
                      </a:lnTo>
                      <a:lnTo>
                        <a:pt x="1268" y="488"/>
                      </a:lnTo>
                      <a:lnTo>
                        <a:pt x="1268" y="489"/>
                      </a:lnTo>
                      <a:lnTo>
                        <a:pt x="1268" y="488"/>
                      </a:lnTo>
                      <a:lnTo>
                        <a:pt x="1268" y="487"/>
                      </a:lnTo>
                      <a:lnTo>
                        <a:pt x="1267" y="487"/>
                      </a:lnTo>
                      <a:lnTo>
                        <a:pt x="1267" y="486"/>
                      </a:lnTo>
                      <a:lnTo>
                        <a:pt x="1266" y="486"/>
                      </a:lnTo>
                      <a:lnTo>
                        <a:pt x="1266" y="485"/>
                      </a:lnTo>
                      <a:lnTo>
                        <a:pt x="1265" y="485"/>
                      </a:lnTo>
                      <a:lnTo>
                        <a:pt x="1265" y="484"/>
                      </a:lnTo>
                      <a:lnTo>
                        <a:pt x="1265" y="482"/>
                      </a:lnTo>
                      <a:lnTo>
                        <a:pt x="1266" y="482"/>
                      </a:lnTo>
                      <a:lnTo>
                        <a:pt x="1266" y="481"/>
                      </a:lnTo>
                      <a:lnTo>
                        <a:pt x="1266" y="480"/>
                      </a:lnTo>
                      <a:lnTo>
                        <a:pt x="1267" y="480"/>
                      </a:lnTo>
                      <a:lnTo>
                        <a:pt x="1267" y="479"/>
                      </a:lnTo>
                      <a:lnTo>
                        <a:pt x="1267" y="480"/>
                      </a:lnTo>
                      <a:lnTo>
                        <a:pt x="1268" y="480"/>
                      </a:lnTo>
                      <a:lnTo>
                        <a:pt x="1268" y="481"/>
                      </a:lnTo>
                      <a:lnTo>
                        <a:pt x="1270" y="482"/>
                      </a:lnTo>
                      <a:lnTo>
                        <a:pt x="1271" y="482"/>
                      </a:lnTo>
                      <a:close/>
                      <a:moveTo>
                        <a:pt x="1384" y="477"/>
                      </a:moveTo>
                      <a:lnTo>
                        <a:pt x="1386" y="477"/>
                      </a:lnTo>
                      <a:lnTo>
                        <a:pt x="1386" y="478"/>
                      </a:lnTo>
                      <a:lnTo>
                        <a:pt x="1384" y="478"/>
                      </a:lnTo>
                      <a:lnTo>
                        <a:pt x="1384" y="479"/>
                      </a:lnTo>
                      <a:lnTo>
                        <a:pt x="1384" y="480"/>
                      </a:lnTo>
                      <a:lnTo>
                        <a:pt x="1384" y="481"/>
                      </a:lnTo>
                      <a:lnTo>
                        <a:pt x="1383" y="482"/>
                      </a:lnTo>
                      <a:lnTo>
                        <a:pt x="1382" y="482"/>
                      </a:lnTo>
                      <a:lnTo>
                        <a:pt x="1381" y="482"/>
                      </a:lnTo>
                      <a:lnTo>
                        <a:pt x="1381" y="484"/>
                      </a:lnTo>
                      <a:lnTo>
                        <a:pt x="1381" y="485"/>
                      </a:lnTo>
                      <a:lnTo>
                        <a:pt x="1381" y="486"/>
                      </a:lnTo>
                      <a:lnTo>
                        <a:pt x="1380" y="486"/>
                      </a:lnTo>
                      <a:lnTo>
                        <a:pt x="1380" y="488"/>
                      </a:lnTo>
                      <a:lnTo>
                        <a:pt x="1380" y="489"/>
                      </a:lnTo>
                      <a:lnTo>
                        <a:pt x="1380" y="490"/>
                      </a:lnTo>
                      <a:lnTo>
                        <a:pt x="1381" y="490"/>
                      </a:lnTo>
                      <a:lnTo>
                        <a:pt x="1382" y="490"/>
                      </a:lnTo>
                      <a:lnTo>
                        <a:pt x="1382" y="491"/>
                      </a:lnTo>
                      <a:lnTo>
                        <a:pt x="1383" y="491"/>
                      </a:lnTo>
                      <a:lnTo>
                        <a:pt x="1384" y="491"/>
                      </a:lnTo>
                      <a:lnTo>
                        <a:pt x="1383" y="491"/>
                      </a:lnTo>
                      <a:lnTo>
                        <a:pt x="1383" y="492"/>
                      </a:lnTo>
                      <a:lnTo>
                        <a:pt x="1383" y="493"/>
                      </a:lnTo>
                      <a:lnTo>
                        <a:pt x="1383" y="494"/>
                      </a:lnTo>
                      <a:lnTo>
                        <a:pt x="1383" y="493"/>
                      </a:lnTo>
                      <a:lnTo>
                        <a:pt x="1382" y="492"/>
                      </a:lnTo>
                      <a:lnTo>
                        <a:pt x="1381" y="491"/>
                      </a:lnTo>
                      <a:lnTo>
                        <a:pt x="1381" y="490"/>
                      </a:lnTo>
                      <a:lnTo>
                        <a:pt x="1380" y="490"/>
                      </a:lnTo>
                      <a:lnTo>
                        <a:pt x="1380" y="489"/>
                      </a:lnTo>
                      <a:lnTo>
                        <a:pt x="1379" y="489"/>
                      </a:lnTo>
                      <a:lnTo>
                        <a:pt x="1378" y="488"/>
                      </a:lnTo>
                      <a:lnTo>
                        <a:pt x="1378" y="487"/>
                      </a:lnTo>
                      <a:lnTo>
                        <a:pt x="1379" y="487"/>
                      </a:lnTo>
                      <a:lnTo>
                        <a:pt x="1379" y="486"/>
                      </a:lnTo>
                      <a:lnTo>
                        <a:pt x="1380" y="485"/>
                      </a:lnTo>
                      <a:lnTo>
                        <a:pt x="1380" y="484"/>
                      </a:lnTo>
                      <a:lnTo>
                        <a:pt x="1380" y="482"/>
                      </a:lnTo>
                      <a:lnTo>
                        <a:pt x="1380" y="484"/>
                      </a:lnTo>
                      <a:lnTo>
                        <a:pt x="1379" y="485"/>
                      </a:lnTo>
                      <a:lnTo>
                        <a:pt x="1379" y="486"/>
                      </a:lnTo>
                      <a:lnTo>
                        <a:pt x="1378" y="487"/>
                      </a:lnTo>
                      <a:lnTo>
                        <a:pt x="1377" y="487"/>
                      </a:lnTo>
                      <a:lnTo>
                        <a:pt x="1378" y="488"/>
                      </a:lnTo>
                      <a:lnTo>
                        <a:pt x="1377" y="488"/>
                      </a:lnTo>
                      <a:lnTo>
                        <a:pt x="1377" y="487"/>
                      </a:lnTo>
                      <a:lnTo>
                        <a:pt x="1377" y="486"/>
                      </a:lnTo>
                      <a:lnTo>
                        <a:pt x="1378" y="486"/>
                      </a:lnTo>
                      <a:lnTo>
                        <a:pt x="1378" y="485"/>
                      </a:lnTo>
                      <a:lnTo>
                        <a:pt x="1378" y="484"/>
                      </a:lnTo>
                      <a:lnTo>
                        <a:pt x="1378" y="482"/>
                      </a:lnTo>
                      <a:lnTo>
                        <a:pt x="1378" y="481"/>
                      </a:lnTo>
                      <a:lnTo>
                        <a:pt x="1378" y="480"/>
                      </a:lnTo>
                      <a:lnTo>
                        <a:pt x="1377" y="479"/>
                      </a:lnTo>
                      <a:lnTo>
                        <a:pt x="1376" y="479"/>
                      </a:lnTo>
                      <a:lnTo>
                        <a:pt x="1377" y="479"/>
                      </a:lnTo>
                      <a:lnTo>
                        <a:pt x="1377" y="478"/>
                      </a:lnTo>
                      <a:lnTo>
                        <a:pt x="1377" y="477"/>
                      </a:lnTo>
                      <a:lnTo>
                        <a:pt x="1376" y="477"/>
                      </a:lnTo>
                      <a:lnTo>
                        <a:pt x="1375" y="478"/>
                      </a:lnTo>
                      <a:lnTo>
                        <a:pt x="1375" y="477"/>
                      </a:lnTo>
                      <a:lnTo>
                        <a:pt x="1376" y="477"/>
                      </a:lnTo>
                      <a:lnTo>
                        <a:pt x="1377" y="477"/>
                      </a:lnTo>
                      <a:lnTo>
                        <a:pt x="1377" y="476"/>
                      </a:lnTo>
                      <a:lnTo>
                        <a:pt x="1377" y="475"/>
                      </a:lnTo>
                      <a:lnTo>
                        <a:pt x="1377" y="474"/>
                      </a:lnTo>
                      <a:lnTo>
                        <a:pt x="1376" y="474"/>
                      </a:lnTo>
                      <a:lnTo>
                        <a:pt x="1377" y="474"/>
                      </a:lnTo>
                      <a:lnTo>
                        <a:pt x="1378" y="474"/>
                      </a:lnTo>
                      <a:lnTo>
                        <a:pt x="1379" y="475"/>
                      </a:lnTo>
                      <a:lnTo>
                        <a:pt x="1378" y="475"/>
                      </a:lnTo>
                      <a:lnTo>
                        <a:pt x="1378" y="476"/>
                      </a:lnTo>
                      <a:lnTo>
                        <a:pt x="1378" y="477"/>
                      </a:lnTo>
                      <a:lnTo>
                        <a:pt x="1379" y="477"/>
                      </a:lnTo>
                      <a:lnTo>
                        <a:pt x="1380" y="477"/>
                      </a:lnTo>
                      <a:lnTo>
                        <a:pt x="1381" y="477"/>
                      </a:lnTo>
                      <a:lnTo>
                        <a:pt x="1381" y="476"/>
                      </a:lnTo>
                      <a:lnTo>
                        <a:pt x="1381" y="475"/>
                      </a:lnTo>
                      <a:lnTo>
                        <a:pt x="1380" y="474"/>
                      </a:lnTo>
                      <a:lnTo>
                        <a:pt x="1380" y="473"/>
                      </a:lnTo>
                      <a:lnTo>
                        <a:pt x="1381" y="473"/>
                      </a:lnTo>
                      <a:lnTo>
                        <a:pt x="1382" y="474"/>
                      </a:lnTo>
                      <a:lnTo>
                        <a:pt x="1383" y="474"/>
                      </a:lnTo>
                      <a:lnTo>
                        <a:pt x="1384" y="474"/>
                      </a:lnTo>
                      <a:lnTo>
                        <a:pt x="1384" y="475"/>
                      </a:lnTo>
                      <a:lnTo>
                        <a:pt x="1386" y="475"/>
                      </a:lnTo>
                      <a:lnTo>
                        <a:pt x="1386" y="476"/>
                      </a:lnTo>
                      <a:lnTo>
                        <a:pt x="1386" y="477"/>
                      </a:lnTo>
                      <a:lnTo>
                        <a:pt x="1384" y="477"/>
                      </a:lnTo>
                      <a:close/>
                      <a:moveTo>
                        <a:pt x="1323" y="602"/>
                      </a:moveTo>
                      <a:lnTo>
                        <a:pt x="1323" y="603"/>
                      </a:lnTo>
                      <a:lnTo>
                        <a:pt x="1322" y="603"/>
                      </a:lnTo>
                      <a:lnTo>
                        <a:pt x="1322" y="604"/>
                      </a:lnTo>
                      <a:lnTo>
                        <a:pt x="1321" y="604"/>
                      </a:lnTo>
                      <a:lnTo>
                        <a:pt x="1321" y="605"/>
                      </a:lnTo>
                      <a:lnTo>
                        <a:pt x="1319" y="606"/>
                      </a:lnTo>
                      <a:lnTo>
                        <a:pt x="1319" y="607"/>
                      </a:lnTo>
                      <a:lnTo>
                        <a:pt x="1319" y="608"/>
                      </a:lnTo>
                      <a:lnTo>
                        <a:pt x="1321" y="608"/>
                      </a:lnTo>
                      <a:lnTo>
                        <a:pt x="1322" y="608"/>
                      </a:lnTo>
                      <a:lnTo>
                        <a:pt x="1323" y="608"/>
                      </a:lnTo>
                      <a:lnTo>
                        <a:pt x="1323" y="607"/>
                      </a:lnTo>
                      <a:lnTo>
                        <a:pt x="1324" y="606"/>
                      </a:lnTo>
                      <a:lnTo>
                        <a:pt x="1325" y="606"/>
                      </a:lnTo>
                      <a:lnTo>
                        <a:pt x="1326" y="606"/>
                      </a:lnTo>
                      <a:lnTo>
                        <a:pt x="1327" y="606"/>
                      </a:lnTo>
                      <a:lnTo>
                        <a:pt x="1327" y="605"/>
                      </a:lnTo>
                      <a:lnTo>
                        <a:pt x="1328" y="605"/>
                      </a:lnTo>
                      <a:lnTo>
                        <a:pt x="1329" y="605"/>
                      </a:lnTo>
                      <a:lnTo>
                        <a:pt x="1328" y="606"/>
                      </a:lnTo>
                      <a:lnTo>
                        <a:pt x="1327" y="606"/>
                      </a:lnTo>
                      <a:lnTo>
                        <a:pt x="1327" y="607"/>
                      </a:lnTo>
                      <a:lnTo>
                        <a:pt x="1326" y="607"/>
                      </a:lnTo>
                      <a:lnTo>
                        <a:pt x="1326" y="608"/>
                      </a:lnTo>
                      <a:lnTo>
                        <a:pt x="1326" y="609"/>
                      </a:lnTo>
                      <a:lnTo>
                        <a:pt x="1327" y="609"/>
                      </a:lnTo>
                      <a:lnTo>
                        <a:pt x="1328" y="609"/>
                      </a:lnTo>
                      <a:lnTo>
                        <a:pt x="1329" y="609"/>
                      </a:lnTo>
                      <a:lnTo>
                        <a:pt x="1329" y="608"/>
                      </a:lnTo>
                      <a:lnTo>
                        <a:pt x="1328" y="608"/>
                      </a:lnTo>
                      <a:lnTo>
                        <a:pt x="1328" y="607"/>
                      </a:lnTo>
                      <a:lnTo>
                        <a:pt x="1329" y="607"/>
                      </a:lnTo>
                      <a:lnTo>
                        <a:pt x="1330" y="607"/>
                      </a:lnTo>
                      <a:lnTo>
                        <a:pt x="1330" y="606"/>
                      </a:lnTo>
                      <a:lnTo>
                        <a:pt x="1331" y="606"/>
                      </a:lnTo>
                      <a:lnTo>
                        <a:pt x="1331" y="607"/>
                      </a:lnTo>
                      <a:lnTo>
                        <a:pt x="1330" y="607"/>
                      </a:lnTo>
                      <a:lnTo>
                        <a:pt x="1330" y="608"/>
                      </a:lnTo>
                      <a:lnTo>
                        <a:pt x="1331" y="608"/>
                      </a:lnTo>
                      <a:lnTo>
                        <a:pt x="1331" y="607"/>
                      </a:lnTo>
                      <a:lnTo>
                        <a:pt x="1332" y="607"/>
                      </a:lnTo>
                      <a:lnTo>
                        <a:pt x="1332" y="608"/>
                      </a:lnTo>
                      <a:lnTo>
                        <a:pt x="1334" y="608"/>
                      </a:lnTo>
                      <a:lnTo>
                        <a:pt x="1335" y="608"/>
                      </a:lnTo>
                      <a:lnTo>
                        <a:pt x="1334" y="608"/>
                      </a:lnTo>
                      <a:lnTo>
                        <a:pt x="1334" y="609"/>
                      </a:lnTo>
                      <a:lnTo>
                        <a:pt x="1334" y="610"/>
                      </a:lnTo>
                      <a:lnTo>
                        <a:pt x="1335" y="610"/>
                      </a:lnTo>
                      <a:lnTo>
                        <a:pt x="1334" y="610"/>
                      </a:lnTo>
                      <a:lnTo>
                        <a:pt x="1332" y="610"/>
                      </a:lnTo>
                      <a:lnTo>
                        <a:pt x="1331" y="610"/>
                      </a:lnTo>
                      <a:lnTo>
                        <a:pt x="1330" y="610"/>
                      </a:lnTo>
                      <a:lnTo>
                        <a:pt x="1330" y="611"/>
                      </a:lnTo>
                      <a:lnTo>
                        <a:pt x="1331" y="611"/>
                      </a:lnTo>
                      <a:lnTo>
                        <a:pt x="1330" y="613"/>
                      </a:lnTo>
                      <a:lnTo>
                        <a:pt x="1329" y="613"/>
                      </a:lnTo>
                      <a:lnTo>
                        <a:pt x="1330" y="613"/>
                      </a:lnTo>
                      <a:lnTo>
                        <a:pt x="1329" y="614"/>
                      </a:lnTo>
                      <a:lnTo>
                        <a:pt x="1329" y="615"/>
                      </a:lnTo>
                      <a:lnTo>
                        <a:pt x="1328" y="614"/>
                      </a:lnTo>
                      <a:lnTo>
                        <a:pt x="1327" y="614"/>
                      </a:lnTo>
                      <a:lnTo>
                        <a:pt x="1327" y="613"/>
                      </a:lnTo>
                      <a:lnTo>
                        <a:pt x="1327" y="611"/>
                      </a:lnTo>
                      <a:lnTo>
                        <a:pt x="1327" y="613"/>
                      </a:lnTo>
                      <a:lnTo>
                        <a:pt x="1328" y="613"/>
                      </a:lnTo>
                      <a:lnTo>
                        <a:pt x="1327" y="611"/>
                      </a:lnTo>
                      <a:lnTo>
                        <a:pt x="1328" y="611"/>
                      </a:lnTo>
                      <a:lnTo>
                        <a:pt x="1328" y="610"/>
                      </a:lnTo>
                      <a:lnTo>
                        <a:pt x="1327" y="611"/>
                      </a:lnTo>
                      <a:lnTo>
                        <a:pt x="1327" y="610"/>
                      </a:lnTo>
                      <a:lnTo>
                        <a:pt x="1326" y="609"/>
                      </a:lnTo>
                      <a:lnTo>
                        <a:pt x="1325" y="609"/>
                      </a:lnTo>
                      <a:lnTo>
                        <a:pt x="1324" y="608"/>
                      </a:lnTo>
                      <a:lnTo>
                        <a:pt x="1324" y="609"/>
                      </a:lnTo>
                      <a:lnTo>
                        <a:pt x="1323" y="609"/>
                      </a:lnTo>
                      <a:lnTo>
                        <a:pt x="1322" y="609"/>
                      </a:lnTo>
                      <a:lnTo>
                        <a:pt x="1322" y="610"/>
                      </a:lnTo>
                      <a:lnTo>
                        <a:pt x="1321" y="610"/>
                      </a:lnTo>
                      <a:lnTo>
                        <a:pt x="1321" y="609"/>
                      </a:lnTo>
                      <a:lnTo>
                        <a:pt x="1319" y="609"/>
                      </a:lnTo>
                      <a:lnTo>
                        <a:pt x="1318" y="609"/>
                      </a:lnTo>
                      <a:lnTo>
                        <a:pt x="1317" y="609"/>
                      </a:lnTo>
                      <a:lnTo>
                        <a:pt x="1317" y="608"/>
                      </a:lnTo>
                      <a:lnTo>
                        <a:pt x="1316" y="608"/>
                      </a:lnTo>
                      <a:lnTo>
                        <a:pt x="1316" y="607"/>
                      </a:lnTo>
                      <a:lnTo>
                        <a:pt x="1315" y="607"/>
                      </a:lnTo>
                      <a:lnTo>
                        <a:pt x="1314" y="607"/>
                      </a:lnTo>
                      <a:lnTo>
                        <a:pt x="1314" y="606"/>
                      </a:lnTo>
                      <a:lnTo>
                        <a:pt x="1314" y="605"/>
                      </a:lnTo>
                      <a:lnTo>
                        <a:pt x="1313" y="604"/>
                      </a:lnTo>
                      <a:lnTo>
                        <a:pt x="1314" y="604"/>
                      </a:lnTo>
                      <a:lnTo>
                        <a:pt x="1315" y="604"/>
                      </a:lnTo>
                      <a:lnTo>
                        <a:pt x="1316" y="604"/>
                      </a:lnTo>
                      <a:lnTo>
                        <a:pt x="1318" y="603"/>
                      </a:lnTo>
                      <a:lnTo>
                        <a:pt x="1319" y="603"/>
                      </a:lnTo>
                      <a:lnTo>
                        <a:pt x="1321" y="603"/>
                      </a:lnTo>
                      <a:lnTo>
                        <a:pt x="1322" y="603"/>
                      </a:lnTo>
                      <a:lnTo>
                        <a:pt x="1321" y="603"/>
                      </a:lnTo>
                      <a:lnTo>
                        <a:pt x="1322" y="603"/>
                      </a:lnTo>
                      <a:lnTo>
                        <a:pt x="1323" y="603"/>
                      </a:lnTo>
                      <a:lnTo>
                        <a:pt x="1323" y="602"/>
                      </a:lnTo>
                      <a:lnTo>
                        <a:pt x="1324" y="602"/>
                      </a:lnTo>
                      <a:lnTo>
                        <a:pt x="1323" y="602"/>
                      </a:lnTo>
                      <a:close/>
                      <a:moveTo>
                        <a:pt x="1311" y="575"/>
                      </a:moveTo>
                      <a:lnTo>
                        <a:pt x="1312" y="575"/>
                      </a:lnTo>
                      <a:lnTo>
                        <a:pt x="1312" y="576"/>
                      </a:lnTo>
                      <a:lnTo>
                        <a:pt x="1312" y="577"/>
                      </a:lnTo>
                      <a:lnTo>
                        <a:pt x="1311" y="577"/>
                      </a:lnTo>
                      <a:lnTo>
                        <a:pt x="1311" y="578"/>
                      </a:lnTo>
                      <a:lnTo>
                        <a:pt x="1311" y="579"/>
                      </a:lnTo>
                      <a:lnTo>
                        <a:pt x="1310" y="580"/>
                      </a:lnTo>
                      <a:lnTo>
                        <a:pt x="1309" y="580"/>
                      </a:lnTo>
                      <a:lnTo>
                        <a:pt x="1308" y="581"/>
                      </a:lnTo>
                      <a:lnTo>
                        <a:pt x="1306" y="582"/>
                      </a:lnTo>
                      <a:lnTo>
                        <a:pt x="1306" y="584"/>
                      </a:lnTo>
                      <a:lnTo>
                        <a:pt x="1306" y="585"/>
                      </a:lnTo>
                      <a:lnTo>
                        <a:pt x="1306" y="584"/>
                      </a:lnTo>
                      <a:lnTo>
                        <a:pt x="1308" y="584"/>
                      </a:lnTo>
                      <a:lnTo>
                        <a:pt x="1308" y="585"/>
                      </a:lnTo>
                      <a:lnTo>
                        <a:pt x="1308" y="587"/>
                      </a:lnTo>
                      <a:lnTo>
                        <a:pt x="1306" y="587"/>
                      </a:lnTo>
                      <a:lnTo>
                        <a:pt x="1305" y="588"/>
                      </a:lnTo>
                      <a:lnTo>
                        <a:pt x="1305" y="587"/>
                      </a:lnTo>
                      <a:lnTo>
                        <a:pt x="1305" y="588"/>
                      </a:lnTo>
                      <a:lnTo>
                        <a:pt x="1306" y="587"/>
                      </a:lnTo>
                      <a:lnTo>
                        <a:pt x="1308" y="587"/>
                      </a:lnTo>
                      <a:lnTo>
                        <a:pt x="1308" y="585"/>
                      </a:lnTo>
                      <a:lnTo>
                        <a:pt x="1308" y="584"/>
                      </a:lnTo>
                      <a:lnTo>
                        <a:pt x="1309" y="584"/>
                      </a:lnTo>
                      <a:lnTo>
                        <a:pt x="1309" y="585"/>
                      </a:lnTo>
                      <a:lnTo>
                        <a:pt x="1310" y="585"/>
                      </a:lnTo>
                      <a:lnTo>
                        <a:pt x="1310" y="587"/>
                      </a:lnTo>
                      <a:lnTo>
                        <a:pt x="1311" y="587"/>
                      </a:lnTo>
                      <a:lnTo>
                        <a:pt x="1312" y="587"/>
                      </a:lnTo>
                      <a:lnTo>
                        <a:pt x="1312" y="588"/>
                      </a:lnTo>
                      <a:lnTo>
                        <a:pt x="1312" y="589"/>
                      </a:lnTo>
                      <a:lnTo>
                        <a:pt x="1311" y="589"/>
                      </a:lnTo>
                      <a:lnTo>
                        <a:pt x="1310" y="589"/>
                      </a:lnTo>
                      <a:lnTo>
                        <a:pt x="1310" y="590"/>
                      </a:lnTo>
                      <a:lnTo>
                        <a:pt x="1309" y="590"/>
                      </a:lnTo>
                      <a:lnTo>
                        <a:pt x="1308" y="590"/>
                      </a:lnTo>
                      <a:lnTo>
                        <a:pt x="1306" y="590"/>
                      </a:lnTo>
                      <a:lnTo>
                        <a:pt x="1306" y="591"/>
                      </a:lnTo>
                      <a:lnTo>
                        <a:pt x="1306" y="592"/>
                      </a:lnTo>
                      <a:lnTo>
                        <a:pt x="1305" y="592"/>
                      </a:lnTo>
                      <a:lnTo>
                        <a:pt x="1305" y="593"/>
                      </a:lnTo>
                      <a:lnTo>
                        <a:pt x="1305" y="594"/>
                      </a:lnTo>
                      <a:lnTo>
                        <a:pt x="1306" y="595"/>
                      </a:lnTo>
                      <a:lnTo>
                        <a:pt x="1306" y="596"/>
                      </a:lnTo>
                      <a:lnTo>
                        <a:pt x="1305" y="595"/>
                      </a:lnTo>
                      <a:lnTo>
                        <a:pt x="1304" y="595"/>
                      </a:lnTo>
                      <a:lnTo>
                        <a:pt x="1303" y="595"/>
                      </a:lnTo>
                      <a:lnTo>
                        <a:pt x="1303" y="594"/>
                      </a:lnTo>
                      <a:lnTo>
                        <a:pt x="1302" y="594"/>
                      </a:lnTo>
                      <a:lnTo>
                        <a:pt x="1302" y="595"/>
                      </a:lnTo>
                      <a:lnTo>
                        <a:pt x="1301" y="595"/>
                      </a:lnTo>
                      <a:lnTo>
                        <a:pt x="1300" y="595"/>
                      </a:lnTo>
                      <a:lnTo>
                        <a:pt x="1300" y="594"/>
                      </a:lnTo>
                      <a:lnTo>
                        <a:pt x="1300" y="593"/>
                      </a:lnTo>
                      <a:lnTo>
                        <a:pt x="1301" y="593"/>
                      </a:lnTo>
                      <a:lnTo>
                        <a:pt x="1302" y="593"/>
                      </a:lnTo>
                      <a:lnTo>
                        <a:pt x="1302" y="592"/>
                      </a:lnTo>
                      <a:lnTo>
                        <a:pt x="1302" y="591"/>
                      </a:lnTo>
                      <a:lnTo>
                        <a:pt x="1303" y="591"/>
                      </a:lnTo>
                      <a:lnTo>
                        <a:pt x="1303" y="590"/>
                      </a:lnTo>
                      <a:lnTo>
                        <a:pt x="1304" y="590"/>
                      </a:lnTo>
                      <a:lnTo>
                        <a:pt x="1304" y="589"/>
                      </a:lnTo>
                      <a:lnTo>
                        <a:pt x="1303" y="590"/>
                      </a:lnTo>
                      <a:lnTo>
                        <a:pt x="1304" y="590"/>
                      </a:lnTo>
                      <a:lnTo>
                        <a:pt x="1303" y="590"/>
                      </a:lnTo>
                      <a:lnTo>
                        <a:pt x="1303" y="591"/>
                      </a:lnTo>
                      <a:lnTo>
                        <a:pt x="1302" y="591"/>
                      </a:lnTo>
                      <a:lnTo>
                        <a:pt x="1302" y="590"/>
                      </a:lnTo>
                      <a:lnTo>
                        <a:pt x="1302" y="589"/>
                      </a:lnTo>
                      <a:lnTo>
                        <a:pt x="1303" y="589"/>
                      </a:lnTo>
                      <a:lnTo>
                        <a:pt x="1304" y="589"/>
                      </a:lnTo>
                      <a:lnTo>
                        <a:pt x="1304" y="588"/>
                      </a:lnTo>
                      <a:lnTo>
                        <a:pt x="1304" y="587"/>
                      </a:lnTo>
                      <a:lnTo>
                        <a:pt x="1304" y="585"/>
                      </a:lnTo>
                      <a:lnTo>
                        <a:pt x="1304" y="584"/>
                      </a:lnTo>
                      <a:lnTo>
                        <a:pt x="1304" y="583"/>
                      </a:lnTo>
                      <a:lnTo>
                        <a:pt x="1305" y="583"/>
                      </a:lnTo>
                      <a:lnTo>
                        <a:pt x="1305" y="582"/>
                      </a:lnTo>
                      <a:lnTo>
                        <a:pt x="1305" y="581"/>
                      </a:lnTo>
                      <a:lnTo>
                        <a:pt x="1306" y="581"/>
                      </a:lnTo>
                      <a:lnTo>
                        <a:pt x="1306" y="580"/>
                      </a:lnTo>
                      <a:lnTo>
                        <a:pt x="1308" y="580"/>
                      </a:lnTo>
                      <a:lnTo>
                        <a:pt x="1308" y="579"/>
                      </a:lnTo>
                      <a:lnTo>
                        <a:pt x="1308" y="578"/>
                      </a:lnTo>
                      <a:lnTo>
                        <a:pt x="1306" y="578"/>
                      </a:lnTo>
                      <a:lnTo>
                        <a:pt x="1306" y="577"/>
                      </a:lnTo>
                      <a:lnTo>
                        <a:pt x="1308" y="577"/>
                      </a:lnTo>
                      <a:lnTo>
                        <a:pt x="1309" y="577"/>
                      </a:lnTo>
                      <a:lnTo>
                        <a:pt x="1310" y="577"/>
                      </a:lnTo>
                      <a:lnTo>
                        <a:pt x="1311" y="577"/>
                      </a:lnTo>
                      <a:lnTo>
                        <a:pt x="1311" y="576"/>
                      </a:lnTo>
                      <a:lnTo>
                        <a:pt x="1311" y="575"/>
                      </a:lnTo>
                      <a:close/>
                      <a:moveTo>
                        <a:pt x="1210" y="664"/>
                      </a:moveTo>
                      <a:lnTo>
                        <a:pt x="1211" y="665"/>
                      </a:lnTo>
                      <a:lnTo>
                        <a:pt x="1211" y="666"/>
                      </a:lnTo>
                      <a:lnTo>
                        <a:pt x="1210" y="666"/>
                      </a:lnTo>
                      <a:lnTo>
                        <a:pt x="1210" y="667"/>
                      </a:lnTo>
                      <a:lnTo>
                        <a:pt x="1210" y="668"/>
                      </a:lnTo>
                      <a:lnTo>
                        <a:pt x="1211" y="668"/>
                      </a:lnTo>
                      <a:lnTo>
                        <a:pt x="1211" y="669"/>
                      </a:lnTo>
                      <a:lnTo>
                        <a:pt x="1211" y="670"/>
                      </a:lnTo>
                      <a:lnTo>
                        <a:pt x="1212" y="670"/>
                      </a:lnTo>
                      <a:lnTo>
                        <a:pt x="1211" y="670"/>
                      </a:lnTo>
                      <a:lnTo>
                        <a:pt x="1210" y="670"/>
                      </a:lnTo>
                      <a:lnTo>
                        <a:pt x="1210" y="671"/>
                      </a:lnTo>
                      <a:lnTo>
                        <a:pt x="1210" y="672"/>
                      </a:lnTo>
                      <a:lnTo>
                        <a:pt x="1210" y="673"/>
                      </a:lnTo>
                      <a:lnTo>
                        <a:pt x="1211" y="673"/>
                      </a:lnTo>
                      <a:lnTo>
                        <a:pt x="1210" y="674"/>
                      </a:lnTo>
                      <a:lnTo>
                        <a:pt x="1210" y="673"/>
                      </a:lnTo>
                      <a:lnTo>
                        <a:pt x="1209" y="673"/>
                      </a:lnTo>
                      <a:lnTo>
                        <a:pt x="1209" y="674"/>
                      </a:lnTo>
                      <a:lnTo>
                        <a:pt x="1210" y="674"/>
                      </a:lnTo>
                      <a:lnTo>
                        <a:pt x="1209" y="674"/>
                      </a:lnTo>
                      <a:lnTo>
                        <a:pt x="1208" y="674"/>
                      </a:lnTo>
                      <a:lnTo>
                        <a:pt x="1208" y="673"/>
                      </a:lnTo>
                      <a:lnTo>
                        <a:pt x="1207" y="673"/>
                      </a:lnTo>
                      <a:lnTo>
                        <a:pt x="1207" y="672"/>
                      </a:lnTo>
                      <a:lnTo>
                        <a:pt x="1206" y="672"/>
                      </a:lnTo>
                      <a:lnTo>
                        <a:pt x="1205" y="671"/>
                      </a:lnTo>
                      <a:lnTo>
                        <a:pt x="1203" y="670"/>
                      </a:lnTo>
                      <a:lnTo>
                        <a:pt x="1203" y="669"/>
                      </a:lnTo>
                      <a:lnTo>
                        <a:pt x="1202" y="669"/>
                      </a:lnTo>
                      <a:lnTo>
                        <a:pt x="1202" y="670"/>
                      </a:lnTo>
                      <a:lnTo>
                        <a:pt x="1202" y="669"/>
                      </a:lnTo>
                      <a:lnTo>
                        <a:pt x="1202" y="668"/>
                      </a:lnTo>
                      <a:lnTo>
                        <a:pt x="1201" y="668"/>
                      </a:lnTo>
                      <a:lnTo>
                        <a:pt x="1201" y="667"/>
                      </a:lnTo>
                      <a:lnTo>
                        <a:pt x="1201" y="666"/>
                      </a:lnTo>
                      <a:lnTo>
                        <a:pt x="1200" y="666"/>
                      </a:lnTo>
                      <a:lnTo>
                        <a:pt x="1200" y="665"/>
                      </a:lnTo>
                      <a:lnTo>
                        <a:pt x="1201" y="664"/>
                      </a:lnTo>
                      <a:lnTo>
                        <a:pt x="1202" y="664"/>
                      </a:lnTo>
                      <a:lnTo>
                        <a:pt x="1203" y="665"/>
                      </a:lnTo>
                      <a:lnTo>
                        <a:pt x="1205" y="665"/>
                      </a:lnTo>
                      <a:lnTo>
                        <a:pt x="1205" y="664"/>
                      </a:lnTo>
                      <a:lnTo>
                        <a:pt x="1205" y="662"/>
                      </a:lnTo>
                      <a:lnTo>
                        <a:pt x="1205" y="664"/>
                      </a:lnTo>
                      <a:lnTo>
                        <a:pt x="1206" y="664"/>
                      </a:lnTo>
                      <a:lnTo>
                        <a:pt x="1206" y="665"/>
                      </a:lnTo>
                      <a:lnTo>
                        <a:pt x="1207" y="665"/>
                      </a:lnTo>
                      <a:lnTo>
                        <a:pt x="1207" y="664"/>
                      </a:lnTo>
                      <a:lnTo>
                        <a:pt x="1208" y="664"/>
                      </a:lnTo>
                      <a:lnTo>
                        <a:pt x="1208" y="665"/>
                      </a:lnTo>
                      <a:lnTo>
                        <a:pt x="1208" y="664"/>
                      </a:lnTo>
                      <a:lnTo>
                        <a:pt x="1209" y="662"/>
                      </a:lnTo>
                      <a:lnTo>
                        <a:pt x="1209" y="664"/>
                      </a:lnTo>
                      <a:lnTo>
                        <a:pt x="1210" y="664"/>
                      </a:lnTo>
                      <a:close/>
                      <a:moveTo>
                        <a:pt x="1300" y="525"/>
                      </a:moveTo>
                      <a:lnTo>
                        <a:pt x="1301" y="525"/>
                      </a:lnTo>
                      <a:lnTo>
                        <a:pt x="1302" y="525"/>
                      </a:lnTo>
                      <a:lnTo>
                        <a:pt x="1302" y="526"/>
                      </a:lnTo>
                      <a:lnTo>
                        <a:pt x="1302" y="527"/>
                      </a:lnTo>
                      <a:lnTo>
                        <a:pt x="1303" y="527"/>
                      </a:lnTo>
                      <a:lnTo>
                        <a:pt x="1304" y="528"/>
                      </a:lnTo>
                      <a:lnTo>
                        <a:pt x="1305" y="528"/>
                      </a:lnTo>
                      <a:lnTo>
                        <a:pt x="1305" y="529"/>
                      </a:lnTo>
                      <a:lnTo>
                        <a:pt x="1306" y="529"/>
                      </a:lnTo>
                      <a:lnTo>
                        <a:pt x="1308" y="529"/>
                      </a:lnTo>
                      <a:lnTo>
                        <a:pt x="1308" y="530"/>
                      </a:lnTo>
                      <a:lnTo>
                        <a:pt x="1306" y="530"/>
                      </a:lnTo>
                      <a:lnTo>
                        <a:pt x="1306" y="529"/>
                      </a:lnTo>
                      <a:lnTo>
                        <a:pt x="1305" y="529"/>
                      </a:lnTo>
                      <a:lnTo>
                        <a:pt x="1304" y="529"/>
                      </a:lnTo>
                      <a:lnTo>
                        <a:pt x="1303" y="529"/>
                      </a:lnTo>
                      <a:lnTo>
                        <a:pt x="1302" y="529"/>
                      </a:lnTo>
                      <a:lnTo>
                        <a:pt x="1301" y="529"/>
                      </a:lnTo>
                      <a:lnTo>
                        <a:pt x="1300" y="529"/>
                      </a:lnTo>
                      <a:lnTo>
                        <a:pt x="1299" y="530"/>
                      </a:lnTo>
                      <a:lnTo>
                        <a:pt x="1300" y="530"/>
                      </a:lnTo>
                      <a:lnTo>
                        <a:pt x="1299" y="530"/>
                      </a:lnTo>
                      <a:lnTo>
                        <a:pt x="1300" y="530"/>
                      </a:lnTo>
                      <a:lnTo>
                        <a:pt x="1300" y="531"/>
                      </a:lnTo>
                      <a:lnTo>
                        <a:pt x="1300" y="532"/>
                      </a:lnTo>
                      <a:lnTo>
                        <a:pt x="1301" y="532"/>
                      </a:lnTo>
                      <a:lnTo>
                        <a:pt x="1301" y="533"/>
                      </a:lnTo>
                      <a:lnTo>
                        <a:pt x="1301" y="534"/>
                      </a:lnTo>
                      <a:lnTo>
                        <a:pt x="1302" y="536"/>
                      </a:lnTo>
                      <a:lnTo>
                        <a:pt x="1303" y="536"/>
                      </a:lnTo>
                      <a:lnTo>
                        <a:pt x="1303" y="537"/>
                      </a:lnTo>
                      <a:lnTo>
                        <a:pt x="1304" y="537"/>
                      </a:lnTo>
                      <a:lnTo>
                        <a:pt x="1305" y="537"/>
                      </a:lnTo>
                      <a:lnTo>
                        <a:pt x="1306" y="537"/>
                      </a:lnTo>
                      <a:lnTo>
                        <a:pt x="1306" y="538"/>
                      </a:lnTo>
                      <a:lnTo>
                        <a:pt x="1306" y="539"/>
                      </a:lnTo>
                      <a:lnTo>
                        <a:pt x="1305" y="539"/>
                      </a:lnTo>
                      <a:lnTo>
                        <a:pt x="1305" y="540"/>
                      </a:lnTo>
                      <a:lnTo>
                        <a:pt x="1305" y="541"/>
                      </a:lnTo>
                      <a:lnTo>
                        <a:pt x="1304" y="541"/>
                      </a:lnTo>
                      <a:lnTo>
                        <a:pt x="1303" y="541"/>
                      </a:lnTo>
                      <a:lnTo>
                        <a:pt x="1303" y="540"/>
                      </a:lnTo>
                      <a:lnTo>
                        <a:pt x="1302" y="540"/>
                      </a:lnTo>
                      <a:lnTo>
                        <a:pt x="1302" y="541"/>
                      </a:lnTo>
                      <a:lnTo>
                        <a:pt x="1303" y="542"/>
                      </a:lnTo>
                      <a:lnTo>
                        <a:pt x="1302" y="542"/>
                      </a:lnTo>
                      <a:lnTo>
                        <a:pt x="1302" y="543"/>
                      </a:lnTo>
                      <a:lnTo>
                        <a:pt x="1301" y="543"/>
                      </a:lnTo>
                      <a:lnTo>
                        <a:pt x="1301" y="542"/>
                      </a:lnTo>
                      <a:lnTo>
                        <a:pt x="1300" y="542"/>
                      </a:lnTo>
                      <a:lnTo>
                        <a:pt x="1300" y="543"/>
                      </a:lnTo>
                      <a:lnTo>
                        <a:pt x="1301" y="544"/>
                      </a:lnTo>
                      <a:lnTo>
                        <a:pt x="1300" y="544"/>
                      </a:lnTo>
                      <a:lnTo>
                        <a:pt x="1299" y="545"/>
                      </a:lnTo>
                      <a:lnTo>
                        <a:pt x="1298" y="545"/>
                      </a:lnTo>
                      <a:lnTo>
                        <a:pt x="1298" y="544"/>
                      </a:lnTo>
                      <a:lnTo>
                        <a:pt x="1297" y="544"/>
                      </a:lnTo>
                      <a:lnTo>
                        <a:pt x="1297" y="543"/>
                      </a:lnTo>
                      <a:lnTo>
                        <a:pt x="1298" y="543"/>
                      </a:lnTo>
                      <a:lnTo>
                        <a:pt x="1299" y="542"/>
                      </a:lnTo>
                      <a:lnTo>
                        <a:pt x="1300" y="542"/>
                      </a:lnTo>
                      <a:lnTo>
                        <a:pt x="1300" y="541"/>
                      </a:lnTo>
                      <a:lnTo>
                        <a:pt x="1300" y="540"/>
                      </a:lnTo>
                      <a:lnTo>
                        <a:pt x="1300" y="539"/>
                      </a:lnTo>
                      <a:lnTo>
                        <a:pt x="1301" y="539"/>
                      </a:lnTo>
                      <a:lnTo>
                        <a:pt x="1301" y="538"/>
                      </a:lnTo>
                      <a:lnTo>
                        <a:pt x="1301" y="537"/>
                      </a:lnTo>
                      <a:lnTo>
                        <a:pt x="1301" y="538"/>
                      </a:lnTo>
                      <a:lnTo>
                        <a:pt x="1302" y="538"/>
                      </a:lnTo>
                      <a:lnTo>
                        <a:pt x="1302" y="537"/>
                      </a:lnTo>
                      <a:lnTo>
                        <a:pt x="1301" y="537"/>
                      </a:lnTo>
                      <a:lnTo>
                        <a:pt x="1301" y="536"/>
                      </a:lnTo>
                      <a:lnTo>
                        <a:pt x="1300" y="534"/>
                      </a:lnTo>
                      <a:lnTo>
                        <a:pt x="1300" y="533"/>
                      </a:lnTo>
                      <a:lnTo>
                        <a:pt x="1299" y="533"/>
                      </a:lnTo>
                      <a:lnTo>
                        <a:pt x="1299" y="532"/>
                      </a:lnTo>
                      <a:lnTo>
                        <a:pt x="1299" y="531"/>
                      </a:lnTo>
                      <a:lnTo>
                        <a:pt x="1298" y="530"/>
                      </a:lnTo>
                      <a:lnTo>
                        <a:pt x="1299" y="530"/>
                      </a:lnTo>
                      <a:lnTo>
                        <a:pt x="1299" y="529"/>
                      </a:lnTo>
                      <a:lnTo>
                        <a:pt x="1299" y="528"/>
                      </a:lnTo>
                      <a:lnTo>
                        <a:pt x="1298" y="527"/>
                      </a:lnTo>
                      <a:lnTo>
                        <a:pt x="1298" y="526"/>
                      </a:lnTo>
                      <a:lnTo>
                        <a:pt x="1299" y="526"/>
                      </a:lnTo>
                      <a:lnTo>
                        <a:pt x="1299" y="525"/>
                      </a:lnTo>
                      <a:lnTo>
                        <a:pt x="1300" y="525"/>
                      </a:lnTo>
                      <a:close/>
                      <a:moveTo>
                        <a:pt x="1323" y="618"/>
                      </a:moveTo>
                      <a:lnTo>
                        <a:pt x="1323" y="619"/>
                      </a:lnTo>
                      <a:lnTo>
                        <a:pt x="1324" y="619"/>
                      </a:lnTo>
                      <a:lnTo>
                        <a:pt x="1325" y="618"/>
                      </a:lnTo>
                      <a:lnTo>
                        <a:pt x="1325" y="619"/>
                      </a:lnTo>
                      <a:lnTo>
                        <a:pt x="1324" y="619"/>
                      </a:lnTo>
                      <a:lnTo>
                        <a:pt x="1324" y="620"/>
                      </a:lnTo>
                      <a:lnTo>
                        <a:pt x="1324" y="621"/>
                      </a:lnTo>
                      <a:lnTo>
                        <a:pt x="1324" y="622"/>
                      </a:lnTo>
                      <a:lnTo>
                        <a:pt x="1324" y="623"/>
                      </a:lnTo>
                      <a:lnTo>
                        <a:pt x="1323" y="623"/>
                      </a:lnTo>
                      <a:lnTo>
                        <a:pt x="1323" y="624"/>
                      </a:lnTo>
                      <a:lnTo>
                        <a:pt x="1323" y="626"/>
                      </a:lnTo>
                      <a:lnTo>
                        <a:pt x="1323" y="624"/>
                      </a:lnTo>
                      <a:lnTo>
                        <a:pt x="1322" y="626"/>
                      </a:lnTo>
                      <a:lnTo>
                        <a:pt x="1322" y="627"/>
                      </a:lnTo>
                      <a:lnTo>
                        <a:pt x="1323" y="627"/>
                      </a:lnTo>
                      <a:lnTo>
                        <a:pt x="1323" y="628"/>
                      </a:lnTo>
                      <a:lnTo>
                        <a:pt x="1324" y="628"/>
                      </a:lnTo>
                      <a:lnTo>
                        <a:pt x="1324" y="629"/>
                      </a:lnTo>
                      <a:lnTo>
                        <a:pt x="1323" y="629"/>
                      </a:lnTo>
                      <a:lnTo>
                        <a:pt x="1323" y="630"/>
                      </a:lnTo>
                      <a:lnTo>
                        <a:pt x="1323" y="631"/>
                      </a:lnTo>
                      <a:lnTo>
                        <a:pt x="1324" y="631"/>
                      </a:lnTo>
                      <a:lnTo>
                        <a:pt x="1324" y="632"/>
                      </a:lnTo>
                      <a:lnTo>
                        <a:pt x="1324" y="633"/>
                      </a:lnTo>
                      <a:lnTo>
                        <a:pt x="1323" y="634"/>
                      </a:lnTo>
                      <a:lnTo>
                        <a:pt x="1322" y="634"/>
                      </a:lnTo>
                      <a:lnTo>
                        <a:pt x="1322" y="633"/>
                      </a:lnTo>
                      <a:lnTo>
                        <a:pt x="1321" y="632"/>
                      </a:lnTo>
                      <a:lnTo>
                        <a:pt x="1319" y="632"/>
                      </a:lnTo>
                      <a:lnTo>
                        <a:pt x="1319" y="631"/>
                      </a:lnTo>
                      <a:lnTo>
                        <a:pt x="1318" y="631"/>
                      </a:lnTo>
                      <a:lnTo>
                        <a:pt x="1318" y="630"/>
                      </a:lnTo>
                      <a:lnTo>
                        <a:pt x="1318" y="629"/>
                      </a:lnTo>
                      <a:lnTo>
                        <a:pt x="1317" y="629"/>
                      </a:lnTo>
                      <a:lnTo>
                        <a:pt x="1317" y="628"/>
                      </a:lnTo>
                      <a:lnTo>
                        <a:pt x="1317" y="627"/>
                      </a:lnTo>
                      <a:lnTo>
                        <a:pt x="1317" y="626"/>
                      </a:lnTo>
                      <a:lnTo>
                        <a:pt x="1316" y="626"/>
                      </a:lnTo>
                      <a:lnTo>
                        <a:pt x="1315" y="626"/>
                      </a:lnTo>
                      <a:lnTo>
                        <a:pt x="1314" y="626"/>
                      </a:lnTo>
                      <a:lnTo>
                        <a:pt x="1313" y="624"/>
                      </a:lnTo>
                      <a:lnTo>
                        <a:pt x="1314" y="624"/>
                      </a:lnTo>
                      <a:lnTo>
                        <a:pt x="1315" y="624"/>
                      </a:lnTo>
                      <a:lnTo>
                        <a:pt x="1316" y="624"/>
                      </a:lnTo>
                      <a:lnTo>
                        <a:pt x="1317" y="624"/>
                      </a:lnTo>
                      <a:lnTo>
                        <a:pt x="1318" y="624"/>
                      </a:lnTo>
                      <a:lnTo>
                        <a:pt x="1319" y="623"/>
                      </a:lnTo>
                      <a:lnTo>
                        <a:pt x="1321" y="623"/>
                      </a:lnTo>
                      <a:lnTo>
                        <a:pt x="1321" y="622"/>
                      </a:lnTo>
                      <a:lnTo>
                        <a:pt x="1321" y="621"/>
                      </a:lnTo>
                      <a:lnTo>
                        <a:pt x="1321" y="620"/>
                      </a:lnTo>
                      <a:lnTo>
                        <a:pt x="1319" y="620"/>
                      </a:lnTo>
                      <a:lnTo>
                        <a:pt x="1319" y="619"/>
                      </a:lnTo>
                      <a:lnTo>
                        <a:pt x="1321" y="619"/>
                      </a:lnTo>
                      <a:lnTo>
                        <a:pt x="1322" y="619"/>
                      </a:lnTo>
                      <a:lnTo>
                        <a:pt x="1322" y="618"/>
                      </a:lnTo>
                      <a:lnTo>
                        <a:pt x="1323" y="618"/>
                      </a:lnTo>
                      <a:close/>
                      <a:moveTo>
                        <a:pt x="1239" y="733"/>
                      </a:moveTo>
                      <a:lnTo>
                        <a:pt x="1240" y="733"/>
                      </a:lnTo>
                      <a:lnTo>
                        <a:pt x="1240" y="734"/>
                      </a:lnTo>
                      <a:lnTo>
                        <a:pt x="1241" y="734"/>
                      </a:lnTo>
                      <a:lnTo>
                        <a:pt x="1244" y="734"/>
                      </a:lnTo>
                      <a:lnTo>
                        <a:pt x="1244" y="735"/>
                      </a:lnTo>
                      <a:lnTo>
                        <a:pt x="1245" y="735"/>
                      </a:lnTo>
                      <a:lnTo>
                        <a:pt x="1245" y="736"/>
                      </a:lnTo>
                      <a:lnTo>
                        <a:pt x="1244" y="736"/>
                      </a:lnTo>
                      <a:lnTo>
                        <a:pt x="1245" y="736"/>
                      </a:lnTo>
                      <a:lnTo>
                        <a:pt x="1245" y="737"/>
                      </a:lnTo>
                      <a:lnTo>
                        <a:pt x="1244" y="737"/>
                      </a:lnTo>
                      <a:lnTo>
                        <a:pt x="1244" y="738"/>
                      </a:lnTo>
                      <a:lnTo>
                        <a:pt x="1245" y="739"/>
                      </a:lnTo>
                      <a:lnTo>
                        <a:pt x="1245" y="741"/>
                      </a:lnTo>
                      <a:lnTo>
                        <a:pt x="1246" y="741"/>
                      </a:lnTo>
                      <a:lnTo>
                        <a:pt x="1245" y="741"/>
                      </a:lnTo>
                      <a:lnTo>
                        <a:pt x="1244" y="741"/>
                      </a:lnTo>
                      <a:lnTo>
                        <a:pt x="1244" y="742"/>
                      </a:lnTo>
                      <a:lnTo>
                        <a:pt x="1244" y="743"/>
                      </a:lnTo>
                      <a:lnTo>
                        <a:pt x="1244" y="744"/>
                      </a:lnTo>
                      <a:lnTo>
                        <a:pt x="1244" y="745"/>
                      </a:lnTo>
                      <a:lnTo>
                        <a:pt x="1244" y="746"/>
                      </a:lnTo>
                      <a:lnTo>
                        <a:pt x="1245" y="746"/>
                      </a:lnTo>
                      <a:lnTo>
                        <a:pt x="1244" y="746"/>
                      </a:lnTo>
                      <a:lnTo>
                        <a:pt x="1244" y="747"/>
                      </a:lnTo>
                      <a:lnTo>
                        <a:pt x="1242" y="747"/>
                      </a:lnTo>
                      <a:lnTo>
                        <a:pt x="1242" y="748"/>
                      </a:lnTo>
                      <a:lnTo>
                        <a:pt x="1241" y="748"/>
                      </a:lnTo>
                      <a:lnTo>
                        <a:pt x="1241" y="747"/>
                      </a:lnTo>
                      <a:lnTo>
                        <a:pt x="1240" y="747"/>
                      </a:lnTo>
                      <a:lnTo>
                        <a:pt x="1240" y="746"/>
                      </a:lnTo>
                      <a:lnTo>
                        <a:pt x="1239" y="746"/>
                      </a:lnTo>
                      <a:lnTo>
                        <a:pt x="1239" y="747"/>
                      </a:lnTo>
                      <a:lnTo>
                        <a:pt x="1238" y="747"/>
                      </a:lnTo>
                      <a:lnTo>
                        <a:pt x="1238" y="748"/>
                      </a:lnTo>
                      <a:lnTo>
                        <a:pt x="1239" y="748"/>
                      </a:lnTo>
                      <a:lnTo>
                        <a:pt x="1239" y="749"/>
                      </a:lnTo>
                      <a:lnTo>
                        <a:pt x="1238" y="749"/>
                      </a:lnTo>
                      <a:lnTo>
                        <a:pt x="1238" y="748"/>
                      </a:lnTo>
                      <a:lnTo>
                        <a:pt x="1238" y="747"/>
                      </a:lnTo>
                      <a:lnTo>
                        <a:pt x="1239" y="746"/>
                      </a:lnTo>
                      <a:lnTo>
                        <a:pt x="1238" y="746"/>
                      </a:lnTo>
                      <a:lnTo>
                        <a:pt x="1238" y="745"/>
                      </a:lnTo>
                      <a:lnTo>
                        <a:pt x="1238" y="744"/>
                      </a:lnTo>
                      <a:lnTo>
                        <a:pt x="1239" y="744"/>
                      </a:lnTo>
                      <a:lnTo>
                        <a:pt x="1239" y="743"/>
                      </a:lnTo>
                      <a:lnTo>
                        <a:pt x="1239" y="742"/>
                      </a:lnTo>
                      <a:lnTo>
                        <a:pt x="1239" y="741"/>
                      </a:lnTo>
                      <a:lnTo>
                        <a:pt x="1240" y="741"/>
                      </a:lnTo>
                      <a:lnTo>
                        <a:pt x="1240" y="739"/>
                      </a:lnTo>
                      <a:lnTo>
                        <a:pt x="1240" y="738"/>
                      </a:lnTo>
                      <a:lnTo>
                        <a:pt x="1240" y="737"/>
                      </a:lnTo>
                      <a:lnTo>
                        <a:pt x="1239" y="736"/>
                      </a:lnTo>
                      <a:lnTo>
                        <a:pt x="1239" y="735"/>
                      </a:lnTo>
                      <a:lnTo>
                        <a:pt x="1239" y="734"/>
                      </a:lnTo>
                      <a:lnTo>
                        <a:pt x="1238" y="734"/>
                      </a:lnTo>
                      <a:lnTo>
                        <a:pt x="1238" y="733"/>
                      </a:lnTo>
                      <a:lnTo>
                        <a:pt x="1239" y="733"/>
                      </a:lnTo>
                      <a:close/>
                      <a:moveTo>
                        <a:pt x="1384" y="451"/>
                      </a:moveTo>
                      <a:lnTo>
                        <a:pt x="1384" y="452"/>
                      </a:lnTo>
                      <a:lnTo>
                        <a:pt x="1384" y="453"/>
                      </a:lnTo>
                      <a:lnTo>
                        <a:pt x="1386" y="453"/>
                      </a:lnTo>
                      <a:lnTo>
                        <a:pt x="1386" y="454"/>
                      </a:lnTo>
                      <a:lnTo>
                        <a:pt x="1386" y="455"/>
                      </a:lnTo>
                      <a:lnTo>
                        <a:pt x="1386" y="456"/>
                      </a:lnTo>
                      <a:lnTo>
                        <a:pt x="1386" y="457"/>
                      </a:lnTo>
                      <a:lnTo>
                        <a:pt x="1387" y="457"/>
                      </a:lnTo>
                      <a:lnTo>
                        <a:pt x="1386" y="457"/>
                      </a:lnTo>
                      <a:lnTo>
                        <a:pt x="1386" y="459"/>
                      </a:lnTo>
                      <a:lnTo>
                        <a:pt x="1387" y="459"/>
                      </a:lnTo>
                      <a:lnTo>
                        <a:pt x="1387" y="460"/>
                      </a:lnTo>
                      <a:lnTo>
                        <a:pt x="1386" y="460"/>
                      </a:lnTo>
                      <a:lnTo>
                        <a:pt x="1386" y="461"/>
                      </a:lnTo>
                      <a:lnTo>
                        <a:pt x="1384" y="461"/>
                      </a:lnTo>
                      <a:lnTo>
                        <a:pt x="1384" y="462"/>
                      </a:lnTo>
                      <a:lnTo>
                        <a:pt x="1384" y="463"/>
                      </a:lnTo>
                      <a:lnTo>
                        <a:pt x="1383" y="463"/>
                      </a:lnTo>
                      <a:lnTo>
                        <a:pt x="1384" y="463"/>
                      </a:lnTo>
                      <a:lnTo>
                        <a:pt x="1383" y="464"/>
                      </a:lnTo>
                      <a:lnTo>
                        <a:pt x="1384" y="464"/>
                      </a:lnTo>
                      <a:lnTo>
                        <a:pt x="1383" y="464"/>
                      </a:lnTo>
                      <a:lnTo>
                        <a:pt x="1384" y="465"/>
                      </a:lnTo>
                      <a:lnTo>
                        <a:pt x="1383" y="465"/>
                      </a:lnTo>
                      <a:lnTo>
                        <a:pt x="1383" y="466"/>
                      </a:lnTo>
                      <a:lnTo>
                        <a:pt x="1383" y="467"/>
                      </a:lnTo>
                      <a:lnTo>
                        <a:pt x="1383" y="468"/>
                      </a:lnTo>
                      <a:lnTo>
                        <a:pt x="1384" y="468"/>
                      </a:lnTo>
                      <a:lnTo>
                        <a:pt x="1384" y="467"/>
                      </a:lnTo>
                      <a:lnTo>
                        <a:pt x="1386" y="466"/>
                      </a:lnTo>
                      <a:lnTo>
                        <a:pt x="1386" y="467"/>
                      </a:lnTo>
                      <a:lnTo>
                        <a:pt x="1384" y="467"/>
                      </a:lnTo>
                      <a:lnTo>
                        <a:pt x="1384" y="468"/>
                      </a:lnTo>
                      <a:lnTo>
                        <a:pt x="1384" y="469"/>
                      </a:lnTo>
                      <a:lnTo>
                        <a:pt x="1384" y="470"/>
                      </a:lnTo>
                      <a:lnTo>
                        <a:pt x="1384" y="472"/>
                      </a:lnTo>
                      <a:lnTo>
                        <a:pt x="1383" y="472"/>
                      </a:lnTo>
                      <a:lnTo>
                        <a:pt x="1384" y="472"/>
                      </a:lnTo>
                      <a:lnTo>
                        <a:pt x="1384" y="473"/>
                      </a:lnTo>
                      <a:lnTo>
                        <a:pt x="1383" y="473"/>
                      </a:lnTo>
                      <a:lnTo>
                        <a:pt x="1382" y="473"/>
                      </a:lnTo>
                      <a:lnTo>
                        <a:pt x="1381" y="473"/>
                      </a:lnTo>
                      <a:lnTo>
                        <a:pt x="1381" y="472"/>
                      </a:lnTo>
                      <a:lnTo>
                        <a:pt x="1382" y="472"/>
                      </a:lnTo>
                      <a:lnTo>
                        <a:pt x="1381" y="470"/>
                      </a:lnTo>
                      <a:lnTo>
                        <a:pt x="1380" y="469"/>
                      </a:lnTo>
                      <a:lnTo>
                        <a:pt x="1380" y="468"/>
                      </a:lnTo>
                      <a:lnTo>
                        <a:pt x="1380" y="466"/>
                      </a:lnTo>
                      <a:lnTo>
                        <a:pt x="1381" y="465"/>
                      </a:lnTo>
                      <a:lnTo>
                        <a:pt x="1382" y="465"/>
                      </a:lnTo>
                      <a:lnTo>
                        <a:pt x="1382" y="464"/>
                      </a:lnTo>
                      <a:lnTo>
                        <a:pt x="1382" y="463"/>
                      </a:lnTo>
                      <a:lnTo>
                        <a:pt x="1381" y="461"/>
                      </a:lnTo>
                      <a:lnTo>
                        <a:pt x="1381" y="460"/>
                      </a:lnTo>
                      <a:lnTo>
                        <a:pt x="1382" y="459"/>
                      </a:lnTo>
                      <a:lnTo>
                        <a:pt x="1383" y="459"/>
                      </a:lnTo>
                      <a:lnTo>
                        <a:pt x="1384" y="459"/>
                      </a:lnTo>
                      <a:lnTo>
                        <a:pt x="1386" y="459"/>
                      </a:lnTo>
                      <a:lnTo>
                        <a:pt x="1386" y="457"/>
                      </a:lnTo>
                      <a:lnTo>
                        <a:pt x="1384" y="457"/>
                      </a:lnTo>
                      <a:lnTo>
                        <a:pt x="1384" y="459"/>
                      </a:lnTo>
                      <a:lnTo>
                        <a:pt x="1383" y="459"/>
                      </a:lnTo>
                      <a:lnTo>
                        <a:pt x="1383" y="457"/>
                      </a:lnTo>
                      <a:lnTo>
                        <a:pt x="1383" y="456"/>
                      </a:lnTo>
                      <a:lnTo>
                        <a:pt x="1383" y="455"/>
                      </a:lnTo>
                      <a:lnTo>
                        <a:pt x="1383" y="454"/>
                      </a:lnTo>
                      <a:lnTo>
                        <a:pt x="1382" y="454"/>
                      </a:lnTo>
                      <a:lnTo>
                        <a:pt x="1382" y="453"/>
                      </a:lnTo>
                      <a:lnTo>
                        <a:pt x="1381" y="453"/>
                      </a:lnTo>
                      <a:lnTo>
                        <a:pt x="1382" y="453"/>
                      </a:lnTo>
                      <a:lnTo>
                        <a:pt x="1383" y="453"/>
                      </a:lnTo>
                      <a:lnTo>
                        <a:pt x="1382" y="453"/>
                      </a:lnTo>
                      <a:lnTo>
                        <a:pt x="1382" y="452"/>
                      </a:lnTo>
                      <a:lnTo>
                        <a:pt x="1382" y="451"/>
                      </a:lnTo>
                      <a:lnTo>
                        <a:pt x="1383" y="452"/>
                      </a:lnTo>
                      <a:lnTo>
                        <a:pt x="1383" y="451"/>
                      </a:lnTo>
                      <a:lnTo>
                        <a:pt x="1384" y="451"/>
                      </a:lnTo>
                      <a:close/>
                      <a:moveTo>
                        <a:pt x="1369" y="515"/>
                      </a:moveTo>
                      <a:lnTo>
                        <a:pt x="1370" y="515"/>
                      </a:lnTo>
                      <a:lnTo>
                        <a:pt x="1371" y="515"/>
                      </a:lnTo>
                      <a:lnTo>
                        <a:pt x="1370" y="516"/>
                      </a:lnTo>
                      <a:lnTo>
                        <a:pt x="1371" y="516"/>
                      </a:lnTo>
                      <a:lnTo>
                        <a:pt x="1370" y="516"/>
                      </a:lnTo>
                      <a:lnTo>
                        <a:pt x="1370" y="517"/>
                      </a:lnTo>
                      <a:lnTo>
                        <a:pt x="1369" y="517"/>
                      </a:lnTo>
                      <a:lnTo>
                        <a:pt x="1369" y="518"/>
                      </a:lnTo>
                      <a:lnTo>
                        <a:pt x="1369" y="519"/>
                      </a:lnTo>
                      <a:lnTo>
                        <a:pt x="1369" y="520"/>
                      </a:lnTo>
                      <a:lnTo>
                        <a:pt x="1369" y="521"/>
                      </a:lnTo>
                      <a:lnTo>
                        <a:pt x="1368" y="523"/>
                      </a:lnTo>
                      <a:lnTo>
                        <a:pt x="1368" y="524"/>
                      </a:lnTo>
                      <a:lnTo>
                        <a:pt x="1368" y="525"/>
                      </a:lnTo>
                      <a:lnTo>
                        <a:pt x="1368" y="526"/>
                      </a:lnTo>
                      <a:lnTo>
                        <a:pt x="1367" y="526"/>
                      </a:lnTo>
                      <a:lnTo>
                        <a:pt x="1367" y="527"/>
                      </a:lnTo>
                      <a:lnTo>
                        <a:pt x="1367" y="528"/>
                      </a:lnTo>
                      <a:lnTo>
                        <a:pt x="1367" y="529"/>
                      </a:lnTo>
                      <a:lnTo>
                        <a:pt x="1366" y="530"/>
                      </a:lnTo>
                      <a:lnTo>
                        <a:pt x="1365" y="531"/>
                      </a:lnTo>
                      <a:lnTo>
                        <a:pt x="1364" y="531"/>
                      </a:lnTo>
                      <a:lnTo>
                        <a:pt x="1364" y="530"/>
                      </a:lnTo>
                      <a:lnTo>
                        <a:pt x="1364" y="531"/>
                      </a:lnTo>
                      <a:lnTo>
                        <a:pt x="1364" y="530"/>
                      </a:lnTo>
                      <a:lnTo>
                        <a:pt x="1364" y="529"/>
                      </a:lnTo>
                      <a:lnTo>
                        <a:pt x="1365" y="528"/>
                      </a:lnTo>
                      <a:lnTo>
                        <a:pt x="1365" y="527"/>
                      </a:lnTo>
                      <a:lnTo>
                        <a:pt x="1365" y="528"/>
                      </a:lnTo>
                      <a:lnTo>
                        <a:pt x="1365" y="527"/>
                      </a:lnTo>
                      <a:lnTo>
                        <a:pt x="1366" y="527"/>
                      </a:lnTo>
                      <a:lnTo>
                        <a:pt x="1366" y="526"/>
                      </a:lnTo>
                      <a:lnTo>
                        <a:pt x="1365" y="526"/>
                      </a:lnTo>
                      <a:lnTo>
                        <a:pt x="1365" y="527"/>
                      </a:lnTo>
                      <a:lnTo>
                        <a:pt x="1365" y="526"/>
                      </a:lnTo>
                      <a:lnTo>
                        <a:pt x="1364" y="526"/>
                      </a:lnTo>
                      <a:lnTo>
                        <a:pt x="1363" y="526"/>
                      </a:lnTo>
                      <a:lnTo>
                        <a:pt x="1363" y="525"/>
                      </a:lnTo>
                      <a:lnTo>
                        <a:pt x="1362" y="525"/>
                      </a:lnTo>
                      <a:lnTo>
                        <a:pt x="1361" y="525"/>
                      </a:lnTo>
                      <a:lnTo>
                        <a:pt x="1362" y="525"/>
                      </a:lnTo>
                      <a:lnTo>
                        <a:pt x="1361" y="525"/>
                      </a:lnTo>
                      <a:lnTo>
                        <a:pt x="1361" y="524"/>
                      </a:lnTo>
                      <a:lnTo>
                        <a:pt x="1360" y="525"/>
                      </a:lnTo>
                      <a:lnTo>
                        <a:pt x="1361" y="525"/>
                      </a:lnTo>
                      <a:lnTo>
                        <a:pt x="1360" y="525"/>
                      </a:lnTo>
                      <a:lnTo>
                        <a:pt x="1358" y="525"/>
                      </a:lnTo>
                      <a:lnTo>
                        <a:pt x="1360" y="524"/>
                      </a:lnTo>
                      <a:lnTo>
                        <a:pt x="1361" y="524"/>
                      </a:lnTo>
                      <a:lnTo>
                        <a:pt x="1362" y="524"/>
                      </a:lnTo>
                      <a:lnTo>
                        <a:pt x="1362" y="523"/>
                      </a:lnTo>
                      <a:lnTo>
                        <a:pt x="1362" y="521"/>
                      </a:lnTo>
                      <a:lnTo>
                        <a:pt x="1363" y="521"/>
                      </a:lnTo>
                      <a:lnTo>
                        <a:pt x="1364" y="520"/>
                      </a:lnTo>
                      <a:lnTo>
                        <a:pt x="1364" y="521"/>
                      </a:lnTo>
                      <a:lnTo>
                        <a:pt x="1363" y="521"/>
                      </a:lnTo>
                      <a:lnTo>
                        <a:pt x="1363" y="523"/>
                      </a:lnTo>
                      <a:lnTo>
                        <a:pt x="1362" y="523"/>
                      </a:lnTo>
                      <a:lnTo>
                        <a:pt x="1362" y="524"/>
                      </a:lnTo>
                      <a:lnTo>
                        <a:pt x="1363" y="524"/>
                      </a:lnTo>
                      <a:lnTo>
                        <a:pt x="1363" y="525"/>
                      </a:lnTo>
                      <a:lnTo>
                        <a:pt x="1363" y="524"/>
                      </a:lnTo>
                      <a:lnTo>
                        <a:pt x="1363" y="525"/>
                      </a:lnTo>
                      <a:lnTo>
                        <a:pt x="1364" y="525"/>
                      </a:lnTo>
                      <a:lnTo>
                        <a:pt x="1364" y="524"/>
                      </a:lnTo>
                      <a:lnTo>
                        <a:pt x="1365" y="524"/>
                      </a:lnTo>
                      <a:lnTo>
                        <a:pt x="1366" y="524"/>
                      </a:lnTo>
                      <a:lnTo>
                        <a:pt x="1365" y="524"/>
                      </a:lnTo>
                      <a:lnTo>
                        <a:pt x="1365" y="523"/>
                      </a:lnTo>
                      <a:lnTo>
                        <a:pt x="1366" y="523"/>
                      </a:lnTo>
                      <a:lnTo>
                        <a:pt x="1366" y="524"/>
                      </a:lnTo>
                      <a:lnTo>
                        <a:pt x="1366" y="523"/>
                      </a:lnTo>
                      <a:lnTo>
                        <a:pt x="1366" y="521"/>
                      </a:lnTo>
                      <a:lnTo>
                        <a:pt x="1366" y="523"/>
                      </a:lnTo>
                      <a:lnTo>
                        <a:pt x="1365" y="523"/>
                      </a:lnTo>
                      <a:lnTo>
                        <a:pt x="1365" y="524"/>
                      </a:lnTo>
                      <a:lnTo>
                        <a:pt x="1364" y="524"/>
                      </a:lnTo>
                      <a:lnTo>
                        <a:pt x="1364" y="523"/>
                      </a:lnTo>
                      <a:lnTo>
                        <a:pt x="1365" y="523"/>
                      </a:lnTo>
                      <a:lnTo>
                        <a:pt x="1365" y="521"/>
                      </a:lnTo>
                      <a:lnTo>
                        <a:pt x="1364" y="521"/>
                      </a:lnTo>
                      <a:lnTo>
                        <a:pt x="1365" y="521"/>
                      </a:lnTo>
                      <a:lnTo>
                        <a:pt x="1365" y="520"/>
                      </a:lnTo>
                      <a:lnTo>
                        <a:pt x="1366" y="520"/>
                      </a:lnTo>
                      <a:lnTo>
                        <a:pt x="1366" y="519"/>
                      </a:lnTo>
                      <a:lnTo>
                        <a:pt x="1366" y="518"/>
                      </a:lnTo>
                      <a:lnTo>
                        <a:pt x="1365" y="518"/>
                      </a:lnTo>
                      <a:lnTo>
                        <a:pt x="1365" y="517"/>
                      </a:lnTo>
                      <a:lnTo>
                        <a:pt x="1366" y="517"/>
                      </a:lnTo>
                      <a:lnTo>
                        <a:pt x="1366" y="516"/>
                      </a:lnTo>
                      <a:lnTo>
                        <a:pt x="1367" y="516"/>
                      </a:lnTo>
                      <a:lnTo>
                        <a:pt x="1367" y="515"/>
                      </a:lnTo>
                      <a:lnTo>
                        <a:pt x="1368" y="515"/>
                      </a:lnTo>
                      <a:lnTo>
                        <a:pt x="1369" y="514"/>
                      </a:lnTo>
                      <a:lnTo>
                        <a:pt x="1368" y="514"/>
                      </a:lnTo>
                      <a:lnTo>
                        <a:pt x="1368" y="513"/>
                      </a:lnTo>
                      <a:lnTo>
                        <a:pt x="1369" y="514"/>
                      </a:lnTo>
                      <a:lnTo>
                        <a:pt x="1369" y="515"/>
                      </a:lnTo>
                      <a:close/>
                      <a:moveTo>
                        <a:pt x="1153" y="703"/>
                      </a:moveTo>
                      <a:lnTo>
                        <a:pt x="1154" y="703"/>
                      </a:lnTo>
                      <a:lnTo>
                        <a:pt x="1154" y="704"/>
                      </a:lnTo>
                      <a:lnTo>
                        <a:pt x="1154" y="705"/>
                      </a:lnTo>
                      <a:lnTo>
                        <a:pt x="1155" y="705"/>
                      </a:lnTo>
                      <a:lnTo>
                        <a:pt x="1155" y="706"/>
                      </a:lnTo>
                      <a:lnTo>
                        <a:pt x="1156" y="706"/>
                      </a:lnTo>
                      <a:lnTo>
                        <a:pt x="1157" y="706"/>
                      </a:lnTo>
                      <a:lnTo>
                        <a:pt x="1156" y="705"/>
                      </a:lnTo>
                      <a:lnTo>
                        <a:pt x="1157" y="705"/>
                      </a:lnTo>
                      <a:lnTo>
                        <a:pt x="1158" y="706"/>
                      </a:lnTo>
                      <a:lnTo>
                        <a:pt x="1158" y="707"/>
                      </a:lnTo>
                      <a:lnTo>
                        <a:pt x="1157" y="707"/>
                      </a:lnTo>
                      <a:lnTo>
                        <a:pt x="1156" y="707"/>
                      </a:lnTo>
                      <a:lnTo>
                        <a:pt x="1155" y="707"/>
                      </a:lnTo>
                      <a:lnTo>
                        <a:pt x="1154" y="707"/>
                      </a:lnTo>
                      <a:lnTo>
                        <a:pt x="1154" y="708"/>
                      </a:lnTo>
                      <a:lnTo>
                        <a:pt x="1153" y="707"/>
                      </a:lnTo>
                      <a:lnTo>
                        <a:pt x="1153" y="708"/>
                      </a:lnTo>
                      <a:lnTo>
                        <a:pt x="1151" y="708"/>
                      </a:lnTo>
                      <a:lnTo>
                        <a:pt x="1151" y="709"/>
                      </a:lnTo>
                      <a:lnTo>
                        <a:pt x="1151" y="710"/>
                      </a:lnTo>
                      <a:lnTo>
                        <a:pt x="1151" y="711"/>
                      </a:lnTo>
                      <a:lnTo>
                        <a:pt x="1151" y="712"/>
                      </a:lnTo>
                      <a:lnTo>
                        <a:pt x="1151" y="711"/>
                      </a:lnTo>
                      <a:lnTo>
                        <a:pt x="1150" y="711"/>
                      </a:lnTo>
                      <a:lnTo>
                        <a:pt x="1149" y="711"/>
                      </a:lnTo>
                      <a:lnTo>
                        <a:pt x="1149" y="712"/>
                      </a:lnTo>
                      <a:lnTo>
                        <a:pt x="1149" y="713"/>
                      </a:lnTo>
                      <a:lnTo>
                        <a:pt x="1148" y="713"/>
                      </a:lnTo>
                      <a:lnTo>
                        <a:pt x="1149" y="713"/>
                      </a:lnTo>
                      <a:lnTo>
                        <a:pt x="1148" y="713"/>
                      </a:lnTo>
                      <a:lnTo>
                        <a:pt x="1148" y="714"/>
                      </a:lnTo>
                      <a:lnTo>
                        <a:pt x="1147" y="714"/>
                      </a:lnTo>
                      <a:lnTo>
                        <a:pt x="1147" y="713"/>
                      </a:lnTo>
                      <a:lnTo>
                        <a:pt x="1147" y="712"/>
                      </a:lnTo>
                      <a:lnTo>
                        <a:pt x="1147" y="710"/>
                      </a:lnTo>
                      <a:lnTo>
                        <a:pt x="1147" y="709"/>
                      </a:lnTo>
                      <a:lnTo>
                        <a:pt x="1146" y="709"/>
                      </a:lnTo>
                      <a:lnTo>
                        <a:pt x="1146" y="710"/>
                      </a:lnTo>
                      <a:lnTo>
                        <a:pt x="1146" y="711"/>
                      </a:lnTo>
                      <a:lnTo>
                        <a:pt x="1145" y="710"/>
                      </a:lnTo>
                      <a:lnTo>
                        <a:pt x="1144" y="710"/>
                      </a:lnTo>
                      <a:lnTo>
                        <a:pt x="1144" y="709"/>
                      </a:lnTo>
                      <a:lnTo>
                        <a:pt x="1145" y="709"/>
                      </a:lnTo>
                      <a:lnTo>
                        <a:pt x="1146" y="708"/>
                      </a:lnTo>
                      <a:lnTo>
                        <a:pt x="1147" y="708"/>
                      </a:lnTo>
                      <a:lnTo>
                        <a:pt x="1147" y="709"/>
                      </a:lnTo>
                      <a:lnTo>
                        <a:pt x="1148" y="709"/>
                      </a:lnTo>
                      <a:lnTo>
                        <a:pt x="1149" y="708"/>
                      </a:lnTo>
                      <a:lnTo>
                        <a:pt x="1149" y="707"/>
                      </a:lnTo>
                      <a:lnTo>
                        <a:pt x="1148" y="707"/>
                      </a:lnTo>
                      <a:lnTo>
                        <a:pt x="1148" y="706"/>
                      </a:lnTo>
                      <a:lnTo>
                        <a:pt x="1149" y="706"/>
                      </a:lnTo>
                      <a:lnTo>
                        <a:pt x="1150" y="706"/>
                      </a:lnTo>
                      <a:lnTo>
                        <a:pt x="1151" y="705"/>
                      </a:lnTo>
                      <a:lnTo>
                        <a:pt x="1149" y="705"/>
                      </a:lnTo>
                      <a:lnTo>
                        <a:pt x="1149" y="704"/>
                      </a:lnTo>
                      <a:lnTo>
                        <a:pt x="1150" y="704"/>
                      </a:lnTo>
                      <a:lnTo>
                        <a:pt x="1150" y="703"/>
                      </a:lnTo>
                      <a:lnTo>
                        <a:pt x="1150" y="701"/>
                      </a:lnTo>
                      <a:lnTo>
                        <a:pt x="1151" y="703"/>
                      </a:lnTo>
                      <a:lnTo>
                        <a:pt x="1153" y="703"/>
                      </a:lnTo>
                      <a:close/>
                      <a:moveTo>
                        <a:pt x="1355" y="529"/>
                      </a:moveTo>
                      <a:lnTo>
                        <a:pt x="1355" y="528"/>
                      </a:lnTo>
                      <a:lnTo>
                        <a:pt x="1356" y="528"/>
                      </a:lnTo>
                      <a:lnTo>
                        <a:pt x="1356" y="529"/>
                      </a:lnTo>
                      <a:lnTo>
                        <a:pt x="1356" y="530"/>
                      </a:lnTo>
                      <a:lnTo>
                        <a:pt x="1356" y="531"/>
                      </a:lnTo>
                      <a:lnTo>
                        <a:pt x="1355" y="531"/>
                      </a:lnTo>
                      <a:lnTo>
                        <a:pt x="1353" y="532"/>
                      </a:lnTo>
                      <a:lnTo>
                        <a:pt x="1352" y="532"/>
                      </a:lnTo>
                      <a:lnTo>
                        <a:pt x="1350" y="532"/>
                      </a:lnTo>
                      <a:lnTo>
                        <a:pt x="1348" y="536"/>
                      </a:lnTo>
                      <a:lnTo>
                        <a:pt x="1345" y="538"/>
                      </a:lnTo>
                      <a:lnTo>
                        <a:pt x="1343" y="541"/>
                      </a:lnTo>
                      <a:lnTo>
                        <a:pt x="1341" y="545"/>
                      </a:lnTo>
                      <a:lnTo>
                        <a:pt x="1340" y="549"/>
                      </a:lnTo>
                      <a:lnTo>
                        <a:pt x="1340" y="547"/>
                      </a:lnTo>
                      <a:lnTo>
                        <a:pt x="1340" y="546"/>
                      </a:lnTo>
                      <a:lnTo>
                        <a:pt x="1339" y="546"/>
                      </a:lnTo>
                      <a:lnTo>
                        <a:pt x="1339" y="545"/>
                      </a:lnTo>
                      <a:lnTo>
                        <a:pt x="1339" y="544"/>
                      </a:lnTo>
                      <a:lnTo>
                        <a:pt x="1340" y="544"/>
                      </a:lnTo>
                      <a:lnTo>
                        <a:pt x="1341" y="544"/>
                      </a:lnTo>
                      <a:lnTo>
                        <a:pt x="1341" y="543"/>
                      </a:lnTo>
                      <a:lnTo>
                        <a:pt x="1342" y="543"/>
                      </a:lnTo>
                      <a:lnTo>
                        <a:pt x="1342" y="542"/>
                      </a:lnTo>
                      <a:lnTo>
                        <a:pt x="1343" y="542"/>
                      </a:lnTo>
                      <a:lnTo>
                        <a:pt x="1343" y="541"/>
                      </a:lnTo>
                      <a:lnTo>
                        <a:pt x="1343" y="540"/>
                      </a:lnTo>
                      <a:lnTo>
                        <a:pt x="1344" y="540"/>
                      </a:lnTo>
                      <a:lnTo>
                        <a:pt x="1344" y="539"/>
                      </a:lnTo>
                      <a:lnTo>
                        <a:pt x="1344" y="538"/>
                      </a:lnTo>
                      <a:lnTo>
                        <a:pt x="1345" y="538"/>
                      </a:lnTo>
                      <a:lnTo>
                        <a:pt x="1345" y="537"/>
                      </a:lnTo>
                      <a:lnTo>
                        <a:pt x="1347" y="537"/>
                      </a:lnTo>
                      <a:lnTo>
                        <a:pt x="1347" y="536"/>
                      </a:lnTo>
                      <a:lnTo>
                        <a:pt x="1347" y="534"/>
                      </a:lnTo>
                      <a:lnTo>
                        <a:pt x="1348" y="534"/>
                      </a:lnTo>
                      <a:lnTo>
                        <a:pt x="1348" y="533"/>
                      </a:lnTo>
                      <a:lnTo>
                        <a:pt x="1347" y="533"/>
                      </a:lnTo>
                      <a:lnTo>
                        <a:pt x="1347" y="534"/>
                      </a:lnTo>
                      <a:lnTo>
                        <a:pt x="1345" y="534"/>
                      </a:lnTo>
                      <a:lnTo>
                        <a:pt x="1345" y="533"/>
                      </a:lnTo>
                      <a:lnTo>
                        <a:pt x="1347" y="533"/>
                      </a:lnTo>
                      <a:lnTo>
                        <a:pt x="1347" y="532"/>
                      </a:lnTo>
                      <a:lnTo>
                        <a:pt x="1348" y="532"/>
                      </a:lnTo>
                      <a:lnTo>
                        <a:pt x="1348" y="531"/>
                      </a:lnTo>
                      <a:lnTo>
                        <a:pt x="1349" y="531"/>
                      </a:lnTo>
                      <a:lnTo>
                        <a:pt x="1349" y="530"/>
                      </a:lnTo>
                      <a:lnTo>
                        <a:pt x="1349" y="529"/>
                      </a:lnTo>
                      <a:lnTo>
                        <a:pt x="1351" y="529"/>
                      </a:lnTo>
                      <a:lnTo>
                        <a:pt x="1353" y="528"/>
                      </a:lnTo>
                      <a:lnTo>
                        <a:pt x="1353" y="527"/>
                      </a:lnTo>
                      <a:lnTo>
                        <a:pt x="1354" y="526"/>
                      </a:lnTo>
                      <a:lnTo>
                        <a:pt x="1354" y="527"/>
                      </a:lnTo>
                      <a:lnTo>
                        <a:pt x="1354" y="528"/>
                      </a:lnTo>
                      <a:lnTo>
                        <a:pt x="1355" y="529"/>
                      </a:lnTo>
                      <a:close/>
                      <a:moveTo>
                        <a:pt x="1212" y="632"/>
                      </a:moveTo>
                      <a:lnTo>
                        <a:pt x="1213" y="633"/>
                      </a:lnTo>
                      <a:lnTo>
                        <a:pt x="1214" y="633"/>
                      </a:lnTo>
                      <a:lnTo>
                        <a:pt x="1214" y="634"/>
                      </a:lnTo>
                      <a:lnTo>
                        <a:pt x="1214" y="635"/>
                      </a:lnTo>
                      <a:lnTo>
                        <a:pt x="1215" y="635"/>
                      </a:lnTo>
                      <a:lnTo>
                        <a:pt x="1214" y="635"/>
                      </a:lnTo>
                      <a:lnTo>
                        <a:pt x="1213" y="635"/>
                      </a:lnTo>
                      <a:lnTo>
                        <a:pt x="1213" y="636"/>
                      </a:lnTo>
                      <a:lnTo>
                        <a:pt x="1214" y="636"/>
                      </a:lnTo>
                      <a:lnTo>
                        <a:pt x="1214" y="635"/>
                      </a:lnTo>
                      <a:lnTo>
                        <a:pt x="1215" y="636"/>
                      </a:lnTo>
                      <a:lnTo>
                        <a:pt x="1215" y="637"/>
                      </a:lnTo>
                      <a:lnTo>
                        <a:pt x="1214" y="637"/>
                      </a:lnTo>
                      <a:lnTo>
                        <a:pt x="1213" y="637"/>
                      </a:lnTo>
                      <a:lnTo>
                        <a:pt x="1213" y="636"/>
                      </a:lnTo>
                      <a:lnTo>
                        <a:pt x="1213" y="637"/>
                      </a:lnTo>
                      <a:lnTo>
                        <a:pt x="1212" y="636"/>
                      </a:lnTo>
                      <a:lnTo>
                        <a:pt x="1212" y="637"/>
                      </a:lnTo>
                      <a:lnTo>
                        <a:pt x="1213" y="637"/>
                      </a:lnTo>
                      <a:lnTo>
                        <a:pt x="1213" y="639"/>
                      </a:lnTo>
                      <a:lnTo>
                        <a:pt x="1213" y="640"/>
                      </a:lnTo>
                      <a:lnTo>
                        <a:pt x="1214" y="640"/>
                      </a:lnTo>
                      <a:lnTo>
                        <a:pt x="1213" y="641"/>
                      </a:lnTo>
                      <a:lnTo>
                        <a:pt x="1213" y="640"/>
                      </a:lnTo>
                      <a:lnTo>
                        <a:pt x="1212" y="640"/>
                      </a:lnTo>
                      <a:lnTo>
                        <a:pt x="1213" y="640"/>
                      </a:lnTo>
                      <a:lnTo>
                        <a:pt x="1212" y="640"/>
                      </a:lnTo>
                      <a:lnTo>
                        <a:pt x="1212" y="639"/>
                      </a:lnTo>
                      <a:lnTo>
                        <a:pt x="1211" y="639"/>
                      </a:lnTo>
                      <a:lnTo>
                        <a:pt x="1212" y="640"/>
                      </a:lnTo>
                      <a:lnTo>
                        <a:pt x="1211" y="641"/>
                      </a:lnTo>
                      <a:lnTo>
                        <a:pt x="1210" y="640"/>
                      </a:lnTo>
                      <a:lnTo>
                        <a:pt x="1209" y="640"/>
                      </a:lnTo>
                      <a:lnTo>
                        <a:pt x="1208" y="640"/>
                      </a:lnTo>
                      <a:lnTo>
                        <a:pt x="1209" y="640"/>
                      </a:lnTo>
                      <a:lnTo>
                        <a:pt x="1208" y="640"/>
                      </a:lnTo>
                      <a:lnTo>
                        <a:pt x="1208" y="641"/>
                      </a:lnTo>
                      <a:lnTo>
                        <a:pt x="1208" y="642"/>
                      </a:lnTo>
                      <a:lnTo>
                        <a:pt x="1208" y="643"/>
                      </a:lnTo>
                      <a:lnTo>
                        <a:pt x="1209" y="643"/>
                      </a:lnTo>
                      <a:lnTo>
                        <a:pt x="1209" y="644"/>
                      </a:lnTo>
                      <a:lnTo>
                        <a:pt x="1210" y="644"/>
                      </a:lnTo>
                      <a:lnTo>
                        <a:pt x="1210" y="645"/>
                      </a:lnTo>
                      <a:lnTo>
                        <a:pt x="1209" y="645"/>
                      </a:lnTo>
                      <a:lnTo>
                        <a:pt x="1208" y="645"/>
                      </a:lnTo>
                      <a:lnTo>
                        <a:pt x="1207" y="645"/>
                      </a:lnTo>
                      <a:lnTo>
                        <a:pt x="1207" y="646"/>
                      </a:lnTo>
                      <a:lnTo>
                        <a:pt x="1206" y="646"/>
                      </a:lnTo>
                      <a:lnTo>
                        <a:pt x="1206" y="645"/>
                      </a:lnTo>
                      <a:lnTo>
                        <a:pt x="1205" y="645"/>
                      </a:lnTo>
                      <a:lnTo>
                        <a:pt x="1203" y="644"/>
                      </a:lnTo>
                      <a:lnTo>
                        <a:pt x="1202" y="644"/>
                      </a:lnTo>
                      <a:lnTo>
                        <a:pt x="1203" y="644"/>
                      </a:lnTo>
                      <a:lnTo>
                        <a:pt x="1203" y="643"/>
                      </a:lnTo>
                      <a:lnTo>
                        <a:pt x="1205" y="644"/>
                      </a:lnTo>
                      <a:lnTo>
                        <a:pt x="1206" y="644"/>
                      </a:lnTo>
                      <a:lnTo>
                        <a:pt x="1207" y="643"/>
                      </a:lnTo>
                      <a:lnTo>
                        <a:pt x="1207" y="642"/>
                      </a:lnTo>
                      <a:lnTo>
                        <a:pt x="1207" y="641"/>
                      </a:lnTo>
                      <a:lnTo>
                        <a:pt x="1207" y="640"/>
                      </a:lnTo>
                      <a:lnTo>
                        <a:pt x="1207" y="639"/>
                      </a:lnTo>
                      <a:lnTo>
                        <a:pt x="1207" y="637"/>
                      </a:lnTo>
                      <a:lnTo>
                        <a:pt x="1207" y="636"/>
                      </a:lnTo>
                      <a:lnTo>
                        <a:pt x="1208" y="636"/>
                      </a:lnTo>
                      <a:lnTo>
                        <a:pt x="1208" y="637"/>
                      </a:lnTo>
                      <a:lnTo>
                        <a:pt x="1209" y="637"/>
                      </a:lnTo>
                      <a:lnTo>
                        <a:pt x="1210" y="637"/>
                      </a:lnTo>
                      <a:lnTo>
                        <a:pt x="1211" y="637"/>
                      </a:lnTo>
                      <a:lnTo>
                        <a:pt x="1211" y="636"/>
                      </a:lnTo>
                      <a:lnTo>
                        <a:pt x="1211" y="637"/>
                      </a:lnTo>
                      <a:lnTo>
                        <a:pt x="1212" y="637"/>
                      </a:lnTo>
                      <a:lnTo>
                        <a:pt x="1211" y="636"/>
                      </a:lnTo>
                      <a:lnTo>
                        <a:pt x="1212" y="636"/>
                      </a:lnTo>
                      <a:lnTo>
                        <a:pt x="1211" y="636"/>
                      </a:lnTo>
                      <a:lnTo>
                        <a:pt x="1212" y="637"/>
                      </a:lnTo>
                      <a:lnTo>
                        <a:pt x="1211" y="637"/>
                      </a:lnTo>
                      <a:lnTo>
                        <a:pt x="1211" y="636"/>
                      </a:lnTo>
                      <a:lnTo>
                        <a:pt x="1210" y="636"/>
                      </a:lnTo>
                      <a:lnTo>
                        <a:pt x="1211" y="635"/>
                      </a:lnTo>
                      <a:lnTo>
                        <a:pt x="1210" y="635"/>
                      </a:lnTo>
                      <a:lnTo>
                        <a:pt x="1211" y="634"/>
                      </a:lnTo>
                      <a:lnTo>
                        <a:pt x="1211" y="633"/>
                      </a:lnTo>
                      <a:lnTo>
                        <a:pt x="1210" y="633"/>
                      </a:lnTo>
                      <a:lnTo>
                        <a:pt x="1210" y="632"/>
                      </a:lnTo>
                      <a:lnTo>
                        <a:pt x="1211" y="632"/>
                      </a:lnTo>
                      <a:lnTo>
                        <a:pt x="1212" y="632"/>
                      </a:lnTo>
                      <a:close/>
                      <a:moveTo>
                        <a:pt x="1361" y="456"/>
                      </a:moveTo>
                      <a:lnTo>
                        <a:pt x="1362" y="456"/>
                      </a:lnTo>
                      <a:lnTo>
                        <a:pt x="1362" y="457"/>
                      </a:lnTo>
                      <a:lnTo>
                        <a:pt x="1363" y="457"/>
                      </a:lnTo>
                      <a:lnTo>
                        <a:pt x="1363" y="456"/>
                      </a:lnTo>
                      <a:lnTo>
                        <a:pt x="1363" y="457"/>
                      </a:lnTo>
                      <a:lnTo>
                        <a:pt x="1363" y="459"/>
                      </a:lnTo>
                      <a:lnTo>
                        <a:pt x="1364" y="459"/>
                      </a:lnTo>
                      <a:lnTo>
                        <a:pt x="1365" y="459"/>
                      </a:lnTo>
                      <a:lnTo>
                        <a:pt x="1365" y="461"/>
                      </a:lnTo>
                      <a:lnTo>
                        <a:pt x="1365" y="462"/>
                      </a:lnTo>
                      <a:lnTo>
                        <a:pt x="1366" y="464"/>
                      </a:lnTo>
                      <a:lnTo>
                        <a:pt x="1367" y="464"/>
                      </a:lnTo>
                      <a:lnTo>
                        <a:pt x="1368" y="464"/>
                      </a:lnTo>
                      <a:lnTo>
                        <a:pt x="1369" y="464"/>
                      </a:lnTo>
                      <a:lnTo>
                        <a:pt x="1369" y="463"/>
                      </a:lnTo>
                      <a:lnTo>
                        <a:pt x="1369" y="464"/>
                      </a:lnTo>
                      <a:lnTo>
                        <a:pt x="1369" y="465"/>
                      </a:lnTo>
                      <a:lnTo>
                        <a:pt x="1369" y="466"/>
                      </a:lnTo>
                      <a:lnTo>
                        <a:pt x="1370" y="466"/>
                      </a:lnTo>
                      <a:lnTo>
                        <a:pt x="1370" y="467"/>
                      </a:lnTo>
                      <a:lnTo>
                        <a:pt x="1369" y="467"/>
                      </a:lnTo>
                      <a:lnTo>
                        <a:pt x="1369" y="468"/>
                      </a:lnTo>
                      <a:lnTo>
                        <a:pt x="1369" y="467"/>
                      </a:lnTo>
                      <a:lnTo>
                        <a:pt x="1368" y="467"/>
                      </a:lnTo>
                      <a:lnTo>
                        <a:pt x="1368" y="466"/>
                      </a:lnTo>
                      <a:lnTo>
                        <a:pt x="1368" y="467"/>
                      </a:lnTo>
                      <a:lnTo>
                        <a:pt x="1367" y="467"/>
                      </a:lnTo>
                      <a:lnTo>
                        <a:pt x="1367" y="466"/>
                      </a:lnTo>
                      <a:lnTo>
                        <a:pt x="1366" y="466"/>
                      </a:lnTo>
                      <a:lnTo>
                        <a:pt x="1366" y="465"/>
                      </a:lnTo>
                      <a:lnTo>
                        <a:pt x="1365" y="465"/>
                      </a:lnTo>
                      <a:lnTo>
                        <a:pt x="1364" y="465"/>
                      </a:lnTo>
                      <a:lnTo>
                        <a:pt x="1363" y="465"/>
                      </a:lnTo>
                      <a:lnTo>
                        <a:pt x="1363" y="466"/>
                      </a:lnTo>
                      <a:lnTo>
                        <a:pt x="1362" y="466"/>
                      </a:lnTo>
                      <a:lnTo>
                        <a:pt x="1361" y="467"/>
                      </a:lnTo>
                      <a:lnTo>
                        <a:pt x="1361" y="466"/>
                      </a:lnTo>
                      <a:lnTo>
                        <a:pt x="1360" y="466"/>
                      </a:lnTo>
                      <a:lnTo>
                        <a:pt x="1360" y="465"/>
                      </a:lnTo>
                      <a:lnTo>
                        <a:pt x="1358" y="464"/>
                      </a:lnTo>
                      <a:lnTo>
                        <a:pt x="1358" y="463"/>
                      </a:lnTo>
                      <a:lnTo>
                        <a:pt x="1358" y="462"/>
                      </a:lnTo>
                      <a:lnTo>
                        <a:pt x="1357" y="462"/>
                      </a:lnTo>
                      <a:lnTo>
                        <a:pt x="1357" y="461"/>
                      </a:lnTo>
                      <a:lnTo>
                        <a:pt x="1358" y="461"/>
                      </a:lnTo>
                      <a:lnTo>
                        <a:pt x="1360" y="461"/>
                      </a:lnTo>
                      <a:lnTo>
                        <a:pt x="1361" y="462"/>
                      </a:lnTo>
                      <a:lnTo>
                        <a:pt x="1362" y="462"/>
                      </a:lnTo>
                      <a:lnTo>
                        <a:pt x="1362" y="463"/>
                      </a:lnTo>
                      <a:lnTo>
                        <a:pt x="1363" y="463"/>
                      </a:lnTo>
                      <a:lnTo>
                        <a:pt x="1364" y="463"/>
                      </a:lnTo>
                      <a:lnTo>
                        <a:pt x="1364" y="464"/>
                      </a:lnTo>
                      <a:lnTo>
                        <a:pt x="1365" y="464"/>
                      </a:lnTo>
                      <a:lnTo>
                        <a:pt x="1366" y="464"/>
                      </a:lnTo>
                      <a:lnTo>
                        <a:pt x="1366" y="463"/>
                      </a:lnTo>
                      <a:lnTo>
                        <a:pt x="1365" y="463"/>
                      </a:lnTo>
                      <a:lnTo>
                        <a:pt x="1364" y="463"/>
                      </a:lnTo>
                      <a:lnTo>
                        <a:pt x="1364" y="462"/>
                      </a:lnTo>
                      <a:lnTo>
                        <a:pt x="1365" y="462"/>
                      </a:lnTo>
                      <a:lnTo>
                        <a:pt x="1364" y="462"/>
                      </a:lnTo>
                      <a:lnTo>
                        <a:pt x="1364" y="461"/>
                      </a:lnTo>
                      <a:lnTo>
                        <a:pt x="1364" y="460"/>
                      </a:lnTo>
                      <a:lnTo>
                        <a:pt x="1364" y="459"/>
                      </a:lnTo>
                      <a:lnTo>
                        <a:pt x="1363" y="459"/>
                      </a:lnTo>
                      <a:lnTo>
                        <a:pt x="1362" y="459"/>
                      </a:lnTo>
                      <a:lnTo>
                        <a:pt x="1361" y="459"/>
                      </a:lnTo>
                      <a:lnTo>
                        <a:pt x="1361" y="460"/>
                      </a:lnTo>
                      <a:lnTo>
                        <a:pt x="1360" y="460"/>
                      </a:lnTo>
                      <a:lnTo>
                        <a:pt x="1358" y="460"/>
                      </a:lnTo>
                      <a:lnTo>
                        <a:pt x="1358" y="459"/>
                      </a:lnTo>
                      <a:lnTo>
                        <a:pt x="1358" y="457"/>
                      </a:lnTo>
                      <a:lnTo>
                        <a:pt x="1358" y="456"/>
                      </a:lnTo>
                      <a:lnTo>
                        <a:pt x="1360" y="456"/>
                      </a:lnTo>
                      <a:lnTo>
                        <a:pt x="1360" y="455"/>
                      </a:lnTo>
                      <a:lnTo>
                        <a:pt x="1361" y="455"/>
                      </a:lnTo>
                      <a:lnTo>
                        <a:pt x="1361" y="456"/>
                      </a:lnTo>
                      <a:close/>
                      <a:moveTo>
                        <a:pt x="1373" y="591"/>
                      </a:moveTo>
                      <a:lnTo>
                        <a:pt x="1373" y="592"/>
                      </a:lnTo>
                      <a:lnTo>
                        <a:pt x="1374" y="592"/>
                      </a:lnTo>
                      <a:lnTo>
                        <a:pt x="1374" y="591"/>
                      </a:lnTo>
                      <a:lnTo>
                        <a:pt x="1375" y="591"/>
                      </a:lnTo>
                      <a:lnTo>
                        <a:pt x="1375" y="592"/>
                      </a:lnTo>
                      <a:lnTo>
                        <a:pt x="1374" y="593"/>
                      </a:lnTo>
                      <a:lnTo>
                        <a:pt x="1375" y="593"/>
                      </a:lnTo>
                      <a:lnTo>
                        <a:pt x="1374" y="594"/>
                      </a:lnTo>
                      <a:lnTo>
                        <a:pt x="1374" y="595"/>
                      </a:lnTo>
                      <a:lnTo>
                        <a:pt x="1375" y="595"/>
                      </a:lnTo>
                      <a:lnTo>
                        <a:pt x="1374" y="595"/>
                      </a:lnTo>
                      <a:lnTo>
                        <a:pt x="1374" y="596"/>
                      </a:lnTo>
                      <a:lnTo>
                        <a:pt x="1374" y="597"/>
                      </a:lnTo>
                      <a:lnTo>
                        <a:pt x="1373" y="597"/>
                      </a:lnTo>
                      <a:lnTo>
                        <a:pt x="1371" y="597"/>
                      </a:lnTo>
                      <a:lnTo>
                        <a:pt x="1370" y="597"/>
                      </a:lnTo>
                      <a:lnTo>
                        <a:pt x="1369" y="597"/>
                      </a:lnTo>
                      <a:lnTo>
                        <a:pt x="1368" y="597"/>
                      </a:lnTo>
                      <a:lnTo>
                        <a:pt x="1368" y="598"/>
                      </a:lnTo>
                      <a:lnTo>
                        <a:pt x="1367" y="598"/>
                      </a:lnTo>
                      <a:lnTo>
                        <a:pt x="1367" y="600"/>
                      </a:lnTo>
                      <a:lnTo>
                        <a:pt x="1366" y="600"/>
                      </a:lnTo>
                      <a:lnTo>
                        <a:pt x="1367" y="598"/>
                      </a:lnTo>
                      <a:lnTo>
                        <a:pt x="1367" y="597"/>
                      </a:lnTo>
                      <a:lnTo>
                        <a:pt x="1367" y="596"/>
                      </a:lnTo>
                      <a:lnTo>
                        <a:pt x="1366" y="596"/>
                      </a:lnTo>
                      <a:lnTo>
                        <a:pt x="1365" y="596"/>
                      </a:lnTo>
                      <a:lnTo>
                        <a:pt x="1365" y="595"/>
                      </a:lnTo>
                      <a:lnTo>
                        <a:pt x="1364" y="594"/>
                      </a:lnTo>
                      <a:lnTo>
                        <a:pt x="1364" y="593"/>
                      </a:lnTo>
                      <a:lnTo>
                        <a:pt x="1364" y="592"/>
                      </a:lnTo>
                      <a:lnTo>
                        <a:pt x="1363" y="592"/>
                      </a:lnTo>
                      <a:lnTo>
                        <a:pt x="1364" y="592"/>
                      </a:lnTo>
                      <a:lnTo>
                        <a:pt x="1365" y="593"/>
                      </a:lnTo>
                      <a:lnTo>
                        <a:pt x="1366" y="593"/>
                      </a:lnTo>
                      <a:lnTo>
                        <a:pt x="1366" y="592"/>
                      </a:lnTo>
                      <a:lnTo>
                        <a:pt x="1367" y="592"/>
                      </a:lnTo>
                      <a:lnTo>
                        <a:pt x="1368" y="592"/>
                      </a:lnTo>
                      <a:lnTo>
                        <a:pt x="1369" y="592"/>
                      </a:lnTo>
                      <a:lnTo>
                        <a:pt x="1370" y="592"/>
                      </a:lnTo>
                      <a:lnTo>
                        <a:pt x="1371" y="592"/>
                      </a:lnTo>
                      <a:lnTo>
                        <a:pt x="1373" y="592"/>
                      </a:lnTo>
                      <a:lnTo>
                        <a:pt x="1373" y="591"/>
                      </a:lnTo>
                      <a:close/>
                      <a:moveTo>
                        <a:pt x="1352" y="537"/>
                      </a:moveTo>
                      <a:lnTo>
                        <a:pt x="1351" y="537"/>
                      </a:lnTo>
                      <a:lnTo>
                        <a:pt x="1352" y="537"/>
                      </a:lnTo>
                      <a:lnTo>
                        <a:pt x="1351" y="537"/>
                      </a:lnTo>
                      <a:lnTo>
                        <a:pt x="1351" y="538"/>
                      </a:lnTo>
                      <a:lnTo>
                        <a:pt x="1350" y="538"/>
                      </a:lnTo>
                      <a:lnTo>
                        <a:pt x="1350" y="539"/>
                      </a:lnTo>
                      <a:lnTo>
                        <a:pt x="1350" y="540"/>
                      </a:lnTo>
                      <a:lnTo>
                        <a:pt x="1350" y="541"/>
                      </a:lnTo>
                      <a:lnTo>
                        <a:pt x="1349" y="540"/>
                      </a:lnTo>
                      <a:lnTo>
                        <a:pt x="1349" y="539"/>
                      </a:lnTo>
                      <a:lnTo>
                        <a:pt x="1348" y="539"/>
                      </a:lnTo>
                      <a:lnTo>
                        <a:pt x="1347" y="540"/>
                      </a:lnTo>
                      <a:lnTo>
                        <a:pt x="1345" y="541"/>
                      </a:lnTo>
                      <a:lnTo>
                        <a:pt x="1344" y="541"/>
                      </a:lnTo>
                      <a:lnTo>
                        <a:pt x="1344" y="542"/>
                      </a:lnTo>
                      <a:lnTo>
                        <a:pt x="1344" y="543"/>
                      </a:lnTo>
                      <a:lnTo>
                        <a:pt x="1343" y="544"/>
                      </a:lnTo>
                      <a:lnTo>
                        <a:pt x="1343" y="545"/>
                      </a:lnTo>
                      <a:lnTo>
                        <a:pt x="1342" y="546"/>
                      </a:lnTo>
                      <a:lnTo>
                        <a:pt x="1343" y="546"/>
                      </a:lnTo>
                      <a:lnTo>
                        <a:pt x="1344" y="545"/>
                      </a:lnTo>
                      <a:lnTo>
                        <a:pt x="1343" y="545"/>
                      </a:lnTo>
                      <a:lnTo>
                        <a:pt x="1344" y="545"/>
                      </a:lnTo>
                      <a:lnTo>
                        <a:pt x="1344" y="544"/>
                      </a:lnTo>
                      <a:lnTo>
                        <a:pt x="1345" y="544"/>
                      </a:lnTo>
                      <a:lnTo>
                        <a:pt x="1347" y="543"/>
                      </a:lnTo>
                      <a:lnTo>
                        <a:pt x="1347" y="544"/>
                      </a:lnTo>
                      <a:lnTo>
                        <a:pt x="1345" y="545"/>
                      </a:lnTo>
                      <a:lnTo>
                        <a:pt x="1345" y="544"/>
                      </a:lnTo>
                      <a:lnTo>
                        <a:pt x="1344" y="544"/>
                      </a:lnTo>
                      <a:lnTo>
                        <a:pt x="1344" y="545"/>
                      </a:lnTo>
                      <a:lnTo>
                        <a:pt x="1344" y="546"/>
                      </a:lnTo>
                      <a:lnTo>
                        <a:pt x="1345" y="546"/>
                      </a:lnTo>
                      <a:lnTo>
                        <a:pt x="1344" y="547"/>
                      </a:lnTo>
                      <a:lnTo>
                        <a:pt x="1345" y="549"/>
                      </a:lnTo>
                      <a:lnTo>
                        <a:pt x="1344" y="549"/>
                      </a:lnTo>
                      <a:lnTo>
                        <a:pt x="1344" y="550"/>
                      </a:lnTo>
                      <a:lnTo>
                        <a:pt x="1343" y="550"/>
                      </a:lnTo>
                      <a:lnTo>
                        <a:pt x="1343" y="551"/>
                      </a:lnTo>
                      <a:lnTo>
                        <a:pt x="1342" y="551"/>
                      </a:lnTo>
                      <a:lnTo>
                        <a:pt x="1343" y="552"/>
                      </a:lnTo>
                      <a:lnTo>
                        <a:pt x="1342" y="551"/>
                      </a:lnTo>
                      <a:lnTo>
                        <a:pt x="1341" y="551"/>
                      </a:lnTo>
                      <a:lnTo>
                        <a:pt x="1340" y="551"/>
                      </a:lnTo>
                      <a:lnTo>
                        <a:pt x="1339" y="551"/>
                      </a:lnTo>
                      <a:lnTo>
                        <a:pt x="1339" y="552"/>
                      </a:lnTo>
                      <a:lnTo>
                        <a:pt x="1338" y="553"/>
                      </a:lnTo>
                      <a:lnTo>
                        <a:pt x="1339" y="552"/>
                      </a:lnTo>
                      <a:lnTo>
                        <a:pt x="1339" y="551"/>
                      </a:lnTo>
                      <a:lnTo>
                        <a:pt x="1340" y="550"/>
                      </a:lnTo>
                      <a:lnTo>
                        <a:pt x="1340" y="551"/>
                      </a:lnTo>
                      <a:lnTo>
                        <a:pt x="1340" y="550"/>
                      </a:lnTo>
                      <a:lnTo>
                        <a:pt x="1341" y="549"/>
                      </a:lnTo>
                      <a:lnTo>
                        <a:pt x="1341" y="547"/>
                      </a:lnTo>
                      <a:lnTo>
                        <a:pt x="1341" y="546"/>
                      </a:lnTo>
                      <a:lnTo>
                        <a:pt x="1342" y="546"/>
                      </a:lnTo>
                      <a:lnTo>
                        <a:pt x="1342" y="545"/>
                      </a:lnTo>
                      <a:lnTo>
                        <a:pt x="1342" y="544"/>
                      </a:lnTo>
                      <a:lnTo>
                        <a:pt x="1343" y="544"/>
                      </a:lnTo>
                      <a:lnTo>
                        <a:pt x="1343" y="543"/>
                      </a:lnTo>
                      <a:lnTo>
                        <a:pt x="1343" y="542"/>
                      </a:lnTo>
                      <a:lnTo>
                        <a:pt x="1344" y="542"/>
                      </a:lnTo>
                      <a:lnTo>
                        <a:pt x="1344" y="541"/>
                      </a:lnTo>
                      <a:lnTo>
                        <a:pt x="1345" y="540"/>
                      </a:lnTo>
                      <a:lnTo>
                        <a:pt x="1345" y="539"/>
                      </a:lnTo>
                      <a:lnTo>
                        <a:pt x="1347" y="538"/>
                      </a:lnTo>
                      <a:lnTo>
                        <a:pt x="1347" y="537"/>
                      </a:lnTo>
                      <a:lnTo>
                        <a:pt x="1348" y="536"/>
                      </a:lnTo>
                      <a:lnTo>
                        <a:pt x="1350" y="534"/>
                      </a:lnTo>
                      <a:lnTo>
                        <a:pt x="1350" y="533"/>
                      </a:lnTo>
                      <a:lnTo>
                        <a:pt x="1351" y="533"/>
                      </a:lnTo>
                      <a:lnTo>
                        <a:pt x="1352" y="532"/>
                      </a:lnTo>
                      <a:lnTo>
                        <a:pt x="1352" y="534"/>
                      </a:lnTo>
                      <a:lnTo>
                        <a:pt x="1352" y="536"/>
                      </a:lnTo>
                      <a:lnTo>
                        <a:pt x="1352" y="537"/>
                      </a:lnTo>
                      <a:close/>
                      <a:moveTo>
                        <a:pt x="1271" y="493"/>
                      </a:moveTo>
                      <a:lnTo>
                        <a:pt x="1272" y="493"/>
                      </a:lnTo>
                      <a:lnTo>
                        <a:pt x="1272" y="494"/>
                      </a:lnTo>
                      <a:lnTo>
                        <a:pt x="1273" y="494"/>
                      </a:lnTo>
                      <a:lnTo>
                        <a:pt x="1274" y="494"/>
                      </a:lnTo>
                      <a:lnTo>
                        <a:pt x="1274" y="495"/>
                      </a:lnTo>
                      <a:lnTo>
                        <a:pt x="1275" y="495"/>
                      </a:lnTo>
                      <a:lnTo>
                        <a:pt x="1275" y="497"/>
                      </a:lnTo>
                      <a:lnTo>
                        <a:pt x="1276" y="497"/>
                      </a:lnTo>
                      <a:lnTo>
                        <a:pt x="1275" y="497"/>
                      </a:lnTo>
                      <a:lnTo>
                        <a:pt x="1275" y="498"/>
                      </a:lnTo>
                      <a:lnTo>
                        <a:pt x="1275" y="499"/>
                      </a:lnTo>
                      <a:lnTo>
                        <a:pt x="1274" y="499"/>
                      </a:lnTo>
                      <a:lnTo>
                        <a:pt x="1275" y="500"/>
                      </a:lnTo>
                      <a:lnTo>
                        <a:pt x="1275" y="501"/>
                      </a:lnTo>
                      <a:lnTo>
                        <a:pt x="1275" y="502"/>
                      </a:lnTo>
                      <a:lnTo>
                        <a:pt x="1275" y="503"/>
                      </a:lnTo>
                      <a:lnTo>
                        <a:pt x="1276" y="504"/>
                      </a:lnTo>
                      <a:lnTo>
                        <a:pt x="1277" y="504"/>
                      </a:lnTo>
                      <a:lnTo>
                        <a:pt x="1277" y="505"/>
                      </a:lnTo>
                      <a:lnTo>
                        <a:pt x="1278" y="505"/>
                      </a:lnTo>
                      <a:lnTo>
                        <a:pt x="1278" y="506"/>
                      </a:lnTo>
                      <a:lnTo>
                        <a:pt x="1278" y="507"/>
                      </a:lnTo>
                      <a:lnTo>
                        <a:pt x="1277" y="507"/>
                      </a:lnTo>
                      <a:lnTo>
                        <a:pt x="1277" y="508"/>
                      </a:lnTo>
                      <a:lnTo>
                        <a:pt x="1277" y="507"/>
                      </a:lnTo>
                      <a:lnTo>
                        <a:pt x="1276" y="507"/>
                      </a:lnTo>
                      <a:lnTo>
                        <a:pt x="1276" y="506"/>
                      </a:lnTo>
                      <a:lnTo>
                        <a:pt x="1275" y="506"/>
                      </a:lnTo>
                      <a:lnTo>
                        <a:pt x="1274" y="506"/>
                      </a:lnTo>
                      <a:lnTo>
                        <a:pt x="1274" y="505"/>
                      </a:lnTo>
                      <a:lnTo>
                        <a:pt x="1273" y="504"/>
                      </a:lnTo>
                      <a:lnTo>
                        <a:pt x="1272" y="504"/>
                      </a:lnTo>
                      <a:lnTo>
                        <a:pt x="1273" y="504"/>
                      </a:lnTo>
                      <a:lnTo>
                        <a:pt x="1272" y="504"/>
                      </a:lnTo>
                      <a:lnTo>
                        <a:pt x="1272" y="503"/>
                      </a:lnTo>
                      <a:lnTo>
                        <a:pt x="1272" y="502"/>
                      </a:lnTo>
                      <a:lnTo>
                        <a:pt x="1272" y="501"/>
                      </a:lnTo>
                      <a:lnTo>
                        <a:pt x="1273" y="500"/>
                      </a:lnTo>
                      <a:lnTo>
                        <a:pt x="1273" y="501"/>
                      </a:lnTo>
                      <a:lnTo>
                        <a:pt x="1273" y="502"/>
                      </a:lnTo>
                      <a:lnTo>
                        <a:pt x="1274" y="502"/>
                      </a:lnTo>
                      <a:lnTo>
                        <a:pt x="1273" y="502"/>
                      </a:lnTo>
                      <a:lnTo>
                        <a:pt x="1274" y="503"/>
                      </a:lnTo>
                      <a:lnTo>
                        <a:pt x="1273" y="503"/>
                      </a:lnTo>
                      <a:lnTo>
                        <a:pt x="1274" y="503"/>
                      </a:lnTo>
                      <a:lnTo>
                        <a:pt x="1274" y="502"/>
                      </a:lnTo>
                      <a:lnTo>
                        <a:pt x="1273" y="502"/>
                      </a:lnTo>
                      <a:lnTo>
                        <a:pt x="1274" y="501"/>
                      </a:lnTo>
                      <a:lnTo>
                        <a:pt x="1273" y="501"/>
                      </a:lnTo>
                      <a:lnTo>
                        <a:pt x="1273" y="500"/>
                      </a:lnTo>
                      <a:lnTo>
                        <a:pt x="1272" y="500"/>
                      </a:lnTo>
                      <a:lnTo>
                        <a:pt x="1273" y="499"/>
                      </a:lnTo>
                      <a:lnTo>
                        <a:pt x="1272" y="499"/>
                      </a:lnTo>
                      <a:lnTo>
                        <a:pt x="1272" y="498"/>
                      </a:lnTo>
                      <a:lnTo>
                        <a:pt x="1272" y="497"/>
                      </a:lnTo>
                      <a:lnTo>
                        <a:pt x="1272" y="495"/>
                      </a:lnTo>
                      <a:lnTo>
                        <a:pt x="1271" y="495"/>
                      </a:lnTo>
                      <a:lnTo>
                        <a:pt x="1271" y="494"/>
                      </a:lnTo>
                      <a:lnTo>
                        <a:pt x="1270" y="494"/>
                      </a:lnTo>
                      <a:lnTo>
                        <a:pt x="1268" y="493"/>
                      </a:lnTo>
                      <a:lnTo>
                        <a:pt x="1267" y="494"/>
                      </a:lnTo>
                      <a:lnTo>
                        <a:pt x="1266" y="494"/>
                      </a:lnTo>
                      <a:lnTo>
                        <a:pt x="1265" y="494"/>
                      </a:lnTo>
                      <a:lnTo>
                        <a:pt x="1265" y="493"/>
                      </a:lnTo>
                      <a:lnTo>
                        <a:pt x="1266" y="493"/>
                      </a:lnTo>
                      <a:lnTo>
                        <a:pt x="1267" y="493"/>
                      </a:lnTo>
                      <a:lnTo>
                        <a:pt x="1268" y="492"/>
                      </a:lnTo>
                      <a:lnTo>
                        <a:pt x="1270" y="491"/>
                      </a:lnTo>
                      <a:lnTo>
                        <a:pt x="1270" y="490"/>
                      </a:lnTo>
                      <a:lnTo>
                        <a:pt x="1270" y="491"/>
                      </a:lnTo>
                      <a:lnTo>
                        <a:pt x="1270" y="492"/>
                      </a:lnTo>
                      <a:lnTo>
                        <a:pt x="1271" y="493"/>
                      </a:lnTo>
                      <a:close/>
                      <a:moveTo>
                        <a:pt x="1361" y="474"/>
                      </a:moveTo>
                      <a:lnTo>
                        <a:pt x="1362" y="474"/>
                      </a:lnTo>
                      <a:lnTo>
                        <a:pt x="1363" y="474"/>
                      </a:lnTo>
                      <a:lnTo>
                        <a:pt x="1363" y="475"/>
                      </a:lnTo>
                      <a:lnTo>
                        <a:pt x="1364" y="475"/>
                      </a:lnTo>
                      <a:lnTo>
                        <a:pt x="1363" y="475"/>
                      </a:lnTo>
                      <a:lnTo>
                        <a:pt x="1362" y="475"/>
                      </a:lnTo>
                      <a:lnTo>
                        <a:pt x="1361" y="475"/>
                      </a:lnTo>
                      <a:lnTo>
                        <a:pt x="1360" y="476"/>
                      </a:lnTo>
                      <a:lnTo>
                        <a:pt x="1358" y="477"/>
                      </a:lnTo>
                      <a:lnTo>
                        <a:pt x="1358" y="478"/>
                      </a:lnTo>
                      <a:lnTo>
                        <a:pt x="1357" y="478"/>
                      </a:lnTo>
                      <a:lnTo>
                        <a:pt x="1357" y="479"/>
                      </a:lnTo>
                      <a:lnTo>
                        <a:pt x="1357" y="480"/>
                      </a:lnTo>
                      <a:lnTo>
                        <a:pt x="1356" y="480"/>
                      </a:lnTo>
                      <a:lnTo>
                        <a:pt x="1356" y="481"/>
                      </a:lnTo>
                      <a:lnTo>
                        <a:pt x="1355" y="482"/>
                      </a:lnTo>
                      <a:lnTo>
                        <a:pt x="1354" y="482"/>
                      </a:lnTo>
                      <a:lnTo>
                        <a:pt x="1354" y="484"/>
                      </a:lnTo>
                      <a:lnTo>
                        <a:pt x="1353" y="485"/>
                      </a:lnTo>
                      <a:lnTo>
                        <a:pt x="1353" y="486"/>
                      </a:lnTo>
                      <a:lnTo>
                        <a:pt x="1353" y="487"/>
                      </a:lnTo>
                      <a:lnTo>
                        <a:pt x="1353" y="488"/>
                      </a:lnTo>
                      <a:lnTo>
                        <a:pt x="1353" y="489"/>
                      </a:lnTo>
                      <a:lnTo>
                        <a:pt x="1352" y="489"/>
                      </a:lnTo>
                      <a:lnTo>
                        <a:pt x="1352" y="490"/>
                      </a:lnTo>
                      <a:lnTo>
                        <a:pt x="1353" y="491"/>
                      </a:lnTo>
                      <a:lnTo>
                        <a:pt x="1353" y="492"/>
                      </a:lnTo>
                      <a:lnTo>
                        <a:pt x="1353" y="493"/>
                      </a:lnTo>
                      <a:lnTo>
                        <a:pt x="1353" y="492"/>
                      </a:lnTo>
                      <a:lnTo>
                        <a:pt x="1352" y="492"/>
                      </a:lnTo>
                      <a:lnTo>
                        <a:pt x="1352" y="491"/>
                      </a:lnTo>
                      <a:lnTo>
                        <a:pt x="1352" y="490"/>
                      </a:lnTo>
                      <a:lnTo>
                        <a:pt x="1351" y="490"/>
                      </a:lnTo>
                      <a:lnTo>
                        <a:pt x="1351" y="489"/>
                      </a:lnTo>
                      <a:lnTo>
                        <a:pt x="1352" y="489"/>
                      </a:lnTo>
                      <a:lnTo>
                        <a:pt x="1352" y="488"/>
                      </a:lnTo>
                      <a:lnTo>
                        <a:pt x="1351" y="488"/>
                      </a:lnTo>
                      <a:lnTo>
                        <a:pt x="1351" y="487"/>
                      </a:lnTo>
                      <a:lnTo>
                        <a:pt x="1351" y="486"/>
                      </a:lnTo>
                      <a:lnTo>
                        <a:pt x="1351" y="485"/>
                      </a:lnTo>
                      <a:lnTo>
                        <a:pt x="1351" y="484"/>
                      </a:lnTo>
                      <a:lnTo>
                        <a:pt x="1351" y="482"/>
                      </a:lnTo>
                      <a:lnTo>
                        <a:pt x="1352" y="482"/>
                      </a:lnTo>
                      <a:lnTo>
                        <a:pt x="1353" y="482"/>
                      </a:lnTo>
                      <a:lnTo>
                        <a:pt x="1353" y="481"/>
                      </a:lnTo>
                      <a:lnTo>
                        <a:pt x="1353" y="480"/>
                      </a:lnTo>
                      <a:lnTo>
                        <a:pt x="1352" y="480"/>
                      </a:lnTo>
                      <a:lnTo>
                        <a:pt x="1352" y="479"/>
                      </a:lnTo>
                      <a:lnTo>
                        <a:pt x="1353" y="479"/>
                      </a:lnTo>
                      <a:lnTo>
                        <a:pt x="1354" y="479"/>
                      </a:lnTo>
                      <a:lnTo>
                        <a:pt x="1355" y="479"/>
                      </a:lnTo>
                      <a:lnTo>
                        <a:pt x="1355" y="478"/>
                      </a:lnTo>
                      <a:lnTo>
                        <a:pt x="1355" y="477"/>
                      </a:lnTo>
                      <a:lnTo>
                        <a:pt x="1356" y="477"/>
                      </a:lnTo>
                      <a:lnTo>
                        <a:pt x="1356" y="476"/>
                      </a:lnTo>
                      <a:lnTo>
                        <a:pt x="1357" y="476"/>
                      </a:lnTo>
                      <a:lnTo>
                        <a:pt x="1358" y="476"/>
                      </a:lnTo>
                      <a:lnTo>
                        <a:pt x="1358" y="475"/>
                      </a:lnTo>
                      <a:lnTo>
                        <a:pt x="1360" y="475"/>
                      </a:lnTo>
                      <a:lnTo>
                        <a:pt x="1360" y="474"/>
                      </a:lnTo>
                      <a:lnTo>
                        <a:pt x="1361" y="474"/>
                      </a:lnTo>
                      <a:lnTo>
                        <a:pt x="1361" y="473"/>
                      </a:lnTo>
                      <a:lnTo>
                        <a:pt x="1361" y="472"/>
                      </a:lnTo>
                      <a:lnTo>
                        <a:pt x="1361" y="470"/>
                      </a:lnTo>
                      <a:lnTo>
                        <a:pt x="1361" y="472"/>
                      </a:lnTo>
                      <a:lnTo>
                        <a:pt x="1361" y="473"/>
                      </a:lnTo>
                      <a:lnTo>
                        <a:pt x="1361" y="474"/>
                      </a:lnTo>
                      <a:close/>
                      <a:moveTo>
                        <a:pt x="1254" y="686"/>
                      </a:moveTo>
                      <a:lnTo>
                        <a:pt x="1255" y="686"/>
                      </a:lnTo>
                      <a:lnTo>
                        <a:pt x="1255" y="687"/>
                      </a:lnTo>
                      <a:lnTo>
                        <a:pt x="1254" y="687"/>
                      </a:lnTo>
                      <a:lnTo>
                        <a:pt x="1255" y="688"/>
                      </a:lnTo>
                      <a:lnTo>
                        <a:pt x="1255" y="690"/>
                      </a:lnTo>
                      <a:lnTo>
                        <a:pt x="1255" y="691"/>
                      </a:lnTo>
                      <a:lnTo>
                        <a:pt x="1257" y="691"/>
                      </a:lnTo>
                      <a:lnTo>
                        <a:pt x="1257" y="692"/>
                      </a:lnTo>
                      <a:lnTo>
                        <a:pt x="1258" y="692"/>
                      </a:lnTo>
                      <a:lnTo>
                        <a:pt x="1258" y="693"/>
                      </a:lnTo>
                      <a:lnTo>
                        <a:pt x="1258" y="694"/>
                      </a:lnTo>
                      <a:lnTo>
                        <a:pt x="1259" y="694"/>
                      </a:lnTo>
                      <a:lnTo>
                        <a:pt x="1259" y="695"/>
                      </a:lnTo>
                      <a:lnTo>
                        <a:pt x="1258" y="695"/>
                      </a:lnTo>
                      <a:lnTo>
                        <a:pt x="1259" y="696"/>
                      </a:lnTo>
                      <a:lnTo>
                        <a:pt x="1259" y="697"/>
                      </a:lnTo>
                      <a:lnTo>
                        <a:pt x="1259" y="698"/>
                      </a:lnTo>
                      <a:lnTo>
                        <a:pt x="1258" y="698"/>
                      </a:lnTo>
                      <a:lnTo>
                        <a:pt x="1259" y="698"/>
                      </a:lnTo>
                      <a:lnTo>
                        <a:pt x="1259" y="697"/>
                      </a:lnTo>
                      <a:lnTo>
                        <a:pt x="1258" y="697"/>
                      </a:lnTo>
                      <a:lnTo>
                        <a:pt x="1258" y="696"/>
                      </a:lnTo>
                      <a:lnTo>
                        <a:pt x="1258" y="695"/>
                      </a:lnTo>
                      <a:lnTo>
                        <a:pt x="1257" y="695"/>
                      </a:lnTo>
                      <a:lnTo>
                        <a:pt x="1257" y="696"/>
                      </a:lnTo>
                      <a:lnTo>
                        <a:pt x="1257" y="695"/>
                      </a:lnTo>
                      <a:lnTo>
                        <a:pt x="1255" y="695"/>
                      </a:lnTo>
                      <a:lnTo>
                        <a:pt x="1254" y="694"/>
                      </a:lnTo>
                      <a:lnTo>
                        <a:pt x="1254" y="693"/>
                      </a:lnTo>
                      <a:lnTo>
                        <a:pt x="1255" y="693"/>
                      </a:lnTo>
                      <a:lnTo>
                        <a:pt x="1254" y="692"/>
                      </a:lnTo>
                      <a:lnTo>
                        <a:pt x="1253" y="692"/>
                      </a:lnTo>
                      <a:lnTo>
                        <a:pt x="1253" y="693"/>
                      </a:lnTo>
                      <a:lnTo>
                        <a:pt x="1252" y="693"/>
                      </a:lnTo>
                      <a:lnTo>
                        <a:pt x="1252" y="694"/>
                      </a:lnTo>
                      <a:lnTo>
                        <a:pt x="1251" y="694"/>
                      </a:lnTo>
                      <a:lnTo>
                        <a:pt x="1251" y="693"/>
                      </a:lnTo>
                      <a:lnTo>
                        <a:pt x="1252" y="693"/>
                      </a:lnTo>
                      <a:lnTo>
                        <a:pt x="1251" y="692"/>
                      </a:lnTo>
                      <a:lnTo>
                        <a:pt x="1251" y="691"/>
                      </a:lnTo>
                      <a:lnTo>
                        <a:pt x="1251" y="690"/>
                      </a:lnTo>
                      <a:lnTo>
                        <a:pt x="1251" y="688"/>
                      </a:lnTo>
                      <a:lnTo>
                        <a:pt x="1250" y="688"/>
                      </a:lnTo>
                      <a:lnTo>
                        <a:pt x="1250" y="687"/>
                      </a:lnTo>
                      <a:lnTo>
                        <a:pt x="1250" y="686"/>
                      </a:lnTo>
                      <a:lnTo>
                        <a:pt x="1250" y="687"/>
                      </a:lnTo>
                      <a:lnTo>
                        <a:pt x="1251" y="687"/>
                      </a:lnTo>
                      <a:lnTo>
                        <a:pt x="1252" y="687"/>
                      </a:lnTo>
                      <a:lnTo>
                        <a:pt x="1251" y="687"/>
                      </a:lnTo>
                      <a:lnTo>
                        <a:pt x="1251" y="686"/>
                      </a:lnTo>
                      <a:lnTo>
                        <a:pt x="1250" y="686"/>
                      </a:lnTo>
                      <a:lnTo>
                        <a:pt x="1250" y="687"/>
                      </a:lnTo>
                      <a:lnTo>
                        <a:pt x="1249" y="686"/>
                      </a:lnTo>
                      <a:lnTo>
                        <a:pt x="1252" y="685"/>
                      </a:lnTo>
                      <a:lnTo>
                        <a:pt x="1253" y="685"/>
                      </a:lnTo>
                      <a:lnTo>
                        <a:pt x="1254" y="685"/>
                      </a:lnTo>
                      <a:lnTo>
                        <a:pt x="1254" y="686"/>
                      </a:lnTo>
                      <a:close/>
                      <a:moveTo>
                        <a:pt x="1350" y="595"/>
                      </a:moveTo>
                      <a:lnTo>
                        <a:pt x="1351" y="596"/>
                      </a:lnTo>
                      <a:lnTo>
                        <a:pt x="1350" y="596"/>
                      </a:lnTo>
                      <a:lnTo>
                        <a:pt x="1350" y="597"/>
                      </a:lnTo>
                      <a:lnTo>
                        <a:pt x="1351" y="597"/>
                      </a:lnTo>
                      <a:lnTo>
                        <a:pt x="1350" y="597"/>
                      </a:lnTo>
                      <a:lnTo>
                        <a:pt x="1350" y="596"/>
                      </a:lnTo>
                      <a:lnTo>
                        <a:pt x="1349" y="596"/>
                      </a:lnTo>
                      <a:lnTo>
                        <a:pt x="1349" y="597"/>
                      </a:lnTo>
                      <a:lnTo>
                        <a:pt x="1349" y="598"/>
                      </a:lnTo>
                      <a:lnTo>
                        <a:pt x="1350" y="598"/>
                      </a:lnTo>
                      <a:lnTo>
                        <a:pt x="1350" y="600"/>
                      </a:lnTo>
                      <a:lnTo>
                        <a:pt x="1351" y="600"/>
                      </a:lnTo>
                      <a:lnTo>
                        <a:pt x="1351" y="598"/>
                      </a:lnTo>
                      <a:lnTo>
                        <a:pt x="1352" y="598"/>
                      </a:lnTo>
                      <a:lnTo>
                        <a:pt x="1353" y="598"/>
                      </a:lnTo>
                      <a:lnTo>
                        <a:pt x="1353" y="600"/>
                      </a:lnTo>
                      <a:lnTo>
                        <a:pt x="1355" y="601"/>
                      </a:lnTo>
                      <a:lnTo>
                        <a:pt x="1354" y="601"/>
                      </a:lnTo>
                      <a:lnTo>
                        <a:pt x="1353" y="601"/>
                      </a:lnTo>
                      <a:lnTo>
                        <a:pt x="1352" y="601"/>
                      </a:lnTo>
                      <a:lnTo>
                        <a:pt x="1351" y="601"/>
                      </a:lnTo>
                      <a:lnTo>
                        <a:pt x="1350" y="601"/>
                      </a:lnTo>
                      <a:lnTo>
                        <a:pt x="1348" y="603"/>
                      </a:lnTo>
                      <a:lnTo>
                        <a:pt x="1347" y="603"/>
                      </a:lnTo>
                      <a:lnTo>
                        <a:pt x="1345" y="603"/>
                      </a:lnTo>
                      <a:lnTo>
                        <a:pt x="1344" y="603"/>
                      </a:lnTo>
                      <a:lnTo>
                        <a:pt x="1344" y="602"/>
                      </a:lnTo>
                      <a:lnTo>
                        <a:pt x="1344" y="600"/>
                      </a:lnTo>
                      <a:lnTo>
                        <a:pt x="1343" y="600"/>
                      </a:lnTo>
                      <a:lnTo>
                        <a:pt x="1344" y="598"/>
                      </a:lnTo>
                      <a:lnTo>
                        <a:pt x="1344" y="597"/>
                      </a:lnTo>
                      <a:lnTo>
                        <a:pt x="1344" y="596"/>
                      </a:lnTo>
                      <a:lnTo>
                        <a:pt x="1343" y="596"/>
                      </a:lnTo>
                      <a:lnTo>
                        <a:pt x="1344" y="595"/>
                      </a:lnTo>
                      <a:lnTo>
                        <a:pt x="1344" y="596"/>
                      </a:lnTo>
                      <a:lnTo>
                        <a:pt x="1344" y="597"/>
                      </a:lnTo>
                      <a:lnTo>
                        <a:pt x="1345" y="597"/>
                      </a:lnTo>
                      <a:lnTo>
                        <a:pt x="1345" y="596"/>
                      </a:lnTo>
                      <a:lnTo>
                        <a:pt x="1345" y="597"/>
                      </a:lnTo>
                      <a:lnTo>
                        <a:pt x="1347" y="597"/>
                      </a:lnTo>
                      <a:lnTo>
                        <a:pt x="1347" y="596"/>
                      </a:lnTo>
                      <a:lnTo>
                        <a:pt x="1347" y="597"/>
                      </a:lnTo>
                      <a:lnTo>
                        <a:pt x="1347" y="596"/>
                      </a:lnTo>
                      <a:lnTo>
                        <a:pt x="1345" y="596"/>
                      </a:lnTo>
                      <a:lnTo>
                        <a:pt x="1347" y="596"/>
                      </a:lnTo>
                      <a:lnTo>
                        <a:pt x="1347" y="595"/>
                      </a:lnTo>
                      <a:lnTo>
                        <a:pt x="1347" y="596"/>
                      </a:lnTo>
                      <a:lnTo>
                        <a:pt x="1348" y="596"/>
                      </a:lnTo>
                      <a:lnTo>
                        <a:pt x="1348" y="595"/>
                      </a:lnTo>
                      <a:lnTo>
                        <a:pt x="1348" y="596"/>
                      </a:lnTo>
                      <a:lnTo>
                        <a:pt x="1349" y="596"/>
                      </a:lnTo>
                      <a:lnTo>
                        <a:pt x="1349" y="595"/>
                      </a:lnTo>
                      <a:lnTo>
                        <a:pt x="1349" y="596"/>
                      </a:lnTo>
                      <a:lnTo>
                        <a:pt x="1349" y="595"/>
                      </a:lnTo>
                      <a:lnTo>
                        <a:pt x="1350" y="595"/>
                      </a:lnTo>
                      <a:lnTo>
                        <a:pt x="1350" y="594"/>
                      </a:lnTo>
                      <a:lnTo>
                        <a:pt x="1351" y="594"/>
                      </a:lnTo>
                      <a:lnTo>
                        <a:pt x="1350" y="595"/>
                      </a:lnTo>
                      <a:close/>
                      <a:moveTo>
                        <a:pt x="1381" y="464"/>
                      </a:moveTo>
                      <a:lnTo>
                        <a:pt x="1381" y="465"/>
                      </a:lnTo>
                      <a:lnTo>
                        <a:pt x="1380" y="466"/>
                      </a:lnTo>
                      <a:lnTo>
                        <a:pt x="1380" y="467"/>
                      </a:lnTo>
                      <a:lnTo>
                        <a:pt x="1379" y="468"/>
                      </a:lnTo>
                      <a:lnTo>
                        <a:pt x="1380" y="469"/>
                      </a:lnTo>
                      <a:lnTo>
                        <a:pt x="1381" y="470"/>
                      </a:lnTo>
                      <a:lnTo>
                        <a:pt x="1381" y="472"/>
                      </a:lnTo>
                      <a:lnTo>
                        <a:pt x="1380" y="472"/>
                      </a:lnTo>
                      <a:lnTo>
                        <a:pt x="1380" y="473"/>
                      </a:lnTo>
                      <a:lnTo>
                        <a:pt x="1380" y="474"/>
                      </a:lnTo>
                      <a:lnTo>
                        <a:pt x="1380" y="475"/>
                      </a:lnTo>
                      <a:lnTo>
                        <a:pt x="1380" y="476"/>
                      </a:lnTo>
                      <a:lnTo>
                        <a:pt x="1380" y="477"/>
                      </a:lnTo>
                      <a:lnTo>
                        <a:pt x="1379" y="477"/>
                      </a:lnTo>
                      <a:lnTo>
                        <a:pt x="1378" y="476"/>
                      </a:lnTo>
                      <a:lnTo>
                        <a:pt x="1379" y="475"/>
                      </a:lnTo>
                      <a:lnTo>
                        <a:pt x="1379" y="474"/>
                      </a:lnTo>
                      <a:lnTo>
                        <a:pt x="1377" y="473"/>
                      </a:lnTo>
                      <a:lnTo>
                        <a:pt x="1377" y="472"/>
                      </a:lnTo>
                      <a:lnTo>
                        <a:pt x="1377" y="470"/>
                      </a:lnTo>
                      <a:lnTo>
                        <a:pt x="1378" y="470"/>
                      </a:lnTo>
                      <a:lnTo>
                        <a:pt x="1378" y="472"/>
                      </a:lnTo>
                      <a:lnTo>
                        <a:pt x="1379" y="470"/>
                      </a:lnTo>
                      <a:lnTo>
                        <a:pt x="1378" y="469"/>
                      </a:lnTo>
                      <a:lnTo>
                        <a:pt x="1379" y="469"/>
                      </a:lnTo>
                      <a:lnTo>
                        <a:pt x="1379" y="468"/>
                      </a:lnTo>
                      <a:lnTo>
                        <a:pt x="1378" y="467"/>
                      </a:lnTo>
                      <a:lnTo>
                        <a:pt x="1377" y="467"/>
                      </a:lnTo>
                      <a:lnTo>
                        <a:pt x="1376" y="467"/>
                      </a:lnTo>
                      <a:lnTo>
                        <a:pt x="1377" y="467"/>
                      </a:lnTo>
                      <a:lnTo>
                        <a:pt x="1377" y="466"/>
                      </a:lnTo>
                      <a:lnTo>
                        <a:pt x="1378" y="466"/>
                      </a:lnTo>
                      <a:lnTo>
                        <a:pt x="1378" y="465"/>
                      </a:lnTo>
                      <a:lnTo>
                        <a:pt x="1377" y="465"/>
                      </a:lnTo>
                      <a:lnTo>
                        <a:pt x="1377" y="464"/>
                      </a:lnTo>
                      <a:lnTo>
                        <a:pt x="1378" y="464"/>
                      </a:lnTo>
                      <a:lnTo>
                        <a:pt x="1379" y="464"/>
                      </a:lnTo>
                      <a:lnTo>
                        <a:pt x="1379" y="463"/>
                      </a:lnTo>
                      <a:lnTo>
                        <a:pt x="1379" y="462"/>
                      </a:lnTo>
                      <a:lnTo>
                        <a:pt x="1379" y="461"/>
                      </a:lnTo>
                      <a:lnTo>
                        <a:pt x="1380" y="461"/>
                      </a:lnTo>
                      <a:lnTo>
                        <a:pt x="1381" y="459"/>
                      </a:lnTo>
                      <a:lnTo>
                        <a:pt x="1382" y="459"/>
                      </a:lnTo>
                      <a:lnTo>
                        <a:pt x="1381" y="460"/>
                      </a:lnTo>
                      <a:lnTo>
                        <a:pt x="1381" y="461"/>
                      </a:lnTo>
                      <a:lnTo>
                        <a:pt x="1382" y="463"/>
                      </a:lnTo>
                      <a:lnTo>
                        <a:pt x="1381" y="464"/>
                      </a:lnTo>
                      <a:close/>
                      <a:moveTo>
                        <a:pt x="1253" y="748"/>
                      </a:moveTo>
                      <a:lnTo>
                        <a:pt x="1253" y="749"/>
                      </a:lnTo>
                      <a:lnTo>
                        <a:pt x="1254" y="750"/>
                      </a:lnTo>
                      <a:lnTo>
                        <a:pt x="1254" y="751"/>
                      </a:lnTo>
                      <a:lnTo>
                        <a:pt x="1253" y="751"/>
                      </a:lnTo>
                      <a:lnTo>
                        <a:pt x="1252" y="751"/>
                      </a:lnTo>
                      <a:lnTo>
                        <a:pt x="1251" y="751"/>
                      </a:lnTo>
                      <a:lnTo>
                        <a:pt x="1252" y="752"/>
                      </a:lnTo>
                      <a:lnTo>
                        <a:pt x="1252" y="754"/>
                      </a:lnTo>
                      <a:lnTo>
                        <a:pt x="1253" y="754"/>
                      </a:lnTo>
                      <a:lnTo>
                        <a:pt x="1252" y="754"/>
                      </a:lnTo>
                      <a:lnTo>
                        <a:pt x="1251" y="754"/>
                      </a:lnTo>
                      <a:lnTo>
                        <a:pt x="1251" y="755"/>
                      </a:lnTo>
                      <a:lnTo>
                        <a:pt x="1250" y="755"/>
                      </a:lnTo>
                      <a:lnTo>
                        <a:pt x="1250" y="756"/>
                      </a:lnTo>
                      <a:lnTo>
                        <a:pt x="1249" y="756"/>
                      </a:lnTo>
                      <a:lnTo>
                        <a:pt x="1250" y="756"/>
                      </a:lnTo>
                      <a:lnTo>
                        <a:pt x="1249" y="757"/>
                      </a:lnTo>
                      <a:lnTo>
                        <a:pt x="1249" y="756"/>
                      </a:lnTo>
                      <a:lnTo>
                        <a:pt x="1248" y="755"/>
                      </a:lnTo>
                      <a:lnTo>
                        <a:pt x="1247" y="755"/>
                      </a:lnTo>
                      <a:lnTo>
                        <a:pt x="1246" y="754"/>
                      </a:lnTo>
                      <a:lnTo>
                        <a:pt x="1246" y="752"/>
                      </a:lnTo>
                      <a:lnTo>
                        <a:pt x="1245" y="752"/>
                      </a:lnTo>
                      <a:lnTo>
                        <a:pt x="1245" y="751"/>
                      </a:lnTo>
                      <a:lnTo>
                        <a:pt x="1245" y="752"/>
                      </a:lnTo>
                      <a:lnTo>
                        <a:pt x="1245" y="751"/>
                      </a:lnTo>
                      <a:lnTo>
                        <a:pt x="1246" y="751"/>
                      </a:lnTo>
                      <a:lnTo>
                        <a:pt x="1245" y="750"/>
                      </a:lnTo>
                      <a:lnTo>
                        <a:pt x="1246" y="750"/>
                      </a:lnTo>
                      <a:lnTo>
                        <a:pt x="1247" y="750"/>
                      </a:lnTo>
                      <a:lnTo>
                        <a:pt x="1248" y="750"/>
                      </a:lnTo>
                      <a:lnTo>
                        <a:pt x="1249" y="750"/>
                      </a:lnTo>
                      <a:lnTo>
                        <a:pt x="1250" y="750"/>
                      </a:lnTo>
                      <a:lnTo>
                        <a:pt x="1251" y="750"/>
                      </a:lnTo>
                      <a:lnTo>
                        <a:pt x="1251" y="749"/>
                      </a:lnTo>
                      <a:lnTo>
                        <a:pt x="1252" y="749"/>
                      </a:lnTo>
                      <a:lnTo>
                        <a:pt x="1252" y="750"/>
                      </a:lnTo>
                      <a:lnTo>
                        <a:pt x="1253" y="750"/>
                      </a:lnTo>
                      <a:lnTo>
                        <a:pt x="1252" y="750"/>
                      </a:lnTo>
                      <a:lnTo>
                        <a:pt x="1252" y="749"/>
                      </a:lnTo>
                      <a:lnTo>
                        <a:pt x="1251" y="749"/>
                      </a:lnTo>
                      <a:lnTo>
                        <a:pt x="1252" y="748"/>
                      </a:lnTo>
                      <a:lnTo>
                        <a:pt x="1253" y="748"/>
                      </a:lnTo>
                      <a:close/>
                      <a:moveTo>
                        <a:pt x="1390" y="502"/>
                      </a:moveTo>
                      <a:lnTo>
                        <a:pt x="1391" y="502"/>
                      </a:lnTo>
                      <a:lnTo>
                        <a:pt x="1391" y="503"/>
                      </a:lnTo>
                      <a:lnTo>
                        <a:pt x="1392" y="503"/>
                      </a:lnTo>
                      <a:lnTo>
                        <a:pt x="1392" y="504"/>
                      </a:lnTo>
                      <a:lnTo>
                        <a:pt x="1393" y="503"/>
                      </a:lnTo>
                      <a:lnTo>
                        <a:pt x="1393" y="504"/>
                      </a:lnTo>
                      <a:lnTo>
                        <a:pt x="1394" y="504"/>
                      </a:lnTo>
                      <a:lnTo>
                        <a:pt x="1394" y="505"/>
                      </a:lnTo>
                      <a:lnTo>
                        <a:pt x="1395" y="505"/>
                      </a:lnTo>
                      <a:lnTo>
                        <a:pt x="1395" y="506"/>
                      </a:lnTo>
                      <a:lnTo>
                        <a:pt x="1395" y="507"/>
                      </a:lnTo>
                      <a:lnTo>
                        <a:pt x="1396" y="507"/>
                      </a:lnTo>
                      <a:lnTo>
                        <a:pt x="1396" y="508"/>
                      </a:lnTo>
                      <a:lnTo>
                        <a:pt x="1396" y="507"/>
                      </a:lnTo>
                      <a:lnTo>
                        <a:pt x="1397" y="508"/>
                      </a:lnTo>
                      <a:lnTo>
                        <a:pt x="1396" y="508"/>
                      </a:lnTo>
                      <a:lnTo>
                        <a:pt x="1396" y="510"/>
                      </a:lnTo>
                      <a:lnTo>
                        <a:pt x="1396" y="508"/>
                      </a:lnTo>
                      <a:lnTo>
                        <a:pt x="1395" y="508"/>
                      </a:lnTo>
                      <a:lnTo>
                        <a:pt x="1395" y="507"/>
                      </a:lnTo>
                      <a:lnTo>
                        <a:pt x="1394" y="507"/>
                      </a:lnTo>
                      <a:lnTo>
                        <a:pt x="1394" y="506"/>
                      </a:lnTo>
                      <a:lnTo>
                        <a:pt x="1393" y="507"/>
                      </a:lnTo>
                      <a:lnTo>
                        <a:pt x="1393" y="506"/>
                      </a:lnTo>
                      <a:lnTo>
                        <a:pt x="1394" y="506"/>
                      </a:lnTo>
                      <a:lnTo>
                        <a:pt x="1393" y="506"/>
                      </a:lnTo>
                      <a:lnTo>
                        <a:pt x="1393" y="507"/>
                      </a:lnTo>
                      <a:lnTo>
                        <a:pt x="1393" y="508"/>
                      </a:lnTo>
                      <a:lnTo>
                        <a:pt x="1393" y="510"/>
                      </a:lnTo>
                      <a:lnTo>
                        <a:pt x="1392" y="510"/>
                      </a:lnTo>
                      <a:lnTo>
                        <a:pt x="1392" y="511"/>
                      </a:lnTo>
                      <a:lnTo>
                        <a:pt x="1392" y="512"/>
                      </a:lnTo>
                      <a:lnTo>
                        <a:pt x="1393" y="512"/>
                      </a:lnTo>
                      <a:lnTo>
                        <a:pt x="1392" y="513"/>
                      </a:lnTo>
                      <a:lnTo>
                        <a:pt x="1392" y="512"/>
                      </a:lnTo>
                      <a:lnTo>
                        <a:pt x="1391" y="512"/>
                      </a:lnTo>
                      <a:lnTo>
                        <a:pt x="1391" y="513"/>
                      </a:lnTo>
                      <a:lnTo>
                        <a:pt x="1390" y="513"/>
                      </a:lnTo>
                      <a:lnTo>
                        <a:pt x="1390" y="512"/>
                      </a:lnTo>
                      <a:lnTo>
                        <a:pt x="1390" y="511"/>
                      </a:lnTo>
                      <a:lnTo>
                        <a:pt x="1390" y="510"/>
                      </a:lnTo>
                      <a:lnTo>
                        <a:pt x="1389" y="510"/>
                      </a:lnTo>
                      <a:lnTo>
                        <a:pt x="1389" y="511"/>
                      </a:lnTo>
                      <a:lnTo>
                        <a:pt x="1389" y="510"/>
                      </a:lnTo>
                      <a:lnTo>
                        <a:pt x="1390" y="510"/>
                      </a:lnTo>
                      <a:lnTo>
                        <a:pt x="1389" y="510"/>
                      </a:lnTo>
                      <a:lnTo>
                        <a:pt x="1389" y="508"/>
                      </a:lnTo>
                      <a:lnTo>
                        <a:pt x="1388" y="508"/>
                      </a:lnTo>
                      <a:lnTo>
                        <a:pt x="1389" y="508"/>
                      </a:lnTo>
                      <a:lnTo>
                        <a:pt x="1389" y="507"/>
                      </a:lnTo>
                      <a:lnTo>
                        <a:pt x="1390" y="507"/>
                      </a:lnTo>
                      <a:lnTo>
                        <a:pt x="1390" y="506"/>
                      </a:lnTo>
                      <a:lnTo>
                        <a:pt x="1391" y="506"/>
                      </a:lnTo>
                      <a:lnTo>
                        <a:pt x="1390" y="506"/>
                      </a:lnTo>
                      <a:lnTo>
                        <a:pt x="1390" y="505"/>
                      </a:lnTo>
                      <a:lnTo>
                        <a:pt x="1390" y="504"/>
                      </a:lnTo>
                      <a:lnTo>
                        <a:pt x="1391" y="504"/>
                      </a:lnTo>
                      <a:lnTo>
                        <a:pt x="1391" y="503"/>
                      </a:lnTo>
                      <a:lnTo>
                        <a:pt x="1390" y="503"/>
                      </a:lnTo>
                      <a:lnTo>
                        <a:pt x="1390" y="502"/>
                      </a:lnTo>
                      <a:lnTo>
                        <a:pt x="1389" y="502"/>
                      </a:lnTo>
                      <a:lnTo>
                        <a:pt x="1390" y="502"/>
                      </a:lnTo>
                      <a:close/>
                      <a:moveTo>
                        <a:pt x="1335" y="678"/>
                      </a:moveTo>
                      <a:lnTo>
                        <a:pt x="1335" y="677"/>
                      </a:lnTo>
                      <a:lnTo>
                        <a:pt x="1336" y="677"/>
                      </a:lnTo>
                      <a:lnTo>
                        <a:pt x="1337" y="677"/>
                      </a:lnTo>
                      <a:lnTo>
                        <a:pt x="1338" y="677"/>
                      </a:lnTo>
                      <a:lnTo>
                        <a:pt x="1340" y="677"/>
                      </a:lnTo>
                      <a:lnTo>
                        <a:pt x="1340" y="678"/>
                      </a:lnTo>
                      <a:lnTo>
                        <a:pt x="1341" y="678"/>
                      </a:lnTo>
                      <a:lnTo>
                        <a:pt x="1341" y="679"/>
                      </a:lnTo>
                      <a:lnTo>
                        <a:pt x="1341" y="680"/>
                      </a:lnTo>
                      <a:lnTo>
                        <a:pt x="1340" y="680"/>
                      </a:lnTo>
                      <a:lnTo>
                        <a:pt x="1339" y="680"/>
                      </a:lnTo>
                      <a:lnTo>
                        <a:pt x="1338" y="680"/>
                      </a:lnTo>
                      <a:lnTo>
                        <a:pt x="1337" y="680"/>
                      </a:lnTo>
                      <a:lnTo>
                        <a:pt x="1336" y="680"/>
                      </a:lnTo>
                      <a:lnTo>
                        <a:pt x="1336" y="681"/>
                      </a:lnTo>
                      <a:lnTo>
                        <a:pt x="1335" y="680"/>
                      </a:lnTo>
                      <a:lnTo>
                        <a:pt x="1335" y="679"/>
                      </a:lnTo>
                      <a:lnTo>
                        <a:pt x="1334" y="678"/>
                      </a:lnTo>
                      <a:lnTo>
                        <a:pt x="1332" y="678"/>
                      </a:lnTo>
                      <a:lnTo>
                        <a:pt x="1331" y="678"/>
                      </a:lnTo>
                      <a:lnTo>
                        <a:pt x="1330" y="678"/>
                      </a:lnTo>
                      <a:lnTo>
                        <a:pt x="1329" y="678"/>
                      </a:lnTo>
                      <a:lnTo>
                        <a:pt x="1329" y="677"/>
                      </a:lnTo>
                      <a:lnTo>
                        <a:pt x="1329" y="675"/>
                      </a:lnTo>
                      <a:lnTo>
                        <a:pt x="1328" y="674"/>
                      </a:lnTo>
                      <a:lnTo>
                        <a:pt x="1328" y="673"/>
                      </a:lnTo>
                      <a:lnTo>
                        <a:pt x="1327" y="673"/>
                      </a:lnTo>
                      <a:lnTo>
                        <a:pt x="1328" y="673"/>
                      </a:lnTo>
                      <a:lnTo>
                        <a:pt x="1332" y="675"/>
                      </a:lnTo>
                      <a:lnTo>
                        <a:pt x="1335" y="677"/>
                      </a:lnTo>
                      <a:lnTo>
                        <a:pt x="1335" y="678"/>
                      </a:lnTo>
                      <a:close/>
                      <a:moveTo>
                        <a:pt x="1304" y="559"/>
                      </a:moveTo>
                      <a:lnTo>
                        <a:pt x="1305" y="559"/>
                      </a:lnTo>
                      <a:lnTo>
                        <a:pt x="1306" y="560"/>
                      </a:lnTo>
                      <a:lnTo>
                        <a:pt x="1306" y="562"/>
                      </a:lnTo>
                      <a:lnTo>
                        <a:pt x="1305" y="562"/>
                      </a:lnTo>
                      <a:lnTo>
                        <a:pt x="1306" y="562"/>
                      </a:lnTo>
                      <a:lnTo>
                        <a:pt x="1306" y="563"/>
                      </a:lnTo>
                      <a:lnTo>
                        <a:pt x="1306" y="564"/>
                      </a:lnTo>
                      <a:lnTo>
                        <a:pt x="1305" y="564"/>
                      </a:lnTo>
                      <a:lnTo>
                        <a:pt x="1305" y="565"/>
                      </a:lnTo>
                      <a:lnTo>
                        <a:pt x="1304" y="565"/>
                      </a:lnTo>
                      <a:lnTo>
                        <a:pt x="1304" y="566"/>
                      </a:lnTo>
                      <a:lnTo>
                        <a:pt x="1304" y="567"/>
                      </a:lnTo>
                      <a:lnTo>
                        <a:pt x="1303" y="567"/>
                      </a:lnTo>
                      <a:lnTo>
                        <a:pt x="1302" y="567"/>
                      </a:lnTo>
                      <a:lnTo>
                        <a:pt x="1301" y="567"/>
                      </a:lnTo>
                      <a:lnTo>
                        <a:pt x="1301" y="566"/>
                      </a:lnTo>
                      <a:lnTo>
                        <a:pt x="1300" y="565"/>
                      </a:lnTo>
                      <a:lnTo>
                        <a:pt x="1301" y="565"/>
                      </a:lnTo>
                      <a:lnTo>
                        <a:pt x="1301" y="564"/>
                      </a:lnTo>
                      <a:lnTo>
                        <a:pt x="1302" y="564"/>
                      </a:lnTo>
                      <a:lnTo>
                        <a:pt x="1302" y="563"/>
                      </a:lnTo>
                      <a:lnTo>
                        <a:pt x="1301" y="563"/>
                      </a:lnTo>
                      <a:lnTo>
                        <a:pt x="1301" y="562"/>
                      </a:lnTo>
                      <a:lnTo>
                        <a:pt x="1302" y="562"/>
                      </a:lnTo>
                      <a:lnTo>
                        <a:pt x="1302" y="560"/>
                      </a:lnTo>
                      <a:lnTo>
                        <a:pt x="1302" y="559"/>
                      </a:lnTo>
                      <a:lnTo>
                        <a:pt x="1303" y="559"/>
                      </a:lnTo>
                      <a:lnTo>
                        <a:pt x="1302" y="559"/>
                      </a:lnTo>
                      <a:lnTo>
                        <a:pt x="1303" y="559"/>
                      </a:lnTo>
                      <a:lnTo>
                        <a:pt x="1303" y="558"/>
                      </a:lnTo>
                      <a:lnTo>
                        <a:pt x="1303" y="557"/>
                      </a:lnTo>
                      <a:lnTo>
                        <a:pt x="1304" y="557"/>
                      </a:lnTo>
                      <a:lnTo>
                        <a:pt x="1304" y="558"/>
                      </a:lnTo>
                      <a:lnTo>
                        <a:pt x="1304" y="559"/>
                      </a:lnTo>
                      <a:close/>
                      <a:moveTo>
                        <a:pt x="1377" y="537"/>
                      </a:moveTo>
                      <a:lnTo>
                        <a:pt x="1377" y="538"/>
                      </a:lnTo>
                      <a:lnTo>
                        <a:pt x="1376" y="538"/>
                      </a:lnTo>
                      <a:lnTo>
                        <a:pt x="1376" y="539"/>
                      </a:lnTo>
                      <a:lnTo>
                        <a:pt x="1375" y="539"/>
                      </a:lnTo>
                      <a:lnTo>
                        <a:pt x="1374" y="539"/>
                      </a:lnTo>
                      <a:lnTo>
                        <a:pt x="1374" y="540"/>
                      </a:lnTo>
                      <a:lnTo>
                        <a:pt x="1373" y="540"/>
                      </a:lnTo>
                      <a:lnTo>
                        <a:pt x="1373" y="541"/>
                      </a:lnTo>
                      <a:lnTo>
                        <a:pt x="1373" y="542"/>
                      </a:lnTo>
                      <a:lnTo>
                        <a:pt x="1371" y="542"/>
                      </a:lnTo>
                      <a:lnTo>
                        <a:pt x="1371" y="543"/>
                      </a:lnTo>
                      <a:lnTo>
                        <a:pt x="1370" y="543"/>
                      </a:lnTo>
                      <a:lnTo>
                        <a:pt x="1370" y="544"/>
                      </a:lnTo>
                      <a:lnTo>
                        <a:pt x="1369" y="544"/>
                      </a:lnTo>
                      <a:lnTo>
                        <a:pt x="1368" y="545"/>
                      </a:lnTo>
                      <a:lnTo>
                        <a:pt x="1368" y="546"/>
                      </a:lnTo>
                      <a:lnTo>
                        <a:pt x="1368" y="547"/>
                      </a:lnTo>
                      <a:lnTo>
                        <a:pt x="1368" y="549"/>
                      </a:lnTo>
                      <a:lnTo>
                        <a:pt x="1367" y="549"/>
                      </a:lnTo>
                      <a:lnTo>
                        <a:pt x="1368" y="549"/>
                      </a:lnTo>
                      <a:lnTo>
                        <a:pt x="1368" y="547"/>
                      </a:lnTo>
                      <a:lnTo>
                        <a:pt x="1367" y="546"/>
                      </a:lnTo>
                      <a:lnTo>
                        <a:pt x="1366" y="546"/>
                      </a:lnTo>
                      <a:lnTo>
                        <a:pt x="1366" y="547"/>
                      </a:lnTo>
                      <a:lnTo>
                        <a:pt x="1366" y="549"/>
                      </a:lnTo>
                      <a:lnTo>
                        <a:pt x="1365" y="549"/>
                      </a:lnTo>
                      <a:lnTo>
                        <a:pt x="1366" y="549"/>
                      </a:lnTo>
                      <a:lnTo>
                        <a:pt x="1366" y="547"/>
                      </a:lnTo>
                      <a:lnTo>
                        <a:pt x="1365" y="547"/>
                      </a:lnTo>
                      <a:lnTo>
                        <a:pt x="1365" y="546"/>
                      </a:lnTo>
                      <a:lnTo>
                        <a:pt x="1365" y="547"/>
                      </a:lnTo>
                      <a:lnTo>
                        <a:pt x="1364" y="547"/>
                      </a:lnTo>
                      <a:lnTo>
                        <a:pt x="1363" y="549"/>
                      </a:lnTo>
                      <a:lnTo>
                        <a:pt x="1363" y="547"/>
                      </a:lnTo>
                      <a:lnTo>
                        <a:pt x="1364" y="547"/>
                      </a:lnTo>
                      <a:lnTo>
                        <a:pt x="1364" y="546"/>
                      </a:lnTo>
                      <a:lnTo>
                        <a:pt x="1364" y="547"/>
                      </a:lnTo>
                      <a:lnTo>
                        <a:pt x="1363" y="547"/>
                      </a:lnTo>
                      <a:lnTo>
                        <a:pt x="1362" y="547"/>
                      </a:lnTo>
                      <a:lnTo>
                        <a:pt x="1361" y="549"/>
                      </a:lnTo>
                      <a:lnTo>
                        <a:pt x="1360" y="549"/>
                      </a:lnTo>
                      <a:lnTo>
                        <a:pt x="1360" y="550"/>
                      </a:lnTo>
                      <a:lnTo>
                        <a:pt x="1361" y="550"/>
                      </a:lnTo>
                      <a:lnTo>
                        <a:pt x="1360" y="550"/>
                      </a:lnTo>
                      <a:lnTo>
                        <a:pt x="1360" y="551"/>
                      </a:lnTo>
                      <a:lnTo>
                        <a:pt x="1358" y="551"/>
                      </a:lnTo>
                      <a:lnTo>
                        <a:pt x="1358" y="550"/>
                      </a:lnTo>
                      <a:lnTo>
                        <a:pt x="1360" y="550"/>
                      </a:lnTo>
                      <a:lnTo>
                        <a:pt x="1360" y="549"/>
                      </a:lnTo>
                      <a:lnTo>
                        <a:pt x="1360" y="547"/>
                      </a:lnTo>
                      <a:lnTo>
                        <a:pt x="1361" y="547"/>
                      </a:lnTo>
                      <a:lnTo>
                        <a:pt x="1362" y="547"/>
                      </a:lnTo>
                      <a:lnTo>
                        <a:pt x="1362" y="546"/>
                      </a:lnTo>
                      <a:lnTo>
                        <a:pt x="1363" y="546"/>
                      </a:lnTo>
                      <a:lnTo>
                        <a:pt x="1364" y="546"/>
                      </a:lnTo>
                      <a:lnTo>
                        <a:pt x="1365" y="546"/>
                      </a:lnTo>
                      <a:lnTo>
                        <a:pt x="1365" y="545"/>
                      </a:lnTo>
                      <a:lnTo>
                        <a:pt x="1365" y="544"/>
                      </a:lnTo>
                      <a:lnTo>
                        <a:pt x="1366" y="544"/>
                      </a:lnTo>
                      <a:lnTo>
                        <a:pt x="1365" y="544"/>
                      </a:lnTo>
                      <a:lnTo>
                        <a:pt x="1366" y="543"/>
                      </a:lnTo>
                      <a:lnTo>
                        <a:pt x="1367" y="543"/>
                      </a:lnTo>
                      <a:lnTo>
                        <a:pt x="1367" y="542"/>
                      </a:lnTo>
                      <a:lnTo>
                        <a:pt x="1368" y="542"/>
                      </a:lnTo>
                      <a:lnTo>
                        <a:pt x="1368" y="543"/>
                      </a:lnTo>
                      <a:lnTo>
                        <a:pt x="1369" y="543"/>
                      </a:lnTo>
                      <a:lnTo>
                        <a:pt x="1369" y="542"/>
                      </a:lnTo>
                      <a:lnTo>
                        <a:pt x="1370" y="542"/>
                      </a:lnTo>
                      <a:lnTo>
                        <a:pt x="1371" y="541"/>
                      </a:lnTo>
                      <a:lnTo>
                        <a:pt x="1371" y="540"/>
                      </a:lnTo>
                      <a:lnTo>
                        <a:pt x="1371" y="541"/>
                      </a:lnTo>
                      <a:lnTo>
                        <a:pt x="1370" y="541"/>
                      </a:lnTo>
                      <a:lnTo>
                        <a:pt x="1370" y="540"/>
                      </a:lnTo>
                      <a:lnTo>
                        <a:pt x="1371" y="540"/>
                      </a:lnTo>
                      <a:lnTo>
                        <a:pt x="1373" y="540"/>
                      </a:lnTo>
                      <a:lnTo>
                        <a:pt x="1373" y="539"/>
                      </a:lnTo>
                      <a:lnTo>
                        <a:pt x="1374" y="539"/>
                      </a:lnTo>
                      <a:lnTo>
                        <a:pt x="1375" y="539"/>
                      </a:lnTo>
                      <a:lnTo>
                        <a:pt x="1375" y="538"/>
                      </a:lnTo>
                      <a:lnTo>
                        <a:pt x="1376" y="538"/>
                      </a:lnTo>
                      <a:lnTo>
                        <a:pt x="1376" y="537"/>
                      </a:lnTo>
                      <a:lnTo>
                        <a:pt x="1377" y="537"/>
                      </a:lnTo>
                      <a:close/>
                      <a:moveTo>
                        <a:pt x="1339" y="572"/>
                      </a:moveTo>
                      <a:lnTo>
                        <a:pt x="1339" y="574"/>
                      </a:lnTo>
                      <a:lnTo>
                        <a:pt x="1338" y="575"/>
                      </a:lnTo>
                      <a:lnTo>
                        <a:pt x="1338" y="574"/>
                      </a:lnTo>
                      <a:lnTo>
                        <a:pt x="1337" y="574"/>
                      </a:lnTo>
                      <a:lnTo>
                        <a:pt x="1336" y="574"/>
                      </a:lnTo>
                      <a:lnTo>
                        <a:pt x="1335" y="575"/>
                      </a:lnTo>
                      <a:lnTo>
                        <a:pt x="1334" y="575"/>
                      </a:lnTo>
                      <a:lnTo>
                        <a:pt x="1334" y="576"/>
                      </a:lnTo>
                      <a:lnTo>
                        <a:pt x="1332" y="576"/>
                      </a:lnTo>
                      <a:lnTo>
                        <a:pt x="1331" y="576"/>
                      </a:lnTo>
                      <a:lnTo>
                        <a:pt x="1330" y="577"/>
                      </a:lnTo>
                      <a:lnTo>
                        <a:pt x="1330" y="578"/>
                      </a:lnTo>
                      <a:lnTo>
                        <a:pt x="1329" y="578"/>
                      </a:lnTo>
                      <a:lnTo>
                        <a:pt x="1329" y="579"/>
                      </a:lnTo>
                      <a:lnTo>
                        <a:pt x="1328" y="579"/>
                      </a:lnTo>
                      <a:lnTo>
                        <a:pt x="1328" y="580"/>
                      </a:lnTo>
                      <a:lnTo>
                        <a:pt x="1327" y="580"/>
                      </a:lnTo>
                      <a:lnTo>
                        <a:pt x="1326" y="580"/>
                      </a:lnTo>
                      <a:lnTo>
                        <a:pt x="1327" y="579"/>
                      </a:lnTo>
                      <a:lnTo>
                        <a:pt x="1327" y="578"/>
                      </a:lnTo>
                      <a:lnTo>
                        <a:pt x="1327" y="577"/>
                      </a:lnTo>
                      <a:lnTo>
                        <a:pt x="1328" y="577"/>
                      </a:lnTo>
                      <a:lnTo>
                        <a:pt x="1329" y="576"/>
                      </a:lnTo>
                      <a:lnTo>
                        <a:pt x="1330" y="576"/>
                      </a:lnTo>
                      <a:lnTo>
                        <a:pt x="1330" y="575"/>
                      </a:lnTo>
                      <a:lnTo>
                        <a:pt x="1331" y="575"/>
                      </a:lnTo>
                      <a:lnTo>
                        <a:pt x="1332" y="574"/>
                      </a:lnTo>
                      <a:lnTo>
                        <a:pt x="1332" y="572"/>
                      </a:lnTo>
                      <a:lnTo>
                        <a:pt x="1334" y="572"/>
                      </a:lnTo>
                      <a:lnTo>
                        <a:pt x="1335" y="572"/>
                      </a:lnTo>
                      <a:lnTo>
                        <a:pt x="1335" y="571"/>
                      </a:lnTo>
                      <a:lnTo>
                        <a:pt x="1336" y="571"/>
                      </a:lnTo>
                      <a:lnTo>
                        <a:pt x="1336" y="572"/>
                      </a:lnTo>
                      <a:lnTo>
                        <a:pt x="1337" y="572"/>
                      </a:lnTo>
                      <a:lnTo>
                        <a:pt x="1338" y="572"/>
                      </a:lnTo>
                      <a:lnTo>
                        <a:pt x="1338" y="571"/>
                      </a:lnTo>
                      <a:lnTo>
                        <a:pt x="1339" y="570"/>
                      </a:lnTo>
                      <a:lnTo>
                        <a:pt x="1340" y="570"/>
                      </a:lnTo>
                      <a:lnTo>
                        <a:pt x="1339" y="570"/>
                      </a:lnTo>
                      <a:lnTo>
                        <a:pt x="1339" y="571"/>
                      </a:lnTo>
                      <a:lnTo>
                        <a:pt x="1339" y="572"/>
                      </a:lnTo>
                      <a:close/>
                      <a:moveTo>
                        <a:pt x="1239" y="649"/>
                      </a:moveTo>
                      <a:lnTo>
                        <a:pt x="1240" y="649"/>
                      </a:lnTo>
                      <a:lnTo>
                        <a:pt x="1240" y="650"/>
                      </a:lnTo>
                      <a:lnTo>
                        <a:pt x="1240" y="649"/>
                      </a:lnTo>
                      <a:lnTo>
                        <a:pt x="1240" y="650"/>
                      </a:lnTo>
                      <a:lnTo>
                        <a:pt x="1241" y="650"/>
                      </a:lnTo>
                      <a:lnTo>
                        <a:pt x="1241" y="652"/>
                      </a:lnTo>
                      <a:lnTo>
                        <a:pt x="1242" y="652"/>
                      </a:lnTo>
                      <a:lnTo>
                        <a:pt x="1242" y="653"/>
                      </a:lnTo>
                      <a:lnTo>
                        <a:pt x="1244" y="653"/>
                      </a:lnTo>
                      <a:lnTo>
                        <a:pt x="1245" y="653"/>
                      </a:lnTo>
                      <a:lnTo>
                        <a:pt x="1246" y="653"/>
                      </a:lnTo>
                      <a:lnTo>
                        <a:pt x="1247" y="653"/>
                      </a:lnTo>
                      <a:lnTo>
                        <a:pt x="1247" y="654"/>
                      </a:lnTo>
                      <a:lnTo>
                        <a:pt x="1248" y="654"/>
                      </a:lnTo>
                      <a:lnTo>
                        <a:pt x="1248" y="655"/>
                      </a:lnTo>
                      <a:lnTo>
                        <a:pt x="1249" y="656"/>
                      </a:lnTo>
                      <a:lnTo>
                        <a:pt x="1249" y="657"/>
                      </a:lnTo>
                      <a:lnTo>
                        <a:pt x="1248" y="656"/>
                      </a:lnTo>
                      <a:lnTo>
                        <a:pt x="1248" y="655"/>
                      </a:lnTo>
                      <a:lnTo>
                        <a:pt x="1247" y="655"/>
                      </a:lnTo>
                      <a:lnTo>
                        <a:pt x="1247" y="656"/>
                      </a:lnTo>
                      <a:lnTo>
                        <a:pt x="1246" y="655"/>
                      </a:lnTo>
                      <a:lnTo>
                        <a:pt x="1245" y="656"/>
                      </a:lnTo>
                      <a:lnTo>
                        <a:pt x="1245" y="655"/>
                      </a:lnTo>
                      <a:lnTo>
                        <a:pt x="1244" y="655"/>
                      </a:lnTo>
                      <a:lnTo>
                        <a:pt x="1242" y="655"/>
                      </a:lnTo>
                      <a:lnTo>
                        <a:pt x="1242" y="654"/>
                      </a:lnTo>
                      <a:lnTo>
                        <a:pt x="1242" y="655"/>
                      </a:lnTo>
                      <a:lnTo>
                        <a:pt x="1241" y="655"/>
                      </a:lnTo>
                      <a:lnTo>
                        <a:pt x="1241" y="654"/>
                      </a:lnTo>
                      <a:lnTo>
                        <a:pt x="1240" y="655"/>
                      </a:lnTo>
                      <a:lnTo>
                        <a:pt x="1240" y="654"/>
                      </a:lnTo>
                      <a:lnTo>
                        <a:pt x="1240" y="655"/>
                      </a:lnTo>
                      <a:lnTo>
                        <a:pt x="1239" y="654"/>
                      </a:lnTo>
                      <a:lnTo>
                        <a:pt x="1239" y="655"/>
                      </a:lnTo>
                      <a:lnTo>
                        <a:pt x="1239" y="654"/>
                      </a:lnTo>
                      <a:lnTo>
                        <a:pt x="1238" y="654"/>
                      </a:lnTo>
                      <a:lnTo>
                        <a:pt x="1239" y="654"/>
                      </a:lnTo>
                      <a:lnTo>
                        <a:pt x="1239" y="653"/>
                      </a:lnTo>
                      <a:lnTo>
                        <a:pt x="1239" y="652"/>
                      </a:lnTo>
                      <a:lnTo>
                        <a:pt x="1238" y="650"/>
                      </a:lnTo>
                      <a:lnTo>
                        <a:pt x="1239" y="650"/>
                      </a:lnTo>
                      <a:lnTo>
                        <a:pt x="1238" y="650"/>
                      </a:lnTo>
                      <a:lnTo>
                        <a:pt x="1238" y="649"/>
                      </a:lnTo>
                      <a:lnTo>
                        <a:pt x="1239" y="649"/>
                      </a:lnTo>
                      <a:close/>
                      <a:moveTo>
                        <a:pt x="1292" y="500"/>
                      </a:moveTo>
                      <a:lnTo>
                        <a:pt x="1291" y="501"/>
                      </a:lnTo>
                      <a:lnTo>
                        <a:pt x="1291" y="502"/>
                      </a:lnTo>
                      <a:lnTo>
                        <a:pt x="1292" y="502"/>
                      </a:lnTo>
                      <a:lnTo>
                        <a:pt x="1292" y="503"/>
                      </a:lnTo>
                      <a:lnTo>
                        <a:pt x="1293" y="503"/>
                      </a:lnTo>
                      <a:lnTo>
                        <a:pt x="1295" y="504"/>
                      </a:lnTo>
                      <a:lnTo>
                        <a:pt x="1296" y="504"/>
                      </a:lnTo>
                      <a:lnTo>
                        <a:pt x="1297" y="504"/>
                      </a:lnTo>
                      <a:lnTo>
                        <a:pt x="1297" y="503"/>
                      </a:lnTo>
                      <a:lnTo>
                        <a:pt x="1298" y="504"/>
                      </a:lnTo>
                      <a:lnTo>
                        <a:pt x="1299" y="504"/>
                      </a:lnTo>
                      <a:lnTo>
                        <a:pt x="1299" y="505"/>
                      </a:lnTo>
                      <a:lnTo>
                        <a:pt x="1298" y="505"/>
                      </a:lnTo>
                      <a:lnTo>
                        <a:pt x="1298" y="506"/>
                      </a:lnTo>
                      <a:lnTo>
                        <a:pt x="1297" y="506"/>
                      </a:lnTo>
                      <a:lnTo>
                        <a:pt x="1297" y="505"/>
                      </a:lnTo>
                      <a:lnTo>
                        <a:pt x="1297" y="506"/>
                      </a:lnTo>
                      <a:lnTo>
                        <a:pt x="1296" y="506"/>
                      </a:lnTo>
                      <a:lnTo>
                        <a:pt x="1296" y="505"/>
                      </a:lnTo>
                      <a:lnTo>
                        <a:pt x="1295" y="505"/>
                      </a:lnTo>
                      <a:lnTo>
                        <a:pt x="1293" y="505"/>
                      </a:lnTo>
                      <a:lnTo>
                        <a:pt x="1292" y="505"/>
                      </a:lnTo>
                      <a:lnTo>
                        <a:pt x="1292" y="506"/>
                      </a:lnTo>
                      <a:lnTo>
                        <a:pt x="1291" y="506"/>
                      </a:lnTo>
                      <a:lnTo>
                        <a:pt x="1291" y="507"/>
                      </a:lnTo>
                      <a:lnTo>
                        <a:pt x="1290" y="507"/>
                      </a:lnTo>
                      <a:lnTo>
                        <a:pt x="1290" y="506"/>
                      </a:lnTo>
                      <a:lnTo>
                        <a:pt x="1289" y="506"/>
                      </a:lnTo>
                      <a:lnTo>
                        <a:pt x="1289" y="505"/>
                      </a:lnTo>
                      <a:lnTo>
                        <a:pt x="1289" y="504"/>
                      </a:lnTo>
                      <a:lnTo>
                        <a:pt x="1289" y="503"/>
                      </a:lnTo>
                      <a:lnTo>
                        <a:pt x="1290" y="503"/>
                      </a:lnTo>
                      <a:lnTo>
                        <a:pt x="1291" y="503"/>
                      </a:lnTo>
                      <a:lnTo>
                        <a:pt x="1291" y="502"/>
                      </a:lnTo>
                      <a:lnTo>
                        <a:pt x="1291" y="501"/>
                      </a:lnTo>
                      <a:lnTo>
                        <a:pt x="1290" y="501"/>
                      </a:lnTo>
                      <a:lnTo>
                        <a:pt x="1289" y="501"/>
                      </a:lnTo>
                      <a:lnTo>
                        <a:pt x="1290" y="501"/>
                      </a:lnTo>
                      <a:lnTo>
                        <a:pt x="1290" y="500"/>
                      </a:lnTo>
                      <a:lnTo>
                        <a:pt x="1291" y="500"/>
                      </a:lnTo>
                      <a:lnTo>
                        <a:pt x="1292" y="500"/>
                      </a:lnTo>
                      <a:close/>
                      <a:moveTo>
                        <a:pt x="1246" y="734"/>
                      </a:moveTo>
                      <a:lnTo>
                        <a:pt x="1246" y="736"/>
                      </a:lnTo>
                      <a:lnTo>
                        <a:pt x="1247" y="737"/>
                      </a:lnTo>
                      <a:lnTo>
                        <a:pt x="1247" y="738"/>
                      </a:lnTo>
                      <a:lnTo>
                        <a:pt x="1248" y="738"/>
                      </a:lnTo>
                      <a:lnTo>
                        <a:pt x="1248" y="739"/>
                      </a:lnTo>
                      <a:lnTo>
                        <a:pt x="1249" y="739"/>
                      </a:lnTo>
                      <a:lnTo>
                        <a:pt x="1249" y="741"/>
                      </a:lnTo>
                      <a:lnTo>
                        <a:pt x="1250" y="741"/>
                      </a:lnTo>
                      <a:lnTo>
                        <a:pt x="1250" y="742"/>
                      </a:lnTo>
                      <a:lnTo>
                        <a:pt x="1250" y="743"/>
                      </a:lnTo>
                      <a:lnTo>
                        <a:pt x="1249" y="743"/>
                      </a:lnTo>
                      <a:lnTo>
                        <a:pt x="1248" y="743"/>
                      </a:lnTo>
                      <a:lnTo>
                        <a:pt x="1247" y="744"/>
                      </a:lnTo>
                      <a:lnTo>
                        <a:pt x="1247" y="745"/>
                      </a:lnTo>
                      <a:lnTo>
                        <a:pt x="1247" y="746"/>
                      </a:lnTo>
                      <a:lnTo>
                        <a:pt x="1247" y="747"/>
                      </a:lnTo>
                      <a:lnTo>
                        <a:pt x="1247" y="748"/>
                      </a:lnTo>
                      <a:lnTo>
                        <a:pt x="1247" y="747"/>
                      </a:lnTo>
                      <a:lnTo>
                        <a:pt x="1246" y="747"/>
                      </a:lnTo>
                      <a:lnTo>
                        <a:pt x="1247" y="747"/>
                      </a:lnTo>
                      <a:lnTo>
                        <a:pt x="1246" y="747"/>
                      </a:lnTo>
                      <a:lnTo>
                        <a:pt x="1246" y="746"/>
                      </a:lnTo>
                      <a:lnTo>
                        <a:pt x="1245" y="745"/>
                      </a:lnTo>
                      <a:lnTo>
                        <a:pt x="1245" y="744"/>
                      </a:lnTo>
                      <a:lnTo>
                        <a:pt x="1244" y="744"/>
                      </a:lnTo>
                      <a:lnTo>
                        <a:pt x="1244" y="743"/>
                      </a:lnTo>
                      <a:lnTo>
                        <a:pt x="1244" y="742"/>
                      </a:lnTo>
                      <a:lnTo>
                        <a:pt x="1245" y="742"/>
                      </a:lnTo>
                      <a:lnTo>
                        <a:pt x="1246" y="741"/>
                      </a:lnTo>
                      <a:lnTo>
                        <a:pt x="1247" y="741"/>
                      </a:lnTo>
                      <a:lnTo>
                        <a:pt x="1247" y="739"/>
                      </a:lnTo>
                      <a:lnTo>
                        <a:pt x="1247" y="741"/>
                      </a:lnTo>
                      <a:lnTo>
                        <a:pt x="1247" y="739"/>
                      </a:lnTo>
                      <a:lnTo>
                        <a:pt x="1247" y="738"/>
                      </a:lnTo>
                      <a:lnTo>
                        <a:pt x="1246" y="738"/>
                      </a:lnTo>
                      <a:lnTo>
                        <a:pt x="1246" y="737"/>
                      </a:lnTo>
                      <a:lnTo>
                        <a:pt x="1245" y="736"/>
                      </a:lnTo>
                      <a:lnTo>
                        <a:pt x="1245" y="735"/>
                      </a:lnTo>
                      <a:lnTo>
                        <a:pt x="1246" y="735"/>
                      </a:lnTo>
                      <a:lnTo>
                        <a:pt x="1246" y="734"/>
                      </a:lnTo>
                      <a:lnTo>
                        <a:pt x="1245" y="734"/>
                      </a:lnTo>
                      <a:lnTo>
                        <a:pt x="1244" y="734"/>
                      </a:lnTo>
                      <a:lnTo>
                        <a:pt x="1245" y="734"/>
                      </a:lnTo>
                      <a:lnTo>
                        <a:pt x="1246" y="734"/>
                      </a:lnTo>
                      <a:close/>
                      <a:moveTo>
                        <a:pt x="1317" y="613"/>
                      </a:moveTo>
                      <a:lnTo>
                        <a:pt x="1318" y="613"/>
                      </a:lnTo>
                      <a:lnTo>
                        <a:pt x="1319" y="613"/>
                      </a:lnTo>
                      <a:lnTo>
                        <a:pt x="1319" y="614"/>
                      </a:lnTo>
                      <a:lnTo>
                        <a:pt x="1321" y="614"/>
                      </a:lnTo>
                      <a:lnTo>
                        <a:pt x="1319" y="614"/>
                      </a:lnTo>
                      <a:lnTo>
                        <a:pt x="1319" y="615"/>
                      </a:lnTo>
                      <a:lnTo>
                        <a:pt x="1321" y="615"/>
                      </a:lnTo>
                      <a:lnTo>
                        <a:pt x="1319" y="615"/>
                      </a:lnTo>
                      <a:lnTo>
                        <a:pt x="1321" y="615"/>
                      </a:lnTo>
                      <a:lnTo>
                        <a:pt x="1321" y="616"/>
                      </a:lnTo>
                      <a:lnTo>
                        <a:pt x="1321" y="615"/>
                      </a:lnTo>
                      <a:lnTo>
                        <a:pt x="1321" y="614"/>
                      </a:lnTo>
                      <a:lnTo>
                        <a:pt x="1321" y="613"/>
                      </a:lnTo>
                      <a:lnTo>
                        <a:pt x="1321" y="614"/>
                      </a:lnTo>
                      <a:lnTo>
                        <a:pt x="1322" y="614"/>
                      </a:lnTo>
                      <a:lnTo>
                        <a:pt x="1323" y="615"/>
                      </a:lnTo>
                      <a:lnTo>
                        <a:pt x="1324" y="614"/>
                      </a:lnTo>
                      <a:lnTo>
                        <a:pt x="1325" y="614"/>
                      </a:lnTo>
                      <a:lnTo>
                        <a:pt x="1326" y="614"/>
                      </a:lnTo>
                      <a:lnTo>
                        <a:pt x="1326" y="615"/>
                      </a:lnTo>
                      <a:lnTo>
                        <a:pt x="1325" y="615"/>
                      </a:lnTo>
                      <a:lnTo>
                        <a:pt x="1325" y="616"/>
                      </a:lnTo>
                      <a:lnTo>
                        <a:pt x="1324" y="616"/>
                      </a:lnTo>
                      <a:lnTo>
                        <a:pt x="1324" y="615"/>
                      </a:lnTo>
                      <a:lnTo>
                        <a:pt x="1324" y="616"/>
                      </a:lnTo>
                      <a:lnTo>
                        <a:pt x="1323" y="616"/>
                      </a:lnTo>
                      <a:lnTo>
                        <a:pt x="1323" y="617"/>
                      </a:lnTo>
                      <a:lnTo>
                        <a:pt x="1322" y="617"/>
                      </a:lnTo>
                      <a:lnTo>
                        <a:pt x="1321" y="617"/>
                      </a:lnTo>
                      <a:lnTo>
                        <a:pt x="1321" y="616"/>
                      </a:lnTo>
                      <a:lnTo>
                        <a:pt x="1319" y="616"/>
                      </a:lnTo>
                      <a:lnTo>
                        <a:pt x="1319" y="615"/>
                      </a:lnTo>
                      <a:lnTo>
                        <a:pt x="1318" y="614"/>
                      </a:lnTo>
                      <a:lnTo>
                        <a:pt x="1318" y="615"/>
                      </a:lnTo>
                      <a:lnTo>
                        <a:pt x="1317" y="615"/>
                      </a:lnTo>
                      <a:lnTo>
                        <a:pt x="1317" y="614"/>
                      </a:lnTo>
                      <a:lnTo>
                        <a:pt x="1316" y="614"/>
                      </a:lnTo>
                      <a:lnTo>
                        <a:pt x="1315" y="614"/>
                      </a:lnTo>
                      <a:lnTo>
                        <a:pt x="1314" y="615"/>
                      </a:lnTo>
                      <a:lnTo>
                        <a:pt x="1313" y="615"/>
                      </a:lnTo>
                      <a:lnTo>
                        <a:pt x="1313" y="616"/>
                      </a:lnTo>
                      <a:lnTo>
                        <a:pt x="1312" y="616"/>
                      </a:lnTo>
                      <a:lnTo>
                        <a:pt x="1312" y="615"/>
                      </a:lnTo>
                      <a:lnTo>
                        <a:pt x="1311" y="615"/>
                      </a:lnTo>
                      <a:lnTo>
                        <a:pt x="1312" y="614"/>
                      </a:lnTo>
                      <a:lnTo>
                        <a:pt x="1313" y="614"/>
                      </a:lnTo>
                      <a:lnTo>
                        <a:pt x="1314" y="613"/>
                      </a:lnTo>
                      <a:lnTo>
                        <a:pt x="1315" y="613"/>
                      </a:lnTo>
                      <a:lnTo>
                        <a:pt x="1316" y="613"/>
                      </a:lnTo>
                      <a:lnTo>
                        <a:pt x="1316" y="611"/>
                      </a:lnTo>
                      <a:lnTo>
                        <a:pt x="1317" y="613"/>
                      </a:lnTo>
                      <a:close/>
                      <a:moveTo>
                        <a:pt x="1314" y="576"/>
                      </a:moveTo>
                      <a:lnTo>
                        <a:pt x="1315" y="576"/>
                      </a:lnTo>
                      <a:lnTo>
                        <a:pt x="1315" y="577"/>
                      </a:lnTo>
                      <a:lnTo>
                        <a:pt x="1316" y="577"/>
                      </a:lnTo>
                      <a:lnTo>
                        <a:pt x="1317" y="577"/>
                      </a:lnTo>
                      <a:lnTo>
                        <a:pt x="1318" y="577"/>
                      </a:lnTo>
                      <a:lnTo>
                        <a:pt x="1318" y="578"/>
                      </a:lnTo>
                      <a:lnTo>
                        <a:pt x="1317" y="578"/>
                      </a:lnTo>
                      <a:lnTo>
                        <a:pt x="1316" y="578"/>
                      </a:lnTo>
                      <a:lnTo>
                        <a:pt x="1316" y="579"/>
                      </a:lnTo>
                      <a:lnTo>
                        <a:pt x="1315" y="579"/>
                      </a:lnTo>
                      <a:lnTo>
                        <a:pt x="1316" y="579"/>
                      </a:lnTo>
                      <a:lnTo>
                        <a:pt x="1315" y="580"/>
                      </a:lnTo>
                      <a:lnTo>
                        <a:pt x="1315" y="579"/>
                      </a:lnTo>
                      <a:lnTo>
                        <a:pt x="1314" y="579"/>
                      </a:lnTo>
                      <a:lnTo>
                        <a:pt x="1314" y="580"/>
                      </a:lnTo>
                      <a:lnTo>
                        <a:pt x="1314" y="579"/>
                      </a:lnTo>
                      <a:lnTo>
                        <a:pt x="1313" y="579"/>
                      </a:lnTo>
                      <a:lnTo>
                        <a:pt x="1312" y="579"/>
                      </a:lnTo>
                      <a:lnTo>
                        <a:pt x="1312" y="580"/>
                      </a:lnTo>
                      <a:lnTo>
                        <a:pt x="1312" y="579"/>
                      </a:lnTo>
                      <a:lnTo>
                        <a:pt x="1311" y="579"/>
                      </a:lnTo>
                      <a:lnTo>
                        <a:pt x="1311" y="580"/>
                      </a:lnTo>
                      <a:lnTo>
                        <a:pt x="1310" y="580"/>
                      </a:lnTo>
                      <a:lnTo>
                        <a:pt x="1310" y="581"/>
                      </a:lnTo>
                      <a:lnTo>
                        <a:pt x="1311" y="581"/>
                      </a:lnTo>
                      <a:lnTo>
                        <a:pt x="1311" y="582"/>
                      </a:lnTo>
                      <a:lnTo>
                        <a:pt x="1311" y="583"/>
                      </a:lnTo>
                      <a:lnTo>
                        <a:pt x="1312" y="583"/>
                      </a:lnTo>
                      <a:lnTo>
                        <a:pt x="1312" y="584"/>
                      </a:lnTo>
                      <a:lnTo>
                        <a:pt x="1311" y="584"/>
                      </a:lnTo>
                      <a:lnTo>
                        <a:pt x="1312" y="584"/>
                      </a:lnTo>
                      <a:lnTo>
                        <a:pt x="1311" y="584"/>
                      </a:lnTo>
                      <a:lnTo>
                        <a:pt x="1310" y="584"/>
                      </a:lnTo>
                      <a:lnTo>
                        <a:pt x="1309" y="583"/>
                      </a:lnTo>
                      <a:lnTo>
                        <a:pt x="1309" y="584"/>
                      </a:lnTo>
                      <a:lnTo>
                        <a:pt x="1308" y="584"/>
                      </a:lnTo>
                      <a:lnTo>
                        <a:pt x="1308" y="583"/>
                      </a:lnTo>
                      <a:lnTo>
                        <a:pt x="1308" y="582"/>
                      </a:lnTo>
                      <a:lnTo>
                        <a:pt x="1309" y="581"/>
                      </a:lnTo>
                      <a:lnTo>
                        <a:pt x="1310" y="581"/>
                      </a:lnTo>
                      <a:lnTo>
                        <a:pt x="1310" y="580"/>
                      </a:lnTo>
                      <a:lnTo>
                        <a:pt x="1311" y="579"/>
                      </a:lnTo>
                      <a:lnTo>
                        <a:pt x="1311" y="578"/>
                      </a:lnTo>
                      <a:lnTo>
                        <a:pt x="1312" y="577"/>
                      </a:lnTo>
                      <a:lnTo>
                        <a:pt x="1312" y="576"/>
                      </a:lnTo>
                      <a:lnTo>
                        <a:pt x="1313" y="576"/>
                      </a:lnTo>
                      <a:lnTo>
                        <a:pt x="1314" y="576"/>
                      </a:lnTo>
                      <a:close/>
                      <a:moveTo>
                        <a:pt x="1629" y="547"/>
                      </a:moveTo>
                      <a:lnTo>
                        <a:pt x="1631" y="547"/>
                      </a:lnTo>
                      <a:lnTo>
                        <a:pt x="1629" y="547"/>
                      </a:lnTo>
                      <a:lnTo>
                        <a:pt x="1628" y="547"/>
                      </a:lnTo>
                      <a:lnTo>
                        <a:pt x="1628" y="549"/>
                      </a:lnTo>
                      <a:lnTo>
                        <a:pt x="1629" y="547"/>
                      </a:lnTo>
                      <a:lnTo>
                        <a:pt x="1629" y="549"/>
                      </a:lnTo>
                      <a:lnTo>
                        <a:pt x="1631" y="549"/>
                      </a:lnTo>
                      <a:lnTo>
                        <a:pt x="1631" y="550"/>
                      </a:lnTo>
                      <a:lnTo>
                        <a:pt x="1629" y="550"/>
                      </a:lnTo>
                      <a:lnTo>
                        <a:pt x="1628" y="551"/>
                      </a:lnTo>
                      <a:lnTo>
                        <a:pt x="1627" y="551"/>
                      </a:lnTo>
                      <a:lnTo>
                        <a:pt x="1626" y="551"/>
                      </a:lnTo>
                      <a:lnTo>
                        <a:pt x="1625" y="551"/>
                      </a:lnTo>
                      <a:lnTo>
                        <a:pt x="1624" y="551"/>
                      </a:lnTo>
                      <a:lnTo>
                        <a:pt x="1624" y="550"/>
                      </a:lnTo>
                      <a:lnTo>
                        <a:pt x="1625" y="550"/>
                      </a:lnTo>
                      <a:lnTo>
                        <a:pt x="1624" y="550"/>
                      </a:lnTo>
                      <a:lnTo>
                        <a:pt x="1623" y="550"/>
                      </a:lnTo>
                      <a:lnTo>
                        <a:pt x="1623" y="549"/>
                      </a:lnTo>
                      <a:lnTo>
                        <a:pt x="1623" y="547"/>
                      </a:lnTo>
                      <a:lnTo>
                        <a:pt x="1623" y="549"/>
                      </a:lnTo>
                      <a:lnTo>
                        <a:pt x="1623" y="547"/>
                      </a:lnTo>
                      <a:lnTo>
                        <a:pt x="1623" y="546"/>
                      </a:lnTo>
                      <a:lnTo>
                        <a:pt x="1624" y="546"/>
                      </a:lnTo>
                      <a:lnTo>
                        <a:pt x="1625" y="546"/>
                      </a:lnTo>
                      <a:lnTo>
                        <a:pt x="1626" y="546"/>
                      </a:lnTo>
                      <a:lnTo>
                        <a:pt x="1626" y="547"/>
                      </a:lnTo>
                      <a:lnTo>
                        <a:pt x="1627" y="547"/>
                      </a:lnTo>
                      <a:lnTo>
                        <a:pt x="1627" y="546"/>
                      </a:lnTo>
                      <a:lnTo>
                        <a:pt x="1626" y="546"/>
                      </a:lnTo>
                      <a:lnTo>
                        <a:pt x="1627" y="545"/>
                      </a:lnTo>
                      <a:lnTo>
                        <a:pt x="1628" y="545"/>
                      </a:lnTo>
                      <a:lnTo>
                        <a:pt x="1628" y="546"/>
                      </a:lnTo>
                      <a:lnTo>
                        <a:pt x="1629" y="547"/>
                      </a:lnTo>
                      <a:close/>
                      <a:moveTo>
                        <a:pt x="1337" y="477"/>
                      </a:moveTo>
                      <a:lnTo>
                        <a:pt x="1337" y="478"/>
                      </a:lnTo>
                      <a:lnTo>
                        <a:pt x="1338" y="478"/>
                      </a:lnTo>
                      <a:lnTo>
                        <a:pt x="1339" y="478"/>
                      </a:lnTo>
                      <a:lnTo>
                        <a:pt x="1339" y="477"/>
                      </a:lnTo>
                      <a:lnTo>
                        <a:pt x="1339" y="478"/>
                      </a:lnTo>
                      <a:lnTo>
                        <a:pt x="1340" y="478"/>
                      </a:lnTo>
                      <a:lnTo>
                        <a:pt x="1340" y="479"/>
                      </a:lnTo>
                      <a:lnTo>
                        <a:pt x="1339" y="479"/>
                      </a:lnTo>
                      <a:lnTo>
                        <a:pt x="1339" y="480"/>
                      </a:lnTo>
                      <a:lnTo>
                        <a:pt x="1339" y="481"/>
                      </a:lnTo>
                      <a:lnTo>
                        <a:pt x="1338" y="481"/>
                      </a:lnTo>
                      <a:lnTo>
                        <a:pt x="1337" y="481"/>
                      </a:lnTo>
                      <a:lnTo>
                        <a:pt x="1336" y="481"/>
                      </a:lnTo>
                      <a:lnTo>
                        <a:pt x="1334" y="481"/>
                      </a:lnTo>
                      <a:lnTo>
                        <a:pt x="1332" y="481"/>
                      </a:lnTo>
                      <a:lnTo>
                        <a:pt x="1332" y="480"/>
                      </a:lnTo>
                      <a:lnTo>
                        <a:pt x="1332" y="479"/>
                      </a:lnTo>
                      <a:lnTo>
                        <a:pt x="1332" y="480"/>
                      </a:lnTo>
                      <a:lnTo>
                        <a:pt x="1332" y="479"/>
                      </a:lnTo>
                      <a:lnTo>
                        <a:pt x="1331" y="479"/>
                      </a:lnTo>
                      <a:lnTo>
                        <a:pt x="1331" y="478"/>
                      </a:lnTo>
                      <a:lnTo>
                        <a:pt x="1332" y="478"/>
                      </a:lnTo>
                      <a:lnTo>
                        <a:pt x="1332" y="477"/>
                      </a:lnTo>
                      <a:lnTo>
                        <a:pt x="1332" y="478"/>
                      </a:lnTo>
                      <a:lnTo>
                        <a:pt x="1334" y="478"/>
                      </a:lnTo>
                      <a:lnTo>
                        <a:pt x="1334" y="479"/>
                      </a:lnTo>
                      <a:lnTo>
                        <a:pt x="1335" y="478"/>
                      </a:lnTo>
                      <a:lnTo>
                        <a:pt x="1335" y="477"/>
                      </a:lnTo>
                      <a:lnTo>
                        <a:pt x="1336" y="477"/>
                      </a:lnTo>
                      <a:lnTo>
                        <a:pt x="1337" y="477"/>
                      </a:lnTo>
                      <a:close/>
                      <a:moveTo>
                        <a:pt x="1384" y="420"/>
                      </a:moveTo>
                      <a:lnTo>
                        <a:pt x="1386" y="420"/>
                      </a:lnTo>
                      <a:lnTo>
                        <a:pt x="1386" y="421"/>
                      </a:lnTo>
                      <a:lnTo>
                        <a:pt x="1386" y="422"/>
                      </a:lnTo>
                      <a:lnTo>
                        <a:pt x="1386" y="423"/>
                      </a:lnTo>
                      <a:lnTo>
                        <a:pt x="1387" y="423"/>
                      </a:lnTo>
                      <a:lnTo>
                        <a:pt x="1386" y="423"/>
                      </a:lnTo>
                      <a:lnTo>
                        <a:pt x="1384" y="424"/>
                      </a:lnTo>
                      <a:lnTo>
                        <a:pt x="1383" y="424"/>
                      </a:lnTo>
                      <a:lnTo>
                        <a:pt x="1383" y="425"/>
                      </a:lnTo>
                      <a:lnTo>
                        <a:pt x="1382" y="425"/>
                      </a:lnTo>
                      <a:lnTo>
                        <a:pt x="1382" y="426"/>
                      </a:lnTo>
                      <a:lnTo>
                        <a:pt x="1381" y="425"/>
                      </a:lnTo>
                      <a:lnTo>
                        <a:pt x="1381" y="424"/>
                      </a:lnTo>
                      <a:lnTo>
                        <a:pt x="1380" y="424"/>
                      </a:lnTo>
                      <a:lnTo>
                        <a:pt x="1380" y="423"/>
                      </a:lnTo>
                      <a:lnTo>
                        <a:pt x="1381" y="422"/>
                      </a:lnTo>
                      <a:lnTo>
                        <a:pt x="1381" y="421"/>
                      </a:lnTo>
                      <a:lnTo>
                        <a:pt x="1380" y="421"/>
                      </a:lnTo>
                      <a:lnTo>
                        <a:pt x="1380" y="420"/>
                      </a:lnTo>
                      <a:lnTo>
                        <a:pt x="1381" y="420"/>
                      </a:lnTo>
                      <a:lnTo>
                        <a:pt x="1381" y="421"/>
                      </a:lnTo>
                      <a:lnTo>
                        <a:pt x="1382" y="420"/>
                      </a:lnTo>
                      <a:lnTo>
                        <a:pt x="1383" y="420"/>
                      </a:lnTo>
                      <a:lnTo>
                        <a:pt x="1384" y="420"/>
                      </a:lnTo>
                      <a:close/>
                      <a:moveTo>
                        <a:pt x="1324" y="624"/>
                      </a:moveTo>
                      <a:lnTo>
                        <a:pt x="1325" y="626"/>
                      </a:lnTo>
                      <a:lnTo>
                        <a:pt x="1325" y="624"/>
                      </a:lnTo>
                      <a:lnTo>
                        <a:pt x="1326" y="626"/>
                      </a:lnTo>
                      <a:lnTo>
                        <a:pt x="1326" y="627"/>
                      </a:lnTo>
                      <a:lnTo>
                        <a:pt x="1326" y="628"/>
                      </a:lnTo>
                      <a:lnTo>
                        <a:pt x="1327" y="629"/>
                      </a:lnTo>
                      <a:lnTo>
                        <a:pt x="1327" y="630"/>
                      </a:lnTo>
                      <a:lnTo>
                        <a:pt x="1328" y="630"/>
                      </a:lnTo>
                      <a:lnTo>
                        <a:pt x="1328" y="631"/>
                      </a:lnTo>
                      <a:lnTo>
                        <a:pt x="1329" y="631"/>
                      </a:lnTo>
                      <a:lnTo>
                        <a:pt x="1329" y="632"/>
                      </a:lnTo>
                      <a:lnTo>
                        <a:pt x="1330" y="632"/>
                      </a:lnTo>
                      <a:lnTo>
                        <a:pt x="1331" y="632"/>
                      </a:lnTo>
                      <a:lnTo>
                        <a:pt x="1331" y="633"/>
                      </a:lnTo>
                      <a:lnTo>
                        <a:pt x="1330" y="633"/>
                      </a:lnTo>
                      <a:lnTo>
                        <a:pt x="1329" y="633"/>
                      </a:lnTo>
                      <a:lnTo>
                        <a:pt x="1327" y="633"/>
                      </a:lnTo>
                      <a:lnTo>
                        <a:pt x="1327" y="632"/>
                      </a:lnTo>
                      <a:lnTo>
                        <a:pt x="1327" y="630"/>
                      </a:lnTo>
                      <a:lnTo>
                        <a:pt x="1326" y="630"/>
                      </a:lnTo>
                      <a:lnTo>
                        <a:pt x="1326" y="631"/>
                      </a:lnTo>
                      <a:lnTo>
                        <a:pt x="1327" y="631"/>
                      </a:lnTo>
                      <a:lnTo>
                        <a:pt x="1327" y="632"/>
                      </a:lnTo>
                      <a:lnTo>
                        <a:pt x="1327" y="633"/>
                      </a:lnTo>
                      <a:lnTo>
                        <a:pt x="1328" y="633"/>
                      </a:lnTo>
                      <a:lnTo>
                        <a:pt x="1329" y="633"/>
                      </a:lnTo>
                      <a:lnTo>
                        <a:pt x="1330" y="633"/>
                      </a:lnTo>
                      <a:lnTo>
                        <a:pt x="1330" y="634"/>
                      </a:lnTo>
                      <a:lnTo>
                        <a:pt x="1329" y="634"/>
                      </a:lnTo>
                      <a:lnTo>
                        <a:pt x="1328" y="634"/>
                      </a:lnTo>
                      <a:lnTo>
                        <a:pt x="1327" y="634"/>
                      </a:lnTo>
                      <a:lnTo>
                        <a:pt x="1327" y="635"/>
                      </a:lnTo>
                      <a:lnTo>
                        <a:pt x="1327" y="634"/>
                      </a:lnTo>
                      <a:lnTo>
                        <a:pt x="1326" y="634"/>
                      </a:lnTo>
                      <a:lnTo>
                        <a:pt x="1326" y="633"/>
                      </a:lnTo>
                      <a:lnTo>
                        <a:pt x="1326" y="632"/>
                      </a:lnTo>
                      <a:lnTo>
                        <a:pt x="1326" y="631"/>
                      </a:lnTo>
                      <a:lnTo>
                        <a:pt x="1325" y="630"/>
                      </a:lnTo>
                      <a:lnTo>
                        <a:pt x="1326" y="630"/>
                      </a:lnTo>
                      <a:lnTo>
                        <a:pt x="1326" y="629"/>
                      </a:lnTo>
                      <a:lnTo>
                        <a:pt x="1326" y="628"/>
                      </a:lnTo>
                      <a:lnTo>
                        <a:pt x="1325" y="628"/>
                      </a:lnTo>
                      <a:lnTo>
                        <a:pt x="1325" y="627"/>
                      </a:lnTo>
                      <a:lnTo>
                        <a:pt x="1324" y="627"/>
                      </a:lnTo>
                      <a:lnTo>
                        <a:pt x="1324" y="626"/>
                      </a:lnTo>
                      <a:lnTo>
                        <a:pt x="1323" y="626"/>
                      </a:lnTo>
                      <a:lnTo>
                        <a:pt x="1324" y="626"/>
                      </a:lnTo>
                      <a:lnTo>
                        <a:pt x="1324" y="624"/>
                      </a:lnTo>
                      <a:close/>
                      <a:moveTo>
                        <a:pt x="1366" y="632"/>
                      </a:moveTo>
                      <a:lnTo>
                        <a:pt x="1367" y="632"/>
                      </a:lnTo>
                      <a:lnTo>
                        <a:pt x="1368" y="632"/>
                      </a:lnTo>
                      <a:lnTo>
                        <a:pt x="1369" y="632"/>
                      </a:lnTo>
                      <a:lnTo>
                        <a:pt x="1368" y="632"/>
                      </a:lnTo>
                      <a:lnTo>
                        <a:pt x="1369" y="632"/>
                      </a:lnTo>
                      <a:lnTo>
                        <a:pt x="1370" y="632"/>
                      </a:lnTo>
                      <a:lnTo>
                        <a:pt x="1371" y="632"/>
                      </a:lnTo>
                      <a:lnTo>
                        <a:pt x="1371" y="633"/>
                      </a:lnTo>
                      <a:lnTo>
                        <a:pt x="1373" y="633"/>
                      </a:lnTo>
                      <a:lnTo>
                        <a:pt x="1371" y="633"/>
                      </a:lnTo>
                      <a:lnTo>
                        <a:pt x="1371" y="634"/>
                      </a:lnTo>
                      <a:lnTo>
                        <a:pt x="1370" y="635"/>
                      </a:lnTo>
                      <a:lnTo>
                        <a:pt x="1369" y="635"/>
                      </a:lnTo>
                      <a:lnTo>
                        <a:pt x="1368" y="635"/>
                      </a:lnTo>
                      <a:lnTo>
                        <a:pt x="1368" y="634"/>
                      </a:lnTo>
                      <a:lnTo>
                        <a:pt x="1367" y="635"/>
                      </a:lnTo>
                      <a:lnTo>
                        <a:pt x="1366" y="634"/>
                      </a:lnTo>
                      <a:lnTo>
                        <a:pt x="1365" y="634"/>
                      </a:lnTo>
                      <a:lnTo>
                        <a:pt x="1366" y="634"/>
                      </a:lnTo>
                      <a:lnTo>
                        <a:pt x="1365" y="634"/>
                      </a:lnTo>
                      <a:lnTo>
                        <a:pt x="1366" y="633"/>
                      </a:lnTo>
                      <a:lnTo>
                        <a:pt x="1365" y="633"/>
                      </a:lnTo>
                      <a:lnTo>
                        <a:pt x="1366" y="633"/>
                      </a:lnTo>
                      <a:lnTo>
                        <a:pt x="1365" y="633"/>
                      </a:lnTo>
                      <a:lnTo>
                        <a:pt x="1365" y="632"/>
                      </a:lnTo>
                      <a:lnTo>
                        <a:pt x="1365" y="633"/>
                      </a:lnTo>
                      <a:lnTo>
                        <a:pt x="1365" y="634"/>
                      </a:lnTo>
                      <a:lnTo>
                        <a:pt x="1364" y="634"/>
                      </a:lnTo>
                      <a:lnTo>
                        <a:pt x="1363" y="634"/>
                      </a:lnTo>
                      <a:lnTo>
                        <a:pt x="1362" y="634"/>
                      </a:lnTo>
                      <a:lnTo>
                        <a:pt x="1363" y="634"/>
                      </a:lnTo>
                      <a:lnTo>
                        <a:pt x="1362" y="635"/>
                      </a:lnTo>
                      <a:lnTo>
                        <a:pt x="1362" y="634"/>
                      </a:lnTo>
                      <a:lnTo>
                        <a:pt x="1362" y="635"/>
                      </a:lnTo>
                      <a:lnTo>
                        <a:pt x="1362" y="634"/>
                      </a:lnTo>
                      <a:lnTo>
                        <a:pt x="1362" y="633"/>
                      </a:lnTo>
                      <a:lnTo>
                        <a:pt x="1363" y="633"/>
                      </a:lnTo>
                      <a:lnTo>
                        <a:pt x="1363" y="634"/>
                      </a:lnTo>
                      <a:lnTo>
                        <a:pt x="1363" y="633"/>
                      </a:lnTo>
                      <a:lnTo>
                        <a:pt x="1363" y="632"/>
                      </a:lnTo>
                      <a:lnTo>
                        <a:pt x="1362" y="632"/>
                      </a:lnTo>
                      <a:lnTo>
                        <a:pt x="1362" y="633"/>
                      </a:lnTo>
                      <a:lnTo>
                        <a:pt x="1362" y="632"/>
                      </a:lnTo>
                      <a:lnTo>
                        <a:pt x="1363" y="632"/>
                      </a:lnTo>
                      <a:lnTo>
                        <a:pt x="1364" y="632"/>
                      </a:lnTo>
                      <a:lnTo>
                        <a:pt x="1365" y="632"/>
                      </a:lnTo>
                      <a:lnTo>
                        <a:pt x="1366" y="631"/>
                      </a:lnTo>
                      <a:lnTo>
                        <a:pt x="1366" y="632"/>
                      </a:lnTo>
                      <a:close/>
                      <a:moveTo>
                        <a:pt x="1257" y="705"/>
                      </a:moveTo>
                      <a:lnTo>
                        <a:pt x="1258" y="705"/>
                      </a:lnTo>
                      <a:lnTo>
                        <a:pt x="1259" y="705"/>
                      </a:lnTo>
                      <a:lnTo>
                        <a:pt x="1259" y="707"/>
                      </a:lnTo>
                      <a:lnTo>
                        <a:pt x="1259" y="706"/>
                      </a:lnTo>
                      <a:lnTo>
                        <a:pt x="1258" y="706"/>
                      </a:lnTo>
                      <a:lnTo>
                        <a:pt x="1258" y="707"/>
                      </a:lnTo>
                      <a:lnTo>
                        <a:pt x="1258" y="708"/>
                      </a:lnTo>
                      <a:lnTo>
                        <a:pt x="1259" y="708"/>
                      </a:lnTo>
                      <a:lnTo>
                        <a:pt x="1259" y="709"/>
                      </a:lnTo>
                      <a:lnTo>
                        <a:pt x="1259" y="710"/>
                      </a:lnTo>
                      <a:lnTo>
                        <a:pt x="1258" y="711"/>
                      </a:lnTo>
                      <a:lnTo>
                        <a:pt x="1258" y="710"/>
                      </a:lnTo>
                      <a:lnTo>
                        <a:pt x="1258" y="711"/>
                      </a:lnTo>
                      <a:lnTo>
                        <a:pt x="1257" y="710"/>
                      </a:lnTo>
                      <a:lnTo>
                        <a:pt x="1255" y="709"/>
                      </a:lnTo>
                      <a:lnTo>
                        <a:pt x="1254" y="709"/>
                      </a:lnTo>
                      <a:lnTo>
                        <a:pt x="1254" y="710"/>
                      </a:lnTo>
                      <a:lnTo>
                        <a:pt x="1253" y="711"/>
                      </a:lnTo>
                      <a:lnTo>
                        <a:pt x="1253" y="710"/>
                      </a:lnTo>
                      <a:lnTo>
                        <a:pt x="1254" y="710"/>
                      </a:lnTo>
                      <a:lnTo>
                        <a:pt x="1254" y="709"/>
                      </a:lnTo>
                      <a:lnTo>
                        <a:pt x="1254" y="708"/>
                      </a:lnTo>
                      <a:lnTo>
                        <a:pt x="1254" y="707"/>
                      </a:lnTo>
                      <a:lnTo>
                        <a:pt x="1253" y="706"/>
                      </a:lnTo>
                      <a:lnTo>
                        <a:pt x="1253" y="705"/>
                      </a:lnTo>
                      <a:lnTo>
                        <a:pt x="1254" y="705"/>
                      </a:lnTo>
                      <a:lnTo>
                        <a:pt x="1255" y="705"/>
                      </a:lnTo>
                      <a:lnTo>
                        <a:pt x="1255" y="704"/>
                      </a:lnTo>
                      <a:lnTo>
                        <a:pt x="1257" y="705"/>
                      </a:lnTo>
                      <a:close/>
                      <a:moveTo>
                        <a:pt x="1331" y="595"/>
                      </a:moveTo>
                      <a:lnTo>
                        <a:pt x="1332" y="595"/>
                      </a:lnTo>
                      <a:lnTo>
                        <a:pt x="1334" y="595"/>
                      </a:lnTo>
                      <a:lnTo>
                        <a:pt x="1335" y="595"/>
                      </a:lnTo>
                      <a:lnTo>
                        <a:pt x="1336" y="595"/>
                      </a:lnTo>
                      <a:lnTo>
                        <a:pt x="1336" y="596"/>
                      </a:lnTo>
                      <a:lnTo>
                        <a:pt x="1337" y="596"/>
                      </a:lnTo>
                      <a:lnTo>
                        <a:pt x="1338" y="596"/>
                      </a:lnTo>
                      <a:lnTo>
                        <a:pt x="1339" y="596"/>
                      </a:lnTo>
                      <a:lnTo>
                        <a:pt x="1340" y="596"/>
                      </a:lnTo>
                      <a:lnTo>
                        <a:pt x="1340" y="595"/>
                      </a:lnTo>
                      <a:lnTo>
                        <a:pt x="1341" y="595"/>
                      </a:lnTo>
                      <a:lnTo>
                        <a:pt x="1341" y="596"/>
                      </a:lnTo>
                      <a:lnTo>
                        <a:pt x="1340" y="596"/>
                      </a:lnTo>
                      <a:lnTo>
                        <a:pt x="1340" y="597"/>
                      </a:lnTo>
                      <a:lnTo>
                        <a:pt x="1340" y="596"/>
                      </a:lnTo>
                      <a:lnTo>
                        <a:pt x="1339" y="596"/>
                      </a:lnTo>
                      <a:lnTo>
                        <a:pt x="1339" y="597"/>
                      </a:lnTo>
                      <a:lnTo>
                        <a:pt x="1340" y="597"/>
                      </a:lnTo>
                      <a:lnTo>
                        <a:pt x="1339" y="597"/>
                      </a:lnTo>
                      <a:lnTo>
                        <a:pt x="1338" y="597"/>
                      </a:lnTo>
                      <a:lnTo>
                        <a:pt x="1338" y="598"/>
                      </a:lnTo>
                      <a:lnTo>
                        <a:pt x="1338" y="600"/>
                      </a:lnTo>
                      <a:lnTo>
                        <a:pt x="1338" y="598"/>
                      </a:lnTo>
                      <a:lnTo>
                        <a:pt x="1337" y="600"/>
                      </a:lnTo>
                      <a:lnTo>
                        <a:pt x="1336" y="600"/>
                      </a:lnTo>
                      <a:lnTo>
                        <a:pt x="1336" y="598"/>
                      </a:lnTo>
                      <a:lnTo>
                        <a:pt x="1335" y="598"/>
                      </a:lnTo>
                      <a:lnTo>
                        <a:pt x="1334" y="598"/>
                      </a:lnTo>
                      <a:lnTo>
                        <a:pt x="1332" y="598"/>
                      </a:lnTo>
                      <a:lnTo>
                        <a:pt x="1331" y="598"/>
                      </a:lnTo>
                      <a:lnTo>
                        <a:pt x="1330" y="598"/>
                      </a:lnTo>
                      <a:lnTo>
                        <a:pt x="1329" y="598"/>
                      </a:lnTo>
                      <a:lnTo>
                        <a:pt x="1328" y="600"/>
                      </a:lnTo>
                      <a:lnTo>
                        <a:pt x="1329" y="598"/>
                      </a:lnTo>
                      <a:lnTo>
                        <a:pt x="1330" y="598"/>
                      </a:lnTo>
                      <a:lnTo>
                        <a:pt x="1331" y="597"/>
                      </a:lnTo>
                      <a:lnTo>
                        <a:pt x="1332" y="597"/>
                      </a:lnTo>
                      <a:lnTo>
                        <a:pt x="1334" y="597"/>
                      </a:lnTo>
                      <a:lnTo>
                        <a:pt x="1335" y="596"/>
                      </a:lnTo>
                      <a:lnTo>
                        <a:pt x="1334" y="597"/>
                      </a:lnTo>
                      <a:lnTo>
                        <a:pt x="1332" y="597"/>
                      </a:lnTo>
                      <a:lnTo>
                        <a:pt x="1331" y="597"/>
                      </a:lnTo>
                      <a:lnTo>
                        <a:pt x="1330" y="598"/>
                      </a:lnTo>
                      <a:lnTo>
                        <a:pt x="1331" y="597"/>
                      </a:lnTo>
                      <a:lnTo>
                        <a:pt x="1332" y="597"/>
                      </a:lnTo>
                      <a:lnTo>
                        <a:pt x="1332" y="596"/>
                      </a:lnTo>
                      <a:lnTo>
                        <a:pt x="1332" y="595"/>
                      </a:lnTo>
                      <a:lnTo>
                        <a:pt x="1331" y="595"/>
                      </a:lnTo>
                      <a:lnTo>
                        <a:pt x="1330" y="595"/>
                      </a:lnTo>
                      <a:lnTo>
                        <a:pt x="1330" y="594"/>
                      </a:lnTo>
                      <a:lnTo>
                        <a:pt x="1331" y="594"/>
                      </a:lnTo>
                      <a:lnTo>
                        <a:pt x="1331" y="595"/>
                      </a:lnTo>
                      <a:close/>
                      <a:moveTo>
                        <a:pt x="1188" y="699"/>
                      </a:moveTo>
                      <a:lnTo>
                        <a:pt x="1188" y="700"/>
                      </a:lnTo>
                      <a:lnTo>
                        <a:pt x="1187" y="700"/>
                      </a:lnTo>
                      <a:lnTo>
                        <a:pt x="1187" y="701"/>
                      </a:lnTo>
                      <a:lnTo>
                        <a:pt x="1187" y="704"/>
                      </a:lnTo>
                      <a:lnTo>
                        <a:pt x="1188" y="704"/>
                      </a:lnTo>
                      <a:lnTo>
                        <a:pt x="1188" y="705"/>
                      </a:lnTo>
                      <a:lnTo>
                        <a:pt x="1187" y="705"/>
                      </a:lnTo>
                      <a:lnTo>
                        <a:pt x="1186" y="706"/>
                      </a:lnTo>
                      <a:lnTo>
                        <a:pt x="1186" y="708"/>
                      </a:lnTo>
                      <a:lnTo>
                        <a:pt x="1186" y="709"/>
                      </a:lnTo>
                      <a:lnTo>
                        <a:pt x="1187" y="709"/>
                      </a:lnTo>
                      <a:lnTo>
                        <a:pt x="1187" y="710"/>
                      </a:lnTo>
                      <a:lnTo>
                        <a:pt x="1188" y="710"/>
                      </a:lnTo>
                      <a:lnTo>
                        <a:pt x="1187" y="711"/>
                      </a:lnTo>
                      <a:lnTo>
                        <a:pt x="1186" y="711"/>
                      </a:lnTo>
                      <a:lnTo>
                        <a:pt x="1185" y="711"/>
                      </a:lnTo>
                      <a:lnTo>
                        <a:pt x="1185" y="710"/>
                      </a:lnTo>
                      <a:lnTo>
                        <a:pt x="1186" y="710"/>
                      </a:lnTo>
                      <a:lnTo>
                        <a:pt x="1185" y="710"/>
                      </a:lnTo>
                      <a:lnTo>
                        <a:pt x="1185" y="709"/>
                      </a:lnTo>
                      <a:lnTo>
                        <a:pt x="1185" y="708"/>
                      </a:lnTo>
                      <a:lnTo>
                        <a:pt x="1185" y="707"/>
                      </a:lnTo>
                      <a:lnTo>
                        <a:pt x="1185" y="706"/>
                      </a:lnTo>
                      <a:lnTo>
                        <a:pt x="1186" y="706"/>
                      </a:lnTo>
                      <a:lnTo>
                        <a:pt x="1185" y="706"/>
                      </a:lnTo>
                      <a:lnTo>
                        <a:pt x="1186" y="706"/>
                      </a:lnTo>
                      <a:lnTo>
                        <a:pt x="1186" y="705"/>
                      </a:lnTo>
                      <a:lnTo>
                        <a:pt x="1186" y="704"/>
                      </a:lnTo>
                      <a:lnTo>
                        <a:pt x="1186" y="703"/>
                      </a:lnTo>
                      <a:lnTo>
                        <a:pt x="1185" y="703"/>
                      </a:lnTo>
                      <a:lnTo>
                        <a:pt x="1184" y="703"/>
                      </a:lnTo>
                      <a:lnTo>
                        <a:pt x="1184" y="701"/>
                      </a:lnTo>
                      <a:lnTo>
                        <a:pt x="1183" y="701"/>
                      </a:lnTo>
                      <a:lnTo>
                        <a:pt x="1183" y="700"/>
                      </a:lnTo>
                      <a:lnTo>
                        <a:pt x="1184" y="701"/>
                      </a:lnTo>
                      <a:lnTo>
                        <a:pt x="1185" y="701"/>
                      </a:lnTo>
                      <a:lnTo>
                        <a:pt x="1185" y="700"/>
                      </a:lnTo>
                      <a:lnTo>
                        <a:pt x="1186" y="700"/>
                      </a:lnTo>
                      <a:lnTo>
                        <a:pt x="1187" y="700"/>
                      </a:lnTo>
                      <a:lnTo>
                        <a:pt x="1187" y="699"/>
                      </a:lnTo>
                      <a:lnTo>
                        <a:pt x="1188" y="699"/>
                      </a:lnTo>
                      <a:close/>
                      <a:moveTo>
                        <a:pt x="1322" y="584"/>
                      </a:moveTo>
                      <a:lnTo>
                        <a:pt x="1323" y="584"/>
                      </a:lnTo>
                      <a:lnTo>
                        <a:pt x="1322" y="584"/>
                      </a:lnTo>
                      <a:lnTo>
                        <a:pt x="1322" y="585"/>
                      </a:lnTo>
                      <a:lnTo>
                        <a:pt x="1323" y="584"/>
                      </a:lnTo>
                      <a:lnTo>
                        <a:pt x="1324" y="584"/>
                      </a:lnTo>
                      <a:lnTo>
                        <a:pt x="1324" y="585"/>
                      </a:lnTo>
                      <a:lnTo>
                        <a:pt x="1325" y="585"/>
                      </a:lnTo>
                      <a:lnTo>
                        <a:pt x="1325" y="587"/>
                      </a:lnTo>
                      <a:lnTo>
                        <a:pt x="1324" y="588"/>
                      </a:lnTo>
                      <a:lnTo>
                        <a:pt x="1324" y="589"/>
                      </a:lnTo>
                      <a:lnTo>
                        <a:pt x="1323" y="589"/>
                      </a:lnTo>
                      <a:lnTo>
                        <a:pt x="1322" y="589"/>
                      </a:lnTo>
                      <a:lnTo>
                        <a:pt x="1321" y="589"/>
                      </a:lnTo>
                      <a:lnTo>
                        <a:pt x="1319" y="589"/>
                      </a:lnTo>
                      <a:lnTo>
                        <a:pt x="1318" y="589"/>
                      </a:lnTo>
                      <a:lnTo>
                        <a:pt x="1318" y="590"/>
                      </a:lnTo>
                      <a:lnTo>
                        <a:pt x="1317" y="590"/>
                      </a:lnTo>
                      <a:lnTo>
                        <a:pt x="1317" y="591"/>
                      </a:lnTo>
                      <a:lnTo>
                        <a:pt x="1317" y="590"/>
                      </a:lnTo>
                      <a:lnTo>
                        <a:pt x="1317" y="589"/>
                      </a:lnTo>
                      <a:lnTo>
                        <a:pt x="1318" y="589"/>
                      </a:lnTo>
                      <a:lnTo>
                        <a:pt x="1318" y="588"/>
                      </a:lnTo>
                      <a:lnTo>
                        <a:pt x="1319" y="588"/>
                      </a:lnTo>
                      <a:lnTo>
                        <a:pt x="1319" y="587"/>
                      </a:lnTo>
                      <a:lnTo>
                        <a:pt x="1321" y="587"/>
                      </a:lnTo>
                      <a:lnTo>
                        <a:pt x="1321" y="585"/>
                      </a:lnTo>
                      <a:lnTo>
                        <a:pt x="1321" y="584"/>
                      </a:lnTo>
                      <a:lnTo>
                        <a:pt x="1322" y="584"/>
                      </a:lnTo>
                      <a:lnTo>
                        <a:pt x="1321" y="584"/>
                      </a:lnTo>
                      <a:lnTo>
                        <a:pt x="1322" y="584"/>
                      </a:lnTo>
                      <a:close/>
                      <a:moveTo>
                        <a:pt x="1163" y="696"/>
                      </a:moveTo>
                      <a:lnTo>
                        <a:pt x="1163" y="697"/>
                      </a:lnTo>
                      <a:lnTo>
                        <a:pt x="1163" y="698"/>
                      </a:lnTo>
                      <a:lnTo>
                        <a:pt x="1163" y="699"/>
                      </a:lnTo>
                      <a:lnTo>
                        <a:pt x="1162" y="701"/>
                      </a:lnTo>
                      <a:lnTo>
                        <a:pt x="1162" y="704"/>
                      </a:lnTo>
                      <a:lnTo>
                        <a:pt x="1163" y="704"/>
                      </a:lnTo>
                      <a:lnTo>
                        <a:pt x="1163" y="705"/>
                      </a:lnTo>
                      <a:lnTo>
                        <a:pt x="1162" y="705"/>
                      </a:lnTo>
                      <a:lnTo>
                        <a:pt x="1162" y="704"/>
                      </a:lnTo>
                      <a:lnTo>
                        <a:pt x="1161" y="704"/>
                      </a:lnTo>
                      <a:lnTo>
                        <a:pt x="1161" y="703"/>
                      </a:lnTo>
                      <a:lnTo>
                        <a:pt x="1160" y="703"/>
                      </a:lnTo>
                      <a:lnTo>
                        <a:pt x="1160" y="704"/>
                      </a:lnTo>
                      <a:lnTo>
                        <a:pt x="1160" y="705"/>
                      </a:lnTo>
                      <a:lnTo>
                        <a:pt x="1159" y="705"/>
                      </a:lnTo>
                      <a:lnTo>
                        <a:pt x="1159" y="706"/>
                      </a:lnTo>
                      <a:lnTo>
                        <a:pt x="1160" y="706"/>
                      </a:lnTo>
                      <a:lnTo>
                        <a:pt x="1160" y="705"/>
                      </a:lnTo>
                      <a:lnTo>
                        <a:pt x="1160" y="704"/>
                      </a:lnTo>
                      <a:lnTo>
                        <a:pt x="1161" y="705"/>
                      </a:lnTo>
                      <a:lnTo>
                        <a:pt x="1162" y="706"/>
                      </a:lnTo>
                      <a:lnTo>
                        <a:pt x="1162" y="707"/>
                      </a:lnTo>
                      <a:lnTo>
                        <a:pt x="1163" y="707"/>
                      </a:lnTo>
                      <a:lnTo>
                        <a:pt x="1163" y="708"/>
                      </a:lnTo>
                      <a:lnTo>
                        <a:pt x="1162" y="708"/>
                      </a:lnTo>
                      <a:lnTo>
                        <a:pt x="1162" y="707"/>
                      </a:lnTo>
                      <a:lnTo>
                        <a:pt x="1161" y="707"/>
                      </a:lnTo>
                      <a:lnTo>
                        <a:pt x="1160" y="707"/>
                      </a:lnTo>
                      <a:lnTo>
                        <a:pt x="1159" y="707"/>
                      </a:lnTo>
                      <a:lnTo>
                        <a:pt x="1159" y="706"/>
                      </a:lnTo>
                      <a:lnTo>
                        <a:pt x="1158" y="705"/>
                      </a:lnTo>
                      <a:lnTo>
                        <a:pt x="1159" y="705"/>
                      </a:lnTo>
                      <a:lnTo>
                        <a:pt x="1159" y="706"/>
                      </a:lnTo>
                      <a:lnTo>
                        <a:pt x="1159" y="705"/>
                      </a:lnTo>
                      <a:lnTo>
                        <a:pt x="1158" y="705"/>
                      </a:lnTo>
                      <a:lnTo>
                        <a:pt x="1159" y="705"/>
                      </a:lnTo>
                      <a:lnTo>
                        <a:pt x="1159" y="704"/>
                      </a:lnTo>
                      <a:lnTo>
                        <a:pt x="1159" y="705"/>
                      </a:lnTo>
                      <a:lnTo>
                        <a:pt x="1159" y="704"/>
                      </a:lnTo>
                      <a:lnTo>
                        <a:pt x="1158" y="704"/>
                      </a:lnTo>
                      <a:lnTo>
                        <a:pt x="1157" y="704"/>
                      </a:lnTo>
                      <a:lnTo>
                        <a:pt x="1156" y="704"/>
                      </a:lnTo>
                      <a:lnTo>
                        <a:pt x="1156" y="703"/>
                      </a:lnTo>
                      <a:lnTo>
                        <a:pt x="1157" y="704"/>
                      </a:lnTo>
                      <a:lnTo>
                        <a:pt x="1157" y="703"/>
                      </a:lnTo>
                      <a:lnTo>
                        <a:pt x="1158" y="703"/>
                      </a:lnTo>
                      <a:lnTo>
                        <a:pt x="1159" y="703"/>
                      </a:lnTo>
                      <a:lnTo>
                        <a:pt x="1160" y="703"/>
                      </a:lnTo>
                      <a:lnTo>
                        <a:pt x="1161" y="701"/>
                      </a:lnTo>
                      <a:lnTo>
                        <a:pt x="1162" y="700"/>
                      </a:lnTo>
                      <a:lnTo>
                        <a:pt x="1162" y="699"/>
                      </a:lnTo>
                      <a:lnTo>
                        <a:pt x="1162" y="698"/>
                      </a:lnTo>
                      <a:lnTo>
                        <a:pt x="1163" y="698"/>
                      </a:lnTo>
                      <a:lnTo>
                        <a:pt x="1163" y="697"/>
                      </a:lnTo>
                      <a:lnTo>
                        <a:pt x="1162" y="697"/>
                      </a:lnTo>
                      <a:lnTo>
                        <a:pt x="1163" y="697"/>
                      </a:lnTo>
                      <a:lnTo>
                        <a:pt x="1163" y="698"/>
                      </a:lnTo>
                      <a:lnTo>
                        <a:pt x="1162" y="697"/>
                      </a:lnTo>
                      <a:lnTo>
                        <a:pt x="1162" y="696"/>
                      </a:lnTo>
                      <a:lnTo>
                        <a:pt x="1162" y="695"/>
                      </a:lnTo>
                      <a:lnTo>
                        <a:pt x="1163" y="696"/>
                      </a:lnTo>
                      <a:close/>
                      <a:moveTo>
                        <a:pt x="1199" y="699"/>
                      </a:moveTo>
                      <a:lnTo>
                        <a:pt x="1200" y="699"/>
                      </a:lnTo>
                      <a:lnTo>
                        <a:pt x="1200" y="700"/>
                      </a:lnTo>
                      <a:lnTo>
                        <a:pt x="1200" y="699"/>
                      </a:lnTo>
                      <a:lnTo>
                        <a:pt x="1199" y="699"/>
                      </a:lnTo>
                      <a:lnTo>
                        <a:pt x="1199" y="700"/>
                      </a:lnTo>
                      <a:lnTo>
                        <a:pt x="1198" y="700"/>
                      </a:lnTo>
                      <a:lnTo>
                        <a:pt x="1197" y="700"/>
                      </a:lnTo>
                      <a:lnTo>
                        <a:pt x="1198" y="701"/>
                      </a:lnTo>
                      <a:lnTo>
                        <a:pt x="1199" y="701"/>
                      </a:lnTo>
                      <a:lnTo>
                        <a:pt x="1199" y="700"/>
                      </a:lnTo>
                      <a:lnTo>
                        <a:pt x="1199" y="701"/>
                      </a:lnTo>
                      <a:lnTo>
                        <a:pt x="1200" y="701"/>
                      </a:lnTo>
                      <a:lnTo>
                        <a:pt x="1200" y="700"/>
                      </a:lnTo>
                      <a:lnTo>
                        <a:pt x="1201" y="700"/>
                      </a:lnTo>
                      <a:lnTo>
                        <a:pt x="1202" y="700"/>
                      </a:lnTo>
                      <a:lnTo>
                        <a:pt x="1202" y="701"/>
                      </a:lnTo>
                      <a:lnTo>
                        <a:pt x="1201" y="701"/>
                      </a:lnTo>
                      <a:lnTo>
                        <a:pt x="1201" y="703"/>
                      </a:lnTo>
                      <a:lnTo>
                        <a:pt x="1201" y="704"/>
                      </a:lnTo>
                      <a:lnTo>
                        <a:pt x="1200" y="704"/>
                      </a:lnTo>
                      <a:lnTo>
                        <a:pt x="1200" y="705"/>
                      </a:lnTo>
                      <a:lnTo>
                        <a:pt x="1200" y="704"/>
                      </a:lnTo>
                      <a:lnTo>
                        <a:pt x="1199" y="703"/>
                      </a:lnTo>
                      <a:lnTo>
                        <a:pt x="1198" y="703"/>
                      </a:lnTo>
                      <a:lnTo>
                        <a:pt x="1198" y="701"/>
                      </a:lnTo>
                      <a:lnTo>
                        <a:pt x="1197" y="701"/>
                      </a:lnTo>
                      <a:lnTo>
                        <a:pt x="1196" y="701"/>
                      </a:lnTo>
                      <a:lnTo>
                        <a:pt x="1195" y="701"/>
                      </a:lnTo>
                      <a:lnTo>
                        <a:pt x="1194" y="703"/>
                      </a:lnTo>
                      <a:lnTo>
                        <a:pt x="1193" y="704"/>
                      </a:lnTo>
                      <a:lnTo>
                        <a:pt x="1192" y="704"/>
                      </a:lnTo>
                      <a:lnTo>
                        <a:pt x="1190" y="704"/>
                      </a:lnTo>
                      <a:lnTo>
                        <a:pt x="1189" y="705"/>
                      </a:lnTo>
                      <a:lnTo>
                        <a:pt x="1189" y="704"/>
                      </a:lnTo>
                      <a:lnTo>
                        <a:pt x="1189" y="703"/>
                      </a:lnTo>
                      <a:lnTo>
                        <a:pt x="1190" y="703"/>
                      </a:lnTo>
                      <a:lnTo>
                        <a:pt x="1193" y="703"/>
                      </a:lnTo>
                      <a:lnTo>
                        <a:pt x="1194" y="701"/>
                      </a:lnTo>
                      <a:lnTo>
                        <a:pt x="1195" y="701"/>
                      </a:lnTo>
                      <a:lnTo>
                        <a:pt x="1196" y="700"/>
                      </a:lnTo>
                      <a:lnTo>
                        <a:pt x="1197" y="700"/>
                      </a:lnTo>
                      <a:lnTo>
                        <a:pt x="1197" y="699"/>
                      </a:lnTo>
                      <a:lnTo>
                        <a:pt x="1198" y="699"/>
                      </a:lnTo>
                      <a:lnTo>
                        <a:pt x="1199" y="699"/>
                      </a:lnTo>
                      <a:close/>
                      <a:moveTo>
                        <a:pt x="1221" y="636"/>
                      </a:moveTo>
                      <a:lnTo>
                        <a:pt x="1222" y="637"/>
                      </a:lnTo>
                      <a:lnTo>
                        <a:pt x="1222" y="639"/>
                      </a:lnTo>
                      <a:lnTo>
                        <a:pt x="1223" y="639"/>
                      </a:lnTo>
                      <a:lnTo>
                        <a:pt x="1224" y="639"/>
                      </a:lnTo>
                      <a:lnTo>
                        <a:pt x="1225" y="639"/>
                      </a:lnTo>
                      <a:lnTo>
                        <a:pt x="1226" y="639"/>
                      </a:lnTo>
                      <a:lnTo>
                        <a:pt x="1227" y="639"/>
                      </a:lnTo>
                      <a:lnTo>
                        <a:pt x="1228" y="637"/>
                      </a:lnTo>
                      <a:lnTo>
                        <a:pt x="1229" y="637"/>
                      </a:lnTo>
                      <a:lnTo>
                        <a:pt x="1229" y="639"/>
                      </a:lnTo>
                      <a:lnTo>
                        <a:pt x="1229" y="640"/>
                      </a:lnTo>
                      <a:lnTo>
                        <a:pt x="1228" y="640"/>
                      </a:lnTo>
                      <a:lnTo>
                        <a:pt x="1227" y="640"/>
                      </a:lnTo>
                      <a:lnTo>
                        <a:pt x="1227" y="639"/>
                      </a:lnTo>
                      <a:lnTo>
                        <a:pt x="1226" y="640"/>
                      </a:lnTo>
                      <a:lnTo>
                        <a:pt x="1226" y="639"/>
                      </a:lnTo>
                      <a:lnTo>
                        <a:pt x="1227" y="639"/>
                      </a:lnTo>
                      <a:lnTo>
                        <a:pt x="1226" y="639"/>
                      </a:lnTo>
                      <a:lnTo>
                        <a:pt x="1226" y="640"/>
                      </a:lnTo>
                      <a:lnTo>
                        <a:pt x="1225" y="640"/>
                      </a:lnTo>
                      <a:lnTo>
                        <a:pt x="1225" y="641"/>
                      </a:lnTo>
                      <a:lnTo>
                        <a:pt x="1224" y="641"/>
                      </a:lnTo>
                      <a:lnTo>
                        <a:pt x="1223" y="641"/>
                      </a:lnTo>
                      <a:lnTo>
                        <a:pt x="1223" y="640"/>
                      </a:lnTo>
                      <a:lnTo>
                        <a:pt x="1224" y="640"/>
                      </a:lnTo>
                      <a:lnTo>
                        <a:pt x="1223" y="639"/>
                      </a:lnTo>
                      <a:lnTo>
                        <a:pt x="1222" y="639"/>
                      </a:lnTo>
                      <a:lnTo>
                        <a:pt x="1222" y="640"/>
                      </a:lnTo>
                      <a:lnTo>
                        <a:pt x="1222" y="639"/>
                      </a:lnTo>
                      <a:lnTo>
                        <a:pt x="1221" y="639"/>
                      </a:lnTo>
                      <a:lnTo>
                        <a:pt x="1220" y="637"/>
                      </a:lnTo>
                      <a:lnTo>
                        <a:pt x="1220" y="639"/>
                      </a:lnTo>
                      <a:lnTo>
                        <a:pt x="1219" y="639"/>
                      </a:lnTo>
                      <a:lnTo>
                        <a:pt x="1219" y="640"/>
                      </a:lnTo>
                      <a:lnTo>
                        <a:pt x="1218" y="639"/>
                      </a:lnTo>
                      <a:lnTo>
                        <a:pt x="1216" y="639"/>
                      </a:lnTo>
                      <a:lnTo>
                        <a:pt x="1218" y="639"/>
                      </a:lnTo>
                      <a:lnTo>
                        <a:pt x="1218" y="637"/>
                      </a:lnTo>
                      <a:lnTo>
                        <a:pt x="1216" y="637"/>
                      </a:lnTo>
                      <a:lnTo>
                        <a:pt x="1216" y="636"/>
                      </a:lnTo>
                      <a:lnTo>
                        <a:pt x="1218" y="636"/>
                      </a:lnTo>
                      <a:lnTo>
                        <a:pt x="1219" y="636"/>
                      </a:lnTo>
                      <a:lnTo>
                        <a:pt x="1220" y="636"/>
                      </a:lnTo>
                      <a:lnTo>
                        <a:pt x="1220" y="635"/>
                      </a:lnTo>
                      <a:lnTo>
                        <a:pt x="1220" y="636"/>
                      </a:lnTo>
                      <a:lnTo>
                        <a:pt x="1220" y="635"/>
                      </a:lnTo>
                      <a:lnTo>
                        <a:pt x="1221" y="635"/>
                      </a:lnTo>
                      <a:lnTo>
                        <a:pt x="1221" y="636"/>
                      </a:lnTo>
                      <a:close/>
                      <a:moveTo>
                        <a:pt x="1314" y="607"/>
                      </a:moveTo>
                      <a:lnTo>
                        <a:pt x="1315" y="608"/>
                      </a:lnTo>
                      <a:lnTo>
                        <a:pt x="1316" y="608"/>
                      </a:lnTo>
                      <a:lnTo>
                        <a:pt x="1315" y="608"/>
                      </a:lnTo>
                      <a:lnTo>
                        <a:pt x="1315" y="609"/>
                      </a:lnTo>
                      <a:lnTo>
                        <a:pt x="1314" y="609"/>
                      </a:lnTo>
                      <a:lnTo>
                        <a:pt x="1313" y="609"/>
                      </a:lnTo>
                      <a:lnTo>
                        <a:pt x="1312" y="609"/>
                      </a:lnTo>
                      <a:lnTo>
                        <a:pt x="1312" y="610"/>
                      </a:lnTo>
                      <a:lnTo>
                        <a:pt x="1312" y="609"/>
                      </a:lnTo>
                      <a:lnTo>
                        <a:pt x="1311" y="609"/>
                      </a:lnTo>
                      <a:lnTo>
                        <a:pt x="1311" y="608"/>
                      </a:lnTo>
                      <a:lnTo>
                        <a:pt x="1310" y="607"/>
                      </a:lnTo>
                      <a:lnTo>
                        <a:pt x="1309" y="607"/>
                      </a:lnTo>
                      <a:lnTo>
                        <a:pt x="1308" y="607"/>
                      </a:lnTo>
                      <a:lnTo>
                        <a:pt x="1310" y="606"/>
                      </a:lnTo>
                      <a:lnTo>
                        <a:pt x="1311" y="606"/>
                      </a:lnTo>
                      <a:lnTo>
                        <a:pt x="1312" y="606"/>
                      </a:lnTo>
                      <a:lnTo>
                        <a:pt x="1312" y="605"/>
                      </a:lnTo>
                      <a:lnTo>
                        <a:pt x="1313" y="605"/>
                      </a:lnTo>
                      <a:lnTo>
                        <a:pt x="1313" y="606"/>
                      </a:lnTo>
                      <a:lnTo>
                        <a:pt x="1314" y="607"/>
                      </a:lnTo>
                      <a:close/>
                      <a:moveTo>
                        <a:pt x="1325" y="543"/>
                      </a:moveTo>
                      <a:lnTo>
                        <a:pt x="1325" y="544"/>
                      </a:lnTo>
                      <a:lnTo>
                        <a:pt x="1325" y="545"/>
                      </a:lnTo>
                      <a:lnTo>
                        <a:pt x="1325" y="544"/>
                      </a:lnTo>
                      <a:lnTo>
                        <a:pt x="1326" y="544"/>
                      </a:lnTo>
                      <a:lnTo>
                        <a:pt x="1327" y="543"/>
                      </a:lnTo>
                      <a:lnTo>
                        <a:pt x="1327" y="544"/>
                      </a:lnTo>
                      <a:lnTo>
                        <a:pt x="1327" y="545"/>
                      </a:lnTo>
                      <a:lnTo>
                        <a:pt x="1327" y="546"/>
                      </a:lnTo>
                      <a:lnTo>
                        <a:pt x="1326" y="546"/>
                      </a:lnTo>
                      <a:lnTo>
                        <a:pt x="1325" y="547"/>
                      </a:lnTo>
                      <a:lnTo>
                        <a:pt x="1324" y="549"/>
                      </a:lnTo>
                      <a:lnTo>
                        <a:pt x="1324" y="547"/>
                      </a:lnTo>
                      <a:lnTo>
                        <a:pt x="1323" y="547"/>
                      </a:lnTo>
                      <a:lnTo>
                        <a:pt x="1322" y="547"/>
                      </a:lnTo>
                      <a:lnTo>
                        <a:pt x="1323" y="547"/>
                      </a:lnTo>
                      <a:lnTo>
                        <a:pt x="1323" y="546"/>
                      </a:lnTo>
                      <a:lnTo>
                        <a:pt x="1323" y="547"/>
                      </a:lnTo>
                      <a:lnTo>
                        <a:pt x="1323" y="546"/>
                      </a:lnTo>
                      <a:lnTo>
                        <a:pt x="1323" y="545"/>
                      </a:lnTo>
                      <a:lnTo>
                        <a:pt x="1323" y="544"/>
                      </a:lnTo>
                      <a:lnTo>
                        <a:pt x="1323" y="545"/>
                      </a:lnTo>
                      <a:lnTo>
                        <a:pt x="1322" y="545"/>
                      </a:lnTo>
                      <a:lnTo>
                        <a:pt x="1322" y="544"/>
                      </a:lnTo>
                      <a:lnTo>
                        <a:pt x="1322" y="543"/>
                      </a:lnTo>
                      <a:lnTo>
                        <a:pt x="1322" y="544"/>
                      </a:lnTo>
                      <a:lnTo>
                        <a:pt x="1323" y="543"/>
                      </a:lnTo>
                      <a:lnTo>
                        <a:pt x="1323" y="542"/>
                      </a:lnTo>
                      <a:lnTo>
                        <a:pt x="1323" y="541"/>
                      </a:lnTo>
                      <a:lnTo>
                        <a:pt x="1323" y="542"/>
                      </a:lnTo>
                      <a:lnTo>
                        <a:pt x="1324" y="542"/>
                      </a:lnTo>
                      <a:lnTo>
                        <a:pt x="1325" y="542"/>
                      </a:lnTo>
                      <a:lnTo>
                        <a:pt x="1325" y="543"/>
                      </a:lnTo>
                      <a:close/>
                      <a:moveTo>
                        <a:pt x="1629" y="542"/>
                      </a:moveTo>
                      <a:lnTo>
                        <a:pt x="1631" y="542"/>
                      </a:lnTo>
                      <a:lnTo>
                        <a:pt x="1629" y="542"/>
                      </a:lnTo>
                      <a:lnTo>
                        <a:pt x="1629" y="543"/>
                      </a:lnTo>
                      <a:lnTo>
                        <a:pt x="1631" y="543"/>
                      </a:lnTo>
                      <a:lnTo>
                        <a:pt x="1631" y="544"/>
                      </a:lnTo>
                      <a:lnTo>
                        <a:pt x="1629" y="544"/>
                      </a:lnTo>
                      <a:lnTo>
                        <a:pt x="1628" y="544"/>
                      </a:lnTo>
                      <a:lnTo>
                        <a:pt x="1627" y="544"/>
                      </a:lnTo>
                      <a:lnTo>
                        <a:pt x="1627" y="543"/>
                      </a:lnTo>
                      <a:lnTo>
                        <a:pt x="1628" y="543"/>
                      </a:lnTo>
                      <a:lnTo>
                        <a:pt x="1627" y="543"/>
                      </a:lnTo>
                      <a:lnTo>
                        <a:pt x="1626" y="544"/>
                      </a:lnTo>
                      <a:lnTo>
                        <a:pt x="1625" y="543"/>
                      </a:lnTo>
                      <a:lnTo>
                        <a:pt x="1625" y="542"/>
                      </a:lnTo>
                      <a:lnTo>
                        <a:pt x="1626" y="541"/>
                      </a:lnTo>
                      <a:lnTo>
                        <a:pt x="1627" y="540"/>
                      </a:lnTo>
                      <a:lnTo>
                        <a:pt x="1628" y="539"/>
                      </a:lnTo>
                      <a:lnTo>
                        <a:pt x="1629" y="539"/>
                      </a:lnTo>
                      <a:lnTo>
                        <a:pt x="1629" y="540"/>
                      </a:lnTo>
                      <a:lnTo>
                        <a:pt x="1629" y="541"/>
                      </a:lnTo>
                      <a:lnTo>
                        <a:pt x="1629" y="542"/>
                      </a:lnTo>
                      <a:close/>
                      <a:moveTo>
                        <a:pt x="1404" y="402"/>
                      </a:moveTo>
                      <a:lnTo>
                        <a:pt x="1404" y="403"/>
                      </a:lnTo>
                      <a:lnTo>
                        <a:pt x="1403" y="402"/>
                      </a:lnTo>
                      <a:lnTo>
                        <a:pt x="1402" y="403"/>
                      </a:lnTo>
                      <a:lnTo>
                        <a:pt x="1401" y="404"/>
                      </a:lnTo>
                      <a:lnTo>
                        <a:pt x="1401" y="405"/>
                      </a:lnTo>
                      <a:lnTo>
                        <a:pt x="1401" y="407"/>
                      </a:lnTo>
                      <a:lnTo>
                        <a:pt x="1400" y="408"/>
                      </a:lnTo>
                      <a:lnTo>
                        <a:pt x="1400" y="407"/>
                      </a:lnTo>
                      <a:lnTo>
                        <a:pt x="1399" y="407"/>
                      </a:lnTo>
                      <a:lnTo>
                        <a:pt x="1399" y="405"/>
                      </a:lnTo>
                      <a:lnTo>
                        <a:pt x="1400" y="405"/>
                      </a:lnTo>
                      <a:lnTo>
                        <a:pt x="1400" y="404"/>
                      </a:lnTo>
                      <a:lnTo>
                        <a:pt x="1401" y="403"/>
                      </a:lnTo>
                      <a:lnTo>
                        <a:pt x="1401" y="402"/>
                      </a:lnTo>
                      <a:lnTo>
                        <a:pt x="1401" y="401"/>
                      </a:lnTo>
                      <a:lnTo>
                        <a:pt x="1402" y="401"/>
                      </a:lnTo>
                      <a:lnTo>
                        <a:pt x="1402" y="400"/>
                      </a:lnTo>
                      <a:lnTo>
                        <a:pt x="1403" y="399"/>
                      </a:lnTo>
                      <a:lnTo>
                        <a:pt x="1404" y="398"/>
                      </a:lnTo>
                      <a:lnTo>
                        <a:pt x="1404" y="399"/>
                      </a:lnTo>
                      <a:lnTo>
                        <a:pt x="1404" y="400"/>
                      </a:lnTo>
                      <a:lnTo>
                        <a:pt x="1405" y="401"/>
                      </a:lnTo>
                      <a:lnTo>
                        <a:pt x="1404" y="401"/>
                      </a:lnTo>
                      <a:lnTo>
                        <a:pt x="1405" y="402"/>
                      </a:lnTo>
                      <a:lnTo>
                        <a:pt x="1404" y="402"/>
                      </a:lnTo>
                      <a:close/>
                      <a:moveTo>
                        <a:pt x="1388" y="417"/>
                      </a:moveTo>
                      <a:lnTo>
                        <a:pt x="1389" y="418"/>
                      </a:lnTo>
                      <a:lnTo>
                        <a:pt x="1388" y="418"/>
                      </a:lnTo>
                      <a:lnTo>
                        <a:pt x="1387" y="418"/>
                      </a:lnTo>
                      <a:lnTo>
                        <a:pt x="1387" y="420"/>
                      </a:lnTo>
                      <a:lnTo>
                        <a:pt x="1388" y="420"/>
                      </a:lnTo>
                      <a:lnTo>
                        <a:pt x="1389" y="421"/>
                      </a:lnTo>
                      <a:lnTo>
                        <a:pt x="1388" y="422"/>
                      </a:lnTo>
                      <a:lnTo>
                        <a:pt x="1387" y="423"/>
                      </a:lnTo>
                      <a:lnTo>
                        <a:pt x="1388" y="423"/>
                      </a:lnTo>
                      <a:lnTo>
                        <a:pt x="1387" y="423"/>
                      </a:lnTo>
                      <a:lnTo>
                        <a:pt x="1387" y="422"/>
                      </a:lnTo>
                      <a:lnTo>
                        <a:pt x="1386" y="422"/>
                      </a:lnTo>
                      <a:lnTo>
                        <a:pt x="1386" y="421"/>
                      </a:lnTo>
                      <a:lnTo>
                        <a:pt x="1387" y="421"/>
                      </a:lnTo>
                      <a:lnTo>
                        <a:pt x="1386" y="420"/>
                      </a:lnTo>
                      <a:lnTo>
                        <a:pt x="1386" y="418"/>
                      </a:lnTo>
                      <a:lnTo>
                        <a:pt x="1384" y="418"/>
                      </a:lnTo>
                      <a:lnTo>
                        <a:pt x="1384" y="417"/>
                      </a:lnTo>
                      <a:lnTo>
                        <a:pt x="1386" y="417"/>
                      </a:lnTo>
                      <a:lnTo>
                        <a:pt x="1386" y="416"/>
                      </a:lnTo>
                      <a:lnTo>
                        <a:pt x="1387" y="416"/>
                      </a:lnTo>
                      <a:lnTo>
                        <a:pt x="1387" y="415"/>
                      </a:lnTo>
                      <a:lnTo>
                        <a:pt x="1388" y="416"/>
                      </a:lnTo>
                      <a:lnTo>
                        <a:pt x="1388" y="417"/>
                      </a:lnTo>
                      <a:close/>
                      <a:moveTo>
                        <a:pt x="1362" y="600"/>
                      </a:moveTo>
                      <a:lnTo>
                        <a:pt x="1363" y="600"/>
                      </a:lnTo>
                      <a:lnTo>
                        <a:pt x="1364" y="600"/>
                      </a:lnTo>
                      <a:lnTo>
                        <a:pt x="1364" y="601"/>
                      </a:lnTo>
                      <a:lnTo>
                        <a:pt x="1364" y="602"/>
                      </a:lnTo>
                      <a:lnTo>
                        <a:pt x="1363" y="602"/>
                      </a:lnTo>
                      <a:lnTo>
                        <a:pt x="1363" y="603"/>
                      </a:lnTo>
                      <a:lnTo>
                        <a:pt x="1362" y="603"/>
                      </a:lnTo>
                      <a:lnTo>
                        <a:pt x="1363" y="604"/>
                      </a:lnTo>
                      <a:lnTo>
                        <a:pt x="1364" y="604"/>
                      </a:lnTo>
                      <a:lnTo>
                        <a:pt x="1363" y="604"/>
                      </a:lnTo>
                      <a:lnTo>
                        <a:pt x="1362" y="604"/>
                      </a:lnTo>
                      <a:lnTo>
                        <a:pt x="1362" y="605"/>
                      </a:lnTo>
                      <a:lnTo>
                        <a:pt x="1361" y="604"/>
                      </a:lnTo>
                      <a:lnTo>
                        <a:pt x="1360" y="604"/>
                      </a:lnTo>
                      <a:lnTo>
                        <a:pt x="1358" y="604"/>
                      </a:lnTo>
                      <a:lnTo>
                        <a:pt x="1358" y="603"/>
                      </a:lnTo>
                      <a:lnTo>
                        <a:pt x="1357" y="603"/>
                      </a:lnTo>
                      <a:lnTo>
                        <a:pt x="1357" y="602"/>
                      </a:lnTo>
                      <a:lnTo>
                        <a:pt x="1358" y="602"/>
                      </a:lnTo>
                      <a:lnTo>
                        <a:pt x="1360" y="602"/>
                      </a:lnTo>
                      <a:lnTo>
                        <a:pt x="1360" y="603"/>
                      </a:lnTo>
                      <a:lnTo>
                        <a:pt x="1361" y="603"/>
                      </a:lnTo>
                      <a:lnTo>
                        <a:pt x="1361" y="602"/>
                      </a:lnTo>
                      <a:lnTo>
                        <a:pt x="1362" y="602"/>
                      </a:lnTo>
                      <a:lnTo>
                        <a:pt x="1361" y="601"/>
                      </a:lnTo>
                      <a:lnTo>
                        <a:pt x="1361" y="600"/>
                      </a:lnTo>
                      <a:lnTo>
                        <a:pt x="1362" y="600"/>
                      </a:lnTo>
                      <a:close/>
                      <a:moveTo>
                        <a:pt x="1350" y="481"/>
                      </a:moveTo>
                      <a:lnTo>
                        <a:pt x="1349" y="481"/>
                      </a:lnTo>
                      <a:lnTo>
                        <a:pt x="1350" y="481"/>
                      </a:lnTo>
                      <a:lnTo>
                        <a:pt x="1349" y="481"/>
                      </a:lnTo>
                      <a:lnTo>
                        <a:pt x="1349" y="482"/>
                      </a:lnTo>
                      <a:lnTo>
                        <a:pt x="1349" y="481"/>
                      </a:lnTo>
                      <a:lnTo>
                        <a:pt x="1348" y="481"/>
                      </a:lnTo>
                      <a:lnTo>
                        <a:pt x="1348" y="482"/>
                      </a:lnTo>
                      <a:lnTo>
                        <a:pt x="1347" y="481"/>
                      </a:lnTo>
                      <a:lnTo>
                        <a:pt x="1345" y="481"/>
                      </a:lnTo>
                      <a:lnTo>
                        <a:pt x="1345" y="480"/>
                      </a:lnTo>
                      <a:lnTo>
                        <a:pt x="1347" y="480"/>
                      </a:lnTo>
                      <a:lnTo>
                        <a:pt x="1347" y="479"/>
                      </a:lnTo>
                      <a:lnTo>
                        <a:pt x="1347" y="478"/>
                      </a:lnTo>
                      <a:lnTo>
                        <a:pt x="1347" y="477"/>
                      </a:lnTo>
                      <a:lnTo>
                        <a:pt x="1345" y="477"/>
                      </a:lnTo>
                      <a:lnTo>
                        <a:pt x="1345" y="476"/>
                      </a:lnTo>
                      <a:lnTo>
                        <a:pt x="1345" y="475"/>
                      </a:lnTo>
                      <a:lnTo>
                        <a:pt x="1345" y="474"/>
                      </a:lnTo>
                      <a:lnTo>
                        <a:pt x="1345" y="473"/>
                      </a:lnTo>
                      <a:lnTo>
                        <a:pt x="1347" y="473"/>
                      </a:lnTo>
                      <a:lnTo>
                        <a:pt x="1347" y="474"/>
                      </a:lnTo>
                      <a:lnTo>
                        <a:pt x="1348" y="474"/>
                      </a:lnTo>
                      <a:lnTo>
                        <a:pt x="1348" y="475"/>
                      </a:lnTo>
                      <a:lnTo>
                        <a:pt x="1347" y="475"/>
                      </a:lnTo>
                      <a:lnTo>
                        <a:pt x="1347" y="476"/>
                      </a:lnTo>
                      <a:lnTo>
                        <a:pt x="1348" y="477"/>
                      </a:lnTo>
                      <a:lnTo>
                        <a:pt x="1348" y="478"/>
                      </a:lnTo>
                      <a:lnTo>
                        <a:pt x="1348" y="479"/>
                      </a:lnTo>
                      <a:lnTo>
                        <a:pt x="1349" y="479"/>
                      </a:lnTo>
                      <a:lnTo>
                        <a:pt x="1349" y="480"/>
                      </a:lnTo>
                      <a:lnTo>
                        <a:pt x="1350" y="480"/>
                      </a:lnTo>
                      <a:lnTo>
                        <a:pt x="1350" y="481"/>
                      </a:lnTo>
                      <a:close/>
                      <a:moveTo>
                        <a:pt x="1607" y="611"/>
                      </a:moveTo>
                      <a:lnTo>
                        <a:pt x="1607" y="613"/>
                      </a:lnTo>
                      <a:lnTo>
                        <a:pt x="1607" y="614"/>
                      </a:lnTo>
                      <a:lnTo>
                        <a:pt x="1607" y="615"/>
                      </a:lnTo>
                      <a:lnTo>
                        <a:pt x="1608" y="615"/>
                      </a:lnTo>
                      <a:lnTo>
                        <a:pt x="1608" y="616"/>
                      </a:lnTo>
                      <a:lnTo>
                        <a:pt x="1608" y="617"/>
                      </a:lnTo>
                      <a:lnTo>
                        <a:pt x="1608" y="618"/>
                      </a:lnTo>
                      <a:lnTo>
                        <a:pt x="1608" y="619"/>
                      </a:lnTo>
                      <a:lnTo>
                        <a:pt x="1607" y="619"/>
                      </a:lnTo>
                      <a:lnTo>
                        <a:pt x="1606" y="619"/>
                      </a:lnTo>
                      <a:lnTo>
                        <a:pt x="1605" y="619"/>
                      </a:lnTo>
                      <a:lnTo>
                        <a:pt x="1605" y="618"/>
                      </a:lnTo>
                      <a:lnTo>
                        <a:pt x="1606" y="618"/>
                      </a:lnTo>
                      <a:lnTo>
                        <a:pt x="1607" y="618"/>
                      </a:lnTo>
                      <a:lnTo>
                        <a:pt x="1606" y="618"/>
                      </a:lnTo>
                      <a:lnTo>
                        <a:pt x="1605" y="618"/>
                      </a:lnTo>
                      <a:lnTo>
                        <a:pt x="1605" y="617"/>
                      </a:lnTo>
                      <a:lnTo>
                        <a:pt x="1605" y="616"/>
                      </a:lnTo>
                      <a:lnTo>
                        <a:pt x="1606" y="616"/>
                      </a:lnTo>
                      <a:lnTo>
                        <a:pt x="1606" y="615"/>
                      </a:lnTo>
                      <a:lnTo>
                        <a:pt x="1605" y="615"/>
                      </a:lnTo>
                      <a:lnTo>
                        <a:pt x="1606" y="615"/>
                      </a:lnTo>
                      <a:lnTo>
                        <a:pt x="1606" y="614"/>
                      </a:lnTo>
                      <a:lnTo>
                        <a:pt x="1606" y="613"/>
                      </a:lnTo>
                      <a:lnTo>
                        <a:pt x="1607" y="613"/>
                      </a:lnTo>
                      <a:lnTo>
                        <a:pt x="1606" y="613"/>
                      </a:lnTo>
                      <a:lnTo>
                        <a:pt x="1605" y="611"/>
                      </a:lnTo>
                      <a:lnTo>
                        <a:pt x="1606" y="611"/>
                      </a:lnTo>
                      <a:lnTo>
                        <a:pt x="1605" y="611"/>
                      </a:lnTo>
                      <a:lnTo>
                        <a:pt x="1606" y="611"/>
                      </a:lnTo>
                      <a:lnTo>
                        <a:pt x="1606" y="610"/>
                      </a:lnTo>
                      <a:lnTo>
                        <a:pt x="1607" y="610"/>
                      </a:lnTo>
                      <a:lnTo>
                        <a:pt x="1607" y="611"/>
                      </a:lnTo>
                      <a:close/>
                      <a:moveTo>
                        <a:pt x="1355" y="516"/>
                      </a:moveTo>
                      <a:lnTo>
                        <a:pt x="1356" y="516"/>
                      </a:lnTo>
                      <a:lnTo>
                        <a:pt x="1355" y="516"/>
                      </a:lnTo>
                      <a:lnTo>
                        <a:pt x="1356" y="516"/>
                      </a:lnTo>
                      <a:lnTo>
                        <a:pt x="1357" y="516"/>
                      </a:lnTo>
                      <a:lnTo>
                        <a:pt x="1357" y="517"/>
                      </a:lnTo>
                      <a:lnTo>
                        <a:pt x="1357" y="516"/>
                      </a:lnTo>
                      <a:lnTo>
                        <a:pt x="1358" y="516"/>
                      </a:lnTo>
                      <a:lnTo>
                        <a:pt x="1358" y="517"/>
                      </a:lnTo>
                      <a:lnTo>
                        <a:pt x="1358" y="518"/>
                      </a:lnTo>
                      <a:lnTo>
                        <a:pt x="1357" y="518"/>
                      </a:lnTo>
                      <a:lnTo>
                        <a:pt x="1357" y="519"/>
                      </a:lnTo>
                      <a:lnTo>
                        <a:pt x="1356" y="519"/>
                      </a:lnTo>
                      <a:lnTo>
                        <a:pt x="1356" y="520"/>
                      </a:lnTo>
                      <a:lnTo>
                        <a:pt x="1356" y="521"/>
                      </a:lnTo>
                      <a:lnTo>
                        <a:pt x="1355" y="523"/>
                      </a:lnTo>
                      <a:lnTo>
                        <a:pt x="1355" y="521"/>
                      </a:lnTo>
                      <a:lnTo>
                        <a:pt x="1355" y="520"/>
                      </a:lnTo>
                      <a:lnTo>
                        <a:pt x="1355" y="519"/>
                      </a:lnTo>
                      <a:lnTo>
                        <a:pt x="1354" y="519"/>
                      </a:lnTo>
                      <a:lnTo>
                        <a:pt x="1354" y="518"/>
                      </a:lnTo>
                      <a:lnTo>
                        <a:pt x="1354" y="517"/>
                      </a:lnTo>
                      <a:lnTo>
                        <a:pt x="1354" y="516"/>
                      </a:lnTo>
                      <a:lnTo>
                        <a:pt x="1354" y="515"/>
                      </a:lnTo>
                      <a:lnTo>
                        <a:pt x="1355" y="515"/>
                      </a:lnTo>
                      <a:lnTo>
                        <a:pt x="1355" y="516"/>
                      </a:lnTo>
                      <a:close/>
                      <a:moveTo>
                        <a:pt x="1262" y="717"/>
                      </a:moveTo>
                      <a:lnTo>
                        <a:pt x="1263" y="717"/>
                      </a:lnTo>
                      <a:lnTo>
                        <a:pt x="1264" y="718"/>
                      </a:lnTo>
                      <a:lnTo>
                        <a:pt x="1265" y="718"/>
                      </a:lnTo>
                      <a:lnTo>
                        <a:pt x="1265" y="719"/>
                      </a:lnTo>
                      <a:lnTo>
                        <a:pt x="1266" y="719"/>
                      </a:lnTo>
                      <a:lnTo>
                        <a:pt x="1266" y="720"/>
                      </a:lnTo>
                      <a:lnTo>
                        <a:pt x="1267" y="721"/>
                      </a:lnTo>
                      <a:lnTo>
                        <a:pt x="1268" y="721"/>
                      </a:lnTo>
                      <a:lnTo>
                        <a:pt x="1268" y="722"/>
                      </a:lnTo>
                      <a:lnTo>
                        <a:pt x="1270" y="723"/>
                      </a:lnTo>
                      <a:lnTo>
                        <a:pt x="1270" y="724"/>
                      </a:lnTo>
                      <a:lnTo>
                        <a:pt x="1261" y="718"/>
                      </a:lnTo>
                      <a:lnTo>
                        <a:pt x="1261" y="717"/>
                      </a:lnTo>
                      <a:lnTo>
                        <a:pt x="1260" y="717"/>
                      </a:lnTo>
                      <a:lnTo>
                        <a:pt x="1260" y="716"/>
                      </a:lnTo>
                      <a:lnTo>
                        <a:pt x="1259" y="714"/>
                      </a:lnTo>
                      <a:lnTo>
                        <a:pt x="1259" y="713"/>
                      </a:lnTo>
                      <a:lnTo>
                        <a:pt x="1260" y="714"/>
                      </a:lnTo>
                      <a:lnTo>
                        <a:pt x="1261" y="716"/>
                      </a:lnTo>
                      <a:lnTo>
                        <a:pt x="1262" y="717"/>
                      </a:lnTo>
                      <a:close/>
                      <a:moveTo>
                        <a:pt x="1314" y="597"/>
                      </a:moveTo>
                      <a:lnTo>
                        <a:pt x="1315" y="597"/>
                      </a:lnTo>
                      <a:lnTo>
                        <a:pt x="1314" y="597"/>
                      </a:lnTo>
                      <a:lnTo>
                        <a:pt x="1314" y="598"/>
                      </a:lnTo>
                      <a:lnTo>
                        <a:pt x="1314" y="600"/>
                      </a:lnTo>
                      <a:lnTo>
                        <a:pt x="1315" y="601"/>
                      </a:lnTo>
                      <a:lnTo>
                        <a:pt x="1315" y="600"/>
                      </a:lnTo>
                      <a:lnTo>
                        <a:pt x="1316" y="601"/>
                      </a:lnTo>
                      <a:lnTo>
                        <a:pt x="1317" y="601"/>
                      </a:lnTo>
                      <a:lnTo>
                        <a:pt x="1318" y="601"/>
                      </a:lnTo>
                      <a:lnTo>
                        <a:pt x="1319" y="601"/>
                      </a:lnTo>
                      <a:lnTo>
                        <a:pt x="1321" y="601"/>
                      </a:lnTo>
                      <a:lnTo>
                        <a:pt x="1321" y="602"/>
                      </a:lnTo>
                      <a:lnTo>
                        <a:pt x="1319" y="602"/>
                      </a:lnTo>
                      <a:lnTo>
                        <a:pt x="1318" y="602"/>
                      </a:lnTo>
                      <a:lnTo>
                        <a:pt x="1317" y="602"/>
                      </a:lnTo>
                      <a:lnTo>
                        <a:pt x="1316" y="603"/>
                      </a:lnTo>
                      <a:lnTo>
                        <a:pt x="1314" y="604"/>
                      </a:lnTo>
                      <a:lnTo>
                        <a:pt x="1313" y="604"/>
                      </a:lnTo>
                      <a:lnTo>
                        <a:pt x="1313" y="603"/>
                      </a:lnTo>
                      <a:lnTo>
                        <a:pt x="1314" y="603"/>
                      </a:lnTo>
                      <a:lnTo>
                        <a:pt x="1315" y="602"/>
                      </a:lnTo>
                      <a:lnTo>
                        <a:pt x="1314" y="602"/>
                      </a:lnTo>
                      <a:lnTo>
                        <a:pt x="1315" y="602"/>
                      </a:lnTo>
                      <a:lnTo>
                        <a:pt x="1315" y="601"/>
                      </a:lnTo>
                      <a:lnTo>
                        <a:pt x="1314" y="601"/>
                      </a:lnTo>
                      <a:lnTo>
                        <a:pt x="1314" y="600"/>
                      </a:lnTo>
                      <a:lnTo>
                        <a:pt x="1314" y="601"/>
                      </a:lnTo>
                      <a:lnTo>
                        <a:pt x="1313" y="601"/>
                      </a:lnTo>
                      <a:lnTo>
                        <a:pt x="1313" y="602"/>
                      </a:lnTo>
                      <a:lnTo>
                        <a:pt x="1312" y="602"/>
                      </a:lnTo>
                      <a:lnTo>
                        <a:pt x="1312" y="601"/>
                      </a:lnTo>
                      <a:lnTo>
                        <a:pt x="1313" y="601"/>
                      </a:lnTo>
                      <a:lnTo>
                        <a:pt x="1313" y="600"/>
                      </a:lnTo>
                      <a:lnTo>
                        <a:pt x="1313" y="598"/>
                      </a:lnTo>
                      <a:lnTo>
                        <a:pt x="1313" y="597"/>
                      </a:lnTo>
                      <a:lnTo>
                        <a:pt x="1314" y="597"/>
                      </a:lnTo>
                      <a:close/>
                      <a:moveTo>
                        <a:pt x="1389" y="503"/>
                      </a:moveTo>
                      <a:lnTo>
                        <a:pt x="1388" y="504"/>
                      </a:lnTo>
                      <a:lnTo>
                        <a:pt x="1389" y="505"/>
                      </a:lnTo>
                      <a:lnTo>
                        <a:pt x="1389" y="504"/>
                      </a:lnTo>
                      <a:lnTo>
                        <a:pt x="1389" y="505"/>
                      </a:lnTo>
                      <a:lnTo>
                        <a:pt x="1390" y="505"/>
                      </a:lnTo>
                      <a:lnTo>
                        <a:pt x="1390" y="506"/>
                      </a:lnTo>
                      <a:lnTo>
                        <a:pt x="1390" y="507"/>
                      </a:lnTo>
                      <a:lnTo>
                        <a:pt x="1389" y="507"/>
                      </a:lnTo>
                      <a:lnTo>
                        <a:pt x="1388" y="507"/>
                      </a:lnTo>
                      <a:lnTo>
                        <a:pt x="1387" y="507"/>
                      </a:lnTo>
                      <a:lnTo>
                        <a:pt x="1387" y="506"/>
                      </a:lnTo>
                      <a:lnTo>
                        <a:pt x="1388" y="506"/>
                      </a:lnTo>
                      <a:lnTo>
                        <a:pt x="1389" y="506"/>
                      </a:lnTo>
                      <a:lnTo>
                        <a:pt x="1389" y="505"/>
                      </a:lnTo>
                      <a:lnTo>
                        <a:pt x="1388" y="505"/>
                      </a:lnTo>
                      <a:lnTo>
                        <a:pt x="1387" y="505"/>
                      </a:lnTo>
                      <a:lnTo>
                        <a:pt x="1387" y="506"/>
                      </a:lnTo>
                      <a:lnTo>
                        <a:pt x="1387" y="507"/>
                      </a:lnTo>
                      <a:lnTo>
                        <a:pt x="1386" y="508"/>
                      </a:lnTo>
                      <a:lnTo>
                        <a:pt x="1386" y="510"/>
                      </a:lnTo>
                      <a:lnTo>
                        <a:pt x="1384" y="510"/>
                      </a:lnTo>
                      <a:lnTo>
                        <a:pt x="1384" y="508"/>
                      </a:lnTo>
                      <a:lnTo>
                        <a:pt x="1386" y="508"/>
                      </a:lnTo>
                      <a:lnTo>
                        <a:pt x="1384" y="508"/>
                      </a:lnTo>
                      <a:lnTo>
                        <a:pt x="1386" y="508"/>
                      </a:lnTo>
                      <a:lnTo>
                        <a:pt x="1386" y="507"/>
                      </a:lnTo>
                      <a:lnTo>
                        <a:pt x="1386" y="506"/>
                      </a:lnTo>
                      <a:lnTo>
                        <a:pt x="1386" y="505"/>
                      </a:lnTo>
                      <a:lnTo>
                        <a:pt x="1386" y="506"/>
                      </a:lnTo>
                      <a:lnTo>
                        <a:pt x="1386" y="505"/>
                      </a:lnTo>
                      <a:lnTo>
                        <a:pt x="1387" y="505"/>
                      </a:lnTo>
                      <a:lnTo>
                        <a:pt x="1387" y="504"/>
                      </a:lnTo>
                      <a:lnTo>
                        <a:pt x="1387" y="503"/>
                      </a:lnTo>
                      <a:lnTo>
                        <a:pt x="1388" y="503"/>
                      </a:lnTo>
                      <a:lnTo>
                        <a:pt x="1389" y="503"/>
                      </a:lnTo>
                      <a:lnTo>
                        <a:pt x="1389" y="502"/>
                      </a:lnTo>
                      <a:lnTo>
                        <a:pt x="1389" y="503"/>
                      </a:lnTo>
                      <a:close/>
                      <a:moveTo>
                        <a:pt x="1274" y="726"/>
                      </a:moveTo>
                      <a:lnTo>
                        <a:pt x="1275" y="727"/>
                      </a:lnTo>
                      <a:lnTo>
                        <a:pt x="1276" y="727"/>
                      </a:lnTo>
                      <a:lnTo>
                        <a:pt x="1277" y="729"/>
                      </a:lnTo>
                      <a:lnTo>
                        <a:pt x="1278" y="729"/>
                      </a:lnTo>
                      <a:lnTo>
                        <a:pt x="1278" y="727"/>
                      </a:lnTo>
                      <a:lnTo>
                        <a:pt x="1279" y="727"/>
                      </a:lnTo>
                      <a:lnTo>
                        <a:pt x="1278" y="727"/>
                      </a:lnTo>
                      <a:lnTo>
                        <a:pt x="1279" y="726"/>
                      </a:lnTo>
                      <a:lnTo>
                        <a:pt x="1279" y="727"/>
                      </a:lnTo>
                      <a:lnTo>
                        <a:pt x="1279" y="729"/>
                      </a:lnTo>
                      <a:lnTo>
                        <a:pt x="1279" y="732"/>
                      </a:lnTo>
                      <a:lnTo>
                        <a:pt x="1279" y="731"/>
                      </a:lnTo>
                      <a:lnTo>
                        <a:pt x="1278" y="731"/>
                      </a:lnTo>
                      <a:lnTo>
                        <a:pt x="1277" y="730"/>
                      </a:lnTo>
                      <a:lnTo>
                        <a:pt x="1276" y="729"/>
                      </a:lnTo>
                      <a:lnTo>
                        <a:pt x="1275" y="727"/>
                      </a:lnTo>
                      <a:lnTo>
                        <a:pt x="1273" y="726"/>
                      </a:lnTo>
                      <a:lnTo>
                        <a:pt x="1274" y="726"/>
                      </a:lnTo>
                      <a:close/>
                      <a:moveTo>
                        <a:pt x="1596" y="604"/>
                      </a:moveTo>
                      <a:lnTo>
                        <a:pt x="1595" y="604"/>
                      </a:lnTo>
                      <a:lnTo>
                        <a:pt x="1595" y="603"/>
                      </a:lnTo>
                      <a:lnTo>
                        <a:pt x="1596" y="602"/>
                      </a:lnTo>
                      <a:lnTo>
                        <a:pt x="1596" y="601"/>
                      </a:lnTo>
                      <a:lnTo>
                        <a:pt x="1596" y="600"/>
                      </a:lnTo>
                      <a:lnTo>
                        <a:pt x="1596" y="598"/>
                      </a:lnTo>
                      <a:lnTo>
                        <a:pt x="1597" y="596"/>
                      </a:lnTo>
                      <a:lnTo>
                        <a:pt x="1598" y="594"/>
                      </a:lnTo>
                      <a:lnTo>
                        <a:pt x="1598" y="593"/>
                      </a:lnTo>
                      <a:lnTo>
                        <a:pt x="1599" y="592"/>
                      </a:lnTo>
                      <a:lnTo>
                        <a:pt x="1599" y="593"/>
                      </a:lnTo>
                      <a:lnTo>
                        <a:pt x="1599" y="594"/>
                      </a:lnTo>
                      <a:lnTo>
                        <a:pt x="1599" y="596"/>
                      </a:lnTo>
                      <a:lnTo>
                        <a:pt x="1598" y="597"/>
                      </a:lnTo>
                      <a:lnTo>
                        <a:pt x="1598" y="598"/>
                      </a:lnTo>
                      <a:lnTo>
                        <a:pt x="1598" y="600"/>
                      </a:lnTo>
                      <a:lnTo>
                        <a:pt x="1597" y="600"/>
                      </a:lnTo>
                      <a:lnTo>
                        <a:pt x="1597" y="601"/>
                      </a:lnTo>
                      <a:lnTo>
                        <a:pt x="1596" y="602"/>
                      </a:lnTo>
                      <a:lnTo>
                        <a:pt x="1596" y="603"/>
                      </a:lnTo>
                      <a:lnTo>
                        <a:pt x="1596" y="604"/>
                      </a:lnTo>
                      <a:close/>
                      <a:moveTo>
                        <a:pt x="1214" y="666"/>
                      </a:moveTo>
                      <a:lnTo>
                        <a:pt x="1215" y="667"/>
                      </a:lnTo>
                      <a:lnTo>
                        <a:pt x="1215" y="668"/>
                      </a:lnTo>
                      <a:lnTo>
                        <a:pt x="1215" y="669"/>
                      </a:lnTo>
                      <a:lnTo>
                        <a:pt x="1214" y="669"/>
                      </a:lnTo>
                      <a:lnTo>
                        <a:pt x="1214" y="670"/>
                      </a:lnTo>
                      <a:lnTo>
                        <a:pt x="1215" y="670"/>
                      </a:lnTo>
                      <a:lnTo>
                        <a:pt x="1215" y="671"/>
                      </a:lnTo>
                      <a:lnTo>
                        <a:pt x="1216" y="671"/>
                      </a:lnTo>
                      <a:lnTo>
                        <a:pt x="1215" y="671"/>
                      </a:lnTo>
                      <a:lnTo>
                        <a:pt x="1216" y="671"/>
                      </a:lnTo>
                      <a:lnTo>
                        <a:pt x="1216" y="672"/>
                      </a:lnTo>
                      <a:lnTo>
                        <a:pt x="1218" y="672"/>
                      </a:lnTo>
                      <a:lnTo>
                        <a:pt x="1218" y="671"/>
                      </a:lnTo>
                      <a:lnTo>
                        <a:pt x="1218" y="672"/>
                      </a:lnTo>
                      <a:lnTo>
                        <a:pt x="1218" y="673"/>
                      </a:lnTo>
                      <a:lnTo>
                        <a:pt x="1216" y="673"/>
                      </a:lnTo>
                      <a:lnTo>
                        <a:pt x="1216" y="672"/>
                      </a:lnTo>
                      <a:lnTo>
                        <a:pt x="1215" y="672"/>
                      </a:lnTo>
                      <a:lnTo>
                        <a:pt x="1214" y="671"/>
                      </a:lnTo>
                      <a:lnTo>
                        <a:pt x="1214" y="670"/>
                      </a:lnTo>
                      <a:lnTo>
                        <a:pt x="1214" y="671"/>
                      </a:lnTo>
                      <a:lnTo>
                        <a:pt x="1214" y="670"/>
                      </a:lnTo>
                      <a:lnTo>
                        <a:pt x="1214" y="669"/>
                      </a:lnTo>
                      <a:lnTo>
                        <a:pt x="1214" y="668"/>
                      </a:lnTo>
                      <a:lnTo>
                        <a:pt x="1214" y="669"/>
                      </a:lnTo>
                      <a:lnTo>
                        <a:pt x="1213" y="669"/>
                      </a:lnTo>
                      <a:lnTo>
                        <a:pt x="1213" y="668"/>
                      </a:lnTo>
                      <a:lnTo>
                        <a:pt x="1212" y="668"/>
                      </a:lnTo>
                      <a:lnTo>
                        <a:pt x="1211" y="668"/>
                      </a:lnTo>
                      <a:lnTo>
                        <a:pt x="1211" y="667"/>
                      </a:lnTo>
                      <a:lnTo>
                        <a:pt x="1211" y="666"/>
                      </a:lnTo>
                      <a:lnTo>
                        <a:pt x="1212" y="666"/>
                      </a:lnTo>
                      <a:lnTo>
                        <a:pt x="1212" y="667"/>
                      </a:lnTo>
                      <a:lnTo>
                        <a:pt x="1213" y="667"/>
                      </a:lnTo>
                      <a:lnTo>
                        <a:pt x="1213" y="666"/>
                      </a:lnTo>
                      <a:lnTo>
                        <a:pt x="1214" y="666"/>
                      </a:lnTo>
                      <a:close/>
                      <a:moveTo>
                        <a:pt x="1356" y="558"/>
                      </a:moveTo>
                      <a:lnTo>
                        <a:pt x="1357" y="558"/>
                      </a:lnTo>
                      <a:lnTo>
                        <a:pt x="1358" y="558"/>
                      </a:lnTo>
                      <a:lnTo>
                        <a:pt x="1360" y="558"/>
                      </a:lnTo>
                      <a:lnTo>
                        <a:pt x="1360" y="559"/>
                      </a:lnTo>
                      <a:lnTo>
                        <a:pt x="1360" y="558"/>
                      </a:lnTo>
                      <a:lnTo>
                        <a:pt x="1360" y="559"/>
                      </a:lnTo>
                      <a:lnTo>
                        <a:pt x="1360" y="558"/>
                      </a:lnTo>
                      <a:lnTo>
                        <a:pt x="1361" y="559"/>
                      </a:lnTo>
                      <a:lnTo>
                        <a:pt x="1362" y="559"/>
                      </a:lnTo>
                      <a:lnTo>
                        <a:pt x="1361" y="559"/>
                      </a:lnTo>
                      <a:lnTo>
                        <a:pt x="1360" y="559"/>
                      </a:lnTo>
                      <a:lnTo>
                        <a:pt x="1358" y="559"/>
                      </a:lnTo>
                      <a:lnTo>
                        <a:pt x="1358" y="558"/>
                      </a:lnTo>
                      <a:lnTo>
                        <a:pt x="1357" y="558"/>
                      </a:lnTo>
                      <a:lnTo>
                        <a:pt x="1357" y="559"/>
                      </a:lnTo>
                      <a:lnTo>
                        <a:pt x="1356" y="559"/>
                      </a:lnTo>
                      <a:lnTo>
                        <a:pt x="1355" y="559"/>
                      </a:lnTo>
                      <a:lnTo>
                        <a:pt x="1355" y="560"/>
                      </a:lnTo>
                      <a:lnTo>
                        <a:pt x="1354" y="560"/>
                      </a:lnTo>
                      <a:lnTo>
                        <a:pt x="1354" y="562"/>
                      </a:lnTo>
                      <a:lnTo>
                        <a:pt x="1353" y="562"/>
                      </a:lnTo>
                      <a:lnTo>
                        <a:pt x="1352" y="562"/>
                      </a:lnTo>
                      <a:lnTo>
                        <a:pt x="1351" y="562"/>
                      </a:lnTo>
                      <a:lnTo>
                        <a:pt x="1350" y="562"/>
                      </a:lnTo>
                      <a:lnTo>
                        <a:pt x="1350" y="563"/>
                      </a:lnTo>
                      <a:lnTo>
                        <a:pt x="1349" y="563"/>
                      </a:lnTo>
                      <a:lnTo>
                        <a:pt x="1349" y="564"/>
                      </a:lnTo>
                      <a:lnTo>
                        <a:pt x="1348" y="565"/>
                      </a:lnTo>
                      <a:lnTo>
                        <a:pt x="1348" y="564"/>
                      </a:lnTo>
                      <a:lnTo>
                        <a:pt x="1348" y="563"/>
                      </a:lnTo>
                      <a:lnTo>
                        <a:pt x="1349" y="563"/>
                      </a:lnTo>
                      <a:lnTo>
                        <a:pt x="1350" y="562"/>
                      </a:lnTo>
                      <a:lnTo>
                        <a:pt x="1351" y="562"/>
                      </a:lnTo>
                      <a:lnTo>
                        <a:pt x="1351" y="560"/>
                      </a:lnTo>
                      <a:lnTo>
                        <a:pt x="1352" y="560"/>
                      </a:lnTo>
                      <a:lnTo>
                        <a:pt x="1353" y="559"/>
                      </a:lnTo>
                      <a:lnTo>
                        <a:pt x="1354" y="559"/>
                      </a:lnTo>
                      <a:lnTo>
                        <a:pt x="1354" y="558"/>
                      </a:lnTo>
                      <a:lnTo>
                        <a:pt x="1355" y="558"/>
                      </a:lnTo>
                      <a:lnTo>
                        <a:pt x="1355" y="557"/>
                      </a:lnTo>
                      <a:lnTo>
                        <a:pt x="1356" y="558"/>
                      </a:lnTo>
                      <a:close/>
                      <a:moveTo>
                        <a:pt x="1407" y="465"/>
                      </a:moveTo>
                      <a:lnTo>
                        <a:pt x="1408" y="465"/>
                      </a:lnTo>
                      <a:lnTo>
                        <a:pt x="1408" y="466"/>
                      </a:lnTo>
                      <a:lnTo>
                        <a:pt x="1408" y="465"/>
                      </a:lnTo>
                      <a:lnTo>
                        <a:pt x="1409" y="465"/>
                      </a:lnTo>
                      <a:lnTo>
                        <a:pt x="1409" y="466"/>
                      </a:lnTo>
                      <a:lnTo>
                        <a:pt x="1410" y="466"/>
                      </a:lnTo>
                      <a:lnTo>
                        <a:pt x="1410" y="467"/>
                      </a:lnTo>
                      <a:lnTo>
                        <a:pt x="1412" y="467"/>
                      </a:lnTo>
                      <a:lnTo>
                        <a:pt x="1412" y="466"/>
                      </a:lnTo>
                      <a:lnTo>
                        <a:pt x="1413" y="466"/>
                      </a:lnTo>
                      <a:lnTo>
                        <a:pt x="1414" y="466"/>
                      </a:lnTo>
                      <a:lnTo>
                        <a:pt x="1413" y="467"/>
                      </a:lnTo>
                      <a:lnTo>
                        <a:pt x="1412" y="467"/>
                      </a:lnTo>
                      <a:lnTo>
                        <a:pt x="1412" y="468"/>
                      </a:lnTo>
                      <a:lnTo>
                        <a:pt x="1410" y="468"/>
                      </a:lnTo>
                      <a:lnTo>
                        <a:pt x="1409" y="468"/>
                      </a:lnTo>
                      <a:lnTo>
                        <a:pt x="1408" y="468"/>
                      </a:lnTo>
                      <a:lnTo>
                        <a:pt x="1408" y="469"/>
                      </a:lnTo>
                      <a:lnTo>
                        <a:pt x="1407" y="469"/>
                      </a:lnTo>
                      <a:lnTo>
                        <a:pt x="1408" y="468"/>
                      </a:lnTo>
                      <a:lnTo>
                        <a:pt x="1409" y="468"/>
                      </a:lnTo>
                      <a:lnTo>
                        <a:pt x="1408" y="468"/>
                      </a:lnTo>
                      <a:lnTo>
                        <a:pt x="1408" y="467"/>
                      </a:lnTo>
                      <a:lnTo>
                        <a:pt x="1407" y="467"/>
                      </a:lnTo>
                      <a:lnTo>
                        <a:pt x="1408" y="467"/>
                      </a:lnTo>
                      <a:lnTo>
                        <a:pt x="1408" y="466"/>
                      </a:lnTo>
                      <a:lnTo>
                        <a:pt x="1407" y="466"/>
                      </a:lnTo>
                      <a:lnTo>
                        <a:pt x="1407" y="467"/>
                      </a:lnTo>
                      <a:lnTo>
                        <a:pt x="1407" y="466"/>
                      </a:lnTo>
                      <a:lnTo>
                        <a:pt x="1407" y="465"/>
                      </a:lnTo>
                      <a:close/>
                      <a:moveTo>
                        <a:pt x="1353" y="542"/>
                      </a:moveTo>
                      <a:lnTo>
                        <a:pt x="1353" y="543"/>
                      </a:lnTo>
                      <a:lnTo>
                        <a:pt x="1352" y="543"/>
                      </a:lnTo>
                      <a:lnTo>
                        <a:pt x="1352" y="544"/>
                      </a:lnTo>
                      <a:lnTo>
                        <a:pt x="1352" y="545"/>
                      </a:lnTo>
                      <a:lnTo>
                        <a:pt x="1352" y="546"/>
                      </a:lnTo>
                      <a:lnTo>
                        <a:pt x="1351" y="546"/>
                      </a:lnTo>
                      <a:lnTo>
                        <a:pt x="1350" y="546"/>
                      </a:lnTo>
                      <a:lnTo>
                        <a:pt x="1351" y="546"/>
                      </a:lnTo>
                      <a:lnTo>
                        <a:pt x="1351" y="545"/>
                      </a:lnTo>
                      <a:lnTo>
                        <a:pt x="1351" y="544"/>
                      </a:lnTo>
                      <a:lnTo>
                        <a:pt x="1350" y="544"/>
                      </a:lnTo>
                      <a:lnTo>
                        <a:pt x="1349" y="544"/>
                      </a:lnTo>
                      <a:lnTo>
                        <a:pt x="1348" y="544"/>
                      </a:lnTo>
                      <a:lnTo>
                        <a:pt x="1348" y="545"/>
                      </a:lnTo>
                      <a:lnTo>
                        <a:pt x="1348" y="544"/>
                      </a:lnTo>
                      <a:lnTo>
                        <a:pt x="1347" y="543"/>
                      </a:lnTo>
                      <a:lnTo>
                        <a:pt x="1348" y="543"/>
                      </a:lnTo>
                      <a:lnTo>
                        <a:pt x="1349" y="543"/>
                      </a:lnTo>
                      <a:lnTo>
                        <a:pt x="1349" y="542"/>
                      </a:lnTo>
                      <a:lnTo>
                        <a:pt x="1350" y="542"/>
                      </a:lnTo>
                      <a:lnTo>
                        <a:pt x="1350" y="543"/>
                      </a:lnTo>
                      <a:lnTo>
                        <a:pt x="1351" y="543"/>
                      </a:lnTo>
                      <a:lnTo>
                        <a:pt x="1351" y="542"/>
                      </a:lnTo>
                      <a:lnTo>
                        <a:pt x="1352" y="542"/>
                      </a:lnTo>
                      <a:lnTo>
                        <a:pt x="1352" y="541"/>
                      </a:lnTo>
                      <a:lnTo>
                        <a:pt x="1353" y="542"/>
                      </a:lnTo>
                      <a:close/>
                      <a:moveTo>
                        <a:pt x="1313" y="527"/>
                      </a:moveTo>
                      <a:lnTo>
                        <a:pt x="1314" y="527"/>
                      </a:lnTo>
                      <a:lnTo>
                        <a:pt x="1313" y="528"/>
                      </a:lnTo>
                      <a:lnTo>
                        <a:pt x="1313" y="529"/>
                      </a:lnTo>
                      <a:lnTo>
                        <a:pt x="1312" y="529"/>
                      </a:lnTo>
                      <a:lnTo>
                        <a:pt x="1311" y="529"/>
                      </a:lnTo>
                      <a:lnTo>
                        <a:pt x="1310" y="529"/>
                      </a:lnTo>
                      <a:lnTo>
                        <a:pt x="1310" y="528"/>
                      </a:lnTo>
                      <a:lnTo>
                        <a:pt x="1310" y="527"/>
                      </a:lnTo>
                      <a:lnTo>
                        <a:pt x="1311" y="527"/>
                      </a:lnTo>
                      <a:lnTo>
                        <a:pt x="1311" y="526"/>
                      </a:lnTo>
                      <a:lnTo>
                        <a:pt x="1312" y="526"/>
                      </a:lnTo>
                      <a:lnTo>
                        <a:pt x="1312" y="525"/>
                      </a:lnTo>
                      <a:lnTo>
                        <a:pt x="1312" y="524"/>
                      </a:lnTo>
                      <a:lnTo>
                        <a:pt x="1313" y="525"/>
                      </a:lnTo>
                      <a:lnTo>
                        <a:pt x="1313" y="526"/>
                      </a:lnTo>
                      <a:lnTo>
                        <a:pt x="1313" y="527"/>
                      </a:lnTo>
                      <a:close/>
                      <a:moveTo>
                        <a:pt x="1308" y="574"/>
                      </a:moveTo>
                      <a:lnTo>
                        <a:pt x="1309" y="574"/>
                      </a:lnTo>
                      <a:lnTo>
                        <a:pt x="1310" y="574"/>
                      </a:lnTo>
                      <a:lnTo>
                        <a:pt x="1311" y="572"/>
                      </a:lnTo>
                      <a:lnTo>
                        <a:pt x="1311" y="574"/>
                      </a:lnTo>
                      <a:lnTo>
                        <a:pt x="1311" y="572"/>
                      </a:lnTo>
                      <a:lnTo>
                        <a:pt x="1312" y="574"/>
                      </a:lnTo>
                      <a:lnTo>
                        <a:pt x="1311" y="574"/>
                      </a:lnTo>
                      <a:lnTo>
                        <a:pt x="1311" y="575"/>
                      </a:lnTo>
                      <a:lnTo>
                        <a:pt x="1310" y="575"/>
                      </a:lnTo>
                      <a:lnTo>
                        <a:pt x="1310" y="576"/>
                      </a:lnTo>
                      <a:lnTo>
                        <a:pt x="1310" y="577"/>
                      </a:lnTo>
                      <a:lnTo>
                        <a:pt x="1309" y="577"/>
                      </a:lnTo>
                      <a:lnTo>
                        <a:pt x="1308" y="576"/>
                      </a:lnTo>
                      <a:lnTo>
                        <a:pt x="1306" y="576"/>
                      </a:lnTo>
                      <a:lnTo>
                        <a:pt x="1306" y="575"/>
                      </a:lnTo>
                      <a:lnTo>
                        <a:pt x="1308" y="575"/>
                      </a:lnTo>
                      <a:lnTo>
                        <a:pt x="1308" y="574"/>
                      </a:lnTo>
                      <a:lnTo>
                        <a:pt x="1306" y="574"/>
                      </a:lnTo>
                      <a:lnTo>
                        <a:pt x="1305" y="575"/>
                      </a:lnTo>
                      <a:lnTo>
                        <a:pt x="1305" y="574"/>
                      </a:lnTo>
                      <a:lnTo>
                        <a:pt x="1305" y="572"/>
                      </a:lnTo>
                      <a:lnTo>
                        <a:pt x="1306" y="574"/>
                      </a:lnTo>
                      <a:lnTo>
                        <a:pt x="1308" y="574"/>
                      </a:lnTo>
                      <a:close/>
                      <a:moveTo>
                        <a:pt x="1622" y="606"/>
                      </a:moveTo>
                      <a:lnTo>
                        <a:pt x="1621" y="606"/>
                      </a:lnTo>
                      <a:lnTo>
                        <a:pt x="1620" y="607"/>
                      </a:lnTo>
                      <a:lnTo>
                        <a:pt x="1619" y="607"/>
                      </a:lnTo>
                      <a:lnTo>
                        <a:pt x="1619" y="606"/>
                      </a:lnTo>
                      <a:lnTo>
                        <a:pt x="1620" y="605"/>
                      </a:lnTo>
                      <a:lnTo>
                        <a:pt x="1621" y="605"/>
                      </a:lnTo>
                      <a:lnTo>
                        <a:pt x="1621" y="604"/>
                      </a:lnTo>
                      <a:lnTo>
                        <a:pt x="1622" y="604"/>
                      </a:lnTo>
                      <a:lnTo>
                        <a:pt x="1623" y="604"/>
                      </a:lnTo>
                      <a:lnTo>
                        <a:pt x="1623" y="603"/>
                      </a:lnTo>
                      <a:lnTo>
                        <a:pt x="1624" y="603"/>
                      </a:lnTo>
                      <a:lnTo>
                        <a:pt x="1625" y="604"/>
                      </a:lnTo>
                      <a:lnTo>
                        <a:pt x="1624" y="604"/>
                      </a:lnTo>
                      <a:lnTo>
                        <a:pt x="1624" y="605"/>
                      </a:lnTo>
                      <a:lnTo>
                        <a:pt x="1623" y="605"/>
                      </a:lnTo>
                      <a:lnTo>
                        <a:pt x="1623" y="606"/>
                      </a:lnTo>
                      <a:lnTo>
                        <a:pt x="1622" y="606"/>
                      </a:lnTo>
                      <a:close/>
                      <a:moveTo>
                        <a:pt x="1335" y="562"/>
                      </a:moveTo>
                      <a:lnTo>
                        <a:pt x="1335" y="563"/>
                      </a:lnTo>
                      <a:lnTo>
                        <a:pt x="1334" y="563"/>
                      </a:lnTo>
                      <a:lnTo>
                        <a:pt x="1334" y="562"/>
                      </a:lnTo>
                      <a:lnTo>
                        <a:pt x="1332" y="562"/>
                      </a:lnTo>
                      <a:lnTo>
                        <a:pt x="1332" y="563"/>
                      </a:lnTo>
                      <a:lnTo>
                        <a:pt x="1331" y="564"/>
                      </a:lnTo>
                      <a:lnTo>
                        <a:pt x="1330" y="564"/>
                      </a:lnTo>
                      <a:lnTo>
                        <a:pt x="1329" y="565"/>
                      </a:lnTo>
                      <a:lnTo>
                        <a:pt x="1329" y="566"/>
                      </a:lnTo>
                      <a:lnTo>
                        <a:pt x="1328" y="566"/>
                      </a:lnTo>
                      <a:lnTo>
                        <a:pt x="1328" y="567"/>
                      </a:lnTo>
                      <a:lnTo>
                        <a:pt x="1328" y="566"/>
                      </a:lnTo>
                      <a:lnTo>
                        <a:pt x="1329" y="566"/>
                      </a:lnTo>
                      <a:lnTo>
                        <a:pt x="1329" y="565"/>
                      </a:lnTo>
                      <a:lnTo>
                        <a:pt x="1329" y="564"/>
                      </a:lnTo>
                      <a:lnTo>
                        <a:pt x="1330" y="564"/>
                      </a:lnTo>
                      <a:lnTo>
                        <a:pt x="1331" y="563"/>
                      </a:lnTo>
                      <a:lnTo>
                        <a:pt x="1332" y="562"/>
                      </a:lnTo>
                      <a:lnTo>
                        <a:pt x="1332" y="560"/>
                      </a:lnTo>
                      <a:lnTo>
                        <a:pt x="1332" y="559"/>
                      </a:lnTo>
                      <a:lnTo>
                        <a:pt x="1334" y="559"/>
                      </a:lnTo>
                      <a:lnTo>
                        <a:pt x="1334" y="558"/>
                      </a:lnTo>
                      <a:lnTo>
                        <a:pt x="1334" y="557"/>
                      </a:lnTo>
                      <a:lnTo>
                        <a:pt x="1335" y="556"/>
                      </a:lnTo>
                      <a:lnTo>
                        <a:pt x="1336" y="555"/>
                      </a:lnTo>
                      <a:lnTo>
                        <a:pt x="1335" y="556"/>
                      </a:lnTo>
                      <a:lnTo>
                        <a:pt x="1335" y="557"/>
                      </a:lnTo>
                      <a:lnTo>
                        <a:pt x="1335" y="558"/>
                      </a:lnTo>
                      <a:lnTo>
                        <a:pt x="1335" y="559"/>
                      </a:lnTo>
                      <a:lnTo>
                        <a:pt x="1335" y="560"/>
                      </a:lnTo>
                      <a:lnTo>
                        <a:pt x="1335" y="562"/>
                      </a:lnTo>
                      <a:close/>
                      <a:moveTo>
                        <a:pt x="1324" y="568"/>
                      </a:moveTo>
                      <a:lnTo>
                        <a:pt x="1324" y="569"/>
                      </a:lnTo>
                      <a:lnTo>
                        <a:pt x="1325" y="569"/>
                      </a:lnTo>
                      <a:lnTo>
                        <a:pt x="1325" y="570"/>
                      </a:lnTo>
                      <a:lnTo>
                        <a:pt x="1324" y="571"/>
                      </a:lnTo>
                      <a:lnTo>
                        <a:pt x="1324" y="572"/>
                      </a:lnTo>
                      <a:lnTo>
                        <a:pt x="1323" y="572"/>
                      </a:lnTo>
                      <a:lnTo>
                        <a:pt x="1322" y="572"/>
                      </a:lnTo>
                      <a:lnTo>
                        <a:pt x="1321" y="572"/>
                      </a:lnTo>
                      <a:lnTo>
                        <a:pt x="1321" y="571"/>
                      </a:lnTo>
                      <a:lnTo>
                        <a:pt x="1322" y="571"/>
                      </a:lnTo>
                      <a:lnTo>
                        <a:pt x="1322" y="570"/>
                      </a:lnTo>
                      <a:lnTo>
                        <a:pt x="1322" y="569"/>
                      </a:lnTo>
                      <a:lnTo>
                        <a:pt x="1322" y="570"/>
                      </a:lnTo>
                      <a:lnTo>
                        <a:pt x="1323" y="570"/>
                      </a:lnTo>
                      <a:lnTo>
                        <a:pt x="1323" y="569"/>
                      </a:lnTo>
                      <a:lnTo>
                        <a:pt x="1324" y="569"/>
                      </a:lnTo>
                      <a:lnTo>
                        <a:pt x="1323" y="569"/>
                      </a:lnTo>
                      <a:lnTo>
                        <a:pt x="1324" y="569"/>
                      </a:lnTo>
                      <a:lnTo>
                        <a:pt x="1323" y="569"/>
                      </a:lnTo>
                      <a:lnTo>
                        <a:pt x="1322" y="569"/>
                      </a:lnTo>
                      <a:lnTo>
                        <a:pt x="1323" y="568"/>
                      </a:lnTo>
                      <a:lnTo>
                        <a:pt x="1324" y="568"/>
                      </a:lnTo>
                      <a:close/>
                      <a:moveTo>
                        <a:pt x="1631" y="575"/>
                      </a:moveTo>
                      <a:lnTo>
                        <a:pt x="1631" y="576"/>
                      </a:lnTo>
                      <a:lnTo>
                        <a:pt x="1632" y="576"/>
                      </a:lnTo>
                      <a:lnTo>
                        <a:pt x="1633" y="576"/>
                      </a:lnTo>
                      <a:lnTo>
                        <a:pt x="1633" y="577"/>
                      </a:lnTo>
                      <a:lnTo>
                        <a:pt x="1632" y="576"/>
                      </a:lnTo>
                      <a:lnTo>
                        <a:pt x="1632" y="577"/>
                      </a:lnTo>
                      <a:lnTo>
                        <a:pt x="1632" y="578"/>
                      </a:lnTo>
                      <a:lnTo>
                        <a:pt x="1631" y="578"/>
                      </a:lnTo>
                      <a:lnTo>
                        <a:pt x="1632" y="578"/>
                      </a:lnTo>
                      <a:lnTo>
                        <a:pt x="1632" y="579"/>
                      </a:lnTo>
                      <a:lnTo>
                        <a:pt x="1631" y="579"/>
                      </a:lnTo>
                      <a:lnTo>
                        <a:pt x="1629" y="579"/>
                      </a:lnTo>
                      <a:lnTo>
                        <a:pt x="1629" y="578"/>
                      </a:lnTo>
                      <a:lnTo>
                        <a:pt x="1628" y="578"/>
                      </a:lnTo>
                      <a:lnTo>
                        <a:pt x="1628" y="577"/>
                      </a:lnTo>
                      <a:lnTo>
                        <a:pt x="1628" y="576"/>
                      </a:lnTo>
                      <a:lnTo>
                        <a:pt x="1629" y="575"/>
                      </a:lnTo>
                      <a:lnTo>
                        <a:pt x="1631" y="575"/>
                      </a:lnTo>
                      <a:close/>
                      <a:moveTo>
                        <a:pt x="1627" y="539"/>
                      </a:moveTo>
                      <a:lnTo>
                        <a:pt x="1626" y="539"/>
                      </a:lnTo>
                      <a:lnTo>
                        <a:pt x="1626" y="540"/>
                      </a:lnTo>
                      <a:lnTo>
                        <a:pt x="1626" y="539"/>
                      </a:lnTo>
                      <a:lnTo>
                        <a:pt x="1625" y="539"/>
                      </a:lnTo>
                      <a:lnTo>
                        <a:pt x="1625" y="540"/>
                      </a:lnTo>
                      <a:lnTo>
                        <a:pt x="1624" y="540"/>
                      </a:lnTo>
                      <a:lnTo>
                        <a:pt x="1623" y="540"/>
                      </a:lnTo>
                      <a:lnTo>
                        <a:pt x="1623" y="539"/>
                      </a:lnTo>
                      <a:lnTo>
                        <a:pt x="1624" y="539"/>
                      </a:lnTo>
                      <a:lnTo>
                        <a:pt x="1624" y="538"/>
                      </a:lnTo>
                      <a:lnTo>
                        <a:pt x="1625" y="538"/>
                      </a:lnTo>
                      <a:lnTo>
                        <a:pt x="1625" y="537"/>
                      </a:lnTo>
                      <a:lnTo>
                        <a:pt x="1626" y="537"/>
                      </a:lnTo>
                      <a:lnTo>
                        <a:pt x="1627" y="537"/>
                      </a:lnTo>
                      <a:lnTo>
                        <a:pt x="1627" y="536"/>
                      </a:lnTo>
                      <a:lnTo>
                        <a:pt x="1628" y="536"/>
                      </a:lnTo>
                      <a:lnTo>
                        <a:pt x="1628" y="537"/>
                      </a:lnTo>
                      <a:lnTo>
                        <a:pt x="1628" y="538"/>
                      </a:lnTo>
                      <a:lnTo>
                        <a:pt x="1627" y="539"/>
                      </a:lnTo>
                      <a:close/>
                      <a:moveTo>
                        <a:pt x="1274" y="637"/>
                      </a:moveTo>
                      <a:lnTo>
                        <a:pt x="1275" y="637"/>
                      </a:lnTo>
                      <a:lnTo>
                        <a:pt x="1276" y="639"/>
                      </a:lnTo>
                      <a:lnTo>
                        <a:pt x="1275" y="639"/>
                      </a:lnTo>
                      <a:lnTo>
                        <a:pt x="1275" y="640"/>
                      </a:lnTo>
                      <a:lnTo>
                        <a:pt x="1274" y="640"/>
                      </a:lnTo>
                      <a:lnTo>
                        <a:pt x="1273" y="640"/>
                      </a:lnTo>
                      <a:lnTo>
                        <a:pt x="1272" y="640"/>
                      </a:lnTo>
                      <a:lnTo>
                        <a:pt x="1272" y="641"/>
                      </a:lnTo>
                      <a:lnTo>
                        <a:pt x="1272" y="640"/>
                      </a:lnTo>
                      <a:lnTo>
                        <a:pt x="1271" y="640"/>
                      </a:lnTo>
                      <a:lnTo>
                        <a:pt x="1271" y="641"/>
                      </a:lnTo>
                      <a:lnTo>
                        <a:pt x="1270" y="642"/>
                      </a:lnTo>
                      <a:lnTo>
                        <a:pt x="1270" y="641"/>
                      </a:lnTo>
                      <a:lnTo>
                        <a:pt x="1268" y="641"/>
                      </a:lnTo>
                      <a:lnTo>
                        <a:pt x="1268" y="640"/>
                      </a:lnTo>
                      <a:lnTo>
                        <a:pt x="1270" y="640"/>
                      </a:lnTo>
                      <a:lnTo>
                        <a:pt x="1270" y="639"/>
                      </a:lnTo>
                      <a:lnTo>
                        <a:pt x="1271" y="639"/>
                      </a:lnTo>
                      <a:lnTo>
                        <a:pt x="1272" y="639"/>
                      </a:lnTo>
                      <a:lnTo>
                        <a:pt x="1272" y="637"/>
                      </a:lnTo>
                      <a:lnTo>
                        <a:pt x="1273" y="639"/>
                      </a:lnTo>
                      <a:lnTo>
                        <a:pt x="1273" y="637"/>
                      </a:lnTo>
                      <a:lnTo>
                        <a:pt x="1274" y="637"/>
                      </a:lnTo>
                      <a:close/>
                      <a:moveTo>
                        <a:pt x="1179" y="705"/>
                      </a:moveTo>
                      <a:lnTo>
                        <a:pt x="1180" y="705"/>
                      </a:lnTo>
                      <a:lnTo>
                        <a:pt x="1180" y="706"/>
                      </a:lnTo>
                      <a:lnTo>
                        <a:pt x="1181" y="706"/>
                      </a:lnTo>
                      <a:lnTo>
                        <a:pt x="1180" y="707"/>
                      </a:lnTo>
                      <a:lnTo>
                        <a:pt x="1179" y="707"/>
                      </a:lnTo>
                      <a:lnTo>
                        <a:pt x="1177" y="707"/>
                      </a:lnTo>
                      <a:lnTo>
                        <a:pt x="1179" y="708"/>
                      </a:lnTo>
                      <a:lnTo>
                        <a:pt x="1177" y="708"/>
                      </a:lnTo>
                      <a:lnTo>
                        <a:pt x="1177" y="707"/>
                      </a:lnTo>
                      <a:lnTo>
                        <a:pt x="1176" y="708"/>
                      </a:lnTo>
                      <a:lnTo>
                        <a:pt x="1175" y="708"/>
                      </a:lnTo>
                      <a:lnTo>
                        <a:pt x="1175" y="707"/>
                      </a:lnTo>
                      <a:lnTo>
                        <a:pt x="1175" y="706"/>
                      </a:lnTo>
                      <a:lnTo>
                        <a:pt x="1176" y="707"/>
                      </a:lnTo>
                      <a:lnTo>
                        <a:pt x="1176" y="706"/>
                      </a:lnTo>
                      <a:lnTo>
                        <a:pt x="1175" y="706"/>
                      </a:lnTo>
                      <a:lnTo>
                        <a:pt x="1176" y="706"/>
                      </a:lnTo>
                      <a:lnTo>
                        <a:pt x="1176" y="705"/>
                      </a:lnTo>
                      <a:lnTo>
                        <a:pt x="1177" y="705"/>
                      </a:lnTo>
                      <a:lnTo>
                        <a:pt x="1179" y="705"/>
                      </a:lnTo>
                      <a:close/>
                      <a:moveTo>
                        <a:pt x="1335" y="620"/>
                      </a:moveTo>
                      <a:lnTo>
                        <a:pt x="1336" y="620"/>
                      </a:lnTo>
                      <a:lnTo>
                        <a:pt x="1336" y="621"/>
                      </a:lnTo>
                      <a:lnTo>
                        <a:pt x="1337" y="621"/>
                      </a:lnTo>
                      <a:lnTo>
                        <a:pt x="1336" y="621"/>
                      </a:lnTo>
                      <a:lnTo>
                        <a:pt x="1336" y="622"/>
                      </a:lnTo>
                      <a:lnTo>
                        <a:pt x="1337" y="622"/>
                      </a:lnTo>
                      <a:lnTo>
                        <a:pt x="1337" y="623"/>
                      </a:lnTo>
                      <a:lnTo>
                        <a:pt x="1338" y="623"/>
                      </a:lnTo>
                      <a:lnTo>
                        <a:pt x="1338" y="624"/>
                      </a:lnTo>
                      <a:lnTo>
                        <a:pt x="1338" y="626"/>
                      </a:lnTo>
                      <a:lnTo>
                        <a:pt x="1337" y="626"/>
                      </a:lnTo>
                      <a:lnTo>
                        <a:pt x="1337" y="624"/>
                      </a:lnTo>
                      <a:lnTo>
                        <a:pt x="1337" y="623"/>
                      </a:lnTo>
                      <a:lnTo>
                        <a:pt x="1336" y="623"/>
                      </a:lnTo>
                      <a:lnTo>
                        <a:pt x="1335" y="622"/>
                      </a:lnTo>
                      <a:lnTo>
                        <a:pt x="1336" y="622"/>
                      </a:lnTo>
                      <a:lnTo>
                        <a:pt x="1335" y="622"/>
                      </a:lnTo>
                      <a:lnTo>
                        <a:pt x="1335" y="621"/>
                      </a:lnTo>
                      <a:lnTo>
                        <a:pt x="1335" y="622"/>
                      </a:lnTo>
                      <a:lnTo>
                        <a:pt x="1334" y="622"/>
                      </a:lnTo>
                      <a:lnTo>
                        <a:pt x="1332" y="622"/>
                      </a:lnTo>
                      <a:lnTo>
                        <a:pt x="1332" y="621"/>
                      </a:lnTo>
                      <a:lnTo>
                        <a:pt x="1334" y="622"/>
                      </a:lnTo>
                      <a:lnTo>
                        <a:pt x="1334" y="621"/>
                      </a:lnTo>
                      <a:lnTo>
                        <a:pt x="1335" y="621"/>
                      </a:lnTo>
                      <a:lnTo>
                        <a:pt x="1335" y="620"/>
                      </a:lnTo>
                      <a:lnTo>
                        <a:pt x="1334" y="620"/>
                      </a:lnTo>
                      <a:lnTo>
                        <a:pt x="1332" y="620"/>
                      </a:lnTo>
                      <a:lnTo>
                        <a:pt x="1332" y="621"/>
                      </a:lnTo>
                      <a:lnTo>
                        <a:pt x="1331" y="621"/>
                      </a:lnTo>
                      <a:lnTo>
                        <a:pt x="1331" y="620"/>
                      </a:lnTo>
                      <a:lnTo>
                        <a:pt x="1332" y="620"/>
                      </a:lnTo>
                      <a:lnTo>
                        <a:pt x="1334" y="620"/>
                      </a:lnTo>
                      <a:lnTo>
                        <a:pt x="1334" y="619"/>
                      </a:lnTo>
                      <a:lnTo>
                        <a:pt x="1335" y="620"/>
                      </a:lnTo>
                      <a:close/>
                      <a:moveTo>
                        <a:pt x="1632" y="555"/>
                      </a:moveTo>
                      <a:lnTo>
                        <a:pt x="1632" y="556"/>
                      </a:lnTo>
                      <a:lnTo>
                        <a:pt x="1631" y="556"/>
                      </a:lnTo>
                      <a:lnTo>
                        <a:pt x="1631" y="557"/>
                      </a:lnTo>
                      <a:lnTo>
                        <a:pt x="1629" y="557"/>
                      </a:lnTo>
                      <a:lnTo>
                        <a:pt x="1628" y="557"/>
                      </a:lnTo>
                      <a:lnTo>
                        <a:pt x="1628" y="558"/>
                      </a:lnTo>
                      <a:lnTo>
                        <a:pt x="1627" y="558"/>
                      </a:lnTo>
                      <a:lnTo>
                        <a:pt x="1626" y="557"/>
                      </a:lnTo>
                      <a:lnTo>
                        <a:pt x="1627" y="557"/>
                      </a:lnTo>
                      <a:lnTo>
                        <a:pt x="1626" y="556"/>
                      </a:lnTo>
                      <a:lnTo>
                        <a:pt x="1627" y="556"/>
                      </a:lnTo>
                      <a:lnTo>
                        <a:pt x="1628" y="555"/>
                      </a:lnTo>
                      <a:lnTo>
                        <a:pt x="1629" y="555"/>
                      </a:lnTo>
                      <a:lnTo>
                        <a:pt x="1631" y="555"/>
                      </a:lnTo>
                      <a:lnTo>
                        <a:pt x="1632" y="555"/>
                      </a:lnTo>
                      <a:close/>
                      <a:moveTo>
                        <a:pt x="1616" y="646"/>
                      </a:moveTo>
                      <a:lnTo>
                        <a:pt x="1615" y="647"/>
                      </a:lnTo>
                      <a:lnTo>
                        <a:pt x="1615" y="648"/>
                      </a:lnTo>
                      <a:lnTo>
                        <a:pt x="1614" y="648"/>
                      </a:lnTo>
                      <a:lnTo>
                        <a:pt x="1614" y="647"/>
                      </a:lnTo>
                      <a:lnTo>
                        <a:pt x="1613" y="647"/>
                      </a:lnTo>
                      <a:lnTo>
                        <a:pt x="1612" y="647"/>
                      </a:lnTo>
                      <a:lnTo>
                        <a:pt x="1613" y="647"/>
                      </a:lnTo>
                      <a:lnTo>
                        <a:pt x="1613" y="646"/>
                      </a:lnTo>
                      <a:lnTo>
                        <a:pt x="1612" y="647"/>
                      </a:lnTo>
                      <a:lnTo>
                        <a:pt x="1612" y="646"/>
                      </a:lnTo>
                      <a:lnTo>
                        <a:pt x="1612" y="645"/>
                      </a:lnTo>
                      <a:lnTo>
                        <a:pt x="1613" y="645"/>
                      </a:lnTo>
                      <a:lnTo>
                        <a:pt x="1613" y="644"/>
                      </a:lnTo>
                      <a:lnTo>
                        <a:pt x="1614" y="645"/>
                      </a:lnTo>
                      <a:lnTo>
                        <a:pt x="1615" y="645"/>
                      </a:lnTo>
                      <a:lnTo>
                        <a:pt x="1616" y="646"/>
                      </a:lnTo>
                      <a:close/>
                      <a:moveTo>
                        <a:pt x="1314" y="468"/>
                      </a:moveTo>
                      <a:lnTo>
                        <a:pt x="1315" y="468"/>
                      </a:lnTo>
                      <a:lnTo>
                        <a:pt x="1316" y="468"/>
                      </a:lnTo>
                      <a:lnTo>
                        <a:pt x="1315" y="468"/>
                      </a:lnTo>
                      <a:lnTo>
                        <a:pt x="1316" y="469"/>
                      </a:lnTo>
                      <a:lnTo>
                        <a:pt x="1317" y="469"/>
                      </a:lnTo>
                      <a:lnTo>
                        <a:pt x="1317" y="470"/>
                      </a:lnTo>
                      <a:lnTo>
                        <a:pt x="1317" y="472"/>
                      </a:lnTo>
                      <a:lnTo>
                        <a:pt x="1316" y="473"/>
                      </a:lnTo>
                      <a:lnTo>
                        <a:pt x="1315" y="473"/>
                      </a:lnTo>
                      <a:lnTo>
                        <a:pt x="1315" y="474"/>
                      </a:lnTo>
                      <a:lnTo>
                        <a:pt x="1315" y="473"/>
                      </a:lnTo>
                      <a:lnTo>
                        <a:pt x="1314" y="473"/>
                      </a:lnTo>
                      <a:lnTo>
                        <a:pt x="1314" y="472"/>
                      </a:lnTo>
                      <a:lnTo>
                        <a:pt x="1315" y="472"/>
                      </a:lnTo>
                      <a:lnTo>
                        <a:pt x="1315" y="470"/>
                      </a:lnTo>
                      <a:lnTo>
                        <a:pt x="1316" y="470"/>
                      </a:lnTo>
                      <a:lnTo>
                        <a:pt x="1315" y="470"/>
                      </a:lnTo>
                      <a:lnTo>
                        <a:pt x="1316" y="470"/>
                      </a:lnTo>
                      <a:lnTo>
                        <a:pt x="1315" y="469"/>
                      </a:lnTo>
                      <a:lnTo>
                        <a:pt x="1316" y="469"/>
                      </a:lnTo>
                      <a:lnTo>
                        <a:pt x="1315" y="469"/>
                      </a:lnTo>
                      <a:lnTo>
                        <a:pt x="1315" y="468"/>
                      </a:lnTo>
                      <a:lnTo>
                        <a:pt x="1315" y="469"/>
                      </a:lnTo>
                      <a:lnTo>
                        <a:pt x="1314" y="469"/>
                      </a:lnTo>
                      <a:lnTo>
                        <a:pt x="1313" y="469"/>
                      </a:lnTo>
                      <a:lnTo>
                        <a:pt x="1313" y="468"/>
                      </a:lnTo>
                      <a:lnTo>
                        <a:pt x="1314" y="468"/>
                      </a:lnTo>
                      <a:close/>
                      <a:moveTo>
                        <a:pt x="1627" y="598"/>
                      </a:moveTo>
                      <a:lnTo>
                        <a:pt x="1627" y="600"/>
                      </a:lnTo>
                      <a:lnTo>
                        <a:pt x="1628" y="600"/>
                      </a:lnTo>
                      <a:lnTo>
                        <a:pt x="1629" y="600"/>
                      </a:lnTo>
                      <a:lnTo>
                        <a:pt x="1628" y="600"/>
                      </a:lnTo>
                      <a:lnTo>
                        <a:pt x="1628" y="601"/>
                      </a:lnTo>
                      <a:lnTo>
                        <a:pt x="1628" y="602"/>
                      </a:lnTo>
                      <a:lnTo>
                        <a:pt x="1627" y="601"/>
                      </a:lnTo>
                      <a:lnTo>
                        <a:pt x="1626" y="601"/>
                      </a:lnTo>
                      <a:lnTo>
                        <a:pt x="1625" y="601"/>
                      </a:lnTo>
                      <a:lnTo>
                        <a:pt x="1625" y="600"/>
                      </a:lnTo>
                      <a:lnTo>
                        <a:pt x="1624" y="600"/>
                      </a:lnTo>
                      <a:lnTo>
                        <a:pt x="1624" y="598"/>
                      </a:lnTo>
                      <a:lnTo>
                        <a:pt x="1625" y="598"/>
                      </a:lnTo>
                      <a:lnTo>
                        <a:pt x="1626" y="598"/>
                      </a:lnTo>
                      <a:lnTo>
                        <a:pt x="1626" y="597"/>
                      </a:lnTo>
                      <a:lnTo>
                        <a:pt x="1627" y="598"/>
                      </a:lnTo>
                      <a:close/>
                      <a:moveTo>
                        <a:pt x="1302" y="506"/>
                      </a:moveTo>
                      <a:lnTo>
                        <a:pt x="1303" y="506"/>
                      </a:lnTo>
                      <a:lnTo>
                        <a:pt x="1304" y="506"/>
                      </a:lnTo>
                      <a:lnTo>
                        <a:pt x="1304" y="507"/>
                      </a:lnTo>
                      <a:lnTo>
                        <a:pt x="1303" y="507"/>
                      </a:lnTo>
                      <a:lnTo>
                        <a:pt x="1304" y="508"/>
                      </a:lnTo>
                      <a:lnTo>
                        <a:pt x="1305" y="508"/>
                      </a:lnTo>
                      <a:lnTo>
                        <a:pt x="1304" y="508"/>
                      </a:lnTo>
                      <a:lnTo>
                        <a:pt x="1303" y="508"/>
                      </a:lnTo>
                      <a:lnTo>
                        <a:pt x="1303" y="507"/>
                      </a:lnTo>
                      <a:lnTo>
                        <a:pt x="1302" y="507"/>
                      </a:lnTo>
                      <a:lnTo>
                        <a:pt x="1301" y="507"/>
                      </a:lnTo>
                      <a:lnTo>
                        <a:pt x="1300" y="507"/>
                      </a:lnTo>
                      <a:lnTo>
                        <a:pt x="1300" y="506"/>
                      </a:lnTo>
                      <a:lnTo>
                        <a:pt x="1300" y="505"/>
                      </a:lnTo>
                      <a:lnTo>
                        <a:pt x="1301" y="505"/>
                      </a:lnTo>
                      <a:lnTo>
                        <a:pt x="1302" y="505"/>
                      </a:lnTo>
                      <a:lnTo>
                        <a:pt x="1302" y="506"/>
                      </a:lnTo>
                      <a:close/>
                      <a:moveTo>
                        <a:pt x="1347" y="512"/>
                      </a:moveTo>
                      <a:lnTo>
                        <a:pt x="1345" y="512"/>
                      </a:lnTo>
                      <a:lnTo>
                        <a:pt x="1345" y="513"/>
                      </a:lnTo>
                      <a:lnTo>
                        <a:pt x="1345" y="514"/>
                      </a:lnTo>
                      <a:lnTo>
                        <a:pt x="1344" y="514"/>
                      </a:lnTo>
                      <a:lnTo>
                        <a:pt x="1344" y="513"/>
                      </a:lnTo>
                      <a:lnTo>
                        <a:pt x="1343" y="513"/>
                      </a:lnTo>
                      <a:lnTo>
                        <a:pt x="1342" y="514"/>
                      </a:lnTo>
                      <a:lnTo>
                        <a:pt x="1342" y="513"/>
                      </a:lnTo>
                      <a:lnTo>
                        <a:pt x="1342" y="512"/>
                      </a:lnTo>
                      <a:lnTo>
                        <a:pt x="1342" y="511"/>
                      </a:lnTo>
                      <a:lnTo>
                        <a:pt x="1342" y="510"/>
                      </a:lnTo>
                      <a:lnTo>
                        <a:pt x="1343" y="510"/>
                      </a:lnTo>
                      <a:lnTo>
                        <a:pt x="1343" y="511"/>
                      </a:lnTo>
                      <a:lnTo>
                        <a:pt x="1343" y="512"/>
                      </a:lnTo>
                      <a:lnTo>
                        <a:pt x="1344" y="512"/>
                      </a:lnTo>
                      <a:lnTo>
                        <a:pt x="1345" y="512"/>
                      </a:lnTo>
                      <a:lnTo>
                        <a:pt x="1345" y="511"/>
                      </a:lnTo>
                      <a:lnTo>
                        <a:pt x="1345" y="510"/>
                      </a:lnTo>
                      <a:lnTo>
                        <a:pt x="1347" y="510"/>
                      </a:lnTo>
                      <a:lnTo>
                        <a:pt x="1347" y="511"/>
                      </a:lnTo>
                      <a:lnTo>
                        <a:pt x="1347" y="512"/>
                      </a:lnTo>
                      <a:close/>
                      <a:moveTo>
                        <a:pt x="1233" y="636"/>
                      </a:moveTo>
                      <a:lnTo>
                        <a:pt x="1234" y="637"/>
                      </a:lnTo>
                      <a:lnTo>
                        <a:pt x="1235" y="637"/>
                      </a:lnTo>
                      <a:lnTo>
                        <a:pt x="1236" y="637"/>
                      </a:lnTo>
                      <a:lnTo>
                        <a:pt x="1236" y="636"/>
                      </a:lnTo>
                      <a:lnTo>
                        <a:pt x="1237" y="636"/>
                      </a:lnTo>
                      <a:lnTo>
                        <a:pt x="1237" y="637"/>
                      </a:lnTo>
                      <a:lnTo>
                        <a:pt x="1236" y="637"/>
                      </a:lnTo>
                      <a:lnTo>
                        <a:pt x="1236" y="639"/>
                      </a:lnTo>
                      <a:lnTo>
                        <a:pt x="1236" y="640"/>
                      </a:lnTo>
                      <a:lnTo>
                        <a:pt x="1237" y="640"/>
                      </a:lnTo>
                      <a:lnTo>
                        <a:pt x="1237" y="639"/>
                      </a:lnTo>
                      <a:lnTo>
                        <a:pt x="1238" y="639"/>
                      </a:lnTo>
                      <a:lnTo>
                        <a:pt x="1239" y="639"/>
                      </a:lnTo>
                      <a:lnTo>
                        <a:pt x="1238" y="640"/>
                      </a:lnTo>
                      <a:lnTo>
                        <a:pt x="1237" y="640"/>
                      </a:lnTo>
                      <a:lnTo>
                        <a:pt x="1237" y="641"/>
                      </a:lnTo>
                      <a:lnTo>
                        <a:pt x="1237" y="640"/>
                      </a:lnTo>
                      <a:lnTo>
                        <a:pt x="1236" y="640"/>
                      </a:lnTo>
                      <a:lnTo>
                        <a:pt x="1236" y="639"/>
                      </a:lnTo>
                      <a:lnTo>
                        <a:pt x="1235" y="639"/>
                      </a:lnTo>
                      <a:lnTo>
                        <a:pt x="1235" y="640"/>
                      </a:lnTo>
                      <a:lnTo>
                        <a:pt x="1234" y="640"/>
                      </a:lnTo>
                      <a:lnTo>
                        <a:pt x="1234" y="639"/>
                      </a:lnTo>
                      <a:lnTo>
                        <a:pt x="1234" y="637"/>
                      </a:lnTo>
                      <a:lnTo>
                        <a:pt x="1233" y="637"/>
                      </a:lnTo>
                      <a:lnTo>
                        <a:pt x="1233" y="636"/>
                      </a:lnTo>
                      <a:lnTo>
                        <a:pt x="1232" y="636"/>
                      </a:lnTo>
                      <a:lnTo>
                        <a:pt x="1232" y="637"/>
                      </a:lnTo>
                      <a:lnTo>
                        <a:pt x="1232" y="636"/>
                      </a:lnTo>
                      <a:lnTo>
                        <a:pt x="1233" y="636"/>
                      </a:lnTo>
                      <a:lnTo>
                        <a:pt x="1233" y="635"/>
                      </a:lnTo>
                      <a:lnTo>
                        <a:pt x="1233" y="636"/>
                      </a:lnTo>
                      <a:close/>
                      <a:moveTo>
                        <a:pt x="1631" y="582"/>
                      </a:moveTo>
                      <a:lnTo>
                        <a:pt x="1632" y="584"/>
                      </a:lnTo>
                      <a:lnTo>
                        <a:pt x="1631" y="584"/>
                      </a:lnTo>
                      <a:lnTo>
                        <a:pt x="1629" y="585"/>
                      </a:lnTo>
                      <a:lnTo>
                        <a:pt x="1629" y="584"/>
                      </a:lnTo>
                      <a:lnTo>
                        <a:pt x="1628" y="585"/>
                      </a:lnTo>
                      <a:lnTo>
                        <a:pt x="1627" y="585"/>
                      </a:lnTo>
                      <a:lnTo>
                        <a:pt x="1626" y="585"/>
                      </a:lnTo>
                      <a:lnTo>
                        <a:pt x="1626" y="584"/>
                      </a:lnTo>
                      <a:lnTo>
                        <a:pt x="1627" y="584"/>
                      </a:lnTo>
                      <a:lnTo>
                        <a:pt x="1627" y="585"/>
                      </a:lnTo>
                      <a:lnTo>
                        <a:pt x="1627" y="584"/>
                      </a:lnTo>
                      <a:lnTo>
                        <a:pt x="1627" y="583"/>
                      </a:lnTo>
                      <a:lnTo>
                        <a:pt x="1626" y="583"/>
                      </a:lnTo>
                      <a:lnTo>
                        <a:pt x="1627" y="583"/>
                      </a:lnTo>
                      <a:lnTo>
                        <a:pt x="1627" y="582"/>
                      </a:lnTo>
                      <a:lnTo>
                        <a:pt x="1627" y="583"/>
                      </a:lnTo>
                      <a:lnTo>
                        <a:pt x="1628" y="583"/>
                      </a:lnTo>
                      <a:lnTo>
                        <a:pt x="1629" y="583"/>
                      </a:lnTo>
                      <a:lnTo>
                        <a:pt x="1629" y="582"/>
                      </a:lnTo>
                      <a:lnTo>
                        <a:pt x="1631" y="582"/>
                      </a:lnTo>
                      <a:close/>
                      <a:moveTo>
                        <a:pt x="1607" y="656"/>
                      </a:moveTo>
                      <a:lnTo>
                        <a:pt x="1608" y="656"/>
                      </a:lnTo>
                      <a:lnTo>
                        <a:pt x="1609" y="656"/>
                      </a:lnTo>
                      <a:lnTo>
                        <a:pt x="1610" y="657"/>
                      </a:lnTo>
                      <a:lnTo>
                        <a:pt x="1611" y="657"/>
                      </a:lnTo>
                      <a:lnTo>
                        <a:pt x="1611" y="658"/>
                      </a:lnTo>
                      <a:lnTo>
                        <a:pt x="1610" y="658"/>
                      </a:lnTo>
                      <a:lnTo>
                        <a:pt x="1609" y="658"/>
                      </a:lnTo>
                      <a:lnTo>
                        <a:pt x="1608" y="658"/>
                      </a:lnTo>
                      <a:lnTo>
                        <a:pt x="1607" y="658"/>
                      </a:lnTo>
                      <a:lnTo>
                        <a:pt x="1607" y="657"/>
                      </a:lnTo>
                      <a:lnTo>
                        <a:pt x="1606" y="657"/>
                      </a:lnTo>
                      <a:lnTo>
                        <a:pt x="1606" y="656"/>
                      </a:lnTo>
                      <a:lnTo>
                        <a:pt x="1607" y="656"/>
                      </a:lnTo>
                      <a:close/>
                      <a:moveTo>
                        <a:pt x="1316" y="515"/>
                      </a:moveTo>
                      <a:lnTo>
                        <a:pt x="1316" y="516"/>
                      </a:lnTo>
                      <a:lnTo>
                        <a:pt x="1316" y="517"/>
                      </a:lnTo>
                      <a:lnTo>
                        <a:pt x="1316" y="518"/>
                      </a:lnTo>
                      <a:lnTo>
                        <a:pt x="1316" y="519"/>
                      </a:lnTo>
                      <a:lnTo>
                        <a:pt x="1316" y="520"/>
                      </a:lnTo>
                      <a:lnTo>
                        <a:pt x="1316" y="519"/>
                      </a:lnTo>
                      <a:lnTo>
                        <a:pt x="1315" y="519"/>
                      </a:lnTo>
                      <a:lnTo>
                        <a:pt x="1316" y="519"/>
                      </a:lnTo>
                      <a:lnTo>
                        <a:pt x="1316" y="518"/>
                      </a:lnTo>
                      <a:lnTo>
                        <a:pt x="1315" y="518"/>
                      </a:lnTo>
                      <a:lnTo>
                        <a:pt x="1315" y="519"/>
                      </a:lnTo>
                      <a:lnTo>
                        <a:pt x="1315" y="518"/>
                      </a:lnTo>
                      <a:lnTo>
                        <a:pt x="1314" y="518"/>
                      </a:lnTo>
                      <a:lnTo>
                        <a:pt x="1314" y="517"/>
                      </a:lnTo>
                      <a:lnTo>
                        <a:pt x="1314" y="516"/>
                      </a:lnTo>
                      <a:lnTo>
                        <a:pt x="1315" y="516"/>
                      </a:lnTo>
                      <a:lnTo>
                        <a:pt x="1314" y="516"/>
                      </a:lnTo>
                      <a:lnTo>
                        <a:pt x="1315" y="516"/>
                      </a:lnTo>
                      <a:lnTo>
                        <a:pt x="1314" y="515"/>
                      </a:lnTo>
                      <a:lnTo>
                        <a:pt x="1315" y="515"/>
                      </a:lnTo>
                      <a:lnTo>
                        <a:pt x="1316" y="515"/>
                      </a:lnTo>
                      <a:close/>
                      <a:moveTo>
                        <a:pt x="1198" y="707"/>
                      </a:moveTo>
                      <a:lnTo>
                        <a:pt x="1199" y="707"/>
                      </a:lnTo>
                      <a:lnTo>
                        <a:pt x="1200" y="707"/>
                      </a:lnTo>
                      <a:lnTo>
                        <a:pt x="1201" y="707"/>
                      </a:lnTo>
                      <a:lnTo>
                        <a:pt x="1201" y="708"/>
                      </a:lnTo>
                      <a:lnTo>
                        <a:pt x="1202" y="708"/>
                      </a:lnTo>
                      <a:lnTo>
                        <a:pt x="1202" y="709"/>
                      </a:lnTo>
                      <a:lnTo>
                        <a:pt x="1201" y="709"/>
                      </a:lnTo>
                      <a:lnTo>
                        <a:pt x="1201" y="710"/>
                      </a:lnTo>
                      <a:lnTo>
                        <a:pt x="1202" y="710"/>
                      </a:lnTo>
                      <a:lnTo>
                        <a:pt x="1202" y="711"/>
                      </a:lnTo>
                      <a:lnTo>
                        <a:pt x="1202" y="712"/>
                      </a:lnTo>
                      <a:lnTo>
                        <a:pt x="1201" y="712"/>
                      </a:lnTo>
                      <a:lnTo>
                        <a:pt x="1201" y="711"/>
                      </a:lnTo>
                      <a:lnTo>
                        <a:pt x="1201" y="712"/>
                      </a:lnTo>
                      <a:lnTo>
                        <a:pt x="1201" y="711"/>
                      </a:lnTo>
                      <a:lnTo>
                        <a:pt x="1200" y="711"/>
                      </a:lnTo>
                      <a:lnTo>
                        <a:pt x="1200" y="710"/>
                      </a:lnTo>
                      <a:lnTo>
                        <a:pt x="1199" y="709"/>
                      </a:lnTo>
                      <a:lnTo>
                        <a:pt x="1200" y="710"/>
                      </a:lnTo>
                      <a:lnTo>
                        <a:pt x="1200" y="709"/>
                      </a:lnTo>
                      <a:lnTo>
                        <a:pt x="1201" y="709"/>
                      </a:lnTo>
                      <a:lnTo>
                        <a:pt x="1201" y="708"/>
                      </a:lnTo>
                      <a:lnTo>
                        <a:pt x="1200" y="708"/>
                      </a:lnTo>
                      <a:lnTo>
                        <a:pt x="1199" y="708"/>
                      </a:lnTo>
                      <a:lnTo>
                        <a:pt x="1198" y="707"/>
                      </a:lnTo>
                      <a:lnTo>
                        <a:pt x="1197" y="707"/>
                      </a:lnTo>
                      <a:lnTo>
                        <a:pt x="1198" y="707"/>
                      </a:lnTo>
                      <a:close/>
                      <a:moveTo>
                        <a:pt x="1623" y="626"/>
                      </a:moveTo>
                      <a:lnTo>
                        <a:pt x="1624" y="626"/>
                      </a:lnTo>
                      <a:lnTo>
                        <a:pt x="1624" y="627"/>
                      </a:lnTo>
                      <a:lnTo>
                        <a:pt x="1623" y="628"/>
                      </a:lnTo>
                      <a:lnTo>
                        <a:pt x="1622" y="628"/>
                      </a:lnTo>
                      <a:lnTo>
                        <a:pt x="1621" y="628"/>
                      </a:lnTo>
                      <a:lnTo>
                        <a:pt x="1621" y="627"/>
                      </a:lnTo>
                      <a:lnTo>
                        <a:pt x="1622" y="627"/>
                      </a:lnTo>
                      <a:lnTo>
                        <a:pt x="1622" y="626"/>
                      </a:lnTo>
                      <a:lnTo>
                        <a:pt x="1621" y="627"/>
                      </a:lnTo>
                      <a:lnTo>
                        <a:pt x="1621" y="626"/>
                      </a:lnTo>
                      <a:lnTo>
                        <a:pt x="1620" y="626"/>
                      </a:lnTo>
                      <a:lnTo>
                        <a:pt x="1620" y="624"/>
                      </a:lnTo>
                      <a:lnTo>
                        <a:pt x="1621" y="624"/>
                      </a:lnTo>
                      <a:lnTo>
                        <a:pt x="1622" y="624"/>
                      </a:lnTo>
                      <a:lnTo>
                        <a:pt x="1623" y="624"/>
                      </a:lnTo>
                      <a:lnTo>
                        <a:pt x="1623" y="626"/>
                      </a:lnTo>
                      <a:close/>
                      <a:moveTo>
                        <a:pt x="1624" y="536"/>
                      </a:moveTo>
                      <a:lnTo>
                        <a:pt x="1625" y="536"/>
                      </a:lnTo>
                      <a:lnTo>
                        <a:pt x="1625" y="537"/>
                      </a:lnTo>
                      <a:lnTo>
                        <a:pt x="1625" y="538"/>
                      </a:lnTo>
                      <a:lnTo>
                        <a:pt x="1624" y="538"/>
                      </a:lnTo>
                      <a:lnTo>
                        <a:pt x="1623" y="539"/>
                      </a:lnTo>
                      <a:lnTo>
                        <a:pt x="1622" y="540"/>
                      </a:lnTo>
                      <a:lnTo>
                        <a:pt x="1622" y="539"/>
                      </a:lnTo>
                      <a:lnTo>
                        <a:pt x="1622" y="538"/>
                      </a:lnTo>
                      <a:lnTo>
                        <a:pt x="1622" y="537"/>
                      </a:lnTo>
                      <a:lnTo>
                        <a:pt x="1623" y="537"/>
                      </a:lnTo>
                      <a:lnTo>
                        <a:pt x="1623" y="536"/>
                      </a:lnTo>
                      <a:lnTo>
                        <a:pt x="1624" y="536"/>
                      </a:lnTo>
                      <a:close/>
                      <a:moveTo>
                        <a:pt x="1290" y="566"/>
                      </a:moveTo>
                      <a:lnTo>
                        <a:pt x="1289" y="567"/>
                      </a:lnTo>
                      <a:lnTo>
                        <a:pt x="1288" y="568"/>
                      </a:lnTo>
                      <a:lnTo>
                        <a:pt x="1288" y="567"/>
                      </a:lnTo>
                      <a:lnTo>
                        <a:pt x="1288" y="566"/>
                      </a:lnTo>
                      <a:lnTo>
                        <a:pt x="1287" y="566"/>
                      </a:lnTo>
                      <a:lnTo>
                        <a:pt x="1287" y="565"/>
                      </a:lnTo>
                      <a:lnTo>
                        <a:pt x="1288" y="566"/>
                      </a:lnTo>
                      <a:lnTo>
                        <a:pt x="1288" y="565"/>
                      </a:lnTo>
                      <a:lnTo>
                        <a:pt x="1289" y="564"/>
                      </a:lnTo>
                      <a:lnTo>
                        <a:pt x="1289" y="563"/>
                      </a:lnTo>
                      <a:lnTo>
                        <a:pt x="1289" y="564"/>
                      </a:lnTo>
                      <a:lnTo>
                        <a:pt x="1290" y="564"/>
                      </a:lnTo>
                      <a:lnTo>
                        <a:pt x="1290" y="565"/>
                      </a:lnTo>
                      <a:lnTo>
                        <a:pt x="1290" y="566"/>
                      </a:lnTo>
                      <a:close/>
                      <a:moveTo>
                        <a:pt x="1390" y="418"/>
                      </a:moveTo>
                      <a:lnTo>
                        <a:pt x="1390" y="420"/>
                      </a:lnTo>
                      <a:lnTo>
                        <a:pt x="1389" y="421"/>
                      </a:lnTo>
                      <a:lnTo>
                        <a:pt x="1388" y="420"/>
                      </a:lnTo>
                      <a:lnTo>
                        <a:pt x="1387" y="420"/>
                      </a:lnTo>
                      <a:lnTo>
                        <a:pt x="1387" y="418"/>
                      </a:lnTo>
                      <a:lnTo>
                        <a:pt x="1388" y="418"/>
                      </a:lnTo>
                      <a:lnTo>
                        <a:pt x="1388" y="420"/>
                      </a:lnTo>
                      <a:lnTo>
                        <a:pt x="1389" y="420"/>
                      </a:lnTo>
                      <a:lnTo>
                        <a:pt x="1389" y="418"/>
                      </a:lnTo>
                      <a:lnTo>
                        <a:pt x="1388" y="416"/>
                      </a:lnTo>
                      <a:lnTo>
                        <a:pt x="1388" y="415"/>
                      </a:lnTo>
                      <a:lnTo>
                        <a:pt x="1389" y="415"/>
                      </a:lnTo>
                      <a:lnTo>
                        <a:pt x="1389" y="416"/>
                      </a:lnTo>
                      <a:lnTo>
                        <a:pt x="1390" y="417"/>
                      </a:lnTo>
                      <a:lnTo>
                        <a:pt x="1390" y="418"/>
                      </a:lnTo>
                      <a:close/>
                      <a:moveTo>
                        <a:pt x="1369" y="528"/>
                      </a:moveTo>
                      <a:lnTo>
                        <a:pt x="1370" y="529"/>
                      </a:lnTo>
                      <a:lnTo>
                        <a:pt x="1371" y="529"/>
                      </a:lnTo>
                      <a:lnTo>
                        <a:pt x="1370" y="529"/>
                      </a:lnTo>
                      <a:lnTo>
                        <a:pt x="1369" y="529"/>
                      </a:lnTo>
                      <a:lnTo>
                        <a:pt x="1368" y="529"/>
                      </a:lnTo>
                      <a:lnTo>
                        <a:pt x="1368" y="530"/>
                      </a:lnTo>
                      <a:lnTo>
                        <a:pt x="1367" y="530"/>
                      </a:lnTo>
                      <a:lnTo>
                        <a:pt x="1368" y="531"/>
                      </a:lnTo>
                      <a:lnTo>
                        <a:pt x="1367" y="531"/>
                      </a:lnTo>
                      <a:lnTo>
                        <a:pt x="1367" y="532"/>
                      </a:lnTo>
                      <a:lnTo>
                        <a:pt x="1366" y="532"/>
                      </a:lnTo>
                      <a:lnTo>
                        <a:pt x="1365" y="532"/>
                      </a:lnTo>
                      <a:lnTo>
                        <a:pt x="1366" y="532"/>
                      </a:lnTo>
                      <a:lnTo>
                        <a:pt x="1367" y="531"/>
                      </a:lnTo>
                      <a:lnTo>
                        <a:pt x="1366" y="531"/>
                      </a:lnTo>
                      <a:lnTo>
                        <a:pt x="1365" y="532"/>
                      </a:lnTo>
                      <a:lnTo>
                        <a:pt x="1366" y="531"/>
                      </a:lnTo>
                      <a:lnTo>
                        <a:pt x="1366" y="530"/>
                      </a:lnTo>
                      <a:lnTo>
                        <a:pt x="1367" y="530"/>
                      </a:lnTo>
                      <a:lnTo>
                        <a:pt x="1367" y="529"/>
                      </a:lnTo>
                      <a:lnTo>
                        <a:pt x="1368" y="528"/>
                      </a:lnTo>
                      <a:lnTo>
                        <a:pt x="1369" y="528"/>
                      </a:lnTo>
                      <a:close/>
                      <a:moveTo>
                        <a:pt x="1318" y="537"/>
                      </a:moveTo>
                      <a:lnTo>
                        <a:pt x="1319" y="537"/>
                      </a:lnTo>
                      <a:lnTo>
                        <a:pt x="1319" y="538"/>
                      </a:lnTo>
                      <a:lnTo>
                        <a:pt x="1318" y="538"/>
                      </a:lnTo>
                      <a:lnTo>
                        <a:pt x="1318" y="539"/>
                      </a:lnTo>
                      <a:lnTo>
                        <a:pt x="1317" y="539"/>
                      </a:lnTo>
                      <a:lnTo>
                        <a:pt x="1316" y="539"/>
                      </a:lnTo>
                      <a:lnTo>
                        <a:pt x="1315" y="539"/>
                      </a:lnTo>
                      <a:lnTo>
                        <a:pt x="1315" y="538"/>
                      </a:lnTo>
                      <a:lnTo>
                        <a:pt x="1316" y="538"/>
                      </a:lnTo>
                      <a:lnTo>
                        <a:pt x="1316" y="537"/>
                      </a:lnTo>
                      <a:lnTo>
                        <a:pt x="1317" y="537"/>
                      </a:lnTo>
                      <a:lnTo>
                        <a:pt x="1318" y="537"/>
                      </a:lnTo>
                      <a:close/>
                      <a:moveTo>
                        <a:pt x="1626" y="613"/>
                      </a:moveTo>
                      <a:lnTo>
                        <a:pt x="1627" y="613"/>
                      </a:lnTo>
                      <a:lnTo>
                        <a:pt x="1627" y="614"/>
                      </a:lnTo>
                      <a:lnTo>
                        <a:pt x="1626" y="614"/>
                      </a:lnTo>
                      <a:lnTo>
                        <a:pt x="1626" y="615"/>
                      </a:lnTo>
                      <a:lnTo>
                        <a:pt x="1626" y="616"/>
                      </a:lnTo>
                      <a:lnTo>
                        <a:pt x="1625" y="616"/>
                      </a:lnTo>
                      <a:lnTo>
                        <a:pt x="1624" y="616"/>
                      </a:lnTo>
                      <a:lnTo>
                        <a:pt x="1623" y="616"/>
                      </a:lnTo>
                      <a:lnTo>
                        <a:pt x="1623" y="615"/>
                      </a:lnTo>
                      <a:lnTo>
                        <a:pt x="1624" y="615"/>
                      </a:lnTo>
                      <a:lnTo>
                        <a:pt x="1624" y="614"/>
                      </a:lnTo>
                      <a:lnTo>
                        <a:pt x="1625" y="614"/>
                      </a:lnTo>
                      <a:lnTo>
                        <a:pt x="1626" y="613"/>
                      </a:lnTo>
                      <a:close/>
                      <a:moveTo>
                        <a:pt x="1215" y="675"/>
                      </a:moveTo>
                      <a:lnTo>
                        <a:pt x="1214" y="675"/>
                      </a:lnTo>
                      <a:lnTo>
                        <a:pt x="1214" y="677"/>
                      </a:lnTo>
                      <a:lnTo>
                        <a:pt x="1213" y="677"/>
                      </a:lnTo>
                      <a:lnTo>
                        <a:pt x="1212" y="677"/>
                      </a:lnTo>
                      <a:lnTo>
                        <a:pt x="1212" y="678"/>
                      </a:lnTo>
                      <a:lnTo>
                        <a:pt x="1212" y="677"/>
                      </a:lnTo>
                      <a:lnTo>
                        <a:pt x="1212" y="675"/>
                      </a:lnTo>
                      <a:lnTo>
                        <a:pt x="1213" y="675"/>
                      </a:lnTo>
                      <a:lnTo>
                        <a:pt x="1214" y="674"/>
                      </a:lnTo>
                      <a:lnTo>
                        <a:pt x="1214" y="673"/>
                      </a:lnTo>
                      <a:lnTo>
                        <a:pt x="1213" y="673"/>
                      </a:lnTo>
                      <a:lnTo>
                        <a:pt x="1214" y="673"/>
                      </a:lnTo>
                      <a:lnTo>
                        <a:pt x="1214" y="672"/>
                      </a:lnTo>
                      <a:lnTo>
                        <a:pt x="1214" y="673"/>
                      </a:lnTo>
                      <a:lnTo>
                        <a:pt x="1215" y="673"/>
                      </a:lnTo>
                      <a:lnTo>
                        <a:pt x="1215" y="674"/>
                      </a:lnTo>
                      <a:lnTo>
                        <a:pt x="1215" y="675"/>
                      </a:lnTo>
                      <a:close/>
                      <a:moveTo>
                        <a:pt x="1593" y="611"/>
                      </a:moveTo>
                      <a:lnTo>
                        <a:pt x="1592" y="611"/>
                      </a:lnTo>
                      <a:lnTo>
                        <a:pt x="1592" y="610"/>
                      </a:lnTo>
                      <a:lnTo>
                        <a:pt x="1592" y="609"/>
                      </a:lnTo>
                      <a:lnTo>
                        <a:pt x="1593" y="608"/>
                      </a:lnTo>
                      <a:lnTo>
                        <a:pt x="1593" y="607"/>
                      </a:lnTo>
                      <a:lnTo>
                        <a:pt x="1594" y="606"/>
                      </a:lnTo>
                      <a:lnTo>
                        <a:pt x="1594" y="605"/>
                      </a:lnTo>
                      <a:lnTo>
                        <a:pt x="1594" y="606"/>
                      </a:lnTo>
                      <a:lnTo>
                        <a:pt x="1595" y="606"/>
                      </a:lnTo>
                      <a:lnTo>
                        <a:pt x="1594" y="607"/>
                      </a:lnTo>
                      <a:lnTo>
                        <a:pt x="1594" y="608"/>
                      </a:lnTo>
                      <a:lnTo>
                        <a:pt x="1594" y="609"/>
                      </a:lnTo>
                      <a:lnTo>
                        <a:pt x="1593" y="609"/>
                      </a:lnTo>
                      <a:lnTo>
                        <a:pt x="1593" y="610"/>
                      </a:lnTo>
                      <a:lnTo>
                        <a:pt x="1593" y="611"/>
                      </a:lnTo>
                      <a:close/>
                      <a:moveTo>
                        <a:pt x="1628" y="534"/>
                      </a:moveTo>
                      <a:lnTo>
                        <a:pt x="1627" y="536"/>
                      </a:lnTo>
                      <a:lnTo>
                        <a:pt x="1626" y="536"/>
                      </a:lnTo>
                      <a:lnTo>
                        <a:pt x="1625" y="536"/>
                      </a:lnTo>
                      <a:lnTo>
                        <a:pt x="1624" y="534"/>
                      </a:lnTo>
                      <a:lnTo>
                        <a:pt x="1625" y="534"/>
                      </a:lnTo>
                      <a:lnTo>
                        <a:pt x="1624" y="534"/>
                      </a:lnTo>
                      <a:lnTo>
                        <a:pt x="1625" y="534"/>
                      </a:lnTo>
                      <a:lnTo>
                        <a:pt x="1625" y="533"/>
                      </a:lnTo>
                      <a:lnTo>
                        <a:pt x="1626" y="533"/>
                      </a:lnTo>
                      <a:lnTo>
                        <a:pt x="1627" y="533"/>
                      </a:lnTo>
                      <a:lnTo>
                        <a:pt x="1628" y="533"/>
                      </a:lnTo>
                      <a:lnTo>
                        <a:pt x="1628" y="534"/>
                      </a:lnTo>
                      <a:close/>
                      <a:moveTo>
                        <a:pt x="1339" y="473"/>
                      </a:moveTo>
                      <a:lnTo>
                        <a:pt x="1340" y="473"/>
                      </a:lnTo>
                      <a:lnTo>
                        <a:pt x="1339" y="473"/>
                      </a:lnTo>
                      <a:lnTo>
                        <a:pt x="1339" y="474"/>
                      </a:lnTo>
                      <a:lnTo>
                        <a:pt x="1339" y="475"/>
                      </a:lnTo>
                      <a:lnTo>
                        <a:pt x="1338" y="476"/>
                      </a:lnTo>
                      <a:lnTo>
                        <a:pt x="1338" y="477"/>
                      </a:lnTo>
                      <a:lnTo>
                        <a:pt x="1337" y="477"/>
                      </a:lnTo>
                      <a:lnTo>
                        <a:pt x="1338" y="476"/>
                      </a:lnTo>
                      <a:lnTo>
                        <a:pt x="1338" y="475"/>
                      </a:lnTo>
                      <a:lnTo>
                        <a:pt x="1338" y="474"/>
                      </a:lnTo>
                      <a:lnTo>
                        <a:pt x="1337" y="474"/>
                      </a:lnTo>
                      <a:lnTo>
                        <a:pt x="1338" y="473"/>
                      </a:lnTo>
                      <a:lnTo>
                        <a:pt x="1338" y="472"/>
                      </a:lnTo>
                      <a:lnTo>
                        <a:pt x="1337" y="472"/>
                      </a:lnTo>
                      <a:lnTo>
                        <a:pt x="1338" y="472"/>
                      </a:lnTo>
                      <a:lnTo>
                        <a:pt x="1339" y="473"/>
                      </a:lnTo>
                      <a:close/>
                      <a:moveTo>
                        <a:pt x="1632" y="544"/>
                      </a:moveTo>
                      <a:lnTo>
                        <a:pt x="1632" y="545"/>
                      </a:lnTo>
                      <a:lnTo>
                        <a:pt x="1631" y="546"/>
                      </a:lnTo>
                      <a:lnTo>
                        <a:pt x="1632" y="547"/>
                      </a:lnTo>
                      <a:lnTo>
                        <a:pt x="1631" y="547"/>
                      </a:lnTo>
                      <a:lnTo>
                        <a:pt x="1629" y="547"/>
                      </a:lnTo>
                      <a:lnTo>
                        <a:pt x="1629" y="546"/>
                      </a:lnTo>
                      <a:lnTo>
                        <a:pt x="1628" y="545"/>
                      </a:lnTo>
                      <a:lnTo>
                        <a:pt x="1629" y="544"/>
                      </a:lnTo>
                      <a:lnTo>
                        <a:pt x="1631" y="544"/>
                      </a:lnTo>
                      <a:lnTo>
                        <a:pt x="1632" y="544"/>
                      </a:lnTo>
                      <a:close/>
                      <a:moveTo>
                        <a:pt x="1606" y="607"/>
                      </a:moveTo>
                      <a:lnTo>
                        <a:pt x="1606" y="608"/>
                      </a:lnTo>
                      <a:lnTo>
                        <a:pt x="1606" y="609"/>
                      </a:lnTo>
                      <a:lnTo>
                        <a:pt x="1606" y="610"/>
                      </a:lnTo>
                      <a:lnTo>
                        <a:pt x="1606" y="611"/>
                      </a:lnTo>
                      <a:lnTo>
                        <a:pt x="1606" y="610"/>
                      </a:lnTo>
                      <a:lnTo>
                        <a:pt x="1605" y="610"/>
                      </a:lnTo>
                      <a:lnTo>
                        <a:pt x="1606" y="610"/>
                      </a:lnTo>
                      <a:lnTo>
                        <a:pt x="1605" y="610"/>
                      </a:lnTo>
                      <a:lnTo>
                        <a:pt x="1605" y="609"/>
                      </a:lnTo>
                      <a:lnTo>
                        <a:pt x="1603" y="609"/>
                      </a:lnTo>
                      <a:lnTo>
                        <a:pt x="1603" y="608"/>
                      </a:lnTo>
                      <a:lnTo>
                        <a:pt x="1605" y="607"/>
                      </a:lnTo>
                      <a:lnTo>
                        <a:pt x="1606" y="607"/>
                      </a:lnTo>
                      <a:close/>
                      <a:moveTo>
                        <a:pt x="1631" y="557"/>
                      </a:moveTo>
                      <a:lnTo>
                        <a:pt x="1632" y="557"/>
                      </a:lnTo>
                      <a:lnTo>
                        <a:pt x="1633" y="557"/>
                      </a:lnTo>
                      <a:lnTo>
                        <a:pt x="1632" y="557"/>
                      </a:lnTo>
                      <a:lnTo>
                        <a:pt x="1633" y="558"/>
                      </a:lnTo>
                      <a:lnTo>
                        <a:pt x="1632" y="559"/>
                      </a:lnTo>
                      <a:lnTo>
                        <a:pt x="1632" y="558"/>
                      </a:lnTo>
                      <a:lnTo>
                        <a:pt x="1631" y="558"/>
                      </a:lnTo>
                      <a:lnTo>
                        <a:pt x="1629" y="558"/>
                      </a:lnTo>
                      <a:lnTo>
                        <a:pt x="1629" y="559"/>
                      </a:lnTo>
                      <a:lnTo>
                        <a:pt x="1631" y="559"/>
                      </a:lnTo>
                      <a:lnTo>
                        <a:pt x="1632" y="559"/>
                      </a:lnTo>
                      <a:lnTo>
                        <a:pt x="1633" y="559"/>
                      </a:lnTo>
                      <a:lnTo>
                        <a:pt x="1632" y="559"/>
                      </a:lnTo>
                      <a:lnTo>
                        <a:pt x="1631" y="559"/>
                      </a:lnTo>
                      <a:lnTo>
                        <a:pt x="1629" y="559"/>
                      </a:lnTo>
                      <a:lnTo>
                        <a:pt x="1627" y="559"/>
                      </a:lnTo>
                      <a:lnTo>
                        <a:pt x="1627" y="558"/>
                      </a:lnTo>
                      <a:lnTo>
                        <a:pt x="1627" y="559"/>
                      </a:lnTo>
                      <a:lnTo>
                        <a:pt x="1628" y="558"/>
                      </a:lnTo>
                      <a:lnTo>
                        <a:pt x="1629" y="558"/>
                      </a:lnTo>
                      <a:lnTo>
                        <a:pt x="1629" y="557"/>
                      </a:lnTo>
                      <a:lnTo>
                        <a:pt x="1631" y="557"/>
                      </a:lnTo>
                      <a:lnTo>
                        <a:pt x="1631" y="558"/>
                      </a:lnTo>
                      <a:lnTo>
                        <a:pt x="1631" y="557"/>
                      </a:lnTo>
                      <a:close/>
                      <a:moveTo>
                        <a:pt x="1214" y="703"/>
                      </a:moveTo>
                      <a:lnTo>
                        <a:pt x="1215" y="703"/>
                      </a:lnTo>
                      <a:lnTo>
                        <a:pt x="1215" y="704"/>
                      </a:lnTo>
                      <a:lnTo>
                        <a:pt x="1216" y="704"/>
                      </a:lnTo>
                      <a:lnTo>
                        <a:pt x="1216" y="703"/>
                      </a:lnTo>
                      <a:lnTo>
                        <a:pt x="1218" y="703"/>
                      </a:lnTo>
                      <a:lnTo>
                        <a:pt x="1219" y="703"/>
                      </a:lnTo>
                      <a:lnTo>
                        <a:pt x="1219" y="704"/>
                      </a:lnTo>
                      <a:lnTo>
                        <a:pt x="1220" y="704"/>
                      </a:lnTo>
                      <a:lnTo>
                        <a:pt x="1220" y="705"/>
                      </a:lnTo>
                      <a:lnTo>
                        <a:pt x="1219" y="705"/>
                      </a:lnTo>
                      <a:lnTo>
                        <a:pt x="1218" y="705"/>
                      </a:lnTo>
                      <a:lnTo>
                        <a:pt x="1216" y="704"/>
                      </a:lnTo>
                      <a:lnTo>
                        <a:pt x="1215" y="704"/>
                      </a:lnTo>
                      <a:lnTo>
                        <a:pt x="1214" y="703"/>
                      </a:lnTo>
                      <a:lnTo>
                        <a:pt x="1213" y="701"/>
                      </a:lnTo>
                      <a:lnTo>
                        <a:pt x="1212" y="701"/>
                      </a:lnTo>
                      <a:lnTo>
                        <a:pt x="1213" y="701"/>
                      </a:lnTo>
                      <a:lnTo>
                        <a:pt x="1214" y="701"/>
                      </a:lnTo>
                      <a:lnTo>
                        <a:pt x="1214" y="703"/>
                      </a:lnTo>
                      <a:close/>
                      <a:moveTo>
                        <a:pt x="1234" y="640"/>
                      </a:moveTo>
                      <a:lnTo>
                        <a:pt x="1235" y="640"/>
                      </a:lnTo>
                      <a:lnTo>
                        <a:pt x="1235" y="641"/>
                      </a:lnTo>
                      <a:lnTo>
                        <a:pt x="1236" y="641"/>
                      </a:lnTo>
                      <a:lnTo>
                        <a:pt x="1236" y="642"/>
                      </a:lnTo>
                      <a:lnTo>
                        <a:pt x="1237" y="642"/>
                      </a:lnTo>
                      <a:lnTo>
                        <a:pt x="1237" y="643"/>
                      </a:lnTo>
                      <a:lnTo>
                        <a:pt x="1236" y="643"/>
                      </a:lnTo>
                      <a:lnTo>
                        <a:pt x="1235" y="643"/>
                      </a:lnTo>
                      <a:lnTo>
                        <a:pt x="1235" y="642"/>
                      </a:lnTo>
                      <a:lnTo>
                        <a:pt x="1234" y="642"/>
                      </a:lnTo>
                      <a:lnTo>
                        <a:pt x="1233" y="641"/>
                      </a:lnTo>
                      <a:lnTo>
                        <a:pt x="1234" y="642"/>
                      </a:lnTo>
                      <a:lnTo>
                        <a:pt x="1234" y="641"/>
                      </a:lnTo>
                      <a:lnTo>
                        <a:pt x="1233" y="641"/>
                      </a:lnTo>
                      <a:lnTo>
                        <a:pt x="1232" y="640"/>
                      </a:lnTo>
                      <a:lnTo>
                        <a:pt x="1233" y="640"/>
                      </a:lnTo>
                      <a:lnTo>
                        <a:pt x="1234" y="640"/>
                      </a:lnTo>
                      <a:close/>
                      <a:moveTo>
                        <a:pt x="1608" y="659"/>
                      </a:moveTo>
                      <a:lnTo>
                        <a:pt x="1609" y="659"/>
                      </a:lnTo>
                      <a:lnTo>
                        <a:pt x="1610" y="659"/>
                      </a:lnTo>
                      <a:lnTo>
                        <a:pt x="1609" y="660"/>
                      </a:lnTo>
                      <a:lnTo>
                        <a:pt x="1609" y="661"/>
                      </a:lnTo>
                      <a:lnTo>
                        <a:pt x="1608" y="661"/>
                      </a:lnTo>
                      <a:lnTo>
                        <a:pt x="1608" y="662"/>
                      </a:lnTo>
                      <a:lnTo>
                        <a:pt x="1608" y="661"/>
                      </a:lnTo>
                      <a:lnTo>
                        <a:pt x="1607" y="661"/>
                      </a:lnTo>
                      <a:lnTo>
                        <a:pt x="1608" y="660"/>
                      </a:lnTo>
                      <a:lnTo>
                        <a:pt x="1607" y="660"/>
                      </a:lnTo>
                      <a:lnTo>
                        <a:pt x="1606" y="660"/>
                      </a:lnTo>
                      <a:lnTo>
                        <a:pt x="1606" y="659"/>
                      </a:lnTo>
                      <a:lnTo>
                        <a:pt x="1607" y="659"/>
                      </a:lnTo>
                      <a:lnTo>
                        <a:pt x="1608" y="659"/>
                      </a:lnTo>
                      <a:close/>
                      <a:moveTo>
                        <a:pt x="1631" y="587"/>
                      </a:moveTo>
                      <a:lnTo>
                        <a:pt x="1631" y="588"/>
                      </a:lnTo>
                      <a:lnTo>
                        <a:pt x="1631" y="589"/>
                      </a:lnTo>
                      <a:lnTo>
                        <a:pt x="1629" y="589"/>
                      </a:lnTo>
                      <a:lnTo>
                        <a:pt x="1628" y="589"/>
                      </a:lnTo>
                      <a:lnTo>
                        <a:pt x="1627" y="588"/>
                      </a:lnTo>
                      <a:lnTo>
                        <a:pt x="1628" y="588"/>
                      </a:lnTo>
                      <a:lnTo>
                        <a:pt x="1627" y="588"/>
                      </a:lnTo>
                      <a:lnTo>
                        <a:pt x="1627" y="587"/>
                      </a:lnTo>
                      <a:lnTo>
                        <a:pt x="1628" y="587"/>
                      </a:lnTo>
                      <a:lnTo>
                        <a:pt x="1629" y="587"/>
                      </a:lnTo>
                      <a:lnTo>
                        <a:pt x="1631" y="587"/>
                      </a:lnTo>
                      <a:close/>
                      <a:moveTo>
                        <a:pt x="1288" y="539"/>
                      </a:moveTo>
                      <a:lnTo>
                        <a:pt x="1288" y="540"/>
                      </a:lnTo>
                      <a:lnTo>
                        <a:pt x="1288" y="541"/>
                      </a:lnTo>
                      <a:lnTo>
                        <a:pt x="1287" y="541"/>
                      </a:lnTo>
                      <a:lnTo>
                        <a:pt x="1286" y="541"/>
                      </a:lnTo>
                      <a:lnTo>
                        <a:pt x="1285" y="540"/>
                      </a:lnTo>
                      <a:lnTo>
                        <a:pt x="1286" y="540"/>
                      </a:lnTo>
                      <a:lnTo>
                        <a:pt x="1287" y="540"/>
                      </a:lnTo>
                      <a:lnTo>
                        <a:pt x="1286" y="540"/>
                      </a:lnTo>
                      <a:lnTo>
                        <a:pt x="1286" y="539"/>
                      </a:lnTo>
                      <a:lnTo>
                        <a:pt x="1288" y="539"/>
                      </a:lnTo>
                      <a:close/>
                      <a:moveTo>
                        <a:pt x="1213" y="704"/>
                      </a:moveTo>
                      <a:lnTo>
                        <a:pt x="1212" y="704"/>
                      </a:lnTo>
                      <a:lnTo>
                        <a:pt x="1212" y="703"/>
                      </a:lnTo>
                      <a:lnTo>
                        <a:pt x="1211" y="703"/>
                      </a:lnTo>
                      <a:lnTo>
                        <a:pt x="1210" y="701"/>
                      </a:lnTo>
                      <a:lnTo>
                        <a:pt x="1209" y="701"/>
                      </a:lnTo>
                      <a:lnTo>
                        <a:pt x="1210" y="701"/>
                      </a:lnTo>
                      <a:lnTo>
                        <a:pt x="1210" y="700"/>
                      </a:lnTo>
                      <a:lnTo>
                        <a:pt x="1211" y="700"/>
                      </a:lnTo>
                      <a:lnTo>
                        <a:pt x="1212" y="701"/>
                      </a:lnTo>
                      <a:lnTo>
                        <a:pt x="1213" y="703"/>
                      </a:lnTo>
                      <a:lnTo>
                        <a:pt x="1212" y="703"/>
                      </a:lnTo>
                      <a:lnTo>
                        <a:pt x="1213" y="704"/>
                      </a:lnTo>
                      <a:close/>
                      <a:moveTo>
                        <a:pt x="1348" y="545"/>
                      </a:moveTo>
                      <a:lnTo>
                        <a:pt x="1349" y="545"/>
                      </a:lnTo>
                      <a:lnTo>
                        <a:pt x="1349" y="546"/>
                      </a:lnTo>
                      <a:lnTo>
                        <a:pt x="1350" y="546"/>
                      </a:lnTo>
                      <a:lnTo>
                        <a:pt x="1350" y="547"/>
                      </a:lnTo>
                      <a:lnTo>
                        <a:pt x="1349" y="547"/>
                      </a:lnTo>
                      <a:lnTo>
                        <a:pt x="1348" y="547"/>
                      </a:lnTo>
                      <a:lnTo>
                        <a:pt x="1347" y="547"/>
                      </a:lnTo>
                      <a:lnTo>
                        <a:pt x="1345" y="547"/>
                      </a:lnTo>
                      <a:lnTo>
                        <a:pt x="1345" y="546"/>
                      </a:lnTo>
                      <a:lnTo>
                        <a:pt x="1345" y="545"/>
                      </a:lnTo>
                      <a:lnTo>
                        <a:pt x="1345" y="546"/>
                      </a:lnTo>
                      <a:lnTo>
                        <a:pt x="1347" y="546"/>
                      </a:lnTo>
                      <a:lnTo>
                        <a:pt x="1347" y="545"/>
                      </a:lnTo>
                      <a:lnTo>
                        <a:pt x="1348" y="546"/>
                      </a:lnTo>
                      <a:lnTo>
                        <a:pt x="1348" y="545"/>
                      </a:lnTo>
                      <a:close/>
                      <a:moveTo>
                        <a:pt x="1627" y="559"/>
                      </a:moveTo>
                      <a:lnTo>
                        <a:pt x="1628" y="559"/>
                      </a:lnTo>
                      <a:lnTo>
                        <a:pt x="1629" y="559"/>
                      </a:lnTo>
                      <a:lnTo>
                        <a:pt x="1629" y="560"/>
                      </a:lnTo>
                      <a:lnTo>
                        <a:pt x="1631" y="560"/>
                      </a:lnTo>
                      <a:lnTo>
                        <a:pt x="1632" y="560"/>
                      </a:lnTo>
                      <a:lnTo>
                        <a:pt x="1633" y="560"/>
                      </a:lnTo>
                      <a:lnTo>
                        <a:pt x="1633" y="562"/>
                      </a:lnTo>
                      <a:lnTo>
                        <a:pt x="1632" y="562"/>
                      </a:lnTo>
                      <a:lnTo>
                        <a:pt x="1631" y="562"/>
                      </a:lnTo>
                      <a:lnTo>
                        <a:pt x="1629" y="562"/>
                      </a:lnTo>
                      <a:lnTo>
                        <a:pt x="1628" y="560"/>
                      </a:lnTo>
                      <a:lnTo>
                        <a:pt x="1627" y="560"/>
                      </a:lnTo>
                      <a:lnTo>
                        <a:pt x="1627" y="559"/>
                      </a:lnTo>
                      <a:close/>
                      <a:moveTo>
                        <a:pt x="1626" y="524"/>
                      </a:moveTo>
                      <a:lnTo>
                        <a:pt x="1626" y="525"/>
                      </a:lnTo>
                      <a:lnTo>
                        <a:pt x="1625" y="525"/>
                      </a:lnTo>
                      <a:lnTo>
                        <a:pt x="1624" y="525"/>
                      </a:lnTo>
                      <a:lnTo>
                        <a:pt x="1623" y="526"/>
                      </a:lnTo>
                      <a:lnTo>
                        <a:pt x="1622" y="526"/>
                      </a:lnTo>
                      <a:lnTo>
                        <a:pt x="1622" y="525"/>
                      </a:lnTo>
                      <a:lnTo>
                        <a:pt x="1623" y="524"/>
                      </a:lnTo>
                      <a:lnTo>
                        <a:pt x="1623" y="525"/>
                      </a:lnTo>
                      <a:lnTo>
                        <a:pt x="1623" y="524"/>
                      </a:lnTo>
                      <a:lnTo>
                        <a:pt x="1624" y="524"/>
                      </a:lnTo>
                      <a:lnTo>
                        <a:pt x="1625" y="524"/>
                      </a:lnTo>
                      <a:lnTo>
                        <a:pt x="1626" y="524"/>
                      </a:lnTo>
                      <a:close/>
                      <a:moveTo>
                        <a:pt x="1164" y="719"/>
                      </a:moveTo>
                      <a:lnTo>
                        <a:pt x="1166" y="719"/>
                      </a:lnTo>
                      <a:lnTo>
                        <a:pt x="1167" y="719"/>
                      </a:lnTo>
                      <a:lnTo>
                        <a:pt x="1167" y="720"/>
                      </a:lnTo>
                      <a:lnTo>
                        <a:pt x="1166" y="720"/>
                      </a:lnTo>
                      <a:lnTo>
                        <a:pt x="1164" y="720"/>
                      </a:lnTo>
                      <a:lnTo>
                        <a:pt x="1163" y="720"/>
                      </a:lnTo>
                      <a:lnTo>
                        <a:pt x="1163" y="719"/>
                      </a:lnTo>
                      <a:lnTo>
                        <a:pt x="1163" y="718"/>
                      </a:lnTo>
                      <a:lnTo>
                        <a:pt x="1164" y="718"/>
                      </a:lnTo>
                      <a:lnTo>
                        <a:pt x="1164" y="719"/>
                      </a:lnTo>
                      <a:close/>
                      <a:moveTo>
                        <a:pt x="1410" y="484"/>
                      </a:moveTo>
                      <a:lnTo>
                        <a:pt x="1412" y="484"/>
                      </a:lnTo>
                      <a:lnTo>
                        <a:pt x="1410" y="485"/>
                      </a:lnTo>
                      <a:lnTo>
                        <a:pt x="1408" y="488"/>
                      </a:lnTo>
                      <a:lnTo>
                        <a:pt x="1407" y="488"/>
                      </a:lnTo>
                      <a:lnTo>
                        <a:pt x="1407" y="487"/>
                      </a:lnTo>
                      <a:lnTo>
                        <a:pt x="1407" y="486"/>
                      </a:lnTo>
                      <a:lnTo>
                        <a:pt x="1408" y="486"/>
                      </a:lnTo>
                      <a:lnTo>
                        <a:pt x="1409" y="486"/>
                      </a:lnTo>
                      <a:lnTo>
                        <a:pt x="1409" y="485"/>
                      </a:lnTo>
                      <a:lnTo>
                        <a:pt x="1410" y="485"/>
                      </a:lnTo>
                      <a:lnTo>
                        <a:pt x="1410" y="484"/>
                      </a:lnTo>
                      <a:close/>
                      <a:moveTo>
                        <a:pt x="1255" y="501"/>
                      </a:moveTo>
                      <a:lnTo>
                        <a:pt x="1257" y="502"/>
                      </a:lnTo>
                      <a:lnTo>
                        <a:pt x="1258" y="502"/>
                      </a:lnTo>
                      <a:lnTo>
                        <a:pt x="1258" y="503"/>
                      </a:lnTo>
                      <a:lnTo>
                        <a:pt x="1257" y="503"/>
                      </a:lnTo>
                      <a:lnTo>
                        <a:pt x="1255" y="503"/>
                      </a:lnTo>
                      <a:lnTo>
                        <a:pt x="1254" y="502"/>
                      </a:lnTo>
                      <a:lnTo>
                        <a:pt x="1253" y="502"/>
                      </a:lnTo>
                      <a:lnTo>
                        <a:pt x="1252" y="503"/>
                      </a:lnTo>
                      <a:lnTo>
                        <a:pt x="1251" y="503"/>
                      </a:lnTo>
                      <a:lnTo>
                        <a:pt x="1251" y="502"/>
                      </a:lnTo>
                      <a:lnTo>
                        <a:pt x="1252" y="502"/>
                      </a:lnTo>
                      <a:lnTo>
                        <a:pt x="1253" y="502"/>
                      </a:lnTo>
                      <a:lnTo>
                        <a:pt x="1254" y="502"/>
                      </a:lnTo>
                      <a:lnTo>
                        <a:pt x="1254" y="501"/>
                      </a:lnTo>
                      <a:lnTo>
                        <a:pt x="1255" y="501"/>
                      </a:lnTo>
                      <a:close/>
                      <a:moveTo>
                        <a:pt x="1332" y="474"/>
                      </a:moveTo>
                      <a:lnTo>
                        <a:pt x="1332" y="475"/>
                      </a:lnTo>
                      <a:lnTo>
                        <a:pt x="1331" y="475"/>
                      </a:lnTo>
                      <a:lnTo>
                        <a:pt x="1331" y="476"/>
                      </a:lnTo>
                      <a:lnTo>
                        <a:pt x="1331" y="477"/>
                      </a:lnTo>
                      <a:lnTo>
                        <a:pt x="1330" y="476"/>
                      </a:lnTo>
                      <a:lnTo>
                        <a:pt x="1330" y="475"/>
                      </a:lnTo>
                      <a:lnTo>
                        <a:pt x="1329" y="475"/>
                      </a:lnTo>
                      <a:lnTo>
                        <a:pt x="1329" y="474"/>
                      </a:lnTo>
                      <a:lnTo>
                        <a:pt x="1330" y="474"/>
                      </a:lnTo>
                      <a:lnTo>
                        <a:pt x="1330" y="475"/>
                      </a:lnTo>
                      <a:lnTo>
                        <a:pt x="1331" y="475"/>
                      </a:lnTo>
                      <a:lnTo>
                        <a:pt x="1331" y="474"/>
                      </a:lnTo>
                      <a:lnTo>
                        <a:pt x="1332" y="474"/>
                      </a:lnTo>
                      <a:lnTo>
                        <a:pt x="1332" y="473"/>
                      </a:lnTo>
                      <a:lnTo>
                        <a:pt x="1332" y="474"/>
                      </a:lnTo>
                      <a:close/>
                      <a:moveTo>
                        <a:pt x="1402" y="539"/>
                      </a:moveTo>
                      <a:lnTo>
                        <a:pt x="1403" y="539"/>
                      </a:lnTo>
                      <a:lnTo>
                        <a:pt x="1403" y="540"/>
                      </a:lnTo>
                      <a:lnTo>
                        <a:pt x="1402" y="540"/>
                      </a:lnTo>
                      <a:lnTo>
                        <a:pt x="1401" y="540"/>
                      </a:lnTo>
                      <a:lnTo>
                        <a:pt x="1400" y="540"/>
                      </a:lnTo>
                      <a:lnTo>
                        <a:pt x="1399" y="540"/>
                      </a:lnTo>
                      <a:lnTo>
                        <a:pt x="1399" y="539"/>
                      </a:lnTo>
                      <a:lnTo>
                        <a:pt x="1400" y="539"/>
                      </a:lnTo>
                      <a:lnTo>
                        <a:pt x="1401" y="539"/>
                      </a:lnTo>
                      <a:lnTo>
                        <a:pt x="1401" y="538"/>
                      </a:lnTo>
                      <a:lnTo>
                        <a:pt x="1401" y="539"/>
                      </a:lnTo>
                      <a:lnTo>
                        <a:pt x="1402" y="539"/>
                      </a:lnTo>
                      <a:close/>
                      <a:moveTo>
                        <a:pt x="1141" y="707"/>
                      </a:moveTo>
                      <a:lnTo>
                        <a:pt x="1142" y="707"/>
                      </a:lnTo>
                      <a:lnTo>
                        <a:pt x="1141" y="708"/>
                      </a:lnTo>
                      <a:lnTo>
                        <a:pt x="1141" y="709"/>
                      </a:lnTo>
                      <a:lnTo>
                        <a:pt x="1141" y="710"/>
                      </a:lnTo>
                      <a:lnTo>
                        <a:pt x="1140" y="710"/>
                      </a:lnTo>
                      <a:lnTo>
                        <a:pt x="1138" y="709"/>
                      </a:lnTo>
                      <a:lnTo>
                        <a:pt x="1138" y="708"/>
                      </a:lnTo>
                      <a:lnTo>
                        <a:pt x="1138" y="709"/>
                      </a:lnTo>
                      <a:lnTo>
                        <a:pt x="1140" y="709"/>
                      </a:lnTo>
                      <a:lnTo>
                        <a:pt x="1140" y="708"/>
                      </a:lnTo>
                      <a:lnTo>
                        <a:pt x="1140" y="707"/>
                      </a:lnTo>
                      <a:lnTo>
                        <a:pt x="1141" y="706"/>
                      </a:lnTo>
                      <a:lnTo>
                        <a:pt x="1141" y="707"/>
                      </a:lnTo>
                      <a:close/>
                      <a:moveTo>
                        <a:pt x="1628" y="603"/>
                      </a:moveTo>
                      <a:lnTo>
                        <a:pt x="1628" y="604"/>
                      </a:lnTo>
                      <a:lnTo>
                        <a:pt x="1628" y="605"/>
                      </a:lnTo>
                      <a:lnTo>
                        <a:pt x="1627" y="605"/>
                      </a:lnTo>
                      <a:lnTo>
                        <a:pt x="1627" y="606"/>
                      </a:lnTo>
                      <a:lnTo>
                        <a:pt x="1626" y="605"/>
                      </a:lnTo>
                      <a:lnTo>
                        <a:pt x="1627" y="605"/>
                      </a:lnTo>
                      <a:lnTo>
                        <a:pt x="1627" y="604"/>
                      </a:lnTo>
                      <a:lnTo>
                        <a:pt x="1627" y="605"/>
                      </a:lnTo>
                      <a:lnTo>
                        <a:pt x="1626" y="605"/>
                      </a:lnTo>
                      <a:lnTo>
                        <a:pt x="1626" y="604"/>
                      </a:lnTo>
                      <a:lnTo>
                        <a:pt x="1626" y="603"/>
                      </a:lnTo>
                      <a:lnTo>
                        <a:pt x="1627" y="603"/>
                      </a:lnTo>
                      <a:lnTo>
                        <a:pt x="1628" y="603"/>
                      </a:lnTo>
                      <a:close/>
                      <a:moveTo>
                        <a:pt x="1405" y="465"/>
                      </a:moveTo>
                      <a:lnTo>
                        <a:pt x="1404" y="466"/>
                      </a:lnTo>
                      <a:lnTo>
                        <a:pt x="1403" y="466"/>
                      </a:lnTo>
                      <a:lnTo>
                        <a:pt x="1403" y="465"/>
                      </a:lnTo>
                      <a:lnTo>
                        <a:pt x="1404" y="464"/>
                      </a:lnTo>
                      <a:lnTo>
                        <a:pt x="1404" y="463"/>
                      </a:lnTo>
                      <a:lnTo>
                        <a:pt x="1404" y="462"/>
                      </a:lnTo>
                      <a:lnTo>
                        <a:pt x="1405" y="463"/>
                      </a:lnTo>
                      <a:lnTo>
                        <a:pt x="1405" y="464"/>
                      </a:lnTo>
                      <a:lnTo>
                        <a:pt x="1405" y="465"/>
                      </a:lnTo>
                      <a:close/>
                      <a:moveTo>
                        <a:pt x="1285" y="539"/>
                      </a:moveTo>
                      <a:lnTo>
                        <a:pt x="1285" y="540"/>
                      </a:lnTo>
                      <a:lnTo>
                        <a:pt x="1284" y="540"/>
                      </a:lnTo>
                      <a:lnTo>
                        <a:pt x="1283" y="540"/>
                      </a:lnTo>
                      <a:lnTo>
                        <a:pt x="1282" y="540"/>
                      </a:lnTo>
                      <a:lnTo>
                        <a:pt x="1283" y="539"/>
                      </a:lnTo>
                      <a:lnTo>
                        <a:pt x="1283" y="538"/>
                      </a:lnTo>
                      <a:lnTo>
                        <a:pt x="1283" y="537"/>
                      </a:lnTo>
                      <a:lnTo>
                        <a:pt x="1284" y="538"/>
                      </a:lnTo>
                      <a:lnTo>
                        <a:pt x="1285" y="538"/>
                      </a:lnTo>
                      <a:lnTo>
                        <a:pt x="1285" y="539"/>
                      </a:lnTo>
                      <a:close/>
                      <a:moveTo>
                        <a:pt x="1330" y="538"/>
                      </a:moveTo>
                      <a:lnTo>
                        <a:pt x="1329" y="538"/>
                      </a:lnTo>
                      <a:lnTo>
                        <a:pt x="1328" y="538"/>
                      </a:lnTo>
                      <a:lnTo>
                        <a:pt x="1328" y="537"/>
                      </a:lnTo>
                      <a:lnTo>
                        <a:pt x="1328" y="536"/>
                      </a:lnTo>
                      <a:lnTo>
                        <a:pt x="1329" y="536"/>
                      </a:lnTo>
                      <a:lnTo>
                        <a:pt x="1329" y="537"/>
                      </a:lnTo>
                      <a:lnTo>
                        <a:pt x="1330" y="537"/>
                      </a:lnTo>
                      <a:lnTo>
                        <a:pt x="1331" y="538"/>
                      </a:lnTo>
                      <a:lnTo>
                        <a:pt x="1330" y="538"/>
                      </a:lnTo>
                      <a:close/>
                      <a:moveTo>
                        <a:pt x="1360" y="601"/>
                      </a:moveTo>
                      <a:lnTo>
                        <a:pt x="1361" y="601"/>
                      </a:lnTo>
                      <a:lnTo>
                        <a:pt x="1361" y="602"/>
                      </a:lnTo>
                      <a:lnTo>
                        <a:pt x="1360" y="602"/>
                      </a:lnTo>
                      <a:lnTo>
                        <a:pt x="1358" y="601"/>
                      </a:lnTo>
                      <a:lnTo>
                        <a:pt x="1357" y="601"/>
                      </a:lnTo>
                      <a:lnTo>
                        <a:pt x="1356" y="601"/>
                      </a:lnTo>
                      <a:lnTo>
                        <a:pt x="1357" y="600"/>
                      </a:lnTo>
                      <a:lnTo>
                        <a:pt x="1358" y="598"/>
                      </a:lnTo>
                      <a:lnTo>
                        <a:pt x="1358" y="600"/>
                      </a:lnTo>
                      <a:lnTo>
                        <a:pt x="1358" y="601"/>
                      </a:lnTo>
                      <a:lnTo>
                        <a:pt x="1360" y="601"/>
                      </a:lnTo>
                      <a:close/>
                      <a:moveTo>
                        <a:pt x="1311" y="580"/>
                      </a:moveTo>
                      <a:lnTo>
                        <a:pt x="1312" y="581"/>
                      </a:lnTo>
                      <a:lnTo>
                        <a:pt x="1312" y="580"/>
                      </a:lnTo>
                      <a:lnTo>
                        <a:pt x="1312" y="581"/>
                      </a:lnTo>
                      <a:lnTo>
                        <a:pt x="1313" y="581"/>
                      </a:lnTo>
                      <a:lnTo>
                        <a:pt x="1312" y="581"/>
                      </a:lnTo>
                      <a:lnTo>
                        <a:pt x="1313" y="581"/>
                      </a:lnTo>
                      <a:lnTo>
                        <a:pt x="1313" y="582"/>
                      </a:lnTo>
                      <a:lnTo>
                        <a:pt x="1313" y="583"/>
                      </a:lnTo>
                      <a:lnTo>
                        <a:pt x="1314" y="582"/>
                      </a:lnTo>
                      <a:lnTo>
                        <a:pt x="1314" y="583"/>
                      </a:lnTo>
                      <a:lnTo>
                        <a:pt x="1313" y="583"/>
                      </a:lnTo>
                      <a:lnTo>
                        <a:pt x="1312" y="583"/>
                      </a:lnTo>
                      <a:lnTo>
                        <a:pt x="1311" y="583"/>
                      </a:lnTo>
                      <a:lnTo>
                        <a:pt x="1312" y="582"/>
                      </a:lnTo>
                      <a:lnTo>
                        <a:pt x="1312" y="581"/>
                      </a:lnTo>
                      <a:lnTo>
                        <a:pt x="1311" y="581"/>
                      </a:lnTo>
                      <a:lnTo>
                        <a:pt x="1311" y="580"/>
                      </a:lnTo>
                      <a:close/>
                      <a:moveTo>
                        <a:pt x="1305" y="692"/>
                      </a:moveTo>
                      <a:lnTo>
                        <a:pt x="1305" y="693"/>
                      </a:lnTo>
                      <a:lnTo>
                        <a:pt x="1305" y="694"/>
                      </a:lnTo>
                      <a:lnTo>
                        <a:pt x="1304" y="694"/>
                      </a:lnTo>
                      <a:lnTo>
                        <a:pt x="1303" y="694"/>
                      </a:lnTo>
                      <a:lnTo>
                        <a:pt x="1302" y="694"/>
                      </a:lnTo>
                      <a:lnTo>
                        <a:pt x="1302" y="693"/>
                      </a:lnTo>
                      <a:lnTo>
                        <a:pt x="1303" y="693"/>
                      </a:lnTo>
                      <a:lnTo>
                        <a:pt x="1303" y="692"/>
                      </a:lnTo>
                      <a:lnTo>
                        <a:pt x="1304" y="693"/>
                      </a:lnTo>
                      <a:lnTo>
                        <a:pt x="1304" y="692"/>
                      </a:lnTo>
                      <a:lnTo>
                        <a:pt x="1305" y="692"/>
                      </a:lnTo>
                      <a:close/>
                      <a:moveTo>
                        <a:pt x="1618" y="642"/>
                      </a:moveTo>
                      <a:lnTo>
                        <a:pt x="1618" y="643"/>
                      </a:lnTo>
                      <a:lnTo>
                        <a:pt x="1616" y="644"/>
                      </a:lnTo>
                      <a:lnTo>
                        <a:pt x="1615" y="644"/>
                      </a:lnTo>
                      <a:lnTo>
                        <a:pt x="1614" y="644"/>
                      </a:lnTo>
                      <a:lnTo>
                        <a:pt x="1613" y="644"/>
                      </a:lnTo>
                      <a:lnTo>
                        <a:pt x="1613" y="643"/>
                      </a:lnTo>
                      <a:lnTo>
                        <a:pt x="1614" y="643"/>
                      </a:lnTo>
                      <a:lnTo>
                        <a:pt x="1615" y="643"/>
                      </a:lnTo>
                      <a:lnTo>
                        <a:pt x="1616" y="643"/>
                      </a:lnTo>
                      <a:lnTo>
                        <a:pt x="1618" y="643"/>
                      </a:lnTo>
                      <a:lnTo>
                        <a:pt x="1618" y="642"/>
                      </a:lnTo>
                      <a:close/>
                      <a:moveTo>
                        <a:pt x="1624" y="618"/>
                      </a:moveTo>
                      <a:lnTo>
                        <a:pt x="1624" y="619"/>
                      </a:lnTo>
                      <a:lnTo>
                        <a:pt x="1623" y="619"/>
                      </a:lnTo>
                      <a:lnTo>
                        <a:pt x="1623" y="618"/>
                      </a:lnTo>
                      <a:lnTo>
                        <a:pt x="1623" y="619"/>
                      </a:lnTo>
                      <a:lnTo>
                        <a:pt x="1622" y="618"/>
                      </a:lnTo>
                      <a:lnTo>
                        <a:pt x="1622" y="617"/>
                      </a:lnTo>
                      <a:lnTo>
                        <a:pt x="1623" y="617"/>
                      </a:lnTo>
                      <a:lnTo>
                        <a:pt x="1624" y="617"/>
                      </a:lnTo>
                      <a:lnTo>
                        <a:pt x="1625" y="617"/>
                      </a:lnTo>
                      <a:lnTo>
                        <a:pt x="1625" y="618"/>
                      </a:lnTo>
                      <a:lnTo>
                        <a:pt x="1624" y="618"/>
                      </a:lnTo>
                      <a:close/>
                      <a:moveTo>
                        <a:pt x="1161" y="709"/>
                      </a:moveTo>
                      <a:lnTo>
                        <a:pt x="1161" y="710"/>
                      </a:lnTo>
                      <a:lnTo>
                        <a:pt x="1162" y="710"/>
                      </a:lnTo>
                      <a:lnTo>
                        <a:pt x="1162" y="711"/>
                      </a:lnTo>
                      <a:lnTo>
                        <a:pt x="1161" y="711"/>
                      </a:lnTo>
                      <a:lnTo>
                        <a:pt x="1161" y="712"/>
                      </a:lnTo>
                      <a:lnTo>
                        <a:pt x="1160" y="712"/>
                      </a:lnTo>
                      <a:lnTo>
                        <a:pt x="1160" y="711"/>
                      </a:lnTo>
                      <a:lnTo>
                        <a:pt x="1161" y="711"/>
                      </a:lnTo>
                      <a:lnTo>
                        <a:pt x="1160" y="711"/>
                      </a:lnTo>
                      <a:lnTo>
                        <a:pt x="1161" y="710"/>
                      </a:lnTo>
                      <a:lnTo>
                        <a:pt x="1160" y="710"/>
                      </a:lnTo>
                      <a:lnTo>
                        <a:pt x="1160" y="711"/>
                      </a:lnTo>
                      <a:lnTo>
                        <a:pt x="1160" y="710"/>
                      </a:lnTo>
                      <a:lnTo>
                        <a:pt x="1161" y="709"/>
                      </a:lnTo>
                      <a:lnTo>
                        <a:pt x="1162" y="709"/>
                      </a:lnTo>
                      <a:lnTo>
                        <a:pt x="1161" y="709"/>
                      </a:lnTo>
                      <a:close/>
                      <a:moveTo>
                        <a:pt x="1216" y="639"/>
                      </a:moveTo>
                      <a:lnTo>
                        <a:pt x="1218" y="639"/>
                      </a:lnTo>
                      <a:lnTo>
                        <a:pt x="1218" y="640"/>
                      </a:lnTo>
                      <a:lnTo>
                        <a:pt x="1218" y="641"/>
                      </a:lnTo>
                      <a:lnTo>
                        <a:pt x="1218" y="642"/>
                      </a:lnTo>
                      <a:lnTo>
                        <a:pt x="1219" y="642"/>
                      </a:lnTo>
                      <a:lnTo>
                        <a:pt x="1218" y="643"/>
                      </a:lnTo>
                      <a:lnTo>
                        <a:pt x="1218" y="642"/>
                      </a:lnTo>
                      <a:lnTo>
                        <a:pt x="1216" y="642"/>
                      </a:lnTo>
                      <a:lnTo>
                        <a:pt x="1218" y="642"/>
                      </a:lnTo>
                      <a:lnTo>
                        <a:pt x="1218" y="641"/>
                      </a:lnTo>
                      <a:lnTo>
                        <a:pt x="1216" y="641"/>
                      </a:lnTo>
                      <a:lnTo>
                        <a:pt x="1216" y="640"/>
                      </a:lnTo>
                      <a:lnTo>
                        <a:pt x="1216" y="639"/>
                      </a:lnTo>
                      <a:lnTo>
                        <a:pt x="1215" y="639"/>
                      </a:lnTo>
                      <a:lnTo>
                        <a:pt x="1214" y="639"/>
                      </a:lnTo>
                      <a:lnTo>
                        <a:pt x="1215" y="639"/>
                      </a:lnTo>
                      <a:lnTo>
                        <a:pt x="1216" y="639"/>
                      </a:lnTo>
                      <a:close/>
                      <a:moveTo>
                        <a:pt x="1227" y="710"/>
                      </a:moveTo>
                      <a:lnTo>
                        <a:pt x="1227" y="709"/>
                      </a:lnTo>
                      <a:lnTo>
                        <a:pt x="1226" y="709"/>
                      </a:lnTo>
                      <a:lnTo>
                        <a:pt x="1226" y="708"/>
                      </a:lnTo>
                      <a:lnTo>
                        <a:pt x="1226" y="707"/>
                      </a:lnTo>
                      <a:lnTo>
                        <a:pt x="1227" y="707"/>
                      </a:lnTo>
                      <a:lnTo>
                        <a:pt x="1228" y="707"/>
                      </a:lnTo>
                      <a:lnTo>
                        <a:pt x="1227" y="708"/>
                      </a:lnTo>
                      <a:lnTo>
                        <a:pt x="1228" y="708"/>
                      </a:lnTo>
                      <a:lnTo>
                        <a:pt x="1227" y="709"/>
                      </a:lnTo>
                      <a:lnTo>
                        <a:pt x="1227" y="710"/>
                      </a:lnTo>
                      <a:close/>
                      <a:moveTo>
                        <a:pt x="1626" y="532"/>
                      </a:moveTo>
                      <a:lnTo>
                        <a:pt x="1625" y="532"/>
                      </a:lnTo>
                      <a:lnTo>
                        <a:pt x="1625" y="531"/>
                      </a:lnTo>
                      <a:lnTo>
                        <a:pt x="1625" y="530"/>
                      </a:lnTo>
                      <a:lnTo>
                        <a:pt x="1626" y="530"/>
                      </a:lnTo>
                      <a:lnTo>
                        <a:pt x="1627" y="530"/>
                      </a:lnTo>
                      <a:lnTo>
                        <a:pt x="1627" y="531"/>
                      </a:lnTo>
                      <a:lnTo>
                        <a:pt x="1626" y="531"/>
                      </a:lnTo>
                      <a:lnTo>
                        <a:pt x="1626" y="532"/>
                      </a:lnTo>
                      <a:close/>
                      <a:moveTo>
                        <a:pt x="1603" y="658"/>
                      </a:moveTo>
                      <a:lnTo>
                        <a:pt x="1605" y="658"/>
                      </a:lnTo>
                      <a:lnTo>
                        <a:pt x="1606" y="659"/>
                      </a:lnTo>
                      <a:lnTo>
                        <a:pt x="1606" y="660"/>
                      </a:lnTo>
                      <a:lnTo>
                        <a:pt x="1605" y="660"/>
                      </a:lnTo>
                      <a:lnTo>
                        <a:pt x="1603" y="659"/>
                      </a:lnTo>
                      <a:lnTo>
                        <a:pt x="1603" y="660"/>
                      </a:lnTo>
                      <a:lnTo>
                        <a:pt x="1602" y="660"/>
                      </a:lnTo>
                      <a:lnTo>
                        <a:pt x="1602" y="659"/>
                      </a:lnTo>
                      <a:lnTo>
                        <a:pt x="1602" y="658"/>
                      </a:lnTo>
                      <a:lnTo>
                        <a:pt x="1603" y="658"/>
                      </a:lnTo>
                      <a:close/>
                      <a:moveTo>
                        <a:pt x="1164" y="708"/>
                      </a:moveTo>
                      <a:lnTo>
                        <a:pt x="1164" y="709"/>
                      </a:lnTo>
                      <a:lnTo>
                        <a:pt x="1166" y="709"/>
                      </a:lnTo>
                      <a:lnTo>
                        <a:pt x="1166" y="710"/>
                      </a:lnTo>
                      <a:lnTo>
                        <a:pt x="1166" y="711"/>
                      </a:lnTo>
                      <a:lnTo>
                        <a:pt x="1164" y="711"/>
                      </a:lnTo>
                      <a:lnTo>
                        <a:pt x="1164" y="710"/>
                      </a:lnTo>
                      <a:lnTo>
                        <a:pt x="1164" y="709"/>
                      </a:lnTo>
                      <a:lnTo>
                        <a:pt x="1163" y="709"/>
                      </a:lnTo>
                      <a:lnTo>
                        <a:pt x="1163" y="708"/>
                      </a:lnTo>
                      <a:lnTo>
                        <a:pt x="1164" y="708"/>
                      </a:lnTo>
                      <a:close/>
                      <a:moveTo>
                        <a:pt x="1332" y="604"/>
                      </a:moveTo>
                      <a:lnTo>
                        <a:pt x="1332" y="605"/>
                      </a:lnTo>
                      <a:lnTo>
                        <a:pt x="1334" y="605"/>
                      </a:lnTo>
                      <a:lnTo>
                        <a:pt x="1334" y="606"/>
                      </a:lnTo>
                      <a:lnTo>
                        <a:pt x="1332" y="606"/>
                      </a:lnTo>
                      <a:lnTo>
                        <a:pt x="1331" y="606"/>
                      </a:lnTo>
                      <a:lnTo>
                        <a:pt x="1331" y="605"/>
                      </a:lnTo>
                      <a:lnTo>
                        <a:pt x="1330" y="605"/>
                      </a:lnTo>
                      <a:lnTo>
                        <a:pt x="1329" y="605"/>
                      </a:lnTo>
                      <a:lnTo>
                        <a:pt x="1330" y="605"/>
                      </a:lnTo>
                      <a:lnTo>
                        <a:pt x="1330" y="604"/>
                      </a:lnTo>
                      <a:lnTo>
                        <a:pt x="1331" y="604"/>
                      </a:lnTo>
                      <a:lnTo>
                        <a:pt x="1332" y="604"/>
                      </a:lnTo>
                      <a:close/>
                      <a:moveTo>
                        <a:pt x="1233" y="639"/>
                      </a:moveTo>
                      <a:lnTo>
                        <a:pt x="1234" y="639"/>
                      </a:lnTo>
                      <a:lnTo>
                        <a:pt x="1234" y="640"/>
                      </a:lnTo>
                      <a:lnTo>
                        <a:pt x="1232" y="640"/>
                      </a:lnTo>
                      <a:lnTo>
                        <a:pt x="1231" y="640"/>
                      </a:lnTo>
                      <a:lnTo>
                        <a:pt x="1231" y="639"/>
                      </a:lnTo>
                      <a:lnTo>
                        <a:pt x="1232" y="639"/>
                      </a:lnTo>
                      <a:lnTo>
                        <a:pt x="1233" y="639"/>
                      </a:lnTo>
                      <a:lnTo>
                        <a:pt x="1233" y="637"/>
                      </a:lnTo>
                      <a:lnTo>
                        <a:pt x="1233" y="636"/>
                      </a:lnTo>
                      <a:lnTo>
                        <a:pt x="1233" y="637"/>
                      </a:lnTo>
                      <a:lnTo>
                        <a:pt x="1233" y="639"/>
                      </a:lnTo>
                      <a:close/>
                      <a:moveTo>
                        <a:pt x="1629" y="581"/>
                      </a:moveTo>
                      <a:lnTo>
                        <a:pt x="1629" y="582"/>
                      </a:lnTo>
                      <a:lnTo>
                        <a:pt x="1628" y="582"/>
                      </a:lnTo>
                      <a:lnTo>
                        <a:pt x="1628" y="581"/>
                      </a:lnTo>
                      <a:lnTo>
                        <a:pt x="1628" y="582"/>
                      </a:lnTo>
                      <a:lnTo>
                        <a:pt x="1627" y="582"/>
                      </a:lnTo>
                      <a:lnTo>
                        <a:pt x="1627" y="581"/>
                      </a:lnTo>
                      <a:lnTo>
                        <a:pt x="1628" y="581"/>
                      </a:lnTo>
                      <a:lnTo>
                        <a:pt x="1628" y="580"/>
                      </a:lnTo>
                      <a:lnTo>
                        <a:pt x="1629" y="580"/>
                      </a:lnTo>
                      <a:lnTo>
                        <a:pt x="1631" y="580"/>
                      </a:lnTo>
                      <a:lnTo>
                        <a:pt x="1631" y="581"/>
                      </a:lnTo>
                      <a:lnTo>
                        <a:pt x="1629" y="581"/>
                      </a:lnTo>
                      <a:close/>
                      <a:moveTo>
                        <a:pt x="1361" y="566"/>
                      </a:moveTo>
                      <a:lnTo>
                        <a:pt x="1362" y="566"/>
                      </a:lnTo>
                      <a:lnTo>
                        <a:pt x="1363" y="566"/>
                      </a:lnTo>
                      <a:lnTo>
                        <a:pt x="1363" y="567"/>
                      </a:lnTo>
                      <a:lnTo>
                        <a:pt x="1362" y="567"/>
                      </a:lnTo>
                      <a:lnTo>
                        <a:pt x="1362" y="568"/>
                      </a:lnTo>
                      <a:lnTo>
                        <a:pt x="1363" y="568"/>
                      </a:lnTo>
                      <a:lnTo>
                        <a:pt x="1362" y="568"/>
                      </a:lnTo>
                      <a:lnTo>
                        <a:pt x="1361" y="568"/>
                      </a:lnTo>
                      <a:lnTo>
                        <a:pt x="1361" y="567"/>
                      </a:lnTo>
                      <a:lnTo>
                        <a:pt x="1361" y="566"/>
                      </a:lnTo>
                      <a:close/>
                      <a:moveTo>
                        <a:pt x="1221" y="683"/>
                      </a:moveTo>
                      <a:lnTo>
                        <a:pt x="1222" y="683"/>
                      </a:lnTo>
                      <a:lnTo>
                        <a:pt x="1221" y="684"/>
                      </a:lnTo>
                      <a:lnTo>
                        <a:pt x="1220" y="684"/>
                      </a:lnTo>
                      <a:lnTo>
                        <a:pt x="1220" y="683"/>
                      </a:lnTo>
                      <a:lnTo>
                        <a:pt x="1219" y="682"/>
                      </a:lnTo>
                      <a:lnTo>
                        <a:pt x="1220" y="682"/>
                      </a:lnTo>
                      <a:lnTo>
                        <a:pt x="1220" y="683"/>
                      </a:lnTo>
                      <a:lnTo>
                        <a:pt x="1220" y="682"/>
                      </a:lnTo>
                      <a:lnTo>
                        <a:pt x="1220" y="681"/>
                      </a:lnTo>
                      <a:lnTo>
                        <a:pt x="1221" y="681"/>
                      </a:lnTo>
                      <a:lnTo>
                        <a:pt x="1221" y="682"/>
                      </a:lnTo>
                      <a:lnTo>
                        <a:pt x="1221" y="683"/>
                      </a:lnTo>
                      <a:close/>
                      <a:moveTo>
                        <a:pt x="1130" y="711"/>
                      </a:moveTo>
                      <a:lnTo>
                        <a:pt x="1131" y="711"/>
                      </a:lnTo>
                      <a:lnTo>
                        <a:pt x="1132" y="711"/>
                      </a:lnTo>
                      <a:lnTo>
                        <a:pt x="1133" y="712"/>
                      </a:lnTo>
                      <a:lnTo>
                        <a:pt x="1132" y="712"/>
                      </a:lnTo>
                      <a:lnTo>
                        <a:pt x="1130" y="712"/>
                      </a:lnTo>
                      <a:lnTo>
                        <a:pt x="1129" y="712"/>
                      </a:lnTo>
                      <a:lnTo>
                        <a:pt x="1130" y="711"/>
                      </a:lnTo>
                      <a:lnTo>
                        <a:pt x="1131" y="711"/>
                      </a:lnTo>
                      <a:lnTo>
                        <a:pt x="1130" y="711"/>
                      </a:lnTo>
                      <a:close/>
                      <a:moveTo>
                        <a:pt x="1599" y="610"/>
                      </a:moveTo>
                      <a:lnTo>
                        <a:pt x="1599" y="611"/>
                      </a:lnTo>
                      <a:lnTo>
                        <a:pt x="1599" y="613"/>
                      </a:lnTo>
                      <a:lnTo>
                        <a:pt x="1599" y="611"/>
                      </a:lnTo>
                      <a:lnTo>
                        <a:pt x="1599" y="613"/>
                      </a:lnTo>
                      <a:lnTo>
                        <a:pt x="1598" y="613"/>
                      </a:lnTo>
                      <a:lnTo>
                        <a:pt x="1597" y="613"/>
                      </a:lnTo>
                      <a:lnTo>
                        <a:pt x="1597" y="614"/>
                      </a:lnTo>
                      <a:lnTo>
                        <a:pt x="1597" y="615"/>
                      </a:lnTo>
                      <a:lnTo>
                        <a:pt x="1596" y="615"/>
                      </a:lnTo>
                      <a:lnTo>
                        <a:pt x="1596" y="614"/>
                      </a:lnTo>
                      <a:lnTo>
                        <a:pt x="1597" y="614"/>
                      </a:lnTo>
                      <a:lnTo>
                        <a:pt x="1597" y="613"/>
                      </a:lnTo>
                      <a:lnTo>
                        <a:pt x="1598" y="613"/>
                      </a:lnTo>
                      <a:lnTo>
                        <a:pt x="1598" y="611"/>
                      </a:lnTo>
                      <a:lnTo>
                        <a:pt x="1599" y="611"/>
                      </a:lnTo>
                      <a:lnTo>
                        <a:pt x="1599" y="610"/>
                      </a:lnTo>
                      <a:close/>
                      <a:moveTo>
                        <a:pt x="1631" y="552"/>
                      </a:moveTo>
                      <a:lnTo>
                        <a:pt x="1629" y="552"/>
                      </a:lnTo>
                      <a:lnTo>
                        <a:pt x="1628" y="552"/>
                      </a:lnTo>
                      <a:lnTo>
                        <a:pt x="1629" y="551"/>
                      </a:lnTo>
                      <a:lnTo>
                        <a:pt x="1631" y="551"/>
                      </a:lnTo>
                      <a:lnTo>
                        <a:pt x="1631" y="550"/>
                      </a:lnTo>
                      <a:lnTo>
                        <a:pt x="1632" y="550"/>
                      </a:lnTo>
                      <a:lnTo>
                        <a:pt x="1632" y="551"/>
                      </a:lnTo>
                      <a:lnTo>
                        <a:pt x="1631" y="552"/>
                      </a:lnTo>
                      <a:close/>
                      <a:moveTo>
                        <a:pt x="1154" y="716"/>
                      </a:moveTo>
                      <a:lnTo>
                        <a:pt x="1154" y="717"/>
                      </a:lnTo>
                      <a:lnTo>
                        <a:pt x="1154" y="718"/>
                      </a:lnTo>
                      <a:lnTo>
                        <a:pt x="1153" y="718"/>
                      </a:lnTo>
                      <a:lnTo>
                        <a:pt x="1153" y="717"/>
                      </a:lnTo>
                      <a:lnTo>
                        <a:pt x="1153" y="716"/>
                      </a:lnTo>
                      <a:lnTo>
                        <a:pt x="1154" y="716"/>
                      </a:lnTo>
                      <a:close/>
                      <a:moveTo>
                        <a:pt x="1207" y="700"/>
                      </a:moveTo>
                      <a:lnTo>
                        <a:pt x="1208" y="700"/>
                      </a:lnTo>
                      <a:lnTo>
                        <a:pt x="1209" y="700"/>
                      </a:lnTo>
                      <a:lnTo>
                        <a:pt x="1209" y="701"/>
                      </a:lnTo>
                      <a:lnTo>
                        <a:pt x="1209" y="703"/>
                      </a:lnTo>
                      <a:lnTo>
                        <a:pt x="1208" y="703"/>
                      </a:lnTo>
                      <a:lnTo>
                        <a:pt x="1208" y="701"/>
                      </a:lnTo>
                      <a:lnTo>
                        <a:pt x="1207" y="700"/>
                      </a:lnTo>
                      <a:lnTo>
                        <a:pt x="1206" y="700"/>
                      </a:lnTo>
                      <a:lnTo>
                        <a:pt x="1207" y="700"/>
                      </a:lnTo>
                      <a:close/>
                      <a:moveTo>
                        <a:pt x="1382" y="531"/>
                      </a:moveTo>
                      <a:lnTo>
                        <a:pt x="1382" y="532"/>
                      </a:lnTo>
                      <a:lnTo>
                        <a:pt x="1383" y="532"/>
                      </a:lnTo>
                      <a:lnTo>
                        <a:pt x="1383" y="531"/>
                      </a:lnTo>
                      <a:lnTo>
                        <a:pt x="1383" y="532"/>
                      </a:lnTo>
                      <a:lnTo>
                        <a:pt x="1383" y="533"/>
                      </a:lnTo>
                      <a:lnTo>
                        <a:pt x="1384" y="533"/>
                      </a:lnTo>
                      <a:lnTo>
                        <a:pt x="1383" y="533"/>
                      </a:lnTo>
                      <a:lnTo>
                        <a:pt x="1383" y="534"/>
                      </a:lnTo>
                      <a:lnTo>
                        <a:pt x="1382" y="534"/>
                      </a:lnTo>
                      <a:lnTo>
                        <a:pt x="1382" y="533"/>
                      </a:lnTo>
                      <a:lnTo>
                        <a:pt x="1382" y="532"/>
                      </a:lnTo>
                      <a:lnTo>
                        <a:pt x="1382" y="531"/>
                      </a:lnTo>
                      <a:close/>
                      <a:moveTo>
                        <a:pt x="1252" y="685"/>
                      </a:moveTo>
                      <a:lnTo>
                        <a:pt x="1251" y="685"/>
                      </a:lnTo>
                      <a:lnTo>
                        <a:pt x="1252" y="684"/>
                      </a:lnTo>
                      <a:lnTo>
                        <a:pt x="1252" y="683"/>
                      </a:lnTo>
                      <a:lnTo>
                        <a:pt x="1252" y="682"/>
                      </a:lnTo>
                      <a:lnTo>
                        <a:pt x="1252" y="681"/>
                      </a:lnTo>
                      <a:lnTo>
                        <a:pt x="1252" y="682"/>
                      </a:lnTo>
                      <a:lnTo>
                        <a:pt x="1253" y="683"/>
                      </a:lnTo>
                      <a:lnTo>
                        <a:pt x="1253" y="684"/>
                      </a:lnTo>
                      <a:lnTo>
                        <a:pt x="1252" y="684"/>
                      </a:lnTo>
                      <a:lnTo>
                        <a:pt x="1252" y="685"/>
                      </a:lnTo>
                      <a:close/>
                      <a:moveTo>
                        <a:pt x="1615" y="505"/>
                      </a:moveTo>
                      <a:lnTo>
                        <a:pt x="1614" y="505"/>
                      </a:lnTo>
                      <a:lnTo>
                        <a:pt x="1614" y="504"/>
                      </a:lnTo>
                      <a:lnTo>
                        <a:pt x="1615" y="504"/>
                      </a:lnTo>
                      <a:lnTo>
                        <a:pt x="1615" y="503"/>
                      </a:lnTo>
                      <a:lnTo>
                        <a:pt x="1616" y="503"/>
                      </a:lnTo>
                      <a:lnTo>
                        <a:pt x="1616" y="504"/>
                      </a:lnTo>
                      <a:lnTo>
                        <a:pt x="1616" y="505"/>
                      </a:lnTo>
                      <a:lnTo>
                        <a:pt x="1615" y="505"/>
                      </a:lnTo>
                      <a:close/>
                      <a:moveTo>
                        <a:pt x="1621" y="633"/>
                      </a:moveTo>
                      <a:lnTo>
                        <a:pt x="1620" y="633"/>
                      </a:lnTo>
                      <a:lnTo>
                        <a:pt x="1620" y="634"/>
                      </a:lnTo>
                      <a:lnTo>
                        <a:pt x="1620" y="633"/>
                      </a:lnTo>
                      <a:lnTo>
                        <a:pt x="1619" y="633"/>
                      </a:lnTo>
                      <a:lnTo>
                        <a:pt x="1620" y="633"/>
                      </a:lnTo>
                      <a:lnTo>
                        <a:pt x="1620" y="632"/>
                      </a:lnTo>
                      <a:lnTo>
                        <a:pt x="1621" y="632"/>
                      </a:lnTo>
                      <a:lnTo>
                        <a:pt x="1621" y="633"/>
                      </a:lnTo>
                      <a:close/>
                      <a:moveTo>
                        <a:pt x="1324" y="476"/>
                      </a:moveTo>
                      <a:lnTo>
                        <a:pt x="1325" y="476"/>
                      </a:lnTo>
                      <a:lnTo>
                        <a:pt x="1325" y="475"/>
                      </a:lnTo>
                      <a:lnTo>
                        <a:pt x="1325" y="476"/>
                      </a:lnTo>
                      <a:lnTo>
                        <a:pt x="1326" y="476"/>
                      </a:lnTo>
                      <a:lnTo>
                        <a:pt x="1327" y="476"/>
                      </a:lnTo>
                      <a:lnTo>
                        <a:pt x="1328" y="476"/>
                      </a:lnTo>
                      <a:lnTo>
                        <a:pt x="1328" y="477"/>
                      </a:lnTo>
                      <a:lnTo>
                        <a:pt x="1327" y="477"/>
                      </a:lnTo>
                      <a:lnTo>
                        <a:pt x="1326" y="477"/>
                      </a:lnTo>
                      <a:lnTo>
                        <a:pt x="1325" y="477"/>
                      </a:lnTo>
                      <a:lnTo>
                        <a:pt x="1325" y="476"/>
                      </a:lnTo>
                      <a:lnTo>
                        <a:pt x="1324" y="476"/>
                      </a:lnTo>
                      <a:lnTo>
                        <a:pt x="1324" y="475"/>
                      </a:lnTo>
                      <a:lnTo>
                        <a:pt x="1324" y="476"/>
                      </a:lnTo>
                      <a:close/>
                      <a:moveTo>
                        <a:pt x="1327" y="508"/>
                      </a:moveTo>
                      <a:lnTo>
                        <a:pt x="1328" y="508"/>
                      </a:lnTo>
                      <a:lnTo>
                        <a:pt x="1329" y="508"/>
                      </a:lnTo>
                      <a:lnTo>
                        <a:pt x="1328" y="508"/>
                      </a:lnTo>
                      <a:lnTo>
                        <a:pt x="1328" y="510"/>
                      </a:lnTo>
                      <a:lnTo>
                        <a:pt x="1328" y="511"/>
                      </a:lnTo>
                      <a:lnTo>
                        <a:pt x="1329" y="511"/>
                      </a:lnTo>
                      <a:lnTo>
                        <a:pt x="1328" y="511"/>
                      </a:lnTo>
                      <a:lnTo>
                        <a:pt x="1328" y="510"/>
                      </a:lnTo>
                      <a:lnTo>
                        <a:pt x="1327" y="510"/>
                      </a:lnTo>
                      <a:lnTo>
                        <a:pt x="1326" y="510"/>
                      </a:lnTo>
                      <a:lnTo>
                        <a:pt x="1326" y="508"/>
                      </a:lnTo>
                      <a:lnTo>
                        <a:pt x="1327" y="508"/>
                      </a:lnTo>
                      <a:close/>
                      <a:moveTo>
                        <a:pt x="1618" y="507"/>
                      </a:moveTo>
                      <a:lnTo>
                        <a:pt x="1616" y="507"/>
                      </a:lnTo>
                      <a:lnTo>
                        <a:pt x="1615" y="507"/>
                      </a:lnTo>
                      <a:lnTo>
                        <a:pt x="1616" y="507"/>
                      </a:lnTo>
                      <a:lnTo>
                        <a:pt x="1618" y="506"/>
                      </a:lnTo>
                      <a:lnTo>
                        <a:pt x="1619" y="506"/>
                      </a:lnTo>
                      <a:lnTo>
                        <a:pt x="1618" y="507"/>
                      </a:lnTo>
                      <a:close/>
                      <a:moveTo>
                        <a:pt x="1619" y="511"/>
                      </a:moveTo>
                      <a:lnTo>
                        <a:pt x="1618" y="511"/>
                      </a:lnTo>
                      <a:lnTo>
                        <a:pt x="1619" y="510"/>
                      </a:lnTo>
                      <a:lnTo>
                        <a:pt x="1620" y="510"/>
                      </a:lnTo>
                      <a:lnTo>
                        <a:pt x="1620" y="508"/>
                      </a:lnTo>
                      <a:lnTo>
                        <a:pt x="1621" y="508"/>
                      </a:lnTo>
                      <a:lnTo>
                        <a:pt x="1621" y="510"/>
                      </a:lnTo>
                      <a:lnTo>
                        <a:pt x="1620" y="511"/>
                      </a:lnTo>
                      <a:lnTo>
                        <a:pt x="1619" y="511"/>
                      </a:lnTo>
                      <a:close/>
                      <a:moveTo>
                        <a:pt x="1135" y="712"/>
                      </a:moveTo>
                      <a:lnTo>
                        <a:pt x="1134" y="712"/>
                      </a:lnTo>
                      <a:lnTo>
                        <a:pt x="1133" y="712"/>
                      </a:lnTo>
                      <a:lnTo>
                        <a:pt x="1133" y="711"/>
                      </a:lnTo>
                      <a:lnTo>
                        <a:pt x="1134" y="711"/>
                      </a:lnTo>
                      <a:lnTo>
                        <a:pt x="1135" y="712"/>
                      </a:lnTo>
                      <a:close/>
                      <a:moveTo>
                        <a:pt x="1629" y="595"/>
                      </a:moveTo>
                      <a:lnTo>
                        <a:pt x="1628" y="595"/>
                      </a:lnTo>
                      <a:lnTo>
                        <a:pt x="1628" y="596"/>
                      </a:lnTo>
                      <a:lnTo>
                        <a:pt x="1627" y="596"/>
                      </a:lnTo>
                      <a:lnTo>
                        <a:pt x="1627" y="595"/>
                      </a:lnTo>
                      <a:lnTo>
                        <a:pt x="1628" y="594"/>
                      </a:lnTo>
                      <a:lnTo>
                        <a:pt x="1629" y="594"/>
                      </a:lnTo>
                      <a:lnTo>
                        <a:pt x="1629" y="595"/>
                      </a:lnTo>
                      <a:close/>
                      <a:moveTo>
                        <a:pt x="1618" y="504"/>
                      </a:moveTo>
                      <a:lnTo>
                        <a:pt x="1619" y="504"/>
                      </a:lnTo>
                      <a:lnTo>
                        <a:pt x="1619" y="505"/>
                      </a:lnTo>
                      <a:lnTo>
                        <a:pt x="1618" y="505"/>
                      </a:lnTo>
                      <a:lnTo>
                        <a:pt x="1616" y="505"/>
                      </a:lnTo>
                      <a:lnTo>
                        <a:pt x="1618" y="504"/>
                      </a:lnTo>
                      <a:close/>
                      <a:moveTo>
                        <a:pt x="1218" y="705"/>
                      </a:moveTo>
                      <a:lnTo>
                        <a:pt x="1219" y="705"/>
                      </a:lnTo>
                      <a:lnTo>
                        <a:pt x="1220" y="705"/>
                      </a:lnTo>
                      <a:lnTo>
                        <a:pt x="1221" y="705"/>
                      </a:lnTo>
                      <a:lnTo>
                        <a:pt x="1220" y="705"/>
                      </a:lnTo>
                      <a:lnTo>
                        <a:pt x="1219" y="705"/>
                      </a:lnTo>
                      <a:lnTo>
                        <a:pt x="1218" y="705"/>
                      </a:lnTo>
                      <a:lnTo>
                        <a:pt x="1218" y="706"/>
                      </a:lnTo>
                      <a:lnTo>
                        <a:pt x="1216" y="705"/>
                      </a:lnTo>
                      <a:lnTo>
                        <a:pt x="1218" y="705"/>
                      </a:lnTo>
                      <a:close/>
                      <a:moveTo>
                        <a:pt x="1631" y="554"/>
                      </a:moveTo>
                      <a:lnTo>
                        <a:pt x="1629" y="554"/>
                      </a:lnTo>
                      <a:lnTo>
                        <a:pt x="1628" y="554"/>
                      </a:lnTo>
                      <a:lnTo>
                        <a:pt x="1627" y="554"/>
                      </a:lnTo>
                      <a:lnTo>
                        <a:pt x="1628" y="554"/>
                      </a:lnTo>
                      <a:lnTo>
                        <a:pt x="1629" y="554"/>
                      </a:lnTo>
                      <a:lnTo>
                        <a:pt x="1629" y="553"/>
                      </a:lnTo>
                      <a:lnTo>
                        <a:pt x="1631" y="553"/>
                      </a:lnTo>
                      <a:lnTo>
                        <a:pt x="1631" y="554"/>
                      </a:lnTo>
                      <a:close/>
                      <a:moveTo>
                        <a:pt x="1187" y="721"/>
                      </a:moveTo>
                      <a:lnTo>
                        <a:pt x="1186" y="721"/>
                      </a:lnTo>
                      <a:lnTo>
                        <a:pt x="1186" y="722"/>
                      </a:lnTo>
                      <a:lnTo>
                        <a:pt x="1185" y="722"/>
                      </a:lnTo>
                      <a:lnTo>
                        <a:pt x="1185" y="721"/>
                      </a:lnTo>
                      <a:lnTo>
                        <a:pt x="1186" y="720"/>
                      </a:lnTo>
                      <a:lnTo>
                        <a:pt x="1186" y="721"/>
                      </a:lnTo>
                      <a:lnTo>
                        <a:pt x="1186" y="720"/>
                      </a:lnTo>
                      <a:lnTo>
                        <a:pt x="1187" y="720"/>
                      </a:lnTo>
                      <a:lnTo>
                        <a:pt x="1188" y="720"/>
                      </a:lnTo>
                      <a:lnTo>
                        <a:pt x="1188" y="721"/>
                      </a:lnTo>
                      <a:lnTo>
                        <a:pt x="1187" y="721"/>
                      </a:lnTo>
                      <a:close/>
                      <a:moveTo>
                        <a:pt x="1316" y="611"/>
                      </a:moveTo>
                      <a:lnTo>
                        <a:pt x="1315" y="611"/>
                      </a:lnTo>
                      <a:lnTo>
                        <a:pt x="1316" y="610"/>
                      </a:lnTo>
                      <a:lnTo>
                        <a:pt x="1316" y="609"/>
                      </a:lnTo>
                      <a:lnTo>
                        <a:pt x="1317" y="609"/>
                      </a:lnTo>
                      <a:lnTo>
                        <a:pt x="1316" y="610"/>
                      </a:lnTo>
                      <a:lnTo>
                        <a:pt x="1316" y="611"/>
                      </a:lnTo>
                      <a:close/>
                      <a:moveTo>
                        <a:pt x="1205" y="633"/>
                      </a:moveTo>
                      <a:lnTo>
                        <a:pt x="1205" y="632"/>
                      </a:lnTo>
                      <a:lnTo>
                        <a:pt x="1206" y="632"/>
                      </a:lnTo>
                      <a:lnTo>
                        <a:pt x="1206" y="633"/>
                      </a:lnTo>
                      <a:lnTo>
                        <a:pt x="1207" y="634"/>
                      </a:lnTo>
                      <a:lnTo>
                        <a:pt x="1207" y="635"/>
                      </a:lnTo>
                      <a:lnTo>
                        <a:pt x="1207" y="634"/>
                      </a:lnTo>
                      <a:lnTo>
                        <a:pt x="1206" y="634"/>
                      </a:lnTo>
                      <a:lnTo>
                        <a:pt x="1206" y="633"/>
                      </a:lnTo>
                      <a:lnTo>
                        <a:pt x="1205" y="633"/>
                      </a:lnTo>
                      <a:lnTo>
                        <a:pt x="1203" y="632"/>
                      </a:lnTo>
                      <a:lnTo>
                        <a:pt x="1205" y="632"/>
                      </a:lnTo>
                      <a:lnTo>
                        <a:pt x="1205" y="633"/>
                      </a:lnTo>
                      <a:close/>
                      <a:moveTo>
                        <a:pt x="1396" y="462"/>
                      </a:moveTo>
                      <a:lnTo>
                        <a:pt x="1396" y="463"/>
                      </a:lnTo>
                      <a:lnTo>
                        <a:pt x="1396" y="464"/>
                      </a:lnTo>
                      <a:lnTo>
                        <a:pt x="1396" y="466"/>
                      </a:lnTo>
                      <a:lnTo>
                        <a:pt x="1396" y="465"/>
                      </a:lnTo>
                      <a:lnTo>
                        <a:pt x="1395" y="464"/>
                      </a:lnTo>
                      <a:lnTo>
                        <a:pt x="1395" y="463"/>
                      </a:lnTo>
                      <a:lnTo>
                        <a:pt x="1394" y="463"/>
                      </a:lnTo>
                      <a:lnTo>
                        <a:pt x="1394" y="462"/>
                      </a:lnTo>
                      <a:lnTo>
                        <a:pt x="1395" y="462"/>
                      </a:lnTo>
                      <a:lnTo>
                        <a:pt x="1395" y="461"/>
                      </a:lnTo>
                      <a:lnTo>
                        <a:pt x="1396" y="462"/>
                      </a:lnTo>
                      <a:close/>
                      <a:moveTo>
                        <a:pt x="1350" y="541"/>
                      </a:moveTo>
                      <a:lnTo>
                        <a:pt x="1351" y="541"/>
                      </a:lnTo>
                      <a:lnTo>
                        <a:pt x="1351" y="540"/>
                      </a:lnTo>
                      <a:lnTo>
                        <a:pt x="1350" y="540"/>
                      </a:lnTo>
                      <a:lnTo>
                        <a:pt x="1351" y="540"/>
                      </a:lnTo>
                      <a:lnTo>
                        <a:pt x="1351" y="541"/>
                      </a:lnTo>
                      <a:lnTo>
                        <a:pt x="1351" y="542"/>
                      </a:lnTo>
                      <a:lnTo>
                        <a:pt x="1350" y="542"/>
                      </a:lnTo>
                      <a:lnTo>
                        <a:pt x="1350" y="541"/>
                      </a:lnTo>
                      <a:lnTo>
                        <a:pt x="1349" y="541"/>
                      </a:lnTo>
                      <a:lnTo>
                        <a:pt x="1348" y="542"/>
                      </a:lnTo>
                      <a:lnTo>
                        <a:pt x="1349" y="541"/>
                      </a:lnTo>
                      <a:lnTo>
                        <a:pt x="1349" y="540"/>
                      </a:lnTo>
                      <a:lnTo>
                        <a:pt x="1349" y="541"/>
                      </a:lnTo>
                      <a:lnTo>
                        <a:pt x="1350" y="541"/>
                      </a:lnTo>
                      <a:close/>
                      <a:moveTo>
                        <a:pt x="1201" y="641"/>
                      </a:moveTo>
                      <a:lnTo>
                        <a:pt x="1202" y="641"/>
                      </a:lnTo>
                      <a:lnTo>
                        <a:pt x="1203" y="642"/>
                      </a:lnTo>
                      <a:lnTo>
                        <a:pt x="1203" y="643"/>
                      </a:lnTo>
                      <a:lnTo>
                        <a:pt x="1202" y="643"/>
                      </a:lnTo>
                      <a:lnTo>
                        <a:pt x="1202" y="642"/>
                      </a:lnTo>
                      <a:lnTo>
                        <a:pt x="1201" y="642"/>
                      </a:lnTo>
                      <a:lnTo>
                        <a:pt x="1201" y="641"/>
                      </a:lnTo>
                      <a:close/>
                      <a:moveTo>
                        <a:pt x="1325" y="600"/>
                      </a:moveTo>
                      <a:lnTo>
                        <a:pt x="1324" y="600"/>
                      </a:lnTo>
                      <a:lnTo>
                        <a:pt x="1324" y="601"/>
                      </a:lnTo>
                      <a:lnTo>
                        <a:pt x="1323" y="601"/>
                      </a:lnTo>
                      <a:lnTo>
                        <a:pt x="1322" y="601"/>
                      </a:lnTo>
                      <a:lnTo>
                        <a:pt x="1322" y="600"/>
                      </a:lnTo>
                      <a:lnTo>
                        <a:pt x="1323" y="600"/>
                      </a:lnTo>
                      <a:lnTo>
                        <a:pt x="1324" y="600"/>
                      </a:lnTo>
                      <a:lnTo>
                        <a:pt x="1325" y="600"/>
                      </a:lnTo>
                      <a:close/>
                      <a:moveTo>
                        <a:pt x="1328" y="474"/>
                      </a:moveTo>
                      <a:lnTo>
                        <a:pt x="1327" y="475"/>
                      </a:lnTo>
                      <a:lnTo>
                        <a:pt x="1327" y="474"/>
                      </a:lnTo>
                      <a:lnTo>
                        <a:pt x="1326" y="474"/>
                      </a:lnTo>
                      <a:lnTo>
                        <a:pt x="1326" y="475"/>
                      </a:lnTo>
                      <a:lnTo>
                        <a:pt x="1326" y="474"/>
                      </a:lnTo>
                      <a:lnTo>
                        <a:pt x="1327" y="474"/>
                      </a:lnTo>
                      <a:lnTo>
                        <a:pt x="1327" y="473"/>
                      </a:lnTo>
                      <a:lnTo>
                        <a:pt x="1328" y="473"/>
                      </a:lnTo>
                      <a:lnTo>
                        <a:pt x="1328" y="474"/>
                      </a:lnTo>
                      <a:close/>
                      <a:moveTo>
                        <a:pt x="1206" y="701"/>
                      </a:moveTo>
                      <a:lnTo>
                        <a:pt x="1207" y="701"/>
                      </a:lnTo>
                      <a:lnTo>
                        <a:pt x="1208" y="703"/>
                      </a:lnTo>
                      <a:lnTo>
                        <a:pt x="1207" y="703"/>
                      </a:lnTo>
                      <a:lnTo>
                        <a:pt x="1206" y="703"/>
                      </a:lnTo>
                      <a:lnTo>
                        <a:pt x="1206" y="701"/>
                      </a:lnTo>
                      <a:lnTo>
                        <a:pt x="1205" y="701"/>
                      </a:lnTo>
                      <a:lnTo>
                        <a:pt x="1206" y="701"/>
                      </a:lnTo>
                      <a:close/>
                      <a:moveTo>
                        <a:pt x="1366" y="559"/>
                      </a:moveTo>
                      <a:lnTo>
                        <a:pt x="1366" y="560"/>
                      </a:lnTo>
                      <a:lnTo>
                        <a:pt x="1365" y="560"/>
                      </a:lnTo>
                      <a:lnTo>
                        <a:pt x="1364" y="560"/>
                      </a:lnTo>
                      <a:lnTo>
                        <a:pt x="1363" y="559"/>
                      </a:lnTo>
                      <a:lnTo>
                        <a:pt x="1364" y="559"/>
                      </a:lnTo>
                      <a:lnTo>
                        <a:pt x="1366" y="559"/>
                      </a:lnTo>
                      <a:close/>
                      <a:moveTo>
                        <a:pt x="1233" y="709"/>
                      </a:moveTo>
                      <a:lnTo>
                        <a:pt x="1232" y="709"/>
                      </a:lnTo>
                      <a:lnTo>
                        <a:pt x="1231" y="709"/>
                      </a:lnTo>
                      <a:lnTo>
                        <a:pt x="1231" y="708"/>
                      </a:lnTo>
                      <a:lnTo>
                        <a:pt x="1232" y="708"/>
                      </a:lnTo>
                      <a:lnTo>
                        <a:pt x="1233" y="708"/>
                      </a:lnTo>
                      <a:lnTo>
                        <a:pt x="1233" y="709"/>
                      </a:lnTo>
                      <a:close/>
                      <a:moveTo>
                        <a:pt x="1242" y="756"/>
                      </a:moveTo>
                      <a:lnTo>
                        <a:pt x="1244" y="756"/>
                      </a:lnTo>
                      <a:lnTo>
                        <a:pt x="1244" y="757"/>
                      </a:lnTo>
                      <a:lnTo>
                        <a:pt x="1244" y="756"/>
                      </a:lnTo>
                      <a:lnTo>
                        <a:pt x="1242" y="757"/>
                      </a:lnTo>
                      <a:lnTo>
                        <a:pt x="1241" y="756"/>
                      </a:lnTo>
                      <a:lnTo>
                        <a:pt x="1241" y="757"/>
                      </a:lnTo>
                      <a:lnTo>
                        <a:pt x="1240" y="757"/>
                      </a:lnTo>
                      <a:lnTo>
                        <a:pt x="1240" y="756"/>
                      </a:lnTo>
                      <a:lnTo>
                        <a:pt x="1241" y="756"/>
                      </a:lnTo>
                      <a:lnTo>
                        <a:pt x="1242" y="756"/>
                      </a:lnTo>
                      <a:close/>
                      <a:moveTo>
                        <a:pt x="1621" y="629"/>
                      </a:moveTo>
                      <a:lnTo>
                        <a:pt x="1622" y="629"/>
                      </a:lnTo>
                      <a:lnTo>
                        <a:pt x="1621" y="630"/>
                      </a:lnTo>
                      <a:lnTo>
                        <a:pt x="1620" y="630"/>
                      </a:lnTo>
                      <a:lnTo>
                        <a:pt x="1620" y="629"/>
                      </a:lnTo>
                      <a:lnTo>
                        <a:pt x="1621" y="629"/>
                      </a:lnTo>
                      <a:close/>
                      <a:moveTo>
                        <a:pt x="1629" y="592"/>
                      </a:moveTo>
                      <a:lnTo>
                        <a:pt x="1629" y="593"/>
                      </a:lnTo>
                      <a:lnTo>
                        <a:pt x="1628" y="593"/>
                      </a:lnTo>
                      <a:lnTo>
                        <a:pt x="1628" y="592"/>
                      </a:lnTo>
                      <a:lnTo>
                        <a:pt x="1627" y="592"/>
                      </a:lnTo>
                      <a:lnTo>
                        <a:pt x="1628" y="592"/>
                      </a:lnTo>
                      <a:lnTo>
                        <a:pt x="1629" y="592"/>
                      </a:lnTo>
                      <a:close/>
                      <a:moveTo>
                        <a:pt x="1622" y="515"/>
                      </a:moveTo>
                      <a:lnTo>
                        <a:pt x="1621" y="515"/>
                      </a:lnTo>
                      <a:lnTo>
                        <a:pt x="1621" y="514"/>
                      </a:lnTo>
                      <a:lnTo>
                        <a:pt x="1622" y="514"/>
                      </a:lnTo>
                      <a:lnTo>
                        <a:pt x="1623" y="514"/>
                      </a:lnTo>
                      <a:lnTo>
                        <a:pt x="1622" y="515"/>
                      </a:lnTo>
                      <a:close/>
                      <a:moveTo>
                        <a:pt x="1195" y="662"/>
                      </a:moveTo>
                      <a:lnTo>
                        <a:pt x="1196" y="662"/>
                      </a:lnTo>
                      <a:lnTo>
                        <a:pt x="1196" y="665"/>
                      </a:lnTo>
                      <a:lnTo>
                        <a:pt x="1195" y="665"/>
                      </a:lnTo>
                      <a:lnTo>
                        <a:pt x="1195" y="662"/>
                      </a:lnTo>
                      <a:close/>
                      <a:moveTo>
                        <a:pt x="1623" y="533"/>
                      </a:moveTo>
                      <a:lnTo>
                        <a:pt x="1624" y="533"/>
                      </a:lnTo>
                      <a:lnTo>
                        <a:pt x="1624" y="536"/>
                      </a:lnTo>
                      <a:lnTo>
                        <a:pt x="1623" y="536"/>
                      </a:lnTo>
                      <a:lnTo>
                        <a:pt x="1623" y="533"/>
                      </a:lnTo>
                      <a:close/>
                      <a:moveTo>
                        <a:pt x="1357" y="436"/>
                      </a:moveTo>
                      <a:lnTo>
                        <a:pt x="1360" y="436"/>
                      </a:lnTo>
                      <a:lnTo>
                        <a:pt x="1360" y="438"/>
                      </a:lnTo>
                      <a:lnTo>
                        <a:pt x="1357" y="438"/>
                      </a:lnTo>
                      <a:lnTo>
                        <a:pt x="1357" y="436"/>
                      </a:lnTo>
                      <a:close/>
                      <a:moveTo>
                        <a:pt x="1308" y="606"/>
                      </a:moveTo>
                      <a:lnTo>
                        <a:pt x="1306" y="607"/>
                      </a:lnTo>
                      <a:lnTo>
                        <a:pt x="1304" y="607"/>
                      </a:lnTo>
                      <a:lnTo>
                        <a:pt x="1305" y="607"/>
                      </a:lnTo>
                      <a:lnTo>
                        <a:pt x="1306" y="606"/>
                      </a:lnTo>
                      <a:lnTo>
                        <a:pt x="1308" y="606"/>
                      </a:lnTo>
                      <a:close/>
                      <a:moveTo>
                        <a:pt x="1632" y="566"/>
                      </a:moveTo>
                      <a:lnTo>
                        <a:pt x="1632" y="567"/>
                      </a:lnTo>
                      <a:lnTo>
                        <a:pt x="1631" y="567"/>
                      </a:lnTo>
                      <a:lnTo>
                        <a:pt x="1631" y="566"/>
                      </a:lnTo>
                      <a:lnTo>
                        <a:pt x="1629" y="566"/>
                      </a:lnTo>
                      <a:lnTo>
                        <a:pt x="1632" y="566"/>
                      </a:lnTo>
                      <a:lnTo>
                        <a:pt x="1631" y="566"/>
                      </a:lnTo>
                      <a:lnTo>
                        <a:pt x="1632" y="566"/>
                      </a:lnTo>
                      <a:close/>
                      <a:moveTo>
                        <a:pt x="1226" y="708"/>
                      </a:moveTo>
                      <a:lnTo>
                        <a:pt x="1225" y="708"/>
                      </a:lnTo>
                      <a:lnTo>
                        <a:pt x="1225" y="707"/>
                      </a:lnTo>
                      <a:lnTo>
                        <a:pt x="1225" y="706"/>
                      </a:lnTo>
                      <a:lnTo>
                        <a:pt x="1226" y="706"/>
                      </a:lnTo>
                      <a:lnTo>
                        <a:pt x="1226" y="707"/>
                      </a:lnTo>
                      <a:lnTo>
                        <a:pt x="1226" y="708"/>
                      </a:lnTo>
                      <a:close/>
                      <a:moveTo>
                        <a:pt x="1628" y="598"/>
                      </a:moveTo>
                      <a:lnTo>
                        <a:pt x="1627" y="598"/>
                      </a:lnTo>
                      <a:lnTo>
                        <a:pt x="1627" y="597"/>
                      </a:lnTo>
                      <a:lnTo>
                        <a:pt x="1628" y="597"/>
                      </a:lnTo>
                      <a:lnTo>
                        <a:pt x="1629" y="597"/>
                      </a:lnTo>
                      <a:lnTo>
                        <a:pt x="1629" y="598"/>
                      </a:lnTo>
                      <a:lnTo>
                        <a:pt x="1628" y="598"/>
                      </a:lnTo>
                      <a:close/>
                      <a:moveTo>
                        <a:pt x="1625" y="603"/>
                      </a:moveTo>
                      <a:lnTo>
                        <a:pt x="1626" y="603"/>
                      </a:lnTo>
                      <a:lnTo>
                        <a:pt x="1626" y="605"/>
                      </a:lnTo>
                      <a:lnTo>
                        <a:pt x="1625" y="605"/>
                      </a:lnTo>
                      <a:lnTo>
                        <a:pt x="1625" y="603"/>
                      </a:lnTo>
                      <a:close/>
                      <a:moveTo>
                        <a:pt x="1149" y="719"/>
                      </a:moveTo>
                      <a:lnTo>
                        <a:pt x="1150" y="719"/>
                      </a:lnTo>
                      <a:lnTo>
                        <a:pt x="1150" y="720"/>
                      </a:lnTo>
                      <a:lnTo>
                        <a:pt x="1149" y="720"/>
                      </a:lnTo>
                      <a:lnTo>
                        <a:pt x="1149" y="719"/>
                      </a:lnTo>
                      <a:close/>
                      <a:moveTo>
                        <a:pt x="1216" y="631"/>
                      </a:moveTo>
                      <a:lnTo>
                        <a:pt x="1216" y="632"/>
                      </a:lnTo>
                      <a:lnTo>
                        <a:pt x="1218" y="632"/>
                      </a:lnTo>
                      <a:lnTo>
                        <a:pt x="1216" y="632"/>
                      </a:lnTo>
                      <a:lnTo>
                        <a:pt x="1215" y="632"/>
                      </a:lnTo>
                      <a:lnTo>
                        <a:pt x="1215" y="631"/>
                      </a:lnTo>
                      <a:lnTo>
                        <a:pt x="1216" y="631"/>
                      </a:lnTo>
                      <a:close/>
                      <a:moveTo>
                        <a:pt x="1629" y="596"/>
                      </a:moveTo>
                      <a:lnTo>
                        <a:pt x="1628" y="597"/>
                      </a:lnTo>
                      <a:lnTo>
                        <a:pt x="1627" y="597"/>
                      </a:lnTo>
                      <a:lnTo>
                        <a:pt x="1627" y="596"/>
                      </a:lnTo>
                      <a:lnTo>
                        <a:pt x="1628" y="596"/>
                      </a:lnTo>
                      <a:lnTo>
                        <a:pt x="1629" y="596"/>
                      </a:lnTo>
                      <a:close/>
                      <a:moveTo>
                        <a:pt x="1177" y="719"/>
                      </a:moveTo>
                      <a:lnTo>
                        <a:pt x="1176" y="719"/>
                      </a:lnTo>
                      <a:lnTo>
                        <a:pt x="1175" y="719"/>
                      </a:lnTo>
                      <a:lnTo>
                        <a:pt x="1176" y="718"/>
                      </a:lnTo>
                      <a:lnTo>
                        <a:pt x="1176" y="719"/>
                      </a:lnTo>
                      <a:lnTo>
                        <a:pt x="1177" y="719"/>
                      </a:lnTo>
                      <a:close/>
                      <a:moveTo>
                        <a:pt x="1387" y="486"/>
                      </a:moveTo>
                      <a:lnTo>
                        <a:pt x="1388" y="486"/>
                      </a:lnTo>
                      <a:lnTo>
                        <a:pt x="1388" y="487"/>
                      </a:lnTo>
                      <a:lnTo>
                        <a:pt x="1387" y="487"/>
                      </a:lnTo>
                      <a:lnTo>
                        <a:pt x="1387" y="486"/>
                      </a:lnTo>
                      <a:close/>
                      <a:moveTo>
                        <a:pt x="1350" y="647"/>
                      </a:moveTo>
                      <a:lnTo>
                        <a:pt x="1351" y="647"/>
                      </a:lnTo>
                      <a:lnTo>
                        <a:pt x="1351" y="649"/>
                      </a:lnTo>
                      <a:lnTo>
                        <a:pt x="1350" y="649"/>
                      </a:lnTo>
                      <a:lnTo>
                        <a:pt x="1350" y="647"/>
                      </a:lnTo>
                      <a:close/>
                      <a:moveTo>
                        <a:pt x="1149" y="714"/>
                      </a:moveTo>
                      <a:lnTo>
                        <a:pt x="1150" y="714"/>
                      </a:lnTo>
                      <a:lnTo>
                        <a:pt x="1150" y="717"/>
                      </a:lnTo>
                      <a:lnTo>
                        <a:pt x="1149" y="717"/>
                      </a:lnTo>
                      <a:lnTo>
                        <a:pt x="1149" y="714"/>
                      </a:lnTo>
                      <a:close/>
                      <a:moveTo>
                        <a:pt x="1239" y="756"/>
                      </a:moveTo>
                      <a:lnTo>
                        <a:pt x="1238" y="756"/>
                      </a:lnTo>
                      <a:lnTo>
                        <a:pt x="1237" y="757"/>
                      </a:lnTo>
                      <a:lnTo>
                        <a:pt x="1237" y="756"/>
                      </a:lnTo>
                      <a:lnTo>
                        <a:pt x="1238" y="755"/>
                      </a:lnTo>
                      <a:lnTo>
                        <a:pt x="1238" y="756"/>
                      </a:lnTo>
                      <a:lnTo>
                        <a:pt x="1239" y="756"/>
                      </a:lnTo>
                      <a:close/>
                      <a:moveTo>
                        <a:pt x="1271" y="521"/>
                      </a:moveTo>
                      <a:lnTo>
                        <a:pt x="1272" y="521"/>
                      </a:lnTo>
                      <a:lnTo>
                        <a:pt x="1272" y="524"/>
                      </a:lnTo>
                      <a:lnTo>
                        <a:pt x="1271" y="524"/>
                      </a:lnTo>
                      <a:lnTo>
                        <a:pt x="1271" y="521"/>
                      </a:lnTo>
                      <a:close/>
                      <a:moveTo>
                        <a:pt x="1338" y="475"/>
                      </a:moveTo>
                      <a:lnTo>
                        <a:pt x="1337" y="475"/>
                      </a:lnTo>
                      <a:lnTo>
                        <a:pt x="1337" y="476"/>
                      </a:lnTo>
                      <a:lnTo>
                        <a:pt x="1336" y="475"/>
                      </a:lnTo>
                      <a:lnTo>
                        <a:pt x="1335" y="476"/>
                      </a:lnTo>
                      <a:lnTo>
                        <a:pt x="1335" y="475"/>
                      </a:lnTo>
                      <a:lnTo>
                        <a:pt x="1336" y="475"/>
                      </a:lnTo>
                      <a:lnTo>
                        <a:pt x="1337" y="475"/>
                      </a:lnTo>
                      <a:lnTo>
                        <a:pt x="1338" y="475"/>
                      </a:lnTo>
                      <a:close/>
                      <a:moveTo>
                        <a:pt x="1347" y="447"/>
                      </a:moveTo>
                      <a:lnTo>
                        <a:pt x="1348" y="447"/>
                      </a:lnTo>
                      <a:lnTo>
                        <a:pt x="1348" y="448"/>
                      </a:lnTo>
                      <a:lnTo>
                        <a:pt x="1347" y="448"/>
                      </a:lnTo>
                      <a:lnTo>
                        <a:pt x="1347" y="447"/>
                      </a:lnTo>
                      <a:close/>
                      <a:moveTo>
                        <a:pt x="1395" y="409"/>
                      </a:moveTo>
                      <a:lnTo>
                        <a:pt x="1396" y="409"/>
                      </a:lnTo>
                      <a:lnTo>
                        <a:pt x="1396" y="410"/>
                      </a:lnTo>
                      <a:lnTo>
                        <a:pt x="1395" y="410"/>
                      </a:lnTo>
                      <a:lnTo>
                        <a:pt x="1395" y="409"/>
                      </a:lnTo>
                      <a:close/>
                      <a:moveTo>
                        <a:pt x="1357" y="435"/>
                      </a:moveTo>
                      <a:lnTo>
                        <a:pt x="1358" y="435"/>
                      </a:lnTo>
                      <a:lnTo>
                        <a:pt x="1358" y="436"/>
                      </a:lnTo>
                      <a:lnTo>
                        <a:pt x="1357" y="436"/>
                      </a:lnTo>
                      <a:lnTo>
                        <a:pt x="1357" y="435"/>
                      </a:lnTo>
                      <a:close/>
                      <a:moveTo>
                        <a:pt x="1375" y="468"/>
                      </a:moveTo>
                      <a:lnTo>
                        <a:pt x="1376" y="468"/>
                      </a:lnTo>
                      <a:lnTo>
                        <a:pt x="1376" y="469"/>
                      </a:lnTo>
                      <a:lnTo>
                        <a:pt x="1375" y="469"/>
                      </a:lnTo>
                      <a:lnTo>
                        <a:pt x="1375" y="468"/>
                      </a:lnTo>
                      <a:close/>
                      <a:moveTo>
                        <a:pt x="1218" y="631"/>
                      </a:moveTo>
                      <a:lnTo>
                        <a:pt x="1219" y="631"/>
                      </a:lnTo>
                      <a:lnTo>
                        <a:pt x="1219" y="633"/>
                      </a:lnTo>
                      <a:lnTo>
                        <a:pt x="1218" y="633"/>
                      </a:lnTo>
                      <a:lnTo>
                        <a:pt x="1218" y="631"/>
                      </a:lnTo>
                      <a:close/>
                      <a:moveTo>
                        <a:pt x="1358" y="434"/>
                      </a:moveTo>
                      <a:lnTo>
                        <a:pt x="1361" y="434"/>
                      </a:lnTo>
                      <a:lnTo>
                        <a:pt x="1361" y="435"/>
                      </a:lnTo>
                      <a:lnTo>
                        <a:pt x="1358" y="435"/>
                      </a:lnTo>
                      <a:lnTo>
                        <a:pt x="1358" y="434"/>
                      </a:lnTo>
                      <a:close/>
                      <a:moveTo>
                        <a:pt x="1338" y="505"/>
                      </a:moveTo>
                      <a:lnTo>
                        <a:pt x="1339" y="505"/>
                      </a:lnTo>
                      <a:lnTo>
                        <a:pt x="1339" y="506"/>
                      </a:lnTo>
                      <a:lnTo>
                        <a:pt x="1338" y="506"/>
                      </a:lnTo>
                      <a:lnTo>
                        <a:pt x="1338" y="505"/>
                      </a:lnTo>
                      <a:close/>
                      <a:moveTo>
                        <a:pt x="1241" y="750"/>
                      </a:moveTo>
                      <a:lnTo>
                        <a:pt x="1244" y="750"/>
                      </a:lnTo>
                      <a:lnTo>
                        <a:pt x="1241" y="750"/>
                      </a:lnTo>
                      <a:close/>
                      <a:moveTo>
                        <a:pt x="1374" y="468"/>
                      </a:moveTo>
                      <a:lnTo>
                        <a:pt x="1373" y="468"/>
                      </a:lnTo>
                      <a:lnTo>
                        <a:pt x="1371" y="468"/>
                      </a:lnTo>
                      <a:lnTo>
                        <a:pt x="1373" y="468"/>
                      </a:lnTo>
                      <a:lnTo>
                        <a:pt x="1374" y="468"/>
                      </a:lnTo>
                      <a:close/>
                      <a:moveTo>
                        <a:pt x="1246" y="748"/>
                      </a:moveTo>
                      <a:lnTo>
                        <a:pt x="1247" y="748"/>
                      </a:lnTo>
                      <a:lnTo>
                        <a:pt x="1247" y="749"/>
                      </a:lnTo>
                      <a:lnTo>
                        <a:pt x="1246" y="749"/>
                      </a:lnTo>
                      <a:lnTo>
                        <a:pt x="1246" y="748"/>
                      </a:lnTo>
                      <a:close/>
                      <a:moveTo>
                        <a:pt x="1339" y="582"/>
                      </a:moveTo>
                      <a:lnTo>
                        <a:pt x="1338" y="582"/>
                      </a:lnTo>
                      <a:lnTo>
                        <a:pt x="1337" y="582"/>
                      </a:lnTo>
                      <a:lnTo>
                        <a:pt x="1337" y="583"/>
                      </a:lnTo>
                      <a:lnTo>
                        <a:pt x="1337" y="582"/>
                      </a:lnTo>
                      <a:lnTo>
                        <a:pt x="1338" y="582"/>
                      </a:lnTo>
                      <a:lnTo>
                        <a:pt x="1339" y="581"/>
                      </a:lnTo>
                      <a:lnTo>
                        <a:pt x="1339" y="582"/>
                      </a:lnTo>
                      <a:close/>
                      <a:moveTo>
                        <a:pt x="1174" y="711"/>
                      </a:moveTo>
                      <a:lnTo>
                        <a:pt x="1175" y="711"/>
                      </a:lnTo>
                      <a:lnTo>
                        <a:pt x="1175" y="712"/>
                      </a:lnTo>
                      <a:lnTo>
                        <a:pt x="1174" y="712"/>
                      </a:lnTo>
                      <a:lnTo>
                        <a:pt x="1174" y="711"/>
                      </a:lnTo>
                      <a:close/>
                      <a:moveTo>
                        <a:pt x="1370" y="461"/>
                      </a:moveTo>
                      <a:lnTo>
                        <a:pt x="1371" y="461"/>
                      </a:lnTo>
                      <a:lnTo>
                        <a:pt x="1371" y="463"/>
                      </a:lnTo>
                      <a:lnTo>
                        <a:pt x="1370" y="463"/>
                      </a:lnTo>
                      <a:lnTo>
                        <a:pt x="1370" y="461"/>
                      </a:lnTo>
                      <a:close/>
                      <a:moveTo>
                        <a:pt x="1631" y="575"/>
                      </a:moveTo>
                      <a:lnTo>
                        <a:pt x="1633" y="575"/>
                      </a:lnTo>
                      <a:lnTo>
                        <a:pt x="1631" y="575"/>
                      </a:lnTo>
                      <a:close/>
                      <a:moveTo>
                        <a:pt x="1216" y="707"/>
                      </a:moveTo>
                      <a:lnTo>
                        <a:pt x="1218" y="707"/>
                      </a:lnTo>
                      <a:lnTo>
                        <a:pt x="1218" y="708"/>
                      </a:lnTo>
                      <a:lnTo>
                        <a:pt x="1216" y="708"/>
                      </a:lnTo>
                      <a:lnTo>
                        <a:pt x="1216" y="707"/>
                      </a:lnTo>
                      <a:close/>
                      <a:moveTo>
                        <a:pt x="1626" y="544"/>
                      </a:moveTo>
                      <a:lnTo>
                        <a:pt x="1628" y="544"/>
                      </a:lnTo>
                      <a:lnTo>
                        <a:pt x="1628" y="545"/>
                      </a:lnTo>
                      <a:lnTo>
                        <a:pt x="1626" y="545"/>
                      </a:lnTo>
                      <a:lnTo>
                        <a:pt x="1626" y="544"/>
                      </a:lnTo>
                      <a:close/>
                      <a:moveTo>
                        <a:pt x="1263" y="479"/>
                      </a:moveTo>
                      <a:lnTo>
                        <a:pt x="1264" y="479"/>
                      </a:lnTo>
                      <a:lnTo>
                        <a:pt x="1264" y="480"/>
                      </a:lnTo>
                      <a:lnTo>
                        <a:pt x="1263" y="480"/>
                      </a:lnTo>
                      <a:lnTo>
                        <a:pt x="1263" y="479"/>
                      </a:lnTo>
                      <a:close/>
                      <a:moveTo>
                        <a:pt x="1396" y="408"/>
                      </a:moveTo>
                      <a:lnTo>
                        <a:pt x="1397" y="408"/>
                      </a:lnTo>
                      <a:lnTo>
                        <a:pt x="1397" y="410"/>
                      </a:lnTo>
                      <a:lnTo>
                        <a:pt x="1396" y="410"/>
                      </a:lnTo>
                      <a:lnTo>
                        <a:pt x="1396" y="408"/>
                      </a:lnTo>
                      <a:close/>
                      <a:moveTo>
                        <a:pt x="1263" y="498"/>
                      </a:moveTo>
                      <a:lnTo>
                        <a:pt x="1264" y="498"/>
                      </a:lnTo>
                      <a:lnTo>
                        <a:pt x="1264" y="499"/>
                      </a:lnTo>
                      <a:lnTo>
                        <a:pt x="1263" y="499"/>
                      </a:lnTo>
                      <a:lnTo>
                        <a:pt x="1263" y="498"/>
                      </a:lnTo>
                      <a:close/>
                      <a:moveTo>
                        <a:pt x="1317" y="470"/>
                      </a:moveTo>
                      <a:lnTo>
                        <a:pt x="1318" y="470"/>
                      </a:lnTo>
                      <a:lnTo>
                        <a:pt x="1318" y="472"/>
                      </a:lnTo>
                      <a:lnTo>
                        <a:pt x="1317" y="472"/>
                      </a:lnTo>
                      <a:lnTo>
                        <a:pt x="1317" y="470"/>
                      </a:lnTo>
                      <a:close/>
                      <a:moveTo>
                        <a:pt x="1335" y="472"/>
                      </a:moveTo>
                      <a:lnTo>
                        <a:pt x="1336" y="472"/>
                      </a:lnTo>
                      <a:lnTo>
                        <a:pt x="1336" y="473"/>
                      </a:lnTo>
                      <a:lnTo>
                        <a:pt x="1335" y="473"/>
                      </a:lnTo>
                      <a:lnTo>
                        <a:pt x="1335" y="472"/>
                      </a:lnTo>
                      <a:close/>
                      <a:moveTo>
                        <a:pt x="1210" y="703"/>
                      </a:moveTo>
                      <a:lnTo>
                        <a:pt x="1211" y="703"/>
                      </a:lnTo>
                      <a:lnTo>
                        <a:pt x="1211" y="704"/>
                      </a:lnTo>
                      <a:lnTo>
                        <a:pt x="1210" y="704"/>
                      </a:lnTo>
                      <a:lnTo>
                        <a:pt x="1210" y="703"/>
                      </a:lnTo>
                      <a:close/>
                      <a:moveTo>
                        <a:pt x="1148" y="717"/>
                      </a:moveTo>
                      <a:lnTo>
                        <a:pt x="1150" y="717"/>
                      </a:lnTo>
                      <a:lnTo>
                        <a:pt x="1150" y="718"/>
                      </a:lnTo>
                      <a:lnTo>
                        <a:pt x="1148" y="718"/>
                      </a:lnTo>
                      <a:lnTo>
                        <a:pt x="1148" y="717"/>
                      </a:lnTo>
                      <a:close/>
                      <a:moveTo>
                        <a:pt x="1192" y="708"/>
                      </a:moveTo>
                      <a:lnTo>
                        <a:pt x="1193" y="708"/>
                      </a:lnTo>
                      <a:lnTo>
                        <a:pt x="1193" y="709"/>
                      </a:lnTo>
                      <a:lnTo>
                        <a:pt x="1192" y="709"/>
                      </a:lnTo>
                      <a:lnTo>
                        <a:pt x="1192" y="708"/>
                      </a:lnTo>
                      <a:close/>
                      <a:moveTo>
                        <a:pt x="1629" y="565"/>
                      </a:moveTo>
                      <a:lnTo>
                        <a:pt x="1631" y="565"/>
                      </a:lnTo>
                      <a:lnTo>
                        <a:pt x="1631" y="566"/>
                      </a:lnTo>
                      <a:lnTo>
                        <a:pt x="1629" y="566"/>
                      </a:lnTo>
                      <a:lnTo>
                        <a:pt x="1629" y="565"/>
                      </a:lnTo>
                      <a:close/>
                      <a:moveTo>
                        <a:pt x="1329" y="487"/>
                      </a:moveTo>
                      <a:lnTo>
                        <a:pt x="1330" y="487"/>
                      </a:lnTo>
                      <a:lnTo>
                        <a:pt x="1330" y="488"/>
                      </a:lnTo>
                      <a:lnTo>
                        <a:pt x="1329" y="488"/>
                      </a:lnTo>
                      <a:lnTo>
                        <a:pt x="1329" y="487"/>
                      </a:lnTo>
                      <a:close/>
                      <a:moveTo>
                        <a:pt x="1380" y="506"/>
                      </a:moveTo>
                      <a:lnTo>
                        <a:pt x="1381" y="506"/>
                      </a:lnTo>
                      <a:lnTo>
                        <a:pt x="1381" y="507"/>
                      </a:lnTo>
                      <a:lnTo>
                        <a:pt x="1380" y="507"/>
                      </a:lnTo>
                      <a:lnTo>
                        <a:pt x="1380" y="506"/>
                      </a:lnTo>
                      <a:close/>
                      <a:moveTo>
                        <a:pt x="1365" y="550"/>
                      </a:moveTo>
                      <a:lnTo>
                        <a:pt x="1367" y="550"/>
                      </a:lnTo>
                      <a:lnTo>
                        <a:pt x="1367" y="551"/>
                      </a:lnTo>
                      <a:lnTo>
                        <a:pt x="1365" y="551"/>
                      </a:lnTo>
                      <a:lnTo>
                        <a:pt x="1365" y="550"/>
                      </a:lnTo>
                      <a:close/>
                      <a:moveTo>
                        <a:pt x="1332" y="510"/>
                      </a:moveTo>
                      <a:lnTo>
                        <a:pt x="1335" y="510"/>
                      </a:lnTo>
                      <a:lnTo>
                        <a:pt x="1332" y="510"/>
                      </a:lnTo>
                      <a:close/>
                      <a:moveTo>
                        <a:pt x="1621" y="628"/>
                      </a:moveTo>
                      <a:lnTo>
                        <a:pt x="1622" y="628"/>
                      </a:lnTo>
                      <a:lnTo>
                        <a:pt x="1622" y="629"/>
                      </a:lnTo>
                      <a:lnTo>
                        <a:pt x="1621" y="629"/>
                      </a:lnTo>
                      <a:lnTo>
                        <a:pt x="1621" y="628"/>
                      </a:lnTo>
                      <a:close/>
                      <a:moveTo>
                        <a:pt x="1215" y="704"/>
                      </a:moveTo>
                      <a:lnTo>
                        <a:pt x="1216" y="704"/>
                      </a:lnTo>
                      <a:lnTo>
                        <a:pt x="1216" y="705"/>
                      </a:lnTo>
                      <a:lnTo>
                        <a:pt x="1215" y="705"/>
                      </a:lnTo>
                      <a:lnTo>
                        <a:pt x="1215" y="704"/>
                      </a:lnTo>
                      <a:close/>
                      <a:moveTo>
                        <a:pt x="1389" y="484"/>
                      </a:moveTo>
                      <a:lnTo>
                        <a:pt x="1391" y="484"/>
                      </a:lnTo>
                      <a:lnTo>
                        <a:pt x="1391" y="485"/>
                      </a:lnTo>
                      <a:lnTo>
                        <a:pt x="1389" y="485"/>
                      </a:lnTo>
                      <a:lnTo>
                        <a:pt x="1389" y="484"/>
                      </a:lnTo>
                      <a:close/>
                      <a:moveTo>
                        <a:pt x="1624" y="531"/>
                      </a:moveTo>
                      <a:lnTo>
                        <a:pt x="1625" y="531"/>
                      </a:lnTo>
                      <a:lnTo>
                        <a:pt x="1625" y="532"/>
                      </a:lnTo>
                      <a:lnTo>
                        <a:pt x="1624" y="532"/>
                      </a:lnTo>
                      <a:lnTo>
                        <a:pt x="1624" y="531"/>
                      </a:lnTo>
                      <a:close/>
                      <a:moveTo>
                        <a:pt x="1248" y="703"/>
                      </a:moveTo>
                      <a:lnTo>
                        <a:pt x="1249" y="703"/>
                      </a:lnTo>
                      <a:lnTo>
                        <a:pt x="1249" y="704"/>
                      </a:lnTo>
                      <a:lnTo>
                        <a:pt x="1248" y="704"/>
                      </a:lnTo>
                      <a:lnTo>
                        <a:pt x="1248" y="703"/>
                      </a:lnTo>
                      <a:close/>
                      <a:moveTo>
                        <a:pt x="1251" y="679"/>
                      </a:moveTo>
                      <a:lnTo>
                        <a:pt x="1252" y="679"/>
                      </a:lnTo>
                      <a:lnTo>
                        <a:pt x="1252" y="680"/>
                      </a:lnTo>
                      <a:lnTo>
                        <a:pt x="1251" y="680"/>
                      </a:lnTo>
                      <a:lnTo>
                        <a:pt x="1251" y="679"/>
                      </a:lnTo>
                      <a:close/>
                      <a:moveTo>
                        <a:pt x="1621" y="539"/>
                      </a:moveTo>
                      <a:lnTo>
                        <a:pt x="1622" y="539"/>
                      </a:lnTo>
                      <a:lnTo>
                        <a:pt x="1622" y="540"/>
                      </a:lnTo>
                      <a:lnTo>
                        <a:pt x="1621" y="540"/>
                      </a:lnTo>
                      <a:lnTo>
                        <a:pt x="1621" y="539"/>
                      </a:lnTo>
                      <a:close/>
                      <a:moveTo>
                        <a:pt x="1389" y="514"/>
                      </a:moveTo>
                      <a:lnTo>
                        <a:pt x="1390" y="514"/>
                      </a:lnTo>
                      <a:lnTo>
                        <a:pt x="1390" y="515"/>
                      </a:lnTo>
                      <a:lnTo>
                        <a:pt x="1389" y="515"/>
                      </a:lnTo>
                      <a:lnTo>
                        <a:pt x="1389" y="514"/>
                      </a:lnTo>
                      <a:close/>
                      <a:moveTo>
                        <a:pt x="1334" y="472"/>
                      </a:moveTo>
                      <a:lnTo>
                        <a:pt x="1334" y="473"/>
                      </a:lnTo>
                      <a:lnTo>
                        <a:pt x="1334" y="472"/>
                      </a:lnTo>
                      <a:close/>
                      <a:moveTo>
                        <a:pt x="1382" y="449"/>
                      </a:moveTo>
                      <a:lnTo>
                        <a:pt x="1383" y="449"/>
                      </a:lnTo>
                      <a:lnTo>
                        <a:pt x="1383" y="450"/>
                      </a:lnTo>
                      <a:lnTo>
                        <a:pt x="1382" y="450"/>
                      </a:lnTo>
                      <a:lnTo>
                        <a:pt x="1382" y="449"/>
                      </a:lnTo>
                      <a:close/>
                      <a:moveTo>
                        <a:pt x="1149" y="718"/>
                      </a:moveTo>
                      <a:lnTo>
                        <a:pt x="1150" y="718"/>
                      </a:lnTo>
                      <a:lnTo>
                        <a:pt x="1150" y="719"/>
                      </a:lnTo>
                      <a:lnTo>
                        <a:pt x="1149" y="719"/>
                      </a:lnTo>
                      <a:lnTo>
                        <a:pt x="1149" y="718"/>
                      </a:lnTo>
                      <a:close/>
                      <a:moveTo>
                        <a:pt x="1259" y="525"/>
                      </a:moveTo>
                      <a:lnTo>
                        <a:pt x="1260" y="525"/>
                      </a:lnTo>
                      <a:lnTo>
                        <a:pt x="1260" y="526"/>
                      </a:lnTo>
                      <a:lnTo>
                        <a:pt x="1259" y="526"/>
                      </a:lnTo>
                      <a:lnTo>
                        <a:pt x="1259" y="525"/>
                      </a:lnTo>
                      <a:close/>
                      <a:moveTo>
                        <a:pt x="1386" y="502"/>
                      </a:moveTo>
                      <a:lnTo>
                        <a:pt x="1387" y="502"/>
                      </a:lnTo>
                      <a:lnTo>
                        <a:pt x="1387" y="503"/>
                      </a:lnTo>
                      <a:lnTo>
                        <a:pt x="1386" y="503"/>
                      </a:lnTo>
                      <a:lnTo>
                        <a:pt x="1386" y="502"/>
                      </a:lnTo>
                      <a:close/>
                      <a:moveTo>
                        <a:pt x="1339" y="609"/>
                      </a:moveTo>
                      <a:lnTo>
                        <a:pt x="1340" y="609"/>
                      </a:lnTo>
                      <a:lnTo>
                        <a:pt x="1339" y="609"/>
                      </a:lnTo>
                      <a:close/>
                      <a:moveTo>
                        <a:pt x="1327" y="566"/>
                      </a:moveTo>
                      <a:lnTo>
                        <a:pt x="1328" y="566"/>
                      </a:lnTo>
                      <a:lnTo>
                        <a:pt x="1327" y="566"/>
                      </a:lnTo>
                      <a:close/>
                      <a:moveTo>
                        <a:pt x="1406" y="467"/>
                      </a:moveTo>
                      <a:lnTo>
                        <a:pt x="1407" y="467"/>
                      </a:lnTo>
                      <a:lnTo>
                        <a:pt x="1407" y="468"/>
                      </a:lnTo>
                      <a:lnTo>
                        <a:pt x="1406" y="468"/>
                      </a:lnTo>
                      <a:lnTo>
                        <a:pt x="1406" y="467"/>
                      </a:lnTo>
                      <a:close/>
                      <a:moveTo>
                        <a:pt x="1289" y="534"/>
                      </a:moveTo>
                      <a:lnTo>
                        <a:pt x="1290" y="534"/>
                      </a:lnTo>
                      <a:lnTo>
                        <a:pt x="1289" y="534"/>
                      </a:lnTo>
                      <a:close/>
                      <a:moveTo>
                        <a:pt x="1310" y="646"/>
                      </a:moveTo>
                      <a:lnTo>
                        <a:pt x="1311" y="646"/>
                      </a:lnTo>
                      <a:lnTo>
                        <a:pt x="1311" y="647"/>
                      </a:lnTo>
                      <a:lnTo>
                        <a:pt x="1310" y="647"/>
                      </a:lnTo>
                      <a:lnTo>
                        <a:pt x="1310" y="646"/>
                      </a:lnTo>
                      <a:close/>
                      <a:moveTo>
                        <a:pt x="1356" y="437"/>
                      </a:moveTo>
                      <a:lnTo>
                        <a:pt x="1357" y="437"/>
                      </a:lnTo>
                      <a:lnTo>
                        <a:pt x="1356" y="437"/>
                      </a:lnTo>
                      <a:close/>
                      <a:moveTo>
                        <a:pt x="1363" y="455"/>
                      </a:moveTo>
                      <a:lnTo>
                        <a:pt x="1363" y="456"/>
                      </a:lnTo>
                      <a:lnTo>
                        <a:pt x="1363" y="455"/>
                      </a:lnTo>
                      <a:close/>
                      <a:moveTo>
                        <a:pt x="1257" y="713"/>
                      </a:moveTo>
                      <a:lnTo>
                        <a:pt x="1258" y="713"/>
                      </a:lnTo>
                      <a:lnTo>
                        <a:pt x="1257" y="713"/>
                      </a:lnTo>
                      <a:close/>
                      <a:moveTo>
                        <a:pt x="1338" y="581"/>
                      </a:moveTo>
                      <a:lnTo>
                        <a:pt x="1339" y="581"/>
                      </a:lnTo>
                      <a:lnTo>
                        <a:pt x="1339" y="582"/>
                      </a:lnTo>
                      <a:lnTo>
                        <a:pt x="1338" y="582"/>
                      </a:lnTo>
                      <a:lnTo>
                        <a:pt x="1338" y="581"/>
                      </a:lnTo>
                      <a:close/>
                      <a:moveTo>
                        <a:pt x="1194" y="703"/>
                      </a:moveTo>
                      <a:lnTo>
                        <a:pt x="1195" y="703"/>
                      </a:lnTo>
                      <a:lnTo>
                        <a:pt x="1195" y="704"/>
                      </a:lnTo>
                      <a:lnTo>
                        <a:pt x="1194" y="704"/>
                      </a:lnTo>
                      <a:lnTo>
                        <a:pt x="1194" y="703"/>
                      </a:lnTo>
                      <a:close/>
                      <a:moveTo>
                        <a:pt x="1367" y="447"/>
                      </a:moveTo>
                      <a:lnTo>
                        <a:pt x="1368" y="447"/>
                      </a:lnTo>
                      <a:lnTo>
                        <a:pt x="1368" y="448"/>
                      </a:lnTo>
                      <a:lnTo>
                        <a:pt x="1367" y="448"/>
                      </a:lnTo>
                      <a:lnTo>
                        <a:pt x="1367" y="447"/>
                      </a:lnTo>
                      <a:close/>
                      <a:moveTo>
                        <a:pt x="1378" y="1115"/>
                      </a:moveTo>
                      <a:lnTo>
                        <a:pt x="1379" y="1115"/>
                      </a:lnTo>
                      <a:lnTo>
                        <a:pt x="1380" y="1115"/>
                      </a:lnTo>
                      <a:lnTo>
                        <a:pt x="1381" y="1116"/>
                      </a:lnTo>
                      <a:lnTo>
                        <a:pt x="1382" y="1116"/>
                      </a:lnTo>
                      <a:lnTo>
                        <a:pt x="1383" y="1116"/>
                      </a:lnTo>
                      <a:lnTo>
                        <a:pt x="1384" y="1116"/>
                      </a:lnTo>
                      <a:lnTo>
                        <a:pt x="1386" y="1116"/>
                      </a:lnTo>
                      <a:lnTo>
                        <a:pt x="1388" y="1117"/>
                      </a:lnTo>
                      <a:lnTo>
                        <a:pt x="1389" y="1117"/>
                      </a:lnTo>
                      <a:lnTo>
                        <a:pt x="1390" y="1117"/>
                      </a:lnTo>
                      <a:lnTo>
                        <a:pt x="1390" y="1118"/>
                      </a:lnTo>
                      <a:lnTo>
                        <a:pt x="1391" y="1118"/>
                      </a:lnTo>
                      <a:lnTo>
                        <a:pt x="1391" y="1119"/>
                      </a:lnTo>
                      <a:lnTo>
                        <a:pt x="1390" y="1119"/>
                      </a:lnTo>
                      <a:lnTo>
                        <a:pt x="1390" y="1120"/>
                      </a:lnTo>
                      <a:lnTo>
                        <a:pt x="1391" y="1122"/>
                      </a:lnTo>
                      <a:lnTo>
                        <a:pt x="1391" y="1123"/>
                      </a:lnTo>
                      <a:lnTo>
                        <a:pt x="1392" y="1124"/>
                      </a:lnTo>
                      <a:lnTo>
                        <a:pt x="1392" y="1125"/>
                      </a:lnTo>
                      <a:lnTo>
                        <a:pt x="1393" y="1127"/>
                      </a:lnTo>
                      <a:lnTo>
                        <a:pt x="1393" y="1128"/>
                      </a:lnTo>
                      <a:lnTo>
                        <a:pt x="1394" y="1130"/>
                      </a:lnTo>
                      <a:lnTo>
                        <a:pt x="1394" y="1131"/>
                      </a:lnTo>
                      <a:lnTo>
                        <a:pt x="1393" y="1131"/>
                      </a:lnTo>
                      <a:lnTo>
                        <a:pt x="1392" y="1131"/>
                      </a:lnTo>
                      <a:lnTo>
                        <a:pt x="1392" y="1130"/>
                      </a:lnTo>
                      <a:lnTo>
                        <a:pt x="1392" y="1131"/>
                      </a:lnTo>
                      <a:lnTo>
                        <a:pt x="1393" y="1131"/>
                      </a:lnTo>
                      <a:lnTo>
                        <a:pt x="1392" y="1131"/>
                      </a:lnTo>
                      <a:lnTo>
                        <a:pt x="1392" y="1132"/>
                      </a:lnTo>
                      <a:lnTo>
                        <a:pt x="1391" y="1133"/>
                      </a:lnTo>
                      <a:lnTo>
                        <a:pt x="1390" y="1133"/>
                      </a:lnTo>
                      <a:lnTo>
                        <a:pt x="1391" y="1133"/>
                      </a:lnTo>
                      <a:lnTo>
                        <a:pt x="1392" y="1133"/>
                      </a:lnTo>
                      <a:lnTo>
                        <a:pt x="1391" y="1133"/>
                      </a:lnTo>
                      <a:lnTo>
                        <a:pt x="1391" y="1132"/>
                      </a:lnTo>
                      <a:lnTo>
                        <a:pt x="1392" y="1132"/>
                      </a:lnTo>
                      <a:lnTo>
                        <a:pt x="1393" y="1131"/>
                      </a:lnTo>
                      <a:lnTo>
                        <a:pt x="1394" y="1131"/>
                      </a:lnTo>
                      <a:lnTo>
                        <a:pt x="1394" y="1132"/>
                      </a:lnTo>
                      <a:lnTo>
                        <a:pt x="1394" y="1133"/>
                      </a:lnTo>
                      <a:lnTo>
                        <a:pt x="1394" y="1134"/>
                      </a:lnTo>
                      <a:lnTo>
                        <a:pt x="1394" y="1136"/>
                      </a:lnTo>
                      <a:lnTo>
                        <a:pt x="1394" y="1137"/>
                      </a:lnTo>
                      <a:lnTo>
                        <a:pt x="1395" y="1138"/>
                      </a:lnTo>
                      <a:lnTo>
                        <a:pt x="1394" y="1140"/>
                      </a:lnTo>
                      <a:lnTo>
                        <a:pt x="1393" y="1140"/>
                      </a:lnTo>
                      <a:lnTo>
                        <a:pt x="1394" y="1140"/>
                      </a:lnTo>
                      <a:lnTo>
                        <a:pt x="1395" y="1140"/>
                      </a:lnTo>
                      <a:lnTo>
                        <a:pt x="1395" y="1141"/>
                      </a:lnTo>
                      <a:lnTo>
                        <a:pt x="1395" y="1142"/>
                      </a:lnTo>
                      <a:lnTo>
                        <a:pt x="1394" y="1145"/>
                      </a:lnTo>
                      <a:lnTo>
                        <a:pt x="1394" y="1146"/>
                      </a:lnTo>
                      <a:lnTo>
                        <a:pt x="1394" y="1147"/>
                      </a:lnTo>
                      <a:lnTo>
                        <a:pt x="1394" y="1148"/>
                      </a:lnTo>
                      <a:lnTo>
                        <a:pt x="1393" y="1148"/>
                      </a:lnTo>
                      <a:lnTo>
                        <a:pt x="1393" y="1149"/>
                      </a:lnTo>
                      <a:lnTo>
                        <a:pt x="1392" y="1150"/>
                      </a:lnTo>
                      <a:lnTo>
                        <a:pt x="1391" y="1153"/>
                      </a:lnTo>
                      <a:lnTo>
                        <a:pt x="1391" y="1154"/>
                      </a:lnTo>
                      <a:lnTo>
                        <a:pt x="1391" y="1155"/>
                      </a:lnTo>
                      <a:lnTo>
                        <a:pt x="1391" y="1156"/>
                      </a:lnTo>
                      <a:lnTo>
                        <a:pt x="1392" y="1157"/>
                      </a:lnTo>
                      <a:lnTo>
                        <a:pt x="1394" y="1158"/>
                      </a:lnTo>
                      <a:lnTo>
                        <a:pt x="1395" y="1158"/>
                      </a:lnTo>
                      <a:lnTo>
                        <a:pt x="1395" y="1159"/>
                      </a:lnTo>
                      <a:lnTo>
                        <a:pt x="1397" y="1159"/>
                      </a:lnTo>
                      <a:lnTo>
                        <a:pt x="1399" y="1160"/>
                      </a:lnTo>
                      <a:lnTo>
                        <a:pt x="1400" y="1160"/>
                      </a:lnTo>
                      <a:lnTo>
                        <a:pt x="1400" y="1161"/>
                      </a:lnTo>
                      <a:lnTo>
                        <a:pt x="1401" y="1161"/>
                      </a:lnTo>
                      <a:lnTo>
                        <a:pt x="1401" y="1162"/>
                      </a:lnTo>
                      <a:lnTo>
                        <a:pt x="1401" y="1164"/>
                      </a:lnTo>
                      <a:lnTo>
                        <a:pt x="1402" y="1164"/>
                      </a:lnTo>
                      <a:lnTo>
                        <a:pt x="1402" y="1166"/>
                      </a:lnTo>
                      <a:lnTo>
                        <a:pt x="1404" y="1167"/>
                      </a:lnTo>
                      <a:lnTo>
                        <a:pt x="1405" y="1167"/>
                      </a:lnTo>
                      <a:lnTo>
                        <a:pt x="1405" y="1168"/>
                      </a:lnTo>
                      <a:lnTo>
                        <a:pt x="1406" y="1168"/>
                      </a:lnTo>
                      <a:lnTo>
                        <a:pt x="1406" y="1169"/>
                      </a:lnTo>
                      <a:lnTo>
                        <a:pt x="1405" y="1168"/>
                      </a:lnTo>
                      <a:lnTo>
                        <a:pt x="1405" y="1169"/>
                      </a:lnTo>
                      <a:lnTo>
                        <a:pt x="1406" y="1169"/>
                      </a:lnTo>
                      <a:lnTo>
                        <a:pt x="1407" y="1170"/>
                      </a:lnTo>
                      <a:lnTo>
                        <a:pt x="1407" y="1171"/>
                      </a:lnTo>
                      <a:lnTo>
                        <a:pt x="1406" y="1171"/>
                      </a:lnTo>
                      <a:lnTo>
                        <a:pt x="1406" y="1172"/>
                      </a:lnTo>
                      <a:lnTo>
                        <a:pt x="1407" y="1172"/>
                      </a:lnTo>
                      <a:lnTo>
                        <a:pt x="1408" y="1174"/>
                      </a:lnTo>
                      <a:lnTo>
                        <a:pt x="1409" y="1175"/>
                      </a:lnTo>
                      <a:lnTo>
                        <a:pt x="1410" y="1176"/>
                      </a:lnTo>
                      <a:lnTo>
                        <a:pt x="1410" y="1178"/>
                      </a:lnTo>
                      <a:lnTo>
                        <a:pt x="1412" y="1178"/>
                      </a:lnTo>
                      <a:lnTo>
                        <a:pt x="1412" y="1179"/>
                      </a:lnTo>
                      <a:lnTo>
                        <a:pt x="1412" y="1178"/>
                      </a:lnTo>
                      <a:lnTo>
                        <a:pt x="1413" y="1178"/>
                      </a:lnTo>
                      <a:lnTo>
                        <a:pt x="1414" y="1179"/>
                      </a:lnTo>
                      <a:lnTo>
                        <a:pt x="1416" y="1180"/>
                      </a:lnTo>
                      <a:lnTo>
                        <a:pt x="1416" y="1181"/>
                      </a:lnTo>
                      <a:lnTo>
                        <a:pt x="1417" y="1181"/>
                      </a:lnTo>
                      <a:lnTo>
                        <a:pt x="1418" y="1181"/>
                      </a:lnTo>
                      <a:lnTo>
                        <a:pt x="1419" y="1181"/>
                      </a:lnTo>
                      <a:lnTo>
                        <a:pt x="1420" y="1181"/>
                      </a:lnTo>
                      <a:lnTo>
                        <a:pt x="1421" y="1181"/>
                      </a:lnTo>
                      <a:lnTo>
                        <a:pt x="1421" y="1182"/>
                      </a:lnTo>
                      <a:lnTo>
                        <a:pt x="1422" y="1182"/>
                      </a:lnTo>
                      <a:lnTo>
                        <a:pt x="1424" y="1183"/>
                      </a:lnTo>
                      <a:lnTo>
                        <a:pt x="1424" y="1184"/>
                      </a:lnTo>
                      <a:lnTo>
                        <a:pt x="1425" y="1185"/>
                      </a:lnTo>
                      <a:lnTo>
                        <a:pt x="1424" y="1185"/>
                      </a:lnTo>
                      <a:lnTo>
                        <a:pt x="1424" y="1184"/>
                      </a:lnTo>
                      <a:lnTo>
                        <a:pt x="1422" y="1184"/>
                      </a:lnTo>
                      <a:lnTo>
                        <a:pt x="1421" y="1184"/>
                      </a:lnTo>
                      <a:lnTo>
                        <a:pt x="1420" y="1184"/>
                      </a:lnTo>
                      <a:lnTo>
                        <a:pt x="1419" y="1184"/>
                      </a:lnTo>
                      <a:lnTo>
                        <a:pt x="1419" y="1183"/>
                      </a:lnTo>
                      <a:lnTo>
                        <a:pt x="1419" y="1184"/>
                      </a:lnTo>
                      <a:lnTo>
                        <a:pt x="1418" y="1183"/>
                      </a:lnTo>
                      <a:lnTo>
                        <a:pt x="1418" y="1184"/>
                      </a:lnTo>
                      <a:lnTo>
                        <a:pt x="1417" y="1184"/>
                      </a:lnTo>
                      <a:lnTo>
                        <a:pt x="1417" y="1183"/>
                      </a:lnTo>
                      <a:lnTo>
                        <a:pt x="1417" y="1184"/>
                      </a:lnTo>
                      <a:lnTo>
                        <a:pt x="1416" y="1183"/>
                      </a:lnTo>
                      <a:lnTo>
                        <a:pt x="1416" y="1184"/>
                      </a:lnTo>
                      <a:lnTo>
                        <a:pt x="1415" y="1184"/>
                      </a:lnTo>
                      <a:lnTo>
                        <a:pt x="1415" y="1183"/>
                      </a:lnTo>
                      <a:lnTo>
                        <a:pt x="1414" y="1183"/>
                      </a:lnTo>
                      <a:lnTo>
                        <a:pt x="1414" y="1182"/>
                      </a:lnTo>
                      <a:lnTo>
                        <a:pt x="1413" y="1182"/>
                      </a:lnTo>
                      <a:lnTo>
                        <a:pt x="1414" y="1182"/>
                      </a:lnTo>
                      <a:lnTo>
                        <a:pt x="1414" y="1183"/>
                      </a:lnTo>
                      <a:lnTo>
                        <a:pt x="1415" y="1183"/>
                      </a:lnTo>
                      <a:lnTo>
                        <a:pt x="1415" y="1184"/>
                      </a:lnTo>
                      <a:lnTo>
                        <a:pt x="1416" y="1184"/>
                      </a:lnTo>
                      <a:lnTo>
                        <a:pt x="1415" y="1184"/>
                      </a:lnTo>
                      <a:lnTo>
                        <a:pt x="1415" y="1185"/>
                      </a:lnTo>
                      <a:lnTo>
                        <a:pt x="1414" y="1185"/>
                      </a:lnTo>
                      <a:lnTo>
                        <a:pt x="1413" y="1184"/>
                      </a:lnTo>
                      <a:lnTo>
                        <a:pt x="1412" y="1183"/>
                      </a:lnTo>
                      <a:lnTo>
                        <a:pt x="1412" y="1182"/>
                      </a:lnTo>
                      <a:lnTo>
                        <a:pt x="1410" y="1182"/>
                      </a:lnTo>
                      <a:lnTo>
                        <a:pt x="1410" y="1181"/>
                      </a:lnTo>
                      <a:lnTo>
                        <a:pt x="1409" y="1181"/>
                      </a:lnTo>
                      <a:lnTo>
                        <a:pt x="1409" y="1180"/>
                      </a:lnTo>
                      <a:lnTo>
                        <a:pt x="1408" y="1180"/>
                      </a:lnTo>
                      <a:lnTo>
                        <a:pt x="1408" y="1179"/>
                      </a:lnTo>
                      <a:lnTo>
                        <a:pt x="1406" y="1179"/>
                      </a:lnTo>
                      <a:lnTo>
                        <a:pt x="1407" y="1179"/>
                      </a:lnTo>
                      <a:lnTo>
                        <a:pt x="1407" y="1180"/>
                      </a:lnTo>
                      <a:lnTo>
                        <a:pt x="1408" y="1180"/>
                      </a:lnTo>
                      <a:lnTo>
                        <a:pt x="1408" y="1181"/>
                      </a:lnTo>
                      <a:lnTo>
                        <a:pt x="1409" y="1181"/>
                      </a:lnTo>
                      <a:lnTo>
                        <a:pt x="1409" y="1182"/>
                      </a:lnTo>
                      <a:lnTo>
                        <a:pt x="1410" y="1182"/>
                      </a:lnTo>
                      <a:lnTo>
                        <a:pt x="1413" y="1184"/>
                      </a:lnTo>
                      <a:lnTo>
                        <a:pt x="1413" y="1185"/>
                      </a:lnTo>
                      <a:lnTo>
                        <a:pt x="1414" y="1185"/>
                      </a:lnTo>
                      <a:lnTo>
                        <a:pt x="1414" y="1186"/>
                      </a:lnTo>
                      <a:lnTo>
                        <a:pt x="1414" y="1187"/>
                      </a:lnTo>
                      <a:lnTo>
                        <a:pt x="1415" y="1187"/>
                      </a:lnTo>
                      <a:lnTo>
                        <a:pt x="1415" y="1188"/>
                      </a:lnTo>
                      <a:lnTo>
                        <a:pt x="1416" y="1188"/>
                      </a:lnTo>
                      <a:lnTo>
                        <a:pt x="1417" y="1188"/>
                      </a:lnTo>
                      <a:lnTo>
                        <a:pt x="1418" y="1189"/>
                      </a:lnTo>
                      <a:lnTo>
                        <a:pt x="1419" y="1188"/>
                      </a:lnTo>
                      <a:lnTo>
                        <a:pt x="1420" y="1188"/>
                      </a:lnTo>
                      <a:lnTo>
                        <a:pt x="1420" y="1189"/>
                      </a:lnTo>
                      <a:lnTo>
                        <a:pt x="1419" y="1189"/>
                      </a:lnTo>
                      <a:lnTo>
                        <a:pt x="1419" y="1191"/>
                      </a:lnTo>
                      <a:lnTo>
                        <a:pt x="1419" y="1192"/>
                      </a:lnTo>
                      <a:lnTo>
                        <a:pt x="1421" y="1192"/>
                      </a:lnTo>
                      <a:lnTo>
                        <a:pt x="1422" y="1192"/>
                      </a:lnTo>
                      <a:lnTo>
                        <a:pt x="1424" y="1191"/>
                      </a:lnTo>
                      <a:lnTo>
                        <a:pt x="1425" y="1191"/>
                      </a:lnTo>
                      <a:lnTo>
                        <a:pt x="1426" y="1192"/>
                      </a:lnTo>
                      <a:lnTo>
                        <a:pt x="1427" y="1193"/>
                      </a:lnTo>
                      <a:lnTo>
                        <a:pt x="1427" y="1194"/>
                      </a:lnTo>
                      <a:lnTo>
                        <a:pt x="1426" y="1194"/>
                      </a:lnTo>
                      <a:lnTo>
                        <a:pt x="1425" y="1193"/>
                      </a:lnTo>
                      <a:lnTo>
                        <a:pt x="1424" y="1193"/>
                      </a:lnTo>
                      <a:lnTo>
                        <a:pt x="1421" y="1194"/>
                      </a:lnTo>
                      <a:lnTo>
                        <a:pt x="1422" y="1195"/>
                      </a:lnTo>
                      <a:lnTo>
                        <a:pt x="1422" y="1196"/>
                      </a:lnTo>
                      <a:lnTo>
                        <a:pt x="1422" y="1197"/>
                      </a:lnTo>
                      <a:lnTo>
                        <a:pt x="1422" y="1198"/>
                      </a:lnTo>
                      <a:lnTo>
                        <a:pt x="1424" y="1198"/>
                      </a:lnTo>
                      <a:lnTo>
                        <a:pt x="1424" y="1200"/>
                      </a:lnTo>
                      <a:lnTo>
                        <a:pt x="1424" y="1201"/>
                      </a:lnTo>
                      <a:lnTo>
                        <a:pt x="1425" y="1202"/>
                      </a:lnTo>
                      <a:lnTo>
                        <a:pt x="1426" y="1205"/>
                      </a:lnTo>
                      <a:lnTo>
                        <a:pt x="1427" y="1206"/>
                      </a:lnTo>
                      <a:lnTo>
                        <a:pt x="1427" y="1205"/>
                      </a:lnTo>
                      <a:lnTo>
                        <a:pt x="1428" y="1205"/>
                      </a:lnTo>
                      <a:lnTo>
                        <a:pt x="1429" y="1205"/>
                      </a:lnTo>
                      <a:lnTo>
                        <a:pt x="1429" y="1206"/>
                      </a:lnTo>
                      <a:lnTo>
                        <a:pt x="1429" y="1207"/>
                      </a:lnTo>
                      <a:lnTo>
                        <a:pt x="1430" y="1208"/>
                      </a:lnTo>
                      <a:lnTo>
                        <a:pt x="1430" y="1209"/>
                      </a:lnTo>
                      <a:lnTo>
                        <a:pt x="1431" y="1209"/>
                      </a:lnTo>
                      <a:lnTo>
                        <a:pt x="1432" y="1208"/>
                      </a:lnTo>
                      <a:lnTo>
                        <a:pt x="1433" y="1208"/>
                      </a:lnTo>
                      <a:lnTo>
                        <a:pt x="1434" y="1207"/>
                      </a:lnTo>
                      <a:lnTo>
                        <a:pt x="1433" y="1206"/>
                      </a:lnTo>
                      <a:lnTo>
                        <a:pt x="1433" y="1205"/>
                      </a:lnTo>
                      <a:lnTo>
                        <a:pt x="1435" y="1204"/>
                      </a:lnTo>
                      <a:lnTo>
                        <a:pt x="1437" y="1202"/>
                      </a:lnTo>
                      <a:lnTo>
                        <a:pt x="1437" y="1204"/>
                      </a:lnTo>
                      <a:lnTo>
                        <a:pt x="1435" y="1206"/>
                      </a:lnTo>
                      <a:lnTo>
                        <a:pt x="1434" y="1209"/>
                      </a:lnTo>
                      <a:lnTo>
                        <a:pt x="1431" y="1211"/>
                      </a:lnTo>
                      <a:lnTo>
                        <a:pt x="1431" y="1212"/>
                      </a:lnTo>
                      <a:lnTo>
                        <a:pt x="1431" y="1211"/>
                      </a:lnTo>
                      <a:lnTo>
                        <a:pt x="1429" y="1210"/>
                      </a:lnTo>
                      <a:lnTo>
                        <a:pt x="1428" y="1209"/>
                      </a:lnTo>
                      <a:lnTo>
                        <a:pt x="1428" y="1208"/>
                      </a:lnTo>
                      <a:lnTo>
                        <a:pt x="1427" y="1208"/>
                      </a:lnTo>
                      <a:lnTo>
                        <a:pt x="1417" y="1198"/>
                      </a:lnTo>
                      <a:lnTo>
                        <a:pt x="1415" y="1197"/>
                      </a:lnTo>
                      <a:lnTo>
                        <a:pt x="1414" y="1195"/>
                      </a:lnTo>
                      <a:lnTo>
                        <a:pt x="1413" y="1195"/>
                      </a:lnTo>
                      <a:lnTo>
                        <a:pt x="1413" y="1194"/>
                      </a:lnTo>
                      <a:lnTo>
                        <a:pt x="1412" y="1194"/>
                      </a:lnTo>
                      <a:lnTo>
                        <a:pt x="1412" y="1193"/>
                      </a:lnTo>
                      <a:lnTo>
                        <a:pt x="1410" y="1192"/>
                      </a:lnTo>
                      <a:lnTo>
                        <a:pt x="1410" y="1191"/>
                      </a:lnTo>
                      <a:lnTo>
                        <a:pt x="1409" y="1191"/>
                      </a:lnTo>
                      <a:lnTo>
                        <a:pt x="1410" y="1191"/>
                      </a:lnTo>
                      <a:lnTo>
                        <a:pt x="1410" y="1189"/>
                      </a:lnTo>
                      <a:lnTo>
                        <a:pt x="1409" y="1189"/>
                      </a:lnTo>
                      <a:lnTo>
                        <a:pt x="1410" y="1189"/>
                      </a:lnTo>
                      <a:lnTo>
                        <a:pt x="1409" y="1189"/>
                      </a:lnTo>
                      <a:lnTo>
                        <a:pt x="1408" y="1189"/>
                      </a:lnTo>
                      <a:lnTo>
                        <a:pt x="1408" y="1188"/>
                      </a:lnTo>
                      <a:lnTo>
                        <a:pt x="1407" y="1188"/>
                      </a:lnTo>
                      <a:lnTo>
                        <a:pt x="1407" y="1187"/>
                      </a:lnTo>
                      <a:lnTo>
                        <a:pt x="1407" y="1186"/>
                      </a:lnTo>
                      <a:lnTo>
                        <a:pt x="1408" y="1186"/>
                      </a:lnTo>
                      <a:lnTo>
                        <a:pt x="1407" y="1186"/>
                      </a:lnTo>
                      <a:lnTo>
                        <a:pt x="1407" y="1185"/>
                      </a:lnTo>
                      <a:lnTo>
                        <a:pt x="1406" y="1185"/>
                      </a:lnTo>
                      <a:lnTo>
                        <a:pt x="1406" y="1186"/>
                      </a:lnTo>
                      <a:lnTo>
                        <a:pt x="1406" y="1185"/>
                      </a:lnTo>
                      <a:lnTo>
                        <a:pt x="1405" y="1185"/>
                      </a:lnTo>
                      <a:lnTo>
                        <a:pt x="1405" y="1184"/>
                      </a:lnTo>
                      <a:lnTo>
                        <a:pt x="1404" y="1183"/>
                      </a:lnTo>
                      <a:lnTo>
                        <a:pt x="1404" y="1182"/>
                      </a:lnTo>
                      <a:lnTo>
                        <a:pt x="1403" y="1181"/>
                      </a:lnTo>
                      <a:lnTo>
                        <a:pt x="1403" y="1180"/>
                      </a:lnTo>
                      <a:lnTo>
                        <a:pt x="1402" y="1180"/>
                      </a:lnTo>
                      <a:lnTo>
                        <a:pt x="1402" y="1179"/>
                      </a:lnTo>
                      <a:lnTo>
                        <a:pt x="1401" y="1179"/>
                      </a:lnTo>
                      <a:lnTo>
                        <a:pt x="1401" y="1178"/>
                      </a:lnTo>
                      <a:lnTo>
                        <a:pt x="1400" y="1176"/>
                      </a:lnTo>
                      <a:lnTo>
                        <a:pt x="1400" y="1175"/>
                      </a:lnTo>
                      <a:lnTo>
                        <a:pt x="1400" y="1174"/>
                      </a:lnTo>
                      <a:lnTo>
                        <a:pt x="1399" y="1174"/>
                      </a:lnTo>
                      <a:lnTo>
                        <a:pt x="1399" y="1173"/>
                      </a:lnTo>
                      <a:lnTo>
                        <a:pt x="1397" y="1173"/>
                      </a:lnTo>
                      <a:lnTo>
                        <a:pt x="1397" y="1172"/>
                      </a:lnTo>
                      <a:lnTo>
                        <a:pt x="1397" y="1171"/>
                      </a:lnTo>
                      <a:lnTo>
                        <a:pt x="1396" y="1171"/>
                      </a:lnTo>
                      <a:lnTo>
                        <a:pt x="1396" y="1170"/>
                      </a:lnTo>
                      <a:lnTo>
                        <a:pt x="1396" y="1169"/>
                      </a:lnTo>
                      <a:lnTo>
                        <a:pt x="1395" y="1169"/>
                      </a:lnTo>
                      <a:lnTo>
                        <a:pt x="1395" y="1168"/>
                      </a:lnTo>
                      <a:lnTo>
                        <a:pt x="1395" y="1167"/>
                      </a:lnTo>
                      <a:lnTo>
                        <a:pt x="1395" y="1166"/>
                      </a:lnTo>
                      <a:lnTo>
                        <a:pt x="1394" y="1164"/>
                      </a:lnTo>
                      <a:lnTo>
                        <a:pt x="1394" y="1163"/>
                      </a:lnTo>
                      <a:lnTo>
                        <a:pt x="1393" y="1162"/>
                      </a:lnTo>
                      <a:lnTo>
                        <a:pt x="1393" y="1161"/>
                      </a:lnTo>
                      <a:lnTo>
                        <a:pt x="1393" y="1160"/>
                      </a:lnTo>
                      <a:lnTo>
                        <a:pt x="1392" y="1160"/>
                      </a:lnTo>
                      <a:lnTo>
                        <a:pt x="1392" y="1159"/>
                      </a:lnTo>
                      <a:lnTo>
                        <a:pt x="1391" y="1159"/>
                      </a:lnTo>
                      <a:lnTo>
                        <a:pt x="1391" y="1158"/>
                      </a:lnTo>
                      <a:lnTo>
                        <a:pt x="1390" y="1157"/>
                      </a:lnTo>
                      <a:lnTo>
                        <a:pt x="1390" y="1156"/>
                      </a:lnTo>
                      <a:lnTo>
                        <a:pt x="1390" y="1157"/>
                      </a:lnTo>
                      <a:lnTo>
                        <a:pt x="1389" y="1157"/>
                      </a:lnTo>
                      <a:lnTo>
                        <a:pt x="1389" y="1156"/>
                      </a:lnTo>
                      <a:lnTo>
                        <a:pt x="1389" y="1155"/>
                      </a:lnTo>
                      <a:lnTo>
                        <a:pt x="1388" y="1155"/>
                      </a:lnTo>
                      <a:lnTo>
                        <a:pt x="1388" y="1154"/>
                      </a:lnTo>
                      <a:lnTo>
                        <a:pt x="1387" y="1153"/>
                      </a:lnTo>
                      <a:lnTo>
                        <a:pt x="1387" y="1151"/>
                      </a:lnTo>
                      <a:lnTo>
                        <a:pt x="1386" y="1151"/>
                      </a:lnTo>
                      <a:lnTo>
                        <a:pt x="1386" y="1150"/>
                      </a:lnTo>
                      <a:lnTo>
                        <a:pt x="1384" y="1150"/>
                      </a:lnTo>
                      <a:lnTo>
                        <a:pt x="1384" y="1149"/>
                      </a:lnTo>
                      <a:lnTo>
                        <a:pt x="1383" y="1149"/>
                      </a:lnTo>
                      <a:lnTo>
                        <a:pt x="1383" y="1148"/>
                      </a:lnTo>
                      <a:lnTo>
                        <a:pt x="1383" y="1147"/>
                      </a:lnTo>
                      <a:lnTo>
                        <a:pt x="1382" y="1147"/>
                      </a:lnTo>
                      <a:lnTo>
                        <a:pt x="1382" y="1146"/>
                      </a:lnTo>
                      <a:lnTo>
                        <a:pt x="1381" y="1146"/>
                      </a:lnTo>
                      <a:lnTo>
                        <a:pt x="1381" y="1145"/>
                      </a:lnTo>
                      <a:lnTo>
                        <a:pt x="1380" y="1144"/>
                      </a:lnTo>
                      <a:lnTo>
                        <a:pt x="1380" y="1143"/>
                      </a:lnTo>
                      <a:lnTo>
                        <a:pt x="1380" y="1142"/>
                      </a:lnTo>
                      <a:lnTo>
                        <a:pt x="1379" y="1142"/>
                      </a:lnTo>
                      <a:lnTo>
                        <a:pt x="1379" y="1141"/>
                      </a:lnTo>
                      <a:lnTo>
                        <a:pt x="1378" y="1141"/>
                      </a:lnTo>
                      <a:lnTo>
                        <a:pt x="1378" y="1140"/>
                      </a:lnTo>
                      <a:lnTo>
                        <a:pt x="1378" y="1138"/>
                      </a:lnTo>
                      <a:lnTo>
                        <a:pt x="1377" y="1138"/>
                      </a:lnTo>
                      <a:lnTo>
                        <a:pt x="1377" y="1137"/>
                      </a:lnTo>
                      <a:lnTo>
                        <a:pt x="1377" y="1136"/>
                      </a:lnTo>
                      <a:lnTo>
                        <a:pt x="1376" y="1136"/>
                      </a:lnTo>
                      <a:lnTo>
                        <a:pt x="1376" y="1135"/>
                      </a:lnTo>
                      <a:lnTo>
                        <a:pt x="1376" y="1134"/>
                      </a:lnTo>
                      <a:lnTo>
                        <a:pt x="1376" y="1133"/>
                      </a:lnTo>
                      <a:lnTo>
                        <a:pt x="1376" y="1132"/>
                      </a:lnTo>
                      <a:lnTo>
                        <a:pt x="1376" y="1131"/>
                      </a:lnTo>
                      <a:lnTo>
                        <a:pt x="1376" y="1130"/>
                      </a:lnTo>
                      <a:lnTo>
                        <a:pt x="1375" y="1130"/>
                      </a:lnTo>
                      <a:lnTo>
                        <a:pt x="1376" y="1130"/>
                      </a:lnTo>
                      <a:lnTo>
                        <a:pt x="1376" y="1129"/>
                      </a:lnTo>
                      <a:lnTo>
                        <a:pt x="1375" y="1129"/>
                      </a:lnTo>
                      <a:lnTo>
                        <a:pt x="1375" y="1128"/>
                      </a:lnTo>
                      <a:lnTo>
                        <a:pt x="1375" y="1127"/>
                      </a:lnTo>
                      <a:lnTo>
                        <a:pt x="1375" y="1125"/>
                      </a:lnTo>
                      <a:lnTo>
                        <a:pt x="1375" y="1124"/>
                      </a:lnTo>
                      <a:lnTo>
                        <a:pt x="1375" y="1123"/>
                      </a:lnTo>
                      <a:lnTo>
                        <a:pt x="1375" y="1122"/>
                      </a:lnTo>
                      <a:lnTo>
                        <a:pt x="1375" y="1121"/>
                      </a:lnTo>
                      <a:lnTo>
                        <a:pt x="1375" y="1120"/>
                      </a:lnTo>
                      <a:lnTo>
                        <a:pt x="1375" y="1119"/>
                      </a:lnTo>
                      <a:lnTo>
                        <a:pt x="1374" y="1118"/>
                      </a:lnTo>
                      <a:lnTo>
                        <a:pt x="1374" y="1117"/>
                      </a:lnTo>
                      <a:lnTo>
                        <a:pt x="1373" y="1117"/>
                      </a:lnTo>
                      <a:lnTo>
                        <a:pt x="1373" y="1116"/>
                      </a:lnTo>
                      <a:lnTo>
                        <a:pt x="1371" y="1116"/>
                      </a:lnTo>
                      <a:lnTo>
                        <a:pt x="1371" y="1115"/>
                      </a:lnTo>
                      <a:lnTo>
                        <a:pt x="1371" y="1114"/>
                      </a:lnTo>
                      <a:lnTo>
                        <a:pt x="1370" y="1114"/>
                      </a:lnTo>
                      <a:lnTo>
                        <a:pt x="1370" y="1112"/>
                      </a:lnTo>
                      <a:lnTo>
                        <a:pt x="1370" y="1111"/>
                      </a:lnTo>
                      <a:lnTo>
                        <a:pt x="1370" y="1110"/>
                      </a:lnTo>
                      <a:lnTo>
                        <a:pt x="1369" y="1109"/>
                      </a:lnTo>
                      <a:lnTo>
                        <a:pt x="1369" y="1108"/>
                      </a:lnTo>
                      <a:lnTo>
                        <a:pt x="1369" y="1109"/>
                      </a:lnTo>
                      <a:lnTo>
                        <a:pt x="1370" y="1109"/>
                      </a:lnTo>
                      <a:lnTo>
                        <a:pt x="1370" y="1110"/>
                      </a:lnTo>
                      <a:lnTo>
                        <a:pt x="1371" y="1111"/>
                      </a:lnTo>
                      <a:lnTo>
                        <a:pt x="1373" y="1112"/>
                      </a:lnTo>
                      <a:lnTo>
                        <a:pt x="1375" y="1114"/>
                      </a:lnTo>
                      <a:lnTo>
                        <a:pt x="1376" y="1115"/>
                      </a:lnTo>
                      <a:lnTo>
                        <a:pt x="1377" y="1115"/>
                      </a:lnTo>
                      <a:lnTo>
                        <a:pt x="1378" y="1115"/>
                      </a:lnTo>
                      <a:close/>
                      <a:moveTo>
                        <a:pt x="1353" y="1084"/>
                      </a:moveTo>
                      <a:lnTo>
                        <a:pt x="1354" y="1088"/>
                      </a:lnTo>
                      <a:lnTo>
                        <a:pt x="1356" y="1093"/>
                      </a:lnTo>
                      <a:lnTo>
                        <a:pt x="1358" y="1097"/>
                      </a:lnTo>
                      <a:lnTo>
                        <a:pt x="1360" y="1099"/>
                      </a:lnTo>
                      <a:lnTo>
                        <a:pt x="1361" y="1102"/>
                      </a:lnTo>
                      <a:lnTo>
                        <a:pt x="1361" y="1103"/>
                      </a:lnTo>
                      <a:lnTo>
                        <a:pt x="1361" y="1104"/>
                      </a:lnTo>
                      <a:lnTo>
                        <a:pt x="1362" y="1105"/>
                      </a:lnTo>
                      <a:lnTo>
                        <a:pt x="1362" y="1106"/>
                      </a:lnTo>
                      <a:lnTo>
                        <a:pt x="1362" y="1107"/>
                      </a:lnTo>
                      <a:lnTo>
                        <a:pt x="1363" y="1108"/>
                      </a:lnTo>
                      <a:lnTo>
                        <a:pt x="1363" y="1109"/>
                      </a:lnTo>
                      <a:lnTo>
                        <a:pt x="1363" y="1110"/>
                      </a:lnTo>
                      <a:lnTo>
                        <a:pt x="1363" y="1111"/>
                      </a:lnTo>
                      <a:lnTo>
                        <a:pt x="1363" y="1112"/>
                      </a:lnTo>
                      <a:lnTo>
                        <a:pt x="1363" y="1114"/>
                      </a:lnTo>
                      <a:lnTo>
                        <a:pt x="1362" y="1115"/>
                      </a:lnTo>
                      <a:lnTo>
                        <a:pt x="1362" y="1117"/>
                      </a:lnTo>
                      <a:lnTo>
                        <a:pt x="1363" y="1116"/>
                      </a:lnTo>
                      <a:lnTo>
                        <a:pt x="1363" y="1117"/>
                      </a:lnTo>
                      <a:lnTo>
                        <a:pt x="1363" y="1118"/>
                      </a:lnTo>
                      <a:lnTo>
                        <a:pt x="1362" y="1119"/>
                      </a:lnTo>
                      <a:lnTo>
                        <a:pt x="1362" y="1121"/>
                      </a:lnTo>
                      <a:lnTo>
                        <a:pt x="1361" y="1122"/>
                      </a:lnTo>
                      <a:lnTo>
                        <a:pt x="1361" y="1124"/>
                      </a:lnTo>
                      <a:lnTo>
                        <a:pt x="1360" y="1125"/>
                      </a:lnTo>
                      <a:lnTo>
                        <a:pt x="1360" y="1127"/>
                      </a:lnTo>
                      <a:lnTo>
                        <a:pt x="1358" y="1127"/>
                      </a:lnTo>
                      <a:lnTo>
                        <a:pt x="1358" y="1128"/>
                      </a:lnTo>
                      <a:lnTo>
                        <a:pt x="1358" y="1129"/>
                      </a:lnTo>
                      <a:lnTo>
                        <a:pt x="1357" y="1130"/>
                      </a:lnTo>
                      <a:lnTo>
                        <a:pt x="1357" y="1131"/>
                      </a:lnTo>
                      <a:lnTo>
                        <a:pt x="1356" y="1132"/>
                      </a:lnTo>
                      <a:lnTo>
                        <a:pt x="1356" y="1133"/>
                      </a:lnTo>
                      <a:lnTo>
                        <a:pt x="1356" y="1134"/>
                      </a:lnTo>
                      <a:lnTo>
                        <a:pt x="1355" y="1134"/>
                      </a:lnTo>
                      <a:lnTo>
                        <a:pt x="1355" y="1135"/>
                      </a:lnTo>
                      <a:lnTo>
                        <a:pt x="1354" y="1135"/>
                      </a:lnTo>
                      <a:lnTo>
                        <a:pt x="1353" y="1135"/>
                      </a:lnTo>
                      <a:lnTo>
                        <a:pt x="1352" y="1134"/>
                      </a:lnTo>
                      <a:lnTo>
                        <a:pt x="1351" y="1133"/>
                      </a:lnTo>
                      <a:lnTo>
                        <a:pt x="1350" y="1133"/>
                      </a:lnTo>
                      <a:lnTo>
                        <a:pt x="1351" y="1134"/>
                      </a:lnTo>
                      <a:lnTo>
                        <a:pt x="1351" y="1135"/>
                      </a:lnTo>
                      <a:lnTo>
                        <a:pt x="1352" y="1135"/>
                      </a:lnTo>
                      <a:lnTo>
                        <a:pt x="1353" y="1135"/>
                      </a:lnTo>
                      <a:lnTo>
                        <a:pt x="1353" y="1136"/>
                      </a:lnTo>
                      <a:lnTo>
                        <a:pt x="1354" y="1136"/>
                      </a:lnTo>
                      <a:lnTo>
                        <a:pt x="1355" y="1136"/>
                      </a:lnTo>
                      <a:lnTo>
                        <a:pt x="1355" y="1137"/>
                      </a:lnTo>
                      <a:lnTo>
                        <a:pt x="1354" y="1138"/>
                      </a:lnTo>
                      <a:lnTo>
                        <a:pt x="1354" y="1140"/>
                      </a:lnTo>
                      <a:lnTo>
                        <a:pt x="1353" y="1141"/>
                      </a:lnTo>
                      <a:lnTo>
                        <a:pt x="1353" y="1142"/>
                      </a:lnTo>
                      <a:lnTo>
                        <a:pt x="1352" y="1141"/>
                      </a:lnTo>
                      <a:lnTo>
                        <a:pt x="1352" y="1142"/>
                      </a:lnTo>
                      <a:lnTo>
                        <a:pt x="1353" y="1142"/>
                      </a:lnTo>
                      <a:lnTo>
                        <a:pt x="1352" y="1142"/>
                      </a:lnTo>
                      <a:lnTo>
                        <a:pt x="1352" y="1143"/>
                      </a:lnTo>
                      <a:lnTo>
                        <a:pt x="1351" y="1145"/>
                      </a:lnTo>
                      <a:lnTo>
                        <a:pt x="1351" y="1146"/>
                      </a:lnTo>
                      <a:lnTo>
                        <a:pt x="1350" y="1147"/>
                      </a:lnTo>
                      <a:lnTo>
                        <a:pt x="1350" y="1148"/>
                      </a:lnTo>
                      <a:lnTo>
                        <a:pt x="1350" y="1149"/>
                      </a:lnTo>
                      <a:lnTo>
                        <a:pt x="1349" y="1149"/>
                      </a:lnTo>
                      <a:lnTo>
                        <a:pt x="1349" y="1150"/>
                      </a:lnTo>
                      <a:lnTo>
                        <a:pt x="1349" y="1151"/>
                      </a:lnTo>
                      <a:lnTo>
                        <a:pt x="1348" y="1151"/>
                      </a:lnTo>
                      <a:lnTo>
                        <a:pt x="1348" y="1153"/>
                      </a:lnTo>
                      <a:lnTo>
                        <a:pt x="1347" y="1154"/>
                      </a:lnTo>
                      <a:lnTo>
                        <a:pt x="1347" y="1155"/>
                      </a:lnTo>
                      <a:lnTo>
                        <a:pt x="1345" y="1156"/>
                      </a:lnTo>
                      <a:lnTo>
                        <a:pt x="1344" y="1157"/>
                      </a:lnTo>
                      <a:lnTo>
                        <a:pt x="1341" y="1160"/>
                      </a:lnTo>
                      <a:lnTo>
                        <a:pt x="1340" y="1161"/>
                      </a:lnTo>
                      <a:lnTo>
                        <a:pt x="1340" y="1162"/>
                      </a:lnTo>
                      <a:lnTo>
                        <a:pt x="1339" y="1162"/>
                      </a:lnTo>
                      <a:lnTo>
                        <a:pt x="1338" y="1162"/>
                      </a:lnTo>
                      <a:lnTo>
                        <a:pt x="1338" y="1163"/>
                      </a:lnTo>
                      <a:lnTo>
                        <a:pt x="1337" y="1163"/>
                      </a:lnTo>
                      <a:lnTo>
                        <a:pt x="1338" y="1163"/>
                      </a:lnTo>
                      <a:lnTo>
                        <a:pt x="1338" y="1164"/>
                      </a:lnTo>
                      <a:lnTo>
                        <a:pt x="1337" y="1163"/>
                      </a:lnTo>
                      <a:lnTo>
                        <a:pt x="1337" y="1164"/>
                      </a:lnTo>
                      <a:lnTo>
                        <a:pt x="1336" y="1164"/>
                      </a:lnTo>
                      <a:lnTo>
                        <a:pt x="1336" y="1166"/>
                      </a:lnTo>
                      <a:lnTo>
                        <a:pt x="1335" y="1166"/>
                      </a:lnTo>
                      <a:lnTo>
                        <a:pt x="1335" y="1167"/>
                      </a:lnTo>
                      <a:lnTo>
                        <a:pt x="1334" y="1168"/>
                      </a:lnTo>
                      <a:lnTo>
                        <a:pt x="1332" y="1169"/>
                      </a:lnTo>
                      <a:lnTo>
                        <a:pt x="1332" y="1170"/>
                      </a:lnTo>
                      <a:lnTo>
                        <a:pt x="1331" y="1170"/>
                      </a:lnTo>
                      <a:lnTo>
                        <a:pt x="1331" y="1171"/>
                      </a:lnTo>
                      <a:lnTo>
                        <a:pt x="1330" y="1172"/>
                      </a:lnTo>
                      <a:lnTo>
                        <a:pt x="1330" y="1173"/>
                      </a:lnTo>
                      <a:lnTo>
                        <a:pt x="1329" y="1173"/>
                      </a:lnTo>
                      <a:lnTo>
                        <a:pt x="1329" y="1174"/>
                      </a:lnTo>
                      <a:lnTo>
                        <a:pt x="1326" y="1181"/>
                      </a:lnTo>
                      <a:lnTo>
                        <a:pt x="1326" y="1182"/>
                      </a:lnTo>
                      <a:lnTo>
                        <a:pt x="1325" y="1182"/>
                      </a:lnTo>
                      <a:lnTo>
                        <a:pt x="1325" y="1183"/>
                      </a:lnTo>
                      <a:lnTo>
                        <a:pt x="1324" y="1183"/>
                      </a:lnTo>
                      <a:lnTo>
                        <a:pt x="1324" y="1184"/>
                      </a:lnTo>
                      <a:lnTo>
                        <a:pt x="1324" y="1185"/>
                      </a:lnTo>
                      <a:lnTo>
                        <a:pt x="1323" y="1184"/>
                      </a:lnTo>
                      <a:lnTo>
                        <a:pt x="1323" y="1185"/>
                      </a:lnTo>
                      <a:lnTo>
                        <a:pt x="1323" y="1186"/>
                      </a:lnTo>
                      <a:lnTo>
                        <a:pt x="1322" y="1186"/>
                      </a:lnTo>
                      <a:lnTo>
                        <a:pt x="1322" y="1187"/>
                      </a:lnTo>
                      <a:lnTo>
                        <a:pt x="1321" y="1187"/>
                      </a:lnTo>
                      <a:lnTo>
                        <a:pt x="1321" y="1188"/>
                      </a:lnTo>
                      <a:lnTo>
                        <a:pt x="1319" y="1188"/>
                      </a:lnTo>
                      <a:lnTo>
                        <a:pt x="1319" y="1189"/>
                      </a:lnTo>
                      <a:lnTo>
                        <a:pt x="1318" y="1191"/>
                      </a:lnTo>
                      <a:lnTo>
                        <a:pt x="1318" y="1192"/>
                      </a:lnTo>
                      <a:lnTo>
                        <a:pt x="1317" y="1192"/>
                      </a:lnTo>
                      <a:lnTo>
                        <a:pt x="1317" y="1193"/>
                      </a:lnTo>
                      <a:lnTo>
                        <a:pt x="1317" y="1192"/>
                      </a:lnTo>
                      <a:lnTo>
                        <a:pt x="1316" y="1192"/>
                      </a:lnTo>
                      <a:lnTo>
                        <a:pt x="1315" y="1191"/>
                      </a:lnTo>
                      <a:lnTo>
                        <a:pt x="1314" y="1191"/>
                      </a:lnTo>
                      <a:lnTo>
                        <a:pt x="1313" y="1191"/>
                      </a:lnTo>
                      <a:lnTo>
                        <a:pt x="1313" y="1189"/>
                      </a:lnTo>
                      <a:lnTo>
                        <a:pt x="1312" y="1189"/>
                      </a:lnTo>
                      <a:lnTo>
                        <a:pt x="1311" y="1188"/>
                      </a:lnTo>
                      <a:lnTo>
                        <a:pt x="1310" y="1187"/>
                      </a:lnTo>
                      <a:lnTo>
                        <a:pt x="1309" y="1186"/>
                      </a:lnTo>
                      <a:lnTo>
                        <a:pt x="1308" y="1185"/>
                      </a:lnTo>
                      <a:lnTo>
                        <a:pt x="1306" y="1185"/>
                      </a:lnTo>
                      <a:lnTo>
                        <a:pt x="1306" y="1184"/>
                      </a:lnTo>
                      <a:lnTo>
                        <a:pt x="1308" y="1184"/>
                      </a:lnTo>
                      <a:lnTo>
                        <a:pt x="1309" y="1184"/>
                      </a:lnTo>
                      <a:lnTo>
                        <a:pt x="1310" y="1184"/>
                      </a:lnTo>
                      <a:lnTo>
                        <a:pt x="1310" y="1183"/>
                      </a:lnTo>
                      <a:lnTo>
                        <a:pt x="1311" y="1183"/>
                      </a:lnTo>
                      <a:lnTo>
                        <a:pt x="1312" y="1183"/>
                      </a:lnTo>
                      <a:lnTo>
                        <a:pt x="1313" y="1183"/>
                      </a:lnTo>
                      <a:lnTo>
                        <a:pt x="1314" y="1182"/>
                      </a:lnTo>
                      <a:lnTo>
                        <a:pt x="1315" y="1182"/>
                      </a:lnTo>
                      <a:lnTo>
                        <a:pt x="1315" y="1181"/>
                      </a:lnTo>
                      <a:lnTo>
                        <a:pt x="1316" y="1180"/>
                      </a:lnTo>
                      <a:lnTo>
                        <a:pt x="1317" y="1180"/>
                      </a:lnTo>
                      <a:lnTo>
                        <a:pt x="1317" y="1181"/>
                      </a:lnTo>
                      <a:lnTo>
                        <a:pt x="1317" y="1182"/>
                      </a:lnTo>
                      <a:lnTo>
                        <a:pt x="1316" y="1182"/>
                      </a:lnTo>
                      <a:lnTo>
                        <a:pt x="1317" y="1183"/>
                      </a:lnTo>
                      <a:lnTo>
                        <a:pt x="1318" y="1183"/>
                      </a:lnTo>
                      <a:lnTo>
                        <a:pt x="1318" y="1182"/>
                      </a:lnTo>
                      <a:lnTo>
                        <a:pt x="1318" y="1181"/>
                      </a:lnTo>
                      <a:lnTo>
                        <a:pt x="1318" y="1180"/>
                      </a:lnTo>
                      <a:lnTo>
                        <a:pt x="1317" y="1180"/>
                      </a:lnTo>
                      <a:lnTo>
                        <a:pt x="1317" y="1179"/>
                      </a:lnTo>
                      <a:lnTo>
                        <a:pt x="1316" y="1178"/>
                      </a:lnTo>
                      <a:lnTo>
                        <a:pt x="1315" y="1178"/>
                      </a:lnTo>
                      <a:lnTo>
                        <a:pt x="1315" y="1176"/>
                      </a:lnTo>
                      <a:lnTo>
                        <a:pt x="1316" y="1176"/>
                      </a:lnTo>
                      <a:lnTo>
                        <a:pt x="1316" y="1175"/>
                      </a:lnTo>
                      <a:lnTo>
                        <a:pt x="1317" y="1175"/>
                      </a:lnTo>
                      <a:lnTo>
                        <a:pt x="1317" y="1174"/>
                      </a:lnTo>
                      <a:lnTo>
                        <a:pt x="1318" y="1175"/>
                      </a:lnTo>
                      <a:lnTo>
                        <a:pt x="1318" y="1176"/>
                      </a:lnTo>
                      <a:lnTo>
                        <a:pt x="1319" y="1176"/>
                      </a:lnTo>
                      <a:lnTo>
                        <a:pt x="1319" y="1178"/>
                      </a:lnTo>
                      <a:lnTo>
                        <a:pt x="1321" y="1178"/>
                      </a:lnTo>
                      <a:lnTo>
                        <a:pt x="1322" y="1179"/>
                      </a:lnTo>
                      <a:lnTo>
                        <a:pt x="1322" y="1178"/>
                      </a:lnTo>
                      <a:lnTo>
                        <a:pt x="1323" y="1178"/>
                      </a:lnTo>
                      <a:lnTo>
                        <a:pt x="1324" y="1178"/>
                      </a:lnTo>
                      <a:lnTo>
                        <a:pt x="1324" y="1176"/>
                      </a:lnTo>
                      <a:lnTo>
                        <a:pt x="1323" y="1176"/>
                      </a:lnTo>
                      <a:lnTo>
                        <a:pt x="1324" y="1175"/>
                      </a:lnTo>
                      <a:lnTo>
                        <a:pt x="1324" y="1176"/>
                      </a:lnTo>
                      <a:lnTo>
                        <a:pt x="1325" y="1176"/>
                      </a:lnTo>
                      <a:lnTo>
                        <a:pt x="1325" y="1175"/>
                      </a:lnTo>
                      <a:lnTo>
                        <a:pt x="1325" y="1174"/>
                      </a:lnTo>
                      <a:lnTo>
                        <a:pt x="1326" y="1174"/>
                      </a:lnTo>
                      <a:lnTo>
                        <a:pt x="1327" y="1174"/>
                      </a:lnTo>
                      <a:lnTo>
                        <a:pt x="1327" y="1173"/>
                      </a:lnTo>
                      <a:lnTo>
                        <a:pt x="1328" y="1173"/>
                      </a:lnTo>
                      <a:lnTo>
                        <a:pt x="1328" y="1172"/>
                      </a:lnTo>
                      <a:lnTo>
                        <a:pt x="1329" y="1172"/>
                      </a:lnTo>
                      <a:lnTo>
                        <a:pt x="1329" y="1171"/>
                      </a:lnTo>
                      <a:lnTo>
                        <a:pt x="1329" y="1170"/>
                      </a:lnTo>
                      <a:lnTo>
                        <a:pt x="1330" y="1170"/>
                      </a:lnTo>
                      <a:lnTo>
                        <a:pt x="1330" y="1169"/>
                      </a:lnTo>
                      <a:lnTo>
                        <a:pt x="1331" y="1168"/>
                      </a:lnTo>
                      <a:lnTo>
                        <a:pt x="1331" y="1167"/>
                      </a:lnTo>
                      <a:lnTo>
                        <a:pt x="1332" y="1167"/>
                      </a:lnTo>
                      <a:lnTo>
                        <a:pt x="1332" y="1166"/>
                      </a:lnTo>
                      <a:lnTo>
                        <a:pt x="1334" y="1166"/>
                      </a:lnTo>
                      <a:lnTo>
                        <a:pt x="1335" y="1166"/>
                      </a:lnTo>
                      <a:lnTo>
                        <a:pt x="1335" y="1164"/>
                      </a:lnTo>
                      <a:lnTo>
                        <a:pt x="1335" y="1163"/>
                      </a:lnTo>
                      <a:lnTo>
                        <a:pt x="1334" y="1163"/>
                      </a:lnTo>
                      <a:lnTo>
                        <a:pt x="1334" y="1162"/>
                      </a:lnTo>
                      <a:lnTo>
                        <a:pt x="1332" y="1161"/>
                      </a:lnTo>
                      <a:lnTo>
                        <a:pt x="1332" y="1160"/>
                      </a:lnTo>
                      <a:lnTo>
                        <a:pt x="1332" y="1159"/>
                      </a:lnTo>
                      <a:lnTo>
                        <a:pt x="1332" y="1158"/>
                      </a:lnTo>
                      <a:lnTo>
                        <a:pt x="1332" y="1157"/>
                      </a:lnTo>
                      <a:lnTo>
                        <a:pt x="1331" y="1157"/>
                      </a:lnTo>
                      <a:lnTo>
                        <a:pt x="1331" y="1156"/>
                      </a:lnTo>
                      <a:lnTo>
                        <a:pt x="1330" y="1156"/>
                      </a:lnTo>
                      <a:lnTo>
                        <a:pt x="1330" y="1155"/>
                      </a:lnTo>
                      <a:lnTo>
                        <a:pt x="1331" y="1154"/>
                      </a:lnTo>
                      <a:lnTo>
                        <a:pt x="1331" y="1153"/>
                      </a:lnTo>
                      <a:lnTo>
                        <a:pt x="1334" y="1153"/>
                      </a:lnTo>
                      <a:lnTo>
                        <a:pt x="1336" y="1153"/>
                      </a:lnTo>
                      <a:lnTo>
                        <a:pt x="1336" y="1154"/>
                      </a:lnTo>
                      <a:lnTo>
                        <a:pt x="1337" y="1154"/>
                      </a:lnTo>
                      <a:lnTo>
                        <a:pt x="1338" y="1153"/>
                      </a:lnTo>
                      <a:lnTo>
                        <a:pt x="1339" y="1153"/>
                      </a:lnTo>
                      <a:lnTo>
                        <a:pt x="1340" y="1153"/>
                      </a:lnTo>
                      <a:lnTo>
                        <a:pt x="1340" y="1151"/>
                      </a:lnTo>
                      <a:lnTo>
                        <a:pt x="1339" y="1151"/>
                      </a:lnTo>
                      <a:lnTo>
                        <a:pt x="1338" y="1151"/>
                      </a:lnTo>
                      <a:lnTo>
                        <a:pt x="1338" y="1150"/>
                      </a:lnTo>
                      <a:lnTo>
                        <a:pt x="1339" y="1150"/>
                      </a:lnTo>
                      <a:lnTo>
                        <a:pt x="1339" y="1151"/>
                      </a:lnTo>
                      <a:lnTo>
                        <a:pt x="1340" y="1151"/>
                      </a:lnTo>
                      <a:lnTo>
                        <a:pt x="1341" y="1151"/>
                      </a:lnTo>
                      <a:lnTo>
                        <a:pt x="1342" y="1151"/>
                      </a:lnTo>
                      <a:lnTo>
                        <a:pt x="1342" y="1150"/>
                      </a:lnTo>
                      <a:lnTo>
                        <a:pt x="1341" y="1150"/>
                      </a:lnTo>
                      <a:lnTo>
                        <a:pt x="1342" y="1149"/>
                      </a:lnTo>
                      <a:lnTo>
                        <a:pt x="1341" y="1148"/>
                      </a:lnTo>
                      <a:lnTo>
                        <a:pt x="1341" y="1146"/>
                      </a:lnTo>
                      <a:lnTo>
                        <a:pt x="1340" y="1146"/>
                      </a:lnTo>
                      <a:lnTo>
                        <a:pt x="1340" y="1145"/>
                      </a:lnTo>
                      <a:lnTo>
                        <a:pt x="1341" y="1145"/>
                      </a:lnTo>
                      <a:lnTo>
                        <a:pt x="1341" y="1144"/>
                      </a:lnTo>
                      <a:lnTo>
                        <a:pt x="1342" y="1144"/>
                      </a:lnTo>
                      <a:lnTo>
                        <a:pt x="1342" y="1143"/>
                      </a:lnTo>
                      <a:lnTo>
                        <a:pt x="1341" y="1143"/>
                      </a:lnTo>
                      <a:lnTo>
                        <a:pt x="1341" y="1142"/>
                      </a:lnTo>
                      <a:lnTo>
                        <a:pt x="1340" y="1142"/>
                      </a:lnTo>
                      <a:lnTo>
                        <a:pt x="1340" y="1141"/>
                      </a:lnTo>
                      <a:lnTo>
                        <a:pt x="1340" y="1140"/>
                      </a:lnTo>
                      <a:lnTo>
                        <a:pt x="1339" y="1140"/>
                      </a:lnTo>
                      <a:lnTo>
                        <a:pt x="1338" y="1138"/>
                      </a:lnTo>
                      <a:lnTo>
                        <a:pt x="1337" y="1138"/>
                      </a:lnTo>
                      <a:lnTo>
                        <a:pt x="1337" y="1137"/>
                      </a:lnTo>
                      <a:lnTo>
                        <a:pt x="1338" y="1137"/>
                      </a:lnTo>
                      <a:lnTo>
                        <a:pt x="1338" y="1136"/>
                      </a:lnTo>
                      <a:lnTo>
                        <a:pt x="1337" y="1136"/>
                      </a:lnTo>
                      <a:lnTo>
                        <a:pt x="1337" y="1135"/>
                      </a:lnTo>
                      <a:lnTo>
                        <a:pt x="1337" y="1134"/>
                      </a:lnTo>
                      <a:lnTo>
                        <a:pt x="1337" y="1133"/>
                      </a:lnTo>
                      <a:lnTo>
                        <a:pt x="1336" y="1133"/>
                      </a:lnTo>
                      <a:lnTo>
                        <a:pt x="1336" y="1132"/>
                      </a:lnTo>
                      <a:lnTo>
                        <a:pt x="1335" y="1132"/>
                      </a:lnTo>
                      <a:lnTo>
                        <a:pt x="1335" y="1131"/>
                      </a:lnTo>
                      <a:lnTo>
                        <a:pt x="1334" y="1131"/>
                      </a:lnTo>
                      <a:lnTo>
                        <a:pt x="1335" y="1131"/>
                      </a:lnTo>
                      <a:lnTo>
                        <a:pt x="1336" y="1131"/>
                      </a:lnTo>
                      <a:lnTo>
                        <a:pt x="1337" y="1131"/>
                      </a:lnTo>
                      <a:lnTo>
                        <a:pt x="1338" y="1131"/>
                      </a:lnTo>
                      <a:lnTo>
                        <a:pt x="1339" y="1131"/>
                      </a:lnTo>
                      <a:lnTo>
                        <a:pt x="1340" y="1131"/>
                      </a:lnTo>
                      <a:lnTo>
                        <a:pt x="1341" y="1131"/>
                      </a:lnTo>
                      <a:lnTo>
                        <a:pt x="1342" y="1131"/>
                      </a:lnTo>
                      <a:lnTo>
                        <a:pt x="1342" y="1132"/>
                      </a:lnTo>
                      <a:lnTo>
                        <a:pt x="1343" y="1131"/>
                      </a:lnTo>
                      <a:lnTo>
                        <a:pt x="1343" y="1130"/>
                      </a:lnTo>
                      <a:lnTo>
                        <a:pt x="1342" y="1130"/>
                      </a:lnTo>
                      <a:lnTo>
                        <a:pt x="1343" y="1130"/>
                      </a:lnTo>
                      <a:lnTo>
                        <a:pt x="1344" y="1130"/>
                      </a:lnTo>
                      <a:lnTo>
                        <a:pt x="1344" y="1129"/>
                      </a:lnTo>
                      <a:lnTo>
                        <a:pt x="1343" y="1129"/>
                      </a:lnTo>
                      <a:lnTo>
                        <a:pt x="1343" y="1128"/>
                      </a:lnTo>
                      <a:lnTo>
                        <a:pt x="1344" y="1128"/>
                      </a:lnTo>
                      <a:lnTo>
                        <a:pt x="1344" y="1127"/>
                      </a:lnTo>
                      <a:lnTo>
                        <a:pt x="1343" y="1127"/>
                      </a:lnTo>
                      <a:lnTo>
                        <a:pt x="1342" y="1127"/>
                      </a:lnTo>
                      <a:lnTo>
                        <a:pt x="1341" y="1125"/>
                      </a:lnTo>
                      <a:lnTo>
                        <a:pt x="1342" y="1127"/>
                      </a:lnTo>
                      <a:lnTo>
                        <a:pt x="1342" y="1125"/>
                      </a:lnTo>
                      <a:lnTo>
                        <a:pt x="1341" y="1125"/>
                      </a:lnTo>
                      <a:lnTo>
                        <a:pt x="1340" y="1125"/>
                      </a:lnTo>
                      <a:lnTo>
                        <a:pt x="1340" y="1124"/>
                      </a:lnTo>
                      <a:lnTo>
                        <a:pt x="1341" y="1124"/>
                      </a:lnTo>
                      <a:lnTo>
                        <a:pt x="1342" y="1124"/>
                      </a:lnTo>
                      <a:lnTo>
                        <a:pt x="1341" y="1124"/>
                      </a:lnTo>
                      <a:lnTo>
                        <a:pt x="1341" y="1123"/>
                      </a:lnTo>
                      <a:lnTo>
                        <a:pt x="1341" y="1122"/>
                      </a:lnTo>
                      <a:lnTo>
                        <a:pt x="1342" y="1122"/>
                      </a:lnTo>
                      <a:lnTo>
                        <a:pt x="1343" y="1122"/>
                      </a:lnTo>
                      <a:lnTo>
                        <a:pt x="1344" y="1122"/>
                      </a:lnTo>
                      <a:lnTo>
                        <a:pt x="1345" y="1122"/>
                      </a:lnTo>
                      <a:lnTo>
                        <a:pt x="1347" y="1122"/>
                      </a:lnTo>
                      <a:lnTo>
                        <a:pt x="1347" y="1123"/>
                      </a:lnTo>
                      <a:lnTo>
                        <a:pt x="1347" y="1124"/>
                      </a:lnTo>
                      <a:lnTo>
                        <a:pt x="1345" y="1124"/>
                      </a:lnTo>
                      <a:lnTo>
                        <a:pt x="1345" y="1125"/>
                      </a:lnTo>
                      <a:lnTo>
                        <a:pt x="1345" y="1127"/>
                      </a:lnTo>
                      <a:lnTo>
                        <a:pt x="1347" y="1127"/>
                      </a:lnTo>
                      <a:lnTo>
                        <a:pt x="1348" y="1127"/>
                      </a:lnTo>
                      <a:lnTo>
                        <a:pt x="1349" y="1127"/>
                      </a:lnTo>
                      <a:lnTo>
                        <a:pt x="1349" y="1128"/>
                      </a:lnTo>
                      <a:lnTo>
                        <a:pt x="1348" y="1128"/>
                      </a:lnTo>
                      <a:lnTo>
                        <a:pt x="1348" y="1129"/>
                      </a:lnTo>
                      <a:lnTo>
                        <a:pt x="1349" y="1129"/>
                      </a:lnTo>
                      <a:lnTo>
                        <a:pt x="1350" y="1129"/>
                      </a:lnTo>
                      <a:lnTo>
                        <a:pt x="1350" y="1130"/>
                      </a:lnTo>
                      <a:lnTo>
                        <a:pt x="1351" y="1130"/>
                      </a:lnTo>
                      <a:lnTo>
                        <a:pt x="1351" y="1129"/>
                      </a:lnTo>
                      <a:lnTo>
                        <a:pt x="1350" y="1129"/>
                      </a:lnTo>
                      <a:lnTo>
                        <a:pt x="1350" y="1128"/>
                      </a:lnTo>
                      <a:lnTo>
                        <a:pt x="1350" y="1127"/>
                      </a:lnTo>
                      <a:lnTo>
                        <a:pt x="1350" y="1128"/>
                      </a:lnTo>
                      <a:lnTo>
                        <a:pt x="1351" y="1128"/>
                      </a:lnTo>
                      <a:lnTo>
                        <a:pt x="1351" y="1127"/>
                      </a:lnTo>
                      <a:lnTo>
                        <a:pt x="1351" y="1125"/>
                      </a:lnTo>
                      <a:lnTo>
                        <a:pt x="1350" y="1124"/>
                      </a:lnTo>
                      <a:lnTo>
                        <a:pt x="1350" y="1123"/>
                      </a:lnTo>
                      <a:lnTo>
                        <a:pt x="1351" y="1124"/>
                      </a:lnTo>
                      <a:lnTo>
                        <a:pt x="1351" y="1125"/>
                      </a:lnTo>
                      <a:lnTo>
                        <a:pt x="1352" y="1125"/>
                      </a:lnTo>
                      <a:lnTo>
                        <a:pt x="1352" y="1124"/>
                      </a:lnTo>
                      <a:lnTo>
                        <a:pt x="1353" y="1124"/>
                      </a:lnTo>
                      <a:lnTo>
                        <a:pt x="1354" y="1125"/>
                      </a:lnTo>
                      <a:lnTo>
                        <a:pt x="1355" y="1125"/>
                      </a:lnTo>
                      <a:lnTo>
                        <a:pt x="1355" y="1124"/>
                      </a:lnTo>
                      <a:lnTo>
                        <a:pt x="1354" y="1123"/>
                      </a:lnTo>
                      <a:lnTo>
                        <a:pt x="1355" y="1123"/>
                      </a:lnTo>
                      <a:lnTo>
                        <a:pt x="1356" y="1123"/>
                      </a:lnTo>
                      <a:lnTo>
                        <a:pt x="1355" y="1123"/>
                      </a:lnTo>
                      <a:lnTo>
                        <a:pt x="1354" y="1122"/>
                      </a:lnTo>
                      <a:lnTo>
                        <a:pt x="1355" y="1122"/>
                      </a:lnTo>
                      <a:lnTo>
                        <a:pt x="1356" y="1122"/>
                      </a:lnTo>
                      <a:lnTo>
                        <a:pt x="1357" y="1122"/>
                      </a:lnTo>
                      <a:lnTo>
                        <a:pt x="1356" y="1121"/>
                      </a:lnTo>
                      <a:lnTo>
                        <a:pt x="1355" y="1121"/>
                      </a:lnTo>
                      <a:lnTo>
                        <a:pt x="1354" y="1121"/>
                      </a:lnTo>
                      <a:lnTo>
                        <a:pt x="1354" y="1120"/>
                      </a:lnTo>
                      <a:lnTo>
                        <a:pt x="1354" y="1121"/>
                      </a:lnTo>
                      <a:lnTo>
                        <a:pt x="1353" y="1121"/>
                      </a:lnTo>
                      <a:lnTo>
                        <a:pt x="1352" y="1120"/>
                      </a:lnTo>
                      <a:lnTo>
                        <a:pt x="1351" y="1120"/>
                      </a:lnTo>
                      <a:lnTo>
                        <a:pt x="1351" y="1119"/>
                      </a:lnTo>
                      <a:lnTo>
                        <a:pt x="1351" y="1118"/>
                      </a:lnTo>
                      <a:lnTo>
                        <a:pt x="1352" y="1118"/>
                      </a:lnTo>
                      <a:lnTo>
                        <a:pt x="1353" y="1118"/>
                      </a:lnTo>
                      <a:lnTo>
                        <a:pt x="1353" y="1117"/>
                      </a:lnTo>
                      <a:lnTo>
                        <a:pt x="1354" y="1117"/>
                      </a:lnTo>
                      <a:lnTo>
                        <a:pt x="1354" y="1116"/>
                      </a:lnTo>
                      <a:lnTo>
                        <a:pt x="1354" y="1115"/>
                      </a:lnTo>
                      <a:lnTo>
                        <a:pt x="1353" y="1115"/>
                      </a:lnTo>
                      <a:lnTo>
                        <a:pt x="1353" y="1114"/>
                      </a:lnTo>
                      <a:lnTo>
                        <a:pt x="1353" y="1112"/>
                      </a:lnTo>
                      <a:lnTo>
                        <a:pt x="1353" y="1111"/>
                      </a:lnTo>
                      <a:lnTo>
                        <a:pt x="1353" y="1110"/>
                      </a:lnTo>
                      <a:lnTo>
                        <a:pt x="1352" y="1110"/>
                      </a:lnTo>
                      <a:lnTo>
                        <a:pt x="1352" y="1109"/>
                      </a:lnTo>
                      <a:lnTo>
                        <a:pt x="1353" y="1109"/>
                      </a:lnTo>
                      <a:lnTo>
                        <a:pt x="1353" y="1108"/>
                      </a:lnTo>
                      <a:lnTo>
                        <a:pt x="1354" y="1107"/>
                      </a:lnTo>
                      <a:lnTo>
                        <a:pt x="1353" y="1107"/>
                      </a:lnTo>
                      <a:lnTo>
                        <a:pt x="1353" y="1106"/>
                      </a:lnTo>
                      <a:lnTo>
                        <a:pt x="1352" y="1106"/>
                      </a:lnTo>
                      <a:lnTo>
                        <a:pt x="1352" y="1105"/>
                      </a:lnTo>
                      <a:lnTo>
                        <a:pt x="1351" y="1105"/>
                      </a:lnTo>
                      <a:lnTo>
                        <a:pt x="1351" y="1104"/>
                      </a:lnTo>
                      <a:lnTo>
                        <a:pt x="1351" y="1103"/>
                      </a:lnTo>
                      <a:lnTo>
                        <a:pt x="1351" y="1102"/>
                      </a:lnTo>
                      <a:lnTo>
                        <a:pt x="1351" y="1101"/>
                      </a:lnTo>
                      <a:lnTo>
                        <a:pt x="1351" y="1099"/>
                      </a:lnTo>
                      <a:lnTo>
                        <a:pt x="1352" y="1099"/>
                      </a:lnTo>
                      <a:lnTo>
                        <a:pt x="1353" y="1099"/>
                      </a:lnTo>
                      <a:lnTo>
                        <a:pt x="1353" y="1098"/>
                      </a:lnTo>
                      <a:lnTo>
                        <a:pt x="1354" y="1098"/>
                      </a:lnTo>
                      <a:lnTo>
                        <a:pt x="1355" y="1097"/>
                      </a:lnTo>
                      <a:lnTo>
                        <a:pt x="1356" y="1098"/>
                      </a:lnTo>
                      <a:lnTo>
                        <a:pt x="1356" y="1097"/>
                      </a:lnTo>
                      <a:lnTo>
                        <a:pt x="1356" y="1096"/>
                      </a:lnTo>
                      <a:lnTo>
                        <a:pt x="1355" y="1096"/>
                      </a:lnTo>
                      <a:lnTo>
                        <a:pt x="1355" y="1095"/>
                      </a:lnTo>
                      <a:lnTo>
                        <a:pt x="1356" y="1095"/>
                      </a:lnTo>
                      <a:lnTo>
                        <a:pt x="1356" y="1094"/>
                      </a:lnTo>
                      <a:lnTo>
                        <a:pt x="1355" y="1094"/>
                      </a:lnTo>
                      <a:lnTo>
                        <a:pt x="1356" y="1094"/>
                      </a:lnTo>
                      <a:lnTo>
                        <a:pt x="1355" y="1093"/>
                      </a:lnTo>
                      <a:lnTo>
                        <a:pt x="1354" y="1093"/>
                      </a:lnTo>
                      <a:lnTo>
                        <a:pt x="1353" y="1093"/>
                      </a:lnTo>
                      <a:lnTo>
                        <a:pt x="1352" y="1092"/>
                      </a:lnTo>
                      <a:lnTo>
                        <a:pt x="1352" y="1093"/>
                      </a:lnTo>
                      <a:lnTo>
                        <a:pt x="1353" y="1093"/>
                      </a:lnTo>
                      <a:lnTo>
                        <a:pt x="1352" y="1093"/>
                      </a:lnTo>
                      <a:lnTo>
                        <a:pt x="1352" y="1092"/>
                      </a:lnTo>
                      <a:lnTo>
                        <a:pt x="1352" y="1091"/>
                      </a:lnTo>
                      <a:lnTo>
                        <a:pt x="1353" y="1091"/>
                      </a:lnTo>
                      <a:lnTo>
                        <a:pt x="1353" y="1090"/>
                      </a:lnTo>
                      <a:lnTo>
                        <a:pt x="1353" y="1089"/>
                      </a:lnTo>
                      <a:lnTo>
                        <a:pt x="1352" y="1089"/>
                      </a:lnTo>
                      <a:lnTo>
                        <a:pt x="1353" y="1089"/>
                      </a:lnTo>
                      <a:lnTo>
                        <a:pt x="1353" y="1088"/>
                      </a:lnTo>
                      <a:lnTo>
                        <a:pt x="1352" y="1088"/>
                      </a:lnTo>
                      <a:lnTo>
                        <a:pt x="1352" y="1086"/>
                      </a:lnTo>
                      <a:lnTo>
                        <a:pt x="1351" y="1086"/>
                      </a:lnTo>
                      <a:lnTo>
                        <a:pt x="1350" y="1086"/>
                      </a:lnTo>
                      <a:lnTo>
                        <a:pt x="1350" y="1085"/>
                      </a:lnTo>
                      <a:lnTo>
                        <a:pt x="1351" y="1085"/>
                      </a:lnTo>
                      <a:lnTo>
                        <a:pt x="1351" y="1084"/>
                      </a:lnTo>
                      <a:lnTo>
                        <a:pt x="1351" y="1083"/>
                      </a:lnTo>
                      <a:lnTo>
                        <a:pt x="1352" y="1083"/>
                      </a:lnTo>
                      <a:lnTo>
                        <a:pt x="1353" y="1083"/>
                      </a:lnTo>
                      <a:lnTo>
                        <a:pt x="1353" y="1084"/>
                      </a:lnTo>
                      <a:close/>
                      <a:moveTo>
                        <a:pt x="1394" y="1125"/>
                      </a:moveTo>
                      <a:lnTo>
                        <a:pt x="1395" y="1125"/>
                      </a:lnTo>
                      <a:lnTo>
                        <a:pt x="1395" y="1127"/>
                      </a:lnTo>
                      <a:lnTo>
                        <a:pt x="1395" y="1128"/>
                      </a:lnTo>
                      <a:lnTo>
                        <a:pt x="1396" y="1129"/>
                      </a:lnTo>
                      <a:lnTo>
                        <a:pt x="1396" y="1130"/>
                      </a:lnTo>
                      <a:lnTo>
                        <a:pt x="1395" y="1130"/>
                      </a:lnTo>
                      <a:lnTo>
                        <a:pt x="1396" y="1131"/>
                      </a:lnTo>
                      <a:lnTo>
                        <a:pt x="1397" y="1131"/>
                      </a:lnTo>
                      <a:lnTo>
                        <a:pt x="1397" y="1132"/>
                      </a:lnTo>
                      <a:lnTo>
                        <a:pt x="1399" y="1132"/>
                      </a:lnTo>
                      <a:lnTo>
                        <a:pt x="1400" y="1132"/>
                      </a:lnTo>
                      <a:lnTo>
                        <a:pt x="1400" y="1133"/>
                      </a:lnTo>
                      <a:lnTo>
                        <a:pt x="1400" y="1132"/>
                      </a:lnTo>
                      <a:lnTo>
                        <a:pt x="1400" y="1133"/>
                      </a:lnTo>
                      <a:lnTo>
                        <a:pt x="1401" y="1133"/>
                      </a:lnTo>
                      <a:lnTo>
                        <a:pt x="1403" y="1134"/>
                      </a:lnTo>
                      <a:lnTo>
                        <a:pt x="1404" y="1135"/>
                      </a:lnTo>
                      <a:lnTo>
                        <a:pt x="1405" y="1135"/>
                      </a:lnTo>
                      <a:lnTo>
                        <a:pt x="1405" y="1136"/>
                      </a:lnTo>
                      <a:lnTo>
                        <a:pt x="1404" y="1136"/>
                      </a:lnTo>
                      <a:lnTo>
                        <a:pt x="1403" y="1136"/>
                      </a:lnTo>
                      <a:lnTo>
                        <a:pt x="1402" y="1136"/>
                      </a:lnTo>
                      <a:lnTo>
                        <a:pt x="1402" y="1137"/>
                      </a:lnTo>
                      <a:lnTo>
                        <a:pt x="1403" y="1136"/>
                      </a:lnTo>
                      <a:lnTo>
                        <a:pt x="1403" y="1137"/>
                      </a:lnTo>
                      <a:lnTo>
                        <a:pt x="1404" y="1137"/>
                      </a:lnTo>
                      <a:lnTo>
                        <a:pt x="1404" y="1138"/>
                      </a:lnTo>
                      <a:lnTo>
                        <a:pt x="1404" y="1140"/>
                      </a:lnTo>
                      <a:lnTo>
                        <a:pt x="1404" y="1141"/>
                      </a:lnTo>
                      <a:lnTo>
                        <a:pt x="1404" y="1142"/>
                      </a:lnTo>
                      <a:lnTo>
                        <a:pt x="1404" y="1143"/>
                      </a:lnTo>
                      <a:lnTo>
                        <a:pt x="1405" y="1144"/>
                      </a:lnTo>
                      <a:lnTo>
                        <a:pt x="1405" y="1143"/>
                      </a:lnTo>
                      <a:lnTo>
                        <a:pt x="1404" y="1143"/>
                      </a:lnTo>
                      <a:lnTo>
                        <a:pt x="1404" y="1142"/>
                      </a:lnTo>
                      <a:lnTo>
                        <a:pt x="1404" y="1141"/>
                      </a:lnTo>
                      <a:lnTo>
                        <a:pt x="1404" y="1140"/>
                      </a:lnTo>
                      <a:lnTo>
                        <a:pt x="1404" y="1138"/>
                      </a:lnTo>
                      <a:lnTo>
                        <a:pt x="1404" y="1137"/>
                      </a:lnTo>
                      <a:lnTo>
                        <a:pt x="1404" y="1136"/>
                      </a:lnTo>
                      <a:lnTo>
                        <a:pt x="1405" y="1136"/>
                      </a:lnTo>
                      <a:lnTo>
                        <a:pt x="1406" y="1136"/>
                      </a:lnTo>
                      <a:lnTo>
                        <a:pt x="1407" y="1137"/>
                      </a:lnTo>
                      <a:lnTo>
                        <a:pt x="1408" y="1138"/>
                      </a:lnTo>
                      <a:lnTo>
                        <a:pt x="1408" y="1140"/>
                      </a:lnTo>
                      <a:lnTo>
                        <a:pt x="1409" y="1140"/>
                      </a:lnTo>
                      <a:lnTo>
                        <a:pt x="1409" y="1141"/>
                      </a:lnTo>
                      <a:lnTo>
                        <a:pt x="1409" y="1142"/>
                      </a:lnTo>
                      <a:lnTo>
                        <a:pt x="1410" y="1142"/>
                      </a:lnTo>
                      <a:lnTo>
                        <a:pt x="1409" y="1141"/>
                      </a:lnTo>
                      <a:lnTo>
                        <a:pt x="1410" y="1142"/>
                      </a:lnTo>
                      <a:lnTo>
                        <a:pt x="1409" y="1142"/>
                      </a:lnTo>
                      <a:lnTo>
                        <a:pt x="1409" y="1141"/>
                      </a:lnTo>
                      <a:lnTo>
                        <a:pt x="1408" y="1140"/>
                      </a:lnTo>
                      <a:lnTo>
                        <a:pt x="1407" y="1138"/>
                      </a:lnTo>
                      <a:lnTo>
                        <a:pt x="1406" y="1137"/>
                      </a:lnTo>
                      <a:lnTo>
                        <a:pt x="1406" y="1136"/>
                      </a:lnTo>
                      <a:lnTo>
                        <a:pt x="1406" y="1137"/>
                      </a:lnTo>
                      <a:lnTo>
                        <a:pt x="1407" y="1140"/>
                      </a:lnTo>
                      <a:lnTo>
                        <a:pt x="1408" y="1140"/>
                      </a:lnTo>
                      <a:lnTo>
                        <a:pt x="1408" y="1141"/>
                      </a:lnTo>
                      <a:lnTo>
                        <a:pt x="1409" y="1142"/>
                      </a:lnTo>
                      <a:lnTo>
                        <a:pt x="1410" y="1142"/>
                      </a:lnTo>
                      <a:lnTo>
                        <a:pt x="1412" y="1143"/>
                      </a:lnTo>
                      <a:lnTo>
                        <a:pt x="1413" y="1143"/>
                      </a:lnTo>
                      <a:lnTo>
                        <a:pt x="1414" y="1144"/>
                      </a:lnTo>
                      <a:lnTo>
                        <a:pt x="1415" y="1144"/>
                      </a:lnTo>
                      <a:lnTo>
                        <a:pt x="1416" y="1144"/>
                      </a:lnTo>
                      <a:lnTo>
                        <a:pt x="1415" y="1144"/>
                      </a:lnTo>
                      <a:lnTo>
                        <a:pt x="1415" y="1145"/>
                      </a:lnTo>
                      <a:lnTo>
                        <a:pt x="1414" y="1145"/>
                      </a:lnTo>
                      <a:lnTo>
                        <a:pt x="1413" y="1145"/>
                      </a:lnTo>
                      <a:lnTo>
                        <a:pt x="1412" y="1145"/>
                      </a:lnTo>
                      <a:lnTo>
                        <a:pt x="1412" y="1144"/>
                      </a:lnTo>
                      <a:lnTo>
                        <a:pt x="1410" y="1144"/>
                      </a:lnTo>
                      <a:lnTo>
                        <a:pt x="1409" y="1144"/>
                      </a:lnTo>
                      <a:lnTo>
                        <a:pt x="1409" y="1145"/>
                      </a:lnTo>
                      <a:lnTo>
                        <a:pt x="1410" y="1144"/>
                      </a:lnTo>
                      <a:lnTo>
                        <a:pt x="1410" y="1145"/>
                      </a:lnTo>
                      <a:lnTo>
                        <a:pt x="1412" y="1145"/>
                      </a:lnTo>
                      <a:lnTo>
                        <a:pt x="1413" y="1145"/>
                      </a:lnTo>
                      <a:lnTo>
                        <a:pt x="1414" y="1145"/>
                      </a:lnTo>
                      <a:lnTo>
                        <a:pt x="1415" y="1145"/>
                      </a:lnTo>
                      <a:lnTo>
                        <a:pt x="1416" y="1145"/>
                      </a:lnTo>
                      <a:lnTo>
                        <a:pt x="1417" y="1146"/>
                      </a:lnTo>
                      <a:lnTo>
                        <a:pt x="1417" y="1147"/>
                      </a:lnTo>
                      <a:lnTo>
                        <a:pt x="1418" y="1147"/>
                      </a:lnTo>
                      <a:lnTo>
                        <a:pt x="1419" y="1147"/>
                      </a:lnTo>
                      <a:lnTo>
                        <a:pt x="1420" y="1149"/>
                      </a:lnTo>
                      <a:lnTo>
                        <a:pt x="1421" y="1149"/>
                      </a:lnTo>
                      <a:lnTo>
                        <a:pt x="1424" y="1151"/>
                      </a:lnTo>
                      <a:lnTo>
                        <a:pt x="1425" y="1151"/>
                      </a:lnTo>
                      <a:lnTo>
                        <a:pt x="1426" y="1151"/>
                      </a:lnTo>
                      <a:lnTo>
                        <a:pt x="1427" y="1151"/>
                      </a:lnTo>
                      <a:lnTo>
                        <a:pt x="1427" y="1153"/>
                      </a:lnTo>
                      <a:lnTo>
                        <a:pt x="1427" y="1151"/>
                      </a:lnTo>
                      <a:lnTo>
                        <a:pt x="1426" y="1151"/>
                      </a:lnTo>
                      <a:lnTo>
                        <a:pt x="1426" y="1153"/>
                      </a:lnTo>
                      <a:lnTo>
                        <a:pt x="1427" y="1153"/>
                      </a:lnTo>
                      <a:lnTo>
                        <a:pt x="1427" y="1151"/>
                      </a:lnTo>
                      <a:lnTo>
                        <a:pt x="1428" y="1151"/>
                      </a:lnTo>
                      <a:lnTo>
                        <a:pt x="1428" y="1153"/>
                      </a:lnTo>
                      <a:lnTo>
                        <a:pt x="1429" y="1153"/>
                      </a:lnTo>
                      <a:lnTo>
                        <a:pt x="1430" y="1153"/>
                      </a:lnTo>
                      <a:lnTo>
                        <a:pt x="1431" y="1154"/>
                      </a:lnTo>
                      <a:lnTo>
                        <a:pt x="1432" y="1154"/>
                      </a:lnTo>
                      <a:lnTo>
                        <a:pt x="1433" y="1154"/>
                      </a:lnTo>
                      <a:lnTo>
                        <a:pt x="1434" y="1154"/>
                      </a:lnTo>
                      <a:lnTo>
                        <a:pt x="1434" y="1155"/>
                      </a:lnTo>
                      <a:lnTo>
                        <a:pt x="1435" y="1155"/>
                      </a:lnTo>
                      <a:lnTo>
                        <a:pt x="1437" y="1155"/>
                      </a:lnTo>
                      <a:lnTo>
                        <a:pt x="1438" y="1155"/>
                      </a:lnTo>
                      <a:lnTo>
                        <a:pt x="1438" y="1156"/>
                      </a:lnTo>
                      <a:lnTo>
                        <a:pt x="1439" y="1156"/>
                      </a:lnTo>
                      <a:lnTo>
                        <a:pt x="1440" y="1156"/>
                      </a:lnTo>
                      <a:lnTo>
                        <a:pt x="1441" y="1157"/>
                      </a:lnTo>
                      <a:lnTo>
                        <a:pt x="1442" y="1157"/>
                      </a:lnTo>
                      <a:lnTo>
                        <a:pt x="1443" y="1158"/>
                      </a:lnTo>
                      <a:lnTo>
                        <a:pt x="1444" y="1158"/>
                      </a:lnTo>
                      <a:lnTo>
                        <a:pt x="1445" y="1159"/>
                      </a:lnTo>
                      <a:lnTo>
                        <a:pt x="1446" y="1159"/>
                      </a:lnTo>
                      <a:lnTo>
                        <a:pt x="1445" y="1160"/>
                      </a:lnTo>
                      <a:lnTo>
                        <a:pt x="1445" y="1159"/>
                      </a:lnTo>
                      <a:lnTo>
                        <a:pt x="1444" y="1159"/>
                      </a:lnTo>
                      <a:lnTo>
                        <a:pt x="1443" y="1160"/>
                      </a:lnTo>
                      <a:lnTo>
                        <a:pt x="1443" y="1159"/>
                      </a:lnTo>
                      <a:lnTo>
                        <a:pt x="1442" y="1159"/>
                      </a:lnTo>
                      <a:lnTo>
                        <a:pt x="1441" y="1158"/>
                      </a:lnTo>
                      <a:lnTo>
                        <a:pt x="1440" y="1158"/>
                      </a:lnTo>
                      <a:lnTo>
                        <a:pt x="1440" y="1159"/>
                      </a:lnTo>
                      <a:lnTo>
                        <a:pt x="1439" y="1159"/>
                      </a:lnTo>
                      <a:lnTo>
                        <a:pt x="1438" y="1159"/>
                      </a:lnTo>
                      <a:lnTo>
                        <a:pt x="1437" y="1159"/>
                      </a:lnTo>
                      <a:lnTo>
                        <a:pt x="1435" y="1158"/>
                      </a:lnTo>
                      <a:lnTo>
                        <a:pt x="1437" y="1157"/>
                      </a:lnTo>
                      <a:lnTo>
                        <a:pt x="1435" y="1157"/>
                      </a:lnTo>
                      <a:lnTo>
                        <a:pt x="1434" y="1157"/>
                      </a:lnTo>
                      <a:lnTo>
                        <a:pt x="1434" y="1156"/>
                      </a:lnTo>
                      <a:lnTo>
                        <a:pt x="1433" y="1156"/>
                      </a:lnTo>
                      <a:lnTo>
                        <a:pt x="1432" y="1155"/>
                      </a:lnTo>
                      <a:lnTo>
                        <a:pt x="1431" y="1155"/>
                      </a:lnTo>
                      <a:lnTo>
                        <a:pt x="1431" y="1154"/>
                      </a:lnTo>
                      <a:lnTo>
                        <a:pt x="1430" y="1154"/>
                      </a:lnTo>
                      <a:lnTo>
                        <a:pt x="1429" y="1153"/>
                      </a:lnTo>
                      <a:lnTo>
                        <a:pt x="1429" y="1154"/>
                      </a:lnTo>
                      <a:lnTo>
                        <a:pt x="1429" y="1155"/>
                      </a:lnTo>
                      <a:lnTo>
                        <a:pt x="1429" y="1156"/>
                      </a:lnTo>
                      <a:lnTo>
                        <a:pt x="1430" y="1156"/>
                      </a:lnTo>
                      <a:lnTo>
                        <a:pt x="1430" y="1157"/>
                      </a:lnTo>
                      <a:lnTo>
                        <a:pt x="1431" y="1158"/>
                      </a:lnTo>
                      <a:lnTo>
                        <a:pt x="1430" y="1158"/>
                      </a:lnTo>
                      <a:lnTo>
                        <a:pt x="1429" y="1159"/>
                      </a:lnTo>
                      <a:lnTo>
                        <a:pt x="1431" y="1160"/>
                      </a:lnTo>
                      <a:lnTo>
                        <a:pt x="1432" y="1160"/>
                      </a:lnTo>
                      <a:lnTo>
                        <a:pt x="1433" y="1160"/>
                      </a:lnTo>
                      <a:lnTo>
                        <a:pt x="1434" y="1161"/>
                      </a:lnTo>
                      <a:lnTo>
                        <a:pt x="1435" y="1161"/>
                      </a:lnTo>
                      <a:lnTo>
                        <a:pt x="1435" y="1162"/>
                      </a:lnTo>
                      <a:lnTo>
                        <a:pt x="1433" y="1161"/>
                      </a:lnTo>
                      <a:lnTo>
                        <a:pt x="1432" y="1161"/>
                      </a:lnTo>
                      <a:lnTo>
                        <a:pt x="1431" y="1161"/>
                      </a:lnTo>
                      <a:lnTo>
                        <a:pt x="1430" y="1161"/>
                      </a:lnTo>
                      <a:lnTo>
                        <a:pt x="1429" y="1161"/>
                      </a:lnTo>
                      <a:lnTo>
                        <a:pt x="1428" y="1162"/>
                      </a:lnTo>
                      <a:lnTo>
                        <a:pt x="1428" y="1163"/>
                      </a:lnTo>
                      <a:lnTo>
                        <a:pt x="1427" y="1163"/>
                      </a:lnTo>
                      <a:lnTo>
                        <a:pt x="1426" y="1163"/>
                      </a:lnTo>
                      <a:lnTo>
                        <a:pt x="1426" y="1164"/>
                      </a:lnTo>
                      <a:lnTo>
                        <a:pt x="1425" y="1164"/>
                      </a:lnTo>
                      <a:lnTo>
                        <a:pt x="1426" y="1166"/>
                      </a:lnTo>
                      <a:lnTo>
                        <a:pt x="1427" y="1166"/>
                      </a:lnTo>
                      <a:lnTo>
                        <a:pt x="1427" y="1167"/>
                      </a:lnTo>
                      <a:lnTo>
                        <a:pt x="1428" y="1167"/>
                      </a:lnTo>
                      <a:lnTo>
                        <a:pt x="1427" y="1167"/>
                      </a:lnTo>
                      <a:lnTo>
                        <a:pt x="1425" y="1168"/>
                      </a:lnTo>
                      <a:lnTo>
                        <a:pt x="1424" y="1168"/>
                      </a:lnTo>
                      <a:lnTo>
                        <a:pt x="1424" y="1169"/>
                      </a:lnTo>
                      <a:lnTo>
                        <a:pt x="1422" y="1169"/>
                      </a:lnTo>
                      <a:lnTo>
                        <a:pt x="1422" y="1168"/>
                      </a:lnTo>
                      <a:lnTo>
                        <a:pt x="1421" y="1168"/>
                      </a:lnTo>
                      <a:lnTo>
                        <a:pt x="1420" y="1168"/>
                      </a:lnTo>
                      <a:lnTo>
                        <a:pt x="1419" y="1168"/>
                      </a:lnTo>
                      <a:lnTo>
                        <a:pt x="1419" y="1167"/>
                      </a:lnTo>
                      <a:lnTo>
                        <a:pt x="1418" y="1167"/>
                      </a:lnTo>
                      <a:lnTo>
                        <a:pt x="1417" y="1166"/>
                      </a:lnTo>
                      <a:lnTo>
                        <a:pt x="1417" y="1167"/>
                      </a:lnTo>
                      <a:lnTo>
                        <a:pt x="1417" y="1166"/>
                      </a:lnTo>
                      <a:lnTo>
                        <a:pt x="1416" y="1166"/>
                      </a:lnTo>
                      <a:lnTo>
                        <a:pt x="1416" y="1164"/>
                      </a:lnTo>
                      <a:lnTo>
                        <a:pt x="1416" y="1163"/>
                      </a:lnTo>
                      <a:lnTo>
                        <a:pt x="1415" y="1163"/>
                      </a:lnTo>
                      <a:lnTo>
                        <a:pt x="1416" y="1163"/>
                      </a:lnTo>
                      <a:lnTo>
                        <a:pt x="1415" y="1162"/>
                      </a:lnTo>
                      <a:lnTo>
                        <a:pt x="1415" y="1161"/>
                      </a:lnTo>
                      <a:lnTo>
                        <a:pt x="1414" y="1161"/>
                      </a:lnTo>
                      <a:lnTo>
                        <a:pt x="1414" y="1160"/>
                      </a:lnTo>
                      <a:lnTo>
                        <a:pt x="1414" y="1159"/>
                      </a:lnTo>
                      <a:lnTo>
                        <a:pt x="1414" y="1160"/>
                      </a:lnTo>
                      <a:lnTo>
                        <a:pt x="1414" y="1159"/>
                      </a:lnTo>
                      <a:lnTo>
                        <a:pt x="1413" y="1159"/>
                      </a:lnTo>
                      <a:lnTo>
                        <a:pt x="1413" y="1158"/>
                      </a:lnTo>
                      <a:lnTo>
                        <a:pt x="1412" y="1157"/>
                      </a:lnTo>
                      <a:lnTo>
                        <a:pt x="1412" y="1156"/>
                      </a:lnTo>
                      <a:lnTo>
                        <a:pt x="1412" y="1155"/>
                      </a:lnTo>
                      <a:lnTo>
                        <a:pt x="1410" y="1155"/>
                      </a:lnTo>
                      <a:lnTo>
                        <a:pt x="1410" y="1154"/>
                      </a:lnTo>
                      <a:lnTo>
                        <a:pt x="1409" y="1153"/>
                      </a:lnTo>
                      <a:lnTo>
                        <a:pt x="1409" y="1151"/>
                      </a:lnTo>
                      <a:lnTo>
                        <a:pt x="1408" y="1151"/>
                      </a:lnTo>
                      <a:lnTo>
                        <a:pt x="1408" y="1150"/>
                      </a:lnTo>
                      <a:lnTo>
                        <a:pt x="1408" y="1151"/>
                      </a:lnTo>
                      <a:lnTo>
                        <a:pt x="1408" y="1150"/>
                      </a:lnTo>
                      <a:lnTo>
                        <a:pt x="1408" y="1151"/>
                      </a:lnTo>
                      <a:lnTo>
                        <a:pt x="1407" y="1150"/>
                      </a:lnTo>
                      <a:lnTo>
                        <a:pt x="1406" y="1150"/>
                      </a:lnTo>
                      <a:lnTo>
                        <a:pt x="1405" y="1150"/>
                      </a:lnTo>
                      <a:lnTo>
                        <a:pt x="1405" y="1149"/>
                      </a:lnTo>
                      <a:lnTo>
                        <a:pt x="1404" y="1149"/>
                      </a:lnTo>
                      <a:lnTo>
                        <a:pt x="1403" y="1149"/>
                      </a:lnTo>
                      <a:lnTo>
                        <a:pt x="1402" y="1148"/>
                      </a:lnTo>
                      <a:lnTo>
                        <a:pt x="1403" y="1148"/>
                      </a:lnTo>
                      <a:lnTo>
                        <a:pt x="1402" y="1148"/>
                      </a:lnTo>
                      <a:lnTo>
                        <a:pt x="1403" y="1148"/>
                      </a:lnTo>
                      <a:lnTo>
                        <a:pt x="1402" y="1148"/>
                      </a:lnTo>
                      <a:lnTo>
                        <a:pt x="1402" y="1147"/>
                      </a:lnTo>
                      <a:lnTo>
                        <a:pt x="1401" y="1147"/>
                      </a:lnTo>
                      <a:lnTo>
                        <a:pt x="1401" y="1146"/>
                      </a:lnTo>
                      <a:lnTo>
                        <a:pt x="1401" y="1145"/>
                      </a:lnTo>
                      <a:lnTo>
                        <a:pt x="1400" y="1145"/>
                      </a:lnTo>
                      <a:lnTo>
                        <a:pt x="1399" y="1143"/>
                      </a:lnTo>
                      <a:lnTo>
                        <a:pt x="1397" y="1143"/>
                      </a:lnTo>
                      <a:lnTo>
                        <a:pt x="1397" y="1142"/>
                      </a:lnTo>
                      <a:lnTo>
                        <a:pt x="1397" y="1141"/>
                      </a:lnTo>
                      <a:lnTo>
                        <a:pt x="1396" y="1140"/>
                      </a:lnTo>
                      <a:lnTo>
                        <a:pt x="1396" y="1137"/>
                      </a:lnTo>
                      <a:lnTo>
                        <a:pt x="1395" y="1135"/>
                      </a:lnTo>
                      <a:lnTo>
                        <a:pt x="1395" y="1133"/>
                      </a:lnTo>
                      <a:lnTo>
                        <a:pt x="1395" y="1132"/>
                      </a:lnTo>
                      <a:lnTo>
                        <a:pt x="1395" y="1131"/>
                      </a:lnTo>
                      <a:lnTo>
                        <a:pt x="1395" y="1130"/>
                      </a:lnTo>
                      <a:lnTo>
                        <a:pt x="1395" y="1129"/>
                      </a:lnTo>
                      <a:lnTo>
                        <a:pt x="1395" y="1128"/>
                      </a:lnTo>
                      <a:lnTo>
                        <a:pt x="1394" y="1127"/>
                      </a:lnTo>
                      <a:lnTo>
                        <a:pt x="1394" y="1125"/>
                      </a:lnTo>
                      <a:lnTo>
                        <a:pt x="1393" y="1125"/>
                      </a:lnTo>
                      <a:lnTo>
                        <a:pt x="1394" y="1125"/>
                      </a:lnTo>
                      <a:close/>
                      <a:moveTo>
                        <a:pt x="1375" y="1138"/>
                      </a:moveTo>
                      <a:lnTo>
                        <a:pt x="1376" y="1138"/>
                      </a:lnTo>
                      <a:lnTo>
                        <a:pt x="1375" y="1140"/>
                      </a:lnTo>
                      <a:lnTo>
                        <a:pt x="1376" y="1140"/>
                      </a:lnTo>
                      <a:lnTo>
                        <a:pt x="1375" y="1140"/>
                      </a:lnTo>
                      <a:lnTo>
                        <a:pt x="1376" y="1141"/>
                      </a:lnTo>
                      <a:lnTo>
                        <a:pt x="1377" y="1142"/>
                      </a:lnTo>
                      <a:lnTo>
                        <a:pt x="1377" y="1143"/>
                      </a:lnTo>
                      <a:lnTo>
                        <a:pt x="1378" y="1144"/>
                      </a:lnTo>
                      <a:lnTo>
                        <a:pt x="1378" y="1145"/>
                      </a:lnTo>
                      <a:lnTo>
                        <a:pt x="1379" y="1145"/>
                      </a:lnTo>
                      <a:lnTo>
                        <a:pt x="1379" y="1146"/>
                      </a:lnTo>
                      <a:lnTo>
                        <a:pt x="1380" y="1147"/>
                      </a:lnTo>
                      <a:lnTo>
                        <a:pt x="1380" y="1148"/>
                      </a:lnTo>
                      <a:lnTo>
                        <a:pt x="1380" y="1149"/>
                      </a:lnTo>
                      <a:lnTo>
                        <a:pt x="1381" y="1149"/>
                      </a:lnTo>
                      <a:lnTo>
                        <a:pt x="1381" y="1150"/>
                      </a:lnTo>
                      <a:lnTo>
                        <a:pt x="1382" y="1150"/>
                      </a:lnTo>
                      <a:lnTo>
                        <a:pt x="1382" y="1151"/>
                      </a:lnTo>
                      <a:lnTo>
                        <a:pt x="1383" y="1151"/>
                      </a:lnTo>
                      <a:lnTo>
                        <a:pt x="1383" y="1153"/>
                      </a:lnTo>
                      <a:lnTo>
                        <a:pt x="1388" y="1159"/>
                      </a:lnTo>
                      <a:lnTo>
                        <a:pt x="1391" y="1162"/>
                      </a:lnTo>
                      <a:lnTo>
                        <a:pt x="1393" y="1168"/>
                      </a:lnTo>
                      <a:lnTo>
                        <a:pt x="1394" y="1171"/>
                      </a:lnTo>
                      <a:lnTo>
                        <a:pt x="1396" y="1176"/>
                      </a:lnTo>
                      <a:lnTo>
                        <a:pt x="1397" y="1179"/>
                      </a:lnTo>
                      <a:lnTo>
                        <a:pt x="1399" y="1180"/>
                      </a:lnTo>
                      <a:lnTo>
                        <a:pt x="1400" y="1181"/>
                      </a:lnTo>
                      <a:lnTo>
                        <a:pt x="1403" y="1185"/>
                      </a:lnTo>
                      <a:lnTo>
                        <a:pt x="1412" y="1197"/>
                      </a:lnTo>
                      <a:lnTo>
                        <a:pt x="1413" y="1198"/>
                      </a:lnTo>
                      <a:lnTo>
                        <a:pt x="1414" y="1199"/>
                      </a:lnTo>
                      <a:lnTo>
                        <a:pt x="1418" y="1201"/>
                      </a:lnTo>
                      <a:lnTo>
                        <a:pt x="1419" y="1202"/>
                      </a:lnTo>
                      <a:lnTo>
                        <a:pt x="1430" y="1213"/>
                      </a:lnTo>
                      <a:lnTo>
                        <a:pt x="1431" y="1214"/>
                      </a:lnTo>
                      <a:lnTo>
                        <a:pt x="1431" y="1215"/>
                      </a:lnTo>
                      <a:lnTo>
                        <a:pt x="1431" y="1217"/>
                      </a:lnTo>
                      <a:lnTo>
                        <a:pt x="1430" y="1217"/>
                      </a:lnTo>
                      <a:lnTo>
                        <a:pt x="1429" y="1217"/>
                      </a:lnTo>
                      <a:lnTo>
                        <a:pt x="1427" y="1214"/>
                      </a:lnTo>
                      <a:lnTo>
                        <a:pt x="1424" y="1211"/>
                      </a:lnTo>
                      <a:lnTo>
                        <a:pt x="1422" y="1209"/>
                      </a:lnTo>
                      <a:lnTo>
                        <a:pt x="1421" y="1209"/>
                      </a:lnTo>
                      <a:lnTo>
                        <a:pt x="1420" y="1209"/>
                      </a:lnTo>
                      <a:lnTo>
                        <a:pt x="1419" y="1209"/>
                      </a:lnTo>
                      <a:lnTo>
                        <a:pt x="1419" y="1210"/>
                      </a:lnTo>
                      <a:lnTo>
                        <a:pt x="1418" y="1209"/>
                      </a:lnTo>
                      <a:lnTo>
                        <a:pt x="1417" y="1209"/>
                      </a:lnTo>
                      <a:lnTo>
                        <a:pt x="1417" y="1208"/>
                      </a:lnTo>
                      <a:lnTo>
                        <a:pt x="1416" y="1206"/>
                      </a:lnTo>
                      <a:lnTo>
                        <a:pt x="1415" y="1205"/>
                      </a:lnTo>
                      <a:lnTo>
                        <a:pt x="1414" y="1206"/>
                      </a:lnTo>
                      <a:lnTo>
                        <a:pt x="1414" y="1204"/>
                      </a:lnTo>
                      <a:lnTo>
                        <a:pt x="1413" y="1202"/>
                      </a:lnTo>
                      <a:lnTo>
                        <a:pt x="1412" y="1202"/>
                      </a:lnTo>
                      <a:lnTo>
                        <a:pt x="1409" y="1201"/>
                      </a:lnTo>
                      <a:lnTo>
                        <a:pt x="1408" y="1200"/>
                      </a:lnTo>
                      <a:lnTo>
                        <a:pt x="1408" y="1199"/>
                      </a:lnTo>
                      <a:lnTo>
                        <a:pt x="1408" y="1198"/>
                      </a:lnTo>
                      <a:lnTo>
                        <a:pt x="1408" y="1197"/>
                      </a:lnTo>
                      <a:lnTo>
                        <a:pt x="1407" y="1195"/>
                      </a:lnTo>
                      <a:lnTo>
                        <a:pt x="1406" y="1194"/>
                      </a:lnTo>
                      <a:lnTo>
                        <a:pt x="1405" y="1193"/>
                      </a:lnTo>
                      <a:lnTo>
                        <a:pt x="1403" y="1193"/>
                      </a:lnTo>
                      <a:lnTo>
                        <a:pt x="1404" y="1195"/>
                      </a:lnTo>
                      <a:lnTo>
                        <a:pt x="1403" y="1195"/>
                      </a:lnTo>
                      <a:lnTo>
                        <a:pt x="1402" y="1195"/>
                      </a:lnTo>
                      <a:lnTo>
                        <a:pt x="1402" y="1194"/>
                      </a:lnTo>
                      <a:lnTo>
                        <a:pt x="1401" y="1193"/>
                      </a:lnTo>
                      <a:lnTo>
                        <a:pt x="1401" y="1194"/>
                      </a:lnTo>
                      <a:lnTo>
                        <a:pt x="1400" y="1194"/>
                      </a:lnTo>
                      <a:lnTo>
                        <a:pt x="1400" y="1193"/>
                      </a:lnTo>
                      <a:lnTo>
                        <a:pt x="1399" y="1193"/>
                      </a:lnTo>
                      <a:lnTo>
                        <a:pt x="1397" y="1193"/>
                      </a:lnTo>
                      <a:lnTo>
                        <a:pt x="1397" y="1192"/>
                      </a:lnTo>
                      <a:lnTo>
                        <a:pt x="1397" y="1191"/>
                      </a:lnTo>
                      <a:lnTo>
                        <a:pt x="1396" y="1189"/>
                      </a:lnTo>
                      <a:lnTo>
                        <a:pt x="1395" y="1188"/>
                      </a:lnTo>
                      <a:lnTo>
                        <a:pt x="1395" y="1187"/>
                      </a:lnTo>
                      <a:lnTo>
                        <a:pt x="1394" y="1187"/>
                      </a:lnTo>
                      <a:lnTo>
                        <a:pt x="1394" y="1186"/>
                      </a:lnTo>
                      <a:lnTo>
                        <a:pt x="1393" y="1186"/>
                      </a:lnTo>
                      <a:lnTo>
                        <a:pt x="1392" y="1185"/>
                      </a:lnTo>
                      <a:lnTo>
                        <a:pt x="1393" y="1184"/>
                      </a:lnTo>
                      <a:lnTo>
                        <a:pt x="1394" y="1184"/>
                      </a:lnTo>
                      <a:lnTo>
                        <a:pt x="1393" y="1183"/>
                      </a:lnTo>
                      <a:lnTo>
                        <a:pt x="1392" y="1183"/>
                      </a:lnTo>
                      <a:lnTo>
                        <a:pt x="1392" y="1182"/>
                      </a:lnTo>
                      <a:lnTo>
                        <a:pt x="1392" y="1180"/>
                      </a:lnTo>
                      <a:lnTo>
                        <a:pt x="1391" y="1179"/>
                      </a:lnTo>
                      <a:lnTo>
                        <a:pt x="1391" y="1178"/>
                      </a:lnTo>
                      <a:lnTo>
                        <a:pt x="1390" y="1178"/>
                      </a:lnTo>
                      <a:lnTo>
                        <a:pt x="1389" y="1179"/>
                      </a:lnTo>
                      <a:lnTo>
                        <a:pt x="1389" y="1178"/>
                      </a:lnTo>
                      <a:lnTo>
                        <a:pt x="1390" y="1175"/>
                      </a:lnTo>
                      <a:lnTo>
                        <a:pt x="1391" y="1175"/>
                      </a:lnTo>
                      <a:lnTo>
                        <a:pt x="1391" y="1174"/>
                      </a:lnTo>
                      <a:lnTo>
                        <a:pt x="1390" y="1174"/>
                      </a:lnTo>
                      <a:lnTo>
                        <a:pt x="1389" y="1175"/>
                      </a:lnTo>
                      <a:lnTo>
                        <a:pt x="1388" y="1174"/>
                      </a:lnTo>
                      <a:lnTo>
                        <a:pt x="1389" y="1174"/>
                      </a:lnTo>
                      <a:lnTo>
                        <a:pt x="1390" y="1173"/>
                      </a:lnTo>
                      <a:lnTo>
                        <a:pt x="1391" y="1172"/>
                      </a:lnTo>
                      <a:lnTo>
                        <a:pt x="1391" y="1170"/>
                      </a:lnTo>
                      <a:lnTo>
                        <a:pt x="1390" y="1169"/>
                      </a:lnTo>
                      <a:lnTo>
                        <a:pt x="1389" y="1169"/>
                      </a:lnTo>
                      <a:lnTo>
                        <a:pt x="1389" y="1168"/>
                      </a:lnTo>
                      <a:lnTo>
                        <a:pt x="1389" y="1167"/>
                      </a:lnTo>
                      <a:lnTo>
                        <a:pt x="1389" y="1166"/>
                      </a:lnTo>
                      <a:lnTo>
                        <a:pt x="1389" y="1164"/>
                      </a:lnTo>
                      <a:lnTo>
                        <a:pt x="1388" y="1164"/>
                      </a:lnTo>
                      <a:lnTo>
                        <a:pt x="1387" y="1166"/>
                      </a:lnTo>
                      <a:lnTo>
                        <a:pt x="1387" y="1167"/>
                      </a:lnTo>
                      <a:lnTo>
                        <a:pt x="1386" y="1166"/>
                      </a:lnTo>
                      <a:lnTo>
                        <a:pt x="1386" y="1164"/>
                      </a:lnTo>
                      <a:lnTo>
                        <a:pt x="1386" y="1163"/>
                      </a:lnTo>
                      <a:lnTo>
                        <a:pt x="1386" y="1162"/>
                      </a:lnTo>
                      <a:lnTo>
                        <a:pt x="1386" y="1163"/>
                      </a:lnTo>
                      <a:lnTo>
                        <a:pt x="1384" y="1163"/>
                      </a:lnTo>
                      <a:lnTo>
                        <a:pt x="1383" y="1163"/>
                      </a:lnTo>
                      <a:lnTo>
                        <a:pt x="1383" y="1162"/>
                      </a:lnTo>
                      <a:lnTo>
                        <a:pt x="1383" y="1161"/>
                      </a:lnTo>
                      <a:lnTo>
                        <a:pt x="1383" y="1160"/>
                      </a:lnTo>
                      <a:lnTo>
                        <a:pt x="1383" y="1159"/>
                      </a:lnTo>
                      <a:lnTo>
                        <a:pt x="1384" y="1158"/>
                      </a:lnTo>
                      <a:lnTo>
                        <a:pt x="1383" y="1158"/>
                      </a:lnTo>
                      <a:lnTo>
                        <a:pt x="1382" y="1158"/>
                      </a:lnTo>
                      <a:lnTo>
                        <a:pt x="1381" y="1157"/>
                      </a:lnTo>
                      <a:lnTo>
                        <a:pt x="1380" y="1157"/>
                      </a:lnTo>
                      <a:lnTo>
                        <a:pt x="1379" y="1157"/>
                      </a:lnTo>
                      <a:lnTo>
                        <a:pt x="1379" y="1158"/>
                      </a:lnTo>
                      <a:lnTo>
                        <a:pt x="1379" y="1157"/>
                      </a:lnTo>
                      <a:lnTo>
                        <a:pt x="1377" y="1155"/>
                      </a:lnTo>
                      <a:lnTo>
                        <a:pt x="1377" y="1154"/>
                      </a:lnTo>
                      <a:lnTo>
                        <a:pt x="1377" y="1153"/>
                      </a:lnTo>
                      <a:lnTo>
                        <a:pt x="1378" y="1153"/>
                      </a:lnTo>
                      <a:lnTo>
                        <a:pt x="1379" y="1153"/>
                      </a:lnTo>
                      <a:lnTo>
                        <a:pt x="1379" y="1151"/>
                      </a:lnTo>
                      <a:lnTo>
                        <a:pt x="1379" y="1150"/>
                      </a:lnTo>
                      <a:lnTo>
                        <a:pt x="1380" y="1150"/>
                      </a:lnTo>
                      <a:lnTo>
                        <a:pt x="1380" y="1149"/>
                      </a:lnTo>
                      <a:lnTo>
                        <a:pt x="1379" y="1149"/>
                      </a:lnTo>
                      <a:lnTo>
                        <a:pt x="1379" y="1148"/>
                      </a:lnTo>
                      <a:lnTo>
                        <a:pt x="1379" y="1147"/>
                      </a:lnTo>
                      <a:lnTo>
                        <a:pt x="1378" y="1147"/>
                      </a:lnTo>
                      <a:lnTo>
                        <a:pt x="1378" y="1146"/>
                      </a:lnTo>
                      <a:lnTo>
                        <a:pt x="1378" y="1145"/>
                      </a:lnTo>
                      <a:lnTo>
                        <a:pt x="1377" y="1144"/>
                      </a:lnTo>
                      <a:lnTo>
                        <a:pt x="1377" y="1143"/>
                      </a:lnTo>
                      <a:lnTo>
                        <a:pt x="1376" y="1143"/>
                      </a:lnTo>
                      <a:lnTo>
                        <a:pt x="1376" y="1142"/>
                      </a:lnTo>
                      <a:lnTo>
                        <a:pt x="1375" y="1142"/>
                      </a:lnTo>
                      <a:lnTo>
                        <a:pt x="1375" y="1141"/>
                      </a:lnTo>
                      <a:lnTo>
                        <a:pt x="1374" y="1141"/>
                      </a:lnTo>
                      <a:lnTo>
                        <a:pt x="1373" y="1141"/>
                      </a:lnTo>
                      <a:lnTo>
                        <a:pt x="1374" y="1141"/>
                      </a:lnTo>
                      <a:lnTo>
                        <a:pt x="1374" y="1140"/>
                      </a:lnTo>
                      <a:lnTo>
                        <a:pt x="1374" y="1138"/>
                      </a:lnTo>
                      <a:lnTo>
                        <a:pt x="1374" y="1140"/>
                      </a:lnTo>
                      <a:lnTo>
                        <a:pt x="1374" y="1138"/>
                      </a:lnTo>
                      <a:lnTo>
                        <a:pt x="1374" y="1137"/>
                      </a:lnTo>
                      <a:lnTo>
                        <a:pt x="1375" y="1138"/>
                      </a:lnTo>
                      <a:close/>
                      <a:moveTo>
                        <a:pt x="1471" y="1086"/>
                      </a:moveTo>
                      <a:lnTo>
                        <a:pt x="1470" y="1086"/>
                      </a:lnTo>
                      <a:lnTo>
                        <a:pt x="1469" y="1086"/>
                      </a:lnTo>
                      <a:lnTo>
                        <a:pt x="1468" y="1088"/>
                      </a:lnTo>
                      <a:lnTo>
                        <a:pt x="1466" y="1088"/>
                      </a:lnTo>
                      <a:lnTo>
                        <a:pt x="1466" y="1089"/>
                      </a:lnTo>
                      <a:lnTo>
                        <a:pt x="1465" y="1089"/>
                      </a:lnTo>
                      <a:lnTo>
                        <a:pt x="1464" y="1089"/>
                      </a:lnTo>
                      <a:lnTo>
                        <a:pt x="1464" y="1090"/>
                      </a:lnTo>
                      <a:lnTo>
                        <a:pt x="1463" y="1090"/>
                      </a:lnTo>
                      <a:lnTo>
                        <a:pt x="1463" y="1091"/>
                      </a:lnTo>
                      <a:lnTo>
                        <a:pt x="1464" y="1092"/>
                      </a:lnTo>
                      <a:lnTo>
                        <a:pt x="1465" y="1093"/>
                      </a:lnTo>
                      <a:lnTo>
                        <a:pt x="1465" y="1095"/>
                      </a:lnTo>
                      <a:lnTo>
                        <a:pt x="1466" y="1096"/>
                      </a:lnTo>
                      <a:lnTo>
                        <a:pt x="1466" y="1097"/>
                      </a:lnTo>
                      <a:lnTo>
                        <a:pt x="1467" y="1097"/>
                      </a:lnTo>
                      <a:lnTo>
                        <a:pt x="1467" y="1098"/>
                      </a:lnTo>
                      <a:lnTo>
                        <a:pt x="1466" y="1098"/>
                      </a:lnTo>
                      <a:lnTo>
                        <a:pt x="1465" y="1098"/>
                      </a:lnTo>
                      <a:lnTo>
                        <a:pt x="1464" y="1098"/>
                      </a:lnTo>
                      <a:lnTo>
                        <a:pt x="1464" y="1097"/>
                      </a:lnTo>
                      <a:lnTo>
                        <a:pt x="1465" y="1096"/>
                      </a:lnTo>
                      <a:lnTo>
                        <a:pt x="1465" y="1095"/>
                      </a:lnTo>
                      <a:lnTo>
                        <a:pt x="1464" y="1093"/>
                      </a:lnTo>
                      <a:lnTo>
                        <a:pt x="1463" y="1091"/>
                      </a:lnTo>
                      <a:lnTo>
                        <a:pt x="1461" y="1091"/>
                      </a:lnTo>
                      <a:lnTo>
                        <a:pt x="1460" y="1091"/>
                      </a:lnTo>
                      <a:lnTo>
                        <a:pt x="1459" y="1091"/>
                      </a:lnTo>
                      <a:lnTo>
                        <a:pt x="1458" y="1091"/>
                      </a:lnTo>
                      <a:lnTo>
                        <a:pt x="1458" y="1092"/>
                      </a:lnTo>
                      <a:lnTo>
                        <a:pt x="1458" y="1093"/>
                      </a:lnTo>
                      <a:lnTo>
                        <a:pt x="1457" y="1093"/>
                      </a:lnTo>
                      <a:lnTo>
                        <a:pt x="1457" y="1094"/>
                      </a:lnTo>
                      <a:lnTo>
                        <a:pt x="1457" y="1095"/>
                      </a:lnTo>
                      <a:lnTo>
                        <a:pt x="1458" y="1096"/>
                      </a:lnTo>
                      <a:lnTo>
                        <a:pt x="1458" y="1097"/>
                      </a:lnTo>
                      <a:lnTo>
                        <a:pt x="1458" y="1098"/>
                      </a:lnTo>
                      <a:lnTo>
                        <a:pt x="1457" y="1098"/>
                      </a:lnTo>
                      <a:lnTo>
                        <a:pt x="1456" y="1099"/>
                      </a:lnTo>
                      <a:lnTo>
                        <a:pt x="1455" y="1099"/>
                      </a:lnTo>
                      <a:lnTo>
                        <a:pt x="1455" y="1101"/>
                      </a:lnTo>
                      <a:lnTo>
                        <a:pt x="1454" y="1102"/>
                      </a:lnTo>
                      <a:lnTo>
                        <a:pt x="1453" y="1102"/>
                      </a:lnTo>
                      <a:lnTo>
                        <a:pt x="1452" y="1102"/>
                      </a:lnTo>
                      <a:lnTo>
                        <a:pt x="1451" y="1103"/>
                      </a:lnTo>
                      <a:lnTo>
                        <a:pt x="1450" y="1103"/>
                      </a:lnTo>
                      <a:lnTo>
                        <a:pt x="1448" y="1104"/>
                      </a:lnTo>
                      <a:lnTo>
                        <a:pt x="1448" y="1105"/>
                      </a:lnTo>
                      <a:lnTo>
                        <a:pt x="1447" y="1105"/>
                      </a:lnTo>
                      <a:lnTo>
                        <a:pt x="1448" y="1105"/>
                      </a:lnTo>
                      <a:lnTo>
                        <a:pt x="1451" y="1105"/>
                      </a:lnTo>
                      <a:lnTo>
                        <a:pt x="1451" y="1106"/>
                      </a:lnTo>
                      <a:lnTo>
                        <a:pt x="1450" y="1107"/>
                      </a:lnTo>
                      <a:lnTo>
                        <a:pt x="1450" y="1108"/>
                      </a:lnTo>
                      <a:lnTo>
                        <a:pt x="1448" y="1108"/>
                      </a:lnTo>
                      <a:lnTo>
                        <a:pt x="1448" y="1109"/>
                      </a:lnTo>
                      <a:lnTo>
                        <a:pt x="1448" y="1110"/>
                      </a:lnTo>
                      <a:lnTo>
                        <a:pt x="1447" y="1109"/>
                      </a:lnTo>
                      <a:lnTo>
                        <a:pt x="1446" y="1108"/>
                      </a:lnTo>
                      <a:lnTo>
                        <a:pt x="1446" y="1107"/>
                      </a:lnTo>
                      <a:lnTo>
                        <a:pt x="1445" y="1107"/>
                      </a:lnTo>
                      <a:lnTo>
                        <a:pt x="1445" y="1106"/>
                      </a:lnTo>
                      <a:lnTo>
                        <a:pt x="1444" y="1106"/>
                      </a:lnTo>
                      <a:lnTo>
                        <a:pt x="1443" y="1106"/>
                      </a:lnTo>
                      <a:lnTo>
                        <a:pt x="1443" y="1107"/>
                      </a:lnTo>
                      <a:lnTo>
                        <a:pt x="1443" y="1108"/>
                      </a:lnTo>
                      <a:lnTo>
                        <a:pt x="1444" y="1108"/>
                      </a:lnTo>
                      <a:lnTo>
                        <a:pt x="1444" y="1109"/>
                      </a:lnTo>
                      <a:lnTo>
                        <a:pt x="1445" y="1109"/>
                      </a:lnTo>
                      <a:lnTo>
                        <a:pt x="1445" y="1110"/>
                      </a:lnTo>
                      <a:lnTo>
                        <a:pt x="1446" y="1111"/>
                      </a:lnTo>
                      <a:lnTo>
                        <a:pt x="1447" y="1111"/>
                      </a:lnTo>
                      <a:lnTo>
                        <a:pt x="1447" y="1112"/>
                      </a:lnTo>
                      <a:lnTo>
                        <a:pt x="1448" y="1112"/>
                      </a:lnTo>
                      <a:lnTo>
                        <a:pt x="1450" y="1114"/>
                      </a:lnTo>
                      <a:lnTo>
                        <a:pt x="1451" y="1114"/>
                      </a:lnTo>
                      <a:lnTo>
                        <a:pt x="1452" y="1112"/>
                      </a:lnTo>
                      <a:lnTo>
                        <a:pt x="1452" y="1111"/>
                      </a:lnTo>
                      <a:lnTo>
                        <a:pt x="1453" y="1111"/>
                      </a:lnTo>
                      <a:lnTo>
                        <a:pt x="1454" y="1111"/>
                      </a:lnTo>
                      <a:lnTo>
                        <a:pt x="1454" y="1112"/>
                      </a:lnTo>
                      <a:lnTo>
                        <a:pt x="1453" y="1111"/>
                      </a:lnTo>
                      <a:lnTo>
                        <a:pt x="1452" y="1111"/>
                      </a:lnTo>
                      <a:lnTo>
                        <a:pt x="1452" y="1112"/>
                      </a:lnTo>
                      <a:lnTo>
                        <a:pt x="1452" y="1114"/>
                      </a:lnTo>
                      <a:lnTo>
                        <a:pt x="1452" y="1115"/>
                      </a:lnTo>
                      <a:lnTo>
                        <a:pt x="1448" y="1114"/>
                      </a:lnTo>
                      <a:lnTo>
                        <a:pt x="1448" y="1112"/>
                      </a:lnTo>
                      <a:lnTo>
                        <a:pt x="1447" y="1112"/>
                      </a:lnTo>
                      <a:lnTo>
                        <a:pt x="1445" y="1112"/>
                      </a:lnTo>
                      <a:lnTo>
                        <a:pt x="1438" y="1109"/>
                      </a:lnTo>
                      <a:lnTo>
                        <a:pt x="1435" y="1109"/>
                      </a:lnTo>
                      <a:lnTo>
                        <a:pt x="1434" y="1108"/>
                      </a:lnTo>
                      <a:lnTo>
                        <a:pt x="1432" y="1108"/>
                      </a:lnTo>
                      <a:lnTo>
                        <a:pt x="1433" y="1108"/>
                      </a:lnTo>
                      <a:lnTo>
                        <a:pt x="1434" y="1108"/>
                      </a:lnTo>
                      <a:lnTo>
                        <a:pt x="1435" y="1109"/>
                      </a:lnTo>
                      <a:lnTo>
                        <a:pt x="1434" y="1109"/>
                      </a:lnTo>
                      <a:lnTo>
                        <a:pt x="1434" y="1110"/>
                      </a:lnTo>
                      <a:lnTo>
                        <a:pt x="1434" y="1111"/>
                      </a:lnTo>
                      <a:lnTo>
                        <a:pt x="1432" y="1111"/>
                      </a:lnTo>
                      <a:lnTo>
                        <a:pt x="1431" y="1111"/>
                      </a:lnTo>
                      <a:lnTo>
                        <a:pt x="1430" y="1111"/>
                      </a:lnTo>
                      <a:lnTo>
                        <a:pt x="1430" y="1110"/>
                      </a:lnTo>
                      <a:lnTo>
                        <a:pt x="1429" y="1109"/>
                      </a:lnTo>
                      <a:lnTo>
                        <a:pt x="1429" y="1108"/>
                      </a:lnTo>
                      <a:lnTo>
                        <a:pt x="1428" y="1107"/>
                      </a:lnTo>
                      <a:lnTo>
                        <a:pt x="1428" y="1106"/>
                      </a:lnTo>
                      <a:lnTo>
                        <a:pt x="1427" y="1106"/>
                      </a:lnTo>
                      <a:lnTo>
                        <a:pt x="1427" y="1105"/>
                      </a:lnTo>
                      <a:lnTo>
                        <a:pt x="1426" y="1105"/>
                      </a:lnTo>
                      <a:lnTo>
                        <a:pt x="1426" y="1104"/>
                      </a:lnTo>
                      <a:lnTo>
                        <a:pt x="1425" y="1104"/>
                      </a:lnTo>
                      <a:lnTo>
                        <a:pt x="1424" y="1103"/>
                      </a:lnTo>
                      <a:lnTo>
                        <a:pt x="1422" y="1103"/>
                      </a:lnTo>
                      <a:lnTo>
                        <a:pt x="1424" y="1103"/>
                      </a:lnTo>
                      <a:lnTo>
                        <a:pt x="1424" y="1102"/>
                      </a:lnTo>
                      <a:lnTo>
                        <a:pt x="1425" y="1102"/>
                      </a:lnTo>
                      <a:lnTo>
                        <a:pt x="1426" y="1102"/>
                      </a:lnTo>
                      <a:lnTo>
                        <a:pt x="1426" y="1101"/>
                      </a:lnTo>
                      <a:lnTo>
                        <a:pt x="1427" y="1101"/>
                      </a:lnTo>
                      <a:lnTo>
                        <a:pt x="1428" y="1101"/>
                      </a:lnTo>
                      <a:lnTo>
                        <a:pt x="1428" y="1099"/>
                      </a:lnTo>
                      <a:lnTo>
                        <a:pt x="1429" y="1099"/>
                      </a:lnTo>
                      <a:lnTo>
                        <a:pt x="1429" y="1098"/>
                      </a:lnTo>
                      <a:lnTo>
                        <a:pt x="1430" y="1098"/>
                      </a:lnTo>
                      <a:lnTo>
                        <a:pt x="1431" y="1098"/>
                      </a:lnTo>
                      <a:lnTo>
                        <a:pt x="1432" y="1098"/>
                      </a:lnTo>
                      <a:lnTo>
                        <a:pt x="1433" y="1097"/>
                      </a:lnTo>
                      <a:lnTo>
                        <a:pt x="1434" y="1097"/>
                      </a:lnTo>
                      <a:lnTo>
                        <a:pt x="1435" y="1097"/>
                      </a:lnTo>
                      <a:lnTo>
                        <a:pt x="1437" y="1097"/>
                      </a:lnTo>
                      <a:lnTo>
                        <a:pt x="1438" y="1097"/>
                      </a:lnTo>
                      <a:lnTo>
                        <a:pt x="1438" y="1096"/>
                      </a:lnTo>
                      <a:lnTo>
                        <a:pt x="1439" y="1096"/>
                      </a:lnTo>
                      <a:lnTo>
                        <a:pt x="1440" y="1096"/>
                      </a:lnTo>
                      <a:lnTo>
                        <a:pt x="1440" y="1097"/>
                      </a:lnTo>
                      <a:lnTo>
                        <a:pt x="1440" y="1096"/>
                      </a:lnTo>
                      <a:lnTo>
                        <a:pt x="1441" y="1096"/>
                      </a:lnTo>
                      <a:lnTo>
                        <a:pt x="1442" y="1096"/>
                      </a:lnTo>
                      <a:lnTo>
                        <a:pt x="1442" y="1095"/>
                      </a:lnTo>
                      <a:lnTo>
                        <a:pt x="1443" y="1095"/>
                      </a:lnTo>
                      <a:lnTo>
                        <a:pt x="1444" y="1095"/>
                      </a:lnTo>
                      <a:lnTo>
                        <a:pt x="1445" y="1095"/>
                      </a:lnTo>
                      <a:lnTo>
                        <a:pt x="1445" y="1094"/>
                      </a:lnTo>
                      <a:lnTo>
                        <a:pt x="1446" y="1094"/>
                      </a:lnTo>
                      <a:lnTo>
                        <a:pt x="1446" y="1093"/>
                      </a:lnTo>
                      <a:lnTo>
                        <a:pt x="1446" y="1094"/>
                      </a:lnTo>
                      <a:lnTo>
                        <a:pt x="1447" y="1094"/>
                      </a:lnTo>
                      <a:lnTo>
                        <a:pt x="1447" y="1093"/>
                      </a:lnTo>
                      <a:lnTo>
                        <a:pt x="1447" y="1094"/>
                      </a:lnTo>
                      <a:lnTo>
                        <a:pt x="1448" y="1093"/>
                      </a:lnTo>
                      <a:lnTo>
                        <a:pt x="1450" y="1093"/>
                      </a:lnTo>
                      <a:lnTo>
                        <a:pt x="1451" y="1093"/>
                      </a:lnTo>
                      <a:lnTo>
                        <a:pt x="1451" y="1092"/>
                      </a:lnTo>
                      <a:lnTo>
                        <a:pt x="1452" y="1092"/>
                      </a:lnTo>
                      <a:lnTo>
                        <a:pt x="1453" y="1092"/>
                      </a:lnTo>
                      <a:lnTo>
                        <a:pt x="1454" y="1092"/>
                      </a:lnTo>
                      <a:lnTo>
                        <a:pt x="1454" y="1091"/>
                      </a:lnTo>
                      <a:lnTo>
                        <a:pt x="1455" y="1091"/>
                      </a:lnTo>
                      <a:lnTo>
                        <a:pt x="1455" y="1092"/>
                      </a:lnTo>
                      <a:lnTo>
                        <a:pt x="1454" y="1092"/>
                      </a:lnTo>
                      <a:lnTo>
                        <a:pt x="1454" y="1093"/>
                      </a:lnTo>
                      <a:lnTo>
                        <a:pt x="1454" y="1094"/>
                      </a:lnTo>
                      <a:lnTo>
                        <a:pt x="1454" y="1093"/>
                      </a:lnTo>
                      <a:lnTo>
                        <a:pt x="1455" y="1093"/>
                      </a:lnTo>
                      <a:lnTo>
                        <a:pt x="1454" y="1093"/>
                      </a:lnTo>
                      <a:lnTo>
                        <a:pt x="1455" y="1092"/>
                      </a:lnTo>
                      <a:lnTo>
                        <a:pt x="1455" y="1091"/>
                      </a:lnTo>
                      <a:lnTo>
                        <a:pt x="1456" y="1091"/>
                      </a:lnTo>
                      <a:lnTo>
                        <a:pt x="1456" y="1090"/>
                      </a:lnTo>
                      <a:lnTo>
                        <a:pt x="1457" y="1090"/>
                      </a:lnTo>
                      <a:lnTo>
                        <a:pt x="1458" y="1090"/>
                      </a:lnTo>
                      <a:lnTo>
                        <a:pt x="1459" y="1089"/>
                      </a:lnTo>
                      <a:lnTo>
                        <a:pt x="1460" y="1089"/>
                      </a:lnTo>
                      <a:lnTo>
                        <a:pt x="1461" y="1089"/>
                      </a:lnTo>
                      <a:lnTo>
                        <a:pt x="1463" y="1089"/>
                      </a:lnTo>
                      <a:lnTo>
                        <a:pt x="1463" y="1088"/>
                      </a:lnTo>
                      <a:lnTo>
                        <a:pt x="1464" y="1088"/>
                      </a:lnTo>
                      <a:lnTo>
                        <a:pt x="1465" y="1088"/>
                      </a:lnTo>
                      <a:lnTo>
                        <a:pt x="1466" y="1088"/>
                      </a:lnTo>
                      <a:lnTo>
                        <a:pt x="1467" y="1088"/>
                      </a:lnTo>
                      <a:lnTo>
                        <a:pt x="1467" y="1086"/>
                      </a:lnTo>
                      <a:lnTo>
                        <a:pt x="1468" y="1086"/>
                      </a:lnTo>
                      <a:lnTo>
                        <a:pt x="1469" y="1086"/>
                      </a:lnTo>
                      <a:lnTo>
                        <a:pt x="1470" y="1086"/>
                      </a:lnTo>
                      <a:lnTo>
                        <a:pt x="1471" y="1086"/>
                      </a:lnTo>
                      <a:close/>
                      <a:moveTo>
                        <a:pt x="1314" y="1192"/>
                      </a:moveTo>
                      <a:lnTo>
                        <a:pt x="1314" y="1193"/>
                      </a:lnTo>
                      <a:lnTo>
                        <a:pt x="1313" y="1194"/>
                      </a:lnTo>
                      <a:lnTo>
                        <a:pt x="1312" y="1195"/>
                      </a:lnTo>
                      <a:lnTo>
                        <a:pt x="1312" y="1196"/>
                      </a:lnTo>
                      <a:lnTo>
                        <a:pt x="1311" y="1196"/>
                      </a:lnTo>
                      <a:lnTo>
                        <a:pt x="1311" y="1197"/>
                      </a:lnTo>
                      <a:lnTo>
                        <a:pt x="1310" y="1198"/>
                      </a:lnTo>
                      <a:lnTo>
                        <a:pt x="1309" y="1199"/>
                      </a:lnTo>
                      <a:lnTo>
                        <a:pt x="1309" y="1200"/>
                      </a:lnTo>
                      <a:lnTo>
                        <a:pt x="1310" y="1200"/>
                      </a:lnTo>
                      <a:lnTo>
                        <a:pt x="1309" y="1200"/>
                      </a:lnTo>
                      <a:lnTo>
                        <a:pt x="1310" y="1200"/>
                      </a:lnTo>
                      <a:lnTo>
                        <a:pt x="1311" y="1200"/>
                      </a:lnTo>
                      <a:lnTo>
                        <a:pt x="1311" y="1201"/>
                      </a:lnTo>
                      <a:lnTo>
                        <a:pt x="1310" y="1201"/>
                      </a:lnTo>
                      <a:lnTo>
                        <a:pt x="1310" y="1202"/>
                      </a:lnTo>
                      <a:lnTo>
                        <a:pt x="1310" y="1204"/>
                      </a:lnTo>
                      <a:lnTo>
                        <a:pt x="1309" y="1204"/>
                      </a:lnTo>
                      <a:lnTo>
                        <a:pt x="1309" y="1205"/>
                      </a:lnTo>
                      <a:lnTo>
                        <a:pt x="1308" y="1206"/>
                      </a:lnTo>
                      <a:lnTo>
                        <a:pt x="1308" y="1207"/>
                      </a:lnTo>
                      <a:lnTo>
                        <a:pt x="1306" y="1207"/>
                      </a:lnTo>
                      <a:lnTo>
                        <a:pt x="1306" y="1208"/>
                      </a:lnTo>
                      <a:lnTo>
                        <a:pt x="1305" y="1209"/>
                      </a:lnTo>
                      <a:lnTo>
                        <a:pt x="1305" y="1210"/>
                      </a:lnTo>
                      <a:lnTo>
                        <a:pt x="1304" y="1210"/>
                      </a:lnTo>
                      <a:lnTo>
                        <a:pt x="1304" y="1211"/>
                      </a:lnTo>
                      <a:lnTo>
                        <a:pt x="1303" y="1211"/>
                      </a:lnTo>
                      <a:lnTo>
                        <a:pt x="1303" y="1212"/>
                      </a:lnTo>
                      <a:lnTo>
                        <a:pt x="1302" y="1212"/>
                      </a:lnTo>
                      <a:lnTo>
                        <a:pt x="1302" y="1213"/>
                      </a:lnTo>
                      <a:lnTo>
                        <a:pt x="1301" y="1214"/>
                      </a:lnTo>
                      <a:lnTo>
                        <a:pt x="1301" y="1215"/>
                      </a:lnTo>
                      <a:lnTo>
                        <a:pt x="1300" y="1215"/>
                      </a:lnTo>
                      <a:lnTo>
                        <a:pt x="1300" y="1217"/>
                      </a:lnTo>
                      <a:lnTo>
                        <a:pt x="1299" y="1218"/>
                      </a:lnTo>
                      <a:lnTo>
                        <a:pt x="1299" y="1219"/>
                      </a:lnTo>
                      <a:lnTo>
                        <a:pt x="1298" y="1219"/>
                      </a:lnTo>
                      <a:lnTo>
                        <a:pt x="1298" y="1220"/>
                      </a:lnTo>
                      <a:lnTo>
                        <a:pt x="1297" y="1220"/>
                      </a:lnTo>
                      <a:lnTo>
                        <a:pt x="1297" y="1221"/>
                      </a:lnTo>
                      <a:lnTo>
                        <a:pt x="1296" y="1222"/>
                      </a:lnTo>
                      <a:lnTo>
                        <a:pt x="1295" y="1222"/>
                      </a:lnTo>
                      <a:lnTo>
                        <a:pt x="1295" y="1223"/>
                      </a:lnTo>
                      <a:lnTo>
                        <a:pt x="1295" y="1224"/>
                      </a:lnTo>
                      <a:lnTo>
                        <a:pt x="1293" y="1225"/>
                      </a:lnTo>
                      <a:lnTo>
                        <a:pt x="1292" y="1225"/>
                      </a:lnTo>
                      <a:lnTo>
                        <a:pt x="1292" y="1226"/>
                      </a:lnTo>
                      <a:lnTo>
                        <a:pt x="1291" y="1227"/>
                      </a:lnTo>
                      <a:lnTo>
                        <a:pt x="1291" y="1228"/>
                      </a:lnTo>
                      <a:lnTo>
                        <a:pt x="1290" y="1228"/>
                      </a:lnTo>
                      <a:lnTo>
                        <a:pt x="1290" y="1230"/>
                      </a:lnTo>
                      <a:lnTo>
                        <a:pt x="1289" y="1231"/>
                      </a:lnTo>
                      <a:lnTo>
                        <a:pt x="1289" y="1232"/>
                      </a:lnTo>
                      <a:lnTo>
                        <a:pt x="1288" y="1232"/>
                      </a:lnTo>
                      <a:lnTo>
                        <a:pt x="1287" y="1232"/>
                      </a:lnTo>
                      <a:lnTo>
                        <a:pt x="1287" y="1233"/>
                      </a:lnTo>
                      <a:lnTo>
                        <a:pt x="1287" y="1234"/>
                      </a:lnTo>
                      <a:lnTo>
                        <a:pt x="1286" y="1234"/>
                      </a:lnTo>
                      <a:lnTo>
                        <a:pt x="1286" y="1235"/>
                      </a:lnTo>
                      <a:lnTo>
                        <a:pt x="1286" y="1234"/>
                      </a:lnTo>
                      <a:lnTo>
                        <a:pt x="1285" y="1235"/>
                      </a:lnTo>
                      <a:lnTo>
                        <a:pt x="1285" y="1236"/>
                      </a:lnTo>
                      <a:lnTo>
                        <a:pt x="1285" y="1237"/>
                      </a:lnTo>
                      <a:lnTo>
                        <a:pt x="1284" y="1237"/>
                      </a:lnTo>
                      <a:lnTo>
                        <a:pt x="1284" y="1238"/>
                      </a:lnTo>
                      <a:lnTo>
                        <a:pt x="1282" y="1241"/>
                      </a:lnTo>
                      <a:lnTo>
                        <a:pt x="1280" y="1243"/>
                      </a:lnTo>
                      <a:lnTo>
                        <a:pt x="1279" y="1243"/>
                      </a:lnTo>
                      <a:lnTo>
                        <a:pt x="1279" y="1244"/>
                      </a:lnTo>
                      <a:lnTo>
                        <a:pt x="1279" y="1245"/>
                      </a:lnTo>
                      <a:lnTo>
                        <a:pt x="1278" y="1245"/>
                      </a:lnTo>
                      <a:lnTo>
                        <a:pt x="1278" y="1246"/>
                      </a:lnTo>
                      <a:lnTo>
                        <a:pt x="1277" y="1247"/>
                      </a:lnTo>
                      <a:lnTo>
                        <a:pt x="1277" y="1248"/>
                      </a:lnTo>
                      <a:lnTo>
                        <a:pt x="1276" y="1248"/>
                      </a:lnTo>
                      <a:lnTo>
                        <a:pt x="1275" y="1248"/>
                      </a:lnTo>
                      <a:lnTo>
                        <a:pt x="1275" y="1249"/>
                      </a:lnTo>
                      <a:lnTo>
                        <a:pt x="1276" y="1249"/>
                      </a:lnTo>
                      <a:lnTo>
                        <a:pt x="1275" y="1250"/>
                      </a:lnTo>
                      <a:lnTo>
                        <a:pt x="1274" y="1250"/>
                      </a:lnTo>
                      <a:lnTo>
                        <a:pt x="1274" y="1249"/>
                      </a:lnTo>
                      <a:lnTo>
                        <a:pt x="1274" y="1248"/>
                      </a:lnTo>
                      <a:lnTo>
                        <a:pt x="1275" y="1248"/>
                      </a:lnTo>
                      <a:lnTo>
                        <a:pt x="1275" y="1247"/>
                      </a:lnTo>
                      <a:lnTo>
                        <a:pt x="1276" y="1246"/>
                      </a:lnTo>
                      <a:lnTo>
                        <a:pt x="1276" y="1245"/>
                      </a:lnTo>
                      <a:lnTo>
                        <a:pt x="1277" y="1245"/>
                      </a:lnTo>
                      <a:lnTo>
                        <a:pt x="1276" y="1245"/>
                      </a:lnTo>
                      <a:lnTo>
                        <a:pt x="1277" y="1245"/>
                      </a:lnTo>
                      <a:lnTo>
                        <a:pt x="1276" y="1245"/>
                      </a:lnTo>
                      <a:lnTo>
                        <a:pt x="1277" y="1245"/>
                      </a:lnTo>
                      <a:lnTo>
                        <a:pt x="1277" y="1244"/>
                      </a:lnTo>
                      <a:lnTo>
                        <a:pt x="1278" y="1243"/>
                      </a:lnTo>
                      <a:lnTo>
                        <a:pt x="1277" y="1243"/>
                      </a:lnTo>
                      <a:lnTo>
                        <a:pt x="1276" y="1243"/>
                      </a:lnTo>
                      <a:lnTo>
                        <a:pt x="1277" y="1243"/>
                      </a:lnTo>
                      <a:lnTo>
                        <a:pt x="1277" y="1241"/>
                      </a:lnTo>
                      <a:lnTo>
                        <a:pt x="1278" y="1241"/>
                      </a:lnTo>
                      <a:lnTo>
                        <a:pt x="1278" y="1240"/>
                      </a:lnTo>
                      <a:lnTo>
                        <a:pt x="1279" y="1240"/>
                      </a:lnTo>
                      <a:lnTo>
                        <a:pt x="1279" y="1239"/>
                      </a:lnTo>
                      <a:lnTo>
                        <a:pt x="1278" y="1240"/>
                      </a:lnTo>
                      <a:lnTo>
                        <a:pt x="1277" y="1241"/>
                      </a:lnTo>
                      <a:lnTo>
                        <a:pt x="1276" y="1243"/>
                      </a:lnTo>
                      <a:lnTo>
                        <a:pt x="1276" y="1241"/>
                      </a:lnTo>
                      <a:lnTo>
                        <a:pt x="1276" y="1240"/>
                      </a:lnTo>
                      <a:lnTo>
                        <a:pt x="1276" y="1239"/>
                      </a:lnTo>
                      <a:lnTo>
                        <a:pt x="1277" y="1239"/>
                      </a:lnTo>
                      <a:lnTo>
                        <a:pt x="1277" y="1238"/>
                      </a:lnTo>
                      <a:lnTo>
                        <a:pt x="1277" y="1237"/>
                      </a:lnTo>
                      <a:lnTo>
                        <a:pt x="1277" y="1236"/>
                      </a:lnTo>
                      <a:lnTo>
                        <a:pt x="1278" y="1236"/>
                      </a:lnTo>
                      <a:lnTo>
                        <a:pt x="1278" y="1235"/>
                      </a:lnTo>
                      <a:lnTo>
                        <a:pt x="1278" y="1233"/>
                      </a:lnTo>
                      <a:lnTo>
                        <a:pt x="1279" y="1233"/>
                      </a:lnTo>
                      <a:lnTo>
                        <a:pt x="1280" y="1233"/>
                      </a:lnTo>
                      <a:lnTo>
                        <a:pt x="1280" y="1232"/>
                      </a:lnTo>
                      <a:lnTo>
                        <a:pt x="1280" y="1231"/>
                      </a:lnTo>
                      <a:lnTo>
                        <a:pt x="1282" y="1231"/>
                      </a:lnTo>
                      <a:lnTo>
                        <a:pt x="1282" y="1230"/>
                      </a:lnTo>
                      <a:lnTo>
                        <a:pt x="1282" y="1228"/>
                      </a:lnTo>
                      <a:lnTo>
                        <a:pt x="1282" y="1227"/>
                      </a:lnTo>
                      <a:lnTo>
                        <a:pt x="1282" y="1226"/>
                      </a:lnTo>
                      <a:lnTo>
                        <a:pt x="1283" y="1226"/>
                      </a:lnTo>
                      <a:lnTo>
                        <a:pt x="1283" y="1225"/>
                      </a:lnTo>
                      <a:lnTo>
                        <a:pt x="1283" y="1224"/>
                      </a:lnTo>
                      <a:lnTo>
                        <a:pt x="1284" y="1224"/>
                      </a:lnTo>
                      <a:lnTo>
                        <a:pt x="1285" y="1225"/>
                      </a:lnTo>
                      <a:lnTo>
                        <a:pt x="1286" y="1225"/>
                      </a:lnTo>
                      <a:lnTo>
                        <a:pt x="1286" y="1224"/>
                      </a:lnTo>
                      <a:lnTo>
                        <a:pt x="1286" y="1223"/>
                      </a:lnTo>
                      <a:lnTo>
                        <a:pt x="1287" y="1223"/>
                      </a:lnTo>
                      <a:lnTo>
                        <a:pt x="1288" y="1223"/>
                      </a:lnTo>
                      <a:lnTo>
                        <a:pt x="1289" y="1222"/>
                      </a:lnTo>
                      <a:lnTo>
                        <a:pt x="1289" y="1221"/>
                      </a:lnTo>
                      <a:lnTo>
                        <a:pt x="1290" y="1221"/>
                      </a:lnTo>
                      <a:lnTo>
                        <a:pt x="1290" y="1220"/>
                      </a:lnTo>
                      <a:lnTo>
                        <a:pt x="1290" y="1219"/>
                      </a:lnTo>
                      <a:lnTo>
                        <a:pt x="1291" y="1219"/>
                      </a:lnTo>
                      <a:lnTo>
                        <a:pt x="1292" y="1218"/>
                      </a:lnTo>
                      <a:lnTo>
                        <a:pt x="1295" y="1217"/>
                      </a:lnTo>
                      <a:lnTo>
                        <a:pt x="1296" y="1217"/>
                      </a:lnTo>
                      <a:lnTo>
                        <a:pt x="1296" y="1215"/>
                      </a:lnTo>
                      <a:lnTo>
                        <a:pt x="1297" y="1215"/>
                      </a:lnTo>
                      <a:lnTo>
                        <a:pt x="1298" y="1215"/>
                      </a:lnTo>
                      <a:lnTo>
                        <a:pt x="1298" y="1214"/>
                      </a:lnTo>
                      <a:lnTo>
                        <a:pt x="1297" y="1214"/>
                      </a:lnTo>
                      <a:lnTo>
                        <a:pt x="1297" y="1213"/>
                      </a:lnTo>
                      <a:lnTo>
                        <a:pt x="1298" y="1212"/>
                      </a:lnTo>
                      <a:lnTo>
                        <a:pt x="1297" y="1212"/>
                      </a:lnTo>
                      <a:lnTo>
                        <a:pt x="1298" y="1211"/>
                      </a:lnTo>
                      <a:lnTo>
                        <a:pt x="1298" y="1212"/>
                      </a:lnTo>
                      <a:lnTo>
                        <a:pt x="1298" y="1211"/>
                      </a:lnTo>
                      <a:lnTo>
                        <a:pt x="1299" y="1211"/>
                      </a:lnTo>
                      <a:lnTo>
                        <a:pt x="1298" y="1210"/>
                      </a:lnTo>
                      <a:lnTo>
                        <a:pt x="1297" y="1211"/>
                      </a:lnTo>
                      <a:lnTo>
                        <a:pt x="1297" y="1210"/>
                      </a:lnTo>
                      <a:lnTo>
                        <a:pt x="1297" y="1209"/>
                      </a:lnTo>
                      <a:lnTo>
                        <a:pt x="1298" y="1209"/>
                      </a:lnTo>
                      <a:lnTo>
                        <a:pt x="1298" y="1208"/>
                      </a:lnTo>
                      <a:lnTo>
                        <a:pt x="1299" y="1208"/>
                      </a:lnTo>
                      <a:lnTo>
                        <a:pt x="1300" y="1208"/>
                      </a:lnTo>
                      <a:lnTo>
                        <a:pt x="1300" y="1207"/>
                      </a:lnTo>
                      <a:lnTo>
                        <a:pt x="1301" y="1207"/>
                      </a:lnTo>
                      <a:lnTo>
                        <a:pt x="1301" y="1206"/>
                      </a:lnTo>
                      <a:lnTo>
                        <a:pt x="1301" y="1205"/>
                      </a:lnTo>
                      <a:lnTo>
                        <a:pt x="1302" y="1204"/>
                      </a:lnTo>
                      <a:lnTo>
                        <a:pt x="1302" y="1202"/>
                      </a:lnTo>
                      <a:lnTo>
                        <a:pt x="1302" y="1201"/>
                      </a:lnTo>
                      <a:lnTo>
                        <a:pt x="1303" y="1201"/>
                      </a:lnTo>
                      <a:lnTo>
                        <a:pt x="1302" y="1201"/>
                      </a:lnTo>
                      <a:lnTo>
                        <a:pt x="1303" y="1200"/>
                      </a:lnTo>
                      <a:lnTo>
                        <a:pt x="1304" y="1200"/>
                      </a:lnTo>
                      <a:lnTo>
                        <a:pt x="1305" y="1200"/>
                      </a:lnTo>
                      <a:lnTo>
                        <a:pt x="1306" y="1200"/>
                      </a:lnTo>
                      <a:lnTo>
                        <a:pt x="1306" y="1199"/>
                      </a:lnTo>
                      <a:lnTo>
                        <a:pt x="1308" y="1199"/>
                      </a:lnTo>
                      <a:lnTo>
                        <a:pt x="1306" y="1198"/>
                      </a:lnTo>
                      <a:lnTo>
                        <a:pt x="1306" y="1197"/>
                      </a:lnTo>
                      <a:lnTo>
                        <a:pt x="1308" y="1197"/>
                      </a:lnTo>
                      <a:lnTo>
                        <a:pt x="1308" y="1196"/>
                      </a:lnTo>
                      <a:lnTo>
                        <a:pt x="1306" y="1196"/>
                      </a:lnTo>
                      <a:lnTo>
                        <a:pt x="1308" y="1196"/>
                      </a:lnTo>
                      <a:lnTo>
                        <a:pt x="1308" y="1195"/>
                      </a:lnTo>
                      <a:lnTo>
                        <a:pt x="1309" y="1195"/>
                      </a:lnTo>
                      <a:lnTo>
                        <a:pt x="1309" y="1194"/>
                      </a:lnTo>
                      <a:lnTo>
                        <a:pt x="1308" y="1194"/>
                      </a:lnTo>
                      <a:lnTo>
                        <a:pt x="1308" y="1193"/>
                      </a:lnTo>
                      <a:lnTo>
                        <a:pt x="1308" y="1192"/>
                      </a:lnTo>
                      <a:lnTo>
                        <a:pt x="1309" y="1192"/>
                      </a:lnTo>
                      <a:lnTo>
                        <a:pt x="1309" y="1191"/>
                      </a:lnTo>
                      <a:lnTo>
                        <a:pt x="1308" y="1191"/>
                      </a:lnTo>
                      <a:lnTo>
                        <a:pt x="1308" y="1189"/>
                      </a:lnTo>
                      <a:lnTo>
                        <a:pt x="1309" y="1189"/>
                      </a:lnTo>
                      <a:lnTo>
                        <a:pt x="1310" y="1191"/>
                      </a:lnTo>
                      <a:lnTo>
                        <a:pt x="1311" y="1191"/>
                      </a:lnTo>
                      <a:lnTo>
                        <a:pt x="1312" y="1191"/>
                      </a:lnTo>
                      <a:lnTo>
                        <a:pt x="1313" y="1191"/>
                      </a:lnTo>
                      <a:lnTo>
                        <a:pt x="1313" y="1192"/>
                      </a:lnTo>
                      <a:lnTo>
                        <a:pt x="1314" y="1192"/>
                      </a:lnTo>
                      <a:close/>
                      <a:moveTo>
                        <a:pt x="1433" y="1119"/>
                      </a:moveTo>
                      <a:lnTo>
                        <a:pt x="1434" y="1120"/>
                      </a:lnTo>
                      <a:lnTo>
                        <a:pt x="1434" y="1121"/>
                      </a:lnTo>
                      <a:lnTo>
                        <a:pt x="1435" y="1121"/>
                      </a:lnTo>
                      <a:lnTo>
                        <a:pt x="1435" y="1122"/>
                      </a:lnTo>
                      <a:lnTo>
                        <a:pt x="1434" y="1122"/>
                      </a:lnTo>
                      <a:lnTo>
                        <a:pt x="1435" y="1122"/>
                      </a:lnTo>
                      <a:lnTo>
                        <a:pt x="1435" y="1121"/>
                      </a:lnTo>
                      <a:lnTo>
                        <a:pt x="1437" y="1121"/>
                      </a:lnTo>
                      <a:lnTo>
                        <a:pt x="1438" y="1121"/>
                      </a:lnTo>
                      <a:lnTo>
                        <a:pt x="1439" y="1121"/>
                      </a:lnTo>
                      <a:lnTo>
                        <a:pt x="1440" y="1121"/>
                      </a:lnTo>
                      <a:lnTo>
                        <a:pt x="1441" y="1121"/>
                      </a:lnTo>
                      <a:lnTo>
                        <a:pt x="1442" y="1121"/>
                      </a:lnTo>
                      <a:lnTo>
                        <a:pt x="1443" y="1121"/>
                      </a:lnTo>
                      <a:lnTo>
                        <a:pt x="1446" y="1121"/>
                      </a:lnTo>
                      <a:lnTo>
                        <a:pt x="1448" y="1121"/>
                      </a:lnTo>
                      <a:lnTo>
                        <a:pt x="1452" y="1121"/>
                      </a:lnTo>
                      <a:lnTo>
                        <a:pt x="1453" y="1122"/>
                      </a:lnTo>
                      <a:lnTo>
                        <a:pt x="1457" y="1122"/>
                      </a:lnTo>
                      <a:lnTo>
                        <a:pt x="1459" y="1123"/>
                      </a:lnTo>
                      <a:lnTo>
                        <a:pt x="1472" y="1128"/>
                      </a:lnTo>
                      <a:lnTo>
                        <a:pt x="1476" y="1129"/>
                      </a:lnTo>
                      <a:lnTo>
                        <a:pt x="1478" y="1130"/>
                      </a:lnTo>
                      <a:lnTo>
                        <a:pt x="1480" y="1131"/>
                      </a:lnTo>
                      <a:lnTo>
                        <a:pt x="1481" y="1131"/>
                      </a:lnTo>
                      <a:lnTo>
                        <a:pt x="1483" y="1130"/>
                      </a:lnTo>
                      <a:lnTo>
                        <a:pt x="1486" y="1128"/>
                      </a:lnTo>
                      <a:lnTo>
                        <a:pt x="1487" y="1127"/>
                      </a:lnTo>
                      <a:lnTo>
                        <a:pt x="1490" y="1124"/>
                      </a:lnTo>
                      <a:lnTo>
                        <a:pt x="1489" y="1125"/>
                      </a:lnTo>
                      <a:lnTo>
                        <a:pt x="1489" y="1127"/>
                      </a:lnTo>
                      <a:lnTo>
                        <a:pt x="1489" y="1128"/>
                      </a:lnTo>
                      <a:lnTo>
                        <a:pt x="1490" y="1129"/>
                      </a:lnTo>
                      <a:lnTo>
                        <a:pt x="1490" y="1130"/>
                      </a:lnTo>
                      <a:lnTo>
                        <a:pt x="1489" y="1129"/>
                      </a:lnTo>
                      <a:lnTo>
                        <a:pt x="1486" y="1128"/>
                      </a:lnTo>
                      <a:lnTo>
                        <a:pt x="1485" y="1129"/>
                      </a:lnTo>
                      <a:lnTo>
                        <a:pt x="1484" y="1130"/>
                      </a:lnTo>
                      <a:lnTo>
                        <a:pt x="1483" y="1131"/>
                      </a:lnTo>
                      <a:lnTo>
                        <a:pt x="1482" y="1131"/>
                      </a:lnTo>
                      <a:lnTo>
                        <a:pt x="1482" y="1132"/>
                      </a:lnTo>
                      <a:lnTo>
                        <a:pt x="1483" y="1132"/>
                      </a:lnTo>
                      <a:lnTo>
                        <a:pt x="1482" y="1133"/>
                      </a:lnTo>
                      <a:lnTo>
                        <a:pt x="1482" y="1134"/>
                      </a:lnTo>
                      <a:lnTo>
                        <a:pt x="1481" y="1135"/>
                      </a:lnTo>
                      <a:lnTo>
                        <a:pt x="1482" y="1135"/>
                      </a:lnTo>
                      <a:lnTo>
                        <a:pt x="1483" y="1135"/>
                      </a:lnTo>
                      <a:lnTo>
                        <a:pt x="1483" y="1134"/>
                      </a:lnTo>
                      <a:lnTo>
                        <a:pt x="1484" y="1134"/>
                      </a:lnTo>
                      <a:lnTo>
                        <a:pt x="1484" y="1135"/>
                      </a:lnTo>
                      <a:lnTo>
                        <a:pt x="1484" y="1134"/>
                      </a:lnTo>
                      <a:lnTo>
                        <a:pt x="1484" y="1133"/>
                      </a:lnTo>
                      <a:lnTo>
                        <a:pt x="1485" y="1133"/>
                      </a:lnTo>
                      <a:lnTo>
                        <a:pt x="1485" y="1134"/>
                      </a:lnTo>
                      <a:lnTo>
                        <a:pt x="1486" y="1134"/>
                      </a:lnTo>
                      <a:lnTo>
                        <a:pt x="1487" y="1134"/>
                      </a:lnTo>
                      <a:lnTo>
                        <a:pt x="1486" y="1134"/>
                      </a:lnTo>
                      <a:lnTo>
                        <a:pt x="1485" y="1135"/>
                      </a:lnTo>
                      <a:lnTo>
                        <a:pt x="1486" y="1136"/>
                      </a:lnTo>
                      <a:lnTo>
                        <a:pt x="1485" y="1136"/>
                      </a:lnTo>
                      <a:lnTo>
                        <a:pt x="1484" y="1135"/>
                      </a:lnTo>
                      <a:lnTo>
                        <a:pt x="1482" y="1136"/>
                      </a:lnTo>
                      <a:lnTo>
                        <a:pt x="1481" y="1137"/>
                      </a:lnTo>
                      <a:lnTo>
                        <a:pt x="1482" y="1138"/>
                      </a:lnTo>
                      <a:lnTo>
                        <a:pt x="1483" y="1140"/>
                      </a:lnTo>
                      <a:lnTo>
                        <a:pt x="1485" y="1140"/>
                      </a:lnTo>
                      <a:lnTo>
                        <a:pt x="1485" y="1138"/>
                      </a:lnTo>
                      <a:lnTo>
                        <a:pt x="1486" y="1138"/>
                      </a:lnTo>
                      <a:lnTo>
                        <a:pt x="1486" y="1140"/>
                      </a:lnTo>
                      <a:lnTo>
                        <a:pt x="1485" y="1141"/>
                      </a:lnTo>
                      <a:lnTo>
                        <a:pt x="1483" y="1140"/>
                      </a:lnTo>
                      <a:lnTo>
                        <a:pt x="1483" y="1141"/>
                      </a:lnTo>
                      <a:lnTo>
                        <a:pt x="1483" y="1142"/>
                      </a:lnTo>
                      <a:lnTo>
                        <a:pt x="1482" y="1143"/>
                      </a:lnTo>
                      <a:lnTo>
                        <a:pt x="1481" y="1144"/>
                      </a:lnTo>
                      <a:lnTo>
                        <a:pt x="1480" y="1145"/>
                      </a:lnTo>
                      <a:lnTo>
                        <a:pt x="1479" y="1146"/>
                      </a:lnTo>
                      <a:lnTo>
                        <a:pt x="1478" y="1148"/>
                      </a:lnTo>
                      <a:lnTo>
                        <a:pt x="1479" y="1149"/>
                      </a:lnTo>
                      <a:lnTo>
                        <a:pt x="1479" y="1150"/>
                      </a:lnTo>
                      <a:lnTo>
                        <a:pt x="1478" y="1150"/>
                      </a:lnTo>
                      <a:lnTo>
                        <a:pt x="1477" y="1149"/>
                      </a:lnTo>
                      <a:lnTo>
                        <a:pt x="1477" y="1146"/>
                      </a:lnTo>
                      <a:lnTo>
                        <a:pt x="1477" y="1145"/>
                      </a:lnTo>
                      <a:lnTo>
                        <a:pt x="1477" y="1144"/>
                      </a:lnTo>
                      <a:lnTo>
                        <a:pt x="1478" y="1144"/>
                      </a:lnTo>
                      <a:lnTo>
                        <a:pt x="1479" y="1143"/>
                      </a:lnTo>
                      <a:lnTo>
                        <a:pt x="1478" y="1142"/>
                      </a:lnTo>
                      <a:lnTo>
                        <a:pt x="1478" y="1141"/>
                      </a:lnTo>
                      <a:lnTo>
                        <a:pt x="1479" y="1140"/>
                      </a:lnTo>
                      <a:lnTo>
                        <a:pt x="1478" y="1138"/>
                      </a:lnTo>
                      <a:lnTo>
                        <a:pt x="1477" y="1137"/>
                      </a:lnTo>
                      <a:lnTo>
                        <a:pt x="1476" y="1136"/>
                      </a:lnTo>
                      <a:lnTo>
                        <a:pt x="1474" y="1134"/>
                      </a:lnTo>
                      <a:lnTo>
                        <a:pt x="1474" y="1133"/>
                      </a:lnTo>
                      <a:lnTo>
                        <a:pt x="1473" y="1132"/>
                      </a:lnTo>
                      <a:lnTo>
                        <a:pt x="1472" y="1132"/>
                      </a:lnTo>
                      <a:lnTo>
                        <a:pt x="1471" y="1132"/>
                      </a:lnTo>
                      <a:lnTo>
                        <a:pt x="1471" y="1133"/>
                      </a:lnTo>
                      <a:lnTo>
                        <a:pt x="1471" y="1134"/>
                      </a:lnTo>
                      <a:lnTo>
                        <a:pt x="1470" y="1134"/>
                      </a:lnTo>
                      <a:lnTo>
                        <a:pt x="1470" y="1135"/>
                      </a:lnTo>
                      <a:lnTo>
                        <a:pt x="1469" y="1135"/>
                      </a:lnTo>
                      <a:lnTo>
                        <a:pt x="1469" y="1134"/>
                      </a:lnTo>
                      <a:lnTo>
                        <a:pt x="1469" y="1133"/>
                      </a:lnTo>
                      <a:lnTo>
                        <a:pt x="1469" y="1132"/>
                      </a:lnTo>
                      <a:lnTo>
                        <a:pt x="1468" y="1131"/>
                      </a:lnTo>
                      <a:lnTo>
                        <a:pt x="1467" y="1131"/>
                      </a:lnTo>
                      <a:lnTo>
                        <a:pt x="1467" y="1130"/>
                      </a:lnTo>
                      <a:lnTo>
                        <a:pt x="1467" y="1129"/>
                      </a:lnTo>
                      <a:lnTo>
                        <a:pt x="1466" y="1129"/>
                      </a:lnTo>
                      <a:lnTo>
                        <a:pt x="1465" y="1130"/>
                      </a:lnTo>
                      <a:lnTo>
                        <a:pt x="1463" y="1130"/>
                      </a:lnTo>
                      <a:lnTo>
                        <a:pt x="1461" y="1130"/>
                      </a:lnTo>
                      <a:lnTo>
                        <a:pt x="1460" y="1131"/>
                      </a:lnTo>
                      <a:lnTo>
                        <a:pt x="1459" y="1130"/>
                      </a:lnTo>
                      <a:lnTo>
                        <a:pt x="1458" y="1130"/>
                      </a:lnTo>
                      <a:lnTo>
                        <a:pt x="1457" y="1131"/>
                      </a:lnTo>
                      <a:lnTo>
                        <a:pt x="1457" y="1132"/>
                      </a:lnTo>
                      <a:lnTo>
                        <a:pt x="1456" y="1133"/>
                      </a:lnTo>
                      <a:lnTo>
                        <a:pt x="1456" y="1134"/>
                      </a:lnTo>
                      <a:lnTo>
                        <a:pt x="1455" y="1132"/>
                      </a:lnTo>
                      <a:lnTo>
                        <a:pt x="1455" y="1133"/>
                      </a:lnTo>
                      <a:lnTo>
                        <a:pt x="1454" y="1133"/>
                      </a:lnTo>
                      <a:lnTo>
                        <a:pt x="1454" y="1132"/>
                      </a:lnTo>
                      <a:lnTo>
                        <a:pt x="1454" y="1131"/>
                      </a:lnTo>
                      <a:lnTo>
                        <a:pt x="1454" y="1130"/>
                      </a:lnTo>
                      <a:lnTo>
                        <a:pt x="1454" y="1129"/>
                      </a:lnTo>
                      <a:lnTo>
                        <a:pt x="1453" y="1129"/>
                      </a:lnTo>
                      <a:lnTo>
                        <a:pt x="1453" y="1128"/>
                      </a:lnTo>
                      <a:lnTo>
                        <a:pt x="1452" y="1128"/>
                      </a:lnTo>
                      <a:lnTo>
                        <a:pt x="1451" y="1127"/>
                      </a:lnTo>
                      <a:lnTo>
                        <a:pt x="1450" y="1125"/>
                      </a:lnTo>
                      <a:lnTo>
                        <a:pt x="1448" y="1125"/>
                      </a:lnTo>
                      <a:lnTo>
                        <a:pt x="1447" y="1125"/>
                      </a:lnTo>
                      <a:lnTo>
                        <a:pt x="1445" y="1124"/>
                      </a:lnTo>
                      <a:lnTo>
                        <a:pt x="1445" y="1125"/>
                      </a:lnTo>
                      <a:lnTo>
                        <a:pt x="1446" y="1127"/>
                      </a:lnTo>
                      <a:lnTo>
                        <a:pt x="1447" y="1128"/>
                      </a:lnTo>
                      <a:lnTo>
                        <a:pt x="1448" y="1129"/>
                      </a:lnTo>
                      <a:lnTo>
                        <a:pt x="1447" y="1129"/>
                      </a:lnTo>
                      <a:lnTo>
                        <a:pt x="1446" y="1128"/>
                      </a:lnTo>
                      <a:lnTo>
                        <a:pt x="1445" y="1128"/>
                      </a:lnTo>
                      <a:lnTo>
                        <a:pt x="1444" y="1127"/>
                      </a:lnTo>
                      <a:lnTo>
                        <a:pt x="1443" y="1125"/>
                      </a:lnTo>
                      <a:lnTo>
                        <a:pt x="1443" y="1124"/>
                      </a:lnTo>
                      <a:lnTo>
                        <a:pt x="1442" y="1125"/>
                      </a:lnTo>
                      <a:lnTo>
                        <a:pt x="1442" y="1124"/>
                      </a:lnTo>
                      <a:lnTo>
                        <a:pt x="1441" y="1124"/>
                      </a:lnTo>
                      <a:lnTo>
                        <a:pt x="1441" y="1125"/>
                      </a:lnTo>
                      <a:lnTo>
                        <a:pt x="1440" y="1124"/>
                      </a:lnTo>
                      <a:lnTo>
                        <a:pt x="1441" y="1124"/>
                      </a:lnTo>
                      <a:lnTo>
                        <a:pt x="1440" y="1124"/>
                      </a:lnTo>
                      <a:lnTo>
                        <a:pt x="1439" y="1124"/>
                      </a:lnTo>
                      <a:lnTo>
                        <a:pt x="1439" y="1123"/>
                      </a:lnTo>
                      <a:lnTo>
                        <a:pt x="1438" y="1123"/>
                      </a:lnTo>
                      <a:lnTo>
                        <a:pt x="1437" y="1123"/>
                      </a:lnTo>
                      <a:lnTo>
                        <a:pt x="1435" y="1122"/>
                      </a:lnTo>
                      <a:lnTo>
                        <a:pt x="1434" y="1123"/>
                      </a:lnTo>
                      <a:lnTo>
                        <a:pt x="1433" y="1122"/>
                      </a:lnTo>
                      <a:lnTo>
                        <a:pt x="1433" y="1123"/>
                      </a:lnTo>
                      <a:lnTo>
                        <a:pt x="1432" y="1123"/>
                      </a:lnTo>
                      <a:lnTo>
                        <a:pt x="1432" y="1122"/>
                      </a:lnTo>
                      <a:lnTo>
                        <a:pt x="1431" y="1122"/>
                      </a:lnTo>
                      <a:lnTo>
                        <a:pt x="1431" y="1121"/>
                      </a:lnTo>
                      <a:lnTo>
                        <a:pt x="1430" y="1121"/>
                      </a:lnTo>
                      <a:lnTo>
                        <a:pt x="1431" y="1120"/>
                      </a:lnTo>
                      <a:lnTo>
                        <a:pt x="1431" y="1119"/>
                      </a:lnTo>
                      <a:lnTo>
                        <a:pt x="1431" y="1120"/>
                      </a:lnTo>
                      <a:lnTo>
                        <a:pt x="1430" y="1120"/>
                      </a:lnTo>
                      <a:lnTo>
                        <a:pt x="1430" y="1119"/>
                      </a:lnTo>
                      <a:lnTo>
                        <a:pt x="1431" y="1119"/>
                      </a:lnTo>
                      <a:lnTo>
                        <a:pt x="1430" y="1119"/>
                      </a:lnTo>
                      <a:lnTo>
                        <a:pt x="1430" y="1118"/>
                      </a:lnTo>
                      <a:lnTo>
                        <a:pt x="1431" y="1117"/>
                      </a:lnTo>
                      <a:lnTo>
                        <a:pt x="1432" y="1118"/>
                      </a:lnTo>
                      <a:lnTo>
                        <a:pt x="1433" y="1119"/>
                      </a:lnTo>
                      <a:close/>
                      <a:moveTo>
                        <a:pt x="1440" y="1114"/>
                      </a:moveTo>
                      <a:lnTo>
                        <a:pt x="1441" y="1115"/>
                      </a:lnTo>
                      <a:lnTo>
                        <a:pt x="1442" y="1115"/>
                      </a:lnTo>
                      <a:lnTo>
                        <a:pt x="1443" y="1115"/>
                      </a:lnTo>
                      <a:lnTo>
                        <a:pt x="1444" y="1115"/>
                      </a:lnTo>
                      <a:lnTo>
                        <a:pt x="1445" y="1115"/>
                      </a:lnTo>
                      <a:lnTo>
                        <a:pt x="1446" y="1115"/>
                      </a:lnTo>
                      <a:lnTo>
                        <a:pt x="1445" y="1115"/>
                      </a:lnTo>
                      <a:lnTo>
                        <a:pt x="1446" y="1115"/>
                      </a:lnTo>
                      <a:lnTo>
                        <a:pt x="1446" y="1116"/>
                      </a:lnTo>
                      <a:lnTo>
                        <a:pt x="1447" y="1116"/>
                      </a:lnTo>
                      <a:lnTo>
                        <a:pt x="1448" y="1116"/>
                      </a:lnTo>
                      <a:lnTo>
                        <a:pt x="1448" y="1117"/>
                      </a:lnTo>
                      <a:lnTo>
                        <a:pt x="1447" y="1117"/>
                      </a:lnTo>
                      <a:lnTo>
                        <a:pt x="1448" y="1117"/>
                      </a:lnTo>
                      <a:lnTo>
                        <a:pt x="1448" y="1116"/>
                      </a:lnTo>
                      <a:lnTo>
                        <a:pt x="1451" y="1115"/>
                      </a:lnTo>
                      <a:lnTo>
                        <a:pt x="1452" y="1115"/>
                      </a:lnTo>
                      <a:lnTo>
                        <a:pt x="1455" y="1116"/>
                      </a:lnTo>
                      <a:lnTo>
                        <a:pt x="1456" y="1116"/>
                      </a:lnTo>
                      <a:lnTo>
                        <a:pt x="1455" y="1117"/>
                      </a:lnTo>
                      <a:lnTo>
                        <a:pt x="1456" y="1117"/>
                      </a:lnTo>
                      <a:lnTo>
                        <a:pt x="1456" y="1118"/>
                      </a:lnTo>
                      <a:lnTo>
                        <a:pt x="1457" y="1118"/>
                      </a:lnTo>
                      <a:lnTo>
                        <a:pt x="1457" y="1119"/>
                      </a:lnTo>
                      <a:lnTo>
                        <a:pt x="1458" y="1119"/>
                      </a:lnTo>
                      <a:lnTo>
                        <a:pt x="1458" y="1120"/>
                      </a:lnTo>
                      <a:lnTo>
                        <a:pt x="1459" y="1119"/>
                      </a:lnTo>
                      <a:lnTo>
                        <a:pt x="1460" y="1119"/>
                      </a:lnTo>
                      <a:lnTo>
                        <a:pt x="1461" y="1119"/>
                      </a:lnTo>
                      <a:lnTo>
                        <a:pt x="1461" y="1118"/>
                      </a:lnTo>
                      <a:lnTo>
                        <a:pt x="1463" y="1117"/>
                      </a:lnTo>
                      <a:lnTo>
                        <a:pt x="1463" y="1118"/>
                      </a:lnTo>
                      <a:lnTo>
                        <a:pt x="1463" y="1119"/>
                      </a:lnTo>
                      <a:lnTo>
                        <a:pt x="1463" y="1120"/>
                      </a:lnTo>
                      <a:lnTo>
                        <a:pt x="1463" y="1119"/>
                      </a:lnTo>
                      <a:lnTo>
                        <a:pt x="1463" y="1120"/>
                      </a:lnTo>
                      <a:lnTo>
                        <a:pt x="1464" y="1120"/>
                      </a:lnTo>
                      <a:lnTo>
                        <a:pt x="1465" y="1120"/>
                      </a:lnTo>
                      <a:lnTo>
                        <a:pt x="1465" y="1121"/>
                      </a:lnTo>
                      <a:lnTo>
                        <a:pt x="1465" y="1122"/>
                      </a:lnTo>
                      <a:lnTo>
                        <a:pt x="1466" y="1122"/>
                      </a:lnTo>
                      <a:lnTo>
                        <a:pt x="1465" y="1122"/>
                      </a:lnTo>
                      <a:lnTo>
                        <a:pt x="1466" y="1122"/>
                      </a:lnTo>
                      <a:lnTo>
                        <a:pt x="1466" y="1121"/>
                      </a:lnTo>
                      <a:lnTo>
                        <a:pt x="1466" y="1120"/>
                      </a:lnTo>
                      <a:lnTo>
                        <a:pt x="1465" y="1119"/>
                      </a:lnTo>
                      <a:lnTo>
                        <a:pt x="1466" y="1120"/>
                      </a:lnTo>
                      <a:lnTo>
                        <a:pt x="1467" y="1120"/>
                      </a:lnTo>
                      <a:lnTo>
                        <a:pt x="1468" y="1120"/>
                      </a:lnTo>
                      <a:lnTo>
                        <a:pt x="1469" y="1120"/>
                      </a:lnTo>
                      <a:lnTo>
                        <a:pt x="1469" y="1121"/>
                      </a:lnTo>
                      <a:lnTo>
                        <a:pt x="1470" y="1123"/>
                      </a:lnTo>
                      <a:lnTo>
                        <a:pt x="1470" y="1124"/>
                      </a:lnTo>
                      <a:lnTo>
                        <a:pt x="1471" y="1125"/>
                      </a:lnTo>
                      <a:lnTo>
                        <a:pt x="1471" y="1124"/>
                      </a:lnTo>
                      <a:lnTo>
                        <a:pt x="1471" y="1123"/>
                      </a:lnTo>
                      <a:lnTo>
                        <a:pt x="1472" y="1122"/>
                      </a:lnTo>
                      <a:lnTo>
                        <a:pt x="1473" y="1122"/>
                      </a:lnTo>
                      <a:lnTo>
                        <a:pt x="1474" y="1122"/>
                      </a:lnTo>
                      <a:lnTo>
                        <a:pt x="1474" y="1121"/>
                      </a:lnTo>
                      <a:lnTo>
                        <a:pt x="1474" y="1120"/>
                      </a:lnTo>
                      <a:lnTo>
                        <a:pt x="1476" y="1120"/>
                      </a:lnTo>
                      <a:lnTo>
                        <a:pt x="1476" y="1121"/>
                      </a:lnTo>
                      <a:lnTo>
                        <a:pt x="1476" y="1122"/>
                      </a:lnTo>
                      <a:lnTo>
                        <a:pt x="1477" y="1123"/>
                      </a:lnTo>
                      <a:lnTo>
                        <a:pt x="1476" y="1124"/>
                      </a:lnTo>
                      <a:lnTo>
                        <a:pt x="1477" y="1125"/>
                      </a:lnTo>
                      <a:lnTo>
                        <a:pt x="1478" y="1127"/>
                      </a:lnTo>
                      <a:lnTo>
                        <a:pt x="1479" y="1127"/>
                      </a:lnTo>
                      <a:lnTo>
                        <a:pt x="1479" y="1125"/>
                      </a:lnTo>
                      <a:lnTo>
                        <a:pt x="1479" y="1124"/>
                      </a:lnTo>
                      <a:lnTo>
                        <a:pt x="1480" y="1124"/>
                      </a:lnTo>
                      <a:lnTo>
                        <a:pt x="1481" y="1122"/>
                      </a:lnTo>
                      <a:lnTo>
                        <a:pt x="1481" y="1123"/>
                      </a:lnTo>
                      <a:lnTo>
                        <a:pt x="1481" y="1124"/>
                      </a:lnTo>
                      <a:lnTo>
                        <a:pt x="1480" y="1125"/>
                      </a:lnTo>
                      <a:lnTo>
                        <a:pt x="1480" y="1128"/>
                      </a:lnTo>
                      <a:lnTo>
                        <a:pt x="1481" y="1129"/>
                      </a:lnTo>
                      <a:lnTo>
                        <a:pt x="1482" y="1129"/>
                      </a:lnTo>
                      <a:lnTo>
                        <a:pt x="1481" y="1128"/>
                      </a:lnTo>
                      <a:lnTo>
                        <a:pt x="1482" y="1128"/>
                      </a:lnTo>
                      <a:lnTo>
                        <a:pt x="1483" y="1128"/>
                      </a:lnTo>
                      <a:lnTo>
                        <a:pt x="1484" y="1128"/>
                      </a:lnTo>
                      <a:lnTo>
                        <a:pt x="1485" y="1127"/>
                      </a:lnTo>
                      <a:lnTo>
                        <a:pt x="1486" y="1127"/>
                      </a:lnTo>
                      <a:lnTo>
                        <a:pt x="1487" y="1125"/>
                      </a:lnTo>
                      <a:lnTo>
                        <a:pt x="1487" y="1124"/>
                      </a:lnTo>
                      <a:lnTo>
                        <a:pt x="1487" y="1123"/>
                      </a:lnTo>
                      <a:lnTo>
                        <a:pt x="1489" y="1123"/>
                      </a:lnTo>
                      <a:lnTo>
                        <a:pt x="1491" y="1121"/>
                      </a:lnTo>
                      <a:lnTo>
                        <a:pt x="1492" y="1122"/>
                      </a:lnTo>
                      <a:lnTo>
                        <a:pt x="1486" y="1127"/>
                      </a:lnTo>
                      <a:lnTo>
                        <a:pt x="1483" y="1129"/>
                      </a:lnTo>
                      <a:lnTo>
                        <a:pt x="1482" y="1130"/>
                      </a:lnTo>
                      <a:lnTo>
                        <a:pt x="1481" y="1130"/>
                      </a:lnTo>
                      <a:lnTo>
                        <a:pt x="1479" y="1129"/>
                      </a:lnTo>
                      <a:lnTo>
                        <a:pt x="1477" y="1128"/>
                      </a:lnTo>
                      <a:lnTo>
                        <a:pt x="1473" y="1127"/>
                      </a:lnTo>
                      <a:lnTo>
                        <a:pt x="1467" y="1124"/>
                      </a:lnTo>
                      <a:lnTo>
                        <a:pt x="1466" y="1123"/>
                      </a:lnTo>
                      <a:lnTo>
                        <a:pt x="1465" y="1123"/>
                      </a:lnTo>
                      <a:lnTo>
                        <a:pt x="1465" y="1122"/>
                      </a:lnTo>
                      <a:lnTo>
                        <a:pt x="1465" y="1123"/>
                      </a:lnTo>
                      <a:lnTo>
                        <a:pt x="1464" y="1122"/>
                      </a:lnTo>
                      <a:lnTo>
                        <a:pt x="1464" y="1123"/>
                      </a:lnTo>
                      <a:lnTo>
                        <a:pt x="1461" y="1123"/>
                      </a:lnTo>
                      <a:lnTo>
                        <a:pt x="1461" y="1122"/>
                      </a:lnTo>
                      <a:lnTo>
                        <a:pt x="1460" y="1122"/>
                      </a:lnTo>
                      <a:lnTo>
                        <a:pt x="1459" y="1122"/>
                      </a:lnTo>
                      <a:lnTo>
                        <a:pt x="1458" y="1121"/>
                      </a:lnTo>
                      <a:lnTo>
                        <a:pt x="1457" y="1121"/>
                      </a:lnTo>
                      <a:lnTo>
                        <a:pt x="1456" y="1121"/>
                      </a:lnTo>
                      <a:lnTo>
                        <a:pt x="1455" y="1120"/>
                      </a:lnTo>
                      <a:lnTo>
                        <a:pt x="1454" y="1120"/>
                      </a:lnTo>
                      <a:lnTo>
                        <a:pt x="1453" y="1120"/>
                      </a:lnTo>
                      <a:lnTo>
                        <a:pt x="1452" y="1120"/>
                      </a:lnTo>
                      <a:lnTo>
                        <a:pt x="1451" y="1120"/>
                      </a:lnTo>
                      <a:lnTo>
                        <a:pt x="1448" y="1120"/>
                      </a:lnTo>
                      <a:lnTo>
                        <a:pt x="1445" y="1120"/>
                      </a:lnTo>
                      <a:lnTo>
                        <a:pt x="1444" y="1120"/>
                      </a:lnTo>
                      <a:lnTo>
                        <a:pt x="1442" y="1120"/>
                      </a:lnTo>
                      <a:lnTo>
                        <a:pt x="1441" y="1120"/>
                      </a:lnTo>
                      <a:lnTo>
                        <a:pt x="1440" y="1121"/>
                      </a:lnTo>
                      <a:lnTo>
                        <a:pt x="1439" y="1120"/>
                      </a:lnTo>
                      <a:lnTo>
                        <a:pt x="1438" y="1120"/>
                      </a:lnTo>
                      <a:lnTo>
                        <a:pt x="1437" y="1120"/>
                      </a:lnTo>
                      <a:lnTo>
                        <a:pt x="1435" y="1120"/>
                      </a:lnTo>
                      <a:lnTo>
                        <a:pt x="1435" y="1119"/>
                      </a:lnTo>
                      <a:lnTo>
                        <a:pt x="1434" y="1119"/>
                      </a:lnTo>
                      <a:lnTo>
                        <a:pt x="1434" y="1118"/>
                      </a:lnTo>
                      <a:lnTo>
                        <a:pt x="1433" y="1117"/>
                      </a:lnTo>
                      <a:lnTo>
                        <a:pt x="1432" y="1117"/>
                      </a:lnTo>
                      <a:lnTo>
                        <a:pt x="1432" y="1116"/>
                      </a:lnTo>
                      <a:lnTo>
                        <a:pt x="1433" y="1116"/>
                      </a:lnTo>
                      <a:lnTo>
                        <a:pt x="1433" y="1115"/>
                      </a:lnTo>
                      <a:lnTo>
                        <a:pt x="1432" y="1115"/>
                      </a:lnTo>
                      <a:lnTo>
                        <a:pt x="1433" y="1115"/>
                      </a:lnTo>
                      <a:lnTo>
                        <a:pt x="1432" y="1115"/>
                      </a:lnTo>
                      <a:lnTo>
                        <a:pt x="1432" y="1114"/>
                      </a:lnTo>
                      <a:lnTo>
                        <a:pt x="1431" y="1114"/>
                      </a:lnTo>
                      <a:lnTo>
                        <a:pt x="1431" y="1112"/>
                      </a:lnTo>
                      <a:lnTo>
                        <a:pt x="1431" y="1111"/>
                      </a:lnTo>
                      <a:lnTo>
                        <a:pt x="1432" y="1111"/>
                      </a:lnTo>
                      <a:lnTo>
                        <a:pt x="1433" y="1111"/>
                      </a:lnTo>
                      <a:lnTo>
                        <a:pt x="1434" y="1111"/>
                      </a:lnTo>
                      <a:lnTo>
                        <a:pt x="1434" y="1112"/>
                      </a:lnTo>
                      <a:lnTo>
                        <a:pt x="1435" y="1112"/>
                      </a:lnTo>
                      <a:lnTo>
                        <a:pt x="1438" y="1112"/>
                      </a:lnTo>
                      <a:lnTo>
                        <a:pt x="1439" y="1114"/>
                      </a:lnTo>
                      <a:lnTo>
                        <a:pt x="1440" y="1114"/>
                      </a:lnTo>
                      <a:close/>
                      <a:moveTo>
                        <a:pt x="1415" y="1105"/>
                      </a:moveTo>
                      <a:lnTo>
                        <a:pt x="1414" y="1106"/>
                      </a:lnTo>
                      <a:lnTo>
                        <a:pt x="1414" y="1107"/>
                      </a:lnTo>
                      <a:lnTo>
                        <a:pt x="1410" y="1110"/>
                      </a:lnTo>
                      <a:lnTo>
                        <a:pt x="1408" y="1112"/>
                      </a:lnTo>
                      <a:lnTo>
                        <a:pt x="1408" y="1114"/>
                      </a:lnTo>
                      <a:lnTo>
                        <a:pt x="1407" y="1115"/>
                      </a:lnTo>
                      <a:lnTo>
                        <a:pt x="1403" y="1117"/>
                      </a:lnTo>
                      <a:lnTo>
                        <a:pt x="1402" y="1118"/>
                      </a:lnTo>
                      <a:lnTo>
                        <a:pt x="1401" y="1119"/>
                      </a:lnTo>
                      <a:lnTo>
                        <a:pt x="1401" y="1118"/>
                      </a:lnTo>
                      <a:lnTo>
                        <a:pt x="1401" y="1119"/>
                      </a:lnTo>
                      <a:lnTo>
                        <a:pt x="1400" y="1119"/>
                      </a:lnTo>
                      <a:lnTo>
                        <a:pt x="1400" y="1120"/>
                      </a:lnTo>
                      <a:lnTo>
                        <a:pt x="1399" y="1120"/>
                      </a:lnTo>
                      <a:lnTo>
                        <a:pt x="1397" y="1120"/>
                      </a:lnTo>
                      <a:lnTo>
                        <a:pt x="1396" y="1121"/>
                      </a:lnTo>
                      <a:lnTo>
                        <a:pt x="1397" y="1121"/>
                      </a:lnTo>
                      <a:lnTo>
                        <a:pt x="1399" y="1120"/>
                      </a:lnTo>
                      <a:lnTo>
                        <a:pt x="1402" y="1118"/>
                      </a:lnTo>
                      <a:lnTo>
                        <a:pt x="1404" y="1117"/>
                      </a:lnTo>
                      <a:lnTo>
                        <a:pt x="1406" y="1116"/>
                      </a:lnTo>
                      <a:lnTo>
                        <a:pt x="1407" y="1116"/>
                      </a:lnTo>
                      <a:lnTo>
                        <a:pt x="1406" y="1116"/>
                      </a:lnTo>
                      <a:lnTo>
                        <a:pt x="1404" y="1117"/>
                      </a:lnTo>
                      <a:lnTo>
                        <a:pt x="1404" y="1118"/>
                      </a:lnTo>
                      <a:lnTo>
                        <a:pt x="1405" y="1119"/>
                      </a:lnTo>
                      <a:lnTo>
                        <a:pt x="1405" y="1120"/>
                      </a:lnTo>
                      <a:lnTo>
                        <a:pt x="1406" y="1121"/>
                      </a:lnTo>
                      <a:lnTo>
                        <a:pt x="1406" y="1122"/>
                      </a:lnTo>
                      <a:lnTo>
                        <a:pt x="1405" y="1123"/>
                      </a:lnTo>
                      <a:lnTo>
                        <a:pt x="1404" y="1124"/>
                      </a:lnTo>
                      <a:lnTo>
                        <a:pt x="1403" y="1124"/>
                      </a:lnTo>
                      <a:lnTo>
                        <a:pt x="1402" y="1124"/>
                      </a:lnTo>
                      <a:lnTo>
                        <a:pt x="1401" y="1124"/>
                      </a:lnTo>
                      <a:lnTo>
                        <a:pt x="1400" y="1124"/>
                      </a:lnTo>
                      <a:lnTo>
                        <a:pt x="1399" y="1124"/>
                      </a:lnTo>
                      <a:lnTo>
                        <a:pt x="1397" y="1124"/>
                      </a:lnTo>
                      <a:lnTo>
                        <a:pt x="1396" y="1124"/>
                      </a:lnTo>
                      <a:lnTo>
                        <a:pt x="1395" y="1124"/>
                      </a:lnTo>
                      <a:lnTo>
                        <a:pt x="1394" y="1124"/>
                      </a:lnTo>
                      <a:lnTo>
                        <a:pt x="1394" y="1123"/>
                      </a:lnTo>
                      <a:lnTo>
                        <a:pt x="1393" y="1123"/>
                      </a:lnTo>
                      <a:lnTo>
                        <a:pt x="1393" y="1122"/>
                      </a:lnTo>
                      <a:lnTo>
                        <a:pt x="1392" y="1122"/>
                      </a:lnTo>
                      <a:lnTo>
                        <a:pt x="1392" y="1121"/>
                      </a:lnTo>
                      <a:lnTo>
                        <a:pt x="1392" y="1120"/>
                      </a:lnTo>
                      <a:lnTo>
                        <a:pt x="1392" y="1119"/>
                      </a:lnTo>
                      <a:lnTo>
                        <a:pt x="1392" y="1118"/>
                      </a:lnTo>
                      <a:lnTo>
                        <a:pt x="1391" y="1117"/>
                      </a:lnTo>
                      <a:lnTo>
                        <a:pt x="1391" y="1116"/>
                      </a:lnTo>
                      <a:lnTo>
                        <a:pt x="1392" y="1116"/>
                      </a:lnTo>
                      <a:lnTo>
                        <a:pt x="1393" y="1116"/>
                      </a:lnTo>
                      <a:lnTo>
                        <a:pt x="1394" y="1116"/>
                      </a:lnTo>
                      <a:lnTo>
                        <a:pt x="1394" y="1115"/>
                      </a:lnTo>
                      <a:lnTo>
                        <a:pt x="1395" y="1115"/>
                      </a:lnTo>
                      <a:lnTo>
                        <a:pt x="1396" y="1114"/>
                      </a:lnTo>
                      <a:lnTo>
                        <a:pt x="1396" y="1115"/>
                      </a:lnTo>
                      <a:lnTo>
                        <a:pt x="1397" y="1114"/>
                      </a:lnTo>
                      <a:lnTo>
                        <a:pt x="1399" y="1112"/>
                      </a:lnTo>
                      <a:lnTo>
                        <a:pt x="1400" y="1112"/>
                      </a:lnTo>
                      <a:lnTo>
                        <a:pt x="1400" y="1111"/>
                      </a:lnTo>
                      <a:lnTo>
                        <a:pt x="1401" y="1111"/>
                      </a:lnTo>
                      <a:lnTo>
                        <a:pt x="1402" y="1110"/>
                      </a:lnTo>
                      <a:lnTo>
                        <a:pt x="1402" y="1109"/>
                      </a:lnTo>
                      <a:lnTo>
                        <a:pt x="1403" y="1109"/>
                      </a:lnTo>
                      <a:lnTo>
                        <a:pt x="1403" y="1108"/>
                      </a:lnTo>
                      <a:lnTo>
                        <a:pt x="1404" y="1108"/>
                      </a:lnTo>
                      <a:lnTo>
                        <a:pt x="1404" y="1107"/>
                      </a:lnTo>
                      <a:lnTo>
                        <a:pt x="1405" y="1107"/>
                      </a:lnTo>
                      <a:lnTo>
                        <a:pt x="1406" y="1106"/>
                      </a:lnTo>
                      <a:lnTo>
                        <a:pt x="1407" y="1106"/>
                      </a:lnTo>
                      <a:lnTo>
                        <a:pt x="1408" y="1106"/>
                      </a:lnTo>
                      <a:lnTo>
                        <a:pt x="1409" y="1106"/>
                      </a:lnTo>
                      <a:lnTo>
                        <a:pt x="1410" y="1106"/>
                      </a:lnTo>
                      <a:lnTo>
                        <a:pt x="1412" y="1106"/>
                      </a:lnTo>
                      <a:lnTo>
                        <a:pt x="1412" y="1105"/>
                      </a:lnTo>
                      <a:lnTo>
                        <a:pt x="1413" y="1105"/>
                      </a:lnTo>
                      <a:lnTo>
                        <a:pt x="1414" y="1105"/>
                      </a:lnTo>
                      <a:lnTo>
                        <a:pt x="1415" y="1105"/>
                      </a:lnTo>
                      <a:lnTo>
                        <a:pt x="1415" y="1104"/>
                      </a:lnTo>
                      <a:lnTo>
                        <a:pt x="1415" y="1105"/>
                      </a:lnTo>
                      <a:close/>
                      <a:moveTo>
                        <a:pt x="1161" y="829"/>
                      </a:moveTo>
                      <a:lnTo>
                        <a:pt x="1162" y="829"/>
                      </a:lnTo>
                      <a:lnTo>
                        <a:pt x="1162" y="831"/>
                      </a:lnTo>
                      <a:lnTo>
                        <a:pt x="1163" y="832"/>
                      </a:lnTo>
                      <a:lnTo>
                        <a:pt x="1164" y="832"/>
                      </a:lnTo>
                      <a:lnTo>
                        <a:pt x="1166" y="832"/>
                      </a:lnTo>
                      <a:lnTo>
                        <a:pt x="1167" y="832"/>
                      </a:lnTo>
                      <a:lnTo>
                        <a:pt x="1168" y="832"/>
                      </a:lnTo>
                      <a:lnTo>
                        <a:pt x="1168" y="831"/>
                      </a:lnTo>
                      <a:lnTo>
                        <a:pt x="1169" y="831"/>
                      </a:lnTo>
                      <a:lnTo>
                        <a:pt x="1170" y="831"/>
                      </a:lnTo>
                      <a:lnTo>
                        <a:pt x="1171" y="831"/>
                      </a:lnTo>
                      <a:lnTo>
                        <a:pt x="1172" y="831"/>
                      </a:lnTo>
                      <a:lnTo>
                        <a:pt x="1173" y="832"/>
                      </a:lnTo>
                      <a:lnTo>
                        <a:pt x="1173" y="833"/>
                      </a:lnTo>
                      <a:lnTo>
                        <a:pt x="1174" y="833"/>
                      </a:lnTo>
                      <a:lnTo>
                        <a:pt x="1175" y="834"/>
                      </a:lnTo>
                      <a:lnTo>
                        <a:pt x="1176" y="834"/>
                      </a:lnTo>
                      <a:lnTo>
                        <a:pt x="1176" y="835"/>
                      </a:lnTo>
                      <a:lnTo>
                        <a:pt x="1175" y="835"/>
                      </a:lnTo>
                      <a:lnTo>
                        <a:pt x="1174" y="835"/>
                      </a:lnTo>
                      <a:lnTo>
                        <a:pt x="1174" y="834"/>
                      </a:lnTo>
                      <a:lnTo>
                        <a:pt x="1173" y="834"/>
                      </a:lnTo>
                      <a:lnTo>
                        <a:pt x="1173" y="833"/>
                      </a:lnTo>
                      <a:lnTo>
                        <a:pt x="1172" y="833"/>
                      </a:lnTo>
                      <a:lnTo>
                        <a:pt x="1171" y="833"/>
                      </a:lnTo>
                      <a:lnTo>
                        <a:pt x="1170" y="833"/>
                      </a:lnTo>
                      <a:lnTo>
                        <a:pt x="1170" y="834"/>
                      </a:lnTo>
                      <a:lnTo>
                        <a:pt x="1171" y="833"/>
                      </a:lnTo>
                      <a:lnTo>
                        <a:pt x="1171" y="834"/>
                      </a:lnTo>
                      <a:lnTo>
                        <a:pt x="1170" y="834"/>
                      </a:lnTo>
                      <a:lnTo>
                        <a:pt x="1169" y="834"/>
                      </a:lnTo>
                      <a:lnTo>
                        <a:pt x="1170" y="834"/>
                      </a:lnTo>
                      <a:lnTo>
                        <a:pt x="1170" y="833"/>
                      </a:lnTo>
                      <a:lnTo>
                        <a:pt x="1169" y="833"/>
                      </a:lnTo>
                      <a:lnTo>
                        <a:pt x="1169" y="834"/>
                      </a:lnTo>
                      <a:lnTo>
                        <a:pt x="1169" y="835"/>
                      </a:lnTo>
                      <a:lnTo>
                        <a:pt x="1169" y="836"/>
                      </a:lnTo>
                      <a:lnTo>
                        <a:pt x="1170" y="836"/>
                      </a:lnTo>
                      <a:lnTo>
                        <a:pt x="1169" y="836"/>
                      </a:lnTo>
                      <a:lnTo>
                        <a:pt x="1170" y="836"/>
                      </a:lnTo>
                      <a:lnTo>
                        <a:pt x="1171" y="836"/>
                      </a:lnTo>
                      <a:lnTo>
                        <a:pt x="1170" y="837"/>
                      </a:lnTo>
                      <a:lnTo>
                        <a:pt x="1169" y="838"/>
                      </a:lnTo>
                      <a:lnTo>
                        <a:pt x="1169" y="839"/>
                      </a:lnTo>
                      <a:lnTo>
                        <a:pt x="1168" y="839"/>
                      </a:lnTo>
                      <a:lnTo>
                        <a:pt x="1168" y="838"/>
                      </a:lnTo>
                      <a:lnTo>
                        <a:pt x="1167" y="838"/>
                      </a:lnTo>
                      <a:lnTo>
                        <a:pt x="1166" y="839"/>
                      </a:lnTo>
                      <a:lnTo>
                        <a:pt x="1164" y="839"/>
                      </a:lnTo>
                      <a:lnTo>
                        <a:pt x="1164" y="838"/>
                      </a:lnTo>
                      <a:lnTo>
                        <a:pt x="1164" y="837"/>
                      </a:lnTo>
                      <a:lnTo>
                        <a:pt x="1164" y="836"/>
                      </a:lnTo>
                      <a:lnTo>
                        <a:pt x="1164" y="835"/>
                      </a:lnTo>
                      <a:lnTo>
                        <a:pt x="1164" y="834"/>
                      </a:lnTo>
                      <a:lnTo>
                        <a:pt x="1163" y="834"/>
                      </a:lnTo>
                      <a:lnTo>
                        <a:pt x="1162" y="834"/>
                      </a:lnTo>
                      <a:lnTo>
                        <a:pt x="1161" y="834"/>
                      </a:lnTo>
                      <a:lnTo>
                        <a:pt x="1160" y="834"/>
                      </a:lnTo>
                      <a:lnTo>
                        <a:pt x="1159" y="834"/>
                      </a:lnTo>
                      <a:lnTo>
                        <a:pt x="1159" y="835"/>
                      </a:lnTo>
                      <a:lnTo>
                        <a:pt x="1158" y="835"/>
                      </a:lnTo>
                      <a:lnTo>
                        <a:pt x="1158" y="836"/>
                      </a:lnTo>
                      <a:lnTo>
                        <a:pt x="1157" y="836"/>
                      </a:lnTo>
                      <a:lnTo>
                        <a:pt x="1157" y="837"/>
                      </a:lnTo>
                      <a:lnTo>
                        <a:pt x="1157" y="838"/>
                      </a:lnTo>
                      <a:lnTo>
                        <a:pt x="1158" y="838"/>
                      </a:lnTo>
                      <a:lnTo>
                        <a:pt x="1159" y="838"/>
                      </a:lnTo>
                      <a:lnTo>
                        <a:pt x="1160" y="838"/>
                      </a:lnTo>
                      <a:lnTo>
                        <a:pt x="1161" y="838"/>
                      </a:lnTo>
                      <a:lnTo>
                        <a:pt x="1162" y="838"/>
                      </a:lnTo>
                      <a:lnTo>
                        <a:pt x="1163" y="838"/>
                      </a:lnTo>
                      <a:lnTo>
                        <a:pt x="1163" y="839"/>
                      </a:lnTo>
                      <a:lnTo>
                        <a:pt x="1163" y="840"/>
                      </a:lnTo>
                      <a:lnTo>
                        <a:pt x="1163" y="841"/>
                      </a:lnTo>
                      <a:lnTo>
                        <a:pt x="1164" y="841"/>
                      </a:lnTo>
                      <a:lnTo>
                        <a:pt x="1164" y="842"/>
                      </a:lnTo>
                      <a:lnTo>
                        <a:pt x="1164" y="844"/>
                      </a:lnTo>
                      <a:lnTo>
                        <a:pt x="1163" y="845"/>
                      </a:lnTo>
                      <a:lnTo>
                        <a:pt x="1161" y="845"/>
                      </a:lnTo>
                      <a:lnTo>
                        <a:pt x="1160" y="845"/>
                      </a:lnTo>
                      <a:lnTo>
                        <a:pt x="1160" y="846"/>
                      </a:lnTo>
                      <a:lnTo>
                        <a:pt x="1160" y="847"/>
                      </a:lnTo>
                      <a:lnTo>
                        <a:pt x="1160" y="848"/>
                      </a:lnTo>
                      <a:lnTo>
                        <a:pt x="1160" y="849"/>
                      </a:lnTo>
                      <a:lnTo>
                        <a:pt x="1161" y="849"/>
                      </a:lnTo>
                      <a:lnTo>
                        <a:pt x="1161" y="850"/>
                      </a:lnTo>
                      <a:lnTo>
                        <a:pt x="1160" y="850"/>
                      </a:lnTo>
                      <a:lnTo>
                        <a:pt x="1160" y="849"/>
                      </a:lnTo>
                      <a:lnTo>
                        <a:pt x="1159" y="850"/>
                      </a:lnTo>
                      <a:lnTo>
                        <a:pt x="1159" y="851"/>
                      </a:lnTo>
                      <a:lnTo>
                        <a:pt x="1158" y="851"/>
                      </a:lnTo>
                      <a:lnTo>
                        <a:pt x="1158" y="852"/>
                      </a:lnTo>
                      <a:lnTo>
                        <a:pt x="1159" y="852"/>
                      </a:lnTo>
                      <a:lnTo>
                        <a:pt x="1159" y="853"/>
                      </a:lnTo>
                      <a:lnTo>
                        <a:pt x="1158" y="853"/>
                      </a:lnTo>
                      <a:lnTo>
                        <a:pt x="1158" y="852"/>
                      </a:lnTo>
                      <a:lnTo>
                        <a:pt x="1158" y="851"/>
                      </a:lnTo>
                      <a:lnTo>
                        <a:pt x="1157" y="851"/>
                      </a:lnTo>
                      <a:lnTo>
                        <a:pt x="1157" y="852"/>
                      </a:lnTo>
                      <a:lnTo>
                        <a:pt x="1157" y="851"/>
                      </a:lnTo>
                      <a:lnTo>
                        <a:pt x="1158" y="851"/>
                      </a:lnTo>
                      <a:lnTo>
                        <a:pt x="1158" y="852"/>
                      </a:lnTo>
                      <a:lnTo>
                        <a:pt x="1157" y="852"/>
                      </a:lnTo>
                      <a:lnTo>
                        <a:pt x="1157" y="851"/>
                      </a:lnTo>
                      <a:lnTo>
                        <a:pt x="1157" y="850"/>
                      </a:lnTo>
                      <a:lnTo>
                        <a:pt x="1157" y="849"/>
                      </a:lnTo>
                      <a:lnTo>
                        <a:pt x="1158" y="849"/>
                      </a:lnTo>
                      <a:lnTo>
                        <a:pt x="1159" y="849"/>
                      </a:lnTo>
                      <a:lnTo>
                        <a:pt x="1159" y="848"/>
                      </a:lnTo>
                      <a:lnTo>
                        <a:pt x="1159" y="849"/>
                      </a:lnTo>
                      <a:lnTo>
                        <a:pt x="1159" y="848"/>
                      </a:lnTo>
                      <a:lnTo>
                        <a:pt x="1158" y="848"/>
                      </a:lnTo>
                      <a:lnTo>
                        <a:pt x="1157" y="848"/>
                      </a:lnTo>
                      <a:lnTo>
                        <a:pt x="1157" y="849"/>
                      </a:lnTo>
                      <a:lnTo>
                        <a:pt x="1157" y="848"/>
                      </a:lnTo>
                      <a:lnTo>
                        <a:pt x="1156" y="848"/>
                      </a:lnTo>
                      <a:lnTo>
                        <a:pt x="1156" y="847"/>
                      </a:lnTo>
                      <a:lnTo>
                        <a:pt x="1157" y="846"/>
                      </a:lnTo>
                      <a:lnTo>
                        <a:pt x="1156" y="846"/>
                      </a:lnTo>
                      <a:lnTo>
                        <a:pt x="1155" y="847"/>
                      </a:lnTo>
                      <a:lnTo>
                        <a:pt x="1155" y="846"/>
                      </a:lnTo>
                      <a:lnTo>
                        <a:pt x="1154" y="846"/>
                      </a:lnTo>
                      <a:lnTo>
                        <a:pt x="1153" y="846"/>
                      </a:lnTo>
                      <a:lnTo>
                        <a:pt x="1153" y="845"/>
                      </a:lnTo>
                      <a:lnTo>
                        <a:pt x="1151" y="845"/>
                      </a:lnTo>
                      <a:lnTo>
                        <a:pt x="1151" y="844"/>
                      </a:lnTo>
                      <a:lnTo>
                        <a:pt x="1153" y="844"/>
                      </a:lnTo>
                      <a:lnTo>
                        <a:pt x="1151" y="842"/>
                      </a:lnTo>
                      <a:lnTo>
                        <a:pt x="1153" y="842"/>
                      </a:lnTo>
                      <a:lnTo>
                        <a:pt x="1151" y="842"/>
                      </a:lnTo>
                      <a:lnTo>
                        <a:pt x="1150" y="842"/>
                      </a:lnTo>
                      <a:lnTo>
                        <a:pt x="1149" y="842"/>
                      </a:lnTo>
                      <a:lnTo>
                        <a:pt x="1148" y="842"/>
                      </a:lnTo>
                      <a:lnTo>
                        <a:pt x="1149" y="842"/>
                      </a:lnTo>
                      <a:lnTo>
                        <a:pt x="1149" y="841"/>
                      </a:lnTo>
                      <a:lnTo>
                        <a:pt x="1149" y="842"/>
                      </a:lnTo>
                      <a:lnTo>
                        <a:pt x="1149" y="841"/>
                      </a:lnTo>
                      <a:lnTo>
                        <a:pt x="1149" y="842"/>
                      </a:lnTo>
                      <a:lnTo>
                        <a:pt x="1149" y="841"/>
                      </a:lnTo>
                      <a:lnTo>
                        <a:pt x="1149" y="842"/>
                      </a:lnTo>
                      <a:lnTo>
                        <a:pt x="1148" y="842"/>
                      </a:lnTo>
                      <a:lnTo>
                        <a:pt x="1148" y="841"/>
                      </a:lnTo>
                      <a:lnTo>
                        <a:pt x="1148" y="840"/>
                      </a:lnTo>
                      <a:lnTo>
                        <a:pt x="1149" y="840"/>
                      </a:lnTo>
                      <a:lnTo>
                        <a:pt x="1149" y="841"/>
                      </a:lnTo>
                      <a:lnTo>
                        <a:pt x="1150" y="840"/>
                      </a:lnTo>
                      <a:lnTo>
                        <a:pt x="1151" y="840"/>
                      </a:lnTo>
                      <a:lnTo>
                        <a:pt x="1153" y="840"/>
                      </a:lnTo>
                      <a:lnTo>
                        <a:pt x="1153" y="841"/>
                      </a:lnTo>
                      <a:lnTo>
                        <a:pt x="1153" y="840"/>
                      </a:lnTo>
                      <a:lnTo>
                        <a:pt x="1154" y="840"/>
                      </a:lnTo>
                      <a:lnTo>
                        <a:pt x="1155" y="841"/>
                      </a:lnTo>
                      <a:lnTo>
                        <a:pt x="1155" y="840"/>
                      </a:lnTo>
                      <a:lnTo>
                        <a:pt x="1154" y="840"/>
                      </a:lnTo>
                      <a:lnTo>
                        <a:pt x="1154" y="839"/>
                      </a:lnTo>
                      <a:lnTo>
                        <a:pt x="1155" y="839"/>
                      </a:lnTo>
                      <a:lnTo>
                        <a:pt x="1155" y="838"/>
                      </a:lnTo>
                      <a:lnTo>
                        <a:pt x="1154" y="838"/>
                      </a:lnTo>
                      <a:lnTo>
                        <a:pt x="1154" y="837"/>
                      </a:lnTo>
                      <a:lnTo>
                        <a:pt x="1153" y="837"/>
                      </a:lnTo>
                      <a:lnTo>
                        <a:pt x="1151" y="836"/>
                      </a:lnTo>
                      <a:lnTo>
                        <a:pt x="1153" y="836"/>
                      </a:lnTo>
                      <a:lnTo>
                        <a:pt x="1154" y="835"/>
                      </a:lnTo>
                      <a:lnTo>
                        <a:pt x="1155" y="835"/>
                      </a:lnTo>
                      <a:lnTo>
                        <a:pt x="1155" y="834"/>
                      </a:lnTo>
                      <a:lnTo>
                        <a:pt x="1156" y="834"/>
                      </a:lnTo>
                      <a:lnTo>
                        <a:pt x="1156" y="833"/>
                      </a:lnTo>
                      <a:lnTo>
                        <a:pt x="1157" y="832"/>
                      </a:lnTo>
                      <a:lnTo>
                        <a:pt x="1158" y="832"/>
                      </a:lnTo>
                      <a:lnTo>
                        <a:pt x="1158" y="831"/>
                      </a:lnTo>
                      <a:lnTo>
                        <a:pt x="1159" y="831"/>
                      </a:lnTo>
                      <a:lnTo>
                        <a:pt x="1160" y="831"/>
                      </a:lnTo>
                      <a:lnTo>
                        <a:pt x="1160" y="829"/>
                      </a:lnTo>
                      <a:lnTo>
                        <a:pt x="1161" y="829"/>
                      </a:lnTo>
                      <a:close/>
                      <a:moveTo>
                        <a:pt x="1354" y="1153"/>
                      </a:moveTo>
                      <a:lnTo>
                        <a:pt x="1355" y="1154"/>
                      </a:lnTo>
                      <a:lnTo>
                        <a:pt x="1355" y="1155"/>
                      </a:lnTo>
                      <a:lnTo>
                        <a:pt x="1354" y="1154"/>
                      </a:lnTo>
                      <a:lnTo>
                        <a:pt x="1354" y="1153"/>
                      </a:lnTo>
                      <a:lnTo>
                        <a:pt x="1354" y="1154"/>
                      </a:lnTo>
                      <a:lnTo>
                        <a:pt x="1353" y="1154"/>
                      </a:lnTo>
                      <a:lnTo>
                        <a:pt x="1353" y="1153"/>
                      </a:lnTo>
                      <a:lnTo>
                        <a:pt x="1354" y="1153"/>
                      </a:lnTo>
                      <a:lnTo>
                        <a:pt x="1353" y="1153"/>
                      </a:lnTo>
                      <a:lnTo>
                        <a:pt x="1353" y="1154"/>
                      </a:lnTo>
                      <a:lnTo>
                        <a:pt x="1352" y="1154"/>
                      </a:lnTo>
                      <a:lnTo>
                        <a:pt x="1352" y="1155"/>
                      </a:lnTo>
                      <a:lnTo>
                        <a:pt x="1351" y="1157"/>
                      </a:lnTo>
                      <a:lnTo>
                        <a:pt x="1350" y="1157"/>
                      </a:lnTo>
                      <a:lnTo>
                        <a:pt x="1351" y="1158"/>
                      </a:lnTo>
                      <a:lnTo>
                        <a:pt x="1350" y="1159"/>
                      </a:lnTo>
                      <a:lnTo>
                        <a:pt x="1349" y="1159"/>
                      </a:lnTo>
                      <a:lnTo>
                        <a:pt x="1349" y="1160"/>
                      </a:lnTo>
                      <a:lnTo>
                        <a:pt x="1348" y="1161"/>
                      </a:lnTo>
                      <a:lnTo>
                        <a:pt x="1347" y="1161"/>
                      </a:lnTo>
                      <a:lnTo>
                        <a:pt x="1348" y="1162"/>
                      </a:lnTo>
                      <a:lnTo>
                        <a:pt x="1347" y="1162"/>
                      </a:lnTo>
                      <a:lnTo>
                        <a:pt x="1345" y="1163"/>
                      </a:lnTo>
                      <a:lnTo>
                        <a:pt x="1345" y="1164"/>
                      </a:lnTo>
                      <a:lnTo>
                        <a:pt x="1345" y="1163"/>
                      </a:lnTo>
                      <a:lnTo>
                        <a:pt x="1344" y="1163"/>
                      </a:lnTo>
                      <a:lnTo>
                        <a:pt x="1344" y="1164"/>
                      </a:lnTo>
                      <a:lnTo>
                        <a:pt x="1345" y="1164"/>
                      </a:lnTo>
                      <a:lnTo>
                        <a:pt x="1344" y="1164"/>
                      </a:lnTo>
                      <a:lnTo>
                        <a:pt x="1343" y="1166"/>
                      </a:lnTo>
                      <a:lnTo>
                        <a:pt x="1342" y="1166"/>
                      </a:lnTo>
                      <a:lnTo>
                        <a:pt x="1343" y="1167"/>
                      </a:lnTo>
                      <a:lnTo>
                        <a:pt x="1342" y="1167"/>
                      </a:lnTo>
                      <a:lnTo>
                        <a:pt x="1342" y="1168"/>
                      </a:lnTo>
                      <a:lnTo>
                        <a:pt x="1341" y="1168"/>
                      </a:lnTo>
                      <a:lnTo>
                        <a:pt x="1340" y="1168"/>
                      </a:lnTo>
                      <a:lnTo>
                        <a:pt x="1340" y="1169"/>
                      </a:lnTo>
                      <a:lnTo>
                        <a:pt x="1339" y="1169"/>
                      </a:lnTo>
                      <a:lnTo>
                        <a:pt x="1339" y="1170"/>
                      </a:lnTo>
                      <a:lnTo>
                        <a:pt x="1338" y="1170"/>
                      </a:lnTo>
                      <a:lnTo>
                        <a:pt x="1338" y="1171"/>
                      </a:lnTo>
                      <a:lnTo>
                        <a:pt x="1338" y="1172"/>
                      </a:lnTo>
                      <a:lnTo>
                        <a:pt x="1338" y="1171"/>
                      </a:lnTo>
                      <a:lnTo>
                        <a:pt x="1337" y="1171"/>
                      </a:lnTo>
                      <a:lnTo>
                        <a:pt x="1337" y="1172"/>
                      </a:lnTo>
                      <a:lnTo>
                        <a:pt x="1338" y="1172"/>
                      </a:lnTo>
                      <a:lnTo>
                        <a:pt x="1337" y="1172"/>
                      </a:lnTo>
                      <a:lnTo>
                        <a:pt x="1337" y="1173"/>
                      </a:lnTo>
                      <a:lnTo>
                        <a:pt x="1336" y="1173"/>
                      </a:lnTo>
                      <a:lnTo>
                        <a:pt x="1337" y="1173"/>
                      </a:lnTo>
                      <a:lnTo>
                        <a:pt x="1337" y="1174"/>
                      </a:lnTo>
                      <a:lnTo>
                        <a:pt x="1336" y="1173"/>
                      </a:lnTo>
                      <a:lnTo>
                        <a:pt x="1336" y="1174"/>
                      </a:lnTo>
                      <a:lnTo>
                        <a:pt x="1336" y="1175"/>
                      </a:lnTo>
                      <a:lnTo>
                        <a:pt x="1335" y="1176"/>
                      </a:lnTo>
                      <a:lnTo>
                        <a:pt x="1335" y="1178"/>
                      </a:lnTo>
                      <a:lnTo>
                        <a:pt x="1334" y="1178"/>
                      </a:lnTo>
                      <a:lnTo>
                        <a:pt x="1334" y="1179"/>
                      </a:lnTo>
                      <a:lnTo>
                        <a:pt x="1332" y="1179"/>
                      </a:lnTo>
                      <a:lnTo>
                        <a:pt x="1334" y="1179"/>
                      </a:lnTo>
                      <a:lnTo>
                        <a:pt x="1334" y="1180"/>
                      </a:lnTo>
                      <a:lnTo>
                        <a:pt x="1332" y="1180"/>
                      </a:lnTo>
                      <a:lnTo>
                        <a:pt x="1332" y="1181"/>
                      </a:lnTo>
                      <a:lnTo>
                        <a:pt x="1332" y="1182"/>
                      </a:lnTo>
                      <a:lnTo>
                        <a:pt x="1332" y="1181"/>
                      </a:lnTo>
                      <a:lnTo>
                        <a:pt x="1331" y="1181"/>
                      </a:lnTo>
                      <a:lnTo>
                        <a:pt x="1331" y="1182"/>
                      </a:lnTo>
                      <a:lnTo>
                        <a:pt x="1332" y="1182"/>
                      </a:lnTo>
                      <a:lnTo>
                        <a:pt x="1332" y="1183"/>
                      </a:lnTo>
                      <a:lnTo>
                        <a:pt x="1331" y="1183"/>
                      </a:lnTo>
                      <a:lnTo>
                        <a:pt x="1332" y="1183"/>
                      </a:lnTo>
                      <a:lnTo>
                        <a:pt x="1331" y="1183"/>
                      </a:lnTo>
                      <a:lnTo>
                        <a:pt x="1332" y="1183"/>
                      </a:lnTo>
                      <a:lnTo>
                        <a:pt x="1331" y="1183"/>
                      </a:lnTo>
                      <a:lnTo>
                        <a:pt x="1331" y="1182"/>
                      </a:lnTo>
                      <a:lnTo>
                        <a:pt x="1331" y="1183"/>
                      </a:lnTo>
                      <a:lnTo>
                        <a:pt x="1331" y="1184"/>
                      </a:lnTo>
                      <a:lnTo>
                        <a:pt x="1331" y="1183"/>
                      </a:lnTo>
                      <a:lnTo>
                        <a:pt x="1330" y="1183"/>
                      </a:lnTo>
                      <a:lnTo>
                        <a:pt x="1330" y="1184"/>
                      </a:lnTo>
                      <a:lnTo>
                        <a:pt x="1330" y="1185"/>
                      </a:lnTo>
                      <a:lnTo>
                        <a:pt x="1329" y="1185"/>
                      </a:lnTo>
                      <a:lnTo>
                        <a:pt x="1329" y="1186"/>
                      </a:lnTo>
                      <a:lnTo>
                        <a:pt x="1329" y="1185"/>
                      </a:lnTo>
                      <a:lnTo>
                        <a:pt x="1329" y="1186"/>
                      </a:lnTo>
                      <a:lnTo>
                        <a:pt x="1328" y="1186"/>
                      </a:lnTo>
                      <a:lnTo>
                        <a:pt x="1328" y="1187"/>
                      </a:lnTo>
                      <a:lnTo>
                        <a:pt x="1327" y="1187"/>
                      </a:lnTo>
                      <a:lnTo>
                        <a:pt x="1326" y="1188"/>
                      </a:lnTo>
                      <a:lnTo>
                        <a:pt x="1325" y="1189"/>
                      </a:lnTo>
                      <a:lnTo>
                        <a:pt x="1325" y="1191"/>
                      </a:lnTo>
                      <a:lnTo>
                        <a:pt x="1324" y="1191"/>
                      </a:lnTo>
                      <a:lnTo>
                        <a:pt x="1324" y="1192"/>
                      </a:lnTo>
                      <a:lnTo>
                        <a:pt x="1323" y="1193"/>
                      </a:lnTo>
                      <a:lnTo>
                        <a:pt x="1323" y="1194"/>
                      </a:lnTo>
                      <a:lnTo>
                        <a:pt x="1322" y="1194"/>
                      </a:lnTo>
                      <a:lnTo>
                        <a:pt x="1322" y="1195"/>
                      </a:lnTo>
                      <a:lnTo>
                        <a:pt x="1322" y="1196"/>
                      </a:lnTo>
                      <a:lnTo>
                        <a:pt x="1322" y="1197"/>
                      </a:lnTo>
                      <a:lnTo>
                        <a:pt x="1321" y="1197"/>
                      </a:lnTo>
                      <a:lnTo>
                        <a:pt x="1321" y="1198"/>
                      </a:lnTo>
                      <a:lnTo>
                        <a:pt x="1319" y="1198"/>
                      </a:lnTo>
                      <a:lnTo>
                        <a:pt x="1319" y="1199"/>
                      </a:lnTo>
                      <a:lnTo>
                        <a:pt x="1319" y="1200"/>
                      </a:lnTo>
                      <a:lnTo>
                        <a:pt x="1318" y="1200"/>
                      </a:lnTo>
                      <a:lnTo>
                        <a:pt x="1318" y="1201"/>
                      </a:lnTo>
                      <a:lnTo>
                        <a:pt x="1318" y="1202"/>
                      </a:lnTo>
                      <a:lnTo>
                        <a:pt x="1317" y="1204"/>
                      </a:lnTo>
                      <a:lnTo>
                        <a:pt x="1317" y="1205"/>
                      </a:lnTo>
                      <a:lnTo>
                        <a:pt x="1316" y="1205"/>
                      </a:lnTo>
                      <a:lnTo>
                        <a:pt x="1315" y="1205"/>
                      </a:lnTo>
                      <a:lnTo>
                        <a:pt x="1315" y="1206"/>
                      </a:lnTo>
                      <a:lnTo>
                        <a:pt x="1316" y="1206"/>
                      </a:lnTo>
                      <a:lnTo>
                        <a:pt x="1315" y="1208"/>
                      </a:lnTo>
                      <a:lnTo>
                        <a:pt x="1314" y="1210"/>
                      </a:lnTo>
                      <a:lnTo>
                        <a:pt x="1313" y="1212"/>
                      </a:lnTo>
                      <a:lnTo>
                        <a:pt x="1312" y="1213"/>
                      </a:lnTo>
                      <a:lnTo>
                        <a:pt x="1312" y="1214"/>
                      </a:lnTo>
                      <a:lnTo>
                        <a:pt x="1311" y="1214"/>
                      </a:lnTo>
                      <a:lnTo>
                        <a:pt x="1310" y="1214"/>
                      </a:lnTo>
                      <a:lnTo>
                        <a:pt x="1310" y="1215"/>
                      </a:lnTo>
                      <a:lnTo>
                        <a:pt x="1310" y="1214"/>
                      </a:lnTo>
                      <a:lnTo>
                        <a:pt x="1310" y="1213"/>
                      </a:lnTo>
                      <a:lnTo>
                        <a:pt x="1310" y="1214"/>
                      </a:lnTo>
                      <a:lnTo>
                        <a:pt x="1310" y="1215"/>
                      </a:lnTo>
                      <a:lnTo>
                        <a:pt x="1309" y="1215"/>
                      </a:lnTo>
                      <a:lnTo>
                        <a:pt x="1310" y="1215"/>
                      </a:lnTo>
                      <a:lnTo>
                        <a:pt x="1309" y="1215"/>
                      </a:lnTo>
                      <a:lnTo>
                        <a:pt x="1309" y="1217"/>
                      </a:lnTo>
                      <a:lnTo>
                        <a:pt x="1310" y="1217"/>
                      </a:lnTo>
                      <a:lnTo>
                        <a:pt x="1309" y="1217"/>
                      </a:lnTo>
                      <a:lnTo>
                        <a:pt x="1309" y="1218"/>
                      </a:lnTo>
                      <a:lnTo>
                        <a:pt x="1308" y="1219"/>
                      </a:lnTo>
                      <a:lnTo>
                        <a:pt x="1306" y="1220"/>
                      </a:lnTo>
                      <a:lnTo>
                        <a:pt x="1305" y="1220"/>
                      </a:lnTo>
                      <a:lnTo>
                        <a:pt x="1304" y="1220"/>
                      </a:lnTo>
                      <a:lnTo>
                        <a:pt x="1304" y="1221"/>
                      </a:lnTo>
                      <a:lnTo>
                        <a:pt x="1305" y="1221"/>
                      </a:lnTo>
                      <a:lnTo>
                        <a:pt x="1304" y="1221"/>
                      </a:lnTo>
                      <a:lnTo>
                        <a:pt x="1304" y="1222"/>
                      </a:lnTo>
                      <a:lnTo>
                        <a:pt x="1304" y="1221"/>
                      </a:lnTo>
                      <a:lnTo>
                        <a:pt x="1304" y="1222"/>
                      </a:lnTo>
                      <a:lnTo>
                        <a:pt x="1304" y="1223"/>
                      </a:lnTo>
                      <a:lnTo>
                        <a:pt x="1303" y="1223"/>
                      </a:lnTo>
                      <a:lnTo>
                        <a:pt x="1302" y="1224"/>
                      </a:lnTo>
                      <a:lnTo>
                        <a:pt x="1301" y="1225"/>
                      </a:lnTo>
                      <a:lnTo>
                        <a:pt x="1301" y="1226"/>
                      </a:lnTo>
                      <a:lnTo>
                        <a:pt x="1300" y="1226"/>
                      </a:lnTo>
                      <a:lnTo>
                        <a:pt x="1300" y="1227"/>
                      </a:lnTo>
                      <a:lnTo>
                        <a:pt x="1300" y="1226"/>
                      </a:lnTo>
                      <a:lnTo>
                        <a:pt x="1299" y="1227"/>
                      </a:lnTo>
                      <a:lnTo>
                        <a:pt x="1300" y="1227"/>
                      </a:lnTo>
                      <a:lnTo>
                        <a:pt x="1299" y="1227"/>
                      </a:lnTo>
                      <a:lnTo>
                        <a:pt x="1299" y="1228"/>
                      </a:lnTo>
                      <a:lnTo>
                        <a:pt x="1299" y="1230"/>
                      </a:lnTo>
                      <a:lnTo>
                        <a:pt x="1298" y="1230"/>
                      </a:lnTo>
                      <a:lnTo>
                        <a:pt x="1298" y="1231"/>
                      </a:lnTo>
                      <a:lnTo>
                        <a:pt x="1297" y="1230"/>
                      </a:lnTo>
                      <a:lnTo>
                        <a:pt x="1297" y="1231"/>
                      </a:lnTo>
                      <a:lnTo>
                        <a:pt x="1298" y="1231"/>
                      </a:lnTo>
                      <a:lnTo>
                        <a:pt x="1297" y="1232"/>
                      </a:lnTo>
                      <a:lnTo>
                        <a:pt x="1296" y="1232"/>
                      </a:lnTo>
                      <a:lnTo>
                        <a:pt x="1296" y="1233"/>
                      </a:lnTo>
                      <a:lnTo>
                        <a:pt x="1295" y="1234"/>
                      </a:lnTo>
                      <a:lnTo>
                        <a:pt x="1295" y="1233"/>
                      </a:lnTo>
                      <a:lnTo>
                        <a:pt x="1295" y="1232"/>
                      </a:lnTo>
                      <a:lnTo>
                        <a:pt x="1295" y="1231"/>
                      </a:lnTo>
                      <a:lnTo>
                        <a:pt x="1296" y="1230"/>
                      </a:lnTo>
                      <a:lnTo>
                        <a:pt x="1296" y="1228"/>
                      </a:lnTo>
                      <a:lnTo>
                        <a:pt x="1297" y="1228"/>
                      </a:lnTo>
                      <a:lnTo>
                        <a:pt x="1297" y="1227"/>
                      </a:lnTo>
                      <a:lnTo>
                        <a:pt x="1298" y="1226"/>
                      </a:lnTo>
                      <a:lnTo>
                        <a:pt x="1299" y="1225"/>
                      </a:lnTo>
                      <a:lnTo>
                        <a:pt x="1299" y="1224"/>
                      </a:lnTo>
                      <a:lnTo>
                        <a:pt x="1300" y="1224"/>
                      </a:lnTo>
                      <a:lnTo>
                        <a:pt x="1300" y="1223"/>
                      </a:lnTo>
                      <a:lnTo>
                        <a:pt x="1301" y="1223"/>
                      </a:lnTo>
                      <a:lnTo>
                        <a:pt x="1301" y="1222"/>
                      </a:lnTo>
                      <a:lnTo>
                        <a:pt x="1302" y="1222"/>
                      </a:lnTo>
                      <a:lnTo>
                        <a:pt x="1302" y="1221"/>
                      </a:lnTo>
                      <a:lnTo>
                        <a:pt x="1303" y="1220"/>
                      </a:lnTo>
                      <a:lnTo>
                        <a:pt x="1303" y="1219"/>
                      </a:lnTo>
                      <a:lnTo>
                        <a:pt x="1304" y="1219"/>
                      </a:lnTo>
                      <a:lnTo>
                        <a:pt x="1304" y="1218"/>
                      </a:lnTo>
                      <a:lnTo>
                        <a:pt x="1305" y="1217"/>
                      </a:lnTo>
                      <a:lnTo>
                        <a:pt x="1306" y="1214"/>
                      </a:lnTo>
                      <a:lnTo>
                        <a:pt x="1308" y="1213"/>
                      </a:lnTo>
                      <a:lnTo>
                        <a:pt x="1309" y="1212"/>
                      </a:lnTo>
                      <a:lnTo>
                        <a:pt x="1310" y="1210"/>
                      </a:lnTo>
                      <a:lnTo>
                        <a:pt x="1311" y="1209"/>
                      </a:lnTo>
                      <a:lnTo>
                        <a:pt x="1311" y="1208"/>
                      </a:lnTo>
                      <a:lnTo>
                        <a:pt x="1312" y="1208"/>
                      </a:lnTo>
                      <a:lnTo>
                        <a:pt x="1312" y="1207"/>
                      </a:lnTo>
                      <a:lnTo>
                        <a:pt x="1313" y="1206"/>
                      </a:lnTo>
                      <a:lnTo>
                        <a:pt x="1313" y="1205"/>
                      </a:lnTo>
                      <a:lnTo>
                        <a:pt x="1314" y="1205"/>
                      </a:lnTo>
                      <a:lnTo>
                        <a:pt x="1314" y="1204"/>
                      </a:lnTo>
                      <a:lnTo>
                        <a:pt x="1315" y="1204"/>
                      </a:lnTo>
                      <a:lnTo>
                        <a:pt x="1315" y="1202"/>
                      </a:lnTo>
                      <a:lnTo>
                        <a:pt x="1315" y="1201"/>
                      </a:lnTo>
                      <a:lnTo>
                        <a:pt x="1316" y="1201"/>
                      </a:lnTo>
                      <a:lnTo>
                        <a:pt x="1316" y="1200"/>
                      </a:lnTo>
                      <a:lnTo>
                        <a:pt x="1317" y="1199"/>
                      </a:lnTo>
                      <a:lnTo>
                        <a:pt x="1317" y="1198"/>
                      </a:lnTo>
                      <a:lnTo>
                        <a:pt x="1318" y="1198"/>
                      </a:lnTo>
                      <a:lnTo>
                        <a:pt x="1319" y="1196"/>
                      </a:lnTo>
                      <a:lnTo>
                        <a:pt x="1319" y="1195"/>
                      </a:lnTo>
                      <a:lnTo>
                        <a:pt x="1321" y="1194"/>
                      </a:lnTo>
                      <a:lnTo>
                        <a:pt x="1322" y="1193"/>
                      </a:lnTo>
                      <a:lnTo>
                        <a:pt x="1323" y="1192"/>
                      </a:lnTo>
                      <a:lnTo>
                        <a:pt x="1323" y="1191"/>
                      </a:lnTo>
                      <a:lnTo>
                        <a:pt x="1324" y="1191"/>
                      </a:lnTo>
                      <a:lnTo>
                        <a:pt x="1324" y="1189"/>
                      </a:lnTo>
                      <a:lnTo>
                        <a:pt x="1325" y="1189"/>
                      </a:lnTo>
                      <a:lnTo>
                        <a:pt x="1325" y="1188"/>
                      </a:lnTo>
                      <a:lnTo>
                        <a:pt x="1325" y="1187"/>
                      </a:lnTo>
                      <a:lnTo>
                        <a:pt x="1326" y="1187"/>
                      </a:lnTo>
                      <a:lnTo>
                        <a:pt x="1326" y="1186"/>
                      </a:lnTo>
                      <a:lnTo>
                        <a:pt x="1327" y="1186"/>
                      </a:lnTo>
                      <a:lnTo>
                        <a:pt x="1327" y="1185"/>
                      </a:lnTo>
                      <a:lnTo>
                        <a:pt x="1328" y="1185"/>
                      </a:lnTo>
                      <a:lnTo>
                        <a:pt x="1328" y="1184"/>
                      </a:lnTo>
                      <a:lnTo>
                        <a:pt x="1329" y="1183"/>
                      </a:lnTo>
                      <a:lnTo>
                        <a:pt x="1329" y="1182"/>
                      </a:lnTo>
                      <a:lnTo>
                        <a:pt x="1330" y="1181"/>
                      </a:lnTo>
                      <a:lnTo>
                        <a:pt x="1331" y="1180"/>
                      </a:lnTo>
                      <a:lnTo>
                        <a:pt x="1331" y="1179"/>
                      </a:lnTo>
                      <a:lnTo>
                        <a:pt x="1332" y="1178"/>
                      </a:lnTo>
                      <a:lnTo>
                        <a:pt x="1332" y="1176"/>
                      </a:lnTo>
                      <a:lnTo>
                        <a:pt x="1334" y="1175"/>
                      </a:lnTo>
                      <a:lnTo>
                        <a:pt x="1334" y="1174"/>
                      </a:lnTo>
                      <a:lnTo>
                        <a:pt x="1335" y="1174"/>
                      </a:lnTo>
                      <a:lnTo>
                        <a:pt x="1335" y="1172"/>
                      </a:lnTo>
                      <a:lnTo>
                        <a:pt x="1336" y="1172"/>
                      </a:lnTo>
                      <a:lnTo>
                        <a:pt x="1336" y="1171"/>
                      </a:lnTo>
                      <a:lnTo>
                        <a:pt x="1337" y="1170"/>
                      </a:lnTo>
                      <a:lnTo>
                        <a:pt x="1338" y="1169"/>
                      </a:lnTo>
                      <a:lnTo>
                        <a:pt x="1338" y="1168"/>
                      </a:lnTo>
                      <a:lnTo>
                        <a:pt x="1339" y="1168"/>
                      </a:lnTo>
                      <a:lnTo>
                        <a:pt x="1339" y="1167"/>
                      </a:lnTo>
                      <a:lnTo>
                        <a:pt x="1341" y="1166"/>
                      </a:lnTo>
                      <a:lnTo>
                        <a:pt x="1342" y="1164"/>
                      </a:lnTo>
                      <a:lnTo>
                        <a:pt x="1343" y="1163"/>
                      </a:lnTo>
                      <a:lnTo>
                        <a:pt x="1344" y="1163"/>
                      </a:lnTo>
                      <a:lnTo>
                        <a:pt x="1344" y="1162"/>
                      </a:lnTo>
                      <a:lnTo>
                        <a:pt x="1345" y="1161"/>
                      </a:lnTo>
                      <a:lnTo>
                        <a:pt x="1347" y="1160"/>
                      </a:lnTo>
                      <a:lnTo>
                        <a:pt x="1348" y="1158"/>
                      </a:lnTo>
                      <a:lnTo>
                        <a:pt x="1349" y="1157"/>
                      </a:lnTo>
                      <a:lnTo>
                        <a:pt x="1350" y="1156"/>
                      </a:lnTo>
                      <a:lnTo>
                        <a:pt x="1350" y="1155"/>
                      </a:lnTo>
                      <a:lnTo>
                        <a:pt x="1351" y="1155"/>
                      </a:lnTo>
                      <a:lnTo>
                        <a:pt x="1351" y="1154"/>
                      </a:lnTo>
                      <a:lnTo>
                        <a:pt x="1351" y="1153"/>
                      </a:lnTo>
                      <a:lnTo>
                        <a:pt x="1352" y="1153"/>
                      </a:lnTo>
                      <a:lnTo>
                        <a:pt x="1352" y="1151"/>
                      </a:lnTo>
                      <a:lnTo>
                        <a:pt x="1353" y="1151"/>
                      </a:lnTo>
                      <a:lnTo>
                        <a:pt x="1353" y="1153"/>
                      </a:lnTo>
                      <a:lnTo>
                        <a:pt x="1354" y="1153"/>
                      </a:lnTo>
                      <a:close/>
                      <a:moveTo>
                        <a:pt x="1424" y="1031"/>
                      </a:moveTo>
                      <a:lnTo>
                        <a:pt x="1422" y="1031"/>
                      </a:lnTo>
                      <a:lnTo>
                        <a:pt x="1422" y="1032"/>
                      </a:lnTo>
                      <a:lnTo>
                        <a:pt x="1422" y="1033"/>
                      </a:lnTo>
                      <a:lnTo>
                        <a:pt x="1422" y="1034"/>
                      </a:lnTo>
                      <a:lnTo>
                        <a:pt x="1424" y="1034"/>
                      </a:lnTo>
                      <a:lnTo>
                        <a:pt x="1422" y="1035"/>
                      </a:lnTo>
                      <a:lnTo>
                        <a:pt x="1421" y="1035"/>
                      </a:lnTo>
                      <a:lnTo>
                        <a:pt x="1420" y="1035"/>
                      </a:lnTo>
                      <a:lnTo>
                        <a:pt x="1419" y="1034"/>
                      </a:lnTo>
                      <a:lnTo>
                        <a:pt x="1419" y="1035"/>
                      </a:lnTo>
                      <a:lnTo>
                        <a:pt x="1419" y="1037"/>
                      </a:lnTo>
                      <a:lnTo>
                        <a:pt x="1420" y="1037"/>
                      </a:lnTo>
                      <a:lnTo>
                        <a:pt x="1419" y="1037"/>
                      </a:lnTo>
                      <a:lnTo>
                        <a:pt x="1420" y="1038"/>
                      </a:lnTo>
                      <a:lnTo>
                        <a:pt x="1421" y="1038"/>
                      </a:lnTo>
                      <a:lnTo>
                        <a:pt x="1422" y="1038"/>
                      </a:lnTo>
                      <a:lnTo>
                        <a:pt x="1422" y="1039"/>
                      </a:lnTo>
                      <a:lnTo>
                        <a:pt x="1422" y="1038"/>
                      </a:lnTo>
                      <a:lnTo>
                        <a:pt x="1424" y="1038"/>
                      </a:lnTo>
                      <a:lnTo>
                        <a:pt x="1424" y="1037"/>
                      </a:lnTo>
                      <a:lnTo>
                        <a:pt x="1425" y="1037"/>
                      </a:lnTo>
                      <a:lnTo>
                        <a:pt x="1425" y="1035"/>
                      </a:lnTo>
                      <a:lnTo>
                        <a:pt x="1424" y="1035"/>
                      </a:lnTo>
                      <a:lnTo>
                        <a:pt x="1424" y="1034"/>
                      </a:lnTo>
                      <a:lnTo>
                        <a:pt x="1425" y="1034"/>
                      </a:lnTo>
                      <a:lnTo>
                        <a:pt x="1424" y="1034"/>
                      </a:lnTo>
                      <a:lnTo>
                        <a:pt x="1425" y="1034"/>
                      </a:lnTo>
                      <a:lnTo>
                        <a:pt x="1426" y="1034"/>
                      </a:lnTo>
                      <a:lnTo>
                        <a:pt x="1427" y="1034"/>
                      </a:lnTo>
                      <a:lnTo>
                        <a:pt x="1427" y="1033"/>
                      </a:lnTo>
                      <a:lnTo>
                        <a:pt x="1427" y="1034"/>
                      </a:lnTo>
                      <a:lnTo>
                        <a:pt x="1428" y="1034"/>
                      </a:lnTo>
                      <a:lnTo>
                        <a:pt x="1429" y="1033"/>
                      </a:lnTo>
                      <a:lnTo>
                        <a:pt x="1430" y="1033"/>
                      </a:lnTo>
                      <a:lnTo>
                        <a:pt x="1429" y="1033"/>
                      </a:lnTo>
                      <a:lnTo>
                        <a:pt x="1429" y="1034"/>
                      </a:lnTo>
                      <a:lnTo>
                        <a:pt x="1430" y="1034"/>
                      </a:lnTo>
                      <a:lnTo>
                        <a:pt x="1430" y="1033"/>
                      </a:lnTo>
                      <a:lnTo>
                        <a:pt x="1430" y="1034"/>
                      </a:lnTo>
                      <a:lnTo>
                        <a:pt x="1431" y="1034"/>
                      </a:lnTo>
                      <a:lnTo>
                        <a:pt x="1431" y="1033"/>
                      </a:lnTo>
                      <a:lnTo>
                        <a:pt x="1432" y="1034"/>
                      </a:lnTo>
                      <a:lnTo>
                        <a:pt x="1432" y="1033"/>
                      </a:lnTo>
                      <a:lnTo>
                        <a:pt x="1433" y="1033"/>
                      </a:lnTo>
                      <a:lnTo>
                        <a:pt x="1433" y="1034"/>
                      </a:lnTo>
                      <a:lnTo>
                        <a:pt x="1432" y="1034"/>
                      </a:lnTo>
                      <a:lnTo>
                        <a:pt x="1431" y="1034"/>
                      </a:lnTo>
                      <a:lnTo>
                        <a:pt x="1430" y="1034"/>
                      </a:lnTo>
                      <a:lnTo>
                        <a:pt x="1429" y="1035"/>
                      </a:lnTo>
                      <a:lnTo>
                        <a:pt x="1427" y="1035"/>
                      </a:lnTo>
                      <a:lnTo>
                        <a:pt x="1426" y="1035"/>
                      </a:lnTo>
                      <a:lnTo>
                        <a:pt x="1425" y="1037"/>
                      </a:lnTo>
                      <a:lnTo>
                        <a:pt x="1424" y="1038"/>
                      </a:lnTo>
                      <a:lnTo>
                        <a:pt x="1424" y="1039"/>
                      </a:lnTo>
                      <a:lnTo>
                        <a:pt x="1424" y="1038"/>
                      </a:lnTo>
                      <a:lnTo>
                        <a:pt x="1425" y="1038"/>
                      </a:lnTo>
                      <a:lnTo>
                        <a:pt x="1425" y="1037"/>
                      </a:lnTo>
                      <a:lnTo>
                        <a:pt x="1426" y="1037"/>
                      </a:lnTo>
                      <a:lnTo>
                        <a:pt x="1427" y="1035"/>
                      </a:lnTo>
                      <a:lnTo>
                        <a:pt x="1428" y="1035"/>
                      </a:lnTo>
                      <a:lnTo>
                        <a:pt x="1429" y="1035"/>
                      </a:lnTo>
                      <a:lnTo>
                        <a:pt x="1428" y="1035"/>
                      </a:lnTo>
                      <a:lnTo>
                        <a:pt x="1429" y="1035"/>
                      </a:lnTo>
                      <a:lnTo>
                        <a:pt x="1429" y="1037"/>
                      </a:lnTo>
                      <a:lnTo>
                        <a:pt x="1429" y="1035"/>
                      </a:lnTo>
                      <a:lnTo>
                        <a:pt x="1428" y="1035"/>
                      </a:lnTo>
                      <a:lnTo>
                        <a:pt x="1428" y="1037"/>
                      </a:lnTo>
                      <a:lnTo>
                        <a:pt x="1427" y="1037"/>
                      </a:lnTo>
                      <a:lnTo>
                        <a:pt x="1426" y="1037"/>
                      </a:lnTo>
                      <a:lnTo>
                        <a:pt x="1425" y="1038"/>
                      </a:lnTo>
                      <a:lnTo>
                        <a:pt x="1424" y="1039"/>
                      </a:lnTo>
                      <a:lnTo>
                        <a:pt x="1425" y="1039"/>
                      </a:lnTo>
                      <a:lnTo>
                        <a:pt x="1425" y="1040"/>
                      </a:lnTo>
                      <a:lnTo>
                        <a:pt x="1426" y="1040"/>
                      </a:lnTo>
                      <a:lnTo>
                        <a:pt x="1426" y="1041"/>
                      </a:lnTo>
                      <a:lnTo>
                        <a:pt x="1425" y="1041"/>
                      </a:lnTo>
                      <a:lnTo>
                        <a:pt x="1425" y="1040"/>
                      </a:lnTo>
                      <a:lnTo>
                        <a:pt x="1425" y="1041"/>
                      </a:lnTo>
                      <a:lnTo>
                        <a:pt x="1426" y="1041"/>
                      </a:lnTo>
                      <a:lnTo>
                        <a:pt x="1426" y="1040"/>
                      </a:lnTo>
                      <a:lnTo>
                        <a:pt x="1427" y="1040"/>
                      </a:lnTo>
                      <a:lnTo>
                        <a:pt x="1428" y="1040"/>
                      </a:lnTo>
                      <a:lnTo>
                        <a:pt x="1428" y="1041"/>
                      </a:lnTo>
                      <a:lnTo>
                        <a:pt x="1429" y="1041"/>
                      </a:lnTo>
                      <a:lnTo>
                        <a:pt x="1429" y="1040"/>
                      </a:lnTo>
                      <a:lnTo>
                        <a:pt x="1429" y="1041"/>
                      </a:lnTo>
                      <a:lnTo>
                        <a:pt x="1430" y="1041"/>
                      </a:lnTo>
                      <a:lnTo>
                        <a:pt x="1430" y="1040"/>
                      </a:lnTo>
                      <a:lnTo>
                        <a:pt x="1431" y="1040"/>
                      </a:lnTo>
                      <a:lnTo>
                        <a:pt x="1432" y="1040"/>
                      </a:lnTo>
                      <a:lnTo>
                        <a:pt x="1432" y="1039"/>
                      </a:lnTo>
                      <a:lnTo>
                        <a:pt x="1432" y="1040"/>
                      </a:lnTo>
                      <a:lnTo>
                        <a:pt x="1432" y="1041"/>
                      </a:lnTo>
                      <a:lnTo>
                        <a:pt x="1431" y="1041"/>
                      </a:lnTo>
                      <a:lnTo>
                        <a:pt x="1429" y="1042"/>
                      </a:lnTo>
                      <a:lnTo>
                        <a:pt x="1428" y="1042"/>
                      </a:lnTo>
                      <a:lnTo>
                        <a:pt x="1427" y="1042"/>
                      </a:lnTo>
                      <a:lnTo>
                        <a:pt x="1426" y="1042"/>
                      </a:lnTo>
                      <a:lnTo>
                        <a:pt x="1426" y="1043"/>
                      </a:lnTo>
                      <a:lnTo>
                        <a:pt x="1425" y="1043"/>
                      </a:lnTo>
                      <a:lnTo>
                        <a:pt x="1424" y="1044"/>
                      </a:lnTo>
                      <a:lnTo>
                        <a:pt x="1422" y="1045"/>
                      </a:lnTo>
                      <a:lnTo>
                        <a:pt x="1421" y="1046"/>
                      </a:lnTo>
                      <a:lnTo>
                        <a:pt x="1420" y="1046"/>
                      </a:lnTo>
                      <a:lnTo>
                        <a:pt x="1420" y="1047"/>
                      </a:lnTo>
                      <a:lnTo>
                        <a:pt x="1419" y="1048"/>
                      </a:lnTo>
                      <a:lnTo>
                        <a:pt x="1418" y="1048"/>
                      </a:lnTo>
                      <a:lnTo>
                        <a:pt x="1417" y="1048"/>
                      </a:lnTo>
                      <a:lnTo>
                        <a:pt x="1416" y="1048"/>
                      </a:lnTo>
                      <a:lnTo>
                        <a:pt x="1415" y="1048"/>
                      </a:lnTo>
                      <a:lnTo>
                        <a:pt x="1414" y="1048"/>
                      </a:lnTo>
                      <a:lnTo>
                        <a:pt x="1413" y="1048"/>
                      </a:lnTo>
                      <a:lnTo>
                        <a:pt x="1413" y="1047"/>
                      </a:lnTo>
                      <a:lnTo>
                        <a:pt x="1412" y="1047"/>
                      </a:lnTo>
                      <a:lnTo>
                        <a:pt x="1410" y="1047"/>
                      </a:lnTo>
                      <a:lnTo>
                        <a:pt x="1410" y="1046"/>
                      </a:lnTo>
                      <a:lnTo>
                        <a:pt x="1412" y="1045"/>
                      </a:lnTo>
                      <a:lnTo>
                        <a:pt x="1410" y="1045"/>
                      </a:lnTo>
                      <a:lnTo>
                        <a:pt x="1412" y="1045"/>
                      </a:lnTo>
                      <a:lnTo>
                        <a:pt x="1412" y="1043"/>
                      </a:lnTo>
                      <a:lnTo>
                        <a:pt x="1412" y="1042"/>
                      </a:lnTo>
                      <a:lnTo>
                        <a:pt x="1413" y="1042"/>
                      </a:lnTo>
                      <a:lnTo>
                        <a:pt x="1413" y="1041"/>
                      </a:lnTo>
                      <a:lnTo>
                        <a:pt x="1413" y="1040"/>
                      </a:lnTo>
                      <a:lnTo>
                        <a:pt x="1414" y="1040"/>
                      </a:lnTo>
                      <a:lnTo>
                        <a:pt x="1415" y="1039"/>
                      </a:lnTo>
                      <a:lnTo>
                        <a:pt x="1416" y="1039"/>
                      </a:lnTo>
                      <a:lnTo>
                        <a:pt x="1419" y="1039"/>
                      </a:lnTo>
                      <a:lnTo>
                        <a:pt x="1418" y="1039"/>
                      </a:lnTo>
                      <a:lnTo>
                        <a:pt x="1417" y="1039"/>
                      </a:lnTo>
                      <a:lnTo>
                        <a:pt x="1416" y="1039"/>
                      </a:lnTo>
                      <a:lnTo>
                        <a:pt x="1415" y="1039"/>
                      </a:lnTo>
                      <a:lnTo>
                        <a:pt x="1415" y="1038"/>
                      </a:lnTo>
                      <a:lnTo>
                        <a:pt x="1416" y="1038"/>
                      </a:lnTo>
                      <a:lnTo>
                        <a:pt x="1416" y="1037"/>
                      </a:lnTo>
                      <a:lnTo>
                        <a:pt x="1416" y="1035"/>
                      </a:lnTo>
                      <a:lnTo>
                        <a:pt x="1417" y="1035"/>
                      </a:lnTo>
                      <a:lnTo>
                        <a:pt x="1417" y="1034"/>
                      </a:lnTo>
                      <a:lnTo>
                        <a:pt x="1418" y="1034"/>
                      </a:lnTo>
                      <a:lnTo>
                        <a:pt x="1418" y="1033"/>
                      </a:lnTo>
                      <a:lnTo>
                        <a:pt x="1419" y="1033"/>
                      </a:lnTo>
                      <a:lnTo>
                        <a:pt x="1420" y="1033"/>
                      </a:lnTo>
                      <a:lnTo>
                        <a:pt x="1419" y="1033"/>
                      </a:lnTo>
                      <a:lnTo>
                        <a:pt x="1420" y="1033"/>
                      </a:lnTo>
                      <a:lnTo>
                        <a:pt x="1420" y="1032"/>
                      </a:lnTo>
                      <a:lnTo>
                        <a:pt x="1421" y="1032"/>
                      </a:lnTo>
                      <a:lnTo>
                        <a:pt x="1422" y="1031"/>
                      </a:lnTo>
                      <a:lnTo>
                        <a:pt x="1424" y="1031"/>
                      </a:lnTo>
                      <a:lnTo>
                        <a:pt x="1425" y="1030"/>
                      </a:lnTo>
                      <a:lnTo>
                        <a:pt x="1426" y="1029"/>
                      </a:lnTo>
                      <a:lnTo>
                        <a:pt x="1427" y="1029"/>
                      </a:lnTo>
                      <a:lnTo>
                        <a:pt x="1428" y="1028"/>
                      </a:lnTo>
                      <a:lnTo>
                        <a:pt x="1430" y="1027"/>
                      </a:lnTo>
                      <a:lnTo>
                        <a:pt x="1431" y="1026"/>
                      </a:lnTo>
                      <a:lnTo>
                        <a:pt x="1431" y="1025"/>
                      </a:lnTo>
                      <a:lnTo>
                        <a:pt x="1432" y="1025"/>
                      </a:lnTo>
                      <a:lnTo>
                        <a:pt x="1434" y="1024"/>
                      </a:lnTo>
                      <a:lnTo>
                        <a:pt x="1435" y="1024"/>
                      </a:lnTo>
                      <a:lnTo>
                        <a:pt x="1435" y="1022"/>
                      </a:lnTo>
                      <a:lnTo>
                        <a:pt x="1435" y="1024"/>
                      </a:lnTo>
                      <a:lnTo>
                        <a:pt x="1434" y="1024"/>
                      </a:lnTo>
                      <a:lnTo>
                        <a:pt x="1433" y="1025"/>
                      </a:lnTo>
                      <a:lnTo>
                        <a:pt x="1432" y="1025"/>
                      </a:lnTo>
                      <a:lnTo>
                        <a:pt x="1431" y="1026"/>
                      </a:lnTo>
                      <a:lnTo>
                        <a:pt x="1431" y="1027"/>
                      </a:lnTo>
                      <a:lnTo>
                        <a:pt x="1430" y="1028"/>
                      </a:lnTo>
                      <a:lnTo>
                        <a:pt x="1429" y="1028"/>
                      </a:lnTo>
                      <a:lnTo>
                        <a:pt x="1429" y="1029"/>
                      </a:lnTo>
                      <a:lnTo>
                        <a:pt x="1428" y="1029"/>
                      </a:lnTo>
                      <a:lnTo>
                        <a:pt x="1427" y="1029"/>
                      </a:lnTo>
                      <a:lnTo>
                        <a:pt x="1426" y="1029"/>
                      </a:lnTo>
                      <a:lnTo>
                        <a:pt x="1425" y="1030"/>
                      </a:lnTo>
                      <a:lnTo>
                        <a:pt x="1424" y="1031"/>
                      </a:lnTo>
                      <a:close/>
                      <a:moveTo>
                        <a:pt x="1361" y="1080"/>
                      </a:moveTo>
                      <a:lnTo>
                        <a:pt x="1362" y="1080"/>
                      </a:lnTo>
                      <a:lnTo>
                        <a:pt x="1364" y="1080"/>
                      </a:lnTo>
                      <a:lnTo>
                        <a:pt x="1365" y="1080"/>
                      </a:lnTo>
                      <a:lnTo>
                        <a:pt x="1365" y="1081"/>
                      </a:lnTo>
                      <a:lnTo>
                        <a:pt x="1366" y="1081"/>
                      </a:lnTo>
                      <a:lnTo>
                        <a:pt x="1367" y="1082"/>
                      </a:lnTo>
                      <a:lnTo>
                        <a:pt x="1369" y="1083"/>
                      </a:lnTo>
                      <a:lnTo>
                        <a:pt x="1370" y="1084"/>
                      </a:lnTo>
                      <a:lnTo>
                        <a:pt x="1371" y="1084"/>
                      </a:lnTo>
                      <a:lnTo>
                        <a:pt x="1373" y="1085"/>
                      </a:lnTo>
                      <a:lnTo>
                        <a:pt x="1374" y="1085"/>
                      </a:lnTo>
                      <a:lnTo>
                        <a:pt x="1376" y="1085"/>
                      </a:lnTo>
                      <a:lnTo>
                        <a:pt x="1377" y="1086"/>
                      </a:lnTo>
                      <a:lnTo>
                        <a:pt x="1378" y="1086"/>
                      </a:lnTo>
                      <a:lnTo>
                        <a:pt x="1378" y="1088"/>
                      </a:lnTo>
                      <a:lnTo>
                        <a:pt x="1379" y="1088"/>
                      </a:lnTo>
                      <a:lnTo>
                        <a:pt x="1380" y="1089"/>
                      </a:lnTo>
                      <a:lnTo>
                        <a:pt x="1380" y="1090"/>
                      </a:lnTo>
                      <a:lnTo>
                        <a:pt x="1379" y="1090"/>
                      </a:lnTo>
                      <a:lnTo>
                        <a:pt x="1380" y="1090"/>
                      </a:lnTo>
                      <a:lnTo>
                        <a:pt x="1379" y="1089"/>
                      </a:lnTo>
                      <a:lnTo>
                        <a:pt x="1379" y="1090"/>
                      </a:lnTo>
                      <a:lnTo>
                        <a:pt x="1378" y="1090"/>
                      </a:lnTo>
                      <a:lnTo>
                        <a:pt x="1378" y="1089"/>
                      </a:lnTo>
                      <a:lnTo>
                        <a:pt x="1377" y="1090"/>
                      </a:lnTo>
                      <a:lnTo>
                        <a:pt x="1376" y="1090"/>
                      </a:lnTo>
                      <a:lnTo>
                        <a:pt x="1377" y="1090"/>
                      </a:lnTo>
                      <a:lnTo>
                        <a:pt x="1377" y="1089"/>
                      </a:lnTo>
                      <a:lnTo>
                        <a:pt x="1377" y="1090"/>
                      </a:lnTo>
                      <a:lnTo>
                        <a:pt x="1376" y="1090"/>
                      </a:lnTo>
                      <a:lnTo>
                        <a:pt x="1376" y="1089"/>
                      </a:lnTo>
                      <a:lnTo>
                        <a:pt x="1377" y="1088"/>
                      </a:lnTo>
                      <a:lnTo>
                        <a:pt x="1377" y="1086"/>
                      </a:lnTo>
                      <a:lnTo>
                        <a:pt x="1376" y="1086"/>
                      </a:lnTo>
                      <a:lnTo>
                        <a:pt x="1375" y="1086"/>
                      </a:lnTo>
                      <a:lnTo>
                        <a:pt x="1374" y="1086"/>
                      </a:lnTo>
                      <a:lnTo>
                        <a:pt x="1374" y="1085"/>
                      </a:lnTo>
                      <a:lnTo>
                        <a:pt x="1375" y="1085"/>
                      </a:lnTo>
                      <a:lnTo>
                        <a:pt x="1374" y="1085"/>
                      </a:lnTo>
                      <a:lnTo>
                        <a:pt x="1374" y="1086"/>
                      </a:lnTo>
                      <a:lnTo>
                        <a:pt x="1375" y="1086"/>
                      </a:lnTo>
                      <a:lnTo>
                        <a:pt x="1374" y="1086"/>
                      </a:lnTo>
                      <a:lnTo>
                        <a:pt x="1373" y="1086"/>
                      </a:lnTo>
                      <a:lnTo>
                        <a:pt x="1374" y="1088"/>
                      </a:lnTo>
                      <a:lnTo>
                        <a:pt x="1374" y="1089"/>
                      </a:lnTo>
                      <a:lnTo>
                        <a:pt x="1373" y="1089"/>
                      </a:lnTo>
                      <a:lnTo>
                        <a:pt x="1373" y="1090"/>
                      </a:lnTo>
                      <a:lnTo>
                        <a:pt x="1371" y="1090"/>
                      </a:lnTo>
                      <a:lnTo>
                        <a:pt x="1371" y="1089"/>
                      </a:lnTo>
                      <a:lnTo>
                        <a:pt x="1370" y="1089"/>
                      </a:lnTo>
                      <a:lnTo>
                        <a:pt x="1371" y="1089"/>
                      </a:lnTo>
                      <a:lnTo>
                        <a:pt x="1370" y="1088"/>
                      </a:lnTo>
                      <a:lnTo>
                        <a:pt x="1370" y="1089"/>
                      </a:lnTo>
                      <a:lnTo>
                        <a:pt x="1370" y="1088"/>
                      </a:lnTo>
                      <a:lnTo>
                        <a:pt x="1370" y="1086"/>
                      </a:lnTo>
                      <a:lnTo>
                        <a:pt x="1369" y="1086"/>
                      </a:lnTo>
                      <a:lnTo>
                        <a:pt x="1369" y="1085"/>
                      </a:lnTo>
                      <a:lnTo>
                        <a:pt x="1368" y="1086"/>
                      </a:lnTo>
                      <a:lnTo>
                        <a:pt x="1368" y="1085"/>
                      </a:lnTo>
                      <a:lnTo>
                        <a:pt x="1368" y="1086"/>
                      </a:lnTo>
                      <a:lnTo>
                        <a:pt x="1369" y="1086"/>
                      </a:lnTo>
                      <a:lnTo>
                        <a:pt x="1369" y="1088"/>
                      </a:lnTo>
                      <a:lnTo>
                        <a:pt x="1368" y="1088"/>
                      </a:lnTo>
                      <a:lnTo>
                        <a:pt x="1369" y="1088"/>
                      </a:lnTo>
                      <a:lnTo>
                        <a:pt x="1369" y="1089"/>
                      </a:lnTo>
                      <a:lnTo>
                        <a:pt x="1370" y="1089"/>
                      </a:lnTo>
                      <a:lnTo>
                        <a:pt x="1370" y="1090"/>
                      </a:lnTo>
                      <a:lnTo>
                        <a:pt x="1371" y="1090"/>
                      </a:lnTo>
                      <a:lnTo>
                        <a:pt x="1373" y="1090"/>
                      </a:lnTo>
                      <a:lnTo>
                        <a:pt x="1373" y="1091"/>
                      </a:lnTo>
                      <a:lnTo>
                        <a:pt x="1371" y="1091"/>
                      </a:lnTo>
                      <a:lnTo>
                        <a:pt x="1370" y="1091"/>
                      </a:lnTo>
                      <a:lnTo>
                        <a:pt x="1369" y="1090"/>
                      </a:lnTo>
                      <a:lnTo>
                        <a:pt x="1368" y="1090"/>
                      </a:lnTo>
                      <a:lnTo>
                        <a:pt x="1368" y="1089"/>
                      </a:lnTo>
                      <a:lnTo>
                        <a:pt x="1367" y="1089"/>
                      </a:lnTo>
                      <a:lnTo>
                        <a:pt x="1368" y="1090"/>
                      </a:lnTo>
                      <a:lnTo>
                        <a:pt x="1368" y="1091"/>
                      </a:lnTo>
                      <a:lnTo>
                        <a:pt x="1369" y="1091"/>
                      </a:lnTo>
                      <a:lnTo>
                        <a:pt x="1369" y="1092"/>
                      </a:lnTo>
                      <a:lnTo>
                        <a:pt x="1370" y="1092"/>
                      </a:lnTo>
                      <a:lnTo>
                        <a:pt x="1370" y="1093"/>
                      </a:lnTo>
                      <a:lnTo>
                        <a:pt x="1371" y="1094"/>
                      </a:lnTo>
                      <a:lnTo>
                        <a:pt x="1371" y="1095"/>
                      </a:lnTo>
                      <a:lnTo>
                        <a:pt x="1373" y="1096"/>
                      </a:lnTo>
                      <a:lnTo>
                        <a:pt x="1371" y="1096"/>
                      </a:lnTo>
                      <a:lnTo>
                        <a:pt x="1373" y="1096"/>
                      </a:lnTo>
                      <a:lnTo>
                        <a:pt x="1373" y="1097"/>
                      </a:lnTo>
                      <a:lnTo>
                        <a:pt x="1374" y="1097"/>
                      </a:lnTo>
                      <a:lnTo>
                        <a:pt x="1374" y="1098"/>
                      </a:lnTo>
                      <a:lnTo>
                        <a:pt x="1374" y="1097"/>
                      </a:lnTo>
                      <a:lnTo>
                        <a:pt x="1374" y="1098"/>
                      </a:lnTo>
                      <a:lnTo>
                        <a:pt x="1374" y="1099"/>
                      </a:lnTo>
                      <a:lnTo>
                        <a:pt x="1375" y="1099"/>
                      </a:lnTo>
                      <a:lnTo>
                        <a:pt x="1375" y="1101"/>
                      </a:lnTo>
                      <a:lnTo>
                        <a:pt x="1375" y="1102"/>
                      </a:lnTo>
                      <a:lnTo>
                        <a:pt x="1376" y="1102"/>
                      </a:lnTo>
                      <a:lnTo>
                        <a:pt x="1377" y="1102"/>
                      </a:lnTo>
                      <a:lnTo>
                        <a:pt x="1377" y="1103"/>
                      </a:lnTo>
                      <a:lnTo>
                        <a:pt x="1376" y="1103"/>
                      </a:lnTo>
                      <a:lnTo>
                        <a:pt x="1377" y="1103"/>
                      </a:lnTo>
                      <a:lnTo>
                        <a:pt x="1377" y="1104"/>
                      </a:lnTo>
                      <a:lnTo>
                        <a:pt x="1377" y="1105"/>
                      </a:lnTo>
                      <a:lnTo>
                        <a:pt x="1378" y="1105"/>
                      </a:lnTo>
                      <a:lnTo>
                        <a:pt x="1379" y="1106"/>
                      </a:lnTo>
                      <a:lnTo>
                        <a:pt x="1380" y="1106"/>
                      </a:lnTo>
                      <a:lnTo>
                        <a:pt x="1380" y="1107"/>
                      </a:lnTo>
                      <a:lnTo>
                        <a:pt x="1381" y="1107"/>
                      </a:lnTo>
                      <a:lnTo>
                        <a:pt x="1382" y="1107"/>
                      </a:lnTo>
                      <a:lnTo>
                        <a:pt x="1383" y="1107"/>
                      </a:lnTo>
                      <a:lnTo>
                        <a:pt x="1383" y="1108"/>
                      </a:lnTo>
                      <a:lnTo>
                        <a:pt x="1384" y="1107"/>
                      </a:lnTo>
                      <a:lnTo>
                        <a:pt x="1384" y="1108"/>
                      </a:lnTo>
                      <a:lnTo>
                        <a:pt x="1386" y="1108"/>
                      </a:lnTo>
                      <a:lnTo>
                        <a:pt x="1386" y="1107"/>
                      </a:lnTo>
                      <a:lnTo>
                        <a:pt x="1386" y="1108"/>
                      </a:lnTo>
                      <a:lnTo>
                        <a:pt x="1384" y="1108"/>
                      </a:lnTo>
                      <a:lnTo>
                        <a:pt x="1384" y="1109"/>
                      </a:lnTo>
                      <a:lnTo>
                        <a:pt x="1386" y="1109"/>
                      </a:lnTo>
                      <a:lnTo>
                        <a:pt x="1386" y="1108"/>
                      </a:lnTo>
                      <a:lnTo>
                        <a:pt x="1387" y="1108"/>
                      </a:lnTo>
                      <a:lnTo>
                        <a:pt x="1387" y="1109"/>
                      </a:lnTo>
                      <a:lnTo>
                        <a:pt x="1388" y="1109"/>
                      </a:lnTo>
                      <a:lnTo>
                        <a:pt x="1388" y="1108"/>
                      </a:lnTo>
                      <a:lnTo>
                        <a:pt x="1389" y="1108"/>
                      </a:lnTo>
                      <a:lnTo>
                        <a:pt x="1389" y="1107"/>
                      </a:lnTo>
                      <a:lnTo>
                        <a:pt x="1389" y="1108"/>
                      </a:lnTo>
                      <a:lnTo>
                        <a:pt x="1389" y="1109"/>
                      </a:lnTo>
                      <a:lnTo>
                        <a:pt x="1390" y="1109"/>
                      </a:lnTo>
                      <a:lnTo>
                        <a:pt x="1388" y="1109"/>
                      </a:lnTo>
                      <a:lnTo>
                        <a:pt x="1387" y="1110"/>
                      </a:lnTo>
                      <a:lnTo>
                        <a:pt x="1386" y="1109"/>
                      </a:lnTo>
                      <a:lnTo>
                        <a:pt x="1384" y="1109"/>
                      </a:lnTo>
                      <a:lnTo>
                        <a:pt x="1383" y="1110"/>
                      </a:lnTo>
                      <a:lnTo>
                        <a:pt x="1382" y="1109"/>
                      </a:lnTo>
                      <a:lnTo>
                        <a:pt x="1381" y="1109"/>
                      </a:lnTo>
                      <a:lnTo>
                        <a:pt x="1381" y="1108"/>
                      </a:lnTo>
                      <a:lnTo>
                        <a:pt x="1380" y="1108"/>
                      </a:lnTo>
                      <a:lnTo>
                        <a:pt x="1379" y="1108"/>
                      </a:lnTo>
                      <a:lnTo>
                        <a:pt x="1378" y="1108"/>
                      </a:lnTo>
                      <a:lnTo>
                        <a:pt x="1379" y="1107"/>
                      </a:lnTo>
                      <a:lnTo>
                        <a:pt x="1378" y="1107"/>
                      </a:lnTo>
                      <a:lnTo>
                        <a:pt x="1378" y="1106"/>
                      </a:lnTo>
                      <a:lnTo>
                        <a:pt x="1377" y="1106"/>
                      </a:lnTo>
                      <a:lnTo>
                        <a:pt x="1377" y="1105"/>
                      </a:lnTo>
                      <a:lnTo>
                        <a:pt x="1376" y="1105"/>
                      </a:lnTo>
                      <a:lnTo>
                        <a:pt x="1375" y="1105"/>
                      </a:lnTo>
                      <a:lnTo>
                        <a:pt x="1374" y="1104"/>
                      </a:lnTo>
                      <a:lnTo>
                        <a:pt x="1374" y="1103"/>
                      </a:lnTo>
                      <a:lnTo>
                        <a:pt x="1373" y="1103"/>
                      </a:lnTo>
                      <a:lnTo>
                        <a:pt x="1373" y="1104"/>
                      </a:lnTo>
                      <a:lnTo>
                        <a:pt x="1373" y="1103"/>
                      </a:lnTo>
                      <a:lnTo>
                        <a:pt x="1371" y="1103"/>
                      </a:lnTo>
                      <a:lnTo>
                        <a:pt x="1370" y="1102"/>
                      </a:lnTo>
                      <a:lnTo>
                        <a:pt x="1371" y="1102"/>
                      </a:lnTo>
                      <a:lnTo>
                        <a:pt x="1371" y="1103"/>
                      </a:lnTo>
                      <a:lnTo>
                        <a:pt x="1371" y="1102"/>
                      </a:lnTo>
                      <a:lnTo>
                        <a:pt x="1370" y="1101"/>
                      </a:lnTo>
                      <a:lnTo>
                        <a:pt x="1369" y="1101"/>
                      </a:lnTo>
                      <a:lnTo>
                        <a:pt x="1369" y="1099"/>
                      </a:lnTo>
                      <a:lnTo>
                        <a:pt x="1368" y="1099"/>
                      </a:lnTo>
                      <a:lnTo>
                        <a:pt x="1368" y="1098"/>
                      </a:lnTo>
                      <a:lnTo>
                        <a:pt x="1368" y="1097"/>
                      </a:lnTo>
                      <a:lnTo>
                        <a:pt x="1367" y="1096"/>
                      </a:lnTo>
                      <a:lnTo>
                        <a:pt x="1366" y="1095"/>
                      </a:lnTo>
                      <a:lnTo>
                        <a:pt x="1366" y="1094"/>
                      </a:lnTo>
                      <a:lnTo>
                        <a:pt x="1366" y="1093"/>
                      </a:lnTo>
                      <a:lnTo>
                        <a:pt x="1366" y="1092"/>
                      </a:lnTo>
                      <a:lnTo>
                        <a:pt x="1365" y="1092"/>
                      </a:lnTo>
                      <a:lnTo>
                        <a:pt x="1365" y="1091"/>
                      </a:lnTo>
                      <a:lnTo>
                        <a:pt x="1365" y="1090"/>
                      </a:lnTo>
                      <a:lnTo>
                        <a:pt x="1365" y="1089"/>
                      </a:lnTo>
                      <a:lnTo>
                        <a:pt x="1364" y="1089"/>
                      </a:lnTo>
                      <a:lnTo>
                        <a:pt x="1364" y="1088"/>
                      </a:lnTo>
                      <a:lnTo>
                        <a:pt x="1364" y="1086"/>
                      </a:lnTo>
                      <a:lnTo>
                        <a:pt x="1364" y="1085"/>
                      </a:lnTo>
                      <a:lnTo>
                        <a:pt x="1363" y="1085"/>
                      </a:lnTo>
                      <a:lnTo>
                        <a:pt x="1363" y="1084"/>
                      </a:lnTo>
                      <a:lnTo>
                        <a:pt x="1362" y="1083"/>
                      </a:lnTo>
                      <a:lnTo>
                        <a:pt x="1362" y="1082"/>
                      </a:lnTo>
                      <a:lnTo>
                        <a:pt x="1362" y="1081"/>
                      </a:lnTo>
                      <a:lnTo>
                        <a:pt x="1361" y="1080"/>
                      </a:lnTo>
                      <a:close/>
                      <a:moveTo>
                        <a:pt x="1448" y="1038"/>
                      </a:moveTo>
                      <a:lnTo>
                        <a:pt x="1447" y="1039"/>
                      </a:lnTo>
                      <a:lnTo>
                        <a:pt x="1446" y="1039"/>
                      </a:lnTo>
                      <a:lnTo>
                        <a:pt x="1445" y="1041"/>
                      </a:lnTo>
                      <a:lnTo>
                        <a:pt x="1444" y="1041"/>
                      </a:lnTo>
                      <a:lnTo>
                        <a:pt x="1444" y="1042"/>
                      </a:lnTo>
                      <a:lnTo>
                        <a:pt x="1443" y="1042"/>
                      </a:lnTo>
                      <a:lnTo>
                        <a:pt x="1443" y="1043"/>
                      </a:lnTo>
                      <a:lnTo>
                        <a:pt x="1440" y="1043"/>
                      </a:lnTo>
                      <a:lnTo>
                        <a:pt x="1439" y="1043"/>
                      </a:lnTo>
                      <a:lnTo>
                        <a:pt x="1438" y="1043"/>
                      </a:lnTo>
                      <a:lnTo>
                        <a:pt x="1435" y="1043"/>
                      </a:lnTo>
                      <a:lnTo>
                        <a:pt x="1431" y="1043"/>
                      </a:lnTo>
                      <a:lnTo>
                        <a:pt x="1430" y="1043"/>
                      </a:lnTo>
                      <a:lnTo>
                        <a:pt x="1429" y="1043"/>
                      </a:lnTo>
                      <a:lnTo>
                        <a:pt x="1429" y="1044"/>
                      </a:lnTo>
                      <a:lnTo>
                        <a:pt x="1428" y="1044"/>
                      </a:lnTo>
                      <a:lnTo>
                        <a:pt x="1427" y="1043"/>
                      </a:lnTo>
                      <a:lnTo>
                        <a:pt x="1428" y="1044"/>
                      </a:lnTo>
                      <a:lnTo>
                        <a:pt x="1427" y="1044"/>
                      </a:lnTo>
                      <a:lnTo>
                        <a:pt x="1427" y="1045"/>
                      </a:lnTo>
                      <a:lnTo>
                        <a:pt x="1426" y="1045"/>
                      </a:lnTo>
                      <a:lnTo>
                        <a:pt x="1426" y="1046"/>
                      </a:lnTo>
                      <a:lnTo>
                        <a:pt x="1426" y="1047"/>
                      </a:lnTo>
                      <a:lnTo>
                        <a:pt x="1427" y="1047"/>
                      </a:lnTo>
                      <a:lnTo>
                        <a:pt x="1427" y="1048"/>
                      </a:lnTo>
                      <a:lnTo>
                        <a:pt x="1426" y="1048"/>
                      </a:lnTo>
                      <a:lnTo>
                        <a:pt x="1425" y="1048"/>
                      </a:lnTo>
                      <a:lnTo>
                        <a:pt x="1425" y="1047"/>
                      </a:lnTo>
                      <a:lnTo>
                        <a:pt x="1426" y="1047"/>
                      </a:lnTo>
                      <a:lnTo>
                        <a:pt x="1425" y="1047"/>
                      </a:lnTo>
                      <a:lnTo>
                        <a:pt x="1424" y="1047"/>
                      </a:lnTo>
                      <a:lnTo>
                        <a:pt x="1425" y="1047"/>
                      </a:lnTo>
                      <a:lnTo>
                        <a:pt x="1425" y="1048"/>
                      </a:lnTo>
                      <a:lnTo>
                        <a:pt x="1426" y="1048"/>
                      </a:lnTo>
                      <a:lnTo>
                        <a:pt x="1426" y="1050"/>
                      </a:lnTo>
                      <a:lnTo>
                        <a:pt x="1426" y="1051"/>
                      </a:lnTo>
                      <a:lnTo>
                        <a:pt x="1425" y="1051"/>
                      </a:lnTo>
                      <a:lnTo>
                        <a:pt x="1425" y="1050"/>
                      </a:lnTo>
                      <a:lnTo>
                        <a:pt x="1424" y="1050"/>
                      </a:lnTo>
                      <a:lnTo>
                        <a:pt x="1425" y="1050"/>
                      </a:lnTo>
                      <a:lnTo>
                        <a:pt x="1424" y="1048"/>
                      </a:lnTo>
                      <a:lnTo>
                        <a:pt x="1424" y="1050"/>
                      </a:lnTo>
                      <a:lnTo>
                        <a:pt x="1424" y="1048"/>
                      </a:lnTo>
                      <a:lnTo>
                        <a:pt x="1424" y="1047"/>
                      </a:lnTo>
                      <a:lnTo>
                        <a:pt x="1422" y="1047"/>
                      </a:lnTo>
                      <a:lnTo>
                        <a:pt x="1422" y="1048"/>
                      </a:lnTo>
                      <a:lnTo>
                        <a:pt x="1421" y="1048"/>
                      </a:lnTo>
                      <a:lnTo>
                        <a:pt x="1421" y="1050"/>
                      </a:lnTo>
                      <a:lnTo>
                        <a:pt x="1420" y="1051"/>
                      </a:lnTo>
                      <a:lnTo>
                        <a:pt x="1420" y="1052"/>
                      </a:lnTo>
                      <a:lnTo>
                        <a:pt x="1421" y="1052"/>
                      </a:lnTo>
                      <a:lnTo>
                        <a:pt x="1422" y="1052"/>
                      </a:lnTo>
                      <a:lnTo>
                        <a:pt x="1424" y="1052"/>
                      </a:lnTo>
                      <a:lnTo>
                        <a:pt x="1424" y="1051"/>
                      </a:lnTo>
                      <a:lnTo>
                        <a:pt x="1424" y="1050"/>
                      </a:lnTo>
                      <a:lnTo>
                        <a:pt x="1425" y="1051"/>
                      </a:lnTo>
                      <a:lnTo>
                        <a:pt x="1426" y="1051"/>
                      </a:lnTo>
                      <a:lnTo>
                        <a:pt x="1426" y="1052"/>
                      </a:lnTo>
                      <a:lnTo>
                        <a:pt x="1425" y="1052"/>
                      </a:lnTo>
                      <a:lnTo>
                        <a:pt x="1426" y="1052"/>
                      </a:lnTo>
                      <a:lnTo>
                        <a:pt x="1427" y="1052"/>
                      </a:lnTo>
                      <a:lnTo>
                        <a:pt x="1427" y="1051"/>
                      </a:lnTo>
                      <a:lnTo>
                        <a:pt x="1427" y="1052"/>
                      </a:lnTo>
                      <a:lnTo>
                        <a:pt x="1427" y="1053"/>
                      </a:lnTo>
                      <a:lnTo>
                        <a:pt x="1428" y="1053"/>
                      </a:lnTo>
                      <a:lnTo>
                        <a:pt x="1428" y="1054"/>
                      </a:lnTo>
                      <a:lnTo>
                        <a:pt x="1429" y="1054"/>
                      </a:lnTo>
                      <a:lnTo>
                        <a:pt x="1430" y="1054"/>
                      </a:lnTo>
                      <a:lnTo>
                        <a:pt x="1429" y="1054"/>
                      </a:lnTo>
                      <a:lnTo>
                        <a:pt x="1428" y="1054"/>
                      </a:lnTo>
                      <a:lnTo>
                        <a:pt x="1427" y="1054"/>
                      </a:lnTo>
                      <a:lnTo>
                        <a:pt x="1426" y="1054"/>
                      </a:lnTo>
                      <a:lnTo>
                        <a:pt x="1426" y="1053"/>
                      </a:lnTo>
                      <a:lnTo>
                        <a:pt x="1426" y="1054"/>
                      </a:lnTo>
                      <a:lnTo>
                        <a:pt x="1425" y="1053"/>
                      </a:lnTo>
                      <a:lnTo>
                        <a:pt x="1425" y="1054"/>
                      </a:lnTo>
                      <a:lnTo>
                        <a:pt x="1424" y="1054"/>
                      </a:lnTo>
                      <a:lnTo>
                        <a:pt x="1422" y="1055"/>
                      </a:lnTo>
                      <a:lnTo>
                        <a:pt x="1422" y="1056"/>
                      </a:lnTo>
                      <a:lnTo>
                        <a:pt x="1421" y="1056"/>
                      </a:lnTo>
                      <a:lnTo>
                        <a:pt x="1420" y="1056"/>
                      </a:lnTo>
                      <a:lnTo>
                        <a:pt x="1420" y="1057"/>
                      </a:lnTo>
                      <a:lnTo>
                        <a:pt x="1419" y="1057"/>
                      </a:lnTo>
                      <a:lnTo>
                        <a:pt x="1419" y="1056"/>
                      </a:lnTo>
                      <a:lnTo>
                        <a:pt x="1419" y="1055"/>
                      </a:lnTo>
                      <a:lnTo>
                        <a:pt x="1420" y="1055"/>
                      </a:lnTo>
                      <a:lnTo>
                        <a:pt x="1420" y="1054"/>
                      </a:lnTo>
                      <a:lnTo>
                        <a:pt x="1419" y="1054"/>
                      </a:lnTo>
                      <a:lnTo>
                        <a:pt x="1419" y="1055"/>
                      </a:lnTo>
                      <a:lnTo>
                        <a:pt x="1418" y="1055"/>
                      </a:lnTo>
                      <a:lnTo>
                        <a:pt x="1418" y="1054"/>
                      </a:lnTo>
                      <a:lnTo>
                        <a:pt x="1417" y="1054"/>
                      </a:lnTo>
                      <a:lnTo>
                        <a:pt x="1417" y="1055"/>
                      </a:lnTo>
                      <a:lnTo>
                        <a:pt x="1418" y="1055"/>
                      </a:lnTo>
                      <a:lnTo>
                        <a:pt x="1417" y="1055"/>
                      </a:lnTo>
                      <a:lnTo>
                        <a:pt x="1416" y="1055"/>
                      </a:lnTo>
                      <a:lnTo>
                        <a:pt x="1416" y="1056"/>
                      </a:lnTo>
                      <a:lnTo>
                        <a:pt x="1415" y="1056"/>
                      </a:lnTo>
                      <a:lnTo>
                        <a:pt x="1416" y="1056"/>
                      </a:lnTo>
                      <a:lnTo>
                        <a:pt x="1415" y="1057"/>
                      </a:lnTo>
                      <a:lnTo>
                        <a:pt x="1415" y="1058"/>
                      </a:lnTo>
                      <a:lnTo>
                        <a:pt x="1414" y="1058"/>
                      </a:lnTo>
                      <a:lnTo>
                        <a:pt x="1414" y="1059"/>
                      </a:lnTo>
                      <a:lnTo>
                        <a:pt x="1415" y="1059"/>
                      </a:lnTo>
                      <a:lnTo>
                        <a:pt x="1415" y="1060"/>
                      </a:lnTo>
                      <a:lnTo>
                        <a:pt x="1415" y="1059"/>
                      </a:lnTo>
                      <a:lnTo>
                        <a:pt x="1416" y="1060"/>
                      </a:lnTo>
                      <a:lnTo>
                        <a:pt x="1415" y="1060"/>
                      </a:lnTo>
                      <a:lnTo>
                        <a:pt x="1415" y="1061"/>
                      </a:lnTo>
                      <a:lnTo>
                        <a:pt x="1415" y="1063"/>
                      </a:lnTo>
                      <a:lnTo>
                        <a:pt x="1415" y="1061"/>
                      </a:lnTo>
                      <a:lnTo>
                        <a:pt x="1416" y="1060"/>
                      </a:lnTo>
                      <a:lnTo>
                        <a:pt x="1417" y="1060"/>
                      </a:lnTo>
                      <a:lnTo>
                        <a:pt x="1418" y="1060"/>
                      </a:lnTo>
                      <a:lnTo>
                        <a:pt x="1417" y="1060"/>
                      </a:lnTo>
                      <a:lnTo>
                        <a:pt x="1417" y="1061"/>
                      </a:lnTo>
                      <a:lnTo>
                        <a:pt x="1416" y="1061"/>
                      </a:lnTo>
                      <a:lnTo>
                        <a:pt x="1416" y="1063"/>
                      </a:lnTo>
                      <a:lnTo>
                        <a:pt x="1417" y="1063"/>
                      </a:lnTo>
                      <a:lnTo>
                        <a:pt x="1418" y="1063"/>
                      </a:lnTo>
                      <a:lnTo>
                        <a:pt x="1417" y="1064"/>
                      </a:lnTo>
                      <a:lnTo>
                        <a:pt x="1418" y="1064"/>
                      </a:lnTo>
                      <a:lnTo>
                        <a:pt x="1418" y="1063"/>
                      </a:lnTo>
                      <a:lnTo>
                        <a:pt x="1419" y="1063"/>
                      </a:lnTo>
                      <a:lnTo>
                        <a:pt x="1419" y="1061"/>
                      </a:lnTo>
                      <a:lnTo>
                        <a:pt x="1418" y="1061"/>
                      </a:lnTo>
                      <a:lnTo>
                        <a:pt x="1418" y="1060"/>
                      </a:lnTo>
                      <a:lnTo>
                        <a:pt x="1419" y="1060"/>
                      </a:lnTo>
                      <a:lnTo>
                        <a:pt x="1419" y="1061"/>
                      </a:lnTo>
                      <a:lnTo>
                        <a:pt x="1419" y="1060"/>
                      </a:lnTo>
                      <a:lnTo>
                        <a:pt x="1420" y="1060"/>
                      </a:lnTo>
                      <a:lnTo>
                        <a:pt x="1420" y="1061"/>
                      </a:lnTo>
                      <a:lnTo>
                        <a:pt x="1421" y="1061"/>
                      </a:lnTo>
                      <a:lnTo>
                        <a:pt x="1421" y="1060"/>
                      </a:lnTo>
                      <a:lnTo>
                        <a:pt x="1422" y="1060"/>
                      </a:lnTo>
                      <a:lnTo>
                        <a:pt x="1422" y="1059"/>
                      </a:lnTo>
                      <a:lnTo>
                        <a:pt x="1424" y="1059"/>
                      </a:lnTo>
                      <a:lnTo>
                        <a:pt x="1425" y="1059"/>
                      </a:lnTo>
                      <a:lnTo>
                        <a:pt x="1424" y="1059"/>
                      </a:lnTo>
                      <a:lnTo>
                        <a:pt x="1422" y="1059"/>
                      </a:lnTo>
                      <a:lnTo>
                        <a:pt x="1422" y="1058"/>
                      </a:lnTo>
                      <a:lnTo>
                        <a:pt x="1422" y="1057"/>
                      </a:lnTo>
                      <a:lnTo>
                        <a:pt x="1422" y="1056"/>
                      </a:lnTo>
                      <a:lnTo>
                        <a:pt x="1424" y="1055"/>
                      </a:lnTo>
                      <a:lnTo>
                        <a:pt x="1425" y="1055"/>
                      </a:lnTo>
                      <a:lnTo>
                        <a:pt x="1425" y="1056"/>
                      </a:lnTo>
                      <a:lnTo>
                        <a:pt x="1425" y="1055"/>
                      </a:lnTo>
                      <a:lnTo>
                        <a:pt x="1426" y="1056"/>
                      </a:lnTo>
                      <a:lnTo>
                        <a:pt x="1426" y="1057"/>
                      </a:lnTo>
                      <a:lnTo>
                        <a:pt x="1425" y="1057"/>
                      </a:lnTo>
                      <a:lnTo>
                        <a:pt x="1426" y="1057"/>
                      </a:lnTo>
                      <a:lnTo>
                        <a:pt x="1427" y="1058"/>
                      </a:lnTo>
                      <a:lnTo>
                        <a:pt x="1427" y="1057"/>
                      </a:lnTo>
                      <a:lnTo>
                        <a:pt x="1427" y="1056"/>
                      </a:lnTo>
                      <a:lnTo>
                        <a:pt x="1426" y="1056"/>
                      </a:lnTo>
                      <a:lnTo>
                        <a:pt x="1427" y="1056"/>
                      </a:lnTo>
                      <a:lnTo>
                        <a:pt x="1428" y="1056"/>
                      </a:lnTo>
                      <a:lnTo>
                        <a:pt x="1429" y="1056"/>
                      </a:lnTo>
                      <a:lnTo>
                        <a:pt x="1430" y="1056"/>
                      </a:lnTo>
                      <a:lnTo>
                        <a:pt x="1431" y="1054"/>
                      </a:lnTo>
                      <a:lnTo>
                        <a:pt x="1432" y="1054"/>
                      </a:lnTo>
                      <a:lnTo>
                        <a:pt x="1431" y="1055"/>
                      </a:lnTo>
                      <a:lnTo>
                        <a:pt x="1430" y="1056"/>
                      </a:lnTo>
                      <a:lnTo>
                        <a:pt x="1429" y="1056"/>
                      </a:lnTo>
                      <a:lnTo>
                        <a:pt x="1429" y="1057"/>
                      </a:lnTo>
                      <a:lnTo>
                        <a:pt x="1428" y="1058"/>
                      </a:lnTo>
                      <a:lnTo>
                        <a:pt x="1428" y="1059"/>
                      </a:lnTo>
                      <a:lnTo>
                        <a:pt x="1427" y="1059"/>
                      </a:lnTo>
                      <a:lnTo>
                        <a:pt x="1426" y="1060"/>
                      </a:lnTo>
                      <a:lnTo>
                        <a:pt x="1425" y="1060"/>
                      </a:lnTo>
                      <a:lnTo>
                        <a:pt x="1424" y="1060"/>
                      </a:lnTo>
                      <a:lnTo>
                        <a:pt x="1424" y="1061"/>
                      </a:lnTo>
                      <a:lnTo>
                        <a:pt x="1422" y="1061"/>
                      </a:lnTo>
                      <a:lnTo>
                        <a:pt x="1422" y="1063"/>
                      </a:lnTo>
                      <a:lnTo>
                        <a:pt x="1421" y="1063"/>
                      </a:lnTo>
                      <a:lnTo>
                        <a:pt x="1420" y="1063"/>
                      </a:lnTo>
                      <a:lnTo>
                        <a:pt x="1419" y="1063"/>
                      </a:lnTo>
                      <a:lnTo>
                        <a:pt x="1418" y="1064"/>
                      </a:lnTo>
                      <a:lnTo>
                        <a:pt x="1417" y="1065"/>
                      </a:lnTo>
                      <a:lnTo>
                        <a:pt x="1415" y="1065"/>
                      </a:lnTo>
                      <a:lnTo>
                        <a:pt x="1415" y="1064"/>
                      </a:lnTo>
                      <a:lnTo>
                        <a:pt x="1415" y="1063"/>
                      </a:lnTo>
                      <a:lnTo>
                        <a:pt x="1416" y="1063"/>
                      </a:lnTo>
                      <a:lnTo>
                        <a:pt x="1416" y="1061"/>
                      </a:lnTo>
                      <a:lnTo>
                        <a:pt x="1416" y="1060"/>
                      </a:lnTo>
                      <a:lnTo>
                        <a:pt x="1416" y="1061"/>
                      </a:lnTo>
                      <a:lnTo>
                        <a:pt x="1416" y="1063"/>
                      </a:lnTo>
                      <a:lnTo>
                        <a:pt x="1415" y="1063"/>
                      </a:lnTo>
                      <a:lnTo>
                        <a:pt x="1415" y="1064"/>
                      </a:lnTo>
                      <a:lnTo>
                        <a:pt x="1415" y="1065"/>
                      </a:lnTo>
                      <a:lnTo>
                        <a:pt x="1414" y="1065"/>
                      </a:lnTo>
                      <a:lnTo>
                        <a:pt x="1414" y="1064"/>
                      </a:lnTo>
                      <a:lnTo>
                        <a:pt x="1413" y="1064"/>
                      </a:lnTo>
                      <a:lnTo>
                        <a:pt x="1410" y="1064"/>
                      </a:lnTo>
                      <a:lnTo>
                        <a:pt x="1409" y="1063"/>
                      </a:lnTo>
                      <a:lnTo>
                        <a:pt x="1408" y="1063"/>
                      </a:lnTo>
                      <a:lnTo>
                        <a:pt x="1408" y="1061"/>
                      </a:lnTo>
                      <a:lnTo>
                        <a:pt x="1407" y="1061"/>
                      </a:lnTo>
                      <a:lnTo>
                        <a:pt x="1408" y="1061"/>
                      </a:lnTo>
                      <a:lnTo>
                        <a:pt x="1408" y="1060"/>
                      </a:lnTo>
                      <a:lnTo>
                        <a:pt x="1408" y="1059"/>
                      </a:lnTo>
                      <a:lnTo>
                        <a:pt x="1409" y="1059"/>
                      </a:lnTo>
                      <a:lnTo>
                        <a:pt x="1409" y="1058"/>
                      </a:lnTo>
                      <a:lnTo>
                        <a:pt x="1412" y="1057"/>
                      </a:lnTo>
                      <a:lnTo>
                        <a:pt x="1413" y="1057"/>
                      </a:lnTo>
                      <a:lnTo>
                        <a:pt x="1412" y="1057"/>
                      </a:lnTo>
                      <a:lnTo>
                        <a:pt x="1412" y="1058"/>
                      </a:lnTo>
                      <a:lnTo>
                        <a:pt x="1413" y="1058"/>
                      </a:lnTo>
                      <a:lnTo>
                        <a:pt x="1413" y="1057"/>
                      </a:lnTo>
                      <a:lnTo>
                        <a:pt x="1414" y="1056"/>
                      </a:lnTo>
                      <a:lnTo>
                        <a:pt x="1414" y="1057"/>
                      </a:lnTo>
                      <a:lnTo>
                        <a:pt x="1414" y="1056"/>
                      </a:lnTo>
                      <a:lnTo>
                        <a:pt x="1417" y="1054"/>
                      </a:lnTo>
                      <a:lnTo>
                        <a:pt x="1417" y="1053"/>
                      </a:lnTo>
                      <a:lnTo>
                        <a:pt x="1417" y="1052"/>
                      </a:lnTo>
                      <a:lnTo>
                        <a:pt x="1418" y="1051"/>
                      </a:lnTo>
                      <a:lnTo>
                        <a:pt x="1418" y="1050"/>
                      </a:lnTo>
                      <a:lnTo>
                        <a:pt x="1419" y="1048"/>
                      </a:lnTo>
                      <a:lnTo>
                        <a:pt x="1420" y="1048"/>
                      </a:lnTo>
                      <a:lnTo>
                        <a:pt x="1421" y="1047"/>
                      </a:lnTo>
                      <a:lnTo>
                        <a:pt x="1422" y="1046"/>
                      </a:lnTo>
                      <a:lnTo>
                        <a:pt x="1422" y="1045"/>
                      </a:lnTo>
                      <a:lnTo>
                        <a:pt x="1424" y="1045"/>
                      </a:lnTo>
                      <a:lnTo>
                        <a:pt x="1425" y="1045"/>
                      </a:lnTo>
                      <a:lnTo>
                        <a:pt x="1426" y="1044"/>
                      </a:lnTo>
                      <a:lnTo>
                        <a:pt x="1427" y="1043"/>
                      </a:lnTo>
                      <a:lnTo>
                        <a:pt x="1429" y="1043"/>
                      </a:lnTo>
                      <a:lnTo>
                        <a:pt x="1430" y="1042"/>
                      </a:lnTo>
                      <a:lnTo>
                        <a:pt x="1433" y="1042"/>
                      </a:lnTo>
                      <a:lnTo>
                        <a:pt x="1434" y="1042"/>
                      </a:lnTo>
                      <a:lnTo>
                        <a:pt x="1435" y="1042"/>
                      </a:lnTo>
                      <a:lnTo>
                        <a:pt x="1437" y="1042"/>
                      </a:lnTo>
                      <a:lnTo>
                        <a:pt x="1438" y="1042"/>
                      </a:lnTo>
                      <a:lnTo>
                        <a:pt x="1439" y="1042"/>
                      </a:lnTo>
                      <a:lnTo>
                        <a:pt x="1440" y="1042"/>
                      </a:lnTo>
                      <a:lnTo>
                        <a:pt x="1441" y="1042"/>
                      </a:lnTo>
                      <a:lnTo>
                        <a:pt x="1442" y="1042"/>
                      </a:lnTo>
                      <a:lnTo>
                        <a:pt x="1443" y="1042"/>
                      </a:lnTo>
                      <a:lnTo>
                        <a:pt x="1443" y="1043"/>
                      </a:lnTo>
                      <a:lnTo>
                        <a:pt x="1443" y="1042"/>
                      </a:lnTo>
                      <a:lnTo>
                        <a:pt x="1442" y="1042"/>
                      </a:lnTo>
                      <a:lnTo>
                        <a:pt x="1443" y="1041"/>
                      </a:lnTo>
                      <a:lnTo>
                        <a:pt x="1444" y="1041"/>
                      </a:lnTo>
                      <a:lnTo>
                        <a:pt x="1444" y="1040"/>
                      </a:lnTo>
                      <a:lnTo>
                        <a:pt x="1445" y="1040"/>
                      </a:lnTo>
                      <a:lnTo>
                        <a:pt x="1446" y="1039"/>
                      </a:lnTo>
                      <a:lnTo>
                        <a:pt x="1447" y="1039"/>
                      </a:lnTo>
                      <a:lnTo>
                        <a:pt x="1447" y="1038"/>
                      </a:lnTo>
                      <a:lnTo>
                        <a:pt x="1448" y="1038"/>
                      </a:lnTo>
                      <a:close/>
                      <a:moveTo>
                        <a:pt x="1429" y="1011"/>
                      </a:moveTo>
                      <a:lnTo>
                        <a:pt x="1428" y="1012"/>
                      </a:lnTo>
                      <a:lnTo>
                        <a:pt x="1428" y="1013"/>
                      </a:lnTo>
                      <a:lnTo>
                        <a:pt x="1427" y="1013"/>
                      </a:lnTo>
                      <a:lnTo>
                        <a:pt x="1428" y="1013"/>
                      </a:lnTo>
                      <a:lnTo>
                        <a:pt x="1427" y="1013"/>
                      </a:lnTo>
                      <a:lnTo>
                        <a:pt x="1427" y="1012"/>
                      </a:lnTo>
                      <a:lnTo>
                        <a:pt x="1428" y="1012"/>
                      </a:lnTo>
                      <a:lnTo>
                        <a:pt x="1427" y="1012"/>
                      </a:lnTo>
                      <a:lnTo>
                        <a:pt x="1427" y="1013"/>
                      </a:lnTo>
                      <a:lnTo>
                        <a:pt x="1427" y="1014"/>
                      </a:lnTo>
                      <a:lnTo>
                        <a:pt x="1427" y="1015"/>
                      </a:lnTo>
                      <a:lnTo>
                        <a:pt x="1426" y="1015"/>
                      </a:lnTo>
                      <a:lnTo>
                        <a:pt x="1427" y="1015"/>
                      </a:lnTo>
                      <a:lnTo>
                        <a:pt x="1427" y="1014"/>
                      </a:lnTo>
                      <a:lnTo>
                        <a:pt x="1428" y="1014"/>
                      </a:lnTo>
                      <a:lnTo>
                        <a:pt x="1428" y="1013"/>
                      </a:lnTo>
                      <a:lnTo>
                        <a:pt x="1428" y="1012"/>
                      </a:lnTo>
                      <a:lnTo>
                        <a:pt x="1429" y="1013"/>
                      </a:lnTo>
                      <a:lnTo>
                        <a:pt x="1430" y="1013"/>
                      </a:lnTo>
                      <a:lnTo>
                        <a:pt x="1429" y="1014"/>
                      </a:lnTo>
                      <a:lnTo>
                        <a:pt x="1430" y="1014"/>
                      </a:lnTo>
                      <a:lnTo>
                        <a:pt x="1430" y="1015"/>
                      </a:lnTo>
                      <a:lnTo>
                        <a:pt x="1429" y="1016"/>
                      </a:lnTo>
                      <a:lnTo>
                        <a:pt x="1428" y="1017"/>
                      </a:lnTo>
                      <a:lnTo>
                        <a:pt x="1428" y="1018"/>
                      </a:lnTo>
                      <a:lnTo>
                        <a:pt x="1428" y="1019"/>
                      </a:lnTo>
                      <a:lnTo>
                        <a:pt x="1428" y="1018"/>
                      </a:lnTo>
                      <a:lnTo>
                        <a:pt x="1429" y="1018"/>
                      </a:lnTo>
                      <a:lnTo>
                        <a:pt x="1429" y="1019"/>
                      </a:lnTo>
                      <a:lnTo>
                        <a:pt x="1429" y="1018"/>
                      </a:lnTo>
                      <a:lnTo>
                        <a:pt x="1428" y="1018"/>
                      </a:lnTo>
                      <a:lnTo>
                        <a:pt x="1428" y="1017"/>
                      </a:lnTo>
                      <a:lnTo>
                        <a:pt x="1429" y="1017"/>
                      </a:lnTo>
                      <a:lnTo>
                        <a:pt x="1428" y="1017"/>
                      </a:lnTo>
                      <a:lnTo>
                        <a:pt x="1429" y="1016"/>
                      </a:lnTo>
                      <a:lnTo>
                        <a:pt x="1430" y="1015"/>
                      </a:lnTo>
                      <a:lnTo>
                        <a:pt x="1430" y="1014"/>
                      </a:lnTo>
                      <a:lnTo>
                        <a:pt x="1431" y="1014"/>
                      </a:lnTo>
                      <a:lnTo>
                        <a:pt x="1431" y="1015"/>
                      </a:lnTo>
                      <a:lnTo>
                        <a:pt x="1431" y="1016"/>
                      </a:lnTo>
                      <a:lnTo>
                        <a:pt x="1430" y="1016"/>
                      </a:lnTo>
                      <a:lnTo>
                        <a:pt x="1430" y="1017"/>
                      </a:lnTo>
                      <a:lnTo>
                        <a:pt x="1431" y="1017"/>
                      </a:lnTo>
                      <a:lnTo>
                        <a:pt x="1431" y="1016"/>
                      </a:lnTo>
                      <a:lnTo>
                        <a:pt x="1432" y="1016"/>
                      </a:lnTo>
                      <a:lnTo>
                        <a:pt x="1432" y="1015"/>
                      </a:lnTo>
                      <a:lnTo>
                        <a:pt x="1431" y="1015"/>
                      </a:lnTo>
                      <a:lnTo>
                        <a:pt x="1431" y="1014"/>
                      </a:lnTo>
                      <a:lnTo>
                        <a:pt x="1430" y="1014"/>
                      </a:lnTo>
                      <a:lnTo>
                        <a:pt x="1430" y="1013"/>
                      </a:lnTo>
                      <a:lnTo>
                        <a:pt x="1431" y="1013"/>
                      </a:lnTo>
                      <a:lnTo>
                        <a:pt x="1431" y="1014"/>
                      </a:lnTo>
                      <a:lnTo>
                        <a:pt x="1432" y="1014"/>
                      </a:lnTo>
                      <a:lnTo>
                        <a:pt x="1433" y="1014"/>
                      </a:lnTo>
                      <a:lnTo>
                        <a:pt x="1433" y="1015"/>
                      </a:lnTo>
                      <a:lnTo>
                        <a:pt x="1434" y="1015"/>
                      </a:lnTo>
                      <a:lnTo>
                        <a:pt x="1434" y="1016"/>
                      </a:lnTo>
                      <a:lnTo>
                        <a:pt x="1433" y="1017"/>
                      </a:lnTo>
                      <a:lnTo>
                        <a:pt x="1433" y="1018"/>
                      </a:lnTo>
                      <a:lnTo>
                        <a:pt x="1432" y="1018"/>
                      </a:lnTo>
                      <a:lnTo>
                        <a:pt x="1432" y="1019"/>
                      </a:lnTo>
                      <a:lnTo>
                        <a:pt x="1431" y="1020"/>
                      </a:lnTo>
                      <a:lnTo>
                        <a:pt x="1431" y="1021"/>
                      </a:lnTo>
                      <a:lnTo>
                        <a:pt x="1430" y="1021"/>
                      </a:lnTo>
                      <a:lnTo>
                        <a:pt x="1430" y="1022"/>
                      </a:lnTo>
                      <a:lnTo>
                        <a:pt x="1429" y="1022"/>
                      </a:lnTo>
                      <a:lnTo>
                        <a:pt x="1429" y="1024"/>
                      </a:lnTo>
                      <a:lnTo>
                        <a:pt x="1428" y="1024"/>
                      </a:lnTo>
                      <a:lnTo>
                        <a:pt x="1428" y="1025"/>
                      </a:lnTo>
                      <a:lnTo>
                        <a:pt x="1428" y="1024"/>
                      </a:lnTo>
                      <a:lnTo>
                        <a:pt x="1428" y="1025"/>
                      </a:lnTo>
                      <a:lnTo>
                        <a:pt x="1427" y="1025"/>
                      </a:lnTo>
                      <a:lnTo>
                        <a:pt x="1426" y="1026"/>
                      </a:lnTo>
                      <a:lnTo>
                        <a:pt x="1425" y="1026"/>
                      </a:lnTo>
                      <a:lnTo>
                        <a:pt x="1424" y="1026"/>
                      </a:lnTo>
                      <a:lnTo>
                        <a:pt x="1422" y="1027"/>
                      </a:lnTo>
                      <a:lnTo>
                        <a:pt x="1421" y="1027"/>
                      </a:lnTo>
                      <a:lnTo>
                        <a:pt x="1421" y="1028"/>
                      </a:lnTo>
                      <a:lnTo>
                        <a:pt x="1420" y="1028"/>
                      </a:lnTo>
                      <a:lnTo>
                        <a:pt x="1420" y="1029"/>
                      </a:lnTo>
                      <a:lnTo>
                        <a:pt x="1419" y="1030"/>
                      </a:lnTo>
                      <a:lnTo>
                        <a:pt x="1419" y="1031"/>
                      </a:lnTo>
                      <a:lnTo>
                        <a:pt x="1418" y="1032"/>
                      </a:lnTo>
                      <a:lnTo>
                        <a:pt x="1417" y="1032"/>
                      </a:lnTo>
                      <a:lnTo>
                        <a:pt x="1417" y="1031"/>
                      </a:lnTo>
                      <a:lnTo>
                        <a:pt x="1417" y="1030"/>
                      </a:lnTo>
                      <a:lnTo>
                        <a:pt x="1417" y="1029"/>
                      </a:lnTo>
                      <a:lnTo>
                        <a:pt x="1417" y="1028"/>
                      </a:lnTo>
                      <a:lnTo>
                        <a:pt x="1417" y="1027"/>
                      </a:lnTo>
                      <a:lnTo>
                        <a:pt x="1416" y="1027"/>
                      </a:lnTo>
                      <a:lnTo>
                        <a:pt x="1416" y="1026"/>
                      </a:lnTo>
                      <a:lnTo>
                        <a:pt x="1416" y="1025"/>
                      </a:lnTo>
                      <a:lnTo>
                        <a:pt x="1417" y="1025"/>
                      </a:lnTo>
                      <a:lnTo>
                        <a:pt x="1416" y="1025"/>
                      </a:lnTo>
                      <a:lnTo>
                        <a:pt x="1417" y="1025"/>
                      </a:lnTo>
                      <a:lnTo>
                        <a:pt x="1417" y="1026"/>
                      </a:lnTo>
                      <a:lnTo>
                        <a:pt x="1417" y="1025"/>
                      </a:lnTo>
                      <a:lnTo>
                        <a:pt x="1417" y="1026"/>
                      </a:lnTo>
                      <a:lnTo>
                        <a:pt x="1417" y="1027"/>
                      </a:lnTo>
                      <a:lnTo>
                        <a:pt x="1417" y="1026"/>
                      </a:lnTo>
                      <a:lnTo>
                        <a:pt x="1418" y="1026"/>
                      </a:lnTo>
                      <a:lnTo>
                        <a:pt x="1417" y="1026"/>
                      </a:lnTo>
                      <a:lnTo>
                        <a:pt x="1417" y="1025"/>
                      </a:lnTo>
                      <a:lnTo>
                        <a:pt x="1417" y="1026"/>
                      </a:lnTo>
                      <a:lnTo>
                        <a:pt x="1418" y="1025"/>
                      </a:lnTo>
                      <a:lnTo>
                        <a:pt x="1417" y="1025"/>
                      </a:lnTo>
                      <a:lnTo>
                        <a:pt x="1418" y="1025"/>
                      </a:lnTo>
                      <a:lnTo>
                        <a:pt x="1418" y="1024"/>
                      </a:lnTo>
                      <a:lnTo>
                        <a:pt x="1417" y="1024"/>
                      </a:lnTo>
                      <a:lnTo>
                        <a:pt x="1418" y="1024"/>
                      </a:lnTo>
                      <a:lnTo>
                        <a:pt x="1418" y="1022"/>
                      </a:lnTo>
                      <a:lnTo>
                        <a:pt x="1419" y="1022"/>
                      </a:lnTo>
                      <a:lnTo>
                        <a:pt x="1419" y="1021"/>
                      </a:lnTo>
                      <a:lnTo>
                        <a:pt x="1419" y="1020"/>
                      </a:lnTo>
                      <a:lnTo>
                        <a:pt x="1420" y="1020"/>
                      </a:lnTo>
                      <a:lnTo>
                        <a:pt x="1420" y="1021"/>
                      </a:lnTo>
                      <a:lnTo>
                        <a:pt x="1420" y="1020"/>
                      </a:lnTo>
                      <a:lnTo>
                        <a:pt x="1421" y="1020"/>
                      </a:lnTo>
                      <a:lnTo>
                        <a:pt x="1421" y="1019"/>
                      </a:lnTo>
                      <a:lnTo>
                        <a:pt x="1421" y="1018"/>
                      </a:lnTo>
                      <a:lnTo>
                        <a:pt x="1421" y="1017"/>
                      </a:lnTo>
                      <a:lnTo>
                        <a:pt x="1421" y="1016"/>
                      </a:lnTo>
                      <a:lnTo>
                        <a:pt x="1421" y="1015"/>
                      </a:lnTo>
                      <a:lnTo>
                        <a:pt x="1422" y="1014"/>
                      </a:lnTo>
                      <a:lnTo>
                        <a:pt x="1424" y="1014"/>
                      </a:lnTo>
                      <a:lnTo>
                        <a:pt x="1424" y="1015"/>
                      </a:lnTo>
                      <a:lnTo>
                        <a:pt x="1424" y="1014"/>
                      </a:lnTo>
                      <a:lnTo>
                        <a:pt x="1424" y="1013"/>
                      </a:lnTo>
                      <a:lnTo>
                        <a:pt x="1425" y="1013"/>
                      </a:lnTo>
                      <a:lnTo>
                        <a:pt x="1424" y="1014"/>
                      </a:lnTo>
                      <a:lnTo>
                        <a:pt x="1425" y="1014"/>
                      </a:lnTo>
                      <a:lnTo>
                        <a:pt x="1425" y="1013"/>
                      </a:lnTo>
                      <a:lnTo>
                        <a:pt x="1425" y="1014"/>
                      </a:lnTo>
                      <a:lnTo>
                        <a:pt x="1425" y="1015"/>
                      </a:lnTo>
                      <a:lnTo>
                        <a:pt x="1425" y="1014"/>
                      </a:lnTo>
                      <a:lnTo>
                        <a:pt x="1426" y="1014"/>
                      </a:lnTo>
                      <a:lnTo>
                        <a:pt x="1426" y="1013"/>
                      </a:lnTo>
                      <a:lnTo>
                        <a:pt x="1427" y="1013"/>
                      </a:lnTo>
                      <a:lnTo>
                        <a:pt x="1427" y="1012"/>
                      </a:lnTo>
                      <a:lnTo>
                        <a:pt x="1427" y="1011"/>
                      </a:lnTo>
                      <a:lnTo>
                        <a:pt x="1428" y="1011"/>
                      </a:lnTo>
                      <a:lnTo>
                        <a:pt x="1428" y="1012"/>
                      </a:lnTo>
                      <a:lnTo>
                        <a:pt x="1428" y="1011"/>
                      </a:lnTo>
                      <a:lnTo>
                        <a:pt x="1428" y="1009"/>
                      </a:lnTo>
                      <a:lnTo>
                        <a:pt x="1428" y="1011"/>
                      </a:lnTo>
                      <a:lnTo>
                        <a:pt x="1429" y="1011"/>
                      </a:lnTo>
                      <a:close/>
                      <a:moveTo>
                        <a:pt x="1459" y="1082"/>
                      </a:moveTo>
                      <a:lnTo>
                        <a:pt x="1460" y="1082"/>
                      </a:lnTo>
                      <a:lnTo>
                        <a:pt x="1461" y="1082"/>
                      </a:lnTo>
                      <a:lnTo>
                        <a:pt x="1461" y="1083"/>
                      </a:lnTo>
                      <a:lnTo>
                        <a:pt x="1463" y="1083"/>
                      </a:lnTo>
                      <a:lnTo>
                        <a:pt x="1463" y="1084"/>
                      </a:lnTo>
                      <a:lnTo>
                        <a:pt x="1464" y="1084"/>
                      </a:lnTo>
                      <a:lnTo>
                        <a:pt x="1464" y="1083"/>
                      </a:lnTo>
                      <a:lnTo>
                        <a:pt x="1466" y="1083"/>
                      </a:lnTo>
                      <a:lnTo>
                        <a:pt x="1467" y="1083"/>
                      </a:lnTo>
                      <a:lnTo>
                        <a:pt x="1468" y="1082"/>
                      </a:lnTo>
                      <a:lnTo>
                        <a:pt x="1467" y="1081"/>
                      </a:lnTo>
                      <a:lnTo>
                        <a:pt x="1468" y="1081"/>
                      </a:lnTo>
                      <a:lnTo>
                        <a:pt x="1468" y="1080"/>
                      </a:lnTo>
                      <a:lnTo>
                        <a:pt x="1469" y="1079"/>
                      </a:lnTo>
                      <a:lnTo>
                        <a:pt x="1469" y="1080"/>
                      </a:lnTo>
                      <a:lnTo>
                        <a:pt x="1469" y="1081"/>
                      </a:lnTo>
                      <a:lnTo>
                        <a:pt x="1470" y="1081"/>
                      </a:lnTo>
                      <a:lnTo>
                        <a:pt x="1470" y="1080"/>
                      </a:lnTo>
                      <a:lnTo>
                        <a:pt x="1471" y="1080"/>
                      </a:lnTo>
                      <a:lnTo>
                        <a:pt x="1472" y="1080"/>
                      </a:lnTo>
                      <a:lnTo>
                        <a:pt x="1472" y="1081"/>
                      </a:lnTo>
                      <a:lnTo>
                        <a:pt x="1473" y="1080"/>
                      </a:lnTo>
                      <a:lnTo>
                        <a:pt x="1474" y="1080"/>
                      </a:lnTo>
                      <a:lnTo>
                        <a:pt x="1476" y="1080"/>
                      </a:lnTo>
                      <a:lnTo>
                        <a:pt x="1477" y="1080"/>
                      </a:lnTo>
                      <a:lnTo>
                        <a:pt x="1478" y="1080"/>
                      </a:lnTo>
                      <a:lnTo>
                        <a:pt x="1477" y="1080"/>
                      </a:lnTo>
                      <a:lnTo>
                        <a:pt x="1473" y="1081"/>
                      </a:lnTo>
                      <a:lnTo>
                        <a:pt x="1468" y="1083"/>
                      </a:lnTo>
                      <a:lnTo>
                        <a:pt x="1467" y="1083"/>
                      </a:lnTo>
                      <a:lnTo>
                        <a:pt x="1464" y="1084"/>
                      </a:lnTo>
                      <a:lnTo>
                        <a:pt x="1460" y="1085"/>
                      </a:lnTo>
                      <a:lnTo>
                        <a:pt x="1459" y="1086"/>
                      </a:lnTo>
                      <a:lnTo>
                        <a:pt x="1457" y="1088"/>
                      </a:lnTo>
                      <a:lnTo>
                        <a:pt x="1455" y="1088"/>
                      </a:lnTo>
                      <a:lnTo>
                        <a:pt x="1453" y="1088"/>
                      </a:lnTo>
                      <a:lnTo>
                        <a:pt x="1452" y="1089"/>
                      </a:lnTo>
                      <a:lnTo>
                        <a:pt x="1451" y="1089"/>
                      </a:lnTo>
                      <a:lnTo>
                        <a:pt x="1450" y="1089"/>
                      </a:lnTo>
                      <a:lnTo>
                        <a:pt x="1445" y="1091"/>
                      </a:lnTo>
                      <a:lnTo>
                        <a:pt x="1444" y="1091"/>
                      </a:lnTo>
                      <a:lnTo>
                        <a:pt x="1444" y="1092"/>
                      </a:lnTo>
                      <a:lnTo>
                        <a:pt x="1443" y="1092"/>
                      </a:lnTo>
                      <a:lnTo>
                        <a:pt x="1443" y="1091"/>
                      </a:lnTo>
                      <a:lnTo>
                        <a:pt x="1442" y="1091"/>
                      </a:lnTo>
                      <a:lnTo>
                        <a:pt x="1443" y="1091"/>
                      </a:lnTo>
                      <a:lnTo>
                        <a:pt x="1443" y="1090"/>
                      </a:lnTo>
                      <a:lnTo>
                        <a:pt x="1444" y="1090"/>
                      </a:lnTo>
                      <a:lnTo>
                        <a:pt x="1443" y="1089"/>
                      </a:lnTo>
                      <a:lnTo>
                        <a:pt x="1443" y="1088"/>
                      </a:lnTo>
                      <a:lnTo>
                        <a:pt x="1444" y="1088"/>
                      </a:lnTo>
                      <a:lnTo>
                        <a:pt x="1444" y="1086"/>
                      </a:lnTo>
                      <a:lnTo>
                        <a:pt x="1444" y="1088"/>
                      </a:lnTo>
                      <a:lnTo>
                        <a:pt x="1445" y="1088"/>
                      </a:lnTo>
                      <a:lnTo>
                        <a:pt x="1445" y="1086"/>
                      </a:lnTo>
                      <a:lnTo>
                        <a:pt x="1446" y="1086"/>
                      </a:lnTo>
                      <a:lnTo>
                        <a:pt x="1446" y="1085"/>
                      </a:lnTo>
                      <a:lnTo>
                        <a:pt x="1447" y="1085"/>
                      </a:lnTo>
                      <a:lnTo>
                        <a:pt x="1447" y="1084"/>
                      </a:lnTo>
                      <a:lnTo>
                        <a:pt x="1448" y="1084"/>
                      </a:lnTo>
                      <a:lnTo>
                        <a:pt x="1450" y="1084"/>
                      </a:lnTo>
                      <a:lnTo>
                        <a:pt x="1450" y="1085"/>
                      </a:lnTo>
                      <a:lnTo>
                        <a:pt x="1448" y="1084"/>
                      </a:lnTo>
                      <a:lnTo>
                        <a:pt x="1448" y="1085"/>
                      </a:lnTo>
                      <a:lnTo>
                        <a:pt x="1448" y="1086"/>
                      </a:lnTo>
                      <a:lnTo>
                        <a:pt x="1450" y="1086"/>
                      </a:lnTo>
                      <a:lnTo>
                        <a:pt x="1450" y="1085"/>
                      </a:lnTo>
                      <a:lnTo>
                        <a:pt x="1450" y="1084"/>
                      </a:lnTo>
                      <a:lnTo>
                        <a:pt x="1451" y="1084"/>
                      </a:lnTo>
                      <a:lnTo>
                        <a:pt x="1451" y="1083"/>
                      </a:lnTo>
                      <a:lnTo>
                        <a:pt x="1451" y="1082"/>
                      </a:lnTo>
                      <a:lnTo>
                        <a:pt x="1451" y="1081"/>
                      </a:lnTo>
                      <a:lnTo>
                        <a:pt x="1452" y="1080"/>
                      </a:lnTo>
                      <a:lnTo>
                        <a:pt x="1453" y="1079"/>
                      </a:lnTo>
                      <a:lnTo>
                        <a:pt x="1453" y="1078"/>
                      </a:lnTo>
                      <a:lnTo>
                        <a:pt x="1453" y="1076"/>
                      </a:lnTo>
                      <a:lnTo>
                        <a:pt x="1454" y="1076"/>
                      </a:lnTo>
                      <a:lnTo>
                        <a:pt x="1456" y="1076"/>
                      </a:lnTo>
                      <a:lnTo>
                        <a:pt x="1456" y="1077"/>
                      </a:lnTo>
                      <a:lnTo>
                        <a:pt x="1456" y="1078"/>
                      </a:lnTo>
                      <a:lnTo>
                        <a:pt x="1456" y="1079"/>
                      </a:lnTo>
                      <a:lnTo>
                        <a:pt x="1455" y="1079"/>
                      </a:lnTo>
                      <a:lnTo>
                        <a:pt x="1456" y="1079"/>
                      </a:lnTo>
                      <a:lnTo>
                        <a:pt x="1456" y="1080"/>
                      </a:lnTo>
                      <a:lnTo>
                        <a:pt x="1457" y="1081"/>
                      </a:lnTo>
                      <a:lnTo>
                        <a:pt x="1459" y="1082"/>
                      </a:lnTo>
                      <a:close/>
                      <a:moveTo>
                        <a:pt x="1416" y="1048"/>
                      </a:moveTo>
                      <a:lnTo>
                        <a:pt x="1417" y="1050"/>
                      </a:lnTo>
                      <a:lnTo>
                        <a:pt x="1418" y="1050"/>
                      </a:lnTo>
                      <a:lnTo>
                        <a:pt x="1417" y="1051"/>
                      </a:lnTo>
                      <a:lnTo>
                        <a:pt x="1417" y="1052"/>
                      </a:lnTo>
                      <a:lnTo>
                        <a:pt x="1417" y="1053"/>
                      </a:lnTo>
                      <a:lnTo>
                        <a:pt x="1416" y="1053"/>
                      </a:lnTo>
                      <a:lnTo>
                        <a:pt x="1414" y="1056"/>
                      </a:lnTo>
                      <a:lnTo>
                        <a:pt x="1413" y="1056"/>
                      </a:lnTo>
                      <a:lnTo>
                        <a:pt x="1412" y="1057"/>
                      </a:lnTo>
                      <a:lnTo>
                        <a:pt x="1410" y="1057"/>
                      </a:lnTo>
                      <a:lnTo>
                        <a:pt x="1409" y="1057"/>
                      </a:lnTo>
                      <a:lnTo>
                        <a:pt x="1409" y="1058"/>
                      </a:lnTo>
                      <a:lnTo>
                        <a:pt x="1408" y="1058"/>
                      </a:lnTo>
                      <a:lnTo>
                        <a:pt x="1408" y="1059"/>
                      </a:lnTo>
                      <a:lnTo>
                        <a:pt x="1407" y="1061"/>
                      </a:lnTo>
                      <a:lnTo>
                        <a:pt x="1406" y="1061"/>
                      </a:lnTo>
                      <a:lnTo>
                        <a:pt x="1406" y="1063"/>
                      </a:lnTo>
                      <a:lnTo>
                        <a:pt x="1405" y="1063"/>
                      </a:lnTo>
                      <a:lnTo>
                        <a:pt x="1404" y="1063"/>
                      </a:lnTo>
                      <a:lnTo>
                        <a:pt x="1402" y="1063"/>
                      </a:lnTo>
                      <a:lnTo>
                        <a:pt x="1401" y="1063"/>
                      </a:lnTo>
                      <a:lnTo>
                        <a:pt x="1401" y="1061"/>
                      </a:lnTo>
                      <a:lnTo>
                        <a:pt x="1401" y="1063"/>
                      </a:lnTo>
                      <a:lnTo>
                        <a:pt x="1400" y="1063"/>
                      </a:lnTo>
                      <a:lnTo>
                        <a:pt x="1400" y="1061"/>
                      </a:lnTo>
                      <a:lnTo>
                        <a:pt x="1399" y="1061"/>
                      </a:lnTo>
                      <a:lnTo>
                        <a:pt x="1399" y="1060"/>
                      </a:lnTo>
                      <a:lnTo>
                        <a:pt x="1399" y="1059"/>
                      </a:lnTo>
                      <a:lnTo>
                        <a:pt x="1400" y="1059"/>
                      </a:lnTo>
                      <a:lnTo>
                        <a:pt x="1400" y="1058"/>
                      </a:lnTo>
                      <a:lnTo>
                        <a:pt x="1401" y="1058"/>
                      </a:lnTo>
                      <a:lnTo>
                        <a:pt x="1401" y="1057"/>
                      </a:lnTo>
                      <a:lnTo>
                        <a:pt x="1401" y="1056"/>
                      </a:lnTo>
                      <a:lnTo>
                        <a:pt x="1402" y="1056"/>
                      </a:lnTo>
                      <a:lnTo>
                        <a:pt x="1403" y="1058"/>
                      </a:lnTo>
                      <a:lnTo>
                        <a:pt x="1404" y="1058"/>
                      </a:lnTo>
                      <a:lnTo>
                        <a:pt x="1405" y="1058"/>
                      </a:lnTo>
                      <a:lnTo>
                        <a:pt x="1406" y="1058"/>
                      </a:lnTo>
                      <a:lnTo>
                        <a:pt x="1407" y="1058"/>
                      </a:lnTo>
                      <a:lnTo>
                        <a:pt x="1407" y="1057"/>
                      </a:lnTo>
                      <a:lnTo>
                        <a:pt x="1408" y="1057"/>
                      </a:lnTo>
                      <a:lnTo>
                        <a:pt x="1408" y="1056"/>
                      </a:lnTo>
                      <a:lnTo>
                        <a:pt x="1408" y="1057"/>
                      </a:lnTo>
                      <a:lnTo>
                        <a:pt x="1407" y="1058"/>
                      </a:lnTo>
                      <a:lnTo>
                        <a:pt x="1406" y="1058"/>
                      </a:lnTo>
                      <a:lnTo>
                        <a:pt x="1405" y="1058"/>
                      </a:lnTo>
                      <a:lnTo>
                        <a:pt x="1404" y="1058"/>
                      </a:lnTo>
                      <a:lnTo>
                        <a:pt x="1403" y="1058"/>
                      </a:lnTo>
                      <a:lnTo>
                        <a:pt x="1403" y="1057"/>
                      </a:lnTo>
                      <a:lnTo>
                        <a:pt x="1402" y="1056"/>
                      </a:lnTo>
                      <a:lnTo>
                        <a:pt x="1403" y="1055"/>
                      </a:lnTo>
                      <a:lnTo>
                        <a:pt x="1404" y="1054"/>
                      </a:lnTo>
                      <a:lnTo>
                        <a:pt x="1405" y="1054"/>
                      </a:lnTo>
                      <a:lnTo>
                        <a:pt x="1406" y="1053"/>
                      </a:lnTo>
                      <a:lnTo>
                        <a:pt x="1407" y="1053"/>
                      </a:lnTo>
                      <a:lnTo>
                        <a:pt x="1407" y="1052"/>
                      </a:lnTo>
                      <a:lnTo>
                        <a:pt x="1408" y="1052"/>
                      </a:lnTo>
                      <a:lnTo>
                        <a:pt x="1409" y="1051"/>
                      </a:lnTo>
                      <a:lnTo>
                        <a:pt x="1409" y="1050"/>
                      </a:lnTo>
                      <a:lnTo>
                        <a:pt x="1410" y="1050"/>
                      </a:lnTo>
                      <a:lnTo>
                        <a:pt x="1410" y="1048"/>
                      </a:lnTo>
                      <a:lnTo>
                        <a:pt x="1412" y="1048"/>
                      </a:lnTo>
                      <a:lnTo>
                        <a:pt x="1413" y="1048"/>
                      </a:lnTo>
                      <a:lnTo>
                        <a:pt x="1414" y="1048"/>
                      </a:lnTo>
                      <a:lnTo>
                        <a:pt x="1415" y="1048"/>
                      </a:lnTo>
                      <a:lnTo>
                        <a:pt x="1416" y="1048"/>
                      </a:lnTo>
                      <a:close/>
                      <a:moveTo>
                        <a:pt x="1418" y="1130"/>
                      </a:moveTo>
                      <a:lnTo>
                        <a:pt x="1419" y="1131"/>
                      </a:lnTo>
                      <a:lnTo>
                        <a:pt x="1420" y="1131"/>
                      </a:lnTo>
                      <a:lnTo>
                        <a:pt x="1421" y="1131"/>
                      </a:lnTo>
                      <a:lnTo>
                        <a:pt x="1422" y="1132"/>
                      </a:lnTo>
                      <a:lnTo>
                        <a:pt x="1422" y="1133"/>
                      </a:lnTo>
                      <a:lnTo>
                        <a:pt x="1422" y="1134"/>
                      </a:lnTo>
                      <a:lnTo>
                        <a:pt x="1422" y="1135"/>
                      </a:lnTo>
                      <a:lnTo>
                        <a:pt x="1424" y="1136"/>
                      </a:lnTo>
                      <a:lnTo>
                        <a:pt x="1422" y="1134"/>
                      </a:lnTo>
                      <a:lnTo>
                        <a:pt x="1424" y="1134"/>
                      </a:lnTo>
                      <a:lnTo>
                        <a:pt x="1422" y="1134"/>
                      </a:lnTo>
                      <a:lnTo>
                        <a:pt x="1422" y="1133"/>
                      </a:lnTo>
                      <a:lnTo>
                        <a:pt x="1422" y="1132"/>
                      </a:lnTo>
                      <a:lnTo>
                        <a:pt x="1424" y="1132"/>
                      </a:lnTo>
                      <a:lnTo>
                        <a:pt x="1424" y="1133"/>
                      </a:lnTo>
                      <a:lnTo>
                        <a:pt x="1425" y="1133"/>
                      </a:lnTo>
                      <a:lnTo>
                        <a:pt x="1425" y="1134"/>
                      </a:lnTo>
                      <a:lnTo>
                        <a:pt x="1426" y="1134"/>
                      </a:lnTo>
                      <a:lnTo>
                        <a:pt x="1427" y="1134"/>
                      </a:lnTo>
                      <a:lnTo>
                        <a:pt x="1427" y="1135"/>
                      </a:lnTo>
                      <a:lnTo>
                        <a:pt x="1428" y="1135"/>
                      </a:lnTo>
                      <a:lnTo>
                        <a:pt x="1427" y="1135"/>
                      </a:lnTo>
                      <a:lnTo>
                        <a:pt x="1427" y="1136"/>
                      </a:lnTo>
                      <a:lnTo>
                        <a:pt x="1426" y="1135"/>
                      </a:lnTo>
                      <a:lnTo>
                        <a:pt x="1426" y="1136"/>
                      </a:lnTo>
                      <a:lnTo>
                        <a:pt x="1427" y="1136"/>
                      </a:lnTo>
                      <a:lnTo>
                        <a:pt x="1426" y="1136"/>
                      </a:lnTo>
                      <a:lnTo>
                        <a:pt x="1426" y="1137"/>
                      </a:lnTo>
                      <a:lnTo>
                        <a:pt x="1427" y="1136"/>
                      </a:lnTo>
                      <a:lnTo>
                        <a:pt x="1428" y="1136"/>
                      </a:lnTo>
                      <a:lnTo>
                        <a:pt x="1427" y="1136"/>
                      </a:lnTo>
                      <a:lnTo>
                        <a:pt x="1428" y="1136"/>
                      </a:lnTo>
                      <a:lnTo>
                        <a:pt x="1428" y="1135"/>
                      </a:lnTo>
                      <a:lnTo>
                        <a:pt x="1429" y="1136"/>
                      </a:lnTo>
                      <a:lnTo>
                        <a:pt x="1429" y="1137"/>
                      </a:lnTo>
                      <a:lnTo>
                        <a:pt x="1429" y="1138"/>
                      </a:lnTo>
                      <a:lnTo>
                        <a:pt x="1429" y="1140"/>
                      </a:lnTo>
                      <a:lnTo>
                        <a:pt x="1429" y="1142"/>
                      </a:lnTo>
                      <a:lnTo>
                        <a:pt x="1429" y="1143"/>
                      </a:lnTo>
                      <a:lnTo>
                        <a:pt x="1430" y="1143"/>
                      </a:lnTo>
                      <a:lnTo>
                        <a:pt x="1429" y="1143"/>
                      </a:lnTo>
                      <a:lnTo>
                        <a:pt x="1428" y="1143"/>
                      </a:lnTo>
                      <a:lnTo>
                        <a:pt x="1427" y="1143"/>
                      </a:lnTo>
                      <a:lnTo>
                        <a:pt x="1426" y="1143"/>
                      </a:lnTo>
                      <a:lnTo>
                        <a:pt x="1425" y="1143"/>
                      </a:lnTo>
                      <a:lnTo>
                        <a:pt x="1425" y="1144"/>
                      </a:lnTo>
                      <a:lnTo>
                        <a:pt x="1425" y="1143"/>
                      </a:lnTo>
                      <a:lnTo>
                        <a:pt x="1424" y="1143"/>
                      </a:lnTo>
                      <a:lnTo>
                        <a:pt x="1422" y="1143"/>
                      </a:lnTo>
                      <a:lnTo>
                        <a:pt x="1422" y="1142"/>
                      </a:lnTo>
                      <a:lnTo>
                        <a:pt x="1421" y="1141"/>
                      </a:lnTo>
                      <a:lnTo>
                        <a:pt x="1420" y="1141"/>
                      </a:lnTo>
                      <a:lnTo>
                        <a:pt x="1421" y="1141"/>
                      </a:lnTo>
                      <a:lnTo>
                        <a:pt x="1420" y="1140"/>
                      </a:lnTo>
                      <a:lnTo>
                        <a:pt x="1419" y="1140"/>
                      </a:lnTo>
                      <a:lnTo>
                        <a:pt x="1419" y="1138"/>
                      </a:lnTo>
                      <a:lnTo>
                        <a:pt x="1419" y="1137"/>
                      </a:lnTo>
                      <a:lnTo>
                        <a:pt x="1419" y="1138"/>
                      </a:lnTo>
                      <a:lnTo>
                        <a:pt x="1418" y="1137"/>
                      </a:lnTo>
                      <a:lnTo>
                        <a:pt x="1418" y="1136"/>
                      </a:lnTo>
                      <a:lnTo>
                        <a:pt x="1417" y="1136"/>
                      </a:lnTo>
                      <a:lnTo>
                        <a:pt x="1417" y="1135"/>
                      </a:lnTo>
                      <a:lnTo>
                        <a:pt x="1416" y="1135"/>
                      </a:lnTo>
                      <a:lnTo>
                        <a:pt x="1416" y="1134"/>
                      </a:lnTo>
                      <a:lnTo>
                        <a:pt x="1415" y="1134"/>
                      </a:lnTo>
                      <a:lnTo>
                        <a:pt x="1414" y="1133"/>
                      </a:lnTo>
                      <a:lnTo>
                        <a:pt x="1413" y="1133"/>
                      </a:lnTo>
                      <a:lnTo>
                        <a:pt x="1413" y="1132"/>
                      </a:lnTo>
                      <a:lnTo>
                        <a:pt x="1412" y="1132"/>
                      </a:lnTo>
                      <a:lnTo>
                        <a:pt x="1412" y="1131"/>
                      </a:lnTo>
                      <a:lnTo>
                        <a:pt x="1413" y="1131"/>
                      </a:lnTo>
                      <a:lnTo>
                        <a:pt x="1414" y="1131"/>
                      </a:lnTo>
                      <a:lnTo>
                        <a:pt x="1414" y="1132"/>
                      </a:lnTo>
                      <a:lnTo>
                        <a:pt x="1415" y="1132"/>
                      </a:lnTo>
                      <a:lnTo>
                        <a:pt x="1415" y="1131"/>
                      </a:lnTo>
                      <a:lnTo>
                        <a:pt x="1416" y="1131"/>
                      </a:lnTo>
                      <a:lnTo>
                        <a:pt x="1417" y="1131"/>
                      </a:lnTo>
                      <a:lnTo>
                        <a:pt x="1418" y="1130"/>
                      </a:lnTo>
                      <a:close/>
                      <a:moveTo>
                        <a:pt x="1414" y="1133"/>
                      </a:moveTo>
                      <a:lnTo>
                        <a:pt x="1414" y="1134"/>
                      </a:lnTo>
                      <a:lnTo>
                        <a:pt x="1415" y="1134"/>
                      </a:lnTo>
                      <a:lnTo>
                        <a:pt x="1415" y="1135"/>
                      </a:lnTo>
                      <a:lnTo>
                        <a:pt x="1416" y="1135"/>
                      </a:lnTo>
                      <a:lnTo>
                        <a:pt x="1416" y="1136"/>
                      </a:lnTo>
                      <a:lnTo>
                        <a:pt x="1416" y="1135"/>
                      </a:lnTo>
                      <a:lnTo>
                        <a:pt x="1416" y="1136"/>
                      </a:lnTo>
                      <a:lnTo>
                        <a:pt x="1417" y="1136"/>
                      </a:lnTo>
                      <a:lnTo>
                        <a:pt x="1419" y="1140"/>
                      </a:lnTo>
                      <a:lnTo>
                        <a:pt x="1421" y="1142"/>
                      </a:lnTo>
                      <a:lnTo>
                        <a:pt x="1422" y="1143"/>
                      </a:lnTo>
                      <a:lnTo>
                        <a:pt x="1424" y="1144"/>
                      </a:lnTo>
                      <a:lnTo>
                        <a:pt x="1425" y="1144"/>
                      </a:lnTo>
                      <a:lnTo>
                        <a:pt x="1425" y="1145"/>
                      </a:lnTo>
                      <a:lnTo>
                        <a:pt x="1426" y="1145"/>
                      </a:lnTo>
                      <a:lnTo>
                        <a:pt x="1426" y="1146"/>
                      </a:lnTo>
                      <a:lnTo>
                        <a:pt x="1426" y="1147"/>
                      </a:lnTo>
                      <a:lnTo>
                        <a:pt x="1427" y="1147"/>
                      </a:lnTo>
                      <a:lnTo>
                        <a:pt x="1427" y="1148"/>
                      </a:lnTo>
                      <a:lnTo>
                        <a:pt x="1427" y="1149"/>
                      </a:lnTo>
                      <a:lnTo>
                        <a:pt x="1428" y="1149"/>
                      </a:lnTo>
                      <a:lnTo>
                        <a:pt x="1428" y="1150"/>
                      </a:lnTo>
                      <a:lnTo>
                        <a:pt x="1429" y="1151"/>
                      </a:lnTo>
                      <a:lnTo>
                        <a:pt x="1430" y="1151"/>
                      </a:lnTo>
                      <a:lnTo>
                        <a:pt x="1429" y="1151"/>
                      </a:lnTo>
                      <a:lnTo>
                        <a:pt x="1430" y="1151"/>
                      </a:lnTo>
                      <a:lnTo>
                        <a:pt x="1430" y="1153"/>
                      </a:lnTo>
                      <a:lnTo>
                        <a:pt x="1431" y="1153"/>
                      </a:lnTo>
                      <a:lnTo>
                        <a:pt x="1430" y="1153"/>
                      </a:lnTo>
                      <a:lnTo>
                        <a:pt x="1429" y="1151"/>
                      </a:lnTo>
                      <a:lnTo>
                        <a:pt x="1428" y="1151"/>
                      </a:lnTo>
                      <a:lnTo>
                        <a:pt x="1427" y="1150"/>
                      </a:lnTo>
                      <a:lnTo>
                        <a:pt x="1426" y="1150"/>
                      </a:lnTo>
                      <a:lnTo>
                        <a:pt x="1425" y="1150"/>
                      </a:lnTo>
                      <a:lnTo>
                        <a:pt x="1424" y="1149"/>
                      </a:lnTo>
                      <a:lnTo>
                        <a:pt x="1424" y="1150"/>
                      </a:lnTo>
                      <a:lnTo>
                        <a:pt x="1424" y="1149"/>
                      </a:lnTo>
                      <a:lnTo>
                        <a:pt x="1422" y="1149"/>
                      </a:lnTo>
                      <a:lnTo>
                        <a:pt x="1422" y="1148"/>
                      </a:lnTo>
                      <a:lnTo>
                        <a:pt x="1420" y="1147"/>
                      </a:lnTo>
                      <a:lnTo>
                        <a:pt x="1419" y="1147"/>
                      </a:lnTo>
                      <a:lnTo>
                        <a:pt x="1419" y="1146"/>
                      </a:lnTo>
                      <a:lnTo>
                        <a:pt x="1418" y="1146"/>
                      </a:lnTo>
                      <a:lnTo>
                        <a:pt x="1417" y="1146"/>
                      </a:lnTo>
                      <a:lnTo>
                        <a:pt x="1417" y="1145"/>
                      </a:lnTo>
                      <a:lnTo>
                        <a:pt x="1416" y="1144"/>
                      </a:lnTo>
                      <a:lnTo>
                        <a:pt x="1415" y="1143"/>
                      </a:lnTo>
                      <a:lnTo>
                        <a:pt x="1414" y="1143"/>
                      </a:lnTo>
                      <a:lnTo>
                        <a:pt x="1413" y="1142"/>
                      </a:lnTo>
                      <a:lnTo>
                        <a:pt x="1410" y="1141"/>
                      </a:lnTo>
                      <a:lnTo>
                        <a:pt x="1410" y="1140"/>
                      </a:lnTo>
                      <a:lnTo>
                        <a:pt x="1410" y="1138"/>
                      </a:lnTo>
                      <a:lnTo>
                        <a:pt x="1410" y="1137"/>
                      </a:lnTo>
                      <a:lnTo>
                        <a:pt x="1412" y="1137"/>
                      </a:lnTo>
                      <a:lnTo>
                        <a:pt x="1412" y="1136"/>
                      </a:lnTo>
                      <a:lnTo>
                        <a:pt x="1412" y="1135"/>
                      </a:lnTo>
                      <a:lnTo>
                        <a:pt x="1412" y="1134"/>
                      </a:lnTo>
                      <a:lnTo>
                        <a:pt x="1413" y="1134"/>
                      </a:lnTo>
                      <a:lnTo>
                        <a:pt x="1413" y="1133"/>
                      </a:lnTo>
                      <a:lnTo>
                        <a:pt x="1412" y="1133"/>
                      </a:lnTo>
                      <a:lnTo>
                        <a:pt x="1412" y="1132"/>
                      </a:lnTo>
                      <a:lnTo>
                        <a:pt x="1413" y="1133"/>
                      </a:lnTo>
                      <a:lnTo>
                        <a:pt x="1414" y="1133"/>
                      </a:lnTo>
                      <a:close/>
                      <a:moveTo>
                        <a:pt x="1446" y="1145"/>
                      </a:moveTo>
                      <a:lnTo>
                        <a:pt x="1447" y="1146"/>
                      </a:lnTo>
                      <a:lnTo>
                        <a:pt x="1448" y="1147"/>
                      </a:lnTo>
                      <a:lnTo>
                        <a:pt x="1450" y="1147"/>
                      </a:lnTo>
                      <a:lnTo>
                        <a:pt x="1450" y="1148"/>
                      </a:lnTo>
                      <a:lnTo>
                        <a:pt x="1448" y="1148"/>
                      </a:lnTo>
                      <a:lnTo>
                        <a:pt x="1447" y="1148"/>
                      </a:lnTo>
                      <a:lnTo>
                        <a:pt x="1448" y="1148"/>
                      </a:lnTo>
                      <a:lnTo>
                        <a:pt x="1450" y="1148"/>
                      </a:lnTo>
                      <a:lnTo>
                        <a:pt x="1451" y="1148"/>
                      </a:lnTo>
                      <a:lnTo>
                        <a:pt x="1450" y="1148"/>
                      </a:lnTo>
                      <a:lnTo>
                        <a:pt x="1450" y="1149"/>
                      </a:lnTo>
                      <a:lnTo>
                        <a:pt x="1448" y="1149"/>
                      </a:lnTo>
                      <a:lnTo>
                        <a:pt x="1448" y="1148"/>
                      </a:lnTo>
                      <a:lnTo>
                        <a:pt x="1447" y="1148"/>
                      </a:lnTo>
                      <a:lnTo>
                        <a:pt x="1448" y="1149"/>
                      </a:lnTo>
                      <a:lnTo>
                        <a:pt x="1448" y="1150"/>
                      </a:lnTo>
                      <a:lnTo>
                        <a:pt x="1448" y="1151"/>
                      </a:lnTo>
                      <a:lnTo>
                        <a:pt x="1450" y="1151"/>
                      </a:lnTo>
                      <a:lnTo>
                        <a:pt x="1448" y="1151"/>
                      </a:lnTo>
                      <a:lnTo>
                        <a:pt x="1447" y="1150"/>
                      </a:lnTo>
                      <a:lnTo>
                        <a:pt x="1446" y="1149"/>
                      </a:lnTo>
                      <a:lnTo>
                        <a:pt x="1445" y="1148"/>
                      </a:lnTo>
                      <a:lnTo>
                        <a:pt x="1444" y="1148"/>
                      </a:lnTo>
                      <a:lnTo>
                        <a:pt x="1442" y="1147"/>
                      </a:lnTo>
                      <a:lnTo>
                        <a:pt x="1441" y="1147"/>
                      </a:lnTo>
                      <a:lnTo>
                        <a:pt x="1440" y="1147"/>
                      </a:lnTo>
                      <a:lnTo>
                        <a:pt x="1439" y="1147"/>
                      </a:lnTo>
                      <a:lnTo>
                        <a:pt x="1438" y="1147"/>
                      </a:lnTo>
                      <a:lnTo>
                        <a:pt x="1437" y="1147"/>
                      </a:lnTo>
                      <a:lnTo>
                        <a:pt x="1435" y="1147"/>
                      </a:lnTo>
                      <a:lnTo>
                        <a:pt x="1435" y="1148"/>
                      </a:lnTo>
                      <a:lnTo>
                        <a:pt x="1434" y="1149"/>
                      </a:lnTo>
                      <a:lnTo>
                        <a:pt x="1434" y="1150"/>
                      </a:lnTo>
                      <a:lnTo>
                        <a:pt x="1435" y="1150"/>
                      </a:lnTo>
                      <a:lnTo>
                        <a:pt x="1437" y="1151"/>
                      </a:lnTo>
                      <a:lnTo>
                        <a:pt x="1437" y="1153"/>
                      </a:lnTo>
                      <a:lnTo>
                        <a:pt x="1438" y="1153"/>
                      </a:lnTo>
                      <a:lnTo>
                        <a:pt x="1439" y="1153"/>
                      </a:lnTo>
                      <a:lnTo>
                        <a:pt x="1439" y="1154"/>
                      </a:lnTo>
                      <a:lnTo>
                        <a:pt x="1440" y="1154"/>
                      </a:lnTo>
                      <a:lnTo>
                        <a:pt x="1441" y="1155"/>
                      </a:lnTo>
                      <a:lnTo>
                        <a:pt x="1442" y="1155"/>
                      </a:lnTo>
                      <a:lnTo>
                        <a:pt x="1442" y="1154"/>
                      </a:lnTo>
                      <a:lnTo>
                        <a:pt x="1442" y="1153"/>
                      </a:lnTo>
                      <a:lnTo>
                        <a:pt x="1443" y="1153"/>
                      </a:lnTo>
                      <a:lnTo>
                        <a:pt x="1444" y="1153"/>
                      </a:lnTo>
                      <a:lnTo>
                        <a:pt x="1446" y="1153"/>
                      </a:lnTo>
                      <a:lnTo>
                        <a:pt x="1446" y="1154"/>
                      </a:lnTo>
                      <a:lnTo>
                        <a:pt x="1446" y="1153"/>
                      </a:lnTo>
                      <a:lnTo>
                        <a:pt x="1445" y="1153"/>
                      </a:lnTo>
                      <a:lnTo>
                        <a:pt x="1445" y="1154"/>
                      </a:lnTo>
                      <a:lnTo>
                        <a:pt x="1444" y="1154"/>
                      </a:lnTo>
                      <a:lnTo>
                        <a:pt x="1445" y="1154"/>
                      </a:lnTo>
                      <a:lnTo>
                        <a:pt x="1447" y="1154"/>
                      </a:lnTo>
                      <a:lnTo>
                        <a:pt x="1446" y="1154"/>
                      </a:lnTo>
                      <a:lnTo>
                        <a:pt x="1445" y="1155"/>
                      </a:lnTo>
                      <a:lnTo>
                        <a:pt x="1446" y="1155"/>
                      </a:lnTo>
                      <a:lnTo>
                        <a:pt x="1445" y="1155"/>
                      </a:lnTo>
                      <a:lnTo>
                        <a:pt x="1445" y="1156"/>
                      </a:lnTo>
                      <a:lnTo>
                        <a:pt x="1445" y="1157"/>
                      </a:lnTo>
                      <a:lnTo>
                        <a:pt x="1444" y="1157"/>
                      </a:lnTo>
                      <a:lnTo>
                        <a:pt x="1444" y="1156"/>
                      </a:lnTo>
                      <a:lnTo>
                        <a:pt x="1444" y="1157"/>
                      </a:lnTo>
                      <a:lnTo>
                        <a:pt x="1445" y="1157"/>
                      </a:lnTo>
                      <a:lnTo>
                        <a:pt x="1446" y="1157"/>
                      </a:lnTo>
                      <a:lnTo>
                        <a:pt x="1445" y="1157"/>
                      </a:lnTo>
                      <a:lnTo>
                        <a:pt x="1446" y="1157"/>
                      </a:lnTo>
                      <a:lnTo>
                        <a:pt x="1446" y="1158"/>
                      </a:lnTo>
                      <a:lnTo>
                        <a:pt x="1447" y="1159"/>
                      </a:lnTo>
                      <a:lnTo>
                        <a:pt x="1446" y="1158"/>
                      </a:lnTo>
                      <a:lnTo>
                        <a:pt x="1445" y="1158"/>
                      </a:lnTo>
                      <a:lnTo>
                        <a:pt x="1444" y="1158"/>
                      </a:lnTo>
                      <a:lnTo>
                        <a:pt x="1444" y="1157"/>
                      </a:lnTo>
                      <a:lnTo>
                        <a:pt x="1444" y="1158"/>
                      </a:lnTo>
                      <a:lnTo>
                        <a:pt x="1444" y="1157"/>
                      </a:lnTo>
                      <a:lnTo>
                        <a:pt x="1443" y="1157"/>
                      </a:lnTo>
                      <a:lnTo>
                        <a:pt x="1443" y="1156"/>
                      </a:lnTo>
                      <a:lnTo>
                        <a:pt x="1442" y="1156"/>
                      </a:lnTo>
                      <a:lnTo>
                        <a:pt x="1441" y="1155"/>
                      </a:lnTo>
                      <a:lnTo>
                        <a:pt x="1440" y="1155"/>
                      </a:lnTo>
                      <a:lnTo>
                        <a:pt x="1439" y="1155"/>
                      </a:lnTo>
                      <a:lnTo>
                        <a:pt x="1439" y="1154"/>
                      </a:lnTo>
                      <a:lnTo>
                        <a:pt x="1438" y="1155"/>
                      </a:lnTo>
                      <a:lnTo>
                        <a:pt x="1438" y="1154"/>
                      </a:lnTo>
                      <a:lnTo>
                        <a:pt x="1437" y="1154"/>
                      </a:lnTo>
                      <a:lnTo>
                        <a:pt x="1435" y="1154"/>
                      </a:lnTo>
                      <a:lnTo>
                        <a:pt x="1434" y="1154"/>
                      </a:lnTo>
                      <a:lnTo>
                        <a:pt x="1433" y="1154"/>
                      </a:lnTo>
                      <a:lnTo>
                        <a:pt x="1433" y="1153"/>
                      </a:lnTo>
                      <a:lnTo>
                        <a:pt x="1432" y="1154"/>
                      </a:lnTo>
                      <a:lnTo>
                        <a:pt x="1432" y="1153"/>
                      </a:lnTo>
                      <a:lnTo>
                        <a:pt x="1431" y="1153"/>
                      </a:lnTo>
                      <a:lnTo>
                        <a:pt x="1431" y="1151"/>
                      </a:lnTo>
                      <a:lnTo>
                        <a:pt x="1431" y="1153"/>
                      </a:lnTo>
                      <a:lnTo>
                        <a:pt x="1430" y="1153"/>
                      </a:lnTo>
                      <a:lnTo>
                        <a:pt x="1430" y="1151"/>
                      </a:lnTo>
                      <a:lnTo>
                        <a:pt x="1430" y="1150"/>
                      </a:lnTo>
                      <a:lnTo>
                        <a:pt x="1429" y="1150"/>
                      </a:lnTo>
                      <a:lnTo>
                        <a:pt x="1429" y="1149"/>
                      </a:lnTo>
                      <a:lnTo>
                        <a:pt x="1428" y="1149"/>
                      </a:lnTo>
                      <a:lnTo>
                        <a:pt x="1428" y="1148"/>
                      </a:lnTo>
                      <a:lnTo>
                        <a:pt x="1427" y="1148"/>
                      </a:lnTo>
                      <a:lnTo>
                        <a:pt x="1427" y="1147"/>
                      </a:lnTo>
                      <a:lnTo>
                        <a:pt x="1427" y="1146"/>
                      </a:lnTo>
                      <a:lnTo>
                        <a:pt x="1426" y="1146"/>
                      </a:lnTo>
                      <a:lnTo>
                        <a:pt x="1426" y="1145"/>
                      </a:lnTo>
                      <a:lnTo>
                        <a:pt x="1425" y="1144"/>
                      </a:lnTo>
                      <a:lnTo>
                        <a:pt x="1426" y="1144"/>
                      </a:lnTo>
                      <a:lnTo>
                        <a:pt x="1427" y="1144"/>
                      </a:lnTo>
                      <a:lnTo>
                        <a:pt x="1427" y="1143"/>
                      </a:lnTo>
                      <a:lnTo>
                        <a:pt x="1428" y="1143"/>
                      </a:lnTo>
                      <a:lnTo>
                        <a:pt x="1428" y="1144"/>
                      </a:lnTo>
                      <a:lnTo>
                        <a:pt x="1428" y="1143"/>
                      </a:lnTo>
                      <a:lnTo>
                        <a:pt x="1429" y="1144"/>
                      </a:lnTo>
                      <a:lnTo>
                        <a:pt x="1430" y="1144"/>
                      </a:lnTo>
                      <a:lnTo>
                        <a:pt x="1429" y="1144"/>
                      </a:lnTo>
                      <a:lnTo>
                        <a:pt x="1429" y="1145"/>
                      </a:lnTo>
                      <a:lnTo>
                        <a:pt x="1430" y="1145"/>
                      </a:lnTo>
                      <a:lnTo>
                        <a:pt x="1430" y="1144"/>
                      </a:lnTo>
                      <a:lnTo>
                        <a:pt x="1431" y="1144"/>
                      </a:lnTo>
                      <a:lnTo>
                        <a:pt x="1432" y="1144"/>
                      </a:lnTo>
                      <a:lnTo>
                        <a:pt x="1433" y="1145"/>
                      </a:lnTo>
                      <a:lnTo>
                        <a:pt x="1434" y="1145"/>
                      </a:lnTo>
                      <a:lnTo>
                        <a:pt x="1434" y="1146"/>
                      </a:lnTo>
                      <a:lnTo>
                        <a:pt x="1435" y="1146"/>
                      </a:lnTo>
                      <a:lnTo>
                        <a:pt x="1437" y="1146"/>
                      </a:lnTo>
                      <a:lnTo>
                        <a:pt x="1438" y="1146"/>
                      </a:lnTo>
                      <a:lnTo>
                        <a:pt x="1439" y="1147"/>
                      </a:lnTo>
                      <a:lnTo>
                        <a:pt x="1439" y="1146"/>
                      </a:lnTo>
                      <a:lnTo>
                        <a:pt x="1440" y="1146"/>
                      </a:lnTo>
                      <a:lnTo>
                        <a:pt x="1441" y="1146"/>
                      </a:lnTo>
                      <a:lnTo>
                        <a:pt x="1442" y="1146"/>
                      </a:lnTo>
                      <a:lnTo>
                        <a:pt x="1443" y="1146"/>
                      </a:lnTo>
                      <a:lnTo>
                        <a:pt x="1443" y="1147"/>
                      </a:lnTo>
                      <a:lnTo>
                        <a:pt x="1443" y="1146"/>
                      </a:lnTo>
                      <a:lnTo>
                        <a:pt x="1444" y="1146"/>
                      </a:lnTo>
                      <a:lnTo>
                        <a:pt x="1444" y="1147"/>
                      </a:lnTo>
                      <a:lnTo>
                        <a:pt x="1444" y="1148"/>
                      </a:lnTo>
                      <a:lnTo>
                        <a:pt x="1445" y="1147"/>
                      </a:lnTo>
                      <a:lnTo>
                        <a:pt x="1445" y="1146"/>
                      </a:lnTo>
                      <a:lnTo>
                        <a:pt x="1446" y="1146"/>
                      </a:lnTo>
                      <a:lnTo>
                        <a:pt x="1446" y="1145"/>
                      </a:lnTo>
                      <a:lnTo>
                        <a:pt x="1447" y="1144"/>
                      </a:lnTo>
                      <a:lnTo>
                        <a:pt x="1447" y="1143"/>
                      </a:lnTo>
                      <a:lnTo>
                        <a:pt x="1447" y="1144"/>
                      </a:lnTo>
                      <a:lnTo>
                        <a:pt x="1446" y="1145"/>
                      </a:lnTo>
                      <a:close/>
                      <a:moveTo>
                        <a:pt x="989" y="879"/>
                      </a:moveTo>
                      <a:lnTo>
                        <a:pt x="990" y="879"/>
                      </a:lnTo>
                      <a:lnTo>
                        <a:pt x="991" y="879"/>
                      </a:lnTo>
                      <a:lnTo>
                        <a:pt x="991" y="880"/>
                      </a:lnTo>
                      <a:lnTo>
                        <a:pt x="991" y="881"/>
                      </a:lnTo>
                      <a:lnTo>
                        <a:pt x="992" y="883"/>
                      </a:lnTo>
                      <a:lnTo>
                        <a:pt x="993" y="883"/>
                      </a:lnTo>
                      <a:lnTo>
                        <a:pt x="994" y="883"/>
                      </a:lnTo>
                      <a:lnTo>
                        <a:pt x="993" y="883"/>
                      </a:lnTo>
                      <a:lnTo>
                        <a:pt x="994" y="884"/>
                      </a:lnTo>
                      <a:lnTo>
                        <a:pt x="994" y="885"/>
                      </a:lnTo>
                      <a:lnTo>
                        <a:pt x="994" y="888"/>
                      </a:lnTo>
                      <a:lnTo>
                        <a:pt x="993" y="889"/>
                      </a:lnTo>
                      <a:lnTo>
                        <a:pt x="993" y="890"/>
                      </a:lnTo>
                      <a:lnTo>
                        <a:pt x="993" y="891"/>
                      </a:lnTo>
                      <a:lnTo>
                        <a:pt x="993" y="892"/>
                      </a:lnTo>
                      <a:lnTo>
                        <a:pt x="993" y="893"/>
                      </a:lnTo>
                      <a:lnTo>
                        <a:pt x="993" y="894"/>
                      </a:lnTo>
                      <a:lnTo>
                        <a:pt x="994" y="894"/>
                      </a:lnTo>
                      <a:lnTo>
                        <a:pt x="993" y="894"/>
                      </a:lnTo>
                      <a:lnTo>
                        <a:pt x="993" y="896"/>
                      </a:lnTo>
                      <a:lnTo>
                        <a:pt x="992" y="896"/>
                      </a:lnTo>
                      <a:lnTo>
                        <a:pt x="991" y="896"/>
                      </a:lnTo>
                      <a:lnTo>
                        <a:pt x="991" y="897"/>
                      </a:lnTo>
                      <a:lnTo>
                        <a:pt x="990" y="898"/>
                      </a:lnTo>
                      <a:lnTo>
                        <a:pt x="989" y="899"/>
                      </a:lnTo>
                      <a:lnTo>
                        <a:pt x="989" y="898"/>
                      </a:lnTo>
                      <a:lnTo>
                        <a:pt x="989" y="897"/>
                      </a:lnTo>
                      <a:lnTo>
                        <a:pt x="989" y="896"/>
                      </a:lnTo>
                      <a:lnTo>
                        <a:pt x="990" y="896"/>
                      </a:lnTo>
                      <a:lnTo>
                        <a:pt x="990" y="894"/>
                      </a:lnTo>
                      <a:lnTo>
                        <a:pt x="990" y="893"/>
                      </a:lnTo>
                      <a:lnTo>
                        <a:pt x="991" y="893"/>
                      </a:lnTo>
                      <a:lnTo>
                        <a:pt x="992" y="893"/>
                      </a:lnTo>
                      <a:lnTo>
                        <a:pt x="992" y="892"/>
                      </a:lnTo>
                      <a:lnTo>
                        <a:pt x="991" y="892"/>
                      </a:lnTo>
                      <a:lnTo>
                        <a:pt x="991" y="891"/>
                      </a:lnTo>
                      <a:lnTo>
                        <a:pt x="991" y="890"/>
                      </a:lnTo>
                      <a:lnTo>
                        <a:pt x="990" y="890"/>
                      </a:lnTo>
                      <a:lnTo>
                        <a:pt x="989" y="889"/>
                      </a:lnTo>
                      <a:lnTo>
                        <a:pt x="989" y="890"/>
                      </a:lnTo>
                      <a:lnTo>
                        <a:pt x="988" y="890"/>
                      </a:lnTo>
                      <a:lnTo>
                        <a:pt x="987" y="890"/>
                      </a:lnTo>
                      <a:lnTo>
                        <a:pt x="987" y="891"/>
                      </a:lnTo>
                      <a:lnTo>
                        <a:pt x="987" y="892"/>
                      </a:lnTo>
                      <a:lnTo>
                        <a:pt x="987" y="893"/>
                      </a:lnTo>
                      <a:lnTo>
                        <a:pt x="987" y="894"/>
                      </a:lnTo>
                      <a:lnTo>
                        <a:pt x="988" y="894"/>
                      </a:lnTo>
                      <a:lnTo>
                        <a:pt x="988" y="896"/>
                      </a:lnTo>
                      <a:lnTo>
                        <a:pt x="987" y="896"/>
                      </a:lnTo>
                      <a:lnTo>
                        <a:pt x="986" y="896"/>
                      </a:lnTo>
                      <a:lnTo>
                        <a:pt x="986" y="894"/>
                      </a:lnTo>
                      <a:lnTo>
                        <a:pt x="986" y="896"/>
                      </a:lnTo>
                      <a:lnTo>
                        <a:pt x="984" y="894"/>
                      </a:lnTo>
                      <a:lnTo>
                        <a:pt x="984" y="893"/>
                      </a:lnTo>
                      <a:lnTo>
                        <a:pt x="986" y="893"/>
                      </a:lnTo>
                      <a:lnTo>
                        <a:pt x="986" y="892"/>
                      </a:lnTo>
                      <a:lnTo>
                        <a:pt x="984" y="892"/>
                      </a:lnTo>
                      <a:lnTo>
                        <a:pt x="984" y="893"/>
                      </a:lnTo>
                      <a:lnTo>
                        <a:pt x="986" y="893"/>
                      </a:lnTo>
                      <a:lnTo>
                        <a:pt x="984" y="893"/>
                      </a:lnTo>
                      <a:lnTo>
                        <a:pt x="984" y="892"/>
                      </a:lnTo>
                      <a:lnTo>
                        <a:pt x="983" y="892"/>
                      </a:lnTo>
                      <a:lnTo>
                        <a:pt x="983" y="891"/>
                      </a:lnTo>
                      <a:lnTo>
                        <a:pt x="983" y="890"/>
                      </a:lnTo>
                      <a:lnTo>
                        <a:pt x="983" y="889"/>
                      </a:lnTo>
                      <a:lnTo>
                        <a:pt x="982" y="888"/>
                      </a:lnTo>
                      <a:lnTo>
                        <a:pt x="983" y="888"/>
                      </a:lnTo>
                      <a:lnTo>
                        <a:pt x="984" y="888"/>
                      </a:lnTo>
                      <a:lnTo>
                        <a:pt x="984" y="889"/>
                      </a:lnTo>
                      <a:lnTo>
                        <a:pt x="986" y="889"/>
                      </a:lnTo>
                      <a:lnTo>
                        <a:pt x="984" y="889"/>
                      </a:lnTo>
                      <a:lnTo>
                        <a:pt x="984" y="888"/>
                      </a:lnTo>
                      <a:lnTo>
                        <a:pt x="984" y="887"/>
                      </a:lnTo>
                      <a:lnTo>
                        <a:pt x="986" y="887"/>
                      </a:lnTo>
                      <a:lnTo>
                        <a:pt x="987" y="887"/>
                      </a:lnTo>
                      <a:lnTo>
                        <a:pt x="986" y="887"/>
                      </a:lnTo>
                      <a:lnTo>
                        <a:pt x="984" y="887"/>
                      </a:lnTo>
                      <a:lnTo>
                        <a:pt x="984" y="886"/>
                      </a:lnTo>
                      <a:lnTo>
                        <a:pt x="986" y="885"/>
                      </a:lnTo>
                      <a:lnTo>
                        <a:pt x="986" y="884"/>
                      </a:lnTo>
                      <a:lnTo>
                        <a:pt x="987" y="884"/>
                      </a:lnTo>
                      <a:lnTo>
                        <a:pt x="987" y="883"/>
                      </a:lnTo>
                      <a:lnTo>
                        <a:pt x="988" y="883"/>
                      </a:lnTo>
                      <a:lnTo>
                        <a:pt x="989" y="883"/>
                      </a:lnTo>
                      <a:lnTo>
                        <a:pt x="989" y="884"/>
                      </a:lnTo>
                      <a:lnTo>
                        <a:pt x="988" y="884"/>
                      </a:lnTo>
                      <a:lnTo>
                        <a:pt x="989" y="884"/>
                      </a:lnTo>
                      <a:lnTo>
                        <a:pt x="989" y="885"/>
                      </a:lnTo>
                      <a:lnTo>
                        <a:pt x="989" y="886"/>
                      </a:lnTo>
                      <a:lnTo>
                        <a:pt x="990" y="886"/>
                      </a:lnTo>
                      <a:lnTo>
                        <a:pt x="990" y="885"/>
                      </a:lnTo>
                      <a:lnTo>
                        <a:pt x="991" y="885"/>
                      </a:lnTo>
                      <a:lnTo>
                        <a:pt x="991" y="886"/>
                      </a:lnTo>
                      <a:lnTo>
                        <a:pt x="992" y="886"/>
                      </a:lnTo>
                      <a:lnTo>
                        <a:pt x="992" y="887"/>
                      </a:lnTo>
                      <a:lnTo>
                        <a:pt x="992" y="888"/>
                      </a:lnTo>
                      <a:lnTo>
                        <a:pt x="993" y="888"/>
                      </a:lnTo>
                      <a:lnTo>
                        <a:pt x="993" y="887"/>
                      </a:lnTo>
                      <a:lnTo>
                        <a:pt x="992" y="887"/>
                      </a:lnTo>
                      <a:lnTo>
                        <a:pt x="992" y="886"/>
                      </a:lnTo>
                      <a:lnTo>
                        <a:pt x="991" y="886"/>
                      </a:lnTo>
                      <a:lnTo>
                        <a:pt x="991" y="885"/>
                      </a:lnTo>
                      <a:lnTo>
                        <a:pt x="990" y="885"/>
                      </a:lnTo>
                      <a:lnTo>
                        <a:pt x="990" y="884"/>
                      </a:lnTo>
                      <a:lnTo>
                        <a:pt x="989" y="885"/>
                      </a:lnTo>
                      <a:lnTo>
                        <a:pt x="989" y="884"/>
                      </a:lnTo>
                      <a:lnTo>
                        <a:pt x="988" y="884"/>
                      </a:lnTo>
                      <a:lnTo>
                        <a:pt x="989" y="884"/>
                      </a:lnTo>
                      <a:lnTo>
                        <a:pt x="989" y="883"/>
                      </a:lnTo>
                      <a:lnTo>
                        <a:pt x="989" y="881"/>
                      </a:lnTo>
                      <a:lnTo>
                        <a:pt x="990" y="881"/>
                      </a:lnTo>
                      <a:lnTo>
                        <a:pt x="989" y="881"/>
                      </a:lnTo>
                      <a:lnTo>
                        <a:pt x="989" y="880"/>
                      </a:lnTo>
                      <a:lnTo>
                        <a:pt x="989" y="879"/>
                      </a:lnTo>
                      <a:close/>
                      <a:moveTo>
                        <a:pt x="1369" y="1116"/>
                      </a:moveTo>
                      <a:lnTo>
                        <a:pt x="1369" y="1117"/>
                      </a:lnTo>
                      <a:lnTo>
                        <a:pt x="1370" y="1118"/>
                      </a:lnTo>
                      <a:lnTo>
                        <a:pt x="1370" y="1119"/>
                      </a:lnTo>
                      <a:lnTo>
                        <a:pt x="1371" y="1120"/>
                      </a:lnTo>
                      <a:lnTo>
                        <a:pt x="1371" y="1121"/>
                      </a:lnTo>
                      <a:lnTo>
                        <a:pt x="1373" y="1121"/>
                      </a:lnTo>
                      <a:lnTo>
                        <a:pt x="1373" y="1122"/>
                      </a:lnTo>
                      <a:lnTo>
                        <a:pt x="1373" y="1123"/>
                      </a:lnTo>
                      <a:lnTo>
                        <a:pt x="1373" y="1124"/>
                      </a:lnTo>
                      <a:lnTo>
                        <a:pt x="1373" y="1127"/>
                      </a:lnTo>
                      <a:lnTo>
                        <a:pt x="1373" y="1125"/>
                      </a:lnTo>
                      <a:lnTo>
                        <a:pt x="1373" y="1124"/>
                      </a:lnTo>
                      <a:lnTo>
                        <a:pt x="1373" y="1123"/>
                      </a:lnTo>
                      <a:lnTo>
                        <a:pt x="1373" y="1122"/>
                      </a:lnTo>
                      <a:lnTo>
                        <a:pt x="1371" y="1122"/>
                      </a:lnTo>
                      <a:lnTo>
                        <a:pt x="1371" y="1121"/>
                      </a:lnTo>
                      <a:lnTo>
                        <a:pt x="1370" y="1121"/>
                      </a:lnTo>
                      <a:lnTo>
                        <a:pt x="1370" y="1120"/>
                      </a:lnTo>
                      <a:lnTo>
                        <a:pt x="1369" y="1120"/>
                      </a:lnTo>
                      <a:lnTo>
                        <a:pt x="1369" y="1119"/>
                      </a:lnTo>
                      <a:lnTo>
                        <a:pt x="1367" y="1122"/>
                      </a:lnTo>
                      <a:lnTo>
                        <a:pt x="1366" y="1127"/>
                      </a:lnTo>
                      <a:lnTo>
                        <a:pt x="1366" y="1128"/>
                      </a:lnTo>
                      <a:lnTo>
                        <a:pt x="1366" y="1129"/>
                      </a:lnTo>
                      <a:lnTo>
                        <a:pt x="1365" y="1129"/>
                      </a:lnTo>
                      <a:lnTo>
                        <a:pt x="1365" y="1128"/>
                      </a:lnTo>
                      <a:lnTo>
                        <a:pt x="1366" y="1128"/>
                      </a:lnTo>
                      <a:lnTo>
                        <a:pt x="1366" y="1127"/>
                      </a:lnTo>
                      <a:lnTo>
                        <a:pt x="1365" y="1127"/>
                      </a:lnTo>
                      <a:lnTo>
                        <a:pt x="1365" y="1128"/>
                      </a:lnTo>
                      <a:lnTo>
                        <a:pt x="1365" y="1129"/>
                      </a:lnTo>
                      <a:lnTo>
                        <a:pt x="1365" y="1130"/>
                      </a:lnTo>
                      <a:lnTo>
                        <a:pt x="1364" y="1131"/>
                      </a:lnTo>
                      <a:lnTo>
                        <a:pt x="1364" y="1132"/>
                      </a:lnTo>
                      <a:lnTo>
                        <a:pt x="1364" y="1133"/>
                      </a:lnTo>
                      <a:lnTo>
                        <a:pt x="1364" y="1134"/>
                      </a:lnTo>
                      <a:lnTo>
                        <a:pt x="1363" y="1135"/>
                      </a:lnTo>
                      <a:lnTo>
                        <a:pt x="1363" y="1136"/>
                      </a:lnTo>
                      <a:lnTo>
                        <a:pt x="1363" y="1137"/>
                      </a:lnTo>
                      <a:lnTo>
                        <a:pt x="1362" y="1137"/>
                      </a:lnTo>
                      <a:lnTo>
                        <a:pt x="1363" y="1137"/>
                      </a:lnTo>
                      <a:lnTo>
                        <a:pt x="1363" y="1136"/>
                      </a:lnTo>
                      <a:lnTo>
                        <a:pt x="1363" y="1135"/>
                      </a:lnTo>
                      <a:lnTo>
                        <a:pt x="1363" y="1134"/>
                      </a:lnTo>
                      <a:lnTo>
                        <a:pt x="1363" y="1135"/>
                      </a:lnTo>
                      <a:lnTo>
                        <a:pt x="1362" y="1136"/>
                      </a:lnTo>
                      <a:lnTo>
                        <a:pt x="1362" y="1137"/>
                      </a:lnTo>
                      <a:lnTo>
                        <a:pt x="1361" y="1137"/>
                      </a:lnTo>
                      <a:lnTo>
                        <a:pt x="1362" y="1137"/>
                      </a:lnTo>
                      <a:lnTo>
                        <a:pt x="1361" y="1137"/>
                      </a:lnTo>
                      <a:lnTo>
                        <a:pt x="1361" y="1138"/>
                      </a:lnTo>
                      <a:lnTo>
                        <a:pt x="1361" y="1140"/>
                      </a:lnTo>
                      <a:lnTo>
                        <a:pt x="1360" y="1140"/>
                      </a:lnTo>
                      <a:lnTo>
                        <a:pt x="1360" y="1141"/>
                      </a:lnTo>
                      <a:lnTo>
                        <a:pt x="1358" y="1141"/>
                      </a:lnTo>
                      <a:lnTo>
                        <a:pt x="1358" y="1142"/>
                      </a:lnTo>
                      <a:lnTo>
                        <a:pt x="1360" y="1142"/>
                      </a:lnTo>
                      <a:lnTo>
                        <a:pt x="1360" y="1143"/>
                      </a:lnTo>
                      <a:lnTo>
                        <a:pt x="1358" y="1142"/>
                      </a:lnTo>
                      <a:lnTo>
                        <a:pt x="1358" y="1143"/>
                      </a:lnTo>
                      <a:lnTo>
                        <a:pt x="1357" y="1143"/>
                      </a:lnTo>
                      <a:lnTo>
                        <a:pt x="1356" y="1144"/>
                      </a:lnTo>
                      <a:lnTo>
                        <a:pt x="1356" y="1145"/>
                      </a:lnTo>
                      <a:lnTo>
                        <a:pt x="1357" y="1145"/>
                      </a:lnTo>
                      <a:lnTo>
                        <a:pt x="1357" y="1144"/>
                      </a:lnTo>
                      <a:lnTo>
                        <a:pt x="1357" y="1145"/>
                      </a:lnTo>
                      <a:lnTo>
                        <a:pt x="1356" y="1145"/>
                      </a:lnTo>
                      <a:lnTo>
                        <a:pt x="1356" y="1146"/>
                      </a:lnTo>
                      <a:lnTo>
                        <a:pt x="1355" y="1147"/>
                      </a:lnTo>
                      <a:lnTo>
                        <a:pt x="1355" y="1148"/>
                      </a:lnTo>
                      <a:lnTo>
                        <a:pt x="1355" y="1149"/>
                      </a:lnTo>
                      <a:lnTo>
                        <a:pt x="1355" y="1148"/>
                      </a:lnTo>
                      <a:lnTo>
                        <a:pt x="1355" y="1149"/>
                      </a:lnTo>
                      <a:lnTo>
                        <a:pt x="1356" y="1150"/>
                      </a:lnTo>
                      <a:lnTo>
                        <a:pt x="1357" y="1150"/>
                      </a:lnTo>
                      <a:lnTo>
                        <a:pt x="1356" y="1150"/>
                      </a:lnTo>
                      <a:lnTo>
                        <a:pt x="1356" y="1151"/>
                      </a:lnTo>
                      <a:lnTo>
                        <a:pt x="1356" y="1150"/>
                      </a:lnTo>
                      <a:lnTo>
                        <a:pt x="1356" y="1151"/>
                      </a:lnTo>
                      <a:lnTo>
                        <a:pt x="1357" y="1151"/>
                      </a:lnTo>
                      <a:lnTo>
                        <a:pt x="1357" y="1150"/>
                      </a:lnTo>
                      <a:lnTo>
                        <a:pt x="1357" y="1151"/>
                      </a:lnTo>
                      <a:lnTo>
                        <a:pt x="1356" y="1151"/>
                      </a:lnTo>
                      <a:lnTo>
                        <a:pt x="1356" y="1153"/>
                      </a:lnTo>
                      <a:lnTo>
                        <a:pt x="1356" y="1154"/>
                      </a:lnTo>
                      <a:lnTo>
                        <a:pt x="1357" y="1154"/>
                      </a:lnTo>
                      <a:lnTo>
                        <a:pt x="1357" y="1155"/>
                      </a:lnTo>
                      <a:lnTo>
                        <a:pt x="1358" y="1156"/>
                      </a:lnTo>
                      <a:lnTo>
                        <a:pt x="1360" y="1156"/>
                      </a:lnTo>
                      <a:lnTo>
                        <a:pt x="1360" y="1155"/>
                      </a:lnTo>
                      <a:lnTo>
                        <a:pt x="1358" y="1155"/>
                      </a:lnTo>
                      <a:lnTo>
                        <a:pt x="1357" y="1155"/>
                      </a:lnTo>
                      <a:lnTo>
                        <a:pt x="1357" y="1154"/>
                      </a:lnTo>
                      <a:lnTo>
                        <a:pt x="1358" y="1154"/>
                      </a:lnTo>
                      <a:lnTo>
                        <a:pt x="1360" y="1154"/>
                      </a:lnTo>
                      <a:lnTo>
                        <a:pt x="1360" y="1155"/>
                      </a:lnTo>
                      <a:lnTo>
                        <a:pt x="1358" y="1155"/>
                      </a:lnTo>
                      <a:lnTo>
                        <a:pt x="1358" y="1154"/>
                      </a:lnTo>
                      <a:lnTo>
                        <a:pt x="1357" y="1154"/>
                      </a:lnTo>
                      <a:lnTo>
                        <a:pt x="1357" y="1155"/>
                      </a:lnTo>
                      <a:lnTo>
                        <a:pt x="1360" y="1155"/>
                      </a:lnTo>
                      <a:lnTo>
                        <a:pt x="1360" y="1156"/>
                      </a:lnTo>
                      <a:lnTo>
                        <a:pt x="1358" y="1156"/>
                      </a:lnTo>
                      <a:lnTo>
                        <a:pt x="1357" y="1156"/>
                      </a:lnTo>
                      <a:lnTo>
                        <a:pt x="1357" y="1155"/>
                      </a:lnTo>
                      <a:lnTo>
                        <a:pt x="1356" y="1154"/>
                      </a:lnTo>
                      <a:lnTo>
                        <a:pt x="1356" y="1153"/>
                      </a:lnTo>
                      <a:lnTo>
                        <a:pt x="1355" y="1153"/>
                      </a:lnTo>
                      <a:lnTo>
                        <a:pt x="1355" y="1151"/>
                      </a:lnTo>
                      <a:lnTo>
                        <a:pt x="1355" y="1150"/>
                      </a:lnTo>
                      <a:lnTo>
                        <a:pt x="1355" y="1149"/>
                      </a:lnTo>
                      <a:lnTo>
                        <a:pt x="1354" y="1149"/>
                      </a:lnTo>
                      <a:lnTo>
                        <a:pt x="1354" y="1150"/>
                      </a:lnTo>
                      <a:lnTo>
                        <a:pt x="1355" y="1150"/>
                      </a:lnTo>
                      <a:lnTo>
                        <a:pt x="1354" y="1150"/>
                      </a:lnTo>
                      <a:lnTo>
                        <a:pt x="1354" y="1151"/>
                      </a:lnTo>
                      <a:lnTo>
                        <a:pt x="1354" y="1150"/>
                      </a:lnTo>
                      <a:lnTo>
                        <a:pt x="1354" y="1151"/>
                      </a:lnTo>
                      <a:lnTo>
                        <a:pt x="1353" y="1151"/>
                      </a:lnTo>
                      <a:lnTo>
                        <a:pt x="1353" y="1150"/>
                      </a:lnTo>
                      <a:lnTo>
                        <a:pt x="1353" y="1149"/>
                      </a:lnTo>
                      <a:lnTo>
                        <a:pt x="1354" y="1147"/>
                      </a:lnTo>
                      <a:lnTo>
                        <a:pt x="1355" y="1146"/>
                      </a:lnTo>
                      <a:lnTo>
                        <a:pt x="1357" y="1142"/>
                      </a:lnTo>
                      <a:lnTo>
                        <a:pt x="1357" y="1141"/>
                      </a:lnTo>
                      <a:lnTo>
                        <a:pt x="1358" y="1140"/>
                      </a:lnTo>
                      <a:lnTo>
                        <a:pt x="1358" y="1138"/>
                      </a:lnTo>
                      <a:lnTo>
                        <a:pt x="1360" y="1136"/>
                      </a:lnTo>
                      <a:lnTo>
                        <a:pt x="1361" y="1133"/>
                      </a:lnTo>
                      <a:lnTo>
                        <a:pt x="1362" y="1131"/>
                      </a:lnTo>
                      <a:lnTo>
                        <a:pt x="1363" y="1129"/>
                      </a:lnTo>
                      <a:lnTo>
                        <a:pt x="1363" y="1128"/>
                      </a:lnTo>
                      <a:lnTo>
                        <a:pt x="1364" y="1127"/>
                      </a:lnTo>
                      <a:lnTo>
                        <a:pt x="1365" y="1124"/>
                      </a:lnTo>
                      <a:lnTo>
                        <a:pt x="1365" y="1123"/>
                      </a:lnTo>
                      <a:lnTo>
                        <a:pt x="1365" y="1122"/>
                      </a:lnTo>
                      <a:lnTo>
                        <a:pt x="1366" y="1121"/>
                      </a:lnTo>
                      <a:lnTo>
                        <a:pt x="1366" y="1120"/>
                      </a:lnTo>
                      <a:lnTo>
                        <a:pt x="1367" y="1118"/>
                      </a:lnTo>
                      <a:lnTo>
                        <a:pt x="1367" y="1117"/>
                      </a:lnTo>
                      <a:lnTo>
                        <a:pt x="1367" y="1116"/>
                      </a:lnTo>
                      <a:lnTo>
                        <a:pt x="1368" y="1114"/>
                      </a:lnTo>
                      <a:lnTo>
                        <a:pt x="1368" y="1112"/>
                      </a:lnTo>
                      <a:lnTo>
                        <a:pt x="1368" y="1115"/>
                      </a:lnTo>
                      <a:lnTo>
                        <a:pt x="1369" y="1115"/>
                      </a:lnTo>
                      <a:lnTo>
                        <a:pt x="1369" y="1116"/>
                      </a:lnTo>
                      <a:close/>
                      <a:moveTo>
                        <a:pt x="1174" y="971"/>
                      </a:moveTo>
                      <a:lnTo>
                        <a:pt x="1176" y="971"/>
                      </a:lnTo>
                      <a:lnTo>
                        <a:pt x="1177" y="973"/>
                      </a:lnTo>
                      <a:lnTo>
                        <a:pt x="1177" y="974"/>
                      </a:lnTo>
                      <a:lnTo>
                        <a:pt x="1179" y="973"/>
                      </a:lnTo>
                      <a:lnTo>
                        <a:pt x="1180" y="971"/>
                      </a:lnTo>
                      <a:lnTo>
                        <a:pt x="1183" y="974"/>
                      </a:lnTo>
                      <a:lnTo>
                        <a:pt x="1184" y="974"/>
                      </a:lnTo>
                      <a:lnTo>
                        <a:pt x="1183" y="974"/>
                      </a:lnTo>
                      <a:lnTo>
                        <a:pt x="1183" y="975"/>
                      </a:lnTo>
                      <a:lnTo>
                        <a:pt x="1183" y="976"/>
                      </a:lnTo>
                      <a:lnTo>
                        <a:pt x="1183" y="977"/>
                      </a:lnTo>
                      <a:lnTo>
                        <a:pt x="1184" y="977"/>
                      </a:lnTo>
                      <a:lnTo>
                        <a:pt x="1183" y="977"/>
                      </a:lnTo>
                      <a:lnTo>
                        <a:pt x="1182" y="977"/>
                      </a:lnTo>
                      <a:lnTo>
                        <a:pt x="1181" y="977"/>
                      </a:lnTo>
                      <a:lnTo>
                        <a:pt x="1182" y="977"/>
                      </a:lnTo>
                      <a:lnTo>
                        <a:pt x="1181" y="977"/>
                      </a:lnTo>
                      <a:lnTo>
                        <a:pt x="1181" y="976"/>
                      </a:lnTo>
                      <a:lnTo>
                        <a:pt x="1181" y="977"/>
                      </a:lnTo>
                      <a:lnTo>
                        <a:pt x="1181" y="978"/>
                      </a:lnTo>
                      <a:lnTo>
                        <a:pt x="1180" y="979"/>
                      </a:lnTo>
                      <a:lnTo>
                        <a:pt x="1179" y="979"/>
                      </a:lnTo>
                      <a:lnTo>
                        <a:pt x="1179" y="978"/>
                      </a:lnTo>
                      <a:lnTo>
                        <a:pt x="1177" y="979"/>
                      </a:lnTo>
                      <a:lnTo>
                        <a:pt x="1176" y="979"/>
                      </a:lnTo>
                      <a:lnTo>
                        <a:pt x="1176" y="980"/>
                      </a:lnTo>
                      <a:lnTo>
                        <a:pt x="1175" y="980"/>
                      </a:lnTo>
                      <a:lnTo>
                        <a:pt x="1174" y="980"/>
                      </a:lnTo>
                      <a:lnTo>
                        <a:pt x="1174" y="979"/>
                      </a:lnTo>
                      <a:lnTo>
                        <a:pt x="1173" y="979"/>
                      </a:lnTo>
                      <a:lnTo>
                        <a:pt x="1173" y="978"/>
                      </a:lnTo>
                      <a:lnTo>
                        <a:pt x="1172" y="978"/>
                      </a:lnTo>
                      <a:lnTo>
                        <a:pt x="1171" y="977"/>
                      </a:lnTo>
                      <a:lnTo>
                        <a:pt x="1171" y="976"/>
                      </a:lnTo>
                      <a:lnTo>
                        <a:pt x="1170" y="976"/>
                      </a:lnTo>
                      <a:lnTo>
                        <a:pt x="1169" y="976"/>
                      </a:lnTo>
                      <a:lnTo>
                        <a:pt x="1168" y="976"/>
                      </a:lnTo>
                      <a:lnTo>
                        <a:pt x="1168" y="977"/>
                      </a:lnTo>
                      <a:lnTo>
                        <a:pt x="1167" y="977"/>
                      </a:lnTo>
                      <a:lnTo>
                        <a:pt x="1168" y="977"/>
                      </a:lnTo>
                      <a:lnTo>
                        <a:pt x="1168" y="976"/>
                      </a:lnTo>
                      <a:lnTo>
                        <a:pt x="1168" y="975"/>
                      </a:lnTo>
                      <a:lnTo>
                        <a:pt x="1169" y="975"/>
                      </a:lnTo>
                      <a:lnTo>
                        <a:pt x="1169" y="974"/>
                      </a:lnTo>
                      <a:lnTo>
                        <a:pt x="1170" y="974"/>
                      </a:lnTo>
                      <a:lnTo>
                        <a:pt x="1171" y="973"/>
                      </a:lnTo>
                      <a:lnTo>
                        <a:pt x="1173" y="971"/>
                      </a:lnTo>
                      <a:lnTo>
                        <a:pt x="1173" y="973"/>
                      </a:lnTo>
                      <a:lnTo>
                        <a:pt x="1173" y="971"/>
                      </a:lnTo>
                      <a:lnTo>
                        <a:pt x="1174" y="971"/>
                      </a:lnTo>
                      <a:close/>
                      <a:moveTo>
                        <a:pt x="980" y="990"/>
                      </a:moveTo>
                      <a:lnTo>
                        <a:pt x="979" y="990"/>
                      </a:lnTo>
                      <a:lnTo>
                        <a:pt x="980" y="990"/>
                      </a:lnTo>
                      <a:lnTo>
                        <a:pt x="980" y="991"/>
                      </a:lnTo>
                      <a:lnTo>
                        <a:pt x="981" y="991"/>
                      </a:lnTo>
                      <a:lnTo>
                        <a:pt x="982" y="991"/>
                      </a:lnTo>
                      <a:lnTo>
                        <a:pt x="981" y="992"/>
                      </a:lnTo>
                      <a:lnTo>
                        <a:pt x="980" y="992"/>
                      </a:lnTo>
                      <a:lnTo>
                        <a:pt x="980" y="993"/>
                      </a:lnTo>
                      <a:lnTo>
                        <a:pt x="980" y="992"/>
                      </a:lnTo>
                      <a:lnTo>
                        <a:pt x="981" y="992"/>
                      </a:lnTo>
                      <a:lnTo>
                        <a:pt x="982" y="991"/>
                      </a:lnTo>
                      <a:lnTo>
                        <a:pt x="983" y="992"/>
                      </a:lnTo>
                      <a:lnTo>
                        <a:pt x="983" y="991"/>
                      </a:lnTo>
                      <a:lnTo>
                        <a:pt x="984" y="991"/>
                      </a:lnTo>
                      <a:lnTo>
                        <a:pt x="984" y="992"/>
                      </a:lnTo>
                      <a:lnTo>
                        <a:pt x="986" y="992"/>
                      </a:lnTo>
                      <a:lnTo>
                        <a:pt x="986" y="993"/>
                      </a:lnTo>
                      <a:lnTo>
                        <a:pt x="986" y="994"/>
                      </a:lnTo>
                      <a:lnTo>
                        <a:pt x="986" y="996"/>
                      </a:lnTo>
                      <a:lnTo>
                        <a:pt x="986" y="998"/>
                      </a:lnTo>
                      <a:lnTo>
                        <a:pt x="987" y="998"/>
                      </a:lnTo>
                      <a:lnTo>
                        <a:pt x="988" y="998"/>
                      </a:lnTo>
                      <a:lnTo>
                        <a:pt x="989" y="998"/>
                      </a:lnTo>
                      <a:lnTo>
                        <a:pt x="989" y="996"/>
                      </a:lnTo>
                      <a:lnTo>
                        <a:pt x="990" y="996"/>
                      </a:lnTo>
                      <a:lnTo>
                        <a:pt x="990" y="995"/>
                      </a:lnTo>
                      <a:lnTo>
                        <a:pt x="991" y="995"/>
                      </a:lnTo>
                      <a:lnTo>
                        <a:pt x="992" y="995"/>
                      </a:lnTo>
                      <a:lnTo>
                        <a:pt x="993" y="995"/>
                      </a:lnTo>
                      <a:lnTo>
                        <a:pt x="994" y="995"/>
                      </a:lnTo>
                      <a:lnTo>
                        <a:pt x="994" y="994"/>
                      </a:lnTo>
                      <a:lnTo>
                        <a:pt x="993" y="994"/>
                      </a:lnTo>
                      <a:lnTo>
                        <a:pt x="993" y="993"/>
                      </a:lnTo>
                      <a:lnTo>
                        <a:pt x="992" y="994"/>
                      </a:lnTo>
                      <a:lnTo>
                        <a:pt x="992" y="993"/>
                      </a:lnTo>
                      <a:lnTo>
                        <a:pt x="993" y="993"/>
                      </a:lnTo>
                      <a:lnTo>
                        <a:pt x="994" y="993"/>
                      </a:lnTo>
                      <a:lnTo>
                        <a:pt x="994" y="994"/>
                      </a:lnTo>
                      <a:lnTo>
                        <a:pt x="995" y="994"/>
                      </a:lnTo>
                      <a:lnTo>
                        <a:pt x="995" y="995"/>
                      </a:lnTo>
                      <a:lnTo>
                        <a:pt x="994" y="996"/>
                      </a:lnTo>
                      <a:lnTo>
                        <a:pt x="992" y="996"/>
                      </a:lnTo>
                      <a:lnTo>
                        <a:pt x="992" y="998"/>
                      </a:lnTo>
                      <a:lnTo>
                        <a:pt x="991" y="998"/>
                      </a:lnTo>
                      <a:lnTo>
                        <a:pt x="990" y="998"/>
                      </a:lnTo>
                      <a:lnTo>
                        <a:pt x="989" y="999"/>
                      </a:lnTo>
                      <a:lnTo>
                        <a:pt x="988" y="999"/>
                      </a:lnTo>
                      <a:lnTo>
                        <a:pt x="987" y="1000"/>
                      </a:lnTo>
                      <a:lnTo>
                        <a:pt x="986" y="1000"/>
                      </a:lnTo>
                      <a:lnTo>
                        <a:pt x="982" y="1000"/>
                      </a:lnTo>
                      <a:lnTo>
                        <a:pt x="981" y="1000"/>
                      </a:lnTo>
                      <a:lnTo>
                        <a:pt x="979" y="999"/>
                      </a:lnTo>
                      <a:lnTo>
                        <a:pt x="979" y="998"/>
                      </a:lnTo>
                      <a:lnTo>
                        <a:pt x="978" y="998"/>
                      </a:lnTo>
                      <a:lnTo>
                        <a:pt x="977" y="996"/>
                      </a:lnTo>
                      <a:lnTo>
                        <a:pt x="976" y="996"/>
                      </a:lnTo>
                      <a:lnTo>
                        <a:pt x="975" y="996"/>
                      </a:lnTo>
                      <a:lnTo>
                        <a:pt x="974" y="995"/>
                      </a:lnTo>
                      <a:lnTo>
                        <a:pt x="973" y="995"/>
                      </a:lnTo>
                      <a:lnTo>
                        <a:pt x="971" y="994"/>
                      </a:lnTo>
                      <a:lnTo>
                        <a:pt x="969" y="994"/>
                      </a:lnTo>
                      <a:lnTo>
                        <a:pt x="969" y="993"/>
                      </a:lnTo>
                      <a:lnTo>
                        <a:pt x="973" y="993"/>
                      </a:lnTo>
                      <a:lnTo>
                        <a:pt x="974" y="993"/>
                      </a:lnTo>
                      <a:lnTo>
                        <a:pt x="975" y="994"/>
                      </a:lnTo>
                      <a:lnTo>
                        <a:pt x="976" y="995"/>
                      </a:lnTo>
                      <a:lnTo>
                        <a:pt x="977" y="995"/>
                      </a:lnTo>
                      <a:lnTo>
                        <a:pt x="977" y="996"/>
                      </a:lnTo>
                      <a:lnTo>
                        <a:pt x="978" y="996"/>
                      </a:lnTo>
                      <a:lnTo>
                        <a:pt x="979" y="996"/>
                      </a:lnTo>
                      <a:lnTo>
                        <a:pt x="979" y="998"/>
                      </a:lnTo>
                      <a:lnTo>
                        <a:pt x="979" y="996"/>
                      </a:lnTo>
                      <a:lnTo>
                        <a:pt x="979" y="998"/>
                      </a:lnTo>
                      <a:lnTo>
                        <a:pt x="980" y="998"/>
                      </a:lnTo>
                      <a:lnTo>
                        <a:pt x="981" y="999"/>
                      </a:lnTo>
                      <a:lnTo>
                        <a:pt x="982" y="999"/>
                      </a:lnTo>
                      <a:lnTo>
                        <a:pt x="982" y="998"/>
                      </a:lnTo>
                      <a:lnTo>
                        <a:pt x="983" y="999"/>
                      </a:lnTo>
                      <a:lnTo>
                        <a:pt x="983" y="998"/>
                      </a:lnTo>
                      <a:lnTo>
                        <a:pt x="984" y="998"/>
                      </a:lnTo>
                      <a:lnTo>
                        <a:pt x="984" y="996"/>
                      </a:lnTo>
                      <a:lnTo>
                        <a:pt x="984" y="995"/>
                      </a:lnTo>
                      <a:lnTo>
                        <a:pt x="983" y="995"/>
                      </a:lnTo>
                      <a:lnTo>
                        <a:pt x="983" y="994"/>
                      </a:lnTo>
                      <a:lnTo>
                        <a:pt x="982" y="994"/>
                      </a:lnTo>
                      <a:lnTo>
                        <a:pt x="981" y="994"/>
                      </a:lnTo>
                      <a:lnTo>
                        <a:pt x="980" y="993"/>
                      </a:lnTo>
                      <a:lnTo>
                        <a:pt x="979" y="992"/>
                      </a:lnTo>
                      <a:lnTo>
                        <a:pt x="978" y="991"/>
                      </a:lnTo>
                      <a:lnTo>
                        <a:pt x="977" y="991"/>
                      </a:lnTo>
                      <a:lnTo>
                        <a:pt x="976" y="991"/>
                      </a:lnTo>
                      <a:lnTo>
                        <a:pt x="975" y="990"/>
                      </a:lnTo>
                      <a:lnTo>
                        <a:pt x="975" y="991"/>
                      </a:lnTo>
                      <a:lnTo>
                        <a:pt x="974" y="991"/>
                      </a:lnTo>
                      <a:lnTo>
                        <a:pt x="973" y="992"/>
                      </a:lnTo>
                      <a:lnTo>
                        <a:pt x="971" y="992"/>
                      </a:lnTo>
                      <a:lnTo>
                        <a:pt x="970" y="992"/>
                      </a:lnTo>
                      <a:lnTo>
                        <a:pt x="969" y="993"/>
                      </a:lnTo>
                      <a:lnTo>
                        <a:pt x="968" y="993"/>
                      </a:lnTo>
                      <a:lnTo>
                        <a:pt x="967" y="993"/>
                      </a:lnTo>
                      <a:lnTo>
                        <a:pt x="968" y="993"/>
                      </a:lnTo>
                      <a:lnTo>
                        <a:pt x="968" y="992"/>
                      </a:lnTo>
                      <a:lnTo>
                        <a:pt x="969" y="992"/>
                      </a:lnTo>
                      <a:lnTo>
                        <a:pt x="968" y="992"/>
                      </a:lnTo>
                      <a:lnTo>
                        <a:pt x="968" y="993"/>
                      </a:lnTo>
                      <a:lnTo>
                        <a:pt x="968" y="992"/>
                      </a:lnTo>
                      <a:lnTo>
                        <a:pt x="969" y="992"/>
                      </a:lnTo>
                      <a:lnTo>
                        <a:pt x="970" y="991"/>
                      </a:lnTo>
                      <a:lnTo>
                        <a:pt x="971" y="992"/>
                      </a:lnTo>
                      <a:lnTo>
                        <a:pt x="971" y="991"/>
                      </a:lnTo>
                      <a:lnTo>
                        <a:pt x="973" y="991"/>
                      </a:lnTo>
                      <a:lnTo>
                        <a:pt x="971" y="991"/>
                      </a:lnTo>
                      <a:lnTo>
                        <a:pt x="973" y="990"/>
                      </a:lnTo>
                      <a:lnTo>
                        <a:pt x="974" y="990"/>
                      </a:lnTo>
                      <a:lnTo>
                        <a:pt x="975" y="990"/>
                      </a:lnTo>
                      <a:lnTo>
                        <a:pt x="976" y="990"/>
                      </a:lnTo>
                      <a:lnTo>
                        <a:pt x="979" y="990"/>
                      </a:lnTo>
                      <a:lnTo>
                        <a:pt x="980" y="990"/>
                      </a:lnTo>
                      <a:close/>
                      <a:moveTo>
                        <a:pt x="1397" y="1150"/>
                      </a:moveTo>
                      <a:lnTo>
                        <a:pt x="1401" y="1151"/>
                      </a:lnTo>
                      <a:lnTo>
                        <a:pt x="1401" y="1150"/>
                      </a:lnTo>
                      <a:lnTo>
                        <a:pt x="1402" y="1150"/>
                      </a:lnTo>
                      <a:lnTo>
                        <a:pt x="1402" y="1149"/>
                      </a:lnTo>
                      <a:lnTo>
                        <a:pt x="1403" y="1150"/>
                      </a:lnTo>
                      <a:lnTo>
                        <a:pt x="1404" y="1150"/>
                      </a:lnTo>
                      <a:lnTo>
                        <a:pt x="1405" y="1150"/>
                      </a:lnTo>
                      <a:lnTo>
                        <a:pt x="1406" y="1150"/>
                      </a:lnTo>
                      <a:lnTo>
                        <a:pt x="1406" y="1151"/>
                      </a:lnTo>
                      <a:lnTo>
                        <a:pt x="1407" y="1151"/>
                      </a:lnTo>
                      <a:lnTo>
                        <a:pt x="1408" y="1153"/>
                      </a:lnTo>
                      <a:lnTo>
                        <a:pt x="1409" y="1153"/>
                      </a:lnTo>
                      <a:lnTo>
                        <a:pt x="1409" y="1154"/>
                      </a:lnTo>
                      <a:lnTo>
                        <a:pt x="1409" y="1155"/>
                      </a:lnTo>
                      <a:lnTo>
                        <a:pt x="1410" y="1155"/>
                      </a:lnTo>
                      <a:lnTo>
                        <a:pt x="1410" y="1156"/>
                      </a:lnTo>
                      <a:lnTo>
                        <a:pt x="1412" y="1157"/>
                      </a:lnTo>
                      <a:lnTo>
                        <a:pt x="1412" y="1158"/>
                      </a:lnTo>
                      <a:lnTo>
                        <a:pt x="1413" y="1159"/>
                      </a:lnTo>
                      <a:lnTo>
                        <a:pt x="1414" y="1161"/>
                      </a:lnTo>
                      <a:lnTo>
                        <a:pt x="1414" y="1162"/>
                      </a:lnTo>
                      <a:lnTo>
                        <a:pt x="1414" y="1163"/>
                      </a:lnTo>
                      <a:lnTo>
                        <a:pt x="1415" y="1163"/>
                      </a:lnTo>
                      <a:lnTo>
                        <a:pt x="1415" y="1164"/>
                      </a:lnTo>
                      <a:lnTo>
                        <a:pt x="1415" y="1166"/>
                      </a:lnTo>
                      <a:lnTo>
                        <a:pt x="1416" y="1167"/>
                      </a:lnTo>
                      <a:lnTo>
                        <a:pt x="1416" y="1168"/>
                      </a:lnTo>
                      <a:lnTo>
                        <a:pt x="1416" y="1169"/>
                      </a:lnTo>
                      <a:lnTo>
                        <a:pt x="1416" y="1170"/>
                      </a:lnTo>
                      <a:lnTo>
                        <a:pt x="1417" y="1170"/>
                      </a:lnTo>
                      <a:lnTo>
                        <a:pt x="1417" y="1171"/>
                      </a:lnTo>
                      <a:lnTo>
                        <a:pt x="1417" y="1172"/>
                      </a:lnTo>
                      <a:lnTo>
                        <a:pt x="1416" y="1172"/>
                      </a:lnTo>
                      <a:lnTo>
                        <a:pt x="1417" y="1172"/>
                      </a:lnTo>
                      <a:lnTo>
                        <a:pt x="1418" y="1172"/>
                      </a:lnTo>
                      <a:lnTo>
                        <a:pt x="1418" y="1173"/>
                      </a:lnTo>
                      <a:lnTo>
                        <a:pt x="1417" y="1172"/>
                      </a:lnTo>
                      <a:lnTo>
                        <a:pt x="1416" y="1172"/>
                      </a:lnTo>
                      <a:lnTo>
                        <a:pt x="1415" y="1171"/>
                      </a:lnTo>
                      <a:lnTo>
                        <a:pt x="1414" y="1170"/>
                      </a:lnTo>
                      <a:lnTo>
                        <a:pt x="1413" y="1169"/>
                      </a:lnTo>
                      <a:lnTo>
                        <a:pt x="1413" y="1168"/>
                      </a:lnTo>
                      <a:lnTo>
                        <a:pt x="1413" y="1167"/>
                      </a:lnTo>
                      <a:lnTo>
                        <a:pt x="1412" y="1166"/>
                      </a:lnTo>
                      <a:lnTo>
                        <a:pt x="1410" y="1164"/>
                      </a:lnTo>
                      <a:lnTo>
                        <a:pt x="1410" y="1163"/>
                      </a:lnTo>
                      <a:lnTo>
                        <a:pt x="1410" y="1162"/>
                      </a:lnTo>
                      <a:lnTo>
                        <a:pt x="1410" y="1160"/>
                      </a:lnTo>
                      <a:lnTo>
                        <a:pt x="1409" y="1158"/>
                      </a:lnTo>
                      <a:lnTo>
                        <a:pt x="1409" y="1157"/>
                      </a:lnTo>
                      <a:lnTo>
                        <a:pt x="1409" y="1156"/>
                      </a:lnTo>
                      <a:lnTo>
                        <a:pt x="1408" y="1155"/>
                      </a:lnTo>
                      <a:lnTo>
                        <a:pt x="1407" y="1154"/>
                      </a:lnTo>
                      <a:lnTo>
                        <a:pt x="1406" y="1153"/>
                      </a:lnTo>
                      <a:lnTo>
                        <a:pt x="1405" y="1153"/>
                      </a:lnTo>
                      <a:lnTo>
                        <a:pt x="1404" y="1154"/>
                      </a:lnTo>
                      <a:lnTo>
                        <a:pt x="1403" y="1154"/>
                      </a:lnTo>
                      <a:lnTo>
                        <a:pt x="1402" y="1154"/>
                      </a:lnTo>
                      <a:lnTo>
                        <a:pt x="1402" y="1153"/>
                      </a:lnTo>
                      <a:lnTo>
                        <a:pt x="1403" y="1151"/>
                      </a:lnTo>
                      <a:lnTo>
                        <a:pt x="1402" y="1151"/>
                      </a:lnTo>
                      <a:lnTo>
                        <a:pt x="1401" y="1153"/>
                      </a:lnTo>
                      <a:lnTo>
                        <a:pt x="1397" y="1151"/>
                      </a:lnTo>
                      <a:lnTo>
                        <a:pt x="1396" y="1153"/>
                      </a:lnTo>
                      <a:lnTo>
                        <a:pt x="1394" y="1151"/>
                      </a:lnTo>
                      <a:lnTo>
                        <a:pt x="1392" y="1151"/>
                      </a:lnTo>
                      <a:lnTo>
                        <a:pt x="1393" y="1149"/>
                      </a:lnTo>
                      <a:lnTo>
                        <a:pt x="1397" y="1150"/>
                      </a:lnTo>
                      <a:close/>
                      <a:moveTo>
                        <a:pt x="1397" y="1124"/>
                      </a:moveTo>
                      <a:lnTo>
                        <a:pt x="1399" y="1124"/>
                      </a:lnTo>
                      <a:lnTo>
                        <a:pt x="1401" y="1125"/>
                      </a:lnTo>
                      <a:lnTo>
                        <a:pt x="1401" y="1124"/>
                      </a:lnTo>
                      <a:lnTo>
                        <a:pt x="1402" y="1124"/>
                      </a:lnTo>
                      <a:lnTo>
                        <a:pt x="1403" y="1124"/>
                      </a:lnTo>
                      <a:lnTo>
                        <a:pt x="1404" y="1125"/>
                      </a:lnTo>
                      <a:lnTo>
                        <a:pt x="1405" y="1127"/>
                      </a:lnTo>
                      <a:lnTo>
                        <a:pt x="1405" y="1128"/>
                      </a:lnTo>
                      <a:lnTo>
                        <a:pt x="1406" y="1128"/>
                      </a:lnTo>
                      <a:lnTo>
                        <a:pt x="1406" y="1129"/>
                      </a:lnTo>
                      <a:lnTo>
                        <a:pt x="1407" y="1130"/>
                      </a:lnTo>
                      <a:lnTo>
                        <a:pt x="1407" y="1131"/>
                      </a:lnTo>
                      <a:lnTo>
                        <a:pt x="1407" y="1132"/>
                      </a:lnTo>
                      <a:lnTo>
                        <a:pt x="1408" y="1132"/>
                      </a:lnTo>
                      <a:lnTo>
                        <a:pt x="1409" y="1132"/>
                      </a:lnTo>
                      <a:lnTo>
                        <a:pt x="1410" y="1132"/>
                      </a:lnTo>
                      <a:lnTo>
                        <a:pt x="1409" y="1132"/>
                      </a:lnTo>
                      <a:lnTo>
                        <a:pt x="1408" y="1132"/>
                      </a:lnTo>
                      <a:lnTo>
                        <a:pt x="1407" y="1132"/>
                      </a:lnTo>
                      <a:lnTo>
                        <a:pt x="1407" y="1133"/>
                      </a:lnTo>
                      <a:lnTo>
                        <a:pt x="1406" y="1132"/>
                      </a:lnTo>
                      <a:lnTo>
                        <a:pt x="1405" y="1132"/>
                      </a:lnTo>
                      <a:lnTo>
                        <a:pt x="1405" y="1131"/>
                      </a:lnTo>
                      <a:lnTo>
                        <a:pt x="1404" y="1131"/>
                      </a:lnTo>
                      <a:lnTo>
                        <a:pt x="1404" y="1130"/>
                      </a:lnTo>
                      <a:lnTo>
                        <a:pt x="1403" y="1130"/>
                      </a:lnTo>
                      <a:lnTo>
                        <a:pt x="1402" y="1129"/>
                      </a:lnTo>
                      <a:lnTo>
                        <a:pt x="1402" y="1130"/>
                      </a:lnTo>
                      <a:lnTo>
                        <a:pt x="1403" y="1130"/>
                      </a:lnTo>
                      <a:lnTo>
                        <a:pt x="1403" y="1131"/>
                      </a:lnTo>
                      <a:lnTo>
                        <a:pt x="1404" y="1131"/>
                      </a:lnTo>
                      <a:lnTo>
                        <a:pt x="1406" y="1133"/>
                      </a:lnTo>
                      <a:lnTo>
                        <a:pt x="1407" y="1133"/>
                      </a:lnTo>
                      <a:lnTo>
                        <a:pt x="1407" y="1134"/>
                      </a:lnTo>
                      <a:lnTo>
                        <a:pt x="1407" y="1133"/>
                      </a:lnTo>
                      <a:lnTo>
                        <a:pt x="1406" y="1135"/>
                      </a:lnTo>
                      <a:lnTo>
                        <a:pt x="1406" y="1134"/>
                      </a:lnTo>
                      <a:lnTo>
                        <a:pt x="1405" y="1134"/>
                      </a:lnTo>
                      <a:lnTo>
                        <a:pt x="1406" y="1135"/>
                      </a:lnTo>
                      <a:lnTo>
                        <a:pt x="1407" y="1135"/>
                      </a:lnTo>
                      <a:lnTo>
                        <a:pt x="1407" y="1134"/>
                      </a:lnTo>
                      <a:lnTo>
                        <a:pt x="1407" y="1135"/>
                      </a:lnTo>
                      <a:lnTo>
                        <a:pt x="1407" y="1136"/>
                      </a:lnTo>
                      <a:lnTo>
                        <a:pt x="1408" y="1136"/>
                      </a:lnTo>
                      <a:lnTo>
                        <a:pt x="1408" y="1135"/>
                      </a:lnTo>
                      <a:lnTo>
                        <a:pt x="1409" y="1135"/>
                      </a:lnTo>
                      <a:lnTo>
                        <a:pt x="1408" y="1136"/>
                      </a:lnTo>
                      <a:lnTo>
                        <a:pt x="1407" y="1136"/>
                      </a:lnTo>
                      <a:lnTo>
                        <a:pt x="1408" y="1137"/>
                      </a:lnTo>
                      <a:lnTo>
                        <a:pt x="1409" y="1137"/>
                      </a:lnTo>
                      <a:lnTo>
                        <a:pt x="1410" y="1137"/>
                      </a:lnTo>
                      <a:lnTo>
                        <a:pt x="1410" y="1136"/>
                      </a:lnTo>
                      <a:lnTo>
                        <a:pt x="1409" y="1136"/>
                      </a:lnTo>
                      <a:lnTo>
                        <a:pt x="1410" y="1136"/>
                      </a:lnTo>
                      <a:lnTo>
                        <a:pt x="1410" y="1137"/>
                      </a:lnTo>
                      <a:lnTo>
                        <a:pt x="1410" y="1138"/>
                      </a:lnTo>
                      <a:lnTo>
                        <a:pt x="1409" y="1138"/>
                      </a:lnTo>
                      <a:lnTo>
                        <a:pt x="1409" y="1137"/>
                      </a:lnTo>
                      <a:lnTo>
                        <a:pt x="1409" y="1138"/>
                      </a:lnTo>
                      <a:lnTo>
                        <a:pt x="1409" y="1140"/>
                      </a:lnTo>
                      <a:lnTo>
                        <a:pt x="1408" y="1137"/>
                      </a:lnTo>
                      <a:lnTo>
                        <a:pt x="1407" y="1136"/>
                      </a:lnTo>
                      <a:lnTo>
                        <a:pt x="1406" y="1135"/>
                      </a:lnTo>
                      <a:lnTo>
                        <a:pt x="1405" y="1134"/>
                      </a:lnTo>
                      <a:lnTo>
                        <a:pt x="1404" y="1134"/>
                      </a:lnTo>
                      <a:lnTo>
                        <a:pt x="1403" y="1133"/>
                      </a:lnTo>
                      <a:lnTo>
                        <a:pt x="1402" y="1133"/>
                      </a:lnTo>
                      <a:lnTo>
                        <a:pt x="1402" y="1132"/>
                      </a:lnTo>
                      <a:lnTo>
                        <a:pt x="1400" y="1132"/>
                      </a:lnTo>
                      <a:lnTo>
                        <a:pt x="1399" y="1131"/>
                      </a:lnTo>
                      <a:lnTo>
                        <a:pt x="1397" y="1130"/>
                      </a:lnTo>
                      <a:lnTo>
                        <a:pt x="1396" y="1129"/>
                      </a:lnTo>
                      <a:lnTo>
                        <a:pt x="1396" y="1128"/>
                      </a:lnTo>
                      <a:lnTo>
                        <a:pt x="1396" y="1127"/>
                      </a:lnTo>
                      <a:lnTo>
                        <a:pt x="1395" y="1125"/>
                      </a:lnTo>
                      <a:lnTo>
                        <a:pt x="1395" y="1124"/>
                      </a:lnTo>
                      <a:lnTo>
                        <a:pt x="1396" y="1124"/>
                      </a:lnTo>
                      <a:lnTo>
                        <a:pt x="1397" y="1124"/>
                      </a:lnTo>
                      <a:close/>
                      <a:moveTo>
                        <a:pt x="1115" y="976"/>
                      </a:moveTo>
                      <a:lnTo>
                        <a:pt x="1115" y="977"/>
                      </a:lnTo>
                      <a:lnTo>
                        <a:pt x="1115" y="978"/>
                      </a:lnTo>
                      <a:lnTo>
                        <a:pt x="1113" y="979"/>
                      </a:lnTo>
                      <a:lnTo>
                        <a:pt x="1113" y="978"/>
                      </a:lnTo>
                      <a:lnTo>
                        <a:pt x="1113" y="977"/>
                      </a:lnTo>
                      <a:lnTo>
                        <a:pt x="1113" y="976"/>
                      </a:lnTo>
                      <a:lnTo>
                        <a:pt x="1111" y="976"/>
                      </a:lnTo>
                      <a:lnTo>
                        <a:pt x="1111" y="977"/>
                      </a:lnTo>
                      <a:lnTo>
                        <a:pt x="1111" y="978"/>
                      </a:lnTo>
                      <a:lnTo>
                        <a:pt x="1111" y="979"/>
                      </a:lnTo>
                      <a:lnTo>
                        <a:pt x="1111" y="980"/>
                      </a:lnTo>
                      <a:lnTo>
                        <a:pt x="1110" y="980"/>
                      </a:lnTo>
                      <a:lnTo>
                        <a:pt x="1111" y="981"/>
                      </a:lnTo>
                      <a:lnTo>
                        <a:pt x="1113" y="983"/>
                      </a:lnTo>
                      <a:lnTo>
                        <a:pt x="1113" y="984"/>
                      </a:lnTo>
                      <a:lnTo>
                        <a:pt x="1115" y="984"/>
                      </a:lnTo>
                      <a:lnTo>
                        <a:pt x="1116" y="984"/>
                      </a:lnTo>
                      <a:lnTo>
                        <a:pt x="1117" y="984"/>
                      </a:lnTo>
                      <a:lnTo>
                        <a:pt x="1118" y="984"/>
                      </a:lnTo>
                      <a:lnTo>
                        <a:pt x="1119" y="984"/>
                      </a:lnTo>
                      <a:lnTo>
                        <a:pt x="1119" y="983"/>
                      </a:lnTo>
                      <a:lnTo>
                        <a:pt x="1120" y="983"/>
                      </a:lnTo>
                      <a:lnTo>
                        <a:pt x="1120" y="982"/>
                      </a:lnTo>
                      <a:lnTo>
                        <a:pt x="1121" y="982"/>
                      </a:lnTo>
                      <a:lnTo>
                        <a:pt x="1120" y="982"/>
                      </a:lnTo>
                      <a:lnTo>
                        <a:pt x="1119" y="982"/>
                      </a:lnTo>
                      <a:lnTo>
                        <a:pt x="1119" y="983"/>
                      </a:lnTo>
                      <a:lnTo>
                        <a:pt x="1117" y="983"/>
                      </a:lnTo>
                      <a:lnTo>
                        <a:pt x="1117" y="982"/>
                      </a:lnTo>
                      <a:lnTo>
                        <a:pt x="1118" y="982"/>
                      </a:lnTo>
                      <a:lnTo>
                        <a:pt x="1117" y="982"/>
                      </a:lnTo>
                      <a:lnTo>
                        <a:pt x="1118" y="982"/>
                      </a:lnTo>
                      <a:lnTo>
                        <a:pt x="1118" y="981"/>
                      </a:lnTo>
                      <a:lnTo>
                        <a:pt x="1118" y="980"/>
                      </a:lnTo>
                      <a:lnTo>
                        <a:pt x="1120" y="980"/>
                      </a:lnTo>
                      <a:lnTo>
                        <a:pt x="1121" y="980"/>
                      </a:lnTo>
                      <a:lnTo>
                        <a:pt x="1121" y="979"/>
                      </a:lnTo>
                      <a:lnTo>
                        <a:pt x="1122" y="980"/>
                      </a:lnTo>
                      <a:lnTo>
                        <a:pt x="1123" y="981"/>
                      </a:lnTo>
                      <a:lnTo>
                        <a:pt x="1124" y="981"/>
                      </a:lnTo>
                      <a:lnTo>
                        <a:pt x="1125" y="981"/>
                      </a:lnTo>
                      <a:lnTo>
                        <a:pt x="1126" y="981"/>
                      </a:lnTo>
                      <a:lnTo>
                        <a:pt x="1128" y="981"/>
                      </a:lnTo>
                      <a:lnTo>
                        <a:pt x="1129" y="981"/>
                      </a:lnTo>
                      <a:lnTo>
                        <a:pt x="1129" y="980"/>
                      </a:lnTo>
                      <a:lnTo>
                        <a:pt x="1129" y="981"/>
                      </a:lnTo>
                      <a:lnTo>
                        <a:pt x="1130" y="981"/>
                      </a:lnTo>
                      <a:lnTo>
                        <a:pt x="1129" y="981"/>
                      </a:lnTo>
                      <a:lnTo>
                        <a:pt x="1129" y="982"/>
                      </a:lnTo>
                      <a:lnTo>
                        <a:pt x="1128" y="982"/>
                      </a:lnTo>
                      <a:lnTo>
                        <a:pt x="1126" y="982"/>
                      </a:lnTo>
                      <a:lnTo>
                        <a:pt x="1126" y="983"/>
                      </a:lnTo>
                      <a:lnTo>
                        <a:pt x="1126" y="984"/>
                      </a:lnTo>
                      <a:lnTo>
                        <a:pt x="1125" y="984"/>
                      </a:lnTo>
                      <a:lnTo>
                        <a:pt x="1124" y="984"/>
                      </a:lnTo>
                      <a:lnTo>
                        <a:pt x="1123" y="986"/>
                      </a:lnTo>
                      <a:lnTo>
                        <a:pt x="1122" y="986"/>
                      </a:lnTo>
                      <a:lnTo>
                        <a:pt x="1122" y="987"/>
                      </a:lnTo>
                      <a:lnTo>
                        <a:pt x="1121" y="987"/>
                      </a:lnTo>
                      <a:lnTo>
                        <a:pt x="1120" y="987"/>
                      </a:lnTo>
                      <a:lnTo>
                        <a:pt x="1120" y="988"/>
                      </a:lnTo>
                      <a:lnTo>
                        <a:pt x="1119" y="988"/>
                      </a:lnTo>
                      <a:lnTo>
                        <a:pt x="1118" y="988"/>
                      </a:lnTo>
                      <a:lnTo>
                        <a:pt x="1117" y="988"/>
                      </a:lnTo>
                      <a:lnTo>
                        <a:pt x="1116" y="988"/>
                      </a:lnTo>
                      <a:lnTo>
                        <a:pt x="1113" y="988"/>
                      </a:lnTo>
                      <a:lnTo>
                        <a:pt x="1113" y="987"/>
                      </a:lnTo>
                      <a:lnTo>
                        <a:pt x="1112" y="987"/>
                      </a:lnTo>
                      <a:lnTo>
                        <a:pt x="1113" y="987"/>
                      </a:lnTo>
                      <a:lnTo>
                        <a:pt x="1115" y="987"/>
                      </a:lnTo>
                      <a:lnTo>
                        <a:pt x="1115" y="986"/>
                      </a:lnTo>
                      <a:lnTo>
                        <a:pt x="1116" y="987"/>
                      </a:lnTo>
                      <a:lnTo>
                        <a:pt x="1116" y="986"/>
                      </a:lnTo>
                      <a:lnTo>
                        <a:pt x="1117" y="986"/>
                      </a:lnTo>
                      <a:lnTo>
                        <a:pt x="1117" y="984"/>
                      </a:lnTo>
                      <a:lnTo>
                        <a:pt x="1118" y="986"/>
                      </a:lnTo>
                      <a:lnTo>
                        <a:pt x="1119" y="986"/>
                      </a:lnTo>
                      <a:lnTo>
                        <a:pt x="1119" y="984"/>
                      </a:lnTo>
                      <a:lnTo>
                        <a:pt x="1120" y="984"/>
                      </a:lnTo>
                      <a:lnTo>
                        <a:pt x="1121" y="984"/>
                      </a:lnTo>
                      <a:lnTo>
                        <a:pt x="1122" y="984"/>
                      </a:lnTo>
                      <a:lnTo>
                        <a:pt x="1123" y="984"/>
                      </a:lnTo>
                      <a:lnTo>
                        <a:pt x="1123" y="983"/>
                      </a:lnTo>
                      <a:lnTo>
                        <a:pt x="1122" y="983"/>
                      </a:lnTo>
                      <a:lnTo>
                        <a:pt x="1122" y="984"/>
                      </a:lnTo>
                      <a:lnTo>
                        <a:pt x="1121" y="984"/>
                      </a:lnTo>
                      <a:lnTo>
                        <a:pt x="1121" y="983"/>
                      </a:lnTo>
                      <a:lnTo>
                        <a:pt x="1120" y="983"/>
                      </a:lnTo>
                      <a:lnTo>
                        <a:pt x="1121" y="983"/>
                      </a:lnTo>
                      <a:lnTo>
                        <a:pt x="1122" y="982"/>
                      </a:lnTo>
                      <a:lnTo>
                        <a:pt x="1122" y="981"/>
                      </a:lnTo>
                      <a:lnTo>
                        <a:pt x="1122" y="982"/>
                      </a:lnTo>
                      <a:lnTo>
                        <a:pt x="1123" y="982"/>
                      </a:lnTo>
                      <a:lnTo>
                        <a:pt x="1122" y="982"/>
                      </a:lnTo>
                      <a:lnTo>
                        <a:pt x="1122" y="983"/>
                      </a:lnTo>
                      <a:lnTo>
                        <a:pt x="1122" y="982"/>
                      </a:lnTo>
                      <a:lnTo>
                        <a:pt x="1123" y="982"/>
                      </a:lnTo>
                      <a:lnTo>
                        <a:pt x="1123" y="983"/>
                      </a:lnTo>
                      <a:lnTo>
                        <a:pt x="1124" y="982"/>
                      </a:lnTo>
                      <a:lnTo>
                        <a:pt x="1123" y="982"/>
                      </a:lnTo>
                      <a:lnTo>
                        <a:pt x="1123" y="981"/>
                      </a:lnTo>
                      <a:lnTo>
                        <a:pt x="1122" y="981"/>
                      </a:lnTo>
                      <a:lnTo>
                        <a:pt x="1122" y="980"/>
                      </a:lnTo>
                      <a:lnTo>
                        <a:pt x="1122" y="981"/>
                      </a:lnTo>
                      <a:lnTo>
                        <a:pt x="1121" y="981"/>
                      </a:lnTo>
                      <a:lnTo>
                        <a:pt x="1120" y="981"/>
                      </a:lnTo>
                      <a:lnTo>
                        <a:pt x="1119" y="982"/>
                      </a:lnTo>
                      <a:lnTo>
                        <a:pt x="1118" y="982"/>
                      </a:lnTo>
                      <a:lnTo>
                        <a:pt x="1119" y="982"/>
                      </a:lnTo>
                      <a:lnTo>
                        <a:pt x="1120" y="982"/>
                      </a:lnTo>
                      <a:lnTo>
                        <a:pt x="1120" y="981"/>
                      </a:lnTo>
                      <a:lnTo>
                        <a:pt x="1121" y="981"/>
                      </a:lnTo>
                      <a:lnTo>
                        <a:pt x="1122" y="981"/>
                      </a:lnTo>
                      <a:lnTo>
                        <a:pt x="1121" y="982"/>
                      </a:lnTo>
                      <a:lnTo>
                        <a:pt x="1120" y="982"/>
                      </a:lnTo>
                      <a:lnTo>
                        <a:pt x="1120" y="983"/>
                      </a:lnTo>
                      <a:lnTo>
                        <a:pt x="1120" y="984"/>
                      </a:lnTo>
                      <a:lnTo>
                        <a:pt x="1119" y="984"/>
                      </a:lnTo>
                      <a:lnTo>
                        <a:pt x="1118" y="984"/>
                      </a:lnTo>
                      <a:lnTo>
                        <a:pt x="1117" y="984"/>
                      </a:lnTo>
                      <a:lnTo>
                        <a:pt x="1116" y="986"/>
                      </a:lnTo>
                      <a:lnTo>
                        <a:pt x="1115" y="986"/>
                      </a:lnTo>
                      <a:lnTo>
                        <a:pt x="1113" y="986"/>
                      </a:lnTo>
                      <a:lnTo>
                        <a:pt x="1112" y="986"/>
                      </a:lnTo>
                      <a:lnTo>
                        <a:pt x="1112" y="984"/>
                      </a:lnTo>
                      <a:lnTo>
                        <a:pt x="1112" y="983"/>
                      </a:lnTo>
                      <a:lnTo>
                        <a:pt x="1111" y="983"/>
                      </a:lnTo>
                      <a:lnTo>
                        <a:pt x="1111" y="982"/>
                      </a:lnTo>
                      <a:lnTo>
                        <a:pt x="1110" y="982"/>
                      </a:lnTo>
                      <a:lnTo>
                        <a:pt x="1110" y="981"/>
                      </a:lnTo>
                      <a:lnTo>
                        <a:pt x="1109" y="981"/>
                      </a:lnTo>
                      <a:lnTo>
                        <a:pt x="1110" y="981"/>
                      </a:lnTo>
                      <a:lnTo>
                        <a:pt x="1110" y="980"/>
                      </a:lnTo>
                      <a:lnTo>
                        <a:pt x="1109" y="980"/>
                      </a:lnTo>
                      <a:lnTo>
                        <a:pt x="1110" y="979"/>
                      </a:lnTo>
                      <a:lnTo>
                        <a:pt x="1110" y="978"/>
                      </a:lnTo>
                      <a:lnTo>
                        <a:pt x="1110" y="977"/>
                      </a:lnTo>
                      <a:lnTo>
                        <a:pt x="1110" y="976"/>
                      </a:lnTo>
                      <a:lnTo>
                        <a:pt x="1111" y="976"/>
                      </a:lnTo>
                      <a:lnTo>
                        <a:pt x="1112" y="976"/>
                      </a:lnTo>
                      <a:lnTo>
                        <a:pt x="1115" y="976"/>
                      </a:lnTo>
                      <a:close/>
                      <a:moveTo>
                        <a:pt x="1219" y="1032"/>
                      </a:moveTo>
                      <a:lnTo>
                        <a:pt x="1220" y="1032"/>
                      </a:lnTo>
                      <a:lnTo>
                        <a:pt x="1220" y="1033"/>
                      </a:lnTo>
                      <a:lnTo>
                        <a:pt x="1220" y="1034"/>
                      </a:lnTo>
                      <a:lnTo>
                        <a:pt x="1219" y="1034"/>
                      </a:lnTo>
                      <a:lnTo>
                        <a:pt x="1220" y="1034"/>
                      </a:lnTo>
                      <a:lnTo>
                        <a:pt x="1219" y="1034"/>
                      </a:lnTo>
                      <a:lnTo>
                        <a:pt x="1219" y="1035"/>
                      </a:lnTo>
                      <a:lnTo>
                        <a:pt x="1221" y="1035"/>
                      </a:lnTo>
                      <a:lnTo>
                        <a:pt x="1222" y="1035"/>
                      </a:lnTo>
                      <a:lnTo>
                        <a:pt x="1222" y="1034"/>
                      </a:lnTo>
                      <a:lnTo>
                        <a:pt x="1223" y="1034"/>
                      </a:lnTo>
                      <a:lnTo>
                        <a:pt x="1222" y="1033"/>
                      </a:lnTo>
                      <a:lnTo>
                        <a:pt x="1222" y="1032"/>
                      </a:lnTo>
                      <a:lnTo>
                        <a:pt x="1222" y="1033"/>
                      </a:lnTo>
                      <a:lnTo>
                        <a:pt x="1223" y="1033"/>
                      </a:lnTo>
                      <a:lnTo>
                        <a:pt x="1223" y="1034"/>
                      </a:lnTo>
                      <a:lnTo>
                        <a:pt x="1224" y="1034"/>
                      </a:lnTo>
                      <a:lnTo>
                        <a:pt x="1226" y="1034"/>
                      </a:lnTo>
                      <a:lnTo>
                        <a:pt x="1227" y="1034"/>
                      </a:lnTo>
                      <a:lnTo>
                        <a:pt x="1227" y="1035"/>
                      </a:lnTo>
                      <a:lnTo>
                        <a:pt x="1227" y="1037"/>
                      </a:lnTo>
                      <a:lnTo>
                        <a:pt x="1226" y="1038"/>
                      </a:lnTo>
                      <a:lnTo>
                        <a:pt x="1226" y="1039"/>
                      </a:lnTo>
                      <a:lnTo>
                        <a:pt x="1227" y="1039"/>
                      </a:lnTo>
                      <a:lnTo>
                        <a:pt x="1227" y="1040"/>
                      </a:lnTo>
                      <a:lnTo>
                        <a:pt x="1227" y="1041"/>
                      </a:lnTo>
                      <a:lnTo>
                        <a:pt x="1226" y="1041"/>
                      </a:lnTo>
                      <a:lnTo>
                        <a:pt x="1226" y="1042"/>
                      </a:lnTo>
                      <a:lnTo>
                        <a:pt x="1225" y="1042"/>
                      </a:lnTo>
                      <a:lnTo>
                        <a:pt x="1224" y="1042"/>
                      </a:lnTo>
                      <a:lnTo>
                        <a:pt x="1224" y="1043"/>
                      </a:lnTo>
                      <a:lnTo>
                        <a:pt x="1223" y="1043"/>
                      </a:lnTo>
                      <a:lnTo>
                        <a:pt x="1222" y="1043"/>
                      </a:lnTo>
                      <a:lnTo>
                        <a:pt x="1221" y="1043"/>
                      </a:lnTo>
                      <a:lnTo>
                        <a:pt x="1221" y="1042"/>
                      </a:lnTo>
                      <a:lnTo>
                        <a:pt x="1220" y="1042"/>
                      </a:lnTo>
                      <a:lnTo>
                        <a:pt x="1219" y="1042"/>
                      </a:lnTo>
                      <a:lnTo>
                        <a:pt x="1219" y="1041"/>
                      </a:lnTo>
                      <a:lnTo>
                        <a:pt x="1218" y="1041"/>
                      </a:lnTo>
                      <a:lnTo>
                        <a:pt x="1218" y="1040"/>
                      </a:lnTo>
                      <a:lnTo>
                        <a:pt x="1218" y="1041"/>
                      </a:lnTo>
                      <a:lnTo>
                        <a:pt x="1216" y="1040"/>
                      </a:lnTo>
                      <a:lnTo>
                        <a:pt x="1216" y="1039"/>
                      </a:lnTo>
                      <a:lnTo>
                        <a:pt x="1218" y="1039"/>
                      </a:lnTo>
                      <a:lnTo>
                        <a:pt x="1218" y="1038"/>
                      </a:lnTo>
                      <a:lnTo>
                        <a:pt x="1219" y="1038"/>
                      </a:lnTo>
                      <a:lnTo>
                        <a:pt x="1219" y="1037"/>
                      </a:lnTo>
                      <a:lnTo>
                        <a:pt x="1218" y="1037"/>
                      </a:lnTo>
                      <a:lnTo>
                        <a:pt x="1218" y="1035"/>
                      </a:lnTo>
                      <a:lnTo>
                        <a:pt x="1219" y="1035"/>
                      </a:lnTo>
                      <a:lnTo>
                        <a:pt x="1219" y="1033"/>
                      </a:lnTo>
                      <a:lnTo>
                        <a:pt x="1220" y="1033"/>
                      </a:lnTo>
                      <a:lnTo>
                        <a:pt x="1219" y="1033"/>
                      </a:lnTo>
                      <a:lnTo>
                        <a:pt x="1219" y="1032"/>
                      </a:lnTo>
                      <a:lnTo>
                        <a:pt x="1218" y="1032"/>
                      </a:lnTo>
                      <a:lnTo>
                        <a:pt x="1219" y="1032"/>
                      </a:lnTo>
                      <a:close/>
                      <a:moveTo>
                        <a:pt x="1298" y="1089"/>
                      </a:moveTo>
                      <a:lnTo>
                        <a:pt x="1298" y="1090"/>
                      </a:lnTo>
                      <a:lnTo>
                        <a:pt x="1298" y="1091"/>
                      </a:lnTo>
                      <a:lnTo>
                        <a:pt x="1297" y="1091"/>
                      </a:lnTo>
                      <a:lnTo>
                        <a:pt x="1297" y="1092"/>
                      </a:lnTo>
                      <a:lnTo>
                        <a:pt x="1297" y="1093"/>
                      </a:lnTo>
                      <a:lnTo>
                        <a:pt x="1296" y="1093"/>
                      </a:lnTo>
                      <a:lnTo>
                        <a:pt x="1295" y="1094"/>
                      </a:lnTo>
                      <a:lnTo>
                        <a:pt x="1293" y="1095"/>
                      </a:lnTo>
                      <a:lnTo>
                        <a:pt x="1292" y="1096"/>
                      </a:lnTo>
                      <a:lnTo>
                        <a:pt x="1291" y="1097"/>
                      </a:lnTo>
                      <a:lnTo>
                        <a:pt x="1290" y="1098"/>
                      </a:lnTo>
                      <a:lnTo>
                        <a:pt x="1289" y="1099"/>
                      </a:lnTo>
                      <a:lnTo>
                        <a:pt x="1288" y="1101"/>
                      </a:lnTo>
                      <a:lnTo>
                        <a:pt x="1287" y="1099"/>
                      </a:lnTo>
                      <a:lnTo>
                        <a:pt x="1287" y="1101"/>
                      </a:lnTo>
                      <a:lnTo>
                        <a:pt x="1286" y="1101"/>
                      </a:lnTo>
                      <a:lnTo>
                        <a:pt x="1286" y="1102"/>
                      </a:lnTo>
                      <a:lnTo>
                        <a:pt x="1285" y="1102"/>
                      </a:lnTo>
                      <a:lnTo>
                        <a:pt x="1285" y="1103"/>
                      </a:lnTo>
                      <a:lnTo>
                        <a:pt x="1284" y="1103"/>
                      </a:lnTo>
                      <a:lnTo>
                        <a:pt x="1284" y="1102"/>
                      </a:lnTo>
                      <a:lnTo>
                        <a:pt x="1283" y="1102"/>
                      </a:lnTo>
                      <a:lnTo>
                        <a:pt x="1283" y="1103"/>
                      </a:lnTo>
                      <a:lnTo>
                        <a:pt x="1283" y="1104"/>
                      </a:lnTo>
                      <a:lnTo>
                        <a:pt x="1282" y="1104"/>
                      </a:lnTo>
                      <a:lnTo>
                        <a:pt x="1282" y="1105"/>
                      </a:lnTo>
                      <a:lnTo>
                        <a:pt x="1280" y="1105"/>
                      </a:lnTo>
                      <a:lnTo>
                        <a:pt x="1280" y="1106"/>
                      </a:lnTo>
                      <a:lnTo>
                        <a:pt x="1279" y="1106"/>
                      </a:lnTo>
                      <a:lnTo>
                        <a:pt x="1279" y="1105"/>
                      </a:lnTo>
                      <a:lnTo>
                        <a:pt x="1279" y="1104"/>
                      </a:lnTo>
                      <a:lnTo>
                        <a:pt x="1278" y="1104"/>
                      </a:lnTo>
                      <a:lnTo>
                        <a:pt x="1278" y="1103"/>
                      </a:lnTo>
                      <a:lnTo>
                        <a:pt x="1278" y="1102"/>
                      </a:lnTo>
                      <a:lnTo>
                        <a:pt x="1278" y="1101"/>
                      </a:lnTo>
                      <a:lnTo>
                        <a:pt x="1279" y="1101"/>
                      </a:lnTo>
                      <a:lnTo>
                        <a:pt x="1280" y="1101"/>
                      </a:lnTo>
                      <a:lnTo>
                        <a:pt x="1282" y="1101"/>
                      </a:lnTo>
                      <a:lnTo>
                        <a:pt x="1282" y="1099"/>
                      </a:lnTo>
                      <a:lnTo>
                        <a:pt x="1283" y="1098"/>
                      </a:lnTo>
                      <a:lnTo>
                        <a:pt x="1283" y="1099"/>
                      </a:lnTo>
                      <a:lnTo>
                        <a:pt x="1283" y="1101"/>
                      </a:lnTo>
                      <a:lnTo>
                        <a:pt x="1284" y="1101"/>
                      </a:lnTo>
                      <a:lnTo>
                        <a:pt x="1285" y="1101"/>
                      </a:lnTo>
                      <a:lnTo>
                        <a:pt x="1285" y="1099"/>
                      </a:lnTo>
                      <a:lnTo>
                        <a:pt x="1286" y="1099"/>
                      </a:lnTo>
                      <a:lnTo>
                        <a:pt x="1287" y="1099"/>
                      </a:lnTo>
                      <a:lnTo>
                        <a:pt x="1287" y="1098"/>
                      </a:lnTo>
                      <a:lnTo>
                        <a:pt x="1288" y="1098"/>
                      </a:lnTo>
                      <a:lnTo>
                        <a:pt x="1288" y="1097"/>
                      </a:lnTo>
                      <a:lnTo>
                        <a:pt x="1288" y="1096"/>
                      </a:lnTo>
                      <a:lnTo>
                        <a:pt x="1288" y="1095"/>
                      </a:lnTo>
                      <a:lnTo>
                        <a:pt x="1288" y="1094"/>
                      </a:lnTo>
                      <a:lnTo>
                        <a:pt x="1290" y="1093"/>
                      </a:lnTo>
                      <a:lnTo>
                        <a:pt x="1291" y="1093"/>
                      </a:lnTo>
                      <a:lnTo>
                        <a:pt x="1291" y="1094"/>
                      </a:lnTo>
                      <a:lnTo>
                        <a:pt x="1292" y="1095"/>
                      </a:lnTo>
                      <a:lnTo>
                        <a:pt x="1292" y="1094"/>
                      </a:lnTo>
                      <a:lnTo>
                        <a:pt x="1293" y="1093"/>
                      </a:lnTo>
                      <a:lnTo>
                        <a:pt x="1293" y="1092"/>
                      </a:lnTo>
                      <a:lnTo>
                        <a:pt x="1293" y="1091"/>
                      </a:lnTo>
                      <a:lnTo>
                        <a:pt x="1295" y="1091"/>
                      </a:lnTo>
                      <a:lnTo>
                        <a:pt x="1295" y="1090"/>
                      </a:lnTo>
                      <a:lnTo>
                        <a:pt x="1295" y="1089"/>
                      </a:lnTo>
                      <a:lnTo>
                        <a:pt x="1296" y="1089"/>
                      </a:lnTo>
                      <a:lnTo>
                        <a:pt x="1297" y="1089"/>
                      </a:lnTo>
                      <a:lnTo>
                        <a:pt x="1298" y="1088"/>
                      </a:lnTo>
                      <a:lnTo>
                        <a:pt x="1297" y="1088"/>
                      </a:lnTo>
                      <a:lnTo>
                        <a:pt x="1298" y="1086"/>
                      </a:lnTo>
                      <a:lnTo>
                        <a:pt x="1298" y="1085"/>
                      </a:lnTo>
                      <a:lnTo>
                        <a:pt x="1298" y="1086"/>
                      </a:lnTo>
                      <a:lnTo>
                        <a:pt x="1299" y="1086"/>
                      </a:lnTo>
                      <a:lnTo>
                        <a:pt x="1299" y="1089"/>
                      </a:lnTo>
                      <a:lnTo>
                        <a:pt x="1298" y="1089"/>
                      </a:lnTo>
                      <a:close/>
                      <a:moveTo>
                        <a:pt x="1417" y="994"/>
                      </a:moveTo>
                      <a:lnTo>
                        <a:pt x="1417" y="995"/>
                      </a:lnTo>
                      <a:lnTo>
                        <a:pt x="1418" y="995"/>
                      </a:lnTo>
                      <a:lnTo>
                        <a:pt x="1417" y="995"/>
                      </a:lnTo>
                      <a:lnTo>
                        <a:pt x="1416" y="995"/>
                      </a:lnTo>
                      <a:lnTo>
                        <a:pt x="1415" y="996"/>
                      </a:lnTo>
                      <a:lnTo>
                        <a:pt x="1414" y="996"/>
                      </a:lnTo>
                      <a:lnTo>
                        <a:pt x="1414" y="998"/>
                      </a:lnTo>
                      <a:lnTo>
                        <a:pt x="1413" y="999"/>
                      </a:lnTo>
                      <a:lnTo>
                        <a:pt x="1412" y="999"/>
                      </a:lnTo>
                      <a:lnTo>
                        <a:pt x="1412" y="1000"/>
                      </a:lnTo>
                      <a:lnTo>
                        <a:pt x="1410" y="1000"/>
                      </a:lnTo>
                      <a:lnTo>
                        <a:pt x="1409" y="1001"/>
                      </a:lnTo>
                      <a:lnTo>
                        <a:pt x="1408" y="1001"/>
                      </a:lnTo>
                      <a:lnTo>
                        <a:pt x="1407" y="1001"/>
                      </a:lnTo>
                      <a:lnTo>
                        <a:pt x="1407" y="999"/>
                      </a:lnTo>
                      <a:lnTo>
                        <a:pt x="1407" y="996"/>
                      </a:lnTo>
                      <a:lnTo>
                        <a:pt x="1408" y="995"/>
                      </a:lnTo>
                      <a:lnTo>
                        <a:pt x="1408" y="994"/>
                      </a:lnTo>
                      <a:lnTo>
                        <a:pt x="1408" y="993"/>
                      </a:lnTo>
                      <a:lnTo>
                        <a:pt x="1409" y="992"/>
                      </a:lnTo>
                      <a:lnTo>
                        <a:pt x="1410" y="991"/>
                      </a:lnTo>
                      <a:lnTo>
                        <a:pt x="1412" y="990"/>
                      </a:lnTo>
                      <a:lnTo>
                        <a:pt x="1413" y="990"/>
                      </a:lnTo>
                      <a:lnTo>
                        <a:pt x="1414" y="989"/>
                      </a:lnTo>
                      <a:lnTo>
                        <a:pt x="1415" y="989"/>
                      </a:lnTo>
                      <a:lnTo>
                        <a:pt x="1414" y="990"/>
                      </a:lnTo>
                      <a:lnTo>
                        <a:pt x="1415" y="991"/>
                      </a:lnTo>
                      <a:lnTo>
                        <a:pt x="1416" y="991"/>
                      </a:lnTo>
                      <a:lnTo>
                        <a:pt x="1416" y="992"/>
                      </a:lnTo>
                      <a:lnTo>
                        <a:pt x="1417" y="993"/>
                      </a:lnTo>
                      <a:lnTo>
                        <a:pt x="1416" y="993"/>
                      </a:lnTo>
                      <a:lnTo>
                        <a:pt x="1416" y="994"/>
                      </a:lnTo>
                      <a:lnTo>
                        <a:pt x="1417" y="994"/>
                      </a:lnTo>
                      <a:close/>
                      <a:moveTo>
                        <a:pt x="1126" y="958"/>
                      </a:moveTo>
                      <a:lnTo>
                        <a:pt x="1126" y="960"/>
                      </a:lnTo>
                      <a:lnTo>
                        <a:pt x="1128" y="961"/>
                      </a:lnTo>
                      <a:lnTo>
                        <a:pt x="1129" y="961"/>
                      </a:lnTo>
                      <a:lnTo>
                        <a:pt x="1129" y="962"/>
                      </a:lnTo>
                      <a:lnTo>
                        <a:pt x="1130" y="963"/>
                      </a:lnTo>
                      <a:lnTo>
                        <a:pt x="1131" y="963"/>
                      </a:lnTo>
                      <a:lnTo>
                        <a:pt x="1131" y="964"/>
                      </a:lnTo>
                      <a:lnTo>
                        <a:pt x="1132" y="964"/>
                      </a:lnTo>
                      <a:lnTo>
                        <a:pt x="1132" y="965"/>
                      </a:lnTo>
                      <a:lnTo>
                        <a:pt x="1132" y="967"/>
                      </a:lnTo>
                      <a:lnTo>
                        <a:pt x="1131" y="967"/>
                      </a:lnTo>
                      <a:lnTo>
                        <a:pt x="1130" y="967"/>
                      </a:lnTo>
                      <a:lnTo>
                        <a:pt x="1129" y="967"/>
                      </a:lnTo>
                      <a:lnTo>
                        <a:pt x="1129" y="968"/>
                      </a:lnTo>
                      <a:lnTo>
                        <a:pt x="1129" y="967"/>
                      </a:lnTo>
                      <a:lnTo>
                        <a:pt x="1130" y="967"/>
                      </a:lnTo>
                      <a:lnTo>
                        <a:pt x="1130" y="968"/>
                      </a:lnTo>
                      <a:lnTo>
                        <a:pt x="1131" y="968"/>
                      </a:lnTo>
                      <a:lnTo>
                        <a:pt x="1130" y="968"/>
                      </a:lnTo>
                      <a:lnTo>
                        <a:pt x="1130" y="967"/>
                      </a:lnTo>
                      <a:lnTo>
                        <a:pt x="1131" y="967"/>
                      </a:lnTo>
                      <a:lnTo>
                        <a:pt x="1131" y="968"/>
                      </a:lnTo>
                      <a:lnTo>
                        <a:pt x="1131" y="967"/>
                      </a:lnTo>
                      <a:lnTo>
                        <a:pt x="1131" y="968"/>
                      </a:lnTo>
                      <a:lnTo>
                        <a:pt x="1132" y="968"/>
                      </a:lnTo>
                      <a:lnTo>
                        <a:pt x="1134" y="968"/>
                      </a:lnTo>
                      <a:lnTo>
                        <a:pt x="1133" y="968"/>
                      </a:lnTo>
                      <a:lnTo>
                        <a:pt x="1133" y="969"/>
                      </a:lnTo>
                      <a:lnTo>
                        <a:pt x="1134" y="969"/>
                      </a:lnTo>
                      <a:lnTo>
                        <a:pt x="1133" y="969"/>
                      </a:lnTo>
                      <a:lnTo>
                        <a:pt x="1133" y="970"/>
                      </a:lnTo>
                      <a:lnTo>
                        <a:pt x="1132" y="969"/>
                      </a:lnTo>
                      <a:lnTo>
                        <a:pt x="1132" y="970"/>
                      </a:lnTo>
                      <a:lnTo>
                        <a:pt x="1131" y="969"/>
                      </a:lnTo>
                      <a:lnTo>
                        <a:pt x="1131" y="968"/>
                      </a:lnTo>
                      <a:lnTo>
                        <a:pt x="1130" y="969"/>
                      </a:lnTo>
                      <a:lnTo>
                        <a:pt x="1129" y="969"/>
                      </a:lnTo>
                      <a:lnTo>
                        <a:pt x="1129" y="968"/>
                      </a:lnTo>
                      <a:lnTo>
                        <a:pt x="1128" y="968"/>
                      </a:lnTo>
                      <a:lnTo>
                        <a:pt x="1128" y="967"/>
                      </a:lnTo>
                      <a:lnTo>
                        <a:pt x="1128" y="966"/>
                      </a:lnTo>
                      <a:lnTo>
                        <a:pt x="1128" y="965"/>
                      </a:lnTo>
                      <a:lnTo>
                        <a:pt x="1129" y="965"/>
                      </a:lnTo>
                      <a:lnTo>
                        <a:pt x="1129" y="966"/>
                      </a:lnTo>
                      <a:lnTo>
                        <a:pt x="1129" y="965"/>
                      </a:lnTo>
                      <a:lnTo>
                        <a:pt x="1128" y="965"/>
                      </a:lnTo>
                      <a:lnTo>
                        <a:pt x="1128" y="966"/>
                      </a:lnTo>
                      <a:lnTo>
                        <a:pt x="1128" y="967"/>
                      </a:lnTo>
                      <a:lnTo>
                        <a:pt x="1126" y="967"/>
                      </a:lnTo>
                      <a:lnTo>
                        <a:pt x="1128" y="967"/>
                      </a:lnTo>
                      <a:lnTo>
                        <a:pt x="1128" y="968"/>
                      </a:lnTo>
                      <a:lnTo>
                        <a:pt x="1126" y="968"/>
                      </a:lnTo>
                      <a:lnTo>
                        <a:pt x="1125" y="967"/>
                      </a:lnTo>
                      <a:lnTo>
                        <a:pt x="1125" y="966"/>
                      </a:lnTo>
                      <a:lnTo>
                        <a:pt x="1122" y="963"/>
                      </a:lnTo>
                      <a:lnTo>
                        <a:pt x="1122" y="962"/>
                      </a:lnTo>
                      <a:lnTo>
                        <a:pt x="1121" y="962"/>
                      </a:lnTo>
                      <a:lnTo>
                        <a:pt x="1121" y="963"/>
                      </a:lnTo>
                      <a:lnTo>
                        <a:pt x="1120" y="962"/>
                      </a:lnTo>
                      <a:lnTo>
                        <a:pt x="1121" y="961"/>
                      </a:lnTo>
                      <a:lnTo>
                        <a:pt x="1122" y="962"/>
                      </a:lnTo>
                      <a:lnTo>
                        <a:pt x="1122" y="961"/>
                      </a:lnTo>
                      <a:lnTo>
                        <a:pt x="1122" y="960"/>
                      </a:lnTo>
                      <a:lnTo>
                        <a:pt x="1122" y="958"/>
                      </a:lnTo>
                      <a:lnTo>
                        <a:pt x="1123" y="960"/>
                      </a:lnTo>
                      <a:lnTo>
                        <a:pt x="1124" y="960"/>
                      </a:lnTo>
                      <a:lnTo>
                        <a:pt x="1125" y="958"/>
                      </a:lnTo>
                      <a:lnTo>
                        <a:pt x="1125" y="957"/>
                      </a:lnTo>
                      <a:lnTo>
                        <a:pt x="1124" y="957"/>
                      </a:lnTo>
                      <a:lnTo>
                        <a:pt x="1125" y="956"/>
                      </a:lnTo>
                      <a:lnTo>
                        <a:pt x="1125" y="955"/>
                      </a:lnTo>
                      <a:lnTo>
                        <a:pt x="1126" y="956"/>
                      </a:lnTo>
                      <a:lnTo>
                        <a:pt x="1125" y="956"/>
                      </a:lnTo>
                      <a:lnTo>
                        <a:pt x="1125" y="957"/>
                      </a:lnTo>
                      <a:lnTo>
                        <a:pt x="1126" y="957"/>
                      </a:lnTo>
                      <a:lnTo>
                        <a:pt x="1126" y="958"/>
                      </a:lnTo>
                      <a:close/>
                      <a:moveTo>
                        <a:pt x="1081" y="964"/>
                      </a:moveTo>
                      <a:lnTo>
                        <a:pt x="1082" y="964"/>
                      </a:lnTo>
                      <a:lnTo>
                        <a:pt x="1082" y="965"/>
                      </a:lnTo>
                      <a:lnTo>
                        <a:pt x="1082" y="966"/>
                      </a:lnTo>
                      <a:lnTo>
                        <a:pt x="1081" y="966"/>
                      </a:lnTo>
                      <a:lnTo>
                        <a:pt x="1080" y="966"/>
                      </a:lnTo>
                      <a:lnTo>
                        <a:pt x="1079" y="966"/>
                      </a:lnTo>
                      <a:lnTo>
                        <a:pt x="1079" y="967"/>
                      </a:lnTo>
                      <a:lnTo>
                        <a:pt x="1079" y="968"/>
                      </a:lnTo>
                      <a:lnTo>
                        <a:pt x="1078" y="968"/>
                      </a:lnTo>
                      <a:lnTo>
                        <a:pt x="1078" y="969"/>
                      </a:lnTo>
                      <a:lnTo>
                        <a:pt x="1078" y="970"/>
                      </a:lnTo>
                      <a:lnTo>
                        <a:pt x="1079" y="970"/>
                      </a:lnTo>
                      <a:lnTo>
                        <a:pt x="1080" y="969"/>
                      </a:lnTo>
                      <a:lnTo>
                        <a:pt x="1081" y="969"/>
                      </a:lnTo>
                      <a:lnTo>
                        <a:pt x="1081" y="968"/>
                      </a:lnTo>
                      <a:lnTo>
                        <a:pt x="1082" y="967"/>
                      </a:lnTo>
                      <a:lnTo>
                        <a:pt x="1083" y="968"/>
                      </a:lnTo>
                      <a:lnTo>
                        <a:pt x="1084" y="968"/>
                      </a:lnTo>
                      <a:lnTo>
                        <a:pt x="1084" y="967"/>
                      </a:lnTo>
                      <a:lnTo>
                        <a:pt x="1085" y="967"/>
                      </a:lnTo>
                      <a:lnTo>
                        <a:pt x="1084" y="967"/>
                      </a:lnTo>
                      <a:lnTo>
                        <a:pt x="1085" y="968"/>
                      </a:lnTo>
                      <a:lnTo>
                        <a:pt x="1085" y="969"/>
                      </a:lnTo>
                      <a:lnTo>
                        <a:pt x="1085" y="970"/>
                      </a:lnTo>
                      <a:lnTo>
                        <a:pt x="1085" y="971"/>
                      </a:lnTo>
                      <a:lnTo>
                        <a:pt x="1086" y="971"/>
                      </a:lnTo>
                      <a:lnTo>
                        <a:pt x="1086" y="973"/>
                      </a:lnTo>
                      <a:lnTo>
                        <a:pt x="1087" y="973"/>
                      </a:lnTo>
                      <a:lnTo>
                        <a:pt x="1086" y="974"/>
                      </a:lnTo>
                      <a:lnTo>
                        <a:pt x="1086" y="973"/>
                      </a:lnTo>
                      <a:lnTo>
                        <a:pt x="1086" y="974"/>
                      </a:lnTo>
                      <a:lnTo>
                        <a:pt x="1085" y="975"/>
                      </a:lnTo>
                      <a:lnTo>
                        <a:pt x="1086" y="975"/>
                      </a:lnTo>
                      <a:lnTo>
                        <a:pt x="1085" y="975"/>
                      </a:lnTo>
                      <a:lnTo>
                        <a:pt x="1086" y="976"/>
                      </a:lnTo>
                      <a:lnTo>
                        <a:pt x="1085" y="977"/>
                      </a:lnTo>
                      <a:lnTo>
                        <a:pt x="1085" y="976"/>
                      </a:lnTo>
                      <a:lnTo>
                        <a:pt x="1085" y="977"/>
                      </a:lnTo>
                      <a:lnTo>
                        <a:pt x="1085" y="978"/>
                      </a:lnTo>
                      <a:lnTo>
                        <a:pt x="1084" y="977"/>
                      </a:lnTo>
                      <a:lnTo>
                        <a:pt x="1084" y="978"/>
                      </a:lnTo>
                      <a:lnTo>
                        <a:pt x="1083" y="978"/>
                      </a:lnTo>
                      <a:lnTo>
                        <a:pt x="1083" y="977"/>
                      </a:lnTo>
                      <a:lnTo>
                        <a:pt x="1082" y="977"/>
                      </a:lnTo>
                      <a:lnTo>
                        <a:pt x="1082" y="976"/>
                      </a:lnTo>
                      <a:lnTo>
                        <a:pt x="1082" y="975"/>
                      </a:lnTo>
                      <a:lnTo>
                        <a:pt x="1082" y="974"/>
                      </a:lnTo>
                      <a:lnTo>
                        <a:pt x="1082" y="973"/>
                      </a:lnTo>
                      <a:lnTo>
                        <a:pt x="1081" y="973"/>
                      </a:lnTo>
                      <a:lnTo>
                        <a:pt x="1081" y="971"/>
                      </a:lnTo>
                      <a:lnTo>
                        <a:pt x="1082" y="971"/>
                      </a:lnTo>
                      <a:lnTo>
                        <a:pt x="1081" y="970"/>
                      </a:lnTo>
                      <a:lnTo>
                        <a:pt x="1081" y="971"/>
                      </a:lnTo>
                      <a:lnTo>
                        <a:pt x="1081" y="973"/>
                      </a:lnTo>
                      <a:lnTo>
                        <a:pt x="1081" y="974"/>
                      </a:lnTo>
                      <a:lnTo>
                        <a:pt x="1081" y="975"/>
                      </a:lnTo>
                      <a:lnTo>
                        <a:pt x="1080" y="975"/>
                      </a:lnTo>
                      <a:lnTo>
                        <a:pt x="1080" y="976"/>
                      </a:lnTo>
                      <a:lnTo>
                        <a:pt x="1079" y="976"/>
                      </a:lnTo>
                      <a:lnTo>
                        <a:pt x="1079" y="975"/>
                      </a:lnTo>
                      <a:lnTo>
                        <a:pt x="1079" y="974"/>
                      </a:lnTo>
                      <a:lnTo>
                        <a:pt x="1079" y="973"/>
                      </a:lnTo>
                      <a:lnTo>
                        <a:pt x="1078" y="968"/>
                      </a:lnTo>
                      <a:lnTo>
                        <a:pt x="1078" y="967"/>
                      </a:lnTo>
                      <a:lnTo>
                        <a:pt x="1079" y="967"/>
                      </a:lnTo>
                      <a:lnTo>
                        <a:pt x="1079" y="966"/>
                      </a:lnTo>
                      <a:lnTo>
                        <a:pt x="1079" y="965"/>
                      </a:lnTo>
                      <a:lnTo>
                        <a:pt x="1080" y="964"/>
                      </a:lnTo>
                      <a:lnTo>
                        <a:pt x="1079" y="964"/>
                      </a:lnTo>
                      <a:lnTo>
                        <a:pt x="1080" y="957"/>
                      </a:lnTo>
                      <a:lnTo>
                        <a:pt x="1081" y="957"/>
                      </a:lnTo>
                      <a:lnTo>
                        <a:pt x="1081" y="958"/>
                      </a:lnTo>
                      <a:lnTo>
                        <a:pt x="1080" y="958"/>
                      </a:lnTo>
                      <a:lnTo>
                        <a:pt x="1080" y="960"/>
                      </a:lnTo>
                      <a:lnTo>
                        <a:pt x="1080" y="961"/>
                      </a:lnTo>
                      <a:lnTo>
                        <a:pt x="1081" y="961"/>
                      </a:lnTo>
                      <a:lnTo>
                        <a:pt x="1081" y="962"/>
                      </a:lnTo>
                      <a:lnTo>
                        <a:pt x="1082" y="963"/>
                      </a:lnTo>
                      <a:lnTo>
                        <a:pt x="1081" y="964"/>
                      </a:lnTo>
                      <a:close/>
                      <a:moveTo>
                        <a:pt x="1290" y="1237"/>
                      </a:moveTo>
                      <a:lnTo>
                        <a:pt x="1289" y="1238"/>
                      </a:lnTo>
                      <a:lnTo>
                        <a:pt x="1289" y="1239"/>
                      </a:lnTo>
                      <a:lnTo>
                        <a:pt x="1288" y="1239"/>
                      </a:lnTo>
                      <a:lnTo>
                        <a:pt x="1288" y="1240"/>
                      </a:lnTo>
                      <a:lnTo>
                        <a:pt x="1287" y="1240"/>
                      </a:lnTo>
                      <a:lnTo>
                        <a:pt x="1287" y="1241"/>
                      </a:lnTo>
                      <a:lnTo>
                        <a:pt x="1288" y="1241"/>
                      </a:lnTo>
                      <a:lnTo>
                        <a:pt x="1288" y="1243"/>
                      </a:lnTo>
                      <a:lnTo>
                        <a:pt x="1287" y="1243"/>
                      </a:lnTo>
                      <a:lnTo>
                        <a:pt x="1288" y="1243"/>
                      </a:lnTo>
                      <a:lnTo>
                        <a:pt x="1289" y="1243"/>
                      </a:lnTo>
                      <a:lnTo>
                        <a:pt x="1289" y="1244"/>
                      </a:lnTo>
                      <a:lnTo>
                        <a:pt x="1288" y="1245"/>
                      </a:lnTo>
                      <a:lnTo>
                        <a:pt x="1288" y="1246"/>
                      </a:lnTo>
                      <a:lnTo>
                        <a:pt x="1287" y="1246"/>
                      </a:lnTo>
                      <a:lnTo>
                        <a:pt x="1287" y="1245"/>
                      </a:lnTo>
                      <a:lnTo>
                        <a:pt x="1286" y="1245"/>
                      </a:lnTo>
                      <a:lnTo>
                        <a:pt x="1287" y="1245"/>
                      </a:lnTo>
                      <a:lnTo>
                        <a:pt x="1287" y="1246"/>
                      </a:lnTo>
                      <a:lnTo>
                        <a:pt x="1286" y="1246"/>
                      </a:lnTo>
                      <a:lnTo>
                        <a:pt x="1287" y="1246"/>
                      </a:lnTo>
                      <a:lnTo>
                        <a:pt x="1287" y="1247"/>
                      </a:lnTo>
                      <a:lnTo>
                        <a:pt x="1286" y="1247"/>
                      </a:lnTo>
                      <a:lnTo>
                        <a:pt x="1285" y="1247"/>
                      </a:lnTo>
                      <a:lnTo>
                        <a:pt x="1286" y="1248"/>
                      </a:lnTo>
                      <a:lnTo>
                        <a:pt x="1285" y="1248"/>
                      </a:lnTo>
                      <a:lnTo>
                        <a:pt x="1285" y="1247"/>
                      </a:lnTo>
                      <a:lnTo>
                        <a:pt x="1285" y="1248"/>
                      </a:lnTo>
                      <a:lnTo>
                        <a:pt x="1285" y="1249"/>
                      </a:lnTo>
                      <a:lnTo>
                        <a:pt x="1285" y="1248"/>
                      </a:lnTo>
                      <a:lnTo>
                        <a:pt x="1284" y="1248"/>
                      </a:lnTo>
                      <a:lnTo>
                        <a:pt x="1284" y="1249"/>
                      </a:lnTo>
                      <a:lnTo>
                        <a:pt x="1284" y="1250"/>
                      </a:lnTo>
                      <a:lnTo>
                        <a:pt x="1283" y="1250"/>
                      </a:lnTo>
                      <a:lnTo>
                        <a:pt x="1283" y="1251"/>
                      </a:lnTo>
                      <a:lnTo>
                        <a:pt x="1282" y="1251"/>
                      </a:lnTo>
                      <a:lnTo>
                        <a:pt x="1280" y="1252"/>
                      </a:lnTo>
                      <a:lnTo>
                        <a:pt x="1282" y="1252"/>
                      </a:lnTo>
                      <a:lnTo>
                        <a:pt x="1282" y="1253"/>
                      </a:lnTo>
                      <a:lnTo>
                        <a:pt x="1280" y="1252"/>
                      </a:lnTo>
                      <a:lnTo>
                        <a:pt x="1280" y="1253"/>
                      </a:lnTo>
                      <a:lnTo>
                        <a:pt x="1282" y="1253"/>
                      </a:lnTo>
                      <a:lnTo>
                        <a:pt x="1282" y="1252"/>
                      </a:lnTo>
                      <a:lnTo>
                        <a:pt x="1283" y="1251"/>
                      </a:lnTo>
                      <a:lnTo>
                        <a:pt x="1284" y="1251"/>
                      </a:lnTo>
                      <a:lnTo>
                        <a:pt x="1285" y="1250"/>
                      </a:lnTo>
                      <a:lnTo>
                        <a:pt x="1285" y="1249"/>
                      </a:lnTo>
                      <a:lnTo>
                        <a:pt x="1286" y="1248"/>
                      </a:lnTo>
                      <a:lnTo>
                        <a:pt x="1286" y="1249"/>
                      </a:lnTo>
                      <a:lnTo>
                        <a:pt x="1287" y="1249"/>
                      </a:lnTo>
                      <a:lnTo>
                        <a:pt x="1286" y="1249"/>
                      </a:lnTo>
                      <a:lnTo>
                        <a:pt x="1286" y="1250"/>
                      </a:lnTo>
                      <a:lnTo>
                        <a:pt x="1286" y="1249"/>
                      </a:lnTo>
                      <a:lnTo>
                        <a:pt x="1285" y="1249"/>
                      </a:lnTo>
                      <a:lnTo>
                        <a:pt x="1285" y="1250"/>
                      </a:lnTo>
                      <a:lnTo>
                        <a:pt x="1284" y="1251"/>
                      </a:lnTo>
                      <a:lnTo>
                        <a:pt x="1283" y="1251"/>
                      </a:lnTo>
                      <a:lnTo>
                        <a:pt x="1283" y="1252"/>
                      </a:lnTo>
                      <a:lnTo>
                        <a:pt x="1283" y="1253"/>
                      </a:lnTo>
                      <a:lnTo>
                        <a:pt x="1282" y="1253"/>
                      </a:lnTo>
                      <a:lnTo>
                        <a:pt x="1282" y="1255"/>
                      </a:lnTo>
                      <a:lnTo>
                        <a:pt x="1283" y="1253"/>
                      </a:lnTo>
                      <a:lnTo>
                        <a:pt x="1284" y="1253"/>
                      </a:lnTo>
                      <a:lnTo>
                        <a:pt x="1284" y="1252"/>
                      </a:lnTo>
                      <a:lnTo>
                        <a:pt x="1286" y="1251"/>
                      </a:lnTo>
                      <a:lnTo>
                        <a:pt x="1286" y="1250"/>
                      </a:lnTo>
                      <a:lnTo>
                        <a:pt x="1287" y="1250"/>
                      </a:lnTo>
                      <a:lnTo>
                        <a:pt x="1287" y="1249"/>
                      </a:lnTo>
                      <a:lnTo>
                        <a:pt x="1288" y="1249"/>
                      </a:lnTo>
                      <a:lnTo>
                        <a:pt x="1288" y="1248"/>
                      </a:lnTo>
                      <a:lnTo>
                        <a:pt x="1288" y="1247"/>
                      </a:lnTo>
                      <a:lnTo>
                        <a:pt x="1289" y="1247"/>
                      </a:lnTo>
                      <a:lnTo>
                        <a:pt x="1289" y="1246"/>
                      </a:lnTo>
                      <a:lnTo>
                        <a:pt x="1290" y="1246"/>
                      </a:lnTo>
                      <a:lnTo>
                        <a:pt x="1290" y="1245"/>
                      </a:lnTo>
                      <a:lnTo>
                        <a:pt x="1289" y="1245"/>
                      </a:lnTo>
                      <a:lnTo>
                        <a:pt x="1288" y="1246"/>
                      </a:lnTo>
                      <a:lnTo>
                        <a:pt x="1287" y="1247"/>
                      </a:lnTo>
                      <a:lnTo>
                        <a:pt x="1288" y="1246"/>
                      </a:lnTo>
                      <a:lnTo>
                        <a:pt x="1289" y="1245"/>
                      </a:lnTo>
                      <a:lnTo>
                        <a:pt x="1290" y="1245"/>
                      </a:lnTo>
                      <a:lnTo>
                        <a:pt x="1290" y="1246"/>
                      </a:lnTo>
                      <a:lnTo>
                        <a:pt x="1289" y="1247"/>
                      </a:lnTo>
                      <a:lnTo>
                        <a:pt x="1289" y="1248"/>
                      </a:lnTo>
                      <a:lnTo>
                        <a:pt x="1288" y="1248"/>
                      </a:lnTo>
                      <a:lnTo>
                        <a:pt x="1288" y="1249"/>
                      </a:lnTo>
                      <a:lnTo>
                        <a:pt x="1287" y="1249"/>
                      </a:lnTo>
                      <a:lnTo>
                        <a:pt x="1287" y="1250"/>
                      </a:lnTo>
                      <a:lnTo>
                        <a:pt x="1286" y="1250"/>
                      </a:lnTo>
                      <a:lnTo>
                        <a:pt x="1285" y="1251"/>
                      </a:lnTo>
                      <a:lnTo>
                        <a:pt x="1285" y="1252"/>
                      </a:lnTo>
                      <a:lnTo>
                        <a:pt x="1284" y="1252"/>
                      </a:lnTo>
                      <a:lnTo>
                        <a:pt x="1284" y="1253"/>
                      </a:lnTo>
                      <a:lnTo>
                        <a:pt x="1283" y="1253"/>
                      </a:lnTo>
                      <a:lnTo>
                        <a:pt x="1283" y="1255"/>
                      </a:lnTo>
                      <a:lnTo>
                        <a:pt x="1282" y="1255"/>
                      </a:lnTo>
                      <a:lnTo>
                        <a:pt x="1282" y="1256"/>
                      </a:lnTo>
                      <a:lnTo>
                        <a:pt x="1280" y="1256"/>
                      </a:lnTo>
                      <a:lnTo>
                        <a:pt x="1280" y="1257"/>
                      </a:lnTo>
                      <a:lnTo>
                        <a:pt x="1279" y="1257"/>
                      </a:lnTo>
                      <a:lnTo>
                        <a:pt x="1279" y="1258"/>
                      </a:lnTo>
                      <a:lnTo>
                        <a:pt x="1278" y="1258"/>
                      </a:lnTo>
                      <a:lnTo>
                        <a:pt x="1277" y="1259"/>
                      </a:lnTo>
                      <a:lnTo>
                        <a:pt x="1276" y="1260"/>
                      </a:lnTo>
                      <a:lnTo>
                        <a:pt x="1275" y="1260"/>
                      </a:lnTo>
                      <a:lnTo>
                        <a:pt x="1275" y="1261"/>
                      </a:lnTo>
                      <a:lnTo>
                        <a:pt x="1275" y="1260"/>
                      </a:lnTo>
                      <a:lnTo>
                        <a:pt x="1276" y="1259"/>
                      </a:lnTo>
                      <a:lnTo>
                        <a:pt x="1275" y="1259"/>
                      </a:lnTo>
                      <a:lnTo>
                        <a:pt x="1276" y="1259"/>
                      </a:lnTo>
                      <a:lnTo>
                        <a:pt x="1276" y="1258"/>
                      </a:lnTo>
                      <a:lnTo>
                        <a:pt x="1277" y="1258"/>
                      </a:lnTo>
                      <a:lnTo>
                        <a:pt x="1277" y="1257"/>
                      </a:lnTo>
                      <a:lnTo>
                        <a:pt x="1277" y="1256"/>
                      </a:lnTo>
                      <a:lnTo>
                        <a:pt x="1278" y="1256"/>
                      </a:lnTo>
                      <a:lnTo>
                        <a:pt x="1278" y="1255"/>
                      </a:lnTo>
                      <a:lnTo>
                        <a:pt x="1278" y="1253"/>
                      </a:lnTo>
                      <a:lnTo>
                        <a:pt x="1279" y="1252"/>
                      </a:lnTo>
                      <a:lnTo>
                        <a:pt x="1279" y="1251"/>
                      </a:lnTo>
                      <a:lnTo>
                        <a:pt x="1280" y="1251"/>
                      </a:lnTo>
                      <a:lnTo>
                        <a:pt x="1280" y="1250"/>
                      </a:lnTo>
                      <a:lnTo>
                        <a:pt x="1280" y="1249"/>
                      </a:lnTo>
                      <a:lnTo>
                        <a:pt x="1282" y="1249"/>
                      </a:lnTo>
                      <a:lnTo>
                        <a:pt x="1282" y="1248"/>
                      </a:lnTo>
                      <a:lnTo>
                        <a:pt x="1283" y="1248"/>
                      </a:lnTo>
                      <a:lnTo>
                        <a:pt x="1283" y="1247"/>
                      </a:lnTo>
                      <a:lnTo>
                        <a:pt x="1284" y="1247"/>
                      </a:lnTo>
                      <a:lnTo>
                        <a:pt x="1284" y="1246"/>
                      </a:lnTo>
                      <a:lnTo>
                        <a:pt x="1284" y="1245"/>
                      </a:lnTo>
                      <a:lnTo>
                        <a:pt x="1285" y="1244"/>
                      </a:lnTo>
                      <a:lnTo>
                        <a:pt x="1285" y="1243"/>
                      </a:lnTo>
                      <a:lnTo>
                        <a:pt x="1286" y="1243"/>
                      </a:lnTo>
                      <a:lnTo>
                        <a:pt x="1286" y="1241"/>
                      </a:lnTo>
                      <a:lnTo>
                        <a:pt x="1287" y="1241"/>
                      </a:lnTo>
                      <a:lnTo>
                        <a:pt x="1287" y="1240"/>
                      </a:lnTo>
                      <a:lnTo>
                        <a:pt x="1287" y="1239"/>
                      </a:lnTo>
                      <a:lnTo>
                        <a:pt x="1288" y="1239"/>
                      </a:lnTo>
                      <a:lnTo>
                        <a:pt x="1288" y="1238"/>
                      </a:lnTo>
                      <a:lnTo>
                        <a:pt x="1289" y="1238"/>
                      </a:lnTo>
                      <a:lnTo>
                        <a:pt x="1289" y="1237"/>
                      </a:lnTo>
                      <a:lnTo>
                        <a:pt x="1291" y="1235"/>
                      </a:lnTo>
                      <a:lnTo>
                        <a:pt x="1291" y="1236"/>
                      </a:lnTo>
                      <a:lnTo>
                        <a:pt x="1291" y="1237"/>
                      </a:lnTo>
                      <a:lnTo>
                        <a:pt x="1290" y="1237"/>
                      </a:lnTo>
                      <a:close/>
                      <a:moveTo>
                        <a:pt x="1381" y="1073"/>
                      </a:moveTo>
                      <a:lnTo>
                        <a:pt x="1381" y="1074"/>
                      </a:lnTo>
                      <a:lnTo>
                        <a:pt x="1380" y="1074"/>
                      </a:lnTo>
                      <a:lnTo>
                        <a:pt x="1380" y="1076"/>
                      </a:lnTo>
                      <a:lnTo>
                        <a:pt x="1379" y="1076"/>
                      </a:lnTo>
                      <a:lnTo>
                        <a:pt x="1378" y="1076"/>
                      </a:lnTo>
                      <a:lnTo>
                        <a:pt x="1377" y="1076"/>
                      </a:lnTo>
                      <a:lnTo>
                        <a:pt x="1376" y="1076"/>
                      </a:lnTo>
                      <a:lnTo>
                        <a:pt x="1375" y="1076"/>
                      </a:lnTo>
                      <a:lnTo>
                        <a:pt x="1374" y="1076"/>
                      </a:lnTo>
                      <a:lnTo>
                        <a:pt x="1373" y="1076"/>
                      </a:lnTo>
                      <a:lnTo>
                        <a:pt x="1370" y="1077"/>
                      </a:lnTo>
                      <a:lnTo>
                        <a:pt x="1369" y="1077"/>
                      </a:lnTo>
                      <a:lnTo>
                        <a:pt x="1368" y="1077"/>
                      </a:lnTo>
                      <a:lnTo>
                        <a:pt x="1367" y="1078"/>
                      </a:lnTo>
                      <a:lnTo>
                        <a:pt x="1366" y="1078"/>
                      </a:lnTo>
                      <a:lnTo>
                        <a:pt x="1365" y="1078"/>
                      </a:lnTo>
                      <a:lnTo>
                        <a:pt x="1364" y="1077"/>
                      </a:lnTo>
                      <a:lnTo>
                        <a:pt x="1364" y="1076"/>
                      </a:lnTo>
                      <a:lnTo>
                        <a:pt x="1365" y="1076"/>
                      </a:lnTo>
                      <a:lnTo>
                        <a:pt x="1365" y="1074"/>
                      </a:lnTo>
                      <a:lnTo>
                        <a:pt x="1366" y="1074"/>
                      </a:lnTo>
                      <a:lnTo>
                        <a:pt x="1367" y="1074"/>
                      </a:lnTo>
                      <a:lnTo>
                        <a:pt x="1368" y="1073"/>
                      </a:lnTo>
                      <a:lnTo>
                        <a:pt x="1369" y="1073"/>
                      </a:lnTo>
                      <a:lnTo>
                        <a:pt x="1371" y="1073"/>
                      </a:lnTo>
                      <a:lnTo>
                        <a:pt x="1373" y="1073"/>
                      </a:lnTo>
                      <a:lnTo>
                        <a:pt x="1374" y="1073"/>
                      </a:lnTo>
                      <a:lnTo>
                        <a:pt x="1375" y="1072"/>
                      </a:lnTo>
                      <a:lnTo>
                        <a:pt x="1376" y="1072"/>
                      </a:lnTo>
                      <a:lnTo>
                        <a:pt x="1377" y="1072"/>
                      </a:lnTo>
                      <a:lnTo>
                        <a:pt x="1379" y="1070"/>
                      </a:lnTo>
                      <a:lnTo>
                        <a:pt x="1381" y="1069"/>
                      </a:lnTo>
                      <a:lnTo>
                        <a:pt x="1383" y="1069"/>
                      </a:lnTo>
                      <a:lnTo>
                        <a:pt x="1383" y="1068"/>
                      </a:lnTo>
                      <a:lnTo>
                        <a:pt x="1384" y="1068"/>
                      </a:lnTo>
                      <a:lnTo>
                        <a:pt x="1384" y="1069"/>
                      </a:lnTo>
                      <a:lnTo>
                        <a:pt x="1383" y="1070"/>
                      </a:lnTo>
                      <a:lnTo>
                        <a:pt x="1383" y="1071"/>
                      </a:lnTo>
                      <a:lnTo>
                        <a:pt x="1382" y="1071"/>
                      </a:lnTo>
                      <a:lnTo>
                        <a:pt x="1382" y="1072"/>
                      </a:lnTo>
                      <a:lnTo>
                        <a:pt x="1381" y="1073"/>
                      </a:lnTo>
                      <a:close/>
                      <a:moveTo>
                        <a:pt x="1024" y="969"/>
                      </a:moveTo>
                      <a:lnTo>
                        <a:pt x="1022" y="969"/>
                      </a:lnTo>
                      <a:lnTo>
                        <a:pt x="1022" y="970"/>
                      </a:lnTo>
                      <a:lnTo>
                        <a:pt x="1022" y="971"/>
                      </a:lnTo>
                      <a:lnTo>
                        <a:pt x="1022" y="970"/>
                      </a:lnTo>
                      <a:lnTo>
                        <a:pt x="1022" y="971"/>
                      </a:lnTo>
                      <a:lnTo>
                        <a:pt x="1024" y="970"/>
                      </a:lnTo>
                      <a:lnTo>
                        <a:pt x="1024" y="971"/>
                      </a:lnTo>
                      <a:lnTo>
                        <a:pt x="1022" y="971"/>
                      </a:lnTo>
                      <a:lnTo>
                        <a:pt x="1021" y="971"/>
                      </a:lnTo>
                      <a:lnTo>
                        <a:pt x="1021" y="970"/>
                      </a:lnTo>
                      <a:lnTo>
                        <a:pt x="1021" y="971"/>
                      </a:lnTo>
                      <a:lnTo>
                        <a:pt x="1021" y="973"/>
                      </a:lnTo>
                      <a:lnTo>
                        <a:pt x="1021" y="974"/>
                      </a:lnTo>
                      <a:lnTo>
                        <a:pt x="1021" y="975"/>
                      </a:lnTo>
                      <a:lnTo>
                        <a:pt x="1020" y="976"/>
                      </a:lnTo>
                      <a:lnTo>
                        <a:pt x="1021" y="976"/>
                      </a:lnTo>
                      <a:lnTo>
                        <a:pt x="1020" y="976"/>
                      </a:lnTo>
                      <a:lnTo>
                        <a:pt x="1019" y="977"/>
                      </a:lnTo>
                      <a:lnTo>
                        <a:pt x="1019" y="976"/>
                      </a:lnTo>
                      <a:lnTo>
                        <a:pt x="1018" y="976"/>
                      </a:lnTo>
                      <a:lnTo>
                        <a:pt x="1018" y="975"/>
                      </a:lnTo>
                      <a:lnTo>
                        <a:pt x="1018" y="974"/>
                      </a:lnTo>
                      <a:lnTo>
                        <a:pt x="1018" y="973"/>
                      </a:lnTo>
                      <a:lnTo>
                        <a:pt x="1018" y="974"/>
                      </a:lnTo>
                      <a:lnTo>
                        <a:pt x="1017" y="975"/>
                      </a:lnTo>
                      <a:lnTo>
                        <a:pt x="1018" y="975"/>
                      </a:lnTo>
                      <a:lnTo>
                        <a:pt x="1019" y="977"/>
                      </a:lnTo>
                      <a:lnTo>
                        <a:pt x="1018" y="977"/>
                      </a:lnTo>
                      <a:lnTo>
                        <a:pt x="1019" y="977"/>
                      </a:lnTo>
                      <a:lnTo>
                        <a:pt x="1019" y="978"/>
                      </a:lnTo>
                      <a:lnTo>
                        <a:pt x="1018" y="978"/>
                      </a:lnTo>
                      <a:lnTo>
                        <a:pt x="1017" y="978"/>
                      </a:lnTo>
                      <a:lnTo>
                        <a:pt x="1018" y="978"/>
                      </a:lnTo>
                      <a:lnTo>
                        <a:pt x="1017" y="978"/>
                      </a:lnTo>
                      <a:lnTo>
                        <a:pt x="1018" y="978"/>
                      </a:lnTo>
                      <a:lnTo>
                        <a:pt x="1017" y="979"/>
                      </a:lnTo>
                      <a:lnTo>
                        <a:pt x="1017" y="978"/>
                      </a:lnTo>
                      <a:lnTo>
                        <a:pt x="1017" y="977"/>
                      </a:lnTo>
                      <a:lnTo>
                        <a:pt x="1018" y="977"/>
                      </a:lnTo>
                      <a:lnTo>
                        <a:pt x="1017" y="977"/>
                      </a:lnTo>
                      <a:lnTo>
                        <a:pt x="1016" y="977"/>
                      </a:lnTo>
                      <a:lnTo>
                        <a:pt x="1017" y="978"/>
                      </a:lnTo>
                      <a:lnTo>
                        <a:pt x="1016" y="978"/>
                      </a:lnTo>
                      <a:lnTo>
                        <a:pt x="1016" y="979"/>
                      </a:lnTo>
                      <a:lnTo>
                        <a:pt x="1017" y="978"/>
                      </a:lnTo>
                      <a:lnTo>
                        <a:pt x="1017" y="979"/>
                      </a:lnTo>
                      <a:lnTo>
                        <a:pt x="1016" y="979"/>
                      </a:lnTo>
                      <a:lnTo>
                        <a:pt x="1015" y="979"/>
                      </a:lnTo>
                      <a:lnTo>
                        <a:pt x="1015" y="978"/>
                      </a:lnTo>
                      <a:lnTo>
                        <a:pt x="1014" y="978"/>
                      </a:lnTo>
                      <a:lnTo>
                        <a:pt x="1013" y="978"/>
                      </a:lnTo>
                      <a:lnTo>
                        <a:pt x="1013" y="979"/>
                      </a:lnTo>
                      <a:lnTo>
                        <a:pt x="1012" y="978"/>
                      </a:lnTo>
                      <a:lnTo>
                        <a:pt x="1012" y="979"/>
                      </a:lnTo>
                      <a:lnTo>
                        <a:pt x="1012" y="978"/>
                      </a:lnTo>
                      <a:lnTo>
                        <a:pt x="1013" y="978"/>
                      </a:lnTo>
                      <a:lnTo>
                        <a:pt x="1013" y="977"/>
                      </a:lnTo>
                      <a:lnTo>
                        <a:pt x="1012" y="977"/>
                      </a:lnTo>
                      <a:lnTo>
                        <a:pt x="1012" y="978"/>
                      </a:lnTo>
                      <a:lnTo>
                        <a:pt x="1012" y="979"/>
                      </a:lnTo>
                      <a:lnTo>
                        <a:pt x="1011" y="978"/>
                      </a:lnTo>
                      <a:lnTo>
                        <a:pt x="1011" y="977"/>
                      </a:lnTo>
                      <a:lnTo>
                        <a:pt x="1011" y="978"/>
                      </a:lnTo>
                      <a:lnTo>
                        <a:pt x="1009" y="978"/>
                      </a:lnTo>
                      <a:lnTo>
                        <a:pt x="1009" y="977"/>
                      </a:lnTo>
                      <a:lnTo>
                        <a:pt x="1011" y="976"/>
                      </a:lnTo>
                      <a:lnTo>
                        <a:pt x="1011" y="975"/>
                      </a:lnTo>
                      <a:lnTo>
                        <a:pt x="1009" y="975"/>
                      </a:lnTo>
                      <a:lnTo>
                        <a:pt x="1009" y="974"/>
                      </a:lnTo>
                      <a:lnTo>
                        <a:pt x="1011" y="974"/>
                      </a:lnTo>
                      <a:lnTo>
                        <a:pt x="1011" y="975"/>
                      </a:lnTo>
                      <a:lnTo>
                        <a:pt x="1011" y="974"/>
                      </a:lnTo>
                      <a:lnTo>
                        <a:pt x="1012" y="974"/>
                      </a:lnTo>
                      <a:lnTo>
                        <a:pt x="1012" y="975"/>
                      </a:lnTo>
                      <a:lnTo>
                        <a:pt x="1013" y="975"/>
                      </a:lnTo>
                      <a:lnTo>
                        <a:pt x="1014" y="975"/>
                      </a:lnTo>
                      <a:lnTo>
                        <a:pt x="1015" y="975"/>
                      </a:lnTo>
                      <a:lnTo>
                        <a:pt x="1015" y="974"/>
                      </a:lnTo>
                      <a:lnTo>
                        <a:pt x="1015" y="973"/>
                      </a:lnTo>
                      <a:lnTo>
                        <a:pt x="1015" y="971"/>
                      </a:lnTo>
                      <a:lnTo>
                        <a:pt x="1016" y="971"/>
                      </a:lnTo>
                      <a:lnTo>
                        <a:pt x="1017" y="971"/>
                      </a:lnTo>
                      <a:lnTo>
                        <a:pt x="1018" y="970"/>
                      </a:lnTo>
                      <a:lnTo>
                        <a:pt x="1019" y="970"/>
                      </a:lnTo>
                      <a:lnTo>
                        <a:pt x="1020" y="970"/>
                      </a:lnTo>
                      <a:lnTo>
                        <a:pt x="1019" y="970"/>
                      </a:lnTo>
                      <a:lnTo>
                        <a:pt x="1020" y="969"/>
                      </a:lnTo>
                      <a:lnTo>
                        <a:pt x="1021" y="969"/>
                      </a:lnTo>
                      <a:lnTo>
                        <a:pt x="1022" y="969"/>
                      </a:lnTo>
                      <a:lnTo>
                        <a:pt x="1024" y="969"/>
                      </a:lnTo>
                      <a:close/>
                      <a:moveTo>
                        <a:pt x="1418" y="996"/>
                      </a:moveTo>
                      <a:lnTo>
                        <a:pt x="1419" y="996"/>
                      </a:lnTo>
                      <a:lnTo>
                        <a:pt x="1419" y="998"/>
                      </a:lnTo>
                      <a:lnTo>
                        <a:pt x="1418" y="998"/>
                      </a:lnTo>
                      <a:lnTo>
                        <a:pt x="1418" y="999"/>
                      </a:lnTo>
                      <a:lnTo>
                        <a:pt x="1419" y="999"/>
                      </a:lnTo>
                      <a:lnTo>
                        <a:pt x="1418" y="999"/>
                      </a:lnTo>
                      <a:lnTo>
                        <a:pt x="1418" y="1000"/>
                      </a:lnTo>
                      <a:lnTo>
                        <a:pt x="1418" y="999"/>
                      </a:lnTo>
                      <a:lnTo>
                        <a:pt x="1417" y="999"/>
                      </a:lnTo>
                      <a:lnTo>
                        <a:pt x="1417" y="1000"/>
                      </a:lnTo>
                      <a:lnTo>
                        <a:pt x="1416" y="1000"/>
                      </a:lnTo>
                      <a:lnTo>
                        <a:pt x="1416" y="999"/>
                      </a:lnTo>
                      <a:lnTo>
                        <a:pt x="1416" y="1000"/>
                      </a:lnTo>
                      <a:lnTo>
                        <a:pt x="1416" y="1001"/>
                      </a:lnTo>
                      <a:lnTo>
                        <a:pt x="1416" y="1000"/>
                      </a:lnTo>
                      <a:lnTo>
                        <a:pt x="1417" y="1000"/>
                      </a:lnTo>
                      <a:lnTo>
                        <a:pt x="1417" y="1001"/>
                      </a:lnTo>
                      <a:lnTo>
                        <a:pt x="1417" y="1000"/>
                      </a:lnTo>
                      <a:lnTo>
                        <a:pt x="1417" y="1001"/>
                      </a:lnTo>
                      <a:lnTo>
                        <a:pt x="1417" y="1002"/>
                      </a:lnTo>
                      <a:lnTo>
                        <a:pt x="1418" y="1002"/>
                      </a:lnTo>
                      <a:lnTo>
                        <a:pt x="1418" y="1003"/>
                      </a:lnTo>
                      <a:lnTo>
                        <a:pt x="1419" y="1001"/>
                      </a:lnTo>
                      <a:lnTo>
                        <a:pt x="1420" y="1001"/>
                      </a:lnTo>
                      <a:lnTo>
                        <a:pt x="1419" y="1002"/>
                      </a:lnTo>
                      <a:lnTo>
                        <a:pt x="1418" y="1003"/>
                      </a:lnTo>
                      <a:lnTo>
                        <a:pt x="1417" y="1003"/>
                      </a:lnTo>
                      <a:lnTo>
                        <a:pt x="1417" y="1004"/>
                      </a:lnTo>
                      <a:lnTo>
                        <a:pt x="1416" y="1004"/>
                      </a:lnTo>
                      <a:lnTo>
                        <a:pt x="1416" y="1005"/>
                      </a:lnTo>
                      <a:lnTo>
                        <a:pt x="1415" y="1005"/>
                      </a:lnTo>
                      <a:lnTo>
                        <a:pt x="1414" y="1006"/>
                      </a:lnTo>
                      <a:lnTo>
                        <a:pt x="1414" y="1005"/>
                      </a:lnTo>
                      <a:lnTo>
                        <a:pt x="1413" y="1005"/>
                      </a:lnTo>
                      <a:lnTo>
                        <a:pt x="1410" y="1005"/>
                      </a:lnTo>
                      <a:lnTo>
                        <a:pt x="1409" y="1005"/>
                      </a:lnTo>
                      <a:lnTo>
                        <a:pt x="1408" y="1004"/>
                      </a:lnTo>
                      <a:lnTo>
                        <a:pt x="1407" y="1004"/>
                      </a:lnTo>
                      <a:lnTo>
                        <a:pt x="1406" y="1004"/>
                      </a:lnTo>
                      <a:lnTo>
                        <a:pt x="1406" y="1003"/>
                      </a:lnTo>
                      <a:lnTo>
                        <a:pt x="1407" y="1003"/>
                      </a:lnTo>
                      <a:lnTo>
                        <a:pt x="1407" y="1002"/>
                      </a:lnTo>
                      <a:lnTo>
                        <a:pt x="1409" y="1001"/>
                      </a:lnTo>
                      <a:lnTo>
                        <a:pt x="1409" y="1002"/>
                      </a:lnTo>
                      <a:lnTo>
                        <a:pt x="1409" y="1001"/>
                      </a:lnTo>
                      <a:lnTo>
                        <a:pt x="1410" y="1001"/>
                      </a:lnTo>
                      <a:lnTo>
                        <a:pt x="1412" y="1000"/>
                      </a:lnTo>
                      <a:lnTo>
                        <a:pt x="1413" y="1000"/>
                      </a:lnTo>
                      <a:lnTo>
                        <a:pt x="1413" y="999"/>
                      </a:lnTo>
                      <a:lnTo>
                        <a:pt x="1414" y="999"/>
                      </a:lnTo>
                      <a:lnTo>
                        <a:pt x="1414" y="998"/>
                      </a:lnTo>
                      <a:lnTo>
                        <a:pt x="1415" y="998"/>
                      </a:lnTo>
                      <a:lnTo>
                        <a:pt x="1415" y="996"/>
                      </a:lnTo>
                      <a:lnTo>
                        <a:pt x="1416" y="996"/>
                      </a:lnTo>
                      <a:lnTo>
                        <a:pt x="1417" y="996"/>
                      </a:lnTo>
                      <a:lnTo>
                        <a:pt x="1418" y="996"/>
                      </a:lnTo>
                      <a:close/>
                      <a:moveTo>
                        <a:pt x="1427" y="1174"/>
                      </a:moveTo>
                      <a:lnTo>
                        <a:pt x="1427" y="1175"/>
                      </a:lnTo>
                      <a:lnTo>
                        <a:pt x="1426" y="1175"/>
                      </a:lnTo>
                      <a:lnTo>
                        <a:pt x="1428" y="1176"/>
                      </a:lnTo>
                      <a:lnTo>
                        <a:pt x="1427" y="1179"/>
                      </a:lnTo>
                      <a:lnTo>
                        <a:pt x="1426" y="1179"/>
                      </a:lnTo>
                      <a:lnTo>
                        <a:pt x="1426" y="1178"/>
                      </a:lnTo>
                      <a:lnTo>
                        <a:pt x="1425" y="1176"/>
                      </a:lnTo>
                      <a:lnTo>
                        <a:pt x="1424" y="1176"/>
                      </a:lnTo>
                      <a:lnTo>
                        <a:pt x="1422" y="1178"/>
                      </a:lnTo>
                      <a:lnTo>
                        <a:pt x="1421" y="1179"/>
                      </a:lnTo>
                      <a:lnTo>
                        <a:pt x="1421" y="1178"/>
                      </a:lnTo>
                      <a:lnTo>
                        <a:pt x="1420" y="1178"/>
                      </a:lnTo>
                      <a:lnTo>
                        <a:pt x="1420" y="1176"/>
                      </a:lnTo>
                      <a:lnTo>
                        <a:pt x="1420" y="1175"/>
                      </a:lnTo>
                      <a:lnTo>
                        <a:pt x="1419" y="1175"/>
                      </a:lnTo>
                      <a:lnTo>
                        <a:pt x="1419" y="1174"/>
                      </a:lnTo>
                      <a:lnTo>
                        <a:pt x="1418" y="1173"/>
                      </a:lnTo>
                      <a:lnTo>
                        <a:pt x="1418" y="1172"/>
                      </a:lnTo>
                      <a:lnTo>
                        <a:pt x="1418" y="1173"/>
                      </a:lnTo>
                      <a:lnTo>
                        <a:pt x="1419" y="1173"/>
                      </a:lnTo>
                      <a:lnTo>
                        <a:pt x="1420" y="1174"/>
                      </a:lnTo>
                      <a:lnTo>
                        <a:pt x="1420" y="1173"/>
                      </a:lnTo>
                      <a:lnTo>
                        <a:pt x="1421" y="1172"/>
                      </a:lnTo>
                      <a:lnTo>
                        <a:pt x="1421" y="1171"/>
                      </a:lnTo>
                      <a:lnTo>
                        <a:pt x="1422" y="1170"/>
                      </a:lnTo>
                      <a:lnTo>
                        <a:pt x="1422" y="1169"/>
                      </a:lnTo>
                      <a:lnTo>
                        <a:pt x="1425" y="1168"/>
                      </a:lnTo>
                      <a:lnTo>
                        <a:pt x="1426" y="1168"/>
                      </a:lnTo>
                      <a:lnTo>
                        <a:pt x="1428" y="1168"/>
                      </a:lnTo>
                      <a:lnTo>
                        <a:pt x="1427" y="1168"/>
                      </a:lnTo>
                      <a:lnTo>
                        <a:pt x="1427" y="1169"/>
                      </a:lnTo>
                      <a:lnTo>
                        <a:pt x="1427" y="1170"/>
                      </a:lnTo>
                      <a:lnTo>
                        <a:pt x="1428" y="1170"/>
                      </a:lnTo>
                      <a:lnTo>
                        <a:pt x="1428" y="1171"/>
                      </a:lnTo>
                      <a:lnTo>
                        <a:pt x="1427" y="1172"/>
                      </a:lnTo>
                      <a:lnTo>
                        <a:pt x="1427" y="1173"/>
                      </a:lnTo>
                      <a:lnTo>
                        <a:pt x="1428" y="1173"/>
                      </a:lnTo>
                      <a:lnTo>
                        <a:pt x="1428" y="1174"/>
                      </a:lnTo>
                      <a:lnTo>
                        <a:pt x="1427" y="1174"/>
                      </a:lnTo>
                      <a:close/>
                      <a:moveTo>
                        <a:pt x="1135" y="758"/>
                      </a:moveTo>
                      <a:lnTo>
                        <a:pt x="1136" y="759"/>
                      </a:lnTo>
                      <a:lnTo>
                        <a:pt x="1137" y="759"/>
                      </a:lnTo>
                      <a:lnTo>
                        <a:pt x="1137" y="760"/>
                      </a:lnTo>
                      <a:lnTo>
                        <a:pt x="1138" y="760"/>
                      </a:lnTo>
                      <a:lnTo>
                        <a:pt x="1140" y="760"/>
                      </a:lnTo>
                      <a:lnTo>
                        <a:pt x="1140" y="761"/>
                      </a:lnTo>
                      <a:lnTo>
                        <a:pt x="1141" y="760"/>
                      </a:lnTo>
                      <a:lnTo>
                        <a:pt x="1142" y="761"/>
                      </a:lnTo>
                      <a:lnTo>
                        <a:pt x="1143" y="761"/>
                      </a:lnTo>
                      <a:lnTo>
                        <a:pt x="1144" y="761"/>
                      </a:lnTo>
                      <a:lnTo>
                        <a:pt x="1145" y="761"/>
                      </a:lnTo>
                      <a:lnTo>
                        <a:pt x="1145" y="760"/>
                      </a:lnTo>
                      <a:lnTo>
                        <a:pt x="1145" y="761"/>
                      </a:lnTo>
                      <a:lnTo>
                        <a:pt x="1146" y="761"/>
                      </a:lnTo>
                      <a:lnTo>
                        <a:pt x="1146" y="760"/>
                      </a:lnTo>
                      <a:lnTo>
                        <a:pt x="1146" y="761"/>
                      </a:lnTo>
                      <a:lnTo>
                        <a:pt x="1146" y="760"/>
                      </a:lnTo>
                      <a:lnTo>
                        <a:pt x="1148" y="761"/>
                      </a:lnTo>
                      <a:lnTo>
                        <a:pt x="1149" y="761"/>
                      </a:lnTo>
                      <a:lnTo>
                        <a:pt x="1150" y="762"/>
                      </a:lnTo>
                      <a:lnTo>
                        <a:pt x="1151" y="762"/>
                      </a:lnTo>
                      <a:lnTo>
                        <a:pt x="1153" y="762"/>
                      </a:lnTo>
                      <a:lnTo>
                        <a:pt x="1154" y="762"/>
                      </a:lnTo>
                      <a:lnTo>
                        <a:pt x="1155" y="762"/>
                      </a:lnTo>
                      <a:lnTo>
                        <a:pt x="1157" y="762"/>
                      </a:lnTo>
                      <a:lnTo>
                        <a:pt x="1158" y="762"/>
                      </a:lnTo>
                      <a:lnTo>
                        <a:pt x="1157" y="762"/>
                      </a:lnTo>
                      <a:lnTo>
                        <a:pt x="1156" y="763"/>
                      </a:lnTo>
                      <a:lnTo>
                        <a:pt x="1155" y="763"/>
                      </a:lnTo>
                      <a:lnTo>
                        <a:pt x="1155" y="764"/>
                      </a:lnTo>
                      <a:lnTo>
                        <a:pt x="1154" y="763"/>
                      </a:lnTo>
                      <a:lnTo>
                        <a:pt x="1153" y="763"/>
                      </a:lnTo>
                      <a:lnTo>
                        <a:pt x="1151" y="763"/>
                      </a:lnTo>
                      <a:lnTo>
                        <a:pt x="1150" y="763"/>
                      </a:lnTo>
                      <a:lnTo>
                        <a:pt x="1150" y="762"/>
                      </a:lnTo>
                      <a:lnTo>
                        <a:pt x="1149" y="762"/>
                      </a:lnTo>
                      <a:lnTo>
                        <a:pt x="1148" y="762"/>
                      </a:lnTo>
                      <a:lnTo>
                        <a:pt x="1147" y="762"/>
                      </a:lnTo>
                      <a:lnTo>
                        <a:pt x="1146" y="762"/>
                      </a:lnTo>
                      <a:lnTo>
                        <a:pt x="1145" y="762"/>
                      </a:lnTo>
                      <a:lnTo>
                        <a:pt x="1144" y="762"/>
                      </a:lnTo>
                      <a:lnTo>
                        <a:pt x="1144" y="763"/>
                      </a:lnTo>
                      <a:lnTo>
                        <a:pt x="1143" y="763"/>
                      </a:lnTo>
                      <a:lnTo>
                        <a:pt x="1143" y="764"/>
                      </a:lnTo>
                      <a:lnTo>
                        <a:pt x="1143" y="765"/>
                      </a:lnTo>
                      <a:lnTo>
                        <a:pt x="1143" y="767"/>
                      </a:lnTo>
                      <a:lnTo>
                        <a:pt x="1143" y="768"/>
                      </a:lnTo>
                      <a:lnTo>
                        <a:pt x="1142" y="767"/>
                      </a:lnTo>
                      <a:lnTo>
                        <a:pt x="1141" y="767"/>
                      </a:lnTo>
                      <a:lnTo>
                        <a:pt x="1140" y="767"/>
                      </a:lnTo>
                      <a:lnTo>
                        <a:pt x="1140" y="765"/>
                      </a:lnTo>
                      <a:lnTo>
                        <a:pt x="1141" y="765"/>
                      </a:lnTo>
                      <a:lnTo>
                        <a:pt x="1141" y="764"/>
                      </a:lnTo>
                      <a:lnTo>
                        <a:pt x="1142" y="764"/>
                      </a:lnTo>
                      <a:lnTo>
                        <a:pt x="1142" y="763"/>
                      </a:lnTo>
                      <a:lnTo>
                        <a:pt x="1141" y="763"/>
                      </a:lnTo>
                      <a:lnTo>
                        <a:pt x="1141" y="762"/>
                      </a:lnTo>
                      <a:lnTo>
                        <a:pt x="1141" y="761"/>
                      </a:lnTo>
                      <a:lnTo>
                        <a:pt x="1140" y="761"/>
                      </a:lnTo>
                      <a:lnTo>
                        <a:pt x="1138" y="761"/>
                      </a:lnTo>
                      <a:lnTo>
                        <a:pt x="1137" y="761"/>
                      </a:lnTo>
                      <a:lnTo>
                        <a:pt x="1136" y="761"/>
                      </a:lnTo>
                      <a:lnTo>
                        <a:pt x="1135" y="761"/>
                      </a:lnTo>
                      <a:lnTo>
                        <a:pt x="1135" y="762"/>
                      </a:lnTo>
                      <a:lnTo>
                        <a:pt x="1134" y="762"/>
                      </a:lnTo>
                      <a:lnTo>
                        <a:pt x="1135" y="762"/>
                      </a:lnTo>
                      <a:lnTo>
                        <a:pt x="1134" y="762"/>
                      </a:lnTo>
                      <a:lnTo>
                        <a:pt x="1134" y="761"/>
                      </a:lnTo>
                      <a:lnTo>
                        <a:pt x="1133" y="761"/>
                      </a:lnTo>
                      <a:lnTo>
                        <a:pt x="1132" y="761"/>
                      </a:lnTo>
                      <a:lnTo>
                        <a:pt x="1132" y="760"/>
                      </a:lnTo>
                      <a:lnTo>
                        <a:pt x="1133" y="760"/>
                      </a:lnTo>
                      <a:lnTo>
                        <a:pt x="1132" y="760"/>
                      </a:lnTo>
                      <a:lnTo>
                        <a:pt x="1133" y="760"/>
                      </a:lnTo>
                      <a:lnTo>
                        <a:pt x="1133" y="759"/>
                      </a:lnTo>
                      <a:lnTo>
                        <a:pt x="1133" y="760"/>
                      </a:lnTo>
                      <a:lnTo>
                        <a:pt x="1132" y="760"/>
                      </a:lnTo>
                      <a:lnTo>
                        <a:pt x="1132" y="759"/>
                      </a:lnTo>
                      <a:lnTo>
                        <a:pt x="1132" y="758"/>
                      </a:lnTo>
                      <a:lnTo>
                        <a:pt x="1131" y="759"/>
                      </a:lnTo>
                      <a:lnTo>
                        <a:pt x="1132" y="759"/>
                      </a:lnTo>
                      <a:lnTo>
                        <a:pt x="1132" y="760"/>
                      </a:lnTo>
                      <a:lnTo>
                        <a:pt x="1131" y="760"/>
                      </a:lnTo>
                      <a:lnTo>
                        <a:pt x="1131" y="759"/>
                      </a:lnTo>
                      <a:lnTo>
                        <a:pt x="1130" y="759"/>
                      </a:lnTo>
                      <a:lnTo>
                        <a:pt x="1131" y="759"/>
                      </a:lnTo>
                      <a:lnTo>
                        <a:pt x="1131" y="758"/>
                      </a:lnTo>
                      <a:lnTo>
                        <a:pt x="1130" y="758"/>
                      </a:lnTo>
                      <a:lnTo>
                        <a:pt x="1130" y="759"/>
                      </a:lnTo>
                      <a:lnTo>
                        <a:pt x="1130" y="758"/>
                      </a:lnTo>
                      <a:lnTo>
                        <a:pt x="1132" y="758"/>
                      </a:lnTo>
                      <a:lnTo>
                        <a:pt x="1134" y="758"/>
                      </a:lnTo>
                      <a:lnTo>
                        <a:pt x="1135" y="758"/>
                      </a:lnTo>
                      <a:close/>
                      <a:moveTo>
                        <a:pt x="1094" y="984"/>
                      </a:moveTo>
                      <a:lnTo>
                        <a:pt x="1098" y="986"/>
                      </a:lnTo>
                      <a:lnTo>
                        <a:pt x="1099" y="986"/>
                      </a:lnTo>
                      <a:lnTo>
                        <a:pt x="1100" y="986"/>
                      </a:lnTo>
                      <a:lnTo>
                        <a:pt x="1099" y="986"/>
                      </a:lnTo>
                      <a:lnTo>
                        <a:pt x="1098" y="986"/>
                      </a:lnTo>
                      <a:lnTo>
                        <a:pt x="1097" y="986"/>
                      </a:lnTo>
                      <a:lnTo>
                        <a:pt x="1096" y="986"/>
                      </a:lnTo>
                      <a:lnTo>
                        <a:pt x="1096" y="987"/>
                      </a:lnTo>
                      <a:lnTo>
                        <a:pt x="1096" y="986"/>
                      </a:lnTo>
                      <a:lnTo>
                        <a:pt x="1095" y="984"/>
                      </a:lnTo>
                      <a:lnTo>
                        <a:pt x="1094" y="984"/>
                      </a:lnTo>
                      <a:lnTo>
                        <a:pt x="1094" y="987"/>
                      </a:lnTo>
                      <a:lnTo>
                        <a:pt x="1094" y="988"/>
                      </a:lnTo>
                      <a:lnTo>
                        <a:pt x="1095" y="988"/>
                      </a:lnTo>
                      <a:lnTo>
                        <a:pt x="1095" y="989"/>
                      </a:lnTo>
                      <a:lnTo>
                        <a:pt x="1095" y="990"/>
                      </a:lnTo>
                      <a:lnTo>
                        <a:pt x="1095" y="991"/>
                      </a:lnTo>
                      <a:lnTo>
                        <a:pt x="1096" y="991"/>
                      </a:lnTo>
                      <a:lnTo>
                        <a:pt x="1098" y="991"/>
                      </a:lnTo>
                      <a:lnTo>
                        <a:pt x="1099" y="991"/>
                      </a:lnTo>
                      <a:lnTo>
                        <a:pt x="1099" y="990"/>
                      </a:lnTo>
                      <a:lnTo>
                        <a:pt x="1099" y="989"/>
                      </a:lnTo>
                      <a:lnTo>
                        <a:pt x="1098" y="989"/>
                      </a:lnTo>
                      <a:lnTo>
                        <a:pt x="1099" y="989"/>
                      </a:lnTo>
                      <a:lnTo>
                        <a:pt x="1100" y="989"/>
                      </a:lnTo>
                      <a:lnTo>
                        <a:pt x="1100" y="990"/>
                      </a:lnTo>
                      <a:lnTo>
                        <a:pt x="1102" y="990"/>
                      </a:lnTo>
                      <a:lnTo>
                        <a:pt x="1102" y="989"/>
                      </a:lnTo>
                      <a:lnTo>
                        <a:pt x="1103" y="989"/>
                      </a:lnTo>
                      <a:lnTo>
                        <a:pt x="1102" y="990"/>
                      </a:lnTo>
                      <a:lnTo>
                        <a:pt x="1102" y="991"/>
                      </a:lnTo>
                      <a:lnTo>
                        <a:pt x="1100" y="991"/>
                      </a:lnTo>
                      <a:lnTo>
                        <a:pt x="1100" y="992"/>
                      </a:lnTo>
                      <a:lnTo>
                        <a:pt x="1100" y="993"/>
                      </a:lnTo>
                      <a:lnTo>
                        <a:pt x="1102" y="992"/>
                      </a:lnTo>
                      <a:lnTo>
                        <a:pt x="1103" y="992"/>
                      </a:lnTo>
                      <a:lnTo>
                        <a:pt x="1104" y="992"/>
                      </a:lnTo>
                      <a:lnTo>
                        <a:pt x="1104" y="991"/>
                      </a:lnTo>
                      <a:lnTo>
                        <a:pt x="1104" y="992"/>
                      </a:lnTo>
                      <a:lnTo>
                        <a:pt x="1105" y="993"/>
                      </a:lnTo>
                      <a:lnTo>
                        <a:pt x="1105" y="994"/>
                      </a:lnTo>
                      <a:lnTo>
                        <a:pt x="1106" y="994"/>
                      </a:lnTo>
                      <a:lnTo>
                        <a:pt x="1105" y="994"/>
                      </a:lnTo>
                      <a:lnTo>
                        <a:pt x="1103" y="994"/>
                      </a:lnTo>
                      <a:lnTo>
                        <a:pt x="1103" y="993"/>
                      </a:lnTo>
                      <a:lnTo>
                        <a:pt x="1103" y="992"/>
                      </a:lnTo>
                      <a:lnTo>
                        <a:pt x="1102" y="992"/>
                      </a:lnTo>
                      <a:lnTo>
                        <a:pt x="1103" y="993"/>
                      </a:lnTo>
                      <a:lnTo>
                        <a:pt x="1103" y="994"/>
                      </a:lnTo>
                      <a:lnTo>
                        <a:pt x="1102" y="994"/>
                      </a:lnTo>
                      <a:lnTo>
                        <a:pt x="1103" y="994"/>
                      </a:lnTo>
                      <a:lnTo>
                        <a:pt x="1102" y="994"/>
                      </a:lnTo>
                      <a:lnTo>
                        <a:pt x="1099" y="994"/>
                      </a:lnTo>
                      <a:lnTo>
                        <a:pt x="1098" y="994"/>
                      </a:lnTo>
                      <a:lnTo>
                        <a:pt x="1097" y="994"/>
                      </a:lnTo>
                      <a:lnTo>
                        <a:pt x="1096" y="993"/>
                      </a:lnTo>
                      <a:lnTo>
                        <a:pt x="1095" y="993"/>
                      </a:lnTo>
                      <a:lnTo>
                        <a:pt x="1094" y="993"/>
                      </a:lnTo>
                      <a:lnTo>
                        <a:pt x="1093" y="993"/>
                      </a:lnTo>
                      <a:lnTo>
                        <a:pt x="1092" y="993"/>
                      </a:lnTo>
                      <a:lnTo>
                        <a:pt x="1091" y="993"/>
                      </a:lnTo>
                      <a:lnTo>
                        <a:pt x="1086" y="993"/>
                      </a:lnTo>
                      <a:lnTo>
                        <a:pt x="1087" y="992"/>
                      </a:lnTo>
                      <a:lnTo>
                        <a:pt x="1089" y="991"/>
                      </a:lnTo>
                      <a:lnTo>
                        <a:pt x="1090" y="991"/>
                      </a:lnTo>
                      <a:lnTo>
                        <a:pt x="1091" y="991"/>
                      </a:lnTo>
                      <a:lnTo>
                        <a:pt x="1092" y="991"/>
                      </a:lnTo>
                      <a:lnTo>
                        <a:pt x="1093" y="990"/>
                      </a:lnTo>
                      <a:lnTo>
                        <a:pt x="1094" y="990"/>
                      </a:lnTo>
                      <a:lnTo>
                        <a:pt x="1094" y="989"/>
                      </a:lnTo>
                      <a:lnTo>
                        <a:pt x="1094" y="988"/>
                      </a:lnTo>
                      <a:lnTo>
                        <a:pt x="1094" y="987"/>
                      </a:lnTo>
                      <a:lnTo>
                        <a:pt x="1094" y="986"/>
                      </a:lnTo>
                      <a:lnTo>
                        <a:pt x="1094" y="984"/>
                      </a:lnTo>
                      <a:close/>
                      <a:moveTo>
                        <a:pt x="1122" y="804"/>
                      </a:moveTo>
                      <a:lnTo>
                        <a:pt x="1123" y="804"/>
                      </a:lnTo>
                      <a:lnTo>
                        <a:pt x="1124" y="804"/>
                      </a:lnTo>
                      <a:lnTo>
                        <a:pt x="1125" y="804"/>
                      </a:lnTo>
                      <a:lnTo>
                        <a:pt x="1125" y="806"/>
                      </a:lnTo>
                      <a:lnTo>
                        <a:pt x="1126" y="806"/>
                      </a:lnTo>
                      <a:lnTo>
                        <a:pt x="1126" y="807"/>
                      </a:lnTo>
                      <a:lnTo>
                        <a:pt x="1125" y="807"/>
                      </a:lnTo>
                      <a:lnTo>
                        <a:pt x="1126" y="807"/>
                      </a:lnTo>
                      <a:lnTo>
                        <a:pt x="1126" y="808"/>
                      </a:lnTo>
                      <a:lnTo>
                        <a:pt x="1128" y="808"/>
                      </a:lnTo>
                      <a:lnTo>
                        <a:pt x="1128" y="809"/>
                      </a:lnTo>
                      <a:lnTo>
                        <a:pt x="1128" y="810"/>
                      </a:lnTo>
                      <a:lnTo>
                        <a:pt x="1129" y="811"/>
                      </a:lnTo>
                      <a:lnTo>
                        <a:pt x="1129" y="812"/>
                      </a:lnTo>
                      <a:lnTo>
                        <a:pt x="1128" y="812"/>
                      </a:lnTo>
                      <a:lnTo>
                        <a:pt x="1128" y="813"/>
                      </a:lnTo>
                      <a:lnTo>
                        <a:pt x="1126" y="813"/>
                      </a:lnTo>
                      <a:lnTo>
                        <a:pt x="1128" y="813"/>
                      </a:lnTo>
                      <a:lnTo>
                        <a:pt x="1126" y="813"/>
                      </a:lnTo>
                      <a:lnTo>
                        <a:pt x="1126" y="812"/>
                      </a:lnTo>
                      <a:lnTo>
                        <a:pt x="1126" y="811"/>
                      </a:lnTo>
                      <a:lnTo>
                        <a:pt x="1125" y="811"/>
                      </a:lnTo>
                      <a:lnTo>
                        <a:pt x="1125" y="810"/>
                      </a:lnTo>
                      <a:lnTo>
                        <a:pt x="1124" y="810"/>
                      </a:lnTo>
                      <a:lnTo>
                        <a:pt x="1123" y="810"/>
                      </a:lnTo>
                      <a:lnTo>
                        <a:pt x="1123" y="811"/>
                      </a:lnTo>
                      <a:lnTo>
                        <a:pt x="1122" y="811"/>
                      </a:lnTo>
                      <a:lnTo>
                        <a:pt x="1122" y="812"/>
                      </a:lnTo>
                      <a:lnTo>
                        <a:pt x="1122" y="811"/>
                      </a:lnTo>
                      <a:lnTo>
                        <a:pt x="1122" y="812"/>
                      </a:lnTo>
                      <a:lnTo>
                        <a:pt x="1121" y="812"/>
                      </a:lnTo>
                      <a:lnTo>
                        <a:pt x="1120" y="812"/>
                      </a:lnTo>
                      <a:lnTo>
                        <a:pt x="1119" y="812"/>
                      </a:lnTo>
                      <a:lnTo>
                        <a:pt x="1118" y="811"/>
                      </a:lnTo>
                      <a:lnTo>
                        <a:pt x="1117" y="812"/>
                      </a:lnTo>
                      <a:lnTo>
                        <a:pt x="1117" y="811"/>
                      </a:lnTo>
                      <a:lnTo>
                        <a:pt x="1116" y="811"/>
                      </a:lnTo>
                      <a:lnTo>
                        <a:pt x="1115" y="810"/>
                      </a:lnTo>
                      <a:lnTo>
                        <a:pt x="1113" y="810"/>
                      </a:lnTo>
                      <a:lnTo>
                        <a:pt x="1112" y="810"/>
                      </a:lnTo>
                      <a:lnTo>
                        <a:pt x="1111" y="809"/>
                      </a:lnTo>
                      <a:lnTo>
                        <a:pt x="1110" y="809"/>
                      </a:lnTo>
                      <a:lnTo>
                        <a:pt x="1109" y="809"/>
                      </a:lnTo>
                      <a:lnTo>
                        <a:pt x="1109" y="808"/>
                      </a:lnTo>
                      <a:lnTo>
                        <a:pt x="1109" y="807"/>
                      </a:lnTo>
                      <a:lnTo>
                        <a:pt x="1110" y="807"/>
                      </a:lnTo>
                      <a:lnTo>
                        <a:pt x="1111" y="807"/>
                      </a:lnTo>
                      <a:lnTo>
                        <a:pt x="1111" y="808"/>
                      </a:lnTo>
                      <a:lnTo>
                        <a:pt x="1110" y="808"/>
                      </a:lnTo>
                      <a:lnTo>
                        <a:pt x="1111" y="808"/>
                      </a:lnTo>
                      <a:lnTo>
                        <a:pt x="1111" y="809"/>
                      </a:lnTo>
                      <a:lnTo>
                        <a:pt x="1111" y="808"/>
                      </a:lnTo>
                      <a:lnTo>
                        <a:pt x="1112" y="808"/>
                      </a:lnTo>
                      <a:lnTo>
                        <a:pt x="1112" y="809"/>
                      </a:lnTo>
                      <a:lnTo>
                        <a:pt x="1113" y="809"/>
                      </a:lnTo>
                      <a:lnTo>
                        <a:pt x="1113" y="810"/>
                      </a:lnTo>
                      <a:lnTo>
                        <a:pt x="1115" y="810"/>
                      </a:lnTo>
                      <a:lnTo>
                        <a:pt x="1116" y="810"/>
                      </a:lnTo>
                      <a:lnTo>
                        <a:pt x="1115" y="810"/>
                      </a:lnTo>
                      <a:lnTo>
                        <a:pt x="1116" y="810"/>
                      </a:lnTo>
                      <a:lnTo>
                        <a:pt x="1116" y="809"/>
                      </a:lnTo>
                      <a:lnTo>
                        <a:pt x="1117" y="810"/>
                      </a:lnTo>
                      <a:lnTo>
                        <a:pt x="1118" y="810"/>
                      </a:lnTo>
                      <a:lnTo>
                        <a:pt x="1119" y="810"/>
                      </a:lnTo>
                      <a:lnTo>
                        <a:pt x="1119" y="809"/>
                      </a:lnTo>
                      <a:lnTo>
                        <a:pt x="1120" y="809"/>
                      </a:lnTo>
                      <a:lnTo>
                        <a:pt x="1121" y="809"/>
                      </a:lnTo>
                      <a:lnTo>
                        <a:pt x="1121" y="808"/>
                      </a:lnTo>
                      <a:lnTo>
                        <a:pt x="1121" y="807"/>
                      </a:lnTo>
                      <a:lnTo>
                        <a:pt x="1122" y="807"/>
                      </a:lnTo>
                      <a:lnTo>
                        <a:pt x="1123" y="807"/>
                      </a:lnTo>
                      <a:lnTo>
                        <a:pt x="1123" y="806"/>
                      </a:lnTo>
                      <a:lnTo>
                        <a:pt x="1122" y="806"/>
                      </a:lnTo>
                      <a:lnTo>
                        <a:pt x="1122" y="804"/>
                      </a:lnTo>
                      <a:close/>
                      <a:moveTo>
                        <a:pt x="1357" y="1158"/>
                      </a:moveTo>
                      <a:lnTo>
                        <a:pt x="1357" y="1160"/>
                      </a:lnTo>
                      <a:lnTo>
                        <a:pt x="1358" y="1161"/>
                      </a:lnTo>
                      <a:lnTo>
                        <a:pt x="1358" y="1162"/>
                      </a:lnTo>
                      <a:lnTo>
                        <a:pt x="1355" y="1162"/>
                      </a:lnTo>
                      <a:lnTo>
                        <a:pt x="1353" y="1162"/>
                      </a:lnTo>
                      <a:lnTo>
                        <a:pt x="1352" y="1162"/>
                      </a:lnTo>
                      <a:lnTo>
                        <a:pt x="1351" y="1162"/>
                      </a:lnTo>
                      <a:lnTo>
                        <a:pt x="1350" y="1161"/>
                      </a:lnTo>
                      <a:lnTo>
                        <a:pt x="1349" y="1160"/>
                      </a:lnTo>
                      <a:lnTo>
                        <a:pt x="1350" y="1160"/>
                      </a:lnTo>
                      <a:lnTo>
                        <a:pt x="1350" y="1159"/>
                      </a:lnTo>
                      <a:lnTo>
                        <a:pt x="1351" y="1158"/>
                      </a:lnTo>
                      <a:lnTo>
                        <a:pt x="1352" y="1158"/>
                      </a:lnTo>
                      <a:lnTo>
                        <a:pt x="1351" y="1158"/>
                      </a:lnTo>
                      <a:lnTo>
                        <a:pt x="1351" y="1157"/>
                      </a:lnTo>
                      <a:lnTo>
                        <a:pt x="1352" y="1156"/>
                      </a:lnTo>
                      <a:lnTo>
                        <a:pt x="1353" y="1154"/>
                      </a:lnTo>
                      <a:lnTo>
                        <a:pt x="1354" y="1154"/>
                      </a:lnTo>
                      <a:lnTo>
                        <a:pt x="1355" y="1155"/>
                      </a:lnTo>
                      <a:lnTo>
                        <a:pt x="1356" y="1155"/>
                      </a:lnTo>
                      <a:lnTo>
                        <a:pt x="1357" y="1156"/>
                      </a:lnTo>
                      <a:lnTo>
                        <a:pt x="1357" y="1157"/>
                      </a:lnTo>
                      <a:lnTo>
                        <a:pt x="1357" y="1158"/>
                      </a:lnTo>
                      <a:close/>
                      <a:moveTo>
                        <a:pt x="1443" y="1086"/>
                      </a:moveTo>
                      <a:lnTo>
                        <a:pt x="1442" y="1086"/>
                      </a:lnTo>
                      <a:lnTo>
                        <a:pt x="1442" y="1088"/>
                      </a:lnTo>
                      <a:lnTo>
                        <a:pt x="1441" y="1088"/>
                      </a:lnTo>
                      <a:lnTo>
                        <a:pt x="1433" y="1093"/>
                      </a:lnTo>
                      <a:lnTo>
                        <a:pt x="1433" y="1094"/>
                      </a:lnTo>
                      <a:lnTo>
                        <a:pt x="1433" y="1095"/>
                      </a:lnTo>
                      <a:lnTo>
                        <a:pt x="1432" y="1095"/>
                      </a:lnTo>
                      <a:lnTo>
                        <a:pt x="1431" y="1095"/>
                      </a:lnTo>
                      <a:lnTo>
                        <a:pt x="1431" y="1096"/>
                      </a:lnTo>
                      <a:lnTo>
                        <a:pt x="1430" y="1096"/>
                      </a:lnTo>
                      <a:lnTo>
                        <a:pt x="1429" y="1095"/>
                      </a:lnTo>
                      <a:lnTo>
                        <a:pt x="1429" y="1094"/>
                      </a:lnTo>
                      <a:lnTo>
                        <a:pt x="1429" y="1093"/>
                      </a:lnTo>
                      <a:lnTo>
                        <a:pt x="1428" y="1092"/>
                      </a:lnTo>
                      <a:lnTo>
                        <a:pt x="1429" y="1091"/>
                      </a:lnTo>
                      <a:lnTo>
                        <a:pt x="1430" y="1091"/>
                      </a:lnTo>
                      <a:lnTo>
                        <a:pt x="1431" y="1090"/>
                      </a:lnTo>
                      <a:lnTo>
                        <a:pt x="1432" y="1090"/>
                      </a:lnTo>
                      <a:lnTo>
                        <a:pt x="1433" y="1090"/>
                      </a:lnTo>
                      <a:lnTo>
                        <a:pt x="1435" y="1088"/>
                      </a:lnTo>
                      <a:lnTo>
                        <a:pt x="1437" y="1088"/>
                      </a:lnTo>
                      <a:lnTo>
                        <a:pt x="1438" y="1088"/>
                      </a:lnTo>
                      <a:lnTo>
                        <a:pt x="1439" y="1086"/>
                      </a:lnTo>
                      <a:lnTo>
                        <a:pt x="1440" y="1086"/>
                      </a:lnTo>
                      <a:lnTo>
                        <a:pt x="1442" y="1085"/>
                      </a:lnTo>
                      <a:lnTo>
                        <a:pt x="1443" y="1085"/>
                      </a:lnTo>
                      <a:lnTo>
                        <a:pt x="1443" y="1086"/>
                      </a:lnTo>
                      <a:close/>
                      <a:moveTo>
                        <a:pt x="1090" y="984"/>
                      </a:moveTo>
                      <a:lnTo>
                        <a:pt x="1090" y="986"/>
                      </a:lnTo>
                      <a:lnTo>
                        <a:pt x="1089" y="986"/>
                      </a:lnTo>
                      <a:lnTo>
                        <a:pt x="1089" y="987"/>
                      </a:lnTo>
                      <a:lnTo>
                        <a:pt x="1090" y="987"/>
                      </a:lnTo>
                      <a:lnTo>
                        <a:pt x="1091" y="987"/>
                      </a:lnTo>
                      <a:lnTo>
                        <a:pt x="1092" y="987"/>
                      </a:lnTo>
                      <a:lnTo>
                        <a:pt x="1092" y="986"/>
                      </a:lnTo>
                      <a:lnTo>
                        <a:pt x="1093" y="986"/>
                      </a:lnTo>
                      <a:lnTo>
                        <a:pt x="1092" y="986"/>
                      </a:lnTo>
                      <a:lnTo>
                        <a:pt x="1093" y="984"/>
                      </a:lnTo>
                      <a:lnTo>
                        <a:pt x="1092" y="984"/>
                      </a:lnTo>
                      <a:lnTo>
                        <a:pt x="1093" y="984"/>
                      </a:lnTo>
                      <a:lnTo>
                        <a:pt x="1093" y="986"/>
                      </a:lnTo>
                      <a:lnTo>
                        <a:pt x="1093" y="987"/>
                      </a:lnTo>
                      <a:lnTo>
                        <a:pt x="1094" y="988"/>
                      </a:lnTo>
                      <a:lnTo>
                        <a:pt x="1094" y="989"/>
                      </a:lnTo>
                      <a:lnTo>
                        <a:pt x="1093" y="990"/>
                      </a:lnTo>
                      <a:lnTo>
                        <a:pt x="1092" y="990"/>
                      </a:lnTo>
                      <a:lnTo>
                        <a:pt x="1091" y="990"/>
                      </a:lnTo>
                      <a:lnTo>
                        <a:pt x="1089" y="991"/>
                      </a:lnTo>
                      <a:lnTo>
                        <a:pt x="1087" y="991"/>
                      </a:lnTo>
                      <a:lnTo>
                        <a:pt x="1087" y="992"/>
                      </a:lnTo>
                      <a:lnTo>
                        <a:pt x="1085" y="993"/>
                      </a:lnTo>
                      <a:lnTo>
                        <a:pt x="1083" y="992"/>
                      </a:lnTo>
                      <a:lnTo>
                        <a:pt x="1082" y="992"/>
                      </a:lnTo>
                      <a:lnTo>
                        <a:pt x="1083" y="992"/>
                      </a:lnTo>
                      <a:lnTo>
                        <a:pt x="1079" y="992"/>
                      </a:lnTo>
                      <a:lnTo>
                        <a:pt x="1079" y="991"/>
                      </a:lnTo>
                      <a:lnTo>
                        <a:pt x="1080" y="991"/>
                      </a:lnTo>
                      <a:lnTo>
                        <a:pt x="1080" y="990"/>
                      </a:lnTo>
                      <a:lnTo>
                        <a:pt x="1081" y="988"/>
                      </a:lnTo>
                      <a:lnTo>
                        <a:pt x="1080" y="990"/>
                      </a:lnTo>
                      <a:lnTo>
                        <a:pt x="1080" y="991"/>
                      </a:lnTo>
                      <a:lnTo>
                        <a:pt x="1080" y="992"/>
                      </a:lnTo>
                      <a:lnTo>
                        <a:pt x="1081" y="992"/>
                      </a:lnTo>
                      <a:lnTo>
                        <a:pt x="1081" y="991"/>
                      </a:lnTo>
                      <a:lnTo>
                        <a:pt x="1081" y="990"/>
                      </a:lnTo>
                      <a:lnTo>
                        <a:pt x="1081" y="989"/>
                      </a:lnTo>
                      <a:lnTo>
                        <a:pt x="1082" y="989"/>
                      </a:lnTo>
                      <a:lnTo>
                        <a:pt x="1083" y="989"/>
                      </a:lnTo>
                      <a:lnTo>
                        <a:pt x="1084" y="988"/>
                      </a:lnTo>
                      <a:lnTo>
                        <a:pt x="1084" y="989"/>
                      </a:lnTo>
                      <a:lnTo>
                        <a:pt x="1084" y="990"/>
                      </a:lnTo>
                      <a:lnTo>
                        <a:pt x="1084" y="989"/>
                      </a:lnTo>
                      <a:lnTo>
                        <a:pt x="1085" y="989"/>
                      </a:lnTo>
                      <a:lnTo>
                        <a:pt x="1085" y="988"/>
                      </a:lnTo>
                      <a:lnTo>
                        <a:pt x="1085" y="987"/>
                      </a:lnTo>
                      <a:lnTo>
                        <a:pt x="1086" y="987"/>
                      </a:lnTo>
                      <a:lnTo>
                        <a:pt x="1085" y="988"/>
                      </a:lnTo>
                      <a:lnTo>
                        <a:pt x="1085" y="989"/>
                      </a:lnTo>
                      <a:lnTo>
                        <a:pt x="1086" y="989"/>
                      </a:lnTo>
                      <a:lnTo>
                        <a:pt x="1086" y="988"/>
                      </a:lnTo>
                      <a:lnTo>
                        <a:pt x="1087" y="988"/>
                      </a:lnTo>
                      <a:lnTo>
                        <a:pt x="1087" y="989"/>
                      </a:lnTo>
                      <a:lnTo>
                        <a:pt x="1086" y="989"/>
                      </a:lnTo>
                      <a:lnTo>
                        <a:pt x="1087" y="989"/>
                      </a:lnTo>
                      <a:lnTo>
                        <a:pt x="1089" y="989"/>
                      </a:lnTo>
                      <a:lnTo>
                        <a:pt x="1089" y="988"/>
                      </a:lnTo>
                      <a:lnTo>
                        <a:pt x="1089" y="987"/>
                      </a:lnTo>
                      <a:lnTo>
                        <a:pt x="1087" y="987"/>
                      </a:lnTo>
                      <a:lnTo>
                        <a:pt x="1087" y="986"/>
                      </a:lnTo>
                      <a:lnTo>
                        <a:pt x="1089" y="986"/>
                      </a:lnTo>
                      <a:lnTo>
                        <a:pt x="1089" y="984"/>
                      </a:lnTo>
                      <a:lnTo>
                        <a:pt x="1090" y="984"/>
                      </a:lnTo>
                      <a:lnTo>
                        <a:pt x="1089" y="984"/>
                      </a:lnTo>
                      <a:lnTo>
                        <a:pt x="1090" y="984"/>
                      </a:lnTo>
                      <a:close/>
                      <a:moveTo>
                        <a:pt x="1438" y="1085"/>
                      </a:moveTo>
                      <a:lnTo>
                        <a:pt x="1439" y="1085"/>
                      </a:lnTo>
                      <a:lnTo>
                        <a:pt x="1440" y="1085"/>
                      </a:lnTo>
                      <a:lnTo>
                        <a:pt x="1440" y="1084"/>
                      </a:lnTo>
                      <a:lnTo>
                        <a:pt x="1440" y="1085"/>
                      </a:lnTo>
                      <a:lnTo>
                        <a:pt x="1440" y="1084"/>
                      </a:lnTo>
                      <a:lnTo>
                        <a:pt x="1440" y="1085"/>
                      </a:lnTo>
                      <a:lnTo>
                        <a:pt x="1441" y="1085"/>
                      </a:lnTo>
                      <a:lnTo>
                        <a:pt x="1440" y="1086"/>
                      </a:lnTo>
                      <a:lnTo>
                        <a:pt x="1439" y="1086"/>
                      </a:lnTo>
                      <a:lnTo>
                        <a:pt x="1438" y="1086"/>
                      </a:lnTo>
                      <a:lnTo>
                        <a:pt x="1437" y="1086"/>
                      </a:lnTo>
                      <a:lnTo>
                        <a:pt x="1435" y="1086"/>
                      </a:lnTo>
                      <a:lnTo>
                        <a:pt x="1435" y="1088"/>
                      </a:lnTo>
                      <a:lnTo>
                        <a:pt x="1434" y="1088"/>
                      </a:lnTo>
                      <a:lnTo>
                        <a:pt x="1434" y="1089"/>
                      </a:lnTo>
                      <a:lnTo>
                        <a:pt x="1433" y="1089"/>
                      </a:lnTo>
                      <a:lnTo>
                        <a:pt x="1432" y="1090"/>
                      </a:lnTo>
                      <a:lnTo>
                        <a:pt x="1431" y="1090"/>
                      </a:lnTo>
                      <a:lnTo>
                        <a:pt x="1431" y="1089"/>
                      </a:lnTo>
                      <a:lnTo>
                        <a:pt x="1430" y="1090"/>
                      </a:lnTo>
                      <a:lnTo>
                        <a:pt x="1429" y="1089"/>
                      </a:lnTo>
                      <a:lnTo>
                        <a:pt x="1429" y="1090"/>
                      </a:lnTo>
                      <a:lnTo>
                        <a:pt x="1428" y="1090"/>
                      </a:lnTo>
                      <a:lnTo>
                        <a:pt x="1428" y="1091"/>
                      </a:lnTo>
                      <a:lnTo>
                        <a:pt x="1427" y="1091"/>
                      </a:lnTo>
                      <a:lnTo>
                        <a:pt x="1426" y="1092"/>
                      </a:lnTo>
                      <a:lnTo>
                        <a:pt x="1426" y="1091"/>
                      </a:lnTo>
                      <a:lnTo>
                        <a:pt x="1426" y="1092"/>
                      </a:lnTo>
                      <a:lnTo>
                        <a:pt x="1426" y="1093"/>
                      </a:lnTo>
                      <a:lnTo>
                        <a:pt x="1425" y="1093"/>
                      </a:lnTo>
                      <a:lnTo>
                        <a:pt x="1426" y="1093"/>
                      </a:lnTo>
                      <a:lnTo>
                        <a:pt x="1426" y="1094"/>
                      </a:lnTo>
                      <a:lnTo>
                        <a:pt x="1425" y="1094"/>
                      </a:lnTo>
                      <a:lnTo>
                        <a:pt x="1425" y="1095"/>
                      </a:lnTo>
                      <a:lnTo>
                        <a:pt x="1424" y="1095"/>
                      </a:lnTo>
                      <a:lnTo>
                        <a:pt x="1422" y="1095"/>
                      </a:lnTo>
                      <a:lnTo>
                        <a:pt x="1422" y="1096"/>
                      </a:lnTo>
                      <a:lnTo>
                        <a:pt x="1421" y="1095"/>
                      </a:lnTo>
                      <a:lnTo>
                        <a:pt x="1421" y="1094"/>
                      </a:lnTo>
                      <a:lnTo>
                        <a:pt x="1421" y="1093"/>
                      </a:lnTo>
                      <a:lnTo>
                        <a:pt x="1422" y="1093"/>
                      </a:lnTo>
                      <a:lnTo>
                        <a:pt x="1422" y="1092"/>
                      </a:lnTo>
                      <a:lnTo>
                        <a:pt x="1424" y="1092"/>
                      </a:lnTo>
                      <a:lnTo>
                        <a:pt x="1425" y="1091"/>
                      </a:lnTo>
                      <a:lnTo>
                        <a:pt x="1425" y="1090"/>
                      </a:lnTo>
                      <a:lnTo>
                        <a:pt x="1426" y="1089"/>
                      </a:lnTo>
                      <a:lnTo>
                        <a:pt x="1428" y="1086"/>
                      </a:lnTo>
                      <a:lnTo>
                        <a:pt x="1429" y="1085"/>
                      </a:lnTo>
                      <a:lnTo>
                        <a:pt x="1430" y="1085"/>
                      </a:lnTo>
                      <a:lnTo>
                        <a:pt x="1430" y="1086"/>
                      </a:lnTo>
                      <a:lnTo>
                        <a:pt x="1431" y="1086"/>
                      </a:lnTo>
                      <a:lnTo>
                        <a:pt x="1431" y="1088"/>
                      </a:lnTo>
                      <a:lnTo>
                        <a:pt x="1432" y="1088"/>
                      </a:lnTo>
                      <a:lnTo>
                        <a:pt x="1432" y="1089"/>
                      </a:lnTo>
                      <a:lnTo>
                        <a:pt x="1432" y="1088"/>
                      </a:lnTo>
                      <a:lnTo>
                        <a:pt x="1433" y="1088"/>
                      </a:lnTo>
                      <a:lnTo>
                        <a:pt x="1433" y="1086"/>
                      </a:lnTo>
                      <a:lnTo>
                        <a:pt x="1434" y="1085"/>
                      </a:lnTo>
                      <a:lnTo>
                        <a:pt x="1435" y="1085"/>
                      </a:lnTo>
                      <a:lnTo>
                        <a:pt x="1437" y="1084"/>
                      </a:lnTo>
                      <a:lnTo>
                        <a:pt x="1438" y="1084"/>
                      </a:lnTo>
                      <a:lnTo>
                        <a:pt x="1438" y="1085"/>
                      </a:lnTo>
                      <a:close/>
                      <a:moveTo>
                        <a:pt x="1175" y="966"/>
                      </a:moveTo>
                      <a:lnTo>
                        <a:pt x="1176" y="966"/>
                      </a:lnTo>
                      <a:lnTo>
                        <a:pt x="1176" y="967"/>
                      </a:lnTo>
                      <a:lnTo>
                        <a:pt x="1176" y="968"/>
                      </a:lnTo>
                      <a:lnTo>
                        <a:pt x="1177" y="968"/>
                      </a:lnTo>
                      <a:lnTo>
                        <a:pt x="1176" y="970"/>
                      </a:lnTo>
                      <a:lnTo>
                        <a:pt x="1175" y="970"/>
                      </a:lnTo>
                      <a:lnTo>
                        <a:pt x="1176" y="970"/>
                      </a:lnTo>
                      <a:lnTo>
                        <a:pt x="1176" y="971"/>
                      </a:lnTo>
                      <a:lnTo>
                        <a:pt x="1176" y="970"/>
                      </a:lnTo>
                      <a:lnTo>
                        <a:pt x="1177" y="971"/>
                      </a:lnTo>
                      <a:lnTo>
                        <a:pt x="1177" y="970"/>
                      </a:lnTo>
                      <a:lnTo>
                        <a:pt x="1176" y="970"/>
                      </a:lnTo>
                      <a:lnTo>
                        <a:pt x="1177" y="969"/>
                      </a:lnTo>
                      <a:lnTo>
                        <a:pt x="1179" y="969"/>
                      </a:lnTo>
                      <a:lnTo>
                        <a:pt x="1179" y="970"/>
                      </a:lnTo>
                      <a:lnTo>
                        <a:pt x="1179" y="971"/>
                      </a:lnTo>
                      <a:lnTo>
                        <a:pt x="1177" y="971"/>
                      </a:lnTo>
                      <a:lnTo>
                        <a:pt x="1175" y="971"/>
                      </a:lnTo>
                      <a:lnTo>
                        <a:pt x="1174" y="970"/>
                      </a:lnTo>
                      <a:lnTo>
                        <a:pt x="1173" y="971"/>
                      </a:lnTo>
                      <a:lnTo>
                        <a:pt x="1170" y="973"/>
                      </a:lnTo>
                      <a:lnTo>
                        <a:pt x="1170" y="971"/>
                      </a:lnTo>
                      <a:lnTo>
                        <a:pt x="1169" y="971"/>
                      </a:lnTo>
                      <a:lnTo>
                        <a:pt x="1169" y="970"/>
                      </a:lnTo>
                      <a:lnTo>
                        <a:pt x="1170" y="969"/>
                      </a:lnTo>
                      <a:lnTo>
                        <a:pt x="1169" y="968"/>
                      </a:lnTo>
                      <a:lnTo>
                        <a:pt x="1168" y="968"/>
                      </a:lnTo>
                      <a:lnTo>
                        <a:pt x="1169" y="967"/>
                      </a:lnTo>
                      <a:lnTo>
                        <a:pt x="1169" y="966"/>
                      </a:lnTo>
                      <a:lnTo>
                        <a:pt x="1169" y="965"/>
                      </a:lnTo>
                      <a:lnTo>
                        <a:pt x="1170" y="965"/>
                      </a:lnTo>
                      <a:lnTo>
                        <a:pt x="1171" y="965"/>
                      </a:lnTo>
                      <a:lnTo>
                        <a:pt x="1171" y="966"/>
                      </a:lnTo>
                      <a:lnTo>
                        <a:pt x="1172" y="966"/>
                      </a:lnTo>
                      <a:lnTo>
                        <a:pt x="1173" y="965"/>
                      </a:lnTo>
                      <a:lnTo>
                        <a:pt x="1174" y="965"/>
                      </a:lnTo>
                      <a:lnTo>
                        <a:pt x="1175" y="965"/>
                      </a:lnTo>
                      <a:lnTo>
                        <a:pt x="1175" y="966"/>
                      </a:lnTo>
                      <a:close/>
                      <a:moveTo>
                        <a:pt x="1403" y="1204"/>
                      </a:moveTo>
                      <a:lnTo>
                        <a:pt x="1404" y="1204"/>
                      </a:lnTo>
                      <a:lnTo>
                        <a:pt x="1405" y="1204"/>
                      </a:lnTo>
                      <a:lnTo>
                        <a:pt x="1407" y="1205"/>
                      </a:lnTo>
                      <a:lnTo>
                        <a:pt x="1410" y="1207"/>
                      </a:lnTo>
                      <a:lnTo>
                        <a:pt x="1415" y="1210"/>
                      </a:lnTo>
                      <a:lnTo>
                        <a:pt x="1416" y="1210"/>
                      </a:lnTo>
                      <a:lnTo>
                        <a:pt x="1417" y="1210"/>
                      </a:lnTo>
                      <a:lnTo>
                        <a:pt x="1417" y="1211"/>
                      </a:lnTo>
                      <a:lnTo>
                        <a:pt x="1420" y="1212"/>
                      </a:lnTo>
                      <a:lnTo>
                        <a:pt x="1422" y="1213"/>
                      </a:lnTo>
                      <a:lnTo>
                        <a:pt x="1424" y="1214"/>
                      </a:lnTo>
                      <a:lnTo>
                        <a:pt x="1426" y="1214"/>
                      </a:lnTo>
                      <a:lnTo>
                        <a:pt x="1427" y="1215"/>
                      </a:lnTo>
                      <a:lnTo>
                        <a:pt x="1426" y="1217"/>
                      </a:lnTo>
                      <a:lnTo>
                        <a:pt x="1425" y="1217"/>
                      </a:lnTo>
                      <a:lnTo>
                        <a:pt x="1421" y="1214"/>
                      </a:lnTo>
                      <a:lnTo>
                        <a:pt x="1416" y="1212"/>
                      </a:lnTo>
                      <a:lnTo>
                        <a:pt x="1410" y="1210"/>
                      </a:lnTo>
                      <a:lnTo>
                        <a:pt x="1406" y="1207"/>
                      </a:lnTo>
                      <a:lnTo>
                        <a:pt x="1402" y="1205"/>
                      </a:lnTo>
                      <a:lnTo>
                        <a:pt x="1401" y="1204"/>
                      </a:lnTo>
                      <a:lnTo>
                        <a:pt x="1402" y="1204"/>
                      </a:lnTo>
                      <a:lnTo>
                        <a:pt x="1403" y="1204"/>
                      </a:lnTo>
                      <a:close/>
                      <a:moveTo>
                        <a:pt x="1350" y="1170"/>
                      </a:moveTo>
                      <a:lnTo>
                        <a:pt x="1351" y="1170"/>
                      </a:lnTo>
                      <a:lnTo>
                        <a:pt x="1352" y="1170"/>
                      </a:lnTo>
                      <a:lnTo>
                        <a:pt x="1352" y="1171"/>
                      </a:lnTo>
                      <a:lnTo>
                        <a:pt x="1352" y="1172"/>
                      </a:lnTo>
                      <a:lnTo>
                        <a:pt x="1352" y="1173"/>
                      </a:lnTo>
                      <a:lnTo>
                        <a:pt x="1352" y="1174"/>
                      </a:lnTo>
                      <a:lnTo>
                        <a:pt x="1352" y="1173"/>
                      </a:lnTo>
                      <a:lnTo>
                        <a:pt x="1351" y="1173"/>
                      </a:lnTo>
                      <a:lnTo>
                        <a:pt x="1350" y="1173"/>
                      </a:lnTo>
                      <a:lnTo>
                        <a:pt x="1350" y="1174"/>
                      </a:lnTo>
                      <a:lnTo>
                        <a:pt x="1350" y="1175"/>
                      </a:lnTo>
                      <a:lnTo>
                        <a:pt x="1349" y="1175"/>
                      </a:lnTo>
                      <a:lnTo>
                        <a:pt x="1348" y="1175"/>
                      </a:lnTo>
                      <a:lnTo>
                        <a:pt x="1348" y="1174"/>
                      </a:lnTo>
                      <a:lnTo>
                        <a:pt x="1348" y="1173"/>
                      </a:lnTo>
                      <a:lnTo>
                        <a:pt x="1349" y="1173"/>
                      </a:lnTo>
                      <a:lnTo>
                        <a:pt x="1350" y="1173"/>
                      </a:lnTo>
                      <a:lnTo>
                        <a:pt x="1350" y="1172"/>
                      </a:lnTo>
                      <a:lnTo>
                        <a:pt x="1349" y="1172"/>
                      </a:lnTo>
                      <a:lnTo>
                        <a:pt x="1349" y="1173"/>
                      </a:lnTo>
                      <a:lnTo>
                        <a:pt x="1348" y="1173"/>
                      </a:lnTo>
                      <a:lnTo>
                        <a:pt x="1348" y="1172"/>
                      </a:lnTo>
                      <a:lnTo>
                        <a:pt x="1348" y="1173"/>
                      </a:lnTo>
                      <a:lnTo>
                        <a:pt x="1348" y="1174"/>
                      </a:lnTo>
                      <a:lnTo>
                        <a:pt x="1348" y="1175"/>
                      </a:lnTo>
                      <a:lnTo>
                        <a:pt x="1345" y="1175"/>
                      </a:lnTo>
                      <a:lnTo>
                        <a:pt x="1344" y="1175"/>
                      </a:lnTo>
                      <a:lnTo>
                        <a:pt x="1344" y="1176"/>
                      </a:lnTo>
                      <a:lnTo>
                        <a:pt x="1343" y="1176"/>
                      </a:lnTo>
                      <a:lnTo>
                        <a:pt x="1344" y="1176"/>
                      </a:lnTo>
                      <a:lnTo>
                        <a:pt x="1343" y="1176"/>
                      </a:lnTo>
                      <a:lnTo>
                        <a:pt x="1343" y="1178"/>
                      </a:lnTo>
                      <a:lnTo>
                        <a:pt x="1342" y="1178"/>
                      </a:lnTo>
                      <a:lnTo>
                        <a:pt x="1342" y="1176"/>
                      </a:lnTo>
                      <a:lnTo>
                        <a:pt x="1341" y="1176"/>
                      </a:lnTo>
                      <a:lnTo>
                        <a:pt x="1341" y="1175"/>
                      </a:lnTo>
                      <a:lnTo>
                        <a:pt x="1342" y="1173"/>
                      </a:lnTo>
                      <a:lnTo>
                        <a:pt x="1342" y="1172"/>
                      </a:lnTo>
                      <a:lnTo>
                        <a:pt x="1342" y="1171"/>
                      </a:lnTo>
                      <a:lnTo>
                        <a:pt x="1343" y="1170"/>
                      </a:lnTo>
                      <a:lnTo>
                        <a:pt x="1344" y="1170"/>
                      </a:lnTo>
                      <a:lnTo>
                        <a:pt x="1345" y="1170"/>
                      </a:lnTo>
                      <a:lnTo>
                        <a:pt x="1347" y="1170"/>
                      </a:lnTo>
                      <a:lnTo>
                        <a:pt x="1348" y="1170"/>
                      </a:lnTo>
                      <a:lnTo>
                        <a:pt x="1349" y="1170"/>
                      </a:lnTo>
                      <a:lnTo>
                        <a:pt x="1350" y="1170"/>
                      </a:lnTo>
                      <a:close/>
                      <a:moveTo>
                        <a:pt x="1110" y="845"/>
                      </a:moveTo>
                      <a:lnTo>
                        <a:pt x="1111" y="845"/>
                      </a:lnTo>
                      <a:lnTo>
                        <a:pt x="1110" y="845"/>
                      </a:lnTo>
                      <a:lnTo>
                        <a:pt x="1109" y="845"/>
                      </a:lnTo>
                      <a:lnTo>
                        <a:pt x="1109" y="846"/>
                      </a:lnTo>
                      <a:lnTo>
                        <a:pt x="1110" y="846"/>
                      </a:lnTo>
                      <a:lnTo>
                        <a:pt x="1111" y="846"/>
                      </a:lnTo>
                      <a:lnTo>
                        <a:pt x="1110" y="846"/>
                      </a:lnTo>
                      <a:lnTo>
                        <a:pt x="1111" y="846"/>
                      </a:lnTo>
                      <a:lnTo>
                        <a:pt x="1111" y="847"/>
                      </a:lnTo>
                      <a:lnTo>
                        <a:pt x="1111" y="846"/>
                      </a:lnTo>
                      <a:lnTo>
                        <a:pt x="1111" y="845"/>
                      </a:lnTo>
                      <a:lnTo>
                        <a:pt x="1112" y="845"/>
                      </a:lnTo>
                      <a:lnTo>
                        <a:pt x="1112" y="846"/>
                      </a:lnTo>
                      <a:lnTo>
                        <a:pt x="1113" y="846"/>
                      </a:lnTo>
                      <a:lnTo>
                        <a:pt x="1113" y="847"/>
                      </a:lnTo>
                      <a:lnTo>
                        <a:pt x="1115" y="848"/>
                      </a:lnTo>
                      <a:lnTo>
                        <a:pt x="1116" y="848"/>
                      </a:lnTo>
                      <a:lnTo>
                        <a:pt x="1117" y="847"/>
                      </a:lnTo>
                      <a:lnTo>
                        <a:pt x="1117" y="846"/>
                      </a:lnTo>
                      <a:lnTo>
                        <a:pt x="1117" y="845"/>
                      </a:lnTo>
                      <a:lnTo>
                        <a:pt x="1116" y="845"/>
                      </a:lnTo>
                      <a:lnTo>
                        <a:pt x="1116" y="844"/>
                      </a:lnTo>
                      <a:lnTo>
                        <a:pt x="1117" y="844"/>
                      </a:lnTo>
                      <a:lnTo>
                        <a:pt x="1117" y="845"/>
                      </a:lnTo>
                      <a:lnTo>
                        <a:pt x="1118" y="845"/>
                      </a:lnTo>
                      <a:lnTo>
                        <a:pt x="1119" y="845"/>
                      </a:lnTo>
                      <a:lnTo>
                        <a:pt x="1119" y="846"/>
                      </a:lnTo>
                      <a:lnTo>
                        <a:pt x="1120" y="847"/>
                      </a:lnTo>
                      <a:lnTo>
                        <a:pt x="1119" y="847"/>
                      </a:lnTo>
                      <a:lnTo>
                        <a:pt x="1119" y="848"/>
                      </a:lnTo>
                      <a:lnTo>
                        <a:pt x="1118" y="848"/>
                      </a:lnTo>
                      <a:lnTo>
                        <a:pt x="1118" y="847"/>
                      </a:lnTo>
                      <a:lnTo>
                        <a:pt x="1117" y="847"/>
                      </a:lnTo>
                      <a:lnTo>
                        <a:pt x="1117" y="848"/>
                      </a:lnTo>
                      <a:lnTo>
                        <a:pt x="1116" y="848"/>
                      </a:lnTo>
                      <a:lnTo>
                        <a:pt x="1115" y="848"/>
                      </a:lnTo>
                      <a:lnTo>
                        <a:pt x="1113" y="848"/>
                      </a:lnTo>
                      <a:lnTo>
                        <a:pt x="1113" y="849"/>
                      </a:lnTo>
                      <a:lnTo>
                        <a:pt x="1112" y="848"/>
                      </a:lnTo>
                      <a:lnTo>
                        <a:pt x="1112" y="849"/>
                      </a:lnTo>
                      <a:lnTo>
                        <a:pt x="1113" y="849"/>
                      </a:lnTo>
                      <a:lnTo>
                        <a:pt x="1113" y="850"/>
                      </a:lnTo>
                      <a:lnTo>
                        <a:pt x="1115" y="850"/>
                      </a:lnTo>
                      <a:lnTo>
                        <a:pt x="1116" y="850"/>
                      </a:lnTo>
                      <a:lnTo>
                        <a:pt x="1115" y="851"/>
                      </a:lnTo>
                      <a:lnTo>
                        <a:pt x="1116" y="851"/>
                      </a:lnTo>
                      <a:lnTo>
                        <a:pt x="1115" y="851"/>
                      </a:lnTo>
                      <a:lnTo>
                        <a:pt x="1115" y="852"/>
                      </a:lnTo>
                      <a:lnTo>
                        <a:pt x="1113" y="852"/>
                      </a:lnTo>
                      <a:lnTo>
                        <a:pt x="1113" y="851"/>
                      </a:lnTo>
                      <a:lnTo>
                        <a:pt x="1112" y="851"/>
                      </a:lnTo>
                      <a:lnTo>
                        <a:pt x="1112" y="850"/>
                      </a:lnTo>
                      <a:lnTo>
                        <a:pt x="1111" y="850"/>
                      </a:lnTo>
                      <a:lnTo>
                        <a:pt x="1110" y="850"/>
                      </a:lnTo>
                      <a:lnTo>
                        <a:pt x="1110" y="849"/>
                      </a:lnTo>
                      <a:lnTo>
                        <a:pt x="1109" y="849"/>
                      </a:lnTo>
                      <a:lnTo>
                        <a:pt x="1108" y="849"/>
                      </a:lnTo>
                      <a:lnTo>
                        <a:pt x="1108" y="848"/>
                      </a:lnTo>
                      <a:lnTo>
                        <a:pt x="1108" y="849"/>
                      </a:lnTo>
                      <a:lnTo>
                        <a:pt x="1109" y="849"/>
                      </a:lnTo>
                      <a:lnTo>
                        <a:pt x="1108" y="849"/>
                      </a:lnTo>
                      <a:lnTo>
                        <a:pt x="1107" y="848"/>
                      </a:lnTo>
                      <a:lnTo>
                        <a:pt x="1106" y="847"/>
                      </a:lnTo>
                      <a:lnTo>
                        <a:pt x="1105" y="847"/>
                      </a:lnTo>
                      <a:lnTo>
                        <a:pt x="1105" y="846"/>
                      </a:lnTo>
                      <a:lnTo>
                        <a:pt x="1107" y="845"/>
                      </a:lnTo>
                      <a:lnTo>
                        <a:pt x="1107" y="844"/>
                      </a:lnTo>
                      <a:lnTo>
                        <a:pt x="1108" y="844"/>
                      </a:lnTo>
                      <a:lnTo>
                        <a:pt x="1108" y="842"/>
                      </a:lnTo>
                      <a:lnTo>
                        <a:pt x="1109" y="842"/>
                      </a:lnTo>
                      <a:lnTo>
                        <a:pt x="1110" y="845"/>
                      </a:lnTo>
                      <a:close/>
                      <a:moveTo>
                        <a:pt x="1412" y="1125"/>
                      </a:moveTo>
                      <a:lnTo>
                        <a:pt x="1413" y="1127"/>
                      </a:lnTo>
                      <a:lnTo>
                        <a:pt x="1413" y="1125"/>
                      </a:lnTo>
                      <a:lnTo>
                        <a:pt x="1412" y="1124"/>
                      </a:lnTo>
                      <a:lnTo>
                        <a:pt x="1412" y="1123"/>
                      </a:lnTo>
                      <a:lnTo>
                        <a:pt x="1410" y="1123"/>
                      </a:lnTo>
                      <a:lnTo>
                        <a:pt x="1412" y="1123"/>
                      </a:lnTo>
                      <a:lnTo>
                        <a:pt x="1414" y="1124"/>
                      </a:lnTo>
                      <a:lnTo>
                        <a:pt x="1415" y="1124"/>
                      </a:lnTo>
                      <a:lnTo>
                        <a:pt x="1416" y="1124"/>
                      </a:lnTo>
                      <a:lnTo>
                        <a:pt x="1416" y="1125"/>
                      </a:lnTo>
                      <a:lnTo>
                        <a:pt x="1416" y="1124"/>
                      </a:lnTo>
                      <a:lnTo>
                        <a:pt x="1413" y="1124"/>
                      </a:lnTo>
                      <a:lnTo>
                        <a:pt x="1412" y="1123"/>
                      </a:lnTo>
                      <a:lnTo>
                        <a:pt x="1412" y="1124"/>
                      </a:lnTo>
                      <a:lnTo>
                        <a:pt x="1413" y="1124"/>
                      </a:lnTo>
                      <a:lnTo>
                        <a:pt x="1413" y="1125"/>
                      </a:lnTo>
                      <a:lnTo>
                        <a:pt x="1413" y="1127"/>
                      </a:lnTo>
                      <a:lnTo>
                        <a:pt x="1415" y="1128"/>
                      </a:lnTo>
                      <a:lnTo>
                        <a:pt x="1414" y="1128"/>
                      </a:lnTo>
                      <a:lnTo>
                        <a:pt x="1413" y="1128"/>
                      </a:lnTo>
                      <a:lnTo>
                        <a:pt x="1412" y="1129"/>
                      </a:lnTo>
                      <a:lnTo>
                        <a:pt x="1410" y="1129"/>
                      </a:lnTo>
                      <a:lnTo>
                        <a:pt x="1410" y="1130"/>
                      </a:lnTo>
                      <a:lnTo>
                        <a:pt x="1410" y="1131"/>
                      </a:lnTo>
                      <a:lnTo>
                        <a:pt x="1409" y="1131"/>
                      </a:lnTo>
                      <a:lnTo>
                        <a:pt x="1409" y="1130"/>
                      </a:lnTo>
                      <a:lnTo>
                        <a:pt x="1408" y="1130"/>
                      </a:lnTo>
                      <a:lnTo>
                        <a:pt x="1408" y="1131"/>
                      </a:lnTo>
                      <a:lnTo>
                        <a:pt x="1409" y="1131"/>
                      </a:lnTo>
                      <a:lnTo>
                        <a:pt x="1410" y="1131"/>
                      </a:lnTo>
                      <a:lnTo>
                        <a:pt x="1410" y="1132"/>
                      </a:lnTo>
                      <a:lnTo>
                        <a:pt x="1409" y="1131"/>
                      </a:lnTo>
                      <a:lnTo>
                        <a:pt x="1408" y="1131"/>
                      </a:lnTo>
                      <a:lnTo>
                        <a:pt x="1407" y="1130"/>
                      </a:lnTo>
                      <a:lnTo>
                        <a:pt x="1407" y="1129"/>
                      </a:lnTo>
                      <a:lnTo>
                        <a:pt x="1406" y="1128"/>
                      </a:lnTo>
                      <a:lnTo>
                        <a:pt x="1406" y="1127"/>
                      </a:lnTo>
                      <a:lnTo>
                        <a:pt x="1405" y="1127"/>
                      </a:lnTo>
                      <a:lnTo>
                        <a:pt x="1406" y="1127"/>
                      </a:lnTo>
                      <a:lnTo>
                        <a:pt x="1405" y="1125"/>
                      </a:lnTo>
                      <a:lnTo>
                        <a:pt x="1404" y="1125"/>
                      </a:lnTo>
                      <a:lnTo>
                        <a:pt x="1404" y="1124"/>
                      </a:lnTo>
                      <a:lnTo>
                        <a:pt x="1405" y="1123"/>
                      </a:lnTo>
                      <a:lnTo>
                        <a:pt x="1406" y="1123"/>
                      </a:lnTo>
                      <a:lnTo>
                        <a:pt x="1407" y="1122"/>
                      </a:lnTo>
                      <a:lnTo>
                        <a:pt x="1408" y="1122"/>
                      </a:lnTo>
                      <a:lnTo>
                        <a:pt x="1409" y="1122"/>
                      </a:lnTo>
                      <a:lnTo>
                        <a:pt x="1409" y="1123"/>
                      </a:lnTo>
                      <a:lnTo>
                        <a:pt x="1410" y="1123"/>
                      </a:lnTo>
                      <a:lnTo>
                        <a:pt x="1412" y="1124"/>
                      </a:lnTo>
                      <a:lnTo>
                        <a:pt x="1412" y="1125"/>
                      </a:lnTo>
                      <a:close/>
                      <a:moveTo>
                        <a:pt x="1105" y="783"/>
                      </a:moveTo>
                      <a:lnTo>
                        <a:pt x="1106" y="783"/>
                      </a:lnTo>
                      <a:lnTo>
                        <a:pt x="1106" y="784"/>
                      </a:lnTo>
                      <a:lnTo>
                        <a:pt x="1106" y="785"/>
                      </a:lnTo>
                      <a:lnTo>
                        <a:pt x="1107" y="785"/>
                      </a:lnTo>
                      <a:lnTo>
                        <a:pt x="1107" y="786"/>
                      </a:lnTo>
                      <a:lnTo>
                        <a:pt x="1108" y="786"/>
                      </a:lnTo>
                      <a:lnTo>
                        <a:pt x="1108" y="787"/>
                      </a:lnTo>
                      <a:lnTo>
                        <a:pt x="1109" y="787"/>
                      </a:lnTo>
                      <a:lnTo>
                        <a:pt x="1109" y="786"/>
                      </a:lnTo>
                      <a:lnTo>
                        <a:pt x="1110" y="786"/>
                      </a:lnTo>
                      <a:lnTo>
                        <a:pt x="1110" y="787"/>
                      </a:lnTo>
                      <a:lnTo>
                        <a:pt x="1111" y="787"/>
                      </a:lnTo>
                      <a:lnTo>
                        <a:pt x="1110" y="787"/>
                      </a:lnTo>
                      <a:lnTo>
                        <a:pt x="1110" y="788"/>
                      </a:lnTo>
                      <a:lnTo>
                        <a:pt x="1109" y="788"/>
                      </a:lnTo>
                      <a:lnTo>
                        <a:pt x="1109" y="789"/>
                      </a:lnTo>
                      <a:lnTo>
                        <a:pt x="1108" y="789"/>
                      </a:lnTo>
                      <a:lnTo>
                        <a:pt x="1107" y="789"/>
                      </a:lnTo>
                      <a:lnTo>
                        <a:pt x="1106" y="789"/>
                      </a:lnTo>
                      <a:lnTo>
                        <a:pt x="1105" y="789"/>
                      </a:lnTo>
                      <a:lnTo>
                        <a:pt x="1104" y="789"/>
                      </a:lnTo>
                      <a:lnTo>
                        <a:pt x="1103" y="789"/>
                      </a:lnTo>
                      <a:lnTo>
                        <a:pt x="1104" y="789"/>
                      </a:lnTo>
                      <a:lnTo>
                        <a:pt x="1103" y="789"/>
                      </a:lnTo>
                      <a:lnTo>
                        <a:pt x="1103" y="788"/>
                      </a:lnTo>
                      <a:lnTo>
                        <a:pt x="1102" y="788"/>
                      </a:lnTo>
                      <a:lnTo>
                        <a:pt x="1100" y="788"/>
                      </a:lnTo>
                      <a:lnTo>
                        <a:pt x="1099" y="788"/>
                      </a:lnTo>
                      <a:lnTo>
                        <a:pt x="1099" y="789"/>
                      </a:lnTo>
                      <a:lnTo>
                        <a:pt x="1098" y="789"/>
                      </a:lnTo>
                      <a:lnTo>
                        <a:pt x="1098" y="788"/>
                      </a:lnTo>
                      <a:lnTo>
                        <a:pt x="1099" y="788"/>
                      </a:lnTo>
                      <a:lnTo>
                        <a:pt x="1100" y="788"/>
                      </a:lnTo>
                      <a:lnTo>
                        <a:pt x="1099" y="788"/>
                      </a:lnTo>
                      <a:lnTo>
                        <a:pt x="1100" y="788"/>
                      </a:lnTo>
                      <a:lnTo>
                        <a:pt x="1100" y="787"/>
                      </a:lnTo>
                      <a:lnTo>
                        <a:pt x="1100" y="786"/>
                      </a:lnTo>
                      <a:lnTo>
                        <a:pt x="1100" y="785"/>
                      </a:lnTo>
                      <a:lnTo>
                        <a:pt x="1100" y="786"/>
                      </a:lnTo>
                      <a:lnTo>
                        <a:pt x="1102" y="786"/>
                      </a:lnTo>
                      <a:lnTo>
                        <a:pt x="1102" y="787"/>
                      </a:lnTo>
                      <a:lnTo>
                        <a:pt x="1103" y="787"/>
                      </a:lnTo>
                      <a:lnTo>
                        <a:pt x="1102" y="787"/>
                      </a:lnTo>
                      <a:lnTo>
                        <a:pt x="1102" y="788"/>
                      </a:lnTo>
                      <a:lnTo>
                        <a:pt x="1102" y="787"/>
                      </a:lnTo>
                      <a:lnTo>
                        <a:pt x="1102" y="788"/>
                      </a:lnTo>
                      <a:lnTo>
                        <a:pt x="1100" y="787"/>
                      </a:lnTo>
                      <a:lnTo>
                        <a:pt x="1100" y="788"/>
                      </a:lnTo>
                      <a:lnTo>
                        <a:pt x="1102" y="788"/>
                      </a:lnTo>
                      <a:lnTo>
                        <a:pt x="1102" y="787"/>
                      </a:lnTo>
                      <a:lnTo>
                        <a:pt x="1103" y="787"/>
                      </a:lnTo>
                      <a:lnTo>
                        <a:pt x="1104" y="787"/>
                      </a:lnTo>
                      <a:lnTo>
                        <a:pt x="1103" y="787"/>
                      </a:lnTo>
                      <a:lnTo>
                        <a:pt x="1103" y="786"/>
                      </a:lnTo>
                      <a:lnTo>
                        <a:pt x="1102" y="786"/>
                      </a:lnTo>
                      <a:lnTo>
                        <a:pt x="1102" y="785"/>
                      </a:lnTo>
                      <a:lnTo>
                        <a:pt x="1100" y="785"/>
                      </a:lnTo>
                      <a:lnTo>
                        <a:pt x="1100" y="784"/>
                      </a:lnTo>
                      <a:lnTo>
                        <a:pt x="1102" y="784"/>
                      </a:lnTo>
                      <a:lnTo>
                        <a:pt x="1102" y="783"/>
                      </a:lnTo>
                      <a:lnTo>
                        <a:pt x="1103" y="783"/>
                      </a:lnTo>
                      <a:lnTo>
                        <a:pt x="1103" y="784"/>
                      </a:lnTo>
                      <a:lnTo>
                        <a:pt x="1103" y="783"/>
                      </a:lnTo>
                      <a:lnTo>
                        <a:pt x="1103" y="784"/>
                      </a:lnTo>
                      <a:lnTo>
                        <a:pt x="1102" y="784"/>
                      </a:lnTo>
                      <a:lnTo>
                        <a:pt x="1102" y="785"/>
                      </a:lnTo>
                      <a:lnTo>
                        <a:pt x="1103" y="785"/>
                      </a:lnTo>
                      <a:lnTo>
                        <a:pt x="1103" y="784"/>
                      </a:lnTo>
                      <a:lnTo>
                        <a:pt x="1103" y="783"/>
                      </a:lnTo>
                      <a:lnTo>
                        <a:pt x="1104" y="783"/>
                      </a:lnTo>
                      <a:lnTo>
                        <a:pt x="1104" y="782"/>
                      </a:lnTo>
                      <a:lnTo>
                        <a:pt x="1104" y="781"/>
                      </a:lnTo>
                      <a:lnTo>
                        <a:pt x="1105" y="781"/>
                      </a:lnTo>
                      <a:lnTo>
                        <a:pt x="1105" y="782"/>
                      </a:lnTo>
                      <a:lnTo>
                        <a:pt x="1105" y="783"/>
                      </a:lnTo>
                      <a:close/>
                      <a:moveTo>
                        <a:pt x="1335" y="1182"/>
                      </a:moveTo>
                      <a:lnTo>
                        <a:pt x="1335" y="1183"/>
                      </a:lnTo>
                      <a:lnTo>
                        <a:pt x="1335" y="1184"/>
                      </a:lnTo>
                      <a:lnTo>
                        <a:pt x="1336" y="1184"/>
                      </a:lnTo>
                      <a:lnTo>
                        <a:pt x="1336" y="1185"/>
                      </a:lnTo>
                      <a:lnTo>
                        <a:pt x="1337" y="1185"/>
                      </a:lnTo>
                      <a:lnTo>
                        <a:pt x="1337" y="1186"/>
                      </a:lnTo>
                      <a:lnTo>
                        <a:pt x="1336" y="1186"/>
                      </a:lnTo>
                      <a:lnTo>
                        <a:pt x="1337" y="1187"/>
                      </a:lnTo>
                      <a:lnTo>
                        <a:pt x="1338" y="1187"/>
                      </a:lnTo>
                      <a:lnTo>
                        <a:pt x="1338" y="1186"/>
                      </a:lnTo>
                      <a:lnTo>
                        <a:pt x="1339" y="1186"/>
                      </a:lnTo>
                      <a:lnTo>
                        <a:pt x="1338" y="1187"/>
                      </a:lnTo>
                      <a:lnTo>
                        <a:pt x="1335" y="1192"/>
                      </a:lnTo>
                      <a:lnTo>
                        <a:pt x="1334" y="1192"/>
                      </a:lnTo>
                      <a:lnTo>
                        <a:pt x="1334" y="1193"/>
                      </a:lnTo>
                      <a:lnTo>
                        <a:pt x="1332" y="1193"/>
                      </a:lnTo>
                      <a:lnTo>
                        <a:pt x="1332" y="1192"/>
                      </a:lnTo>
                      <a:lnTo>
                        <a:pt x="1331" y="1191"/>
                      </a:lnTo>
                      <a:lnTo>
                        <a:pt x="1331" y="1189"/>
                      </a:lnTo>
                      <a:lnTo>
                        <a:pt x="1332" y="1189"/>
                      </a:lnTo>
                      <a:lnTo>
                        <a:pt x="1332" y="1188"/>
                      </a:lnTo>
                      <a:lnTo>
                        <a:pt x="1331" y="1188"/>
                      </a:lnTo>
                      <a:lnTo>
                        <a:pt x="1331" y="1187"/>
                      </a:lnTo>
                      <a:lnTo>
                        <a:pt x="1331" y="1186"/>
                      </a:lnTo>
                      <a:lnTo>
                        <a:pt x="1332" y="1186"/>
                      </a:lnTo>
                      <a:lnTo>
                        <a:pt x="1332" y="1185"/>
                      </a:lnTo>
                      <a:lnTo>
                        <a:pt x="1331" y="1184"/>
                      </a:lnTo>
                      <a:lnTo>
                        <a:pt x="1332" y="1184"/>
                      </a:lnTo>
                      <a:lnTo>
                        <a:pt x="1332" y="1183"/>
                      </a:lnTo>
                      <a:lnTo>
                        <a:pt x="1332" y="1182"/>
                      </a:lnTo>
                      <a:lnTo>
                        <a:pt x="1334" y="1182"/>
                      </a:lnTo>
                      <a:lnTo>
                        <a:pt x="1335" y="1181"/>
                      </a:lnTo>
                      <a:lnTo>
                        <a:pt x="1336" y="1181"/>
                      </a:lnTo>
                      <a:lnTo>
                        <a:pt x="1336" y="1182"/>
                      </a:lnTo>
                      <a:lnTo>
                        <a:pt x="1335" y="1182"/>
                      </a:lnTo>
                      <a:close/>
                      <a:moveTo>
                        <a:pt x="1422" y="1104"/>
                      </a:moveTo>
                      <a:lnTo>
                        <a:pt x="1424" y="1104"/>
                      </a:lnTo>
                      <a:lnTo>
                        <a:pt x="1424" y="1105"/>
                      </a:lnTo>
                      <a:lnTo>
                        <a:pt x="1425" y="1105"/>
                      </a:lnTo>
                      <a:lnTo>
                        <a:pt x="1426" y="1106"/>
                      </a:lnTo>
                      <a:lnTo>
                        <a:pt x="1427" y="1106"/>
                      </a:lnTo>
                      <a:lnTo>
                        <a:pt x="1427" y="1107"/>
                      </a:lnTo>
                      <a:lnTo>
                        <a:pt x="1426" y="1107"/>
                      </a:lnTo>
                      <a:lnTo>
                        <a:pt x="1424" y="1107"/>
                      </a:lnTo>
                      <a:lnTo>
                        <a:pt x="1422" y="1106"/>
                      </a:lnTo>
                      <a:lnTo>
                        <a:pt x="1419" y="1106"/>
                      </a:lnTo>
                      <a:lnTo>
                        <a:pt x="1418" y="1105"/>
                      </a:lnTo>
                      <a:lnTo>
                        <a:pt x="1417" y="1105"/>
                      </a:lnTo>
                      <a:lnTo>
                        <a:pt x="1417" y="1106"/>
                      </a:lnTo>
                      <a:lnTo>
                        <a:pt x="1420" y="1106"/>
                      </a:lnTo>
                      <a:lnTo>
                        <a:pt x="1425" y="1107"/>
                      </a:lnTo>
                      <a:lnTo>
                        <a:pt x="1426" y="1107"/>
                      </a:lnTo>
                      <a:lnTo>
                        <a:pt x="1425" y="1107"/>
                      </a:lnTo>
                      <a:lnTo>
                        <a:pt x="1425" y="1108"/>
                      </a:lnTo>
                      <a:lnTo>
                        <a:pt x="1425" y="1107"/>
                      </a:lnTo>
                      <a:lnTo>
                        <a:pt x="1426" y="1107"/>
                      </a:lnTo>
                      <a:lnTo>
                        <a:pt x="1427" y="1107"/>
                      </a:lnTo>
                      <a:lnTo>
                        <a:pt x="1427" y="1106"/>
                      </a:lnTo>
                      <a:lnTo>
                        <a:pt x="1427" y="1107"/>
                      </a:lnTo>
                      <a:lnTo>
                        <a:pt x="1428" y="1108"/>
                      </a:lnTo>
                      <a:lnTo>
                        <a:pt x="1428" y="1109"/>
                      </a:lnTo>
                      <a:lnTo>
                        <a:pt x="1429" y="1109"/>
                      </a:lnTo>
                      <a:lnTo>
                        <a:pt x="1429" y="1110"/>
                      </a:lnTo>
                      <a:lnTo>
                        <a:pt x="1429" y="1111"/>
                      </a:lnTo>
                      <a:lnTo>
                        <a:pt x="1430" y="1112"/>
                      </a:lnTo>
                      <a:lnTo>
                        <a:pt x="1430" y="1115"/>
                      </a:lnTo>
                      <a:lnTo>
                        <a:pt x="1431" y="1116"/>
                      </a:lnTo>
                      <a:lnTo>
                        <a:pt x="1430" y="1116"/>
                      </a:lnTo>
                      <a:lnTo>
                        <a:pt x="1425" y="1115"/>
                      </a:lnTo>
                      <a:lnTo>
                        <a:pt x="1421" y="1116"/>
                      </a:lnTo>
                      <a:lnTo>
                        <a:pt x="1421" y="1115"/>
                      </a:lnTo>
                      <a:lnTo>
                        <a:pt x="1422" y="1115"/>
                      </a:lnTo>
                      <a:lnTo>
                        <a:pt x="1424" y="1115"/>
                      </a:lnTo>
                      <a:lnTo>
                        <a:pt x="1425" y="1115"/>
                      </a:lnTo>
                      <a:lnTo>
                        <a:pt x="1426" y="1115"/>
                      </a:lnTo>
                      <a:lnTo>
                        <a:pt x="1427" y="1115"/>
                      </a:lnTo>
                      <a:lnTo>
                        <a:pt x="1427" y="1116"/>
                      </a:lnTo>
                      <a:lnTo>
                        <a:pt x="1428" y="1116"/>
                      </a:lnTo>
                      <a:lnTo>
                        <a:pt x="1429" y="1116"/>
                      </a:lnTo>
                      <a:lnTo>
                        <a:pt x="1430" y="1116"/>
                      </a:lnTo>
                      <a:lnTo>
                        <a:pt x="1430" y="1115"/>
                      </a:lnTo>
                      <a:lnTo>
                        <a:pt x="1430" y="1114"/>
                      </a:lnTo>
                      <a:lnTo>
                        <a:pt x="1429" y="1114"/>
                      </a:lnTo>
                      <a:lnTo>
                        <a:pt x="1429" y="1112"/>
                      </a:lnTo>
                      <a:lnTo>
                        <a:pt x="1428" y="1112"/>
                      </a:lnTo>
                      <a:lnTo>
                        <a:pt x="1427" y="1112"/>
                      </a:lnTo>
                      <a:lnTo>
                        <a:pt x="1428" y="1111"/>
                      </a:lnTo>
                      <a:lnTo>
                        <a:pt x="1428" y="1110"/>
                      </a:lnTo>
                      <a:lnTo>
                        <a:pt x="1427" y="1110"/>
                      </a:lnTo>
                      <a:lnTo>
                        <a:pt x="1428" y="1110"/>
                      </a:lnTo>
                      <a:lnTo>
                        <a:pt x="1428" y="1109"/>
                      </a:lnTo>
                      <a:lnTo>
                        <a:pt x="1427" y="1109"/>
                      </a:lnTo>
                      <a:lnTo>
                        <a:pt x="1426" y="1109"/>
                      </a:lnTo>
                      <a:lnTo>
                        <a:pt x="1426" y="1108"/>
                      </a:lnTo>
                      <a:lnTo>
                        <a:pt x="1425" y="1108"/>
                      </a:lnTo>
                      <a:lnTo>
                        <a:pt x="1424" y="1108"/>
                      </a:lnTo>
                      <a:lnTo>
                        <a:pt x="1424" y="1107"/>
                      </a:lnTo>
                      <a:lnTo>
                        <a:pt x="1425" y="1107"/>
                      </a:lnTo>
                      <a:lnTo>
                        <a:pt x="1424" y="1107"/>
                      </a:lnTo>
                      <a:lnTo>
                        <a:pt x="1421" y="1107"/>
                      </a:lnTo>
                      <a:lnTo>
                        <a:pt x="1417" y="1106"/>
                      </a:lnTo>
                      <a:lnTo>
                        <a:pt x="1416" y="1105"/>
                      </a:lnTo>
                      <a:lnTo>
                        <a:pt x="1415" y="1105"/>
                      </a:lnTo>
                      <a:lnTo>
                        <a:pt x="1415" y="1106"/>
                      </a:lnTo>
                      <a:lnTo>
                        <a:pt x="1415" y="1105"/>
                      </a:lnTo>
                      <a:lnTo>
                        <a:pt x="1415" y="1104"/>
                      </a:lnTo>
                      <a:lnTo>
                        <a:pt x="1415" y="1105"/>
                      </a:lnTo>
                      <a:lnTo>
                        <a:pt x="1416" y="1105"/>
                      </a:lnTo>
                      <a:lnTo>
                        <a:pt x="1417" y="1104"/>
                      </a:lnTo>
                      <a:lnTo>
                        <a:pt x="1418" y="1104"/>
                      </a:lnTo>
                      <a:lnTo>
                        <a:pt x="1419" y="1104"/>
                      </a:lnTo>
                      <a:lnTo>
                        <a:pt x="1420" y="1104"/>
                      </a:lnTo>
                      <a:lnTo>
                        <a:pt x="1421" y="1104"/>
                      </a:lnTo>
                      <a:lnTo>
                        <a:pt x="1422" y="1104"/>
                      </a:lnTo>
                      <a:close/>
                      <a:moveTo>
                        <a:pt x="1100" y="995"/>
                      </a:moveTo>
                      <a:lnTo>
                        <a:pt x="1103" y="995"/>
                      </a:lnTo>
                      <a:lnTo>
                        <a:pt x="1104" y="995"/>
                      </a:lnTo>
                      <a:lnTo>
                        <a:pt x="1105" y="995"/>
                      </a:lnTo>
                      <a:lnTo>
                        <a:pt x="1106" y="996"/>
                      </a:lnTo>
                      <a:lnTo>
                        <a:pt x="1107" y="996"/>
                      </a:lnTo>
                      <a:lnTo>
                        <a:pt x="1109" y="996"/>
                      </a:lnTo>
                      <a:lnTo>
                        <a:pt x="1108" y="999"/>
                      </a:lnTo>
                      <a:lnTo>
                        <a:pt x="1108" y="1000"/>
                      </a:lnTo>
                      <a:lnTo>
                        <a:pt x="1108" y="1001"/>
                      </a:lnTo>
                      <a:lnTo>
                        <a:pt x="1108" y="1002"/>
                      </a:lnTo>
                      <a:lnTo>
                        <a:pt x="1108" y="1003"/>
                      </a:lnTo>
                      <a:lnTo>
                        <a:pt x="1107" y="1003"/>
                      </a:lnTo>
                      <a:lnTo>
                        <a:pt x="1107" y="1004"/>
                      </a:lnTo>
                      <a:lnTo>
                        <a:pt x="1107" y="1005"/>
                      </a:lnTo>
                      <a:lnTo>
                        <a:pt x="1106" y="1005"/>
                      </a:lnTo>
                      <a:lnTo>
                        <a:pt x="1106" y="1006"/>
                      </a:lnTo>
                      <a:lnTo>
                        <a:pt x="1105" y="1007"/>
                      </a:lnTo>
                      <a:lnTo>
                        <a:pt x="1104" y="1008"/>
                      </a:lnTo>
                      <a:lnTo>
                        <a:pt x="1103" y="1007"/>
                      </a:lnTo>
                      <a:lnTo>
                        <a:pt x="1102" y="1007"/>
                      </a:lnTo>
                      <a:lnTo>
                        <a:pt x="1100" y="1006"/>
                      </a:lnTo>
                      <a:lnTo>
                        <a:pt x="1099" y="1006"/>
                      </a:lnTo>
                      <a:lnTo>
                        <a:pt x="1098" y="1006"/>
                      </a:lnTo>
                      <a:lnTo>
                        <a:pt x="1097" y="1005"/>
                      </a:lnTo>
                      <a:lnTo>
                        <a:pt x="1096" y="1005"/>
                      </a:lnTo>
                      <a:lnTo>
                        <a:pt x="1095" y="1005"/>
                      </a:lnTo>
                      <a:lnTo>
                        <a:pt x="1093" y="1004"/>
                      </a:lnTo>
                      <a:lnTo>
                        <a:pt x="1092" y="1004"/>
                      </a:lnTo>
                      <a:lnTo>
                        <a:pt x="1092" y="1003"/>
                      </a:lnTo>
                      <a:lnTo>
                        <a:pt x="1093" y="1003"/>
                      </a:lnTo>
                      <a:lnTo>
                        <a:pt x="1094" y="1003"/>
                      </a:lnTo>
                      <a:lnTo>
                        <a:pt x="1094" y="1004"/>
                      </a:lnTo>
                      <a:lnTo>
                        <a:pt x="1095" y="1004"/>
                      </a:lnTo>
                      <a:lnTo>
                        <a:pt x="1096" y="1004"/>
                      </a:lnTo>
                      <a:lnTo>
                        <a:pt x="1097" y="1005"/>
                      </a:lnTo>
                      <a:lnTo>
                        <a:pt x="1098" y="1005"/>
                      </a:lnTo>
                      <a:lnTo>
                        <a:pt x="1099" y="1005"/>
                      </a:lnTo>
                      <a:lnTo>
                        <a:pt x="1100" y="1005"/>
                      </a:lnTo>
                      <a:lnTo>
                        <a:pt x="1100" y="1006"/>
                      </a:lnTo>
                      <a:lnTo>
                        <a:pt x="1102" y="1006"/>
                      </a:lnTo>
                      <a:lnTo>
                        <a:pt x="1103" y="1006"/>
                      </a:lnTo>
                      <a:lnTo>
                        <a:pt x="1104" y="1006"/>
                      </a:lnTo>
                      <a:lnTo>
                        <a:pt x="1105" y="1006"/>
                      </a:lnTo>
                      <a:lnTo>
                        <a:pt x="1105" y="1005"/>
                      </a:lnTo>
                      <a:lnTo>
                        <a:pt x="1104" y="1004"/>
                      </a:lnTo>
                      <a:lnTo>
                        <a:pt x="1105" y="1004"/>
                      </a:lnTo>
                      <a:lnTo>
                        <a:pt x="1105" y="1003"/>
                      </a:lnTo>
                      <a:lnTo>
                        <a:pt x="1106" y="1003"/>
                      </a:lnTo>
                      <a:lnTo>
                        <a:pt x="1107" y="1003"/>
                      </a:lnTo>
                      <a:lnTo>
                        <a:pt x="1107" y="1002"/>
                      </a:lnTo>
                      <a:lnTo>
                        <a:pt x="1107" y="1001"/>
                      </a:lnTo>
                      <a:lnTo>
                        <a:pt x="1106" y="1000"/>
                      </a:lnTo>
                      <a:lnTo>
                        <a:pt x="1106" y="999"/>
                      </a:lnTo>
                      <a:lnTo>
                        <a:pt x="1106" y="998"/>
                      </a:lnTo>
                      <a:lnTo>
                        <a:pt x="1106" y="996"/>
                      </a:lnTo>
                      <a:lnTo>
                        <a:pt x="1105" y="996"/>
                      </a:lnTo>
                      <a:lnTo>
                        <a:pt x="1104" y="996"/>
                      </a:lnTo>
                      <a:lnTo>
                        <a:pt x="1103" y="995"/>
                      </a:lnTo>
                      <a:lnTo>
                        <a:pt x="1102" y="995"/>
                      </a:lnTo>
                      <a:lnTo>
                        <a:pt x="1102" y="996"/>
                      </a:lnTo>
                      <a:lnTo>
                        <a:pt x="1100" y="996"/>
                      </a:lnTo>
                      <a:lnTo>
                        <a:pt x="1100" y="995"/>
                      </a:lnTo>
                      <a:close/>
                      <a:moveTo>
                        <a:pt x="1117" y="991"/>
                      </a:moveTo>
                      <a:lnTo>
                        <a:pt x="1118" y="991"/>
                      </a:lnTo>
                      <a:lnTo>
                        <a:pt x="1117" y="991"/>
                      </a:lnTo>
                      <a:lnTo>
                        <a:pt x="1118" y="992"/>
                      </a:lnTo>
                      <a:lnTo>
                        <a:pt x="1117" y="992"/>
                      </a:lnTo>
                      <a:lnTo>
                        <a:pt x="1116" y="992"/>
                      </a:lnTo>
                      <a:lnTo>
                        <a:pt x="1116" y="993"/>
                      </a:lnTo>
                      <a:lnTo>
                        <a:pt x="1115" y="993"/>
                      </a:lnTo>
                      <a:lnTo>
                        <a:pt x="1115" y="994"/>
                      </a:lnTo>
                      <a:lnTo>
                        <a:pt x="1113" y="994"/>
                      </a:lnTo>
                      <a:lnTo>
                        <a:pt x="1113" y="995"/>
                      </a:lnTo>
                      <a:lnTo>
                        <a:pt x="1112" y="995"/>
                      </a:lnTo>
                      <a:lnTo>
                        <a:pt x="1112" y="996"/>
                      </a:lnTo>
                      <a:lnTo>
                        <a:pt x="1111" y="996"/>
                      </a:lnTo>
                      <a:lnTo>
                        <a:pt x="1110" y="996"/>
                      </a:lnTo>
                      <a:lnTo>
                        <a:pt x="1110" y="995"/>
                      </a:lnTo>
                      <a:lnTo>
                        <a:pt x="1110" y="994"/>
                      </a:lnTo>
                      <a:lnTo>
                        <a:pt x="1110" y="993"/>
                      </a:lnTo>
                      <a:lnTo>
                        <a:pt x="1109" y="993"/>
                      </a:lnTo>
                      <a:lnTo>
                        <a:pt x="1109" y="992"/>
                      </a:lnTo>
                      <a:lnTo>
                        <a:pt x="1110" y="992"/>
                      </a:lnTo>
                      <a:lnTo>
                        <a:pt x="1110" y="990"/>
                      </a:lnTo>
                      <a:lnTo>
                        <a:pt x="1110" y="991"/>
                      </a:lnTo>
                      <a:lnTo>
                        <a:pt x="1110" y="992"/>
                      </a:lnTo>
                      <a:lnTo>
                        <a:pt x="1111" y="993"/>
                      </a:lnTo>
                      <a:lnTo>
                        <a:pt x="1111" y="992"/>
                      </a:lnTo>
                      <a:lnTo>
                        <a:pt x="1111" y="991"/>
                      </a:lnTo>
                      <a:lnTo>
                        <a:pt x="1112" y="991"/>
                      </a:lnTo>
                      <a:lnTo>
                        <a:pt x="1112" y="990"/>
                      </a:lnTo>
                      <a:lnTo>
                        <a:pt x="1113" y="990"/>
                      </a:lnTo>
                      <a:lnTo>
                        <a:pt x="1112" y="990"/>
                      </a:lnTo>
                      <a:lnTo>
                        <a:pt x="1112" y="989"/>
                      </a:lnTo>
                      <a:lnTo>
                        <a:pt x="1112" y="988"/>
                      </a:lnTo>
                      <a:lnTo>
                        <a:pt x="1113" y="988"/>
                      </a:lnTo>
                      <a:lnTo>
                        <a:pt x="1118" y="988"/>
                      </a:lnTo>
                      <a:lnTo>
                        <a:pt x="1118" y="989"/>
                      </a:lnTo>
                      <a:lnTo>
                        <a:pt x="1118" y="990"/>
                      </a:lnTo>
                      <a:lnTo>
                        <a:pt x="1117" y="991"/>
                      </a:lnTo>
                      <a:close/>
                      <a:moveTo>
                        <a:pt x="1430" y="1024"/>
                      </a:moveTo>
                      <a:lnTo>
                        <a:pt x="1430" y="1025"/>
                      </a:lnTo>
                      <a:lnTo>
                        <a:pt x="1430" y="1024"/>
                      </a:lnTo>
                      <a:lnTo>
                        <a:pt x="1431" y="1024"/>
                      </a:lnTo>
                      <a:lnTo>
                        <a:pt x="1432" y="1024"/>
                      </a:lnTo>
                      <a:lnTo>
                        <a:pt x="1432" y="1025"/>
                      </a:lnTo>
                      <a:lnTo>
                        <a:pt x="1431" y="1025"/>
                      </a:lnTo>
                      <a:lnTo>
                        <a:pt x="1431" y="1026"/>
                      </a:lnTo>
                      <a:lnTo>
                        <a:pt x="1430" y="1026"/>
                      </a:lnTo>
                      <a:lnTo>
                        <a:pt x="1430" y="1027"/>
                      </a:lnTo>
                      <a:lnTo>
                        <a:pt x="1429" y="1028"/>
                      </a:lnTo>
                      <a:lnTo>
                        <a:pt x="1428" y="1028"/>
                      </a:lnTo>
                      <a:lnTo>
                        <a:pt x="1427" y="1028"/>
                      </a:lnTo>
                      <a:lnTo>
                        <a:pt x="1426" y="1029"/>
                      </a:lnTo>
                      <a:lnTo>
                        <a:pt x="1425" y="1030"/>
                      </a:lnTo>
                      <a:lnTo>
                        <a:pt x="1424" y="1030"/>
                      </a:lnTo>
                      <a:lnTo>
                        <a:pt x="1422" y="1031"/>
                      </a:lnTo>
                      <a:lnTo>
                        <a:pt x="1421" y="1031"/>
                      </a:lnTo>
                      <a:lnTo>
                        <a:pt x="1421" y="1032"/>
                      </a:lnTo>
                      <a:lnTo>
                        <a:pt x="1420" y="1032"/>
                      </a:lnTo>
                      <a:lnTo>
                        <a:pt x="1419" y="1032"/>
                      </a:lnTo>
                      <a:lnTo>
                        <a:pt x="1418" y="1033"/>
                      </a:lnTo>
                      <a:lnTo>
                        <a:pt x="1418" y="1034"/>
                      </a:lnTo>
                      <a:lnTo>
                        <a:pt x="1418" y="1033"/>
                      </a:lnTo>
                      <a:lnTo>
                        <a:pt x="1418" y="1032"/>
                      </a:lnTo>
                      <a:lnTo>
                        <a:pt x="1419" y="1032"/>
                      </a:lnTo>
                      <a:lnTo>
                        <a:pt x="1419" y="1031"/>
                      </a:lnTo>
                      <a:lnTo>
                        <a:pt x="1420" y="1031"/>
                      </a:lnTo>
                      <a:lnTo>
                        <a:pt x="1421" y="1029"/>
                      </a:lnTo>
                      <a:lnTo>
                        <a:pt x="1421" y="1028"/>
                      </a:lnTo>
                      <a:lnTo>
                        <a:pt x="1422" y="1027"/>
                      </a:lnTo>
                      <a:lnTo>
                        <a:pt x="1424" y="1027"/>
                      </a:lnTo>
                      <a:lnTo>
                        <a:pt x="1425" y="1026"/>
                      </a:lnTo>
                      <a:lnTo>
                        <a:pt x="1426" y="1026"/>
                      </a:lnTo>
                      <a:lnTo>
                        <a:pt x="1427" y="1026"/>
                      </a:lnTo>
                      <a:lnTo>
                        <a:pt x="1428" y="1025"/>
                      </a:lnTo>
                      <a:lnTo>
                        <a:pt x="1429" y="1025"/>
                      </a:lnTo>
                      <a:lnTo>
                        <a:pt x="1429" y="1024"/>
                      </a:lnTo>
                      <a:lnTo>
                        <a:pt x="1430" y="1024"/>
                      </a:lnTo>
                      <a:close/>
                      <a:moveTo>
                        <a:pt x="1084" y="999"/>
                      </a:moveTo>
                      <a:lnTo>
                        <a:pt x="1084" y="1000"/>
                      </a:lnTo>
                      <a:lnTo>
                        <a:pt x="1084" y="1001"/>
                      </a:lnTo>
                      <a:lnTo>
                        <a:pt x="1085" y="1001"/>
                      </a:lnTo>
                      <a:lnTo>
                        <a:pt x="1086" y="1002"/>
                      </a:lnTo>
                      <a:lnTo>
                        <a:pt x="1086" y="1003"/>
                      </a:lnTo>
                      <a:lnTo>
                        <a:pt x="1085" y="1003"/>
                      </a:lnTo>
                      <a:lnTo>
                        <a:pt x="1085" y="1002"/>
                      </a:lnTo>
                      <a:lnTo>
                        <a:pt x="1084" y="1002"/>
                      </a:lnTo>
                      <a:lnTo>
                        <a:pt x="1080" y="1001"/>
                      </a:lnTo>
                      <a:lnTo>
                        <a:pt x="1079" y="1001"/>
                      </a:lnTo>
                      <a:lnTo>
                        <a:pt x="1078" y="1001"/>
                      </a:lnTo>
                      <a:lnTo>
                        <a:pt x="1076" y="1000"/>
                      </a:lnTo>
                      <a:lnTo>
                        <a:pt x="1074" y="1000"/>
                      </a:lnTo>
                      <a:lnTo>
                        <a:pt x="1073" y="999"/>
                      </a:lnTo>
                      <a:lnTo>
                        <a:pt x="1072" y="999"/>
                      </a:lnTo>
                      <a:lnTo>
                        <a:pt x="1072" y="998"/>
                      </a:lnTo>
                      <a:lnTo>
                        <a:pt x="1073" y="998"/>
                      </a:lnTo>
                      <a:lnTo>
                        <a:pt x="1074" y="999"/>
                      </a:lnTo>
                      <a:lnTo>
                        <a:pt x="1076" y="999"/>
                      </a:lnTo>
                      <a:lnTo>
                        <a:pt x="1077" y="999"/>
                      </a:lnTo>
                      <a:lnTo>
                        <a:pt x="1078" y="999"/>
                      </a:lnTo>
                      <a:lnTo>
                        <a:pt x="1079" y="999"/>
                      </a:lnTo>
                      <a:lnTo>
                        <a:pt x="1079" y="1000"/>
                      </a:lnTo>
                      <a:lnTo>
                        <a:pt x="1079" y="999"/>
                      </a:lnTo>
                      <a:lnTo>
                        <a:pt x="1080" y="1000"/>
                      </a:lnTo>
                      <a:lnTo>
                        <a:pt x="1081" y="1000"/>
                      </a:lnTo>
                      <a:lnTo>
                        <a:pt x="1082" y="1001"/>
                      </a:lnTo>
                      <a:lnTo>
                        <a:pt x="1084" y="1001"/>
                      </a:lnTo>
                      <a:lnTo>
                        <a:pt x="1083" y="1001"/>
                      </a:lnTo>
                      <a:lnTo>
                        <a:pt x="1083" y="1000"/>
                      </a:lnTo>
                      <a:lnTo>
                        <a:pt x="1084" y="1000"/>
                      </a:lnTo>
                      <a:lnTo>
                        <a:pt x="1083" y="1000"/>
                      </a:lnTo>
                      <a:lnTo>
                        <a:pt x="1083" y="1001"/>
                      </a:lnTo>
                      <a:lnTo>
                        <a:pt x="1083" y="1000"/>
                      </a:lnTo>
                      <a:lnTo>
                        <a:pt x="1083" y="999"/>
                      </a:lnTo>
                      <a:lnTo>
                        <a:pt x="1083" y="998"/>
                      </a:lnTo>
                      <a:lnTo>
                        <a:pt x="1083" y="996"/>
                      </a:lnTo>
                      <a:lnTo>
                        <a:pt x="1084" y="996"/>
                      </a:lnTo>
                      <a:lnTo>
                        <a:pt x="1084" y="995"/>
                      </a:lnTo>
                      <a:lnTo>
                        <a:pt x="1085" y="994"/>
                      </a:lnTo>
                      <a:lnTo>
                        <a:pt x="1085" y="993"/>
                      </a:lnTo>
                      <a:lnTo>
                        <a:pt x="1091" y="994"/>
                      </a:lnTo>
                      <a:lnTo>
                        <a:pt x="1090" y="994"/>
                      </a:lnTo>
                      <a:lnTo>
                        <a:pt x="1089" y="995"/>
                      </a:lnTo>
                      <a:lnTo>
                        <a:pt x="1086" y="996"/>
                      </a:lnTo>
                      <a:lnTo>
                        <a:pt x="1085" y="998"/>
                      </a:lnTo>
                      <a:lnTo>
                        <a:pt x="1084" y="999"/>
                      </a:lnTo>
                      <a:close/>
                      <a:moveTo>
                        <a:pt x="1435" y="1076"/>
                      </a:moveTo>
                      <a:lnTo>
                        <a:pt x="1437" y="1074"/>
                      </a:lnTo>
                      <a:lnTo>
                        <a:pt x="1437" y="1076"/>
                      </a:lnTo>
                      <a:lnTo>
                        <a:pt x="1435" y="1076"/>
                      </a:lnTo>
                      <a:lnTo>
                        <a:pt x="1435" y="1077"/>
                      </a:lnTo>
                      <a:lnTo>
                        <a:pt x="1435" y="1078"/>
                      </a:lnTo>
                      <a:lnTo>
                        <a:pt x="1434" y="1078"/>
                      </a:lnTo>
                      <a:lnTo>
                        <a:pt x="1434" y="1079"/>
                      </a:lnTo>
                      <a:lnTo>
                        <a:pt x="1434" y="1080"/>
                      </a:lnTo>
                      <a:lnTo>
                        <a:pt x="1435" y="1080"/>
                      </a:lnTo>
                      <a:lnTo>
                        <a:pt x="1437" y="1080"/>
                      </a:lnTo>
                      <a:lnTo>
                        <a:pt x="1435" y="1080"/>
                      </a:lnTo>
                      <a:lnTo>
                        <a:pt x="1435" y="1081"/>
                      </a:lnTo>
                      <a:lnTo>
                        <a:pt x="1434" y="1082"/>
                      </a:lnTo>
                      <a:lnTo>
                        <a:pt x="1434" y="1083"/>
                      </a:lnTo>
                      <a:lnTo>
                        <a:pt x="1433" y="1083"/>
                      </a:lnTo>
                      <a:lnTo>
                        <a:pt x="1432" y="1083"/>
                      </a:lnTo>
                      <a:lnTo>
                        <a:pt x="1432" y="1084"/>
                      </a:lnTo>
                      <a:lnTo>
                        <a:pt x="1433" y="1084"/>
                      </a:lnTo>
                      <a:lnTo>
                        <a:pt x="1434" y="1085"/>
                      </a:lnTo>
                      <a:lnTo>
                        <a:pt x="1435" y="1085"/>
                      </a:lnTo>
                      <a:lnTo>
                        <a:pt x="1435" y="1084"/>
                      </a:lnTo>
                      <a:lnTo>
                        <a:pt x="1437" y="1083"/>
                      </a:lnTo>
                      <a:lnTo>
                        <a:pt x="1438" y="1083"/>
                      </a:lnTo>
                      <a:lnTo>
                        <a:pt x="1438" y="1082"/>
                      </a:lnTo>
                      <a:lnTo>
                        <a:pt x="1437" y="1082"/>
                      </a:lnTo>
                      <a:lnTo>
                        <a:pt x="1437" y="1081"/>
                      </a:lnTo>
                      <a:lnTo>
                        <a:pt x="1437" y="1080"/>
                      </a:lnTo>
                      <a:lnTo>
                        <a:pt x="1438" y="1080"/>
                      </a:lnTo>
                      <a:lnTo>
                        <a:pt x="1439" y="1081"/>
                      </a:lnTo>
                      <a:lnTo>
                        <a:pt x="1440" y="1081"/>
                      </a:lnTo>
                      <a:lnTo>
                        <a:pt x="1441" y="1081"/>
                      </a:lnTo>
                      <a:lnTo>
                        <a:pt x="1441" y="1080"/>
                      </a:lnTo>
                      <a:lnTo>
                        <a:pt x="1441" y="1079"/>
                      </a:lnTo>
                      <a:lnTo>
                        <a:pt x="1441" y="1080"/>
                      </a:lnTo>
                      <a:lnTo>
                        <a:pt x="1441" y="1081"/>
                      </a:lnTo>
                      <a:lnTo>
                        <a:pt x="1441" y="1082"/>
                      </a:lnTo>
                      <a:lnTo>
                        <a:pt x="1441" y="1083"/>
                      </a:lnTo>
                      <a:lnTo>
                        <a:pt x="1440" y="1084"/>
                      </a:lnTo>
                      <a:lnTo>
                        <a:pt x="1440" y="1083"/>
                      </a:lnTo>
                      <a:lnTo>
                        <a:pt x="1439" y="1083"/>
                      </a:lnTo>
                      <a:lnTo>
                        <a:pt x="1439" y="1082"/>
                      </a:lnTo>
                      <a:lnTo>
                        <a:pt x="1439" y="1083"/>
                      </a:lnTo>
                      <a:lnTo>
                        <a:pt x="1438" y="1083"/>
                      </a:lnTo>
                      <a:lnTo>
                        <a:pt x="1437" y="1084"/>
                      </a:lnTo>
                      <a:lnTo>
                        <a:pt x="1435" y="1084"/>
                      </a:lnTo>
                      <a:lnTo>
                        <a:pt x="1435" y="1085"/>
                      </a:lnTo>
                      <a:lnTo>
                        <a:pt x="1434" y="1085"/>
                      </a:lnTo>
                      <a:lnTo>
                        <a:pt x="1433" y="1085"/>
                      </a:lnTo>
                      <a:lnTo>
                        <a:pt x="1433" y="1086"/>
                      </a:lnTo>
                      <a:lnTo>
                        <a:pt x="1432" y="1086"/>
                      </a:lnTo>
                      <a:lnTo>
                        <a:pt x="1431" y="1086"/>
                      </a:lnTo>
                      <a:lnTo>
                        <a:pt x="1431" y="1088"/>
                      </a:lnTo>
                      <a:lnTo>
                        <a:pt x="1431" y="1086"/>
                      </a:lnTo>
                      <a:lnTo>
                        <a:pt x="1430" y="1086"/>
                      </a:lnTo>
                      <a:lnTo>
                        <a:pt x="1430" y="1085"/>
                      </a:lnTo>
                      <a:lnTo>
                        <a:pt x="1431" y="1084"/>
                      </a:lnTo>
                      <a:lnTo>
                        <a:pt x="1432" y="1083"/>
                      </a:lnTo>
                      <a:lnTo>
                        <a:pt x="1433" y="1082"/>
                      </a:lnTo>
                      <a:lnTo>
                        <a:pt x="1433" y="1081"/>
                      </a:lnTo>
                      <a:lnTo>
                        <a:pt x="1433" y="1079"/>
                      </a:lnTo>
                      <a:lnTo>
                        <a:pt x="1433" y="1078"/>
                      </a:lnTo>
                      <a:lnTo>
                        <a:pt x="1434" y="1077"/>
                      </a:lnTo>
                      <a:lnTo>
                        <a:pt x="1433" y="1077"/>
                      </a:lnTo>
                      <a:lnTo>
                        <a:pt x="1434" y="1076"/>
                      </a:lnTo>
                      <a:lnTo>
                        <a:pt x="1435" y="1074"/>
                      </a:lnTo>
                      <a:lnTo>
                        <a:pt x="1437" y="1073"/>
                      </a:lnTo>
                      <a:lnTo>
                        <a:pt x="1437" y="1074"/>
                      </a:lnTo>
                      <a:lnTo>
                        <a:pt x="1435" y="1076"/>
                      </a:lnTo>
                      <a:close/>
                      <a:moveTo>
                        <a:pt x="1435" y="1109"/>
                      </a:moveTo>
                      <a:lnTo>
                        <a:pt x="1444" y="1112"/>
                      </a:lnTo>
                      <a:lnTo>
                        <a:pt x="1445" y="1112"/>
                      </a:lnTo>
                      <a:lnTo>
                        <a:pt x="1446" y="1112"/>
                      </a:lnTo>
                      <a:lnTo>
                        <a:pt x="1447" y="1114"/>
                      </a:lnTo>
                      <a:lnTo>
                        <a:pt x="1448" y="1114"/>
                      </a:lnTo>
                      <a:lnTo>
                        <a:pt x="1448" y="1115"/>
                      </a:lnTo>
                      <a:lnTo>
                        <a:pt x="1448" y="1114"/>
                      </a:lnTo>
                      <a:lnTo>
                        <a:pt x="1450" y="1114"/>
                      </a:lnTo>
                      <a:lnTo>
                        <a:pt x="1452" y="1115"/>
                      </a:lnTo>
                      <a:lnTo>
                        <a:pt x="1451" y="1115"/>
                      </a:lnTo>
                      <a:lnTo>
                        <a:pt x="1450" y="1115"/>
                      </a:lnTo>
                      <a:lnTo>
                        <a:pt x="1448" y="1116"/>
                      </a:lnTo>
                      <a:lnTo>
                        <a:pt x="1448" y="1115"/>
                      </a:lnTo>
                      <a:lnTo>
                        <a:pt x="1447" y="1115"/>
                      </a:lnTo>
                      <a:lnTo>
                        <a:pt x="1446" y="1115"/>
                      </a:lnTo>
                      <a:lnTo>
                        <a:pt x="1446" y="1114"/>
                      </a:lnTo>
                      <a:lnTo>
                        <a:pt x="1445" y="1114"/>
                      </a:lnTo>
                      <a:lnTo>
                        <a:pt x="1444" y="1112"/>
                      </a:lnTo>
                      <a:lnTo>
                        <a:pt x="1444" y="1114"/>
                      </a:lnTo>
                      <a:lnTo>
                        <a:pt x="1444" y="1112"/>
                      </a:lnTo>
                      <a:lnTo>
                        <a:pt x="1443" y="1112"/>
                      </a:lnTo>
                      <a:lnTo>
                        <a:pt x="1443" y="1114"/>
                      </a:lnTo>
                      <a:lnTo>
                        <a:pt x="1443" y="1112"/>
                      </a:lnTo>
                      <a:lnTo>
                        <a:pt x="1442" y="1112"/>
                      </a:lnTo>
                      <a:lnTo>
                        <a:pt x="1442" y="1114"/>
                      </a:lnTo>
                      <a:lnTo>
                        <a:pt x="1442" y="1115"/>
                      </a:lnTo>
                      <a:lnTo>
                        <a:pt x="1443" y="1115"/>
                      </a:lnTo>
                      <a:lnTo>
                        <a:pt x="1443" y="1114"/>
                      </a:lnTo>
                      <a:lnTo>
                        <a:pt x="1444" y="1114"/>
                      </a:lnTo>
                      <a:lnTo>
                        <a:pt x="1444" y="1115"/>
                      </a:lnTo>
                      <a:lnTo>
                        <a:pt x="1444" y="1114"/>
                      </a:lnTo>
                      <a:lnTo>
                        <a:pt x="1444" y="1115"/>
                      </a:lnTo>
                      <a:lnTo>
                        <a:pt x="1443" y="1115"/>
                      </a:lnTo>
                      <a:lnTo>
                        <a:pt x="1442" y="1115"/>
                      </a:lnTo>
                      <a:lnTo>
                        <a:pt x="1439" y="1114"/>
                      </a:lnTo>
                      <a:lnTo>
                        <a:pt x="1438" y="1114"/>
                      </a:lnTo>
                      <a:lnTo>
                        <a:pt x="1438" y="1112"/>
                      </a:lnTo>
                      <a:lnTo>
                        <a:pt x="1435" y="1112"/>
                      </a:lnTo>
                      <a:lnTo>
                        <a:pt x="1437" y="1111"/>
                      </a:lnTo>
                      <a:lnTo>
                        <a:pt x="1437" y="1110"/>
                      </a:lnTo>
                      <a:lnTo>
                        <a:pt x="1437" y="1111"/>
                      </a:lnTo>
                      <a:lnTo>
                        <a:pt x="1435" y="1111"/>
                      </a:lnTo>
                      <a:lnTo>
                        <a:pt x="1435" y="1112"/>
                      </a:lnTo>
                      <a:lnTo>
                        <a:pt x="1434" y="1111"/>
                      </a:lnTo>
                      <a:lnTo>
                        <a:pt x="1434" y="1110"/>
                      </a:lnTo>
                      <a:lnTo>
                        <a:pt x="1435" y="1109"/>
                      </a:lnTo>
                      <a:close/>
                      <a:moveTo>
                        <a:pt x="976" y="892"/>
                      </a:moveTo>
                      <a:lnTo>
                        <a:pt x="976" y="893"/>
                      </a:lnTo>
                      <a:lnTo>
                        <a:pt x="977" y="893"/>
                      </a:lnTo>
                      <a:lnTo>
                        <a:pt x="976" y="893"/>
                      </a:lnTo>
                      <a:lnTo>
                        <a:pt x="976" y="894"/>
                      </a:lnTo>
                      <a:lnTo>
                        <a:pt x="976" y="896"/>
                      </a:lnTo>
                      <a:lnTo>
                        <a:pt x="975" y="896"/>
                      </a:lnTo>
                      <a:lnTo>
                        <a:pt x="975" y="894"/>
                      </a:lnTo>
                      <a:lnTo>
                        <a:pt x="975" y="896"/>
                      </a:lnTo>
                      <a:lnTo>
                        <a:pt x="976" y="896"/>
                      </a:lnTo>
                      <a:lnTo>
                        <a:pt x="975" y="896"/>
                      </a:lnTo>
                      <a:lnTo>
                        <a:pt x="975" y="897"/>
                      </a:lnTo>
                      <a:lnTo>
                        <a:pt x="975" y="898"/>
                      </a:lnTo>
                      <a:lnTo>
                        <a:pt x="974" y="898"/>
                      </a:lnTo>
                      <a:lnTo>
                        <a:pt x="973" y="898"/>
                      </a:lnTo>
                      <a:lnTo>
                        <a:pt x="973" y="899"/>
                      </a:lnTo>
                      <a:lnTo>
                        <a:pt x="970" y="899"/>
                      </a:lnTo>
                      <a:lnTo>
                        <a:pt x="970" y="900"/>
                      </a:lnTo>
                      <a:lnTo>
                        <a:pt x="970" y="902"/>
                      </a:lnTo>
                      <a:lnTo>
                        <a:pt x="969" y="902"/>
                      </a:lnTo>
                      <a:lnTo>
                        <a:pt x="969" y="903"/>
                      </a:lnTo>
                      <a:lnTo>
                        <a:pt x="970" y="903"/>
                      </a:lnTo>
                      <a:lnTo>
                        <a:pt x="970" y="902"/>
                      </a:lnTo>
                      <a:lnTo>
                        <a:pt x="971" y="902"/>
                      </a:lnTo>
                      <a:lnTo>
                        <a:pt x="971" y="903"/>
                      </a:lnTo>
                      <a:lnTo>
                        <a:pt x="970" y="904"/>
                      </a:lnTo>
                      <a:lnTo>
                        <a:pt x="969" y="904"/>
                      </a:lnTo>
                      <a:lnTo>
                        <a:pt x="968" y="905"/>
                      </a:lnTo>
                      <a:lnTo>
                        <a:pt x="967" y="905"/>
                      </a:lnTo>
                      <a:lnTo>
                        <a:pt x="967" y="904"/>
                      </a:lnTo>
                      <a:lnTo>
                        <a:pt x="968" y="903"/>
                      </a:lnTo>
                      <a:lnTo>
                        <a:pt x="969" y="902"/>
                      </a:lnTo>
                      <a:lnTo>
                        <a:pt x="969" y="901"/>
                      </a:lnTo>
                      <a:lnTo>
                        <a:pt x="968" y="901"/>
                      </a:lnTo>
                      <a:lnTo>
                        <a:pt x="967" y="901"/>
                      </a:lnTo>
                      <a:lnTo>
                        <a:pt x="967" y="900"/>
                      </a:lnTo>
                      <a:lnTo>
                        <a:pt x="968" y="900"/>
                      </a:lnTo>
                      <a:lnTo>
                        <a:pt x="968" y="899"/>
                      </a:lnTo>
                      <a:lnTo>
                        <a:pt x="969" y="898"/>
                      </a:lnTo>
                      <a:lnTo>
                        <a:pt x="970" y="897"/>
                      </a:lnTo>
                      <a:lnTo>
                        <a:pt x="971" y="896"/>
                      </a:lnTo>
                      <a:lnTo>
                        <a:pt x="971" y="894"/>
                      </a:lnTo>
                      <a:lnTo>
                        <a:pt x="971" y="896"/>
                      </a:lnTo>
                      <a:lnTo>
                        <a:pt x="973" y="896"/>
                      </a:lnTo>
                      <a:lnTo>
                        <a:pt x="973" y="894"/>
                      </a:lnTo>
                      <a:lnTo>
                        <a:pt x="974" y="894"/>
                      </a:lnTo>
                      <a:lnTo>
                        <a:pt x="974" y="893"/>
                      </a:lnTo>
                      <a:lnTo>
                        <a:pt x="975" y="893"/>
                      </a:lnTo>
                      <a:lnTo>
                        <a:pt x="975" y="892"/>
                      </a:lnTo>
                      <a:lnTo>
                        <a:pt x="976" y="892"/>
                      </a:lnTo>
                      <a:lnTo>
                        <a:pt x="976" y="891"/>
                      </a:lnTo>
                      <a:lnTo>
                        <a:pt x="976" y="892"/>
                      </a:lnTo>
                      <a:close/>
                      <a:moveTo>
                        <a:pt x="1196" y="924"/>
                      </a:moveTo>
                      <a:lnTo>
                        <a:pt x="1196" y="925"/>
                      </a:lnTo>
                      <a:lnTo>
                        <a:pt x="1195" y="924"/>
                      </a:lnTo>
                      <a:lnTo>
                        <a:pt x="1195" y="925"/>
                      </a:lnTo>
                      <a:lnTo>
                        <a:pt x="1194" y="925"/>
                      </a:lnTo>
                      <a:lnTo>
                        <a:pt x="1194" y="926"/>
                      </a:lnTo>
                      <a:lnTo>
                        <a:pt x="1194" y="925"/>
                      </a:lnTo>
                      <a:lnTo>
                        <a:pt x="1193" y="926"/>
                      </a:lnTo>
                      <a:lnTo>
                        <a:pt x="1193" y="927"/>
                      </a:lnTo>
                      <a:lnTo>
                        <a:pt x="1192" y="928"/>
                      </a:lnTo>
                      <a:lnTo>
                        <a:pt x="1193" y="928"/>
                      </a:lnTo>
                      <a:lnTo>
                        <a:pt x="1192" y="928"/>
                      </a:lnTo>
                      <a:lnTo>
                        <a:pt x="1194" y="928"/>
                      </a:lnTo>
                      <a:lnTo>
                        <a:pt x="1193" y="928"/>
                      </a:lnTo>
                      <a:lnTo>
                        <a:pt x="1193" y="927"/>
                      </a:lnTo>
                      <a:lnTo>
                        <a:pt x="1194" y="927"/>
                      </a:lnTo>
                      <a:lnTo>
                        <a:pt x="1195" y="927"/>
                      </a:lnTo>
                      <a:lnTo>
                        <a:pt x="1195" y="928"/>
                      </a:lnTo>
                      <a:lnTo>
                        <a:pt x="1194" y="928"/>
                      </a:lnTo>
                      <a:lnTo>
                        <a:pt x="1195" y="929"/>
                      </a:lnTo>
                      <a:lnTo>
                        <a:pt x="1195" y="928"/>
                      </a:lnTo>
                      <a:lnTo>
                        <a:pt x="1195" y="927"/>
                      </a:lnTo>
                      <a:lnTo>
                        <a:pt x="1196" y="927"/>
                      </a:lnTo>
                      <a:lnTo>
                        <a:pt x="1196" y="926"/>
                      </a:lnTo>
                      <a:lnTo>
                        <a:pt x="1197" y="927"/>
                      </a:lnTo>
                      <a:lnTo>
                        <a:pt x="1198" y="926"/>
                      </a:lnTo>
                      <a:lnTo>
                        <a:pt x="1199" y="928"/>
                      </a:lnTo>
                      <a:lnTo>
                        <a:pt x="1199" y="927"/>
                      </a:lnTo>
                      <a:lnTo>
                        <a:pt x="1198" y="927"/>
                      </a:lnTo>
                      <a:lnTo>
                        <a:pt x="1198" y="928"/>
                      </a:lnTo>
                      <a:lnTo>
                        <a:pt x="1198" y="927"/>
                      </a:lnTo>
                      <a:lnTo>
                        <a:pt x="1197" y="927"/>
                      </a:lnTo>
                      <a:lnTo>
                        <a:pt x="1196" y="927"/>
                      </a:lnTo>
                      <a:lnTo>
                        <a:pt x="1196" y="928"/>
                      </a:lnTo>
                      <a:lnTo>
                        <a:pt x="1197" y="928"/>
                      </a:lnTo>
                      <a:lnTo>
                        <a:pt x="1197" y="929"/>
                      </a:lnTo>
                      <a:lnTo>
                        <a:pt x="1197" y="928"/>
                      </a:lnTo>
                      <a:lnTo>
                        <a:pt x="1197" y="929"/>
                      </a:lnTo>
                      <a:lnTo>
                        <a:pt x="1198" y="929"/>
                      </a:lnTo>
                      <a:lnTo>
                        <a:pt x="1199" y="929"/>
                      </a:lnTo>
                      <a:lnTo>
                        <a:pt x="1199" y="930"/>
                      </a:lnTo>
                      <a:lnTo>
                        <a:pt x="1200" y="931"/>
                      </a:lnTo>
                      <a:lnTo>
                        <a:pt x="1201" y="931"/>
                      </a:lnTo>
                      <a:lnTo>
                        <a:pt x="1202" y="931"/>
                      </a:lnTo>
                      <a:lnTo>
                        <a:pt x="1203" y="931"/>
                      </a:lnTo>
                      <a:lnTo>
                        <a:pt x="1203" y="932"/>
                      </a:lnTo>
                      <a:lnTo>
                        <a:pt x="1203" y="934"/>
                      </a:lnTo>
                      <a:lnTo>
                        <a:pt x="1203" y="935"/>
                      </a:lnTo>
                      <a:lnTo>
                        <a:pt x="1202" y="935"/>
                      </a:lnTo>
                      <a:lnTo>
                        <a:pt x="1202" y="934"/>
                      </a:lnTo>
                      <a:lnTo>
                        <a:pt x="1202" y="932"/>
                      </a:lnTo>
                      <a:lnTo>
                        <a:pt x="1201" y="932"/>
                      </a:lnTo>
                      <a:lnTo>
                        <a:pt x="1200" y="932"/>
                      </a:lnTo>
                      <a:lnTo>
                        <a:pt x="1200" y="931"/>
                      </a:lnTo>
                      <a:lnTo>
                        <a:pt x="1198" y="931"/>
                      </a:lnTo>
                      <a:lnTo>
                        <a:pt x="1198" y="930"/>
                      </a:lnTo>
                      <a:lnTo>
                        <a:pt x="1198" y="931"/>
                      </a:lnTo>
                      <a:lnTo>
                        <a:pt x="1197" y="931"/>
                      </a:lnTo>
                      <a:lnTo>
                        <a:pt x="1197" y="930"/>
                      </a:lnTo>
                      <a:lnTo>
                        <a:pt x="1196" y="930"/>
                      </a:lnTo>
                      <a:lnTo>
                        <a:pt x="1195" y="930"/>
                      </a:lnTo>
                      <a:lnTo>
                        <a:pt x="1195" y="929"/>
                      </a:lnTo>
                      <a:lnTo>
                        <a:pt x="1194" y="930"/>
                      </a:lnTo>
                      <a:lnTo>
                        <a:pt x="1194" y="929"/>
                      </a:lnTo>
                      <a:lnTo>
                        <a:pt x="1193" y="929"/>
                      </a:lnTo>
                      <a:lnTo>
                        <a:pt x="1193" y="928"/>
                      </a:lnTo>
                      <a:lnTo>
                        <a:pt x="1192" y="928"/>
                      </a:lnTo>
                      <a:lnTo>
                        <a:pt x="1192" y="929"/>
                      </a:lnTo>
                      <a:lnTo>
                        <a:pt x="1193" y="929"/>
                      </a:lnTo>
                      <a:lnTo>
                        <a:pt x="1192" y="929"/>
                      </a:lnTo>
                      <a:lnTo>
                        <a:pt x="1192" y="930"/>
                      </a:lnTo>
                      <a:lnTo>
                        <a:pt x="1190" y="930"/>
                      </a:lnTo>
                      <a:lnTo>
                        <a:pt x="1189" y="930"/>
                      </a:lnTo>
                      <a:lnTo>
                        <a:pt x="1189" y="931"/>
                      </a:lnTo>
                      <a:lnTo>
                        <a:pt x="1189" y="930"/>
                      </a:lnTo>
                      <a:lnTo>
                        <a:pt x="1189" y="929"/>
                      </a:lnTo>
                      <a:lnTo>
                        <a:pt x="1189" y="928"/>
                      </a:lnTo>
                      <a:lnTo>
                        <a:pt x="1188" y="928"/>
                      </a:lnTo>
                      <a:lnTo>
                        <a:pt x="1189" y="928"/>
                      </a:lnTo>
                      <a:lnTo>
                        <a:pt x="1189" y="927"/>
                      </a:lnTo>
                      <a:lnTo>
                        <a:pt x="1189" y="926"/>
                      </a:lnTo>
                      <a:lnTo>
                        <a:pt x="1189" y="925"/>
                      </a:lnTo>
                      <a:lnTo>
                        <a:pt x="1190" y="925"/>
                      </a:lnTo>
                      <a:lnTo>
                        <a:pt x="1190" y="926"/>
                      </a:lnTo>
                      <a:lnTo>
                        <a:pt x="1192" y="927"/>
                      </a:lnTo>
                      <a:lnTo>
                        <a:pt x="1193" y="927"/>
                      </a:lnTo>
                      <a:lnTo>
                        <a:pt x="1192" y="927"/>
                      </a:lnTo>
                      <a:lnTo>
                        <a:pt x="1193" y="926"/>
                      </a:lnTo>
                      <a:lnTo>
                        <a:pt x="1193" y="925"/>
                      </a:lnTo>
                      <a:lnTo>
                        <a:pt x="1194" y="925"/>
                      </a:lnTo>
                      <a:lnTo>
                        <a:pt x="1194" y="924"/>
                      </a:lnTo>
                      <a:lnTo>
                        <a:pt x="1194" y="925"/>
                      </a:lnTo>
                      <a:lnTo>
                        <a:pt x="1194" y="924"/>
                      </a:lnTo>
                      <a:lnTo>
                        <a:pt x="1195" y="924"/>
                      </a:lnTo>
                      <a:lnTo>
                        <a:pt x="1196" y="924"/>
                      </a:lnTo>
                      <a:lnTo>
                        <a:pt x="1195" y="923"/>
                      </a:lnTo>
                      <a:lnTo>
                        <a:pt x="1196" y="923"/>
                      </a:lnTo>
                      <a:lnTo>
                        <a:pt x="1196" y="924"/>
                      </a:lnTo>
                      <a:close/>
                      <a:moveTo>
                        <a:pt x="1132" y="781"/>
                      </a:moveTo>
                      <a:lnTo>
                        <a:pt x="1133" y="782"/>
                      </a:lnTo>
                      <a:lnTo>
                        <a:pt x="1134" y="782"/>
                      </a:lnTo>
                      <a:lnTo>
                        <a:pt x="1135" y="782"/>
                      </a:lnTo>
                      <a:lnTo>
                        <a:pt x="1136" y="783"/>
                      </a:lnTo>
                      <a:lnTo>
                        <a:pt x="1137" y="783"/>
                      </a:lnTo>
                      <a:lnTo>
                        <a:pt x="1137" y="784"/>
                      </a:lnTo>
                      <a:lnTo>
                        <a:pt x="1138" y="784"/>
                      </a:lnTo>
                      <a:lnTo>
                        <a:pt x="1138" y="785"/>
                      </a:lnTo>
                      <a:lnTo>
                        <a:pt x="1140" y="785"/>
                      </a:lnTo>
                      <a:lnTo>
                        <a:pt x="1140" y="786"/>
                      </a:lnTo>
                      <a:lnTo>
                        <a:pt x="1141" y="786"/>
                      </a:lnTo>
                      <a:lnTo>
                        <a:pt x="1141" y="785"/>
                      </a:lnTo>
                      <a:lnTo>
                        <a:pt x="1142" y="785"/>
                      </a:lnTo>
                      <a:lnTo>
                        <a:pt x="1142" y="786"/>
                      </a:lnTo>
                      <a:lnTo>
                        <a:pt x="1143" y="786"/>
                      </a:lnTo>
                      <a:lnTo>
                        <a:pt x="1142" y="786"/>
                      </a:lnTo>
                      <a:lnTo>
                        <a:pt x="1142" y="787"/>
                      </a:lnTo>
                      <a:lnTo>
                        <a:pt x="1142" y="786"/>
                      </a:lnTo>
                      <a:lnTo>
                        <a:pt x="1143" y="786"/>
                      </a:lnTo>
                      <a:lnTo>
                        <a:pt x="1142" y="787"/>
                      </a:lnTo>
                      <a:lnTo>
                        <a:pt x="1142" y="788"/>
                      </a:lnTo>
                      <a:lnTo>
                        <a:pt x="1143" y="788"/>
                      </a:lnTo>
                      <a:lnTo>
                        <a:pt x="1143" y="789"/>
                      </a:lnTo>
                      <a:lnTo>
                        <a:pt x="1142" y="789"/>
                      </a:lnTo>
                      <a:lnTo>
                        <a:pt x="1141" y="789"/>
                      </a:lnTo>
                      <a:lnTo>
                        <a:pt x="1140" y="788"/>
                      </a:lnTo>
                      <a:lnTo>
                        <a:pt x="1141" y="788"/>
                      </a:lnTo>
                      <a:lnTo>
                        <a:pt x="1141" y="787"/>
                      </a:lnTo>
                      <a:lnTo>
                        <a:pt x="1140" y="787"/>
                      </a:lnTo>
                      <a:lnTo>
                        <a:pt x="1140" y="786"/>
                      </a:lnTo>
                      <a:lnTo>
                        <a:pt x="1138" y="786"/>
                      </a:lnTo>
                      <a:lnTo>
                        <a:pt x="1137" y="786"/>
                      </a:lnTo>
                      <a:lnTo>
                        <a:pt x="1136" y="787"/>
                      </a:lnTo>
                      <a:lnTo>
                        <a:pt x="1136" y="788"/>
                      </a:lnTo>
                      <a:lnTo>
                        <a:pt x="1137" y="788"/>
                      </a:lnTo>
                      <a:lnTo>
                        <a:pt x="1137" y="789"/>
                      </a:lnTo>
                      <a:lnTo>
                        <a:pt x="1138" y="789"/>
                      </a:lnTo>
                      <a:lnTo>
                        <a:pt x="1138" y="790"/>
                      </a:lnTo>
                      <a:lnTo>
                        <a:pt x="1137" y="790"/>
                      </a:lnTo>
                      <a:lnTo>
                        <a:pt x="1137" y="789"/>
                      </a:lnTo>
                      <a:lnTo>
                        <a:pt x="1137" y="788"/>
                      </a:lnTo>
                      <a:lnTo>
                        <a:pt x="1136" y="788"/>
                      </a:lnTo>
                      <a:lnTo>
                        <a:pt x="1135" y="788"/>
                      </a:lnTo>
                      <a:lnTo>
                        <a:pt x="1135" y="787"/>
                      </a:lnTo>
                      <a:lnTo>
                        <a:pt x="1134" y="787"/>
                      </a:lnTo>
                      <a:lnTo>
                        <a:pt x="1135" y="786"/>
                      </a:lnTo>
                      <a:lnTo>
                        <a:pt x="1135" y="787"/>
                      </a:lnTo>
                      <a:lnTo>
                        <a:pt x="1135" y="786"/>
                      </a:lnTo>
                      <a:lnTo>
                        <a:pt x="1136" y="786"/>
                      </a:lnTo>
                      <a:lnTo>
                        <a:pt x="1137" y="786"/>
                      </a:lnTo>
                      <a:lnTo>
                        <a:pt x="1136" y="786"/>
                      </a:lnTo>
                      <a:lnTo>
                        <a:pt x="1135" y="786"/>
                      </a:lnTo>
                      <a:lnTo>
                        <a:pt x="1136" y="785"/>
                      </a:lnTo>
                      <a:lnTo>
                        <a:pt x="1136" y="784"/>
                      </a:lnTo>
                      <a:lnTo>
                        <a:pt x="1135" y="784"/>
                      </a:lnTo>
                      <a:lnTo>
                        <a:pt x="1134" y="784"/>
                      </a:lnTo>
                      <a:lnTo>
                        <a:pt x="1135" y="784"/>
                      </a:lnTo>
                      <a:lnTo>
                        <a:pt x="1136" y="784"/>
                      </a:lnTo>
                      <a:lnTo>
                        <a:pt x="1136" y="785"/>
                      </a:lnTo>
                      <a:lnTo>
                        <a:pt x="1135" y="785"/>
                      </a:lnTo>
                      <a:lnTo>
                        <a:pt x="1134" y="785"/>
                      </a:lnTo>
                      <a:lnTo>
                        <a:pt x="1134" y="786"/>
                      </a:lnTo>
                      <a:lnTo>
                        <a:pt x="1134" y="785"/>
                      </a:lnTo>
                      <a:lnTo>
                        <a:pt x="1133" y="785"/>
                      </a:lnTo>
                      <a:lnTo>
                        <a:pt x="1132" y="785"/>
                      </a:lnTo>
                      <a:lnTo>
                        <a:pt x="1131" y="785"/>
                      </a:lnTo>
                      <a:lnTo>
                        <a:pt x="1132" y="784"/>
                      </a:lnTo>
                      <a:lnTo>
                        <a:pt x="1131" y="784"/>
                      </a:lnTo>
                      <a:lnTo>
                        <a:pt x="1131" y="783"/>
                      </a:lnTo>
                      <a:lnTo>
                        <a:pt x="1132" y="783"/>
                      </a:lnTo>
                      <a:lnTo>
                        <a:pt x="1133" y="783"/>
                      </a:lnTo>
                      <a:lnTo>
                        <a:pt x="1132" y="782"/>
                      </a:lnTo>
                      <a:lnTo>
                        <a:pt x="1131" y="782"/>
                      </a:lnTo>
                      <a:lnTo>
                        <a:pt x="1132" y="782"/>
                      </a:lnTo>
                      <a:lnTo>
                        <a:pt x="1131" y="782"/>
                      </a:lnTo>
                      <a:lnTo>
                        <a:pt x="1132" y="782"/>
                      </a:lnTo>
                      <a:lnTo>
                        <a:pt x="1132" y="783"/>
                      </a:lnTo>
                      <a:lnTo>
                        <a:pt x="1131" y="783"/>
                      </a:lnTo>
                      <a:lnTo>
                        <a:pt x="1131" y="782"/>
                      </a:lnTo>
                      <a:lnTo>
                        <a:pt x="1131" y="781"/>
                      </a:lnTo>
                      <a:lnTo>
                        <a:pt x="1130" y="781"/>
                      </a:lnTo>
                      <a:lnTo>
                        <a:pt x="1131" y="781"/>
                      </a:lnTo>
                      <a:lnTo>
                        <a:pt x="1132" y="781"/>
                      </a:lnTo>
                      <a:close/>
                      <a:moveTo>
                        <a:pt x="1106" y="971"/>
                      </a:moveTo>
                      <a:lnTo>
                        <a:pt x="1107" y="971"/>
                      </a:lnTo>
                      <a:lnTo>
                        <a:pt x="1107" y="973"/>
                      </a:lnTo>
                      <a:lnTo>
                        <a:pt x="1108" y="973"/>
                      </a:lnTo>
                      <a:lnTo>
                        <a:pt x="1109" y="974"/>
                      </a:lnTo>
                      <a:lnTo>
                        <a:pt x="1108" y="974"/>
                      </a:lnTo>
                      <a:lnTo>
                        <a:pt x="1107" y="975"/>
                      </a:lnTo>
                      <a:lnTo>
                        <a:pt x="1106" y="975"/>
                      </a:lnTo>
                      <a:lnTo>
                        <a:pt x="1106" y="974"/>
                      </a:lnTo>
                      <a:lnTo>
                        <a:pt x="1106" y="975"/>
                      </a:lnTo>
                      <a:lnTo>
                        <a:pt x="1105" y="975"/>
                      </a:lnTo>
                      <a:lnTo>
                        <a:pt x="1105" y="974"/>
                      </a:lnTo>
                      <a:lnTo>
                        <a:pt x="1105" y="975"/>
                      </a:lnTo>
                      <a:lnTo>
                        <a:pt x="1104" y="974"/>
                      </a:lnTo>
                      <a:lnTo>
                        <a:pt x="1104" y="975"/>
                      </a:lnTo>
                      <a:lnTo>
                        <a:pt x="1103" y="975"/>
                      </a:lnTo>
                      <a:lnTo>
                        <a:pt x="1103" y="976"/>
                      </a:lnTo>
                      <a:lnTo>
                        <a:pt x="1103" y="975"/>
                      </a:lnTo>
                      <a:lnTo>
                        <a:pt x="1102" y="976"/>
                      </a:lnTo>
                      <a:lnTo>
                        <a:pt x="1104" y="976"/>
                      </a:lnTo>
                      <a:lnTo>
                        <a:pt x="1105" y="976"/>
                      </a:lnTo>
                      <a:lnTo>
                        <a:pt x="1098" y="976"/>
                      </a:lnTo>
                      <a:lnTo>
                        <a:pt x="1099" y="976"/>
                      </a:lnTo>
                      <a:lnTo>
                        <a:pt x="1099" y="975"/>
                      </a:lnTo>
                      <a:lnTo>
                        <a:pt x="1099" y="974"/>
                      </a:lnTo>
                      <a:lnTo>
                        <a:pt x="1098" y="974"/>
                      </a:lnTo>
                      <a:lnTo>
                        <a:pt x="1097" y="975"/>
                      </a:lnTo>
                      <a:lnTo>
                        <a:pt x="1097" y="974"/>
                      </a:lnTo>
                      <a:lnTo>
                        <a:pt x="1096" y="974"/>
                      </a:lnTo>
                      <a:lnTo>
                        <a:pt x="1095" y="975"/>
                      </a:lnTo>
                      <a:lnTo>
                        <a:pt x="1094" y="975"/>
                      </a:lnTo>
                      <a:lnTo>
                        <a:pt x="1096" y="974"/>
                      </a:lnTo>
                      <a:lnTo>
                        <a:pt x="1096" y="973"/>
                      </a:lnTo>
                      <a:lnTo>
                        <a:pt x="1097" y="971"/>
                      </a:lnTo>
                      <a:lnTo>
                        <a:pt x="1098" y="971"/>
                      </a:lnTo>
                      <a:lnTo>
                        <a:pt x="1098" y="970"/>
                      </a:lnTo>
                      <a:lnTo>
                        <a:pt x="1099" y="970"/>
                      </a:lnTo>
                      <a:lnTo>
                        <a:pt x="1100" y="970"/>
                      </a:lnTo>
                      <a:lnTo>
                        <a:pt x="1100" y="971"/>
                      </a:lnTo>
                      <a:lnTo>
                        <a:pt x="1100" y="970"/>
                      </a:lnTo>
                      <a:lnTo>
                        <a:pt x="1102" y="970"/>
                      </a:lnTo>
                      <a:lnTo>
                        <a:pt x="1102" y="971"/>
                      </a:lnTo>
                      <a:lnTo>
                        <a:pt x="1102" y="973"/>
                      </a:lnTo>
                      <a:lnTo>
                        <a:pt x="1102" y="974"/>
                      </a:lnTo>
                      <a:lnTo>
                        <a:pt x="1103" y="975"/>
                      </a:lnTo>
                      <a:lnTo>
                        <a:pt x="1103" y="974"/>
                      </a:lnTo>
                      <a:lnTo>
                        <a:pt x="1104" y="973"/>
                      </a:lnTo>
                      <a:lnTo>
                        <a:pt x="1105" y="973"/>
                      </a:lnTo>
                      <a:lnTo>
                        <a:pt x="1105" y="971"/>
                      </a:lnTo>
                      <a:lnTo>
                        <a:pt x="1105" y="970"/>
                      </a:lnTo>
                      <a:lnTo>
                        <a:pt x="1106" y="970"/>
                      </a:lnTo>
                      <a:lnTo>
                        <a:pt x="1107" y="970"/>
                      </a:lnTo>
                      <a:lnTo>
                        <a:pt x="1106" y="970"/>
                      </a:lnTo>
                      <a:lnTo>
                        <a:pt x="1106" y="971"/>
                      </a:lnTo>
                      <a:close/>
                      <a:moveTo>
                        <a:pt x="1061" y="992"/>
                      </a:moveTo>
                      <a:lnTo>
                        <a:pt x="1063" y="992"/>
                      </a:lnTo>
                      <a:lnTo>
                        <a:pt x="1066" y="992"/>
                      </a:lnTo>
                      <a:lnTo>
                        <a:pt x="1067" y="992"/>
                      </a:lnTo>
                      <a:lnTo>
                        <a:pt x="1066" y="992"/>
                      </a:lnTo>
                      <a:lnTo>
                        <a:pt x="1067" y="992"/>
                      </a:lnTo>
                      <a:lnTo>
                        <a:pt x="1068" y="992"/>
                      </a:lnTo>
                      <a:lnTo>
                        <a:pt x="1068" y="993"/>
                      </a:lnTo>
                      <a:lnTo>
                        <a:pt x="1069" y="993"/>
                      </a:lnTo>
                      <a:lnTo>
                        <a:pt x="1068" y="994"/>
                      </a:lnTo>
                      <a:lnTo>
                        <a:pt x="1068" y="995"/>
                      </a:lnTo>
                      <a:lnTo>
                        <a:pt x="1068" y="996"/>
                      </a:lnTo>
                      <a:lnTo>
                        <a:pt x="1067" y="996"/>
                      </a:lnTo>
                      <a:lnTo>
                        <a:pt x="1066" y="996"/>
                      </a:lnTo>
                      <a:lnTo>
                        <a:pt x="1066" y="995"/>
                      </a:lnTo>
                      <a:lnTo>
                        <a:pt x="1065" y="995"/>
                      </a:lnTo>
                      <a:lnTo>
                        <a:pt x="1066" y="996"/>
                      </a:lnTo>
                      <a:lnTo>
                        <a:pt x="1065" y="996"/>
                      </a:lnTo>
                      <a:lnTo>
                        <a:pt x="1064" y="996"/>
                      </a:lnTo>
                      <a:lnTo>
                        <a:pt x="1063" y="996"/>
                      </a:lnTo>
                      <a:lnTo>
                        <a:pt x="1061" y="996"/>
                      </a:lnTo>
                      <a:lnTo>
                        <a:pt x="1060" y="995"/>
                      </a:lnTo>
                      <a:lnTo>
                        <a:pt x="1059" y="994"/>
                      </a:lnTo>
                      <a:lnTo>
                        <a:pt x="1060" y="993"/>
                      </a:lnTo>
                      <a:lnTo>
                        <a:pt x="1061" y="993"/>
                      </a:lnTo>
                      <a:lnTo>
                        <a:pt x="1063" y="993"/>
                      </a:lnTo>
                      <a:lnTo>
                        <a:pt x="1063" y="992"/>
                      </a:lnTo>
                      <a:lnTo>
                        <a:pt x="1061" y="992"/>
                      </a:lnTo>
                      <a:lnTo>
                        <a:pt x="1060" y="992"/>
                      </a:lnTo>
                      <a:lnTo>
                        <a:pt x="1061" y="992"/>
                      </a:lnTo>
                      <a:close/>
                      <a:moveTo>
                        <a:pt x="1485" y="1083"/>
                      </a:moveTo>
                      <a:lnTo>
                        <a:pt x="1487" y="1083"/>
                      </a:lnTo>
                      <a:lnTo>
                        <a:pt x="1489" y="1083"/>
                      </a:lnTo>
                      <a:lnTo>
                        <a:pt x="1490" y="1083"/>
                      </a:lnTo>
                      <a:lnTo>
                        <a:pt x="1489" y="1083"/>
                      </a:lnTo>
                      <a:lnTo>
                        <a:pt x="1489" y="1084"/>
                      </a:lnTo>
                      <a:lnTo>
                        <a:pt x="1487" y="1084"/>
                      </a:lnTo>
                      <a:lnTo>
                        <a:pt x="1486" y="1084"/>
                      </a:lnTo>
                      <a:lnTo>
                        <a:pt x="1485" y="1084"/>
                      </a:lnTo>
                      <a:lnTo>
                        <a:pt x="1484" y="1084"/>
                      </a:lnTo>
                      <a:lnTo>
                        <a:pt x="1484" y="1085"/>
                      </a:lnTo>
                      <a:lnTo>
                        <a:pt x="1485" y="1085"/>
                      </a:lnTo>
                      <a:lnTo>
                        <a:pt x="1485" y="1086"/>
                      </a:lnTo>
                      <a:lnTo>
                        <a:pt x="1485" y="1088"/>
                      </a:lnTo>
                      <a:lnTo>
                        <a:pt x="1485" y="1090"/>
                      </a:lnTo>
                      <a:lnTo>
                        <a:pt x="1487" y="1092"/>
                      </a:lnTo>
                      <a:lnTo>
                        <a:pt x="1487" y="1093"/>
                      </a:lnTo>
                      <a:lnTo>
                        <a:pt x="1486" y="1092"/>
                      </a:lnTo>
                      <a:lnTo>
                        <a:pt x="1486" y="1091"/>
                      </a:lnTo>
                      <a:lnTo>
                        <a:pt x="1485" y="1091"/>
                      </a:lnTo>
                      <a:lnTo>
                        <a:pt x="1485" y="1090"/>
                      </a:lnTo>
                      <a:lnTo>
                        <a:pt x="1485" y="1089"/>
                      </a:lnTo>
                      <a:lnTo>
                        <a:pt x="1484" y="1088"/>
                      </a:lnTo>
                      <a:lnTo>
                        <a:pt x="1484" y="1089"/>
                      </a:lnTo>
                      <a:lnTo>
                        <a:pt x="1484" y="1090"/>
                      </a:lnTo>
                      <a:lnTo>
                        <a:pt x="1483" y="1091"/>
                      </a:lnTo>
                      <a:lnTo>
                        <a:pt x="1483" y="1090"/>
                      </a:lnTo>
                      <a:lnTo>
                        <a:pt x="1484" y="1090"/>
                      </a:lnTo>
                      <a:lnTo>
                        <a:pt x="1484" y="1089"/>
                      </a:lnTo>
                      <a:lnTo>
                        <a:pt x="1483" y="1089"/>
                      </a:lnTo>
                      <a:lnTo>
                        <a:pt x="1483" y="1088"/>
                      </a:lnTo>
                      <a:lnTo>
                        <a:pt x="1483" y="1089"/>
                      </a:lnTo>
                      <a:lnTo>
                        <a:pt x="1483" y="1090"/>
                      </a:lnTo>
                      <a:lnTo>
                        <a:pt x="1482" y="1090"/>
                      </a:lnTo>
                      <a:lnTo>
                        <a:pt x="1482" y="1089"/>
                      </a:lnTo>
                      <a:lnTo>
                        <a:pt x="1481" y="1088"/>
                      </a:lnTo>
                      <a:lnTo>
                        <a:pt x="1481" y="1089"/>
                      </a:lnTo>
                      <a:lnTo>
                        <a:pt x="1480" y="1088"/>
                      </a:lnTo>
                      <a:lnTo>
                        <a:pt x="1480" y="1086"/>
                      </a:lnTo>
                      <a:lnTo>
                        <a:pt x="1480" y="1085"/>
                      </a:lnTo>
                      <a:lnTo>
                        <a:pt x="1479" y="1085"/>
                      </a:lnTo>
                      <a:lnTo>
                        <a:pt x="1480" y="1084"/>
                      </a:lnTo>
                      <a:lnTo>
                        <a:pt x="1482" y="1083"/>
                      </a:lnTo>
                      <a:lnTo>
                        <a:pt x="1484" y="1083"/>
                      </a:lnTo>
                      <a:lnTo>
                        <a:pt x="1485" y="1083"/>
                      </a:lnTo>
                      <a:close/>
                      <a:moveTo>
                        <a:pt x="1042" y="987"/>
                      </a:moveTo>
                      <a:lnTo>
                        <a:pt x="1042" y="988"/>
                      </a:lnTo>
                      <a:lnTo>
                        <a:pt x="1041" y="988"/>
                      </a:lnTo>
                      <a:lnTo>
                        <a:pt x="1042" y="988"/>
                      </a:lnTo>
                      <a:lnTo>
                        <a:pt x="1041" y="988"/>
                      </a:lnTo>
                      <a:lnTo>
                        <a:pt x="1042" y="988"/>
                      </a:lnTo>
                      <a:lnTo>
                        <a:pt x="1041" y="988"/>
                      </a:lnTo>
                      <a:lnTo>
                        <a:pt x="1041" y="989"/>
                      </a:lnTo>
                      <a:lnTo>
                        <a:pt x="1040" y="989"/>
                      </a:lnTo>
                      <a:lnTo>
                        <a:pt x="1040" y="990"/>
                      </a:lnTo>
                      <a:lnTo>
                        <a:pt x="1039" y="990"/>
                      </a:lnTo>
                      <a:lnTo>
                        <a:pt x="1038" y="990"/>
                      </a:lnTo>
                      <a:lnTo>
                        <a:pt x="1038" y="991"/>
                      </a:lnTo>
                      <a:lnTo>
                        <a:pt x="1037" y="991"/>
                      </a:lnTo>
                      <a:lnTo>
                        <a:pt x="1035" y="991"/>
                      </a:lnTo>
                      <a:lnTo>
                        <a:pt x="1034" y="991"/>
                      </a:lnTo>
                      <a:lnTo>
                        <a:pt x="1034" y="992"/>
                      </a:lnTo>
                      <a:lnTo>
                        <a:pt x="1033" y="992"/>
                      </a:lnTo>
                      <a:lnTo>
                        <a:pt x="1032" y="993"/>
                      </a:lnTo>
                      <a:lnTo>
                        <a:pt x="1031" y="993"/>
                      </a:lnTo>
                      <a:lnTo>
                        <a:pt x="1032" y="993"/>
                      </a:lnTo>
                      <a:lnTo>
                        <a:pt x="1033" y="993"/>
                      </a:lnTo>
                      <a:lnTo>
                        <a:pt x="1033" y="992"/>
                      </a:lnTo>
                      <a:lnTo>
                        <a:pt x="1034" y="992"/>
                      </a:lnTo>
                      <a:lnTo>
                        <a:pt x="1035" y="992"/>
                      </a:lnTo>
                      <a:lnTo>
                        <a:pt x="1035" y="993"/>
                      </a:lnTo>
                      <a:lnTo>
                        <a:pt x="1035" y="994"/>
                      </a:lnTo>
                      <a:lnTo>
                        <a:pt x="1035" y="993"/>
                      </a:lnTo>
                      <a:lnTo>
                        <a:pt x="1037" y="993"/>
                      </a:lnTo>
                      <a:lnTo>
                        <a:pt x="1037" y="994"/>
                      </a:lnTo>
                      <a:lnTo>
                        <a:pt x="1038" y="994"/>
                      </a:lnTo>
                      <a:lnTo>
                        <a:pt x="1039" y="993"/>
                      </a:lnTo>
                      <a:lnTo>
                        <a:pt x="1040" y="993"/>
                      </a:lnTo>
                      <a:lnTo>
                        <a:pt x="1041" y="993"/>
                      </a:lnTo>
                      <a:lnTo>
                        <a:pt x="1042" y="993"/>
                      </a:lnTo>
                      <a:lnTo>
                        <a:pt x="1042" y="992"/>
                      </a:lnTo>
                      <a:lnTo>
                        <a:pt x="1042" y="993"/>
                      </a:lnTo>
                      <a:lnTo>
                        <a:pt x="1041" y="993"/>
                      </a:lnTo>
                      <a:lnTo>
                        <a:pt x="1041" y="994"/>
                      </a:lnTo>
                      <a:lnTo>
                        <a:pt x="1040" y="994"/>
                      </a:lnTo>
                      <a:lnTo>
                        <a:pt x="1037" y="994"/>
                      </a:lnTo>
                      <a:lnTo>
                        <a:pt x="1035" y="994"/>
                      </a:lnTo>
                      <a:lnTo>
                        <a:pt x="1034" y="994"/>
                      </a:lnTo>
                      <a:lnTo>
                        <a:pt x="1032" y="993"/>
                      </a:lnTo>
                      <a:lnTo>
                        <a:pt x="1031" y="993"/>
                      </a:lnTo>
                      <a:lnTo>
                        <a:pt x="1030" y="993"/>
                      </a:lnTo>
                      <a:lnTo>
                        <a:pt x="1029" y="993"/>
                      </a:lnTo>
                      <a:lnTo>
                        <a:pt x="1024" y="993"/>
                      </a:lnTo>
                      <a:lnTo>
                        <a:pt x="1025" y="993"/>
                      </a:lnTo>
                      <a:lnTo>
                        <a:pt x="1026" y="992"/>
                      </a:lnTo>
                      <a:lnTo>
                        <a:pt x="1027" y="992"/>
                      </a:lnTo>
                      <a:lnTo>
                        <a:pt x="1030" y="991"/>
                      </a:lnTo>
                      <a:lnTo>
                        <a:pt x="1029" y="991"/>
                      </a:lnTo>
                      <a:lnTo>
                        <a:pt x="1029" y="992"/>
                      </a:lnTo>
                      <a:lnTo>
                        <a:pt x="1028" y="992"/>
                      </a:lnTo>
                      <a:lnTo>
                        <a:pt x="1029" y="992"/>
                      </a:lnTo>
                      <a:lnTo>
                        <a:pt x="1030" y="992"/>
                      </a:lnTo>
                      <a:lnTo>
                        <a:pt x="1030" y="991"/>
                      </a:lnTo>
                      <a:lnTo>
                        <a:pt x="1030" y="992"/>
                      </a:lnTo>
                      <a:lnTo>
                        <a:pt x="1031" y="992"/>
                      </a:lnTo>
                      <a:lnTo>
                        <a:pt x="1031" y="991"/>
                      </a:lnTo>
                      <a:lnTo>
                        <a:pt x="1032" y="991"/>
                      </a:lnTo>
                      <a:lnTo>
                        <a:pt x="1032" y="992"/>
                      </a:lnTo>
                      <a:lnTo>
                        <a:pt x="1032" y="991"/>
                      </a:lnTo>
                      <a:lnTo>
                        <a:pt x="1033" y="991"/>
                      </a:lnTo>
                      <a:lnTo>
                        <a:pt x="1034" y="991"/>
                      </a:lnTo>
                      <a:lnTo>
                        <a:pt x="1034" y="990"/>
                      </a:lnTo>
                      <a:lnTo>
                        <a:pt x="1035" y="990"/>
                      </a:lnTo>
                      <a:lnTo>
                        <a:pt x="1037" y="990"/>
                      </a:lnTo>
                      <a:lnTo>
                        <a:pt x="1038" y="990"/>
                      </a:lnTo>
                      <a:lnTo>
                        <a:pt x="1040" y="990"/>
                      </a:lnTo>
                      <a:lnTo>
                        <a:pt x="1040" y="989"/>
                      </a:lnTo>
                      <a:lnTo>
                        <a:pt x="1038" y="990"/>
                      </a:lnTo>
                      <a:lnTo>
                        <a:pt x="1037" y="990"/>
                      </a:lnTo>
                      <a:lnTo>
                        <a:pt x="1037" y="989"/>
                      </a:lnTo>
                      <a:lnTo>
                        <a:pt x="1038" y="989"/>
                      </a:lnTo>
                      <a:lnTo>
                        <a:pt x="1038" y="988"/>
                      </a:lnTo>
                      <a:lnTo>
                        <a:pt x="1037" y="988"/>
                      </a:lnTo>
                      <a:lnTo>
                        <a:pt x="1038" y="988"/>
                      </a:lnTo>
                      <a:lnTo>
                        <a:pt x="1040" y="988"/>
                      </a:lnTo>
                      <a:lnTo>
                        <a:pt x="1037" y="988"/>
                      </a:lnTo>
                      <a:lnTo>
                        <a:pt x="1040" y="988"/>
                      </a:lnTo>
                      <a:lnTo>
                        <a:pt x="1041" y="988"/>
                      </a:lnTo>
                      <a:lnTo>
                        <a:pt x="1040" y="987"/>
                      </a:lnTo>
                      <a:lnTo>
                        <a:pt x="1041" y="987"/>
                      </a:lnTo>
                      <a:lnTo>
                        <a:pt x="1042" y="987"/>
                      </a:lnTo>
                      <a:lnTo>
                        <a:pt x="1041" y="987"/>
                      </a:lnTo>
                      <a:lnTo>
                        <a:pt x="1042" y="987"/>
                      </a:lnTo>
                      <a:close/>
                      <a:moveTo>
                        <a:pt x="1405" y="1157"/>
                      </a:moveTo>
                      <a:lnTo>
                        <a:pt x="1406" y="1158"/>
                      </a:lnTo>
                      <a:lnTo>
                        <a:pt x="1405" y="1158"/>
                      </a:lnTo>
                      <a:lnTo>
                        <a:pt x="1405" y="1157"/>
                      </a:lnTo>
                      <a:lnTo>
                        <a:pt x="1404" y="1157"/>
                      </a:lnTo>
                      <a:lnTo>
                        <a:pt x="1403" y="1157"/>
                      </a:lnTo>
                      <a:lnTo>
                        <a:pt x="1403" y="1158"/>
                      </a:lnTo>
                      <a:lnTo>
                        <a:pt x="1402" y="1158"/>
                      </a:lnTo>
                      <a:lnTo>
                        <a:pt x="1402" y="1159"/>
                      </a:lnTo>
                      <a:lnTo>
                        <a:pt x="1403" y="1160"/>
                      </a:lnTo>
                      <a:lnTo>
                        <a:pt x="1404" y="1160"/>
                      </a:lnTo>
                      <a:lnTo>
                        <a:pt x="1405" y="1159"/>
                      </a:lnTo>
                      <a:lnTo>
                        <a:pt x="1405" y="1160"/>
                      </a:lnTo>
                      <a:lnTo>
                        <a:pt x="1404" y="1161"/>
                      </a:lnTo>
                      <a:lnTo>
                        <a:pt x="1403" y="1162"/>
                      </a:lnTo>
                      <a:lnTo>
                        <a:pt x="1402" y="1162"/>
                      </a:lnTo>
                      <a:lnTo>
                        <a:pt x="1402" y="1163"/>
                      </a:lnTo>
                      <a:lnTo>
                        <a:pt x="1402" y="1164"/>
                      </a:lnTo>
                      <a:lnTo>
                        <a:pt x="1403" y="1164"/>
                      </a:lnTo>
                      <a:lnTo>
                        <a:pt x="1405" y="1166"/>
                      </a:lnTo>
                      <a:lnTo>
                        <a:pt x="1405" y="1167"/>
                      </a:lnTo>
                      <a:lnTo>
                        <a:pt x="1406" y="1166"/>
                      </a:lnTo>
                      <a:lnTo>
                        <a:pt x="1406" y="1167"/>
                      </a:lnTo>
                      <a:lnTo>
                        <a:pt x="1406" y="1168"/>
                      </a:lnTo>
                      <a:lnTo>
                        <a:pt x="1406" y="1169"/>
                      </a:lnTo>
                      <a:lnTo>
                        <a:pt x="1406" y="1168"/>
                      </a:lnTo>
                      <a:lnTo>
                        <a:pt x="1405" y="1168"/>
                      </a:lnTo>
                      <a:lnTo>
                        <a:pt x="1404" y="1167"/>
                      </a:lnTo>
                      <a:lnTo>
                        <a:pt x="1403" y="1166"/>
                      </a:lnTo>
                      <a:lnTo>
                        <a:pt x="1402" y="1166"/>
                      </a:lnTo>
                      <a:lnTo>
                        <a:pt x="1402" y="1164"/>
                      </a:lnTo>
                      <a:lnTo>
                        <a:pt x="1401" y="1164"/>
                      </a:lnTo>
                      <a:lnTo>
                        <a:pt x="1401" y="1162"/>
                      </a:lnTo>
                      <a:lnTo>
                        <a:pt x="1400" y="1161"/>
                      </a:lnTo>
                      <a:lnTo>
                        <a:pt x="1400" y="1160"/>
                      </a:lnTo>
                      <a:lnTo>
                        <a:pt x="1399" y="1160"/>
                      </a:lnTo>
                      <a:lnTo>
                        <a:pt x="1399" y="1159"/>
                      </a:lnTo>
                      <a:lnTo>
                        <a:pt x="1397" y="1159"/>
                      </a:lnTo>
                      <a:lnTo>
                        <a:pt x="1400" y="1159"/>
                      </a:lnTo>
                      <a:lnTo>
                        <a:pt x="1401" y="1158"/>
                      </a:lnTo>
                      <a:lnTo>
                        <a:pt x="1401" y="1157"/>
                      </a:lnTo>
                      <a:lnTo>
                        <a:pt x="1402" y="1156"/>
                      </a:lnTo>
                      <a:lnTo>
                        <a:pt x="1403" y="1156"/>
                      </a:lnTo>
                      <a:lnTo>
                        <a:pt x="1404" y="1156"/>
                      </a:lnTo>
                      <a:lnTo>
                        <a:pt x="1405" y="1157"/>
                      </a:lnTo>
                      <a:close/>
                      <a:moveTo>
                        <a:pt x="1288" y="942"/>
                      </a:moveTo>
                      <a:lnTo>
                        <a:pt x="1289" y="942"/>
                      </a:lnTo>
                      <a:lnTo>
                        <a:pt x="1289" y="943"/>
                      </a:lnTo>
                      <a:lnTo>
                        <a:pt x="1289" y="944"/>
                      </a:lnTo>
                      <a:lnTo>
                        <a:pt x="1289" y="945"/>
                      </a:lnTo>
                      <a:lnTo>
                        <a:pt x="1289" y="947"/>
                      </a:lnTo>
                      <a:lnTo>
                        <a:pt x="1288" y="947"/>
                      </a:lnTo>
                      <a:lnTo>
                        <a:pt x="1288" y="948"/>
                      </a:lnTo>
                      <a:lnTo>
                        <a:pt x="1287" y="948"/>
                      </a:lnTo>
                      <a:lnTo>
                        <a:pt x="1287" y="947"/>
                      </a:lnTo>
                      <a:lnTo>
                        <a:pt x="1287" y="948"/>
                      </a:lnTo>
                      <a:lnTo>
                        <a:pt x="1288" y="948"/>
                      </a:lnTo>
                      <a:lnTo>
                        <a:pt x="1288" y="949"/>
                      </a:lnTo>
                      <a:lnTo>
                        <a:pt x="1287" y="949"/>
                      </a:lnTo>
                      <a:lnTo>
                        <a:pt x="1287" y="950"/>
                      </a:lnTo>
                      <a:lnTo>
                        <a:pt x="1287" y="949"/>
                      </a:lnTo>
                      <a:lnTo>
                        <a:pt x="1286" y="949"/>
                      </a:lnTo>
                      <a:lnTo>
                        <a:pt x="1286" y="950"/>
                      </a:lnTo>
                      <a:lnTo>
                        <a:pt x="1286" y="949"/>
                      </a:lnTo>
                      <a:lnTo>
                        <a:pt x="1286" y="948"/>
                      </a:lnTo>
                      <a:lnTo>
                        <a:pt x="1286" y="949"/>
                      </a:lnTo>
                      <a:lnTo>
                        <a:pt x="1287" y="949"/>
                      </a:lnTo>
                      <a:lnTo>
                        <a:pt x="1287" y="948"/>
                      </a:lnTo>
                      <a:lnTo>
                        <a:pt x="1286" y="948"/>
                      </a:lnTo>
                      <a:lnTo>
                        <a:pt x="1286" y="947"/>
                      </a:lnTo>
                      <a:lnTo>
                        <a:pt x="1285" y="947"/>
                      </a:lnTo>
                      <a:lnTo>
                        <a:pt x="1286" y="947"/>
                      </a:lnTo>
                      <a:lnTo>
                        <a:pt x="1286" y="948"/>
                      </a:lnTo>
                      <a:lnTo>
                        <a:pt x="1287" y="948"/>
                      </a:lnTo>
                      <a:lnTo>
                        <a:pt x="1287" y="949"/>
                      </a:lnTo>
                      <a:lnTo>
                        <a:pt x="1286" y="948"/>
                      </a:lnTo>
                      <a:lnTo>
                        <a:pt x="1286" y="949"/>
                      </a:lnTo>
                      <a:lnTo>
                        <a:pt x="1285" y="949"/>
                      </a:lnTo>
                      <a:lnTo>
                        <a:pt x="1285" y="948"/>
                      </a:lnTo>
                      <a:lnTo>
                        <a:pt x="1286" y="948"/>
                      </a:lnTo>
                      <a:lnTo>
                        <a:pt x="1285" y="948"/>
                      </a:lnTo>
                      <a:lnTo>
                        <a:pt x="1285" y="947"/>
                      </a:lnTo>
                      <a:lnTo>
                        <a:pt x="1285" y="948"/>
                      </a:lnTo>
                      <a:lnTo>
                        <a:pt x="1285" y="947"/>
                      </a:lnTo>
                      <a:lnTo>
                        <a:pt x="1284" y="947"/>
                      </a:lnTo>
                      <a:lnTo>
                        <a:pt x="1284" y="945"/>
                      </a:lnTo>
                      <a:lnTo>
                        <a:pt x="1283" y="945"/>
                      </a:lnTo>
                      <a:lnTo>
                        <a:pt x="1283" y="947"/>
                      </a:lnTo>
                      <a:lnTo>
                        <a:pt x="1284" y="947"/>
                      </a:lnTo>
                      <a:lnTo>
                        <a:pt x="1283" y="947"/>
                      </a:lnTo>
                      <a:lnTo>
                        <a:pt x="1282" y="948"/>
                      </a:lnTo>
                      <a:lnTo>
                        <a:pt x="1283" y="948"/>
                      </a:lnTo>
                      <a:lnTo>
                        <a:pt x="1283" y="949"/>
                      </a:lnTo>
                      <a:lnTo>
                        <a:pt x="1283" y="948"/>
                      </a:lnTo>
                      <a:lnTo>
                        <a:pt x="1282" y="948"/>
                      </a:lnTo>
                      <a:lnTo>
                        <a:pt x="1282" y="949"/>
                      </a:lnTo>
                      <a:lnTo>
                        <a:pt x="1283" y="949"/>
                      </a:lnTo>
                      <a:lnTo>
                        <a:pt x="1282" y="949"/>
                      </a:lnTo>
                      <a:lnTo>
                        <a:pt x="1283" y="949"/>
                      </a:lnTo>
                      <a:lnTo>
                        <a:pt x="1282" y="949"/>
                      </a:lnTo>
                      <a:lnTo>
                        <a:pt x="1283" y="950"/>
                      </a:lnTo>
                      <a:lnTo>
                        <a:pt x="1282" y="949"/>
                      </a:lnTo>
                      <a:lnTo>
                        <a:pt x="1283" y="949"/>
                      </a:lnTo>
                      <a:lnTo>
                        <a:pt x="1284" y="950"/>
                      </a:lnTo>
                      <a:lnTo>
                        <a:pt x="1283" y="950"/>
                      </a:lnTo>
                      <a:lnTo>
                        <a:pt x="1283" y="951"/>
                      </a:lnTo>
                      <a:lnTo>
                        <a:pt x="1282" y="951"/>
                      </a:lnTo>
                      <a:lnTo>
                        <a:pt x="1283" y="950"/>
                      </a:lnTo>
                      <a:lnTo>
                        <a:pt x="1282" y="950"/>
                      </a:lnTo>
                      <a:lnTo>
                        <a:pt x="1280" y="950"/>
                      </a:lnTo>
                      <a:lnTo>
                        <a:pt x="1282" y="950"/>
                      </a:lnTo>
                      <a:lnTo>
                        <a:pt x="1280" y="950"/>
                      </a:lnTo>
                      <a:lnTo>
                        <a:pt x="1280" y="951"/>
                      </a:lnTo>
                      <a:lnTo>
                        <a:pt x="1282" y="951"/>
                      </a:lnTo>
                      <a:lnTo>
                        <a:pt x="1280" y="951"/>
                      </a:lnTo>
                      <a:lnTo>
                        <a:pt x="1279" y="951"/>
                      </a:lnTo>
                      <a:lnTo>
                        <a:pt x="1279" y="950"/>
                      </a:lnTo>
                      <a:lnTo>
                        <a:pt x="1280" y="949"/>
                      </a:lnTo>
                      <a:lnTo>
                        <a:pt x="1280" y="948"/>
                      </a:lnTo>
                      <a:lnTo>
                        <a:pt x="1280" y="947"/>
                      </a:lnTo>
                      <a:lnTo>
                        <a:pt x="1282" y="947"/>
                      </a:lnTo>
                      <a:lnTo>
                        <a:pt x="1282" y="945"/>
                      </a:lnTo>
                      <a:lnTo>
                        <a:pt x="1283" y="945"/>
                      </a:lnTo>
                      <a:lnTo>
                        <a:pt x="1283" y="944"/>
                      </a:lnTo>
                      <a:lnTo>
                        <a:pt x="1284" y="944"/>
                      </a:lnTo>
                      <a:lnTo>
                        <a:pt x="1285" y="944"/>
                      </a:lnTo>
                      <a:lnTo>
                        <a:pt x="1285" y="945"/>
                      </a:lnTo>
                      <a:lnTo>
                        <a:pt x="1286" y="945"/>
                      </a:lnTo>
                      <a:lnTo>
                        <a:pt x="1286" y="944"/>
                      </a:lnTo>
                      <a:lnTo>
                        <a:pt x="1286" y="945"/>
                      </a:lnTo>
                      <a:lnTo>
                        <a:pt x="1286" y="944"/>
                      </a:lnTo>
                      <a:lnTo>
                        <a:pt x="1287" y="944"/>
                      </a:lnTo>
                      <a:lnTo>
                        <a:pt x="1288" y="944"/>
                      </a:lnTo>
                      <a:lnTo>
                        <a:pt x="1289" y="944"/>
                      </a:lnTo>
                      <a:lnTo>
                        <a:pt x="1288" y="943"/>
                      </a:lnTo>
                      <a:lnTo>
                        <a:pt x="1288" y="944"/>
                      </a:lnTo>
                      <a:lnTo>
                        <a:pt x="1287" y="944"/>
                      </a:lnTo>
                      <a:lnTo>
                        <a:pt x="1287" y="943"/>
                      </a:lnTo>
                      <a:lnTo>
                        <a:pt x="1286" y="943"/>
                      </a:lnTo>
                      <a:lnTo>
                        <a:pt x="1287" y="943"/>
                      </a:lnTo>
                      <a:lnTo>
                        <a:pt x="1287" y="942"/>
                      </a:lnTo>
                      <a:lnTo>
                        <a:pt x="1287" y="943"/>
                      </a:lnTo>
                      <a:lnTo>
                        <a:pt x="1288" y="943"/>
                      </a:lnTo>
                      <a:lnTo>
                        <a:pt x="1287" y="943"/>
                      </a:lnTo>
                      <a:lnTo>
                        <a:pt x="1287" y="942"/>
                      </a:lnTo>
                      <a:lnTo>
                        <a:pt x="1288" y="942"/>
                      </a:lnTo>
                      <a:close/>
                      <a:moveTo>
                        <a:pt x="1073" y="994"/>
                      </a:moveTo>
                      <a:lnTo>
                        <a:pt x="1072" y="995"/>
                      </a:lnTo>
                      <a:lnTo>
                        <a:pt x="1074" y="993"/>
                      </a:lnTo>
                      <a:lnTo>
                        <a:pt x="1074" y="992"/>
                      </a:lnTo>
                      <a:lnTo>
                        <a:pt x="1076" y="992"/>
                      </a:lnTo>
                      <a:lnTo>
                        <a:pt x="1077" y="993"/>
                      </a:lnTo>
                      <a:lnTo>
                        <a:pt x="1079" y="993"/>
                      </a:lnTo>
                      <a:lnTo>
                        <a:pt x="1079" y="996"/>
                      </a:lnTo>
                      <a:lnTo>
                        <a:pt x="1079" y="998"/>
                      </a:lnTo>
                      <a:lnTo>
                        <a:pt x="1079" y="999"/>
                      </a:lnTo>
                      <a:lnTo>
                        <a:pt x="1078" y="999"/>
                      </a:lnTo>
                      <a:lnTo>
                        <a:pt x="1077" y="998"/>
                      </a:lnTo>
                      <a:lnTo>
                        <a:pt x="1076" y="996"/>
                      </a:lnTo>
                      <a:lnTo>
                        <a:pt x="1074" y="996"/>
                      </a:lnTo>
                      <a:lnTo>
                        <a:pt x="1073" y="996"/>
                      </a:lnTo>
                      <a:lnTo>
                        <a:pt x="1072" y="996"/>
                      </a:lnTo>
                      <a:lnTo>
                        <a:pt x="1071" y="995"/>
                      </a:lnTo>
                      <a:lnTo>
                        <a:pt x="1071" y="996"/>
                      </a:lnTo>
                      <a:lnTo>
                        <a:pt x="1071" y="995"/>
                      </a:lnTo>
                      <a:lnTo>
                        <a:pt x="1070" y="996"/>
                      </a:lnTo>
                      <a:lnTo>
                        <a:pt x="1070" y="995"/>
                      </a:lnTo>
                      <a:lnTo>
                        <a:pt x="1071" y="994"/>
                      </a:lnTo>
                      <a:lnTo>
                        <a:pt x="1071" y="992"/>
                      </a:lnTo>
                      <a:lnTo>
                        <a:pt x="1074" y="992"/>
                      </a:lnTo>
                      <a:lnTo>
                        <a:pt x="1074" y="993"/>
                      </a:lnTo>
                      <a:lnTo>
                        <a:pt x="1073" y="993"/>
                      </a:lnTo>
                      <a:lnTo>
                        <a:pt x="1073" y="994"/>
                      </a:lnTo>
                      <a:close/>
                      <a:moveTo>
                        <a:pt x="1014" y="986"/>
                      </a:moveTo>
                      <a:lnTo>
                        <a:pt x="1015" y="986"/>
                      </a:lnTo>
                      <a:lnTo>
                        <a:pt x="1016" y="986"/>
                      </a:lnTo>
                      <a:lnTo>
                        <a:pt x="1017" y="986"/>
                      </a:lnTo>
                      <a:lnTo>
                        <a:pt x="1017" y="987"/>
                      </a:lnTo>
                      <a:lnTo>
                        <a:pt x="1016" y="987"/>
                      </a:lnTo>
                      <a:lnTo>
                        <a:pt x="1015" y="988"/>
                      </a:lnTo>
                      <a:lnTo>
                        <a:pt x="1014" y="988"/>
                      </a:lnTo>
                      <a:lnTo>
                        <a:pt x="1014" y="989"/>
                      </a:lnTo>
                      <a:lnTo>
                        <a:pt x="1013" y="989"/>
                      </a:lnTo>
                      <a:lnTo>
                        <a:pt x="1012" y="989"/>
                      </a:lnTo>
                      <a:lnTo>
                        <a:pt x="1012" y="990"/>
                      </a:lnTo>
                      <a:lnTo>
                        <a:pt x="1011" y="990"/>
                      </a:lnTo>
                      <a:lnTo>
                        <a:pt x="1009" y="990"/>
                      </a:lnTo>
                      <a:lnTo>
                        <a:pt x="1008" y="991"/>
                      </a:lnTo>
                      <a:lnTo>
                        <a:pt x="1007" y="991"/>
                      </a:lnTo>
                      <a:lnTo>
                        <a:pt x="1006" y="991"/>
                      </a:lnTo>
                      <a:lnTo>
                        <a:pt x="1006" y="990"/>
                      </a:lnTo>
                      <a:lnTo>
                        <a:pt x="1005" y="989"/>
                      </a:lnTo>
                      <a:lnTo>
                        <a:pt x="1006" y="989"/>
                      </a:lnTo>
                      <a:lnTo>
                        <a:pt x="1006" y="988"/>
                      </a:lnTo>
                      <a:lnTo>
                        <a:pt x="1007" y="988"/>
                      </a:lnTo>
                      <a:lnTo>
                        <a:pt x="1008" y="988"/>
                      </a:lnTo>
                      <a:lnTo>
                        <a:pt x="1008" y="987"/>
                      </a:lnTo>
                      <a:lnTo>
                        <a:pt x="1009" y="987"/>
                      </a:lnTo>
                      <a:lnTo>
                        <a:pt x="1009" y="986"/>
                      </a:lnTo>
                      <a:lnTo>
                        <a:pt x="1011" y="986"/>
                      </a:lnTo>
                      <a:lnTo>
                        <a:pt x="1012" y="987"/>
                      </a:lnTo>
                      <a:lnTo>
                        <a:pt x="1013" y="987"/>
                      </a:lnTo>
                      <a:lnTo>
                        <a:pt x="1013" y="986"/>
                      </a:lnTo>
                      <a:lnTo>
                        <a:pt x="1012" y="986"/>
                      </a:lnTo>
                      <a:lnTo>
                        <a:pt x="1013" y="986"/>
                      </a:lnTo>
                      <a:lnTo>
                        <a:pt x="1013" y="984"/>
                      </a:lnTo>
                      <a:lnTo>
                        <a:pt x="1014" y="984"/>
                      </a:lnTo>
                      <a:lnTo>
                        <a:pt x="1014" y="986"/>
                      </a:lnTo>
                      <a:close/>
                      <a:moveTo>
                        <a:pt x="1403" y="1104"/>
                      </a:moveTo>
                      <a:lnTo>
                        <a:pt x="1402" y="1105"/>
                      </a:lnTo>
                      <a:lnTo>
                        <a:pt x="1401" y="1106"/>
                      </a:lnTo>
                      <a:lnTo>
                        <a:pt x="1401" y="1107"/>
                      </a:lnTo>
                      <a:lnTo>
                        <a:pt x="1401" y="1106"/>
                      </a:lnTo>
                      <a:lnTo>
                        <a:pt x="1402" y="1106"/>
                      </a:lnTo>
                      <a:lnTo>
                        <a:pt x="1402" y="1107"/>
                      </a:lnTo>
                      <a:lnTo>
                        <a:pt x="1402" y="1106"/>
                      </a:lnTo>
                      <a:lnTo>
                        <a:pt x="1403" y="1106"/>
                      </a:lnTo>
                      <a:lnTo>
                        <a:pt x="1402" y="1107"/>
                      </a:lnTo>
                      <a:lnTo>
                        <a:pt x="1401" y="1108"/>
                      </a:lnTo>
                      <a:lnTo>
                        <a:pt x="1400" y="1109"/>
                      </a:lnTo>
                      <a:lnTo>
                        <a:pt x="1399" y="1110"/>
                      </a:lnTo>
                      <a:lnTo>
                        <a:pt x="1397" y="1110"/>
                      </a:lnTo>
                      <a:lnTo>
                        <a:pt x="1397" y="1109"/>
                      </a:lnTo>
                      <a:lnTo>
                        <a:pt x="1397" y="1110"/>
                      </a:lnTo>
                      <a:lnTo>
                        <a:pt x="1396" y="1110"/>
                      </a:lnTo>
                      <a:lnTo>
                        <a:pt x="1395" y="1110"/>
                      </a:lnTo>
                      <a:lnTo>
                        <a:pt x="1395" y="1111"/>
                      </a:lnTo>
                      <a:lnTo>
                        <a:pt x="1394" y="1111"/>
                      </a:lnTo>
                      <a:lnTo>
                        <a:pt x="1393" y="1111"/>
                      </a:lnTo>
                      <a:lnTo>
                        <a:pt x="1391" y="1111"/>
                      </a:lnTo>
                      <a:lnTo>
                        <a:pt x="1390" y="1111"/>
                      </a:lnTo>
                      <a:lnTo>
                        <a:pt x="1388" y="1111"/>
                      </a:lnTo>
                      <a:lnTo>
                        <a:pt x="1387" y="1111"/>
                      </a:lnTo>
                      <a:lnTo>
                        <a:pt x="1386" y="1111"/>
                      </a:lnTo>
                      <a:lnTo>
                        <a:pt x="1386" y="1110"/>
                      </a:lnTo>
                      <a:lnTo>
                        <a:pt x="1384" y="1110"/>
                      </a:lnTo>
                      <a:lnTo>
                        <a:pt x="1384" y="1109"/>
                      </a:lnTo>
                      <a:lnTo>
                        <a:pt x="1386" y="1109"/>
                      </a:lnTo>
                      <a:lnTo>
                        <a:pt x="1386" y="1110"/>
                      </a:lnTo>
                      <a:lnTo>
                        <a:pt x="1387" y="1110"/>
                      </a:lnTo>
                      <a:lnTo>
                        <a:pt x="1388" y="1110"/>
                      </a:lnTo>
                      <a:lnTo>
                        <a:pt x="1388" y="1109"/>
                      </a:lnTo>
                      <a:lnTo>
                        <a:pt x="1389" y="1109"/>
                      </a:lnTo>
                      <a:lnTo>
                        <a:pt x="1390" y="1109"/>
                      </a:lnTo>
                      <a:lnTo>
                        <a:pt x="1389" y="1109"/>
                      </a:lnTo>
                      <a:lnTo>
                        <a:pt x="1389" y="1110"/>
                      </a:lnTo>
                      <a:lnTo>
                        <a:pt x="1388" y="1110"/>
                      </a:lnTo>
                      <a:lnTo>
                        <a:pt x="1388" y="1111"/>
                      </a:lnTo>
                      <a:lnTo>
                        <a:pt x="1388" y="1110"/>
                      </a:lnTo>
                      <a:lnTo>
                        <a:pt x="1388" y="1111"/>
                      </a:lnTo>
                      <a:lnTo>
                        <a:pt x="1389" y="1111"/>
                      </a:lnTo>
                      <a:lnTo>
                        <a:pt x="1389" y="1110"/>
                      </a:lnTo>
                      <a:lnTo>
                        <a:pt x="1390" y="1110"/>
                      </a:lnTo>
                      <a:lnTo>
                        <a:pt x="1390" y="1111"/>
                      </a:lnTo>
                      <a:lnTo>
                        <a:pt x="1390" y="1110"/>
                      </a:lnTo>
                      <a:lnTo>
                        <a:pt x="1391" y="1110"/>
                      </a:lnTo>
                      <a:lnTo>
                        <a:pt x="1392" y="1110"/>
                      </a:lnTo>
                      <a:lnTo>
                        <a:pt x="1393" y="1110"/>
                      </a:lnTo>
                      <a:lnTo>
                        <a:pt x="1394" y="1110"/>
                      </a:lnTo>
                      <a:lnTo>
                        <a:pt x="1394" y="1109"/>
                      </a:lnTo>
                      <a:lnTo>
                        <a:pt x="1395" y="1109"/>
                      </a:lnTo>
                      <a:lnTo>
                        <a:pt x="1396" y="1108"/>
                      </a:lnTo>
                      <a:lnTo>
                        <a:pt x="1396" y="1107"/>
                      </a:lnTo>
                      <a:lnTo>
                        <a:pt x="1397" y="1108"/>
                      </a:lnTo>
                      <a:lnTo>
                        <a:pt x="1397" y="1107"/>
                      </a:lnTo>
                      <a:lnTo>
                        <a:pt x="1397" y="1106"/>
                      </a:lnTo>
                      <a:lnTo>
                        <a:pt x="1397" y="1107"/>
                      </a:lnTo>
                      <a:lnTo>
                        <a:pt x="1399" y="1107"/>
                      </a:lnTo>
                      <a:lnTo>
                        <a:pt x="1400" y="1107"/>
                      </a:lnTo>
                      <a:lnTo>
                        <a:pt x="1400" y="1106"/>
                      </a:lnTo>
                      <a:lnTo>
                        <a:pt x="1400" y="1105"/>
                      </a:lnTo>
                      <a:lnTo>
                        <a:pt x="1401" y="1105"/>
                      </a:lnTo>
                      <a:lnTo>
                        <a:pt x="1402" y="1105"/>
                      </a:lnTo>
                      <a:lnTo>
                        <a:pt x="1403" y="1104"/>
                      </a:lnTo>
                      <a:lnTo>
                        <a:pt x="1405" y="1103"/>
                      </a:lnTo>
                      <a:lnTo>
                        <a:pt x="1404" y="1103"/>
                      </a:lnTo>
                      <a:lnTo>
                        <a:pt x="1403" y="1104"/>
                      </a:lnTo>
                      <a:close/>
                      <a:moveTo>
                        <a:pt x="1166" y="866"/>
                      </a:moveTo>
                      <a:lnTo>
                        <a:pt x="1166" y="867"/>
                      </a:lnTo>
                      <a:lnTo>
                        <a:pt x="1167" y="867"/>
                      </a:lnTo>
                      <a:lnTo>
                        <a:pt x="1168" y="867"/>
                      </a:lnTo>
                      <a:lnTo>
                        <a:pt x="1168" y="868"/>
                      </a:lnTo>
                      <a:lnTo>
                        <a:pt x="1169" y="868"/>
                      </a:lnTo>
                      <a:lnTo>
                        <a:pt x="1170" y="868"/>
                      </a:lnTo>
                      <a:lnTo>
                        <a:pt x="1170" y="867"/>
                      </a:lnTo>
                      <a:lnTo>
                        <a:pt x="1170" y="868"/>
                      </a:lnTo>
                      <a:lnTo>
                        <a:pt x="1171" y="868"/>
                      </a:lnTo>
                      <a:lnTo>
                        <a:pt x="1172" y="868"/>
                      </a:lnTo>
                      <a:lnTo>
                        <a:pt x="1172" y="867"/>
                      </a:lnTo>
                      <a:lnTo>
                        <a:pt x="1172" y="866"/>
                      </a:lnTo>
                      <a:lnTo>
                        <a:pt x="1172" y="867"/>
                      </a:lnTo>
                      <a:lnTo>
                        <a:pt x="1173" y="867"/>
                      </a:lnTo>
                      <a:lnTo>
                        <a:pt x="1174" y="867"/>
                      </a:lnTo>
                      <a:lnTo>
                        <a:pt x="1173" y="867"/>
                      </a:lnTo>
                      <a:lnTo>
                        <a:pt x="1173" y="868"/>
                      </a:lnTo>
                      <a:lnTo>
                        <a:pt x="1173" y="870"/>
                      </a:lnTo>
                      <a:lnTo>
                        <a:pt x="1174" y="871"/>
                      </a:lnTo>
                      <a:lnTo>
                        <a:pt x="1173" y="872"/>
                      </a:lnTo>
                      <a:lnTo>
                        <a:pt x="1172" y="872"/>
                      </a:lnTo>
                      <a:lnTo>
                        <a:pt x="1171" y="873"/>
                      </a:lnTo>
                      <a:lnTo>
                        <a:pt x="1171" y="872"/>
                      </a:lnTo>
                      <a:lnTo>
                        <a:pt x="1171" y="871"/>
                      </a:lnTo>
                      <a:lnTo>
                        <a:pt x="1170" y="871"/>
                      </a:lnTo>
                      <a:lnTo>
                        <a:pt x="1169" y="871"/>
                      </a:lnTo>
                      <a:lnTo>
                        <a:pt x="1168" y="871"/>
                      </a:lnTo>
                      <a:lnTo>
                        <a:pt x="1167" y="871"/>
                      </a:lnTo>
                      <a:lnTo>
                        <a:pt x="1167" y="872"/>
                      </a:lnTo>
                      <a:lnTo>
                        <a:pt x="1167" y="873"/>
                      </a:lnTo>
                      <a:lnTo>
                        <a:pt x="1166" y="872"/>
                      </a:lnTo>
                      <a:lnTo>
                        <a:pt x="1164" y="872"/>
                      </a:lnTo>
                      <a:lnTo>
                        <a:pt x="1164" y="871"/>
                      </a:lnTo>
                      <a:lnTo>
                        <a:pt x="1164" y="872"/>
                      </a:lnTo>
                      <a:lnTo>
                        <a:pt x="1166" y="872"/>
                      </a:lnTo>
                      <a:lnTo>
                        <a:pt x="1166" y="871"/>
                      </a:lnTo>
                      <a:lnTo>
                        <a:pt x="1166" y="870"/>
                      </a:lnTo>
                      <a:lnTo>
                        <a:pt x="1166" y="868"/>
                      </a:lnTo>
                      <a:lnTo>
                        <a:pt x="1164" y="868"/>
                      </a:lnTo>
                      <a:lnTo>
                        <a:pt x="1164" y="867"/>
                      </a:lnTo>
                      <a:lnTo>
                        <a:pt x="1166" y="867"/>
                      </a:lnTo>
                      <a:lnTo>
                        <a:pt x="1164" y="867"/>
                      </a:lnTo>
                      <a:lnTo>
                        <a:pt x="1163" y="867"/>
                      </a:lnTo>
                      <a:lnTo>
                        <a:pt x="1164" y="867"/>
                      </a:lnTo>
                      <a:lnTo>
                        <a:pt x="1164" y="866"/>
                      </a:lnTo>
                      <a:lnTo>
                        <a:pt x="1166" y="866"/>
                      </a:lnTo>
                      <a:close/>
                      <a:moveTo>
                        <a:pt x="1094" y="976"/>
                      </a:moveTo>
                      <a:lnTo>
                        <a:pt x="1093" y="976"/>
                      </a:lnTo>
                      <a:lnTo>
                        <a:pt x="1092" y="976"/>
                      </a:lnTo>
                      <a:lnTo>
                        <a:pt x="1091" y="976"/>
                      </a:lnTo>
                      <a:lnTo>
                        <a:pt x="1090" y="976"/>
                      </a:lnTo>
                      <a:lnTo>
                        <a:pt x="1089" y="976"/>
                      </a:lnTo>
                      <a:lnTo>
                        <a:pt x="1089" y="975"/>
                      </a:lnTo>
                      <a:lnTo>
                        <a:pt x="1092" y="970"/>
                      </a:lnTo>
                      <a:lnTo>
                        <a:pt x="1092" y="969"/>
                      </a:lnTo>
                      <a:lnTo>
                        <a:pt x="1093" y="968"/>
                      </a:lnTo>
                      <a:lnTo>
                        <a:pt x="1094" y="968"/>
                      </a:lnTo>
                      <a:lnTo>
                        <a:pt x="1094" y="969"/>
                      </a:lnTo>
                      <a:lnTo>
                        <a:pt x="1095" y="969"/>
                      </a:lnTo>
                      <a:lnTo>
                        <a:pt x="1095" y="970"/>
                      </a:lnTo>
                      <a:lnTo>
                        <a:pt x="1095" y="971"/>
                      </a:lnTo>
                      <a:lnTo>
                        <a:pt x="1096" y="971"/>
                      </a:lnTo>
                      <a:lnTo>
                        <a:pt x="1095" y="974"/>
                      </a:lnTo>
                      <a:lnTo>
                        <a:pt x="1094" y="975"/>
                      </a:lnTo>
                      <a:lnTo>
                        <a:pt x="1094" y="976"/>
                      </a:lnTo>
                      <a:close/>
                      <a:moveTo>
                        <a:pt x="1412" y="983"/>
                      </a:moveTo>
                      <a:lnTo>
                        <a:pt x="1413" y="983"/>
                      </a:lnTo>
                      <a:lnTo>
                        <a:pt x="1413" y="984"/>
                      </a:lnTo>
                      <a:lnTo>
                        <a:pt x="1414" y="984"/>
                      </a:lnTo>
                      <a:lnTo>
                        <a:pt x="1413" y="984"/>
                      </a:lnTo>
                      <a:lnTo>
                        <a:pt x="1413" y="986"/>
                      </a:lnTo>
                      <a:lnTo>
                        <a:pt x="1414" y="986"/>
                      </a:lnTo>
                      <a:lnTo>
                        <a:pt x="1415" y="987"/>
                      </a:lnTo>
                      <a:lnTo>
                        <a:pt x="1416" y="987"/>
                      </a:lnTo>
                      <a:lnTo>
                        <a:pt x="1415" y="988"/>
                      </a:lnTo>
                      <a:lnTo>
                        <a:pt x="1414" y="988"/>
                      </a:lnTo>
                      <a:lnTo>
                        <a:pt x="1414" y="989"/>
                      </a:lnTo>
                      <a:lnTo>
                        <a:pt x="1413" y="989"/>
                      </a:lnTo>
                      <a:lnTo>
                        <a:pt x="1413" y="990"/>
                      </a:lnTo>
                      <a:lnTo>
                        <a:pt x="1412" y="990"/>
                      </a:lnTo>
                      <a:lnTo>
                        <a:pt x="1412" y="989"/>
                      </a:lnTo>
                      <a:lnTo>
                        <a:pt x="1412" y="990"/>
                      </a:lnTo>
                      <a:lnTo>
                        <a:pt x="1410" y="989"/>
                      </a:lnTo>
                      <a:lnTo>
                        <a:pt x="1409" y="989"/>
                      </a:lnTo>
                      <a:lnTo>
                        <a:pt x="1409" y="990"/>
                      </a:lnTo>
                      <a:lnTo>
                        <a:pt x="1409" y="989"/>
                      </a:lnTo>
                      <a:lnTo>
                        <a:pt x="1409" y="987"/>
                      </a:lnTo>
                      <a:lnTo>
                        <a:pt x="1409" y="986"/>
                      </a:lnTo>
                      <a:lnTo>
                        <a:pt x="1409" y="984"/>
                      </a:lnTo>
                      <a:lnTo>
                        <a:pt x="1409" y="983"/>
                      </a:lnTo>
                      <a:lnTo>
                        <a:pt x="1409" y="982"/>
                      </a:lnTo>
                      <a:lnTo>
                        <a:pt x="1410" y="982"/>
                      </a:lnTo>
                      <a:lnTo>
                        <a:pt x="1412" y="982"/>
                      </a:lnTo>
                      <a:lnTo>
                        <a:pt x="1412" y="983"/>
                      </a:lnTo>
                      <a:close/>
                      <a:moveTo>
                        <a:pt x="1115" y="965"/>
                      </a:moveTo>
                      <a:lnTo>
                        <a:pt x="1116" y="965"/>
                      </a:lnTo>
                      <a:lnTo>
                        <a:pt x="1116" y="966"/>
                      </a:lnTo>
                      <a:lnTo>
                        <a:pt x="1115" y="966"/>
                      </a:lnTo>
                      <a:lnTo>
                        <a:pt x="1116" y="966"/>
                      </a:lnTo>
                      <a:lnTo>
                        <a:pt x="1115" y="967"/>
                      </a:lnTo>
                      <a:lnTo>
                        <a:pt x="1116" y="967"/>
                      </a:lnTo>
                      <a:lnTo>
                        <a:pt x="1116" y="966"/>
                      </a:lnTo>
                      <a:lnTo>
                        <a:pt x="1116" y="967"/>
                      </a:lnTo>
                      <a:lnTo>
                        <a:pt x="1117" y="966"/>
                      </a:lnTo>
                      <a:lnTo>
                        <a:pt x="1117" y="965"/>
                      </a:lnTo>
                      <a:lnTo>
                        <a:pt x="1118" y="965"/>
                      </a:lnTo>
                      <a:lnTo>
                        <a:pt x="1118" y="966"/>
                      </a:lnTo>
                      <a:lnTo>
                        <a:pt x="1119" y="966"/>
                      </a:lnTo>
                      <a:lnTo>
                        <a:pt x="1119" y="965"/>
                      </a:lnTo>
                      <a:lnTo>
                        <a:pt x="1119" y="964"/>
                      </a:lnTo>
                      <a:lnTo>
                        <a:pt x="1120" y="964"/>
                      </a:lnTo>
                      <a:lnTo>
                        <a:pt x="1121" y="964"/>
                      </a:lnTo>
                      <a:lnTo>
                        <a:pt x="1122" y="964"/>
                      </a:lnTo>
                      <a:lnTo>
                        <a:pt x="1123" y="965"/>
                      </a:lnTo>
                      <a:lnTo>
                        <a:pt x="1122" y="964"/>
                      </a:lnTo>
                      <a:lnTo>
                        <a:pt x="1122" y="965"/>
                      </a:lnTo>
                      <a:lnTo>
                        <a:pt x="1121" y="965"/>
                      </a:lnTo>
                      <a:lnTo>
                        <a:pt x="1121" y="966"/>
                      </a:lnTo>
                      <a:lnTo>
                        <a:pt x="1120" y="967"/>
                      </a:lnTo>
                      <a:lnTo>
                        <a:pt x="1121" y="967"/>
                      </a:lnTo>
                      <a:lnTo>
                        <a:pt x="1121" y="968"/>
                      </a:lnTo>
                      <a:lnTo>
                        <a:pt x="1120" y="968"/>
                      </a:lnTo>
                      <a:lnTo>
                        <a:pt x="1120" y="969"/>
                      </a:lnTo>
                      <a:lnTo>
                        <a:pt x="1120" y="970"/>
                      </a:lnTo>
                      <a:lnTo>
                        <a:pt x="1119" y="969"/>
                      </a:lnTo>
                      <a:lnTo>
                        <a:pt x="1119" y="970"/>
                      </a:lnTo>
                      <a:lnTo>
                        <a:pt x="1119" y="969"/>
                      </a:lnTo>
                      <a:lnTo>
                        <a:pt x="1118" y="969"/>
                      </a:lnTo>
                      <a:lnTo>
                        <a:pt x="1118" y="970"/>
                      </a:lnTo>
                      <a:lnTo>
                        <a:pt x="1117" y="970"/>
                      </a:lnTo>
                      <a:lnTo>
                        <a:pt x="1116" y="970"/>
                      </a:lnTo>
                      <a:lnTo>
                        <a:pt x="1115" y="970"/>
                      </a:lnTo>
                      <a:lnTo>
                        <a:pt x="1116" y="970"/>
                      </a:lnTo>
                      <a:lnTo>
                        <a:pt x="1116" y="969"/>
                      </a:lnTo>
                      <a:lnTo>
                        <a:pt x="1117" y="969"/>
                      </a:lnTo>
                      <a:lnTo>
                        <a:pt x="1117" y="968"/>
                      </a:lnTo>
                      <a:lnTo>
                        <a:pt x="1118" y="968"/>
                      </a:lnTo>
                      <a:lnTo>
                        <a:pt x="1117" y="968"/>
                      </a:lnTo>
                      <a:lnTo>
                        <a:pt x="1118" y="967"/>
                      </a:lnTo>
                      <a:lnTo>
                        <a:pt x="1119" y="967"/>
                      </a:lnTo>
                      <a:lnTo>
                        <a:pt x="1119" y="966"/>
                      </a:lnTo>
                      <a:lnTo>
                        <a:pt x="1118" y="967"/>
                      </a:lnTo>
                      <a:lnTo>
                        <a:pt x="1116" y="967"/>
                      </a:lnTo>
                      <a:lnTo>
                        <a:pt x="1116" y="968"/>
                      </a:lnTo>
                      <a:lnTo>
                        <a:pt x="1117" y="968"/>
                      </a:lnTo>
                      <a:lnTo>
                        <a:pt x="1115" y="968"/>
                      </a:lnTo>
                      <a:lnTo>
                        <a:pt x="1115" y="969"/>
                      </a:lnTo>
                      <a:lnTo>
                        <a:pt x="1113" y="969"/>
                      </a:lnTo>
                      <a:lnTo>
                        <a:pt x="1113" y="968"/>
                      </a:lnTo>
                      <a:lnTo>
                        <a:pt x="1113" y="967"/>
                      </a:lnTo>
                      <a:lnTo>
                        <a:pt x="1115" y="966"/>
                      </a:lnTo>
                      <a:lnTo>
                        <a:pt x="1115" y="965"/>
                      </a:lnTo>
                      <a:lnTo>
                        <a:pt x="1113" y="964"/>
                      </a:lnTo>
                      <a:lnTo>
                        <a:pt x="1113" y="963"/>
                      </a:lnTo>
                      <a:lnTo>
                        <a:pt x="1115" y="964"/>
                      </a:lnTo>
                      <a:lnTo>
                        <a:pt x="1115" y="965"/>
                      </a:lnTo>
                      <a:close/>
                      <a:moveTo>
                        <a:pt x="1060" y="930"/>
                      </a:moveTo>
                      <a:lnTo>
                        <a:pt x="1060" y="931"/>
                      </a:lnTo>
                      <a:lnTo>
                        <a:pt x="1060" y="932"/>
                      </a:lnTo>
                      <a:lnTo>
                        <a:pt x="1061" y="934"/>
                      </a:lnTo>
                      <a:lnTo>
                        <a:pt x="1061" y="935"/>
                      </a:lnTo>
                      <a:lnTo>
                        <a:pt x="1060" y="935"/>
                      </a:lnTo>
                      <a:lnTo>
                        <a:pt x="1060" y="934"/>
                      </a:lnTo>
                      <a:lnTo>
                        <a:pt x="1060" y="932"/>
                      </a:lnTo>
                      <a:lnTo>
                        <a:pt x="1059" y="932"/>
                      </a:lnTo>
                      <a:lnTo>
                        <a:pt x="1058" y="932"/>
                      </a:lnTo>
                      <a:lnTo>
                        <a:pt x="1058" y="934"/>
                      </a:lnTo>
                      <a:lnTo>
                        <a:pt x="1058" y="935"/>
                      </a:lnTo>
                      <a:lnTo>
                        <a:pt x="1058" y="936"/>
                      </a:lnTo>
                      <a:lnTo>
                        <a:pt x="1059" y="936"/>
                      </a:lnTo>
                      <a:lnTo>
                        <a:pt x="1059" y="937"/>
                      </a:lnTo>
                      <a:lnTo>
                        <a:pt x="1058" y="937"/>
                      </a:lnTo>
                      <a:lnTo>
                        <a:pt x="1058" y="936"/>
                      </a:lnTo>
                      <a:lnTo>
                        <a:pt x="1057" y="936"/>
                      </a:lnTo>
                      <a:lnTo>
                        <a:pt x="1056" y="936"/>
                      </a:lnTo>
                      <a:lnTo>
                        <a:pt x="1057" y="937"/>
                      </a:lnTo>
                      <a:lnTo>
                        <a:pt x="1056" y="937"/>
                      </a:lnTo>
                      <a:lnTo>
                        <a:pt x="1055" y="935"/>
                      </a:lnTo>
                      <a:lnTo>
                        <a:pt x="1056" y="935"/>
                      </a:lnTo>
                      <a:lnTo>
                        <a:pt x="1056" y="936"/>
                      </a:lnTo>
                      <a:lnTo>
                        <a:pt x="1056" y="935"/>
                      </a:lnTo>
                      <a:lnTo>
                        <a:pt x="1055" y="935"/>
                      </a:lnTo>
                      <a:lnTo>
                        <a:pt x="1054" y="934"/>
                      </a:lnTo>
                      <a:lnTo>
                        <a:pt x="1053" y="934"/>
                      </a:lnTo>
                      <a:lnTo>
                        <a:pt x="1053" y="932"/>
                      </a:lnTo>
                      <a:lnTo>
                        <a:pt x="1052" y="932"/>
                      </a:lnTo>
                      <a:lnTo>
                        <a:pt x="1052" y="931"/>
                      </a:lnTo>
                      <a:lnTo>
                        <a:pt x="1053" y="931"/>
                      </a:lnTo>
                      <a:lnTo>
                        <a:pt x="1053" y="932"/>
                      </a:lnTo>
                      <a:lnTo>
                        <a:pt x="1054" y="931"/>
                      </a:lnTo>
                      <a:lnTo>
                        <a:pt x="1056" y="930"/>
                      </a:lnTo>
                      <a:lnTo>
                        <a:pt x="1057" y="930"/>
                      </a:lnTo>
                      <a:lnTo>
                        <a:pt x="1056" y="930"/>
                      </a:lnTo>
                      <a:lnTo>
                        <a:pt x="1056" y="931"/>
                      </a:lnTo>
                      <a:lnTo>
                        <a:pt x="1055" y="932"/>
                      </a:lnTo>
                      <a:lnTo>
                        <a:pt x="1057" y="930"/>
                      </a:lnTo>
                      <a:lnTo>
                        <a:pt x="1057" y="931"/>
                      </a:lnTo>
                      <a:lnTo>
                        <a:pt x="1058" y="931"/>
                      </a:lnTo>
                      <a:lnTo>
                        <a:pt x="1058" y="930"/>
                      </a:lnTo>
                      <a:lnTo>
                        <a:pt x="1059" y="930"/>
                      </a:lnTo>
                      <a:lnTo>
                        <a:pt x="1059" y="929"/>
                      </a:lnTo>
                      <a:lnTo>
                        <a:pt x="1060" y="929"/>
                      </a:lnTo>
                      <a:lnTo>
                        <a:pt x="1059" y="928"/>
                      </a:lnTo>
                      <a:lnTo>
                        <a:pt x="1060" y="929"/>
                      </a:lnTo>
                      <a:lnTo>
                        <a:pt x="1060" y="930"/>
                      </a:lnTo>
                      <a:close/>
                      <a:moveTo>
                        <a:pt x="1443" y="1089"/>
                      </a:moveTo>
                      <a:lnTo>
                        <a:pt x="1443" y="1090"/>
                      </a:lnTo>
                      <a:lnTo>
                        <a:pt x="1442" y="1091"/>
                      </a:lnTo>
                      <a:lnTo>
                        <a:pt x="1443" y="1092"/>
                      </a:lnTo>
                      <a:lnTo>
                        <a:pt x="1442" y="1092"/>
                      </a:lnTo>
                      <a:lnTo>
                        <a:pt x="1442" y="1093"/>
                      </a:lnTo>
                      <a:lnTo>
                        <a:pt x="1441" y="1093"/>
                      </a:lnTo>
                      <a:lnTo>
                        <a:pt x="1440" y="1093"/>
                      </a:lnTo>
                      <a:lnTo>
                        <a:pt x="1439" y="1094"/>
                      </a:lnTo>
                      <a:lnTo>
                        <a:pt x="1438" y="1094"/>
                      </a:lnTo>
                      <a:lnTo>
                        <a:pt x="1437" y="1094"/>
                      </a:lnTo>
                      <a:lnTo>
                        <a:pt x="1434" y="1095"/>
                      </a:lnTo>
                      <a:lnTo>
                        <a:pt x="1434" y="1094"/>
                      </a:lnTo>
                      <a:lnTo>
                        <a:pt x="1433" y="1094"/>
                      </a:lnTo>
                      <a:lnTo>
                        <a:pt x="1433" y="1093"/>
                      </a:lnTo>
                      <a:lnTo>
                        <a:pt x="1441" y="1089"/>
                      </a:lnTo>
                      <a:lnTo>
                        <a:pt x="1442" y="1089"/>
                      </a:lnTo>
                      <a:lnTo>
                        <a:pt x="1443" y="1089"/>
                      </a:lnTo>
                      <a:lnTo>
                        <a:pt x="1443" y="1088"/>
                      </a:lnTo>
                      <a:lnTo>
                        <a:pt x="1443" y="1089"/>
                      </a:lnTo>
                      <a:close/>
                      <a:moveTo>
                        <a:pt x="1351" y="1167"/>
                      </a:moveTo>
                      <a:lnTo>
                        <a:pt x="1352" y="1168"/>
                      </a:lnTo>
                      <a:lnTo>
                        <a:pt x="1351" y="1168"/>
                      </a:lnTo>
                      <a:lnTo>
                        <a:pt x="1350" y="1168"/>
                      </a:lnTo>
                      <a:lnTo>
                        <a:pt x="1349" y="1168"/>
                      </a:lnTo>
                      <a:lnTo>
                        <a:pt x="1348" y="1168"/>
                      </a:lnTo>
                      <a:lnTo>
                        <a:pt x="1348" y="1169"/>
                      </a:lnTo>
                      <a:lnTo>
                        <a:pt x="1347" y="1170"/>
                      </a:lnTo>
                      <a:lnTo>
                        <a:pt x="1345" y="1170"/>
                      </a:lnTo>
                      <a:lnTo>
                        <a:pt x="1344" y="1169"/>
                      </a:lnTo>
                      <a:lnTo>
                        <a:pt x="1344" y="1170"/>
                      </a:lnTo>
                      <a:lnTo>
                        <a:pt x="1343" y="1170"/>
                      </a:lnTo>
                      <a:lnTo>
                        <a:pt x="1342" y="1169"/>
                      </a:lnTo>
                      <a:lnTo>
                        <a:pt x="1342" y="1168"/>
                      </a:lnTo>
                      <a:lnTo>
                        <a:pt x="1343" y="1168"/>
                      </a:lnTo>
                      <a:lnTo>
                        <a:pt x="1343" y="1169"/>
                      </a:lnTo>
                      <a:lnTo>
                        <a:pt x="1344" y="1169"/>
                      </a:lnTo>
                      <a:lnTo>
                        <a:pt x="1344" y="1168"/>
                      </a:lnTo>
                      <a:lnTo>
                        <a:pt x="1344" y="1167"/>
                      </a:lnTo>
                      <a:lnTo>
                        <a:pt x="1343" y="1167"/>
                      </a:lnTo>
                      <a:lnTo>
                        <a:pt x="1344" y="1166"/>
                      </a:lnTo>
                      <a:lnTo>
                        <a:pt x="1345" y="1164"/>
                      </a:lnTo>
                      <a:lnTo>
                        <a:pt x="1347" y="1163"/>
                      </a:lnTo>
                      <a:lnTo>
                        <a:pt x="1348" y="1163"/>
                      </a:lnTo>
                      <a:lnTo>
                        <a:pt x="1349" y="1164"/>
                      </a:lnTo>
                      <a:lnTo>
                        <a:pt x="1350" y="1166"/>
                      </a:lnTo>
                      <a:lnTo>
                        <a:pt x="1351" y="1166"/>
                      </a:lnTo>
                      <a:lnTo>
                        <a:pt x="1351" y="1167"/>
                      </a:lnTo>
                      <a:close/>
                      <a:moveTo>
                        <a:pt x="1081" y="993"/>
                      </a:moveTo>
                      <a:lnTo>
                        <a:pt x="1084" y="993"/>
                      </a:lnTo>
                      <a:lnTo>
                        <a:pt x="1085" y="993"/>
                      </a:lnTo>
                      <a:lnTo>
                        <a:pt x="1084" y="994"/>
                      </a:lnTo>
                      <a:lnTo>
                        <a:pt x="1084" y="995"/>
                      </a:lnTo>
                      <a:lnTo>
                        <a:pt x="1084" y="994"/>
                      </a:lnTo>
                      <a:lnTo>
                        <a:pt x="1083" y="994"/>
                      </a:lnTo>
                      <a:lnTo>
                        <a:pt x="1082" y="994"/>
                      </a:lnTo>
                      <a:lnTo>
                        <a:pt x="1082" y="993"/>
                      </a:lnTo>
                      <a:lnTo>
                        <a:pt x="1081" y="993"/>
                      </a:lnTo>
                      <a:lnTo>
                        <a:pt x="1081" y="994"/>
                      </a:lnTo>
                      <a:lnTo>
                        <a:pt x="1081" y="993"/>
                      </a:lnTo>
                      <a:lnTo>
                        <a:pt x="1082" y="993"/>
                      </a:lnTo>
                      <a:lnTo>
                        <a:pt x="1082" y="994"/>
                      </a:lnTo>
                      <a:lnTo>
                        <a:pt x="1083" y="994"/>
                      </a:lnTo>
                      <a:lnTo>
                        <a:pt x="1083" y="995"/>
                      </a:lnTo>
                      <a:lnTo>
                        <a:pt x="1084" y="995"/>
                      </a:lnTo>
                      <a:lnTo>
                        <a:pt x="1083" y="995"/>
                      </a:lnTo>
                      <a:lnTo>
                        <a:pt x="1083" y="996"/>
                      </a:lnTo>
                      <a:lnTo>
                        <a:pt x="1083" y="998"/>
                      </a:lnTo>
                      <a:lnTo>
                        <a:pt x="1083" y="999"/>
                      </a:lnTo>
                      <a:lnTo>
                        <a:pt x="1082" y="999"/>
                      </a:lnTo>
                      <a:lnTo>
                        <a:pt x="1082" y="1000"/>
                      </a:lnTo>
                      <a:lnTo>
                        <a:pt x="1081" y="1000"/>
                      </a:lnTo>
                      <a:lnTo>
                        <a:pt x="1080" y="1000"/>
                      </a:lnTo>
                      <a:lnTo>
                        <a:pt x="1080" y="999"/>
                      </a:lnTo>
                      <a:lnTo>
                        <a:pt x="1079" y="999"/>
                      </a:lnTo>
                      <a:lnTo>
                        <a:pt x="1079" y="998"/>
                      </a:lnTo>
                      <a:lnTo>
                        <a:pt x="1079" y="993"/>
                      </a:lnTo>
                      <a:lnTo>
                        <a:pt x="1081" y="993"/>
                      </a:lnTo>
                      <a:close/>
                      <a:moveTo>
                        <a:pt x="1426" y="1116"/>
                      </a:moveTo>
                      <a:lnTo>
                        <a:pt x="1425" y="1116"/>
                      </a:lnTo>
                      <a:lnTo>
                        <a:pt x="1425" y="1117"/>
                      </a:lnTo>
                      <a:lnTo>
                        <a:pt x="1425" y="1116"/>
                      </a:lnTo>
                      <a:lnTo>
                        <a:pt x="1426" y="1116"/>
                      </a:lnTo>
                      <a:lnTo>
                        <a:pt x="1427" y="1116"/>
                      </a:lnTo>
                      <a:lnTo>
                        <a:pt x="1430" y="1116"/>
                      </a:lnTo>
                      <a:lnTo>
                        <a:pt x="1431" y="1117"/>
                      </a:lnTo>
                      <a:lnTo>
                        <a:pt x="1430" y="1117"/>
                      </a:lnTo>
                      <a:lnTo>
                        <a:pt x="1430" y="1118"/>
                      </a:lnTo>
                      <a:lnTo>
                        <a:pt x="1429" y="1118"/>
                      </a:lnTo>
                      <a:lnTo>
                        <a:pt x="1429" y="1119"/>
                      </a:lnTo>
                      <a:lnTo>
                        <a:pt x="1428" y="1119"/>
                      </a:lnTo>
                      <a:lnTo>
                        <a:pt x="1427" y="1119"/>
                      </a:lnTo>
                      <a:lnTo>
                        <a:pt x="1428" y="1119"/>
                      </a:lnTo>
                      <a:lnTo>
                        <a:pt x="1428" y="1120"/>
                      </a:lnTo>
                      <a:lnTo>
                        <a:pt x="1429" y="1120"/>
                      </a:lnTo>
                      <a:lnTo>
                        <a:pt x="1430" y="1120"/>
                      </a:lnTo>
                      <a:lnTo>
                        <a:pt x="1430" y="1121"/>
                      </a:lnTo>
                      <a:lnTo>
                        <a:pt x="1429" y="1121"/>
                      </a:lnTo>
                      <a:lnTo>
                        <a:pt x="1430" y="1121"/>
                      </a:lnTo>
                      <a:lnTo>
                        <a:pt x="1431" y="1122"/>
                      </a:lnTo>
                      <a:lnTo>
                        <a:pt x="1431" y="1123"/>
                      </a:lnTo>
                      <a:lnTo>
                        <a:pt x="1430" y="1123"/>
                      </a:lnTo>
                      <a:lnTo>
                        <a:pt x="1429" y="1122"/>
                      </a:lnTo>
                      <a:lnTo>
                        <a:pt x="1429" y="1121"/>
                      </a:lnTo>
                      <a:lnTo>
                        <a:pt x="1428" y="1121"/>
                      </a:lnTo>
                      <a:lnTo>
                        <a:pt x="1429" y="1120"/>
                      </a:lnTo>
                      <a:lnTo>
                        <a:pt x="1428" y="1120"/>
                      </a:lnTo>
                      <a:lnTo>
                        <a:pt x="1427" y="1120"/>
                      </a:lnTo>
                      <a:lnTo>
                        <a:pt x="1427" y="1119"/>
                      </a:lnTo>
                      <a:lnTo>
                        <a:pt x="1426" y="1119"/>
                      </a:lnTo>
                      <a:lnTo>
                        <a:pt x="1425" y="1120"/>
                      </a:lnTo>
                      <a:lnTo>
                        <a:pt x="1425" y="1119"/>
                      </a:lnTo>
                      <a:lnTo>
                        <a:pt x="1425" y="1118"/>
                      </a:lnTo>
                      <a:lnTo>
                        <a:pt x="1424" y="1118"/>
                      </a:lnTo>
                      <a:lnTo>
                        <a:pt x="1424" y="1117"/>
                      </a:lnTo>
                      <a:lnTo>
                        <a:pt x="1424" y="1116"/>
                      </a:lnTo>
                      <a:lnTo>
                        <a:pt x="1422" y="1116"/>
                      </a:lnTo>
                      <a:lnTo>
                        <a:pt x="1424" y="1116"/>
                      </a:lnTo>
                      <a:lnTo>
                        <a:pt x="1426" y="1116"/>
                      </a:lnTo>
                      <a:close/>
                      <a:moveTo>
                        <a:pt x="1057" y="982"/>
                      </a:moveTo>
                      <a:lnTo>
                        <a:pt x="1056" y="982"/>
                      </a:lnTo>
                      <a:lnTo>
                        <a:pt x="1057" y="982"/>
                      </a:lnTo>
                      <a:lnTo>
                        <a:pt x="1056" y="982"/>
                      </a:lnTo>
                      <a:lnTo>
                        <a:pt x="1056" y="983"/>
                      </a:lnTo>
                      <a:lnTo>
                        <a:pt x="1057" y="983"/>
                      </a:lnTo>
                      <a:lnTo>
                        <a:pt x="1056" y="983"/>
                      </a:lnTo>
                      <a:lnTo>
                        <a:pt x="1057" y="984"/>
                      </a:lnTo>
                      <a:lnTo>
                        <a:pt x="1057" y="986"/>
                      </a:lnTo>
                      <a:lnTo>
                        <a:pt x="1057" y="987"/>
                      </a:lnTo>
                      <a:lnTo>
                        <a:pt x="1057" y="986"/>
                      </a:lnTo>
                      <a:lnTo>
                        <a:pt x="1058" y="986"/>
                      </a:lnTo>
                      <a:lnTo>
                        <a:pt x="1057" y="986"/>
                      </a:lnTo>
                      <a:lnTo>
                        <a:pt x="1057" y="984"/>
                      </a:lnTo>
                      <a:lnTo>
                        <a:pt x="1058" y="984"/>
                      </a:lnTo>
                      <a:lnTo>
                        <a:pt x="1058" y="983"/>
                      </a:lnTo>
                      <a:lnTo>
                        <a:pt x="1058" y="982"/>
                      </a:lnTo>
                      <a:lnTo>
                        <a:pt x="1059" y="982"/>
                      </a:lnTo>
                      <a:lnTo>
                        <a:pt x="1058" y="982"/>
                      </a:lnTo>
                      <a:lnTo>
                        <a:pt x="1058" y="983"/>
                      </a:lnTo>
                      <a:lnTo>
                        <a:pt x="1058" y="982"/>
                      </a:lnTo>
                      <a:lnTo>
                        <a:pt x="1058" y="983"/>
                      </a:lnTo>
                      <a:lnTo>
                        <a:pt x="1059" y="983"/>
                      </a:lnTo>
                      <a:lnTo>
                        <a:pt x="1058" y="983"/>
                      </a:lnTo>
                      <a:lnTo>
                        <a:pt x="1058" y="984"/>
                      </a:lnTo>
                      <a:lnTo>
                        <a:pt x="1059" y="984"/>
                      </a:lnTo>
                      <a:lnTo>
                        <a:pt x="1058" y="984"/>
                      </a:lnTo>
                      <a:lnTo>
                        <a:pt x="1058" y="986"/>
                      </a:lnTo>
                      <a:lnTo>
                        <a:pt x="1058" y="987"/>
                      </a:lnTo>
                      <a:lnTo>
                        <a:pt x="1059" y="987"/>
                      </a:lnTo>
                      <a:lnTo>
                        <a:pt x="1061" y="984"/>
                      </a:lnTo>
                      <a:lnTo>
                        <a:pt x="1061" y="986"/>
                      </a:lnTo>
                      <a:lnTo>
                        <a:pt x="1063" y="984"/>
                      </a:lnTo>
                      <a:lnTo>
                        <a:pt x="1063" y="986"/>
                      </a:lnTo>
                      <a:lnTo>
                        <a:pt x="1061" y="986"/>
                      </a:lnTo>
                      <a:lnTo>
                        <a:pt x="1063" y="986"/>
                      </a:lnTo>
                      <a:lnTo>
                        <a:pt x="1061" y="986"/>
                      </a:lnTo>
                      <a:lnTo>
                        <a:pt x="1060" y="986"/>
                      </a:lnTo>
                      <a:lnTo>
                        <a:pt x="1061" y="986"/>
                      </a:lnTo>
                      <a:lnTo>
                        <a:pt x="1060" y="986"/>
                      </a:lnTo>
                      <a:lnTo>
                        <a:pt x="1059" y="986"/>
                      </a:lnTo>
                      <a:lnTo>
                        <a:pt x="1059" y="987"/>
                      </a:lnTo>
                      <a:lnTo>
                        <a:pt x="1060" y="986"/>
                      </a:lnTo>
                      <a:lnTo>
                        <a:pt x="1060" y="987"/>
                      </a:lnTo>
                      <a:lnTo>
                        <a:pt x="1060" y="986"/>
                      </a:lnTo>
                      <a:lnTo>
                        <a:pt x="1060" y="987"/>
                      </a:lnTo>
                      <a:lnTo>
                        <a:pt x="1059" y="987"/>
                      </a:lnTo>
                      <a:lnTo>
                        <a:pt x="1058" y="988"/>
                      </a:lnTo>
                      <a:lnTo>
                        <a:pt x="1059" y="988"/>
                      </a:lnTo>
                      <a:lnTo>
                        <a:pt x="1059" y="987"/>
                      </a:lnTo>
                      <a:lnTo>
                        <a:pt x="1060" y="987"/>
                      </a:lnTo>
                      <a:lnTo>
                        <a:pt x="1061" y="987"/>
                      </a:lnTo>
                      <a:lnTo>
                        <a:pt x="1060" y="987"/>
                      </a:lnTo>
                      <a:lnTo>
                        <a:pt x="1060" y="988"/>
                      </a:lnTo>
                      <a:lnTo>
                        <a:pt x="1059" y="988"/>
                      </a:lnTo>
                      <a:lnTo>
                        <a:pt x="1059" y="989"/>
                      </a:lnTo>
                      <a:lnTo>
                        <a:pt x="1059" y="988"/>
                      </a:lnTo>
                      <a:lnTo>
                        <a:pt x="1060" y="988"/>
                      </a:lnTo>
                      <a:lnTo>
                        <a:pt x="1061" y="988"/>
                      </a:lnTo>
                      <a:lnTo>
                        <a:pt x="1063" y="988"/>
                      </a:lnTo>
                      <a:lnTo>
                        <a:pt x="1063" y="987"/>
                      </a:lnTo>
                      <a:lnTo>
                        <a:pt x="1061" y="987"/>
                      </a:lnTo>
                      <a:lnTo>
                        <a:pt x="1061" y="988"/>
                      </a:lnTo>
                      <a:lnTo>
                        <a:pt x="1061" y="987"/>
                      </a:lnTo>
                      <a:lnTo>
                        <a:pt x="1063" y="987"/>
                      </a:lnTo>
                      <a:lnTo>
                        <a:pt x="1064" y="987"/>
                      </a:lnTo>
                      <a:lnTo>
                        <a:pt x="1063" y="987"/>
                      </a:lnTo>
                      <a:lnTo>
                        <a:pt x="1064" y="987"/>
                      </a:lnTo>
                      <a:lnTo>
                        <a:pt x="1063" y="988"/>
                      </a:lnTo>
                      <a:lnTo>
                        <a:pt x="1061" y="989"/>
                      </a:lnTo>
                      <a:lnTo>
                        <a:pt x="1061" y="990"/>
                      </a:lnTo>
                      <a:lnTo>
                        <a:pt x="1060" y="990"/>
                      </a:lnTo>
                      <a:lnTo>
                        <a:pt x="1056" y="990"/>
                      </a:lnTo>
                      <a:lnTo>
                        <a:pt x="1056" y="989"/>
                      </a:lnTo>
                      <a:lnTo>
                        <a:pt x="1056" y="988"/>
                      </a:lnTo>
                      <a:lnTo>
                        <a:pt x="1056" y="984"/>
                      </a:lnTo>
                      <a:lnTo>
                        <a:pt x="1056" y="983"/>
                      </a:lnTo>
                      <a:lnTo>
                        <a:pt x="1056" y="982"/>
                      </a:lnTo>
                      <a:lnTo>
                        <a:pt x="1058" y="982"/>
                      </a:lnTo>
                      <a:lnTo>
                        <a:pt x="1057" y="982"/>
                      </a:lnTo>
                      <a:close/>
                      <a:moveTo>
                        <a:pt x="1363" y="1170"/>
                      </a:moveTo>
                      <a:lnTo>
                        <a:pt x="1363" y="1171"/>
                      </a:lnTo>
                      <a:lnTo>
                        <a:pt x="1364" y="1172"/>
                      </a:lnTo>
                      <a:lnTo>
                        <a:pt x="1363" y="1172"/>
                      </a:lnTo>
                      <a:lnTo>
                        <a:pt x="1363" y="1171"/>
                      </a:lnTo>
                      <a:lnTo>
                        <a:pt x="1362" y="1171"/>
                      </a:lnTo>
                      <a:lnTo>
                        <a:pt x="1361" y="1171"/>
                      </a:lnTo>
                      <a:lnTo>
                        <a:pt x="1360" y="1171"/>
                      </a:lnTo>
                      <a:lnTo>
                        <a:pt x="1360" y="1170"/>
                      </a:lnTo>
                      <a:lnTo>
                        <a:pt x="1358" y="1170"/>
                      </a:lnTo>
                      <a:lnTo>
                        <a:pt x="1358" y="1171"/>
                      </a:lnTo>
                      <a:lnTo>
                        <a:pt x="1357" y="1171"/>
                      </a:lnTo>
                      <a:lnTo>
                        <a:pt x="1357" y="1172"/>
                      </a:lnTo>
                      <a:lnTo>
                        <a:pt x="1357" y="1173"/>
                      </a:lnTo>
                      <a:lnTo>
                        <a:pt x="1356" y="1173"/>
                      </a:lnTo>
                      <a:lnTo>
                        <a:pt x="1355" y="1173"/>
                      </a:lnTo>
                      <a:lnTo>
                        <a:pt x="1355" y="1174"/>
                      </a:lnTo>
                      <a:lnTo>
                        <a:pt x="1354" y="1174"/>
                      </a:lnTo>
                      <a:lnTo>
                        <a:pt x="1353" y="1174"/>
                      </a:lnTo>
                      <a:lnTo>
                        <a:pt x="1353" y="1172"/>
                      </a:lnTo>
                      <a:lnTo>
                        <a:pt x="1353" y="1171"/>
                      </a:lnTo>
                      <a:lnTo>
                        <a:pt x="1353" y="1170"/>
                      </a:lnTo>
                      <a:lnTo>
                        <a:pt x="1355" y="1170"/>
                      </a:lnTo>
                      <a:lnTo>
                        <a:pt x="1356" y="1170"/>
                      </a:lnTo>
                      <a:lnTo>
                        <a:pt x="1357" y="1170"/>
                      </a:lnTo>
                      <a:lnTo>
                        <a:pt x="1357" y="1169"/>
                      </a:lnTo>
                      <a:lnTo>
                        <a:pt x="1358" y="1169"/>
                      </a:lnTo>
                      <a:lnTo>
                        <a:pt x="1360" y="1168"/>
                      </a:lnTo>
                      <a:lnTo>
                        <a:pt x="1361" y="1169"/>
                      </a:lnTo>
                      <a:lnTo>
                        <a:pt x="1362" y="1170"/>
                      </a:lnTo>
                      <a:lnTo>
                        <a:pt x="1363" y="1170"/>
                      </a:lnTo>
                      <a:close/>
                      <a:moveTo>
                        <a:pt x="1324" y="1047"/>
                      </a:moveTo>
                      <a:lnTo>
                        <a:pt x="1325" y="1047"/>
                      </a:lnTo>
                      <a:lnTo>
                        <a:pt x="1330" y="1047"/>
                      </a:lnTo>
                      <a:lnTo>
                        <a:pt x="1331" y="1047"/>
                      </a:lnTo>
                      <a:lnTo>
                        <a:pt x="1332" y="1047"/>
                      </a:lnTo>
                      <a:lnTo>
                        <a:pt x="1332" y="1048"/>
                      </a:lnTo>
                      <a:lnTo>
                        <a:pt x="1331" y="1048"/>
                      </a:lnTo>
                      <a:lnTo>
                        <a:pt x="1330" y="1050"/>
                      </a:lnTo>
                      <a:lnTo>
                        <a:pt x="1330" y="1051"/>
                      </a:lnTo>
                      <a:lnTo>
                        <a:pt x="1329" y="1052"/>
                      </a:lnTo>
                      <a:lnTo>
                        <a:pt x="1328" y="1053"/>
                      </a:lnTo>
                      <a:lnTo>
                        <a:pt x="1328" y="1052"/>
                      </a:lnTo>
                      <a:lnTo>
                        <a:pt x="1327" y="1052"/>
                      </a:lnTo>
                      <a:lnTo>
                        <a:pt x="1327" y="1051"/>
                      </a:lnTo>
                      <a:lnTo>
                        <a:pt x="1327" y="1050"/>
                      </a:lnTo>
                      <a:lnTo>
                        <a:pt x="1327" y="1051"/>
                      </a:lnTo>
                      <a:lnTo>
                        <a:pt x="1326" y="1051"/>
                      </a:lnTo>
                      <a:lnTo>
                        <a:pt x="1326" y="1050"/>
                      </a:lnTo>
                      <a:lnTo>
                        <a:pt x="1325" y="1050"/>
                      </a:lnTo>
                      <a:lnTo>
                        <a:pt x="1326" y="1050"/>
                      </a:lnTo>
                      <a:lnTo>
                        <a:pt x="1326" y="1048"/>
                      </a:lnTo>
                      <a:lnTo>
                        <a:pt x="1325" y="1047"/>
                      </a:lnTo>
                      <a:lnTo>
                        <a:pt x="1324" y="1047"/>
                      </a:lnTo>
                      <a:lnTo>
                        <a:pt x="1325" y="1048"/>
                      </a:lnTo>
                      <a:lnTo>
                        <a:pt x="1324" y="1048"/>
                      </a:lnTo>
                      <a:lnTo>
                        <a:pt x="1323" y="1048"/>
                      </a:lnTo>
                      <a:lnTo>
                        <a:pt x="1322" y="1047"/>
                      </a:lnTo>
                      <a:lnTo>
                        <a:pt x="1322" y="1046"/>
                      </a:lnTo>
                      <a:lnTo>
                        <a:pt x="1323" y="1046"/>
                      </a:lnTo>
                      <a:lnTo>
                        <a:pt x="1324" y="1047"/>
                      </a:lnTo>
                      <a:close/>
                      <a:moveTo>
                        <a:pt x="1295" y="1233"/>
                      </a:moveTo>
                      <a:lnTo>
                        <a:pt x="1295" y="1235"/>
                      </a:lnTo>
                      <a:lnTo>
                        <a:pt x="1295" y="1236"/>
                      </a:lnTo>
                      <a:lnTo>
                        <a:pt x="1295" y="1237"/>
                      </a:lnTo>
                      <a:lnTo>
                        <a:pt x="1295" y="1238"/>
                      </a:lnTo>
                      <a:lnTo>
                        <a:pt x="1293" y="1238"/>
                      </a:lnTo>
                      <a:lnTo>
                        <a:pt x="1295" y="1237"/>
                      </a:lnTo>
                      <a:lnTo>
                        <a:pt x="1293" y="1237"/>
                      </a:lnTo>
                      <a:lnTo>
                        <a:pt x="1293" y="1238"/>
                      </a:lnTo>
                      <a:lnTo>
                        <a:pt x="1292" y="1238"/>
                      </a:lnTo>
                      <a:lnTo>
                        <a:pt x="1291" y="1238"/>
                      </a:lnTo>
                      <a:lnTo>
                        <a:pt x="1292" y="1238"/>
                      </a:lnTo>
                      <a:lnTo>
                        <a:pt x="1292" y="1239"/>
                      </a:lnTo>
                      <a:lnTo>
                        <a:pt x="1292" y="1238"/>
                      </a:lnTo>
                      <a:lnTo>
                        <a:pt x="1293" y="1239"/>
                      </a:lnTo>
                      <a:lnTo>
                        <a:pt x="1292" y="1239"/>
                      </a:lnTo>
                      <a:lnTo>
                        <a:pt x="1292" y="1240"/>
                      </a:lnTo>
                      <a:lnTo>
                        <a:pt x="1291" y="1240"/>
                      </a:lnTo>
                      <a:lnTo>
                        <a:pt x="1290" y="1239"/>
                      </a:lnTo>
                      <a:lnTo>
                        <a:pt x="1290" y="1240"/>
                      </a:lnTo>
                      <a:lnTo>
                        <a:pt x="1291" y="1240"/>
                      </a:lnTo>
                      <a:lnTo>
                        <a:pt x="1291" y="1241"/>
                      </a:lnTo>
                      <a:lnTo>
                        <a:pt x="1290" y="1241"/>
                      </a:lnTo>
                      <a:lnTo>
                        <a:pt x="1291" y="1241"/>
                      </a:lnTo>
                      <a:lnTo>
                        <a:pt x="1291" y="1243"/>
                      </a:lnTo>
                      <a:lnTo>
                        <a:pt x="1290" y="1244"/>
                      </a:lnTo>
                      <a:lnTo>
                        <a:pt x="1290" y="1245"/>
                      </a:lnTo>
                      <a:lnTo>
                        <a:pt x="1290" y="1244"/>
                      </a:lnTo>
                      <a:lnTo>
                        <a:pt x="1290" y="1243"/>
                      </a:lnTo>
                      <a:lnTo>
                        <a:pt x="1291" y="1243"/>
                      </a:lnTo>
                      <a:lnTo>
                        <a:pt x="1290" y="1243"/>
                      </a:lnTo>
                      <a:lnTo>
                        <a:pt x="1290" y="1241"/>
                      </a:lnTo>
                      <a:lnTo>
                        <a:pt x="1289" y="1241"/>
                      </a:lnTo>
                      <a:lnTo>
                        <a:pt x="1289" y="1243"/>
                      </a:lnTo>
                      <a:lnTo>
                        <a:pt x="1289" y="1241"/>
                      </a:lnTo>
                      <a:lnTo>
                        <a:pt x="1288" y="1241"/>
                      </a:lnTo>
                      <a:lnTo>
                        <a:pt x="1288" y="1240"/>
                      </a:lnTo>
                      <a:lnTo>
                        <a:pt x="1289" y="1239"/>
                      </a:lnTo>
                      <a:lnTo>
                        <a:pt x="1290" y="1238"/>
                      </a:lnTo>
                      <a:lnTo>
                        <a:pt x="1290" y="1237"/>
                      </a:lnTo>
                      <a:lnTo>
                        <a:pt x="1291" y="1237"/>
                      </a:lnTo>
                      <a:lnTo>
                        <a:pt x="1292" y="1236"/>
                      </a:lnTo>
                      <a:lnTo>
                        <a:pt x="1291" y="1235"/>
                      </a:lnTo>
                      <a:lnTo>
                        <a:pt x="1292" y="1235"/>
                      </a:lnTo>
                      <a:lnTo>
                        <a:pt x="1292" y="1234"/>
                      </a:lnTo>
                      <a:lnTo>
                        <a:pt x="1293" y="1233"/>
                      </a:lnTo>
                      <a:lnTo>
                        <a:pt x="1295" y="1233"/>
                      </a:lnTo>
                      <a:close/>
                      <a:moveTo>
                        <a:pt x="1155" y="970"/>
                      </a:moveTo>
                      <a:lnTo>
                        <a:pt x="1156" y="970"/>
                      </a:lnTo>
                      <a:lnTo>
                        <a:pt x="1157" y="970"/>
                      </a:lnTo>
                      <a:lnTo>
                        <a:pt x="1157" y="971"/>
                      </a:lnTo>
                      <a:lnTo>
                        <a:pt x="1156" y="971"/>
                      </a:lnTo>
                      <a:lnTo>
                        <a:pt x="1157" y="973"/>
                      </a:lnTo>
                      <a:lnTo>
                        <a:pt x="1157" y="974"/>
                      </a:lnTo>
                      <a:lnTo>
                        <a:pt x="1156" y="974"/>
                      </a:lnTo>
                      <a:lnTo>
                        <a:pt x="1155" y="974"/>
                      </a:lnTo>
                      <a:lnTo>
                        <a:pt x="1154" y="974"/>
                      </a:lnTo>
                      <a:lnTo>
                        <a:pt x="1154" y="975"/>
                      </a:lnTo>
                      <a:lnTo>
                        <a:pt x="1154" y="974"/>
                      </a:lnTo>
                      <a:lnTo>
                        <a:pt x="1153" y="974"/>
                      </a:lnTo>
                      <a:lnTo>
                        <a:pt x="1151" y="974"/>
                      </a:lnTo>
                      <a:lnTo>
                        <a:pt x="1150" y="974"/>
                      </a:lnTo>
                      <a:lnTo>
                        <a:pt x="1150" y="973"/>
                      </a:lnTo>
                      <a:lnTo>
                        <a:pt x="1149" y="973"/>
                      </a:lnTo>
                      <a:lnTo>
                        <a:pt x="1149" y="971"/>
                      </a:lnTo>
                      <a:lnTo>
                        <a:pt x="1148" y="971"/>
                      </a:lnTo>
                      <a:lnTo>
                        <a:pt x="1148" y="973"/>
                      </a:lnTo>
                      <a:lnTo>
                        <a:pt x="1148" y="971"/>
                      </a:lnTo>
                      <a:lnTo>
                        <a:pt x="1149" y="971"/>
                      </a:lnTo>
                      <a:lnTo>
                        <a:pt x="1149" y="970"/>
                      </a:lnTo>
                      <a:lnTo>
                        <a:pt x="1149" y="969"/>
                      </a:lnTo>
                      <a:lnTo>
                        <a:pt x="1150" y="969"/>
                      </a:lnTo>
                      <a:lnTo>
                        <a:pt x="1151" y="969"/>
                      </a:lnTo>
                      <a:lnTo>
                        <a:pt x="1153" y="969"/>
                      </a:lnTo>
                      <a:lnTo>
                        <a:pt x="1153" y="970"/>
                      </a:lnTo>
                      <a:lnTo>
                        <a:pt x="1154" y="970"/>
                      </a:lnTo>
                      <a:lnTo>
                        <a:pt x="1155" y="970"/>
                      </a:lnTo>
                      <a:close/>
                      <a:moveTo>
                        <a:pt x="1424" y="1011"/>
                      </a:moveTo>
                      <a:lnTo>
                        <a:pt x="1425" y="1011"/>
                      </a:lnTo>
                      <a:lnTo>
                        <a:pt x="1424" y="1011"/>
                      </a:lnTo>
                      <a:lnTo>
                        <a:pt x="1424" y="1009"/>
                      </a:lnTo>
                      <a:lnTo>
                        <a:pt x="1425" y="1011"/>
                      </a:lnTo>
                      <a:lnTo>
                        <a:pt x="1426" y="1011"/>
                      </a:lnTo>
                      <a:lnTo>
                        <a:pt x="1425" y="1011"/>
                      </a:lnTo>
                      <a:lnTo>
                        <a:pt x="1424" y="1012"/>
                      </a:lnTo>
                      <a:lnTo>
                        <a:pt x="1424" y="1013"/>
                      </a:lnTo>
                      <a:lnTo>
                        <a:pt x="1422" y="1013"/>
                      </a:lnTo>
                      <a:lnTo>
                        <a:pt x="1421" y="1014"/>
                      </a:lnTo>
                      <a:lnTo>
                        <a:pt x="1420" y="1015"/>
                      </a:lnTo>
                      <a:lnTo>
                        <a:pt x="1420" y="1016"/>
                      </a:lnTo>
                      <a:lnTo>
                        <a:pt x="1419" y="1016"/>
                      </a:lnTo>
                      <a:lnTo>
                        <a:pt x="1419" y="1017"/>
                      </a:lnTo>
                      <a:lnTo>
                        <a:pt x="1419" y="1018"/>
                      </a:lnTo>
                      <a:lnTo>
                        <a:pt x="1419" y="1019"/>
                      </a:lnTo>
                      <a:lnTo>
                        <a:pt x="1419" y="1020"/>
                      </a:lnTo>
                      <a:lnTo>
                        <a:pt x="1418" y="1021"/>
                      </a:lnTo>
                      <a:lnTo>
                        <a:pt x="1418" y="1022"/>
                      </a:lnTo>
                      <a:lnTo>
                        <a:pt x="1418" y="1024"/>
                      </a:lnTo>
                      <a:lnTo>
                        <a:pt x="1417" y="1024"/>
                      </a:lnTo>
                      <a:lnTo>
                        <a:pt x="1417" y="1022"/>
                      </a:lnTo>
                      <a:lnTo>
                        <a:pt x="1417" y="1021"/>
                      </a:lnTo>
                      <a:lnTo>
                        <a:pt x="1418" y="1021"/>
                      </a:lnTo>
                      <a:lnTo>
                        <a:pt x="1418" y="1020"/>
                      </a:lnTo>
                      <a:lnTo>
                        <a:pt x="1418" y="1019"/>
                      </a:lnTo>
                      <a:lnTo>
                        <a:pt x="1417" y="1019"/>
                      </a:lnTo>
                      <a:lnTo>
                        <a:pt x="1417" y="1018"/>
                      </a:lnTo>
                      <a:lnTo>
                        <a:pt x="1417" y="1017"/>
                      </a:lnTo>
                      <a:lnTo>
                        <a:pt x="1418" y="1016"/>
                      </a:lnTo>
                      <a:lnTo>
                        <a:pt x="1418" y="1015"/>
                      </a:lnTo>
                      <a:lnTo>
                        <a:pt x="1419" y="1014"/>
                      </a:lnTo>
                      <a:lnTo>
                        <a:pt x="1420" y="1013"/>
                      </a:lnTo>
                      <a:lnTo>
                        <a:pt x="1420" y="1012"/>
                      </a:lnTo>
                      <a:lnTo>
                        <a:pt x="1422" y="1011"/>
                      </a:lnTo>
                      <a:lnTo>
                        <a:pt x="1424" y="1011"/>
                      </a:lnTo>
                      <a:lnTo>
                        <a:pt x="1424" y="1009"/>
                      </a:lnTo>
                      <a:lnTo>
                        <a:pt x="1424" y="1011"/>
                      </a:lnTo>
                      <a:close/>
                      <a:moveTo>
                        <a:pt x="980" y="890"/>
                      </a:moveTo>
                      <a:lnTo>
                        <a:pt x="981" y="890"/>
                      </a:lnTo>
                      <a:lnTo>
                        <a:pt x="981" y="891"/>
                      </a:lnTo>
                      <a:lnTo>
                        <a:pt x="981" y="892"/>
                      </a:lnTo>
                      <a:lnTo>
                        <a:pt x="982" y="892"/>
                      </a:lnTo>
                      <a:lnTo>
                        <a:pt x="981" y="892"/>
                      </a:lnTo>
                      <a:lnTo>
                        <a:pt x="980" y="892"/>
                      </a:lnTo>
                      <a:lnTo>
                        <a:pt x="981" y="892"/>
                      </a:lnTo>
                      <a:lnTo>
                        <a:pt x="981" y="893"/>
                      </a:lnTo>
                      <a:lnTo>
                        <a:pt x="982" y="893"/>
                      </a:lnTo>
                      <a:lnTo>
                        <a:pt x="981" y="893"/>
                      </a:lnTo>
                      <a:lnTo>
                        <a:pt x="980" y="893"/>
                      </a:lnTo>
                      <a:lnTo>
                        <a:pt x="979" y="893"/>
                      </a:lnTo>
                      <a:lnTo>
                        <a:pt x="978" y="893"/>
                      </a:lnTo>
                      <a:lnTo>
                        <a:pt x="978" y="894"/>
                      </a:lnTo>
                      <a:lnTo>
                        <a:pt x="977" y="894"/>
                      </a:lnTo>
                      <a:lnTo>
                        <a:pt x="976" y="894"/>
                      </a:lnTo>
                      <a:lnTo>
                        <a:pt x="977" y="894"/>
                      </a:lnTo>
                      <a:lnTo>
                        <a:pt x="977" y="893"/>
                      </a:lnTo>
                      <a:lnTo>
                        <a:pt x="977" y="892"/>
                      </a:lnTo>
                      <a:lnTo>
                        <a:pt x="976" y="892"/>
                      </a:lnTo>
                      <a:lnTo>
                        <a:pt x="977" y="892"/>
                      </a:lnTo>
                      <a:lnTo>
                        <a:pt x="977" y="891"/>
                      </a:lnTo>
                      <a:lnTo>
                        <a:pt x="977" y="892"/>
                      </a:lnTo>
                      <a:lnTo>
                        <a:pt x="977" y="891"/>
                      </a:lnTo>
                      <a:lnTo>
                        <a:pt x="976" y="891"/>
                      </a:lnTo>
                      <a:lnTo>
                        <a:pt x="975" y="891"/>
                      </a:lnTo>
                      <a:lnTo>
                        <a:pt x="976" y="891"/>
                      </a:lnTo>
                      <a:lnTo>
                        <a:pt x="975" y="891"/>
                      </a:lnTo>
                      <a:lnTo>
                        <a:pt x="975" y="892"/>
                      </a:lnTo>
                      <a:lnTo>
                        <a:pt x="974" y="892"/>
                      </a:lnTo>
                      <a:lnTo>
                        <a:pt x="974" y="893"/>
                      </a:lnTo>
                      <a:lnTo>
                        <a:pt x="974" y="894"/>
                      </a:lnTo>
                      <a:lnTo>
                        <a:pt x="973" y="894"/>
                      </a:lnTo>
                      <a:lnTo>
                        <a:pt x="973" y="893"/>
                      </a:lnTo>
                      <a:lnTo>
                        <a:pt x="973" y="892"/>
                      </a:lnTo>
                      <a:lnTo>
                        <a:pt x="974" y="892"/>
                      </a:lnTo>
                      <a:lnTo>
                        <a:pt x="974" y="891"/>
                      </a:lnTo>
                      <a:lnTo>
                        <a:pt x="975" y="891"/>
                      </a:lnTo>
                      <a:lnTo>
                        <a:pt x="975" y="890"/>
                      </a:lnTo>
                      <a:lnTo>
                        <a:pt x="976" y="890"/>
                      </a:lnTo>
                      <a:lnTo>
                        <a:pt x="977" y="890"/>
                      </a:lnTo>
                      <a:lnTo>
                        <a:pt x="978" y="890"/>
                      </a:lnTo>
                      <a:lnTo>
                        <a:pt x="978" y="889"/>
                      </a:lnTo>
                      <a:lnTo>
                        <a:pt x="979" y="890"/>
                      </a:lnTo>
                      <a:lnTo>
                        <a:pt x="980" y="890"/>
                      </a:lnTo>
                      <a:close/>
                      <a:moveTo>
                        <a:pt x="1446" y="1034"/>
                      </a:moveTo>
                      <a:lnTo>
                        <a:pt x="1446" y="1035"/>
                      </a:lnTo>
                      <a:lnTo>
                        <a:pt x="1447" y="1035"/>
                      </a:lnTo>
                      <a:lnTo>
                        <a:pt x="1447" y="1034"/>
                      </a:lnTo>
                      <a:lnTo>
                        <a:pt x="1446" y="1034"/>
                      </a:lnTo>
                      <a:lnTo>
                        <a:pt x="1447" y="1034"/>
                      </a:lnTo>
                      <a:lnTo>
                        <a:pt x="1448" y="1034"/>
                      </a:lnTo>
                      <a:lnTo>
                        <a:pt x="1448" y="1035"/>
                      </a:lnTo>
                      <a:lnTo>
                        <a:pt x="1447" y="1035"/>
                      </a:lnTo>
                      <a:lnTo>
                        <a:pt x="1447" y="1037"/>
                      </a:lnTo>
                      <a:lnTo>
                        <a:pt x="1446" y="1037"/>
                      </a:lnTo>
                      <a:lnTo>
                        <a:pt x="1446" y="1038"/>
                      </a:lnTo>
                      <a:lnTo>
                        <a:pt x="1445" y="1038"/>
                      </a:lnTo>
                      <a:lnTo>
                        <a:pt x="1445" y="1039"/>
                      </a:lnTo>
                      <a:lnTo>
                        <a:pt x="1444" y="1039"/>
                      </a:lnTo>
                      <a:lnTo>
                        <a:pt x="1444" y="1040"/>
                      </a:lnTo>
                      <a:lnTo>
                        <a:pt x="1443" y="1040"/>
                      </a:lnTo>
                      <a:lnTo>
                        <a:pt x="1442" y="1040"/>
                      </a:lnTo>
                      <a:lnTo>
                        <a:pt x="1441" y="1040"/>
                      </a:lnTo>
                      <a:lnTo>
                        <a:pt x="1441" y="1041"/>
                      </a:lnTo>
                      <a:lnTo>
                        <a:pt x="1439" y="1041"/>
                      </a:lnTo>
                      <a:lnTo>
                        <a:pt x="1437" y="1041"/>
                      </a:lnTo>
                      <a:lnTo>
                        <a:pt x="1434" y="1041"/>
                      </a:lnTo>
                      <a:lnTo>
                        <a:pt x="1433" y="1041"/>
                      </a:lnTo>
                      <a:lnTo>
                        <a:pt x="1433" y="1040"/>
                      </a:lnTo>
                      <a:lnTo>
                        <a:pt x="1433" y="1039"/>
                      </a:lnTo>
                      <a:lnTo>
                        <a:pt x="1433" y="1040"/>
                      </a:lnTo>
                      <a:lnTo>
                        <a:pt x="1434" y="1040"/>
                      </a:lnTo>
                      <a:lnTo>
                        <a:pt x="1435" y="1040"/>
                      </a:lnTo>
                      <a:lnTo>
                        <a:pt x="1437" y="1040"/>
                      </a:lnTo>
                      <a:lnTo>
                        <a:pt x="1437" y="1039"/>
                      </a:lnTo>
                      <a:lnTo>
                        <a:pt x="1438" y="1039"/>
                      </a:lnTo>
                      <a:lnTo>
                        <a:pt x="1438" y="1040"/>
                      </a:lnTo>
                      <a:lnTo>
                        <a:pt x="1439" y="1040"/>
                      </a:lnTo>
                      <a:lnTo>
                        <a:pt x="1439" y="1039"/>
                      </a:lnTo>
                      <a:lnTo>
                        <a:pt x="1438" y="1039"/>
                      </a:lnTo>
                      <a:lnTo>
                        <a:pt x="1439" y="1039"/>
                      </a:lnTo>
                      <a:lnTo>
                        <a:pt x="1438" y="1038"/>
                      </a:lnTo>
                      <a:lnTo>
                        <a:pt x="1439" y="1038"/>
                      </a:lnTo>
                      <a:lnTo>
                        <a:pt x="1439" y="1039"/>
                      </a:lnTo>
                      <a:lnTo>
                        <a:pt x="1440" y="1039"/>
                      </a:lnTo>
                      <a:lnTo>
                        <a:pt x="1439" y="1039"/>
                      </a:lnTo>
                      <a:lnTo>
                        <a:pt x="1439" y="1040"/>
                      </a:lnTo>
                      <a:lnTo>
                        <a:pt x="1440" y="1040"/>
                      </a:lnTo>
                      <a:lnTo>
                        <a:pt x="1440" y="1039"/>
                      </a:lnTo>
                      <a:lnTo>
                        <a:pt x="1441" y="1040"/>
                      </a:lnTo>
                      <a:lnTo>
                        <a:pt x="1441" y="1039"/>
                      </a:lnTo>
                      <a:lnTo>
                        <a:pt x="1441" y="1040"/>
                      </a:lnTo>
                      <a:lnTo>
                        <a:pt x="1441" y="1039"/>
                      </a:lnTo>
                      <a:lnTo>
                        <a:pt x="1441" y="1040"/>
                      </a:lnTo>
                      <a:lnTo>
                        <a:pt x="1441" y="1039"/>
                      </a:lnTo>
                      <a:lnTo>
                        <a:pt x="1442" y="1039"/>
                      </a:lnTo>
                      <a:lnTo>
                        <a:pt x="1442" y="1038"/>
                      </a:lnTo>
                      <a:lnTo>
                        <a:pt x="1443" y="1038"/>
                      </a:lnTo>
                      <a:lnTo>
                        <a:pt x="1442" y="1038"/>
                      </a:lnTo>
                      <a:lnTo>
                        <a:pt x="1443" y="1038"/>
                      </a:lnTo>
                      <a:lnTo>
                        <a:pt x="1443" y="1037"/>
                      </a:lnTo>
                      <a:lnTo>
                        <a:pt x="1443" y="1038"/>
                      </a:lnTo>
                      <a:lnTo>
                        <a:pt x="1443" y="1037"/>
                      </a:lnTo>
                      <a:lnTo>
                        <a:pt x="1443" y="1038"/>
                      </a:lnTo>
                      <a:lnTo>
                        <a:pt x="1443" y="1037"/>
                      </a:lnTo>
                      <a:lnTo>
                        <a:pt x="1443" y="1038"/>
                      </a:lnTo>
                      <a:lnTo>
                        <a:pt x="1444" y="1038"/>
                      </a:lnTo>
                      <a:lnTo>
                        <a:pt x="1444" y="1037"/>
                      </a:lnTo>
                      <a:lnTo>
                        <a:pt x="1443" y="1037"/>
                      </a:lnTo>
                      <a:lnTo>
                        <a:pt x="1444" y="1037"/>
                      </a:lnTo>
                      <a:lnTo>
                        <a:pt x="1444" y="1035"/>
                      </a:lnTo>
                      <a:lnTo>
                        <a:pt x="1444" y="1037"/>
                      </a:lnTo>
                      <a:lnTo>
                        <a:pt x="1445" y="1037"/>
                      </a:lnTo>
                      <a:lnTo>
                        <a:pt x="1446" y="1037"/>
                      </a:lnTo>
                      <a:lnTo>
                        <a:pt x="1446" y="1035"/>
                      </a:lnTo>
                      <a:lnTo>
                        <a:pt x="1445" y="1035"/>
                      </a:lnTo>
                      <a:lnTo>
                        <a:pt x="1445" y="1034"/>
                      </a:lnTo>
                      <a:lnTo>
                        <a:pt x="1446" y="1034"/>
                      </a:lnTo>
                      <a:close/>
                      <a:moveTo>
                        <a:pt x="950" y="897"/>
                      </a:moveTo>
                      <a:lnTo>
                        <a:pt x="951" y="897"/>
                      </a:lnTo>
                      <a:lnTo>
                        <a:pt x="950" y="898"/>
                      </a:lnTo>
                      <a:lnTo>
                        <a:pt x="950" y="899"/>
                      </a:lnTo>
                      <a:lnTo>
                        <a:pt x="949" y="899"/>
                      </a:lnTo>
                      <a:lnTo>
                        <a:pt x="949" y="900"/>
                      </a:lnTo>
                      <a:lnTo>
                        <a:pt x="949" y="901"/>
                      </a:lnTo>
                      <a:lnTo>
                        <a:pt x="949" y="900"/>
                      </a:lnTo>
                      <a:lnTo>
                        <a:pt x="949" y="899"/>
                      </a:lnTo>
                      <a:lnTo>
                        <a:pt x="950" y="899"/>
                      </a:lnTo>
                      <a:lnTo>
                        <a:pt x="950" y="900"/>
                      </a:lnTo>
                      <a:lnTo>
                        <a:pt x="950" y="901"/>
                      </a:lnTo>
                      <a:lnTo>
                        <a:pt x="951" y="901"/>
                      </a:lnTo>
                      <a:lnTo>
                        <a:pt x="951" y="902"/>
                      </a:lnTo>
                      <a:lnTo>
                        <a:pt x="951" y="903"/>
                      </a:lnTo>
                      <a:lnTo>
                        <a:pt x="951" y="902"/>
                      </a:lnTo>
                      <a:lnTo>
                        <a:pt x="952" y="902"/>
                      </a:lnTo>
                      <a:lnTo>
                        <a:pt x="953" y="902"/>
                      </a:lnTo>
                      <a:lnTo>
                        <a:pt x="953" y="901"/>
                      </a:lnTo>
                      <a:lnTo>
                        <a:pt x="953" y="900"/>
                      </a:lnTo>
                      <a:lnTo>
                        <a:pt x="953" y="899"/>
                      </a:lnTo>
                      <a:lnTo>
                        <a:pt x="952" y="899"/>
                      </a:lnTo>
                      <a:lnTo>
                        <a:pt x="952" y="898"/>
                      </a:lnTo>
                      <a:lnTo>
                        <a:pt x="953" y="899"/>
                      </a:lnTo>
                      <a:lnTo>
                        <a:pt x="954" y="899"/>
                      </a:lnTo>
                      <a:lnTo>
                        <a:pt x="954" y="900"/>
                      </a:lnTo>
                      <a:lnTo>
                        <a:pt x="955" y="900"/>
                      </a:lnTo>
                      <a:lnTo>
                        <a:pt x="955" y="899"/>
                      </a:lnTo>
                      <a:lnTo>
                        <a:pt x="956" y="899"/>
                      </a:lnTo>
                      <a:lnTo>
                        <a:pt x="957" y="899"/>
                      </a:lnTo>
                      <a:lnTo>
                        <a:pt x="957" y="898"/>
                      </a:lnTo>
                      <a:lnTo>
                        <a:pt x="958" y="898"/>
                      </a:lnTo>
                      <a:lnTo>
                        <a:pt x="958" y="899"/>
                      </a:lnTo>
                      <a:lnTo>
                        <a:pt x="960" y="899"/>
                      </a:lnTo>
                      <a:lnTo>
                        <a:pt x="958" y="899"/>
                      </a:lnTo>
                      <a:lnTo>
                        <a:pt x="958" y="900"/>
                      </a:lnTo>
                      <a:lnTo>
                        <a:pt x="956" y="900"/>
                      </a:lnTo>
                      <a:lnTo>
                        <a:pt x="955" y="900"/>
                      </a:lnTo>
                      <a:lnTo>
                        <a:pt x="955" y="901"/>
                      </a:lnTo>
                      <a:lnTo>
                        <a:pt x="954" y="901"/>
                      </a:lnTo>
                      <a:lnTo>
                        <a:pt x="954" y="902"/>
                      </a:lnTo>
                      <a:lnTo>
                        <a:pt x="953" y="902"/>
                      </a:lnTo>
                      <a:lnTo>
                        <a:pt x="952" y="902"/>
                      </a:lnTo>
                      <a:lnTo>
                        <a:pt x="952" y="903"/>
                      </a:lnTo>
                      <a:lnTo>
                        <a:pt x="951" y="904"/>
                      </a:lnTo>
                      <a:lnTo>
                        <a:pt x="950" y="904"/>
                      </a:lnTo>
                      <a:lnTo>
                        <a:pt x="949" y="903"/>
                      </a:lnTo>
                      <a:lnTo>
                        <a:pt x="949" y="902"/>
                      </a:lnTo>
                      <a:lnTo>
                        <a:pt x="949" y="901"/>
                      </a:lnTo>
                      <a:lnTo>
                        <a:pt x="948" y="900"/>
                      </a:lnTo>
                      <a:lnTo>
                        <a:pt x="948" y="899"/>
                      </a:lnTo>
                      <a:lnTo>
                        <a:pt x="947" y="898"/>
                      </a:lnTo>
                      <a:lnTo>
                        <a:pt x="948" y="898"/>
                      </a:lnTo>
                      <a:lnTo>
                        <a:pt x="949" y="898"/>
                      </a:lnTo>
                      <a:lnTo>
                        <a:pt x="949" y="897"/>
                      </a:lnTo>
                      <a:lnTo>
                        <a:pt x="950" y="897"/>
                      </a:lnTo>
                      <a:close/>
                      <a:moveTo>
                        <a:pt x="1325" y="1053"/>
                      </a:moveTo>
                      <a:lnTo>
                        <a:pt x="1326" y="1053"/>
                      </a:lnTo>
                      <a:lnTo>
                        <a:pt x="1327" y="1052"/>
                      </a:lnTo>
                      <a:lnTo>
                        <a:pt x="1326" y="1052"/>
                      </a:lnTo>
                      <a:lnTo>
                        <a:pt x="1327" y="1052"/>
                      </a:lnTo>
                      <a:lnTo>
                        <a:pt x="1328" y="1052"/>
                      </a:lnTo>
                      <a:lnTo>
                        <a:pt x="1328" y="1053"/>
                      </a:lnTo>
                      <a:lnTo>
                        <a:pt x="1327" y="1054"/>
                      </a:lnTo>
                      <a:lnTo>
                        <a:pt x="1327" y="1055"/>
                      </a:lnTo>
                      <a:lnTo>
                        <a:pt x="1326" y="1055"/>
                      </a:lnTo>
                      <a:lnTo>
                        <a:pt x="1326" y="1056"/>
                      </a:lnTo>
                      <a:lnTo>
                        <a:pt x="1325" y="1056"/>
                      </a:lnTo>
                      <a:lnTo>
                        <a:pt x="1324" y="1056"/>
                      </a:lnTo>
                      <a:lnTo>
                        <a:pt x="1324" y="1055"/>
                      </a:lnTo>
                      <a:lnTo>
                        <a:pt x="1323" y="1055"/>
                      </a:lnTo>
                      <a:lnTo>
                        <a:pt x="1323" y="1054"/>
                      </a:lnTo>
                      <a:lnTo>
                        <a:pt x="1322" y="1053"/>
                      </a:lnTo>
                      <a:lnTo>
                        <a:pt x="1322" y="1052"/>
                      </a:lnTo>
                      <a:lnTo>
                        <a:pt x="1322" y="1051"/>
                      </a:lnTo>
                      <a:lnTo>
                        <a:pt x="1323" y="1050"/>
                      </a:lnTo>
                      <a:lnTo>
                        <a:pt x="1323" y="1051"/>
                      </a:lnTo>
                      <a:lnTo>
                        <a:pt x="1324" y="1051"/>
                      </a:lnTo>
                      <a:lnTo>
                        <a:pt x="1325" y="1052"/>
                      </a:lnTo>
                      <a:lnTo>
                        <a:pt x="1325" y="1053"/>
                      </a:lnTo>
                      <a:close/>
                      <a:moveTo>
                        <a:pt x="1301" y="1071"/>
                      </a:moveTo>
                      <a:lnTo>
                        <a:pt x="1302" y="1071"/>
                      </a:lnTo>
                      <a:lnTo>
                        <a:pt x="1303" y="1071"/>
                      </a:lnTo>
                      <a:lnTo>
                        <a:pt x="1304" y="1071"/>
                      </a:lnTo>
                      <a:lnTo>
                        <a:pt x="1304" y="1070"/>
                      </a:lnTo>
                      <a:lnTo>
                        <a:pt x="1304" y="1071"/>
                      </a:lnTo>
                      <a:lnTo>
                        <a:pt x="1304" y="1072"/>
                      </a:lnTo>
                      <a:lnTo>
                        <a:pt x="1303" y="1073"/>
                      </a:lnTo>
                      <a:lnTo>
                        <a:pt x="1303" y="1074"/>
                      </a:lnTo>
                      <a:lnTo>
                        <a:pt x="1303" y="1076"/>
                      </a:lnTo>
                      <a:lnTo>
                        <a:pt x="1302" y="1076"/>
                      </a:lnTo>
                      <a:lnTo>
                        <a:pt x="1302" y="1077"/>
                      </a:lnTo>
                      <a:lnTo>
                        <a:pt x="1301" y="1079"/>
                      </a:lnTo>
                      <a:lnTo>
                        <a:pt x="1301" y="1080"/>
                      </a:lnTo>
                      <a:lnTo>
                        <a:pt x="1300" y="1081"/>
                      </a:lnTo>
                      <a:lnTo>
                        <a:pt x="1300" y="1082"/>
                      </a:lnTo>
                      <a:lnTo>
                        <a:pt x="1299" y="1082"/>
                      </a:lnTo>
                      <a:lnTo>
                        <a:pt x="1299" y="1083"/>
                      </a:lnTo>
                      <a:lnTo>
                        <a:pt x="1299" y="1082"/>
                      </a:lnTo>
                      <a:lnTo>
                        <a:pt x="1299" y="1081"/>
                      </a:lnTo>
                      <a:lnTo>
                        <a:pt x="1298" y="1081"/>
                      </a:lnTo>
                      <a:lnTo>
                        <a:pt x="1297" y="1080"/>
                      </a:lnTo>
                      <a:lnTo>
                        <a:pt x="1298" y="1080"/>
                      </a:lnTo>
                      <a:lnTo>
                        <a:pt x="1299" y="1080"/>
                      </a:lnTo>
                      <a:lnTo>
                        <a:pt x="1299" y="1081"/>
                      </a:lnTo>
                      <a:lnTo>
                        <a:pt x="1300" y="1081"/>
                      </a:lnTo>
                      <a:lnTo>
                        <a:pt x="1300" y="1080"/>
                      </a:lnTo>
                      <a:lnTo>
                        <a:pt x="1300" y="1079"/>
                      </a:lnTo>
                      <a:lnTo>
                        <a:pt x="1301" y="1079"/>
                      </a:lnTo>
                      <a:lnTo>
                        <a:pt x="1301" y="1078"/>
                      </a:lnTo>
                      <a:lnTo>
                        <a:pt x="1301" y="1077"/>
                      </a:lnTo>
                      <a:lnTo>
                        <a:pt x="1302" y="1077"/>
                      </a:lnTo>
                      <a:lnTo>
                        <a:pt x="1302" y="1076"/>
                      </a:lnTo>
                      <a:lnTo>
                        <a:pt x="1302" y="1074"/>
                      </a:lnTo>
                      <a:lnTo>
                        <a:pt x="1302" y="1073"/>
                      </a:lnTo>
                      <a:lnTo>
                        <a:pt x="1303" y="1073"/>
                      </a:lnTo>
                      <a:lnTo>
                        <a:pt x="1303" y="1072"/>
                      </a:lnTo>
                      <a:lnTo>
                        <a:pt x="1302" y="1072"/>
                      </a:lnTo>
                      <a:lnTo>
                        <a:pt x="1301" y="1072"/>
                      </a:lnTo>
                      <a:lnTo>
                        <a:pt x="1301" y="1071"/>
                      </a:lnTo>
                      <a:lnTo>
                        <a:pt x="1300" y="1071"/>
                      </a:lnTo>
                      <a:lnTo>
                        <a:pt x="1299" y="1071"/>
                      </a:lnTo>
                      <a:lnTo>
                        <a:pt x="1299" y="1073"/>
                      </a:lnTo>
                      <a:lnTo>
                        <a:pt x="1299" y="1076"/>
                      </a:lnTo>
                      <a:lnTo>
                        <a:pt x="1299" y="1077"/>
                      </a:lnTo>
                      <a:lnTo>
                        <a:pt x="1298" y="1077"/>
                      </a:lnTo>
                      <a:lnTo>
                        <a:pt x="1298" y="1076"/>
                      </a:lnTo>
                      <a:lnTo>
                        <a:pt x="1298" y="1074"/>
                      </a:lnTo>
                      <a:lnTo>
                        <a:pt x="1298" y="1073"/>
                      </a:lnTo>
                      <a:lnTo>
                        <a:pt x="1298" y="1072"/>
                      </a:lnTo>
                      <a:lnTo>
                        <a:pt x="1298" y="1071"/>
                      </a:lnTo>
                      <a:lnTo>
                        <a:pt x="1298" y="1070"/>
                      </a:lnTo>
                      <a:lnTo>
                        <a:pt x="1297" y="1070"/>
                      </a:lnTo>
                      <a:lnTo>
                        <a:pt x="1296" y="1070"/>
                      </a:lnTo>
                      <a:lnTo>
                        <a:pt x="1297" y="1070"/>
                      </a:lnTo>
                      <a:lnTo>
                        <a:pt x="1297" y="1069"/>
                      </a:lnTo>
                      <a:lnTo>
                        <a:pt x="1298" y="1069"/>
                      </a:lnTo>
                      <a:lnTo>
                        <a:pt x="1298" y="1070"/>
                      </a:lnTo>
                      <a:lnTo>
                        <a:pt x="1299" y="1070"/>
                      </a:lnTo>
                      <a:lnTo>
                        <a:pt x="1300" y="1070"/>
                      </a:lnTo>
                      <a:lnTo>
                        <a:pt x="1301" y="1070"/>
                      </a:lnTo>
                      <a:lnTo>
                        <a:pt x="1301" y="1071"/>
                      </a:lnTo>
                      <a:close/>
                      <a:moveTo>
                        <a:pt x="1142" y="837"/>
                      </a:moveTo>
                      <a:lnTo>
                        <a:pt x="1143" y="837"/>
                      </a:lnTo>
                      <a:lnTo>
                        <a:pt x="1144" y="838"/>
                      </a:lnTo>
                      <a:lnTo>
                        <a:pt x="1145" y="838"/>
                      </a:lnTo>
                      <a:lnTo>
                        <a:pt x="1146" y="838"/>
                      </a:lnTo>
                      <a:lnTo>
                        <a:pt x="1146" y="837"/>
                      </a:lnTo>
                      <a:lnTo>
                        <a:pt x="1147" y="837"/>
                      </a:lnTo>
                      <a:lnTo>
                        <a:pt x="1148" y="837"/>
                      </a:lnTo>
                      <a:lnTo>
                        <a:pt x="1149" y="837"/>
                      </a:lnTo>
                      <a:lnTo>
                        <a:pt x="1148" y="838"/>
                      </a:lnTo>
                      <a:lnTo>
                        <a:pt x="1147" y="838"/>
                      </a:lnTo>
                      <a:lnTo>
                        <a:pt x="1147" y="839"/>
                      </a:lnTo>
                      <a:lnTo>
                        <a:pt x="1146" y="839"/>
                      </a:lnTo>
                      <a:lnTo>
                        <a:pt x="1147" y="839"/>
                      </a:lnTo>
                      <a:lnTo>
                        <a:pt x="1146" y="839"/>
                      </a:lnTo>
                      <a:lnTo>
                        <a:pt x="1146" y="840"/>
                      </a:lnTo>
                      <a:lnTo>
                        <a:pt x="1147" y="840"/>
                      </a:lnTo>
                      <a:lnTo>
                        <a:pt x="1147" y="841"/>
                      </a:lnTo>
                      <a:lnTo>
                        <a:pt x="1146" y="841"/>
                      </a:lnTo>
                      <a:lnTo>
                        <a:pt x="1145" y="841"/>
                      </a:lnTo>
                      <a:lnTo>
                        <a:pt x="1145" y="840"/>
                      </a:lnTo>
                      <a:lnTo>
                        <a:pt x="1144" y="840"/>
                      </a:lnTo>
                      <a:lnTo>
                        <a:pt x="1144" y="839"/>
                      </a:lnTo>
                      <a:lnTo>
                        <a:pt x="1144" y="838"/>
                      </a:lnTo>
                      <a:lnTo>
                        <a:pt x="1143" y="838"/>
                      </a:lnTo>
                      <a:lnTo>
                        <a:pt x="1143" y="839"/>
                      </a:lnTo>
                      <a:lnTo>
                        <a:pt x="1142" y="838"/>
                      </a:lnTo>
                      <a:lnTo>
                        <a:pt x="1142" y="839"/>
                      </a:lnTo>
                      <a:lnTo>
                        <a:pt x="1141" y="839"/>
                      </a:lnTo>
                      <a:lnTo>
                        <a:pt x="1140" y="839"/>
                      </a:lnTo>
                      <a:lnTo>
                        <a:pt x="1140" y="840"/>
                      </a:lnTo>
                      <a:lnTo>
                        <a:pt x="1140" y="841"/>
                      </a:lnTo>
                      <a:lnTo>
                        <a:pt x="1140" y="842"/>
                      </a:lnTo>
                      <a:lnTo>
                        <a:pt x="1138" y="842"/>
                      </a:lnTo>
                      <a:lnTo>
                        <a:pt x="1138" y="841"/>
                      </a:lnTo>
                      <a:lnTo>
                        <a:pt x="1137" y="840"/>
                      </a:lnTo>
                      <a:lnTo>
                        <a:pt x="1137" y="839"/>
                      </a:lnTo>
                      <a:lnTo>
                        <a:pt x="1138" y="839"/>
                      </a:lnTo>
                      <a:lnTo>
                        <a:pt x="1140" y="839"/>
                      </a:lnTo>
                      <a:lnTo>
                        <a:pt x="1140" y="838"/>
                      </a:lnTo>
                      <a:lnTo>
                        <a:pt x="1141" y="837"/>
                      </a:lnTo>
                      <a:lnTo>
                        <a:pt x="1140" y="837"/>
                      </a:lnTo>
                      <a:lnTo>
                        <a:pt x="1140" y="838"/>
                      </a:lnTo>
                      <a:lnTo>
                        <a:pt x="1138" y="839"/>
                      </a:lnTo>
                      <a:lnTo>
                        <a:pt x="1137" y="839"/>
                      </a:lnTo>
                      <a:lnTo>
                        <a:pt x="1137" y="838"/>
                      </a:lnTo>
                      <a:lnTo>
                        <a:pt x="1138" y="838"/>
                      </a:lnTo>
                      <a:lnTo>
                        <a:pt x="1140" y="838"/>
                      </a:lnTo>
                      <a:lnTo>
                        <a:pt x="1140" y="837"/>
                      </a:lnTo>
                      <a:lnTo>
                        <a:pt x="1141" y="837"/>
                      </a:lnTo>
                      <a:lnTo>
                        <a:pt x="1141" y="836"/>
                      </a:lnTo>
                      <a:lnTo>
                        <a:pt x="1142" y="837"/>
                      </a:lnTo>
                      <a:close/>
                      <a:moveTo>
                        <a:pt x="1057" y="993"/>
                      </a:moveTo>
                      <a:lnTo>
                        <a:pt x="1058" y="993"/>
                      </a:lnTo>
                      <a:lnTo>
                        <a:pt x="1058" y="994"/>
                      </a:lnTo>
                      <a:lnTo>
                        <a:pt x="1059" y="994"/>
                      </a:lnTo>
                      <a:lnTo>
                        <a:pt x="1059" y="995"/>
                      </a:lnTo>
                      <a:lnTo>
                        <a:pt x="1060" y="995"/>
                      </a:lnTo>
                      <a:lnTo>
                        <a:pt x="1059" y="995"/>
                      </a:lnTo>
                      <a:lnTo>
                        <a:pt x="1060" y="995"/>
                      </a:lnTo>
                      <a:lnTo>
                        <a:pt x="1060" y="996"/>
                      </a:lnTo>
                      <a:lnTo>
                        <a:pt x="1061" y="996"/>
                      </a:lnTo>
                      <a:lnTo>
                        <a:pt x="1063" y="998"/>
                      </a:lnTo>
                      <a:lnTo>
                        <a:pt x="1064" y="998"/>
                      </a:lnTo>
                      <a:lnTo>
                        <a:pt x="1065" y="998"/>
                      </a:lnTo>
                      <a:lnTo>
                        <a:pt x="1066" y="996"/>
                      </a:lnTo>
                      <a:lnTo>
                        <a:pt x="1067" y="996"/>
                      </a:lnTo>
                      <a:lnTo>
                        <a:pt x="1068" y="996"/>
                      </a:lnTo>
                      <a:lnTo>
                        <a:pt x="1068" y="995"/>
                      </a:lnTo>
                      <a:lnTo>
                        <a:pt x="1068" y="996"/>
                      </a:lnTo>
                      <a:lnTo>
                        <a:pt x="1070" y="998"/>
                      </a:lnTo>
                      <a:lnTo>
                        <a:pt x="1068" y="998"/>
                      </a:lnTo>
                      <a:lnTo>
                        <a:pt x="1067" y="998"/>
                      </a:lnTo>
                      <a:lnTo>
                        <a:pt x="1070" y="998"/>
                      </a:lnTo>
                      <a:lnTo>
                        <a:pt x="1071" y="998"/>
                      </a:lnTo>
                      <a:lnTo>
                        <a:pt x="1072" y="998"/>
                      </a:lnTo>
                      <a:lnTo>
                        <a:pt x="1072" y="999"/>
                      </a:lnTo>
                      <a:lnTo>
                        <a:pt x="1071" y="999"/>
                      </a:lnTo>
                      <a:lnTo>
                        <a:pt x="1070" y="999"/>
                      </a:lnTo>
                      <a:lnTo>
                        <a:pt x="1069" y="999"/>
                      </a:lnTo>
                      <a:lnTo>
                        <a:pt x="1067" y="999"/>
                      </a:lnTo>
                      <a:lnTo>
                        <a:pt x="1066" y="999"/>
                      </a:lnTo>
                      <a:lnTo>
                        <a:pt x="1065" y="998"/>
                      </a:lnTo>
                      <a:lnTo>
                        <a:pt x="1063" y="998"/>
                      </a:lnTo>
                      <a:lnTo>
                        <a:pt x="1061" y="998"/>
                      </a:lnTo>
                      <a:lnTo>
                        <a:pt x="1060" y="998"/>
                      </a:lnTo>
                      <a:lnTo>
                        <a:pt x="1059" y="996"/>
                      </a:lnTo>
                      <a:lnTo>
                        <a:pt x="1057" y="996"/>
                      </a:lnTo>
                      <a:lnTo>
                        <a:pt x="1056" y="996"/>
                      </a:lnTo>
                      <a:lnTo>
                        <a:pt x="1056" y="995"/>
                      </a:lnTo>
                      <a:lnTo>
                        <a:pt x="1057" y="995"/>
                      </a:lnTo>
                      <a:lnTo>
                        <a:pt x="1058" y="995"/>
                      </a:lnTo>
                      <a:lnTo>
                        <a:pt x="1057" y="995"/>
                      </a:lnTo>
                      <a:lnTo>
                        <a:pt x="1056" y="995"/>
                      </a:lnTo>
                      <a:lnTo>
                        <a:pt x="1056" y="993"/>
                      </a:lnTo>
                      <a:lnTo>
                        <a:pt x="1057" y="993"/>
                      </a:lnTo>
                      <a:close/>
                      <a:moveTo>
                        <a:pt x="1112" y="961"/>
                      </a:moveTo>
                      <a:lnTo>
                        <a:pt x="1112" y="962"/>
                      </a:lnTo>
                      <a:lnTo>
                        <a:pt x="1112" y="963"/>
                      </a:lnTo>
                      <a:lnTo>
                        <a:pt x="1113" y="965"/>
                      </a:lnTo>
                      <a:lnTo>
                        <a:pt x="1113" y="966"/>
                      </a:lnTo>
                      <a:lnTo>
                        <a:pt x="1113" y="967"/>
                      </a:lnTo>
                      <a:lnTo>
                        <a:pt x="1112" y="968"/>
                      </a:lnTo>
                      <a:lnTo>
                        <a:pt x="1112" y="969"/>
                      </a:lnTo>
                      <a:lnTo>
                        <a:pt x="1112" y="970"/>
                      </a:lnTo>
                      <a:lnTo>
                        <a:pt x="1111" y="970"/>
                      </a:lnTo>
                      <a:lnTo>
                        <a:pt x="1111" y="969"/>
                      </a:lnTo>
                      <a:lnTo>
                        <a:pt x="1109" y="969"/>
                      </a:lnTo>
                      <a:lnTo>
                        <a:pt x="1109" y="968"/>
                      </a:lnTo>
                      <a:lnTo>
                        <a:pt x="1108" y="968"/>
                      </a:lnTo>
                      <a:lnTo>
                        <a:pt x="1109" y="968"/>
                      </a:lnTo>
                      <a:lnTo>
                        <a:pt x="1109" y="967"/>
                      </a:lnTo>
                      <a:lnTo>
                        <a:pt x="1108" y="967"/>
                      </a:lnTo>
                      <a:lnTo>
                        <a:pt x="1108" y="966"/>
                      </a:lnTo>
                      <a:lnTo>
                        <a:pt x="1109" y="966"/>
                      </a:lnTo>
                      <a:lnTo>
                        <a:pt x="1110" y="966"/>
                      </a:lnTo>
                      <a:lnTo>
                        <a:pt x="1111" y="965"/>
                      </a:lnTo>
                      <a:lnTo>
                        <a:pt x="1111" y="964"/>
                      </a:lnTo>
                      <a:lnTo>
                        <a:pt x="1111" y="963"/>
                      </a:lnTo>
                      <a:lnTo>
                        <a:pt x="1111" y="962"/>
                      </a:lnTo>
                      <a:lnTo>
                        <a:pt x="1111" y="961"/>
                      </a:lnTo>
                      <a:lnTo>
                        <a:pt x="1112" y="961"/>
                      </a:lnTo>
                      <a:lnTo>
                        <a:pt x="1112" y="960"/>
                      </a:lnTo>
                      <a:lnTo>
                        <a:pt x="1113" y="960"/>
                      </a:lnTo>
                      <a:lnTo>
                        <a:pt x="1113" y="961"/>
                      </a:lnTo>
                      <a:lnTo>
                        <a:pt x="1112" y="961"/>
                      </a:lnTo>
                      <a:close/>
                      <a:moveTo>
                        <a:pt x="987" y="903"/>
                      </a:moveTo>
                      <a:lnTo>
                        <a:pt x="987" y="904"/>
                      </a:lnTo>
                      <a:lnTo>
                        <a:pt x="987" y="905"/>
                      </a:lnTo>
                      <a:lnTo>
                        <a:pt x="986" y="905"/>
                      </a:lnTo>
                      <a:lnTo>
                        <a:pt x="986" y="906"/>
                      </a:lnTo>
                      <a:lnTo>
                        <a:pt x="984" y="905"/>
                      </a:lnTo>
                      <a:lnTo>
                        <a:pt x="984" y="904"/>
                      </a:lnTo>
                      <a:lnTo>
                        <a:pt x="983" y="904"/>
                      </a:lnTo>
                      <a:lnTo>
                        <a:pt x="983" y="905"/>
                      </a:lnTo>
                      <a:lnTo>
                        <a:pt x="984" y="905"/>
                      </a:lnTo>
                      <a:lnTo>
                        <a:pt x="984" y="906"/>
                      </a:lnTo>
                      <a:lnTo>
                        <a:pt x="983" y="906"/>
                      </a:lnTo>
                      <a:lnTo>
                        <a:pt x="982" y="906"/>
                      </a:lnTo>
                      <a:lnTo>
                        <a:pt x="982" y="907"/>
                      </a:lnTo>
                      <a:lnTo>
                        <a:pt x="981" y="907"/>
                      </a:lnTo>
                      <a:lnTo>
                        <a:pt x="981" y="909"/>
                      </a:lnTo>
                      <a:lnTo>
                        <a:pt x="981" y="907"/>
                      </a:lnTo>
                      <a:lnTo>
                        <a:pt x="981" y="906"/>
                      </a:lnTo>
                      <a:lnTo>
                        <a:pt x="982" y="906"/>
                      </a:lnTo>
                      <a:lnTo>
                        <a:pt x="982" y="905"/>
                      </a:lnTo>
                      <a:lnTo>
                        <a:pt x="983" y="905"/>
                      </a:lnTo>
                      <a:lnTo>
                        <a:pt x="982" y="905"/>
                      </a:lnTo>
                      <a:lnTo>
                        <a:pt x="982" y="904"/>
                      </a:lnTo>
                      <a:lnTo>
                        <a:pt x="983" y="905"/>
                      </a:lnTo>
                      <a:lnTo>
                        <a:pt x="983" y="904"/>
                      </a:lnTo>
                      <a:lnTo>
                        <a:pt x="982" y="904"/>
                      </a:lnTo>
                      <a:lnTo>
                        <a:pt x="982" y="903"/>
                      </a:lnTo>
                      <a:lnTo>
                        <a:pt x="982" y="904"/>
                      </a:lnTo>
                      <a:lnTo>
                        <a:pt x="983" y="904"/>
                      </a:lnTo>
                      <a:lnTo>
                        <a:pt x="982" y="904"/>
                      </a:lnTo>
                      <a:lnTo>
                        <a:pt x="982" y="905"/>
                      </a:lnTo>
                      <a:lnTo>
                        <a:pt x="983" y="905"/>
                      </a:lnTo>
                      <a:lnTo>
                        <a:pt x="982" y="905"/>
                      </a:lnTo>
                      <a:lnTo>
                        <a:pt x="982" y="906"/>
                      </a:lnTo>
                      <a:lnTo>
                        <a:pt x="982" y="905"/>
                      </a:lnTo>
                      <a:lnTo>
                        <a:pt x="982" y="906"/>
                      </a:lnTo>
                      <a:lnTo>
                        <a:pt x="981" y="906"/>
                      </a:lnTo>
                      <a:lnTo>
                        <a:pt x="981" y="905"/>
                      </a:lnTo>
                      <a:lnTo>
                        <a:pt x="982" y="904"/>
                      </a:lnTo>
                      <a:lnTo>
                        <a:pt x="982" y="903"/>
                      </a:lnTo>
                      <a:lnTo>
                        <a:pt x="982" y="902"/>
                      </a:lnTo>
                      <a:lnTo>
                        <a:pt x="983" y="902"/>
                      </a:lnTo>
                      <a:lnTo>
                        <a:pt x="984" y="901"/>
                      </a:lnTo>
                      <a:lnTo>
                        <a:pt x="986" y="901"/>
                      </a:lnTo>
                      <a:lnTo>
                        <a:pt x="987" y="901"/>
                      </a:lnTo>
                      <a:lnTo>
                        <a:pt x="988" y="902"/>
                      </a:lnTo>
                      <a:lnTo>
                        <a:pt x="987" y="903"/>
                      </a:lnTo>
                      <a:close/>
                      <a:moveTo>
                        <a:pt x="1508" y="1069"/>
                      </a:moveTo>
                      <a:lnTo>
                        <a:pt x="1507" y="1069"/>
                      </a:lnTo>
                      <a:lnTo>
                        <a:pt x="1507" y="1070"/>
                      </a:lnTo>
                      <a:lnTo>
                        <a:pt x="1506" y="1070"/>
                      </a:lnTo>
                      <a:lnTo>
                        <a:pt x="1505" y="1070"/>
                      </a:lnTo>
                      <a:lnTo>
                        <a:pt x="1505" y="1071"/>
                      </a:lnTo>
                      <a:lnTo>
                        <a:pt x="1504" y="1071"/>
                      </a:lnTo>
                      <a:lnTo>
                        <a:pt x="1503" y="1072"/>
                      </a:lnTo>
                      <a:lnTo>
                        <a:pt x="1502" y="1073"/>
                      </a:lnTo>
                      <a:lnTo>
                        <a:pt x="1502" y="1074"/>
                      </a:lnTo>
                      <a:lnTo>
                        <a:pt x="1500" y="1074"/>
                      </a:lnTo>
                      <a:lnTo>
                        <a:pt x="1500" y="1073"/>
                      </a:lnTo>
                      <a:lnTo>
                        <a:pt x="1499" y="1073"/>
                      </a:lnTo>
                      <a:lnTo>
                        <a:pt x="1499" y="1074"/>
                      </a:lnTo>
                      <a:lnTo>
                        <a:pt x="1498" y="1076"/>
                      </a:lnTo>
                      <a:lnTo>
                        <a:pt x="1499" y="1076"/>
                      </a:lnTo>
                      <a:lnTo>
                        <a:pt x="1499" y="1077"/>
                      </a:lnTo>
                      <a:lnTo>
                        <a:pt x="1499" y="1078"/>
                      </a:lnTo>
                      <a:lnTo>
                        <a:pt x="1498" y="1078"/>
                      </a:lnTo>
                      <a:lnTo>
                        <a:pt x="1498" y="1077"/>
                      </a:lnTo>
                      <a:lnTo>
                        <a:pt x="1497" y="1077"/>
                      </a:lnTo>
                      <a:lnTo>
                        <a:pt x="1497" y="1078"/>
                      </a:lnTo>
                      <a:lnTo>
                        <a:pt x="1496" y="1079"/>
                      </a:lnTo>
                      <a:lnTo>
                        <a:pt x="1496" y="1080"/>
                      </a:lnTo>
                      <a:lnTo>
                        <a:pt x="1496" y="1079"/>
                      </a:lnTo>
                      <a:lnTo>
                        <a:pt x="1496" y="1080"/>
                      </a:lnTo>
                      <a:lnTo>
                        <a:pt x="1497" y="1080"/>
                      </a:lnTo>
                      <a:lnTo>
                        <a:pt x="1498" y="1081"/>
                      </a:lnTo>
                      <a:lnTo>
                        <a:pt x="1497" y="1081"/>
                      </a:lnTo>
                      <a:lnTo>
                        <a:pt x="1494" y="1079"/>
                      </a:lnTo>
                      <a:lnTo>
                        <a:pt x="1494" y="1078"/>
                      </a:lnTo>
                      <a:lnTo>
                        <a:pt x="1497" y="1076"/>
                      </a:lnTo>
                      <a:lnTo>
                        <a:pt x="1498" y="1074"/>
                      </a:lnTo>
                      <a:lnTo>
                        <a:pt x="1503" y="1071"/>
                      </a:lnTo>
                      <a:lnTo>
                        <a:pt x="1505" y="1070"/>
                      </a:lnTo>
                      <a:lnTo>
                        <a:pt x="1507" y="1069"/>
                      </a:lnTo>
                      <a:lnTo>
                        <a:pt x="1508" y="1069"/>
                      </a:lnTo>
                      <a:close/>
                      <a:moveTo>
                        <a:pt x="1355" y="1021"/>
                      </a:moveTo>
                      <a:lnTo>
                        <a:pt x="1355" y="1022"/>
                      </a:lnTo>
                      <a:lnTo>
                        <a:pt x="1355" y="1021"/>
                      </a:lnTo>
                      <a:lnTo>
                        <a:pt x="1355" y="1022"/>
                      </a:lnTo>
                      <a:lnTo>
                        <a:pt x="1356" y="1024"/>
                      </a:lnTo>
                      <a:lnTo>
                        <a:pt x="1356" y="1025"/>
                      </a:lnTo>
                      <a:lnTo>
                        <a:pt x="1356" y="1026"/>
                      </a:lnTo>
                      <a:lnTo>
                        <a:pt x="1356" y="1027"/>
                      </a:lnTo>
                      <a:lnTo>
                        <a:pt x="1355" y="1027"/>
                      </a:lnTo>
                      <a:lnTo>
                        <a:pt x="1355" y="1028"/>
                      </a:lnTo>
                      <a:lnTo>
                        <a:pt x="1355" y="1029"/>
                      </a:lnTo>
                      <a:lnTo>
                        <a:pt x="1355" y="1030"/>
                      </a:lnTo>
                      <a:lnTo>
                        <a:pt x="1354" y="1030"/>
                      </a:lnTo>
                      <a:lnTo>
                        <a:pt x="1355" y="1030"/>
                      </a:lnTo>
                      <a:lnTo>
                        <a:pt x="1354" y="1030"/>
                      </a:lnTo>
                      <a:lnTo>
                        <a:pt x="1353" y="1030"/>
                      </a:lnTo>
                      <a:lnTo>
                        <a:pt x="1353" y="1029"/>
                      </a:lnTo>
                      <a:lnTo>
                        <a:pt x="1353" y="1028"/>
                      </a:lnTo>
                      <a:lnTo>
                        <a:pt x="1353" y="1027"/>
                      </a:lnTo>
                      <a:lnTo>
                        <a:pt x="1352" y="1027"/>
                      </a:lnTo>
                      <a:lnTo>
                        <a:pt x="1352" y="1026"/>
                      </a:lnTo>
                      <a:lnTo>
                        <a:pt x="1353" y="1026"/>
                      </a:lnTo>
                      <a:lnTo>
                        <a:pt x="1353" y="1025"/>
                      </a:lnTo>
                      <a:lnTo>
                        <a:pt x="1353" y="1024"/>
                      </a:lnTo>
                      <a:lnTo>
                        <a:pt x="1353" y="1022"/>
                      </a:lnTo>
                      <a:lnTo>
                        <a:pt x="1353" y="1021"/>
                      </a:lnTo>
                      <a:lnTo>
                        <a:pt x="1354" y="1021"/>
                      </a:lnTo>
                      <a:lnTo>
                        <a:pt x="1355" y="1021"/>
                      </a:lnTo>
                      <a:close/>
                      <a:moveTo>
                        <a:pt x="1420" y="1002"/>
                      </a:moveTo>
                      <a:lnTo>
                        <a:pt x="1422" y="1003"/>
                      </a:lnTo>
                      <a:lnTo>
                        <a:pt x="1421" y="1003"/>
                      </a:lnTo>
                      <a:lnTo>
                        <a:pt x="1421" y="1002"/>
                      </a:lnTo>
                      <a:lnTo>
                        <a:pt x="1420" y="1002"/>
                      </a:lnTo>
                      <a:lnTo>
                        <a:pt x="1419" y="1003"/>
                      </a:lnTo>
                      <a:lnTo>
                        <a:pt x="1419" y="1004"/>
                      </a:lnTo>
                      <a:lnTo>
                        <a:pt x="1419" y="1005"/>
                      </a:lnTo>
                      <a:lnTo>
                        <a:pt x="1419" y="1006"/>
                      </a:lnTo>
                      <a:lnTo>
                        <a:pt x="1420" y="1006"/>
                      </a:lnTo>
                      <a:lnTo>
                        <a:pt x="1420" y="1005"/>
                      </a:lnTo>
                      <a:lnTo>
                        <a:pt x="1421" y="1005"/>
                      </a:lnTo>
                      <a:lnTo>
                        <a:pt x="1422" y="1005"/>
                      </a:lnTo>
                      <a:lnTo>
                        <a:pt x="1422" y="1006"/>
                      </a:lnTo>
                      <a:lnTo>
                        <a:pt x="1421" y="1007"/>
                      </a:lnTo>
                      <a:lnTo>
                        <a:pt x="1421" y="1008"/>
                      </a:lnTo>
                      <a:lnTo>
                        <a:pt x="1422" y="1008"/>
                      </a:lnTo>
                      <a:lnTo>
                        <a:pt x="1422" y="1009"/>
                      </a:lnTo>
                      <a:lnTo>
                        <a:pt x="1422" y="1008"/>
                      </a:lnTo>
                      <a:lnTo>
                        <a:pt x="1419" y="1007"/>
                      </a:lnTo>
                      <a:lnTo>
                        <a:pt x="1418" y="1007"/>
                      </a:lnTo>
                      <a:lnTo>
                        <a:pt x="1417" y="1006"/>
                      </a:lnTo>
                      <a:lnTo>
                        <a:pt x="1416" y="1006"/>
                      </a:lnTo>
                      <a:lnTo>
                        <a:pt x="1415" y="1006"/>
                      </a:lnTo>
                      <a:lnTo>
                        <a:pt x="1415" y="1005"/>
                      </a:lnTo>
                      <a:lnTo>
                        <a:pt x="1416" y="1005"/>
                      </a:lnTo>
                      <a:lnTo>
                        <a:pt x="1417" y="1003"/>
                      </a:lnTo>
                      <a:lnTo>
                        <a:pt x="1418" y="1003"/>
                      </a:lnTo>
                      <a:lnTo>
                        <a:pt x="1419" y="1002"/>
                      </a:lnTo>
                      <a:lnTo>
                        <a:pt x="1420" y="1001"/>
                      </a:lnTo>
                      <a:lnTo>
                        <a:pt x="1420" y="1002"/>
                      </a:lnTo>
                      <a:close/>
                      <a:moveTo>
                        <a:pt x="1437" y="1015"/>
                      </a:moveTo>
                      <a:lnTo>
                        <a:pt x="1437" y="1016"/>
                      </a:lnTo>
                      <a:lnTo>
                        <a:pt x="1438" y="1016"/>
                      </a:lnTo>
                      <a:lnTo>
                        <a:pt x="1437" y="1016"/>
                      </a:lnTo>
                      <a:lnTo>
                        <a:pt x="1435" y="1016"/>
                      </a:lnTo>
                      <a:lnTo>
                        <a:pt x="1437" y="1016"/>
                      </a:lnTo>
                      <a:lnTo>
                        <a:pt x="1435" y="1016"/>
                      </a:lnTo>
                      <a:lnTo>
                        <a:pt x="1437" y="1017"/>
                      </a:lnTo>
                      <a:lnTo>
                        <a:pt x="1435" y="1017"/>
                      </a:lnTo>
                      <a:lnTo>
                        <a:pt x="1435" y="1016"/>
                      </a:lnTo>
                      <a:lnTo>
                        <a:pt x="1435" y="1017"/>
                      </a:lnTo>
                      <a:lnTo>
                        <a:pt x="1435" y="1018"/>
                      </a:lnTo>
                      <a:lnTo>
                        <a:pt x="1434" y="1018"/>
                      </a:lnTo>
                      <a:lnTo>
                        <a:pt x="1434" y="1019"/>
                      </a:lnTo>
                      <a:lnTo>
                        <a:pt x="1435" y="1019"/>
                      </a:lnTo>
                      <a:lnTo>
                        <a:pt x="1434" y="1019"/>
                      </a:lnTo>
                      <a:lnTo>
                        <a:pt x="1434" y="1020"/>
                      </a:lnTo>
                      <a:lnTo>
                        <a:pt x="1434" y="1021"/>
                      </a:lnTo>
                      <a:lnTo>
                        <a:pt x="1433" y="1021"/>
                      </a:lnTo>
                      <a:lnTo>
                        <a:pt x="1433" y="1022"/>
                      </a:lnTo>
                      <a:lnTo>
                        <a:pt x="1432" y="1021"/>
                      </a:lnTo>
                      <a:lnTo>
                        <a:pt x="1431" y="1021"/>
                      </a:lnTo>
                      <a:lnTo>
                        <a:pt x="1431" y="1022"/>
                      </a:lnTo>
                      <a:lnTo>
                        <a:pt x="1430" y="1022"/>
                      </a:lnTo>
                      <a:lnTo>
                        <a:pt x="1431" y="1022"/>
                      </a:lnTo>
                      <a:lnTo>
                        <a:pt x="1431" y="1024"/>
                      </a:lnTo>
                      <a:lnTo>
                        <a:pt x="1430" y="1024"/>
                      </a:lnTo>
                      <a:lnTo>
                        <a:pt x="1431" y="1024"/>
                      </a:lnTo>
                      <a:lnTo>
                        <a:pt x="1432" y="1024"/>
                      </a:lnTo>
                      <a:lnTo>
                        <a:pt x="1431" y="1022"/>
                      </a:lnTo>
                      <a:lnTo>
                        <a:pt x="1432" y="1022"/>
                      </a:lnTo>
                      <a:lnTo>
                        <a:pt x="1431" y="1022"/>
                      </a:lnTo>
                      <a:lnTo>
                        <a:pt x="1432" y="1022"/>
                      </a:lnTo>
                      <a:lnTo>
                        <a:pt x="1433" y="1022"/>
                      </a:lnTo>
                      <a:lnTo>
                        <a:pt x="1432" y="1022"/>
                      </a:lnTo>
                      <a:lnTo>
                        <a:pt x="1432" y="1024"/>
                      </a:lnTo>
                      <a:lnTo>
                        <a:pt x="1433" y="1024"/>
                      </a:lnTo>
                      <a:lnTo>
                        <a:pt x="1433" y="1022"/>
                      </a:lnTo>
                      <a:lnTo>
                        <a:pt x="1434" y="1022"/>
                      </a:lnTo>
                      <a:lnTo>
                        <a:pt x="1433" y="1022"/>
                      </a:lnTo>
                      <a:lnTo>
                        <a:pt x="1434" y="1021"/>
                      </a:lnTo>
                      <a:lnTo>
                        <a:pt x="1434" y="1022"/>
                      </a:lnTo>
                      <a:lnTo>
                        <a:pt x="1434" y="1021"/>
                      </a:lnTo>
                      <a:lnTo>
                        <a:pt x="1434" y="1022"/>
                      </a:lnTo>
                      <a:lnTo>
                        <a:pt x="1434" y="1021"/>
                      </a:lnTo>
                      <a:lnTo>
                        <a:pt x="1435" y="1020"/>
                      </a:lnTo>
                      <a:lnTo>
                        <a:pt x="1437" y="1020"/>
                      </a:lnTo>
                      <a:lnTo>
                        <a:pt x="1437" y="1021"/>
                      </a:lnTo>
                      <a:lnTo>
                        <a:pt x="1435" y="1021"/>
                      </a:lnTo>
                      <a:lnTo>
                        <a:pt x="1435" y="1022"/>
                      </a:lnTo>
                      <a:lnTo>
                        <a:pt x="1434" y="1022"/>
                      </a:lnTo>
                      <a:lnTo>
                        <a:pt x="1434" y="1024"/>
                      </a:lnTo>
                      <a:lnTo>
                        <a:pt x="1433" y="1024"/>
                      </a:lnTo>
                      <a:lnTo>
                        <a:pt x="1432" y="1024"/>
                      </a:lnTo>
                      <a:lnTo>
                        <a:pt x="1430" y="1024"/>
                      </a:lnTo>
                      <a:lnTo>
                        <a:pt x="1430" y="1022"/>
                      </a:lnTo>
                      <a:lnTo>
                        <a:pt x="1432" y="1020"/>
                      </a:lnTo>
                      <a:lnTo>
                        <a:pt x="1432" y="1019"/>
                      </a:lnTo>
                      <a:lnTo>
                        <a:pt x="1433" y="1018"/>
                      </a:lnTo>
                      <a:lnTo>
                        <a:pt x="1433" y="1017"/>
                      </a:lnTo>
                      <a:lnTo>
                        <a:pt x="1434" y="1017"/>
                      </a:lnTo>
                      <a:lnTo>
                        <a:pt x="1434" y="1016"/>
                      </a:lnTo>
                      <a:lnTo>
                        <a:pt x="1434" y="1015"/>
                      </a:lnTo>
                      <a:lnTo>
                        <a:pt x="1435" y="1015"/>
                      </a:lnTo>
                      <a:lnTo>
                        <a:pt x="1437" y="1014"/>
                      </a:lnTo>
                      <a:lnTo>
                        <a:pt x="1437" y="1015"/>
                      </a:lnTo>
                      <a:close/>
                      <a:moveTo>
                        <a:pt x="1123" y="965"/>
                      </a:moveTo>
                      <a:lnTo>
                        <a:pt x="1125" y="967"/>
                      </a:lnTo>
                      <a:lnTo>
                        <a:pt x="1126" y="968"/>
                      </a:lnTo>
                      <a:lnTo>
                        <a:pt x="1129" y="970"/>
                      </a:lnTo>
                      <a:lnTo>
                        <a:pt x="1128" y="970"/>
                      </a:lnTo>
                      <a:lnTo>
                        <a:pt x="1126" y="970"/>
                      </a:lnTo>
                      <a:lnTo>
                        <a:pt x="1125" y="970"/>
                      </a:lnTo>
                      <a:lnTo>
                        <a:pt x="1126" y="970"/>
                      </a:lnTo>
                      <a:lnTo>
                        <a:pt x="1126" y="969"/>
                      </a:lnTo>
                      <a:lnTo>
                        <a:pt x="1126" y="970"/>
                      </a:lnTo>
                      <a:lnTo>
                        <a:pt x="1126" y="969"/>
                      </a:lnTo>
                      <a:lnTo>
                        <a:pt x="1125" y="969"/>
                      </a:lnTo>
                      <a:lnTo>
                        <a:pt x="1125" y="970"/>
                      </a:lnTo>
                      <a:lnTo>
                        <a:pt x="1125" y="969"/>
                      </a:lnTo>
                      <a:lnTo>
                        <a:pt x="1125" y="968"/>
                      </a:lnTo>
                      <a:lnTo>
                        <a:pt x="1124" y="968"/>
                      </a:lnTo>
                      <a:lnTo>
                        <a:pt x="1124" y="969"/>
                      </a:lnTo>
                      <a:lnTo>
                        <a:pt x="1123" y="969"/>
                      </a:lnTo>
                      <a:lnTo>
                        <a:pt x="1122" y="969"/>
                      </a:lnTo>
                      <a:lnTo>
                        <a:pt x="1122" y="970"/>
                      </a:lnTo>
                      <a:lnTo>
                        <a:pt x="1121" y="969"/>
                      </a:lnTo>
                      <a:lnTo>
                        <a:pt x="1121" y="970"/>
                      </a:lnTo>
                      <a:lnTo>
                        <a:pt x="1120" y="970"/>
                      </a:lnTo>
                      <a:lnTo>
                        <a:pt x="1119" y="970"/>
                      </a:lnTo>
                      <a:lnTo>
                        <a:pt x="1120" y="970"/>
                      </a:lnTo>
                      <a:lnTo>
                        <a:pt x="1120" y="969"/>
                      </a:lnTo>
                      <a:lnTo>
                        <a:pt x="1121" y="969"/>
                      </a:lnTo>
                      <a:lnTo>
                        <a:pt x="1120" y="969"/>
                      </a:lnTo>
                      <a:lnTo>
                        <a:pt x="1120" y="968"/>
                      </a:lnTo>
                      <a:lnTo>
                        <a:pt x="1121" y="968"/>
                      </a:lnTo>
                      <a:lnTo>
                        <a:pt x="1121" y="967"/>
                      </a:lnTo>
                      <a:lnTo>
                        <a:pt x="1122" y="967"/>
                      </a:lnTo>
                      <a:lnTo>
                        <a:pt x="1122" y="966"/>
                      </a:lnTo>
                      <a:lnTo>
                        <a:pt x="1122" y="967"/>
                      </a:lnTo>
                      <a:lnTo>
                        <a:pt x="1123" y="967"/>
                      </a:lnTo>
                      <a:lnTo>
                        <a:pt x="1122" y="967"/>
                      </a:lnTo>
                      <a:lnTo>
                        <a:pt x="1123" y="966"/>
                      </a:lnTo>
                      <a:lnTo>
                        <a:pt x="1122" y="966"/>
                      </a:lnTo>
                      <a:lnTo>
                        <a:pt x="1123" y="966"/>
                      </a:lnTo>
                      <a:lnTo>
                        <a:pt x="1123" y="965"/>
                      </a:lnTo>
                      <a:close/>
                      <a:moveTo>
                        <a:pt x="1479" y="1084"/>
                      </a:moveTo>
                      <a:lnTo>
                        <a:pt x="1479" y="1086"/>
                      </a:lnTo>
                      <a:lnTo>
                        <a:pt x="1479" y="1088"/>
                      </a:lnTo>
                      <a:lnTo>
                        <a:pt x="1479" y="1089"/>
                      </a:lnTo>
                      <a:lnTo>
                        <a:pt x="1480" y="1089"/>
                      </a:lnTo>
                      <a:lnTo>
                        <a:pt x="1479" y="1089"/>
                      </a:lnTo>
                      <a:lnTo>
                        <a:pt x="1478" y="1089"/>
                      </a:lnTo>
                      <a:lnTo>
                        <a:pt x="1478" y="1090"/>
                      </a:lnTo>
                      <a:lnTo>
                        <a:pt x="1477" y="1090"/>
                      </a:lnTo>
                      <a:lnTo>
                        <a:pt x="1477" y="1091"/>
                      </a:lnTo>
                      <a:lnTo>
                        <a:pt x="1477" y="1092"/>
                      </a:lnTo>
                      <a:lnTo>
                        <a:pt x="1476" y="1092"/>
                      </a:lnTo>
                      <a:lnTo>
                        <a:pt x="1474" y="1091"/>
                      </a:lnTo>
                      <a:lnTo>
                        <a:pt x="1476" y="1091"/>
                      </a:lnTo>
                      <a:lnTo>
                        <a:pt x="1476" y="1090"/>
                      </a:lnTo>
                      <a:lnTo>
                        <a:pt x="1477" y="1090"/>
                      </a:lnTo>
                      <a:lnTo>
                        <a:pt x="1477" y="1089"/>
                      </a:lnTo>
                      <a:lnTo>
                        <a:pt x="1477" y="1088"/>
                      </a:lnTo>
                      <a:lnTo>
                        <a:pt x="1476" y="1089"/>
                      </a:lnTo>
                      <a:lnTo>
                        <a:pt x="1476" y="1088"/>
                      </a:lnTo>
                      <a:lnTo>
                        <a:pt x="1474" y="1088"/>
                      </a:lnTo>
                      <a:lnTo>
                        <a:pt x="1476" y="1088"/>
                      </a:lnTo>
                      <a:lnTo>
                        <a:pt x="1476" y="1086"/>
                      </a:lnTo>
                      <a:lnTo>
                        <a:pt x="1476" y="1085"/>
                      </a:lnTo>
                      <a:lnTo>
                        <a:pt x="1477" y="1085"/>
                      </a:lnTo>
                      <a:lnTo>
                        <a:pt x="1476" y="1085"/>
                      </a:lnTo>
                      <a:lnTo>
                        <a:pt x="1474" y="1085"/>
                      </a:lnTo>
                      <a:lnTo>
                        <a:pt x="1474" y="1086"/>
                      </a:lnTo>
                      <a:lnTo>
                        <a:pt x="1473" y="1085"/>
                      </a:lnTo>
                      <a:lnTo>
                        <a:pt x="1477" y="1084"/>
                      </a:lnTo>
                      <a:lnTo>
                        <a:pt x="1478" y="1084"/>
                      </a:lnTo>
                      <a:lnTo>
                        <a:pt x="1479" y="1084"/>
                      </a:lnTo>
                      <a:close/>
                      <a:moveTo>
                        <a:pt x="1117" y="825"/>
                      </a:moveTo>
                      <a:lnTo>
                        <a:pt x="1118" y="826"/>
                      </a:lnTo>
                      <a:lnTo>
                        <a:pt x="1118" y="825"/>
                      </a:lnTo>
                      <a:lnTo>
                        <a:pt x="1119" y="825"/>
                      </a:lnTo>
                      <a:lnTo>
                        <a:pt x="1119" y="826"/>
                      </a:lnTo>
                      <a:lnTo>
                        <a:pt x="1120" y="826"/>
                      </a:lnTo>
                      <a:lnTo>
                        <a:pt x="1120" y="827"/>
                      </a:lnTo>
                      <a:lnTo>
                        <a:pt x="1120" y="828"/>
                      </a:lnTo>
                      <a:lnTo>
                        <a:pt x="1120" y="829"/>
                      </a:lnTo>
                      <a:lnTo>
                        <a:pt x="1120" y="831"/>
                      </a:lnTo>
                      <a:lnTo>
                        <a:pt x="1119" y="831"/>
                      </a:lnTo>
                      <a:lnTo>
                        <a:pt x="1118" y="831"/>
                      </a:lnTo>
                      <a:lnTo>
                        <a:pt x="1118" y="829"/>
                      </a:lnTo>
                      <a:lnTo>
                        <a:pt x="1117" y="829"/>
                      </a:lnTo>
                      <a:lnTo>
                        <a:pt x="1117" y="828"/>
                      </a:lnTo>
                      <a:lnTo>
                        <a:pt x="1116" y="828"/>
                      </a:lnTo>
                      <a:lnTo>
                        <a:pt x="1115" y="828"/>
                      </a:lnTo>
                      <a:lnTo>
                        <a:pt x="1115" y="827"/>
                      </a:lnTo>
                      <a:lnTo>
                        <a:pt x="1115" y="826"/>
                      </a:lnTo>
                      <a:lnTo>
                        <a:pt x="1115" y="825"/>
                      </a:lnTo>
                      <a:lnTo>
                        <a:pt x="1115" y="826"/>
                      </a:lnTo>
                      <a:lnTo>
                        <a:pt x="1115" y="825"/>
                      </a:lnTo>
                      <a:lnTo>
                        <a:pt x="1116" y="825"/>
                      </a:lnTo>
                      <a:lnTo>
                        <a:pt x="1115" y="826"/>
                      </a:lnTo>
                      <a:lnTo>
                        <a:pt x="1116" y="826"/>
                      </a:lnTo>
                      <a:lnTo>
                        <a:pt x="1116" y="825"/>
                      </a:lnTo>
                      <a:lnTo>
                        <a:pt x="1117" y="825"/>
                      </a:lnTo>
                      <a:close/>
                      <a:moveTo>
                        <a:pt x="1022" y="964"/>
                      </a:moveTo>
                      <a:lnTo>
                        <a:pt x="1024" y="964"/>
                      </a:lnTo>
                      <a:lnTo>
                        <a:pt x="1022" y="964"/>
                      </a:lnTo>
                      <a:lnTo>
                        <a:pt x="1022" y="963"/>
                      </a:lnTo>
                      <a:lnTo>
                        <a:pt x="1024" y="964"/>
                      </a:lnTo>
                      <a:lnTo>
                        <a:pt x="1025" y="965"/>
                      </a:lnTo>
                      <a:lnTo>
                        <a:pt x="1026" y="965"/>
                      </a:lnTo>
                      <a:lnTo>
                        <a:pt x="1027" y="966"/>
                      </a:lnTo>
                      <a:lnTo>
                        <a:pt x="1027" y="967"/>
                      </a:lnTo>
                      <a:lnTo>
                        <a:pt x="1028" y="967"/>
                      </a:lnTo>
                      <a:lnTo>
                        <a:pt x="1030" y="967"/>
                      </a:lnTo>
                      <a:lnTo>
                        <a:pt x="1030" y="966"/>
                      </a:lnTo>
                      <a:lnTo>
                        <a:pt x="1030" y="967"/>
                      </a:lnTo>
                      <a:lnTo>
                        <a:pt x="1029" y="967"/>
                      </a:lnTo>
                      <a:lnTo>
                        <a:pt x="1029" y="968"/>
                      </a:lnTo>
                      <a:lnTo>
                        <a:pt x="1028" y="968"/>
                      </a:lnTo>
                      <a:lnTo>
                        <a:pt x="1027" y="968"/>
                      </a:lnTo>
                      <a:lnTo>
                        <a:pt x="1027" y="967"/>
                      </a:lnTo>
                      <a:lnTo>
                        <a:pt x="1027" y="966"/>
                      </a:lnTo>
                      <a:lnTo>
                        <a:pt x="1027" y="967"/>
                      </a:lnTo>
                      <a:lnTo>
                        <a:pt x="1026" y="967"/>
                      </a:lnTo>
                      <a:lnTo>
                        <a:pt x="1026" y="966"/>
                      </a:lnTo>
                      <a:lnTo>
                        <a:pt x="1026" y="967"/>
                      </a:lnTo>
                      <a:lnTo>
                        <a:pt x="1025" y="968"/>
                      </a:lnTo>
                      <a:lnTo>
                        <a:pt x="1024" y="968"/>
                      </a:lnTo>
                      <a:lnTo>
                        <a:pt x="1020" y="965"/>
                      </a:lnTo>
                      <a:lnTo>
                        <a:pt x="1021" y="965"/>
                      </a:lnTo>
                      <a:lnTo>
                        <a:pt x="1021" y="966"/>
                      </a:lnTo>
                      <a:lnTo>
                        <a:pt x="1021" y="965"/>
                      </a:lnTo>
                      <a:lnTo>
                        <a:pt x="1022" y="965"/>
                      </a:lnTo>
                      <a:lnTo>
                        <a:pt x="1022" y="966"/>
                      </a:lnTo>
                      <a:lnTo>
                        <a:pt x="1021" y="966"/>
                      </a:lnTo>
                      <a:lnTo>
                        <a:pt x="1022" y="966"/>
                      </a:lnTo>
                      <a:lnTo>
                        <a:pt x="1022" y="965"/>
                      </a:lnTo>
                      <a:lnTo>
                        <a:pt x="1021" y="965"/>
                      </a:lnTo>
                      <a:lnTo>
                        <a:pt x="1021" y="964"/>
                      </a:lnTo>
                      <a:lnTo>
                        <a:pt x="1020" y="964"/>
                      </a:lnTo>
                      <a:lnTo>
                        <a:pt x="1021" y="964"/>
                      </a:lnTo>
                      <a:lnTo>
                        <a:pt x="1021" y="963"/>
                      </a:lnTo>
                      <a:lnTo>
                        <a:pt x="1022" y="963"/>
                      </a:lnTo>
                      <a:lnTo>
                        <a:pt x="1022" y="964"/>
                      </a:lnTo>
                      <a:close/>
                      <a:moveTo>
                        <a:pt x="1056" y="978"/>
                      </a:moveTo>
                      <a:lnTo>
                        <a:pt x="1056" y="979"/>
                      </a:lnTo>
                      <a:lnTo>
                        <a:pt x="1056" y="980"/>
                      </a:lnTo>
                      <a:lnTo>
                        <a:pt x="1056" y="981"/>
                      </a:lnTo>
                      <a:lnTo>
                        <a:pt x="1056" y="982"/>
                      </a:lnTo>
                      <a:lnTo>
                        <a:pt x="1056" y="983"/>
                      </a:lnTo>
                      <a:lnTo>
                        <a:pt x="1055" y="983"/>
                      </a:lnTo>
                      <a:lnTo>
                        <a:pt x="1055" y="982"/>
                      </a:lnTo>
                      <a:lnTo>
                        <a:pt x="1054" y="982"/>
                      </a:lnTo>
                      <a:lnTo>
                        <a:pt x="1052" y="982"/>
                      </a:lnTo>
                      <a:lnTo>
                        <a:pt x="1052" y="981"/>
                      </a:lnTo>
                      <a:lnTo>
                        <a:pt x="1052" y="980"/>
                      </a:lnTo>
                      <a:lnTo>
                        <a:pt x="1053" y="980"/>
                      </a:lnTo>
                      <a:lnTo>
                        <a:pt x="1054" y="980"/>
                      </a:lnTo>
                      <a:lnTo>
                        <a:pt x="1053" y="980"/>
                      </a:lnTo>
                      <a:lnTo>
                        <a:pt x="1052" y="980"/>
                      </a:lnTo>
                      <a:lnTo>
                        <a:pt x="1052" y="981"/>
                      </a:lnTo>
                      <a:lnTo>
                        <a:pt x="1053" y="981"/>
                      </a:lnTo>
                      <a:lnTo>
                        <a:pt x="1052" y="981"/>
                      </a:lnTo>
                      <a:lnTo>
                        <a:pt x="1053" y="981"/>
                      </a:lnTo>
                      <a:lnTo>
                        <a:pt x="1054" y="981"/>
                      </a:lnTo>
                      <a:lnTo>
                        <a:pt x="1054" y="980"/>
                      </a:lnTo>
                      <a:lnTo>
                        <a:pt x="1054" y="979"/>
                      </a:lnTo>
                      <a:lnTo>
                        <a:pt x="1054" y="980"/>
                      </a:lnTo>
                      <a:lnTo>
                        <a:pt x="1053" y="980"/>
                      </a:lnTo>
                      <a:lnTo>
                        <a:pt x="1052" y="980"/>
                      </a:lnTo>
                      <a:lnTo>
                        <a:pt x="1052" y="981"/>
                      </a:lnTo>
                      <a:lnTo>
                        <a:pt x="1052" y="982"/>
                      </a:lnTo>
                      <a:lnTo>
                        <a:pt x="1051" y="982"/>
                      </a:lnTo>
                      <a:lnTo>
                        <a:pt x="1051" y="981"/>
                      </a:lnTo>
                      <a:lnTo>
                        <a:pt x="1051" y="980"/>
                      </a:lnTo>
                      <a:lnTo>
                        <a:pt x="1051" y="979"/>
                      </a:lnTo>
                      <a:lnTo>
                        <a:pt x="1052" y="979"/>
                      </a:lnTo>
                      <a:lnTo>
                        <a:pt x="1051" y="978"/>
                      </a:lnTo>
                      <a:lnTo>
                        <a:pt x="1052" y="978"/>
                      </a:lnTo>
                      <a:lnTo>
                        <a:pt x="1052" y="979"/>
                      </a:lnTo>
                      <a:lnTo>
                        <a:pt x="1053" y="979"/>
                      </a:lnTo>
                      <a:lnTo>
                        <a:pt x="1053" y="978"/>
                      </a:lnTo>
                      <a:lnTo>
                        <a:pt x="1053" y="979"/>
                      </a:lnTo>
                      <a:lnTo>
                        <a:pt x="1052" y="979"/>
                      </a:lnTo>
                      <a:lnTo>
                        <a:pt x="1053" y="979"/>
                      </a:lnTo>
                      <a:lnTo>
                        <a:pt x="1054" y="979"/>
                      </a:lnTo>
                      <a:lnTo>
                        <a:pt x="1055" y="979"/>
                      </a:lnTo>
                      <a:lnTo>
                        <a:pt x="1052" y="978"/>
                      </a:lnTo>
                      <a:lnTo>
                        <a:pt x="1056" y="979"/>
                      </a:lnTo>
                      <a:lnTo>
                        <a:pt x="1056" y="978"/>
                      </a:lnTo>
                      <a:lnTo>
                        <a:pt x="1053" y="978"/>
                      </a:lnTo>
                      <a:lnTo>
                        <a:pt x="1052" y="978"/>
                      </a:lnTo>
                      <a:lnTo>
                        <a:pt x="1054" y="978"/>
                      </a:lnTo>
                      <a:lnTo>
                        <a:pt x="1055" y="978"/>
                      </a:lnTo>
                      <a:lnTo>
                        <a:pt x="1055" y="977"/>
                      </a:lnTo>
                      <a:lnTo>
                        <a:pt x="1056" y="977"/>
                      </a:lnTo>
                      <a:lnTo>
                        <a:pt x="1056" y="976"/>
                      </a:lnTo>
                      <a:lnTo>
                        <a:pt x="1056" y="975"/>
                      </a:lnTo>
                      <a:lnTo>
                        <a:pt x="1056" y="974"/>
                      </a:lnTo>
                      <a:lnTo>
                        <a:pt x="1057" y="974"/>
                      </a:lnTo>
                      <a:lnTo>
                        <a:pt x="1057" y="973"/>
                      </a:lnTo>
                      <a:lnTo>
                        <a:pt x="1057" y="974"/>
                      </a:lnTo>
                      <a:lnTo>
                        <a:pt x="1057" y="975"/>
                      </a:lnTo>
                      <a:lnTo>
                        <a:pt x="1056" y="975"/>
                      </a:lnTo>
                      <a:lnTo>
                        <a:pt x="1056" y="976"/>
                      </a:lnTo>
                      <a:lnTo>
                        <a:pt x="1056" y="977"/>
                      </a:lnTo>
                      <a:lnTo>
                        <a:pt x="1056" y="978"/>
                      </a:lnTo>
                      <a:close/>
                      <a:moveTo>
                        <a:pt x="1074" y="988"/>
                      </a:moveTo>
                      <a:lnTo>
                        <a:pt x="1076" y="988"/>
                      </a:lnTo>
                      <a:lnTo>
                        <a:pt x="1077" y="988"/>
                      </a:lnTo>
                      <a:lnTo>
                        <a:pt x="1078" y="988"/>
                      </a:lnTo>
                      <a:lnTo>
                        <a:pt x="1078" y="989"/>
                      </a:lnTo>
                      <a:lnTo>
                        <a:pt x="1078" y="990"/>
                      </a:lnTo>
                      <a:lnTo>
                        <a:pt x="1078" y="991"/>
                      </a:lnTo>
                      <a:lnTo>
                        <a:pt x="1079" y="991"/>
                      </a:lnTo>
                      <a:lnTo>
                        <a:pt x="1079" y="990"/>
                      </a:lnTo>
                      <a:lnTo>
                        <a:pt x="1079" y="989"/>
                      </a:lnTo>
                      <a:lnTo>
                        <a:pt x="1078" y="989"/>
                      </a:lnTo>
                      <a:lnTo>
                        <a:pt x="1079" y="989"/>
                      </a:lnTo>
                      <a:lnTo>
                        <a:pt x="1079" y="988"/>
                      </a:lnTo>
                      <a:lnTo>
                        <a:pt x="1079" y="991"/>
                      </a:lnTo>
                      <a:lnTo>
                        <a:pt x="1078" y="991"/>
                      </a:lnTo>
                      <a:lnTo>
                        <a:pt x="1076" y="991"/>
                      </a:lnTo>
                      <a:lnTo>
                        <a:pt x="1077" y="990"/>
                      </a:lnTo>
                      <a:lnTo>
                        <a:pt x="1078" y="989"/>
                      </a:lnTo>
                      <a:lnTo>
                        <a:pt x="1078" y="988"/>
                      </a:lnTo>
                      <a:lnTo>
                        <a:pt x="1076" y="991"/>
                      </a:lnTo>
                      <a:lnTo>
                        <a:pt x="1073" y="991"/>
                      </a:lnTo>
                      <a:lnTo>
                        <a:pt x="1072" y="991"/>
                      </a:lnTo>
                      <a:lnTo>
                        <a:pt x="1072" y="990"/>
                      </a:lnTo>
                      <a:lnTo>
                        <a:pt x="1072" y="988"/>
                      </a:lnTo>
                      <a:lnTo>
                        <a:pt x="1073" y="988"/>
                      </a:lnTo>
                      <a:lnTo>
                        <a:pt x="1073" y="987"/>
                      </a:lnTo>
                      <a:lnTo>
                        <a:pt x="1074" y="987"/>
                      </a:lnTo>
                      <a:lnTo>
                        <a:pt x="1074" y="988"/>
                      </a:lnTo>
                      <a:close/>
                      <a:moveTo>
                        <a:pt x="1156" y="1035"/>
                      </a:moveTo>
                      <a:lnTo>
                        <a:pt x="1156" y="1037"/>
                      </a:lnTo>
                      <a:lnTo>
                        <a:pt x="1157" y="1037"/>
                      </a:lnTo>
                      <a:lnTo>
                        <a:pt x="1156" y="1037"/>
                      </a:lnTo>
                      <a:lnTo>
                        <a:pt x="1157" y="1037"/>
                      </a:lnTo>
                      <a:lnTo>
                        <a:pt x="1161" y="1038"/>
                      </a:lnTo>
                      <a:lnTo>
                        <a:pt x="1162" y="1038"/>
                      </a:lnTo>
                      <a:lnTo>
                        <a:pt x="1168" y="1040"/>
                      </a:lnTo>
                      <a:lnTo>
                        <a:pt x="1174" y="1041"/>
                      </a:lnTo>
                      <a:lnTo>
                        <a:pt x="1173" y="1041"/>
                      </a:lnTo>
                      <a:lnTo>
                        <a:pt x="1172" y="1041"/>
                      </a:lnTo>
                      <a:lnTo>
                        <a:pt x="1171" y="1041"/>
                      </a:lnTo>
                      <a:lnTo>
                        <a:pt x="1170" y="1041"/>
                      </a:lnTo>
                      <a:lnTo>
                        <a:pt x="1170" y="1040"/>
                      </a:lnTo>
                      <a:lnTo>
                        <a:pt x="1169" y="1040"/>
                      </a:lnTo>
                      <a:lnTo>
                        <a:pt x="1168" y="1040"/>
                      </a:lnTo>
                      <a:lnTo>
                        <a:pt x="1166" y="1040"/>
                      </a:lnTo>
                      <a:lnTo>
                        <a:pt x="1164" y="1039"/>
                      </a:lnTo>
                      <a:lnTo>
                        <a:pt x="1163" y="1039"/>
                      </a:lnTo>
                      <a:lnTo>
                        <a:pt x="1162" y="1039"/>
                      </a:lnTo>
                      <a:lnTo>
                        <a:pt x="1159" y="1038"/>
                      </a:lnTo>
                      <a:lnTo>
                        <a:pt x="1158" y="1038"/>
                      </a:lnTo>
                      <a:lnTo>
                        <a:pt x="1157" y="1038"/>
                      </a:lnTo>
                      <a:lnTo>
                        <a:pt x="1153" y="1037"/>
                      </a:lnTo>
                      <a:lnTo>
                        <a:pt x="1151" y="1037"/>
                      </a:lnTo>
                      <a:lnTo>
                        <a:pt x="1150" y="1037"/>
                      </a:lnTo>
                      <a:lnTo>
                        <a:pt x="1150" y="1035"/>
                      </a:lnTo>
                      <a:lnTo>
                        <a:pt x="1151" y="1035"/>
                      </a:lnTo>
                      <a:lnTo>
                        <a:pt x="1151" y="1034"/>
                      </a:lnTo>
                      <a:lnTo>
                        <a:pt x="1153" y="1034"/>
                      </a:lnTo>
                      <a:lnTo>
                        <a:pt x="1154" y="1035"/>
                      </a:lnTo>
                      <a:lnTo>
                        <a:pt x="1155" y="1035"/>
                      </a:lnTo>
                      <a:lnTo>
                        <a:pt x="1156" y="1035"/>
                      </a:lnTo>
                      <a:close/>
                      <a:moveTo>
                        <a:pt x="1120" y="743"/>
                      </a:moveTo>
                      <a:lnTo>
                        <a:pt x="1121" y="743"/>
                      </a:lnTo>
                      <a:lnTo>
                        <a:pt x="1122" y="743"/>
                      </a:lnTo>
                      <a:lnTo>
                        <a:pt x="1123" y="743"/>
                      </a:lnTo>
                      <a:lnTo>
                        <a:pt x="1124" y="743"/>
                      </a:lnTo>
                      <a:lnTo>
                        <a:pt x="1124" y="744"/>
                      </a:lnTo>
                      <a:lnTo>
                        <a:pt x="1123" y="744"/>
                      </a:lnTo>
                      <a:lnTo>
                        <a:pt x="1124" y="745"/>
                      </a:lnTo>
                      <a:lnTo>
                        <a:pt x="1124" y="746"/>
                      </a:lnTo>
                      <a:lnTo>
                        <a:pt x="1124" y="747"/>
                      </a:lnTo>
                      <a:lnTo>
                        <a:pt x="1124" y="748"/>
                      </a:lnTo>
                      <a:lnTo>
                        <a:pt x="1124" y="749"/>
                      </a:lnTo>
                      <a:lnTo>
                        <a:pt x="1123" y="749"/>
                      </a:lnTo>
                      <a:lnTo>
                        <a:pt x="1122" y="749"/>
                      </a:lnTo>
                      <a:lnTo>
                        <a:pt x="1122" y="748"/>
                      </a:lnTo>
                      <a:lnTo>
                        <a:pt x="1122" y="749"/>
                      </a:lnTo>
                      <a:lnTo>
                        <a:pt x="1121" y="749"/>
                      </a:lnTo>
                      <a:lnTo>
                        <a:pt x="1120" y="749"/>
                      </a:lnTo>
                      <a:lnTo>
                        <a:pt x="1121" y="749"/>
                      </a:lnTo>
                      <a:lnTo>
                        <a:pt x="1121" y="748"/>
                      </a:lnTo>
                      <a:lnTo>
                        <a:pt x="1120" y="748"/>
                      </a:lnTo>
                      <a:lnTo>
                        <a:pt x="1120" y="747"/>
                      </a:lnTo>
                      <a:lnTo>
                        <a:pt x="1120" y="746"/>
                      </a:lnTo>
                      <a:lnTo>
                        <a:pt x="1121" y="746"/>
                      </a:lnTo>
                      <a:lnTo>
                        <a:pt x="1121" y="747"/>
                      </a:lnTo>
                      <a:lnTo>
                        <a:pt x="1122" y="747"/>
                      </a:lnTo>
                      <a:lnTo>
                        <a:pt x="1121" y="747"/>
                      </a:lnTo>
                      <a:lnTo>
                        <a:pt x="1121" y="746"/>
                      </a:lnTo>
                      <a:lnTo>
                        <a:pt x="1122" y="746"/>
                      </a:lnTo>
                      <a:lnTo>
                        <a:pt x="1122" y="745"/>
                      </a:lnTo>
                      <a:lnTo>
                        <a:pt x="1122" y="744"/>
                      </a:lnTo>
                      <a:lnTo>
                        <a:pt x="1121" y="744"/>
                      </a:lnTo>
                      <a:lnTo>
                        <a:pt x="1121" y="745"/>
                      </a:lnTo>
                      <a:lnTo>
                        <a:pt x="1120" y="744"/>
                      </a:lnTo>
                      <a:lnTo>
                        <a:pt x="1120" y="743"/>
                      </a:lnTo>
                      <a:lnTo>
                        <a:pt x="1119" y="743"/>
                      </a:lnTo>
                      <a:lnTo>
                        <a:pt x="1120" y="743"/>
                      </a:lnTo>
                      <a:close/>
                      <a:moveTo>
                        <a:pt x="1337" y="1176"/>
                      </a:moveTo>
                      <a:lnTo>
                        <a:pt x="1337" y="1178"/>
                      </a:lnTo>
                      <a:lnTo>
                        <a:pt x="1338" y="1178"/>
                      </a:lnTo>
                      <a:lnTo>
                        <a:pt x="1338" y="1179"/>
                      </a:lnTo>
                      <a:lnTo>
                        <a:pt x="1339" y="1179"/>
                      </a:lnTo>
                      <a:lnTo>
                        <a:pt x="1338" y="1178"/>
                      </a:lnTo>
                      <a:lnTo>
                        <a:pt x="1339" y="1178"/>
                      </a:lnTo>
                      <a:lnTo>
                        <a:pt x="1339" y="1176"/>
                      </a:lnTo>
                      <a:lnTo>
                        <a:pt x="1339" y="1178"/>
                      </a:lnTo>
                      <a:lnTo>
                        <a:pt x="1339" y="1176"/>
                      </a:lnTo>
                      <a:lnTo>
                        <a:pt x="1340" y="1176"/>
                      </a:lnTo>
                      <a:lnTo>
                        <a:pt x="1340" y="1175"/>
                      </a:lnTo>
                      <a:lnTo>
                        <a:pt x="1341" y="1176"/>
                      </a:lnTo>
                      <a:lnTo>
                        <a:pt x="1340" y="1176"/>
                      </a:lnTo>
                      <a:lnTo>
                        <a:pt x="1341" y="1176"/>
                      </a:lnTo>
                      <a:lnTo>
                        <a:pt x="1341" y="1178"/>
                      </a:lnTo>
                      <a:lnTo>
                        <a:pt x="1340" y="1178"/>
                      </a:lnTo>
                      <a:lnTo>
                        <a:pt x="1340" y="1179"/>
                      </a:lnTo>
                      <a:lnTo>
                        <a:pt x="1341" y="1179"/>
                      </a:lnTo>
                      <a:lnTo>
                        <a:pt x="1341" y="1178"/>
                      </a:lnTo>
                      <a:lnTo>
                        <a:pt x="1342" y="1179"/>
                      </a:lnTo>
                      <a:lnTo>
                        <a:pt x="1341" y="1179"/>
                      </a:lnTo>
                      <a:lnTo>
                        <a:pt x="1340" y="1180"/>
                      </a:lnTo>
                      <a:lnTo>
                        <a:pt x="1340" y="1179"/>
                      </a:lnTo>
                      <a:lnTo>
                        <a:pt x="1340" y="1180"/>
                      </a:lnTo>
                      <a:lnTo>
                        <a:pt x="1339" y="1180"/>
                      </a:lnTo>
                      <a:lnTo>
                        <a:pt x="1338" y="1180"/>
                      </a:lnTo>
                      <a:lnTo>
                        <a:pt x="1338" y="1181"/>
                      </a:lnTo>
                      <a:lnTo>
                        <a:pt x="1337" y="1181"/>
                      </a:lnTo>
                      <a:lnTo>
                        <a:pt x="1336" y="1180"/>
                      </a:lnTo>
                      <a:lnTo>
                        <a:pt x="1337" y="1180"/>
                      </a:lnTo>
                      <a:lnTo>
                        <a:pt x="1336" y="1180"/>
                      </a:lnTo>
                      <a:lnTo>
                        <a:pt x="1335" y="1180"/>
                      </a:lnTo>
                      <a:lnTo>
                        <a:pt x="1335" y="1181"/>
                      </a:lnTo>
                      <a:lnTo>
                        <a:pt x="1334" y="1181"/>
                      </a:lnTo>
                      <a:lnTo>
                        <a:pt x="1334" y="1182"/>
                      </a:lnTo>
                      <a:lnTo>
                        <a:pt x="1334" y="1181"/>
                      </a:lnTo>
                      <a:lnTo>
                        <a:pt x="1334" y="1180"/>
                      </a:lnTo>
                      <a:lnTo>
                        <a:pt x="1335" y="1180"/>
                      </a:lnTo>
                      <a:lnTo>
                        <a:pt x="1334" y="1180"/>
                      </a:lnTo>
                      <a:lnTo>
                        <a:pt x="1335" y="1179"/>
                      </a:lnTo>
                      <a:lnTo>
                        <a:pt x="1335" y="1178"/>
                      </a:lnTo>
                      <a:lnTo>
                        <a:pt x="1335" y="1179"/>
                      </a:lnTo>
                      <a:lnTo>
                        <a:pt x="1336" y="1178"/>
                      </a:lnTo>
                      <a:lnTo>
                        <a:pt x="1336" y="1179"/>
                      </a:lnTo>
                      <a:lnTo>
                        <a:pt x="1337" y="1179"/>
                      </a:lnTo>
                      <a:lnTo>
                        <a:pt x="1337" y="1178"/>
                      </a:lnTo>
                      <a:lnTo>
                        <a:pt x="1336" y="1178"/>
                      </a:lnTo>
                      <a:lnTo>
                        <a:pt x="1336" y="1176"/>
                      </a:lnTo>
                      <a:lnTo>
                        <a:pt x="1336" y="1175"/>
                      </a:lnTo>
                      <a:lnTo>
                        <a:pt x="1337" y="1176"/>
                      </a:lnTo>
                      <a:close/>
                      <a:moveTo>
                        <a:pt x="1273" y="1249"/>
                      </a:moveTo>
                      <a:lnTo>
                        <a:pt x="1273" y="1250"/>
                      </a:lnTo>
                      <a:lnTo>
                        <a:pt x="1274" y="1250"/>
                      </a:lnTo>
                      <a:lnTo>
                        <a:pt x="1275" y="1250"/>
                      </a:lnTo>
                      <a:lnTo>
                        <a:pt x="1275" y="1251"/>
                      </a:lnTo>
                      <a:lnTo>
                        <a:pt x="1274" y="1251"/>
                      </a:lnTo>
                      <a:lnTo>
                        <a:pt x="1274" y="1252"/>
                      </a:lnTo>
                      <a:lnTo>
                        <a:pt x="1274" y="1251"/>
                      </a:lnTo>
                      <a:lnTo>
                        <a:pt x="1273" y="1251"/>
                      </a:lnTo>
                      <a:lnTo>
                        <a:pt x="1273" y="1252"/>
                      </a:lnTo>
                      <a:lnTo>
                        <a:pt x="1274" y="1252"/>
                      </a:lnTo>
                      <a:lnTo>
                        <a:pt x="1274" y="1253"/>
                      </a:lnTo>
                      <a:lnTo>
                        <a:pt x="1273" y="1253"/>
                      </a:lnTo>
                      <a:lnTo>
                        <a:pt x="1272" y="1255"/>
                      </a:lnTo>
                      <a:lnTo>
                        <a:pt x="1272" y="1256"/>
                      </a:lnTo>
                      <a:lnTo>
                        <a:pt x="1272" y="1257"/>
                      </a:lnTo>
                      <a:lnTo>
                        <a:pt x="1271" y="1258"/>
                      </a:lnTo>
                      <a:lnTo>
                        <a:pt x="1270" y="1258"/>
                      </a:lnTo>
                      <a:lnTo>
                        <a:pt x="1268" y="1257"/>
                      </a:lnTo>
                      <a:lnTo>
                        <a:pt x="1268" y="1256"/>
                      </a:lnTo>
                      <a:lnTo>
                        <a:pt x="1270" y="1256"/>
                      </a:lnTo>
                      <a:lnTo>
                        <a:pt x="1270" y="1255"/>
                      </a:lnTo>
                      <a:lnTo>
                        <a:pt x="1271" y="1253"/>
                      </a:lnTo>
                      <a:lnTo>
                        <a:pt x="1271" y="1252"/>
                      </a:lnTo>
                      <a:lnTo>
                        <a:pt x="1272" y="1252"/>
                      </a:lnTo>
                      <a:lnTo>
                        <a:pt x="1272" y="1251"/>
                      </a:lnTo>
                      <a:lnTo>
                        <a:pt x="1272" y="1250"/>
                      </a:lnTo>
                      <a:lnTo>
                        <a:pt x="1273" y="1249"/>
                      </a:lnTo>
                      <a:close/>
                      <a:moveTo>
                        <a:pt x="1308" y="1108"/>
                      </a:moveTo>
                      <a:lnTo>
                        <a:pt x="1309" y="1108"/>
                      </a:lnTo>
                      <a:lnTo>
                        <a:pt x="1309" y="1110"/>
                      </a:lnTo>
                      <a:lnTo>
                        <a:pt x="1309" y="1111"/>
                      </a:lnTo>
                      <a:lnTo>
                        <a:pt x="1309" y="1112"/>
                      </a:lnTo>
                      <a:lnTo>
                        <a:pt x="1309" y="1114"/>
                      </a:lnTo>
                      <a:lnTo>
                        <a:pt x="1309" y="1115"/>
                      </a:lnTo>
                      <a:lnTo>
                        <a:pt x="1308" y="1115"/>
                      </a:lnTo>
                      <a:lnTo>
                        <a:pt x="1308" y="1116"/>
                      </a:lnTo>
                      <a:lnTo>
                        <a:pt x="1308" y="1117"/>
                      </a:lnTo>
                      <a:lnTo>
                        <a:pt x="1306" y="1118"/>
                      </a:lnTo>
                      <a:lnTo>
                        <a:pt x="1306" y="1117"/>
                      </a:lnTo>
                      <a:lnTo>
                        <a:pt x="1306" y="1116"/>
                      </a:lnTo>
                      <a:lnTo>
                        <a:pt x="1306" y="1115"/>
                      </a:lnTo>
                      <a:lnTo>
                        <a:pt x="1308" y="1115"/>
                      </a:lnTo>
                      <a:lnTo>
                        <a:pt x="1308" y="1114"/>
                      </a:lnTo>
                      <a:lnTo>
                        <a:pt x="1306" y="1112"/>
                      </a:lnTo>
                      <a:lnTo>
                        <a:pt x="1306" y="1114"/>
                      </a:lnTo>
                      <a:lnTo>
                        <a:pt x="1305" y="1114"/>
                      </a:lnTo>
                      <a:lnTo>
                        <a:pt x="1305" y="1115"/>
                      </a:lnTo>
                      <a:lnTo>
                        <a:pt x="1304" y="1115"/>
                      </a:lnTo>
                      <a:lnTo>
                        <a:pt x="1304" y="1116"/>
                      </a:lnTo>
                      <a:lnTo>
                        <a:pt x="1304" y="1115"/>
                      </a:lnTo>
                      <a:lnTo>
                        <a:pt x="1303" y="1115"/>
                      </a:lnTo>
                      <a:lnTo>
                        <a:pt x="1304" y="1112"/>
                      </a:lnTo>
                      <a:lnTo>
                        <a:pt x="1303" y="1112"/>
                      </a:lnTo>
                      <a:lnTo>
                        <a:pt x="1302" y="1114"/>
                      </a:lnTo>
                      <a:lnTo>
                        <a:pt x="1303" y="1111"/>
                      </a:lnTo>
                      <a:lnTo>
                        <a:pt x="1304" y="1111"/>
                      </a:lnTo>
                      <a:lnTo>
                        <a:pt x="1303" y="1111"/>
                      </a:lnTo>
                      <a:lnTo>
                        <a:pt x="1304" y="1111"/>
                      </a:lnTo>
                      <a:lnTo>
                        <a:pt x="1305" y="1111"/>
                      </a:lnTo>
                      <a:lnTo>
                        <a:pt x="1306" y="1111"/>
                      </a:lnTo>
                      <a:lnTo>
                        <a:pt x="1306" y="1112"/>
                      </a:lnTo>
                      <a:lnTo>
                        <a:pt x="1308" y="1112"/>
                      </a:lnTo>
                      <a:lnTo>
                        <a:pt x="1308" y="1111"/>
                      </a:lnTo>
                      <a:lnTo>
                        <a:pt x="1308" y="1110"/>
                      </a:lnTo>
                      <a:lnTo>
                        <a:pt x="1306" y="1110"/>
                      </a:lnTo>
                      <a:lnTo>
                        <a:pt x="1306" y="1109"/>
                      </a:lnTo>
                      <a:lnTo>
                        <a:pt x="1308" y="1108"/>
                      </a:lnTo>
                      <a:lnTo>
                        <a:pt x="1306" y="1108"/>
                      </a:lnTo>
                      <a:lnTo>
                        <a:pt x="1308" y="1108"/>
                      </a:lnTo>
                      <a:close/>
                      <a:moveTo>
                        <a:pt x="1371" y="1131"/>
                      </a:moveTo>
                      <a:lnTo>
                        <a:pt x="1371" y="1132"/>
                      </a:lnTo>
                      <a:lnTo>
                        <a:pt x="1371" y="1131"/>
                      </a:lnTo>
                      <a:lnTo>
                        <a:pt x="1373" y="1132"/>
                      </a:lnTo>
                      <a:lnTo>
                        <a:pt x="1373" y="1133"/>
                      </a:lnTo>
                      <a:lnTo>
                        <a:pt x="1374" y="1133"/>
                      </a:lnTo>
                      <a:lnTo>
                        <a:pt x="1373" y="1133"/>
                      </a:lnTo>
                      <a:lnTo>
                        <a:pt x="1374" y="1134"/>
                      </a:lnTo>
                      <a:lnTo>
                        <a:pt x="1374" y="1135"/>
                      </a:lnTo>
                      <a:lnTo>
                        <a:pt x="1374" y="1136"/>
                      </a:lnTo>
                      <a:lnTo>
                        <a:pt x="1375" y="1137"/>
                      </a:lnTo>
                      <a:lnTo>
                        <a:pt x="1374" y="1137"/>
                      </a:lnTo>
                      <a:lnTo>
                        <a:pt x="1374" y="1136"/>
                      </a:lnTo>
                      <a:lnTo>
                        <a:pt x="1373" y="1136"/>
                      </a:lnTo>
                      <a:lnTo>
                        <a:pt x="1373" y="1135"/>
                      </a:lnTo>
                      <a:lnTo>
                        <a:pt x="1371" y="1135"/>
                      </a:lnTo>
                      <a:lnTo>
                        <a:pt x="1371" y="1134"/>
                      </a:lnTo>
                      <a:lnTo>
                        <a:pt x="1370" y="1133"/>
                      </a:lnTo>
                      <a:lnTo>
                        <a:pt x="1371" y="1133"/>
                      </a:lnTo>
                      <a:lnTo>
                        <a:pt x="1371" y="1132"/>
                      </a:lnTo>
                      <a:lnTo>
                        <a:pt x="1370" y="1132"/>
                      </a:lnTo>
                      <a:lnTo>
                        <a:pt x="1370" y="1133"/>
                      </a:lnTo>
                      <a:lnTo>
                        <a:pt x="1370" y="1134"/>
                      </a:lnTo>
                      <a:lnTo>
                        <a:pt x="1370" y="1135"/>
                      </a:lnTo>
                      <a:lnTo>
                        <a:pt x="1369" y="1135"/>
                      </a:lnTo>
                      <a:lnTo>
                        <a:pt x="1370" y="1135"/>
                      </a:lnTo>
                      <a:lnTo>
                        <a:pt x="1370" y="1136"/>
                      </a:lnTo>
                      <a:lnTo>
                        <a:pt x="1370" y="1135"/>
                      </a:lnTo>
                      <a:lnTo>
                        <a:pt x="1371" y="1135"/>
                      </a:lnTo>
                      <a:lnTo>
                        <a:pt x="1371" y="1136"/>
                      </a:lnTo>
                      <a:lnTo>
                        <a:pt x="1370" y="1136"/>
                      </a:lnTo>
                      <a:lnTo>
                        <a:pt x="1369" y="1136"/>
                      </a:lnTo>
                      <a:lnTo>
                        <a:pt x="1369" y="1137"/>
                      </a:lnTo>
                      <a:lnTo>
                        <a:pt x="1370" y="1137"/>
                      </a:lnTo>
                      <a:lnTo>
                        <a:pt x="1370" y="1138"/>
                      </a:lnTo>
                      <a:lnTo>
                        <a:pt x="1371" y="1138"/>
                      </a:lnTo>
                      <a:lnTo>
                        <a:pt x="1370" y="1137"/>
                      </a:lnTo>
                      <a:lnTo>
                        <a:pt x="1369" y="1137"/>
                      </a:lnTo>
                      <a:lnTo>
                        <a:pt x="1369" y="1136"/>
                      </a:lnTo>
                      <a:lnTo>
                        <a:pt x="1369" y="1135"/>
                      </a:lnTo>
                      <a:lnTo>
                        <a:pt x="1369" y="1134"/>
                      </a:lnTo>
                      <a:lnTo>
                        <a:pt x="1369" y="1133"/>
                      </a:lnTo>
                      <a:lnTo>
                        <a:pt x="1370" y="1132"/>
                      </a:lnTo>
                      <a:lnTo>
                        <a:pt x="1370" y="1131"/>
                      </a:lnTo>
                      <a:lnTo>
                        <a:pt x="1371" y="1131"/>
                      </a:lnTo>
                      <a:close/>
                      <a:moveTo>
                        <a:pt x="1028" y="970"/>
                      </a:moveTo>
                      <a:lnTo>
                        <a:pt x="1027" y="970"/>
                      </a:lnTo>
                      <a:lnTo>
                        <a:pt x="1027" y="971"/>
                      </a:lnTo>
                      <a:lnTo>
                        <a:pt x="1026" y="970"/>
                      </a:lnTo>
                      <a:lnTo>
                        <a:pt x="1026" y="971"/>
                      </a:lnTo>
                      <a:lnTo>
                        <a:pt x="1027" y="971"/>
                      </a:lnTo>
                      <a:lnTo>
                        <a:pt x="1027" y="973"/>
                      </a:lnTo>
                      <a:lnTo>
                        <a:pt x="1026" y="973"/>
                      </a:lnTo>
                      <a:lnTo>
                        <a:pt x="1027" y="973"/>
                      </a:lnTo>
                      <a:lnTo>
                        <a:pt x="1026" y="971"/>
                      </a:lnTo>
                      <a:lnTo>
                        <a:pt x="1026" y="973"/>
                      </a:lnTo>
                      <a:lnTo>
                        <a:pt x="1025" y="973"/>
                      </a:lnTo>
                      <a:lnTo>
                        <a:pt x="1026" y="973"/>
                      </a:lnTo>
                      <a:lnTo>
                        <a:pt x="1026" y="974"/>
                      </a:lnTo>
                      <a:lnTo>
                        <a:pt x="1025" y="973"/>
                      </a:lnTo>
                      <a:lnTo>
                        <a:pt x="1025" y="974"/>
                      </a:lnTo>
                      <a:lnTo>
                        <a:pt x="1025" y="975"/>
                      </a:lnTo>
                      <a:lnTo>
                        <a:pt x="1026" y="975"/>
                      </a:lnTo>
                      <a:lnTo>
                        <a:pt x="1025" y="976"/>
                      </a:lnTo>
                      <a:lnTo>
                        <a:pt x="1024" y="976"/>
                      </a:lnTo>
                      <a:lnTo>
                        <a:pt x="1024" y="975"/>
                      </a:lnTo>
                      <a:lnTo>
                        <a:pt x="1022" y="975"/>
                      </a:lnTo>
                      <a:lnTo>
                        <a:pt x="1021" y="975"/>
                      </a:lnTo>
                      <a:lnTo>
                        <a:pt x="1021" y="974"/>
                      </a:lnTo>
                      <a:lnTo>
                        <a:pt x="1022" y="974"/>
                      </a:lnTo>
                      <a:lnTo>
                        <a:pt x="1022" y="973"/>
                      </a:lnTo>
                      <a:lnTo>
                        <a:pt x="1021" y="973"/>
                      </a:lnTo>
                      <a:lnTo>
                        <a:pt x="1021" y="971"/>
                      </a:lnTo>
                      <a:lnTo>
                        <a:pt x="1022" y="971"/>
                      </a:lnTo>
                      <a:lnTo>
                        <a:pt x="1024" y="971"/>
                      </a:lnTo>
                      <a:lnTo>
                        <a:pt x="1024" y="973"/>
                      </a:lnTo>
                      <a:lnTo>
                        <a:pt x="1024" y="971"/>
                      </a:lnTo>
                      <a:lnTo>
                        <a:pt x="1024" y="973"/>
                      </a:lnTo>
                      <a:lnTo>
                        <a:pt x="1025" y="973"/>
                      </a:lnTo>
                      <a:lnTo>
                        <a:pt x="1025" y="971"/>
                      </a:lnTo>
                      <a:lnTo>
                        <a:pt x="1024" y="971"/>
                      </a:lnTo>
                      <a:lnTo>
                        <a:pt x="1025" y="971"/>
                      </a:lnTo>
                      <a:lnTo>
                        <a:pt x="1024" y="971"/>
                      </a:lnTo>
                      <a:lnTo>
                        <a:pt x="1024" y="970"/>
                      </a:lnTo>
                      <a:lnTo>
                        <a:pt x="1024" y="971"/>
                      </a:lnTo>
                      <a:lnTo>
                        <a:pt x="1024" y="970"/>
                      </a:lnTo>
                      <a:lnTo>
                        <a:pt x="1025" y="970"/>
                      </a:lnTo>
                      <a:lnTo>
                        <a:pt x="1024" y="970"/>
                      </a:lnTo>
                      <a:lnTo>
                        <a:pt x="1024" y="969"/>
                      </a:lnTo>
                      <a:lnTo>
                        <a:pt x="1025" y="969"/>
                      </a:lnTo>
                      <a:lnTo>
                        <a:pt x="1026" y="969"/>
                      </a:lnTo>
                      <a:lnTo>
                        <a:pt x="1028" y="970"/>
                      </a:lnTo>
                      <a:close/>
                      <a:moveTo>
                        <a:pt x="1143" y="846"/>
                      </a:moveTo>
                      <a:lnTo>
                        <a:pt x="1143" y="847"/>
                      </a:lnTo>
                      <a:lnTo>
                        <a:pt x="1144" y="847"/>
                      </a:lnTo>
                      <a:lnTo>
                        <a:pt x="1144" y="848"/>
                      </a:lnTo>
                      <a:lnTo>
                        <a:pt x="1145" y="848"/>
                      </a:lnTo>
                      <a:lnTo>
                        <a:pt x="1146" y="848"/>
                      </a:lnTo>
                      <a:lnTo>
                        <a:pt x="1147" y="848"/>
                      </a:lnTo>
                      <a:lnTo>
                        <a:pt x="1147" y="849"/>
                      </a:lnTo>
                      <a:lnTo>
                        <a:pt x="1148" y="849"/>
                      </a:lnTo>
                      <a:lnTo>
                        <a:pt x="1149" y="849"/>
                      </a:lnTo>
                      <a:lnTo>
                        <a:pt x="1150" y="849"/>
                      </a:lnTo>
                      <a:lnTo>
                        <a:pt x="1151" y="849"/>
                      </a:lnTo>
                      <a:lnTo>
                        <a:pt x="1150" y="849"/>
                      </a:lnTo>
                      <a:lnTo>
                        <a:pt x="1150" y="850"/>
                      </a:lnTo>
                      <a:lnTo>
                        <a:pt x="1149" y="851"/>
                      </a:lnTo>
                      <a:lnTo>
                        <a:pt x="1150" y="851"/>
                      </a:lnTo>
                      <a:lnTo>
                        <a:pt x="1149" y="851"/>
                      </a:lnTo>
                      <a:lnTo>
                        <a:pt x="1149" y="852"/>
                      </a:lnTo>
                      <a:lnTo>
                        <a:pt x="1148" y="852"/>
                      </a:lnTo>
                      <a:lnTo>
                        <a:pt x="1148" y="851"/>
                      </a:lnTo>
                      <a:lnTo>
                        <a:pt x="1147" y="851"/>
                      </a:lnTo>
                      <a:lnTo>
                        <a:pt x="1147" y="852"/>
                      </a:lnTo>
                      <a:lnTo>
                        <a:pt x="1146" y="852"/>
                      </a:lnTo>
                      <a:lnTo>
                        <a:pt x="1146" y="851"/>
                      </a:lnTo>
                      <a:lnTo>
                        <a:pt x="1146" y="852"/>
                      </a:lnTo>
                      <a:lnTo>
                        <a:pt x="1145" y="851"/>
                      </a:lnTo>
                      <a:lnTo>
                        <a:pt x="1145" y="850"/>
                      </a:lnTo>
                      <a:lnTo>
                        <a:pt x="1146" y="850"/>
                      </a:lnTo>
                      <a:lnTo>
                        <a:pt x="1145" y="850"/>
                      </a:lnTo>
                      <a:lnTo>
                        <a:pt x="1145" y="849"/>
                      </a:lnTo>
                      <a:lnTo>
                        <a:pt x="1145" y="850"/>
                      </a:lnTo>
                      <a:lnTo>
                        <a:pt x="1145" y="849"/>
                      </a:lnTo>
                      <a:lnTo>
                        <a:pt x="1144" y="849"/>
                      </a:lnTo>
                      <a:lnTo>
                        <a:pt x="1144" y="848"/>
                      </a:lnTo>
                      <a:lnTo>
                        <a:pt x="1143" y="848"/>
                      </a:lnTo>
                      <a:lnTo>
                        <a:pt x="1143" y="847"/>
                      </a:lnTo>
                      <a:lnTo>
                        <a:pt x="1142" y="847"/>
                      </a:lnTo>
                      <a:lnTo>
                        <a:pt x="1142" y="846"/>
                      </a:lnTo>
                      <a:lnTo>
                        <a:pt x="1143" y="846"/>
                      </a:lnTo>
                      <a:close/>
                      <a:moveTo>
                        <a:pt x="1174" y="874"/>
                      </a:moveTo>
                      <a:lnTo>
                        <a:pt x="1175" y="875"/>
                      </a:lnTo>
                      <a:lnTo>
                        <a:pt x="1174" y="875"/>
                      </a:lnTo>
                      <a:lnTo>
                        <a:pt x="1174" y="876"/>
                      </a:lnTo>
                      <a:lnTo>
                        <a:pt x="1174" y="875"/>
                      </a:lnTo>
                      <a:lnTo>
                        <a:pt x="1173" y="875"/>
                      </a:lnTo>
                      <a:lnTo>
                        <a:pt x="1172" y="875"/>
                      </a:lnTo>
                      <a:lnTo>
                        <a:pt x="1171" y="875"/>
                      </a:lnTo>
                      <a:lnTo>
                        <a:pt x="1170" y="875"/>
                      </a:lnTo>
                      <a:lnTo>
                        <a:pt x="1169" y="875"/>
                      </a:lnTo>
                      <a:lnTo>
                        <a:pt x="1170" y="876"/>
                      </a:lnTo>
                      <a:lnTo>
                        <a:pt x="1171" y="876"/>
                      </a:lnTo>
                      <a:lnTo>
                        <a:pt x="1172" y="876"/>
                      </a:lnTo>
                      <a:lnTo>
                        <a:pt x="1173" y="876"/>
                      </a:lnTo>
                      <a:lnTo>
                        <a:pt x="1173" y="877"/>
                      </a:lnTo>
                      <a:lnTo>
                        <a:pt x="1172" y="877"/>
                      </a:lnTo>
                      <a:lnTo>
                        <a:pt x="1171" y="877"/>
                      </a:lnTo>
                      <a:lnTo>
                        <a:pt x="1171" y="876"/>
                      </a:lnTo>
                      <a:lnTo>
                        <a:pt x="1170" y="876"/>
                      </a:lnTo>
                      <a:lnTo>
                        <a:pt x="1169" y="876"/>
                      </a:lnTo>
                      <a:lnTo>
                        <a:pt x="1169" y="875"/>
                      </a:lnTo>
                      <a:lnTo>
                        <a:pt x="1168" y="875"/>
                      </a:lnTo>
                      <a:lnTo>
                        <a:pt x="1167" y="875"/>
                      </a:lnTo>
                      <a:lnTo>
                        <a:pt x="1167" y="874"/>
                      </a:lnTo>
                      <a:lnTo>
                        <a:pt x="1167" y="875"/>
                      </a:lnTo>
                      <a:lnTo>
                        <a:pt x="1167" y="874"/>
                      </a:lnTo>
                      <a:lnTo>
                        <a:pt x="1167" y="873"/>
                      </a:lnTo>
                      <a:lnTo>
                        <a:pt x="1168" y="873"/>
                      </a:lnTo>
                      <a:lnTo>
                        <a:pt x="1168" y="874"/>
                      </a:lnTo>
                      <a:lnTo>
                        <a:pt x="1169" y="874"/>
                      </a:lnTo>
                      <a:lnTo>
                        <a:pt x="1170" y="873"/>
                      </a:lnTo>
                      <a:lnTo>
                        <a:pt x="1170" y="874"/>
                      </a:lnTo>
                      <a:lnTo>
                        <a:pt x="1171" y="874"/>
                      </a:lnTo>
                      <a:lnTo>
                        <a:pt x="1172" y="874"/>
                      </a:lnTo>
                      <a:lnTo>
                        <a:pt x="1173" y="873"/>
                      </a:lnTo>
                      <a:lnTo>
                        <a:pt x="1173" y="872"/>
                      </a:lnTo>
                      <a:lnTo>
                        <a:pt x="1174" y="872"/>
                      </a:lnTo>
                      <a:lnTo>
                        <a:pt x="1174" y="873"/>
                      </a:lnTo>
                      <a:lnTo>
                        <a:pt x="1174" y="874"/>
                      </a:lnTo>
                      <a:close/>
                      <a:moveTo>
                        <a:pt x="1222" y="1044"/>
                      </a:moveTo>
                      <a:lnTo>
                        <a:pt x="1223" y="1044"/>
                      </a:lnTo>
                      <a:lnTo>
                        <a:pt x="1223" y="1046"/>
                      </a:lnTo>
                      <a:lnTo>
                        <a:pt x="1223" y="1047"/>
                      </a:lnTo>
                      <a:lnTo>
                        <a:pt x="1222" y="1047"/>
                      </a:lnTo>
                      <a:lnTo>
                        <a:pt x="1223" y="1047"/>
                      </a:lnTo>
                      <a:lnTo>
                        <a:pt x="1222" y="1047"/>
                      </a:lnTo>
                      <a:lnTo>
                        <a:pt x="1222" y="1048"/>
                      </a:lnTo>
                      <a:lnTo>
                        <a:pt x="1221" y="1048"/>
                      </a:lnTo>
                      <a:lnTo>
                        <a:pt x="1220" y="1050"/>
                      </a:lnTo>
                      <a:lnTo>
                        <a:pt x="1219" y="1051"/>
                      </a:lnTo>
                      <a:lnTo>
                        <a:pt x="1219" y="1050"/>
                      </a:lnTo>
                      <a:lnTo>
                        <a:pt x="1219" y="1048"/>
                      </a:lnTo>
                      <a:lnTo>
                        <a:pt x="1220" y="1047"/>
                      </a:lnTo>
                      <a:lnTo>
                        <a:pt x="1220" y="1046"/>
                      </a:lnTo>
                      <a:lnTo>
                        <a:pt x="1220" y="1045"/>
                      </a:lnTo>
                      <a:lnTo>
                        <a:pt x="1220" y="1044"/>
                      </a:lnTo>
                      <a:lnTo>
                        <a:pt x="1221" y="1043"/>
                      </a:lnTo>
                      <a:lnTo>
                        <a:pt x="1221" y="1044"/>
                      </a:lnTo>
                      <a:lnTo>
                        <a:pt x="1222" y="1044"/>
                      </a:lnTo>
                      <a:close/>
                      <a:moveTo>
                        <a:pt x="1107" y="807"/>
                      </a:moveTo>
                      <a:lnTo>
                        <a:pt x="1107" y="808"/>
                      </a:lnTo>
                      <a:lnTo>
                        <a:pt x="1108" y="808"/>
                      </a:lnTo>
                      <a:lnTo>
                        <a:pt x="1108" y="807"/>
                      </a:lnTo>
                      <a:lnTo>
                        <a:pt x="1108" y="806"/>
                      </a:lnTo>
                      <a:lnTo>
                        <a:pt x="1109" y="807"/>
                      </a:lnTo>
                      <a:lnTo>
                        <a:pt x="1109" y="808"/>
                      </a:lnTo>
                      <a:lnTo>
                        <a:pt x="1108" y="809"/>
                      </a:lnTo>
                      <a:lnTo>
                        <a:pt x="1107" y="809"/>
                      </a:lnTo>
                      <a:lnTo>
                        <a:pt x="1106" y="809"/>
                      </a:lnTo>
                      <a:lnTo>
                        <a:pt x="1106" y="810"/>
                      </a:lnTo>
                      <a:lnTo>
                        <a:pt x="1106" y="809"/>
                      </a:lnTo>
                      <a:lnTo>
                        <a:pt x="1105" y="809"/>
                      </a:lnTo>
                      <a:lnTo>
                        <a:pt x="1105" y="810"/>
                      </a:lnTo>
                      <a:lnTo>
                        <a:pt x="1106" y="810"/>
                      </a:lnTo>
                      <a:lnTo>
                        <a:pt x="1105" y="810"/>
                      </a:lnTo>
                      <a:lnTo>
                        <a:pt x="1104" y="809"/>
                      </a:lnTo>
                      <a:lnTo>
                        <a:pt x="1103" y="808"/>
                      </a:lnTo>
                      <a:lnTo>
                        <a:pt x="1102" y="808"/>
                      </a:lnTo>
                      <a:lnTo>
                        <a:pt x="1103" y="807"/>
                      </a:lnTo>
                      <a:lnTo>
                        <a:pt x="1103" y="808"/>
                      </a:lnTo>
                      <a:lnTo>
                        <a:pt x="1103" y="807"/>
                      </a:lnTo>
                      <a:lnTo>
                        <a:pt x="1104" y="807"/>
                      </a:lnTo>
                      <a:lnTo>
                        <a:pt x="1104" y="806"/>
                      </a:lnTo>
                      <a:lnTo>
                        <a:pt x="1105" y="806"/>
                      </a:lnTo>
                      <a:lnTo>
                        <a:pt x="1106" y="806"/>
                      </a:lnTo>
                      <a:lnTo>
                        <a:pt x="1106" y="807"/>
                      </a:lnTo>
                      <a:lnTo>
                        <a:pt x="1107" y="807"/>
                      </a:lnTo>
                      <a:close/>
                      <a:moveTo>
                        <a:pt x="1441" y="1073"/>
                      </a:moveTo>
                      <a:lnTo>
                        <a:pt x="1442" y="1073"/>
                      </a:lnTo>
                      <a:lnTo>
                        <a:pt x="1442" y="1074"/>
                      </a:lnTo>
                      <a:lnTo>
                        <a:pt x="1442" y="1076"/>
                      </a:lnTo>
                      <a:lnTo>
                        <a:pt x="1441" y="1076"/>
                      </a:lnTo>
                      <a:lnTo>
                        <a:pt x="1440" y="1076"/>
                      </a:lnTo>
                      <a:lnTo>
                        <a:pt x="1440" y="1074"/>
                      </a:lnTo>
                      <a:lnTo>
                        <a:pt x="1439" y="1074"/>
                      </a:lnTo>
                      <a:lnTo>
                        <a:pt x="1438" y="1074"/>
                      </a:lnTo>
                      <a:lnTo>
                        <a:pt x="1438" y="1073"/>
                      </a:lnTo>
                      <a:lnTo>
                        <a:pt x="1438" y="1072"/>
                      </a:lnTo>
                      <a:lnTo>
                        <a:pt x="1438" y="1071"/>
                      </a:lnTo>
                      <a:lnTo>
                        <a:pt x="1440" y="1070"/>
                      </a:lnTo>
                      <a:lnTo>
                        <a:pt x="1441" y="1071"/>
                      </a:lnTo>
                      <a:lnTo>
                        <a:pt x="1441" y="1072"/>
                      </a:lnTo>
                      <a:lnTo>
                        <a:pt x="1441" y="1073"/>
                      </a:lnTo>
                      <a:close/>
                      <a:moveTo>
                        <a:pt x="1134" y="813"/>
                      </a:moveTo>
                      <a:lnTo>
                        <a:pt x="1135" y="814"/>
                      </a:lnTo>
                      <a:lnTo>
                        <a:pt x="1136" y="814"/>
                      </a:lnTo>
                      <a:lnTo>
                        <a:pt x="1135" y="814"/>
                      </a:lnTo>
                      <a:lnTo>
                        <a:pt x="1136" y="814"/>
                      </a:lnTo>
                      <a:lnTo>
                        <a:pt x="1137" y="813"/>
                      </a:lnTo>
                      <a:lnTo>
                        <a:pt x="1137" y="814"/>
                      </a:lnTo>
                      <a:lnTo>
                        <a:pt x="1136" y="815"/>
                      </a:lnTo>
                      <a:lnTo>
                        <a:pt x="1135" y="815"/>
                      </a:lnTo>
                      <a:lnTo>
                        <a:pt x="1134" y="815"/>
                      </a:lnTo>
                      <a:lnTo>
                        <a:pt x="1134" y="816"/>
                      </a:lnTo>
                      <a:lnTo>
                        <a:pt x="1133" y="816"/>
                      </a:lnTo>
                      <a:lnTo>
                        <a:pt x="1132" y="816"/>
                      </a:lnTo>
                      <a:lnTo>
                        <a:pt x="1132" y="815"/>
                      </a:lnTo>
                      <a:lnTo>
                        <a:pt x="1131" y="815"/>
                      </a:lnTo>
                      <a:lnTo>
                        <a:pt x="1131" y="816"/>
                      </a:lnTo>
                      <a:lnTo>
                        <a:pt x="1130" y="817"/>
                      </a:lnTo>
                      <a:lnTo>
                        <a:pt x="1129" y="817"/>
                      </a:lnTo>
                      <a:lnTo>
                        <a:pt x="1129" y="819"/>
                      </a:lnTo>
                      <a:lnTo>
                        <a:pt x="1128" y="817"/>
                      </a:lnTo>
                      <a:lnTo>
                        <a:pt x="1128" y="816"/>
                      </a:lnTo>
                      <a:lnTo>
                        <a:pt x="1129" y="816"/>
                      </a:lnTo>
                      <a:lnTo>
                        <a:pt x="1129" y="817"/>
                      </a:lnTo>
                      <a:lnTo>
                        <a:pt x="1129" y="816"/>
                      </a:lnTo>
                      <a:lnTo>
                        <a:pt x="1130" y="815"/>
                      </a:lnTo>
                      <a:lnTo>
                        <a:pt x="1131" y="815"/>
                      </a:lnTo>
                      <a:lnTo>
                        <a:pt x="1132" y="815"/>
                      </a:lnTo>
                      <a:lnTo>
                        <a:pt x="1132" y="814"/>
                      </a:lnTo>
                      <a:lnTo>
                        <a:pt x="1133" y="814"/>
                      </a:lnTo>
                      <a:lnTo>
                        <a:pt x="1134" y="814"/>
                      </a:lnTo>
                      <a:lnTo>
                        <a:pt x="1134" y="813"/>
                      </a:lnTo>
                      <a:close/>
                      <a:moveTo>
                        <a:pt x="1111" y="840"/>
                      </a:moveTo>
                      <a:lnTo>
                        <a:pt x="1112" y="840"/>
                      </a:lnTo>
                      <a:lnTo>
                        <a:pt x="1113" y="840"/>
                      </a:lnTo>
                      <a:lnTo>
                        <a:pt x="1115" y="840"/>
                      </a:lnTo>
                      <a:lnTo>
                        <a:pt x="1115" y="841"/>
                      </a:lnTo>
                      <a:lnTo>
                        <a:pt x="1113" y="841"/>
                      </a:lnTo>
                      <a:lnTo>
                        <a:pt x="1113" y="840"/>
                      </a:lnTo>
                      <a:lnTo>
                        <a:pt x="1112" y="840"/>
                      </a:lnTo>
                      <a:lnTo>
                        <a:pt x="1111" y="840"/>
                      </a:lnTo>
                      <a:lnTo>
                        <a:pt x="1111" y="841"/>
                      </a:lnTo>
                      <a:lnTo>
                        <a:pt x="1112" y="840"/>
                      </a:lnTo>
                      <a:lnTo>
                        <a:pt x="1112" y="841"/>
                      </a:lnTo>
                      <a:lnTo>
                        <a:pt x="1113" y="841"/>
                      </a:lnTo>
                      <a:lnTo>
                        <a:pt x="1113" y="842"/>
                      </a:lnTo>
                      <a:lnTo>
                        <a:pt x="1115" y="844"/>
                      </a:lnTo>
                      <a:lnTo>
                        <a:pt x="1115" y="845"/>
                      </a:lnTo>
                      <a:lnTo>
                        <a:pt x="1113" y="845"/>
                      </a:lnTo>
                      <a:lnTo>
                        <a:pt x="1113" y="846"/>
                      </a:lnTo>
                      <a:lnTo>
                        <a:pt x="1113" y="845"/>
                      </a:lnTo>
                      <a:lnTo>
                        <a:pt x="1112" y="845"/>
                      </a:lnTo>
                      <a:lnTo>
                        <a:pt x="1111" y="845"/>
                      </a:lnTo>
                      <a:lnTo>
                        <a:pt x="1110" y="845"/>
                      </a:lnTo>
                      <a:lnTo>
                        <a:pt x="1110" y="844"/>
                      </a:lnTo>
                      <a:lnTo>
                        <a:pt x="1109" y="842"/>
                      </a:lnTo>
                      <a:lnTo>
                        <a:pt x="1109" y="841"/>
                      </a:lnTo>
                      <a:lnTo>
                        <a:pt x="1109" y="840"/>
                      </a:lnTo>
                      <a:lnTo>
                        <a:pt x="1109" y="841"/>
                      </a:lnTo>
                      <a:lnTo>
                        <a:pt x="1110" y="841"/>
                      </a:lnTo>
                      <a:lnTo>
                        <a:pt x="1110" y="842"/>
                      </a:lnTo>
                      <a:lnTo>
                        <a:pt x="1111" y="842"/>
                      </a:lnTo>
                      <a:lnTo>
                        <a:pt x="1111" y="841"/>
                      </a:lnTo>
                      <a:lnTo>
                        <a:pt x="1110" y="840"/>
                      </a:lnTo>
                      <a:lnTo>
                        <a:pt x="1111" y="840"/>
                      </a:lnTo>
                      <a:close/>
                      <a:moveTo>
                        <a:pt x="1428" y="1129"/>
                      </a:moveTo>
                      <a:lnTo>
                        <a:pt x="1427" y="1129"/>
                      </a:lnTo>
                      <a:lnTo>
                        <a:pt x="1427" y="1130"/>
                      </a:lnTo>
                      <a:lnTo>
                        <a:pt x="1426" y="1130"/>
                      </a:lnTo>
                      <a:lnTo>
                        <a:pt x="1425" y="1130"/>
                      </a:lnTo>
                      <a:lnTo>
                        <a:pt x="1426" y="1130"/>
                      </a:lnTo>
                      <a:lnTo>
                        <a:pt x="1428" y="1131"/>
                      </a:lnTo>
                      <a:lnTo>
                        <a:pt x="1428" y="1132"/>
                      </a:lnTo>
                      <a:lnTo>
                        <a:pt x="1427" y="1132"/>
                      </a:lnTo>
                      <a:lnTo>
                        <a:pt x="1426" y="1132"/>
                      </a:lnTo>
                      <a:lnTo>
                        <a:pt x="1427" y="1132"/>
                      </a:lnTo>
                      <a:lnTo>
                        <a:pt x="1427" y="1133"/>
                      </a:lnTo>
                      <a:lnTo>
                        <a:pt x="1427" y="1134"/>
                      </a:lnTo>
                      <a:lnTo>
                        <a:pt x="1426" y="1133"/>
                      </a:lnTo>
                      <a:lnTo>
                        <a:pt x="1425" y="1133"/>
                      </a:lnTo>
                      <a:lnTo>
                        <a:pt x="1425" y="1132"/>
                      </a:lnTo>
                      <a:lnTo>
                        <a:pt x="1425" y="1133"/>
                      </a:lnTo>
                      <a:lnTo>
                        <a:pt x="1424" y="1133"/>
                      </a:lnTo>
                      <a:lnTo>
                        <a:pt x="1424" y="1132"/>
                      </a:lnTo>
                      <a:lnTo>
                        <a:pt x="1422" y="1131"/>
                      </a:lnTo>
                      <a:lnTo>
                        <a:pt x="1424" y="1131"/>
                      </a:lnTo>
                      <a:lnTo>
                        <a:pt x="1424" y="1130"/>
                      </a:lnTo>
                      <a:lnTo>
                        <a:pt x="1422" y="1131"/>
                      </a:lnTo>
                      <a:lnTo>
                        <a:pt x="1422" y="1132"/>
                      </a:lnTo>
                      <a:lnTo>
                        <a:pt x="1421" y="1131"/>
                      </a:lnTo>
                      <a:lnTo>
                        <a:pt x="1422" y="1131"/>
                      </a:lnTo>
                      <a:lnTo>
                        <a:pt x="1422" y="1130"/>
                      </a:lnTo>
                      <a:lnTo>
                        <a:pt x="1424" y="1130"/>
                      </a:lnTo>
                      <a:lnTo>
                        <a:pt x="1425" y="1130"/>
                      </a:lnTo>
                      <a:lnTo>
                        <a:pt x="1424" y="1130"/>
                      </a:lnTo>
                      <a:lnTo>
                        <a:pt x="1425" y="1130"/>
                      </a:lnTo>
                      <a:lnTo>
                        <a:pt x="1425" y="1129"/>
                      </a:lnTo>
                      <a:lnTo>
                        <a:pt x="1426" y="1129"/>
                      </a:lnTo>
                      <a:lnTo>
                        <a:pt x="1428" y="1128"/>
                      </a:lnTo>
                      <a:lnTo>
                        <a:pt x="1428" y="1129"/>
                      </a:lnTo>
                      <a:close/>
                      <a:moveTo>
                        <a:pt x="1071" y="988"/>
                      </a:moveTo>
                      <a:lnTo>
                        <a:pt x="1070" y="988"/>
                      </a:lnTo>
                      <a:lnTo>
                        <a:pt x="1070" y="989"/>
                      </a:lnTo>
                      <a:lnTo>
                        <a:pt x="1069" y="990"/>
                      </a:lnTo>
                      <a:lnTo>
                        <a:pt x="1068" y="991"/>
                      </a:lnTo>
                      <a:lnTo>
                        <a:pt x="1065" y="991"/>
                      </a:lnTo>
                      <a:lnTo>
                        <a:pt x="1064" y="991"/>
                      </a:lnTo>
                      <a:lnTo>
                        <a:pt x="1065" y="990"/>
                      </a:lnTo>
                      <a:lnTo>
                        <a:pt x="1065" y="989"/>
                      </a:lnTo>
                      <a:lnTo>
                        <a:pt x="1066" y="989"/>
                      </a:lnTo>
                      <a:lnTo>
                        <a:pt x="1065" y="989"/>
                      </a:lnTo>
                      <a:lnTo>
                        <a:pt x="1066" y="988"/>
                      </a:lnTo>
                      <a:lnTo>
                        <a:pt x="1067" y="988"/>
                      </a:lnTo>
                      <a:lnTo>
                        <a:pt x="1068" y="988"/>
                      </a:lnTo>
                      <a:lnTo>
                        <a:pt x="1069" y="987"/>
                      </a:lnTo>
                      <a:lnTo>
                        <a:pt x="1070" y="988"/>
                      </a:lnTo>
                      <a:lnTo>
                        <a:pt x="1070" y="987"/>
                      </a:lnTo>
                      <a:lnTo>
                        <a:pt x="1071" y="988"/>
                      </a:lnTo>
                      <a:close/>
                      <a:moveTo>
                        <a:pt x="1380" y="1085"/>
                      </a:moveTo>
                      <a:lnTo>
                        <a:pt x="1381" y="1086"/>
                      </a:lnTo>
                      <a:lnTo>
                        <a:pt x="1382" y="1086"/>
                      </a:lnTo>
                      <a:lnTo>
                        <a:pt x="1383" y="1086"/>
                      </a:lnTo>
                      <a:lnTo>
                        <a:pt x="1386" y="1086"/>
                      </a:lnTo>
                      <a:lnTo>
                        <a:pt x="1387" y="1088"/>
                      </a:lnTo>
                      <a:lnTo>
                        <a:pt x="1389" y="1088"/>
                      </a:lnTo>
                      <a:lnTo>
                        <a:pt x="1391" y="1088"/>
                      </a:lnTo>
                      <a:lnTo>
                        <a:pt x="1393" y="1089"/>
                      </a:lnTo>
                      <a:lnTo>
                        <a:pt x="1395" y="1089"/>
                      </a:lnTo>
                      <a:lnTo>
                        <a:pt x="1396" y="1088"/>
                      </a:lnTo>
                      <a:lnTo>
                        <a:pt x="1396" y="1089"/>
                      </a:lnTo>
                      <a:lnTo>
                        <a:pt x="1395" y="1089"/>
                      </a:lnTo>
                      <a:lnTo>
                        <a:pt x="1394" y="1089"/>
                      </a:lnTo>
                      <a:lnTo>
                        <a:pt x="1393" y="1089"/>
                      </a:lnTo>
                      <a:lnTo>
                        <a:pt x="1392" y="1089"/>
                      </a:lnTo>
                      <a:lnTo>
                        <a:pt x="1391" y="1089"/>
                      </a:lnTo>
                      <a:lnTo>
                        <a:pt x="1390" y="1089"/>
                      </a:lnTo>
                      <a:lnTo>
                        <a:pt x="1389" y="1088"/>
                      </a:lnTo>
                      <a:lnTo>
                        <a:pt x="1388" y="1089"/>
                      </a:lnTo>
                      <a:lnTo>
                        <a:pt x="1387" y="1089"/>
                      </a:lnTo>
                      <a:lnTo>
                        <a:pt x="1386" y="1088"/>
                      </a:lnTo>
                      <a:lnTo>
                        <a:pt x="1384" y="1088"/>
                      </a:lnTo>
                      <a:lnTo>
                        <a:pt x="1383" y="1088"/>
                      </a:lnTo>
                      <a:lnTo>
                        <a:pt x="1383" y="1086"/>
                      </a:lnTo>
                      <a:lnTo>
                        <a:pt x="1382" y="1086"/>
                      </a:lnTo>
                      <a:lnTo>
                        <a:pt x="1381" y="1086"/>
                      </a:lnTo>
                      <a:lnTo>
                        <a:pt x="1380" y="1086"/>
                      </a:lnTo>
                      <a:lnTo>
                        <a:pt x="1381" y="1086"/>
                      </a:lnTo>
                      <a:lnTo>
                        <a:pt x="1381" y="1088"/>
                      </a:lnTo>
                      <a:lnTo>
                        <a:pt x="1382" y="1088"/>
                      </a:lnTo>
                      <a:lnTo>
                        <a:pt x="1382" y="1089"/>
                      </a:lnTo>
                      <a:lnTo>
                        <a:pt x="1381" y="1089"/>
                      </a:lnTo>
                      <a:lnTo>
                        <a:pt x="1380" y="1089"/>
                      </a:lnTo>
                      <a:lnTo>
                        <a:pt x="1380" y="1088"/>
                      </a:lnTo>
                      <a:lnTo>
                        <a:pt x="1379" y="1088"/>
                      </a:lnTo>
                      <a:lnTo>
                        <a:pt x="1378" y="1086"/>
                      </a:lnTo>
                      <a:lnTo>
                        <a:pt x="1380" y="1085"/>
                      </a:lnTo>
                      <a:close/>
                      <a:moveTo>
                        <a:pt x="1148" y="794"/>
                      </a:moveTo>
                      <a:lnTo>
                        <a:pt x="1149" y="795"/>
                      </a:lnTo>
                      <a:lnTo>
                        <a:pt x="1149" y="796"/>
                      </a:lnTo>
                      <a:lnTo>
                        <a:pt x="1149" y="797"/>
                      </a:lnTo>
                      <a:lnTo>
                        <a:pt x="1149" y="798"/>
                      </a:lnTo>
                      <a:lnTo>
                        <a:pt x="1148" y="798"/>
                      </a:lnTo>
                      <a:lnTo>
                        <a:pt x="1148" y="799"/>
                      </a:lnTo>
                      <a:lnTo>
                        <a:pt x="1147" y="799"/>
                      </a:lnTo>
                      <a:lnTo>
                        <a:pt x="1147" y="800"/>
                      </a:lnTo>
                      <a:lnTo>
                        <a:pt x="1148" y="801"/>
                      </a:lnTo>
                      <a:lnTo>
                        <a:pt x="1147" y="801"/>
                      </a:lnTo>
                      <a:lnTo>
                        <a:pt x="1148" y="802"/>
                      </a:lnTo>
                      <a:lnTo>
                        <a:pt x="1147" y="802"/>
                      </a:lnTo>
                      <a:lnTo>
                        <a:pt x="1147" y="801"/>
                      </a:lnTo>
                      <a:lnTo>
                        <a:pt x="1146" y="801"/>
                      </a:lnTo>
                      <a:lnTo>
                        <a:pt x="1146" y="800"/>
                      </a:lnTo>
                      <a:lnTo>
                        <a:pt x="1147" y="800"/>
                      </a:lnTo>
                      <a:lnTo>
                        <a:pt x="1147" y="799"/>
                      </a:lnTo>
                      <a:lnTo>
                        <a:pt x="1147" y="798"/>
                      </a:lnTo>
                      <a:lnTo>
                        <a:pt x="1148" y="798"/>
                      </a:lnTo>
                      <a:lnTo>
                        <a:pt x="1148" y="797"/>
                      </a:lnTo>
                      <a:lnTo>
                        <a:pt x="1148" y="796"/>
                      </a:lnTo>
                      <a:lnTo>
                        <a:pt x="1147" y="796"/>
                      </a:lnTo>
                      <a:lnTo>
                        <a:pt x="1146" y="795"/>
                      </a:lnTo>
                      <a:lnTo>
                        <a:pt x="1145" y="794"/>
                      </a:lnTo>
                      <a:lnTo>
                        <a:pt x="1144" y="794"/>
                      </a:lnTo>
                      <a:lnTo>
                        <a:pt x="1144" y="795"/>
                      </a:lnTo>
                      <a:lnTo>
                        <a:pt x="1144" y="794"/>
                      </a:lnTo>
                      <a:lnTo>
                        <a:pt x="1146" y="793"/>
                      </a:lnTo>
                      <a:lnTo>
                        <a:pt x="1147" y="794"/>
                      </a:lnTo>
                      <a:lnTo>
                        <a:pt x="1148" y="794"/>
                      </a:lnTo>
                      <a:close/>
                      <a:moveTo>
                        <a:pt x="1310" y="948"/>
                      </a:moveTo>
                      <a:lnTo>
                        <a:pt x="1311" y="948"/>
                      </a:lnTo>
                      <a:lnTo>
                        <a:pt x="1310" y="948"/>
                      </a:lnTo>
                      <a:lnTo>
                        <a:pt x="1310" y="949"/>
                      </a:lnTo>
                      <a:lnTo>
                        <a:pt x="1311" y="950"/>
                      </a:lnTo>
                      <a:lnTo>
                        <a:pt x="1310" y="951"/>
                      </a:lnTo>
                      <a:lnTo>
                        <a:pt x="1311" y="951"/>
                      </a:lnTo>
                      <a:lnTo>
                        <a:pt x="1312" y="952"/>
                      </a:lnTo>
                      <a:lnTo>
                        <a:pt x="1313" y="951"/>
                      </a:lnTo>
                      <a:lnTo>
                        <a:pt x="1313" y="952"/>
                      </a:lnTo>
                      <a:lnTo>
                        <a:pt x="1312" y="952"/>
                      </a:lnTo>
                      <a:lnTo>
                        <a:pt x="1311" y="952"/>
                      </a:lnTo>
                      <a:lnTo>
                        <a:pt x="1310" y="952"/>
                      </a:lnTo>
                      <a:lnTo>
                        <a:pt x="1310" y="953"/>
                      </a:lnTo>
                      <a:lnTo>
                        <a:pt x="1309" y="953"/>
                      </a:lnTo>
                      <a:lnTo>
                        <a:pt x="1309" y="952"/>
                      </a:lnTo>
                      <a:lnTo>
                        <a:pt x="1308" y="952"/>
                      </a:lnTo>
                      <a:lnTo>
                        <a:pt x="1308" y="951"/>
                      </a:lnTo>
                      <a:lnTo>
                        <a:pt x="1308" y="950"/>
                      </a:lnTo>
                      <a:lnTo>
                        <a:pt x="1306" y="950"/>
                      </a:lnTo>
                      <a:lnTo>
                        <a:pt x="1306" y="949"/>
                      </a:lnTo>
                      <a:lnTo>
                        <a:pt x="1305" y="949"/>
                      </a:lnTo>
                      <a:lnTo>
                        <a:pt x="1305" y="950"/>
                      </a:lnTo>
                      <a:lnTo>
                        <a:pt x="1305" y="949"/>
                      </a:lnTo>
                      <a:lnTo>
                        <a:pt x="1305" y="948"/>
                      </a:lnTo>
                      <a:lnTo>
                        <a:pt x="1306" y="948"/>
                      </a:lnTo>
                      <a:lnTo>
                        <a:pt x="1308" y="948"/>
                      </a:lnTo>
                      <a:lnTo>
                        <a:pt x="1309" y="948"/>
                      </a:lnTo>
                      <a:lnTo>
                        <a:pt x="1310" y="948"/>
                      </a:lnTo>
                      <a:close/>
                      <a:moveTo>
                        <a:pt x="1132" y="982"/>
                      </a:moveTo>
                      <a:lnTo>
                        <a:pt x="1136" y="988"/>
                      </a:lnTo>
                      <a:lnTo>
                        <a:pt x="1137" y="988"/>
                      </a:lnTo>
                      <a:lnTo>
                        <a:pt x="1136" y="988"/>
                      </a:lnTo>
                      <a:lnTo>
                        <a:pt x="1135" y="988"/>
                      </a:lnTo>
                      <a:lnTo>
                        <a:pt x="1135" y="987"/>
                      </a:lnTo>
                      <a:lnTo>
                        <a:pt x="1135" y="988"/>
                      </a:lnTo>
                      <a:lnTo>
                        <a:pt x="1134" y="988"/>
                      </a:lnTo>
                      <a:lnTo>
                        <a:pt x="1134" y="987"/>
                      </a:lnTo>
                      <a:lnTo>
                        <a:pt x="1135" y="988"/>
                      </a:lnTo>
                      <a:lnTo>
                        <a:pt x="1135" y="987"/>
                      </a:lnTo>
                      <a:lnTo>
                        <a:pt x="1134" y="987"/>
                      </a:lnTo>
                      <a:lnTo>
                        <a:pt x="1134" y="986"/>
                      </a:lnTo>
                      <a:lnTo>
                        <a:pt x="1133" y="986"/>
                      </a:lnTo>
                      <a:lnTo>
                        <a:pt x="1133" y="987"/>
                      </a:lnTo>
                      <a:lnTo>
                        <a:pt x="1132" y="986"/>
                      </a:lnTo>
                      <a:lnTo>
                        <a:pt x="1131" y="984"/>
                      </a:lnTo>
                      <a:lnTo>
                        <a:pt x="1130" y="984"/>
                      </a:lnTo>
                      <a:lnTo>
                        <a:pt x="1130" y="983"/>
                      </a:lnTo>
                      <a:lnTo>
                        <a:pt x="1129" y="983"/>
                      </a:lnTo>
                      <a:lnTo>
                        <a:pt x="1128" y="984"/>
                      </a:lnTo>
                      <a:lnTo>
                        <a:pt x="1128" y="983"/>
                      </a:lnTo>
                      <a:lnTo>
                        <a:pt x="1129" y="983"/>
                      </a:lnTo>
                      <a:lnTo>
                        <a:pt x="1129" y="982"/>
                      </a:lnTo>
                      <a:lnTo>
                        <a:pt x="1130" y="983"/>
                      </a:lnTo>
                      <a:lnTo>
                        <a:pt x="1131" y="983"/>
                      </a:lnTo>
                      <a:lnTo>
                        <a:pt x="1132" y="983"/>
                      </a:lnTo>
                      <a:lnTo>
                        <a:pt x="1133" y="983"/>
                      </a:lnTo>
                      <a:lnTo>
                        <a:pt x="1133" y="982"/>
                      </a:lnTo>
                      <a:lnTo>
                        <a:pt x="1132" y="982"/>
                      </a:lnTo>
                      <a:close/>
                      <a:moveTo>
                        <a:pt x="1095" y="806"/>
                      </a:moveTo>
                      <a:lnTo>
                        <a:pt x="1096" y="806"/>
                      </a:lnTo>
                      <a:lnTo>
                        <a:pt x="1097" y="806"/>
                      </a:lnTo>
                      <a:lnTo>
                        <a:pt x="1098" y="806"/>
                      </a:lnTo>
                      <a:lnTo>
                        <a:pt x="1097" y="806"/>
                      </a:lnTo>
                      <a:lnTo>
                        <a:pt x="1097" y="807"/>
                      </a:lnTo>
                      <a:lnTo>
                        <a:pt x="1097" y="808"/>
                      </a:lnTo>
                      <a:lnTo>
                        <a:pt x="1097" y="807"/>
                      </a:lnTo>
                      <a:lnTo>
                        <a:pt x="1097" y="808"/>
                      </a:lnTo>
                      <a:lnTo>
                        <a:pt x="1098" y="808"/>
                      </a:lnTo>
                      <a:lnTo>
                        <a:pt x="1099" y="808"/>
                      </a:lnTo>
                      <a:lnTo>
                        <a:pt x="1099" y="807"/>
                      </a:lnTo>
                      <a:lnTo>
                        <a:pt x="1100" y="807"/>
                      </a:lnTo>
                      <a:lnTo>
                        <a:pt x="1100" y="808"/>
                      </a:lnTo>
                      <a:lnTo>
                        <a:pt x="1099" y="808"/>
                      </a:lnTo>
                      <a:lnTo>
                        <a:pt x="1100" y="808"/>
                      </a:lnTo>
                      <a:lnTo>
                        <a:pt x="1100" y="807"/>
                      </a:lnTo>
                      <a:lnTo>
                        <a:pt x="1102" y="807"/>
                      </a:lnTo>
                      <a:lnTo>
                        <a:pt x="1102" y="808"/>
                      </a:lnTo>
                      <a:lnTo>
                        <a:pt x="1100" y="808"/>
                      </a:lnTo>
                      <a:lnTo>
                        <a:pt x="1102" y="808"/>
                      </a:lnTo>
                      <a:lnTo>
                        <a:pt x="1102" y="809"/>
                      </a:lnTo>
                      <a:lnTo>
                        <a:pt x="1100" y="808"/>
                      </a:lnTo>
                      <a:lnTo>
                        <a:pt x="1100" y="809"/>
                      </a:lnTo>
                      <a:lnTo>
                        <a:pt x="1102" y="809"/>
                      </a:lnTo>
                      <a:lnTo>
                        <a:pt x="1103" y="809"/>
                      </a:lnTo>
                      <a:lnTo>
                        <a:pt x="1103" y="810"/>
                      </a:lnTo>
                      <a:lnTo>
                        <a:pt x="1104" y="810"/>
                      </a:lnTo>
                      <a:lnTo>
                        <a:pt x="1104" y="811"/>
                      </a:lnTo>
                      <a:lnTo>
                        <a:pt x="1104" y="810"/>
                      </a:lnTo>
                      <a:lnTo>
                        <a:pt x="1105" y="810"/>
                      </a:lnTo>
                      <a:lnTo>
                        <a:pt x="1106" y="810"/>
                      </a:lnTo>
                      <a:lnTo>
                        <a:pt x="1106" y="811"/>
                      </a:lnTo>
                      <a:lnTo>
                        <a:pt x="1105" y="811"/>
                      </a:lnTo>
                      <a:lnTo>
                        <a:pt x="1105" y="812"/>
                      </a:lnTo>
                      <a:lnTo>
                        <a:pt x="1104" y="811"/>
                      </a:lnTo>
                      <a:lnTo>
                        <a:pt x="1103" y="811"/>
                      </a:lnTo>
                      <a:lnTo>
                        <a:pt x="1103" y="810"/>
                      </a:lnTo>
                      <a:lnTo>
                        <a:pt x="1102" y="809"/>
                      </a:lnTo>
                      <a:lnTo>
                        <a:pt x="1100" y="809"/>
                      </a:lnTo>
                      <a:lnTo>
                        <a:pt x="1099" y="809"/>
                      </a:lnTo>
                      <a:lnTo>
                        <a:pt x="1098" y="809"/>
                      </a:lnTo>
                      <a:lnTo>
                        <a:pt x="1097" y="809"/>
                      </a:lnTo>
                      <a:lnTo>
                        <a:pt x="1097" y="808"/>
                      </a:lnTo>
                      <a:lnTo>
                        <a:pt x="1096" y="808"/>
                      </a:lnTo>
                      <a:lnTo>
                        <a:pt x="1095" y="808"/>
                      </a:lnTo>
                      <a:lnTo>
                        <a:pt x="1095" y="807"/>
                      </a:lnTo>
                      <a:lnTo>
                        <a:pt x="1095" y="806"/>
                      </a:lnTo>
                      <a:close/>
                      <a:moveTo>
                        <a:pt x="1087" y="796"/>
                      </a:moveTo>
                      <a:lnTo>
                        <a:pt x="1087" y="797"/>
                      </a:lnTo>
                      <a:lnTo>
                        <a:pt x="1087" y="796"/>
                      </a:lnTo>
                      <a:lnTo>
                        <a:pt x="1089" y="797"/>
                      </a:lnTo>
                      <a:lnTo>
                        <a:pt x="1089" y="796"/>
                      </a:lnTo>
                      <a:lnTo>
                        <a:pt x="1087" y="796"/>
                      </a:lnTo>
                      <a:lnTo>
                        <a:pt x="1089" y="796"/>
                      </a:lnTo>
                      <a:lnTo>
                        <a:pt x="1090" y="796"/>
                      </a:lnTo>
                      <a:lnTo>
                        <a:pt x="1091" y="796"/>
                      </a:lnTo>
                      <a:lnTo>
                        <a:pt x="1092" y="796"/>
                      </a:lnTo>
                      <a:lnTo>
                        <a:pt x="1092" y="797"/>
                      </a:lnTo>
                      <a:lnTo>
                        <a:pt x="1093" y="797"/>
                      </a:lnTo>
                      <a:lnTo>
                        <a:pt x="1093" y="796"/>
                      </a:lnTo>
                      <a:lnTo>
                        <a:pt x="1093" y="797"/>
                      </a:lnTo>
                      <a:lnTo>
                        <a:pt x="1094" y="797"/>
                      </a:lnTo>
                      <a:lnTo>
                        <a:pt x="1094" y="798"/>
                      </a:lnTo>
                      <a:lnTo>
                        <a:pt x="1093" y="798"/>
                      </a:lnTo>
                      <a:lnTo>
                        <a:pt x="1093" y="797"/>
                      </a:lnTo>
                      <a:lnTo>
                        <a:pt x="1092" y="797"/>
                      </a:lnTo>
                      <a:lnTo>
                        <a:pt x="1091" y="797"/>
                      </a:lnTo>
                      <a:lnTo>
                        <a:pt x="1092" y="797"/>
                      </a:lnTo>
                      <a:lnTo>
                        <a:pt x="1092" y="798"/>
                      </a:lnTo>
                      <a:lnTo>
                        <a:pt x="1093" y="798"/>
                      </a:lnTo>
                      <a:lnTo>
                        <a:pt x="1092" y="798"/>
                      </a:lnTo>
                      <a:lnTo>
                        <a:pt x="1093" y="799"/>
                      </a:lnTo>
                      <a:lnTo>
                        <a:pt x="1092" y="799"/>
                      </a:lnTo>
                      <a:lnTo>
                        <a:pt x="1092" y="798"/>
                      </a:lnTo>
                      <a:lnTo>
                        <a:pt x="1091" y="798"/>
                      </a:lnTo>
                      <a:lnTo>
                        <a:pt x="1091" y="797"/>
                      </a:lnTo>
                      <a:lnTo>
                        <a:pt x="1090" y="797"/>
                      </a:lnTo>
                      <a:lnTo>
                        <a:pt x="1089" y="797"/>
                      </a:lnTo>
                      <a:lnTo>
                        <a:pt x="1087" y="798"/>
                      </a:lnTo>
                      <a:lnTo>
                        <a:pt x="1087" y="797"/>
                      </a:lnTo>
                      <a:lnTo>
                        <a:pt x="1086" y="797"/>
                      </a:lnTo>
                      <a:lnTo>
                        <a:pt x="1086" y="798"/>
                      </a:lnTo>
                      <a:lnTo>
                        <a:pt x="1085" y="798"/>
                      </a:lnTo>
                      <a:lnTo>
                        <a:pt x="1085" y="799"/>
                      </a:lnTo>
                      <a:lnTo>
                        <a:pt x="1084" y="799"/>
                      </a:lnTo>
                      <a:lnTo>
                        <a:pt x="1084" y="798"/>
                      </a:lnTo>
                      <a:lnTo>
                        <a:pt x="1084" y="797"/>
                      </a:lnTo>
                      <a:lnTo>
                        <a:pt x="1083" y="798"/>
                      </a:lnTo>
                      <a:lnTo>
                        <a:pt x="1084" y="797"/>
                      </a:lnTo>
                      <a:lnTo>
                        <a:pt x="1084" y="796"/>
                      </a:lnTo>
                      <a:lnTo>
                        <a:pt x="1085" y="796"/>
                      </a:lnTo>
                      <a:lnTo>
                        <a:pt x="1086" y="797"/>
                      </a:lnTo>
                      <a:lnTo>
                        <a:pt x="1086" y="796"/>
                      </a:lnTo>
                      <a:lnTo>
                        <a:pt x="1087" y="796"/>
                      </a:lnTo>
                      <a:close/>
                      <a:moveTo>
                        <a:pt x="1358" y="1162"/>
                      </a:moveTo>
                      <a:lnTo>
                        <a:pt x="1358" y="1163"/>
                      </a:lnTo>
                      <a:lnTo>
                        <a:pt x="1360" y="1163"/>
                      </a:lnTo>
                      <a:lnTo>
                        <a:pt x="1361" y="1166"/>
                      </a:lnTo>
                      <a:lnTo>
                        <a:pt x="1361" y="1167"/>
                      </a:lnTo>
                      <a:lnTo>
                        <a:pt x="1360" y="1168"/>
                      </a:lnTo>
                      <a:lnTo>
                        <a:pt x="1358" y="1168"/>
                      </a:lnTo>
                      <a:lnTo>
                        <a:pt x="1357" y="1169"/>
                      </a:lnTo>
                      <a:lnTo>
                        <a:pt x="1357" y="1170"/>
                      </a:lnTo>
                      <a:lnTo>
                        <a:pt x="1356" y="1170"/>
                      </a:lnTo>
                      <a:lnTo>
                        <a:pt x="1355" y="1170"/>
                      </a:lnTo>
                      <a:lnTo>
                        <a:pt x="1355" y="1169"/>
                      </a:lnTo>
                      <a:lnTo>
                        <a:pt x="1354" y="1169"/>
                      </a:lnTo>
                      <a:lnTo>
                        <a:pt x="1354" y="1170"/>
                      </a:lnTo>
                      <a:lnTo>
                        <a:pt x="1354" y="1169"/>
                      </a:lnTo>
                      <a:lnTo>
                        <a:pt x="1355" y="1169"/>
                      </a:lnTo>
                      <a:lnTo>
                        <a:pt x="1356" y="1169"/>
                      </a:lnTo>
                      <a:lnTo>
                        <a:pt x="1356" y="1168"/>
                      </a:lnTo>
                      <a:lnTo>
                        <a:pt x="1357" y="1168"/>
                      </a:lnTo>
                      <a:lnTo>
                        <a:pt x="1357" y="1169"/>
                      </a:lnTo>
                      <a:lnTo>
                        <a:pt x="1358" y="1168"/>
                      </a:lnTo>
                      <a:lnTo>
                        <a:pt x="1360" y="1168"/>
                      </a:lnTo>
                      <a:lnTo>
                        <a:pt x="1360" y="1167"/>
                      </a:lnTo>
                      <a:lnTo>
                        <a:pt x="1360" y="1166"/>
                      </a:lnTo>
                      <a:lnTo>
                        <a:pt x="1358" y="1166"/>
                      </a:lnTo>
                      <a:lnTo>
                        <a:pt x="1357" y="1164"/>
                      </a:lnTo>
                      <a:lnTo>
                        <a:pt x="1357" y="1163"/>
                      </a:lnTo>
                      <a:lnTo>
                        <a:pt x="1356" y="1163"/>
                      </a:lnTo>
                      <a:lnTo>
                        <a:pt x="1355" y="1163"/>
                      </a:lnTo>
                      <a:lnTo>
                        <a:pt x="1354" y="1163"/>
                      </a:lnTo>
                      <a:lnTo>
                        <a:pt x="1353" y="1163"/>
                      </a:lnTo>
                      <a:lnTo>
                        <a:pt x="1355" y="1163"/>
                      </a:lnTo>
                      <a:lnTo>
                        <a:pt x="1358" y="1162"/>
                      </a:lnTo>
                      <a:close/>
                      <a:moveTo>
                        <a:pt x="1315" y="1193"/>
                      </a:moveTo>
                      <a:lnTo>
                        <a:pt x="1316" y="1193"/>
                      </a:lnTo>
                      <a:lnTo>
                        <a:pt x="1316" y="1194"/>
                      </a:lnTo>
                      <a:lnTo>
                        <a:pt x="1315" y="1195"/>
                      </a:lnTo>
                      <a:lnTo>
                        <a:pt x="1314" y="1196"/>
                      </a:lnTo>
                      <a:lnTo>
                        <a:pt x="1314" y="1197"/>
                      </a:lnTo>
                      <a:lnTo>
                        <a:pt x="1313" y="1197"/>
                      </a:lnTo>
                      <a:lnTo>
                        <a:pt x="1313" y="1198"/>
                      </a:lnTo>
                      <a:lnTo>
                        <a:pt x="1312" y="1198"/>
                      </a:lnTo>
                      <a:lnTo>
                        <a:pt x="1312" y="1199"/>
                      </a:lnTo>
                      <a:lnTo>
                        <a:pt x="1312" y="1200"/>
                      </a:lnTo>
                      <a:lnTo>
                        <a:pt x="1311" y="1200"/>
                      </a:lnTo>
                      <a:lnTo>
                        <a:pt x="1311" y="1199"/>
                      </a:lnTo>
                      <a:lnTo>
                        <a:pt x="1310" y="1199"/>
                      </a:lnTo>
                      <a:lnTo>
                        <a:pt x="1310" y="1198"/>
                      </a:lnTo>
                      <a:lnTo>
                        <a:pt x="1311" y="1197"/>
                      </a:lnTo>
                      <a:lnTo>
                        <a:pt x="1311" y="1198"/>
                      </a:lnTo>
                      <a:lnTo>
                        <a:pt x="1311" y="1197"/>
                      </a:lnTo>
                      <a:lnTo>
                        <a:pt x="1312" y="1196"/>
                      </a:lnTo>
                      <a:lnTo>
                        <a:pt x="1313" y="1196"/>
                      </a:lnTo>
                      <a:lnTo>
                        <a:pt x="1312" y="1196"/>
                      </a:lnTo>
                      <a:lnTo>
                        <a:pt x="1313" y="1196"/>
                      </a:lnTo>
                      <a:lnTo>
                        <a:pt x="1312" y="1196"/>
                      </a:lnTo>
                      <a:lnTo>
                        <a:pt x="1312" y="1197"/>
                      </a:lnTo>
                      <a:lnTo>
                        <a:pt x="1312" y="1196"/>
                      </a:lnTo>
                      <a:lnTo>
                        <a:pt x="1313" y="1196"/>
                      </a:lnTo>
                      <a:lnTo>
                        <a:pt x="1313" y="1195"/>
                      </a:lnTo>
                      <a:lnTo>
                        <a:pt x="1313" y="1194"/>
                      </a:lnTo>
                      <a:lnTo>
                        <a:pt x="1314" y="1194"/>
                      </a:lnTo>
                      <a:lnTo>
                        <a:pt x="1314" y="1193"/>
                      </a:lnTo>
                      <a:lnTo>
                        <a:pt x="1315" y="1193"/>
                      </a:lnTo>
                      <a:close/>
                      <a:moveTo>
                        <a:pt x="1310" y="1096"/>
                      </a:moveTo>
                      <a:lnTo>
                        <a:pt x="1310" y="1097"/>
                      </a:lnTo>
                      <a:lnTo>
                        <a:pt x="1309" y="1098"/>
                      </a:lnTo>
                      <a:lnTo>
                        <a:pt x="1309" y="1099"/>
                      </a:lnTo>
                      <a:lnTo>
                        <a:pt x="1309" y="1101"/>
                      </a:lnTo>
                      <a:lnTo>
                        <a:pt x="1309" y="1102"/>
                      </a:lnTo>
                      <a:lnTo>
                        <a:pt x="1309" y="1103"/>
                      </a:lnTo>
                      <a:lnTo>
                        <a:pt x="1309" y="1104"/>
                      </a:lnTo>
                      <a:lnTo>
                        <a:pt x="1309" y="1105"/>
                      </a:lnTo>
                      <a:lnTo>
                        <a:pt x="1308" y="1105"/>
                      </a:lnTo>
                      <a:lnTo>
                        <a:pt x="1308" y="1104"/>
                      </a:lnTo>
                      <a:lnTo>
                        <a:pt x="1306" y="1104"/>
                      </a:lnTo>
                      <a:lnTo>
                        <a:pt x="1305" y="1104"/>
                      </a:lnTo>
                      <a:lnTo>
                        <a:pt x="1306" y="1104"/>
                      </a:lnTo>
                      <a:lnTo>
                        <a:pt x="1306" y="1103"/>
                      </a:lnTo>
                      <a:lnTo>
                        <a:pt x="1305" y="1103"/>
                      </a:lnTo>
                      <a:lnTo>
                        <a:pt x="1304" y="1103"/>
                      </a:lnTo>
                      <a:lnTo>
                        <a:pt x="1304" y="1102"/>
                      </a:lnTo>
                      <a:lnTo>
                        <a:pt x="1305" y="1102"/>
                      </a:lnTo>
                      <a:lnTo>
                        <a:pt x="1306" y="1102"/>
                      </a:lnTo>
                      <a:lnTo>
                        <a:pt x="1306" y="1101"/>
                      </a:lnTo>
                      <a:lnTo>
                        <a:pt x="1306" y="1102"/>
                      </a:lnTo>
                      <a:lnTo>
                        <a:pt x="1308" y="1102"/>
                      </a:lnTo>
                      <a:lnTo>
                        <a:pt x="1308" y="1101"/>
                      </a:lnTo>
                      <a:lnTo>
                        <a:pt x="1309" y="1101"/>
                      </a:lnTo>
                      <a:lnTo>
                        <a:pt x="1309" y="1099"/>
                      </a:lnTo>
                      <a:lnTo>
                        <a:pt x="1308" y="1099"/>
                      </a:lnTo>
                      <a:lnTo>
                        <a:pt x="1308" y="1098"/>
                      </a:lnTo>
                      <a:lnTo>
                        <a:pt x="1308" y="1097"/>
                      </a:lnTo>
                      <a:lnTo>
                        <a:pt x="1306" y="1097"/>
                      </a:lnTo>
                      <a:lnTo>
                        <a:pt x="1308" y="1097"/>
                      </a:lnTo>
                      <a:lnTo>
                        <a:pt x="1308" y="1096"/>
                      </a:lnTo>
                      <a:lnTo>
                        <a:pt x="1309" y="1096"/>
                      </a:lnTo>
                      <a:lnTo>
                        <a:pt x="1309" y="1095"/>
                      </a:lnTo>
                      <a:lnTo>
                        <a:pt x="1310" y="1096"/>
                      </a:lnTo>
                      <a:close/>
                      <a:moveTo>
                        <a:pt x="1108" y="789"/>
                      </a:moveTo>
                      <a:lnTo>
                        <a:pt x="1109" y="790"/>
                      </a:lnTo>
                      <a:lnTo>
                        <a:pt x="1109" y="791"/>
                      </a:lnTo>
                      <a:lnTo>
                        <a:pt x="1110" y="791"/>
                      </a:lnTo>
                      <a:lnTo>
                        <a:pt x="1111" y="791"/>
                      </a:lnTo>
                      <a:lnTo>
                        <a:pt x="1111" y="790"/>
                      </a:lnTo>
                      <a:lnTo>
                        <a:pt x="1111" y="791"/>
                      </a:lnTo>
                      <a:lnTo>
                        <a:pt x="1111" y="793"/>
                      </a:lnTo>
                      <a:lnTo>
                        <a:pt x="1110" y="793"/>
                      </a:lnTo>
                      <a:lnTo>
                        <a:pt x="1110" y="794"/>
                      </a:lnTo>
                      <a:lnTo>
                        <a:pt x="1109" y="794"/>
                      </a:lnTo>
                      <a:lnTo>
                        <a:pt x="1108" y="794"/>
                      </a:lnTo>
                      <a:lnTo>
                        <a:pt x="1108" y="793"/>
                      </a:lnTo>
                      <a:lnTo>
                        <a:pt x="1107" y="793"/>
                      </a:lnTo>
                      <a:lnTo>
                        <a:pt x="1107" y="791"/>
                      </a:lnTo>
                      <a:lnTo>
                        <a:pt x="1106" y="791"/>
                      </a:lnTo>
                      <a:lnTo>
                        <a:pt x="1106" y="793"/>
                      </a:lnTo>
                      <a:lnTo>
                        <a:pt x="1105" y="793"/>
                      </a:lnTo>
                      <a:lnTo>
                        <a:pt x="1105" y="791"/>
                      </a:lnTo>
                      <a:lnTo>
                        <a:pt x="1105" y="790"/>
                      </a:lnTo>
                      <a:lnTo>
                        <a:pt x="1106" y="789"/>
                      </a:lnTo>
                      <a:lnTo>
                        <a:pt x="1107" y="789"/>
                      </a:lnTo>
                      <a:lnTo>
                        <a:pt x="1108" y="789"/>
                      </a:lnTo>
                      <a:close/>
                      <a:moveTo>
                        <a:pt x="1095" y="980"/>
                      </a:moveTo>
                      <a:lnTo>
                        <a:pt x="1096" y="980"/>
                      </a:lnTo>
                      <a:lnTo>
                        <a:pt x="1096" y="979"/>
                      </a:lnTo>
                      <a:lnTo>
                        <a:pt x="1097" y="979"/>
                      </a:lnTo>
                      <a:lnTo>
                        <a:pt x="1097" y="980"/>
                      </a:lnTo>
                      <a:lnTo>
                        <a:pt x="1098" y="980"/>
                      </a:lnTo>
                      <a:lnTo>
                        <a:pt x="1097" y="980"/>
                      </a:lnTo>
                      <a:lnTo>
                        <a:pt x="1096" y="980"/>
                      </a:lnTo>
                      <a:lnTo>
                        <a:pt x="1095" y="980"/>
                      </a:lnTo>
                      <a:lnTo>
                        <a:pt x="1095" y="981"/>
                      </a:lnTo>
                      <a:lnTo>
                        <a:pt x="1096" y="981"/>
                      </a:lnTo>
                      <a:lnTo>
                        <a:pt x="1095" y="981"/>
                      </a:lnTo>
                      <a:lnTo>
                        <a:pt x="1095" y="980"/>
                      </a:lnTo>
                      <a:lnTo>
                        <a:pt x="1096" y="980"/>
                      </a:lnTo>
                      <a:lnTo>
                        <a:pt x="1096" y="981"/>
                      </a:lnTo>
                      <a:lnTo>
                        <a:pt x="1096" y="982"/>
                      </a:lnTo>
                      <a:lnTo>
                        <a:pt x="1095" y="982"/>
                      </a:lnTo>
                      <a:lnTo>
                        <a:pt x="1095" y="983"/>
                      </a:lnTo>
                      <a:lnTo>
                        <a:pt x="1096" y="983"/>
                      </a:lnTo>
                      <a:lnTo>
                        <a:pt x="1096" y="982"/>
                      </a:lnTo>
                      <a:lnTo>
                        <a:pt x="1097" y="982"/>
                      </a:lnTo>
                      <a:lnTo>
                        <a:pt x="1096" y="982"/>
                      </a:lnTo>
                      <a:lnTo>
                        <a:pt x="1097" y="982"/>
                      </a:lnTo>
                      <a:lnTo>
                        <a:pt x="1096" y="982"/>
                      </a:lnTo>
                      <a:lnTo>
                        <a:pt x="1096" y="981"/>
                      </a:lnTo>
                      <a:lnTo>
                        <a:pt x="1097" y="981"/>
                      </a:lnTo>
                      <a:lnTo>
                        <a:pt x="1097" y="982"/>
                      </a:lnTo>
                      <a:lnTo>
                        <a:pt x="1098" y="982"/>
                      </a:lnTo>
                      <a:lnTo>
                        <a:pt x="1098" y="981"/>
                      </a:lnTo>
                      <a:lnTo>
                        <a:pt x="1099" y="981"/>
                      </a:lnTo>
                      <a:lnTo>
                        <a:pt x="1099" y="980"/>
                      </a:lnTo>
                      <a:lnTo>
                        <a:pt x="1100" y="980"/>
                      </a:lnTo>
                      <a:lnTo>
                        <a:pt x="1100" y="981"/>
                      </a:lnTo>
                      <a:lnTo>
                        <a:pt x="1099" y="982"/>
                      </a:lnTo>
                      <a:lnTo>
                        <a:pt x="1098" y="982"/>
                      </a:lnTo>
                      <a:lnTo>
                        <a:pt x="1097" y="982"/>
                      </a:lnTo>
                      <a:lnTo>
                        <a:pt x="1096" y="983"/>
                      </a:lnTo>
                      <a:lnTo>
                        <a:pt x="1097" y="983"/>
                      </a:lnTo>
                      <a:lnTo>
                        <a:pt x="1097" y="984"/>
                      </a:lnTo>
                      <a:lnTo>
                        <a:pt x="1098" y="984"/>
                      </a:lnTo>
                      <a:lnTo>
                        <a:pt x="1099" y="984"/>
                      </a:lnTo>
                      <a:lnTo>
                        <a:pt x="1096" y="984"/>
                      </a:lnTo>
                      <a:lnTo>
                        <a:pt x="1094" y="984"/>
                      </a:lnTo>
                      <a:lnTo>
                        <a:pt x="1094" y="983"/>
                      </a:lnTo>
                      <a:lnTo>
                        <a:pt x="1094" y="982"/>
                      </a:lnTo>
                      <a:lnTo>
                        <a:pt x="1094" y="980"/>
                      </a:lnTo>
                      <a:lnTo>
                        <a:pt x="1095" y="979"/>
                      </a:lnTo>
                      <a:lnTo>
                        <a:pt x="1095" y="980"/>
                      </a:lnTo>
                      <a:close/>
                      <a:moveTo>
                        <a:pt x="1136" y="758"/>
                      </a:moveTo>
                      <a:lnTo>
                        <a:pt x="1137" y="758"/>
                      </a:lnTo>
                      <a:lnTo>
                        <a:pt x="1138" y="758"/>
                      </a:lnTo>
                      <a:lnTo>
                        <a:pt x="1140" y="757"/>
                      </a:lnTo>
                      <a:lnTo>
                        <a:pt x="1141" y="758"/>
                      </a:lnTo>
                      <a:lnTo>
                        <a:pt x="1141" y="759"/>
                      </a:lnTo>
                      <a:lnTo>
                        <a:pt x="1142" y="759"/>
                      </a:lnTo>
                      <a:lnTo>
                        <a:pt x="1144" y="759"/>
                      </a:lnTo>
                      <a:lnTo>
                        <a:pt x="1146" y="759"/>
                      </a:lnTo>
                      <a:lnTo>
                        <a:pt x="1146" y="760"/>
                      </a:lnTo>
                      <a:lnTo>
                        <a:pt x="1145" y="760"/>
                      </a:lnTo>
                      <a:lnTo>
                        <a:pt x="1144" y="760"/>
                      </a:lnTo>
                      <a:lnTo>
                        <a:pt x="1142" y="760"/>
                      </a:lnTo>
                      <a:lnTo>
                        <a:pt x="1141" y="760"/>
                      </a:lnTo>
                      <a:lnTo>
                        <a:pt x="1140" y="760"/>
                      </a:lnTo>
                      <a:lnTo>
                        <a:pt x="1137" y="759"/>
                      </a:lnTo>
                      <a:lnTo>
                        <a:pt x="1136" y="759"/>
                      </a:lnTo>
                      <a:lnTo>
                        <a:pt x="1136" y="758"/>
                      </a:lnTo>
                      <a:lnTo>
                        <a:pt x="1135" y="758"/>
                      </a:lnTo>
                      <a:lnTo>
                        <a:pt x="1135" y="757"/>
                      </a:lnTo>
                      <a:lnTo>
                        <a:pt x="1134" y="757"/>
                      </a:lnTo>
                      <a:lnTo>
                        <a:pt x="1135" y="757"/>
                      </a:lnTo>
                      <a:lnTo>
                        <a:pt x="1136" y="757"/>
                      </a:lnTo>
                      <a:lnTo>
                        <a:pt x="1136" y="758"/>
                      </a:lnTo>
                      <a:close/>
                      <a:moveTo>
                        <a:pt x="1171" y="828"/>
                      </a:moveTo>
                      <a:lnTo>
                        <a:pt x="1172" y="828"/>
                      </a:lnTo>
                      <a:lnTo>
                        <a:pt x="1173" y="828"/>
                      </a:lnTo>
                      <a:lnTo>
                        <a:pt x="1173" y="829"/>
                      </a:lnTo>
                      <a:lnTo>
                        <a:pt x="1173" y="831"/>
                      </a:lnTo>
                      <a:lnTo>
                        <a:pt x="1174" y="831"/>
                      </a:lnTo>
                      <a:lnTo>
                        <a:pt x="1175" y="831"/>
                      </a:lnTo>
                      <a:lnTo>
                        <a:pt x="1176" y="831"/>
                      </a:lnTo>
                      <a:lnTo>
                        <a:pt x="1176" y="832"/>
                      </a:lnTo>
                      <a:lnTo>
                        <a:pt x="1176" y="833"/>
                      </a:lnTo>
                      <a:lnTo>
                        <a:pt x="1176" y="834"/>
                      </a:lnTo>
                      <a:lnTo>
                        <a:pt x="1175" y="833"/>
                      </a:lnTo>
                      <a:lnTo>
                        <a:pt x="1174" y="833"/>
                      </a:lnTo>
                      <a:lnTo>
                        <a:pt x="1173" y="832"/>
                      </a:lnTo>
                      <a:lnTo>
                        <a:pt x="1173" y="831"/>
                      </a:lnTo>
                      <a:lnTo>
                        <a:pt x="1173" y="829"/>
                      </a:lnTo>
                      <a:lnTo>
                        <a:pt x="1172" y="829"/>
                      </a:lnTo>
                      <a:lnTo>
                        <a:pt x="1171" y="829"/>
                      </a:lnTo>
                      <a:lnTo>
                        <a:pt x="1170" y="829"/>
                      </a:lnTo>
                      <a:lnTo>
                        <a:pt x="1169" y="829"/>
                      </a:lnTo>
                      <a:lnTo>
                        <a:pt x="1168" y="829"/>
                      </a:lnTo>
                      <a:lnTo>
                        <a:pt x="1168" y="831"/>
                      </a:lnTo>
                      <a:lnTo>
                        <a:pt x="1168" y="829"/>
                      </a:lnTo>
                      <a:lnTo>
                        <a:pt x="1169" y="829"/>
                      </a:lnTo>
                      <a:lnTo>
                        <a:pt x="1169" y="828"/>
                      </a:lnTo>
                      <a:lnTo>
                        <a:pt x="1170" y="828"/>
                      </a:lnTo>
                      <a:lnTo>
                        <a:pt x="1171" y="828"/>
                      </a:lnTo>
                      <a:lnTo>
                        <a:pt x="1171" y="827"/>
                      </a:lnTo>
                      <a:lnTo>
                        <a:pt x="1171" y="828"/>
                      </a:lnTo>
                      <a:close/>
                      <a:moveTo>
                        <a:pt x="1351" y="1163"/>
                      </a:moveTo>
                      <a:lnTo>
                        <a:pt x="1352" y="1163"/>
                      </a:lnTo>
                      <a:lnTo>
                        <a:pt x="1353" y="1163"/>
                      </a:lnTo>
                      <a:lnTo>
                        <a:pt x="1352" y="1163"/>
                      </a:lnTo>
                      <a:lnTo>
                        <a:pt x="1352" y="1164"/>
                      </a:lnTo>
                      <a:lnTo>
                        <a:pt x="1353" y="1164"/>
                      </a:lnTo>
                      <a:lnTo>
                        <a:pt x="1353" y="1166"/>
                      </a:lnTo>
                      <a:lnTo>
                        <a:pt x="1353" y="1167"/>
                      </a:lnTo>
                      <a:lnTo>
                        <a:pt x="1352" y="1167"/>
                      </a:lnTo>
                      <a:lnTo>
                        <a:pt x="1351" y="1167"/>
                      </a:lnTo>
                      <a:lnTo>
                        <a:pt x="1351" y="1166"/>
                      </a:lnTo>
                      <a:lnTo>
                        <a:pt x="1351" y="1164"/>
                      </a:lnTo>
                      <a:lnTo>
                        <a:pt x="1350" y="1164"/>
                      </a:lnTo>
                      <a:lnTo>
                        <a:pt x="1351" y="1164"/>
                      </a:lnTo>
                      <a:lnTo>
                        <a:pt x="1351" y="1163"/>
                      </a:lnTo>
                      <a:lnTo>
                        <a:pt x="1350" y="1163"/>
                      </a:lnTo>
                      <a:lnTo>
                        <a:pt x="1350" y="1164"/>
                      </a:lnTo>
                      <a:lnTo>
                        <a:pt x="1349" y="1164"/>
                      </a:lnTo>
                      <a:lnTo>
                        <a:pt x="1348" y="1163"/>
                      </a:lnTo>
                      <a:lnTo>
                        <a:pt x="1348" y="1162"/>
                      </a:lnTo>
                      <a:lnTo>
                        <a:pt x="1349" y="1161"/>
                      </a:lnTo>
                      <a:lnTo>
                        <a:pt x="1350" y="1161"/>
                      </a:lnTo>
                      <a:lnTo>
                        <a:pt x="1351" y="1162"/>
                      </a:lnTo>
                      <a:lnTo>
                        <a:pt x="1351" y="1163"/>
                      </a:lnTo>
                      <a:close/>
                      <a:moveTo>
                        <a:pt x="1336" y="1016"/>
                      </a:moveTo>
                      <a:lnTo>
                        <a:pt x="1336" y="1017"/>
                      </a:lnTo>
                      <a:lnTo>
                        <a:pt x="1335" y="1017"/>
                      </a:lnTo>
                      <a:lnTo>
                        <a:pt x="1335" y="1018"/>
                      </a:lnTo>
                      <a:lnTo>
                        <a:pt x="1334" y="1018"/>
                      </a:lnTo>
                      <a:lnTo>
                        <a:pt x="1335" y="1019"/>
                      </a:lnTo>
                      <a:lnTo>
                        <a:pt x="1336" y="1019"/>
                      </a:lnTo>
                      <a:lnTo>
                        <a:pt x="1337" y="1019"/>
                      </a:lnTo>
                      <a:lnTo>
                        <a:pt x="1338" y="1020"/>
                      </a:lnTo>
                      <a:lnTo>
                        <a:pt x="1339" y="1020"/>
                      </a:lnTo>
                      <a:lnTo>
                        <a:pt x="1338" y="1020"/>
                      </a:lnTo>
                      <a:lnTo>
                        <a:pt x="1337" y="1020"/>
                      </a:lnTo>
                      <a:lnTo>
                        <a:pt x="1336" y="1020"/>
                      </a:lnTo>
                      <a:lnTo>
                        <a:pt x="1336" y="1021"/>
                      </a:lnTo>
                      <a:lnTo>
                        <a:pt x="1335" y="1021"/>
                      </a:lnTo>
                      <a:lnTo>
                        <a:pt x="1334" y="1021"/>
                      </a:lnTo>
                      <a:lnTo>
                        <a:pt x="1332" y="1021"/>
                      </a:lnTo>
                      <a:lnTo>
                        <a:pt x="1332" y="1020"/>
                      </a:lnTo>
                      <a:lnTo>
                        <a:pt x="1334" y="1020"/>
                      </a:lnTo>
                      <a:lnTo>
                        <a:pt x="1334" y="1017"/>
                      </a:lnTo>
                      <a:lnTo>
                        <a:pt x="1334" y="1016"/>
                      </a:lnTo>
                      <a:lnTo>
                        <a:pt x="1335" y="1016"/>
                      </a:lnTo>
                      <a:lnTo>
                        <a:pt x="1335" y="1014"/>
                      </a:lnTo>
                      <a:lnTo>
                        <a:pt x="1336" y="1014"/>
                      </a:lnTo>
                      <a:lnTo>
                        <a:pt x="1336" y="1015"/>
                      </a:lnTo>
                      <a:lnTo>
                        <a:pt x="1337" y="1015"/>
                      </a:lnTo>
                      <a:lnTo>
                        <a:pt x="1337" y="1016"/>
                      </a:lnTo>
                      <a:lnTo>
                        <a:pt x="1336" y="1016"/>
                      </a:lnTo>
                      <a:close/>
                      <a:moveTo>
                        <a:pt x="1027" y="990"/>
                      </a:moveTo>
                      <a:lnTo>
                        <a:pt x="1028" y="990"/>
                      </a:lnTo>
                      <a:lnTo>
                        <a:pt x="1027" y="990"/>
                      </a:lnTo>
                      <a:lnTo>
                        <a:pt x="1027" y="991"/>
                      </a:lnTo>
                      <a:lnTo>
                        <a:pt x="1026" y="991"/>
                      </a:lnTo>
                      <a:lnTo>
                        <a:pt x="1025" y="992"/>
                      </a:lnTo>
                      <a:lnTo>
                        <a:pt x="1026" y="991"/>
                      </a:lnTo>
                      <a:lnTo>
                        <a:pt x="1027" y="991"/>
                      </a:lnTo>
                      <a:lnTo>
                        <a:pt x="1028" y="991"/>
                      </a:lnTo>
                      <a:lnTo>
                        <a:pt x="1029" y="991"/>
                      </a:lnTo>
                      <a:lnTo>
                        <a:pt x="1029" y="990"/>
                      </a:lnTo>
                      <a:lnTo>
                        <a:pt x="1030" y="991"/>
                      </a:lnTo>
                      <a:lnTo>
                        <a:pt x="1031" y="990"/>
                      </a:lnTo>
                      <a:lnTo>
                        <a:pt x="1032" y="990"/>
                      </a:lnTo>
                      <a:lnTo>
                        <a:pt x="1031" y="990"/>
                      </a:lnTo>
                      <a:lnTo>
                        <a:pt x="1031" y="991"/>
                      </a:lnTo>
                      <a:lnTo>
                        <a:pt x="1030" y="991"/>
                      </a:lnTo>
                      <a:lnTo>
                        <a:pt x="1029" y="991"/>
                      </a:lnTo>
                      <a:lnTo>
                        <a:pt x="1028" y="992"/>
                      </a:lnTo>
                      <a:lnTo>
                        <a:pt x="1027" y="992"/>
                      </a:lnTo>
                      <a:lnTo>
                        <a:pt x="1026" y="992"/>
                      </a:lnTo>
                      <a:lnTo>
                        <a:pt x="1025" y="992"/>
                      </a:lnTo>
                      <a:lnTo>
                        <a:pt x="1025" y="993"/>
                      </a:lnTo>
                      <a:lnTo>
                        <a:pt x="1024" y="993"/>
                      </a:lnTo>
                      <a:lnTo>
                        <a:pt x="1022" y="992"/>
                      </a:lnTo>
                      <a:lnTo>
                        <a:pt x="1021" y="992"/>
                      </a:lnTo>
                      <a:lnTo>
                        <a:pt x="1020" y="992"/>
                      </a:lnTo>
                      <a:lnTo>
                        <a:pt x="1020" y="991"/>
                      </a:lnTo>
                      <a:lnTo>
                        <a:pt x="1021" y="991"/>
                      </a:lnTo>
                      <a:lnTo>
                        <a:pt x="1021" y="992"/>
                      </a:lnTo>
                      <a:lnTo>
                        <a:pt x="1021" y="991"/>
                      </a:lnTo>
                      <a:lnTo>
                        <a:pt x="1022" y="991"/>
                      </a:lnTo>
                      <a:lnTo>
                        <a:pt x="1024" y="991"/>
                      </a:lnTo>
                      <a:lnTo>
                        <a:pt x="1025" y="990"/>
                      </a:lnTo>
                      <a:lnTo>
                        <a:pt x="1026" y="990"/>
                      </a:lnTo>
                      <a:lnTo>
                        <a:pt x="1027" y="990"/>
                      </a:lnTo>
                      <a:close/>
                      <a:moveTo>
                        <a:pt x="1166" y="975"/>
                      </a:moveTo>
                      <a:lnTo>
                        <a:pt x="1167" y="976"/>
                      </a:lnTo>
                      <a:lnTo>
                        <a:pt x="1167" y="977"/>
                      </a:lnTo>
                      <a:lnTo>
                        <a:pt x="1166" y="977"/>
                      </a:lnTo>
                      <a:lnTo>
                        <a:pt x="1166" y="978"/>
                      </a:lnTo>
                      <a:lnTo>
                        <a:pt x="1167" y="978"/>
                      </a:lnTo>
                      <a:lnTo>
                        <a:pt x="1166" y="978"/>
                      </a:lnTo>
                      <a:lnTo>
                        <a:pt x="1166" y="977"/>
                      </a:lnTo>
                      <a:lnTo>
                        <a:pt x="1166" y="976"/>
                      </a:lnTo>
                      <a:lnTo>
                        <a:pt x="1164" y="976"/>
                      </a:lnTo>
                      <a:lnTo>
                        <a:pt x="1163" y="976"/>
                      </a:lnTo>
                      <a:lnTo>
                        <a:pt x="1162" y="976"/>
                      </a:lnTo>
                      <a:lnTo>
                        <a:pt x="1163" y="975"/>
                      </a:lnTo>
                      <a:lnTo>
                        <a:pt x="1163" y="974"/>
                      </a:lnTo>
                      <a:lnTo>
                        <a:pt x="1163" y="973"/>
                      </a:lnTo>
                      <a:lnTo>
                        <a:pt x="1163" y="971"/>
                      </a:lnTo>
                      <a:lnTo>
                        <a:pt x="1164" y="970"/>
                      </a:lnTo>
                      <a:lnTo>
                        <a:pt x="1164" y="971"/>
                      </a:lnTo>
                      <a:lnTo>
                        <a:pt x="1166" y="971"/>
                      </a:lnTo>
                      <a:lnTo>
                        <a:pt x="1166" y="973"/>
                      </a:lnTo>
                      <a:lnTo>
                        <a:pt x="1167" y="974"/>
                      </a:lnTo>
                      <a:lnTo>
                        <a:pt x="1166" y="974"/>
                      </a:lnTo>
                      <a:lnTo>
                        <a:pt x="1166" y="975"/>
                      </a:lnTo>
                      <a:close/>
                      <a:moveTo>
                        <a:pt x="1020" y="977"/>
                      </a:moveTo>
                      <a:lnTo>
                        <a:pt x="1019" y="978"/>
                      </a:lnTo>
                      <a:lnTo>
                        <a:pt x="1019" y="979"/>
                      </a:lnTo>
                      <a:lnTo>
                        <a:pt x="1019" y="978"/>
                      </a:lnTo>
                      <a:lnTo>
                        <a:pt x="1019" y="979"/>
                      </a:lnTo>
                      <a:lnTo>
                        <a:pt x="1018" y="979"/>
                      </a:lnTo>
                      <a:lnTo>
                        <a:pt x="1017" y="980"/>
                      </a:lnTo>
                      <a:lnTo>
                        <a:pt x="1017" y="981"/>
                      </a:lnTo>
                      <a:lnTo>
                        <a:pt x="1016" y="981"/>
                      </a:lnTo>
                      <a:lnTo>
                        <a:pt x="1015" y="981"/>
                      </a:lnTo>
                      <a:lnTo>
                        <a:pt x="1014" y="981"/>
                      </a:lnTo>
                      <a:lnTo>
                        <a:pt x="1013" y="981"/>
                      </a:lnTo>
                      <a:lnTo>
                        <a:pt x="1013" y="982"/>
                      </a:lnTo>
                      <a:lnTo>
                        <a:pt x="1012" y="982"/>
                      </a:lnTo>
                      <a:lnTo>
                        <a:pt x="1012" y="981"/>
                      </a:lnTo>
                      <a:lnTo>
                        <a:pt x="1011" y="981"/>
                      </a:lnTo>
                      <a:lnTo>
                        <a:pt x="1012" y="980"/>
                      </a:lnTo>
                      <a:lnTo>
                        <a:pt x="1012" y="981"/>
                      </a:lnTo>
                      <a:lnTo>
                        <a:pt x="1012" y="980"/>
                      </a:lnTo>
                      <a:lnTo>
                        <a:pt x="1012" y="981"/>
                      </a:lnTo>
                      <a:lnTo>
                        <a:pt x="1013" y="981"/>
                      </a:lnTo>
                      <a:lnTo>
                        <a:pt x="1013" y="980"/>
                      </a:lnTo>
                      <a:lnTo>
                        <a:pt x="1013" y="979"/>
                      </a:lnTo>
                      <a:lnTo>
                        <a:pt x="1014" y="979"/>
                      </a:lnTo>
                      <a:lnTo>
                        <a:pt x="1014" y="978"/>
                      </a:lnTo>
                      <a:lnTo>
                        <a:pt x="1015" y="978"/>
                      </a:lnTo>
                      <a:lnTo>
                        <a:pt x="1015" y="979"/>
                      </a:lnTo>
                      <a:lnTo>
                        <a:pt x="1016" y="979"/>
                      </a:lnTo>
                      <a:lnTo>
                        <a:pt x="1016" y="980"/>
                      </a:lnTo>
                      <a:lnTo>
                        <a:pt x="1016" y="979"/>
                      </a:lnTo>
                      <a:lnTo>
                        <a:pt x="1017" y="979"/>
                      </a:lnTo>
                      <a:lnTo>
                        <a:pt x="1018" y="979"/>
                      </a:lnTo>
                      <a:lnTo>
                        <a:pt x="1018" y="978"/>
                      </a:lnTo>
                      <a:lnTo>
                        <a:pt x="1019" y="978"/>
                      </a:lnTo>
                      <a:lnTo>
                        <a:pt x="1019" y="977"/>
                      </a:lnTo>
                      <a:lnTo>
                        <a:pt x="1020" y="977"/>
                      </a:lnTo>
                      <a:close/>
                      <a:moveTo>
                        <a:pt x="1427" y="1095"/>
                      </a:moveTo>
                      <a:lnTo>
                        <a:pt x="1428" y="1095"/>
                      </a:lnTo>
                      <a:lnTo>
                        <a:pt x="1429" y="1095"/>
                      </a:lnTo>
                      <a:lnTo>
                        <a:pt x="1430" y="1096"/>
                      </a:lnTo>
                      <a:lnTo>
                        <a:pt x="1429" y="1096"/>
                      </a:lnTo>
                      <a:lnTo>
                        <a:pt x="1428" y="1096"/>
                      </a:lnTo>
                      <a:lnTo>
                        <a:pt x="1427" y="1096"/>
                      </a:lnTo>
                      <a:lnTo>
                        <a:pt x="1427" y="1097"/>
                      </a:lnTo>
                      <a:lnTo>
                        <a:pt x="1426" y="1097"/>
                      </a:lnTo>
                      <a:lnTo>
                        <a:pt x="1425" y="1098"/>
                      </a:lnTo>
                      <a:lnTo>
                        <a:pt x="1425" y="1097"/>
                      </a:lnTo>
                      <a:lnTo>
                        <a:pt x="1425" y="1098"/>
                      </a:lnTo>
                      <a:lnTo>
                        <a:pt x="1424" y="1098"/>
                      </a:lnTo>
                      <a:lnTo>
                        <a:pt x="1424" y="1097"/>
                      </a:lnTo>
                      <a:lnTo>
                        <a:pt x="1424" y="1098"/>
                      </a:lnTo>
                      <a:lnTo>
                        <a:pt x="1422" y="1098"/>
                      </a:lnTo>
                      <a:lnTo>
                        <a:pt x="1421" y="1099"/>
                      </a:lnTo>
                      <a:lnTo>
                        <a:pt x="1422" y="1099"/>
                      </a:lnTo>
                      <a:lnTo>
                        <a:pt x="1421" y="1099"/>
                      </a:lnTo>
                      <a:lnTo>
                        <a:pt x="1421" y="1098"/>
                      </a:lnTo>
                      <a:lnTo>
                        <a:pt x="1421" y="1097"/>
                      </a:lnTo>
                      <a:lnTo>
                        <a:pt x="1422" y="1097"/>
                      </a:lnTo>
                      <a:lnTo>
                        <a:pt x="1425" y="1096"/>
                      </a:lnTo>
                      <a:lnTo>
                        <a:pt x="1426" y="1096"/>
                      </a:lnTo>
                      <a:lnTo>
                        <a:pt x="1426" y="1095"/>
                      </a:lnTo>
                      <a:lnTo>
                        <a:pt x="1426" y="1094"/>
                      </a:lnTo>
                      <a:lnTo>
                        <a:pt x="1427" y="1095"/>
                      </a:lnTo>
                      <a:close/>
                      <a:moveTo>
                        <a:pt x="1340" y="1171"/>
                      </a:moveTo>
                      <a:lnTo>
                        <a:pt x="1340" y="1170"/>
                      </a:lnTo>
                      <a:lnTo>
                        <a:pt x="1340" y="1171"/>
                      </a:lnTo>
                      <a:lnTo>
                        <a:pt x="1341" y="1171"/>
                      </a:lnTo>
                      <a:lnTo>
                        <a:pt x="1340" y="1171"/>
                      </a:lnTo>
                      <a:lnTo>
                        <a:pt x="1340" y="1172"/>
                      </a:lnTo>
                      <a:lnTo>
                        <a:pt x="1341" y="1172"/>
                      </a:lnTo>
                      <a:lnTo>
                        <a:pt x="1341" y="1173"/>
                      </a:lnTo>
                      <a:lnTo>
                        <a:pt x="1341" y="1174"/>
                      </a:lnTo>
                      <a:lnTo>
                        <a:pt x="1340" y="1174"/>
                      </a:lnTo>
                      <a:lnTo>
                        <a:pt x="1341" y="1174"/>
                      </a:lnTo>
                      <a:lnTo>
                        <a:pt x="1340" y="1174"/>
                      </a:lnTo>
                      <a:lnTo>
                        <a:pt x="1340" y="1175"/>
                      </a:lnTo>
                      <a:lnTo>
                        <a:pt x="1339" y="1176"/>
                      </a:lnTo>
                      <a:lnTo>
                        <a:pt x="1338" y="1176"/>
                      </a:lnTo>
                      <a:lnTo>
                        <a:pt x="1338" y="1175"/>
                      </a:lnTo>
                      <a:lnTo>
                        <a:pt x="1337" y="1175"/>
                      </a:lnTo>
                      <a:lnTo>
                        <a:pt x="1338" y="1174"/>
                      </a:lnTo>
                      <a:lnTo>
                        <a:pt x="1338" y="1173"/>
                      </a:lnTo>
                      <a:lnTo>
                        <a:pt x="1339" y="1173"/>
                      </a:lnTo>
                      <a:lnTo>
                        <a:pt x="1338" y="1172"/>
                      </a:lnTo>
                      <a:lnTo>
                        <a:pt x="1339" y="1172"/>
                      </a:lnTo>
                      <a:lnTo>
                        <a:pt x="1340" y="1172"/>
                      </a:lnTo>
                      <a:lnTo>
                        <a:pt x="1339" y="1171"/>
                      </a:lnTo>
                      <a:lnTo>
                        <a:pt x="1340" y="1170"/>
                      </a:lnTo>
                      <a:lnTo>
                        <a:pt x="1340" y="1171"/>
                      </a:lnTo>
                      <a:close/>
                      <a:moveTo>
                        <a:pt x="1107" y="798"/>
                      </a:moveTo>
                      <a:lnTo>
                        <a:pt x="1107" y="799"/>
                      </a:lnTo>
                      <a:lnTo>
                        <a:pt x="1108" y="799"/>
                      </a:lnTo>
                      <a:lnTo>
                        <a:pt x="1108" y="800"/>
                      </a:lnTo>
                      <a:lnTo>
                        <a:pt x="1109" y="800"/>
                      </a:lnTo>
                      <a:lnTo>
                        <a:pt x="1110" y="800"/>
                      </a:lnTo>
                      <a:lnTo>
                        <a:pt x="1109" y="800"/>
                      </a:lnTo>
                      <a:lnTo>
                        <a:pt x="1108" y="800"/>
                      </a:lnTo>
                      <a:lnTo>
                        <a:pt x="1107" y="800"/>
                      </a:lnTo>
                      <a:lnTo>
                        <a:pt x="1108" y="800"/>
                      </a:lnTo>
                      <a:lnTo>
                        <a:pt x="1109" y="801"/>
                      </a:lnTo>
                      <a:lnTo>
                        <a:pt x="1108" y="801"/>
                      </a:lnTo>
                      <a:lnTo>
                        <a:pt x="1107" y="801"/>
                      </a:lnTo>
                      <a:lnTo>
                        <a:pt x="1107" y="800"/>
                      </a:lnTo>
                      <a:lnTo>
                        <a:pt x="1106" y="800"/>
                      </a:lnTo>
                      <a:lnTo>
                        <a:pt x="1106" y="801"/>
                      </a:lnTo>
                      <a:lnTo>
                        <a:pt x="1106" y="802"/>
                      </a:lnTo>
                      <a:lnTo>
                        <a:pt x="1105" y="801"/>
                      </a:lnTo>
                      <a:lnTo>
                        <a:pt x="1105" y="800"/>
                      </a:lnTo>
                      <a:lnTo>
                        <a:pt x="1104" y="800"/>
                      </a:lnTo>
                      <a:lnTo>
                        <a:pt x="1104" y="799"/>
                      </a:lnTo>
                      <a:lnTo>
                        <a:pt x="1103" y="799"/>
                      </a:lnTo>
                      <a:lnTo>
                        <a:pt x="1102" y="799"/>
                      </a:lnTo>
                      <a:lnTo>
                        <a:pt x="1103" y="799"/>
                      </a:lnTo>
                      <a:lnTo>
                        <a:pt x="1104" y="799"/>
                      </a:lnTo>
                      <a:lnTo>
                        <a:pt x="1104" y="798"/>
                      </a:lnTo>
                      <a:lnTo>
                        <a:pt x="1104" y="799"/>
                      </a:lnTo>
                      <a:lnTo>
                        <a:pt x="1105" y="799"/>
                      </a:lnTo>
                      <a:lnTo>
                        <a:pt x="1106" y="800"/>
                      </a:lnTo>
                      <a:lnTo>
                        <a:pt x="1106" y="799"/>
                      </a:lnTo>
                      <a:lnTo>
                        <a:pt x="1105" y="799"/>
                      </a:lnTo>
                      <a:lnTo>
                        <a:pt x="1104" y="799"/>
                      </a:lnTo>
                      <a:lnTo>
                        <a:pt x="1104" y="798"/>
                      </a:lnTo>
                      <a:lnTo>
                        <a:pt x="1105" y="798"/>
                      </a:lnTo>
                      <a:lnTo>
                        <a:pt x="1105" y="797"/>
                      </a:lnTo>
                      <a:lnTo>
                        <a:pt x="1106" y="797"/>
                      </a:lnTo>
                      <a:lnTo>
                        <a:pt x="1107" y="798"/>
                      </a:lnTo>
                      <a:close/>
                      <a:moveTo>
                        <a:pt x="1077" y="966"/>
                      </a:moveTo>
                      <a:lnTo>
                        <a:pt x="1077" y="967"/>
                      </a:lnTo>
                      <a:lnTo>
                        <a:pt x="1077" y="966"/>
                      </a:lnTo>
                      <a:lnTo>
                        <a:pt x="1076" y="962"/>
                      </a:lnTo>
                      <a:lnTo>
                        <a:pt x="1076" y="961"/>
                      </a:lnTo>
                      <a:lnTo>
                        <a:pt x="1077" y="960"/>
                      </a:lnTo>
                      <a:lnTo>
                        <a:pt x="1078" y="960"/>
                      </a:lnTo>
                      <a:lnTo>
                        <a:pt x="1078" y="958"/>
                      </a:lnTo>
                      <a:lnTo>
                        <a:pt x="1079" y="958"/>
                      </a:lnTo>
                      <a:lnTo>
                        <a:pt x="1078" y="965"/>
                      </a:lnTo>
                      <a:lnTo>
                        <a:pt x="1077" y="966"/>
                      </a:lnTo>
                      <a:close/>
                      <a:moveTo>
                        <a:pt x="1222" y="990"/>
                      </a:moveTo>
                      <a:lnTo>
                        <a:pt x="1223" y="990"/>
                      </a:lnTo>
                      <a:lnTo>
                        <a:pt x="1225" y="991"/>
                      </a:lnTo>
                      <a:lnTo>
                        <a:pt x="1225" y="992"/>
                      </a:lnTo>
                      <a:lnTo>
                        <a:pt x="1226" y="993"/>
                      </a:lnTo>
                      <a:lnTo>
                        <a:pt x="1226" y="994"/>
                      </a:lnTo>
                      <a:lnTo>
                        <a:pt x="1226" y="995"/>
                      </a:lnTo>
                      <a:lnTo>
                        <a:pt x="1225" y="995"/>
                      </a:lnTo>
                      <a:lnTo>
                        <a:pt x="1225" y="994"/>
                      </a:lnTo>
                      <a:lnTo>
                        <a:pt x="1224" y="994"/>
                      </a:lnTo>
                      <a:lnTo>
                        <a:pt x="1225" y="993"/>
                      </a:lnTo>
                      <a:lnTo>
                        <a:pt x="1224" y="993"/>
                      </a:lnTo>
                      <a:lnTo>
                        <a:pt x="1224" y="994"/>
                      </a:lnTo>
                      <a:lnTo>
                        <a:pt x="1224" y="993"/>
                      </a:lnTo>
                      <a:lnTo>
                        <a:pt x="1224" y="992"/>
                      </a:lnTo>
                      <a:lnTo>
                        <a:pt x="1224" y="993"/>
                      </a:lnTo>
                      <a:lnTo>
                        <a:pt x="1223" y="993"/>
                      </a:lnTo>
                      <a:lnTo>
                        <a:pt x="1223" y="994"/>
                      </a:lnTo>
                      <a:lnTo>
                        <a:pt x="1223" y="993"/>
                      </a:lnTo>
                      <a:lnTo>
                        <a:pt x="1223" y="994"/>
                      </a:lnTo>
                      <a:lnTo>
                        <a:pt x="1222" y="993"/>
                      </a:lnTo>
                      <a:lnTo>
                        <a:pt x="1223" y="993"/>
                      </a:lnTo>
                      <a:lnTo>
                        <a:pt x="1223" y="992"/>
                      </a:lnTo>
                      <a:lnTo>
                        <a:pt x="1222" y="992"/>
                      </a:lnTo>
                      <a:lnTo>
                        <a:pt x="1222" y="991"/>
                      </a:lnTo>
                      <a:lnTo>
                        <a:pt x="1221" y="992"/>
                      </a:lnTo>
                      <a:lnTo>
                        <a:pt x="1221" y="991"/>
                      </a:lnTo>
                      <a:lnTo>
                        <a:pt x="1222" y="991"/>
                      </a:lnTo>
                      <a:lnTo>
                        <a:pt x="1222" y="990"/>
                      </a:lnTo>
                      <a:close/>
                      <a:moveTo>
                        <a:pt x="1303" y="1224"/>
                      </a:moveTo>
                      <a:lnTo>
                        <a:pt x="1304" y="1225"/>
                      </a:lnTo>
                      <a:lnTo>
                        <a:pt x="1303" y="1224"/>
                      </a:lnTo>
                      <a:lnTo>
                        <a:pt x="1303" y="1225"/>
                      </a:lnTo>
                      <a:lnTo>
                        <a:pt x="1302" y="1225"/>
                      </a:lnTo>
                      <a:lnTo>
                        <a:pt x="1301" y="1226"/>
                      </a:lnTo>
                      <a:lnTo>
                        <a:pt x="1301" y="1227"/>
                      </a:lnTo>
                      <a:lnTo>
                        <a:pt x="1300" y="1228"/>
                      </a:lnTo>
                      <a:lnTo>
                        <a:pt x="1300" y="1230"/>
                      </a:lnTo>
                      <a:lnTo>
                        <a:pt x="1299" y="1230"/>
                      </a:lnTo>
                      <a:lnTo>
                        <a:pt x="1299" y="1231"/>
                      </a:lnTo>
                      <a:lnTo>
                        <a:pt x="1298" y="1231"/>
                      </a:lnTo>
                      <a:lnTo>
                        <a:pt x="1298" y="1232"/>
                      </a:lnTo>
                      <a:lnTo>
                        <a:pt x="1297" y="1233"/>
                      </a:lnTo>
                      <a:lnTo>
                        <a:pt x="1297" y="1234"/>
                      </a:lnTo>
                      <a:lnTo>
                        <a:pt x="1296" y="1234"/>
                      </a:lnTo>
                      <a:lnTo>
                        <a:pt x="1297" y="1235"/>
                      </a:lnTo>
                      <a:lnTo>
                        <a:pt x="1298" y="1234"/>
                      </a:lnTo>
                      <a:lnTo>
                        <a:pt x="1298" y="1233"/>
                      </a:lnTo>
                      <a:lnTo>
                        <a:pt x="1299" y="1233"/>
                      </a:lnTo>
                      <a:lnTo>
                        <a:pt x="1299" y="1232"/>
                      </a:lnTo>
                      <a:lnTo>
                        <a:pt x="1299" y="1231"/>
                      </a:lnTo>
                      <a:lnTo>
                        <a:pt x="1300" y="1231"/>
                      </a:lnTo>
                      <a:lnTo>
                        <a:pt x="1300" y="1230"/>
                      </a:lnTo>
                      <a:lnTo>
                        <a:pt x="1301" y="1230"/>
                      </a:lnTo>
                      <a:lnTo>
                        <a:pt x="1301" y="1228"/>
                      </a:lnTo>
                      <a:lnTo>
                        <a:pt x="1302" y="1228"/>
                      </a:lnTo>
                      <a:lnTo>
                        <a:pt x="1302" y="1227"/>
                      </a:lnTo>
                      <a:lnTo>
                        <a:pt x="1303" y="1226"/>
                      </a:lnTo>
                      <a:lnTo>
                        <a:pt x="1303" y="1225"/>
                      </a:lnTo>
                      <a:lnTo>
                        <a:pt x="1304" y="1225"/>
                      </a:lnTo>
                      <a:lnTo>
                        <a:pt x="1304" y="1226"/>
                      </a:lnTo>
                      <a:lnTo>
                        <a:pt x="1303" y="1227"/>
                      </a:lnTo>
                      <a:lnTo>
                        <a:pt x="1302" y="1228"/>
                      </a:lnTo>
                      <a:lnTo>
                        <a:pt x="1301" y="1230"/>
                      </a:lnTo>
                      <a:lnTo>
                        <a:pt x="1300" y="1231"/>
                      </a:lnTo>
                      <a:lnTo>
                        <a:pt x="1300" y="1232"/>
                      </a:lnTo>
                      <a:lnTo>
                        <a:pt x="1299" y="1233"/>
                      </a:lnTo>
                      <a:lnTo>
                        <a:pt x="1298" y="1234"/>
                      </a:lnTo>
                      <a:lnTo>
                        <a:pt x="1298" y="1235"/>
                      </a:lnTo>
                      <a:lnTo>
                        <a:pt x="1297" y="1236"/>
                      </a:lnTo>
                      <a:lnTo>
                        <a:pt x="1297" y="1237"/>
                      </a:lnTo>
                      <a:lnTo>
                        <a:pt x="1296" y="1238"/>
                      </a:lnTo>
                      <a:lnTo>
                        <a:pt x="1296" y="1237"/>
                      </a:lnTo>
                      <a:lnTo>
                        <a:pt x="1296" y="1236"/>
                      </a:lnTo>
                      <a:lnTo>
                        <a:pt x="1297" y="1236"/>
                      </a:lnTo>
                      <a:lnTo>
                        <a:pt x="1297" y="1235"/>
                      </a:lnTo>
                      <a:lnTo>
                        <a:pt x="1296" y="1234"/>
                      </a:lnTo>
                      <a:lnTo>
                        <a:pt x="1296" y="1233"/>
                      </a:lnTo>
                      <a:lnTo>
                        <a:pt x="1297" y="1233"/>
                      </a:lnTo>
                      <a:lnTo>
                        <a:pt x="1299" y="1230"/>
                      </a:lnTo>
                      <a:lnTo>
                        <a:pt x="1299" y="1228"/>
                      </a:lnTo>
                      <a:lnTo>
                        <a:pt x="1300" y="1228"/>
                      </a:lnTo>
                      <a:lnTo>
                        <a:pt x="1301" y="1227"/>
                      </a:lnTo>
                      <a:lnTo>
                        <a:pt x="1301" y="1226"/>
                      </a:lnTo>
                      <a:lnTo>
                        <a:pt x="1303" y="1224"/>
                      </a:lnTo>
                      <a:close/>
                      <a:moveTo>
                        <a:pt x="1066" y="925"/>
                      </a:moveTo>
                      <a:lnTo>
                        <a:pt x="1067" y="925"/>
                      </a:lnTo>
                      <a:lnTo>
                        <a:pt x="1067" y="926"/>
                      </a:lnTo>
                      <a:lnTo>
                        <a:pt x="1068" y="926"/>
                      </a:lnTo>
                      <a:lnTo>
                        <a:pt x="1068" y="927"/>
                      </a:lnTo>
                      <a:lnTo>
                        <a:pt x="1069" y="928"/>
                      </a:lnTo>
                      <a:lnTo>
                        <a:pt x="1069" y="929"/>
                      </a:lnTo>
                      <a:lnTo>
                        <a:pt x="1068" y="929"/>
                      </a:lnTo>
                      <a:lnTo>
                        <a:pt x="1068" y="930"/>
                      </a:lnTo>
                      <a:lnTo>
                        <a:pt x="1068" y="931"/>
                      </a:lnTo>
                      <a:lnTo>
                        <a:pt x="1067" y="931"/>
                      </a:lnTo>
                      <a:lnTo>
                        <a:pt x="1066" y="931"/>
                      </a:lnTo>
                      <a:lnTo>
                        <a:pt x="1067" y="931"/>
                      </a:lnTo>
                      <a:lnTo>
                        <a:pt x="1067" y="930"/>
                      </a:lnTo>
                      <a:lnTo>
                        <a:pt x="1067" y="929"/>
                      </a:lnTo>
                      <a:lnTo>
                        <a:pt x="1068" y="929"/>
                      </a:lnTo>
                      <a:lnTo>
                        <a:pt x="1068" y="928"/>
                      </a:lnTo>
                      <a:lnTo>
                        <a:pt x="1067" y="928"/>
                      </a:lnTo>
                      <a:lnTo>
                        <a:pt x="1068" y="928"/>
                      </a:lnTo>
                      <a:lnTo>
                        <a:pt x="1068" y="927"/>
                      </a:lnTo>
                      <a:lnTo>
                        <a:pt x="1067" y="927"/>
                      </a:lnTo>
                      <a:lnTo>
                        <a:pt x="1067" y="926"/>
                      </a:lnTo>
                      <a:lnTo>
                        <a:pt x="1067" y="927"/>
                      </a:lnTo>
                      <a:lnTo>
                        <a:pt x="1067" y="926"/>
                      </a:lnTo>
                      <a:lnTo>
                        <a:pt x="1066" y="926"/>
                      </a:lnTo>
                      <a:lnTo>
                        <a:pt x="1065" y="926"/>
                      </a:lnTo>
                      <a:lnTo>
                        <a:pt x="1065" y="925"/>
                      </a:lnTo>
                      <a:lnTo>
                        <a:pt x="1066" y="925"/>
                      </a:lnTo>
                      <a:lnTo>
                        <a:pt x="1065" y="925"/>
                      </a:lnTo>
                      <a:lnTo>
                        <a:pt x="1064" y="926"/>
                      </a:lnTo>
                      <a:lnTo>
                        <a:pt x="1065" y="926"/>
                      </a:lnTo>
                      <a:lnTo>
                        <a:pt x="1066" y="926"/>
                      </a:lnTo>
                      <a:lnTo>
                        <a:pt x="1066" y="927"/>
                      </a:lnTo>
                      <a:lnTo>
                        <a:pt x="1065" y="927"/>
                      </a:lnTo>
                      <a:lnTo>
                        <a:pt x="1065" y="926"/>
                      </a:lnTo>
                      <a:lnTo>
                        <a:pt x="1065" y="927"/>
                      </a:lnTo>
                      <a:lnTo>
                        <a:pt x="1064" y="927"/>
                      </a:lnTo>
                      <a:lnTo>
                        <a:pt x="1064" y="926"/>
                      </a:lnTo>
                      <a:lnTo>
                        <a:pt x="1064" y="925"/>
                      </a:lnTo>
                      <a:lnTo>
                        <a:pt x="1065" y="925"/>
                      </a:lnTo>
                      <a:lnTo>
                        <a:pt x="1065" y="924"/>
                      </a:lnTo>
                      <a:lnTo>
                        <a:pt x="1066" y="924"/>
                      </a:lnTo>
                      <a:lnTo>
                        <a:pt x="1066" y="925"/>
                      </a:lnTo>
                      <a:close/>
                      <a:moveTo>
                        <a:pt x="1502" y="1068"/>
                      </a:moveTo>
                      <a:lnTo>
                        <a:pt x="1502" y="1069"/>
                      </a:lnTo>
                      <a:lnTo>
                        <a:pt x="1500" y="1069"/>
                      </a:lnTo>
                      <a:lnTo>
                        <a:pt x="1500" y="1070"/>
                      </a:lnTo>
                      <a:lnTo>
                        <a:pt x="1499" y="1070"/>
                      </a:lnTo>
                      <a:lnTo>
                        <a:pt x="1499" y="1071"/>
                      </a:lnTo>
                      <a:lnTo>
                        <a:pt x="1497" y="1071"/>
                      </a:lnTo>
                      <a:lnTo>
                        <a:pt x="1497" y="1072"/>
                      </a:lnTo>
                      <a:lnTo>
                        <a:pt x="1496" y="1072"/>
                      </a:lnTo>
                      <a:lnTo>
                        <a:pt x="1496" y="1071"/>
                      </a:lnTo>
                      <a:lnTo>
                        <a:pt x="1495" y="1070"/>
                      </a:lnTo>
                      <a:lnTo>
                        <a:pt x="1496" y="1070"/>
                      </a:lnTo>
                      <a:lnTo>
                        <a:pt x="1496" y="1069"/>
                      </a:lnTo>
                      <a:lnTo>
                        <a:pt x="1497" y="1069"/>
                      </a:lnTo>
                      <a:lnTo>
                        <a:pt x="1497" y="1070"/>
                      </a:lnTo>
                      <a:lnTo>
                        <a:pt x="1498" y="1070"/>
                      </a:lnTo>
                      <a:lnTo>
                        <a:pt x="1498" y="1069"/>
                      </a:lnTo>
                      <a:lnTo>
                        <a:pt x="1499" y="1069"/>
                      </a:lnTo>
                      <a:lnTo>
                        <a:pt x="1499" y="1068"/>
                      </a:lnTo>
                      <a:lnTo>
                        <a:pt x="1500" y="1068"/>
                      </a:lnTo>
                      <a:lnTo>
                        <a:pt x="1500" y="1067"/>
                      </a:lnTo>
                      <a:lnTo>
                        <a:pt x="1502" y="1068"/>
                      </a:lnTo>
                      <a:close/>
                      <a:moveTo>
                        <a:pt x="1131" y="956"/>
                      </a:moveTo>
                      <a:lnTo>
                        <a:pt x="1131" y="957"/>
                      </a:lnTo>
                      <a:lnTo>
                        <a:pt x="1132" y="958"/>
                      </a:lnTo>
                      <a:lnTo>
                        <a:pt x="1132" y="960"/>
                      </a:lnTo>
                      <a:lnTo>
                        <a:pt x="1133" y="960"/>
                      </a:lnTo>
                      <a:lnTo>
                        <a:pt x="1132" y="960"/>
                      </a:lnTo>
                      <a:lnTo>
                        <a:pt x="1133" y="960"/>
                      </a:lnTo>
                      <a:lnTo>
                        <a:pt x="1132" y="960"/>
                      </a:lnTo>
                      <a:lnTo>
                        <a:pt x="1131" y="960"/>
                      </a:lnTo>
                      <a:lnTo>
                        <a:pt x="1131" y="961"/>
                      </a:lnTo>
                      <a:lnTo>
                        <a:pt x="1130" y="961"/>
                      </a:lnTo>
                      <a:lnTo>
                        <a:pt x="1130" y="962"/>
                      </a:lnTo>
                      <a:lnTo>
                        <a:pt x="1130" y="961"/>
                      </a:lnTo>
                      <a:lnTo>
                        <a:pt x="1130" y="960"/>
                      </a:lnTo>
                      <a:lnTo>
                        <a:pt x="1129" y="960"/>
                      </a:lnTo>
                      <a:lnTo>
                        <a:pt x="1128" y="960"/>
                      </a:lnTo>
                      <a:lnTo>
                        <a:pt x="1128" y="958"/>
                      </a:lnTo>
                      <a:lnTo>
                        <a:pt x="1129" y="958"/>
                      </a:lnTo>
                      <a:lnTo>
                        <a:pt x="1129" y="957"/>
                      </a:lnTo>
                      <a:lnTo>
                        <a:pt x="1130" y="956"/>
                      </a:lnTo>
                      <a:lnTo>
                        <a:pt x="1129" y="956"/>
                      </a:lnTo>
                      <a:lnTo>
                        <a:pt x="1130" y="956"/>
                      </a:lnTo>
                      <a:lnTo>
                        <a:pt x="1130" y="955"/>
                      </a:lnTo>
                      <a:lnTo>
                        <a:pt x="1130" y="956"/>
                      </a:lnTo>
                      <a:lnTo>
                        <a:pt x="1131" y="956"/>
                      </a:lnTo>
                      <a:close/>
                      <a:moveTo>
                        <a:pt x="1105" y="791"/>
                      </a:moveTo>
                      <a:lnTo>
                        <a:pt x="1104" y="791"/>
                      </a:lnTo>
                      <a:lnTo>
                        <a:pt x="1103" y="791"/>
                      </a:lnTo>
                      <a:lnTo>
                        <a:pt x="1102" y="791"/>
                      </a:lnTo>
                      <a:lnTo>
                        <a:pt x="1102" y="793"/>
                      </a:lnTo>
                      <a:lnTo>
                        <a:pt x="1103" y="793"/>
                      </a:lnTo>
                      <a:lnTo>
                        <a:pt x="1103" y="794"/>
                      </a:lnTo>
                      <a:lnTo>
                        <a:pt x="1104" y="794"/>
                      </a:lnTo>
                      <a:lnTo>
                        <a:pt x="1105" y="794"/>
                      </a:lnTo>
                      <a:lnTo>
                        <a:pt x="1105" y="795"/>
                      </a:lnTo>
                      <a:lnTo>
                        <a:pt x="1105" y="796"/>
                      </a:lnTo>
                      <a:lnTo>
                        <a:pt x="1105" y="797"/>
                      </a:lnTo>
                      <a:lnTo>
                        <a:pt x="1104" y="797"/>
                      </a:lnTo>
                      <a:lnTo>
                        <a:pt x="1103" y="797"/>
                      </a:lnTo>
                      <a:lnTo>
                        <a:pt x="1102" y="797"/>
                      </a:lnTo>
                      <a:lnTo>
                        <a:pt x="1102" y="796"/>
                      </a:lnTo>
                      <a:lnTo>
                        <a:pt x="1103" y="796"/>
                      </a:lnTo>
                      <a:lnTo>
                        <a:pt x="1103" y="797"/>
                      </a:lnTo>
                      <a:lnTo>
                        <a:pt x="1104" y="796"/>
                      </a:lnTo>
                      <a:lnTo>
                        <a:pt x="1104" y="797"/>
                      </a:lnTo>
                      <a:lnTo>
                        <a:pt x="1104" y="796"/>
                      </a:lnTo>
                      <a:lnTo>
                        <a:pt x="1105" y="795"/>
                      </a:lnTo>
                      <a:lnTo>
                        <a:pt x="1104" y="795"/>
                      </a:lnTo>
                      <a:lnTo>
                        <a:pt x="1103" y="795"/>
                      </a:lnTo>
                      <a:lnTo>
                        <a:pt x="1103" y="794"/>
                      </a:lnTo>
                      <a:lnTo>
                        <a:pt x="1102" y="794"/>
                      </a:lnTo>
                      <a:lnTo>
                        <a:pt x="1102" y="793"/>
                      </a:lnTo>
                      <a:lnTo>
                        <a:pt x="1100" y="793"/>
                      </a:lnTo>
                      <a:lnTo>
                        <a:pt x="1100" y="791"/>
                      </a:lnTo>
                      <a:lnTo>
                        <a:pt x="1102" y="791"/>
                      </a:lnTo>
                      <a:lnTo>
                        <a:pt x="1102" y="790"/>
                      </a:lnTo>
                      <a:lnTo>
                        <a:pt x="1103" y="790"/>
                      </a:lnTo>
                      <a:lnTo>
                        <a:pt x="1104" y="790"/>
                      </a:lnTo>
                      <a:lnTo>
                        <a:pt x="1105" y="790"/>
                      </a:lnTo>
                      <a:lnTo>
                        <a:pt x="1105" y="791"/>
                      </a:lnTo>
                      <a:close/>
                      <a:moveTo>
                        <a:pt x="1412" y="1099"/>
                      </a:moveTo>
                      <a:lnTo>
                        <a:pt x="1412" y="1101"/>
                      </a:lnTo>
                      <a:lnTo>
                        <a:pt x="1410" y="1102"/>
                      </a:lnTo>
                      <a:lnTo>
                        <a:pt x="1409" y="1102"/>
                      </a:lnTo>
                      <a:lnTo>
                        <a:pt x="1409" y="1101"/>
                      </a:lnTo>
                      <a:lnTo>
                        <a:pt x="1409" y="1102"/>
                      </a:lnTo>
                      <a:lnTo>
                        <a:pt x="1408" y="1102"/>
                      </a:lnTo>
                      <a:lnTo>
                        <a:pt x="1407" y="1102"/>
                      </a:lnTo>
                      <a:lnTo>
                        <a:pt x="1406" y="1102"/>
                      </a:lnTo>
                      <a:lnTo>
                        <a:pt x="1406" y="1103"/>
                      </a:lnTo>
                      <a:lnTo>
                        <a:pt x="1405" y="1103"/>
                      </a:lnTo>
                      <a:lnTo>
                        <a:pt x="1405" y="1102"/>
                      </a:lnTo>
                      <a:lnTo>
                        <a:pt x="1406" y="1102"/>
                      </a:lnTo>
                      <a:lnTo>
                        <a:pt x="1406" y="1101"/>
                      </a:lnTo>
                      <a:lnTo>
                        <a:pt x="1407" y="1101"/>
                      </a:lnTo>
                      <a:lnTo>
                        <a:pt x="1407" y="1099"/>
                      </a:lnTo>
                      <a:lnTo>
                        <a:pt x="1408" y="1099"/>
                      </a:lnTo>
                      <a:lnTo>
                        <a:pt x="1408" y="1098"/>
                      </a:lnTo>
                      <a:lnTo>
                        <a:pt x="1408" y="1099"/>
                      </a:lnTo>
                      <a:lnTo>
                        <a:pt x="1409" y="1099"/>
                      </a:lnTo>
                      <a:lnTo>
                        <a:pt x="1410" y="1099"/>
                      </a:lnTo>
                      <a:lnTo>
                        <a:pt x="1410" y="1098"/>
                      </a:lnTo>
                      <a:lnTo>
                        <a:pt x="1410" y="1099"/>
                      </a:lnTo>
                      <a:lnTo>
                        <a:pt x="1412" y="1099"/>
                      </a:lnTo>
                      <a:close/>
                      <a:moveTo>
                        <a:pt x="1361" y="1155"/>
                      </a:moveTo>
                      <a:lnTo>
                        <a:pt x="1360" y="1155"/>
                      </a:lnTo>
                      <a:lnTo>
                        <a:pt x="1360" y="1156"/>
                      </a:lnTo>
                      <a:lnTo>
                        <a:pt x="1361" y="1156"/>
                      </a:lnTo>
                      <a:lnTo>
                        <a:pt x="1361" y="1157"/>
                      </a:lnTo>
                      <a:lnTo>
                        <a:pt x="1360" y="1157"/>
                      </a:lnTo>
                      <a:lnTo>
                        <a:pt x="1361" y="1158"/>
                      </a:lnTo>
                      <a:lnTo>
                        <a:pt x="1360" y="1159"/>
                      </a:lnTo>
                      <a:lnTo>
                        <a:pt x="1360" y="1160"/>
                      </a:lnTo>
                      <a:lnTo>
                        <a:pt x="1360" y="1161"/>
                      </a:lnTo>
                      <a:lnTo>
                        <a:pt x="1360" y="1162"/>
                      </a:lnTo>
                      <a:lnTo>
                        <a:pt x="1361" y="1162"/>
                      </a:lnTo>
                      <a:lnTo>
                        <a:pt x="1361" y="1163"/>
                      </a:lnTo>
                      <a:lnTo>
                        <a:pt x="1362" y="1163"/>
                      </a:lnTo>
                      <a:lnTo>
                        <a:pt x="1363" y="1163"/>
                      </a:lnTo>
                      <a:lnTo>
                        <a:pt x="1363" y="1162"/>
                      </a:lnTo>
                      <a:lnTo>
                        <a:pt x="1364" y="1162"/>
                      </a:lnTo>
                      <a:lnTo>
                        <a:pt x="1364" y="1161"/>
                      </a:lnTo>
                      <a:lnTo>
                        <a:pt x="1365" y="1161"/>
                      </a:lnTo>
                      <a:lnTo>
                        <a:pt x="1366" y="1161"/>
                      </a:lnTo>
                      <a:lnTo>
                        <a:pt x="1366" y="1160"/>
                      </a:lnTo>
                      <a:lnTo>
                        <a:pt x="1365" y="1160"/>
                      </a:lnTo>
                      <a:lnTo>
                        <a:pt x="1366" y="1160"/>
                      </a:lnTo>
                      <a:lnTo>
                        <a:pt x="1366" y="1161"/>
                      </a:lnTo>
                      <a:lnTo>
                        <a:pt x="1367" y="1161"/>
                      </a:lnTo>
                      <a:lnTo>
                        <a:pt x="1366" y="1161"/>
                      </a:lnTo>
                      <a:lnTo>
                        <a:pt x="1366" y="1162"/>
                      </a:lnTo>
                      <a:lnTo>
                        <a:pt x="1365" y="1162"/>
                      </a:lnTo>
                      <a:lnTo>
                        <a:pt x="1364" y="1162"/>
                      </a:lnTo>
                      <a:lnTo>
                        <a:pt x="1364" y="1163"/>
                      </a:lnTo>
                      <a:lnTo>
                        <a:pt x="1364" y="1164"/>
                      </a:lnTo>
                      <a:lnTo>
                        <a:pt x="1365" y="1164"/>
                      </a:lnTo>
                      <a:lnTo>
                        <a:pt x="1365" y="1163"/>
                      </a:lnTo>
                      <a:lnTo>
                        <a:pt x="1365" y="1164"/>
                      </a:lnTo>
                      <a:lnTo>
                        <a:pt x="1364" y="1164"/>
                      </a:lnTo>
                      <a:lnTo>
                        <a:pt x="1363" y="1164"/>
                      </a:lnTo>
                      <a:lnTo>
                        <a:pt x="1362" y="1164"/>
                      </a:lnTo>
                      <a:lnTo>
                        <a:pt x="1361" y="1164"/>
                      </a:lnTo>
                      <a:lnTo>
                        <a:pt x="1361" y="1163"/>
                      </a:lnTo>
                      <a:lnTo>
                        <a:pt x="1361" y="1162"/>
                      </a:lnTo>
                      <a:lnTo>
                        <a:pt x="1360" y="1162"/>
                      </a:lnTo>
                      <a:lnTo>
                        <a:pt x="1360" y="1161"/>
                      </a:lnTo>
                      <a:lnTo>
                        <a:pt x="1358" y="1160"/>
                      </a:lnTo>
                      <a:lnTo>
                        <a:pt x="1360" y="1160"/>
                      </a:lnTo>
                      <a:lnTo>
                        <a:pt x="1360" y="1159"/>
                      </a:lnTo>
                      <a:lnTo>
                        <a:pt x="1358" y="1159"/>
                      </a:lnTo>
                      <a:lnTo>
                        <a:pt x="1360" y="1159"/>
                      </a:lnTo>
                      <a:lnTo>
                        <a:pt x="1360" y="1158"/>
                      </a:lnTo>
                      <a:lnTo>
                        <a:pt x="1360" y="1157"/>
                      </a:lnTo>
                      <a:lnTo>
                        <a:pt x="1360" y="1156"/>
                      </a:lnTo>
                      <a:lnTo>
                        <a:pt x="1360" y="1155"/>
                      </a:lnTo>
                      <a:lnTo>
                        <a:pt x="1360" y="1154"/>
                      </a:lnTo>
                      <a:lnTo>
                        <a:pt x="1361" y="1155"/>
                      </a:lnTo>
                      <a:close/>
                      <a:moveTo>
                        <a:pt x="1128" y="952"/>
                      </a:moveTo>
                      <a:lnTo>
                        <a:pt x="1126" y="952"/>
                      </a:lnTo>
                      <a:lnTo>
                        <a:pt x="1126" y="953"/>
                      </a:lnTo>
                      <a:lnTo>
                        <a:pt x="1125" y="953"/>
                      </a:lnTo>
                      <a:lnTo>
                        <a:pt x="1125" y="954"/>
                      </a:lnTo>
                      <a:lnTo>
                        <a:pt x="1126" y="954"/>
                      </a:lnTo>
                      <a:lnTo>
                        <a:pt x="1126" y="953"/>
                      </a:lnTo>
                      <a:lnTo>
                        <a:pt x="1128" y="954"/>
                      </a:lnTo>
                      <a:lnTo>
                        <a:pt x="1129" y="954"/>
                      </a:lnTo>
                      <a:lnTo>
                        <a:pt x="1130" y="954"/>
                      </a:lnTo>
                      <a:lnTo>
                        <a:pt x="1130" y="955"/>
                      </a:lnTo>
                      <a:lnTo>
                        <a:pt x="1130" y="954"/>
                      </a:lnTo>
                      <a:lnTo>
                        <a:pt x="1129" y="954"/>
                      </a:lnTo>
                      <a:lnTo>
                        <a:pt x="1129" y="955"/>
                      </a:lnTo>
                      <a:lnTo>
                        <a:pt x="1130" y="955"/>
                      </a:lnTo>
                      <a:lnTo>
                        <a:pt x="1129" y="955"/>
                      </a:lnTo>
                      <a:lnTo>
                        <a:pt x="1129" y="956"/>
                      </a:lnTo>
                      <a:lnTo>
                        <a:pt x="1128" y="956"/>
                      </a:lnTo>
                      <a:lnTo>
                        <a:pt x="1128" y="957"/>
                      </a:lnTo>
                      <a:lnTo>
                        <a:pt x="1129" y="957"/>
                      </a:lnTo>
                      <a:lnTo>
                        <a:pt x="1128" y="957"/>
                      </a:lnTo>
                      <a:lnTo>
                        <a:pt x="1128" y="958"/>
                      </a:lnTo>
                      <a:lnTo>
                        <a:pt x="1126" y="957"/>
                      </a:lnTo>
                      <a:lnTo>
                        <a:pt x="1126" y="956"/>
                      </a:lnTo>
                      <a:lnTo>
                        <a:pt x="1128" y="956"/>
                      </a:lnTo>
                      <a:lnTo>
                        <a:pt x="1128" y="955"/>
                      </a:lnTo>
                      <a:lnTo>
                        <a:pt x="1126" y="955"/>
                      </a:lnTo>
                      <a:lnTo>
                        <a:pt x="1125" y="955"/>
                      </a:lnTo>
                      <a:lnTo>
                        <a:pt x="1125" y="954"/>
                      </a:lnTo>
                      <a:lnTo>
                        <a:pt x="1125" y="953"/>
                      </a:lnTo>
                      <a:lnTo>
                        <a:pt x="1126" y="952"/>
                      </a:lnTo>
                      <a:lnTo>
                        <a:pt x="1126" y="951"/>
                      </a:lnTo>
                      <a:lnTo>
                        <a:pt x="1128" y="951"/>
                      </a:lnTo>
                      <a:lnTo>
                        <a:pt x="1128" y="952"/>
                      </a:lnTo>
                      <a:close/>
                      <a:moveTo>
                        <a:pt x="1051" y="981"/>
                      </a:moveTo>
                      <a:lnTo>
                        <a:pt x="1051" y="982"/>
                      </a:lnTo>
                      <a:lnTo>
                        <a:pt x="1050" y="983"/>
                      </a:lnTo>
                      <a:lnTo>
                        <a:pt x="1050" y="984"/>
                      </a:lnTo>
                      <a:lnTo>
                        <a:pt x="1048" y="986"/>
                      </a:lnTo>
                      <a:lnTo>
                        <a:pt x="1048" y="987"/>
                      </a:lnTo>
                      <a:lnTo>
                        <a:pt x="1047" y="987"/>
                      </a:lnTo>
                      <a:lnTo>
                        <a:pt x="1046" y="987"/>
                      </a:lnTo>
                      <a:lnTo>
                        <a:pt x="1046" y="988"/>
                      </a:lnTo>
                      <a:lnTo>
                        <a:pt x="1045" y="988"/>
                      </a:lnTo>
                      <a:lnTo>
                        <a:pt x="1045" y="987"/>
                      </a:lnTo>
                      <a:lnTo>
                        <a:pt x="1046" y="987"/>
                      </a:lnTo>
                      <a:lnTo>
                        <a:pt x="1047" y="987"/>
                      </a:lnTo>
                      <a:lnTo>
                        <a:pt x="1047" y="986"/>
                      </a:lnTo>
                      <a:lnTo>
                        <a:pt x="1048" y="986"/>
                      </a:lnTo>
                      <a:lnTo>
                        <a:pt x="1048" y="984"/>
                      </a:lnTo>
                      <a:lnTo>
                        <a:pt x="1047" y="984"/>
                      </a:lnTo>
                      <a:lnTo>
                        <a:pt x="1047" y="986"/>
                      </a:lnTo>
                      <a:lnTo>
                        <a:pt x="1047" y="987"/>
                      </a:lnTo>
                      <a:lnTo>
                        <a:pt x="1046" y="987"/>
                      </a:lnTo>
                      <a:lnTo>
                        <a:pt x="1047" y="986"/>
                      </a:lnTo>
                      <a:lnTo>
                        <a:pt x="1046" y="986"/>
                      </a:lnTo>
                      <a:lnTo>
                        <a:pt x="1046" y="984"/>
                      </a:lnTo>
                      <a:lnTo>
                        <a:pt x="1046" y="983"/>
                      </a:lnTo>
                      <a:lnTo>
                        <a:pt x="1046" y="982"/>
                      </a:lnTo>
                      <a:lnTo>
                        <a:pt x="1047" y="982"/>
                      </a:lnTo>
                      <a:lnTo>
                        <a:pt x="1048" y="982"/>
                      </a:lnTo>
                      <a:lnTo>
                        <a:pt x="1050" y="982"/>
                      </a:lnTo>
                      <a:lnTo>
                        <a:pt x="1050" y="983"/>
                      </a:lnTo>
                      <a:lnTo>
                        <a:pt x="1048" y="983"/>
                      </a:lnTo>
                      <a:lnTo>
                        <a:pt x="1048" y="982"/>
                      </a:lnTo>
                      <a:lnTo>
                        <a:pt x="1048" y="983"/>
                      </a:lnTo>
                      <a:lnTo>
                        <a:pt x="1047" y="983"/>
                      </a:lnTo>
                      <a:lnTo>
                        <a:pt x="1047" y="984"/>
                      </a:lnTo>
                      <a:lnTo>
                        <a:pt x="1048" y="983"/>
                      </a:lnTo>
                      <a:lnTo>
                        <a:pt x="1048" y="984"/>
                      </a:lnTo>
                      <a:lnTo>
                        <a:pt x="1050" y="984"/>
                      </a:lnTo>
                      <a:lnTo>
                        <a:pt x="1050" y="983"/>
                      </a:lnTo>
                      <a:lnTo>
                        <a:pt x="1050" y="982"/>
                      </a:lnTo>
                      <a:lnTo>
                        <a:pt x="1050" y="981"/>
                      </a:lnTo>
                      <a:lnTo>
                        <a:pt x="1048" y="982"/>
                      </a:lnTo>
                      <a:lnTo>
                        <a:pt x="1048" y="981"/>
                      </a:lnTo>
                      <a:lnTo>
                        <a:pt x="1050" y="981"/>
                      </a:lnTo>
                      <a:lnTo>
                        <a:pt x="1050" y="980"/>
                      </a:lnTo>
                      <a:lnTo>
                        <a:pt x="1051" y="980"/>
                      </a:lnTo>
                      <a:lnTo>
                        <a:pt x="1051" y="979"/>
                      </a:lnTo>
                      <a:lnTo>
                        <a:pt x="1051" y="980"/>
                      </a:lnTo>
                      <a:lnTo>
                        <a:pt x="1051" y="981"/>
                      </a:lnTo>
                      <a:close/>
                      <a:moveTo>
                        <a:pt x="1434" y="1225"/>
                      </a:moveTo>
                      <a:lnTo>
                        <a:pt x="1434" y="1226"/>
                      </a:lnTo>
                      <a:lnTo>
                        <a:pt x="1433" y="1226"/>
                      </a:lnTo>
                      <a:lnTo>
                        <a:pt x="1432" y="1227"/>
                      </a:lnTo>
                      <a:lnTo>
                        <a:pt x="1432" y="1228"/>
                      </a:lnTo>
                      <a:lnTo>
                        <a:pt x="1431" y="1230"/>
                      </a:lnTo>
                      <a:lnTo>
                        <a:pt x="1430" y="1230"/>
                      </a:lnTo>
                      <a:lnTo>
                        <a:pt x="1430" y="1231"/>
                      </a:lnTo>
                      <a:lnTo>
                        <a:pt x="1429" y="1231"/>
                      </a:lnTo>
                      <a:lnTo>
                        <a:pt x="1429" y="1230"/>
                      </a:lnTo>
                      <a:lnTo>
                        <a:pt x="1430" y="1230"/>
                      </a:lnTo>
                      <a:lnTo>
                        <a:pt x="1430" y="1228"/>
                      </a:lnTo>
                      <a:lnTo>
                        <a:pt x="1431" y="1227"/>
                      </a:lnTo>
                      <a:lnTo>
                        <a:pt x="1432" y="1227"/>
                      </a:lnTo>
                      <a:lnTo>
                        <a:pt x="1432" y="1226"/>
                      </a:lnTo>
                      <a:lnTo>
                        <a:pt x="1432" y="1225"/>
                      </a:lnTo>
                      <a:lnTo>
                        <a:pt x="1433" y="1225"/>
                      </a:lnTo>
                      <a:lnTo>
                        <a:pt x="1432" y="1225"/>
                      </a:lnTo>
                      <a:lnTo>
                        <a:pt x="1433" y="1225"/>
                      </a:lnTo>
                      <a:lnTo>
                        <a:pt x="1434" y="1224"/>
                      </a:lnTo>
                      <a:lnTo>
                        <a:pt x="1434" y="1223"/>
                      </a:lnTo>
                      <a:lnTo>
                        <a:pt x="1434" y="1222"/>
                      </a:lnTo>
                      <a:lnTo>
                        <a:pt x="1435" y="1222"/>
                      </a:lnTo>
                      <a:lnTo>
                        <a:pt x="1435" y="1221"/>
                      </a:lnTo>
                      <a:lnTo>
                        <a:pt x="1435" y="1220"/>
                      </a:lnTo>
                      <a:lnTo>
                        <a:pt x="1437" y="1220"/>
                      </a:lnTo>
                      <a:lnTo>
                        <a:pt x="1437" y="1221"/>
                      </a:lnTo>
                      <a:lnTo>
                        <a:pt x="1435" y="1222"/>
                      </a:lnTo>
                      <a:lnTo>
                        <a:pt x="1435" y="1223"/>
                      </a:lnTo>
                      <a:lnTo>
                        <a:pt x="1435" y="1224"/>
                      </a:lnTo>
                      <a:lnTo>
                        <a:pt x="1434" y="1225"/>
                      </a:lnTo>
                      <a:close/>
                      <a:moveTo>
                        <a:pt x="1109" y="977"/>
                      </a:moveTo>
                      <a:lnTo>
                        <a:pt x="1109" y="978"/>
                      </a:lnTo>
                      <a:lnTo>
                        <a:pt x="1109" y="979"/>
                      </a:lnTo>
                      <a:lnTo>
                        <a:pt x="1109" y="980"/>
                      </a:lnTo>
                      <a:lnTo>
                        <a:pt x="1109" y="981"/>
                      </a:lnTo>
                      <a:lnTo>
                        <a:pt x="1109" y="982"/>
                      </a:lnTo>
                      <a:lnTo>
                        <a:pt x="1110" y="983"/>
                      </a:lnTo>
                      <a:lnTo>
                        <a:pt x="1111" y="983"/>
                      </a:lnTo>
                      <a:lnTo>
                        <a:pt x="1111" y="984"/>
                      </a:lnTo>
                      <a:lnTo>
                        <a:pt x="1111" y="986"/>
                      </a:lnTo>
                      <a:lnTo>
                        <a:pt x="1110" y="986"/>
                      </a:lnTo>
                      <a:lnTo>
                        <a:pt x="1109" y="986"/>
                      </a:lnTo>
                      <a:lnTo>
                        <a:pt x="1109" y="987"/>
                      </a:lnTo>
                      <a:lnTo>
                        <a:pt x="1110" y="987"/>
                      </a:lnTo>
                      <a:lnTo>
                        <a:pt x="1108" y="987"/>
                      </a:lnTo>
                      <a:lnTo>
                        <a:pt x="1108" y="986"/>
                      </a:lnTo>
                      <a:lnTo>
                        <a:pt x="1108" y="984"/>
                      </a:lnTo>
                      <a:lnTo>
                        <a:pt x="1109" y="984"/>
                      </a:lnTo>
                      <a:lnTo>
                        <a:pt x="1109" y="983"/>
                      </a:lnTo>
                      <a:lnTo>
                        <a:pt x="1109" y="982"/>
                      </a:lnTo>
                      <a:lnTo>
                        <a:pt x="1108" y="982"/>
                      </a:lnTo>
                      <a:lnTo>
                        <a:pt x="1108" y="981"/>
                      </a:lnTo>
                      <a:lnTo>
                        <a:pt x="1108" y="980"/>
                      </a:lnTo>
                      <a:lnTo>
                        <a:pt x="1109" y="980"/>
                      </a:lnTo>
                      <a:lnTo>
                        <a:pt x="1108" y="980"/>
                      </a:lnTo>
                      <a:lnTo>
                        <a:pt x="1109" y="980"/>
                      </a:lnTo>
                      <a:lnTo>
                        <a:pt x="1109" y="979"/>
                      </a:lnTo>
                      <a:lnTo>
                        <a:pt x="1108" y="979"/>
                      </a:lnTo>
                      <a:lnTo>
                        <a:pt x="1109" y="978"/>
                      </a:lnTo>
                      <a:lnTo>
                        <a:pt x="1109" y="979"/>
                      </a:lnTo>
                      <a:lnTo>
                        <a:pt x="1109" y="978"/>
                      </a:lnTo>
                      <a:lnTo>
                        <a:pt x="1109" y="977"/>
                      </a:lnTo>
                      <a:close/>
                      <a:moveTo>
                        <a:pt x="1363" y="1034"/>
                      </a:moveTo>
                      <a:lnTo>
                        <a:pt x="1363" y="1033"/>
                      </a:lnTo>
                      <a:lnTo>
                        <a:pt x="1363" y="1032"/>
                      </a:lnTo>
                      <a:lnTo>
                        <a:pt x="1364" y="1032"/>
                      </a:lnTo>
                      <a:lnTo>
                        <a:pt x="1364" y="1033"/>
                      </a:lnTo>
                      <a:lnTo>
                        <a:pt x="1364" y="1034"/>
                      </a:lnTo>
                      <a:lnTo>
                        <a:pt x="1364" y="1035"/>
                      </a:lnTo>
                      <a:lnTo>
                        <a:pt x="1364" y="1037"/>
                      </a:lnTo>
                      <a:lnTo>
                        <a:pt x="1364" y="1035"/>
                      </a:lnTo>
                      <a:lnTo>
                        <a:pt x="1363" y="1035"/>
                      </a:lnTo>
                      <a:lnTo>
                        <a:pt x="1363" y="1037"/>
                      </a:lnTo>
                      <a:lnTo>
                        <a:pt x="1362" y="1037"/>
                      </a:lnTo>
                      <a:lnTo>
                        <a:pt x="1362" y="1038"/>
                      </a:lnTo>
                      <a:lnTo>
                        <a:pt x="1362" y="1037"/>
                      </a:lnTo>
                      <a:lnTo>
                        <a:pt x="1361" y="1037"/>
                      </a:lnTo>
                      <a:lnTo>
                        <a:pt x="1361" y="1035"/>
                      </a:lnTo>
                      <a:lnTo>
                        <a:pt x="1360" y="1035"/>
                      </a:lnTo>
                      <a:lnTo>
                        <a:pt x="1360" y="1034"/>
                      </a:lnTo>
                      <a:lnTo>
                        <a:pt x="1361" y="1033"/>
                      </a:lnTo>
                      <a:lnTo>
                        <a:pt x="1361" y="1032"/>
                      </a:lnTo>
                      <a:lnTo>
                        <a:pt x="1362" y="1032"/>
                      </a:lnTo>
                      <a:lnTo>
                        <a:pt x="1362" y="1033"/>
                      </a:lnTo>
                      <a:lnTo>
                        <a:pt x="1363" y="1033"/>
                      </a:lnTo>
                      <a:lnTo>
                        <a:pt x="1363" y="1034"/>
                      </a:lnTo>
                      <a:close/>
                      <a:moveTo>
                        <a:pt x="1069" y="984"/>
                      </a:moveTo>
                      <a:lnTo>
                        <a:pt x="1070" y="984"/>
                      </a:lnTo>
                      <a:lnTo>
                        <a:pt x="1071" y="986"/>
                      </a:lnTo>
                      <a:lnTo>
                        <a:pt x="1072" y="987"/>
                      </a:lnTo>
                      <a:lnTo>
                        <a:pt x="1071" y="987"/>
                      </a:lnTo>
                      <a:lnTo>
                        <a:pt x="1070" y="987"/>
                      </a:lnTo>
                      <a:lnTo>
                        <a:pt x="1070" y="988"/>
                      </a:lnTo>
                      <a:lnTo>
                        <a:pt x="1070" y="987"/>
                      </a:lnTo>
                      <a:lnTo>
                        <a:pt x="1071" y="986"/>
                      </a:lnTo>
                      <a:lnTo>
                        <a:pt x="1070" y="986"/>
                      </a:lnTo>
                      <a:lnTo>
                        <a:pt x="1070" y="987"/>
                      </a:lnTo>
                      <a:lnTo>
                        <a:pt x="1069" y="987"/>
                      </a:lnTo>
                      <a:lnTo>
                        <a:pt x="1067" y="987"/>
                      </a:lnTo>
                      <a:lnTo>
                        <a:pt x="1066" y="988"/>
                      </a:lnTo>
                      <a:lnTo>
                        <a:pt x="1065" y="988"/>
                      </a:lnTo>
                      <a:lnTo>
                        <a:pt x="1064" y="988"/>
                      </a:lnTo>
                      <a:lnTo>
                        <a:pt x="1065" y="987"/>
                      </a:lnTo>
                      <a:lnTo>
                        <a:pt x="1066" y="986"/>
                      </a:lnTo>
                      <a:lnTo>
                        <a:pt x="1067" y="986"/>
                      </a:lnTo>
                      <a:lnTo>
                        <a:pt x="1067" y="987"/>
                      </a:lnTo>
                      <a:lnTo>
                        <a:pt x="1068" y="987"/>
                      </a:lnTo>
                      <a:lnTo>
                        <a:pt x="1068" y="986"/>
                      </a:lnTo>
                      <a:lnTo>
                        <a:pt x="1069" y="986"/>
                      </a:lnTo>
                      <a:lnTo>
                        <a:pt x="1069" y="984"/>
                      </a:lnTo>
                      <a:close/>
                      <a:moveTo>
                        <a:pt x="1140" y="968"/>
                      </a:moveTo>
                      <a:lnTo>
                        <a:pt x="1140" y="969"/>
                      </a:lnTo>
                      <a:lnTo>
                        <a:pt x="1140" y="970"/>
                      </a:lnTo>
                      <a:lnTo>
                        <a:pt x="1141" y="970"/>
                      </a:lnTo>
                      <a:lnTo>
                        <a:pt x="1141" y="971"/>
                      </a:lnTo>
                      <a:lnTo>
                        <a:pt x="1140" y="971"/>
                      </a:lnTo>
                      <a:lnTo>
                        <a:pt x="1138" y="971"/>
                      </a:lnTo>
                      <a:lnTo>
                        <a:pt x="1137" y="973"/>
                      </a:lnTo>
                      <a:lnTo>
                        <a:pt x="1137" y="971"/>
                      </a:lnTo>
                      <a:lnTo>
                        <a:pt x="1137" y="970"/>
                      </a:lnTo>
                      <a:lnTo>
                        <a:pt x="1136" y="970"/>
                      </a:lnTo>
                      <a:lnTo>
                        <a:pt x="1136" y="969"/>
                      </a:lnTo>
                      <a:lnTo>
                        <a:pt x="1135" y="969"/>
                      </a:lnTo>
                      <a:lnTo>
                        <a:pt x="1136" y="969"/>
                      </a:lnTo>
                      <a:lnTo>
                        <a:pt x="1137" y="968"/>
                      </a:lnTo>
                      <a:lnTo>
                        <a:pt x="1137" y="969"/>
                      </a:lnTo>
                      <a:lnTo>
                        <a:pt x="1138" y="968"/>
                      </a:lnTo>
                      <a:lnTo>
                        <a:pt x="1138" y="969"/>
                      </a:lnTo>
                      <a:lnTo>
                        <a:pt x="1138" y="968"/>
                      </a:lnTo>
                      <a:lnTo>
                        <a:pt x="1138" y="969"/>
                      </a:lnTo>
                      <a:lnTo>
                        <a:pt x="1140" y="969"/>
                      </a:lnTo>
                      <a:lnTo>
                        <a:pt x="1138" y="968"/>
                      </a:lnTo>
                      <a:lnTo>
                        <a:pt x="1140" y="968"/>
                      </a:lnTo>
                      <a:close/>
                      <a:moveTo>
                        <a:pt x="1442" y="1083"/>
                      </a:moveTo>
                      <a:lnTo>
                        <a:pt x="1443" y="1083"/>
                      </a:lnTo>
                      <a:lnTo>
                        <a:pt x="1444" y="1083"/>
                      </a:lnTo>
                      <a:lnTo>
                        <a:pt x="1445" y="1084"/>
                      </a:lnTo>
                      <a:lnTo>
                        <a:pt x="1446" y="1084"/>
                      </a:lnTo>
                      <a:lnTo>
                        <a:pt x="1446" y="1085"/>
                      </a:lnTo>
                      <a:lnTo>
                        <a:pt x="1445" y="1085"/>
                      </a:lnTo>
                      <a:lnTo>
                        <a:pt x="1444" y="1085"/>
                      </a:lnTo>
                      <a:lnTo>
                        <a:pt x="1443" y="1085"/>
                      </a:lnTo>
                      <a:lnTo>
                        <a:pt x="1442" y="1085"/>
                      </a:lnTo>
                      <a:lnTo>
                        <a:pt x="1441" y="1085"/>
                      </a:lnTo>
                      <a:lnTo>
                        <a:pt x="1440" y="1085"/>
                      </a:lnTo>
                      <a:lnTo>
                        <a:pt x="1440" y="1084"/>
                      </a:lnTo>
                      <a:lnTo>
                        <a:pt x="1441" y="1083"/>
                      </a:lnTo>
                      <a:lnTo>
                        <a:pt x="1442" y="1083"/>
                      </a:lnTo>
                      <a:close/>
                      <a:moveTo>
                        <a:pt x="1119" y="803"/>
                      </a:moveTo>
                      <a:lnTo>
                        <a:pt x="1119" y="804"/>
                      </a:lnTo>
                      <a:lnTo>
                        <a:pt x="1118" y="804"/>
                      </a:lnTo>
                      <a:lnTo>
                        <a:pt x="1119" y="804"/>
                      </a:lnTo>
                      <a:lnTo>
                        <a:pt x="1120" y="804"/>
                      </a:lnTo>
                      <a:lnTo>
                        <a:pt x="1120" y="803"/>
                      </a:lnTo>
                      <a:lnTo>
                        <a:pt x="1120" y="804"/>
                      </a:lnTo>
                      <a:lnTo>
                        <a:pt x="1120" y="806"/>
                      </a:lnTo>
                      <a:lnTo>
                        <a:pt x="1119" y="806"/>
                      </a:lnTo>
                      <a:lnTo>
                        <a:pt x="1119" y="807"/>
                      </a:lnTo>
                      <a:lnTo>
                        <a:pt x="1120" y="807"/>
                      </a:lnTo>
                      <a:lnTo>
                        <a:pt x="1119" y="808"/>
                      </a:lnTo>
                      <a:lnTo>
                        <a:pt x="1120" y="808"/>
                      </a:lnTo>
                      <a:lnTo>
                        <a:pt x="1120" y="809"/>
                      </a:lnTo>
                      <a:lnTo>
                        <a:pt x="1119" y="808"/>
                      </a:lnTo>
                      <a:lnTo>
                        <a:pt x="1118" y="808"/>
                      </a:lnTo>
                      <a:lnTo>
                        <a:pt x="1118" y="807"/>
                      </a:lnTo>
                      <a:lnTo>
                        <a:pt x="1117" y="807"/>
                      </a:lnTo>
                      <a:lnTo>
                        <a:pt x="1118" y="807"/>
                      </a:lnTo>
                      <a:lnTo>
                        <a:pt x="1118" y="806"/>
                      </a:lnTo>
                      <a:lnTo>
                        <a:pt x="1117" y="804"/>
                      </a:lnTo>
                      <a:lnTo>
                        <a:pt x="1118" y="804"/>
                      </a:lnTo>
                      <a:lnTo>
                        <a:pt x="1119" y="804"/>
                      </a:lnTo>
                      <a:lnTo>
                        <a:pt x="1118" y="804"/>
                      </a:lnTo>
                      <a:lnTo>
                        <a:pt x="1117" y="804"/>
                      </a:lnTo>
                      <a:lnTo>
                        <a:pt x="1117" y="803"/>
                      </a:lnTo>
                      <a:lnTo>
                        <a:pt x="1117" y="804"/>
                      </a:lnTo>
                      <a:lnTo>
                        <a:pt x="1117" y="803"/>
                      </a:lnTo>
                      <a:lnTo>
                        <a:pt x="1118" y="803"/>
                      </a:lnTo>
                      <a:lnTo>
                        <a:pt x="1117" y="803"/>
                      </a:lnTo>
                      <a:lnTo>
                        <a:pt x="1117" y="802"/>
                      </a:lnTo>
                      <a:lnTo>
                        <a:pt x="1118" y="802"/>
                      </a:lnTo>
                      <a:lnTo>
                        <a:pt x="1119" y="802"/>
                      </a:lnTo>
                      <a:lnTo>
                        <a:pt x="1119" y="803"/>
                      </a:lnTo>
                      <a:close/>
                      <a:moveTo>
                        <a:pt x="989" y="990"/>
                      </a:moveTo>
                      <a:lnTo>
                        <a:pt x="989" y="991"/>
                      </a:lnTo>
                      <a:lnTo>
                        <a:pt x="990" y="990"/>
                      </a:lnTo>
                      <a:lnTo>
                        <a:pt x="990" y="991"/>
                      </a:lnTo>
                      <a:lnTo>
                        <a:pt x="990" y="990"/>
                      </a:lnTo>
                      <a:lnTo>
                        <a:pt x="990" y="991"/>
                      </a:lnTo>
                      <a:lnTo>
                        <a:pt x="989" y="991"/>
                      </a:lnTo>
                      <a:lnTo>
                        <a:pt x="988" y="991"/>
                      </a:lnTo>
                      <a:lnTo>
                        <a:pt x="989" y="991"/>
                      </a:lnTo>
                      <a:lnTo>
                        <a:pt x="988" y="990"/>
                      </a:lnTo>
                      <a:lnTo>
                        <a:pt x="987" y="990"/>
                      </a:lnTo>
                      <a:lnTo>
                        <a:pt x="988" y="990"/>
                      </a:lnTo>
                      <a:lnTo>
                        <a:pt x="988" y="991"/>
                      </a:lnTo>
                      <a:lnTo>
                        <a:pt x="987" y="991"/>
                      </a:lnTo>
                      <a:lnTo>
                        <a:pt x="986" y="991"/>
                      </a:lnTo>
                      <a:lnTo>
                        <a:pt x="986" y="990"/>
                      </a:lnTo>
                      <a:lnTo>
                        <a:pt x="986" y="991"/>
                      </a:lnTo>
                      <a:lnTo>
                        <a:pt x="986" y="990"/>
                      </a:lnTo>
                      <a:lnTo>
                        <a:pt x="984" y="990"/>
                      </a:lnTo>
                      <a:lnTo>
                        <a:pt x="984" y="991"/>
                      </a:lnTo>
                      <a:lnTo>
                        <a:pt x="983" y="991"/>
                      </a:lnTo>
                      <a:lnTo>
                        <a:pt x="983" y="992"/>
                      </a:lnTo>
                      <a:lnTo>
                        <a:pt x="982" y="991"/>
                      </a:lnTo>
                      <a:lnTo>
                        <a:pt x="982" y="990"/>
                      </a:lnTo>
                      <a:lnTo>
                        <a:pt x="982" y="991"/>
                      </a:lnTo>
                      <a:lnTo>
                        <a:pt x="981" y="991"/>
                      </a:lnTo>
                      <a:lnTo>
                        <a:pt x="982" y="991"/>
                      </a:lnTo>
                      <a:lnTo>
                        <a:pt x="981" y="991"/>
                      </a:lnTo>
                      <a:lnTo>
                        <a:pt x="981" y="990"/>
                      </a:lnTo>
                      <a:lnTo>
                        <a:pt x="980" y="990"/>
                      </a:lnTo>
                      <a:lnTo>
                        <a:pt x="980" y="991"/>
                      </a:lnTo>
                      <a:lnTo>
                        <a:pt x="980" y="990"/>
                      </a:lnTo>
                      <a:lnTo>
                        <a:pt x="981" y="990"/>
                      </a:lnTo>
                      <a:lnTo>
                        <a:pt x="988" y="989"/>
                      </a:lnTo>
                      <a:lnTo>
                        <a:pt x="988" y="990"/>
                      </a:lnTo>
                      <a:lnTo>
                        <a:pt x="989" y="990"/>
                      </a:lnTo>
                      <a:close/>
                      <a:moveTo>
                        <a:pt x="1067" y="981"/>
                      </a:moveTo>
                      <a:lnTo>
                        <a:pt x="1068" y="981"/>
                      </a:lnTo>
                      <a:lnTo>
                        <a:pt x="1068" y="982"/>
                      </a:lnTo>
                      <a:lnTo>
                        <a:pt x="1069" y="982"/>
                      </a:lnTo>
                      <a:lnTo>
                        <a:pt x="1070" y="982"/>
                      </a:lnTo>
                      <a:lnTo>
                        <a:pt x="1070" y="983"/>
                      </a:lnTo>
                      <a:lnTo>
                        <a:pt x="1069" y="983"/>
                      </a:lnTo>
                      <a:lnTo>
                        <a:pt x="1070" y="983"/>
                      </a:lnTo>
                      <a:lnTo>
                        <a:pt x="1070" y="982"/>
                      </a:lnTo>
                      <a:lnTo>
                        <a:pt x="1070" y="983"/>
                      </a:lnTo>
                      <a:lnTo>
                        <a:pt x="1071" y="983"/>
                      </a:lnTo>
                      <a:lnTo>
                        <a:pt x="1072" y="983"/>
                      </a:lnTo>
                      <a:lnTo>
                        <a:pt x="1072" y="984"/>
                      </a:lnTo>
                      <a:lnTo>
                        <a:pt x="1071" y="984"/>
                      </a:lnTo>
                      <a:lnTo>
                        <a:pt x="1072" y="984"/>
                      </a:lnTo>
                      <a:lnTo>
                        <a:pt x="1072" y="983"/>
                      </a:lnTo>
                      <a:lnTo>
                        <a:pt x="1073" y="984"/>
                      </a:lnTo>
                      <a:lnTo>
                        <a:pt x="1072" y="984"/>
                      </a:lnTo>
                      <a:lnTo>
                        <a:pt x="1072" y="986"/>
                      </a:lnTo>
                      <a:lnTo>
                        <a:pt x="1071" y="984"/>
                      </a:lnTo>
                      <a:lnTo>
                        <a:pt x="1070" y="984"/>
                      </a:lnTo>
                      <a:lnTo>
                        <a:pt x="1069" y="984"/>
                      </a:lnTo>
                      <a:lnTo>
                        <a:pt x="1068" y="984"/>
                      </a:lnTo>
                      <a:lnTo>
                        <a:pt x="1067" y="986"/>
                      </a:lnTo>
                      <a:lnTo>
                        <a:pt x="1067" y="984"/>
                      </a:lnTo>
                      <a:lnTo>
                        <a:pt x="1067" y="983"/>
                      </a:lnTo>
                      <a:lnTo>
                        <a:pt x="1066" y="983"/>
                      </a:lnTo>
                      <a:lnTo>
                        <a:pt x="1066" y="982"/>
                      </a:lnTo>
                      <a:lnTo>
                        <a:pt x="1067" y="982"/>
                      </a:lnTo>
                      <a:lnTo>
                        <a:pt x="1067" y="983"/>
                      </a:lnTo>
                      <a:lnTo>
                        <a:pt x="1068" y="983"/>
                      </a:lnTo>
                      <a:lnTo>
                        <a:pt x="1068" y="982"/>
                      </a:lnTo>
                      <a:lnTo>
                        <a:pt x="1067" y="982"/>
                      </a:lnTo>
                      <a:lnTo>
                        <a:pt x="1067" y="981"/>
                      </a:lnTo>
                      <a:close/>
                      <a:moveTo>
                        <a:pt x="978" y="901"/>
                      </a:moveTo>
                      <a:lnTo>
                        <a:pt x="979" y="901"/>
                      </a:lnTo>
                      <a:lnTo>
                        <a:pt x="978" y="901"/>
                      </a:lnTo>
                      <a:lnTo>
                        <a:pt x="978" y="902"/>
                      </a:lnTo>
                      <a:lnTo>
                        <a:pt x="979" y="902"/>
                      </a:lnTo>
                      <a:lnTo>
                        <a:pt x="980" y="902"/>
                      </a:lnTo>
                      <a:lnTo>
                        <a:pt x="981" y="902"/>
                      </a:lnTo>
                      <a:lnTo>
                        <a:pt x="981" y="903"/>
                      </a:lnTo>
                      <a:lnTo>
                        <a:pt x="981" y="902"/>
                      </a:lnTo>
                      <a:lnTo>
                        <a:pt x="982" y="902"/>
                      </a:lnTo>
                      <a:lnTo>
                        <a:pt x="983" y="902"/>
                      </a:lnTo>
                      <a:lnTo>
                        <a:pt x="982" y="902"/>
                      </a:lnTo>
                      <a:lnTo>
                        <a:pt x="982" y="903"/>
                      </a:lnTo>
                      <a:lnTo>
                        <a:pt x="982" y="904"/>
                      </a:lnTo>
                      <a:lnTo>
                        <a:pt x="981" y="905"/>
                      </a:lnTo>
                      <a:lnTo>
                        <a:pt x="981" y="906"/>
                      </a:lnTo>
                      <a:lnTo>
                        <a:pt x="980" y="906"/>
                      </a:lnTo>
                      <a:lnTo>
                        <a:pt x="980" y="905"/>
                      </a:lnTo>
                      <a:lnTo>
                        <a:pt x="980" y="906"/>
                      </a:lnTo>
                      <a:lnTo>
                        <a:pt x="981" y="906"/>
                      </a:lnTo>
                      <a:lnTo>
                        <a:pt x="981" y="905"/>
                      </a:lnTo>
                      <a:lnTo>
                        <a:pt x="981" y="904"/>
                      </a:lnTo>
                      <a:lnTo>
                        <a:pt x="980" y="904"/>
                      </a:lnTo>
                      <a:lnTo>
                        <a:pt x="981" y="905"/>
                      </a:lnTo>
                      <a:lnTo>
                        <a:pt x="980" y="905"/>
                      </a:lnTo>
                      <a:lnTo>
                        <a:pt x="981" y="905"/>
                      </a:lnTo>
                      <a:lnTo>
                        <a:pt x="980" y="905"/>
                      </a:lnTo>
                      <a:lnTo>
                        <a:pt x="981" y="905"/>
                      </a:lnTo>
                      <a:lnTo>
                        <a:pt x="981" y="906"/>
                      </a:lnTo>
                      <a:lnTo>
                        <a:pt x="980" y="905"/>
                      </a:lnTo>
                      <a:lnTo>
                        <a:pt x="980" y="903"/>
                      </a:lnTo>
                      <a:lnTo>
                        <a:pt x="979" y="903"/>
                      </a:lnTo>
                      <a:lnTo>
                        <a:pt x="979" y="902"/>
                      </a:lnTo>
                      <a:lnTo>
                        <a:pt x="978" y="902"/>
                      </a:lnTo>
                      <a:lnTo>
                        <a:pt x="977" y="902"/>
                      </a:lnTo>
                      <a:lnTo>
                        <a:pt x="976" y="902"/>
                      </a:lnTo>
                      <a:lnTo>
                        <a:pt x="975" y="902"/>
                      </a:lnTo>
                      <a:lnTo>
                        <a:pt x="977" y="901"/>
                      </a:lnTo>
                      <a:lnTo>
                        <a:pt x="978" y="901"/>
                      </a:lnTo>
                      <a:close/>
                      <a:moveTo>
                        <a:pt x="1443" y="1080"/>
                      </a:moveTo>
                      <a:lnTo>
                        <a:pt x="1444" y="1081"/>
                      </a:lnTo>
                      <a:lnTo>
                        <a:pt x="1444" y="1082"/>
                      </a:lnTo>
                      <a:lnTo>
                        <a:pt x="1445" y="1082"/>
                      </a:lnTo>
                      <a:lnTo>
                        <a:pt x="1445" y="1083"/>
                      </a:lnTo>
                      <a:lnTo>
                        <a:pt x="1446" y="1083"/>
                      </a:lnTo>
                      <a:lnTo>
                        <a:pt x="1446" y="1084"/>
                      </a:lnTo>
                      <a:lnTo>
                        <a:pt x="1445" y="1084"/>
                      </a:lnTo>
                      <a:lnTo>
                        <a:pt x="1444" y="1083"/>
                      </a:lnTo>
                      <a:lnTo>
                        <a:pt x="1443" y="1083"/>
                      </a:lnTo>
                      <a:lnTo>
                        <a:pt x="1442" y="1083"/>
                      </a:lnTo>
                      <a:lnTo>
                        <a:pt x="1442" y="1082"/>
                      </a:lnTo>
                      <a:lnTo>
                        <a:pt x="1441" y="1083"/>
                      </a:lnTo>
                      <a:lnTo>
                        <a:pt x="1442" y="1080"/>
                      </a:lnTo>
                      <a:lnTo>
                        <a:pt x="1442" y="1081"/>
                      </a:lnTo>
                      <a:lnTo>
                        <a:pt x="1441" y="1079"/>
                      </a:lnTo>
                      <a:lnTo>
                        <a:pt x="1442" y="1079"/>
                      </a:lnTo>
                      <a:lnTo>
                        <a:pt x="1442" y="1080"/>
                      </a:lnTo>
                      <a:lnTo>
                        <a:pt x="1443" y="1080"/>
                      </a:lnTo>
                      <a:close/>
                      <a:moveTo>
                        <a:pt x="1156" y="854"/>
                      </a:moveTo>
                      <a:lnTo>
                        <a:pt x="1156" y="855"/>
                      </a:lnTo>
                      <a:lnTo>
                        <a:pt x="1156" y="857"/>
                      </a:lnTo>
                      <a:lnTo>
                        <a:pt x="1156" y="858"/>
                      </a:lnTo>
                      <a:lnTo>
                        <a:pt x="1155" y="858"/>
                      </a:lnTo>
                      <a:lnTo>
                        <a:pt x="1154" y="858"/>
                      </a:lnTo>
                      <a:lnTo>
                        <a:pt x="1154" y="857"/>
                      </a:lnTo>
                      <a:lnTo>
                        <a:pt x="1153" y="857"/>
                      </a:lnTo>
                      <a:lnTo>
                        <a:pt x="1151" y="857"/>
                      </a:lnTo>
                      <a:lnTo>
                        <a:pt x="1151" y="855"/>
                      </a:lnTo>
                      <a:lnTo>
                        <a:pt x="1153" y="855"/>
                      </a:lnTo>
                      <a:lnTo>
                        <a:pt x="1154" y="855"/>
                      </a:lnTo>
                      <a:lnTo>
                        <a:pt x="1154" y="854"/>
                      </a:lnTo>
                      <a:lnTo>
                        <a:pt x="1155" y="854"/>
                      </a:lnTo>
                      <a:lnTo>
                        <a:pt x="1156" y="854"/>
                      </a:lnTo>
                      <a:lnTo>
                        <a:pt x="1156" y="853"/>
                      </a:lnTo>
                      <a:lnTo>
                        <a:pt x="1157" y="853"/>
                      </a:lnTo>
                      <a:lnTo>
                        <a:pt x="1157" y="854"/>
                      </a:lnTo>
                      <a:lnTo>
                        <a:pt x="1156" y="854"/>
                      </a:lnTo>
                      <a:close/>
                      <a:moveTo>
                        <a:pt x="1355" y="1016"/>
                      </a:moveTo>
                      <a:lnTo>
                        <a:pt x="1354" y="1017"/>
                      </a:lnTo>
                      <a:lnTo>
                        <a:pt x="1355" y="1016"/>
                      </a:lnTo>
                      <a:lnTo>
                        <a:pt x="1355" y="1017"/>
                      </a:lnTo>
                      <a:lnTo>
                        <a:pt x="1355" y="1018"/>
                      </a:lnTo>
                      <a:lnTo>
                        <a:pt x="1354" y="1018"/>
                      </a:lnTo>
                      <a:lnTo>
                        <a:pt x="1355" y="1018"/>
                      </a:lnTo>
                      <a:lnTo>
                        <a:pt x="1354" y="1019"/>
                      </a:lnTo>
                      <a:lnTo>
                        <a:pt x="1354" y="1020"/>
                      </a:lnTo>
                      <a:lnTo>
                        <a:pt x="1354" y="1021"/>
                      </a:lnTo>
                      <a:lnTo>
                        <a:pt x="1354" y="1020"/>
                      </a:lnTo>
                      <a:lnTo>
                        <a:pt x="1353" y="1020"/>
                      </a:lnTo>
                      <a:lnTo>
                        <a:pt x="1353" y="1021"/>
                      </a:lnTo>
                      <a:lnTo>
                        <a:pt x="1353" y="1020"/>
                      </a:lnTo>
                      <a:lnTo>
                        <a:pt x="1353" y="1019"/>
                      </a:lnTo>
                      <a:lnTo>
                        <a:pt x="1352" y="1019"/>
                      </a:lnTo>
                      <a:lnTo>
                        <a:pt x="1353" y="1019"/>
                      </a:lnTo>
                      <a:lnTo>
                        <a:pt x="1352" y="1019"/>
                      </a:lnTo>
                      <a:lnTo>
                        <a:pt x="1353" y="1018"/>
                      </a:lnTo>
                      <a:lnTo>
                        <a:pt x="1353" y="1017"/>
                      </a:lnTo>
                      <a:lnTo>
                        <a:pt x="1354" y="1017"/>
                      </a:lnTo>
                      <a:lnTo>
                        <a:pt x="1353" y="1017"/>
                      </a:lnTo>
                      <a:lnTo>
                        <a:pt x="1353" y="1016"/>
                      </a:lnTo>
                      <a:lnTo>
                        <a:pt x="1353" y="1015"/>
                      </a:lnTo>
                      <a:lnTo>
                        <a:pt x="1353" y="1014"/>
                      </a:lnTo>
                      <a:lnTo>
                        <a:pt x="1354" y="1014"/>
                      </a:lnTo>
                      <a:lnTo>
                        <a:pt x="1354" y="1015"/>
                      </a:lnTo>
                      <a:lnTo>
                        <a:pt x="1355" y="1015"/>
                      </a:lnTo>
                      <a:lnTo>
                        <a:pt x="1355" y="1016"/>
                      </a:lnTo>
                      <a:close/>
                      <a:moveTo>
                        <a:pt x="1430" y="1134"/>
                      </a:moveTo>
                      <a:lnTo>
                        <a:pt x="1431" y="1134"/>
                      </a:lnTo>
                      <a:lnTo>
                        <a:pt x="1431" y="1135"/>
                      </a:lnTo>
                      <a:lnTo>
                        <a:pt x="1432" y="1135"/>
                      </a:lnTo>
                      <a:lnTo>
                        <a:pt x="1432" y="1134"/>
                      </a:lnTo>
                      <a:lnTo>
                        <a:pt x="1432" y="1135"/>
                      </a:lnTo>
                      <a:lnTo>
                        <a:pt x="1433" y="1135"/>
                      </a:lnTo>
                      <a:lnTo>
                        <a:pt x="1432" y="1135"/>
                      </a:lnTo>
                      <a:lnTo>
                        <a:pt x="1433" y="1136"/>
                      </a:lnTo>
                      <a:lnTo>
                        <a:pt x="1433" y="1135"/>
                      </a:lnTo>
                      <a:lnTo>
                        <a:pt x="1433" y="1134"/>
                      </a:lnTo>
                      <a:lnTo>
                        <a:pt x="1434" y="1134"/>
                      </a:lnTo>
                      <a:lnTo>
                        <a:pt x="1434" y="1135"/>
                      </a:lnTo>
                      <a:lnTo>
                        <a:pt x="1434" y="1136"/>
                      </a:lnTo>
                      <a:lnTo>
                        <a:pt x="1434" y="1137"/>
                      </a:lnTo>
                      <a:lnTo>
                        <a:pt x="1434" y="1138"/>
                      </a:lnTo>
                      <a:lnTo>
                        <a:pt x="1433" y="1138"/>
                      </a:lnTo>
                      <a:lnTo>
                        <a:pt x="1433" y="1137"/>
                      </a:lnTo>
                      <a:lnTo>
                        <a:pt x="1432" y="1137"/>
                      </a:lnTo>
                      <a:lnTo>
                        <a:pt x="1432" y="1136"/>
                      </a:lnTo>
                      <a:lnTo>
                        <a:pt x="1433" y="1136"/>
                      </a:lnTo>
                      <a:lnTo>
                        <a:pt x="1432" y="1136"/>
                      </a:lnTo>
                      <a:lnTo>
                        <a:pt x="1431" y="1136"/>
                      </a:lnTo>
                      <a:lnTo>
                        <a:pt x="1430" y="1136"/>
                      </a:lnTo>
                      <a:lnTo>
                        <a:pt x="1429" y="1136"/>
                      </a:lnTo>
                      <a:lnTo>
                        <a:pt x="1429" y="1135"/>
                      </a:lnTo>
                      <a:lnTo>
                        <a:pt x="1429" y="1134"/>
                      </a:lnTo>
                      <a:lnTo>
                        <a:pt x="1430" y="1134"/>
                      </a:lnTo>
                      <a:close/>
                      <a:moveTo>
                        <a:pt x="1278" y="1121"/>
                      </a:moveTo>
                      <a:lnTo>
                        <a:pt x="1278" y="1122"/>
                      </a:lnTo>
                      <a:lnTo>
                        <a:pt x="1279" y="1121"/>
                      </a:lnTo>
                      <a:lnTo>
                        <a:pt x="1279" y="1122"/>
                      </a:lnTo>
                      <a:lnTo>
                        <a:pt x="1280" y="1121"/>
                      </a:lnTo>
                      <a:lnTo>
                        <a:pt x="1280" y="1122"/>
                      </a:lnTo>
                      <a:lnTo>
                        <a:pt x="1280" y="1123"/>
                      </a:lnTo>
                      <a:lnTo>
                        <a:pt x="1279" y="1123"/>
                      </a:lnTo>
                      <a:lnTo>
                        <a:pt x="1279" y="1122"/>
                      </a:lnTo>
                      <a:lnTo>
                        <a:pt x="1278" y="1122"/>
                      </a:lnTo>
                      <a:lnTo>
                        <a:pt x="1278" y="1123"/>
                      </a:lnTo>
                      <a:lnTo>
                        <a:pt x="1279" y="1123"/>
                      </a:lnTo>
                      <a:lnTo>
                        <a:pt x="1279" y="1124"/>
                      </a:lnTo>
                      <a:lnTo>
                        <a:pt x="1278" y="1124"/>
                      </a:lnTo>
                      <a:lnTo>
                        <a:pt x="1278" y="1125"/>
                      </a:lnTo>
                      <a:lnTo>
                        <a:pt x="1277" y="1125"/>
                      </a:lnTo>
                      <a:lnTo>
                        <a:pt x="1278" y="1125"/>
                      </a:lnTo>
                      <a:lnTo>
                        <a:pt x="1279" y="1125"/>
                      </a:lnTo>
                      <a:lnTo>
                        <a:pt x="1278" y="1124"/>
                      </a:lnTo>
                      <a:lnTo>
                        <a:pt x="1279" y="1124"/>
                      </a:lnTo>
                      <a:lnTo>
                        <a:pt x="1279" y="1125"/>
                      </a:lnTo>
                      <a:lnTo>
                        <a:pt x="1279" y="1127"/>
                      </a:lnTo>
                      <a:lnTo>
                        <a:pt x="1278" y="1127"/>
                      </a:lnTo>
                      <a:lnTo>
                        <a:pt x="1279" y="1127"/>
                      </a:lnTo>
                      <a:lnTo>
                        <a:pt x="1278" y="1127"/>
                      </a:lnTo>
                      <a:lnTo>
                        <a:pt x="1277" y="1127"/>
                      </a:lnTo>
                      <a:lnTo>
                        <a:pt x="1277" y="1125"/>
                      </a:lnTo>
                      <a:lnTo>
                        <a:pt x="1276" y="1124"/>
                      </a:lnTo>
                      <a:lnTo>
                        <a:pt x="1277" y="1124"/>
                      </a:lnTo>
                      <a:lnTo>
                        <a:pt x="1277" y="1123"/>
                      </a:lnTo>
                      <a:lnTo>
                        <a:pt x="1276" y="1123"/>
                      </a:lnTo>
                      <a:lnTo>
                        <a:pt x="1276" y="1122"/>
                      </a:lnTo>
                      <a:lnTo>
                        <a:pt x="1277" y="1122"/>
                      </a:lnTo>
                      <a:lnTo>
                        <a:pt x="1276" y="1122"/>
                      </a:lnTo>
                      <a:lnTo>
                        <a:pt x="1276" y="1121"/>
                      </a:lnTo>
                      <a:lnTo>
                        <a:pt x="1277" y="1121"/>
                      </a:lnTo>
                      <a:lnTo>
                        <a:pt x="1278" y="1121"/>
                      </a:lnTo>
                      <a:close/>
                      <a:moveTo>
                        <a:pt x="1505" y="1065"/>
                      </a:moveTo>
                      <a:lnTo>
                        <a:pt x="1506" y="1066"/>
                      </a:lnTo>
                      <a:lnTo>
                        <a:pt x="1505" y="1066"/>
                      </a:lnTo>
                      <a:lnTo>
                        <a:pt x="1504" y="1067"/>
                      </a:lnTo>
                      <a:lnTo>
                        <a:pt x="1504" y="1068"/>
                      </a:lnTo>
                      <a:lnTo>
                        <a:pt x="1503" y="1068"/>
                      </a:lnTo>
                      <a:lnTo>
                        <a:pt x="1503" y="1069"/>
                      </a:lnTo>
                      <a:lnTo>
                        <a:pt x="1502" y="1069"/>
                      </a:lnTo>
                      <a:lnTo>
                        <a:pt x="1502" y="1068"/>
                      </a:lnTo>
                      <a:lnTo>
                        <a:pt x="1502" y="1067"/>
                      </a:lnTo>
                      <a:lnTo>
                        <a:pt x="1500" y="1067"/>
                      </a:lnTo>
                      <a:lnTo>
                        <a:pt x="1502" y="1067"/>
                      </a:lnTo>
                      <a:lnTo>
                        <a:pt x="1502" y="1066"/>
                      </a:lnTo>
                      <a:lnTo>
                        <a:pt x="1502" y="1065"/>
                      </a:lnTo>
                      <a:lnTo>
                        <a:pt x="1502" y="1066"/>
                      </a:lnTo>
                      <a:lnTo>
                        <a:pt x="1503" y="1065"/>
                      </a:lnTo>
                      <a:lnTo>
                        <a:pt x="1504" y="1065"/>
                      </a:lnTo>
                      <a:lnTo>
                        <a:pt x="1505" y="1065"/>
                      </a:lnTo>
                      <a:close/>
                      <a:moveTo>
                        <a:pt x="1496" y="1071"/>
                      </a:moveTo>
                      <a:lnTo>
                        <a:pt x="1496" y="1072"/>
                      </a:lnTo>
                      <a:lnTo>
                        <a:pt x="1495" y="1073"/>
                      </a:lnTo>
                      <a:lnTo>
                        <a:pt x="1494" y="1073"/>
                      </a:lnTo>
                      <a:lnTo>
                        <a:pt x="1493" y="1073"/>
                      </a:lnTo>
                      <a:lnTo>
                        <a:pt x="1493" y="1072"/>
                      </a:lnTo>
                      <a:lnTo>
                        <a:pt x="1492" y="1071"/>
                      </a:lnTo>
                      <a:lnTo>
                        <a:pt x="1492" y="1070"/>
                      </a:lnTo>
                      <a:lnTo>
                        <a:pt x="1493" y="1070"/>
                      </a:lnTo>
                      <a:lnTo>
                        <a:pt x="1494" y="1071"/>
                      </a:lnTo>
                      <a:lnTo>
                        <a:pt x="1495" y="1070"/>
                      </a:lnTo>
                      <a:lnTo>
                        <a:pt x="1496" y="1071"/>
                      </a:lnTo>
                      <a:close/>
                      <a:moveTo>
                        <a:pt x="1196" y="917"/>
                      </a:moveTo>
                      <a:lnTo>
                        <a:pt x="1196" y="918"/>
                      </a:lnTo>
                      <a:lnTo>
                        <a:pt x="1195" y="918"/>
                      </a:lnTo>
                      <a:lnTo>
                        <a:pt x="1195" y="919"/>
                      </a:lnTo>
                      <a:lnTo>
                        <a:pt x="1196" y="919"/>
                      </a:lnTo>
                      <a:lnTo>
                        <a:pt x="1196" y="918"/>
                      </a:lnTo>
                      <a:lnTo>
                        <a:pt x="1196" y="917"/>
                      </a:lnTo>
                      <a:lnTo>
                        <a:pt x="1197" y="918"/>
                      </a:lnTo>
                      <a:lnTo>
                        <a:pt x="1197" y="919"/>
                      </a:lnTo>
                      <a:lnTo>
                        <a:pt x="1196" y="919"/>
                      </a:lnTo>
                      <a:lnTo>
                        <a:pt x="1197" y="919"/>
                      </a:lnTo>
                      <a:lnTo>
                        <a:pt x="1198" y="919"/>
                      </a:lnTo>
                      <a:lnTo>
                        <a:pt x="1198" y="921"/>
                      </a:lnTo>
                      <a:lnTo>
                        <a:pt x="1199" y="921"/>
                      </a:lnTo>
                      <a:lnTo>
                        <a:pt x="1199" y="922"/>
                      </a:lnTo>
                      <a:lnTo>
                        <a:pt x="1198" y="922"/>
                      </a:lnTo>
                      <a:lnTo>
                        <a:pt x="1197" y="922"/>
                      </a:lnTo>
                      <a:lnTo>
                        <a:pt x="1196" y="922"/>
                      </a:lnTo>
                      <a:lnTo>
                        <a:pt x="1196" y="921"/>
                      </a:lnTo>
                      <a:lnTo>
                        <a:pt x="1196" y="919"/>
                      </a:lnTo>
                      <a:lnTo>
                        <a:pt x="1196" y="921"/>
                      </a:lnTo>
                      <a:lnTo>
                        <a:pt x="1195" y="921"/>
                      </a:lnTo>
                      <a:lnTo>
                        <a:pt x="1195" y="922"/>
                      </a:lnTo>
                      <a:lnTo>
                        <a:pt x="1196" y="921"/>
                      </a:lnTo>
                      <a:lnTo>
                        <a:pt x="1196" y="919"/>
                      </a:lnTo>
                      <a:lnTo>
                        <a:pt x="1195" y="919"/>
                      </a:lnTo>
                      <a:lnTo>
                        <a:pt x="1194" y="919"/>
                      </a:lnTo>
                      <a:lnTo>
                        <a:pt x="1194" y="921"/>
                      </a:lnTo>
                      <a:lnTo>
                        <a:pt x="1193" y="919"/>
                      </a:lnTo>
                      <a:lnTo>
                        <a:pt x="1193" y="918"/>
                      </a:lnTo>
                      <a:lnTo>
                        <a:pt x="1194" y="918"/>
                      </a:lnTo>
                      <a:lnTo>
                        <a:pt x="1195" y="917"/>
                      </a:lnTo>
                      <a:lnTo>
                        <a:pt x="1196" y="917"/>
                      </a:lnTo>
                      <a:close/>
                      <a:moveTo>
                        <a:pt x="1486" y="1077"/>
                      </a:moveTo>
                      <a:lnTo>
                        <a:pt x="1485" y="1077"/>
                      </a:lnTo>
                      <a:lnTo>
                        <a:pt x="1486" y="1077"/>
                      </a:lnTo>
                      <a:lnTo>
                        <a:pt x="1487" y="1076"/>
                      </a:lnTo>
                      <a:lnTo>
                        <a:pt x="1489" y="1076"/>
                      </a:lnTo>
                      <a:lnTo>
                        <a:pt x="1489" y="1074"/>
                      </a:lnTo>
                      <a:lnTo>
                        <a:pt x="1489" y="1073"/>
                      </a:lnTo>
                      <a:lnTo>
                        <a:pt x="1490" y="1073"/>
                      </a:lnTo>
                      <a:lnTo>
                        <a:pt x="1491" y="1073"/>
                      </a:lnTo>
                      <a:lnTo>
                        <a:pt x="1491" y="1072"/>
                      </a:lnTo>
                      <a:lnTo>
                        <a:pt x="1491" y="1071"/>
                      </a:lnTo>
                      <a:lnTo>
                        <a:pt x="1490" y="1071"/>
                      </a:lnTo>
                      <a:lnTo>
                        <a:pt x="1490" y="1070"/>
                      </a:lnTo>
                      <a:lnTo>
                        <a:pt x="1491" y="1070"/>
                      </a:lnTo>
                      <a:lnTo>
                        <a:pt x="1492" y="1073"/>
                      </a:lnTo>
                      <a:lnTo>
                        <a:pt x="1492" y="1074"/>
                      </a:lnTo>
                      <a:lnTo>
                        <a:pt x="1491" y="1076"/>
                      </a:lnTo>
                      <a:lnTo>
                        <a:pt x="1489" y="1076"/>
                      </a:lnTo>
                      <a:lnTo>
                        <a:pt x="1489" y="1077"/>
                      </a:lnTo>
                      <a:lnTo>
                        <a:pt x="1486" y="1077"/>
                      </a:lnTo>
                      <a:close/>
                      <a:moveTo>
                        <a:pt x="1268" y="1261"/>
                      </a:moveTo>
                      <a:lnTo>
                        <a:pt x="1267" y="1261"/>
                      </a:lnTo>
                      <a:lnTo>
                        <a:pt x="1267" y="1262"/>
                      </a:lnTo>
                      <a:lnTo>
                        <a:pt x="1266" y="1263"/>
                      </a:lnTo>
                      <a:lnTo>
                        <a:pt x="1266" y="1262"/>
                      </a:lnTo>
                      <a:lnTo>
                        <a:pt x="1265" y="1262"/>
                      </a:lnTo>
                      <a:lnTo>
                        <a:pt x="1265" y="1261"/>
                      </a:lnTo>
                      <a:lnTo>
                        <a:pt x="1266" y="1261"/>
                      </a:lnTo>
                      <a:lnTo>
                        <a:pt x="1266" y="1260"/>
                      </a:lnTo>
                      <a:lnTo>
                        <a:pt x="1267" y="1260"/>
                      </a:lnTo>
                      <a:lnTo>
                        <a:pt x="1267" y="1259"/>
                      </a:lnTo>
                      <a:lnTo>
                        <a:pt x="1267" y="1258"/>
                      </a:lnTo>
                      <a:lnTo>
                        <a:pt x="1268" y="1258"/>
                      </a:lnTo>
                      <a:lnTo>
                        <a:pt x="1268" y="1257"/>
                      </a:lnTo>
                      <a:lnTo>
                        <a:pt x="1268" y="1258"/>
                      </a:lnTo>
                      <a:lnTo>
                        <a:pt x="1270" y="1258"/>
                      </a:lnTo>
                      <a:lnTo>
                        <a:pt x="1270" y="1259"/>
                      </a:lnTo>
                      <a:lnTo>
                        <a:pt x="1270" y="1260"/>
                      </a:lnTo>
                      <a:lnTo>
                        <a:pt x="1268" y="1261"/>
                      </a:lnTo>
                      <a:close/>
                      <a:moveTo>
                        <a:pt x="1213" y="1033"/>
                      </a:moveTo>
                      <a:lnTo>
                        <a:pt x="1214" y="1033"/>
                      </a:lnTo>
                      <a:lnTo>
                        <a:pt x="1214" y="1032"/>
                      </a:lnTo>
                      <a:lnTo>
                        <a:pt x="1215" y="1032"/>
                      </a:lnTo>
                      <a:lnTo>
                        <a:pt x="1215" y="1033"/>
                      </a:lnTo>
                      <a:lnTo>
                        <a:pt x="1216" y="1033"/>
                      </a:lnTo>
                      <a:lnTo>
                        <a:pt x="1216" y="1034"/>
                      </a:lnTo>
                      <a:lnTo>
                        <a:pt x="1215" y="1034"/>
                      </a:lnTo>
                      <a:lnTo>
                        <a:pt x="1214" y="1034"/>
                      </a:lnTo>
                      <a:lnTo>
                        <a:pt x="1214" y="1035"/>
                      </a:lnTo>
                      <a:lnTo>
                        <a:pt x="1213" y="1035"/>
                      </a:lnTo>
                      <a:lnTo>
                        <a:pt x="1211" y="1035"/>
                      </a:lnTo>
                      <a:lnTo>
                        <a:pt x="1210" y="1035"/>
                      </a:lnTo>
                      <a:lnTo>
                        <a:pt x="1210" y="1034"/>
                      </a:lnTo>
                      <a:lnTo>
                        <a:pt x="1210" y="1035"/>
                      </a:lnTo>
                      <a:lnTo>
                        <a:pt x="1211" y="1035"/>
                      </a:lnTo>
                      <a:lnTo>
                        <a:pt x="1211" y="1034"/>
                      </a:lnTo>
                      <a:lnTo>
                        <a:pt x="1212" y="1035"/>
                      </a:lnTo>
                      <a:lnTo>
                        <a:pt x="1212" y="1034"/>
                      </a:lnTo>
                      <a:lnTo>
                        <a:pt x="1212" y="1033"/>
                      </a:lnTo>
                      <a:lnTo>
                        <a:pt x="1212" y="1032"/>
                      </a:lnTo>
                      <a:lnTo>
                        <a:pt x="1213" y="1032"/>
                      </a:lnTo>
                      <a:lnTo>
                        <a:pt x="1213" y="1033"/>
                      </a:lnTo>
                      <a:close/>
                      <a:moveTo>
                        <a:pt x="1278" y="942"/>
                      </a:moveTo>
                      <a:lnTo>
                        <a:pt x="1278" y="943"/>
                      </a:lnTo>
                      <a:lnTo>
                        <a:pt x="1278" y="944"/>
                      </a:lnTo>
                      <a:lnTo>
                        <a:pt x="1277" y="945"/>
                      </a:lnTo>
                      <a:lnTo>
                        <a:pt x="1276" y="945"/>
                      </a:lnTo>
                      <a:lnTo>
                        <a:pt x="1277" y="944"/>
                      </a:lnTo>
                      <a:lnTo>
                        <a:pt x="1277" y="943"/>
                      </a:lnTo>
                      <a:lnTo>
                        <a:pt x="1276" y="943"/>
                      </a:lnTo>
                      <a:lnTo>
                        <a:pt x="1276" y="944"/>
                      </a:lnTo>
                      <a:lnTo>
                        <a:pt x="1276" y="943"/>
                      </a:lnTo>
                      <a:lnTo>
                        <a:pt x="1275" y="943"/>
                      </a:lnTo>
                      <a:lnTo>
                        <a:pt x="1274" y="943"/>
                      </a:lnTo>
                      <a:lnTo>
                        <a:pt x="1274" y="944"/>
                      </a:lnTo>
                      <a:lnTo>
                        <a:pt x="1274" y="943"/>
                      </a:lnTo>
                      <a:lnTo>
                        <a:pt x="1273" y="943"/>
                      </a:lnTo>
                      <a:lnTo>
                        <a:pt x="1274" y="943"/>
                      </a:lnTo>
                      <a:lnTo>
                        <a:pt x="1273" y="943"/>
                      </a:lnTo>
                      <a:lnTo>
                        <a:pt x="1273" y="942"/>
                      </a:lnTo>
                      <a:lnTo>
                        <a:pt x="1274" y="942"/>
                      </a:lnTo>
                      <a:lnTo>
                        <a:pt x="1273" y="942"/>
                      </a:lnTo>
                      <a:lnTo>
                        <a:pt x="1274" y="942"/>
                      </a:lnTo>
                      <a:lnTo>
                        <a:pt x="1273" y="942"/>
                      </a:lnTo>
                      <a:lnTo>
                        <a:pt x="1274" y="942"/>
                      </a:lnTo>
                      <a:lnTo>
                        <a:pt x="1275" y="942"/>
                      </a:lnTo>
                      <a:lnTo>
                        <a:pt x="1274" y="942"/>
                      </a:lnTo>
                      <a:lnTo>
                        <a:pt x="1275" y="942"/>
                      </a:lnTo>
                      <a:lnTo>
                        <a:pt x="1275" y="941"/>
                      </a:lnTo>
                      <a:lnTo>
                        <a:pt x="1276" y="941"/>
                      </a:lnTo>
                      <a:lnTo>
                        <a:pt x="1276" y="942"/>
                      </a:lnTo>
                      <a:lnTo>
                        <a:pt x="1277" y="942"/>
                      </a:lnTo>
                      <a:lnTo>
                        <a:pt x="1278" y="941"/>
                      </a:lnTo>
                      <a:lnTo>
                        <a:pt x="1278" y="942"/>
                      </a:lnTo>
                      <a:close/>
                      <a:moveTo>
                        <a:pt x="1055" y="993"/>
                      </a:moveTo>
                      <a:lnTo>
                        <a:pt x="1056" y="993"/>
                      </a:lnTo>
                      <a:lnTo>
                        <a:pt x="1056" y="994"/>
                      </a:lnTo>
                      <a:lnTo>
                        <a:pt x="1056" y="995"/>
                      </a:lnTo>
                      <a:lnTo>
                        <a:pt x="1056" y="994"/>
                      </a:lnTo>
                      <a:lnTo>
                        <a:pt x="1055" y="994"/>
                      </a:lnTo>
                      <a:lnTo>
                        <a:pt x="1055" y="995"/>
                      </a:lnTo>
                      <a:lnTo>
                        <a:pt x="1054" y="995"/>
                      </a:lnTo>
                      <a:lnTo>
                        <a:pt x="1053" y="995"/>
                      </a:lnTo>
                      <a:lnTo>
                        <a:pt x="1054" y="995"/>
                      </a:lnTo>
                      <a:lnTo>
                        <a:pt x="1055" y="995"/>
                      </a:lnTo>
                      <a:lnTo>
                        <a:pt x="1056" y="995"/>
                      </a:lnTo>
                      <a:lnTo>
                        <a:pt x="1056" y="996"/>
                      </a:lnTo>
                      <a:lnTo>
                        <a:pt x="1054" y="996"/>
                      </a:lnTo>
                      <a:lnTo>
                        <a:pt x="1054" y="995"/>
                      </a:lnTo>
                      <a:lnTo>
                        <a:pt x="1053" y="996"/>
                      </a:lnTo>
                      <a:lnTo>
                        <a:pt x="1053" y="995"/>
                      </a:lnTo>
                      <a:lnTo>
                        <a:pt x="1052" y="995"/>
                      </a:lnTo>
                      <a:lnTo>
                        <a:pt x="1051" y="995"/>
                      </a:lnTo>
                      <a:lnTo>
                        <a:pt x="1052" y="994"/>
                      </a:lnTo>
                      <a:lnTo>
                        <a:pt x="1053" y="994"/>
                      </a:lnTo>
                      <a:lnTo>
                        <a:pt x="1054" y="993"/>
                      </a:lnTo>
                      <a:lnTo>
                        <a:pt x="1055" y="993"/>
                      </a:lnTo>
                      <a:close/>
                      <a:moveTo>
                        <a:pt x="1111" y="996"/>
                      </a:moveTo>
                      <a:lnTo>
                        <a:pt x="1112" y="998"/>
                      </a:lnTo>
                      <a:lnTo>
                        <a:pt x="1111" y="999"/>
                      </a:lnTo>
                      <a:lnTo>
                        <a:pt x="1111" y="1000"/>
                      </a:lnTo>
                      <a:lnTo>
                        <a:pt x="1110" y="1000"/>
                      </a:lnTo>
                      <a:lnTo>
                        <a:pt x="1110" y="1001"/>
                      </a:lnTo>
                      <a:lnTo>
                        <a:pt x="1109" y="1001"/>
                      </a:lnTo>
                      <a:lnTo>
                        <a:pt x="1109" y="1002"/>
                      </a:lnTo>
                      <a:lnTo>
                        <a:pt x="1109" y="1003"/>
                      </a:lnTo>
                      <a:lnTo>
                        <a:pt x="1108" y="1004"/>
                      </a:lnTo>
                      <a:lnTo>
                        <a:pt x="1107" y="1004"/>
                      </a:lnTo>
                      <a:lnTo>
                        <a:pt x="1108" y="1002"/>
                      </a:lnTo>
                      <a:lnTo>
                        <a:pt x="1108" y="1001"/>
                      </a:lnTo>
                      <a:lnTo>
                        <a:pt x="1109" y="1001"/>
                      </a:lnTo>
                      <a:lnTo>
                        <a:pt x="1109" y="1000"/>
                      </a:lnTo>
                      <a:lnTo>
                        <a:pt x="1110" y="999"/>
                      </a:lnTo>
                      <a:lnTo>
                        <a:pt x="1110" y="998"/>
                      </a:lnTo>
                      <a:lnTo>
                        <a:pt x="1110" y="996"/>
                      </a:lnTo>
                      <a:lnTo>
                        <a:pt x="1111" y="996"/>
                      </a:lnTo>
                      <a:close/>
                      <a:moveTo>
                        <a:pt x="1427" y="1125"/>
                      </a:moveTo>
                      <a:lnTo>
                        <a:pt x="1427" y="1127"/>
                      </a:lnTo>
                      <a:lnTo>
                        <a:pt x="1426" y="1127"/>
                      </a:lnTo>
                      <a:lnTo>
                        <a:pt x="1427" y="1127"/>
                      </a:lnTo>
                      <a:lnTo>
                        <a:pt x="1428" y="1127"/>
                      </a:lnTo>
                      <a:lnTo>
                        <a:pt x="1428" y="1128"/>
                      </a:lnTo>
                      <a:lnTo>
                        <a:pt x="1427" y="1128"/>
                      </a:lnTo>
                      <a:lnTo>
                        <a:pt x="1426" y="1129"/>
                      </a:lnTo>
                      <a:lnTo>
                        <a:pt x="1425" y="1129"/>
                      </a:lnTo>
                      <a:lnTo>
                        <a:pt x="1425" y="1130"/>
                      </a:lnTo>
                      <a:lnTo>
                        <a:pt x="1424" y="1130"/>
                      </a:lnTo>
                      <a:lnTo>
                        <a:pt x="1422" y="1130"/>
                      </a:lnTo>
                      <a:lnTo>
                        <a:pt x="1421" y="1130"/>
                      </a:lnTo>
                      <a:lnTo>
                        <a:pt x="1420" y="1130"/>
                      </a:lnTo>
                      <a:lnTo>
                        <a:pt x="1421" y="1130"/>
                      </a:lnTo>
                      <a:lnTo>
                        <a:pt x="1422" y="1130"/>
                      </a:lnTo>
                      <a:lnTo>
                        <a:pt x="1422" y="1129"/>
                      </a:lnTo>
                      <a:lnTo>
                        <a:pt x="1424" y="1129"/>
                      </a:lnTo>
                      <a:lnTo>
                        <a:pt x="1425" y="1128"/>
                      </a:lnTo>
                      <a:lnTo>
                        <a:pt x="1426" y="1127"/>
                      </a:lnTo>
                      <a:lnTo>
                        <a:pt x="1426" y="1125"/>
                      </a:lnTo>
                      <a:lnTo>
                        <a:pt x="1427" y="1125"/>
                      </a:lnTo>
                      <a:lnTo>
                        <a:pt x="1428" y="1125"/>
                      </a:lnTo>
                      <a:lnTo>
                        <a:pt x="1427" y="1125"/>
                      </a:lnTo>
                      <a:close/>
                      <a:moveTo>
                        <a:pt x="1310" y="1218"/>
                      </a:moveTo>
                      <a:lnTo>
                        <a:pt x="1310" y="1219"/>
                      </a:lnTo>
                      <a:lnTo>
                        <a:pt x="1309" y="1219"/>
                      </a:lnTo>
                      <a:lnTo>
                        <a:pt x="1309" y="1220"/>
                      </a:lnTo>
                      <a:lnTo>
                        <a:pt x="1308" y="1220"/>
                      </a:lnTo>
                      <a:lnTo>
                        <a:pt x="1308" y="1221"/>
                      </a:lnTo>
                      <a:lnTo>
                        <a:pt x="1305" y="1224"/>
                      </a:lnTo>
                      <a:lnTo>
                        <a:pt x="1304" y="1224"/>
                      </a:lnTo>
                      <a:lnTo>
                        <a:pt x="1303" y="1224"/>
                      </a:lnTo>
                      <a:lnTo>
                        <a:pt x="1303" y="1223"/>
                      </a:lnTo>
                      <a:lnTo>
                        <a:pt x="1304" y="1223"/>
                      </a:lnTo>
                      <a:lnTo>
                        <a:pt x="1304" y="1222"/>
                      </a:lnTo>
                      <a:lnTo>
                        <a:pt x="1305" y="1222"/>
                      </a:lnTo>
                      <a:lnTo>
                        <a:pt x="1305" y="1221"/>
                      </a:lnTo>
                      <a:lnTo>
                        <a:pt x="1305" y="1222"/>
                      </a:lnTo>
                      <a:lnTo>
                        <a:pt x="1306" y="1222"/>
                      </a:lnTo>
                      <a:lnTo>
                        <a:pt x="1306" y="1221"/>
                      </a:lnTo>
                      <a:lnTo>
                        <a:pt x="1306" y="1222"/>
                      </a:lnTo>
                      <a:lnTo>
                        <a:pt x="1306" y="1221"/>
                      </a:lnTo>
                      <a:lnTo>
                        <a:pt x="1308" y="1221"/>
                      </a:lnTo>
                      <a:lnTo>
                        <a:pt x="1308" y="1220"/>
                      </a:lnTo>
                      <a:lnTo>
                        <a:pt x="1308" y="1219"/>
                      </a:lnTo>
                      <a:lnTo>
                        <a:pt x="1309" y="1219"/>
                      </a:lnTo>
                      <a:lnTo>
                        <a:pt x="1309" y="1218"/>
                      </a:lnTo>
                      <a:lnTo>
                        <a:pt x="1308" y="1218"/>
                      </a:lnTo>
                      <a:lnTo>
                        <a:pt x="1308" y="1219"/>
                      </a:lnTo>
                      <a:lnTo>
                        <a:pt x="1306" y="1220"/>
                      </a:lnTo>
                      <a:lnTo>
                        <a:pt x="1306" y="1221"/>
                      </a:lnTo>
                      <a:lnTo>
                        <a:pt x="1305" y="1221"/>
                      </a:lnTo>
                      <a:lnTo>
                        <a:pt x="1305" y="1220"/>
                      </a:lnTo>
                      <a:lnTo>
                        <a:pt x="1306" y="1219"/>
                      </a:lnTo>
                      <a:lnTo>
                        <a:pt x="1308" y="1219"/>
                      </a:lnTo>
                      <a:lnTo>
                        <a:pt x="1309" y="1218"/>
                      </a:lnTo>
                      <a:lnTo>
                        <a:pt x="1309" y="1219"/>
                      </a:lnTo>
                      <a:lnTo>
                        <a:pt x="1309" y="1220"/>
                      </a:lnTo>
                      <a:lnTo>
                        <a:pt x="1309" y="1219"/>
                      </a:lnTo>
                      <a:lnTo>
                        <a:pt x="1309" y="1218"/>
                      </a:lnTo>
                      <a:lnTo>
                        <a:pt x="1309" y="1217"/>
                      </a:lnTo>
                      <a:lnTo>
                        <a:pt x="1310" y="1217"/>
                      </a:lnTo>
                      <a:lnTo>
                        <a:pt x="1310" y="1218"/>
                      </a:lnTo>
                      <a:close/>
                      <a:moveTo>
                        <a:pt x="1264" y="1091"/>
                      </a:moveTo>
                      <a:lnTo>
                        <a:pt x="1265" y="1091"/>
                      </a:lnTo>
                      <a:lnTo>
                        <a:pt x="1266" y="1091"/>
                      </a:lnTo>
                      <a:lnTo>
                        <a:pt x="1265" y="1092"/>
                      </a:lnTo>
                      <a:lnTo>
                        <a:pt x="1265" y="1093"/>
                      </a:lnTo>
                      <a:lnTo>
                        <a:pt x="1265" y="1094"/>
                      </a:lnTo>
                      <a:lnTo>
                        <a:pt x="1265" y="1095"/>
                      </a:lnTo>
                      <a:lnTo>
                        <a:pt x="1264" y="1095"/>
                      </a:lnTo>
                      <a:lnTo>
                        <a:pt x="1263" y="1095"/>
                      </a:lnTo>
                      <a:lnTo>
                        <a:pt x="1263" y="1094"/>
                      </a:lnTo>
                      <a:lnTo>
                        <a:pt x="1264" y="1094"/>
                      </a:lnTo>
                      <a:lnTo>
                        <a:pt x="1265" y="1093"/>
                      </a:lnTo>
                      <a:lnTo>
                        <a:pt x="1264" y="1093"/>
                      </a:lnTo>
                      <a:lnTo>
                        <a:pt x="1264" y="1092"/>
                      </a:lnTo>
                      <a:lnTo>
                        <a:pt x="1263" y="1092"/>
                      </a:lnTo>
                      <a:lnTo>
                        <a:pt x="1263" y="1091"/>
                      </a:lnTo>
                      <a:lnTo>
                        <a:pt x="1263" y="1090"/>
                      </a:lnTo>
                      <a:lnTo>
                        <a:pt x="1264" y="1091"/>
                      </a:lnTo>
                      <a:close/>
                      <a:moveTo>
                        <a:pt x="1111" y="973"/>
                      </a:moveTo>
                      <a:lnTo>
                        <a:pt x="1110" y="973"/>
                      </a:lnTo>
                      <a:lnTo>
                        <a:pt x="1110" y="974"/>
                      </a:lnTo>
                      <a:lnTo>
                        <a:pt x="1110" y="975"/>
                      </a:lnTo>
                      <a:lnTo>
                        <a:pt x="1109" y="975"/>
                      </a:lnTo>
                      <a:lnTo>
                        <a:pt x="1108" y="975"/>
                      </a:lnTo>
                      <a:lnTo>
                        <a:pt x="1107" y="975"/>
                      </a:lnTo>
                      <a:lnTo>
                        <a:pt x="1106" y="975"/>
                      </a:lnTo>
                      <a:lnTo>
                        <a:pt x="1107" y="975"/>
                      </a:lnTo>
                      <a:lnTo>
                        <a:pt x="1107" y="974"/>
                      </a:lnTo>
                      <a:lnTo>
                        <a:pt x="1108" y="974"/>
                      </a:lnTo>
                      <a:lnTo>
                        <a:pt x="1109" y="974"/>
                      </a:lnTo>
                      <a:lnTo>
                        <a:pt x="1109" y="973"/>
                      </a:lnTo>
                      <a:lnTo>
                        <a:pt x="1108" y="973"/>
                      </a:lnTo>
                      <a:lnTo>
                        <a:pt x="1107" y="973"/>
                      </a:lnTo>
                      <a:lnTo>
                        <a:pt x="1108" y="973"/>
                      </a:lnTo>
                      <a:lnTo>
                        <a:pt x="1109" y="973"/>
                      </a:lnTo>
                      <a:lnTo>
                        <a:pt x="1109" y="971"/>
                      </a:lnTo>
                      <a:lnTo>
                        <a:pt x="1107" y="970"/>
                      </a:lnTo>
                      <a:lnTo>
                        <a:pt x="1111" y="971"/>
                      </a:lnTo>
                      <a:lnTo>
                        <a:pt x="1111" y="973"/>
                      </a:lnTo>
                      <a:close/>
                      <a:moveTo>
                        <a:pt x="1056" y="983"/>
                      </a:moveTo>
                      <a:lnTo>
                        <a:pt x="1056" y="984"/>
                      </a:lnTo>
                      <a:lnTo>
                        <a:pt x="1056" y="988"/>
                      </a:lnTo>
                      <a:lnTo>
                        <a:pt x="1055" y="988"/>
                      </a:lnTo>
                      <a:lnTo>
                        <a:pt x="1055" y="989"/>
                      </a:lnTo>
                      <a:lnTo>
                        <a:pt x="1055" y="990"/>
                      </a:lnTo>
                      <a:lnTo>
                        <a:pt x="1054" y="989"/>
                      </a:lnTo>
                      <a:lnTo>
                        <a:pt x="1053" y="989"/>
                      </a:lnTo>
                      <a:lnTo>
                        <a:pt x="1052" y="989"/>
                      </a:lnTo>
                      <a:lnTo>
                        <a:pt x="1053" y="989"/>
                      </a:lnTo>
                      <a:lnTo>
                        <a:pt x="1053" y="988"/>
                      </a:lnTo>
                      <a:lnTo>
                        <a:pt x="1054" y="988"/>
                      </a:lnTo>
                      <a:lnTo>
                        <a:pt x="1054" y="987"/>
                      </a:lnTo>
                      <a:lnTo>
                        <a:pt x="1055" y="986"/>
                      </a:lnTo>
                      <a:lnTo>
                        <a:pt x="1054" y="984"/>
                      </a:lnTo>
                      <a:lnTo>
                        <a:pt x="1055" y="984"/>
                      </a:lnTo>
                      <a:lnTo>
                        <a:pt x="1054" y="984"/>
                      </a:lnTo>
                      <a:lnTo>
                        <a:pt x="1055" y="984"/>
                      </a:lnTo>
                      <a:lnTo>
                        <a:pt x="1055" y="983"/>
                      </a:lnTo>
                      <a:lnTo>
                        <a:pt x="1056" y="983"/>
                      </a:lnTo>
                      <a:close/>
                      <a:moveTo>
                        <a:pt x="1366" y="1164"/>
                      </a:moveTo>
                      <a:lnTo>
                        <a:pt x="1365" y="1164"/>
                      </a:lnTo>
                      <a:lnTo>
                        <a:pt x="1364" y="1164"/>
                      </a:lnTo>
                      <a:lnTo>
                        <a:pt x="1364" y="1166"/>
                      </a:lnTo>
                      <a:lnTo>
                        <a:pt x="1364" y="1167"/>
                      </a:lnTo>
                      <a:lnTo>
                        <a:pt x="1364" y="1168"/>
                      </a:lnTo>
                      <a:lnTo>
                        <a:pt x="1364" y="1169"/>
                      </a:lnTo>
                      <a:lnTo>
                        <a:pt x="1363" y="1169"/>
                      </a:lnTo>
                      <a:lnTo>
                        <a:pt x="1364" y="1169"/>
                      </a:lnTo>
                      <a:lnTo>
                        <a:pt x="1364" y="1170"/>
                      </a:lnTo>
                      <a:lnTo>
                        <a:pt x="1363" y="1170"/>
                      </a:lnTo>
                      <a:lnTo>
                        <a:pt x="1363" y="1169"/>
                      </a:lnTo>
                      <a:lnTo>
                        <a:pt x="1362" y="1169"/>
                      </a:lnTo>
                      <a:lnTo>
                        <a:pt x="1362" y="1168"/>
                      </a:lnTo>
                      <a:lnTo>
                        <a:pt x="1361" y="1166"/>
                      </a:lnTo>
                      <a:lnTo>
                        <a:pt x="1362" y="1166"/>
                      </a:lnTo>
                      <a:lnTo>
                        <a:pt x="1363" y="1164"/>
                      </a:lnTo>
                      <a:lnTo>
                        <a:pt x="1364" y="1164"/>
                      </a:lnTo>
                      <a:lnTo>
                        <a:pt x="1365" y="1164"/>
                      </a:lnTo>
                      <a:lnTo>
                        <a:pt x="1366" y="1164"/>
                      </a:lnTo>
                      <a:close/>
                      <a:moveTo>
                        <a:pt x="1351" y="1083"/>
                      </a:moveTo>
                      <a:lnTo>
                        <a:pt x="1350" y="1082"/>
                      </a:lnTo>
                      <a:lnTo>
                        <a:pt x="1350" y="1081"/>
                      </a:lnTo>
                      <a:lnTo>
                        <a:pt x="1349" y="1080"/>
                      </a:lnTo>
                      <a:lnTo>
                        <a:pt x="1349" y="1079"/>
                      </a:lnTo>
                      <a:lnTo>
                        <a:pt x="1348" y="1078"/>
                      </a:lnTo>
                      <a:lnTo>
                        <a:pt x="1349" y="1077"/>
                      </a:lnTo>
                      <a:lnTo>
                        <a:pt x="1350" y="1078"/>
                      </a:lnTo>
                      <a:lnTo>
                        <a:pt x="1350" y="1079"/>
                      </a:lnTo>
                      <a:lnTo>
                        <a:pt x="1351" y="1080"/>
                      </a:lnTo>
                      <a:lnTo>
                        <a:pt x="1352" y="1081"/>
                      </a:lnTo>
                      <a:lnTo>
                        <a:pt x="1352" y="1082"/>
                      </a:lnTo>
                      <a:lnTo>
                        <a:pt x="1351" y="1083"/>
                      </a:lnTo>
                      <a:close/>
                      <a:moveTo>
                        <a:pt x="1407" y="976"/>
                      </a:moveTo>
                      <a:lnTo>
                        <a:pt x="1408" y="977"/>
                      </a:lnTo>
                      <a:lnTo>
                        <a:pt x="1409" y="977"/>
                      </a:lnTo>
                      <a:lnTo>
                        <a:pt x="1409" y="976"/>
                      </a:lnTo>
                      <a:lnTo>
                        <a:pt x="1409" y="977"/>
                      </a:lnTo>
                      <a:lnTo>
                        <a:pt x="1409" y="978"/>
                      </a:lnTo>
                      <a:lnTo>
                        <a:pt x="1409" y="979"/>
                      </a:lnTo>
                      <a:lnTo>
                        <a:pt x="1408" y="979"/>
                      </a:lnTo>
                      <a:lnTo>
                        <a:pt x="1407" y="981"/>
                      </a:lnTo>
                      <a:lnTo>
                        <a:pt x="1406" y="981"/>
                      </a:lnTo>
                      <a:lnTo>
                        <a:pt x="1406" y="980"/>
                      </a:lnTo>
                      <a:lnTo>
                        <a:pt x="1407" y="979"/>
                      </a:lnTo>
                      <a:lnTo>
                        <a:pt x="1407" y="980"/>
                      </a:lnTo>
                      <a:lnTo>
                        <a:pt x="1407" y="979"/>
                      </a:lnTo>
                      <a:lnTo>
                        <a:pt x="1408" y="979"/>
                      </a:lnTo>
                      <a:lnTo>
                        <a:pt x="1408" y="978"/>
                      </a:lnTo>
                      <a:lnTo>
                        <a:pt x="1407" y="978"/>
                      </a:lnTo>
                      <a:lnTo>
                        <a:pt x="1407" y="977"/>
                      </a:lnTo>
                      <a:lnTo>
                        <a:pt x="1407" y="978"/>
                      </a:lnTo>
                      <a:lnTo>
                        <a:pt x="1406" y="978"/>
                      </a:lnTo>
                      <a:lnTo>
                        <a:pt x="1406" y="977"/>
                      </a:lnTo>
                      <a:lnTo>
                        <a:pt x="1406" y="976"/>
                      </a:lnTo>
                      <a:lnTo>
                        <a:pt x="1407" y="976"/>
                      </a:lnTo>
                      <a:close/>
                      <a:moveTo>
                        <a:pt x="1148" y="784"/>
                      </a:moveTo>
                      <a:lnTo>
                        <a:pt x="1149" y="784"/>
                      </a:lnTo>
                      <a:lnTo>
                        <a:pt x="1150" y="785"/>
                      </a:lnTo>
                      <a:lnTo>
                        <a:pt x="1150" y="784"/>
                      </a:lnTo>
                      <a:lnTo>
                        <a:pt x="1150" y="785"/>
                      </a:lnTo>
                      <a:lnTo>
                        <a:pt x="1151" y="785"/>
                      </a:lnTo>
                      <a:lnTo>
                        <a:pt x="1153" y="785"/>
                      </a:lnTo>
                      <a:lnTo>
                        <a:pt x="1151" y="785"/>
                      </a:lnTo>
                      <a:lnTo>
                        <a:pt x="1150" y="785"/>
                      </a:lnTo>
                      <a:lnTo>
                        <a:pt x="1149" y="785"/>
                      </a:lnTo>
                      <a:lnTo>
                        <a:pt x="1148" y="785"/>
                      </a:lnTo>
                      <a:lnTo>
                        <a:pt x="1147" y="785"/>
                      </a:lnTo>
                      <a:lnTo>
                        <a:pt x="1147" y="786"/>
                      </a:lnTo>
                      <a:lnTo>
                        <a:pt x="1146" y="787"/>
                      </a:lnTo>
                      <a:lnTo>
                        <a:pt x="1145" y="787"/>
                      </a:lnTo>
                      <a:lnTo>
                        <a:pt x="1145" y="788"/>
                      </a:lnTo>
                      <a:lnTo>
                        <a:pt x="1145" y="787"/>
                      </a:lnTo>
                      <a:lnTo>
                        <a:pt x="1145" y="788"/>
                      </a:lnTo>
                      <a:lnTo>
                        <a:pt x="1144" y="788"/>
                      </a:lnTo>
                      <a:lnTo>
                        <a:pt x="1144" y="787"/>
                      </a:lnTo>
                      <a:lnTo>
                        <a:pt x="1145" y="787"/>
                      </a:lnTo>
                      <a:lnTo>
                        <a:pt x="1145" y="786"/>
                      </a:lnTo>
                      <a:lnTo>
                        <a:pt x="1146" y="786"/>
                      </a:lnTo>
                      <a:lnTo>
                        <a:pt x="1146" y="787"/>
                      </a:lnTo>
                      <a:lnTo>
                        <a:pt x="1146" y="786"/>
                      </a:lnTo>
                      <a:lnTo>
                        <a:pt x="1147" y="786"/>
                      </a:lnTo>
                      <a:lnTo>
                        <a:pt x="1146" y="786"/>
                      </a:lnTo>
                      <a:lnTo>
                        <a:pt x="1146" y="785"/>
                      </a:lnTo>
                      <a:lnTo>
                        <a:pt x="1147" y="785"/>
                      </a:lnTo>
                      <a:lnTo>
                        <a:pt x="1146" y="785"/>
                      </a:lnTo>
                      <a:lnTo>
                        <a:pt x="1146" y="784"/>
                      </a:lnTo>
                      <a:lnTo>
                        <a:pt x="1146" y="785"/>
                      </a:lnTo>
                      <a:lnTo>
                        <a:pt x="1145" y="785"/>
                      </a:lnTo>
                      <a:lnTo>
                        <a:pt x="1145" y="784"/>
                      </a:lnTo>
                      <a:lnTo>
                        <a:pt x="1146" y="784"/>
                      </a:lnTo>
                      <a:lnTo>
                        <a:pt x="1147" y="783"/>
                      </a:lnTo>
                      <a:lnTo>
                        <a:pt x="1147" y="784"/>
                      </a:lnTo>
                      <a:lnTo>
                        <a:pt x="1148" y="784"/>
                      </a:lnTo>
                      <a:close/>
                      <a:moveTo>
                        <a:pt x="1421" y="1095"/>
                      </a:moveTo>
                      <a:lnTo>
                        <a:pt x="1421" y="1096"/>
                      </a:lnTo>
                      <a:lnTo>
                        <a:pt x="1421" y="1097"/>
                      </a:lnTo>
                      <a:lnTo>
                        <a:pt x="1420" y="1097"/>
                      </a:lnTo>
                      <a:lnTo>
                        <a:pt x="1419" y="1097"/>
                      </a:lnTo>
                      <a:lnTo>
                        <a:pt x="1419" y="1096"/>
                      </a:lnTo>
                      <a:lnTo>
                        <a:pt x="1419" y="1097"/>
                      </a:lnTo>
                      <a:lnTo>
                        <a:pt x="1418" y="1097"/>
                      </a:lnTo>
                      <a:lnTo>
                        <a:pt x="1417" y="1097"/>
                      </a:lnTo>
                      <a:lnTo>
                        <a:pt x="1417" y="1096"/>
                      </a:lnTo>
                      <a:lnTo>
                        <a:pt x="1416" y="1096"/>
                      </a:lnTo>
                      <a:lnTo>
                        <a:pt x="1417" y="1096"/>
                      </a:lnTo>
                      <a:lnTo>
                        <a:pt x="1417" y="1095"/>
                      </a:lnTo>
                      <a:lnTo>
                        <a:pt x="1418" y="1095"/>
                      </a:lnTo>
                      <a:lnTo>
                        <a:pt x="1419" y="1095"/>
                      </a:lnTo>
                      <a:lnTo>
                        <a:pt x="1420" y="1094"/>
                      </a:lnTo>
                      <a:lnTo>
                        <a:pt x="1420" y="1095"/>
                      </a:lnTo>
                      <a:lnTo>
                        <a:pt x="1421" y="1095"/>
                      </a:lnTo>
                      <a:close/>
                      <a:moveTo>
                        <a:pt x="1435" y="1125"/>
                      </a:moveTo>
                      <a:lnTo>
                        <a:pt x="1434" y="1125"/>
                      </a:lnTo>
                      <a:lnTo>
                        <a:pt x="1434" y="1127"/>
                      </a:lnTo>
                      <a:lnTo>
                        <a:pt x="1433" y="1127"/>
                      </a:lnTo>
                      <a:lnTo>
                        <a:pt x="1432" y="1127"/>
                      </a:lnTo>
                      <a:lnTo>
                        <a:pt x="1431" y="1127"/>
                      </a:lnTo>
                      <a:lnTo>
                        <a:pt x="1431" y="1125"/>
                      </a:lnTo>
                      <a:lnTo>
                        <a:pt x="1431" y="1124"/>
                      </a:lnTo>
                      <a:lnTo>
                        <a:pt x="1432" y="1124"/>
                      </a:lnTo>
                      <a:lnTo>
                        <a:pt x="1433" y="1124"/>
                      </a:lnTo>
                      <a:lnTo>
                        <a:pt x="1434" y="1124"/>
                      </a:lnTo>
                      <a:lnTo>
                        <a:pt x="1435" y="1124"/>
                      </a:lnTo>
                      <a:lnTo>
                        <a:pt x="1435" y="1125"/>
                      </a:lnTo>
                      <a:close/>
                      <a:moveTo>
                        <a:pt x="1367" y="1130"/>
                      </a:moveTo>
                      <a:lnTo>
                        <a:pt x="1367" y="1131"/>
                      </a:lnTo>
                      <a:lnTo>
                        <a:pt x="1367" y="1130"/>
                      </a:lnTo>
                      <a:lnTo>
                        <a:pt x="1368" y="1130"/>
                      </a:lnTo>
                      <a:lnTo>
                        <a:pt x="1368" y="1131"/>
                      </a:lnTo>
                      <a:lnTo>
                        <a:pt x="1369" y="1131"/>
                      </a:lnTo>
                      <a:lnTo>
                        <a:pt x="1370" y="1131"/>
                      </a:lnTo>
                      <a:lnTo>
                        <a:pt x="1369" y="1132"/>
                      </a:lnTo>
                      <a:lnTo>
                        <a:pt x="1369" y="1133"/>
                      </a:lnTo>
                      <a:lnTo>
                        <a:pt x="1368" y="1133"/>
                      </a:lnTo>
                      <a:lnTo>
                        <a:pt x="1368" y="1132"/>
                      </a:lnTo>
                      <a:lnTo>
                        <a:pt x="1368" y="1133"/>
                      </a:lnTo>
                      <a:lnTo>
                        <a:pt x="1367" y="1132"/>
                      </a:lnTo>
                      <a:lnTo>
                        <a:pt x="1367" y="1131"/>
                      </a:lnTo>
                      <a:lnTo>
                        <a:pt x="1367" y="1132"/>
                      </a:lnTo>
                      <a:lnTo>
                        <a:pt x="1367" y="1131"/>
                      </a:lnTo>
                      <a:lnTo>
                        <a:pt x="1366" y="1131"/>
                      </a:lnTo>
                      <a:lnTo>
                        <a:pt x="1366" y="1132"/>
                      </a:lnTo>
                      <a:lnTo>
                        <a:pt x="1367" y="1132"/>
                      </a:lnTo>
                      <a:lnTo>
                        <a:pt x="1367" y="1133"/>
                      </a:lnTo>
                      <a:lnTo>
                        <a:pt x="1366" y="1134"/>
                      </a:lnTo>
                      <a:lnTo>
                        <a:pt x="1366" y="1133"/>
                      </a:lnTo>
                      <a:lnTo>
                        <a:pt x="1366" y="1132"/>
                      </a:lnTo>
                      <a:lnTo>
                        <a:pt x="1366" y="1133"/>
                      </a:lnTo>
                      <a:lnTo>
                        <a:pt x="1366" y="1132"/>
                      </a:lnTo>
                      <a:lnTo>
                        <a:pt x="1365" y="1132"/>
                      </a:lnTo>
                      <a:lnTo>
                        <a:pt x="1365" y="1131"/>
                      </a:lnTo>
                      <a:lnTo>
                        <a:pt x="1366" y="1131"/>
                      </a:lnTo>
                      <a:lnTo>
                        <a:pt x="1366" y="1130"/>
                      </a:lnTo>
                      <a:lnTo>
                        <a:pt x="1365" y="1131"/>
                      </a:lnTo>
                      <a:lnTo>
                        <a:pt x="1365" y="1130"/>
                      </a:lnTo>
                      <a:lnTo>
                        <a:pt x="1366" y="1130"/>
                      </a:lnTo>
                      <a:lnTo>
                        <a:pt x="1367" y="1130"/>
                      </a:lnTo>
                      <a:close/>
                      <a:moveTo>
                        <a:pt x="1158" y="971"/>
                      </a:moveTo>
                      <a:lnTo>
                        <a:pt x="1158" y="973"/>
                      </a:lnTo>
                      <a:lnTo>
                        <a:pt x="1159" y="973"/>
                      </a:lnTo>
                      <a:lnTo>
                        <a:pt x="1159" y="974"/>
                      </a:lnTo>
                      <a:lnTo>
                        <a:pt x="1158" y="974"/>
                      </a:lnTo>
                      <a:lnTo>
                        <a:pt x="1158" y="975"/>
                      </a:lnTo>
                      <a:lnTo>
                        <a:pt x="1158" y="976"/>
                      </a:lnTo>
                      <a:lnTo>
                        <a:pt x="1158" y="977"/>
                      </a:lnTo>
                      <a:lnTo>
                        <a:pt x="1158" y="978"/>
                      </a:lnTo>
                      <a:lnTo>
                        <a:pt x="1158" y="979"/>
                      </a:lnTo>
                      <a:lnTo>
                        <a:pt x="1157" y="980"/>
                      </a:lnTo>
                      <a:lnTo>
                        <a:pt x="1157" y="981"/>
                      </a:lnTo>
                      <a:lnTo>
                        <a:pt x="1156" y="981"/>
                      </a:lnTo>
                      <a:lnTo>
                        <a:pt x="1155" y="981"/>
                      </a:lnTo>
                      <a:lnTo>
                        <a:pt x="1156" y="980"/>
                      </a:lnTo>
                      <a:lnTo>
                        <a:pt x="1157" y="979"/>
                      </a:lnTo>
                      <a:lnTo>
                        <a:pt x="1157" y="978"/>
                      </a:lnTo>
                      <a:lnTo>
                        <a:pt x="1158" y="978"/>
                      </a:lnTo>
                      <a:lnTo>
                        <a:pt x="1158" y="977"/>
                      </a:lnTo>
                      <a:lnTo>
                        <a:pt x="1158" y="976"/>
                      </a:lnTo>
                      <a:lnTo>
                        <a:pt x="1158" y="975"/>
                      </a:lnTo>
                      <a:lnTo>
                        <a:pt x="1158" y="974"/>
                      </a:lnTo>
                      <a:lnTo>
                        <a:pt x="1157" y="973"/>
                      </a:lnTo>
                      <a:lnTo>
                        <a:pt x="1157" y="971"/>
                      </a:lnTo>
                      <a:lnTo>
                        <a:pt x="1158" y="971"/>
                      </a:lnTo>
                      <a:lnTo>
                        <a:pt x="1158" y="970"/>
                      </a:lnTo>
                      <a:lnTo>
                        <a:pt x="1157" y="970"/>
                      </a:lnTo>
                      <a:lnTo>
                        <a:pt x="1158" y="970"/>
                      </a:lnTo>
                      <a:lnTo>
                        <a:pt x="1158" y="971"/>
                      </a:lnTo>
                      <a:close/>
                      <a:moveTo>
                        <a:pt x="1168" y="808"/>
                      </a:moveTo>
                      <a:lnTo>
                        <a:pt x="1169" y="808"/>
                      </a:lnTo>
                      <a:lnTo>
                        <a:pt x="1170" y="808"/>
                      </a:lnTo>
                      <a:lnTo>
                        <a:pt x="1171" y="808"/>
                      </a:lnTo>
                      <a:lnTo>
                        <a:pt x="1171" y="809"/>
                      </a:lnTo>
                      <a:lnTo>
                        <a:pt x="1172" y="809"/>
                      </a:lnTo>
                      <a:lnTo>
                        <a:pt x="1172" y="810"/>
                      </a:lnTo>
                      <a:lnTo>
                        <a:pt x="1173" y="810"/>
                      </a:lnTo>
                      <a:lnTo>
                        <a:pt x="1174" y="810"/>
                      </a:lnTo>
                      <a:lnTo>
                        <a:pt x="1173" y="810"/>
                      </a:lnTo>
                      <a:lnTo>
                        <a:pt x="1173" y="811"/>
                      </a:lnTo>
                      <a:lnTo>
                        <a:pt x="1172" y="811"/>
                      </a:lnTo>
                      <a:lnTo>
                        <a:pt x="1172" y="810"/>
                      </a:lnTo>
                      <a:lnTo>
                        <a:pt x="1171" y="810"/>
                      </a:lnTo>
                      <a:lnTo>
                        <a:pt x="1171" y="811"/>
                      </a:lnTo>
                      <a:lnTo>
                        <a:pt x="1170" y="811"/>
                      </a:lnTo>
                      <a:lnTo>
                        <a:pt x="1170" y="810"/>
                      </a:lnTo>
                      <a:lnTo>
                        <a:pt x="1170" y="811"/>
                      </a:lnTo>
                      <a:lnTo>
                        <a:pt x="1170" y="810"/>
                      </a:lnTo>
                      <a:lnTo>
                        <a:pt x="1170" y="809"/>
                      </a:lnTo>
                      <a:lnTo>
                        <a:pt x="1170" y="808"/>
                      </a:lnTo>
                      <a:lnTo>
                        <a:pt x="1169" y="809"/>
                      </a:lnTo>
                      <a:lnTo>
                        <a:pt x="1169" y="808"/>
                      </a:lnTo>
                      <a:lnTo>
                        <a:pt x="1168" y="808"/>
                      </a:lnTo>
                      <a:lnTo>
                        <a:pt x="1168" y="809"/>
                      </a:lnTo>
                      <a:lnTo>
                        <a:pt x="1167" y="809"/>
                      </a:lnTo>
                      <a:lnTo>
                        <a:pt x="1167" y="808"/>
                      </a:lnTo>
                      <a:lnTo>
                        <a:pt x="1166" y="808"/>
                      </a:lnTo>
                      <a:lnTo>
                        <a:pt x="1167" y="808"/>
                      </a:lnTo>
                      <a:lnTo>
                        <a:pt x="1168" y="808"/>
                      </a:lnTo>
                      <a:close/>
                      <a:moveTo>
                        <a:pt x="1130" y="822"/>
                      </a:moveTo>
                      <a:lnTo>
                        <a:pt x="1131" y="822"/>
                      </a:lnTo>
                      <a:lnTo>
                        <a:pt x="1130" y="822"/>
                      </a:lnTo>
                      <a:lnTo>
                        <a:pt x="1130" y="823"/>
                      </a:lnTo>
                      <a:lnTo>
                        <a:pt x="1131" y="824"/>
                      </a:lnTo>
                      <a:lnTo>
                        <a:pt x="1130" y="825"/>
                      </a:lnTo>
                      <a:lnTo>
                        <a:pt x="1128" y="825"/>
                      </a:lnTo>
                      <a:lnTo>
                        <a:pt x="1128" y="824"/>
                      </a:lnTo>
                      <a:lnTo>
                        <a:pt x="1128" y="823"/>
                      </a:lnTo>
                      <a:lnTo>
                        <a:pt x="1126" y="823"/>
                      </a:lnTo>
                      <a:lnTo>
                        <a:pt x="1128" y="823"/>
                      </a:lnTo>
                      <a:lnTo>
                        <a:pt x="1128" y="822"/>
                      </a:lnTo>
                      <a:lnTo>
                        <a:pt x="1129" y="822"/>
                      </a:lnTo>
                      <a:lnTo>
                        <a:pt x="1130" y="822"/>
                      </a:lnTo>
                      <a:close/>
                      <a:moveTo>
                        <a:pt x="1057" y="928"/>
                      </a:moveTo>
                      <a:lnTo>
                        <a:pt x="1057" y="929"/>
                      </a:lnTo>
                      <a:lnTo>
                        <a:pt x="1056" y="929"/>
                      </a:lnTo>
                      <a:lnTo>
                        <a:pt x="1056" y="928"/>
                      </a:lnTo>
                      <a:lnTo>
                        <a:pt x="1056" y="929"/>
                      </a:lnTo>
                      <a:lnTo>
                        <a:pt x="1054" y="931"/>
                      </a:lnTo>
                      <a:lnTo>
                        <a:pt x="1053" y="931"/>
                      </a:lnTo>
                      <a:lnTo>
                        <a:pt x="1052" y="931"/>
                      </a:lnTo>
                      <a:lnTo>
                        <a:pt x="1053" y="931"/>
                      </a:lnTo>
                      <a:lnTo>
                        <a:pt x="1053" y="930"/>
                      </a:lnTo>
                      <a:lnTo>
                        <a:pt x="1054" y="929"/>
                      </a:lnTo>
                      <a:lnTo>
                        <a:pt x="1055" y="928"/>
                      </a:lnTo>
                      <a:lnTo>
                        <a:pt x="1057" y="927"/>
                      </a:lnTo>
                      <a:lnTo>
                        <a:pt x="1058" y="927"/>
                      </a:lnTo>
                      <a:lnTo>
                        <a:pt x="1058" y="928"/>
                      </a:lnTo>
                      <a:lnTo>
                        <a:pt x="1057" y="928"/>
                      </a:lnTo>
                      <a:close/>
                      <a:moveTo>
                        <a:pt x="1312" y="1102"/>
                      </a:moveTo>
                      <a:lnTo>
                        <a:pt x="1311" y="1102"/>
                      </a:lnTo>
                      <a:lnTo>
                        <a:pt x="1311" y="1101"/>
                      </a:lnTo>
                      <a:lnTo>
                        <a:pt x="1311" y="1099"/>
                      </a:lnTo>
                      <a:lnTo>
                        <a:pt x="1311" y="1098"/>
                      </a:lnTo>
                      <a:lnTo>
                        <a:pt x="1311" y="1097"/>
                      </a:lnTo>
                      <a:lnTo>
                        <a:pt x="1312" y="1097"/>
                      </a:lnTo>
                      <a:lnTo>
                        <a:pt x="1312" y="1096"/>
                      </a:lnTo>
                      <a:lnTo>
                        <a:pt x="1312" y="1095"/>
                      </a:lnTo>
                      <a:lnTo>
                        <a:pt x="1312" y="1094"/>
                      </a:lnTo>
                      <a:lnTo>
                        <a:pt x="1313" y="1094"/>
                      </a:lnTo>
                      <a:lnTo>
                        <a:pt x="1314" y="1095"/>
                      </a:lnTo>
                      <a:lnTo>
                        <a:pt x="1313" y="1095"/>
                      </a:lnTo>
                      <a:lnTo>
                        <a:pt x="1313" y="1096"/>
                      </a:lnTo>
                      <a:lnTo>
                        <a:pt x="1313" y="1097"/>
                      </a:lnTo>
                      <a:lnTo>
                        <a:pt x="1312" y="1097"/>
                      </a:lnTo>
                      <a:lnTo>
                        <a:pt x="1312" y="1098"/>
                      </a:lnTo>
                      <a:lnTo>
                        <a:pt x="1312" y="1099"/>
                      </a:lnTo>
                      <a:lnTo>
                        <a:pt x="1312" y="1101"/>
                      </a:lnTo>
                      <a:lnTo>
                        <a:pt x="1312" y="1102"/>
                      </a:lnTo>
                      <a:close/>
                      <a:moveTo>
                        <a:pt x="1093" y="977"/>
                      </a:moveTo>
                      <a:lnTo>
                        <a:pt x="1092" y="978"/>
                      </a:lnTo>
                      <a:lnTo>
                        <a:pt x="1091" y="978"/>
                      </a:lnTo>
                      <a:lnTo>
                        <a:pt x="1092" y="978"/>
                      </a:lnTo>
                      <a:lnTo>
                        <a:pt x="1092" y="979"/>
                      </a:lnTo>
                      <a:lnTo>
                        <a:pt x="1093" y="979"/>
                      </a:lnTo>
                      <a:lnTo>
                        <a:pt x="1094" y="979"/>
                      </a:lnTo>
                      <a:lnTo>
                        <a:pt x="1094" y="980"/>
                      </a:lnTo>
                      <a:lnTo>
                        <a:pt x="1094" y="981"/>
                      </a:lnTo>
                      <a:lnTo>
                        <a:pt x="1094" y="982"/>
                      </a:lnTo>
                      <a:lnTo>
                        <a:pt x="1093" y="983"/>
                      </a:lnTo>
                      <a:lnTo>
                        <a:pt x="1092" y="983"/>
                      </a:lnTo>
                      <a:lnTo>
                        <a:pt x="1093" y="983"/>
                      </a:lnTo>
                      <a:lnTo>
                        <a:pt x="1093" y="982"/>
                      </a:lnTo>
                      <a:lnTo>
                        <a:pt x="1092" y="982"/>
                      </a:lnTo>
                      <a:lnTo>
                        <a:pt x="1092" y="981"/>
                      </a:lnTo>
                      <a:lnTo>
                        <a:pt x="1092" y="980"/>
                      </a:lnTo>
                      <a:lnTo>
                        <a:pt x="1093" y="980"/>
                      </a:lnTo>
                      <a:lnTo>
                        <a:pt x="1093" y="981"/>
                      </a:lnTo>
                      <a:lnTo>
                        <a:pt x="1093" y="980"/>
                      </a:lnTo>
                      <a:lnTo>
                        <a:pt x="1093" y="979"/>
                      </a:lnTo>
                      <a:lnTo>
                        <a:pt x="1092" y="979"/>
                      </a:lnTo>
                      <a:lnTo>
                        <a:pt x="1092" y="980"/>
                      </a:lnTo>
                      <a:lnTo>
                        <a:pt x="1092" y="979"/>
                      </a:lnTo>
                      <a:lnTo>
                        <a:pt x="1091" y="979"/>
                      </a:lnTo>
                      <a:lnTo>
                        <a:pt x="1091" y="978"/>
                      </a:lnTo>
                      <a:lnTo>
                        <a:pt x="1091" y="977"/>
                      </a:lnTo>
                      <a:lnTo>
                        <a:pt x="1090" y="977"/>
                      </a:lnTo>
                      <a:lnTo>
                        <a:pt x="1091" y="977"/>
                      </a:lnTo>
                      <a:lnTo>
                        <a:pt x="1092" y="977"/>
                      </a:lnTo>
                      <a:lnTo>
                        <a:pt x="1093" y="977"/>
                      </a:lnTo>
                      <a:close/>
                      <a:moveTo>
                        <a:pt x="1136" y="793"/>
                      </a:moveTo>
                      <a:lnTo>
                        <a:pt x="1137" y="793"/>
                      </a:lnTo>
                      <a:lnTo>
                        <a:pt x="1137" y="794"/>
                      </a:lnTo>
                      <a:lnTo>
                        <a:pt x="1137" y="795"/>
                      </a:lnTo>
                      <a:lnTo>
                        <a:pt x="1137" y="796"/>
                      </a:lnTo>
                      <a:lnTo>
                        <a:pt x="1137" y="795"/>
                      </a:lnTo>
                      <a:lnTo>
                        <a:pt x="1136" y="795"/>
                      </a:lnTo>
                      <a:lnTo>
                        <a:pt x="1135" y="795"/>
                      </a:lnTo>
                      <a:lnTo>
                        <a:pt x="1135" y="796"/>
                      </a:lnTo>
                      <a:lnTo>
                        <a:pt x="1134" y="796"/>
                      </a:lnTo>
                      <a:lnTo>
                        <a:pt x="1133" y="796"/>
                      </a:lnTo>
                      <a:lnTo>
                        <a:pt x="1132" y="796"/>
                      </a:lnTo>
                      <a:lnTo>
                        <a:pt x="1132" y="795"/>
                      </a:lnTo>
                      <a:lnTo>
                        <a:pt x="1133" y="795"/>
                      </a:lnTo>
                      <a:lnTo>
                        <a:pt x="1134" y="794"/>
                      </a:lnTo>
                      <a:lnTo>
                        <a:pt x="1135" y="793"/>
                      </a:lnTo>
                      <a:lnTo>
                        <a:pt x="1136" y="793"/>
                      </a:lnTo>
                      <a:close/>
                      <a:moveTo>
                        <a:pt x="1074" y="982"/>
                      </a:moveTo>
                      <a:lnTo>
                        <a:pt x="1076" y="982"/>
                      </a:lnTo>
                      <a:lnTo>
                        <a:pt x="1074" y="983"/>
                      </a:lnTo>
                      <a:lnTo>
                        <a:pt x="1076" y="983"/>
                      </a:lnTo>
                      <a:lnTo>
                        <a:pt x="1077" y="983"/>
                      </a:lnTo>
                      <a:lnTo>
                        <a:pt x="1077" y="982"/>
                      </a:lnTo>
                      <a:lnTo>
                        <a:pt x="1077" y="983"/>
                      </a:lnTo>
                      <a:lnTo>
                        <a:pt x="1078" y="983"/>
                      </a:lnTo>
                      <a:lnTo>
                        <a:pt x="1079" y="983"/>
                      </a:lnTo>
                      <a:lnTo>
                        <a:pt x="1079" y="984"/>
                      </a:lnTo>
                      <a:lnTo>
                        <a:pt x="1078" y="984"/>
                      </a:lnTo>
                      <a:lnTo>
                        <a:pt x="1077" y="984"/>
                      </a:lnTo>
                      <a:lnTo>
                        <a:pt x="1076" y="984"/>
                      </a:lnTo>
                      <a:lnTo>
                        <a:pt x="1074" y="984"/>
                      </a:lnTo>
                      <a:lnTo>
                        <a:pt x="1073" y="984"/>
                      </a:lnTo>
                      <a:lnTo>
                        <a:pt x="1074" y="984"/>
                      </a:lnTo>
                      <a:lnTo>
                        <a:pt x="1073" y="983"/>
                      </a:lnTo>
                      <a:lnTo>
                        <a:pt x="1074" y="982"/>
                      </a:lnTo>
                      <a:close/>
                      <a:moveTo>
                        <a:pt x="1099" y="969"/>
                      </a:moveTo>
                      <a:lnTo>
                        <a:pt x="1098" y="970"/>
                      </a:lnTo>
                      <a:lnTo>
                        <a:pt x="1097" y="971"/>
                      </a:lnTo>
                      <a:lnTo>
                        <a:pt x="1096" y="971"/>
                      </a:lnTo>
                      <a:lnTo>
                        <a:pt x="1095" y="970"/>
                      </a:lnTo>
                      <a:lnTo>
                        <a:pt x="1095" y="969"/>
                      </a:lnTo>
                      <a:lnTo>
                        <a:pt x="1095" y="968"/>
                      </a:lnTo>
                      <a:lnTo>
                        <a:pt x="1094" y="968"/>
                      </a:lnTo>
                      <a:lnTo>
                        <a:pt x="1094" y="967"/>
                      </a:lnTo>
                      <a:lnTo>
                        <a:pt x="1094" y="968"/>
                      </a:lnTo>
                      <a:lnTo>
                        <a:pt x="1095" y="968"/>
                      </a:lnTo>
                      <a:lnTo>
                        <a:pt x="1095" y="969"/>
                      </a:lnTo>
                      <a:lnTo>
                        <a:pt x="1096" y="969"/>
                      </a:lnTo>
                      <a:lnTo>
                        <a:pt x="1096" y="968"/>
                      </a:lnTo>
                      <a:lnTo>
                        <a:pt x="1097" y="968"/>
                      </a:lnTo>
                      <a:lnTo>
                        <a:pt x="1097" y="970"/>
                      </a:lnTo>
                      <a:lnTo>
                        <a:pt x="1098" y="970"/>
                      </a:lnTo>
                      <a:lnTo>
                        <a:pt x="1098" y="969"/>
                      </a:lnTo>
                      <a:lnTo>
                        <a:pt x="1099" y="968"/>
                      </a:lnTo>
                      <a:lnTo>
                        <a:pt x="1098" y="967"/>
                      </a:lnTo>
                      <a:lnTo>
                        <a:pt x="1099" y="967"/>
                      </a:lnTo>
                      <a:lnTo>
                        <a:pt x="1099" y="968"/>
                      </a:lnTo>
                      <a:lnTo>
                        <a:pt x="1099" y="969"/>
                      </a:lnTo>
                      <a:close/>
                      <a:moveTo>
                        <a:pt x="1053" y="991"/>
                      </a:moveTo>
                      <a:lnTo>
                        <a:pt x="1054" y="992"/>
                      </a:lnTo>
                      <a:lnTo>
                        <a:pt x="1054" y="993"/>
                      </a:lnTo>
                      <a:lnTo>
                        <a:pt x="1053" y="993"/>
                      </a:lnTo>
                      <a:lnTo>
                        <a:pt x="1053" y="994"/>
                      </a:lnTo>
                      <a:lnTo>
                        <a:pt x="1052" y="994"/>
                      </a:lnTo>
                      <a:lnTo>
                        <a:pt x="1051" y="994"/>
                      </a:lnTo>
                      <a:lnTo>
                        <a:pt x="1051" y="995"/>
                      </a:lnTo>
                      <a:lnTo>
                        <a:pt x="1050" y="995"/>
                      </a:lnTo>
                      <a:lnTo>
                        <a:pt x="1047" y="994"/>
                      </a:lnTo>
                      <a:lnTo>
                        <a:pt x="1047" y="993"/>
                      </a:lnTo>
                      <a:lnTo>
                        <a:pt x="1046" y="993"/>
                      </a:lnTo>
                      <a:lnTo>
                        <a:pt x="1045" y="993"/>
                      </a:lnTo>
                      <a:lnTo>
                        <a:pt x="1044" y="992"/>
                      </a:lnTo>
                      <a:lnTo>
                        <a:pt x="1045" y="992"/>
                      </a:lnTo>
                      <a:lnTo>
                        <a:pt x="1046" y="993"/>
                      </a:lnTo>
                      <a:lnTo>
                        <a:pt x="1047" y="993"/>
                      </a:lnTo>
                      <a:lnTo>
                        <a:pt x="1047" y="994"/>
                      </a:lnTo>
                      <a:lnTo>
                        <a:pt x="1048" y="994"/>
                      </a:lnTo>
                      <a:lnTo>
                        <a:pt x="1048" y="993"/>
                      </a:lnTo>
                      <a:lnTo>
                        <a:pt x="1048" y="994"/>
                      </a:lnTo>
                      <a:lnTo>
                        <a:pt x="1050" y="994"/>
                      </a:lnTo>
                      <a:lnTo>
                        <a:pt x="1048" y="994"/>
                      </a:lnTo>
                      <a:lnTo>
                        <a:pt x="1050" y="994"/>
                      </a:lnTo>
                      <a:lnTo>
                        <a:pt x="1051" y="994"/>
                      </a:lnTo>
                      <a:lnTo>
                        <a:pt x="1052" y="994"/>
                      </a:lnTo>
                      <a:lnTo>
                        <a:pt x="1052" y="993"/>
                      </a:lnTo>
                      <a:lnTo>
                        <a:pt x="1052" y="992"/>
                      </a:lnTo>
                      <a:lnTo>
                        <a:pt x="1052" y="991"/>
                      </a:lnTo>
                      <a:lnTo>
                        <a:pt x="1053" y="991"/>
                      </a:lnTo>
                      <a:close/>
                      <a:moveTo>
                        <a:pt x="1118" y="840"/>
                      </a:moveTo>
                      <a:lnTo>
                        <a:pt x="1118" y="841"/>
                      </a:lnTo>
                      <a:lnTo>
                        <a:pt x="1119" y="841"/>
                      </a:lnTo>
                      <a:lnTo>
                        <a:pt x="1119" y="842"/>
                      </a:lnTo>
                      <a:lnTo>
                        <a:pt x="1118" y="842"/>
                      </a:lnTo>
                      <a:lnTo>
                        <a:pt x="1117" y="844"/>
                      </a:lnTo>
                      <a:lnTo>
                        <a:pt x="1116" y="842"/>
                      </a:lnTo>
                      <a:lnTo>
                        <a:pt x="1115" y="842"/>
                      </a:lnTo>
                      <a:lnTo>
                        <a:pt x="1115" y="841"/>
                      </a:lnTo>
                      <a:lnTo>
                        <a:pt x="1113" y="841"/>
                      </a:lnTo>
                      <a:lnTo>
                        <a:pt x="1112" y="841"/>
                      </a:lnTo>
                      <a:lnTo>
                        <a:pt x="1113" y="841"/>
                      </a:lnTo>
                      <a:lnTo>
                        <a:pt x="1115" y="841"/>
                      </a:lnTo>
                      <a:lnTo>
                        <a:pt x="1116" y="841"/>
                      </a:lnTo>
                      <a:lnTo>
                        <a:pt x="1117" y="841"/>
                      </a:lnTo>
                      <a:lnTo>
                        <a:pt x="1117" y="840"/>
                      </a:lnTo>
                      <a:lnTo>
                        <a:pt x="1118" y="840"/>
                      </a:lnTo>
                      <a:lnTo>
                        <a:pt x="1118" y="841"/>
                      </a:lnTo>
                      <a:lnTo>
                        <a:pt x="1118" y="840"/>
                      </a:lnTo>
                      <a:close/>
                      <a:moveTo>
                        <a:pt x="1020" y="922"/>
                      </a:moveTo>
                      <a:lnTo>
                        <a:pt x="1021" y="922"/>
                      </a:lnTo>
                      <a:lnTo>
                        <a:pt x="1020" y="922"/>
                      </a:lnTo>
                      <a:lnTo>
                        <a:pt x="1021" y="923"/>
                      </a:lnTo>
                      <a:lnTo>
                        <a:pt x="1021" y="922"/>
                      </a:lnTo>
                      <a:lnTo>
                        <a:pt x="1022" y="922"/>
                      </a:lnTo>
                      <a:lnTo>
                        <a:pt x="1024" y="922"/>
                      </a:lnTo>
                      <a:lnTo>
                        <a:pt x="1024" y="923"/>
                      </a:lnTo>
                      <a:lnTo>
                        <a:pt x="1022" y="923"/>
                      </a:lnTo>
                      <a:lnTo>
                        <a:pt x="1021" y="923"/>
                      </a:lnTo>
                      <a:lnTo>
                        <a:pt x="1020" y="923"/>
                      </a:lnTo>
                      <a:lnTo>
                        <a:pt x="1019" y="923"/>
                      </a:lnTo>
                      <a:lnTo>
                        <a:pt x="1019" y="922"/>
                      </a:lnTo>
                      <a:lnTo>
                        <a:pt x="1019" y="921"/>
                      </a:lnTo>
                      <a:lnTo>
                        <a:pt x="1020" y="921"/>
                      </a:lnTo>
                      <a:lnTo>
                        <a:pt x="1020" y="919"/>
                      </a:lnTo>
                      <a:lnTo>
                        <a:pt x="1020" y="921"/>
                      </a:lnTo>
                      <a:lnTo>
                        <a:pt x="1020" y="922"/>
                      </a:lnTo>
                      <a:close/>
                      <a:moveTo>
                        <a:pt x="1402" y="1200"/>
                      </a:moveTo>
                      <a:lnTo>
                        <a:pt x="1401" y="1200"/>
                      </a:lnTo>
                      <a:lnTo>
                        <a:pt x="1399" y="1199"/>
                      </a:lnTo>
                      <a:lnTo>
                        <a:pt x="1397" y="1199"/>
                      </a:lnTo>
                      <a:lnTo>
                        <a:pt x="1396" y="1199"/>
                      </a:lnTo>
                      <a:lnTo>
                        <a:pt x="1394" y="1198"/>
                      </a:lnTo>
                      <a:lnTo>
                        <a:pt x="1393" y="1197"/>
                      </a:lnTo>
                      <a:lnTo>
                        <a:pt x="1391" y="1197"/>
                      </a:lnTo>
                      <a:lnTo>
                        <a:pt x="1390" y="1197"/>
                      </a:lnTo>
                      <a:lnTo>
                        <a:pt x="1390" y="1196"/>
                      </a:lnTo>
                      <a:lnTo>
                        <a:pt x="1391" y="1196"/>
                      </a:lnTo>
                      <a:lnTo>
                        <a:pt x="1392" y="1197"/>
                      </a:lnTo>
                      <a:lnTo>
                        <a:pt x="1395" y="1198"/>
                      </a:lnTo>
                      <a:lnTo>
                        <a:pt x="1399" y="1199"/>
                      </a:lnTo>
                      <a:lnTo>
                        <a:pt x="1401" y="1199"/>
                      </a:lnTo>
                      <a:lnTo>
                        <a:pt x="1402" y="1200"/>
                      </a:lnTo>
                      <a:close/>
                      <a:moveTo>
                        <a:pt x="1339" y="1185"/>
                      </a:moveTo>
                      <a:lnTo>
                        <a:pt x="1337" y="1182"/>
                      </a:lnTo>
                      <a:lnTo>
                        <a:pt x="1338" y="1181"/>
                      </a:lnTo>
                      <a:lnTo>
                        <a:pt x="1339" y="1181"/>
                      </a:lnTo>
                      <a:lnTo>
                        <a:pt x="1340" y="1182"/>
                      </a:lnTo>
                      <a:lnTo>
                        <a:pt x="1340" y="1183"/>
                      </a:lnTo>
                      <a:lnTo>
                        <a:pt x="1340" y="1184"/>
                      </a:lnTo>
                      <a:lnTo>
                        <a:pt x="1339" y="1184"/>
                      </a:lnTo>
                      <a:lnTo>
                        <a:pt x="1339" y="1185"/>
                      </a:lnTo>
                      <a:close/>
                      <a:moveTo>
                        <a:pt x="1106" y="804"/>
                      </a:moveTo>
                      <a:lnTo>
                        <a:pt x="1106" y="803"/>
                      </a:lnTo>
                      <a:lnTo>
                        <a:pt x="1107" y="803"/>
                      </a:lnTo>
                      <a:lnTo>
                        <a:pt x="1107" y="804"/>
                      </a:lnTo>
                      <a:lnTo>
                        <a:pt x="1108" y="804"/>
                      </a:lnTo>
                      <a:lnTo>
                        <a:pt x="1109" y="804"/>
                      </a:lnTo>
                      <a:lnTo>
                        <a:pt x="1110" y="804"/>
                      </a:lnTo>
                      <a:lnTo>
                        <a:pt x="1110" y="806"/>
                      </a:lnTo>
                      <a:lnTo>
                        <a:pt x="1111" y="806"/>
                      </a:lnTo>
                      <a:lnTo>
                        <a:pt x="1112" y="804"/>
                      </a:lnTo>
                      <a:lnTo>
                        <a:pt x="1112" y="806"/>
                      </a:lnTo>
                      <a:lnTo>
                        <a:pt x="1113" y="806"/>
                      </a:lnTo>
                      <a:lnTo>
                        <a:pt x="1113" y="807"/>
                      </a:lnTo>
                      <a:lnTo>
                        <a:pt x="1112" y="806"/>
                      </a:lnTo>
                      <a:lnTo>
                        <a:pt x="1111" y="806"/>
                      </a:lnTo>
                      <a:lnTo>
                        <a:pt x="1112" y="806"/>
                      </a:lnTo>
                      <a:lnTo>
                        <a:pt x="1112" y="807"/>
                      </a:lnTo>
                      <a:lnTo>
                        <a:pt x="1111" y="807"/>
                      </a:lnTo>
                      <a:lnTo>
                        <a:pt x="1111" y="806"/>
                      </a:lnTo>
                      <a:lnTo>
                        <a:pt x="1110" y="806"/>
                      </a:lnTo>
                      <a:lnTo>
                        <a:pt x="1111" y="806"/>
                      </a:lnTo>
                      <a:lnTo>
                        <a:pt x="1110" y="806"/>
                      </a:lnTo>
                      <a:lnTo>
                        <a:pt x="1109" y="806"/>
                      </a:lnTo>
                      <a:lnTo>
                        <a:pt x="1108" y="806"/>
                      </a:lnTo>
                      <a:lnTo>
                        <a:pt x="1107" y="806"/>
                      </a:lnTo>
                      <a:lnTo>
                        <a:pt x="1106" y="806"/>
                      </a:lnTo>
                      <a:lnTo>
                        <a:pt x="1106" y="804"/>
                      </a:lnTo>
                      <a:lnTo>
                        <a:pt x="1105" y="804"/>
                      </a:lnTo>
                      <a:lnTo>
                        <a:pt x="1105" y="803"/>
                      </a:lnTo>
                      <a:lnTo>
                        <a:pt x="1106" y="803"/>
                      </a:lnTo>
                      <a:lnTo>
                        <a:pt x="1105" y="803"/>
                      </a:lnTo>
                      <a:lnTo>
                        <a:pt x="1106" y="803"/>
                      </a:lnTo>
                      <a:lnTo>
                        <a:pt x="1106" y="804"/>
                      </a:lnTo>
                      <a:close/>
                      <a:moveTo>
                        <a:pt x="1077" y="971"/>
                      </a:moveTo>
                      <a:lnTo>
                        <a:pt x="1077" y="973"/>
                      </a:lnTo>
                      <a:lnTo>
                        <a:pt x="1077" y="971"/>
                      </a:lnTo>
                      <a:lnTo>
                        <a:pt x="1076" y="971"/>
                      </a:lnTo>
                      <a:lnTo>
                        <a:pt x="1076" y="970"/>
                      </a:lnTo>
                      <a:lnTo>
                        <a:pt x="1074" y="969"/>
                      </a:lnTo>
                      <a:lnTo>
                        <a:pt x="1074" y="968"/>
                      </a:lnTo>
                      <a:lnTo>
                        <a:pt x="1074" y="967"/>
                      </a:lnTo>
                      <a:lnTo>
                        <a:pt x="1076" y="967"/>
                      </a:lnTo>
                      <a:lnTo>
                        <a:pt x="1077" y="967"/>
                      </a:lnTo>
                      <a:lnTo>
                        <a:pt x="1077" y="968"/>
                      </a:lnTo>
                      <a:lnTo>
                        <a:pt x="1077" y="970"/>
                      </a:lnTo>
                      <a:lnTo>
                        <a:pt x="1077" y="971"/>
                      </a:lnTo>
                      <a:close/>
                      <a:moveTo>
                        <a:pt x="1080" y="957"/>
                      </a:moveTo>
                      <a:lnTo>
                        <a:pt x="1079" y="965"/>
                      </a:lnTo>
                      <a:lnTo>
                        <a:pt x="1079" y="966"/>
                      </a:lnTo>
                      <a:lnTo>
                        <a:pt x="1078" y="966"/>
                      </a:lnTo>
                      <a:lnTo>
                        <a:pt x="1078" y="965"/>
                      </a:lnTo>
                      <a:lnTo>
                        <a:pt x="1079" y="958"/>
                      </a:lnTo>
                      <a:lnTo>
                        <a:pt x="1080" y="958"/>
                      </a:lnTo>
                      <a:lnTo>
                        <a:pt x="1080" y="957"/>
                      </a:lnTo>
                      <a:close/>
                      <a:moveTo>
                        <a:pt x="1389" y="1196"/>
                      </a:moveTo>
                      <a:lnTo>
                        <a:pt x="1389" y="1197"/>
                      </a:lnTo>
                      <a:lnTo>
                        <a:pt x="1389" y="1196"/>
                      </a:lnTo>
                      <a:lnTo>
                        <a:pt x="1388" y="1196"/>
                      </a:lnTo>
                      <a:lnTo>
                        <a:pt x="1387" y="1195"/>
                      </a:lnTo>
                      <a:lnTo>
                        <a:pt x="1387" y="1194"/>
                      </a:lnTo>
                      <a:lnTo>
                        <a:pt x="1387" y="1193"/>
                      </a:lnTo>
                      <a:lnTo>
                        <a:pt x="1388" y="1193"/>
                      </a:lnTo>
                      <a:lnTo>
                        <a:pt x="1389" y="1193"/>
                      </a:lnTo>
                      <a:lnTo>
                        <a:pt x="1389" y="1194"/>
                      </a:lnTo>
                      <a:lnTo>
                        <a:pt x="1389" y="1195"/>
                      </a:lnTo>
                      <a:lnTo>
                        <a:pt x="1389" y="1196"/>
                      </a:lnTo>
                      <a:close/>
                      <a:moveTo>
                        <a:pt x="1098" y="794"/>
                      </a:moveTo>
                      <a:lnTo>
                        <a:pt x="1098" y="795"/>
                      </a:lnTo>
                      <a:lnTo>
                        <a:pt x="1097" y="795"/>
                      </a:lnTo>
                      <a:lnTo>
                        <a:pt x="1098" y="795"/>
                      </a:lnTo>
                      <a:lnTo>
                        <a:pt x="1099" y="795"/>
                      </a:lnTo>
                      <a:lnTo>
                        <a:pt x="1100" y="795"/>
                      </a:lnTo>
                      <a:lnTo>
                        <a:pt x="1100" y="796"/>
                      </a:lnTo>
                      <a:lnTo>
                        <a:pt x="1100" y="797"/>
                      </a:lnTo>
                      <a:lnTo>
                        <a:pt x="1099" y="796"/>
                      </a:lnTo>
                      <a:lnTo>
                        <a:pt x="1098" y="796"/>
                      </a:lnTo>
                      <a:lnTo>
                        <a:pt x="1097" y="796"/>
                      </a:lnTo>
                      <a:lnTo>
                        <a:pt x="1096" y="796"/>
                      </a:lnTo>
                      <a:lnTo>
                        <a:pt x="1095" y="796"/>
                      </a:lnTo>
                      <a:lnTo>
                        <a:pt x="1096" y="795"/>
                      </a:lnTo>
                      <a:lnTo>
                        <a:pt x="1096" y="796"/>
                      </a:lnTo>
                      <a:lnTo>
                        <a:pt x="1096" y="795"/>
                      </a:lnTo>
                      <a:lnTo>
                        <a:pt x="1096" y="794"/>
                      </a:lnTo>
                      <a:lnTo>
                        <a:pt x="1096" y="795"/>
                      </a:lnTo>
                      <a:lnTo>
                        <a:pt x="1096" y="794"/>
                      </a:lnTo>
                      <a:lnTo>
                        <a:pt x="1097" y="794"/>
                      </a:lnTo>
                      <a:lnTo>
                        <a:pt x="1098" y="794"/>
                      </a:lnTo>
                      <a:close/>
                      <a:moveTo>
                        <a:pt x="1164" y="961"/>
                      </a:moveTo>
                      <a:lnTo>
                        <a:pt x="1164" y="962"/>
                      </a:lnTo>
                      <a:lnTo>
                        <a:pt x="1164" y="963"/>
                      </a:lnTo>
                      <a:lnTo>
                        <a:pt x="1166" y="963"/>
                      </a:lnTo>
                      <a:lnTo>
                        <a:pt x="1164" y="963"/>
                      </a:lnTo>
                      <a:lnTo>
                        <a:pt x="1164" y="964"/>
                      </a:lnTo>
                      <a:lnTo>
                        <a:pt x="1164" y="965"/>
                      </a:lnTo>
                      <a:lnTo>
                        <a:pt x="1164" y="964"/>
                      </a:lnTo>
                      <a:lnTo>
                        <a:pt x="1163" y="964"/>
                      </a:lnTo>
                      <a:lnTo>
                        <a:pt x="1163" y="965"/>
                      </a:lnTo>
                      <a:lnTo>
                        <a:pt x="1163" y="964"/>
                      </a:lnTo>
                      <a:lnTo>
                        <a:pt x="1162" y="964"/>
                      </a:lnTo>
                      <a:lnTo>
                        <a:pt x="1163" y="964"/>
                      </a:lnTo>
                      <a:lnTo>
                        <a:pt x="1163" y="963"/>
                      </a:lnTo>
                      <a:lnTo>
                        <a:pt x="1162" y="963"/>
                      </a:lnTo>
                      <a:lnTo>
                        <a:pt x="1162" y="962"/>
                      </a:lnTo>
                      <a:lnTo>
                        <a:pt x="1163" y="962"/>
                      </a:lnTo>
                      <a:lnTo>
                        <a:pt x="1164" y="962"/>
                      </a:lnTo>
                      <a:lnTo>
                        <a:pt x="1164" y="961"/>
                      </a:lnTo>
                      <a:lnTo>
                        <a:pt x="1163" y="961"/>
                      </a:lnTo>
                      <a:lnTo>
                        <a:pt x="1164" y="960"/>
                      </a:lnTo>
                      <a:lnTo>
                        <a:pt x="1166" y="960"/>
                      </a:lnTo>
                      <a:lnTo>
                        <a:pt x="1166" y="961"/>
                      </a:lnTo>
                      <a:lnTo>
                        <a:pt x="1164" y="961"/>
                      </a:lnTo>
                      <a:close/>
                      <a:moveTo>
                        <a:pt x="1099" y="801"/>
                      </a:moveTo>
                      <a:lnTo>
                        <a:pt x="1099" y="802"/>
                      </a:lnTo>
                      <a:lnTo>
                        <a:pt x="1099" y="801"/>
                      </a:lnTo>
                      <a:lnTo>
                        <a:pt x="1099" y="802"/>
                      </a:lnTo>
                      <a:lnTo>
                        <a:pt x="1100" y="802"/>
                      </a:lnTo>
                      <a:lnTo>
                        <a:pt x="1100" y="803"/>
                      </a:lnTo>
                      <a:lnTo>
                        <a:pt x="1102" y="802"/>
                      </a:lnTo>
                      <a:lnTo>
                        <a:pt x="1102" y="803"/>
                      </a:lnTo>
                      <a:lnTo>
                        <a:pt x="1102" y="804"/>
                      </a:lnTo>
                      <a:lnTo>
                        <a:pt x="1100" y="803"/>
                      </a:lnTo>
                      <a:lnTo>
                        <a:pt x="1099" y="803"/>
                      </a:lnTo>
                      <a:lnTo>
                        <a:pt x="1099" y="802"/>
                      </a:lnTo>
                      <a:lnTo>
                        <a:pt x="1098" y="802"/>
                      </a:lnTo>
                      <a:lnTo>
                        <a:pt x="1099" y="802"/>
                      </a:lnTo>
                      <a:lnTo>
                        <a:pt x="1099" y="803"/>
                      </a:lnTo>
                      <a:lnTo>
                        <a:pt x="1098" y="803"/>
                      </a:lnTo>
                      <a:lnTo>
                        <a:pt x="1097" y="803"/>
                      </a:lnTo>
                      <a:lnTo>
                        <a:pt x="1097" y="802"/>
                      </a:lnTo>
                      <a:lnTo>
                        <a:pt x="1097" y="801"/>
                      </a:lnTo>
                      <a:lnTo>
                        <a:pt x="1098" y="801"/>
                      </a:lnTo>
                      <a:lnTo>
                        <a:pt x="1098" y="800"/>
                      </a:lnTo>
                      <a:lnTo>
                        <a:pt x="1098" y="799"/>
                      </a:lnTo>
                      <a:lnTo>
                        <a:pt x="1099" y="799"/>
                      </a:lnTo>
                      <a:lnTo>
                        <a:pt x="1100" y="800"/>
                      </a:lnTo>
                      <a:lnTo>
                        <a:pt x="1099" y="800"/>
                      </a:lnTo>
                      <a:lnTo>
                        <a:pt x="1099" y="801"/>
                      </a:lnTo>
                      <a:close/>
                      <a:moveTo>
                        <a:pt x="1137" y="791"/>
                      </a:moveTo>
                      <a:lnTo>
                        <a:pt x="1138" y="791"/>
                      </a:lnTo>
                      <a:lnTo>
                        <a:pt x="1140" y="791"/>
                      </a:lnTo>
                      <a:lnTo>
                        <a:pt x="1141" y="791"/>
                      </a:lnTo>
                      <a:lnTo>
                        <a:pt x="1142" y="791"/>
                      </a:lnTo>
                      <a:lnTo>
                        <a:pt x="1143" y="791"/>
                      </a:lnTo>
                      <a:lnTo>
                        <a:pt x="1143" y="793"/>
                      </a:lnTo>
                      <a:lnTo>
                        <a:pt x="1144" y="793"/>
                      </a:lnTo>
                      <a:lnTo>
                        <a:pt x="1145" y="793"/>
                      </a:lnTo>
                      <a:lnTo>
                        <a:pt x="1144" y="794"/>
                      </a:lnTo>
                      <a:lnTo>
                        <a:pt x="1143" y="793"/>
                      </a:lnTo>
                      <a:lnTo>
                        <a:pt x="1142" y="793"/>
                      </a:lnTo>
                      <a:lnTo>
                        <a:pt x="1141" y="793"/>
                      </a:lnTo>
                      <a:lnTo>
                        <a:pt x="1140" y="791"/>
                      </a:lnTo>
                      <a:lnTo>
                        <a:pt x="1138" y="791"/>
                      </a:lnTo>
                      <a:lnTo>
                        <a:pt x="1137" y="791"/>
                      </a:lnTo>
                      <a:lnTo>
                        <a:pt x="1136" y="791"/>
                      </a:lnTo>
                      <a:lnTo>
                        <a:pt x="1136" y="793"/>
                      </a:lnTo>
                      <a:lnTo>
                        <a:pt x="1136" y="791"/>
                      </a:lnTo>
                      <a:lnTo>
                        <a:pt x="1136" y="790"/>
                      </a:lnTo>
                      <a:lnTo>
                        <a:pt x="1137" y="791"/>
                      </a:lnTo>
                      <a:close/>
                      <a:moveTo>
                        <a:pt x="1032" y="926"/>
                      </a:moveTo>
                      <a:lnTo>
                        <a:pt x="1032" y="927"/>
                      </a:lnTo>
                      <a:lnTo>
                        <a:pt x="1031" y="928"/>
                      </a:lnTo>
                      <a:lnTo>
                        <a:pt x="1031" y="927"/>
                      </a:lnTo>
                      <a:lnTo>
                        <a:pt x="1030" y="927"/>
                      </a:lnTo>
                      <a:lnTo>
                        <a:pt x="1030" y="928"/>
                      </a:lnTo>
                      <a:lnTo>
                        <a:pt x="1030" y="929"/>
                      </a:lnTo>
                      <a:lnTo>
                        <a:pt x="1029" y="929"/>
                      </a:lnTo>
                      <a:lnTo>
                        <a:pt x="1028" y="929"/>
                      </a:lnTo>
                      <a:lnTo>
                        <a:pt x="1028" y="928"/>
                      </a:lnTo>
                      <a:lnTo>
                        <a:pt x="1029" y="928"/>
                      </a:lnTo>
                      <a:lnTo>
                        <a:pt x="1030" y="927"/>
                      </a:lnTo>
                      <a:lnTo>
                        <a:pt x="1030" y="926"/>
                      </a:lnTo>
                      <a:lnTo>
                        <a:pt x="1031" y="926"/>
                      </a:lnTo>
                      <a:lnTo>
                        <a:pt x="1031" y="925"/>
                      </a:lnTo>
                      <a:lnTo>
                        <a:pt x="1032" y="925"/>
                      </a:lnTo>
                      <a:lnTo>
                        <a:pt x="1032" y="926"/>
                      </a:lnTo>
                      <a:close/>
                      <a:moveTo>
                        <a:pt x="1040" y="984"/>
                      </a:moveTo>
                      <a:lnTo>
                        <a:pt x="1040" y="986"/>
                      </a:lnTo>
                      <a:lnTo>
                        <a:pt x="1039" y="986"/>
                      </a:lnTo>
                      <a:lnTo>
                        <a:pt x="1038" y="986"/>
                      </a:lnTo>
                      <a:lnTo>
                        <a:pt x="1038" y="987"/>
                      </a:lnTo>
                      <a:lnTo>
                        <a:pt x="1037" y="987"/>
                      </a:lnTo>
                      <a:lnTo>
                        <a:pt x="1035" y="987"/>
                      </a:lnTo>
                      <a:lnTo>
                        <a:pt x="1035" y="988"/>
                      </a:lnTo>
                      <a:lnTo>
                        <a:pt x="1034" y="988"/>
                      </a:lnTo>
                      <a:lnTo>
                        <a:pt x="1035" y="988"/>
                      </a:lnTo>
                      <a:lnTo>
                        <a:pt x="1037" y="988"/>
                      </a:lnTo>
                      <a:lnTo>
                        <a:pt x="1032" y="988"/>
                      </a:lnTo>
                      <a:lnTo>
                        <a:pt x="1033" y="988"/>
                      </a:lnTo>
                      <a:lnTo>
                        <a:pt x="1033" y="987"/>
                      </a:lnTo>
                      <a:lnTo>
                        <a:pt x="1033" y="988"/>
                      </a:lnTo>
                      <a:lnTo>
                        <a:pt x="1034" y="987"/>
                      </a:lnTo>
                      <a:lnTo>
                        <a:pt x="1034" y="988"/>
                      </a:lnTo>
                      <a:lnTo>
                        <a:pt x="1034" y="987"/>
                      </a:lnTo>
                      <a:lnTo>
                        <a:pt x="1035" y="987"/>
                      </a:lnTo>
                      <a:lnTo>
                        <a:pt x="1035" y="986"/>
                      </a:lnTo>
                      <a:lnTo>
                        <a:pt x="1037" y="986"/>
                      </a:lnTo>
                      <a:lnTo>
                        <a:pt x="1037" y="987"/>
                      </a:lnTo>
                      <a:lnTo>
                        <a:pt x="1038" y="986"/>
                      </a:lnTo>
                      <a:lnTo>
                        <a:pt x="1037" y="986"/>
                      </a:lnTo>
                      <a:lnTo>
                        <a:pt x="1038" y="986"/>
                      </a:lnTo>
                      <a:lnTo>
                        <a:pt x="1037" y="986"/>
                      </a:lnTo>
                      <a:lnTo>
                        <a:pt x="1034" y="987"/>
                      </a:lnTo>
                      <a:lnTo>
                        <a:pt x="1034" y="986"/>
                      </a:lnTo>
                      <a:lnTo>
                        <a:pt x="1037" y="986"/>
                      </a:lnTo>
                      <a:lnTo>
                        <a:pt x="1039" y="984"/>
                      </a:lnTo>
                      <a:lnTo>
                        <a:pt x="1040" y="984"/>
                      </a:lnTo>
                      <a:close/>
                      <a:moveTo>
                        <a:pt x="1420" y="1115"/>
                      </a:moveTo>
                      <a:lnTo>
                        <a:pt x="1420" y="1116"/>
                      </a:lnTo>
                      <a:lnTo>
                        <a:pt x="1419" y="1116"/>
                      </a:lnTo>
                      <a:lnTo>
                        <a:pt x="1419" y="1117"/>
                      </a:lnTo>
                      <a:lnTo>
                        <a:pt x="1420" y="1116"/>
                      </a:lnTo>
                      <a:lnTo>
                        <a:pt x="1420" y="1117"/>
                      </a:lnTo>
                      <a:lnTo>
                        <a:pt x="1420" y="1118"/>
                      </a:lnTo>
                      <a:lnTo>
                        <a:pt x="1419" y="1117"/>
                      </a:lnTo>
                      <a:lnTo>
                        <a:pt x="1418" y="1117"/>
                      </a:lnTo>
                      <a:lnTo>
                        <a:pt x="1418" y="1116"/>
                      </a:lnTo>
                      <a:lnTo>
                        <a:pt x="1419" y="1116"/>
                      </a:lnTo>
                      <a:lnTo>
                        <a:pt x="1419" y="1115"/>
                      </a:lnTo>
                      <a:lnTo>
                        <a:pt x="1418" y="1115"/>
                      </a:lnTo>
                      <a:lnTo>
                        <a:pt x="1418" y="1114"/>
                      </a:lnTo>
                      <a:lnTo>
                        <a:pt x="1417" y="1114"/>
                      </a:lnTo>
                      <a:lnTo>
                        <a:pt x="1418" y="1112"/>
                      </a:lnTo>
                      <a:lnTo>
                        <a:pt x="1419" y="1112"/>
                      </a:lnTo>
                      <a:lnTo>
                        <a:pt x="1419" y="1114"/>
                      </a:lnTo>
                      <a:lnTo>
                        <a:pt x="1420" y="1114"/>
                      </a:lnTo>
                      <a:lnTo>
                        <a:pt x="1420" y="1115"/>
                      </a:lnTo>
                      <a:close/>
                      <a:moveTo>
                        <a:pt x="1313" y="1089"/>
                      </a:moveTo>
                      <a:lnTo>
                        <a:pt x="1314" y="1089"/>
                      </a:lnTo>
                      <a:lnTo>
                        <a:pt x="1314" y="1090"/>
                      </a:lnTo>
                      <a:lnTo>
                        <a:pt x="1313" y="1089"/>
                      </a:lnTo>
                      <a:lnTo>
                        <a:pt x="1313" y="1090"/>
                      </a:lnTo>
                      <a:lnTo>
                        <a:pt x="1313" y="1091"/>
                      </a:lnTo>
                      <a:lnTo>
                        <a:pt x="1313" y="1092"/>
                      </a:lnTo>
                      <a:lnTo>
                        <a:pt x="1314" y="1093"/>
                      </a:lnTo>
                      <a:lnTo>
                        <a:pt x="1314" y="1094"/>
                      </a:lnTo>
                      <a:lnTo>
                        <a:pt x="1313" y="1094"/>
                      </a:lnTo>
                      <a:lnTo>
                        <a:pt x="1313" y="1093"/>
                      </a:lnTo>
                      <a:lnTo>
                        <a:pt x="1312" y="1092"/>
                      </a:lnTo>
                      <a:lnTo>
                        <a:pt x="1312" y="1091"/>
                      </a:lnTo>
                      <a:lnTo>
                        <a:pt x="1312" y="1090"/>
                      </a:lnTo>
                      <a:lnTo>
                        <a:pt x="1312" y="1089"/>
                      </a:lnTo>
                      <a:lnTo>
                        <a:pt x="1312" y="1088"/>
                      </a:lnTo>
                      <a:lnTo>
                        <a:pt x="1313" y="1088"/>
                      </a:lnTo>
                      <a:lnTo>
                        <a:pt x="1313" y="1089"/>
                      </a:lnTo>
                      <a:close/>
                      <a:moveTo>
                        <a:pt x="1024" y="928"/>
                      </a:moveTo>
                      <a:lnTo>
                        <a:pt x="1025" y="928"/>
                      </a:lnTo>
                      <a:lnTo>
                        <a:pt x="1026" y="929"/>
                      </a:lnTo>
                      <a:lnTo>
                        <a:pt x="1027" y="929"/>
                      </a:lnTo>
                      <a:lnTo>
                        <a:pt x="1026" y="929"/>
                      </a:lnTo>
                      <a:lnTo>
                        <a:pt x="1025" y="929"/>
                      </a:lnTo>
                      <a:lnTo>
                        <a:pt x="1024" y="929"/>
                      </a:lnTo>
                      <a:lnTo>
                        <a:pt x="1022" y="930"/>
                      </a:lnTo>
                      <a:lnTo>
                        <a:pt x="1022" y="929"/>
                      </a:lnTo>
                      <a:lnTo>
                        <a:pt x="1022" y="928"/>
                      </a:lnTo>
                      <a:lnTo>
                        <a:pt x="1021" y="929"/>
                      </a:lnTo>
                      <a:lnTo>
                        <a:pt x="1020" y="929"/>
                      </a:lnTo>
                      <a:lnTo>
                        <a:pt x="1019" y="929"/>
                      </a:lnTo>
                      <a:lnTo>
                        <a:pt x="1020" y="929"/>
                      </a:lnTo>
                      <a:lnTo>
                        <a:pt x="1020" y="928"/>
                      </a:lnTo>
                      <a:lnTo>
                        <a:pt x="1021" y="928"/>
                      </a:lnTo>
                      <a:lnTo>
                        <a:pt x="1022" y="928"/>
                      </a:lnTo>
                      <a:lnTo>
                        <a:pt x="1022" y="927"/>
                      </a:lnTo>
                      <a:lnTo>
                        <a:pt x="1024" y="928"/>
                      </a:lnTo>
                      <a:close/>
                      <a:moveTo>
                        <a:pt x="1282" y="1121"/>
                      </a:moveTo>
                      <a:lnTo>
                        <a:pt x="1283" y="1121"/>
                      </a:lnTo>
                      <a:lnTo>
                        <a:pt x="1284" y="1121"/>
                      </a:lnTo>
                      <a:lnTo>
                        <a:pt x="1284" y="1122"/>
                      </a:lnTo>
                      <a:lnTo>
                        <a:pt x="1283" y="1123"/>
                      </a:lnTo>
                      <a:lnTo>
                        <a:pt x="1282" y="1123"/>
                      </a:lnTo>
                      <a:lnTo>
                        <a:pt x="1283" y="1124"/>
                      </a:lnTo>
                      <a:lnTo>
                        <a:pt x="1282" y="1124"/>
                      </a:lnTo>
                      <a:lnTo>
                        <a:pt x="1282" y="1125"/>
                      </a:lnTo>
                      <a:lnTo>
                        <a:pt x="1280" y="1125"/>
                      </a:lnTo>
                      <a:lnTo>
                        <a:pt x="1279" y="1125"/>
                      </a:lnTo>
                      <a:lnTo>
                        <a:pt x="1279" y="1124"/>
                      </a:lnTo>
                      <a:lnTo>
                        <a:pt x="1279" y="1123"/>
                      </a:lnTo>
                      <a:lnTo>
                        <a:pt x="1279" y="1124"/>
                      </a:lnTo>
                      <a:lnTo>
                        <a:pt x="1280" y="1124"/>
                      </a:lnTo>
                      <a:lnTo>
                        <a:pt x="1282" y="1123"/>
                      </a:lnTo>
                      <a:lnTo>
                        <a:pt x="1280" y="1123"/>
                      </a:lnTo>
                      <a:lnTo>
                        <a:pt x="1282" y="1123"/>
                      </a:lnTo>
                      <a:lnTo>
                        <a:pt x="1282" y="1122"/>
                      </a:lnTo>
                      <a:lnTo>
                        <a:pt x="1283" y="1122"/>
                      </a:lnTo>
                      <a:lnTo>
                        <a:pt x="1282" y="1122"/>
                      </a:lnTo>
                      <a:lnTo>
                        <a:pt x="1282" y="1121"/>
                      </a:lnTo>
                      <a:lnTo>
                        <a:pt x="1280" y="1121"/>
                      </a:lnTo>
                      <a:lnTo>
                        <a:pt x="1282" y="1121"/>
                      </a:lnTo>
                      <a:close/>
                      <a:moveTo>
                        <a:pt x="1318" y="1209"/>
                      </a:moveTo>
                      <a:lnTo>
                        <a:pt x="1318" y="1210"/>
                      </a:lnTo>
                      <a:lnTo>
                        <a:pt x="1317" y="1211"/>
                      </a:lnTo>
                      <a:lnTo>
                        <a:pt x="1316" y="1212"/>
                      </a:lnTo>
                      <a:lnTo>
                        <a:pt x="1314" y="1213"/>
                      </a:lnTo>
                      <a:lnTo>
                        <a:pt x="1314" y="1214"/>
                      </a:lnTo>
                      <a:lnTo>
                        <a:pt x="1313" y="1215"/>
                      </a:lnTo>
                      <a:lnTo>
                        <a:pt x="1311" y="1217"/>
                      </a:lnTo>
                      <a:lnTo>
                        <a:pt x="1311" y="1218"/>
                      </a:lnTo>
                      <a:lnTo>
                        <a:pt x="1310" y="1218"/>
                      </a:lnTo>
                      <a:lnTo>
                        <a:pt x="1310" y="1217"/>
                      </a:lnTo>
                      <a:lnTo>
                        <a:pt x="1310" y="1215"/>
                      </a:lnTo>
                      <a:lnTo>
                        <a:pt x="1311" y="1215"/>
                      </a:lnTo>
                      <a:lnTo>
                        <a:pt x="1310" y="1215"/>
                      </a:lnTo>
                      <a:lnTo>
                        <a:pt x="1310" y="1217"/>
                      </a:lnTo>
                      <a:lnTo>
                        <a:pt x="1311" y="1217"/>
                      </a:lnTo>
                      <a:lnTo>
                        <a:pt x="1312" y="1215"/>
                      </a:lnTo>
                      <a:lnTo>
                        <a:pt x="1313" y="1215"/>
                      </a:lnTo>
                      <a:lnTo>
                        <a:pt x="1313" y="1214"/>
                      </a:lnTo>
                      <a:lnTo>
                        <a:pt x="1314" y="1213"/>
                      </a:lnTo>
                      <a:lnTo>
                        <a:pt x="1314" y="1212"/>
                      </a:lnTo>
                      <a:lnTo>
                        <a:pt x="1315" y="1212"/>
                      </a:lnTo>
                      <a:lnTo>
                        <a:pt x="1316" y="1212"/>
                      </a:lnTo>
                      <a:lnTo>
                        <a:pt x="1317" y="1210"/>
                      </a:lnTo>
                      <a:lnTo>
                        <a:pt x="1318" y="1210"/>
                      </a:lnTo>
                      <a:lnTo>
                        <a:pt x="1318" y="1209"/>
                      </a:lnTo>
                      <a:close/>
                      <a:moveTo>
                        <a:pt x="1124" y="802"/>
                      </a:moveTo>
                      <a:lnTo>
                        <a:pt x="1124" y="803"/>
                      </a:lnTo>
                      <a:lnTo>
                        <a:pt x="1123" y="803"/>
                      </a:lnTo>
                      <a:lnTo>
                        <a:pt x="1122" y="803"/>
                      </a:lnTo>
                      <a:lnTo>
                        <a:pt x="1121" y="804"/>
                      </a:lnTo>
                      <a:lnTo>
                        <a:pt x="1121" y="803"/>
                      </a:lnTo>
                      <a:lnTo>
                        <a:pt x="1121" y="802"/>
                      </a:lnTo>
                      <a:lnTo>
                        <a:pt x="1120" y="802"/>
                      </a:lnTo>
                      <a:lnTo>
                        <a:pt x="1121" y="802"/>
                      </a:lnTo>
                      <a:lnTo>
                        <a:pt x="1122" y="802"/>
                      </a:lnTo>
                      <a:lnTo>
                        <a:pt x="1123" y="802"/>
                      </a:lnTo>
                      <a:lnTo>
                        <a:pt x="1123" y="801"/>
                      </a:lnTo>
                      <a:lnTo>
                        <a:pt x="1124" y="802"/>
                      </a:lnTo>
                      <a:close/>
                      <a:moveTo>
                        <a:pt x="1426" y="1006"/>
                      </a:moveTo>
                      <a:lnTo>
                        <a:pt x="1426" y="1007"/>
                      </a:lnTo>
                      <a:lnTo>
                        <a:pt x="1426" y="1008"/>
                      </a:lnTo>
                      <a:lnTo>
                        <a:pt x="1425" y="1008"/>
                      </a:lnTo>
                      <a:lnTo>
                        <a:pt x="1424" y="1009"/>
                      </a:lnTo>
                      <a:lnTo>
                        <a:pt x="1422" y="1009"/>
                      </a:lnTo>
                      <a:lnTo>
                        <a:pt x="1422" y="1008"/>
                      </a:lnTo>
                      <a:lnTo>
                        <a:pt x="1424" y="1007"/>
                      </a:lnTo>
                      <a:lnTo>
                        <a:pt x="1422" y="1007"/>
                      </a:lnTo>
                      <a:lnTo>
                        <a:pt x="1424" y="1006"/>
                      </a:lnTo>
                      <a:lnTo>
                        <a:pt x="1425" y="1006"/>
                      </a:lnTo>
                      <a:lnTo>
                        <a:pt x="1426" y="1005"/>
                      </a:lnTo>
                      <a:lnTo>
                        <a:pt x="1426" y="1006"/>
                      </a:lnTo>
                      <a:close/>
                      <a:moveTo>
                        <a:pt x="965" y="885"/>
                      </a:moveTo>
                      <a:lnTo>
                        <a:pt x="966" y="885"/>
                      </a:lnTo>
                      <a:lnTo>
                        <a:pt x="966" y="886"/>
                      </a:lnTo>
                      <a:lnTo>
                        <a:pt x="965" y="886"/>
                      </a:lnTo>
                      <a:lnTo>
                        <a:pt x="966" y="886"/>
                      </a:lnTo>
                      <a:lnTo>
                        <a:pt x="965" y="886"/>
                      </a:lnTo>
                      <a:lnTo>
                        <a:pt x="965" y="887"/>
                      </a:lnTo>
                      <a:lnTo>
                        <a:pt x="965" y="886"/>
                      </a:lnTo>
                      <a:lnTo>
                        <a:pt x="966" y="886"/>
                      </a:lnTo>
                      <a:lnTo>
                        <a:pt x="965" y="887"/>
                      </a:lnTo>
                      <a:lnTo>
                        <a:pt x="965" y="888"/>
                      </a:lnTo>
                      <a:lnTo>
                        <a:pt x="964" y="888"/>
                      </a:lnTo>
                      <a:lnTo>
                        <a:pt x="964" y="887"/>
                      </a:lnTo>
                      <a:lnTo>
                        <a:pt x="964" y="886"/>
                      </a:lnTo>
                      <a:lnTo>
                        <a:pt x="964" y="885"/>
                      </a:lnTo>
                      <a:lnTo>
                        <a:pt x="965" y="885"/>
                      </a:lnTo>
                      <a:close/>
                      <a:moveTo>
                        <a:pt x="1167" y="971"/>
                      </a:moveTo>
                      <a:lnTo>
                        <a:pt x="1168" y="971"/>
                      </a:lnTo>
                      <a:lnTo>
                        <a:pt x="1168" y="973"/>
                      </a:lnTo>
                      <a:lnTo>
                        <a:pt x="1169" y="973"/>
                      </a:lnTo>
                      <a:lnTo>
                        <a:pt x="1169" y="974"/>
                      </a:lnTo>
                      <a:lnTo>
                        <a:pt x="1168" y="974"/>
                      </a:lnTo>
                      <a:lnTo>
                        <a:pt x="1168" y="975"/>
                      </a:lnTo>
                      <a:lnTo>
                        <a:pt x="1168" y="976"/>
                      </a:lnTo>
                      <a:lnTo>
                        <a:pt x="1167" y="976"/>
                      </a:lnTo>
                      <a:lnTo>
                        <a:pt x="1167" y="975"/>
                      </a:lnTo>
                      <a:lnTo>
                        <a:pt x="1166" y="975"/>
                      </a:lnTo>
                      <a:lnTo>
                        <a:pt x="1167" y="975"/>
                      </a:lnTo>
                      <a:lnTo>
                        <a:pt x="1167" y="974"/>
                      </a:lnTo>
                      <a:lnTo>
                        <a:pt x="1167" y="973"/>
                      </a:lnTo>
                      <a:lnTo>
                        <a:pt x="1167" y="971"/>
                      </a:lnTo>
                      <a:lnTo>
                        <a:pt x="1166" y="971"/>
                      </a:lnTo>
                      <a:lnTo>
                        <a:pt x="1167" y="971"/>
                      </a:lnTo>
                      <a:lnTo>
                        <a:pt x="1167" y="970"/>
                      </a:lnTo>
                      <a:lnTo>
                        <a:pt x="1167" y="971"/>
                      </a:lnTo>
                      <a:close/>
                      <a:moveTo>
                        <a:pt x="1109" y="988"/>
                      </a:moveTo>
                      <a:lnTo>
                        <a:pt x="1110" y="988"/>
                      </a:lnTo>
                      <a:lnTo>
                        <a:pt x="1110" y="989"/>
                      </a:lnTo>
                      <a:lnTo>
                        <a:pt x="1109" y="990"/>
                      </a:lnTo>
                      <a:lnTo>
                        <a:pt x="1109" y="991"/>
                      </a:lnTo>
                      <a:lnTo>
                        <a:pt x="1109" y="992"/>
                      </a:lnTo>
                      <a:lnTo>
                        <a:pt x="1108" y="993"/>
                      </a:lnTo>
                      <a:lnTo>
                        <a:pt x="1109" y="994"/>
                      </a:lnTo>
                      <a:lnTo>
                        <a:pt x="1108" y="994"/>
                      </a:lnTo>
                      <a:lnTo>
                        <a:pt x="1108" y="992"/>
                      </a:lnTo>
                      <a:lnTo>
                        <a:pt x="1108" y="991"/>
                      </a:lnTo>
                      <a:lnTo>
                        <a:pt x="1108" y="990"/>
                      </a:lnTo>
                      <a:lnTo>
                        <a:pt x="1108" y="989"/>
                      </a:lnTo>
                      <a:lnTo>
                        <a:pt x="1108" y="988"/>
                      </a:lnTo>
                      <a:lnTo>
                        <a:pt x="1109" y="988"/>
                      </a:lnTo>
                      <a:close/>
                      <a:moveTo>
                        <a:pt x="1334" y="1014"/>
                      </a:moveTo>
                      <a:lnTo>
                        <a:pt x="1335" y="1014"/>
                      </a:lnTo>
                      <a:lnTo>
                        <a:pt x="1335" y="1015"/>
                      </a:lnTo>
                      <a:lnTo>
                        <a:pt x="1334" y="1016"/>
                      </a:lnTo>
                      <a:lnTo>
                        <a:pt x="1334" y="1017"/>
                      </a:lnTo>
                      <a:lnTo>
                        <a:pt x="1332" y="1016"/>
                      </a:lnTo>
                      <a:lnTo>
                        <a:pt x="1332" y="1015"/>
                      </a:lnTo>
                      <a:lnTo>
                        <a:pt x="1332" y="1016"/>
                      </a:lnTo>
                      <a:lnTo>
                        <a:pt x="1331" y="1016"/>
                      </a:lnTo>
                      <a:lnTo>
                        <a:pt x="1331" y="1015"/>
                      </a:lnTo>
                      <a:lnTo>
                        <a:pt x="1332" y="1015"/>
                      </a:lnTo>
                      <a:lnTo>
                        <a:pt x="1331" y="1014"/>
                      </a:lnTo>
                      <a:lnTo>
                        <a:pt x="1332" y="1014"/>
                      </a:lnTo>
                      <a:lnTo>
                        <a:pt x="1332" y="1013"/>
                      </a:lnTo>
                      <a:lnTo>
                        <a:pt x="1332" y="1014"/>
                      </a:lnTo>
                      <a:lnTo>
                        <a:pt x="1334" y="1014"/>
                      </a:lnTo>
                      <a:close/>
                      <a:moveTo>
                        <a:pt x="1172" y="964"/>
                      </a:moveTo>
                      <a:lnTo>
                        <a:pt x="1172" y="965"/>
                      </a:lnTo>
                      <a:lnTo>
                        <a:pt x="1172" y="964"/>
                      </a:lnTo>
                      <a:lnTo>
                        <a:pt x="1173" y="965"/>
                      </a:lnTo>
                      <a:lnTo>
                        <a:pt x="1173" y="964"/>
                      </a:lnTo>
                      <a:lnTo>
                        <a:pt x="1173" y="965"/>
                      </a:lnTo>
                      <a:lnTo>
                        <a:pt x="1172" y="965"/>
                      </a:lnTo>
                      <a:lnTo>
                        <a:pt x="1171" y="965"/>
                      </a:lnTo>
                      <a:lnTo>
                        <a:pt x="1170" y="965"/>
                      </a:lnTo>
                      <a:lnTo>
                        <a:pt x="1170" y="964"/>
                      </a:lnTo>
                      <a:lnTo>
                        <a:pt x="1169" y="963"/>
                      </a:lnTo>
                      <a:lnTo>
                        <a:pt x="1170" y="962"/>
                      </a:lnTo>
                      <a:lnTo>
                        <a:pt x="1171" y="962"/>
                      </a:lnTo>
                      <a:lnTo>
                        <a:pt x="1171" y="963"/>
                      </a:lnTo>
                      <a:lnTo>
                        <a:pt x="1171" y="964"/>
                      </a:lnTo>
                      <a:lnTo>
                        <a:pt x="1172" y="964"/>
                      </a:lnTo>
                      <a:close/>
                      <a:moveTo>
                        <a:pt x="1312" y="1091"/>
                      </a:moveTo>
                      <a:lnTo>
                        <a:pt x="1312" y="1092"/>
                      </a:lnTo>
                      <a:lnTo>
                        <a:pt x="1312" y="1094"/>
                      </a:lnTo>
                      <a:lnTo>
                        <a:pt x="1311" y="1095"/>
                      </a:lnTo>
                      <a:lnTo>
                        <a:pt x="1311" y="1094"/>
                      </a:lnTo>
                      <a:lnTo>
                        <a:pt x="1311" y="1093"/>
                      </a:lnTo>
                      <a:lnTo>
                        <a:pt x="1311" y="1092"/>
                      </a:lnTo>
                      <a:lnTo>
                        <a:pt x="1310" y="1092"/>
                      </a:lnTo>
                      <a:lnTo>
                        <a:pt x="1310" y="1093"/>
                      </a:lnTo>
                      <a:lnTo>
                        <a:pt x="1310" y="1094"/>
                      </a:lnTo>
                      <a:lnTo>
                        <a:pt x="1309" y="1094"/>
                      </a:lnTo>
                      <a:lnTo>
                        <a:pt x="1309" y="1093"/>
                      </a:lnTo>
                      <a:lnTo>
                        <a:pt x="1310" y="1093"/>
                      </a:lnTo>
                      <a:lnTo>
                        <a:pt x="1309" y="1093"/>
                      </a:lnTo>
                      <a:lnTo>
                        <a:pt x="1310" y="1093"/>
                      </a:lnTo>
                      <a:lnTo>
                        <a:pt x="1310" y="1092"/>
                      </a:lnTo>
                      <a:lnTo>
                        <a:pt x="1310" y="1091"/>
                      </a:lnTo>
                      <a:lnTo>
                        <a:pt x="1310" y="1090"/>
                      </a:lnTo>
                      <a:lnTo>
                        <a:pt x="1311" y="1089"/>
                      </a:lnTo>
                      <a:lnTo>
                        <a:pt x="1312" y="1090"/>
                      </a:lnTo>
                      <a:lnTo>
                        <a:pt x="1312" y="1091"/>
                      </a:lnTo>
                      <a:close/>
                      <a:moveTo>
                        <a:pt x="1183" y="925"/>
                      </a:moveTo>
                      <a:lnTo>
                        <a:pt x="1183" y="926"/>
                      </a:lnTo>
                      <a:lnTo>
                        <a:pt x="1184" y="926"/>
                      </a:lnTo>
                      <a:lnTo>
                        <a:pt x="1184" y="927"/>
                      </a:lnTo>
                      <a:lnTo>
                        <a:pt x="1183" y="927"/>
                      </a:lnTo>
                      <a:lnTo>
                        <a:pt x="1183" y="928"/>
                      </a:lnTo>
                      <a:lnTo>
                        <a:pt x="1182" y="928"/>
                      </a:lnTo>
                      <a:lnTo>
                        <a:pt x="1182" y="927"/>
                      </a:lnTo>
                      <a:lnTo>
                        <a:pt x="1182" y="926"/>
                      </a:lnTo>
                      <a:lnTo>
                        <a:pt x="1182" y="925"/>
                      </a:lnTo>
                      <a:lnTo>
                        <a:pt x="1181" y="925"/>
                      </a:lnTo>
                      <a:lnTo>
                        <a:pt x="1182" y="924"/>
                      </a:lnTo>
                      <a:lnTo>
                        <a:pt x="1183" y="924"/>
                      </a:lnTo>
                      <a:lnTo>
                        <a:pt x="1182" y="924"/>
                      </a:lnTo>
                      <a:lnTo>
                        <a:pt x="1182" y="925"/>
                      </a:lnTo>
                      <a:lnTo>
                        <a:pt x="1183" y="925"/>
                      </a:lnTo>
                      <a:close/>
                      <a:moveTo>
                        <a:pt x="1030" y="968"/>
                      </a:moveTo>
                      <a:lnTo>
                        <a:pt x="1030" y="969"/>
                      </a:lnTo>
                      <a:lnTo>
                        <a:pt x="1029" y="969"/>
                      </a:lnTo>
                      <a:lnTo>
                        <a:pt x="1029" y="970"/>
                      </a:lnTo>
                      <a:lnTo>
                        <a:pt x="1028" y="970"/>
                      </a:lnTo>
                      <a:lnTo>
                        <a:pt x="1027" y="970"/>
                      </a:lnTo>
                      <a:lnTo>
                        <a:pt x="1026" y="969"/>
                      </a:lnTo>
                      <a:lnTo>
                        <a:pt x="1026" y="968"/>
                      </a:lnTo>
                      <a:lnTo>
                        <a:pt x="1027" y="968"/>
                      </a:lnTo>
                      <a:lnTo>
                        <a:pt x="1028" y="968"/>
                      </a:lnTo>
                      <a:lnTo>
                        <a:pt x="1029" y="968"/>
                      </a:lnTo>
                      <a:lnTo>
                        <a:pt x="1030" y="968"/>
                      </a:lnTo>
                      <a:close/>
                      <a:moveTo>
                        <a:pt x="1432" y="1136"/>
                      </a:moveTo>
                      <a:lnTo>
                        <a:pt x="1432" y="1137"/>
                      </a:lnTo>
                      <a:lnTo>
                        <a:pt x="1432" y="1138"/>
                      </a:lnTo>
                      <a:lnTo>
                        <a:pt x="1431" y="1138"/>
                      </a:lnTo>
                      <a:lnTo>
                        <a:pt x="1430" y="1138"/>
                      </a:lnTo>
                      <a:lnTo>
                        <a:pt x="1430" y="1140"/>
                      </a:lnTo>
                      <a:lnTo>
                        <a:pt x="1430" y="1138"/>
                      </a:lnTo>
                      <a:lnTo>
                        <a:pt x="1430" y="1137"/>
                      </a:lnTo>
                      <a:lnTo>
                        <a:pt x="1430" y="1138"/>
                      </a:lnTo>
                      <a:lnTo>
                        <a:pt x="1429" y="1138"/>
                      </a:lnTo>
                      <a:lnTo>
                        <a:pt x="1430" y="1138"/>
                      </a:lnTo>
                      <a:lnTo>
                        <a:pt x="1430" y="1140"/>
                      </a:lnTo>
                      <a:lnTo>
                        <a:pt x="1430" y="1141"/>
                      </a:lnTo>
                      <a:lnTo>
                        <a:pt x="1429" y="1141"/>
                      </a:lnTo>
                      <a:lnTo>
                        <a:pt x="1429" y="1140"/>
                      </a:lnTo>
                      <a:lnTo>
                        <a:pt x="1429" y="1138"/>
                      </a:lnTo>
                      <a:lnTo>
                        <a:pt x="1429" y="1137"/>
                      </a:lnTo>
                      <a:lnTo>
                        <a:pt x="1430" y="1137"/>
                      </a:lnTo>
                      <a:lnTo>
                        <a:pt x="1429" y="1137"/>
                      </a:lnTo>
                      <a:lnTo>
                        <a:pt x="1429" y="1136"/>
                      </a:lnTo>
                      <a:lnTo>
                        <a:pt x="1430" y="1136"/>
                      </a:lnTo>
                      <a:lnTo>
                        <a:pt x="1430" y="1137"/>
                      </a:lnTo>
                      <a:lnTo>
                        <a:pt x="1430" y="1136"/>
                      </a:lnTo>
                      <a:lnTo>
                        <a:pt x="1431" y="1136"/>
                      </a:lnTo>
                      <a:lnTo>
                        <a:pt x="1432" y="1136"/>
                      </a:lnTo>
                      <a:lnTo>
                        <a:pt x="1431" y="1136"/>
                      </a:lnTo>
                      <a:lnTo>
                        <a:pt x="1432" y="1136"/>
                      </a:lnTo>
                      <a:close/>
                      <a:moveTo>
                        <a:pt x="1046" y="990"/>
                      </a:moveTo>
                      <a:lnTo>
                        <a:pt x="1045" y="990"/>
                      </a:lnTo>
                      <a:lnTo>
                        <a:pt x="1044" y="990"/>
                      </a:lnTo>
                      <a:lnTo>
                        <a:pt x="1044" y="991"/>
                      </a:lnTo>
                      <a:lnTo>
                        <a:pt x="1043" y="991"/>
                      </a:lnTo>
                      <a:lnTo>
                        <a:pt x="1043" y="990"/>
                      </a:lnTo>
                      <a:lnTo>
                        <a:pt x="1042" y="990"/>
                      </a:lnTo>
                      <a:lnTo>
                        <a:pt x="1042" y="991"/>
                      </a:lnTo>
                      <a:lnTo>
                        <a:pt x="1043" y="991"/>
                      </a:lnTo>
                      <a:lnTo>
                        <a:pt x="1044" y="991"/>
                      </a:lnTo>
                      <a:lnTo>
                        <a:pt x="1045" y="991"/>
                      </a:lnTo>
                      <a:lnTo>
                        <a:pt x="1046" y="991"/>
                      </a:lnTo>
                      <a:lnTo>
                        <a:pt x="1047" y="991"/>
                      </a:lnTo>
                      <a:lnTo>
                        <a:pt x="1048" y="991"/>
                      </a:lnTo>
                      <a:lnTo>
                        <a:pt x="1048" y="992"/>
                      </a:lnTo>
                      <a:lnTo>
                        <a:pt x="1048" y="993"/>
                      </a:lnTo>
                      <a:lnTo>
                        <a:pt x="1047" y="993"/>
                      </a:lnTo>
                      <a:lnTo>
                        <a:pt x="1048" y="993"/>
                      </a:lnTo>
                      <a:lnTo>
                        <a:pt x="1047" y="993"/>
                      </a:lnTo>
                      <a:lnTo>
                        <a:pt x="1048" y="993"/>
                      </a:lnTo>
                      <a:lnTo>
                        <a:pt x="1048" y="992"/>
                      </a:lnTo>
                      <a:lnTo>
                        <a:pt x="1047" y="992"/>
                      </a:lnTo>
                      <a:lnTo>
                        <a:pt x="1046" y="992"/>
                      </a:lnTo>
                      <a:lnTo>
                        <a:pt x="1045" y="991"/>
                      </a:lnTo>
                      <a:lnTo>
                        <a:pt x="1044" y="991"/>
                      </a:lnTo>
                      <a:lnTo>
                        <a:pt x="1043" y="992"/>
                      </a:lnTo>
                      <a:lnTo>
                        <a:pt x="1044" y="992"/>
                      </a:lnTo>
                      <a:lnTo>
                        <a:pt x="1044" y="993"/>
                      </a:lnTo>
                      <a:lnTo>
                        <a:pt x="1043" y="992"/>
                      </a:lnTo>
                      <a:lnTo>
                        <a:pt x="1042" y="991"/>
                      </a:lnTo>
                      <a:lnTo>
                        <a:pt x="1042" y="990"/>
                      </a:lnTo>
                      <a:lnTo>
                        <a:pt x="1046" y="990"/>
                      </a:lnTo>
                      <a:close/>
                      <a:moveTo>
                        <a:pt x="966" y="890"/>
                      </a:moveTo>
                      <a:lnTo>
                        <a:pt x="967" y="890"/>
                      </a:lnTo>
                      <a:lnTo>
                        <a:pt x="967" y="891"/>
                      </a:lnTo>
                      <a:lnTo>
                        <a:pt x="967" y="892"/>
                      </a:lnTo>
                      <a:lnTo>
                        <a:pt x="966" y="892"/>
                      </a:lnTo>
                      <a:lnTo>
                        <a:pt x="965" y="892"/>
                      </a:lnTo>
                      <a:lnTo>
                        <a:pt x="964" y="892"/>
                      </a:lnTo>
                      <a:lnTo>
                        <a:pt x="963" y="892"/>
                      </a:lnTo>
                      <a:lnTo>
                        <a:pt x="963" y="891"/>
                      </a:lnTo>
                      <a:lnTo>
                        <a:pt x="964" y="891"/>
                      </a:lnTo>
                      <a:lnTo>
                        <a:pt x="965" y="891"/>
                      </a:lnTo>
                      <a:lnTo>
                        <a:pt x="966" y="890"/>
                      </a:lnTo>
                      <a:lnTo>
                        <a:pt x="965" y="890"/>
                      </a:lnTo>
                      <a:lnTo>
                        <a:pt x="966" y="890"/>
                      </a:lnTo>
                      <a:lnTo>
                        <a:pt x="966" y="889"/>
                      </a:lnTo>
                      <a:lnTo>
                        <a:pt x="966" y="890"/>
                      </a:lnTo>
                      <a:close/>
                      <a:moveTo>
                        <a:pt x="1317" y="947"/>
                      </a:moveTo>
                      <a:lnTo>
                        <a:pt x="1318" y="947"/>
                      </a:lnTo>
                      <a:lnTo>
                        <a:pt x="1318" y="948"/>
                      </a:lnTo>
                      <a:lnTo>
                        <a:pt x="1319" y="948"/>
                      </a:lnTo>
                      <a:lnTo>
                        <a:pt x="1318" y="949"/>
                      </a:lnTo>
                      <a:lnTo>
                        <a:pt x="1318" y="948"/>
                      </a:lnTo>
                      <a:lnTo>
                        <a:pt x="1318" y="949"/>
                      </a:lnTo>
                      <a:lnTo>
                        <a:pt x="1317" y="948"/>
                      </a:lnTo>
                      <a:lnTo>
                        <a:pt x="1316" y="949"/>
                      </a:lnTo>
                      <a:lnTo>
                        <a:pt x="1315" y="949"/>
                      </a:lnTo>
                      <a:lnTo>
                        <a:pt x="1314" y="948"/>
                      </a:lnTo>
                      <a:lnTo>
                        <a:pt x="1314" y="947"/>
                      </a:lnTo>
                      <a:lnTo>
                        <a:pt x="1315" y="947"/>
                      </a:lnTo>
                      <a:lnTo>
                        <a:pt x="1316" y="947"/>
                      </a:lnTo>
                      <a:lnTo>
                        <a:pt x="1317" y="947"/>
                      </a:lnTo>
                      <a:close/>
                      <a:moveTo>
                        <a:pt x="1305" y="967"/>
                      </a:moveTo>
                      <a:lnTo>
                        <a:pt x="1306" y="967"/>
                      </a:lnTo>
                      <a:lnTo>
                        <a:pt x="1306" y="968"/>
                      </a:lnTo>
                      <a:lnTo>
                        <a:pt x="1308" y="968"/>
                      </a:lnTo>
                      <a:lnTo>
                        <a:pt x="1309" y="968"/>
                      </a:lnTo>
                      <a:lnTo>
                        <a:pt x="1308" y="968"/>
                      </a:lnTo>
                      <a:lnTo>
                        <a:pt x="1308" y="969"/>
                      </a:lnTo>
                      <a:lnTo>
                        <a:pt x="1306" y="970"/>
                      </a:lnTo>
                      <a:lnTo>
                        <a:pt x="1306" y="971"/>
                      </a:lnTo>
                      <a:lnTo>
                        <a:pt x="1305" y="971"/>
                      </a:lnTo>
                      <a:lnTo>
                        <a:pt x="1305" y="970"/>
                      </a:lnTo>
                      <a:lnTo>
                        <a:pt x="1305" y="969"/>
                      </a:lnTo>
                      <a:lnTo>
                        <a:pt x="1305" y="968"/>
                      </a:lnTo>
                      <a:lnTo>
                        <a:pt x="1305" y="969"/>
                      </a:lnTo>
                      <a:lnTo>
                        <a:pt x="1305" y="970"/>
                      </a:lnTo>
                      <a:lnTo>
                        <a:pt x="1305" y="969"/>
                      </a:lnTo>
                      <a:lnTo>
                        <a:pt x="1304" y="969"/>
                      </a:lnTo>
                      <a:lnTo>
                        <a:pt x="1305" y="968"/>
                      </a:lnTo>
                      <a:lnTo>
                        <a:pt x="1304" y="968"/>
                      </a:lnTo>
                      <a:lnTo>
                        <a:pt x="1304" y="967"/>
                      </a:lnTo>
                      <a:lnTo>
                        <a:pt x="1305" y="967"/>
                      </a:lnTo>
                      <a:close/>
                      <a:moveTo>
                        <a:pt x="1044" y="987"/>
                      </a:moveTo>
                      <a:lnTo>
                        <a:pt x="1044" y="988"/>
                      </a:lnTo>
                      <a:lnTo>
                        <a:pt x="1042" y="988"/>
                      </a:lnTo>
                      <a:lnTo>
                        <a:pt x="1042" y="987"/>
                      </a:lnTo>
                      <a:lnTo>
                        <a:pt x="1043" y="987"/>
                      </a:lnTo>
                      <a:lnTo>
                        <a:pt x="1043" y="986"/>
                      </a:lnTo>
                      <a:lnTo>
                        <a:pt x="1043" y="987"/>
                      </a:lnTo>
                      <a:lnTo>
                        <a:pt x="1043" y="988"/>
                      </a:lnTo>
                      <a:lnTo>
                        <a:pt x="1043" y="987"/>
                      </a:lnTo>
                      <a:lnTo>
                        <a:pt x="1044" y="987"/>
                      </a:lnTo>
                      <a:lnTo>
                        <a:pt x="1044" y="986"/>
                      </a:lnTo>
                      <a:lnTo>
                        <a:pt x="1045" y="986"/>
                      </a:lnTo>
                      <a:lnTo>
                        <a:pt x="1045" y="984"/>
                      </a:lnTo>
                      <a:lnTo>
                        <a:pt x="1045" y="983"/>
                      </a:lnTo>
                      <a:lnTo>
                        <a:pt x="1045" y="982"/>
                      </a:lnTo>
                      <a:lnTo>
                        <a:pt x="1045" y="983"/>
                      </a:lnTo>
                      <a:lnTo>
                        <a:pt x="1045" y="984"/>
                      </a:lnTo>
                      <a:lnTo>
                        <a:pt x="1046" y="986"/>
                      </a:lnTo>
                      <a:lnTo>
                        <a:pt x="1045" y="987"/>
                      </a:lnTo>
                      <a:lnTo>
                        <a:pt x="1044" y="987"/>
                      </a:lnTo>
                      <a:close/>
                      <a:moveTo>
                        <a:pt x="1156" y="1035"/>
                      </a:moveTo>
                      <a:lnTo>
                        <a:pt x="1155" y="1035"/>
                      </a:lnTo>
                      <a:lnTo>
                        <a:pt x="1154" y="1034"/>
                      </a:lnTo>
                      <a:lnTo>
                        <a:pt x="1151" y="1034"/>
                      </a:lnTo>
                      <a:lnTo>
                        <a:pt x="1151" y="1033"/>
                      </a:lnTo>
                      <a:lnTo>
                        <a:pt x="1153" y="1032"/>
                      </a:lnTo>
                      <a:lnTo>
                        <a:pt x="1154" y="1032"/>
                      </a:lnTo>
                      <a:lnTo>
                        <a:pt x="1154" y="1033"/>
                      </a:lnTo>
                      <a:lnTo>
                        <a:pt x="1155" y="1033"/>
                      </a:lnTo>
                      <a:lnTo>
                        <a:pt x="1155" y="1034"/>
                      </a:lnTo>
                      <a:lnTo>
                        <a:pt x="1155" y="1035"/>
                      </a:lnTo>
                      <a:lnTo>
                        <a:pt x="1156" y="1035"/>
                      </a:lnTo>
                      <a:close/>
                      <a:moveTo>
                        <a:pt x="1296" y="1237"/>
                      </a:moveTo>
                      <a:lnTo>
                        <a:pt x="1296" y="1238"/>
                      </a:lnTo>
                      <a:lnTo>
                        <a:pt x="1296" y="1239"/>
                      </a:lnTo>
                      <a:lnTo>
                        <a:pt x="1295" y="1239"/>
                      </a:lnTo>
                      <a:lnTo>
                        <a:pt x="1295" y="1240"/>
                      </a:lnTo>
                      <a:lnTo>
                        <a:pt x="1293" y="1241"/>
                      </a:lnTo>
                      <a:lnTo>
                        <a:pt x="1292" y="1243"/>
                      </a:lnTo>
                      <a:lnTo>
                        <a:pt x="1291" y="1244"/>
                      </a:lnTo>
                      <a:lnTo>
                        <a:pt x="1291" y="1245"/>
                      </a:lnTo>
                      <a:lnTo>
                        <a:pt x="1290" y="1245"/>
                      </a:lnTo>
                      <a:lnTo>
                        <a:pt x="1291" y="1244"/>
                      </a:lnTo>
                      <a:lnTo>
                        <a:pt x="1291" y="1243"/>
                      </a:lnTo>
                      <a:lnTo>
                        <a:pt x="1291" y="1244"/>
                      </a:lnTo>
                      <a:lnTo>
                        <a:pt x="1291" y="1243"/>
                      </a:lnTo>
                      <a:lnTo>
                        <a:pt x="1291" y="1241"/>
                      </a:lnTo>
                      <a:lnTo>
                        <a:pt x="1291" y="1243"/>
                      </a:lnTo>
                      <a:lnTo>
                        <a:pt x="1292" y="1243"/>
                      </a:lnTo>
                      <a:lnTo>
                        <a:pt x="1292" y="1241"/>
                      </a:lnTo>
                      <a:lnTo>
                        <a:pt x="1293" y="1241"/>
                      </a:lnTo>
                      <a:lnTo>
                        <a:pt x="1295" y="1240"/>
                      </a:lnTo>
                      <a:lnTo>
                        <a:pt x="1295" y="1239"/>
                      </a:lnTo>
                      <a:lnTo>
                        <a:pt x="1295" y="1238"/>
                      </a:lnTo>
                      <a:lnTo>
                        <a:pt x="1296" y="1238"/>
                      </a:lnTo>
                      <a:lnTo>
                        <a:pt x="1295" y="1238"/>
                      </a:lnTo>
                      <a:lnTo>
                        <a:pt x="1293" y="1239"/>
                      </a:lnTo>
                      <a:lnTo>
                        <a:pt x="1292" y="1240"/>
                      </a:lnTo>
                      <a:lnTo>
                        <a:pt x="1292" y="1241"/>
                      </a:lnTo>
                      <a:lnTo>
                        <a:pt x="1291" y="1241"/>
                      </a:lnTo>
                      <a:lnTo>
                        <a:pt x="1292" y="1240"/>
                      </a:lnTo>
                      <a:lnTo>
                        <a:pt x="1292" y="1239"/>
                      </a:lnTo>
                      <a:lnTo>
                        <a:pt x="1293" y="1239"/>
                      </a:lnTo>
                      <a:lnTo>
                        <a:pt x="1295" y="1238"/>
                      </a:lnTo>
                      <a:lnTo>
                        <a:pt x="1295" y="1237"/>
                      </a:lnTo>
                      <a:lnTo>
                        <a:pt x="1295" y="1236"/>
                      </a:lnTo>
                      <a:lnTo>
                        <a:pt x="1296" y="1236"/>
                      </a:lnTo>
                      <a:lnTo>
                        <a:pt x="1296" y="1237"/>
                      </a:lnTo>
                      <a:close/>
                      <a:moveTo>
                        <a:pt x="1014" y="982"/>
                      </a:moveTo>
                      <a:lnTo>
                        <a:pt x="1014" y="983"/>
                      </a:lnTo>
                      <a:lnTo>
                        <a:pt x="1014" y="984"/>
                      </a:lnTo>
                      <a:lnTo>
                        <a:pt x="1013" y="984"/>
                      </a:lnTo>
                      <a:lnTo>
                        <a:pt x="1012" y="984"/>
                      </a:lnTo>
                      <a:lnTo>
                        <a:pt x="1011" y="984"/>
                      </a:lnTo>
                      <a:lnTo>
                        <a:pt x="1011" y="983"/>
                      </a:lnTo>
                      <a:lnTo>
                        <a:pt x="1012" y="983"/>
                      </a:lnTo>
                      <a:lnTo>
                        <a:pt x="1012" y="982"/>
                      </a:lnTo>
                      <a:lnTo>
                        <a:pt x="1013" y="982"/>
                      </a:lnTo>
                      <a:lnTo>
                        <a:pt x="1014" y="981"/>
                      </a:lnTo>
                      <a:lnTo>
                        <a:pt x="1014" y="982"/>
                      </a:lnTo>
                      <a:close/>
                      <a:moveTo>
                        <a:pt x="1018" y="965"/>
                      </a:moveTo>
                      <a:lnTo>
                        <a:pt x="1021" y="966"/>
                      </a:lnTo>
                      <a:lnTo>
                        <a:pt x="1021" y="967"/>
                      </a:lnTo>
                      <a:lnTo>
                        <a:pt x="1021" y="968"/>
                      </a:lnTo>
                      <a:lnTo>
                        <a:pt x="1021" y="967"/>
                      </a:lnTo>
                      <a:lnTo>
                        <a:pt x="1021" y="966"/>
                      </a:lnTo>
                      <a:lnTo>
                        <a:pt x="1024" y="968"/>
                      </a:lnTo>
                      <a:lnTo>
                        <a:pt x="1022" y="968"/>
                      </a:lnTo>
                      <a:lnTo>
                        <a:pt x="1022" y="969"/>
                      </a:lnTo>
                      <a:lnTo>
                        <a:pt x="1021" y="968"/>
                      </a:lnTo>
                      <a:lnTo>
                        <a:pt x="1021" y="969"/>
                      </a:lnTo>
                      <a:lnTo>
                        <a:pt x="1020" y="969"/>
                      </a:lnTo>
                      <a:lnTo>
                        <a:pt x="1019" y="969"/>
                      </a:lnTo>
                      <a:lnTo>
                        <a:pt x="1020" y="969"/>
                      </a:lnTo>
                      <a:lnTo>
                        <a:pt x="1020" y="968"/>
                      </a:lnTo>
                      <a:lnTo>
                        <a:pt x="1021" y="967"/>
                      </a:lnTo>
                      <a:lnTo>
                        <a:pt x="1020" y="967"/>
                      </a:lnTo>
                      <a:lnTo>
                        <a:pt x="1020" y="966"/>
                      </a:lnTo>
                      <a:lnTo>
                        <a:pt x="1019" y="966"/>
                      </a:lnTo>
                      <a:lnTo>
                        <a:pt x="1020" y="966"/>
                      </a:lnTo>
                      <a:lnTo>
                        <a:pt x="1019" y="966"/>
                      </a:lnTo>
                      <a:lnTo>
                        <a:pt x="1019" y="965"/>
                      </a:lnTo>
                      <a:lnTo>
                        <a:pt x="1018" y="965"/>
                      </a:lnTo>
                      <a:lnTo>
                        <a:pt x="1018" y="964"/>
                      </a:lnTo>
                      <a:lnTo>
                        <a:pt x="1018" y="965"/>
                      </a:lnTo>
                      <a:close/>
                      <a:moveTo>
                        <a:pt x="1306" y="971"/>
                      </a:moveTo>
                      <a:lnTo>
                        <a:pt x="1308" y="971"/>
                      </a:lnTo>
                      <a:lnTo>
                        <a:pt x="1309" y="973"/>
                      </a:lnTo>
                      <a:lnTo>
                        <a:pt x="1309" y="974"/>
                      </a:lnTo>
                      <a:lnTo>
                        <a:pt x="1310" y="974"/>
                      </a:lnTo>
                      <a:lnTo>
                        <a:pt x="1309" y="974"/>
                      </a:lnTo>
                      <a:lnTo>
                        <a:pt x="1308" y="974"/>
                      </a:lnTo>
                      <a:lnTo>
                        <a:pt x="1308" y="973"/>
                      </a:lnTo>
                      <a:lnTo>
                        <a:pt x="1306" y="974"/>
                      </a:lnTo>
                      <a:lnTo>
                        <a:pt x="1306" y="973"/>
                      </a:lnTo>
                      <a:lnTo>
                        <a:pt x="1306" y="974"/>
                      </a:lnTo>
                      <a:lnTo>
                        <a:pt x="1305" y="974"/>
                      </a:lnTo>
                      <a:lnTo>
                        <a:pt x="1306" y="974"/>
                      </a:lnTo>
                      <a:lnTo>
                        <a:pt x="1306" y="975"/>
                      </a:lnTo>
                      <a:lnTo>
                        <a:pt x="1305" y="975"/>
                      </a:lnTo>
                      <a:lnTo>
                        <a:pt x="1306" y="975"/>
                      </a:lnTo>
                      <a:lnTo>
                        <a:pt x="1306" y="976"/>
                      </a:lnTo>
                      <a:lnTo>
                        <a:pt x="1305" y="976"/>
                      </a:lnTo>
                      <a:lnTo>
                        <a:pt x="1305" y="975"/>
                      </a:lnTo>
                      <a:lnTo>
                        <a:pt x="1305" y="974"/>
                      </a:lnTo>
                      <a:lnTo>
                        <a:pt x="1305" y="973"/>
                      </a:lnTo>
                      <a:lnTo>
                        <a:pt x="1305" y="971"/>
                      </a:lnTo>
                      <a:lnTo>
                        <a:pt x="1306" y="971"/>
                      </a:lnTo>
                      <a:lnTo>
                        <a:pt x="1306" y="970"/>
                      </a:lnTo>
                      <a:lnTo>
                        <a:pt x="1306" y="971"/>
                      </a:lnTo>
                      <a:close/>
                      <a:moveTo>
                        <a:pt x="1017" y="966"/>
                      </a:moveTo>
                      <a:lnTo>
                        <a:pt x="1017" y="965"/>
                      </a:lnTo>
                      <a:lnTo>
                        <a:pt x="1018" y="965"/>
                      </a:lnTo>
                      <a:lnTo>
                        <a:pt x="1017" y="966"/>
                      </a:lnTo>
                      <a:lnTo>
                        <a:pt x="1018" y="966"/>
                      </a:lnTo>
                      <a:lnTo>
                        <a:pt x="1018" y="965"/>
                      </a:lnTo>
                      <a:lnTo>
                        <a:pt x="1019" y="965"/>
                      </a:lnTo>
                      <a:lnTo>
                        <a:pt x="1019" y="966"/>
                      </a:lnTo>
                      <a:lnTo>
                        <a:pt x="1020" y="966"/>
                      </a:lnTo>
                      <a:lnTo>
                        <a:pt x="1020" y="967"/>
                      </a:lnTo>
                      <a:lnTo>
                        <a:pt x="1020" y="968"/>
                      </a:lnTo>
                      <a:lnTo>
                        <a:pt x="1019" y="967"/>
                      </a:lnTo>
                      <a:lnTo>
                        <a:pt x="1019" y="968"/>
                      </a:lnTo>
                      <a:lnTo>
                        <a:pt x="1019" y="967"/>
                      </a:lnTo>
                      <a:lnTo>
                        <a:pt x="1018" y="967"/>
                      </a:lnTo>
                      <a:lnTo>
                        <a:pt x="1017" y="967"/>
                      </a:lnTo>
                      <a:lnTo>
                        <a:pt x="1018" y="967"/>
                      </a:lnTo>
                      <a:lnTo>
                        <a:pt x="1018" y="968"/>
                      </a:lnTo>
                      <a:lnTo>
                        <a:pt x="1017" y="968"/>
                      </a:lnTo>
                      <a:lnTo>
                        <a:pt x="1017" y="967"/>
                      </a:lnTo>
                      <a:lnTo>
                        <a:pt x="1017" y="966"/>
                      </a:lnTo>
                      <a:lnTo>
                        <a:pt x="1017" y="965"/>
                      </a:lnTo>
                      <a:lnTo>
                        <a:pt x="1017" y="966"/>
                      </a:lnTo>
                      <a:close/>
                      <a:moveTo>
                        <a:pt x="1177" y="1040"/>
                      </a:moveTo>
                      <a:lnTo>
                        <a:pt x="1181" y="1041"/>
                      </a:lnTo>
                      <a:lnTo>
                        <a:pt x="1181" y="1042"/>
                      </a:lnTo>
                      <a:lnTo>
                        <a:pt x="1181" y="1043"/>
                      </a:lnTo>
                      <a:lnTo>
                        <a:pt x="1180" y="1043"/>
                      </a:lnTo>
                      <a:lnTo>
                        <a:pt x="1180" y="1042"/>
                      </a:lnTo>
                      <a:lnTo>
                        <a:pt x="1180" y="1043"/>
                      </a:lnTo>
                      <a:lnTo>
                        <a:pt x="1181" y="1043"/>
                      </a:lnTo>
                      <a:lnTo>
                        <a:pt x="1181" y="1044"/>
                      </a:lnTo>
                      <a:lnTo>
                        <a:pt x="1180" y="1044"/>
                      </a:lnTo>
                      <a:lnTo>
                        <a:pt x="1180" y="1043"/>
                      </a:lnTo>
                      <a:lnTo>
                        <a:pt x="1179" y="1041"/>
                      </a:lnTo>
                      <a:lnTo>
                        <a:pt x="1177" y="1041"/>
                      </a:lnTo>
                      <a:lnTo>
                        <a:pt x="1177" y="1040"/>
                      </a:lnTo>
                      <a:lnTo>
                        <a:pt x="1176" y="1040"/>
                      </a:lnTo>
                      <a:lnTo>
                        <a:pt x="1177" y="1040"/>
                      </a:lnTo>
                      <a:close/>
                      <a:moveTo>
                        <a:pt x="1373" y="1129"/>
                      </a:moveTo>
                      <a:lnTo>
                        <a:pt x="1373" y="1130"/>
                      </a:lnTo>
                      <a:lnTo>
                        <a:pt x="1373" y="1131"/>
                      </a:lnTo>
                      <a:lnTo>
                        <a:pt x="1373" y="1132"/>
                      </a:lnTo>
                      <a:lnTo>
                        <a:pt x="1373" y="1131"/>
                      </a:lnTo>
                      <a:lnTo>
                        <a:pt x="1371" y="1131"/>
                      </a:lnTo>
                      <a:lnTo>
                        <a:pt x="1370" y="1131"/>
                      </a:lnTo>
                      <a:lnTo>
                        <a:pt x="1370" y="1130"/>
                      </a:lnTo>
                      <a:lnTo>
                        <a:pt x="1369" y="1130"/>
                      </a:lnTo>
                      <a:lnTo>
                        <a:pt x="1368" y="1131"/>
                      </a:lnTo>
                      <a:lnTo>
                        <a:pt x="1368" y="1130"/>
                      </a:lnTo>
                      <a:lnTo>
                        <a:pt x="1367" y="1130"/>
                      </a:lnTo>
                      <a:lnTo>
                        <a:pt x="1370" y="1130"/>
                      </a:lnTo>
                      <a:lnTo>
                        <a:pt x="1371" y="1130"/>
                      </a:lnTo>
                      <a:lnTo>
                        <a:pt x="1371" y="1131"/>
                      </a:lnTo>
                      <a:lnTo>
                        <a:pt x="1371" y="1130"/>
                      </a:lnTo>
                      <a:lnTo>
                        <a:pt x="1370" y="1130"/>
                      </a:lnTo>
                      <a:lnTo>
                        <a:pt x="1369" y="1130"/>
                      </a:lnTo>
                      <a:lnTo>
                        <a:pt x="1368" y="1130"/>
                      </a:lnTo>
                      <a:lnTo>
                        <a:pt x="1368" y="1129"/>
                      </a:lnTo>
                      <a:lnTo>
                        <a:pt x="1370" y="1130"/>
                      </a:lnTo>
                      <a:lnTo>
                        <a:pt x="1371" y="1130"/>
                      </a:lnTo>
                      <a:lnTo>
                        <a:pt x="1373" y="1130"/>
                      </a:lnTo>
                      <a:lnTo>
                        <a:pt x="1373" y="1129"/>
                      </a:lnTo>
                      <a:lnTo>
                        <a:pt x="1373" y="1128"/>
                      </a:lnTo>
                      <a:lnTo>
                        <a:pt x="1371" y="1128"/>
                      </a:lnTo>
                      <a:lnTo>
                        <a:pt x="1371" y="1127"/>
                      </a:lnTo>
                      <a:lnTo>
                        <a:pt x="1373" y="1127"/>
                      </a:lnTo>
                      <a:lnTo>
                        <a:pt x="1373" y="1128"/>
                      </a:lnTo>
                      <a:lnTo>
                        <a:pt x="1373" y="1129"/>
                      </a:lnTo>
                      <a:close/>
                      <a:moveTo>
                        <a:pt x="1056" y="991"/>
                      </a:moveTo>
                      <a:lnTo>
                        <a:pt x="1056" y="992"/>
                      </a:lnTo>
                      <a:lnTo>
                        <a:pt x="1056" y="993"/>
                      </a:lnTo>
                      <a:lnTo>
                        <a:pt x="1054" y="992"/>
                      </a:lnTo>
                      <a:lnTo>
                        <a:pt x="1054" y="991"/>
                      </a:lnTo>
                      <a:lnTo>
                        <a:pt x="1053" y="991"/>
                      </a:lnTo>
                      <a:lnTo>
                        <a:pt x="1053" y="990"/>
                      </a:lnTo>
                      <a:lnTo>
                        <a:pt x="1052" y="990"/>
                      </a:lnTo>
                      <a:lnTo>
                        <a:pt x="1053" y="990"/>
                      </a:lnTo>
                      <a:lnTo>
                        <a:pt x="1055" y="990"/>
                      </a:lnTo>
                      <a:lnTo>
                        <a:pt x="1056" y="991"/>
                      </a:lnTo>
                      <a:close/>
                      <a:moveTo>
                        <a:pt x="1172" y="1037"/>
                      </a:moveTo>
                      <a:lnTo>
                        <a:pt x="1172" y="1038"/>
                      </a:lnTo>
                      <a:lnTo>
                        <a:pt x="1171" y="1038"/>
                      </a:lnTo>
                      <a:lnTo>
                        <a:pt x="1171" y="1039"/>
                      </a:lnTo>
                      <a:lnTo>
                        <a:pt x="1171" y="1040"/>
                      </a:lnTo>
                      <a:lnTo>
                        <a:pt x="1167" y="1039"/>
                      </a:lnTo>
                      <a:lnTo>
                        <a:pt x="1166" y="1039"/>
                      </a:lnTo>
                      <a:lnTo>
                        <a:pt x="1162" y="1038"/>
                      </a:lnTo>
                      <a:lnTo>
                        <a:pt x="1166" y="1039"/>
                      </a:lnTo>
                      <a:lnTo>
                        <a:pt x="1167" y="1039"/>
                      </a:lnTo>
                      <a:lnTo>
                        <a:pt x="1167" y="1038"/>
                      </a:lnTo>
                      <a:lnTo>
                        <a:pt x="1167" y="1039"/>
                      </a:lnTo>
                      <a:lnTo>
                        <a:pt x="1168" y="1039"/>
                      </a:lnTo>
                      <a:lnTo>
                        <a:pt x="1168" y="1038"/>
                      </a:lnTo>
                      <a:lnTo>
                        <a:pt x="1168" y="1039"/>
                      </a:lnTo>
                      <a:lnTo>
                        <a:pt x="1168" y="1038"/>
                      </a:lnTo>
                      <a:lnTo>
                        <a:pt x="1168" y="1039"/>
                      </a:lnTo>
                      <a:lnTo>
                        <a:pt x="1169" y="1039"/>
                      </a:lnTo>
                      <a:lnTo>
                        <a:pt x="1169" y="1040"/>
                      </a:lnTo>
                      <a:lnTo>
                        <a:pt x="1170" y="1040"/>
                      </a:lnTo>
                      <a:lnTo>
                        <a:pt x="1170" y="1039"/>
                      </a:lnTo>
                      <a:lnTo>
                        <a:pt x="1169" y="1039"/>
                      </a:lnTo>
                      <a:lnTo>
                        <a:pt x="1170" y="1039"/>
                      </a:lnTo>
                      <a:lnTo>
                        <a:pt x="1170" y="1038"/>
                      </a:lnTo>
                      <a:lnTo>
                        <a:pt x="1171" y="1038"/>
                      </a:lnTo>
                      <a:lnTo>
                        <a:pt x="1171" y="1037"/>
                      </a:lnTo>
                      <a:lnTo>
                        <a:pt x="1172" y="1037"/>
                      </a:lnTo>
                      <a:close/>
                      <a:moveTo>
                        <a:pt x="1032" y="925"/>
                      </a:moveTo>
                      <a:lnTo>
                        <a:pt x="1033" y="925"/>
                      </a:lnTo>
                      <a:lnTo>
                        <a:pt x="1034" y="925"/>
                      </a:lnTo>
                      <a:lnTo>
                        <a:pt x="1035" y="925"/>
                      </a:lnTo>
                      <a:lnTo>
                        <a:pt x="1035" y="926"/>
                      </a:lnTo>
                      <a:lnTo>
                        <a:pt x="1035" y="927"/>
                      </a:lnTo>
                      <a:lnTo>
                        <a:pt x="1034" y="927"/>
                      </a:lnTo>
                      <a:lnTo>
                        <a:pt x="1033" y="928"/>
                      </a:lnTo>
                      <a:lnTo>
                        <a:pt x="1032" y="928"/>
                      </a:lnTo>
                      <a:lnTo>
                        <a:pt x="1032" y="927"/>
                      </a:lnTo>
                      <a:lnTo>
                        <a:pt x="1033" y="927"/>
                      </a:lnTo>
                      <a:lnTo>
                        <a:pt x="1033" y="926"/>
                      </a:lnTo>
                      <a:lnTo>
                        <a:pt x="1032" y="925"/>
                      </a:lnTo>
                      <a:close/>
                      <a:moveTo>
                        <a:pt x="1108" y="1007"/>
                      </a:moveTo>
                      <a:lnTo>
                        <a:pt x="1109" y="1008"/>
                      </a:lnTo>
                      <a:lnTo>
                        <a:pt x="1109" y="1009"/>
                      </a:lnTo>
                      <a:lnTo>
                        <a:pt x="1108" y="1008"/>
                      </a:lnTo>
                      <a:lnTo>
                        <a:pt x="1107" y="1008"/>
                      </a:lnTo>
                      <a:lnTo>
                        <a:pt x="1106" y="1008"/>
                      </a:lnTo>
                      <a:lnTo>
                        <a:pt x="1106" y="1007"/>
                      </a:lnTo>
                      <a:lnTo>
                        <a:pt x="1106" y="1006"/>
                      </a:lnTo>
                      <a:lnTo>
                        <a:pt x="1107" y="1006"/>
                      </a:lnTo>
                      <a:lnTo>
                        <a:pt x="1108" y="1006"/>
                      </a:lnTo>
                      <a:lnTo>
                        <a:pt x="1108" y="1007"/>
                      </a:lnTo>
                      <a:close/>
                      <a:moveTo>
                        <a:pt x="1096" y="800"/>
                      </a:moveTo>
                      <a:lnTo>
                        <a:pt x="1097" y="800"/>
                      </a:lnTo>
                      <a:lnTo>
                        <a:pt x="1096" y="801"/>
                      </a:lnTo>
                      <a:lnTo>
                        <a:pt x="1097" y="801"/>
                      </a:lnTo>
                      <a:lnTo>
                        <a:pt x="1097" y="802"/>
                      </a:lnTo>
                      <a:lnTo>
                        <a:pt x="1097" y="803"/>
                      </a:lnTo>
                      <a:lnTo>
                        <a:pt x="1096" y="802"/>
                      </a:lnTo>
                      <a:lnTo>
                        <a:pt x="1095" y="802"/>
                      </a:lnTo>
                      <a:lnTo>
                        <a:pt x="1094" y="801"/>
                      </a:lnTo>
                      <a:lnTo>
                        <a:pt x="1095" y="801"/>
                      </a:lnTo>
                      <a:lnTo>
                        <a:pt x="1094" y="801"/>
                      </a:lnTo>
                      <a:lnTo>
                        <a:pt x="1095" y="801"/>
                      </a:lnTo>
                      <a:lnTo>
                        <a:pt x="1095" y="800"/>
                      </a:lnTo>
                      <a:lnTo>
                        <a:pt x="1096" y="800"/>
                      </a:lnTo>
                      <a:lnTo>
                        <a:pt x="1096" y="799"/>
                      </a:lnTo>
                      <a:lnTo>
                        <a:pt x="1096" y="800"/>
                      </a:lnTo>
                      <a:close/>
                      <a:moveTo>
                        <a:pt x="1029" y="925"/>
                      </a:moveTo>
                      <a:lnTo>
                        <a:pt x="1030" y="925"/>
                      </a:lnTo>
                      <a:lnTo>
                        <a:pt x="1031" y="925"/>
                      </a:lnTo>
                      <a:lnTo>
                        <a:pt x="1030" y="925"/>
                      </a:lnTo>
                      <a:lnTo>
                        <a:pt x="1030" y="926"/>
                      </a:lnTo>
                      <a:lnTo>
                        <a:pt x="1029" y="927"/>
                      </a:lnTo>
                      <a:lnTo>
                        <a:pt x="1028" y="928"/>
                      </a:lnTo>
                      <a:lnTo>
                        <a:pt x="1027" y="928"/>
                      </a:lnTo>
                      <a:lnTo>
                        <a:pt x="1028" y="928"/>
                      </a:lnTo>
                      <a:lnTo>
                        <a:pt x="1028" y="927"/>
                      </a:lnTo>
                      <a:lnTo>
                        <a:pt x="1029" y="927"/>
                      </a:lnTo>
                      <a:lnTo>
                        <a:pt x="1028" y="927"/>
                      </a:lnTo>
                      <a:lnTo>
                        <a:pt x="1028" y="926"/>
                      </a:lnTo>
                      <a:lnTo>
                        <a:pt x="1027" y="926"/>
                      </a:lnTo>
                      <a:lnTo>
                        <a:pt x="1028" y="926"/>
                      </a:lnTo>
                      <a:lnTo>
                        <a:pt x="1028" y="927"/>
                      </a:lnTo>
                      <a:lnTo>
                        <a:pt x="1027" y="927"/>
                      </a:lnTo>
                      <a:lnTo>
                        <a:pt x="1027" y="926"/>
                      </a:lnTo>
                      <a:lnTo>
                        <a:pt x="1028" y="925"/>
                      </a:lnTo>
                      <a:lnTo>
                        <a:pt x="1029" y="925"/>
                      </a:lnTo>
                      <a:close/>
                      <a:moveTo>
                        <a:pt x="1026" y="925"/>
                      </a:moveTo>
                      <a:lnTo>
                        <a:pt x="1027" y="926"/>
                      </a:lnTo>
                      <a:lnTo>
                        <a:pt x="1027" y="927"/>
                      </a:lnTo>
                      <a:lnTo>
                        <a:pt x="1026" y="927"/>
                      </a:lnTo>
                      <a:lnTo>
                        <a:pt x="1027" y="927"/>
                      </a:lnTo>
                      <a:lnTo>
                        <a:pt x="1027" y="928"/>
                      </a:lnTo>
                      <a:lnTo>
                        <a:pt x="1026" y="928"/>
                      </a:lnTo>
                      <a:lnTo>
                        <a:pt x="1025" y="928"/>
                      </a:lnTo>
                      <a:lnTo>
                        <a:pt x="1025" y="927"/>
                      </a:lnTo>
                      <a:lnTo>
                        <a:pt x="1025" y="928"/>
                      </a:lnTo>
                      <a:lnTo>
                        <a:pt x="1024" y="927"/>
                      </a:lnTo>
                      <a:lnTo>
                        <a:pt x="1025" y="927"/>
                      </a:lnTo>
                      <a:lnTo>
                        <a:pt x="1025" y="926"/>
                      </a:lnTo>
                      <a:lnTo>
                        <a:pt x="1025" y="925"/>
                      </a:lnTo>
                      <a:lnTo>
                        <a:pt x="1025" y="926"/>
                      </a:lnTo>
                      <a:lnTo>
                        <a:pt x="1025" y="925"/>
                      </a:lnTo>
                      <a:lnTo>
                        <a:pt x="1026" y="925"/>
                      </a:lnTo>
                      <a:close/>
                      <a:moveTo>
                        <a:pt x="1089" y="977"/>
                      </a:moveTo>
                      <a:lnTo>
                        <a:pt x="1090" y="977"/>
                      </a:lnTo>
                      <a:lnTo>
                        <a:pt x="1090" y="978"/>
                      </a:lnTo>
                      <a:lnTo>
                        <a:pt x="1089" y="978"/>
                      </a:lnTo>
                      <a:lnTo>
                        <a:pt x="1089" y="979"/>
                      </a:lnTo>
                      <a:lnTo>
                        <a:pt x="1089" y="980"/>
                      </a:lnTo>
                      <a:lnTo>
                        <a:pt x="1089" y="979"/>
                      </a:lnTo>
                      <a:lnTo>
                        <a:pt x="1087" y="979"/>
                      </a:lnTo>
                      <a:lnTo>
                        <a:pt x="1089" y="979"/>
                      </a:lnTo>
                      <a:lnTo>
                        <a:pt x="1089" y="978"/>
                      </a:lnTo>
                      <a:lnTo>
                        <a:pt x="1085" y="979"/>
                      </a:lnTo>
                      <a:lnTo>
                        <a:pt x="1085" y="978"/>
                      </a:lnTo>
                      <a:lnTo>
                        <a:pt x="1086" y="978"/>
                      </a:lnTo>
                      <a:lnTo>
                        <a:pt x="1087" y="978"/>
                      </a:lnTo>
                      <a:lnTo>
                        <a:pt x="1089" y="978"/>
                      </a:lnTo>
                      <a:lnTo>
                        <a:pt x="1090" y="978"/>
                      </a:lnTo>
                      <a:lnTo>
                        <a:pt x="1089" y="977"/>
                      </a:lnTo>
                      <a:lnTo>
                        <a:pt x="1089" y="978"/>
                      </a:lnTo>
                      <a:lnTo>
                        <a:pt x="1087" y="978"/>
                      </a:lnTo>
                      <a:lnTo>
                        <a:pt x="1086" y="978"/>
                      </a:lnTo>
                      <a:lnTo>
                        <a:pt x="1087" y="978"/>
                      </a:lnTo>
                      <a:lnTo>
                        <a:pt x="1087" y="977"/>
                      </a:lnTo>
                      <a:lnTo>
                        <a:pt x="1086" y="977"/>
                      </a:lnTo>
                      <a:lnTo>
                        <a:pt x="1086" y="978"/>
                      </a:lnTo>
                      <a:lnTo>
                        <a:pt x="1086" y="977"/>
                      </a:lnTo>
                      <a:lnTo>
                        <a:pt x="1085" y="978"/>
                      </a:lnTo>
                      <a:lnTo>
                        <a:pt x="1085" y="977"/>
                      </a:lnTo>
                      <a:lnTo>
                        <a:pt x="1086" y="977"/>
                      </a:lnTo>
                      <a:lnTo>
                        <a:pt x="1089" y="977"/>
                      </a:lnTo>
                      <a:close/>
                      <a:moveTo>
                        <a:pt x="1079" y="974"/>
                      </a:moveTo>
                      <a:lnTo>
                        <a:pt x="1079" y="975"/>
                      </a:lnTo>
                      <a:lnTo>
                        <a:pt x="1079" y="976"/>
                      </a:lnTo>
                      <a:lnTo>
                        <a:pt x="1079" y="975"/>
                      </a:lnTo>
                      <a:lnTo>
                        <a:pt x="1078" y="975"/>
                      </a:lnTo>
                      <a:lnTo>
                        <a:pt x="1078" y="974"/>
                      </a:lnTo>
                      <a:lnTo>
                        <a:pt x="1077" y="974"/>
                      </a:lnTo>
                      <a:lnTo>
                        <a:pt x="1077" y="973"/>
                      </a:lnTo>
                      <a:lnTo>
                        <a:pt x="1077" y="969"/>
                      </a:lnTo>
                      <a:lnTo>
                        <a:pt x="1078" y="969"/>
                      </a:lnTo>
                      <a:lnTo>
                        <a:pt x="1079" y="974"/>
                      </a:lnTo>
                      <a:close/>
                      <a:moveTo>
                        <a:pt x="1115" y="975"/>
                      </a:moveTo>
                      <a:lnTo>
                        <a:pt x="1111" y="976"/>
                      </a:lnTo>
                      <a:lnTo>
                        <a:pt x="1111" y="975"/>
                      </a:lnTo>
                      <a:lnTo>
                        <a:pt x="1111" y="974"/>
                      </a:lnTo>
                      <a:lnTo>
                        <a:pt x="1112" y="973"/>
                      </a:lnTo>
                      <a:lnTo>
                        <a:pt x="1113" y="973"/>
                      </a:lnTo>
                      <a:lnTo>
                        <a:pt x="1113" y="974"/>
                      </a:lnTo>
                      <a:lnTo>
                        <a:pt x="1113" y="975"/>
                      </a:lnTo>
                      <a:lnTo>
                        <a:pt x="1115" y="975"/>
                      </a:lnTo>
                      <a:close/>
                      <a:moveTo>
                        <a:pt x="986" y="909"/>
                      </a:moveTo>
                      <a:lnTo>
                        <a:pt x="984" y="909"/>
                      </a:lnTo>
                      <a:lnTo>
                        <a:pt x="983" y="909"/>
                      </a:lnTo>
                      <a:lnTo>
                        <a:pt x="981" y="909"/>
                      </a:lnTo>
                      <a:lnTo>
                        <a:pt x="982" y="909"/>
                      </a:lnTo>
                      <a:lnTo>
                        <a:pt x="981" y="909"/>
                      </a:lnTo>
                      <a:lnTo>
                        <a:pt x="982" y="909"/>
                      </a:lnTo>
                      <a:lnTo>
                        <a:pt x="982" y="907"/>
                      </a:lnTo>
                      <a:lnTo>
                        <a:pt x="982" y="906"/>
                      </a:lnTo>
                      <a:lnTo>
                        <a:pt x="983" y="906"/>
                      </a:lnTo>
                      <a:lnTo>
                        <a:pt x="983" y="907"/>
                      </a:lnTo>
                      <a:lnTo>
                        <a:pt x="984" y="909"/>
                      </a:lnTo>
                      <a:lnTo>
                        <a:pt x="983" y="907"/>
                      </a:lnTo>
                      <a:lnTo>
                        <a:pt x="983" y="906"/>
                      </a:lnTo>
                      <a:lnTo>
                        <a:pt x="984" y="906"/>
                      </a:lnTo>
                      <a:lnTo>
                        <a:pt x="986" y="906"/>
                      </a:lnTo>
                      <a:lnTo>
                        <a:pt x="986" y="907"/>
                      </a:lnTo>
                      <a:lnTo>
                        <a:pt x="986" y="909"/>
                      </a:lnTo>
                      <a:close/>
                      <a:moveTo>
                        <a:pt x="1109" y="970"/>
                      </a:moveTo>
                      <a:lnTo>
                        <a:pt x="1109" y="969"/>
                      </a:lnTo>
                      <a:lnTo>
                        <a:pt x="1110" y="969"/>
                      </a:lnTo>
                      <a:lnTo>
                        <a:pt x="1110" y="970"/>
                      </a:lnTo>
                      <a:lnTo>
                        <a:pt x="1111" y="970"/>
                      </a:lnTo>
                      <a:lnTo>
                        <a:pt x="1112" y="970"/>
                      </a:lnTo>
                      <a:lnTo>
                        <a:pt x="1111" y="970"/>
                      </a:lnTo>
                      <a:lnTo>
                        <a:pt x="1111" y="971"/>
                      </a:lnTo>
                      <a:lnTo>
                        <a:pt x="1108" y="970"/>
                      </a:lnTo>
                      <a:lnTo>
                        <a:pt x="1108" y="969"/>
                      </a:lnTo>
                      <a:lnTo>
                        <a:pt x="1109" y="969"/>
                      </a:lnTo>
                      <a:lnTo>
                        <a:pt x="1109" y="970"/>
                      </a:lnTo>
                      <a:close/>
                      <a:moveTo>
                        <a:pt x="1104" y="823"/>
                      </a:moveTo>
                      <a:lnTo>
                        <a:pt x="1105" y="823"/>
                      </a:lnTo>
                      <a:lnTo>
                        <a:pt x="1105" y="824"/>
                      </a:lnTo>
                      <a:lnTo>
                        <a:pt x="1106" y="824"/>
                      </a:lnTo>
                      <a:lnTo>
                        <a:pt x="1106" y="825"/>
                      </a:lnTo>
                      <a:lnTo>
                        <a:pt x="1105" y="825"/>
                      </a:lnTo>
                      <a:lnTo>
                        <a:pt x="1105" y="824"/>
                      </a:lnTo>
                      <a:lnTo>
                        <a:pt x="1104" y="824"/>
                      </a:lnTo>
                      <a:lnTo>
                        <a:pt x="1104" y="823"/>
                      </a:lnTo>
                      <a:lnTo>
                        <a:pt x="1104" y="824"/>
                      </a:lnTo>
                      <a:lnTo>
                        <a:pt x="1104" y="823"/>
                      </a:lnTo>
                      <a:lnTo>
                        <a:pt x="1103" y="823"/>
                      </a:lnTo>
                      <a:lnTo>
                        <a:pt x="1103" y="824"/>
                      </a:lnTo>
                      <a:lnTo>
                        <a:pt x="1104" y="824"/>
                      </a:lnTo>
                      <a:lnTo>
                        <a:pt x="1104" y="825"/>
                      </a:lnTo>
                      <a:lnTo>
                        <a:pt x="1103" y="825"/>
                      </a:lnTo>
                      <a:lnTo>
                        <a:pt x="1103" y="824"/>
                      </a:lnTo>
                      <a:lnTo>
                        <a:pt x="1103" y="823"/>
                      </a:lnTo>
                      <a:lnTo>
                        <a:pt x="1102" y="823"/>
                      </a:lnTo>
                      <a:lnTo>
                        <a:pt x="1102" y="822"/>
                      </a:lnTo>
                      <a:lnTo>
                        <a:pt x="1103" y="822"/>
                      </a:lnTo>
                      <a:lnTo>
                        <a:pt x="1104" y="822"/>
                      </a:lnTo>
                      <a:lnTo>
                        <a:pt x="1104" y="823"/>
                      </a:lnTo>
                      <a:close/>
                      <a:moveTo>
                        <a:pt x="1345" y="1181"/>
                      </a:moveTo>
                      <a:lnTo>
                        <a:pt x="1344" y="1182"/>
                      </a:lnTo>
                      <a:lnTo>
                        <a:pt x="1342" y="1183"/>
                      </a:lnTo>
                      <a:lnTo>
                        <a:pt x="1341" y="1183"/>
                      </a:lnTo>
                      <a:lnTo>
                        <a:pt x="1341" y="1184"/>
                      </a:lnTo>
                      <a:lnTo>
                        <a:pt x="1340" y="1184"/>
                      </a:lnTo>
                      <a:lnTo>
                        <a:pt x="1340" y="1183"/>
                      </a:lnTo>
                      <a:lnTo>
                        <a:pt x="1341" y="1181"/>
                      </a:lnTo>
                      <a:lnTo>
                        <a:pt x="1342" y="1181"/>
                      </a:lnTo>
                      <a:lnTo>
                        <a:pt x="1343" y="1181"/>
                      </a:lnTo>
                      <a:lnTo>
                        <a:pt x="1344" y="1181"/>
                      </a:lnTo>
                      <a:lnTo>
                        <a:pt x="1345" y="1181"/>
                      </a:lnTo>
                      <a:close/>
                      <a:moveTo>
                        <a:pt x="1334" y="1017"/>
                      </a:moveTo>
                      <a:lnTo>
                        <a:pt x="1332" y="1020"/>
                      </a:lnTo>
                      <a:lnTo>
                        <a:pt x="1332" y="1021"/>
                      </a:lnTo>
                      <a:lnTo>
                        <a:pt x="1331" y="1020"/>
                      </a:lnTo>
                      <a:lnTo>
                        <a:pt x="1330" y="1020"/>
                      </a:lnTo>
                      <a:lnTo>
                        <a:pt x="1330" y="1019"/>
                      </a:lnTo>
                      <a:lnTo>
                        <a:pt x="1331" y="1018"/>
                      </a:lnTo>
                      <a:lnTo>
                        <a:pt x="1332" y="1018"/>
                      </a:lnTo>
                      <a:lnTo>
                        <a:pt x="1332" y="1019"/>
                      </a:lnTo>
                      <a:lnTo>
                        <a:pt x="1332" y="1018"/>
                      </a:lnTo>
                      <a:lnTo>
                        <a:pt x="1334" y="1018"/>
                      </a:lnTo>
                      <a:lnTo>
                        <a:pt x="1334" y="1017"/>
                      </a:lnTo>
                      <a:close/>
                      <a:moveTo>
                        <a:pt x="1227" y="1060"/>
                      </a:moveTo>
                      <a:lnTo>
                        <a:pt x="1227" y="1061"/>
                      </a:lnTo>
                      <a:lnTo>
                        <a:pt x="1227" y="1063"/>
                      </a:lnTo>
                      <a:lnTo>
                        <a:pt x="1226" y="1063"/>
                      </a:lnTo>
                      <a:lnTo>
                        <a:pt x="1225" y="1061"/>
                      </a:lnTo>
                      <a:lnTo>
                        <a:pt x="1224" y="1061"/>
                      </a:lnTo>
                      <a:lnTo>
                        <a:pt x="1224" y="1060"/>
                      </a:lnTo>
                      <a:lnTo>
                        <a:pt x="1225" y="1060"/>
                      </a:lnTo>
                      <a:lnTo>
                        <a:pt x="1225" y="1059"/>
                      </a:lnTo>
                      <a:lnTo>
                        <a:pt x="1226" y="1059"/>
                      </a:lnTo>
                      <a:lnTo>
                        <a:pt x="1226" y="1060"/>
                      </a:lnTo>
                      <a:lnTo>
                        <a:pt x="1227" y="1060"/>
                      </a:lnTo>
                      <a:close/>
                      <a:moveTo>
                        <a:pt x="1029" y="929"/>
                      </a:moveTo>
                      <a:lnTo>
                        <a:pt x="1029" y="930"/>
                      </a:lnTo>
                      <a:lnTo>
                        <a:pt x="1030" y="930"/>
                      </a:lnTo>
                      <a:lnTo>
                        <a:pt x="1030" y="931"/>
                      </a:lnTo>
                      <a:lnTo>
                        <a:pt x="1029" y="931"/>
                      </a:lnTo>
                      <a:lnTo>
                        <a:pt x="1029" y="930"/>
                      </a:lnTo>
                      <a:lnTo>
                        <a:pt x="1028" y="929"/>
                      </a:lnTo>
                      <a:lnTo>
                        <a:pt x="1028" y="930"/>
                      </a:lnTo>
                      <a:lnTo>
                        <a:pt x="1027" y="930"/>
                      </a:lnTo>
                      <a:lnTo>
                        <a:pt x="1027" y="931"/>
                      </a:lnTo>
                      <a:lnTo>
                        <a:pt x="1027" y="930"/>
                      </a:lnTo>
                      <a:lnTo>
                        <a:pt x="1026" y="930"/>
                      </a:lnTo>
                      <a:lnTo>
                        <a:pt x="1026" y="931"/>
                      </a:lnTo>
                      <a:lnTo>
                        <a:pt x="1026" y="930"/>
                      </a:lnTo>
                      <a:lnTo>
                        <a:pt x="1025" y="930"/>
                      </a:lnTo>
                      <a:lnTo>
                        <a:pt x="1025" y="931"/>
                      </a:lnTo>
                      <a:lnTo>
                        <a:pt x="1025" y="932"/>
                      </a:lnTo>
                      <a:lnTo>
                        <a:pt x="1025" y="931"/>
                      </a:lnTo>
                      <a:lnTo>
                        <a:pt x="1026" y="931"/>
                      </a:lnTo>
                      <a:lnTo>
                        <a:pt x="1026" y="932"/>
                      </a:lnTo>
                      <a:lnTo>
                        <a:pt x="1025" y="932"/>
                      </a:lnTo>
                      <a:lnTo>
                        <a:pt x="1024" y="932"/>
                      </a:lnTo>
                      <a:lnTo>
                        <a:pt x="1024" y="934"/>
                      </a:lnTo>
                      <a:lnTo>
                        <a:pt x="1024" y="932"/>
                      </a:lnTo>
                      <a:lnTo>
                        <a:pt x="1024" y="931"/>
                      </a:lnTo>
                      <a:lnTo>
                        <a:pt x="1025" y="930"/>
                      </a:lnTo>
                      <a:lnTo>
                        <a:pt x="1026" y="930"/>
                      </a:lnTo>
                      <a:lnTo>
                        <a:pt x="1025" y="930"/>
                      </a:lnTo>
                      <a:lnTo>
                        <a:pt x="1026" y="930"/>
                      </a:lnTo>
                      <a:lnTo>
                        <a:pt x="1027" y="930"/>
                      </a:lnTo>
                      <a:lnTo>
                        <a:pt x="1027" y="929"/>
                      </a:lnTo>
                      <a:lnTo>
                        <a:pt x="1028" y="929"/>
                      </a:lnTo>
                      <a:lnTo>
                        <a:pt x="1029" y="929"/>
                      </a:lnTo>
                      <a:close/>
                      <a:moveTo>
                        <a:pt x="979" y="989"/>
                      </a:moveTo>
                      <a:lnTo>
                        <a:pt x="980" y="989"/>
                      </a:lnTo>
                      <a:lnTo>
                        <a:pt x="980" y="988"/>
                      </a:lnTo>
                      <a:lnTo>
                        <a:pt x="980" y="989"/>
                      </a:lnTo>
                      <a:lnTo>
                        <a:pt x="975" y="989"/>
                      </a:lnTo>
                      <a:lnTo>
                        <a:pt x="974" y="989"/>
                      </a:lnTo>
                      <a:lnTo>
                        <a:pt x="974" y="988"/>
                      </a:lnTo>
                      <a:lnTo>
                        <a:pt x="975" y="988"/>
                      </a:lnTo>
                      <a:lnTo>
                        <a:pt x="976" y="988"/>
                      </a:lnTo>
                      <a:lnTo>
                        <a:pt x="977" y="988"/>
                      </a:lnTo>
                      <a:lnTo>
                        <a:pt x="978" y="988"/>
                      </a:lnTo>
                      <a:lnTo>
                        <a:pt x="979" y="989"/>
                      </a:lnTo>
                      <a:close/>
                      <a:moveTo>
                        <a:pt x="1069" y="968"/>
                      </a:moveTo>
                      <a:lnTo>
                        <a:pt x="1070" y="968"/>
                      </a:lnTo>
                      <a:lnTo>
                        <a:pt x="1070" y="969"/>
                      </a:lnTo>
                      <a:lnTo>
                        <a:pt x="1069" y="969"/>
                      </a:lnTo>
                      <a:lnTo>
                        <a:pt x="1069" y="968"/>
                      </a:lnTo>
                      <a:lnTo>
                        <a:pt x="1068" y="968"/>
                      </a:lnTo>
                      <a:lnTo>
                        <a:pt x="1067" y="968"/>
                      </a:lnTo>
                      <a:lnTo>
                        <a:pt x="1066" y="968"/>
                      </a:lnTo>
                      <a:lnTo>
                        <a:pt x="1067" y="967"/>
                      </a:lnTo>
                      <a:lnTo>
                        <a:pt x="1068" y="967"/>
                      </a:lnTo>
                      <a:lnTo>
                        <a:pt x="1069" y="966"/>
                      </a:lnTo>
                      <a:lnTo>
                        <a:pt x="1069" y="964"/>
                      </a:lnTo>
                      <a:lnTo>
                        <a:pt x="1069" y="965"/>
                      </a:lnTo>
                      <a:lnTo>
                        <a:pt x="1069" y="966"/>
                      </a:lnTo>
                      <a:lnTo>
                        <a:pt x="1069" y="967"/>
                      </a:lnTo>
                      <a:lnTo>
                        <a:pt x="1070" y="967"/>
                      </a:lnTo>
                      <a:lnTo>
                        <a:pt x="1069" y="968"/>
                      </a:lnTo>
                      <a:close/>
                      <a:moveTo>
                        <a:pt x="1103" y="957"/>
                      </a:moveTo>
                      <a:lnTo>
                        <a:pt x="1103" y="958"/>
                      </a:lnTo>
                      <a:lnTo>
                        <a:pt x="1103" y="960"/>
                      </a:lnTo>
                      <a:lnTo>
                        <a:pt x="1102" y="960"/>
                      </a:lnTo>
                      <a:lnTo>
                        <a:pt x="1102" y="961"/>
                      </a:lnTo>
                      <a:lnTo>
                        <a:pt x="1100" y="961"/>
                      </a:lnTo>
                      <a:lnTo>
                        <a:pt x="1100" y="960"/>
                      </a:lnTo>
                      <a:lnTo>
                        <a:pt x="1102" y="957"/>
                      </a:lnTo>
                      <a:lnTo>
                        <a:pt x="1103" y="957"/>
                      </a:lnTo>
                      <a:close/>
                      <a:moveTo>
                        <a:pt x="1046" y="924"/>
                      </a:moveTo>
                      <a:lnTo>
                        <a:pt x="1046" y="925"/>
                      </a:lnTo>
                      <a:lnTo>
                        <a:pt x="1046" y="926"/>
                      </a:lnTo>
                      <a:lnTo>
                        <a:pt x="1046" y="927"/>
                      </a:lnTo>
                      <a:lnTo>
                        <a:pt x="1046" y="928"/>
                      </a:lnTo>
                      <a:lnTo>
                        <a:pt x="1046" y="929"/>
                      </a:lnTo>
                      <a:lnTo>
                        <a:pt x="1045" y="928"/>
                      </a:lnTo>
                      <a:lnTo>
                        <a:pt x="1044" y="929"/>
                      </a:lnTo>
                      <a:lnTo>
                        <a:pt x="1044" y="928"/>
                      </a:lnTo>
                      <a:lnTo>
                        <a:pt x="1045" y="928"/>
                      </a:lnTo>
                      <a:lnTo>
                        <a:pt x="1044" y="927"/>
                      </a:lnTo>
                      <a:lnTo>
                        <a:pt x="1045" y="927"/>
                      </a:lnTo>
                      <a:lnTo>
                        <a:pt x="1045" y="926"/>
                      </a:lnTo>
                      <a:lnTo>
                        <a:pt x="1045" y="925"/>
                      </a:lnTo>
                      <a:lnTo>
                        <a:pt x="1044" y="926"/>
                      </a:lnTo>
                      <a:lnTo>
                        <a:pt x="1044" y="927"/>
                      </a:lnTo>
                      <a:lnTo>
                        <a:pt x="1044" y="926"/>
                      </a:lnTo>
                      <a:lnTo>
                        <a:pt x="1044" y="925"/>
                      </a:lnTo>
                      <a:lnTo>
                        <a:pt x="1045" y="925"/>
                      </a:lnTo>
                      <a:lnTo>
                        <a:pt x="1045" y="924"/>
                      </a:lnTo>
                      <a:lnTo>
                        <a:pt x="1046" y="924"/>
                      </a:lnTo>
                      <a:close/>
                      <a:moveTo>
                        <a:pt x="1070" y="992"/>
                      </a:moveTo>
                      <a:lnTo>
                        <a:pt x="1070" y="993"/>
                      </a:lnTo>
                      <a:lnTo>
                        <a:pt x="1071" y="993"/>
                      </a:lnTo>
                      <a:lnTo>
                        <a:pt x="1071" y="994"/>
                      </a:lnTo>
                      <a:lnTo>
                        <a:pt x="1070" y="994"/>
                      </a:lnTo>
                      <a:lnTo>
                        <a:pt x="1070" y="995"/>
                      </a:lnTo>
                      <a:lnTo>
                        <a:pt x="1070" y="996"/>
                      </a:lnTo>
                      <a:lnTo>
                        <a:pt x="1069" y="996"/>
                      </a:lnTo>
                      <a:lnTo>
                        <a:pt x="1069" y="995"/>
                      </a:lnTo>
                      <a:lnTo>
                        <a:pt x="1069" y="994"/>
                      </a:lnTo>
                      <a:lnTo>
                        <a:pt x="1069" y="993"/>
                      </a:lnTo>
                      <a:lnTo>
                        <a:pt x="1069" y="992"/>
                      </a:lnTo>
                      <a:lnTo>
                        <a:pt x="1070" y="992"/>
                      </a:lnTo>
                      <a:close/>
                      <a:moveTo>
                        <a:pt x="1361" y="1041"/>
                      </a:moveTo>
                      <a:lnTo>
                        <a:pt x="1361" y="1042"/>
                      </a:lnTo>
                      <a:lnTo>
                        <a:pt x="1361" y="1043"/>
                      </a:lnTo>
                      <a:lnTo>
                        <a:pt x="1362" y="1043"/>
                      </a:lnTo>
                      <a:lnTo>
                        <a:pt x="1362" y="1042"/>
                      </a:lnTo>
                      <a:lnTo>
                        <a:pt x="1362" y="1043"/>
                      </a:lnTo>
                      <a:lnTo>
                        <a:pt x="1362" y="1044"/>
                      </a:lnTo>
                      <a:lnTo>
                        <a:pt x="1363" y="1043"/>
                      </a:lnTo>
                      <a:lnTo>
                        <a:pt x="1363" y="1044"/>
                      </a:lnTo>
                      <a:lnTo>
                        <a:pt x="1362" y="1044"/>
                      </a:lnTo>
                      <a:lnTo>
                        <a:pt x="1361" y="1044"/>
                      </a:lnTo>
                      <a:lnTo>
                        <a:pt x="1361" y="1043"/>
                      </a:lnTo>
                      <a:lnTo>
                        <a:pt x="1361" y="1042"/>
                      </a:lnTo>
                      <a:lnTo>
                        <a:pt x="1360" y="1042"/>
                      </a:lnTo>
                      <a:lnTo>
                        <a:pt x="1360" y="1041"/>
                      </a:lnTo>
                      <a:lnTo>
                        <a:pt x="1360" y="1040"/>
                      </a:lnTo>
                      <a:lnTo>
                        <a:pt x="1360" y="1041"/>
                      </a:lnTo>
                      <a:lnTo>
                        <a:pt x="1360" y="1040"/>
                      </a:lnTo>
                      <a:lnTo>
                        <a:pt x="1361" y="1040"/>
                      </a:lnTo>
                      <a:lnTo>
                        <a:pt x="1361" y="1041"/>
                      </a:lnTo>
                      <a:close/>
                      <a:moveTo>
                        <a:pt x="1119" y="973"/>
                      </a:moveTo>
                      <a:lnTo>
                        <a:pt x="1120" y="973"/>
                      </a:lnTo>
                      <a:lnTo>
                        <a:pt x="1119" y="973"/>
                      </a:lnTo>
                      <a:lnTo>
                        <a:pt x="1120" y="973"/>
                      </a:lnTo>
                      <a:lnTo>
                        <a:pt x="1120" y="974"/>
                      </a:lnTo>
                      <a:lnTo>
                        <a:pt x="1120" y="975"/>
                      </a:lnTo>
                      <a:lnTo>
                        <a:pt x="1119" y="975"/>
                      </a:lnTo>
                      <a:lnTo>
                        <a:pt x="1117" y="974"/>
                      </a:lnTo>
                      <a:lnTo>
                        <a:pt x="1118" y="973"/>
                      </a:lnTo>
                      <a:lnTo>
                        <a:pt x="1119" y="973"/>
                      </a:lnTo>
                      <a:close/>
                      <a:moveTo>
                        <a:pt x="1115" y="814"/>
                      </a:moveTo>
                      <a:lnTo>
                        <a:pt x="1115" y="815"/>
                      </a:lnTo>
                      <a:lnTo>
                        <a:pt x="1116" y="814"/>
                      </a:lnTo>
                      <a:lnTo>
                        <a:pt x="1115" y="815"/>
                      </a:lnTo>
                      <a:lnTo>
                        <a:pt x="1116" y="815"/>
                      </a:lnTo>
                      <a:lnTo>
                        <a:pt x="1116" y="816"/>
                      </a:lnTo>
                      <a:lnTo>
                        <a:pt x="1115" y="816"/>
                      </a:lnTo>
                      <a:lnTo>
                        <a:pt x="1116" y="817"/>
                      </a:lnTo>
                      <a:lnTo>
                        <a:pt x="1115" y="817"/>
                      </a:lnTo>
                      <a:lnTo>
                        <a:pt x="1113" y="817"/>
                      </a:lnTo>
                      <a:lnTo>
                        <a:pt x="1112" y="816"/>
                      </a:lnTo>
                      <a:lnTo>
                        <a:pt x="1113" y="816"/>
                      </a:lnTo>
                      <a:lnTo>
                        <a:pt x="1113" y="815"/>
                      </a:lnTo>
                      <a:lnTo>
                        <a:pt x="1115" y="815"/>
                      </a:lnTo>
                      <a:lnTo>
                        <a:pt x="1115" y="814"/>
                      </a:lnTo>
                      <a:lnTo>
                        <a:pt x="1113" y="814"/>
                      </a:lnTo>
                      <a:lnTo>
                        <a:pt x="1115" y="814"/>
                      </a:lnTo>
                      <a:close/>
                      <a:moveTo>
                        <a:pt x="1081" y="801"/>
                      </a:moveTo>
                      <a:lnTo>
                        <a:pt x="1081" y="802"/>
                      </a:lnTo>
                      <a:lnTo>
                        <a:pt x="1082" y="802"/>
                      </a:lnTo>
                      <a:lnTo>
                        <a:pt x="1083" y="802"/>
                      </a:lnTo>
                      <a:lnTo>
                        <a:pt x="1084" y="802"/>
                      </a:lnTo>
                      <a:lnTo>
                        <a:pt x="1085" y="802"/>
                      </a:lnTo>
                      <a:lnTo>
                        <a:pt x="1086" y="802"/>
                      </a:lnTo>
                      <a:lnTo>
                        <a:pt x="1087" y="802"/>
                      </a:lnTo>
                      <a:lnTo>
                        <a:pt x="1089" y="802"/>
                      </a:lnTo>
                      <a:lnTo>
                        <a:pt x="1089" y="803"/>
                      </a:lnTo>
                      <a:lnTo>
                        <a:pt x="1087" y="803"/>
                      </a:lnTo>
                      <a:lnTo>
                        <a:pt x="1087" y="802"/>
                      </a:lnTo>
                      <a:lnTo>
                        <a:pt x="1085" y="802"/>
                      </a:lnTo>
                      <a:lnTo>
                        <a:pt x="1084" y="802"/>
                      </a:lnTo>
                      <a:lnTo>
                        <a:pt x="1083" y="802"/>
                      </a:lnTo>
                      <a:lnTo>
                        <a:pt x="1082" y="803"/>
                      </a:lnTo>
                      <a:lnTo>
                        <a:pt x="1081" y="803"/>
                      </a:lnTo>
                      <a:lnTo>
                        <a:pt x="1081" y="802"/>
                      </a:lnTo>
                      <a:lnTo>
                        <a:pt x="1081" y="801"/>
                      </a:lnTo>
                      <a:close/>
                      <a:moveTo>
                        <a:pt x="1079" y="979"/>
                      </a:moveTo>
                      <a:lnTo>
                        <a:pt x="1079" y="980"/>
                      </a:lnTo>
                      <a:lnTo>
                        <a:pt x="1078" y="980"/>
                      </a:lnTo>
                      <a:lnTo>
                        <a:pt x="1076" y="980"/>
                      </a:lnTo>
                      <a:lnTo>
                        <a:pt x="1074" y="980"/>
                      </a:lnTo>
                      <a:lnTo>
                        <a:pt x="1074" y="979"/>
                      </a:lnTo>
                      <a:lnTo>
                        <a:pt x="1076" y="979"/>
                      </a:lnTo>
                      <a:lnTo>
                        <a:pt x="1077" y="979"/>
                      </a:lnTo>
                      <a:lnTo>
                        <a:pt x="1078" y="979"/>
                      </a:lnTo>
                      <a:lnTo>
                        <a:pt x="1077" y="979"/>
                      </a:lnTo>
                      <a:lnTo>
                        <a:pt x="1078" y="978"/>
                      </a:lnTo>
                      <a:lnTo>
                        <a:pt x="1078" y="979"/>
                      </a:lnTo>
                      <a:lnTo>
                        <a:pt x="1079" y="978"/>
                      </a:lnTo>
                      <a:lnTo>
                        <a:pt x="1079" y="979"/>
                      </a:lnTo>
                      <a:close/>
                      <a:moveTo>
                        <a:pt x="1102" y="977"/>
                      </a:moveTo>
                      <a:lnTo>
                        <a:pt x="1103" y="978"/>
                      </a:lnTo>
                      <a:lnTo>
                        <a:pt x="1102" y="978"/>
                      </a:lnTo>
                      <a:lnTo>
                        <a:pt x="1100" y="978"/>
                      </a:lnTo>
                      <a:lnTo>
                        <a:pt x="1100" y="979"/>
                      </a:lnTo>
                      <a:lnTo>
                        <a:pt x="1099" y="979"/>
                      </a:lnTo>
                      <a:lnTo>
                        <a:pt x="1100" y="979"/>
                      </a:lnTo>
                      <a:lnTo>
                        <a:pt x="1100" y="980"/>
                      </a:lnTo>
                      <a:lnTo>
                        <a:pt x="1099" y="980"/>
                      </a:lnTo>
                      <a:lnTo>
                        <a:pt x="1099" y="979"/>
                      </a:lnTo>
                      <a:lnTo>
                        <a:pt x="1098" y="979"/>
                      </a:lnTo>
                      <a:lnTo>
                        <a:pt x="1097" y="979"/>
                      </a:lnTo>
                      <a:lnTo>
                        <a:pt x="1097" y="978"/>
                      </a:lnTo>
                      <a:lnTo>
                        <a:pt x="1099" y="977"/>
                      </a:lnTo>
                      <a:lnTo>
                        <a:pt x="1100" y="977"/>
                      </a:lnTo>
                      <a:lnTo>
                        <a:pt x="1102" y="977"/>
                      </a:lnTo>
                      <a:close/>
                      <a:moveTo>
                        <a:pt x="1105" y="803"/>
                      </a:moveTo>
                      <a:lnTo>
                        <a:pt x="1104" y="804"/>
                      </a:lnTo>
                      <a:lnTo>
                        <a:pt x="1105" y="806"/>
                      </a:lnTo>
                      <a:lnTo>
                        <a:pt x="1104" y="806"/>
                      </a:lnTo>
                      <a:lnTo>
                        <a:pt x="1103" y="806"/>
                      </a:lnTo>
                      <a:lnTo>
                        <a:pt x="1103" y="804"/>
                      </a:lnTo>
                      <a:lnTo>
                        <a:pt x="1102" y="804"/>
                      </a:lnTo>
                      <a:lnTo>
                        <a:pt x="1103" y="804"/>
                      </a:lnTo>
                      <a:lnTo>
                        <a:pt x="1103" y="803"/>
                      </a:lnTo>
                      <a:lnTo>
                        <a:pt x="1102" y="803"/>
                      </a:lnTo>
                      <a:lnTo>
                        <a:pt x="1103" y="803"/>
                      </a:lnTo>
                      <a:lnTo>
                        <a:pt x="1104" y="803"/>
                      </a:lnTo>
                      <a:lnTo>
                        <a:pt x="1104" y="802"/>
                      </a:lnTo>
                      <a:lnTo>
                        <a:pt x="1105" y="802"/>
                      </a:lnTo>
                      <a:lnTo>
                        <a:pt x="1104" y="803"/>
                      </a:lnTo>
                      <a:lnTo>
                        <a:pt x="1105" y="803"/>
                      </a:lnTo>
                      <a:close/>
                      <a:moveTo>
                        <a:pt x="1087" y="973"/>
                      </a:moveTo>
                      <a:lnTo>
                        <a:pt x="1089" y="973"/>
                      </a:lnTo>
                      <a:lnTo>
                        <a:pt x="1090" y="973"/>
                      </a:lnTo>
                      <a:lnTo>
                        <a:pt x="1091" y="971"/>
                      </a:lnTo>
                      <a:lnTo>
                        <a:pt x="1091" y="970"/>
                      </a:lnTo>
                      <a:lnTo>
                        <a:pt x="1092" y="970"/>
                      </a:lnTo>
                      <a:lnTo>
                        <a:pt x="1090" y="974"/>
                      </a:lnTo>
                      <a:lnTo>
                        <a:pt x="1089" y="974"/>
                      </a:lnTo>
                      <a:lnTo>
                        <a:pt x="1089" y="973"/>
                      </a:lnTo>
                      <a:lnTo>
                        <a:pt x="1087" y="973"/>
                      </a:lnTo>
                      <a:lnTo>
                        <a:pt x="1086" y="973"/>
                      </a:lnTo>
                      <a:lnTo>
                        <a:pt x="1086" y="971"/>
                      </a:lnTo>
                      <a:lnTo>
                        <a:pt x="1085" y="971"/>
                      </a:lnTo>
                      <a:lnTo>
                        <a:pt x="1085" y="970"/>
                      </a:lnTo>
                      <a:lnTo>
                        <a:pt x="1085" y="969"/>
                      </a:lnTo>
                      <a:lnTo>
                        <a:pt x="1085" y="968"/>
                      </a:lnTo>
                      <a:lnTo>
                        <a:pt x="1085" y="967"/>
                      </a:lnTo>
                      <a:lnTo>
                        <a:pt x="1085" y="968"/>
                      </a:lnTo>
                      <a:lnTo>
                        <a:pt x="1085" y="969"/>
                      </a:lnTo>
                      <a:lnTo>
                        <a:pt x="1086" y="970"/>
                      </a:lnTo>
                      <a:lnTo>
                        <a:pt x="1086" y="971"/>
                      </a:lnTo>
                      <a:lnTo>
                        <a:pt x="1087" y="971"/>
                      </a:lnTo>
                      <a:lnTo>
                        <a:pt x="1087" y="973"/>
                      </a:lnTo>
                      <a:close/>
                      <a:moveTo>
                        <a:pt x="1420" y="1124"/>
                      </a:moveTo>
                      <a:lnTo>
                        <a:pt x="1421" y="1124"/>
                      </a:lnTo>
                      <a:lnTo>
                        <a:pt x="1422" y="1124"/>
                      </a:lnTo>
                      <a:lnTo>
                        <a:pt x="1422" y="1125"/>
                      </a:lnTo>
                      <a:lnTo>
                        <a:pt x="1421" y="1125"/>
                      </a:lnTo>
                      <a:lnTo>
                        <a:pt x="1420" y="1125"/>
                      </a:lnTo>
                      <a:lnTo>
                        <a:pt x="1419" y="1125"/>
                      </a:lnTo>
                      <a:lnTo>
                        <a:pt x="1419" y="1124"/>
                      </a:lnTo>
                      <a:lnTo>
                        <a:pt x="1418" y="1124"/>
                      </a:lnTo>
                      <a:lnTo>
                        <a:pt x="1417" y="1124"/>
                      </a:lnTo>
                      <a:lnTo>
                        <a:pt x="1418" y="1124"/>
                      </a:lnTo>
                      <a:lnTo>
                        <a:pt x="1419" y="1124"/>
                      </a:lnTo>
                      <a:lnTo>
                        <a:pt x="1420" y="1124"/>
                      </a:lnTo>
                      <a:close/>
                      <a:moveTo>
                        <a:pt x="1368" y="1030"/>
                      </a:moveTo>
                      <a:lnTo>
                        <a:pt x="1369" y="1030"/>
                      </a:lnTo>
                      <a:lnTo>
                        <a:pt x="1369" y="1031"/>
                      </a:lnTo>
                      <a:lnTo>
                        <a:pt x="1368" y="1031"/>
                      </a:lnTo>
                      <a:lnTo>
                        <a:pt x="1368" y="1032"/>
                      </a:lnTo>
                      <a:lnTo>
                        <a:pt x="1367" y="1032"/>
                      </a:lnTo>
                      <a:lnTo>
                        <a:pt x="1367" y="1031"/>
                      </a:lnTo>
                      <a:lnTo>
                        <a:pt x="1367" y="1032"/>
                      </a:lnTo>
                      <a:lnTo>
                        <a:pt x="1366" y="1032"/>
                      </a:lnTo>
                      <a:lnTo>
                        <a:pt x="1366" y="1031"/>
                      </a:lnTo>
                      <a:lnTo>
                        <a:pt x="1367" y="1031"/>
                      </a:lnTo>
                      <a:lnTo>
                        <a:pt x="1367" y="1030"/>
                      </a:lnTo>
                      <a:lnTo>
                        <a:pt x="1368" y="1030"/>
                      </a:lnTo>
                      <a:close/>
                      <a:moveTo>
                        <a:pt x="1224" y="1033"/>
                      </a:moveTo>
                      <a:lnTo>
                        <a:pt x="1226" y="1033"/>
                      </a:lnTo>
                      <a:lnTo>
                        <a:pt x="1227" y="1033"/>
                      </a:lnTo>
                      <a:lnTo>
                        <a:pt x="1226" y="1033"/>
                      </a:lnTo>
                      <a:lnTo>
                        <a:pt x="1227" y="1032"/>
                      </a:lnTo>
                      <a:lnTo>
                        <a:pt x="1227" y="1033"/>
                      </a:lnTo>
                      <a:lnTo>
                        <a:pt x="1227" y="1034"/>
                      </a:lnTo>
                      <a:lnTo>
                        <a:pt x="1226" y="1034"/>
                      </a:lnTo>
                      <a:lnTo>
                        <a:pt x="1225" y="1034"/>
                      </a:lnTo>
                      <a:lnTo>
                        <a:pt x="1224" y="1034"/>
                      </a:lnTo>
                      <a:lnTo>
                        <a:pt x="1223" y="1034"/>
                      </a:lnTo>
                      <a:lnTo>
                        <a:pt x="1223" y="1033"/>
                      </a:lnTo>
                      <a:lnTo>
                        <a:pt x="1223" y="1032"/>
                      </a:lnTo>
                      <a:lnTo>
                        <a:pt x="1223" y="1033"/>
                      </a:lnTo>
                      <a:lnTo>
                        <a:pt x="1224" y="1033"/>
                      </a:lnTo>
                      <a:close/>
                      <a:moveTo>
                        <a:pt x="1340" y="950"/>
                      </a:moveTo>
                      <a:lnTo>
                        <a:pt x="1341" y="950"/>
                      </a:lnTo>
                      <a:lnTo>
                        <a:pt x="1340" y="950"/>
                      </a:lnTo>
                      <a:lnTo>
                        <a:pt x="1341" y="951"/>
                      </a:lnTo>
                      <a:lnTo>
                        <a:pt x="1340" y="951"/>
                      </a:lnTo>
                      <a:lnTo>
                        <a:pt x="1339" y="951"/>
                      </a:lnTo>
                      <a:lnTo>
                        <a:pt x="1338" y="951"/>
                      </a:lnTo>
                      <a:lnTo>
                        <a:pt x="1338" y="950"/>
                      </a:lnTo>
                      <a:lnTo>
                        <a:pt x="1338" y="949"/>
                      </a:lnTo>
                      <a:lnTo>
                        <a:pt x="1339" y="949"/>
                      </a:lnTo>
                      <a:lnTo>
                        <a:pt x="1340" y="949"/>
                      </a:lnTo>
                      <a:lnTo>
                        <a:pt x="1340" y="950"/>
                      </a:lnTo>
                      <a:close/>
                      <a:moveTo>
                        <a:pt x="1282" y="954"/>
                      </a:moveTo>
                      <a:lnTo>
                        <a:pt x="1283" y="955"/>
                      </a:lnTo>
                      <a:lnTo>
                        <a:pt x="1282" y="955"/>
                      </a:lnTo>
                      <a:lnTo>
                        <a:pt x="1282" y="956"/>
                      </a:lnTo>
                      <a:lnTo>
                        <a:pt x="1283" y="955"/>
                      </a:lnTo>
                      <a:lnTo>
                        <a:pt x="1283" y="956"/>
                      </a:lnTo>
                      <a:lnTo>
                        <a:pt x="1282" y="956"/>
                      </a:lnTo>
                      <a:lnTo>
                        <a:pt x="1282" y="955"/>
                      </a:lnTo>
                      <a:lnTo>
                        <a:pt x="1282" y="954"/>
                      </a:lnTo>
                      <a:lnTo>
                        <a:pt x="1280" y="954"/>
                      </a:lnTo>
                      <a:lnTo>
                        <a:pt x="1279" y="954"/>
                      </a:lnTo>
                      <a:lnTo>
                        <a:pt x="1278" y="954"/>
                      </a:lnTo>
                      <a:lnTo>
                        <a:pt x="1278" y="953"/>
                      </a:lnTo>
                      <a:lnTo>
                        <a:pt x="1277" y="953"/>
                      </a:lnTo>
                      <a:lnTo>
                        <a:pt x="1278" y="953"/>
                      </a:lnTo>
                      <a:lnTo>
                        <a:pt x="1279" y="952"/>
                      </a:lnTo>
                      <a:lnTo>
                        <a:pt x="1280" y="953"/>
                      </a:lnTo>
                      <a:lnTo>
                        <a:pt x="1282" y="953"/>
                      </a:lnTo>
                      <a:lnTo>
                        <a:pt x="1282" y="954"/>
                      </a:lnTo>
                      <a:close/>
                      <a:moveTo>
                        <a:pt x="1336" y="1009"/>
                      </a:moveTo>
                      <a:lnTo>
                        <a:pt x="1336" y="1012"/>
                      </a:lnTo>
                      <a:lnTo>
                        <a:pt x="1335" y="1012"/>
                      </a:lnTo>
                      <a:lnTo>
                        <a:pt x="1335" y="1013"/>
                      </a:lnTo>
                      <a:lnTo>
                        <a:pt x="1335" y="1014"/>
                      </a:lnTo>
                      <a:lnTo>
                        <a:pt x="1335" y="1013"/>
                      </a:lnTo>
                      <a:lnTo>
                        <a:pt x="1334" y="1013"/>
                      </a:lnTo>
                      <a:lnTo>
                        <a:pt x="1332" y="1012"/>
                      </a:lnTo>
                      <a:lnTo>
                        <a:pt x="1334" y="1012"/>
                      </a:lnTo>
                      <a:lnTo>
                        <a:pt x="1335" y="1013"/>
                      </a:lnTo>
                      <a:lnTo>
                        <a:pt x="1335" y="1012"/>
                      </a:lnTo>
                      <a:lnTo>
                        <a:pt x="1335" y="1011"/>
                      </a:lnTo>
                      <a:lnTo>
                        <a:pt x="1336" y="1011"/>
                      </a:lnTo>
                      <a:lnTo>
                        <a:pt x="1336" y="1009"/>
                      </a:lnTo>
                      <a:close/>
                      <a:moveTo>
                        <a:pt x="1045" y="993"/>
                      </a:moveTo>
                      <a:lnTo>
                        <a:pt x="1046" y="994"/>
                      </a:lnTo>
                      <a:lnTo>
                        <a:pt x="1048" y="995"/>
                      </a:lnTo>
                      <a:lnTo>
                        <a:pt x="1047" y="995"/>
                      </a:lnTo>
                      <a:lnTo>
                        <a:pt x="1046" y="995"/>
                      </a:lnTo>
                      <a:lnTo>
                        <a:pt x="1046" y="994"/>
                      </a:lnTo>
                      <a:lnTo>
                        <a:pt x="1045" y="994"/>
                      </a:lnTo>
                      <a:lnTo>
                        <a:pt x="1044" y="994"/>
                      </a:lnTo>
                      <a:lnTo>
                        <a:pt x="1043" y="993"/>
                      </a:lnTo>
                      <a:lnTo>
                        <a:pt x="1044" y="993"/>
                      </a:lnTo>
                      <a:lnTo>
                        <a:pt x="1045" y="993"/>
                      </a:lnTo>
                      <a:close/>
                      <a:moveTo>
                        <a:pt x="1482" y="1077"/>
                      </a:moveTo>
                      <a:lnTo>
                        <a:pt x="1483" y="1078"/>
                      </a:lnTo>
                      <a:lnTo>
                        <a:pt x="1482" y="1079"/>
                      </a:lnTo>
                      <a:lnTo>
                        <a:pt x="1479" y="1080"/>
                      </a:lnTo>
                      <a:lnTo>
                        <a:pt x="1479" y="1079"/>
                      </a:lnTo>
                      <a:lnTo>
                        <a:pt x="1480" y="1079"/>
                      </a:lnTo>
                      <a:lnTo>
                        <a:pt x="1480" y="1078"/>
                      </a:lnTo>
                      <a:lnTo>
                        <a:pt x="1481" y="1078"/>
                      </a:lnTo>
                      <a:lnTo>
                        <a:pt x="1482" y="1077"/>
                      </a:lnTo>
                      <a:close/>
                      <a:moveTo>
                        <a:pt x="1277" y="952"/>
                      </a:moveTo>
                      <a:lnTo>
                        <a:pt x="1278" y="952"/>
                      </a:lnTo>
                      <a:lnTo>
                        <a:pt x="1278" y="953"/>
                      </a:lnTo>
                      <a:lnTo>
                        <a:pt x="1277" y="953"/>
                      </a:lnTo>
                      <a:lnTo>
                        <a:pt x="1277" y="954"/>
                      </a:lnTo>
                      <a:lnTo>
                        <a:pt x="1277" y="955"/>
                      </a:lnTo>
                      <a:lnTo>
                        <a:pt x="1276" y="955"/>
                      </a:lnTo>
                      <a:lnTo>
                        <a:pt x="1275" y="954"/>
                      </a:lnTo>
                      <a:lnTo>
                        <a:pt x="1276" y="954"/>
                      </a:lnTo>
                      <a:lnTo>
                        <a:pt x="1276" y="955"/>
                      </a:lnTo>
                      <a:lnTo>
                        <a:pt x="1276" y="954"/>
                      </a:lnTo>
                      <a:lnTo>
                        <a:pt x="1275" y="954"/>
                      </a:lnTo>
                      <a:lnTo>
                        <a:pt x="1275" y="953"/>
                      </a:lnTo>
                      <a:lnTo>
                        <a:pt x="1276" y="953"/>
                      </a:lnTo>
                      <a:lnTo>
                        <a:pt x="1277" y="952"/>
                      </a:lnTo>
                      <a:lnTo>
                        <a:pt x="1276" y="952"/>
                      </a:lnTo>
                      <a:lnTo>
                        <a:pt x="1275" y="952"/>
                      </a:lnTo>
                      <a:lnTo>
                        <a:pt x="1275" y="953"/>
                      </a:lnTo>
                      <a:lnTo>
                        <a:pt x="1274" y="953"/>
                      </a:lnTo>
                      <a:lnTo>
                        <a:pt x="1273" y="953"/>
                      </a:lnTo>
                      <a:lnTo>
                        <a:pt x="1272" y="952"/>
                      </a:lnTo>
                      <a:lnTo>
                        <a:pt x="1273" y="952"/>
                      </a:lnTo>
                      <a:lnTo>
                        <a:pt x="1273" y="953"/>
                      </a:lnTo>
                      <a:lnTo>
                        <a:pt x="1274" y="953"/>
                      </a:lnTo>
                      <a:lnTo>
                        <a:pt x="1275" y="953"/>
                      </a:lnTo>
                      <a:lnTo>
                        <a:pt x="1275" y="952"/>
                      </a:lnTo>
                      <a:lnTo>
                        <a:pt x="1276" y="952"/>
                      </a:lnTo>
                      <a:lnTo>
                        <a:pt x="1277" y="952"/>
                      </a:lnTo>
                      <a:close/>
                      <a:moveTo>
                        <a:pt x="1192" y="1046"/>
                      </a:moveTo>
                      <a:lnTo>
                        <a:pt x="1193" y="1046"/>
                      </a:lnTo>
                      <a:lnTo>
                        <a:pt x="1194" y="1046"/>
                      </a:lnTo>
                      <a:lnTo>
                        <a:pt x="1194" y="1047"/>
                      </a:lnTo>
                      <a:lnTo>
                        <a:pt x="1194" y="1048"/>
                      </a:lnTo>
                      <a:lnTo>
                        <a:pt x="1193" y="1047"/>
                      </a:lnTo>
                      <a:lnTo>
                        <a:pt x="1192" y="1047"/>
                      </a:lnTo>
                      <a:lnTo>
                        <a:pt x="1190" y="1047"/>
                      </a:lnTo>
                      <a:lnTo>
                        <a:pt x="1189" y="1046"/>
                      </a:lnTo>
                      <a:lnTo>
                        <a:pt x="1190" y="1046"/>
                      </a:lnTo>
                      <a:lnTo>
                        <a:pt x="1192" y="1046"/>
                      </a:lnTo>
                      <a:close/>
                      <a:moveTo>
                        <a:pt x="990" y="989"/>
                      </a:moveTo>
                      <a:lnTo>
                        <a:pt x="987" y="989"/>
                      </a:lnTo>
                      <a:lnTo>
                        <a:pt x="980" y="989"/>
                      </a:lnTo>
                      <a:lnTo>
                        <a:pt x="981" y="988"/>
                      </a:lnTo>
                      <a:lnTo>
                        <a:pt x="982" y="988"/>
                      </a:lnTo>
                      <a:lnTo>
                        <a:pt x="982" y="989"/>
                      </a:lnTo>
                      <a:lnTo>
                        <a:pt x="983" y="989"/>
                      </a:lnTo>
                      <a:lnTo>
                        <a:pt x="986" y="989"/>
                      </a:lnTo>
                      <a:lnTo>
                        <a:pt x="987" y="989"/>
                      </a:lnTo>
                      <a:lnTo>
                        <a:pt x="987" y="988"/>
                      </a:lnTo>
                      <a:lnTo>
                        <a:pt x="988" y="988"/>
                      </a:lnTo>
                      <a:lnTo>
                        <a:pt x="989" y="987"/>
                      </a:lnTo>
                      <a:lnTo>
                        <a:pt x="989" y="988"/>
                      </a:lnTo>
                      <a:lnTo>
                        <a:pt x="990" y="988"/>
                      </a:lnTo>
                      <a:lnTo>
                        <a:pt x="990" y="989"/>
                      </a:lnTo>
                      <a:close/>
                      <a:moveTo>
                        <a:pt x="1417" y="1096"/>
                      </a:moveTo>
                      <a:lnTo>
                        <a:pt x="1416" y="1096"/>
                      </a:lnTo>
                      <a:lnTo>
                        <a:pt x="1416" y="1095"/>
                      </a:lnTo>
                      <a:lnTo>
                        <a:pt x="1416" y="1094"/>
                      </a:lnTo>
                      <a:lnTo>
                        <a:pt x="1417" y="1094"/>
                      </a:lnTo>
                      <a:lnTo>
                        <a:pt x="1417" y="1093"/>
                      </a:lnTo>
                      <a:lnTo>
                        <a:pt x="1418" y="1093"/>
                      </a:lnTo>
                      <a:lnTo>
                        <a:pt x="1419" y="1093"/>
                      </a:lnTo>
                      <a:lnTo>
                        <a:pt x="1418" y="1093"/>
                      </a:lnTo>
                      <a:lnTo>
                        <a:pt x="1418" y="1094"/>
                      </a:lnTo>
                      <a:lnTo>
                        <a:pt x="1418" y="1095"/>
                      </a:lnTo>
                      <a:lnTo>
                        <a:pt x="1417" y="1095"/>
                      </a:lnTo>
                      <a:lnTo>
                        <a:pt x="1417" y="1096"/>
                      </a:lnTo>
                      <a:close/>
                      <a:moveTo>
                        <a:pt x="1120" y="748"/>
                      </a:moveTo>
                      <a:lnTo>
                        <a:pt x="1120" y="749"/>
                      </a:lnTo>
                      <a:lnTo>
                        <a:pt x="1119" y="749"/>
                      </a:lnTo>
                      <a:lnTo>
                        <a:pt x="1119" y="748"/>
                      </a:lnTo>
                      <a:lnTo>
                        <a:pt x="1118" y="748"/>
                      </a:lnTo>
                      <a:lnTo>
                        <a:pt x="1119" y="748"/>
                      </a:lnTo>
                      <a:lnTo>
                        <a:pt x="1118" y="748"/>
                      </a:lnTo>
                      <a:lnTo>
                        <a:pt x="1118" y="747"/>
                      </a:lnTo>
                      <a:lnTo>
                        <a:pt x="1118" y="746"/>
                      </a:lnTo>
                      <a:lnTo>
                        <a:pt x="1119" y="746"/>
                      </a:lnTo>
                      <a:lnTo>
                        <a:pt x="1119" y="745"/>
                      </a:lnTo>
                      <a:lnTo>
                        <a:pt x="1120" y="746"/>
                      </a:lnTo>
                      <a:lnTo>
                        <a:pt x="1119" y="746"/>
                      </a:lnTo>
                      <a:lnTo>
                        <a:pt x="1119" y="747"/>
                      </a:lnTo>
                      <a:lnTo>
                        <a:pt x="1120" y="747"/>
                      </a:lnTo>
                      <a:lnTo>
                        <a:pt x="1119" y="748"/>
                      </a:lnTo>
                      <a:lnTo>
                        <a:pt x="1120" y="748"/>
                      </a:lnTo>
                      <a:close/>
                      <a:moveTo>
                        <a:pt x="1123" y="971"/>
                      </a:moveTo>
                      <a:lnTo>
                        <a:pt x="1124" y="973"/>
                      </a:lnTo>
                      <a:lnTo>
                        <a:pt x="1123" y="973"/>
                      </a:lnTo>
                      <a:lnTo>
                        <a:pt x="1122" y="973"/>
                      </a:lnTo>
                      <a:lnTo>
                        <a:pt x="1121" y="973"/>
                      </a:lnTo>
                      <a:lnTo>
                        <a:pt x="1119" y="973"/>
                      </a:lnTo>
                      <a:lnTo>
                        <a:pt x="1119" y="971"/>
                      </a:lnTo>
                      <a:lnTo>
                        <a:pt x="1120" y="971"/>
                      </a:lnTo>
                      <a:lnTo>
                        <a:pt x="1121" y="971"/>
                      </a:lnTo>
                      <a:lnTo>
                        <a:pt x="1122" y="970"/>
                      </a:lnTo>
                      <a:lnTo>
                        <a:pt x="1123" y="971"/>
                      </a:lnTo>
                      <a:close/>
                      <a:moveTo>
                        <a:pt x="1226" y="996"/>
                      </a:moveTo>
                      <a:lnTo>
                        <a:pt x="1227" y="998"/>
                      </a:lnTo>
                      <a:lnTo>
                        <a:pt x="1227" y="999"/>
                      </a:lnTo>
                      <a:lnTo>
                        <a:pt x="1226" y="999"/>
                      </a:lnTo>
                      <a:lnTo>
                        <a:pt x="1225" y="999"/>
                      </a:lnTo>
                      <a:lnTo>
                        <a:pt x="1225" y="998"/>
                      </a:lnTo>
                      <a:lnTo>
                        <a:pt x="1224" y="998"/>
                      </a:lnTo>
                      <a:lnTo>
                        <a:pt x="1225" y="998"/>
                      </a:lnTo>
                      <a:lnTo>
                        <a:pt x="1225" y="996"/>
                      </a:lnTo>
                      <a:lnTo>
                        <a:pt x="1224" y="998"/>
                      </a:lnTo>
                      <a:lnTo>
                        <a:pt x="1224" y="996"/>
                      </a:lnTo>
                      <a:lnTo>
                        <a:pt x="1225" y="996"/>
                      </a:lnTo>
                      <a:lnTo>
                        <a:pt x="1225" y="995"/>
                      </a:lnTo>
                      <a:lnTo>
                        <a:pt x="1226" y="996"/>
                      </a:lnTo>
                      <a:close/>
                      <a:moveTo>
                        <a:pt x="1065" y="988"/>
                      </a:moveTo>
                      <a:lnTo>
                        <a:pt x="1065" y="989"/>
                      </a:lnTo>
                      <a:lnTo>
                        <a:pt x="1064" y="989"/>
                      </a:lnTo>
                      <a:lnTo>
                        <a:pt x="1064" y="990"/>
                      </a:lnTo>
                      <a:lnTo>
                        <a:pt x="1061" y="990"/>
                      </a:lnTo>
                      <a:lnTo>
                        <a:pt x="1061" y="989"/>
                      </a:lnTo>
                      <a:lnTo>
                        <a:pt x="1063" y="989"/>
                      </a:lnTo>
                      <a:lnTo>
                        <a:pt x="1063" y="990"/>
                      </a:lnTo>
                      <a:lnTo>
                        <a:pt x="1063" y="989"/>
                      </a:lnTo>
                      <a:lnTo>
                        <a:pt x="1064" y="989"/>
                      </a:lnTo>
                      <a:lnTo>
                        <a:pt x="1065" y="989"/>
                      </a:lnTo>
                      <a:lnTo>
                        <a:pt x="1065" y="988"/>
                      </a:lnTo>
                      <a:lnTo>
                        <a:pt x="1064" y="989"/>
                      </a:lnTo>
                      <a:lnTo>
                        <a:pt x="1063" y="989"/>
                      </a:lnTo>
                      <a:lnTo>
                        <a:pt x="1063" y="988"/>
                      </a:lnTo>
                      <a:lnTo>
                        <a:pt x="1064" y="988"/>
                      </a:lnTo>
                      <a:lnTo>
                        <a:pt x="1065" y="988"/>
                      </a:lnTo>
                      <a:close/>
                      <a:moveTo>
                        <a:pt x="1416" y="1130"/>
                      </a:moveTo>
                      <a:lnTo>
                        <a:pt x="1417" y="1130"/>
                      </a:lnTo>
                      <a:lnTo>
                        <a:pt x="1418" y="1130"/>
                      </a:lnTo>
                      <a:lnTo>
                        <a:pt x="1419" y="1130"/>
                      </a:lnTo>
                      <a:lnTo>
                        <a:pt x="1418" y="1130"/>
                      </a:lnTo>
                      <a:lnTo>
                        <a:pt x="1417" y="1130"/>
                      </a:lnTo>
                      <a:lnTo>
                        <a:pt x="1416" y="1131"/>
                      </a:lnTo>
                      <a:lnTo>
                        <a:pt x="1415" y="1131"/>
                      </a:lnTo>
                      <a:lnTo>
                        <a:pt x="1414" y="1131"/>
                      </a:lnTo>
                      <a:lnTo>
                        <a:pt x="1413" y="1131"/>
                      </a:lnTo>
                      <a:lnTo>
                        <a:pt x="1413" y="1130"/>
                      </a:lnTo>
                      <a:lnTo>
                        <a:pt x="1414" y="1130"/>
                      </a:lnTo>
                      <a:lnTo>
                        <a:pt x="1416" y="1129"/>
                      </a:lnTo>
                      <a:lnTo>
                        <a:pt x="1416" y="1130"/>
                      </a:lnTo>
                      <a:close/>
                      <a:moveTo>
                        <a:pt x="1081" y="983"/>
                      </a:moveTo>
                      <a:lnTo>
                        <a:pt x="1081" y="984"/>
                      </a:lnTo>
                      <a:lnTo>
                        <a:pt x="1080" y="984"/>
                      </a:lnTo>
                      <a:lnTo>
                        <a:pt x="1080" y="983"/>
                      </a:lnTo>
                      <a:lnTo>
                        <a:pt x="1080" y="984"/>
                      </a:lnTo>
                      <a:lnTo>
                        <a:pt x="1079" y="984"/>
                      </a:lnTo>
                      <a:lnTo>
                        <a:pt x="1080" y="984"/>
                      </a:lnTo>
                      <a:lnTo>
                        <a:pt x="1079" y="984"/>
                      </a:lnTo>
                      <a:lnTo>
                        <a:pt x="1079" y="982"/>
                      </a:lnTo>
                      <a:lnTo>
                        <a:pt x="1082" y="982"/>
                      </a:lnTo>
                      <a:lnTo>
                        <a:pt x="1081" y="983"/>
                      </a:lnTo>
                      <a:close/>
                      <a:moveTo>
                        <a:pt x="1288" y="1103"/>
                      </a:moveTo>
                      <a:lnTo>
                        <a:pt x="1288" y="1104"/>
                      </a:lnTo>
                      <a:lnTo>
                        <a:pt x="1287" y="1104"/>
                      </a:lnTo>
                      <a:lnTo>
                        <a:pt x="1286" y="1105"/>
                      </a:lnTo>
                      <a:lnTo>
                        <a:pt x="1286" y="1104"/>
                      </a:lnTo>
                      <a:lnTo>
                        <a:pt x="1286" y="1103"/>
                      </a:lnTo>
                      <a:lnTo>
                        <a:pt x="1287" y="1103"/>
                      </a:lnTo>
                      <a:lnTo>
                        <a:pt x="1288" y="1103"/>
                      </a:lnTo>
                      <a:lnTo>
                        <a:pt x="1288" y="1102"/>
                      </a:lnTo>
                      <a:lnTo>
                        <a:pt x="1289" y="1101"/>
                      </a:lnTo>
                      <a:lnTo>
                        <a:pt x="1290" y="1101"/>
                      </a:lnTo>
                      <a:lnTo>
                        <a:pt x="1290" y="1102"/>
                      </a:lnTo>
                      <a:lnTo>
                        <a:pt x="1289" y="1102"/>
                      </a:lnTo>
                      <a:lnTo>
                        <a:pt x="1289" y="1103"/>
                      </a:lnTo>
                      <a:lnTo>
                        <a:pt x="1288" y="1103"/>
                      </a:lnTo>
                      <a:close/>
                      <a:moveTo>
                        <a:pt x="1277" y="948"/>
                      </a:moveTo>
                      <a:lnTo>
                        <a:pt x="1276" y="948"/>
                      </a:lnTo>
                      <a:lnTo>
                        <a:pt x="1276" y="949"/>
                      </a:lnTo>
                      <a:lnTo>
                        <a:pt x="1276" y="950"/>
                      </a:lnTo>
                      <a:lnTo>
                        <a:pt x="1275" y="950"/>
                      </a:lnTo>
                      <a:lnTo>
                        <a:pt x="1274" y="951"/>
                      </a:lnTo>
                      <a:lnTo>
                        <a:pt x="1274" y="950"/>
                      </a:lnTo>
                      <a:lnTo>
                        <a:pt x="1274" y="951"/>
                      </a:lnTo>
                      <a:lnTo>
                        <a:pt x="1275" y="950"/>
                      </a:lnTo>
                      <a:lnTo>
                        <a:pt x="1275" y="949"/>
                      </a:lnTo>
                      <a:lnTo>
                        <a:pt x="1275" y="948"/>
                      </a:lnTo>
                      <a:lnTo>
                        <a:pt x="1274" y="948"/>
                      </a:lnTo>
                      <a:lnTo>
                        <a:pt x="1274" y="949"/>
                      </a:lnTo>
                      <a:lnTo>
                        <a:pt x="1273" y="949"/>
                      </a:lnTo>
                      <a:lnTo>
                        <a:pt x="1272" y="949"/>
                      </a:lnTo>
                      <a:lnTo>
                        <a:pt x="1272" y="948"/>
                      </a:lnTo>
                      <a:lnTo>
                        <a:pt x="1272" y="949"/>
                      </a:lnTo>
                      <a:lnTo>
                        <a:pt x="1273" y="948"/>
                      </a:lnTo>
                      <a:lnTo>
                        <a:pt x="1274" y="948"/>
                      </a:lnTo>
                      <a:lnTo>
                        <a:pt x="1275" y="947"/>
                      </a:lnTo>
                      <a:lnTo>
                        <a:pt x="1276" y="947"/>
                      </a:lnTo>
                      <a:lnTo>
                        <a:pt x="1277" y="947"/>
                      </a:lnTo>
                      <a:lnTo>
                        <a:pt x="1277" y="948"/>
                      </a:lnTo>
                      <a:close/>
                      <a:moveTo>
                        <a:pt x="1093" y="804"/>
                      </a:moveTo>
                      <a:lnTo>
                        <a:pt x="1094" y="806"/>
                      </a:lnTo>
                      <a:lnTo>
                        <a:pt x="1094" y="804"/>
                      </a:lnTo>
                      <a:lnTo>
                        <a:pt x="1095" y="806"/>
                      </a:lnTo>
                      <a:lnTo>
                        <a:pt x="1095" y="807"/>
                      </a:lnTo>
                      <a:lnTo>
                        <a:pt x="1094" y="807"/>
                      </a:lnTo>
                      <a:lnTo>
                        <a:pt x="1093" y="807"/>
                      </a:lnTo>
                      <a:lnTo>
                        <a:pt x="1093" y="806"/>
                      </a:lnTo>
                      <a:lnTo>
                        <a:pt x="1092" y="806"/>
                      </a:lnTo>
                      <a:lnTo>
                        <a:pt x="1092" y="804"/>
                      </a:lnTo>
                      <a:lnTo>
                        <a:pt x="1091" y="804"/>
                      </a:lnTo>
                      <a:lnTo>
                        <a:pt x="1092" y="804"/>
                      </a:lnTo>
                      <a:lnTo>
                        <a:pt x="1093" y="804"/>
                      </a:lnTo>
                      <a:close/>
                      <a:moveTo>
                        <a:pt x="1134" y="1003"/>
                      </a:moveTo>
                      <a:lnTo>
                        <a:pt x="1134" y="1004"/>
                      </a:lnTo>
                      <a:lnTo>
                        <a:pt x="1134" y="1005"/>
                      </a:lnTo>
                      <a:lnTo>
                        <a:pt x="1131" y="1004"/>
                      </a:lnTo>
                      <a:lnTo>
                        <a:pt x="1132" y="1004"/>
                      </a:lnTo>
                      <a:lnTo>
                        <a:pt x="1133" y="1004"/>
                      </a:lnTo>
                      <a:lnTo>
                        <a:pt x="1133" y="1003"/>
                      </a:lnTo>
                      <a:lnTo>
                        <a:pt x="1134" y="1003"/>
                      </a:lnTo>
                      <a:close/>
                      <a:moveTo>
                        <a:pt x="1111" y="748"/>
                      </a:moveTo>
                      <a:lnTo>
                        <a:pt x="1112" y="748"/>
                      </a:lnTo>
                      <a:lnTo>
                        <a:pt x="1112" y="747"/>
                      </a:lnTo>
                      <a:lnTo>
                        <a:pt x="1112" y="748"/>
                      </a:lnTo>
                      <a:lnTo>
                        <a:pt x="1112" y="747"/>
                      </a:lnTo>
                      <a:lnTo>
                        <a:pt x="1113" y="747"/>
                      </a:lnTo>
                      <a:lnTo>
                        <a:pt x="1113" y="748"/>
                      </a:lnTo>
                      <a:lnTo>
                        <a:pt x="1112" y="748"/>
                      </a:lnTo>
                      <a:lnTo>
                        <a:pt x="1113" y="748"/>
                      </a:lnTo>
                      <a:lnTo>
                        <a:pt x="1115" y="748"/>
                      </a:lnTo>
                      <a:lnTo>
                        <a:pt x="1115" y="749"/>
                      </a:lnTo>
                      <a:lnTo>
                        <a:pt x="1116" y="749"/>
                      </a:lnTo>
                      <a:lnTo>
                        <a:pt x="1115" y="749"/>
                      </a:lnTo>
                      <a:lnTo>
                        <a:pt x="1113" y="749"/>
                      </a:lnTo>
                      <a:lnTo>
                        <a:pt x="1112" y="749"/>
                      </a:lnTo>
                      <a:lnTo>
                        <a:pt x="1112" y="748"/>
                      </a:lnTo>
                      <a:lnTo>
                        <a:pt x="1113" y="748"/>
                      </a:lnTo>
                      <a:lnTo>
                        <a:pt x="1112" y="748"/>
                      </a:lnTo>
                      <a:lnTo>
                        <a:pt x="1112" y="749"/>
                      </a:lnTo>
                      <a:lnTo>
                        <a:pt x="1111" y="749"/>
                      </a:lnTo>
                      <a:lnTo>
                        <a:pt x="1111" y="748"/>
                      </a:lnTo>
                      <a:lnTo>
                        <a:pt x="1110" y="748"/>
                      </a:lnTo>
                      <a:lnTo>
                        <a:pt x="1110" y="747"/>
                      </a:lnTo>
                      <a:lnTo>
                        <a:pt x="1110" y="748"/>
                      </a:lnTo>
                      <a:lnTo>
                        <a:pt x="1111" y="748"/>
                      </a:lnTo>
                      <a:close/>
                      <a:moveTo>
                        <a:pt x="1299" y="966"/>
                      </a:moveTo>
                      <a:lnTo>
                        <a:pt x="1300" y="966"/>
                      </a:lnTo>
                      <a:lnTo>
                        <a:pt x="1301" y="966"/>
                      </a:lnTo>
                      <a:lnTo>
                        <a:pt x="1302" y="966"/>
                      </a:lnTo>
                      <a:lnTo>
                        <a:pt x="1302" y="967"/>
                      </a:lnTo>
                      <a:lnTo>
                        <a:pt x="1303" y="967"/>
                      </a:lnTo>
                      <a:lnTo>
                        <a:pt x="1302" y="967"/>
                      </a:lnTo>
                      <a:lnTo>
                        <a:pt x="1302" y="968"/>
                      </a:lnTo>
                      <a:lnTo>
                        <a:pt x="1302" y="967"/>
                      </a:lnTo>
                      <a:lnTo>
                        <a:pt x="1301" y="967"/>
                      </a:lnTo>
                      <a:lnTo>
                        <a:pt x="1301" y="966"/>
                      </a:lnTo>
                      <a:lnTo>
                        <a:pt x="1300" y="966"/>
                      </a:lnTo>
                      <a:lnTo>
                        <a:pt x="1300" y="967"/>
                      </a:lnTo>
                      <a:lnTo>
                        <a:pt x="1300" y="968"/>
                      </a:lnTo>
                      <a:lnTo>
                        <a:pt x="1299" y="968"/>
                      </a:lnTo>
                      <a:lnTo>
                        <a:pt x="1298" y="968"/>
                      </a:lnTo>
                      <a:lnTo>
                        <a:pt x="1299" y="968"/>
                      </a:lnTo>
                      <a:lnTo>
                        <a:pt x="1300" y="968"/>
                      </a:lnTo>
                      <a:lnTo>
                        <a:pt x="1300" y="967"/>
                      </a:lnTo>
                      <a:lnTo>
                        <a:pt x="1299" y="966"/>
                      </a:lnTo>
                      <a:lnTo>
                        <a:pt x="1298" y="966"/>
                      </a:lnTo>
                      <a:lnTo>
                        <a:pt x="1298" y="967"/>
                      </a:lnTo>
                      <a:lnTo>
                        <a:pt x="1298" y="966"/>
                      </a:lnTo>
                      <a:lnTo>
                        <a:pt x="1298" y="965"/>
                      </a:lnTo>
                      <a:lnTo>
                        <a:pt x="1299" y="966"/>
                      </a:lnTo>
                      <a:close/>
                      <a:moveTo>
                        <a:pt x="1428" y="1006"/>
                      </a:moveTo>
                      <a:lnTo>
                        <a:pt x="1428" y="1007"/>
                      </a:lnTo>
                      <a:lnTo>
                        <a:pt x="1427" y="1007"/>
                      </a:lnTo>
                      <a:lnTo>
                        <a:pt x="1427" y="1008"/>
                      </a:lnTo>
                      <a:lnTo>
                        <a:pt x="1426" y="1008"/>
                      </a:lnTo>
                      <a:lnTo>
                        <a:pt x="1427" y="1008"/>
                      </a:lnTo>
                      <a:lnTo>
                        <a:pt x="1427" y="1009"/>
                      </a:lnTo>
                      <a:lnTo>
                        <a:pt x="1426" y="1009"/>
                      </a:lnTo>
                      <a:lnTo>
                        <a:pt x="1426" y="1011"/>
                      </a:lnTo>
                      <a:lnTo>
                        <a:pt x="1425" y="1011"/>
                      </a:lnTo>
                      <a:lnTo>
                        <a:pt x="1424" y="1009"/>
                      </a:lnTo>
                      <a:lnTo>
                        <a:pt x="1425" y="1009"/>
                      </a:lnTo>
                      <a:lnTo>
                        <a:pt x="1426" y="1008"/>
                      </a:lnTo>
                      <a:lnTo>
                        <a:pt x="1426" y="1007"/>
                      </a:lnTo>
                      <a:lnTo>
                        <a:pt x="1427" y="1006"/>
                      </a:lnTo>
                      <a:lnTo>
                        <a:pt x="1428" y="1006"/>
                      </a:lnTo>
                      <a:close/>
                      <a:moveTo>
                        <a:pt x="1156" y="1014"/>
                      </a:moveTo>
                      <a:lnTo>
                        <a:pt x="1156" y="1012"/>
                      </a:lnTo>
                      <a:lnTo>
                        <a:pt x="1156" y="1011"/>
                      </a:lnTo>
                      <a:lnTo>
                        <a:pt x="1156" y="1009"/>
                      </a:lnTo>
                      <a:lnTo>
                        <a:pt x="1156" y="1011"/>
                      </a:lnTo>
                      <a:lnTo>
                        <a:pt x="1157" y="1012"/>
                      </a:lnTo>
                      <a:lnTo>
                        <a:pt x="1157" y="1014"/>
                      </a:lnTo>
                      <a:lnTo>
                        <a:pt x="1156" y="1014"/>
                      </a:lnTo>
                      <a:close/>
                      <a:moveTo>
                        <a:pt x="1044" y="988"/>
                      </a:moveTo>
                      <a:lnTo>
                        <a:pt x="1045" y="988"/>
                      </a:lnTo>
                      <a:lnTo>
                        <a:pt x="1046" y="988"/>
                      </a:lnTo>
                      <a:lnTo>
                        <a:pt x="1045" y="988"/>
                      </a:lnTo>
                      <a:lnTo>
                        <a:pt x="1046" y="989"/>
                      </a:lnTo>
                      <a:lnTo>
                        <a:pt x="1045" y="989"/>
                      </a:lnTo>
                      <a:lnTo>
                        <a:pt x="1045" y="990"/>
                      </a:lnTo>
                      <a:lnTo>
                        <a:pt x="1042" y="990"/>
                      </a:lnTo>
                      <a:lnTo>
                        <a:pt x="1042" y="989"/>
                      </a:lnTo>
                      <a:lnTo>
                        <a:pt x="1043" y="989"/>
                      </a:lnTo>
                      <a:lnTo>
                        <a:pt x="1042" y="989"/>
                      </a:lnTo>
                      <a:lnTo>
                        <a:pt x="1043" y="989"/>
                      </a:lnTo>
                      <a:lnTo>
                        <a:pt x="1043" y="988"/>
                      </a:lnTo>
                      <a:lnTo>
                        <a:pt x="1042" y="988"/>
                      </a:lnTo>
                      <a:lnTo>
                        <a:pt x="1043" y="988"/>
                      </a:lnTo>
                      <a:lnTo>
                        <a:pt x="1044" y="988"/>
                      </a:lnTo>
                      <a:lnTo>
                        <a:pt x="1044" y="989"/>
                      </a:lnTo>
                      <a:lnTo>
                        <a:pt x="1045" y="989"/>
                      </a:lnTo>
                      <a:lnTo>
                        <a:pt x="1044" y="989"/>
                      </a:lnTo>
                      <a:lnTo>
                        <a:pt x="1044" y="988"/>
                      </a:lnTo>
                      <a:lnTo>
                        <a:pt x="1043" y="988"/>
                      </a:lnTo>
                      <a:lnTo>
                        <a:pt x="1042" y="988"/>
                      </a:lnTo>
                      <a:lnTo>
                        <a:pt x="1043" y="988"/>
                      </a:lnTo>
                      <a:lnTo>
                        <a:pt x="1044" y="988"/>
                      </a:lnTo>
                      <a:close/>
                      <a:moveTo>
                        <a:pt x="1430" y="1130"/>
                      </a:moveTo>
                      <a:lnTo>
                        <a:pt x="1431" y="1130"/>
                      </a:lnTo>
                      <a:lnTo>
                        <a:pt x="1431" y="1131"/>
                      </a:lnTo>
                      <a:lnTo>
                        <a:pt x="1430" y="1131"/>
                      </a:lnTo>
                      <a:lnTo>
                        <a:pt x="1431" y="1131"/>
                      </a:lnTo>
                      <a:lnTo>
                        <a:pt x="1431" y="1132"/>
                      </a:lnTo>
                      <a:lnTo>
                        <a:pt x="1430" y="1132"/>
                      </a:lnTo>
                      <a:lnTo>
                        <a:pt x="1430" y="1133"/>
                      </a:lnTo>
                      <a:lnTo>
                        <a:pt x="1429" y="1132"/>
                      </a:lnTo>
                      <a:lnTo>
                        <a:pt x="1429" y="1131"/>
                      </a:lnTo>
                      <a:lnTo>
                        <a:pt x="1429" y="1130"/>
                      </a:lnTo>
                      <a:lnTo>
                        <a:pt x="1430" y="1130"/>
                      </a:lnTo>
                      <a:close/>
                      <a:moveTo>
                        <a:pt x="1081" y="975"/>
                      </a:moveTo>
                      <a:lnTo>
                        <a:pt x="1081" y="976"/>
                      </a:lnTo>
                      <a:lnTo>
                        <a:pt x="1081" y="977"/>
                      </a:lnTo>
                      <a:lnTo>
                        <a:pt x="1082" y="977"/>
                      </a:lnTo>
                      <a:lnTo>
                        <a:pt x="1082" y="976"/>
                      </a:lnTo>
                      <a:lnTo>
                        <a:pt x="1082" y="977"/>
                      </a:lnTo>
                      <a:lnTo>
                        <a:pt x="1083" y="977"/>
                      </a:lnTo>
                      <a:lnTo>
                        <a:pt x="1083" y="978"/>
                      </a:lnTo>
                      <a:lnTo>
                        <a:pt x="1082" y="978"/>
                      </a:lnTo>
                      <a:lnTo>
                        <a:pt x="1081" y="978"/>
                      </a:lnTo>
                      <a:lnTo>
                        <a:pt x="1081" y="977"/>
                      </a:lnTo>
                      <a:lnTo>
                        <a:pt x="1081" y="976"/>
                      </a:lnTo>
                      <a:lnTo>
                        <a:pt x="1081" y="975"/>
                      </a:lnTo>
                      <a:lnTo>
                        <a:pt x="1080" y="976"/>
                      </a:lnTo>
                      <a:lnTo>
                        <a:pt x="1080" y="975"/>
                      </a:lnTo>
                      <a:lnTo>
                        <a:pt x="1081" y="975"/>
                      </a:lnTo>
                      <a:close/>
                      <a:moveTo>
                        <a:pt x="1203" y="924"/>
                      </a:moveTo>
                      <a:lnTo>
                        <a:pt x="1202" y="925"/>
                      </a:lnTo>
                      <a:lnTo>
                        <a:pt x="1202" y="924"/>
                      </a:lnTo>
                      <a:lnTo>
                        <a:pt x="1201" y="924"/>
                      </a:lnTo>
                      <a:lnTo>
                        <a:pt x="1201" y="925"/>
                      </a:lnTo>
                      <a:lnTo>
                        <a:pt x="1200" y="925"/>
                      </a:lnTo>
                      <a:lnTo>
                        <a:pt x="1200" y="924"/>
                      </a:lnTo>
                      <a:lnTo>
                        <a:pt x="1200" y="923"/>
                      </a:lnTo>
                      <a:lnTo>
                        <a:pt x="1201" y="923"/>
                      </a:lnTo>
                      <a:lnTo>
                        <a:pt x="1202" y="923"/>
                      </a:lnTo>
                      <a:lnTo>
                        <a:pt x="1202" y="924"/>
                      </a:lnTo>
                      <a:lnTo>
                        <a:pt x="1203" y="924"/>
                      </a:lnTo>
                      <a:close/>
                      <a:moveTo>
                        <a:pt x="1361" y="1022"/>
                      </a:moveTo>
                      <a:lnTo>
                        <a:pt x="1362" y="1022"/>
                      </a:lnTo>
                      <a:lnTo>
                        <a:pt x="1362" y="1024"/>
                      </a:lnTo>
                      <a:lnTo>
                        <a:pt x="1362" y="1022"/>
                      </a:lnTo>
                      <a:lnTo>
                        <a:pt x="1362" y="1024"/>
                      </a:lnTo>
                      <a:lnTo>
                        <a:pt x="1361" y="1024"/>
                      </a:lnTo>
                      <a:lnTo>
                        <a:pt x="1362" y="1024"/>
                      </a:lnTo>
                      <a:lnTo>
                        <a:pt x="1361" y="1024"/>
                      </a:lnTo>
                      <a:lnTo>
                        <a:pt x="1361" y="1022"/>
                      </a:lnTo>
                      <a:lnTo>
                        <a:pt x="1360" y="1024"/>
                      </a:lnTo>
                      <a:lnTo>
                        <a:pt x="1360" y="1022"/>
                      </a:lnTo>
                      <a:lnTo>
                        <a:pt x="1358" y="1022"/>
                      </a:lnTo>
                      <a:lnTo>
                        <a:pt x="1357" y="1021"/>
                      </a:lnTo>
                      <a:lnTo>
                        <a:pt x="1358" y="1021"/>
                      </a:lnTo>
                      <a:lnTo>
                        <a:pt x="1360" y="1021"/>
                      </a:lnTo>
                      <a:lnTo>
                        <a:pt x="1358" y="1022"/>
                      </a:lnTo>
                      <a:lnTo>
                        <a:pt x="1360" y="1022"/>
                      </a:lnTo>
                      <a:lnTo>
                        <a:pt x="1360" y="1021"/>
                      </a:lnTo>
                      <a:lnTo>
                        <a:pt x="1361" y="1021"/>
                      </a:lnTo>
                      <a:lnTo>
                        <a:pt x="1361" y="1022"/>
                      </a:lnTo>
                      <a:close/>
                      <a:moveTo>
                        <a:pt x="1185" y="844"/>
                      </a:moveTo>
                      <a:lnTo>
                        <a:pt x="1184" y="842"/>
                      </a:lnTo>
                      <a:lnTo>
                        <a:pt x="1185" y="842"/>
                      </a:lnTo>
                      <a:lnTo>
                        <a:pt x="1184" y="841"/>
                      </a:lnTo>
                      <a:lnTo>
                        <a:pt x="1183" y="841"/>
                      </a:lnTo>
                      <a:lnTo>
                        <a:pt x="1183" y="840"/>
                      </a:lnTo>
                      <a:lnTo>
                        <a:pt x="1182" y="840"/>
                      </a:lnTo>
                      <a:lnTo>
                        <a:pt x="1182" y="839"/>
                      </a:lnTo>
                      <a:lnTo>
                        <a:pt x="1182" y="838"/>
                      </a:lnTo>
                      <a:lnTo>
                        <a:pt x="1182" y="839"/>
                      </a:lnTo>
                      <a:lnTo>
                        <a:pt x="1183" y="839"/>
                      </a:lnTo>
                      <a:lnTo>
                        <a:pt x="1183" y="840"/>
                      </a:lnTo>
                      <a:lnTo>
                        <a:pt x="1184" y="841"/>
                      </a:lnTo>
                      <a:lnTo>
                        <a:pt x="1185" y="841"/>
                      </a:lnTo>
                      <a:lnTo>
                        <a:pt x="1186" y="842"/>
                      </a:lnTo>
                      <a:lnTo>
                        <a:pt x="1185" y="844"/>
                      </a:lnTo>
                      <a:close/>
                      <a:moveTo>
                        <a:pt x="1130" y="854"/>
                      </a:moveTo>
                      <a:lnTo>
                        <a:pt x="1129" y="853"/>
                      </a:lnTo>
                      <a:lnTo>
                        <a:pt x="1129" y="852"/>
                      </a:lnTo>
                      <a:lnTo>
                        <a:pt x="1131" y="852"/>
                      </a:lnTo>
                      <a:lnTo>
                        <a:pt x="1131" y="853"/>
                      </a:lnTo>
                      <a:lnTo>
                        <a:pt x="1131" y="854"/>
                      </a:lnTo>
                      <a:lnTo>
                        <a:pt x="1130" y="854"/>
                      </a:lnTo>
                      <a:close/>
                      <a:moveTo>
                        <a:pt x="1092" y="803"/>
                      </a:moveTo>
                      <a:lnTo>
                        <a:pt x="1093" y="803"/>
                      </a:lnTo>
                      <a:lnTo>
                        <a:pt x="1094" y="803"/>
                      </a:lnTo>
                      <a:lnTo>
                        <a:pt x="1094" y="804"/>
                      </a:lnTo>
                      <a:lnTo>
                        <a:pt x="1095" y="804"/>
                      </a:lnTo>
                      <a:lnTo>
                        <a:pt x="1094" y="804"/>
                      </a:lnTo>
                      <a:lnTo>
                        <a:pt x="1093" y="804"/>
                      </a:lnTo>
                      <a:lnTo>
                        <a:pt x="1092" y="803"/>
                      </a:lnTo>
                      <a:lnTo>
                        <a:pt x="1091" y="803"/>
                      </a:lnTo>
                      <a:lnTo>
                        <a:pt x="1092" y="802"/>
                      </a:lnTo>
                      <a:lnTo>
                        <a:pt x="1092" y="803"/>
                      </a:lnTo>
                      <a:close/>
                      <a:moveTo>
                        <a:pt x="1140" y="994"/>
                      </a:moveTo>
                      <a:lnTo>
                        <a:pt x="1138" y="994"/>
                      </a:lnTo>
                      <a:lnTo>
                        <a:pt x="1137" y="994"/>
                      </a:lnTo>
                      <a:lnTo>
                        <a:pt x="1137" y="995"/>
                      </a:lnTo>
                      <a:lnTo>
                        <a:pt x="1137" y="994"/>
                      </a:lnTo>
                      <a:lnTo>
                        <a:pt x="1137" y="993"/>
                      </a:lnTo>
                      <a:lnTo>
                        <a:pt x="1137" y="994"/>
                      </a:lnTo>
                      <a:lnTo>
                        <a:pt x="1137" y="993"/>
                      </a:lnTo>
                      <a:lnTo>
                        <a:pt x="1137" y="992"/>
                      </a:lnTo>
                      <a:lnTo>
                        <a:pt x="1138" y="992"/>
                      </a:lnTo>
                      <a:lnTo>
                        <a:pt x="1140" y="994"/>
                      </a:lnTo>
                      <a:close/>
                      <a:moveTo>
                        <a:pt x="1213" y="1035"/>
                      </a:moveTo>
                      <a:lnTo>
                        <a:pt x="1214" y="1037"/>
                      </a:lnTo>
                      <a:lnTo>
                        <a:pt x="1213" y="1037"/>
                      </a:lnTo>
                      <a:lnTo>
                        <a:pt x="1214" y="1037"/>
                      </a:lnTo>
                      <a:lnTo>
                        <a:pt x="1214" y="1038"/>
                      </a:lnTo>
                      <a:lnTo>
                        <a:pt x="1213" y="1038"/>
                      </a:lnTo>
                      <a:lnTo>
                        <a:pt x="1212" y="1038"/>
                      </a:lnTo>
                      <a:lnTo>
                        <a:pt x="1212" y="1037"/>
                      </a:lnTo>
                      <a:lnTo>
                        <a:pt x="1211" y="1037"/>
                      </a:lnTo>
                      <a:lnTo>
                        <a:pt x="1211" y="1038"/>
                      </a:lnTo>
                      <a:lnTo>
                        <a:pt x="1210" y="1038"/>
                      </a:lnTo>
                      <a:lnTo>
                        <a:pt x="1210" y="1039"/>
                      </a:lnTo>
                      <a:lnTo>
                        <a:pt x="1209" y="1038"/>
                      </a:lnTo>
                      <a:lnTo>
                        <a:pt x="1209" y="1037"/>
                      </a:lnTo>
                      <a:lnTo>
                        <a:pt x="1210" y="1037"/>
                      </a:lnTo>
                      <a:lnTo>
                        <a:pt x="1209" y="1038"/>
                      </a:lnTo>
                      <a:lnTo>
                        <a:pt x="1210" y="1038"/>
                      </a:lnTo>
                      <a:lnTo>
                        <a:pt x="1211" y="1037"/>
                      </a:lnTo>
                      <a:lnTo>
                        <a:pt x="1212" y="1037"/>
                      </a:lnTo>
                      <a:lnTo>
                        <a:pt x="1213" y="1037"/>
                      </a:lnTo>
                      <a:lnTo>
                        <a:pt x="1213" y="1035"/>
                      </a:lnTo>
                      <a:lnTo>
                        <a:pt x="1212" y="1035"/>
                      </a:lnTo>
                      <a:lnTo>
                        <a:pt x="1211" y="1037"/>
                      </a:lnTo>
                      <a:lnTo>
                        <a:pt x="1210" y="1037"/>
                      </a:lnTo>
                      <a:lnTo>
                        <a:pt x="1211" y="1035"/>
                      </a:lnTo>
                      <a:lnTo>
                        <a:pt x="1212" y="1035"/>
                      </a:lnTo>
                      <a:lnTo>
                        <a:pt x="1213" y="1035"/>
                      </a:lnTo>
                      <a:close/>
                      <a:moveTo>
                        <a:pt x="1181" y="934"/>
                      </a:moveTo>
                      <a:lnTo>
                        <a:pt x="1180" y="934"/>
                      </a:lnTo>
                      <a:lnTo>
                        <a:pt x="1179" y="934"/>
                      </a:lnTo>
                      <a:lnTo>
                        <a:pt x="1180" y="934"/>
                      </a:lnTo>
                      <a:lnTo>
                        <a:pt x="1180" y="932"/>
                      </a:lnTo>
                      <a:lnTo>
                        <a:pt x="1181" y="932"/>
                      </a:lnTo>
                      <a:lnTo>
                        <a:pt x="1181" y="931"/>
                      </a:lnTo>
                      <a:lnTo>
                        <a:pt x="1182" y="931"/>
                      </a:lnTo>
                      <a:lnTo>
                        <a:pt x="1182" y="932"/>
                      </a:lnTo>
                      <a:lnTo>
                        <a:pt x="1182" y="934"/>
                      </a:lnTo>
                      <a:lnTo>
                        <a:pt x="1181" y="934"/>
                      </a:lnTo>
                      <a:close/>
                      <a:moveTo>
                        <a:pt x="1297" y="1095"/>
                      </a:moveTo>
                      <a:lnTo>
                        <a:pt x="1296" y="1096"/>
                      </a:lnTo>
                      <a:lnTo>
                        <a:pt x="1296" y="1097"/>
                      </a:lnTo>
                      <a:lnTo>
                        <a:pt x="1295" y="1096"/>
                      </a:lnTo>
                      <a:lnTo>
                        <a:pt x="1295" y="1097"/>
                      </a:lnTo>
                      <a:lnTo>
                        <a:pt x="1293" y="1098"/>
                      </a:lnTo>
                      <a:lnTo>
                        <a:pt x="1292" y="1098"/>
                      </a:lnTo>
                      <a:lnTo>
                        <a:pt x="1292" y="1097"/>
                      </a:lnTo>
                      <a:lnTo>
                        <a:pt x="1293" y="1097"/>
                      </a:lnTo>
                      <a:lnTo>
                        <a:pt x="1293" y="1096"/>
                      </a:lnTo>
                      <a:lnTo>
                        <a:pt x="1295" y="1096"/>
                      </a:lnTo>
                      <a:lnTo>
                        <a:pt x="1295" y="1095"/>
                      </a:lnTo>
                      <a:lnTo>
                        <a:pt x="1296" y="1095"/>
                      </a:lnTo>
                      <a:lnTo>
                        <a:pt x="1297" y="1094"/>
                      </a:lnTo>
                      <a:lnTo>
                        <a:pt x="1297" y="1095"/>
                      </a:lnTo>
                      <a:close/>
                      <a:moveTo>
                        <a:pt x="1433" y="1012"/>
                      </a:moveTo>
                      <a:lnTo>
                        <a:pt x="1433" y="1013"/>
                      </a:lnTo>
                      <a:lnTo>
                        <a:pt x="1433" y="1014"/>
                      </a:lnTo>
                      <a:lnTo>
                        <a:pt x="1434" y="1014"/>
                      </a:lnTo>
                      <a:lnTo>
                        <a:pt x="1433" y="1014"/>
                      </a:lnTo>
                      <a:lnTo>
                        <a:pt x="1433" y="1013"/>
                      </a:lnTo>
                      <a:lnTo>
                        <a:pt x="1434" y="1012"/>
                      </a:lnTo>
                      <a:lnTo>
                        <a:pt x="1434" y="1013"/>
                      </a:lnTo>
                      <a:lnTo>
                        <a:pt x="1434" y="1014"/>
                      </a:lnTo>
                      <a:lnTo>
                        <a:pt x="1434" y="1015"/>
                      </a:lnTo>
                      <a:lnTo>
                        <a:pt x="1433" y="1015"/>
                      </a:lnTo>
                      <a:lnTo>
                        <a:pt x="1433" y="1014"/>
                      </a:lnTo>
                      <a:lnTo>
                        <a:pt x="1431" y="1014"/>
                      </a:lnTo>
                      <a:lnTo>
                        <a:pt x="1431" y="1013"/>
                      </a:lnTo>
                      <a:lnTo>
                        <a:pt x="1430" y="1013"/>
                      </a:lnTo>
                      <a:lnTo>
                        <a:pt x="1431" y="1013"/>
                      </a:lnTo>
                      <a:lnTo>
                        <a:pt x="1431" y="1012"/>
                      </a:lnTo>
                      <a:lnTo>
                        <a:pt x="1432" y="1013"/>
                      </a:lnTo>
                      <a:lnTo>
                        <a:pt x="1432" y="1012"/>
                      </a:lnTo>
                      <a:lnTo>
                        <a:pt x="1432" y="1013"/>
                      </a:lnTo>
                      <a:lnTo>
                        <a:pt x="1432" y="1012"/>
                      </a:lnTo>
                      <a:lnTo>
                        <a:pt x="1433" y="1012"/>
                      </a:lnTo>
                      <a:close/>
                      <a:moveTo>
                        <a:pt x="1107" y="968"/>
                      </a:moveTo>
                      <a:lnTo>
                        <a:pt x="1107" y="969"/>
                      </a:lnTo>
                      <a:lnTo>
                        <a:pt x="1108" y="969"/>
                      </a:lnTo>
                      <a:lnTo>
                        <a:pt x="1108" y="968"/>
                      </a:lnTo>
                      <a:lnTo>
                        <a:pt x="1108" y="969"/>
                      </a:lnTo>
                      <a:lnTo>
                        <a:pt x="1108" y="970"/>
                      </a:lnTo>
                      <a:lnTo>
                        <a:pt x="1107" y="970"/>
                      </a:lnTo>
                      <a:lnTo>
                        <a:pt x="1106" y="969"/>
                      </a:lnTo>
                      <a:lnTo>
                        <a:pt x="1106" y="968"/>
                      </a:lnTo>
                      <a:lnTo>
                        <a:pt x="1105" y="967"/>
                      </a:lnTo>
                      <a:lnTo>
                        <a:pt x="1106" y="967"/>
                      </a:lnTo>
                      <a:lnTo>
                        <a:pt x="1106" y="968"/>
                      </a:lnTo>
                      <a:lnTo>
                        <a:pt x="1107" y="968"/>
                      </a:lnTo>
                      <a:close/>
                      <a:moveTo>
                        <a:pt x="1099" y="964"/>
                      </a:moveTo>
                      <a:lnTo>
                        <a:pt x="1100" y="964"/>
                      </a:lnTo>
                      <a:lnTo>
                        <a:pt x="1100" y="965"/>
                      </a:lnTo>
                      <a:lnTo>
                        <a:pt x="1097" y="963"/>
                      </a:lnTo>
                      <a:lnTo>
                        <a:pt x="1098" y="962"/>
                      </a:lnTo>
                      <a:lnTo>
                        <a:pt x="1099" y="963"/>
                      </a:lnTo>
                      <a:lnTo>
                        <a:pt x="1099" y="964"/>
                      </a:lnTo>
                      <a:close/>
                      <a:moveTo>
                        <a:pt x="1167" y="961"/>
                      </a:moveTo>
                      <a:lnTo>
                        <a:pt x="1167" y="962"/>
                      </a:lnTo>
                      <a:lnTo>
                        <a:pt x="1168" y="962"/>
                      </a:lnTo>
                      <a:lnTo>
                        <a:pt x="1168" y="961"/>
                      </a:lnTo>
                      <a:lnTo>
                        <a:pt x="1168" y="962"/>
                      </a:lnTo>
                      <a:lnTo>
                        <a:pt x="1168" y="963"/>
                      </a:lnTo>
                      <a:lnTo>
                        <a:pt x="1167" y="963"/>
                      </a:lnTo>
                      <a:lnTo>
                        <a:pt x="1167" y="964"/>
                      </a:lnTo>
                      <a:lnTo>
                        <a:pt x="1167" y="963"/>
                      </a:lnTo>
                      <a:lnTo>
                        <a:pt x="1166" y="963"/>
                      </a:lnTo>
                      <a:lnTo>
                        <a:pt x="1166" y="962"/>
                      </a:lnTo>
                      <a:lnTo>
                        <a:pt x="1166" y="961"/>
                      </a:lnTo>
                      <a:lnTo>
                        <a:pt x="1167" y="961"/>
                      </a:lnTo>
                      <a:close/>
                      <a:moveTo>
                        <a:pt x="1056" y="990"/>
                      </a:moveTo>
                      <a:lnTo>
                        <a:pt x="1060" y="990"/>
                      </a:lnTo>
                      <a:lnTo>
                        <a:pt x="1060" y="991"/>
                      </a:lnTo>
                      <a:lnTo>
                        <a:pt x="1060" y="990"/>
                      </a:lnTo>
                      <a:lnTo>
                        <a:pt x="1059" y="990"/>
                      </a:lnTo>
                      <a:lnTo>
                        <a:pt x="1059" y="991"/>
                      </a:lnTo>
                      <a:lnTo>
                        <a:pt x="1060" y="991"/>
                      </a:lnTo>
                      <a:lnTo>
                        <a:pt x="1059" y="991"/>
                      </a:lnTo>
                      <a:lnTo>
                        <a:pt x="1057" y="991"/>
                      </a:lnTo>
                      <a:lnTo>
                        <a:pt x="1057" y="990"/>
                      </a:lnTo>
                      <a:lnTo>
                        <a:pt x="1057" y="991"/>
                      </a:lnTo>
                      <a:lnTo>
                        <a:pt x="1056" y="990"/>
                      </a:lnTo>
                      <a:close/>
                      <a:moveTo>
                        <a:pt x="1000" y="958"/>
                      </a:moveTo>
                      <a:lnTo>
                        <a:pt x="1001" y="960"/>
                      </a:lnTo>
                      <a:lnTo>
                        <a:pt x="1002" y="960"/>
                      </a:lnTo>
                      <a:lnTo>
                        <a:pt x="1001" y="960"/>
                      </a:lnTo>
                      <a:lnTo>
                        <a:pt x="1001" y="961"/>
                      </a:lnTo>
                      <a:lnTo>
                        <a:pt x="1000" y="961"/>
                      </a:lnTo>
                      <a:lnTo>
                        <a:pt x="1000" y="960"/>
                      </a:lnTo>
                      <a:lnTo>
                        <a:pt x="1000" y="958"/>
                      </a:lnTo>
                      <a:lnTo>
                        <a:pt x="999" y="958"/>
                      </a:lnTo>
                      <a:lnTo>
                        <a:pt x="997" y="957"/>
                      </a:lnTo>
                      <a:lnTo>
                        <a:pt x="999" y="957"/>
                      </a:lnTo>
                      <a:lnTo>
                        <a:pt x="1000" y="957"/>
                      </a:lnTo>
                      <a:lnTo>
                        <a:pt x="1000" y="958"/>
                      </a:lnTo>
                      <a:close/>
                      <a:moveTo>
                        <a:pt x="1429" y="1124"/>
                      </a:moveTo>
                      <a:lnTo>
                        <a:pt x="1430" y="1124"/>
                      </a:lnTo>
                      <a:lnTo>
                        <a:pt x="1430" y="1125"/>
                      </a:lnTo>
                      <a:lnTo>
                        <a:pt x="1430" y="1124"/>
                      </a:lnTo>
                      <a:lnTo>
                        <a:pt x="1429" y="1124"/>
                      </a:lnTo>
                      <a:lnTo>
                        <a:pt x="1429" y="1125"/>
                      </a:lnTo>
                      <a:lnTo>
                        <a:pt x="1428" y="1125"/>
                      </a:lnTo>
                      <a:lnTo>
                        <a:pt x="1428" y="1124"/>
                      </a:lnTo>
                      <a:lnTo>
                        <a:pt x="1427" y="1124"/>
                      </a:lnTo>
                      <a:lnTo>
                        <a:pt x="1427" y="1123"/>
                      </a:lnTo>
                      <a:lnTo>
                        <a:pt x="1428" y="1123"/>
                      </a:lnTo>
                      <a:lnTo>
                        <a:pt x="1429" y="1123"/>
                      </a:lnTo>
                      <a:lnTo>
                        <a:pt x="1429" y="1124"/>
                      </a:lnTo>
                      <a:close/>
                      <a:moveTo>
                        <a:pt x="1337" y="1009"/>
                      </a:moveTo>
                      <a:lnTo>
                        <a:pt x="1337" y="1011"/>
                      </a:lnTo>
                      <a:lnTo>
                        <a:pt x="1337" y="1012"/>
                      </a:lnTo>
                      <a:lnTo>
                        <a:pt x="1336" y="1013"/>
                      </a:lnTo>
                      <a:lnTo>
                        <a:pt x="1336" y="1014"/>
                      </a:lnTo>
                      <a:lnTo>
                        <a:pt x="1335" y="1014"/>
                      </a:lnTo>
                      <a:lnTo>
                        <a:pt x="1335" y="1013"/>
                      </a:lnTo>
                      <a:lnTo>
                        <a:pt x="1336" y="1012"/>
                      </a:lnTo>
                      <a:lnTo>
                        <a:pt x="1336" y="1009"/>
                      </a:lnTo>
                      <a:lnTo>
                        <a:pt x="1337" y="1009"/>
                      </a:lnTo>
                      <a:close/>
                      <a:moveTo>
                        <a:pt x="1296" y="944"/>
                      </a:moveTo>
                      <a:lnTo>
                        <a:pt x="1297" y="944"/>
                      </a:lnTo>
                      <a:lnTo>
                        <a:pt x="1297" y="945"/>
                      </a:lnTo>
                      <a:lnTo>
                        <a:pt x="1297" y="947"/>
                      </a:lnTo>
                      <a:lnTo>
                        <a:pt x="1296" y="947"/>
                      </a:lnTo>
                      <a:lnTo>
                        <a:pt x="1295" y="947"/>
                      </a:lnTo>
                      <a:lnTo>
                        <a:pt x="1295" y="945"/>
                      </a:lnTo>
                      <a:lnTo>
                        <a:pt x="1295" y="944"/>
                      </a:lnTo>
                      <a:lnTo>
                        <a:pt x="1293" y="944"/>
                      </a:lnTo>
                      <a:lnTo>
                        <a:pt x="1296" y="944"/>
                      </a:lnTo>
                      <a:close/>
                      <a:moveTo>
                        <a:pt x="1286" y="956"/>
                      </a:moveTo>
                      <a:lnTo>
                        <a:pt x="1287" y="956"/>
                      </a:lnTo>
                      <a:lnTo>
                        <a:pt x="1288" y="956"/>
                      </a:lnTo>
                      <a:lnTo>
                        <a:pt x="1288" y="957"/>
                      </a:lnTo>
                      <a:lnTo>
                        <a:pt x="1287" y="957"/>
                      </a:lnTo>
                      <a:lnTo>
                        <a:pt x="1287" y="956"/>
                      </a:lnTo>
                      <a:lnTo>
                        <a:pt x="1286" y="956"/>
                      </a:lnTo>
                      <a:lnTo>
                        <a:pt x="1285" y="956"/>
                      </a:lnTo>
                      <a:lnTo>
                        <a:pt x="1286" y="956"/>
                      </a:lnTo>
                      <a:lnTo>
                        <a:pt x="1286" y="957"/>
                      </a:lnTo>
                      <a:lnTo>
                        <a:pt x="1285" y="957"/>
                      </a:lnTo>
                      <a:lnTo>
                        <a:pt x="1285" y="956"/>
                      </a:lnTo>
                      <a:lnTo>
                        <a:pt x="1285" y="957"/>
                      </a:lnTo>
                      <a:lnTo>
                        <a:pt x="1286" y="957"/>
                      </a:lnTo>
                      <a:lnTo>
                        <a:pt x="1286" y="958"/>
                      </a:lnTo>
                      <a:lnTo>
                        <a:pt x="1286" y="957"/>
                      </a:lnTo>
                      <a:lnTo>
                        <a:pt x="1285" y="957"/>
                      </a:lnTo>
                      <a:lnTo>
                        <a:pt x="1285" y="956"/>
                      </a:lnTo>
                      <a:lnTo>
                        <a:pt x="1284" y="956"/>
                      </a:lnTo>
                      <a:lnTo>
                        <a:pt x="1283" y="956"/>
                      </a:lnTo>
                      <a:lnTo>
                        <a:pt x="1284" y="956"/>
                      </a:lnTo>
                      <a:lnTo>
                        <a:pt x="1285" y="956"/>
                      </a:lnTo>
                      <a:lnTo>
                        <a:pt x="1285" y="955"/>
                      </a:lnTo>
                      <a:lnTo>
                        <a:pt x="1286" y="955"/>
                      </a:lnTo>
                      <a:lnTo>
                        <a:pt x="1286" y="956"/>
                      </a:lnTo>
                      <a:close/>
                      <a:moveTo>
                        <a:pt x="1060" y="992"/>
                      </a:moveTo>
                      <a:lnTo>
                        <a:pt x="1061" y="992"/>
                      </a:lnTo>
                      <a:lnTo>
                        <a:pt x="1061" y="993"/>
                      </a:lnTo>
                      <a:lnTo>
                        <a:pt x="1060" y="993"/>
                      </a:lnTo>
                      <a:lnTo>
                        <a:pt x="1059" y="993"/>
                      </a:lnTo>
                      <a:lnTo>
                        <a:pt x="1059" y="994"/>
                      </a:lnTo>
                      <a:lnTo>
                        <a:pt x="1058" y="993"/>
                      </a:lnTo>
                      <a:lnTo>
                        <a:pt x="1058" y="992"/>
                      </a:lnTo>
                      <a:lnTo>
                        <a:pt x="1059" y="992"/>
                      </a:lnTo>
                      <a:lnTo>
                        <a:pt x="1060" y="992"/>
                      </a:lnTo>
                      <a:lnTo>
                        <a:pt x="1059" y="992"/>
                      </a:lnTo>
                      <a:lnTo>
                        <a:pt x="1059" y="991"/>
                      </a:lnTo>
                      <a:lnTo>
                        <a:pt x="1060" y="992"/>
                      </a:lnTo>
                      <a:close/>
                      <a:moveTo>
                        <a:pt x="1369" y="1032"/>
                      </a:moveTo>
                      <a:lnTo>
                        <a:pt x="1369" y="1034"/>
                      </a:lnTo>
                      <a:lnTo>
                        <a:pt x="1369" y="1033"/>
                      </a:lnTo>
                      <a:lnTo>
                        <a:pt x="1369" y="1034"/>
                      </a:lnTo>
                      <a:lnTo>
                        <a:pt x="1369" y="1035"/>
                      </a:lnTo>
                      <a:lnTo>
                        <a:pt x="1368" y="1035"/>
                      </a:lnTo>
                      <a:lnTo>
                        <a:pt x="1368" y="1034"/>
                      </a:lnTo>
                      <a:lnTo>
                        <a:pt x="1369" y="1034"/>
                      </a:lnTo>
                      <a:lnTo>
                        <a:pt x="1369" y="1033"/>
                      </a:lnTo>
                      <a:lnTo>
                        <a:pt x="1369" y="1034"/>
                      </a:lnTo>
                      <a:lnTo>
                        <a:pt x="1368" y="1034"/>
                      </a:lnTo>
                      <a:lnTo>
                        <a:pt x="1367" y="1034"/>
                      </a:lnTo>
                      <a:lnTo>
                        <a:pt x="1368" y="1034"/>
                      </a:lnTo>
                      <a:lnTo>
                        <a:pt x="1368" y="1033"/>
                      </a:lnTo>
                      <a:lnTo>
                        <a:pt x="1368" y="1032"/>
                      </a:lnTo>
                      <a:lnTo>
                        <a:pt x="1369" y="1032"/>
                      </a:lnTo>
                      <a:close/>
                      <a:moveTo>
                        <a:pt x="1084" y="979"/>
                      </a:moveTo>
                      <a:lnTo>
                        <a:pt x="1084" y="980"/>
                      </a:lnTo>
                      <a:lnTo>
                        <a:pt x="1083" y="980"/>
                      </a:lnTo>
                      <a:lnTo>
                        <a:pt x="1083" y="981"/>
                      </a:lnTo>
                      <a:lnTo>
                        <a:pt x="1082" y="981"/>
                      </a:lnTo>
                      <a:lnTo>
                        <a:pt x="1082" y="980"/>
                      </a:lnTo>
                      <a:lnTo>
                        <a:pt x="1081" y="980"/>
                      </a:lnTo>
                      <a:lnTo>
                        <a:pt x="1080" y="980"/>
                      </a:lnTo>
                      <a:lnTo>
                        <a:pt x="1081" y="980"/>
                      </a:lnTo>
                      <a:lnTo>
                        <a:pt x="1080" y="980"/>
                      </a:lnTo>
                      <a:lnTo>
                        <a:pt x="1080" y="981"/>
                      </a:lnTo>
                      <a:lnTo>
                        <a:pt x="1081" y="981"/>
                      </a:lnTo>
                      <a:lnTo>
                        <a:pt x="1080" y="981"/>
                      </a:lnTo>
                      <a:lnTo>
                        <a:pt x="1079" y="981"/>
                      </a:lnTo>
                      <a:lnTo>
                        <a:pt x="1079" y="980"/>
                      </a:lnTo>
                      <a:lnTo>
                        <a:pt x="1081" y="980"/>
                      </a:lnTo>
                      <a:lnTo>
                        <a:pt x="1082" y="980"/>
                      </a:lnTo>
                      <a:lnTo>
                        <a:pt x="1083" y="980"/>
                      </a:lnTo>
                      <a:lnTo>
                        <a:pt x="1082" y="980"/>
                      </a:lnTo>
                      <a:lnTo>
                        <a:pt x="1083" y="980"/>
                      </a:lnTo>
                      <a:lnTo>
                        <a:pt x="1084" y="980"/>
                      </a:lnTo>
                      <a:lnTo>
                        <a:pt x="1084" y="979"/>
                      </a:lnTo>
                      <a:lnTo>
                        <a:pt x="1081" y="980"/>
                      </a:lnTo>
                      <a:lnTo>
                        <a:pt x="1083" y="979"/>
                      </a:lnTo>
                      <a:lnTo>
                        <a:pt x="1084" y="979"/>
                      </a:lnTo>
                      <a:close/>
                      <a:moveTo>
                        <a:pt x="1181" y="1038"/>
                      </a:moveTo>
                      <a:lnTo>
                        <a:pt x="1180" y="1038"/>
                      </a:lnTo>
                      <a:lnTo>
                        <a:pt x="1180" y="1039"/>
                      </a:lnTo>
                      <a:lnTo>
                        <a:pt x="1181" y="1039"/>
                      </a:lnTo>
                      <a:lnTo>
                        <a:pt x="1180" y="1039"/>
                      </a:lnTo>
                      <a:lnTo>
                        <a:pt x="1180" y="1040"/>
                      </a:lnTo>
                      <a:lnTo>
                        <a:pt x="1182" y="1041"/>
                      </a:lnTo>
                      <a:lnTo>
                        <a:pt x="1180" y="1040"/>
                      </a:lnTo>
                      <a:lnTo>
                        <a:pt x="1179" y="1040"/>
                      </a:lnTo>
                      <a:lnTo>
                        <a:pt x="1179" y="1039"/>
                      </a:lnTo>
                      <a:lnTo>
                        <a:pt x="1180" y="1038"/>
                      </a:lnTo>
                      <a:lnTo>
                        <a:pt x="1181" y="1037"/>
                      </a:lnTo>
                      <a:lnTo>
                        <a:pt x="1181" y="1038"/>
                      </a:lnTo>
                      <a:close/>
                      <a:moveTo>
                        <a:pt x="1164" y="847"/>
                      </a:moveTo>
                      <a:lnTo>
                        <a:pt x="1167" y="847"/>
                      </a:lnTo>
                      <a:lnTo>
                        <a:pt x="1167" y="848"/>
                      </a:lnTo>
                      <a:lnTo>
                        <a:pt x="1166" y="848"/>
                      </a:lnTo>
                      <a:lnTo>
                        <a:pt x="1164" y="848"/>
                      </a:lnTo>
                      <a:lnTo>
                        <a:pt x="1163" y="848"/>
                      </a:lnTo>
                      <a:lnTo>
                        <a:pt x="1164" y="847"/>
                      </a:lnTo>
                      <a:close/>
                      <a:moveTo>
                        <a:pt x="1418" y="1091"/>
                      </a:moveTo>
                      <a:lnTo>
                        <a:pt x="1420" y="1092"/>
                      </a:lnTo>
                      <a:lnTo>
                        <a:pt x="1420" y="1093"/>
                      </a:lnTo>
                      <a:lnTo>
                        <a:pt x="1419" y="1093"/>
                      </a:lnTo>
                      <a:lnTo>
                        <a:pt x="1418" y="1092"/>
                      </a:lnTo>
                      <a:lnTo>
                        <a:pt x="1418" y="1091"/>
                      </a:lnTo>
                      <a:lnTo>
                        <a:pt x="1418" y="1092"/>
                      </a:lnTo>
                      <a:lnTo>
                        <a:pt x="1417" y="1092"/>
                      </a:lnTo>
                      <a:lnTo>
                        <a:pt x="1417" y="1091"/>
                      </a:lnTo>
                      <a:lnTo>
                        <a:pt x="1418" y="1091"/>
                      </a:lnTo>
                      <a:close/>
                      <a:moveTo>
                        <a:pt x="1417" y="1114"/>
                      </a:moveTo>
                      <a:lnTo>
                        <a:pt x="1417" y="1115"/>
                      </a:lnTo>
                      <a:lnTo>
                        <a:pt x="1416" y="1115"/>
                      </a:lnTo>
                      <a:lnTo>
                        <a:pt x="1416" y="1116"/>
                      </a:lnTo>
                      <a:lnTo>
                        <a:pt x="1415" y="1115"/>
                      </a:lnTo>
                      <a:lnTo>
                        <a:pt x="1415" y="1114"/>
                      </a:lnTo>
                      <a:lnTo>
                        <a:pt x="1416" y="1114"/>
                      </a:lnTo>
                      <a:lnTo>
                        <a:pt x="1417" y="1114"/>
                      </a:lnTo>
                      <a:lnTo>
                        <a:pt x="1417" y="1112"/>
                      </a:lnTo>
                      <a:lnTo>
                        <a:pt x="1417" y="1114"/>
                      </a:lnTo>
                      <a:close/>
                      <a:moveTo>
                        <a:pt x="1076" y="965"/>
                      </a:moveTo>
                      <a:lnTo>
                        <a:pt x="1077" y="967"/>
                      </a:lnTo>
                      <a:lnTo>
                        <a:pt x="1076" y="967"/>
                      </a:lnTo>
                      <a:lnTo>
                        <a:pt x="1074" y="967"/>
                      </a:lnTo>
                      <a:lnTo>
                        <a:pt x="1072" y="968"/>
                      </a:lnTo>
                      <a:lnTo>
                        <a:pt x="1072" y="967"/>
                      </a:lnTo>
                      <a:lnTo>
                        <a:pt x="1073" y="967"/>
                      </a:lnTo>
                      <a:lnTo>
                        <a:pt x="1073" y="966"/>
                      </a:lnTo>
                      <a:lnTo>
                        <a:pt x="1074" y="967"/>
                      </a:lnTo>
                      <a:lnTo>
                        <a:pt x="1076" y="967"/>
                      </a:lnTo>
                      <a:lnTo>
                        <a:pt x="1076" y="964"/>
                      </a:lnTo>
                      <a:lnTo>
                        <a:pt x="1076" y="965"/>
                      </a:lnTo>
                      <a:close/>
                      <a:moveTo>
                        <a:pt x="1097" y="978"/>
                      </a:moveTo>
                      <a:lnTo>
                        <a:pt x="1097" y="979"/>
                      </a:lnTo>
                      <a:lnTo>
                        <a:pt x="1096" y="979"/>
                      </a:lnTo>
                      <a:lnTo>
                        <a:pt x="1095" y="979"/>
                      </a:lnTo>
                      <a:lnTo>
                        <a:pt x="1096" y="979"/>
                      </a:lnTo>
                      <a:lnTo>
                        <a:pt x="1096" y="978"/>
                      </a:lnTo>
                      <a:lnTo>
                        <a:pt x="1095" y="978"/>
                      </a:lnTo>
                      <a:lnTo>
                        <a:pt x="1094" y="978"/>
                      </a:lnTo>
                      <a:lnTo>
                        <a:pt x="1094" y="979"/>
                      </a:lnTo>
                      <a:lnTo>
                        <a:pt x="1095" y="979"/>
                      </a:lnTo>
                      <a:lnTo>
                        <a:pt x="1094" y="979"/>
                      </a:lnTo>
                      <a:lnTo>
                        <a:pt x="1094" y="980"/>
                      </a:lnTo>
                      <a:lnTo>
                        <a:pt x="1094" y="979"/>
                      </a:lnTo>
                      <a:lnTo>
                        <a:pt x="1093" y="978"/>
                      </a:lnTo>
                      <a:lnTo>
                        <a:pt x="1097" y="978"/>
                      </a:lnTo>
                      <a:close/>
                      <a:moveTo>
                        <a:pt x="1169" y="839"/>
                      </a:moveTo>
                      <a:lnTo>
                        <a:pt x="1169" y="840"/>
                      </a:lnTo>
                      <a:lnTo>
                        <a:pt x="1168" y="840"/>
                      </a:lnTo>
                      <a:lnTo>
                        <a:pt x="1167" y="840"/>
                      </a:lnTo>
                      <a:lnTo>
                        <a:pt x="1166" y="840"/>
                      </a:lnTo>
                      <a:lnTo>
                        <a:pt x="1164" y="840"/>
                      </a:lnTo>
                      <a:lnTo>
                        <a:pt x="1166" y="839"/>
                      </a:lnTo>
                      <a:lnTo>
                        <a:pt x="1167" y="839"/>
                      </a:lnTo>
                      <a:lnTo>
                        <a:pt x="1168" y="839"/>
                      </a:lnTo>
                      <a:lnTo>
                        <a:pt x="1169" y="839"/>
                      </a:lnTo>
                      <a:close/>
                      <a:moveTo>
                        <a:pt x="1357" y="1027"/>
                      </a:moveTo>
                      <a:lnTo>
                        <a:pt x="1358" y="1027"/>
                      </a:lnTo>
                      <a:lnTo>
                        <a:pt x="1358" y="1028"/>
                      </a:lnTo>
                      <a:lnTo>
                        <a:pt x="1357" y="1028"/>
                      </a:lnTo>
                      <a:lnTo>
                        <a:pt x="1357" y="1029"/>
                      </a:lnTo>
                      <a:lnTo>
                        <a:pt x="1356" y="1029"/>
                      </a:lnTo>
                      <a:lnTo>
                        <a:pt x="1356" y="1028"/>
                      </a:lnTo>
                      <a:lnTo>
                        <a:pt x="1356" y="1027"/>
                      </a:lnTo>
                      <a:lnTo>
                        <a:pt x="1357" y="1027"/>
                      </a:lnTo>
                      <a:close/>
                      <a:moveTo>
                        <a:pt x="1080" y="979"/>
                      </a:moveTo>
                      <a:lnTo>
                        <a:pt x="1083" y="979"/>
                      </a:lnTo>
                      <a:lnTo>
                        <a:pt x="1083" y="978"/>
                      </a:lnTo>
                      <a:lnTo>
                        <a:pt x="1084" y="978"/>
                      </a:lnTo>
                      <a:lnTo>
                        <a:pt x="1085" y="978"/>
                      </a:lnTo>
                      <a:lnTo>
                        <a:pt x="1084" y="979"/>
                      </a:lnTo>
                      <a:lnTo>
                        <a:pt x="1079" y="980"/>
                      </a:lnTo>
                      <a:lnTo>
                        <a:pt x="1079" y="978"/>
                      </a:lnTo>
                      <a:lnTo>
                        <a:pt x="1080" y="978"/>
                      </a:lnTo>
                      <a:lnTo>
                        <a:pt x="1080" y="977"/>
                      </a:lnTo>
                      <a:lnTo>
                        <a:pt x="1081" y="978"/>
                      </a:lnTo>
                      <a:lnTo>
                        <a:pt x="1080" y="978"/>
                      </a:lnTo>
                      <a:lnTo>
                        <a:pt x="1080" y="979"/>
                      </a:lnTo>
                      <a:lnTo>
                        <a:pt x="1079" y="979"/>
                      </a:lnTo>
                      <a:lnTo>
                        <a:pt x="1080" y="979"/>
                      </a:lnTo>
                      <a:close/>
                      <a:moveTo>
                        <a:pt x="1369" y="1133"/>
                      </a:moveTo>
                      <a:lnTo>
                        <a:pt x="1368" y="1134"/>
                      </a:lnTo>
                      <a:lnTo>
                        <a:pt x="1368" y="1135"/>
                      </a:lnTo>
                      <a:lnTo>
                        <a:pt x="1369" y="1136"/>
                      </a:lnTo>
                      <a:lnTo>
                        <a:pt x="1369" y="1137"/>
                      </a:lnTo>
                      <a:lnTo>
                        <a:pt x="1369" y="1138"/>
                      </a:lnTo>
                      <a:lnTo>
                        <a:pt x="1368" y="1138"/>
                      </a:lnTo>
                      <a:lnTo>
                        <a:pt x="1367" y="1138"/>
                      </a:lnTo>
                      <a:lnTo>
                        <a:pt x="1368" y="1138"/>
                      </a:lnTo>
                      <a:lnTo>
                        <a:pt x="1368" y="1137"/>
                      </a:lnTo>
                      <a:lnTo>
                        <a:pt x="1368" y="1136"/>
                      </a:lnTo>
                      <a:lnTo>
                        <a:pt x="1368" y="1135"/>
                      </a:lnTo>
                      <a:lnTo>
                        <a:pt x="1368" y="1134"/>
                      </a:lnTo>
                      <a:lnTo>
                        <a:pt x="1367" y="1134"/>
                      </a:lnTo>
                      <a:lnTo>
                        <a:pt x="1368" y="1134"/>
                      </a:lnTo>
                      <a:lnTo>
                        <a:pt x="1368" y="1133"/>
                      </a:lnTo>
                      <a:lnTo>
                        <a:pt x="1369" y="1133"/>
                      </a:lnTo>
                      <a:close/>
                      <a:moveTo>
                        <a:pt x="1328" y="1198"/>
                      </a:moveTo>
                      <a:lnTo>
                        <a:pt x="1327" y="1199"/>
                      </a:lnTo>
                      <a:lnTo>
                        <a:pt x="1327" y="1198"/>
                      </a:lnTo>
                      <a:lnTo>
                        <a:pt x="1327" y="1199"/>
                      </a:lnTo>
                      <a:lnTo>
                        <a:pt x="1326" y="1200"/>
                      </a:lnTo>
                      <a:lnTo>
                        <a:pt x="1325" y="1201"/>
                      </a:lnTo>
                      <a:lnTo>
                        <a:pt x="1324" y="1202"/>
                      </a:lnTo>
                      <a:lnTo>
                        <a:pt x="1322" y="1205"/>
                      </a:lnTo>
                      <a:lnTo>
                        <a:pt x="1322" y="1204"/>
                      </a:lnTo>
                      <a:lnTo>
                        <a:pt x="1323" y="1204"/>
                      </a:lnTo>
                      <a:lnTo>
                        <a:pt x="1323" y="1202"/>
                      </a:lnTo>
                      <a:lnTo>
                        <a:pt x="1324" y="1202"/>
                      </a:lnTo>
                      <a:lnTo>
                        <a:pt x="1324" y="1201"/>
                      </a:lnTo>
                      <a:lnTo>
                        <a:pt x="1325" y="1201"/>
                      </a:lnTo>
                      <a:lnTo>
                        <a:pt x="1326" y="1200"/>
                      </a:lnTo>
                      <a:lnTo>
                        <a:pt x="1326" y="1199"/>
                      </a:lnTo>
                      <a:lnTo>
                        <a:pt x="1327" y="1198"/>
                      </a:lnTo>
                      <a:lnTo>
                        <a:pt x="1328" y="1198"/>
                      </a:lnTo>
                      <a:close/>
                      <a:moveTo>
                        <a:pt x="1360" y="1032"/>
                      </a:moveTo>
                      <a:lnTo>
                        <a:pt x="1358" y="1032"/>
                      </a:lnTo>
                      <a:lnTo>
                        <a:pt x="1358" y="1031"/>
                      </a:lnTo>
                      <a:lnTo>
                        <a:pt x="1358" y="1030"/>
                      </a:lnTo>
                      <a:lnTo>
                        <a:pt x="1360" y="1029"/>
                      </a:lnTo>
                      <a:lnTo>
                        <a:pt x="1360" y="1030"/>
                      </a:lnTo>
                      <a:lnTo>
                        <a:pt x="1360" y="1031"/>
                      </a:lnTo>
                      <a:lnTo>
                        <a:pt x="1360" y="1032"/>
                      </a:lnTo>
                      <a:close/>
                      <a:moveTo>
                        <a:pt x="1340" y="945"/>
                      </a:moveTo>
                      <a:lnTo>
                        <a:pt x="1340" y="947"/>
                      </a:lnTo>
                      <a:lnTo>
                        <a:pt x="1339" y="947"/>
                      </a:lnTo>
                      <a:lnTo>
                        <a:pt x="1339" y="945"/>
                      </a:lnTo>
                      <a:lnTo>
                        <a:pt x="1338" y="945"/>
                      </a:lnTo>
                      <a:lnTo>
                        <a:pt x="1338" y="944"/>
                      </a:lnTo>
                      <a:lnTo>
                        <a:pt x="1339" y="944"/>
                      </a:lnTo>
                      <a:lnTo>
                        <a:pt x="1339" y="943"/>
                      </a:lnTo>
                      <a:lnTo>
                        <a:pt x="1339" y="944"/>
                      </a:lnTo>
                      <a:lnTo>
                        <a:pt x="1340" y="944"/>
                      </a:lnTo>
                      <a:lnTo>
                        <a:pt x="1340" y="945"/>
                      </a:lnTo>
                      <a:close/>
                      <a:moveTo>
                        <a:pt x="1059" y="969"/>
                      </a:moveTo>
                      <a:lnTo>
                        <a:pt x="1059" y="970"/>
                      </a:lnTo>
                      <a:lnTo>
                        <a:pt x="1059" y="971"/>
                      </a:lnTo>
                      <a:lnTo>
                        <a:pt x="1059" y="973"/>
                      </a:lnTo>
                      <a:lnTo>
                        <a:pt x="1058" y="973"/>
                      </a:lnTo>
                      <a:lnTo>
                        <a:pt x="1059" y="973"/>
                      </a:lnTo>
                      <a:lnTo>
                        <a:pt x="1059" y="971"/>
                      </a:lnTo>
                      <a:lnTo>
                        <a:pt x="1059" y="970"/>
                      </a:lnTo>
                      <a:lnTo>
                        <a:pt x="1058" y="970"/>
                      </a:lnTo>
                      <a:lnTo>
                        <a:pt x="1058" y="971"/>
                      </a:lnTo>
                      <a:lnTo>
                        <a:pt x="1057" y="973"/>
                      </a:lnTo>
                      <a:lnTo>
                        <a:pt x="1057" y="974"/>
                      </a:lnTo>
                      <a:lnTo>
                        <a:pt x="1057" y="975"/>
                      </a:lnTo>
                      <a:lnTo>
                        <a:pt x="1057" y="976"/>
                      </a:lnTo>
                      <a:lnTo>
                        <a:pt x="1057" y="977"/>
                      </a:lnTo>
                      <a:lnTo>
                        <a:pt x="1057" y="978"/>
                      </a:lnTo>
                      <a:lnTo>
                        <a:pt x="1058" y="978"/>
                      </a:lnTo>
                      <a:lnTo>
                        <a:pt x="1058" y="979"/>
                      </a:lnTo>
                      <a:lnTo>
                        <a:pt x="1057" y="978"/>
                      </a:lnTo>
                      <a:lnTo>
                        <a:pt x="1056" y="978"/>
                      </a:lnTo>
                      <a:lnTo>
                        <a:pt x="1056" y="977"/>
                      </a:lnTo>
                      <a:lnTo>
                        <a:pt x="1057" y="977"/>
                      </a:lnTo>
                      <a:lnTo>
                        <a:pt x="1057" y="976"/>
                      </a:lnTo>
                      <a:lnTo>
                        <a:pt x="1057" y="975"/>
                      </a:lnTo>
                      <a:lnTo>
                        <a:pt x="1057" y="974"/>
                      </a:lnTo>
                      <a:lnTo>
                        <a:pt x="1057" y="973"/>
                      </a:lnTo>
                      <a:lnTo>
                        <a:pt x="1058" y="971"/>
                      </a:lnTo>
                      <a:lnTo>
                        <a:pt x="1058" y="970"/>
                      </a:lnTo>
                      <a:lnTo>
                        <a:pt x="1058" y="969"/>
                      </a:lnTo>
                      <a:lnTo>
                        <a:pt x="1059" y="969"/>
                      </a:lnTo>
                      <a:close/>
                      <a:moveTo>
                        <a:pt x="1311" y="947"/>
                      </a:moveTo>
                      <a:lnTo>
                        <a:pt x="1312" y="947"/>
                      </a:lnTo>
                      <a:lnTo>
                        <a:pt x="1313" y="947"/>
                      </a:lnTo>
                      <a:lnTo>
                        <a:pt x="1314" y="947"/>
                      </a:lnTo>
                      <a:lnTo>
                        <a:pt x="1314" y="948"/>
                      </a:lnTo>
                      <a:lnTo>
                        <a:pt x="1312" y="948"/>
                      </a:lnTo>
                      <a:lnTo>
                        <a:pt x="1311" y="948"/>
                      </a:lnTo>
                      <a:lnTo>
                        <a:pt x="1311" y="947"/>
                      </a:lnTo>
                      <a:lnTo>
                        <a:pt x="1311" y="948"/>
                      </a:lnTo>
                      <a:lnTo>
                        <a:pt x="1310" y="948"/>
                      </a:lnTo>
                      <a:lnTo>
                        <a:pt x="1310" y="947"/>
                      </a:lnTo>
                      <a:lnTo>
                        <a:pt x="1311" y="947"/>
                      </a:lnTo>
                      <a:close/>
                      <a:moveTo>
                        <a:pt x="1047" y="981"/>
                      </a:moveTo>
                      <a:lnTo>
                        <a:pt x="1046" y="981"/>
                      </a:lnTo>
                      <a:lnTo>
                        <a:pt x="1046" y="982"/>
                      </a:lnTo>
                      <a:lnTo>
                        <a:pt x="1045" y="982"/>
                      </a:lnTo>
                      <a:lnTo>
                        <a:pt x="1045" y="983"/>
                      </a:lnTo>
                      <a:lnTo>
                        <a:pt x="1044" y="983"/>
                      </a:lnTo>
                      <a:lnTo>
                        <a:pt x="1044" y="984"/>
                      </a:lnTo>
                      <a:lnTo>
                        <a:pt x="1043" y="984"/>
                      </a:lnTo>
                      <a:lnTo>
                        <a:pt x="1044" y="983"/>
                      </a:lnTo>
                      <a:lnTo>
                        <a:pt x="1043" y="983"/>
                      </a:lnTo>
                      <a:lnTo>
                        <a:pt x="1042" y="983"/>
                      </a:lnTo>
                      <a:lnTo>
                        <a:pt x="1044" y="983"/>
                      </a:lnTo>
                      <a:lnTo>
                        <a:pt x="1044" y="982"/>
                      </a:lnTo>
                      <a:lnTo>
                        <a:pt x="1043" y="983"/>
                      </a:lnTo>
                      <a:lnTo>
                        <a:pt x="1044" y="982"/>
                      </a:lnTo>
                      <a:lnTo>
                        <a:pt x="1045" y="981"/>
                      </a:lnTo>
                      <a:lnTo>
                        <a:pt x="1046" y="981"/>
                      </a:lnTo>
                      <a:lnTo>
                        <a:pt x="1047" y="981"/>
                      </a:lnTo>
                      <a:close/>
                      <a:moveTo>
                        <a:pt x="1364" y="1154"/>
                      </a:moveTo>
                      <a:lnTo>
                        <a:pt x="1363" y="1154"/>
                      </a:lnTo>
                      <a:lnTo>
                        <a:pt x="1363" y="1155"/>
                      </a:lnTo>
                      <a:lnTo>
                        <a:pt x="1363" y="1154"/>
                      </a:lnTo>
                      <a:lnTo>
                        <a:pt x="1362" y="1154"/>
                      </a:lnTo>
                      <a:lnTo>
                        <a:pt x="1362" y="1155"/>
                      </a:lnTo>
                      <a:lnTo>
                        <a:pt x="1361" y="1155"/>
                      </a:lnTo>
                      <a:lnTo>
                        <a:pt x="1362" y="1155"/>
                      </a:lnTo>
                      <a:lnTo>
                        <a:pt x="1362" y="1156"/>
                      </a:lnTo>
                      <a:lnTo>
                        <a:pt x="1361" y="1155"/>
                      </a:lnTo>
                      <a:lnTo>
                        <a:pt x="1361" y="1154"/>
                      </a:lnTo>
                      <a:lnTo>
                        <a:pt x="1362" y="1154"/>
                      </a:lnTo>
                      <a:lnTo>
                        <a:pt x="1363" y="1153"/>
                      </a:lnTo>
                      <a:lnTo>
                        <a:pt x="1364" y="1153"/>
                      </a:lnTo>
                      <a:lnTo>
                        <a:pt x="1365" y="1151"/>
                      </a:lnTo>
                      <a:lnTo>
                        <a:pt x="1364" y="1153"/>
                      </a:lnTo>
                      <a:lnTo>
                        <a:pt x="1363" y="1153"/>
                      </a:lnTo>
                      <a:lnTo>
                        <a:pt x="1364" y="1153"/>
                      </a:lnTo>
                      <a:lnTo>
                        <a:pt x="1364" y="1154"/>
                      </a:lnTo>
                      <a:close/>
                      <a:moveTo>
                        <a:pt x="1298" y="947"/>
                      </a:moveTo>
                      <a:lnTo>
                        <a:pt x="1299" y="947"/>
                      </a:lnTo>
                      <a:lnTo>
                        <a:pt x="1300" y="947"/>
                      </a:lnTo>
                      <a:lnTo>
                        <a:pt x="1300" y="948"/>
                      </a:lnTo>
                      <a:lnTo>
                        <a:pt x="1300" y="949"/>
                      </a:lnTo>
                      <a:lnTo>
                        <a:pt x="1300" y="950"/>
                      </a:lnTo>
                      <a:lnTo>
                        <a:pt x="1299" y="949"/>
                      </a:lnTo>
                      <a:lnTo>
                        <a:pt x="1300" y="949"/>
                      </a:lnTo>
                      <a:lnTo>
                        <a:pt x="1300" y="948"/>
                      </a:lnTo>
                      <a:lnTo>
                        <a:pt x="1299" y="948"/>
                      </a:lnTo>
                      <a:lnTo>
                        <a:pt x="1300" y="948"/>
                      </a:lnTo>
                      <a:lnTo>
                        <a:pt x="1299" y="948"/>
                      </a:lnTo>
                      <a:lnTo>
                        <a:pt x="1298" y="948"/>
                      </a:lnTo>
                      <a:lnTo>
                        <a:pt x="1298" y="947"/>
                      </a:lnTo>
                      <a:lnTo>
                        <a:pt x="1298" y="948"/>
                      </a:lnTo>
                      <a:lnTo>
                        <a:pt x="1297" y="948"/>
                      </a:lnTo>
                      <a:lnTo>
                        <a:pt x="1297" y="949"/>
                      </a:lnTo>
                      <a:lnTo>
                        <a:pt x="1298" y="949"/>
                      </a:lnTo>
                      <a:lnTo>
                        <a:pt x="1297" y="949"/>
                      </a:lnTo>
                      <a:lnTo>
                        <a:pt x="1297" y="948"/>
                      </a:lnTo>
                      <a:lnTo>
                        <a:pt x="1296" y="948"/>
                      </a:lnTo>
                      <a:lnTo>
                        <a:pt x="1296" y="947"/>
                      </a:lnTo>
                      <a:lnTo>
                        <a:pt x="1298" y="947"/>
                      </a:lnTo>
                      <a:close/>
                      <a:moveTo>
                        <a:pt x="1064" y="937"/>
                      </a:moveTo>
                      <a:lnTo>
                        <a:pt x="1064" y="938"/>
                      </a:lnTo>
                      <a:lnTo>
                        <a:pt x="1065" y="937"/>
                      </a:lnTo>
                      <a:lnTo>
                        <a:pt x="1065" y="938"/>
                      </a:lnTo>
                      <a:lnTo>
                        <a:pt x="1064" y="938"/>
                      </a:lnTo>
                      <a:lnTo>
                        <a:pt x="1063" y="938"/>
                      </a:lnTo>
                      <a:lnTo>
                        <a:pt x="1063" y="936"/>
                      </a:lnTo>
                      <a:lnTo>
                        <a:pt x="1063" y="935"/>
                      </a:lnTo>
                      <a:lnTo>
                        <a:pt x="1064" y="935"/>
                      </a:lnTo>
                      <a:lnTo>
                        <a:pt x="1064" y="936"/>
                      </a:lnTo>
                      <a:lnTo>
                        <a:pt x="1064" y="937"/>
                      </a:lnTo>
                      <a:close/>
                      <a:moveTo>
                        <a:pt x="1089" y="798"/>
                      </a:moveTo>
                      <a:lnTo>
                        <a:pt x="1090" y="798"/>
                      </a:lnTo>
                      <a:lnTo>
                        <a:pt x="1090" y="799"/>
                      </a:lnTo>
                      <a:lnTo>
                        <a:pt x="1090" y="800"/>
                      </a:lnTo>
                      <a:lnTo>
                        <a:pt x="1090" y="801"/>
                      </a:lnTo>
                      <a:lnTo>
                        <a:pt x="1090" y="800"/>
                      </a:lnTo>
                      <a:lnTo>
                        <a:pt x="1089" y="800"/>
                      </a:lnTo>
                      <a:lnTo>
                        <a:pt x="1089" y="801"/>
                      </a:lnTo>
                      <a:lnTo>
                        <a:pt x="1089" y="800"/>
                      </a:lnTo>
                      <a:lnTo>
                        <a:pt x="1089" y="799"/>
                      </a:lnTo>
                      <a:lnTo>
                        <a:pt x="1087" y="799"/>
                      </a:lnTo>
                      <a:lnTo>
                        <a:pt x="1086" y="799"/>
                      </a:lnTo>
                      <a:lnTo>
                        <a:pt x="1086" y="798"/>
                      </a:lnTo>
                      <a:lnTo>
                        <a:pt x="1087" y="798"/>
                      </a:lnTo>
                      <a:lnTo>
                        <a:pt x="1089" y="798"/>
                      </a:lnTo>
                      <a:close/>
                      <a:moveTo>
                        <a:pt x="1428" y="1132"/>
                      </a:moveTo>
                      <a:lnTo>
                        <a:pt x="1428" y="1133"/>
                      </a:lnTo>
                      <a:lnTo>
                        <a:pt x="1428" y="1134"/>
                      </a:lnTo>
                      <a:lnTo>
                        <a:pt x="1428" y="1133"/>
                      </a:lnTo>
                      <a:lnTo>
                        <a:pt x="1428" y="1134"/>
                      </a:lnTo>
                      <a:lnTo>
                        <a:pt x="1429" y="1134"/>
                      </a:lnTo>
                      <a:lnTo>
                        <a:pt x="1428" y="1134"/>
                      </a:lnTo>
                      <a:lnTo>
                        <a:pt x="1428" y="1135"/>
                      </a:lnTo>
                      <a:lnTo>
                        <a:pt x="1429" y="1135"/>
                      </a:lnTo>
                      <a:lnTo>
                        <a:pt x="1429" y="1134"/>
                      </a:lnTo>
                      <a:lnTo>
                        <a:pt x="1429" y="1135"/>
                      </a:lnTo>
                      <a:lnTo>
                        <a:pt x="1429" y="1136"/>
                      </a:lnTo>
                      <a:lnTo>
                        <a:pt x="1429" y="1135"/>
                      </a:lnTo>
                      <a:lnTo>
                        <a:pt x="1428" y="1135"/>
                      </a:lnTo>
                      <a:lnTo>
                        <a:pt x="1428" y="1134"/>
                      </a:lnTo>
                      <a:lnTo>
                        <a:pt x="1428" y="1133"/>
                      </a:lnTo>
                      <a:lnTo>
                        <a:pt x="1428" y="1132"/>
                      </a:lnTo>
                      <a:lnTo>
                        <a:pt x="1428" y="1131"/>
                      </a:lnTo>
                      <a:lnTo>
                        <a:pt x="1429" y="1132"/>
                      </a:lnTo>
                      <a:lnTo>
                        <a:pt x="1428" y="1132"/>
                      </a:lnTo>
                      <a:close/>
                      <a:moveTo>
                        <a:pt x="1334" y="1069"/>
                      </a:moveTo>
                      <a:lnTo>
                        <a:pt x="1332" y="1069"/>
                      </a:lnTo>
                      <a:lnTo>
                        <a:pt x="1332" y="1068"/>
                      </a:lnTo>
                      <a:lnTo>
                        <a:pt x="1332" y="1067"/>
                      </a:lnTo>
                      <a:lnTo>
                        <a:pt x="1334" y="1067"/>
                      </a:lnTo>
                      <a:lnTo>
                        <a:pt x="1334" y="1068"/>
                      </a:lnTo>
                      <a:lnTo>
                        <a:pt x="1334" y="1069"/>
                      </a:lnTo>
                      <a:close/>
                      <a:moveTo>
                        <a:pt x="1079" y="986"/>
                      </a:moveTo>
                      <a:lnTo>
                        <a:pt x="1080" y="986"/>
                      </a:lnTo>
                      <a:lnTo>
                        <a:pt x="1081" y="986"/>
                      </a:lnTo>
                      <a:lnTo>
                        <a:pt x="1082" y="986"/>
                      </a:lnTo>
                      <a:lnTo>
                        <a:pt x="1081" y="987"/>
                      </a:lnTo>
                      <a:lnTo>
                        <a:pt x="1081" y="988"/>
                      </a:lnTo>
                      <a:lnTo>
                        <a:pt x="1080" y="988"/>
                      </a:lnTo>
                      <a:lnTo>
                        <a:pt x="1079" y="988"/>
                      </a:lnTo>
                      <a:lnTo>
                        <a:pt x="1079" y="987"/>
                      </a:lnTo>
                      <a:lnTo>
                        <a:pt x="1080" y="987"/>
                      </a:lnTo>
                      <a:lnTo>
                        <a:pt x="1080" y="988"/>
                      </a:lnTo>
                      <a:lnTo>
                        <a:pt x="1080" y="987"/>
                      </a:lnTo>
                      <a:lnTo>
                        <a:pt x="1081" y="987"/>
                      </a:lnTo>
                      <a:lnTo>
                        <a:pt x="1080" y="987"/>
                      </a:lnTo>
                      <a:lnTo>
                        <a:pt x="1081" y="987"/>
                      </a:lnTo>
                      <a:lnTo>
                        <a:pt x="1081" y="986"/>
                      </a:lnTo>
                      <a:lnTo>
                        <a:pt x="1080" y="986"/>
                      </a:lnTo>
                      <a:lnTo>
                        <a:pt x="1080" y="987"/>
                      </a:lnTo>
                      <a:lnTo>
                        <a:pt x="1080" y="986"/>
                      </a:lnTo>
                      <a:lnTo>
                        <a:pt x="1079" y="986"/>
                      </a:lnTo>
                      <a:lnTo>
                        <a:pt x="1079" y="987"/>
                      </a:lnTo>
                      <a:lnTo>
                        <a:pt x="1079" y="986"/>
                      </a:lnTo>
                      <a:close/>
                      <a:moveTo>
                        <a:pt x="1072" y="996"/>
                      </a:moveTo>
                      <a:lnTo>
                        <a:pt x="1073" y="996"/>
                      </a:lnTo>
                      <a:lnTo>
                        <a:pt x="1073" y="998"/>
                      </a:lnTo>
                      <a:lnTo>
                        <a:pt x="1074" y="998"/>
                      </a:lnTo>
                      <a:lnTo>
                        <a:pt x="1076" y="998"/>
                      </a:lnTo>
                      <a:lnTo>
                        <a:pt x="1077" y="998"/>
                      </a:lnTo>
                      <a:lnTo>
                        <a:pt x="1077" y="999"/>
                      </a:lnTo>
                      <a:lnTo>
                        <a:pt x="1074" y="999"/>
                      </a:lnTo>
                      <a:lnTo>
                        <a:pt x="1074" y="998"/>
                      </a:lnTo>
                      <a:lnTo>
                        <a:pt x="1073" y="998"/>
                      </a:lnTo>
                      <a:lnTo>
                        <a:pt x="1072" y="998"/>
                      </a:lnTo>
                      <a:lnTo>
                        <a:pt x="1071" y="996"/>
                      </a:lnTo>
                      <a:lnTo>
                        <a:pt x="1072" y="996"/>
                      </a:lnTo>
                      <a:close/>
                      <a:moveTo>
                        <a:pt x="1103" y="980"/>
                      </a:moveTo>
                      <a:lnTo>
                        <a:pt x="1104" y="980"/>
                      </a:lnTo>
                      <a:lnTo>
                        <a:pt x="1103" y="981"/>
                      </a:lnTo>
                      <a:lnTo>
                        <a:pt x="1104" y="981"/>
                      </a:lnTo>
                      <a:lnTo>
                        <a:pt x="1105" y="981"/>
                      </a:lnTo>
                      <a:lnTo>
                        <a:pt x="1106" y="981"/>
                      </a:lnTo>
                      <a:lnTo>
                        <a:pt x="1107" y="981"/>
                      </a:lnTo>
                      <a:lnTo>
                        <a:pt x="1106" y="982"/>
                      </a:lnTo>
                      <a:lnTo>
                        <a:pt x="1105" y="982"/>
                      </a:lnTo>
                      <a:lnTo>
                        <a:pt x="1104" y="982"/>
                      </a:lnTo>
                      <a:lnTo>
                        <a:pt x="1103" y="982"/>
                      </a:lnTo>
                      <a:lnTo>
                        <a:pt x="1103" y="981"/>
                      </a:lnTo>
                      <a:lnTo>
                        <a:pt x="1102" y="981"/>
                      </a:lnTo>
                      <a:lnTo>
                        <a:pt x="1103" y="981"/>
                      </a:lnTo>
                      <a:lnTo>
                        <a:pt x="1103" y="980"/>
                      </a:lnTo>
                      <a:close/>
                      <a:moveTo>
                        <a:pt x="1352" y="1168"/>
                      </a:moveTo>
                      <a:lnTo>
                        <a:pt x="1352" y="1169"/>
                      </a:lnTo>
                      <a:lnTo>
                        <a:pt x="1352" y="1170"/>
                      </a:lnTo>
                      <a:lnTo>
                        <a:pt x="1351" y="1170"/>
                      </a:lnTo>
                      <a:lnTo>
                        <a:pt x="1351" y="1169"/>
                      </a:lnTo>
                      <a:lnTo>
                        <a:pt x="1351" y="1170"/>
                      </a:lnTo>
                      <a:lnTo>
                        <a:pt x="1350" y="1170"/>
                      </a:lnTo>
                      <a:lnTo>
                        <a:pt x="1350" y="1169"/>
                      </a:lnTo>
                      <a:lnTo>
                        <a:pt x="1350" y="1168"/>
                      </a:lnTo>
                      <a:lnTo>
                        <a:pt x="1351" y="1168"/>
                      </a:lnTo>
                      <a:lnTo>
                        <a:pt x="1350" y="1169"/>
                      </a:lnTo>
                      <a:lnTo>
                        <a:pt x="1351" y="1169"/>
                      </a:lnTo>
                      <a:lnTo>
                        <a:pt x="1351" y="1168"/>
                      </a:lnTo>
                      <a:lnTo>
                        <a:pt x="1352" y="1169"/>
                      </a:lnTo>
                      <a:lnTo>
                        <a:pt x="1352" y="1168"/>
                      </a:lnTo>
                      <a:close/>
                      <a:moveTo>
                        <a:pt x="1074" y="981"/>
                      </a:moveTo>
                      <a:lnTo>
                        <a:pt x="1077" y="981"/>
                      </a:lnTo>
                      <a:lnTo>
                        <a:pt x="1079" y="982"/>
                      </a:lnTo>
                      <a:lnTo>
                        <a:pt x="1078" y="983"/>
                      </a:lnTo>
                      <a:lnTo>
                        <a:pt x="1078" y="982"/>
                      </a:lnTo>
                      <a:lnTo>
                        <a:pt x="1077" y="982"/>
                      </a:lnTo>
                      <a:lnTo>
                        <a:pt x="1076" y="982"/>
                      </a:lnTo>
                      <a:lnTo>
                        <a:pt x="1074" y="982"/>
                      </a:lnTo>
                      <a:lnTo>
                        <a:pt x="1076" y="982"/>
                      </a:lnTo>
                      <a:lnTo>
                        <a:pt x="1074" y="981"/>
                      </a:lnTo>
                      <a:lnTo>
                        <a:pt x="1074" y="982"/>
                      </a:lnTo>
                      <a:lnTo>
                        <a:pt x="1074" y="981"/>
                      </a:lnTo>
                      <a:close/>
                      <a:moveTo>
                        <a:pt x="1202" y="1048"/>
                      </a:moveTo>
                      <a:lnTo>
                        <a:pt x="1202" y="1050"/>
                      </a:lnTo>
                      <a:lnTo>
                        <a:pt x="1203" y="1050"/>
                      </a:lnTo>
                      <a:lnTo>
                        <a:pt x="1205" y="1050"/>
                      </a:lnTo>
                      <a:lnTo>
                        <a:pt x="1203" y="1050"/>
                      </a:lnTo>
                      <a:lnTo>
                        <a:pt x="1205" y="1050"/>
                      </a:lnTo>
                      <a:lnTo>
                        <a:pt x="1203" y="1051"/>
                      </a:lnTo>
                      <a:lnTo>
                        <a:pt x="1202" y="1051"/>
                      </a:lnTo>
                      <a:lnTo>
                        <a:pt x="1202" y="1050"/>
                      </a:lnTo>
                      <a:lnTo>
                        <a:pt x="1201" y="1050"/>
                      </a:lnTo>
                      <a:lnTo>
                        <a:pt x="1201" y="1048"/>
                      </a:lnTo>
                      <a:lnTo>
                        <a:pt x="1202" y="1048"/>
                      </a:lnTo>
                      <a:close/>
                      <a:moveTo>
                        <a:pt x="1109" y="815"/>
                      </a:moveTo>
                      <a:lnTo>
                        <a:pt x="1109" y="816"/>
                      </a:lnTo>
                      <a:lnTo>
                        <a:pt x="1108" y="816"/>
                      </a:lnTo>
                      <a:lnTo>
                        <a:pt x="1107" y="816"/>
                      </a:lnTo>
                      <a:lnTo>
                        <a:pt x="1107" y="815"/>
                      </a:lnTo>
                      <a:lnTo>
                        <a:pt x="1106" y="815"/>
                      </a:lnTo>
                      <a:lnTo>
                        <a:pt x="1106" y="814"/>
                      </a:lnTo>
                      <a:lnTo>
                        <a:pt x="1107" y="814"/>
                      </a:lnTo>
                      <a:lnTo>
                        <a:pt x="1108" y="814"/>
                      </a:lnTo>
                      <a:lnTo>
                        <a:pt x="1108" y="815"/>
                      </a:lnTo>
                      <a:lnTo>
                        <a:pt x="1109" y="815"/>
                      </a:lnTo>
                      <a:close/>
                      <a:moveTo>
                        <a:pt x="1361" y="1037"/>
                      </a:moveTo>
                      <a:lnTo>
                        <a:pt x="1362" y="1037"/>
                      </a:lnTo>
                      <a:lnTo>
                        <a:pt x="1361" y="1037"/>
                      </a:lnTo>
                      <a:lnTo>
                        <a:pt x="1361" y="1038"/>
                      </a:lnTo>
                      <a:lnTo>
                        <a:pt x="1362" y="1038"/>
                      </a:lnTo>
                      <a:lnTo>
                        <a:pt x="1361" y="1038"/>
                      </a:lnTo>
                      <a:lnTo>
                        <a:pt x="1360" y="1038"/>
                      </a:lnTo>
                      <a:lnTo>
                        <a:pt x="1360" y="1039"/>
                      </a:lnTo>
                      <a:lnTo>
                        <a:pt x="1360" y="1038"/>
                      </a:lnTo>
                      <a:lnTo>
                        <a:pt x="1360" y="1037"/>
                      </a:lnTo>
                      <a:lnTo>
                        <a:pt x="1361" y="1037"/>
                      </a:lnTo>
                      <a:close/>
                      <a:moveTo>
                        <a:pt x="1155" y="960"/>
                      </a:moveTo>
                      <a:lnTo>
                        <a:pt x="1155" y="961"/>
                      </a:lnTo>
                      <a:lnTo>
                        <a:pt x="1156" y="961"/>
                      </a:lnTo>
                      <a:lnTo>
                        <a:pt x="1155" y="961"/>
                      </a:lnTo>
                      <a:lnTo>
                        <a:pt x="1154" y="961"/>
                      </a:lnTo>
                      <a:lnTo>
                        <a:pt x="1153" y="960"/>
                      </a:lnTo>
                      <a:lnTo>
                        <a:pt x="1154" y="960"/>
                      </a:lnTo>
                      <a:lnTo>
                        <a:pt x="1154" y="958"/>
                      </a:lnTo>
                      <a:lnTo>
                        <a:pt x="1155" y="958"/>
                      </a:lnTo>
                      <a:lnTo>
                        <a:pt x="1155" y="960"/>
                      </a:lnTo>
                      <a:close/>
                      <a:moveTo>
                        <a:pt x="1196" y="922"/>
                      </a:moveTo>
                      <a:lnTo>
                        <a:pt x="1197" y="922"/>
                      </a:lnTo>
                      <a:lnTo>
                        <a:pt x="1198" y="922"/>
                      </a:lnTo>
                      <a:lnTo>
                        <a:pt x="1199" y="923"/>
                      </a:lnTo>
                      <a:lnTo>
                        <a:pt x="1199" y="922"/>
                      </a:lnTo>
                      <a:lnTo>
                        <a:pt x="1199" y="923"/>
                      </a:lnTo>
                      <a:lnTo>
                        <a:pt x="1199" y="924"/>
                      </a:lnTo>
                      <a:lnTo>
                        <a:pt x="1198" y="923"/>
                      </a:lnTo>
                      <a:lnTo>
                        <a:pt x="1197" y="923"/>
                      </a:lnTo>
                      <a:lnTo>
                        <a:pt x="1196" y="923"/>
                      </a:lnTo>
                      <a:lnTo>
                        <a:pt x="1196" y="922"/>
                      </a:lnTo>
                      <a:close/>
                      <a:moveTo>
                        <a:pt x="1276" y="1124"/>
                      </a:moveTo>
                      <a:lnTo>
                        <a:pt x="1275" y="1124"/>
                      </a:lnTo>
                      <a:lnTo>
                        <a:pt x="1276" y="1124"/>
                      </a:lnTo>
                      <a:lnTo>
                        <a:pt x="1276" y="1125"/>
                      </a:lnTo>
                      <a:lnTo>
                        <a:pt x="1276" y="1127"/>
                      </a:lnTo>
                      <a:lnTo>
                        <a:pt x="1276" y="1125"/>
                      </a:lnTo>
                      <a:lnTo>
                        <a:pt x="1277" y="1125"/>
                      </a:lnTo>
                      <a:lnTo>
                        <a:pt x="1277" y="1127"/>
                      </a:lnTo>
                      <a:lnTo>
                        <a:pt x="1276" y="1127"/>
                      </a:lnTo>
                      <a:lnTo>
                        <a:pt x="1275" y="1125"/>
                      </a:lnTo>
                      <a:lnTo>
                        <a:pt x="1275" y="1124"/>
                      </a:lnTo>
                      <a:lnTo>
                        <a:pt x="1274" y="1124"/>
                      </a:lnTo>
                      <a:lnTo>
                        <a:pt x="1275" y="1124"/>
                      </a:lnTo>
                      <a:lnTo>
                        <a:pt x="1274" y="1124"/>
                      </a:lnTo>
                      <a:lnTo>
                        <a:pt x="1274" y="1123"/>
                      </a:lnTo>
                      <a:lnTo>
                        <a:pt x="1275" y="1123"/>
                      </a:lnTo>
                      <a:lnTo>
                        <a:pt x="1276" y="1123"/>
                      </a:lnTo>
                      <a:lnTo>
                        <a:pt x="1276" y="1124"/>
                      </a:lnTo>
                      <a:close/>
                      <a:moveTo>
                        <a:pt x="1328" y="1198"/>
                      </a:moveTo>
                      <a:lnTo>
                        <a:pt x="1328" y="1197"/>
                      </a:lnTo>
                      <a:lnTo>
                        <a:pt x="1329" y="1196"/>
                      </a:lnTo>
                      <a:lnTo>
                        <a:pt x="1329" y="1195"/>
                      </a:lnTo>
                      <a:lnTo>
                        <a:pt x="1330" y="1195"/>
                      </a:lnTo>
                      <a:lnTo>
                        <a:pt x="1330" y="1193"/>
                      </a:lnTo>
                      <a:lnTo>
                        <a:pt x="1331" y="1193"/>
                      </a:lnTo>
                      <a:lnTo>
                        <a:pt x="1331" y="1194"/>
                      </a:lnTo>
                      <a:lnTo>
                        <a:pt x="1330" y="1195"/>
                      </a:lnTo>
                      <a:lnTo>
                        <a:pt x="1329" y="1197"/>
                      </a:lnTo>
                      <a:lnTo>
                        <a:pt x="1328" y="1198"/>
                      </a:lnTo>
                      <a:close/>
                      <a:moveTo>
                        <a:pt x="1437" y="1131"/>
                      </a:moveTo>
                      <a:lnTo>
                        <a:pt x="1438" y="1131"/>
                      </a:lnTo>
                      <a:lnTo>
                        <a:pt x="1437" y="1131"/>
                      </a:lnTo>
                      <a:lnTo>
                        <a:pt x="1438" y="1131"/>
                      </a:lnTo>
                      <a:lnTo>
                        <a:pt x="1438" y="1132"/>
                      </a:lnTo>
                      <a:lnTo>
                        <a:pt x="1437" y="1132"/>
                      </a:lnTo>
                      <a:lnTo>
                        <a:pt x="1438" y="1132"/>
                      </a:lnTo>
                      <a:lnTo>
                        <a:pt x="1437" y="1132"/>
                      </a:lnTo>
                      <a:lnTo>
                        <a:pt x="1437" y="1131"/>
                      </a:lnTo>
                      <a:lnTo>
                        <a:pt x="1437" y="1132"/>
                      </a:lnTo>
                      <a:lnTo>
                        <a:pt x="1435" y="1132"/>
                      </a:lnTo>
                      <a:lnTo>
                        <a:pt x="1435" y="1131"/>
                      </a:lnTo>
                      <a:lnTo>
                        <a:pt x="1435" y="1130"/>
                      </a:lnTo>
                      <a:lnTo>
                        <a:pt x="1435" y="1131"/>
                      </a:lnTo>
                      <a:lnTo>
                        <a:pt x="1435" y="1130"/>
                      </a:lnTo>
                      <a:lnTo>
                        <a:pt x="1437" y="1130"/>
                      </a:lnTo>
                      <a:lnTo>
                        <a:pt x="1437" y="1131"/>
                      </a:lnTo>
                      <a:close/>
                      <a:moveTo>
                        <a:pt x="1287" y="957"/>
                      </a:moveTo>
                      <a:lnTo>
                        <a:pt x="1288" y="957"/>
                      </a:lnTo>
                      <a:lnTo>
                        <a:pt x="1287" y="958"/>
                      </a:lnTo>
                      <a:lnTo>
                        <a:pt x="1287" y="960"/>
                      </a:lnTo>
                      <a:lnTo>
                        <a:pt x="1288" y="960"/>
                      </a:lnTo>
                      <a:lnTo>
                        <a:pt x="1287" y="960"/>
                      </a:lnTo>
                      <a:lnTo>
                        <a:pt x="1286" y="960"/>
                      </a:lnTo>
                      <a:lnTo>
                        <a:pt x="1286" y="958"/>
                      </a:lnTo>
                      <a:lnTo>
                        <a:pt x="1286" y="957"/>
                      </a:lnTo>
                      <a:lnTo>
                        <a:pt x="1285" y="957"/>
                      </a:lnTo>
                      <a:lnTo>
                        <a:pt x="1286" y="957"/>
                      </a:lnTo>
                      <a:lnTo>
                        <a:pt x="1287" y="957"/>
                      </a:lnTo>
                      <a:close/>
                      <a:moveTo>
                        <a:pt x="1420" y="1094"/>
                      </a:moveTo>
                      <a:lnTo>
                        <a:pt x="1419" y="1094"/>
                      </a:lnTo>
                      <a:lnTo>
                        <a:pt x="1420" y="1093"/>
                      </a:lnTo>
                      <a:lnTo>
                        <a:pt x="1420" y="1092"/>
                      </a:lnTo>
                      <a:lnTo>
                        <a:pt x="1422" y="1092"/>
                      </a:lnTo>
                      <a:lnTo>
                        <a:pt x="1422" y="1093"/>
                      </a:lnTo>
                      <a:lnTo>
                        <a:pt x="1421" y="1093"/>
                      </a:lnTo>
                      <a:lnTo>
                        <a:pt x="1421" y="1094"/>
                      </a:lnTo>
                      <a:lnTo>
                        <a:pt x="1420" y="1094"/>
                      </a:lnTo>
                      <a:close/>
                      <a:moveTo>
                        <a:pt x="1176" y="1040"/>
                      </a:moveTo>
                      <a:lnTo>
                        <a:pt x="1175" y="1041"/>
                      </a:lnTo>
                      <a:lnTo>
                        <a:pt x="1171" y="1040"/>
                      </a:lnTo>
                      <a:lnTo>
                        <a:pt x="1172" y="1040"/>
                      </a:lnTo>
                      <a:lnTo>
                        <a:pt x="1172" y="1041"/>
                      </a:lnTo>
                      <a:lnTo>
                        <a:pt x="1173" y="1041"/>
                      </a:lnTo>
                      <a:lnTo>
                        <a:pt x="1173" y="1040"/>
                      </a:lnTo>
                      <a:lnTo>
                        <a:pt x="1173" y="1041"/>
                      </a:lnTo>
                      <a:lnTo>
                        <a:pt x="1174" y="1041"/>
                      </a:lnTo>
                      <a:lnTo>
                        <a:pt x="1175" y="1040"/>
                      </a:lnTo>
                      <a:lnTo>
                        <a:pt x="1175" y="1041"/>
                      </a:lnTo>
                      <a:lnTo>
                        <a:pt x="1175" y="1040"/>
                      </a:lnTo>
                      <a:lnTo>
                        <a:pt x="1175" y="1039"/>
                      </a:lnTo>
                      <a:lnTo>
                        <a:pt x="1175" y="1038"/>
                      </a:lnTo>
                      <a:lnTo>
                        <a:pt x="1176" y="1039"/>
                      </a:lnTo>
                      <a:lnTo>
                        <a:pt x="1176" y="1040"/>
                      </a:lnTo>
                      <a:close/>
                      <a:moveTo>
                        <a:pt x="1365" y="1130"/>
                      </a:moveTo>
                      <a:lnTo>
                        <a:pt x="1366" y="1130"/>
                      </a:lnTo>
                      <a:lnTo>
                        <a:pt x="1367" y="1130"/>
                      </a:lnTo>
                      <a:lnTo>
                        <a:pt x="1366" y="1130"/>
                      </a:lnTo>
                      <a:lnTo>
                        <a:pt x="1365" y="1130"/>
                      </a:lnTo>
                      <a:lnTo>
                        <a:pt x="1365" y="1131"/>
                      </a:lnTo>
                      <a:lnTo>
                        <a:pt x="1365" y="1132"/>
                      </a:lnTo>
                      <a:lnTo>
                        <a:pt x="1365" y="1131"/>
                      </a:lnTo>
                      <a:lnTo>
                        <a:pt x="1365" y="1132"/>
                      </a:lnTo>
                      <a:lnTo>
                        <a:pt x="1364" y="1133"/>
                      </a:lnTo>
                      <a:lnTo>
                        <a:pt x="1365" y="1133"/>
                      </a:lnTo>
                      <a:lnTo>
                        <a:pt x="1364" y="1133"/>
                      </a:lnTo>
                      <a:lnTo>
                        <a:pt x="1364" y="1134"/>
                      </a:lnTo>
                      <a:lnTo>
                        <a:pt x="1364" y="1135"/>
                      </a:lnTo>
                      <a:lnTo>
                        <a:pt x="1364" y="1136"/>
                      </a:lnTo>
                      <a:lnTo>
                        <a:pt x="1363" y="1136"/>
                      </a:lnTo>
                      <a:lnTo>
                        <a:pt x="1364" y="1135"/>
                      </a:lnTo>
                      <a:lnTo>
                        <a:pt x="1364" y="1134"/>
                      </a:lnTo>
                      <a:lnTo>
                        <a:pt x="1364" y="1133"/>
                      </a:lnTo>
                      <a:lnTo>
                        <a:pt x="1364" y="1132"/>
                      </a:lnTo>
                      <a:lnTo>
                        <a:pt x="1365" y="1131"/>
                      </a:lnTo>
                      <a:lnTo>
                        <a:pt x="1365" y="1130"/>
                      </a:lnTo>
                      <a:close/>
                      <a:moveTo>
                        <a:pt x="1288" y="953"/>
                      </a:moveTo>
                      <a:lnTo>
                        <a:pt x="1288" y="954"/>
                      </a:lnTo>
                      <a:lnTo>
                        <a:pt x="1287" y="954"/>
                      </a:lnTo>
                      <a:lnTo>
                        <a:pt x="1288" y="954"/>
                      </a:lnTo>
                      <a:lnTo>
                        <a:pt x="1288" y="953"/>
                      </a:lnTo>
                      <a:lnTo>
                        <a:pt x="1287" y="953"/>
                      </a:lnTo>
                      <a:lnTo>
                        <a:pt x="1286" y="953"/>
                      </a:lnTo>
                      <a:lnTo>
                        <a:pt x="1286" y="954"/>
                      </a:lnTo>
                      <a:lnTo>
                        <a:pt x="1287" y="954"/>
                      </a:lnTo>
                      <a:lnTo>
                        <a:pt x="1287" y="953"/>
                      </a:lnTo>
                      <a:lnTo>
                        <a:pt x="1287" y="954"/>
                      </a:lnTo>
                      <a:lnTo>
                        <a:pt x="1287" y="953"/>
                      </a:lnTo>
                      <a:lnTo>
                        <a:pt x="1287" y="954"/>
                      </a:lnTo>
                      <a:lnTo>
                        <a:pt x="1286" y="954"/>
                      </a:lnTo>
                      <a:lnTo>
                        <a:pt x="1286" y="955"/>
                      </a:lnTo>
                      <a:lnTo>
                        <a:pt x="1287" y="955"/>
                      </a:lnTo>
                      <a:lnTo>
                        <a:pt x="1287" y="954"/>
                      </a:lnTo>
                      <a:lnTo>
                        <a:pt x="1288" y="954"/>
                      </a:lnTo>
                      <a:lnTo>
                        <a:pt x="1288" y="955"/>
                      </a:lnTo>
                      <a:lnTo>
                        <a:pt x="1288" y="956"/>
                      </a:lnTo>
                      <a:lnTo>
                        <a:pt x="1287" y="956"/>
                      </a:lnTo>
                      <a:lnTo>
                        <a:pt x="1286" y="955"/>
                      </a:lnTo>
                      <a:lnTo>
                        <a:pt x="1286" y="954"/>
                      </a:lnTo>
                      <a:lnTo>
                        <a:pt x="1286" y="953"/>
                      </a:lnTo>
                      <a:lnTo>
                        <a:pt x="1286" y="952"/>
                      </a:lnTo>
                      <a:lnTo>
                        <a:pt x="1286" y="953"/>
                      </a:lnTo>
                      <a:lnTo>
                        <a:pt x="1287" y="953"/>
                      </a:lnTo>
                      <a:lnTo>
                        <a:pt x="1288" y="953"/>
                      </a:lnTo>
                      <a:close/>
                      <a:moveTo>
                        <a:pt x="1428" y="1093"/>
                      </a:moveTo>
                      <a:lnTo>
                        <a:pt x="1427" y="1093"/>
                      </a:lnTo>
                      <a:lnTo>
                        <a:pt x="1427" y="1092"/>
                      </a:lnTo>
                      <a:lnTo>
                        <a:pt x="1427" y="1091"/>
                      </a:lnTo>
                      <a:lnTo>
                        <a:pt x="1428" y="1091"/>
                      </a:lnTo>
                      <a:lnTo>
                        <a:pt x="1429" y="1091"/>
                      </a:lnTo>
                      <a:lnTo>
                        <a:pt x="1428" y="1092"/>
                      </a:lnTo>
                      <a:lnTo>
                        <a:pt x="1428" y="1093"/>
                      </a:lnTo>
                      <a:close/>
                      <a:moveTo>
                        <a:pt x="1180" y="1032"/>
                      </a:moveTo>
                      <a:lnTo>
                        <a:pt x="1180" y="1034"/>
                      </a:lnTo>
                      <a:lnTo>
                        <a:pt x="1180" y="1035"/>
                      </a:lnTo>
                      <a:lnTo>
                        <a:pt x="1179" y="1034"/>
                      </a:lnTo>
                      <a:lnTo>
                        <a:pt x="1180" y="1033"/>
                      </a:lnTo>
                      <a:lnTo>
                        <a:pt x="1179" y="1031"/>
                      </a:lnTo>
                      <a:lnTo>
                        <a:pt x="1180" y="1030"/>
                      </a:lnTo>
                      <a:lnTo>
                        <a:pt x="1180" y="1029"/>
                      </a:lnTo>
                      <a:lnTo>
                        <a:pt x="1181" y="1029"/>
                      </a:lnTo>
                      <a:lnTo>
                        <a:pt x="1180" y="1030"/>
                      </a:lnTo>
                      <a:lnTo>
                        <a:pt x="1180" y="1031"/>
                      </a:lnTo>
                      <a:lnTo>
                        <a:pt x="1180" y="1032"/>
                      </a:lnTo>
                      <a:close/>
                      <a:moveTo>
                        <a:pt x="1109" y="995"/>
                      </a:moveTo>
                      <a:lnTo>
                        <a:pt x="1108" y="995"/>
                      </a:lnTo>
                      <a:lnTo>
                        <a:pt x="1107" y="995"/>
                      </a:lnTo>
                      <a:lnTo>
                        <a:pt x="1106" y="995"/>
                      </a:lnTo>
                      <a:lnTo>
                        <a:pt x="1104" y="995"/>
                      </a:lnTo>
                      <a:lnTo>
                        <a:pt x="1103" y="994"/>
                      </a:lnTo>
                      <a:lnTo>
                        <a:pt x="1104" y="995"/>
                      </a:lnTo>
                      <a:lnTo>
                        <a:pt x="1109" y="995"/>
                      </a:lnTo>
                      <a:close/>
                      <a:moveTo>
                        <a:pt x="1438" y="1072"/>
                      </a:moveTo>
                      <a:lnTo>
                        <a:pt x="1438" y="1073"/>
                      </a:lnTo>
                      <a:lnTo>
                        <a:pt x="1438" y="1074"/>
                      </a:lnTo>
                      <a:lnTo>
                        <a:pt x="1439" y="1074"/>
                      </a:lnTo>
                      <a:lnTo>
                        <a:pt x="1439" y="1076"/>
                      </a:lnTo>
                      <a:lnTo>
                        <a:pt x="1439" y="1074"/>
                      </a:lnTo>
                      <a:lnTo>
                        <a:pt x="1438" y="1074"/>
                      </a:lnTo>
                      <a:lnTo>
                        <a:pt x="1438" y="1073"/>
                      </a:lnTo>
                      <a:lnTo>
                        <a:pt x="1437" y="1072"/>
                      </a:lnTo>
                      <a:lnTo>
                        <a:pt x="1437" y="1073"/>
                      </a:lnTo>
                      <a:lnTo>
                        <a:pt x="1438" y="1074"/>
                      </a:lnTo>
                      <a:lnTo>
                        <a:pt x="1438" y="1076"/>
                      </a:lnTo>
                      <a:lnTo>
                        <a:pt x="1438" y="1077"/>
                      </a:lnTo>
                      <a:lnTo>
                        <a:pt x="1438" y="1078"/>
                      </a:lnTo>
                      <a:lnTo>
                        <a:pt x="1438" y="1077"/>
                      </a:lnTo>
                      <a:lnTo>
                        <a:pt x="1437" y="1073"/>
                      </a:lnTo>
                      <a:lnTo>
                        <a:pt x="1437" y="1072"/>
                      </a:lnTo>
                      <a:lnTo>
                        <a:pt x="1438" y="1072"/>
                      </a:lnTo>
                      <a:close/>
                      <a:moveTo>
                        <a:pt x="1077" y="984"/>
                      </a:moveTo>
                      <a:lnTo>
                        <a:pt x="1078" y="984"/>
                      </a:lnTo>
                      <a:lnTo>
                        <a:pt x="1079" y="984"/>
                      </a:lnTo>
                      <a:lnTo>
                        <a:pt x="1078" y="984"/>
                      </a:lnTo>
                      <a:lnTo>
                        <a:pt x="1078" y="986"/>
                      </a:lnTo>
                      <a:lnTo>
                        <a:pt x="1077" y="986"/>
                      </a:lnTo>
                      <a:lnTo>
                        <a:pt x="1078" y="986"/>
                      </a:lnTo>
                      <a:lnTo>
                        <a:pt x="1077" y="986"/>
                      </a:lnTo>
                      <a:lnTo>
                        <a:pt x="1076" y="986"/>
                      </a:lnTo>
                      <a:lnTo>
                        <a:pt x="1074" y="986"/>
                      </a:lnTo>
                      <a:lnTo>
                        <a:pt x="1076" y="986"/>
                      </a:lnTo>
                      <a:lnTo>
                        <a:pt x="1074" y="986"/>
                      </a:lnTo>
                      <a:lnTo>
                        <a:pt x="1073" y="986"/>
                      </a:lnTo>
                      <a:lnTo>
                        <a:pt x="1073" y="984"/>
                      </a:lnTo>
                      <a:lnTo>
                        <a:pt x="1074" y="984"/>
                      </a:lnTo>
                      <a:lnTo>
                        <a:pt x="1076" y="984"/>
                      </a:lnTo>
                      <a:lnTo>
                        <a:pt x="1077" y="984"/>
                      </a:lnTo>
                      <a:close/>
                      <a:moveTo>
                        <a:pt x="1121" y="950"/>
                      </a:moveTo>
                      <a:lnTo>
                        <a:pt x="1121" y="951"/>
                      </a:lnTo>
                      <a:lnTo>
                        <a:pt x="1120" y="951"/>
                      </a:lnTo>
                      <a:lnTo>
                        <a:pt x="1119" y="950"/>
                      </a:lnTo>
                      <a:lnTo>
                        <a:pt x="1118" y="950"/>
                      </a:lnTo>
                      <a:lnTo>
                        <a:pt x="1119" y="950"/>
                      </a:lnTo>
                      <a:lnTo>
                        <a:pt x="1120" y="950"/>
                      </a:lnTo>
                      <a:lnTo>
                        <a:pt x="1120" y="951"/>
                      </a:lnTo>
                      <a:lnTo>
                        <a:pt x="1120" y="950"/>
                      </a:lnTo>
                      <a:lnTo>
                        <a:pt x="1121" y="950"/>
                      </a:lnTo>
                      <a:lnTo>
                        <a:pt x="1121" y="949"/>
                      </a:lnTo>
                      <a:lnTo>
                        <a:pt x="1121" y="948"/>
                      </a:lnTo>
                      <a:lnTo>
                        <a:pt x="1122" y="949"/>
                      </a:lnTo>
                      <a:lnTo>
                        <a:pt x="1121" y="950"/>
                      </a:lnTo>
                      <a:close/>
                      <a:moveTo>
                        <a:pt x="989" y="989"/>
                      </a:moveTo>
                      <a:lnTo>
                        <a:pt x="988" y="989"/>
                      </a:lnTo>
                      <a:lnTo>
                        <a:pt x="987" y="989"/>
                      </a:lnTo>
                      <a:lnTo>
                        <a:pt x="980" y="989"/>
                      </a:lnTo>
                      <a:lnTo>
                        <a:pt x="988" y="989"/>
                      </a:lnTo>
                      <a:lnTo>
                        <a:pt x="989" y="989"/>
                      </a:lnTo>
                      <a:close/>
                      <a:moveTo>
                        <a:pt x="1195" y="862"/>
                      </a:moveTo>
                      <a:lnTo>
                        <a:pt x="1194" y="862"/>
                      </a:lnTo>
                      <a:lnTo>
                        <a:pt x="1194" y="861"/>
                      </a:lnTo>
                      <a:lnTo>
                        <a:pt x="1194" y="860"/>
                      </a:lnTo>
                      <a:lnTo>
                        <a:pt x="1194" y="861"/>
                      </a:lnTo>
                      <a:lnTo>
                        <a:pt x="1195" y="861"/>
                      </a:lnTo>
                      <a:lnTo>
                        <a:pt x="1196" y="861"/>
                      </a:lnTo>
                      <a:lnTo>
                        <a:pt x="1195" y="862"/>
                      </a:lnTo>
                      <a:close/>
                      <a:moveTo>
                        <a:pt x="1177" y="1038"/>
                      </a:moveTo>
                      <a:lnTo>
                        <a:pt x="1177" y="1039"/>
                      </a:lnTo>
                      <a:lnTo>
                        <a:pt x="1176" y="1039"/>
                      </a:lnTo>
                      <a:lnTo>
                        <a:pt x="1175" y="1037"/>
                      </a:lnTo>
                      <a:lnTo>
                        <a:pt x="1176" y="1039"/>
                      </a:lnTo>
                      <a:lnTo>
                        <a:pt x="1176" y="1038"/>
                      </a:lnTo>
                      <a:lnTo>
                        <a:pt x="1177" y="1038"/>
                      </a:lnTo>
                      <a:lnTo>
                        <a:pt x="1177" y="1037"/>
                      </a:lnTo>
                      <a:lnTo>
                        <a:pt x="1179" y="1037"/>
                      </a:lnTo>
                      <a:lnTo>
                        <a:pt x="1180" y="1035"/>
                      </a:lnTo>
                      <a:lnTo>
                        <a:pt x="1179" y="1035"/>
                      </a:lnTo>
                      <a:lnTo>
                        <a:pt x="1180" y="1035"/>
                      </a:lnTo>
                      <a:lnTo>
                        <a:pt x="1180" y="1037"/>
                      </a:lnTo>
                      <a:lnTo>
                        <a:pt x="1179" y="1038"/>
                      </a:lnTo>
                      <a:lnTo>
                        <a:pt x="1177" y="1038"/>
                      </a:lnTo>
                      <a:close/>
                      <a:moveTo>
                        <a:pt x="1198" y="1044"/>
                      </a:moveTo>
                      <a:lnTo>
                        <a:pt x="1197" y="1045"/>
                      </a:lnTo>
                      <a:lnTo>
                        <a:pt x="1197" y="1044"/>
                      </a:lnTo>
                      <a:lnTo>
                        <a:pt x="1196" y="1044"/>
                      </a:lnTo>
                      <a:lnTo>
                        <a:pt x="1196" y="1045"/>
                      </a:lnTo>
                      <a:lnTo>
                        <a:pt x="1195" y="1045"/>
                      </a:lnTo>
                      <a:lnTo>
                        <a:pt x="1195" y="1046"/>
                      </a:lnTo>
                      <a:lnTo>
                        <a:pt x="1194" y="1047"/>
                      </a:lnTo>
                      <a:lnTo>
                        <a:pt x="1193" y="1046"/>
                      </a:lnTo>
                      <a:lnTo>
                        <a:pt x="1192" y="1046"/>
                      </a:lnTo>
                      <a:lnTo>
                        <a:pt x="1193" y="1046"/>
                      </a:lnTo>
                      <a:lnTo>
                        <a:pt x="1193" y="1045"/>
                      </a:lnTo>
                      <a:lnTo>
                        <a:pt x="1194" y="1045"/>
                      </a:lnTo>
                      <a:lnTo>
                        <a:pt x="1195" y="1045"/>
                      </a:lnTo>
                      <a:lnTo>
                        <a:pt x="1196" y="1045"/>
                      </a:lnTo>
                      <a:lnTo>
                        <a:pt x="1196" y="1044"/>
                      </a:lnTo>
                      <a:lnTo>
                        <a:pt x="1197" y="1044"/>
                      </a:lnTo>
                      <a:lnTo>
                        <a:pt x="1198" y="1044"/>
                      </a:lnTo>
                      <a:close/>
                      <a:moveTo>
                        <a:pt x="1129" y="968"/>
                      </a:moveTo>
                      <a:lnTo>
                        <a:pt x="1128" y="968"/>
                      </a:lnTo>
                      <a:lnTo>
                        <a:pt x="1128" y="969"/>
                      </a:lnTo>
                      <a:lnTo>
                        <a:pt x="1129" y="969"/>
                      </a:lnTo>
                      <a:lnTo>
                        <a:pt x="1130" y="969"/>
                      </a:lnTo>
                      <a:lnTo>
                        <a:pt x="1131" y="969"/>
                      </a:lnTo>
                      <a:lnTo>
                        <a:pt x="1130" y="970"/>
                      </a:lnTo>
                      <a:lnTo>
                        <a:pt x="1129" y="970"/>
                      </a:lnTo>
                      <a:lnTo>
                        <a:pt x="1129" y="969"/>
                      </a:lnTo>
                      <a:lnTo>
                        <a:pt x="1128" y="968"/>
                      </a:lnTo>
                      <a:lnTo>
                        <a:pt x="1129" y="968"/>
                      </a:lnTo>
                      <a:close/>
                      <a:moveTo>
                        <a:pt x="1065" y="983"/>
                      </a:moveTo>
                      <a:lnTo>
                        <a:pt x="1066" y="983"/>
                      </a:lnTo>
                      <a:lnTo>
                        <a:pt x="1066" y="984"/>
                      </a:lnTo>
                      <a:lnTo>
                        <a:pt x="1065" y="984"/>
                      </a:lnTo>
                      <a:lnTo>
                        <a:pt x="1064" y="983"/>
                      </a:lnTo>
                      <a:lnTo>
                        <a:pt x="1065" y="982"/>
                      </a:lnTo>
                      <a:lnTo>
                        <a:pt x="1064" y="983"/>
                      </a:lnTo>
                      <a:lnTo>
                        <a:pt x="1065" y="983"/>
                      </a:lnTo>
                      <a:lnTo>
                        <a:pt x="1065" y="982"/>
                      </a:lnTo>
                      <a:lnTo>
                        <a:pt x="1066" y="982"/>
                      </a:lnTo>
                      <a:lnTo>
                        <a:pt x="1066" y="981"/>
                      </a:lnTo>
                      <a:lnTo>
                        <a:pt x="1066" y="982"/>
                      </a:lnTo>
                      <a:lnTo>
                        <a:pt x="1066" y="983"/>
                      </a:lnTo>
                      <a:lnTo>
                        <a:pt x="1065" y="983"/>
                      </a:lnTo>
                      <a:close/>
                      <a:moveTo>
                        <a:pt x="1195" y="977"/>
                      </a:moveTo>
                      <a:lnTo>
                        <a:pt x="1196" y="978"/>
                      </a:lnTo>
                      <a:lnTo>
                        <a:pt x="1196" y="977"/>
                      </a:lnTo>
                      <a:lnTo>
                        <a:pt x="1196" y="978"/>
                      </a:lnTo>
                      <a:lnTo>
                        <a:pt x="1195" y="978"/>
                      </a:lnTo>
                      <a:lnTo>
                        <a:pt x="1193" y="978"/>
                      </a:lnTo>
                      <a:lnTo>
                        <a:pt x="1192" y="977"/>
                      </a:lnTo>
                      <a:lnTo>
                        <a:pt x="1193" y="977"/>
                      </a:lnTo>
                      <a:lnTo>
                        <a:pt x="1194" y="977"/>
                      </a:lnTo>
                      <a:lnTo>
                        <a:pt x="1195" y="977"/>
                      </a:lnTo>
                      <a:close/>
                      <a:moveTo>
                        <a:pt x="991" y="969"/>
                      </a:moveTo>
                      <a:lnTo>
                        <a:pt x="992" y="969"/>
                      </a:lnTo>
                      <a:lnTo>
                        <a:pt x="992" y="970"/>
                      </a:lnTo>
                      <a:lnTo>
                        <a:pt x="991" y="971"/>
                      </a:lnTo>
                      <a:lnTo>
                        <a:pt x="992" y="971"/>
                      </a:lnTo>
                      <a:lnTo>
                        <a:pt x="991" y="971"/>
                      </a:lnTo>
                      <a:lnTo>
                        <a:pt x="990" y="971"/>
                      </a:lnTo>
                      <a:lnTo>
                        <a:pt x="991" y="971"/>
                      </a:lnTo>
                      <a:lnTo>
                        <a:pt x="991" y="970"/>
                      </a:lnTo>
                      <a:lnTo>
                        <a:pt x="991" y="969"/>
                      </a:lnTo>
                      <a:close/>
                      <a:moveTo>
                        <a:pt x="1419" y="1099"/>
                      </a:moveTo>
                      <a:lnTo>
                        <a:pt x="1420" y="1099"/>
                      </a:lnTo>
                      <a:lnTo>
                        <a:pt x="1420" y="1101"/>
                      </a:lnTo>
                      <a:lnTo>
                        <a:pt x="1419" y="1102"/>
                      </a:lnTo>
                      <a:lnTo>
                        <a:pt x="1418" y="1101"/>
                      </a:lnTo>
                      <a:lnTo>
                        <a:pt x="1419" y="1099"/>
                      </a:lnTo>
                      <a:close/>
                      <a:moveTo>
                        <a:pt x="1285" y="949"/>
                      </a:moveTo>
                      <a:lnTo>
                        <a:pt x="1286" y="949"/>
                      </a:lnTo>
                      <a:lnTo>
                        <a:pt x="1286" y="950"/>
                      </a:lnTo>
                      <a:lnTo>
                        <a:pt x="1287" y="950"/>
                      </a:lnTo>
                      <a:lnTo>
                        <a:pt x="1286" y="950"/>
                      </a:lnTo>
                      <a:lnTo>
                        <a:pt x="1286" y="951"/>
                      </a:lnTo>
                      <a:lnTo>
                        <a:pt x="1286" y="950"/>
                      </a:lnTo>
                      <a:lnTo>
                        <a:pt x="1286" y="951"/>
                      </a:lnTo>
                      <a:lnTo>
                        <a:pt x="1285" y="951"/>
                      </a:lnTo>
                      <a:lnTo>
                        <a:pt x="1285" y="950"/>
                      </a:lnTo>
                      <a:lnTo>
                        <a:pt x="1284" y="950"/>
                      </a:lnTo>
                      <a:lnTo>
                        <a:pt x="1284" y="949"/>
                      </a:lnTo>
                      <a:lnTo>
                        <a:pt x="1284" y="950"/>
                      </a:lnTo>
                      <a:lnTo>
                        <a:pt x="1285" y="950"/>
                      </a:lnTo>
                      <a:lnTo>
                        <a:pt x="1285" y="949"/>
                      </a:lnTo>
                      <a:lnTo>
                        <a:pt x="1285" y="950"/>
                      </a:lnTo>
                      <a:lnTo>
                        <a:pt x="1285" y="949"/>
                      </a:lnTo>
                      <a:close/>
                      <a:moveTo>
                        <a:pt x="1181" y="1030"/>
                      </a:moveTo>
                      <a:lnTo>
                        <a:pt x="1180" y="1031"/>
                      </a:lnTo>
                      <a:lnTo>
                        <a:pt x="1180" y="1032"/>
                      </a:lnTo>
                      <a:lnTo>
                        <a:pt x="1181" y="1032"/>
                      </a:lnTo>
                      <a:lnTo>
                        <a:pt x="1181" y="1033"/>
                      </a:lnTo>
                      <a:lnTo>
                        <a:pt x="1181" y="1034"/>
                      </a:lnTo>
                      <a:lnTo>
                        <a:pt x="1182" y="1034"/>
                      </a:lnTo>
                      <a:lnTo>
                        <a:pt x="1183" y="1034"/>
                      </a:lnTo>
                      <a:lnTo>
                        <a:pt x="1183" y="1033"/>
                      </a:lnTo>
                      <a:lnTo>
                        <a:pt x="1183" y="1034"/>
                      </a:lnTo>
                      <a:lnTo>
                        <a:pt x="1182" y="1034"/>
                      </a:lnTo>
                      <a:lnTo>
                        <a:pt x="1181" y="1034"/>
                      </a:lnTo>
                      <a:lnTo>
                        <a:pt x="1180" y="1033"/>
                      </a:lnTo>
                      <a:lnTo>
                        <a:pt x="1180" y="1032"/>
                      </a:lnTo>
                      <a:lnTo>
                        <a:pt x="1180" y="1031"/>
                      </a:lnTo>
                      <a:lnTo>
                        <a:pt x="1181" y="1030"/>
                      </a:lnTo>
                      <a:close/>
                      <a:moveTo>
                        <a:pt x="1099" y="967"/>
                      </a:moveTo>
                      <a:lnTo>
                        <a:pt x="1098" y="967"/>
                      </a:lnTo>
                      <a:lnTo>
                        <a:pt x="1099" y="966"/>
                      </a:lnTo>
                      <a:lnTo>
                        <a:pt x="1099" y="965"/>
                      </a:lnTo>
                      <a:lnTo>
                        <a:pt x="1098" y="965"/>
                      </a:lnTo>
                      <a:lnTo>
                        <a:pt x="1098" y="964"/>
                      </a:lnTo>
                      <a:lnTo>
                        <a:pt x="1098" y="965"/>
                      </a:lnTo>
                      <a:lnTo>
                        <a:pt x="1099" y="965"/>
                      </a:lnTo>
                      <a:lnTo>
                        <a:pt x="1100" y="965"/>
                      </a:lnTo>
                      <a:lnTo>
                        <a:pt x="1099" y="966"/>
                      </a:lnTo>
                      <a:lnTo>
                        <a:pt x="1099" y="967"/>
                      </a:lnTo>
                      <a:close/>
                      <a:moveTo>
                        <a:pt x="1059" y="991"/>
                      </a:moveTo>
                      <a:lnTo>
                        <a:pt x="1058" y="991"/>
                      </a:lnTo>
                      <a:lnTo>
                        <a:pt x="1058" y="992"/>
                      </a:lnTo>
                      <a:lnTo>
                        <a:pt x="1058" y="993"/>
                      </a:lnTo>
                      <a:lnTo>
                        <a:pt x="1057" y="993"/>
                      </a:lnTo>
                      <a:lnTo>
                        <a:pt x="1057" y="991"/>
                      </a:lnTo>
                      <a:lnTo>
                        <a:pt x="1059" y="991"/>
                      </a:lnTo>
                      <a:close/>
                      <a:moveTo>
                        <a:pt x="1054" y="935"/>
                      </a:moveTo>
                      <a:lnTo>
                        <a:pt x="1057" y="937"/>
                      </a:lnTo>
                      <a:lnTo>
                        <a:pt x="1056" y="937"/>
                      </a:lnTo>
                      <a:lnTo>
                        <a:pt x="1055" y="937"/>
                      </a:lnTo>
                      <a:lnTo>
                        <a:pt x="1055" y="936"/>
                      </a:lnTo>
                      <a:lnTo>
                        <a:pt x="1054" y="937"/>
                      </a:lnTo>
                      <a:lnTo>
                        <a:pt x="1054" y="936"/>
                      </a:lnTo>
                      <a:lnTo>
                        <a:pt x="1054" y="935"/>
                      </a:lnTo>
                      <a:close/>
                      <a:moveTo>
                        <a:pt x="1124" y="837"/>
                      </a:moveTo>
                      <a:lnTo>
                        <a:pt x="1124" y="838"/>
                      </a:lnTo>
                      <a:lnTo>
                        <a:pt x="1125" y="838"/>
                      </a:lnTo>
                      <a:lnTo>
                        <a:pt x="1124" y="838"/>
                      </a:lnTo>
                      <a:lnTo>
                        <a:pt x="1123" y="838"/>
                      </a:lnTo>
                      <a:lnTo>
                        <a:pt x="1122" y="838"/>
                      </a:lnTo>
                      <a:lnTo>
                        <a:pt x="1122" y="837"/>
                      </a:lnTo>
                      <a:lnTo>
                        <a:pt x="1124" y="837"/>
                      </a:lnTo>
                      <a:close/>
                      <a:moveTo>
                        <a:pt x="1102" y="957"/>
                      </a:moveTo>
                      <a:lnTo>
                        <a:pt x="1100" y="958"/>
                      </a:lnTo>
                      <a:lnTo>
                        <a:pt x="1099" y="958"/>
                      </a:lnTo>
                      <a:lnTo>
                        <a:pt x="1097" y="958"/>
                      </a:lnTo>
                      <a:lnTo>
                        <a:pt x="1097" y="957"/>
                      </a:lnTo>
                      <a:lnTo>
                        <a:pt x="1098" y="957"/>
                      </a:lnTo>
                      <a:lnTo>
                        <a:pt x="1098" y="958"/>
                      </a:lnTo>
                      <a:lnTo>
                        <a:pt x="1099" y="958"/>
                      </a:lnTo>
                      <a:lnTo>
                        <a:pt x="1099" y="957"/>
                      </a:lnTo>
                      <a:lnTo>
                        <a:pt x="1100" y="957"/>
                      </a:lnTo>
                      <a:lnTo>
                        <a:pt x="1099" y="957"/>
                      </a:lnTo>
                      <a:lnTo>
                        <a:pt x="1099" y="956"/>
                      </a:lnTo>
                      <a:lnTo>
                        <a:pt x="1100" y="956"/>
                      </a:lnTo>
                      <a:lnTo>
                        <a:pt x="1100" y="957"/>
                      </a:lnTo>
                      <a:lnTo>
                        <a:pt x="1102" y="957"/>
                      </a:lnTo>
                      <a:close/>
                      <a:moveTo>
                        <a:pt x="1355" y="1052"/>
                      </a:moveTo>
                      <a:lnTo>
                        <a:pt x="1356" y="1052"/>
                      </a:lnTo>
                      <a:lnTo>
                        <a:pt x="1356" y="1053"/>
                      </a:lnTo>
                      <a:lnTo>
                        <a:pt x="1355" y="1053"/>
                      </a:lnTo>
                      <a:lnTo>
                        <a:pt x="1354" y="1053"/>
                      </a:lnTo>
                      <a:lnTo>
                        <a:pt x="1355" y="1053"/>
                      </a:lnTo>
                      <a:lnTo>
                        <a:pt x="1354" y="1052"/>
                      </a:lnTo>
                      <a:lnTo>
                        <a:pt x="1355" y="1052"/>
                      </a:lnTo>
                      <a:lnTo>
                        <a:pt x="1354" y="1051"/>
                      </a:lnTo>
                      <a:lnTo>
                        <a:pt x="1355" y="1051"/>
                      </a:lnTo>
                      <a:lnTo>
                        <a:pt x="1355" y="1052"/>
                      </a:lnTo>
                      <a:close/>
                      <a:moveTo>
                        <a:pt x="1277" y="953"/>
                      </a:moveTo>
                      <a:lnTo>
                        <a:pt x="1278" y="953"/>
                      </a:lnTo>
                      <a:lnTo>
                        <a:pt x="1278" y="954"/>
                      </a:lnTo>
                      <a:lnTo>
                        <a:pt x="1278" y="955"/>
                      </a:lnTo>
                      <a:lnTo>
                        <a:pt x="1278" y="956"/>
                      </a:lnTo>
                      <a:lnTo>
                        <a:pt x="1278" y="955"/>
                      </a:lnTo>
                      <a:lnTo>
                        <a:pt x="1277" y="955"/>
                      </a:lnTo>
                      <a:lnTo>
                        <a:pt x="1277" y="954"/>
                      </a:lnTo>
                      <a:lnTo>
                        <a:pt x="1277" y="955"/>
                      </a:lnTo>
                      <a:lnTo>
                        <a:pt x="1277" y="956"/>
                      </a:lnTo>
                      <a:lnTo>
                        <a:pt x="1277" y="955"/>
                      </a:lnTo>
                      <a:lnTo>
                        <a:pt x="1276" y="955"/>
                      </a:lnTo>
                      <a:lnTo>
                        <a:pt x="1277" y="955"/>
                      </a:lnTo>
                      <a:lnTo>
                        <a:pt x="1277" y="954"/>
                      </a:lnTo>
                      <a:lnTo>
                        <a:pt x="1277" y="953"/>
                      </a:lnTo>
                      <a:close/>
                      <a:moveTo>
                        <a:pt x="1140" y="1001"/>
                      </a:moveTo>
                      <a:lnTo>
                        <a:pt x="1138" y="1001"/>
                      </a:lnTo>
                      <a:lnTo>
                        <a:pt x="1136" y="1000"/>
                      </a:lnTo>
                      <a:lnTo>
                        <a:pt x="1136" y="999"/>
                      </a:lnTo>
                      <a:lnTo>
                        <a:pt x="1137" y="999"/>
                      </a:lnTo>
                      <a:lnTo>
                        <a:pt x="1137" y="1000"/>
                      </a:lnTo>
                      <a:lnTo>
                        <a:pt x="1138" y="1000"/>
                      </a:lnTo>
                      <a:lnTo>
                        <a:pt x="1140" y="1001"/>
                      </a:lnTo>
                      <a:close/>
                      <a:moveTo>
                        <a:pt x="1054" y="939"/>
                      </a:moveTo>
                      <a:lnTo>
                        <a:pt x="1053" y="939"/>
                      </a:lnTo>
                      <a:lnTo>
                        <a:pt x="1053" y="940"/>
                      </a:lnTo>
                      <a:lnTo>
                        <a:pt x="1052" y="940"/>
                      </a:lnTo>
                      <a:lnTo>
                        <a:pt x="1052" y="939"/>
                      </a:lnTo>
                      <a:lnTo>
                        <a:pt x="1052" y="938"/>
                      </a:lnTo>
                      <a:lnTo>
                        <a:pt x="1052" y="937"/>
                      </a:lnTo>
                      <a:lnTo>
                        <a:pt x="1053" y="937"/>
                      </a:lnTo>
                      <a:lnTo>
                        <a:pt x="1053" y="938"/>
                      </a:lnTo>
                      <a:lnTo>
                        <a:pt x="1053" y="939"/>
                      </a:lnTo>
                      <a:lnTo>
                        <a:pt x="1054" y="939"/>
                      </a:lnTo>
                      <a:close/>
                      <a:moveTo>
                        <a:pt x="1142" y="983"/>
                      </a:moveTo>
                      <a:lnTo>
                        <a:pt x="1145" y="987"/>
                      </a:lnTo>
                      <a:lnTo>
                        <a:pt x="1144" y="986"/>
                      </a:lnTo>
                      <a:lnTo>
                        <a:pt x="1143" y="986"/>
                      </a:lnTo>
                      <a:lnTo>
                        <a:pt x="1143" y="987"/>
                      </a:lnTo>
                      <a:lnTo>
                        <a:pt x="1143" y="988"/>
                      </a:lnTo>
                      <a:lnTo>
                        <a:pt x="1143" y="987"/>
                      </a:lnTo>
                      <a:lnTo>
                        <a:pt x="1142" y="987"/>
                      </a:lnTo>
                      <a:lnTo>
                        <a:pt x="1143" y="986"/>
                      </a:lnTo>
                      <a:lnTo>
                        <a:pt x="1142" y="986"/>
                      </a:lnTo>
                      <a:lnTo>
                        <a:pt x="1143" y="986"/>
                      </a:lnTo>
                      <a:lnTo>
                        <a:pt x="1143" y="984"/>
                      </a:lnTo>
                      <a:lnTo>
                        <a:pt x="1143" y="983"/>
                      </a:lnTo>
                      <a:lnTo>
                        <a:pt x="1142" y="983"/>
                      </a:lnTo>
                      <a:close/>
                      <a:moveTo>
                        <a:pt x="1083" y="956"/>
                      </a:moveTo>
                      <a:lnTo>
                        <a:pt x="1082" y="956"/>
                      </a:lnTo>
                      <a:lnTo>
                        <a:pt x="1082" y="955"/>
                      </a:lnTo>
                      <a:lnTo>
                        <a:pt x="1081" y="955"/>
                      </a:lnTo>
                      <a:lnTo>
                        <a:pt x="1081" y="954"/>
                      </a:lnTo>
                      <a:lnTo>
                        <a:pt x="1082" y="954"/>
                      </a:lnTo>
                      <a:lnTo>
                        <a:pt x="1082" y="953"/>
                      </a:lnTo>
                      <a:lnTo>
                        <a:pt x="1082" y="954"/>
                      </a:lnTo>
                      <a:lnTo>
                        <a:pt x="1082" y="955"/>
                      </a:lnTo>
                      <a:lnTo>
                        <a:pt x="1083" y="955"/>
                      </a:lnTo>
                      <a:lnTo>
                        <a:pt x="1083" y="956"/>
                      </a:lnTo>
                      <a:close/>
                      <a:moveTo>
                        <a:pt x="1419" y="1118"/>
                      </a:moveTo>
                      <a:lnTo>
                        <a:pt x="1418" y="1118"/>
                      </a:lnTo>
                      <a:lnTo>
                        <a:pt x="1418" y="1119"/>
                      </a:lnTo>
                      <a:lnTo>
                        <a:pt x="1417" y="1119"/>
                      </a:lnTo>
                      <a:lnTo>
                        <a:pt x="1417" y="1118"/>
                      </a:lnTo>
                      <a:lnTo>
                        <a:pt x="1418" y="1118"/>
                      </a:lnTo>
                      <a:lnTo>
                        <a:pt x="1418" y="1117"/>
                      </a:lnTo>
                      <a:lnTo>
                        <a:pt x="1419" y="1117"/>
                      </a:lnTo>
                      <a:lnTo>
                        <a:pt x="1419" y="1118"/>
                      </a:lnTo>
                      <a:close/>
                      <a:moveTo>
                        <a:pt x="1078" y="980"/>
                      </a:moveTo>
                      <a:lnTo>
                        <a:pt x="1078" y="981"/>
                      </a:lnTo>
                      <a:lnTo>
                        <a:pt x="1077" y="981"/>
                      </a:lnTo>
                      <a:lnTo>
                        <a:pt x="1077" y="980"/>
                      </a:lnTo>
                      <a:lnTo>
                        <a:pt x="1077" y="981"/>
                      </a:lnTo>
                      <a:lnTo>
                        <a:pt x="1074" y="981"/>
                      </a:lnTo>
                      <a:lnTo>
                        <a:pt x="1074" y="980"/>
                      </a:lnTo>
                      <a:lnTo>
                        <a:pt x="1078" y="980"/>
                      </a:lnTo>
                      <a:close/>
                      <a:moveTo>
                        <a:pt x="1079" y="986"/>
                      </a:moveTo>
                      <a:lnTo>
                        <a:pt x="1079" y="987"/>
                      </a:lnTo>
                      <a:lnTo>
                        <a:pt x="1079" y="986"/>
                      </a:lnTo>
                      <a:lnTo>
                        <a:pt x="1078" y="986"/>
                      </a:lnTo>
                      <a:lnTo>
                        <a:pt x="1078" y="987"/>
                      </a:lnTo>
                      <a:lnTo>
                        <a:pt x="1078" y="986"/>
                      </a:lnTo>
                      <a:lnTo>
                        <a:pt x="1077" y="986"/>
                      </a:lnTo>
                      <a:lnTo>
                        <a:pt x="1077" y="987"/>
                      </a:lnTo>
                      <a:lnTo>
                        <a:pt x="1078" y="987"/>
                      </a:lnTo>
                      <a:lnTo>
                        <a:pt x="1077" y="987"/>
                      </a:lnTo>
                      <a:lnTo>
                        <a:pt x="1076" y="987"/>
                      </a:lnTo>
                      <a:lnTo>
                        <a:pt x="1076" y="986"/>
                      </a:lnTo>
                      <a:lnTo>
                        <a:pt x="1077" y="986"/>
                      </a:lnTo>
                      <a:lnTo>
                        <a:pt x="1077" y="987"/>
                      </a:lnTo>
                      <a:lnTo>
                        <a:pt x="1077" y="986"/>
                      </a:lnTo>
                      <a:lnTo>
                        <a:pt x="1078" y="986"/>
                      </a:lnTo>
                      <a:lnTo>
                        <a:pt x="1079" y="986"/>
                      </a:lnTo>
                      <a:close/>
                      <a:moveTo>
                        <a:pt x="1161" y="965"/>
                      </a:moveTo>
                      <a:lnTo>
                        <a:pt x="1162" y="965"/>
                      </a:lnTo>
                      <a:lnTo>
                        <a:pt x="1161" y="965"/>
                      </a:lnTo>
                      <a:lnTo>
                        <a:pt x="1161" y="966"/>
                      </a:lnTo>
                      <a:lnTo>
                        <a:pt x="1160" y="966"/>
                      </a:lnTo>
                      <a:lnTo>
                        <a:pt x="1159" y="966"/>
                      </a:lnTo>
                      <a:lnTo>
                        <a:pt x="1159" y="967"/>
                      </a:lnTo>
                      <a:lnTo>
                        <a:pt x="1160" y="967"/>
                      </a:lnTo>
                      <a:lnTo>
                        <a:pt x="1159" y="967"/>
                      </a:lnTo>
                      <a:lnTo>
                        <a:pt x="1159" y="966"/>
                      </a:lnTo>
                      <a:lnTo>
                        <a:pt x="1159" y="965"/>
                      </a:lnTo>
                      <a:lnTo>
                        <a:pt x="1160" y="965"/>
                      </a:lnTo>
                      <a:lnTo>
                        <a:pt x="1160" y="966"/>
                      </a:lnTo>
                      <a:lnTo>
                        <a:pt x="1161" y="966"/>
                      </a:lnTo>
                      <a:lnTo>
                        <a:pt x="1161" y="965"/>
                      </a:lnTo>
                      <a:close/>
                      <a:moveTo>
                        <a:pt x="1109" y="987"/>
                      </a:moveTo>
                      <a:lnTo>
                        <a:pt x="1108" y="987"/>
                      </a:lnTo>
                      <a:lnTo>
                        <a:pt x="1108" y="988"/>
                      </a:lnTo>
                      <a:lnTo>
                        <a:pt x="1107" y="988"/>
                      </a:lnTo>
                      <a:lnTo>
                        <a:pt x="1106" y="987"/>
                      </a:lnTo>
                      <a:lnTo>
                        <a:pt x="1105" y="987"/>
                      </a:lnTo>
                      <a:lnTo>
                        <a:pt x="1105" y="986"/>
                      </a:lnTo>
                      <a:lnTo>
                        <a:pt x="1107" y="987"/>
                      </a:lnTo>
                      <a:lnTo>
                        <a:pt x="1109" y="987"/>
                      </a:lnTo>
                      <a:close/>
                      <a:moveTo>
                        <a:pt x="1364" y="1040"/>
                      </a:moveTo>
                      <a:lnTo>
                        <a:pt x="1364" y="1041"/>
                      </a:lnTo>
                      <a:lnTo>
                        <a:pt x="1364" y="1042"/>
                      </a:lnTo>
                      <a:lnTo>
                        <a:pt x="1365" y="1042"/>
                      </a:lnTo>
                      <a:lnTo>
                        <a:pt x="1364" y="1043"/>
                      </a:lnTo>
                      <a:lnTo>
                        <a:pt x="1363" y="1043"/>
                      </a:lnTo>
                      <a:lnTo>
                        <a:pt x="1363" y="1042"/>
                      </a:lnTo>
                      <a:lnTo>
                        <a:pt x="1364" y="1042"/>
                      </a:lnTo>
                      <a:lnTo>
                        <a:pt x="1364" y="1041"/>
                      </a:lnTo>
                      <a:lnTo>
                        <a:pt x="1364" y="1040"/>
                      </a:lnTo>
                      <a:close/>
                      <a:moveTo>
                        <a:pt x="1361" y="1021"/>
                      </a:moveTo>
                      <a:lnTo>
                        <a:pt x="1360" y="1021"/>
                      </a:lnTo>
                      <a:lnTo>
                        <a:pt x="1360" y="1020"/>
                      </a:lnTo>
                      <a:lnTo>
                        <a:pt x="1361" y="1020"/>
                      </a:lnTo>
                      <a:lnTo>
                        <a:pt x="1361" y="1019"/>
                      </a:lnTo>
                      <a:lnTo>
                        <a:pt x="1362" y="1019"/>
                      </a:lnTo>
                      <a:lnTo>
                        <a:pt x="1362" y="1018"/>
                      </a:lnTo>
                      <a:lnTo>
                        <a:pt x="1362" y="1019"/>
                      </a:lnTo>
                      <a:lnTo>
                        <a:pt x="1361" y="1019"/>
                      </a:lnTo>
                      <a:lnTo>
                        <a:pt x="1361" y="1020"/>
                      </a:lnTo>
                      <a:lnTo>
                        <a:pt x="1361" y="1021"/>
                      </a:lnTo>
                      <a:close/>
                      <a:moveTo>
                        <a:pt x="1168" y="846"/>
                      </a:moveTo>
                      <a:lnTo>
                        <a:pt x="1169" y="846"/>
                      </a:lnTo>
                      <a:lnTo>
                        <a:pt x="1168" y="847"/>
                      </a:lnTo>
                      <a:lnTo>
                        <a:pt x="1169" y="847"/>
                      </a:lnTo>
                      <a:lnTo>
                        <a:pt x="1169" y="848"/>
                      </a:lnTo>
                      <a:lnTo>
                        <a:pt x="1168" y="848"/>
                      </a:lnTo>
                      <a:lnTo>
                        <a:pt x="1168" y="847"/>
                      </a:lnTo>
                      <a:lnTo>
                        <a:pt x="1167" y="846"/>
                      </a:lnTo>
                      <a:lnTo>
                        <a:pt x="1168" y="846"/>
                      </a:lnTo>
                      <a:close/>
                      <a:moveTo>
                        <a:pt x="1035" y="925"/>
                      </a:moveTo>
                      <a:lnTo>
                        <a:pt x="1037" y="925"/>
                      </a:lnTo>
                      <a:lnTo>
                        <a:pt x="1037" y="926"/>
                      </a:lnTo>
                      <a:lnTo>
                        <a:pt x="1038" y="926"/>
                      </a:lnTo>
                      <a:lnTo>
                        <a:pt x="1037" y="927"/>
                      </a:lnTo>
                      <a:lnTo>
                        <a:pt x="1035" y="926"/>
                      </a:lnTo>
                      <a:lnTo>
                        <a:pt x="1035" y="925"/>
                      </a:lnTo>
                      <a:close/>
                      <a:moveTo>
                        <a:pt x="1368" y="1037"/>
                      </a:moveTo>
                      <a:lnTo>
                        <a:pt x="1368" y="1038"/>
                      </a:lnTo>
                      <a:lnTo>
                        <a:pt x="1368" y="1037"/>
                      </a:lnTo>
                      <a:lnTo>
                        <a:pt x="1368" y="1038"/>
                      </a:lnTo>
                      <a:lnTo>
                        <a:pt x="1367" y="1038"/>
                      </a:lnTo>
                      <a:lnTo>
                        <a:pt x="1367" y="1037"/>
                      </a:lnTo>
                      <a:lnTo>
                        <a:pt x="1367" y="1038"/>
                      </a:lnTo>
                      <a:lnTo>
                        <a:pt x="1366" y="1038"/>
                      </a:lnTo>
                      <a:lnTo>
                        <a:pt x="1366" y="1037"/>
                      </a:lnTo>
                      <a:lnTo>
                        <a:pt x="1367" y="1037"/>
                      </a:lnTo>
                      <a:lnTo>
                        <a:pt x="1366" y="1037"/>
                      </a:lnTo>
                      <a:lnTo>
                        <a:pt x="1367" y="1037"/>
                      </a:lnTo>
                      <a:lnTo>
                        <a:pt x="1367" y="1035"/>
                      </a:lnTo>
                      <a:lnTo>
                        <a:pt x="1367" y="1037"/>
                      </a:lnTo>
                      <a:lnTo>
                        <a:pt x="1368" y="1035"/>
                      </a:lnTo>
                      <a:lnTo>
                        <a:pt x="1368" y="1037"/>
                      </a:lnTo>
                      <a:close/>
                      <a:moveTo>
                        <a:pt x="1045" y="947"/>
                      </a:moveTo>
                      <a:lnTo>
                        <a:pt x="1044" y="947"/>
                      </a:lnTo>
                      <a:lnTo>
                        <a:pt x="1044" y="948"/>
                      </a:lnTo>
                      <a:lnTo>
                        <a:pt x="1045" y="948"/>
                      </a:lnTo>
                      <a:lnTo>
                        <a:pt x="1045" y="949"/>
                      </a:lnTo>
                      <a:lnTo>
                        <a:pt x="1044" y="949"/>
                      </a:lnTo>
                      <a:lnTo>
                        <a:pt x="1044" y="948"/>
                      </a:lnTo>
                      <a:lnTo>
                        <a:pt x="1043" y="948"/>
                      </a:lnTo>
                      <a:lnTo>
                        <a:pt x="1043" y="947"/>
                      </a:lnTo>
                      <a:lnTo>
                        <a:pt x="1044" y="947"/>
                      </a:lnTo>
                      <a:lnTo>
                        <a:pt x="1045" y="947"/>
                      </a:lnTo>
                      <a:close/>
                      <a:moveTo>
                        <a:pt x="1074" y="979"/>
                      </a:moveTo>
                      <a:lnTo>
                        <a:pt x="1074" y="980"/>
                      </a:lnTo>
                      <a:lnTo>
                        <a:pt x="1073" y="980"/>
                      </a:lnTo>
                      <a:lnTo>
                        <a:pt x="1072" y="980"/>
                      </a:lnTo>
                      <a:lnTo>
                        <a:pt x="1071" y="980"/>
                      </a:lnTo>
                      <a:lnTo>
                        <a:pt x="1071" y="979"/>
                      </a:lnTo>
                      <a:lnTo>
                        <a:pt x="1072" y="979"/>
                      </a:lnTo>
                      <a:lnTo>
                        <a:pt x="1072" y="980"/>
                      </a:lnTo>
                      <a:lnTo>
                        <a:pt x="1073" y="980"/>
                      </a:lnTo>
                      <a:lnTo>
                        <a:pt x="1073" y="979"/>
                      </a:lnTo>
                      <a:lnTo>
                        <a:pt x="1074" y="979"/>
                      </a:lnTo>
                      <a:lnTo>
                        <a:pt x="1074" y="978"/>
                      </a:lnTo>
                      <a:lnTo>
                        <a:pt x="1074" y="979"/>
                      </a:lnTo>
                      <a:close/>
                      <a:moveTo>
                        <a:pt x="1366" y="1156"/>
                      </a:moveTo>
                      <a:lnTo>
                        <a:pt x="1366" y="1157"/>
                      </a:lnTo>
                      <a:lnTo>
                        <a:pt x="1365" y="1157"/>
                      </a:lnTo>
                      <a:lnTo>
                        <a:pt x="1365" y="1158"/>
                      </a:lnTo>
                      <a:lnTo>
                        <a:pt x="1366" y="1159"/>
                      </a:lnTo>
                      <a:lnTo>
                        <a:pt x="1365" y="1159"/>
                      </a:lnTo>
                      <a:lnTo>
                        <a:pt x="1365" y="1158"/>
                      </a:lnTo>
                      <a:lnTo>
                        <a:pt x="1364" y="1158"/>
                      </a:lnTo>
                      <a:lnTo>
                        <a:pt x="1365" y="1158"/>
                      </a:lnTo>
                      <a:lnTo>
                        <a:pt x="1365" y="1157"/>
                      </a:lnTo>
                      <a:lnTo>
                        <a:pt x="1365" y="1156"/>
                      </a:lnTo>
                      <a:lnTo>
                        <a:pt x="1366" y="1156"/>
                      </a:lnTo>
                      <a:close/>
                      <a:moveTo>
                        <a:pt x="1425" y="1123"/>
                      </a:moveTo>
                      <a:lnTo>
                        <a:pt x="1426" y="1123"/>
                      </a:lnTo>
                      <a:lnTo>
                        <a:pt x="1427" y="1123"/>
                      </a:lnTo>
                      <a:lnTo>
                        <a:pt x="1428" y="1123"/>
                      </a:lnTo>
                      <a:lnTo>
                        <a:pt x="1426" y="1123"/>
                      </a:lnTo>
                      <a:lnTo>
                        <a:pt x="1424" y="1123"/>
                      </a:lnTo>
                      <a:lnTo>
                        <a:pt x="1422" y="1123"/>
                      </a:lnTo>
                      <a:lnTo>
                        <a:pt x="1421" y="1123"/>
                      </a:lnTo>
                      <a:lnTo>
                        <a:pt x="1422" y="1123"/>
                      </a:lnTo>
                      <a:lnTo>
                        <a:pt x="1422" y="1122"/>
                      </a:lnTo>
                      <a:lnTo>
                        <a:pt x="1424" y="1122"/>
                      </a:lnTo>
                      <a:lnTo>
                        <a:pt x="1425" y="1122"/>
                      </a:lnTo>
                      <a:lnTo>
                        <a:pt x="1424" y="1122"/>
                      </a:lnTo>
                      <a:lnTo>
                        <a:pt x="1425" y="1123"/>
                      </a:lnTo>
                      <a:close/>
                      <a:moveTo>
                        <a:pt x="1283" y="953"/>
                      </a:moveTo>
                      <a:lnTo>
                        <a:pt x="1282" y="953"/>
                      </a:lnTo>
                      <a:lnTo>
                        <a:pt x="1280" y="953"/>
                      </a:lnTo>
                      <a:lnTo>
                        <a:pt x="1280" y="952"/>
                      </a:lnTo>
                      <a:lnTo>
                        <a:pt x="1280" y="951"/>
                      </a:lnTo>
                      <a:lnTo>
                        <a:pt x="1282" y="951"/>
                      </a:lnTo>
                      <a:lnTo>
                        <a:pt x="1282" y="952"/>
                      </a:lnTo>
                      <a:lnTo>
                        <a:pt x="1282" y="953"/>
                      </a:lnTo>
                      <a:lnTo>
                        <a:pt x="1283" y="953"/>
                      </a:lnTo>
                      <a:close/>
                      <a:moveTo>
                        <a:pt x="1419" y="1112"/>
                      </a:moveTo>
                      <a:lnTo>
                        <a:pt x="1419" y="1111"/>
                      </a:lnTo>
                      <a:lnTo>
                        <a:pt x="1419" y="1110"/>
                      </a:lnTo>
                      <a:lnTo>
                        <a:pt x="1419" y="1109"/>
                      </a:lnTo>
                      <a:lnTo>
                        <a:pt x="1420" y="1109"/>
                      </a:lnTo>
                      <a:lnTo>
                        <a:pt x="1420" y="1110"/>
                      </a:lnTo>
                      <a:lnTo>
                        <a:pt x="1420" y="1111"/>
                      </a:lnTo>
                      <a:lnTo>
                        <a:pt x="1420" y="1112"/>
                      </a:lnTo>
                      <a:lnTo>
                        <a:pt x="1419" y="1112"/>
                      </a:lnTo>
                      <a:close/>
                      <a:moveTo>
                        <a:pt x="1046" y="926"/>
                      </a:moveTo>
                      <a:lnTo>
                        <a:pt x="1046" y="928"/>
                      </a:lnTo>
                      <a:lnTo>
                        <a:pt x="1046" y="925"/>
                      </a:lnTo>
                      <a:lnTo>
                        <a:pt x="1046" y="924"/>
                      </a:lnTo>
                      <a:lnTo>
                        <a:pt x="1046" y="925"/>
                      </a:lnTo>
                      <a:lnTo>
                        <a:pt x="1046" y="926"/>
                      </a:lnTo>
                      <a:close/>
                      <a:moveTo>
                        <a:pt x="1125" y="939"/>
                      </a:moveTo>
                      <a:lnTo>
                        <a:pt x="1128" y="940"/>
                      </a:lnTo>
                      <a:lnTo>
                        <a:pt x="1126" y="940"/>
                      </a:lnTo>
                      <a:lnTo>
                        <a:pt x="1125" y="940"/>
                      </a:lnTo>
                      <a:lnTo>
                        <a:pt x="1124" y="938"/>
                      </a:lnTo>
                      <a:lnTo>
                        <a:pt x="1125" y="938"/>
                      </a:lnTo>
                      <a:lnTo>
                        <a:pt x="1125" y="939"/>
                      </a:lnTo>
                      <a:close/>
                      <a:moveTo>
                        <a:pt x="1137" y="978"/>
                      </a:moveTo>
                      <a:lnTo>
                        <a:pt x="1140" y="980"/>
                      </a:lnTo>
                      <a:lnTo>
                        <a:pt x="1141" y="981"/>
                      </a:lnTo>
                      <a:lnTo>
                        <a:pt x="1142" y="982"/>
                      </a:lnTo>
                      <a:lnTo>
                        <a:pt x="1140" y="982"/>
                      </a:lnTo>
                      <a:lnTo>
                        <a:pt x="1141" y="982"/>
                      </a:lnTo>
                      <a:lnTo>
                        <a:pt x="1141" y="981"/>
                      </a:lnTo>
                      <a:lnTo>
                        <a:pt x="1140" y="980"/>
                      </a:lnTo>
                      <a:lnTo>
                        <a:pt x="1138" y="980"/>
                      </a:lnTo>
                      <a:lnTo>
                        <a:pt x="1138" y="979"/>
                      </a:lnTo>
                      <a:lnTo>
                        <a:pt x="1137" y="980"/>
                      </a:lnTo>
                      <a:lnTo>
                        <a:pt x="1137" y="979"/>
                      </a:lnTo>
                      <a:lnTo>
                        <a:pt x="1137" y="978"/>
                      </a:lnTo>
                      <a:lnTo>
                        <a:pt x="1136" y="978"/>
                      </a:lnTo>
                      <a:lnTo>
                        <a:pt x="1137" y="978"/>
                      </a:lnTo>
                      <a:close/>
                      <a:moveTo>
                        <a:pt x="1160" y="971"/>
                      </a:moveTo>
                      <a:lnTo>
                        <a:pt x="1160" y="973"/>
                      </a:lnTo>
                      <a:lnTo>
                        <a:pt x="1160" y="971"/>
                      </a:lnTo>
                      <a:lnTo>
                        <a:pt x="1159" y="971"/>
                      </a:lnTo>
                      <a:lnTo>
                        <a:pt x="1159" y="970"/>
                      </a:lnTo>
                      <a:lnTo>
                        <a:pt x="1159" y="969"/>
                      </a:lnTo>
                      <a:lnTo>
                        <a:pt x="1159" y="968"/>
                      </a:lnTo>
                      <a:lnTo>
                        <a:pt x="1160" y="968"/>
                      </a:lnTo>
                      <a:lnTo>
                        <a:pt x="1160" y="969"/>
                      </a:lnTo>
                      <a:lnTo>
                        <a:pt x="1160" y="970"/>
                      </a:lnTo>
                      <a:lnTo>
                        <a:pt x="1160" y="971"/>
                      </a:lnTo>
                      <a:close/>
                      <a:moveTo>
                        <a:pt x="992" y="956"/>
                      </a:moveTo>
                      <a:lnTo>
                        <a:pt x="993" y="956"/>
                      </a:lnTo>
                      <a:lnTo>
                        <a:pt x="993" y="958"/>
                      </a:lnTo>
                      <a:lnTo>
                        <a:pt x="992" y="958"/>
                      </a:lnTo>
                      <a:lnTo>
                        <a:pt x="992" y="956"/>
                      </a:lnTo>
                      <a:close/>
                      <a:moveTo>
                        <a:pt x="1301" y="948"/>
                      </a:moveTo>
                      <a:lnTo>
                        <a:pt x="1301" y="949"/>
                      </a:lnTo>
                      <a:lnTo>
                        <a:pt x="1302" y="948"/>
                      </a:lnTo>
                      <a:lnTo>
                        <a:pt x="1301" y="948"/>
                      </a:lnTo>
                      <a:lnTo>
                        <a:pt x="1302" y="948"/>
                      </a:lnTo>
                      <a:lnTo>
                        <a:pt x="1302" y="949"/>
                      </a:lnTo>
                      <a:lnTo>
                        <a:pt x="1301" y="949"/>
                      </a:lnTo>
                      <a:lnTo>
                        <a:pt x="1301" y="950"/>
                      </a:lnTo>
                      <a:lnTo>
                        <a:pt x="1300" y="950"/>
                      </a:lnTo>
                      <a:lnTo>
                        <a:pt x="1300" y="949"/>
                      </a:lnTo>
                      <a:lnTo>
                        <a:pt x="1300" y="948"/>
                      </a:lnTo>
                      <a:lnTo>
                        <a:pt x="1301" y="948"/>
                      </a:lnTo>
                      <a:close/>
                      <a:moveTo>
                        <a:pt x="1067" y="991"/>
                      </a:moveTo>
                      <a:lnTo>
                        <a:pt x="1067" y="992"/>
                      </a:lnTo>
                      <a:lnTo>
                        <a:pt x="1064" y="991"/>
                      </a:lnTo>
                      <a:lnTo>
                        <a:pt x="1063" y="991"/>
                      </a:lnTo>
                      <a:lnTo>
                        <a:pt x="1064" y="991"/>
                      </a:lnTo>
                      <a:lnTo>
                        <a:pt x="1067" y="991"/>
                      </a:lnTo>
                      <a:close/>
                      <a:moveTo>
                        <a:pt x="1417" y="1099"/>
                      </a:moveTo>
                      <a:lnTo>
                        <a:pt x="1419" y="1099"/>
                      </a:lnTo>
                      <a:lnTo>
                        <a:pt x="1419" y="1102"/>
                      </a:lnTo>
                      <a:lnTo>
                        <a:pt x="1417" y="1102"/>
                      </a:lnTo>
                      <a:lnTo>
                        <a:pt x="1417" y="1099"/>
                      </a:lnTo>
                      <a:close/>
                      <a:moveTo>
                        <a:pt x="1141" y="993"/>
                      </a:moveTo>
                      <a:lnTo>
                        <a:pt x="1140" y="993"/>
                      </a:lnTo>
                      <a:lnTo>
                        <a:pt x="1138" y="992"/>
                      </a:lnTo>
                      <a:lnTo>
                        <a:pt x="1140" y="992"/>
                      </a:lnTo>
                      <a:lnTo>
                        <a:pt x="1142" y="993"/>
                      </a:lnTo>
                      <a:lnTo>
                        <a:pt x="1141" y="993"/>
                      </a:lnTo>
                      <a:close/>
                      <a:moveTo>
                        <a:pt x="1350" y="1169"/>
                      </a:moveTo>
                      <a:lnTo>
                        <a:pt x="1350" y="1170"/>
                      </a:lnTo>
                      <a:lnTo>
                        <a:pt x="1349" y="1170"/>
                      </a:lnTo>
                      <a:lnTo>
                        <a:pt x="1348" y="1170"/>
                      </a:lnTo>
                      <a:lnTo>
                        <a:pt x="1348" y="1169"/>
                      </a:lnTo>
                      <a:lnTo>
                        <a:pt x="1348" y="1168"/>
                      </a:lnTo>
                      <a:lnTo>
                        <a:pt x="1349" y="1169"/>
                      </a:lnTo>
                      <a:lnTo>
                        <a:pt x="1350" y="1169"/>
                      </a:lnTo>
                      <a:close/>
                      <a:moveTo>
                        <a:pt x="1119" y="970"/>
                      </a:moveTo>
                      <a:lnTo>
                        <a:pt x="1119" y="971"/>
                      </a:lnTo>
                      <a:lnTo>
                        <a:pt x="1118" y="971"/>
                      </a:lnTo>
                      <a:lnTo>
                        <a:pt x="1118" y="970"/>
                      </a:lnTo>
                      <a:lnTo>
                        <a:pt x="1118" y="971"/>
                      </a:lnTo>
                      <a:lnTo>
                        <a:pt x="1116" y="971"/>
                      </a:lnTo>
                      <a:lnTo>
                        <a:pt x="1117" y="971"/>
                      </a:lnTo>
                      <a:lnTo>
                        <a:pt x="1117" y="970"/>
                      </a:lnTo>
                      <a:lnTo>
                        <a:pt x="1118" y="970"/>
                      </a:lnTo>
                      <a:lnTo>
                        <a:pt x="1119" y="970"/>
                      </a:lnTo>
                      <a:close/>
                      <a:moveTo>
                        <a:pt x="1073" y="968"/>
                      </a:moveTo>
                      <a:lnTo>
                        <a:pt x="1073" y="969"/>
                      </a:lnTo>
                      <a:lnTo>
                        <a:pt x="1073" y="970"/>
                      </a:lnTo>
                      <a:lnTo>
                        <a:pt x="1072" y="970"/>
                      </a:lnTo>
                      <a:lnTo>
                        <a:pt x="1072" y="969"/>
                      </a:lnTo>
                      <a:lnTo>
                        <a:pt x="1073" y="969"/>
                      </a:lnTo>
                      <a:lnTo>
                        <a:pt x="1073" y="968"/>
                      </a:lnTo>
                      <a:lnTo>
                        <a:pt x="1072" y="968"/>
                      </a:lnTo>
                      <a:lnTo>
                        <a:pt x="1071" y="968"/>
                      </a:lnTo>
                      <a:lnTo>
                        <a:pt x="1073" y="968"/>
                      </a:lnTo>
                      <a:close/>
                      <a:moveTo>
                        <a:pt x="1012" y="971"/>
                      </a:moveTo>
                      <a:lnTo>
                        <a:pt x="1012" y="973"/>
                      </a:lnTo>
                      <a:lnTo>
                        <a:pt x="1011" y="973"/>
                      </a:lnTo>
                      <a:lnTo>
                        <a:pt x="1009" y="973"/>
                      </a:lnTo>
                      <a:lnTo>
                        <a:pt x="1009" y="971"/>
                      </a:lnTo>
                      <a:lnTo>
                        <a:pt x="1011" y="971"/>
                      </a:lnTo>
                      <a:lnTo>
                        <a:pt x="1012" y="971"/>
                      </a:lnTo>
                      <a:close/>
                      <a:moveTo>
                        <a:pt x="1012" y="956"/>
                      </a:moveTo>
                      <a:lnTo>
                        <a:pt x="1012" y="957"/>
                      </a:lnTo>
                      <a:lnTo>
                        <a:pt x="1011" y="957"/>
                      </a:lnTo>
                      <a:lnTo>
                        <a:pt x="1009" y="957"/>
                      </a:lnTo>
                      <a:lnTo>
                        <a:pt x="1009" y="956"/>
                      </a:lnTo>
                      <a:lnTo>
                        <a:pt x="1011" y="956"/>
                      </a:lnTo>
                      <a:lnTo>
                        <a:pt x="1012" y="956"/>
                      </a:lnTo>
                      <a:lnTo>
                        <a:pt x="1012" y="955"/>
                      </a:lnTo>
                      <a:lnTo>
                        <a:pt x="1012" y="956"/>
                      </a:lnTo>
                      <a:close/>
                      <a:moveTo>
                        <a:pt x="1145" y="1013"/>
                      </a:moveTo>
                      <a:lnTo>
                        <a:pt x="1146" y="1013"/>
                      </a:lnTo>
                      <a:lnTo>
                        <a:pt x="1146" y="1014"/>
                      </a:lnTo>
                      <a:lnTo>
                        <a:pt x="1145" y="1014"/>
                      </a:lnTo>
                      <a:lnTo>
                        <a:pt x="1144" y="1013"/>
                      </a:lnTo>
                      <a:lnTo>
                        <a:pt x="1144" y="1012"/>
                      </a:lnTo>
                      <a:lnTo>
                        <a:pt x="1145" y="1012"/>
                      </a:lnTo>
                      <a:lnTo>
                        <a:pt x="1145" y="1013"/>
                      </a:lnTo>
                      <a:close/>
                      <a:moveTo>
                        <a:pt x="1138" y="966"/>
                      </a:moveTo>
                      <a:lnTo>
                        <a:pt x="1138" y="967"/>
                      </a:lnTo>
                      <a:lnTo>
                        <a:pt x="1138" y="966"/>
                      </a:lnTo>
                      <a:lnTo>
                        <a:pt x="1138" y="967"/>
                      </a:lnTo>
                      <a:lnTo>
                        <a:pt x="1137" y="967"/>
                      </a:lnTo>
                      <a:lnTo>
                        <a:pt x="1137" y="968"/>
                      </a:lnTo>
                      <a:lnTo>
                        <a:pt x="1137" y="967"/>
                      </a:lnTo>
                      <a:lnTo>
                        <a:pt x="1137" y="966"/>
                      </a:lnTo>
                      <a:lnTo>
                        <a:pt x="1137" y="965"/>
                      </a:lnTo>
                      <a:lnTo>
                        <a:pt x="1136" y="965"/>
                      </a:lnTo>
                      <a:lnTo>
                        <a:pt x="1137" y="965"/>
                      </a:lnTo>
                      <a:lnTo>
                        <a:pt x="1138" y="966"/>
                      </a:lnTo>
                      <a:lnTo>
                        <a:pt x="1137" y="966"/>
                      </a:lnTo>
                      <a:lnTo>
                        <a:pt x="1138" y="966"/>
                      </a:lnTo>
                      <a:close/>
                      <a:moveTo>
                        <a:pt x="1117" y="824"/>
                      </a:moveTo>
                      <a:lnTo>
                        <a:pt x="1117" y="825"/>
                      </a:lnTo>
                      <a:lnTo>
                        <a:pt x="1118" y="825"/>
                      </a:lnTo>
                      <a:lnTo>
                        <a:pt x="1117" y="825"/>
                      </a:lnTo>
                      <a:lnTo>
                        <a:pt x="1117" y="824"/>
                      </a:lnTo>
                      <a:lnTo>
                        <a:pt x="1116" y="824"/>
                      </a:lnTo>
                      <a:lnTo>
                        <a:pt x="1116" y="825"/>
                      </a:lnTo>
                      <a:lnTo>
                        <a:pt x="1115" y="825"/>
                      </a:lnTo>
                      <a:lnTo>
                        <a:pt x="1115" y="824"/>
                      </a:lnTo>
                      <a:lnTo>
                        <a:pt x="1116" y="824"/>
                      </a:lnTo>
                      <a:lnTo>
                        <a:pt x="1116" y="823"/>
                      </a:lnTo>
                      <a:lnTo>
                        <a:pt x="1117" y="824"/>
                      </a:lnTo>
                      <a:close/>
                      <a:moveTo>
                        <a:pt x="1116" y="748"/>
                      </a:moveTo>
                      <a:lnTo>
                        <a:pt x="1117" y="749"/>
                      </a:lnTo>
                      <a:lnTo>
                        <a:pt x="1116" y="748"/>
                      </a:lnTo>
                      <a:lnTo>
                        <a:pt x="1115" y="748"/>
                      </a:lnTo>
                      <a:lnTo>
                        <a:pt x="1115" y="747"/>
                      </a:lnTo>
                      <a:lnTo>
                        <a:pt x="1113" y="747"/>
                      </a:lnTo>
                      <a:lnTo>
                        <a:pt x="1115" y="747"/>
                      </a:lnTo>
                      <a:lnTo>
                        <a:pt x="1116" y="747"/>
                      </a:lnTo>
                      <a:lnTo>
                        <a:pt x="1116" y="748"/>
                      </a:lnTo>
                      <a:close/>
                      <a:moveTo>
                        <a:pt x="1209" y="1034"/>
                      </a:moveTo>
                      <a:lnTo>
                        <a:pt x="1209" y="1035"/>
                      </a:lnTo>
                      <a:lnTo>
                        <a:pt x="1209" y="1034"/>
                      </a:lnTo>
                      <a:lnTo>
                        <a:pt x="1208" y="1034"/>
                      </a:lnTo>
                      <a:lnTo>
                        <a:pt x="1208" y="1033"/>
                      </a:lnTo>
                      <a:lnTo>
                        <a:pt x="1209" y="1033"/>
                      </a:lnTo>
                      <a:lnTo>
                        <a:pt x="1209" y="1034"/>
                      </a:lnTo>
                      <a:close/>
                      <a:moveTo>
                        <a:pt x="1297" y="944"/>
                      </a:moveTo>
                      <a:lnTo>
                        <a:pt x="1298" y="944"/>
                      </a:lnTo>
                      <a:lnTo>
                        <a:pt x="1298" y="947"/>
                      </a:lnTo>
                      <a:lnTo>
                        <a:pt x="1297" y="947"/>
                      </a:lnTo>
                      <a:lnTo>
                        <a:pt x="1297" y="944"/>
                      </a:lnTo>
                      <a:close/>
                      <a:moveTo>
                        <a:pt x="1072" y="964"/>
                      </a:moveTo>
                      <a:lnTo>
                        <a:pt x="1072" y="965"/>
                      </a:lnTo>
                      <a:lnTo>
                        <a:pt x="1071" y="965"/>
                      </a:lnTo>
                      <a:lnTo>
                        <a:pt x="1070" y="965"/>
                      </a:lnTo>
                      <a:lnTo>
                        <a:pt x="1070" y="964"/>
                      </a:lnTo>
                      <a:lnTo>
                        <a:pt x="1071" y="964"/>
                      </a:lnTo>
                      <a:lnTo>
                        <a:pt x="1072" y="964"/>
                      </a:lnTo>
                      <a:close/>
                      <a:moveTo>
                        <a:pt x="1159" y="1035"/>
                      </a:moveTo>
                      <a:lnTo>
                        <a:pt x="1159" y="1037"/>
                      </a:lnTo>
                      <a:lnTo>
                        <a:pt x="1160" y="1037"/>
                      </a:lnTo>
                      <a:lnTo>
                        <a:pt x="1161" y="1037"/>
                      </a:lnTo>
                      <a:lnTo>
                        <a:pt x="1161" y="1038"/>
                      </a:lnTo>
                      <a:lnTo>
                        <a:pt x="1162" y="1038"/>
                      </a:lnTo>
                      <a:lnTo>
                        <a:pt x="1157" y="1037"/>
                      </a:lnTo>
                      <a:lnTo>
                        <a:pt x="1157" y="1035"/>
                      </a:lnTo>
                      <a:lnTo>
                        <a:pt x="1158" y="1035"/>
                      </a:lnTo>
                      <a:lnTo>
                        <a:pt x="1159" y="1035"/>
                      </a:lnTo>
                      <a:close/>
                      <a:moveTo>
                        <a:pt x="1193" y="976"/>
                      </a:moveTo>
                      <a:lnTo>
                        <a:pt x="1192" y="977"/>
                      </a:lnTo>
                      <a:lnTo>
                        <a:pt x="1192" y="976"/>
                      </a:lnTo>
                      <a:lnTo>
                        <a:pt x="1190" y="976"/>
                      </a:lnTo>
                      <a:lnTo>
                        <a:pt x="1190" y="975"/>
                      </a:lnTo>
                      <a:lnTo>
                        <a:pt x="1192" y="975"/>
                      </a:lnTo>
                      <a:lnTo>
                        <a:pt x="1193" y="975"/>
                      </a:lnTo>
                      <a:lnTo>
                        <a:pt x="1193" y="976"/>
                      </a:lnTo>
                      <a:close/>
                      <a:moveTo>
                        <a:pt x="1132" y="962"/>
                      </a:moveTo>
                      <a:lnTo>
                        <a:pt x="1132" y="963"/>
                      </a:lnTo>
                      <a:lnTo>
                        <a:pt x="1131" y="962"/>
                      </a:lnTo>
                      <a:lnTo>
                        <a:pt x="1130" y="962"/>
                      </a:lnTo>
                      <a:lnTo>
                        <a:pt x="1131" y="961"/>
                      </a:lnTo>
                      <a:lnTo>
                        <a:pt x="1131" y="962"/>
                      </a:lnTo>
                      <a:lnTo>
                        <a:pt x="1131" y="961"/>
                      </a:lnTo>
                      <a:lnTo>
                        <a:pt x="1132" y="961"/>
                      </a:lnTo>
                      <a:lnTo>
                        <a:pt x="1132" y="962"/>
                      </a:lnTo>
                      <a:close/>
                      <a:moveTo>
                        <a:pt x="1061" y="930"/>
                      </a:moveTo>
                      <a:lnTo>
                        <a:pt x="1061" y="931"/>
                      </a:lnTo>
                      <a:lnTo>
                        <a:pt x="1061" y="934"/>
                      </a:lnTo>
                      <a:lnTo>
                        <a:pt x="1061" y="932"/>
                      </a:lnTo>
                      <a:lnTo>
                        <a:pt x="1061" y="931"/>
                      </a:lnTo>
                      <a:lnTo>
                        <a:pt x="1060" y="931"/>
                      </a:lnTo>
                      <a:lnTo>
                        <a:pt x="1060" y="930"/>
                      </a:lnTo>
                      <a:lnTo>
                        <a:pt x="1061" y="930"/>
                      </a:lnTo>
                      <a:close/>
                      <a:moveTo>
                        <a:pt x="979" y="989"/>
                      </a:moveTo>
                      <a:lnTo>
                        <a:pt x="974" y="989"/>
                      </a:lnTo>
                      <a:lnTo>
                        <a:pt x="980" y="989"/>
                      </a:lnTo>
                      <a:lnTo>
                        <a:pt x="979" y="989"/>
                      </a:lnTo>
                      <a:lnTo>
                        <a:pt x="980" y="989"/>
                      </a:lnTo>
                      <a:lnTo>
                        <a:pt x="979" y="989"/>
                      </a:lnTo>
                      <a:close/>
                      <a:moveTo>
                        <a:pt x="1076" y="987"/>
                      </a:moveTo>
                      <a:lnTo>
                        <a:pt x="1077" y="987"/>
                      </a:lnTo>
                      <a:lnTo>
                        <a:pt x="1078" y="987"/>
                      </a:lnTo>
                      <a:lnTo>
                        <a:pt x="1079" y="988"/>
                      </a:lnTo>
                      <a:lnTo>
                        <a:pt x="1078" y="988"/>
                      </a:lnTo>
                      <a:lnTo>
                        <a:pt x="1078" y="987"/>
                      </a:lnTo>
                      <a:lnTo>
                        <a:pt x="1077" y="988"/>
                      </a:lnTo>
                      <a:lnTo>
                        <a:pt x="1077" y="987"/>
                      </a:lnTo>
                      <a:lnTo>
                        <a:pt x="1076" y="988"/>
                      </a:lnTo>
                      <a:lnTo>
                        <a:pt x="1074" y="988"/>
                      </a:lnTo>
                      <a:lnTo>
                        <a:pt x="1074" y="987"/>
                      </a:lnTo>
                      <a:lnTo>
                        <a:pt x="1076" y="987"/>
                      </a:lnTo>
                      <a:close/>
                      <a:moveTo>
                        <a:pt x="1145" y="942"/>
                      </a:moveTo>
                      <a:lnTo>
                        <a:pt x="1146" y="942"/>
                      </a:lnTo>
                      <a:lnTo>
                        <a:pt x="1146" y="943"/>
                      </a:lnTo>
                      <a:lnTo>
                        <a:pt x="1145" y="943"/>
                      </a:lnTo>
                      <a:lnTo>
                        <a:pt x="1145" y="944"/>
                      </a:lnTo>
                      <a:lnTo>
                        <a:pt x="1144" y="944"/>
                      </a:lnTo>
                      <a:lnTo>
                        <a:pt x="1144" y="943"/>
                      </a:lnTo>
                      <a:lnTo>
                        <a:pt x="1145" y="943"/>
                      </a:lnTo>
                      <a:lnTo>
                        <a:pt x="1144" y="943"/>
                      </a:lnTo>
                      <a:lnTo>
                        <a:pt x="1144" y="942"/>
                      </a:lnTo>
                      <a:lnTo>
                        <a:pt x="1145" y="942"/>
                      </a:lnTo>
                      <a:close/>
                      <a:moveTo>
                        <a:pt x="1357" y="1012"/>
                      </a:moveTo>
                      <a:lnTo>
                        <a:pt x="1360" y="1012"/>
                      </a:lnTo>
                      <a:lnTo>
                        <a:pt x="1360" y="1014"/>
                      </a:lnTo>
                      <a:lnTo>
                        <a:pt x="1357" y="1014"/>
                      </a:lnTo>
                      <a:lnTo>
                        <a:pt x="1357" y="1012"/>
                      </a:lnTo>
                      <a:close/>
                      <a:moveTo>
                        <a:pt x="1066" y="977"/>
                      </a:moveTo>
                      <a:lnTo>
                        <a:pt x="1065" y="977"/>
                      </a:lnTo>
                      <a:lnTo>
                        <a:pt x="1065" y="976"/>
                      </a:lnTo>
                      <a:lnTo>
                        <a:pt x="1065" y="975"/>
                      </a:lnTo>
                      <a:lnTo>
                        <a:pt x="1064" y="974"/>
                      </a:lnTo>
                      <a:lnTo>
                        <a:pt x="1065" y="974"/>
                      </a:lnTo>
                      <a:lnTo>
                        <a:pt x="1065" y="975"/>
                      </a:lnTo>
                      <a:lnTo>
                        <a:pt x="1066" y="976"/>
                      </a:lnTo>
                      <a:lnTo>
                        <a:pt x="1066" y="977"/>
                      </a:lnTo>
                      <a:close/>
                      <a:moveTo>
                        <a:pt x="1428" y="1122"/>
                      </a:moveTo>
                      <a:lnTo>
                        <a:pt x="1427" y="1122"/>
                      </a:lnTo>
                      <a:lnTo>
                        <a:pt x="1427" y="1121"/>
                      </a:lnTo>
                      <a:lnTo>
                        <a:pt x="1427" y="1120"/>
                      </a:lnTo>
                      <a:lnTo>
                        <a:pt x="1428" y="1120"/>
                      </a:lnTo>
                      <a:lnTo>
                        <a:pt x="1428" y="1121"/>
                      </a:lnTo>
                      <a:lnTo>
                        <a:pt x="1428" y="1122"/>
                      </a:lnTo>
                      <a:close/>
                      <a:moveTo>
                        <a:pt x="1358" y="1150"/>
                      </a:moveTo>
                      <a:lnTo>
                        <a:pt x="1360" y="1150"/>
                      </a:lnTo>
                      <a:lnTo>
                        <a:pt x="1360" y="1151"/>
                      </a:lnTo>
                      <a:lnTo>
                        <a:pt x="1360" y="1153"/>
                      </a:lnTo>
                      <a:lnTo>
                        <a:pt x="1360" y="1154"/>
                      </a:lnTo>
                      <a:lnTo>
                        <a:pt x="1357" y="1154"/>
                      </a:lnTo>
                      <a:lnTo>
                        <a:pt x="1358" y="1154"/>
                      </a:lnTo>
                      <a:lnTo>
                        <a:pt x="1360" y="1154"/>
                      </a:lnTo>
                      <a:lnTo>
                        <a:pt x="1360" y="1153"/>
                      </a:lnTo>
                      <a:lnTo>
                        <a:pt x="1360" y="1151"/>
                      </a:lnTo>
                      <a:lnTo>
                        <a:pt x="1358" y="1151"/>
                      </a:lnTo>
                      <a:lnTo>
                        <a:pt x="1358" y="1150"/>
                      </a:lnTo>
                      <a:lnTo>
                        <a:pt x="1357" y="1150"/>
                      </a:lnTo>
                      <a:lnTo>
                        <a:pt x="1358" y="1150"/>
                      </a:lnTo>
                      <a:close/>
                      <a:moveTo>
                        <a:pt x="1158" y="966"/>
                      </a:moveTo>
                      <a:lnTo>
                        <a:pt x="1158" y="967"/>
                      </a:lnTo>
                      <a:lnTo>
                        <a:pt x="1157" y="968"/>
                      </a:lnTo>
                      <a:lnTo>
                        <a:pt x="1157" y="967"/>
                      </a:lnTo>
                      <a:lnTo>
                        <a:pt x="1157" y="966"/>
                      </a:lnTo>
                      <a:lnTo>
                        <a:pt x="1157" y="965"/>
                      </a:lnTo>
                      <a:lnTo>
                        <a:pt x="1156" y="965"/>
                      </a:lnTo>
                      <a:lnTo>
                        <a:pt x="1157" y="964"/>
                      </a:lnTo>
                      <a:lnTo>
                        <a:pt x="1157" y="965"/>
                      </a:lnTo>
                      <a:lnTo>
                        <a:pt x="1158" y="966"/>
                      </a:lnTo>
                      <a:close/>
                      <a:moveTo>
                        <a:pt x="1084" y="952"/>
                      </a:moveTo>
                      <a:lnTo>
                        <a:pt x="1086" y="952"/>
                      </a:lnTo>
                      <a:lnTo>
                        <a:pt x="1086" y="954"/>
                      </a:lnTo>
                      <a:lnTo>
                        <a:pt x="1084" y="954"/>
                      </a:lnTo>
                      <a:lnTo>
                        <a:pt x="1084" y="952"/>
                      </a:lnTo>
                      <a:close/>
                      <a:moveTo>
                        <a:pt x="988" y="992"/>
                      </a:moveTo>
                      <a:lnTo>
                        <a:pt x="989" y="992"/>
                      </a:lnTo>
                      <a:lnTo>
                        <a:pt x="990" y="992"/>
                      </a:lnTo>
                      <a:lnTo>
                        <a:pt x="991" y="992"/>
                      </a:lnTo>
                      <a:lnTo>
                        <a:pt x="991" y="993"/>
                      </a:lnTo>
                      <a:lnTo>
                        <a:pt x="992" y="993"/>
                      </a:lnTo>
                      <a:lnTo>
                        <a:pt x="991" y="993"/>
                      </a:lnTo>
                      <a:lnTo>
                        <a:pt x="992" y="993"/>
                      </a:lnTo>
                      <a:lnTo>
                        <a:pt x="992" y="994"/>
                      </a:lnTo>
                      <a:lnTo>
                        <a:pt x="991" y="993"/>
                      </a:lnTo>
                      <a:lnTo>
                        <a:pt x="990" y="992"/>
                      </a:lnTo>
                      <a:lnTo>
                        <a:pt x="989" y="992"/>
                      </a:lnTo>
                      <a:lnTo>
                        <a:pt x="988" y="992"/>
                      </a:lnTo>
                      <a:close/>
                      <a:moveTo>
                        <a:pt x="1260" y="940"/>
                      </a:moveTo>
                      <a:lnTo>
                        <a:pt x="1261" y="940"/>
                      </a:lnTo>
                      <a:lnTo>
                        <a:pt x="1261" y="941"/>
                      </a:lnTo>
                      <a:lnTo>
                        <a:pt x="1261" y="940"/>
                      </a:lnTo>
                      <a:lnTo>
                        <a:pt x="1261" y="941"/>
                      </a:lnTo>
                      <a:lnTo>
                        <a:pt x="1262" y="941"/>
                      </a:lnTo>
                      <a:lnTo>
                        <a:pt x="1263" y="941"/>
                      </a:lnTo>
                      <a:lnTo>
                        <a:pt x="1263" y="942"/>
                      </a:lnTo>
                      <a:lnTo>
                        <a:pt x="1262" y="942"/>
                      </a:lnTo>
                      <a:lnTo>
                        <a:pt x="1263" y="942"/>
                      </a:lnTo>
                      <a:lnTo>
                        <a:pt x="1262" y="942"/>
                      </a:lnTo>
                      <a:lnTo>
                        <a:pt x="1262" y="941"/>
                      </a:lnTo>
                      <a:lnTo>
                        <a:pt x="1261" y="941"/>
                      </a:lnTo>
                      <a:lnTo>
                        <a:pt x="1260" y="941"/>
                      </a:lnTo>
                      <a:lnTo>
                        <a:pt x="1259" y="941"/>
                      </a:lnTo>
                      <a:lnTo>
                        <a:pt x="1260" y="941"/>
                      </a:lnTo>
                      <a:lnTo>
                        <a:pt x="1260" y="940"/>
                      </a:lnTo>
                      <a:lnTo>
                        <a:pt x="1260" y="941"/>
                      </a:lnTo>
                      <a:lnTo>
                        <a:pt x="1260" y="940"/>
                      </a:lnTo>
                      <a:close/>
                      <a:moveTo>
                        <a:pt x="1151" y="968"/>
                      </a:moveTo>
                      <a:lnTo>
                        <a:pt x="1150" y="968"/>
                      </a:lnTo>
                      <a:lnTo>
                        <a:pt x="1151" y="968"/>
                      </a:lnTo>
                      <a:lnTo>
                        <a:pt x="1153" y="968"/>
                      </a:lnTo>
                      <a:lnTo>
                        <a:pt x="1151" y="968"/>
                      </a:lnTo>
                      <a:lnTo>
                        <a:pt x="1153" y="968"/>
                      </a:lnTo>
                      <a:lnTo>
                        <a:pt x="1149" y="969"/>
                      </a:lnTo>
                      <a:lnTo>
                        <a:pt x="1150" y="968"/>
                      </a:lnTo>
                      <a:lnTo>
                        <a:pt x="1150" y="967"/>
                      </a:lnTo>
                      <a:lnTo>
                        <a:pt x="1151" y="967"/>
                      </a:lnTo>
                      <a:lnTo>
                        <a:pt x="1151" y="968"/>
                      </a:lnTo>
                      <a:lnTo>
                        <a:pt x="1150" y="968"/>
                      </a:lnTo>
                      <a:lnTo>
                        <a:pt x="1151" y="968"/>
                      </a:lnTo>
                      <a:close/>
                      <a:moveTo>
                        <a:pt x="1136" y="1001"/>
                      </a:moveTo>
                      <a:lnTo>
                        <a:pt x="1137" y="1001"/>
                      </a:lnTo>
                      <a:lnTo>
                        <a:pt x="1138" y="1001"/>
                      </a:lnTo>
                      <a:lnTo>
                        <a:pt x="1137" y="1002"/>
                      </a:lnTo>
                      <a:lnTo>
                        <a:pt x="1136" y="1002"/>
                      </a:lnTo>
                      <a:lnTo>
                        <a:pt x="1136" y="1001"/>
                      </a:lnTo>
                      <a:lnTo>
                        <a:pt x="1135" y="1001"/>
                      </a:lnTo>
                      <a:lnTo>
                        <a:pt x="1136" y="1001"/>
                      </a:lnTo>
                      <a:close/>
                      <a:moveTo>
                        <a:pt x="1113" y="970"/>
                      </a:moveTo>
                      <a:lnTo>
                        <a:pt x="1115" y="970"/>
                      </a:lnTo>
                      <a:lnTo>
                        <a:pt x="1113" y="970"/>
                      </a:lnTo>
                      <a:lnTo>
                        <a:pt x="1112" y="970"/>
                      </a:lnTo>
                      <a:lnTo>
                        <a:pt x="1112" y="971"/>
                      </a:lnTo>
                      <a:lnTo>
                        <a:pt x="1113" y="971"/>
                      </a:lnTo>
                      <a:lnTo>
                        <a:pt x="1113" y="970"/>
                      </a:lnTo>
                      <a:lnTo>
                        <a:pt x="1113" y="971"/>
                      </a:lnTo>
                      <a:lnTo>
                        <a:pt x="1115" y="971"/>
                      </a:lnTo>
                      <a:lnTo>
                        <a:pt x="1113" y="971"/>
                      </a:lnTo>
                      <a:lnTo>
                        <a:pt x="1113" y="973"/>
                      </a:lnTo>
                      <a:lnTo>
                        <a:pt x="1112" y="973"/>
                      </a:lnTo>
                      <a:lnTo>
                        <a:pt x="1112" y="971"/>
                      </a:lnTo>
                      <a:lnTo>
                        <a:pt x="1112" y="970"/>
                      </a:lnTo>
                      <a:lnTo>
                        <a:pt x="1113" y="970"/>
                      </a:lnTo>
                      <a:close/>
                      <a:moveTo>
                        <a:pt x="1132" y="1008"/>
                      </a:moveTo>
                      <a:lnTo>
                        <a:pt x="1133" y="1009"/>
                      </a:lnTo>
                      <a:lnTo>
                        <a:pt x="1133" y="1011"/>
                      </a:lnTo>
                      <a:lnTo>
                        <a:pt x="1132" y="1011"/>
                      </a:lnTo>
                      <a:lnTo>
                        <a:pt x="1132" y="1009"/>
                      </a:lnTo>
                      <a:lnTo>
                        <a:pt x="1131" y="1009"/>
                      </a:lnTo>
                      <a:lnTo>
                        <a:pt x="1132" y="1008"/>
                      </a:lnTo>
                      <a:close/>
                      <a:moveTo>
                        <a:pt x="1140" y="982"/>
                      </a:moveTo>
                      <a:lnTo>
                        <a:pt x="1138" y="983"/>
                      </a:lnTo>
                      <a:lnTo>
                        <a:pt x="1137" y="983"/>
                      </a:lnTo>
                      <a:lnTo>
                        <a:pt x="1137" y="984"/>
                      </a:lnTo>
                      <a:lnTo>
                        <a:pt x="1136" y="984"/>
                      </a:lnTo>
                      <a:lnTo>
                        <a:pt x="1136" y="983"/>
                      </a:lnTo>
                      <a:lnTo>
                        <a:pt x="1136" y="984"/>
                      </a:lnTo>
                      <a:lnTo>
                        <a:pt x="1136" y="983"/>
                      </a:lnTo>
                      <a:lnTo>
                        <a:pt x="1137" y="983"/>
                      </a:lnTo>
                      <a:lnTo>
                        <a:pt x="1138" y="982"/>
                      </a:lnTo>
                      <a:lnTo>
                        <a:pt x="1140" y="982"/>
                      </a:lnTo>
                      <a:close/>
                      <a:moveTo>
                        <a:pt x="1483" y="1091"/>
                      </a:moveTo>
                      <a:lnTo>
                        <a:pt x="1483" y="1092"/>
                      </a:lnTo>
                      <a:lnTo>
                        <a:pt x="1482" y="1092"/>
                      </a:lnTo>
                      <a:lnTo>
                        <a:pt x="1482" y="1091"/>
                      </a:lnTo>
                      <a:lnTo>
                        <a:pt x="1481" y="1091"/>
                      </a:lnTo>
                      <a:lnTo>
                        <a:pt x="1481" y="1090"/>
                      </a:lnTo>
                      <a:lnTo>
                        <a:pt x="1482" y="1090"/>
                      </a:lnTo>
                      <a:lnTo>
                        <a:pt x="1482" y="1091"/>
                      </a:lnTo>
                      <a:lnTo>
                        <a:pt x="1483" y="1091"/>
                      </a:lnTo>
                      <a:close/>
                      <a:moveTo>
                        <a:pt x="1430" y="1054"/>
                      </a:moveTo>
                      <a:lnTo>
                        <a:pt x="1430" y="1055"/>
                      </a:lnTo>
                      <a:lnTo>
                        <a:pt x="1429" y="1055"/>
                      </a:lnTo>
                      <a:lnTo>
                        <a:pt x="1428" y="1055"/>
                      </a:lnTo>
                      <a:lnTo>
                        <a:pt x="1428" y="1054"/>
                      </a:lnTo>
                      <a:lnTo>
                        <a:pt x="1429" y="1055"/>
                      </a:lnTo>
                      <a:lnTo>
                        <a:pt x="1429" y="1054"/>
                      </a:lnTo>
                      <a:lnTo>
                        <a:pt x="1430" y="1054"/>
                      </a:lnTo>
                      <a:close/>
                      <a:moveTo>
                        <a:pt x="1108" y="966"/>
                      </a:moveTo>
                      <a:lnTo>
                        <a:pt x="1107" y="966"/>
                      </a:lnTo>
                      <a:lnTo>
                        <a:pt x="1107" y="967"/>
                      </a:lnTo>
                      <a:lnTo>
                        <a:pt x="1106" y="967"/>
                      </a:lnTo>
                      <a:lnTo>
                        <a:pt x="1106" y="966"/>
                      </a:lnTo>
                      <a:lnTo>
                        <a:pt x="1107" y="966"/>
                      </a:lnTo>
                      <a:lnTo>
                        <a:pt x="1108" y="966"/>
                      </a:lnTo>
                      <a:lnTo>
                        <a:pt x="1109" y="966"/>
                      </a:lnTo>
                      <a:lnTo>
                        <a:pt x="1108" y="966"/>
                      </a:lnTo>
                      <a:close/>
                      <a:moveTo>
                        <a:pt x="1426" y="1124"/>
                      </a:moveTo>
                      <a:lnTo>
                        <a:pt x="1427" y="1125"/>
                      </a:lnTo>
                      <a:lnTo>
                        <a:pt x="1426" y="1125"/>
                      </a:lnTo>
                      <a:lnTo>
                        <a:pt x="1426" y="1124"/>
                      </a:lnTo>
                      <a:lnTo>
                        <a:pt x="1425" y="1124"/>
                      </a:lnTo>
                      <a:lnTo>
                        <a:pt x="1425" y="1125"/>
                      </a:lnTo>
                      <a:lnTo>
                        <a:pt x="1424" y="1125"/>
                      </a:lnTo>
                      <a:lnTo>
                        <a:pt x="1424" y="1124"/>
                      </a:lnTo>
                      <a:lnTo>
                        <a:pt x="1422" y="1124"/>
                      </a:lnTo>
                      <a:lnTo>
                        <a:pt x="1424" y="1124"/>
                      </a:lnTo>
                      <a:lnTo>
                        <a:pt x="1425" y="1124"/>
                      </a:lnTo>
                      <a:lnTo>
                        <a:pt x="1426" y="1124"/>
                      </a:lnTo>
                      <a:close/>
                      <a:moveTo>
                        <a:pt x="1218" y="1035"/>
                      </a:moveTo>
                      <a:lnTo>
                        <a:pt x="1218" y="1037"/>
                      </a:lnTo>
                      <a:lnTo>
                        <a:pt x="1216" y="1035"/>
                      </a:lnTo>
                      <a:lnTo>
                        <a:pt x="1215" y="1037"/>
                      </a:lnTo>
                      <a:lnTo>
                        <a:pt x="1214" y="1038"/>
                      </a:lnTo>
                      <a:lnTo>
                        <a:pt x="1214" y="1037"/>
                      </a:lnTo>
                      <a:lnTo>
                        <a:pt x="1215" y="1037"/>
                      </a:lnTo>
                      <a:lnTo>
                        <a:pt x="1215" y="1035"/>
                      </a:lnTo>
                      <a:lnTo>
                        <a:pt x="1216" y="1035"/>
                      </a:lnTo>
                      <a:lnTo>
                        <a:pt x="1218" y="1035"/>
                      </a:lnTo>
                      <a:close/>
                      <a:moveTo>
                        <a:pt x="1435" y="1144"/>
                      </a:moveTo>
                      <a:lnTo>
                        <a:pt x="1437" y="1144"/>
                      </a:lnTo>
                      <a:lnTo>
                        <a:pt x="1437" y="1146"/>
                      </a:lnTo>
                      <a:lnTo>
                        <a:pt x="1435" y="1146"/>
                      </a:lnTo>
                      <a:lnTo>
                        <a:pt x="1435" y="1144"/>
                      </a:lnTo>
                      <a:close/>
                      <a:moveTo>
                        <a:pt x="1129" y="857"/>
                      </a:moveTo>
                      <a:lnTo>
                        <a:pt x="1130" y="858"/>
                      </a:lnTo>
                      <a:lnTo>
                        <a:pt x="1130" y="859"/>
                      </a:lnTo>
                      <a:lnTo>
                        <a:pt x="1129" y="859"/>
                      </a:lnTo>
                      <a:lnTo>
                        <a:pt x="1129" y="858"/>
                      </a:lnTo>
                      <a:lnTo>
                        <a:pt x="1128" y="858"/>
                      </a:lnTo>
                      <a:lnTo>
                        <a:pt x="1129" y="858"/>
                      </a:lnTo>
                      <a:lnTo>
                        <a:pt x="1129" y="857"/>
                      </a:lnTo>
                      <a:lnTo>
                        <a:pt x="1128" y="857"/>
                      </a:lnTo>
                      <a:lnTo>
                        <a:pt x="1129" y="857"/>
                      </a:lnTo>
                      <a:close/>
                      <a:moveTo>
                        <a:pt x="1280" y="958"/>
                      </a:moveTo>
                      <a:lnTo>
                        <a:pt x="1280" y="960"/>
                      </a:lnTo>
                      <a:lnTo>
                        <a:pt x="1280" y="961"/>
                      </a:lnTo>
                      <a:lnTo>
                        <a:pt x="1282" y="961"/>
                      </a:lnTo>
                      <a:lnTo>
                        <a:pt x="1280" y="961"/>
                      </a:lnTo>
                      <a:lnTo>
                        <a:pt x="1279" y="960"/>
                      </a:lnTo>
                      <a:lnTo>
                        <a:pt x="1278" y="960"/>
                      </a:lnTo>
                      <a:lnTo>
                        <a:pt x="1279" y="960"/>
                      </a:lnTo>
                      <a:lnTo>
                        <a:pt x="1279" y="958"/>
                      </a:lnTo>
                      <a:lnTo>
                        <a:pt x="1280" y="958"/>
                      </a:lnTo>
                      <a:close/>
                      <a:moveTo>
                        <a:pt x="1196" y="1044"/>
                      </a:moveTo>
                      <a:lnTo>
                        <a:pt x="1197" y="1045"/>
                      </a:lnTo>
                      <a:lnTo>
                        <a:pt x="1196" y="1045"/>
                      </a:lnTo>
                      <a:lnTo>
                        <a:pt x="1196" y="1046"/>
                      </a:lnTo>
                      <a:lnTo>
                        <a:pt x="1195" y="1047"/>
                      </a:lnTo>
                      <a:lnTo>
                        <a:pt x="1195" y="1046"/>
                      </a:lnTo>
                      <a:lnTo>
                        <a:pt x="1195" y="1045"/>
                      </a:lnTo>
                      <a:lnTo>
                        <a:pt x="1196" y="1045"/>
                      </a:lnTo>
                      <a:lnTo>
                        <a:pt x="1196" y="1044"/>
                      </a:lnTo>
                      <a:close/>
                      <a:moveTo>
                        <a:pt x="1286" y="954"/>
                      </a:moveTo>
                      <a:lnTo>
                        <a:pt x="1285" y="954"/>
                      </a:lnTo>
                      <a:lnTo>
                        <a:pt x="1285" y="955"/>
                      </a:lnTo>
                      <a:lnTo>
                        <a:pt x="1284" y="955"/>
                      </a:lnTo>
                      <a:lnTo>
                        <a:pt x="1284" y="954"/>
                      </a:lnTo>
                      <a:lnTo>
                        <a:pt x="1285" y="954"/>
                      </a:lnTo>
                      <a:lnTo>
                        <a:pt x="1285" y="953"/>
                      </a:lnTo>
                      <a:lnTo>
                        <a:pt x="1286" y="953"/>
                      </a:lnTo>
                      <a:lnTo>
                        <a:pt x="1286" y="954"/>
                      </a:lnTo>
                      <a:close/>
                      <a:moveTo>
                        <a:pt x="1448" y="1033"/>
                      </a:moveTo>
                      <a:lnTo>
                        <a:pt x="1450" y="1033"/>
                      </a:lnTo>
                      <a:lnTo>
                        <a:pt x="1450" y="1034"/>
                      </a:lnTo>
                      <a:lnTo>
                        <a:pt x="1448" y="1034"/>
                      </a:lnTo>
                      <a:lnTo>
                        <a:pt x="1448" y="1033"/>
                      </a:lnTo>
                      <a:close/>
                      <a:moveTo>
                        <a:pt x="1079" y="988"/>
                      </a:moveTo>
                      <a:lnTo>
                        <a:pt x="1080" y="989"/>
                      </a:lnTo>
                      <a:lnTo>
                        <a:pt x="1080" y="988"/>
                      </a:lnTo>
                      <a:lnTo>
                        <a:pt x="1080" y="989"/>
                      </a:lnTo>
                      <a:lnTo>
                        <a:pt x="1080" y="990"/>
                      </a:lnTo>
                      <a:lnTo>
                        <a:pt x="1079" y="991"/>
                      </a:lnTo>
                      <a:lnTo>
                        <a:pt x="1079" y="990"/>
                      </a:lnTo>
                      <a:lnTo>
                        <a:pt x="1079" y="989"/>
                      </a:lnTo>
                      <a:lnTo>
                        <a:pt x="1079" y="988"/>
                      </a:lnTo>
                      <a:close/>
                      <a:moveTo>
                        <a:pt x="1111" y="1009"/>
                      </a:moveTo>
                      <a:lnTo>
                        <a:pt x="1110" y="1009"/>
                      </a:lnTo>
                      <a:lnTo>
                        <a:pt x="1110" y="1008"/>
                      </a:lnTo>
                      <a:lnTo>
                        <a:pt x="1110" y="1007"/>
                      </a:lnTo>
                      <a:lnTo>
                        <a:pt x="1111" y="1007"/>
                      </a:lnTo>
                      <a:lnTo>
                        <a:pt x="1111" y="1008"/>
                      </a:lnTo>
                      <a:lnTo>
                        <a:pt x="1111" y="1009"/>
                      </a:lnTo>
                      <a:close/>
                      <a:moveTo>
                        <a:pt x="1415" y="1099"/>
                      </a:moveTo>
                      <a:lnTo>
                        <a:pt x="1416" y="1099"/>
                      </a:lnTo>
                      <a:lnTo>
                        <a:pt x="1416" y="1102"/>
                      </a:lnTo>
                      <a:lnTo>
                        <a:pt x="1415" y="1102"/>
                      </a:lnTo>
                      <a:lnTo>
                        <a:pt x="1415" y="1099"/>
                      </a:lnTo>
                      <a:close/>
                      <a:moveTo>
                        <a:pt x="1167" y="964"/>
                      </a:moveTo>
                      <a:lnTo>
                        <a:pt x="1166" y="964"/>
                      </a:lnTo>
                      <a:lnTo>
                        <a:pt x="1166" y="965"/>
                      </a:lnTo>
                      <a:lnTo>
                        <a:pt x="1166" y="966"/>
                      </a:lnTo>
                      <a:lnTo>
                        <a:pt x="1164" y="966"/>
                      </a:lnTo>
                      <a:lnTo>
                        <a:pt x="1164" y="965"/>
                      </a:lnTo>
                      <a:lnTo>
                        <a:pt x="1166" y="964"/>
                      </a:lnTo>
                      <a:lnTo>
                        <a:pt x="1167" y="964"/>
                      </a:lnTo>
                      <a:close/>
                      <a:moveTo>
                        <a:pt x="1358" y="1156"/>
                      </a:moveTo>
                      <a:lnTo>
                        <a:pt x="1360" y="1156"/>
                      </a:lnTo>
                      <a:lnTo>
                        <a:pt x="1360" y="1158"/>
                      </a:lnTo>
                      <a:lnTo>
                        <a:pt x="1358" y="1158"/>
                      </a:lnTo>
                      <a:lnTo>
                        <a:pt x="1358" y="1156"/>
                      </a:lnTo>
                      <a:close/>
                      <a:moveTo>
                        <a:pt x="1424" y="1129"/>
                      </a:moveTo>
                      <a:lnTo>
                        <a:pt x="1422" y="1129"/>
                      </a:lnTo>
                      <a:lnTo>
                        <a:pt x="1421" y="1129"/>
                      </a:lnTo>
                      <a:lnTo>
                        <a:pt x="1419" y="1129"/>
                      </a:lnTo>
                      <a:lnTo>
                        <a:pt x="1418" y="1129"/>
                      </a:lnTo>
                      <a:lnTo>
                        <a:pt x="1417" y="1129"/>
                      </a:lnTo>
                      <a:lnTo>
                        <a:pt x="1416" y="1129"/>
                      </a:lnTo>
                      <a:lnTo>
                        <a:pt x="1416" y="1128"/>
                      </a:lnTo>
                      <a:lnTo>
                        <a:pt x="1417" y="1128"/>
                      </a:lnTo>
                      <a:lnTo>
                        <a:pt x="1416" y="1128"/>
                      </a:lnTo>
                      <a:lnTo>
                        <a:pt x="1417" y="1129"/>
                      </a:lnTo>
                      <a:lnTo>
                        <a:pt x="1418" y="1129"/>
                      </a:lnTo>
                      <a:lnTo>
                        <a:pt x="1419" y="1129"/>
                      </a:lnTo>
                      <a:lnTo>
                        <a:pt x="1420" y="1129"/>
                      </a:lnTo>
                      <a:lnTo>
                        <a:pt x="1421" y="1129"/>
                      </a:lnTo>
                      <a:lnTo>
                        <a:pt x="1422" y="1129"/>
                      </a:lnTo>
                      <a:lnTo>
                        <a:pt x="1424" y="1129"/>
                      </a:lnTo>
                      <a:lnTo>
                        <a:pt x="1424" y="1128"/>
                      </a:lnTo>
                      <a:lnTo>
                        <a:pt x="1425" y="1127"/>
                      </a:lnTo>
                      <a:lnTo>
                        <a:pt x="1425" y="1128"/>
                      </a:lnTo>
                      <a:lnTo>
                        <a:pt x="1424" y="1129"/>
                      </a:lnTo>
                      <a:close/>
                      <a:moveTo>
                        <a:pt x="1371" y="1144"/>
                      </a:moveTo>
                      <a:lnTo>
                        <a:pt x="1370" y="1144"/>
                      </a:lnTo>
                      <a:lnTo>
                        <a:pt x="1370" y="1145"/>
                      </a:lnTo>
                      <a:lnTo>
                        <a:pt x="1370" y="1144"/>
                      </a:lnTo>
                      <a:lnTo>
                        <a:pt x="1369" y="1144"/>
                      </a:lnTo>
                      <a:lnTo>
                        <a:pt x="1370" y="1144"/>
                      </a:lnTo>
                      <a:lnTo>
                        <a:pt x="1370" y="1143"/>
                      </a:lnTo>
                      <a:lnTo>
                        <a:pt x="1371" y="1143"/>
                      </a:lnTo>
                      <a:lnTo>
                        <a:pt x="1371" y="1144"/>
                      </a:lnTo>
                      <a:close/>
                      <a:moveTo>
                        <a:pt x="1133" y="961"/>
                      </a:moveTo>
                      <a:lnTo>
                        <a:pt x="1134" y="962"/>
                      </a:lnTo>
                      <a:lnTo>
                        <a:pt x="1133" y="962"/>
                      </a:lnTo>
                      <a:lnTo>
                        <a:pt x="1132" y="962"/>
                      </a:lnTo>
                      <a:lnTo>
                        <a:pt x="1132" y="961"/>
                      </a:lnTo>
                      <a:lnTo>
                        <a:pt x="1133" y="961"/>
                      </a:lnTo>
                      <a:lnTo>
                        <a:pt x="1133" y="960"/>
                      </a:lnTo>
                      <a:lnTo>
                        <a:pt x="1133" y="961"/>
                      </a:lnTo>
                      <a:close/>
                      <a:moveTo>
                        <a:pt x="1429" y="1123"/>
                      </a:moveTo>
                      <a:lnTo>
                        <a:pt x="1430" y="1123"/>
                      </a:lnTo>
                      <a:lnTo>
                        <a:pt x="1429" y="1123"/>
                      </a:lnTo>
                      <a:lnTo>
                        <a:pt x="1428" y="1123"/>
                      </a:lnTo>
                      <a:lnTo>
                        <a:pt x="1428" y="1122"/>
                      </a:lnTo>
                      <a:lnTo>
                        <a:pt x="1427" y="1122"/>
                      </a:lnTo>
                      <a:lnTo>
                        <a:pt x="1428" y="1122"/>
                      </a:lnTo>
                      <a:lnTo>
                        <a:pt x="1429" y="1122"/>
                      </a:lnTo>
                      <a:lnTo>
                        <a:pt x="1429" y="1123"/>
                      </a:lnTo>
                      <a:close/>
                      <a:moveTo>
                        <a:pt x="1052" y="932"/>
                      </a:moveTo>
                      <a:lnTo>
                        <a:pt x="1052" y="934"/>
                      </a:lnTo>
                      <a:lnTo>
                        <a:pt x="1053" y="934"/>
                      </a:lnTo>
                      <a:lnTo>
                        <a:pt x="1052" y="934"/>
                      </a:lnTo>
                      <a:lnTo>
                        <a:pt x="1052" y="935"/>
                      </a:lnTo>
                      <a:lnTo>
                        <a:pt x="1052" y="934"/>
                      </a:lnTo>
                      <a:lnTo>
                        <a:pt x="1051" y="934"/>
                      </a:lnTo>
                      <a:lnTo>
                        <a:pt x="1051" y="932"/>
                      </a:lnTo>
                      <a:lnTo>
                        <a:pt x="1052" y="932"/>
                      </a:lnTo>
                      <a:lnTo>
                        <a:pt x="1051" y="932"/>
                      </a:lnTo>
                      <a:lnTo>
                        <a:pt x="1051" y="931"/>
                      </a:lnTo>
                      <a:lnTo>
                        <a:pt x="1052" y="931"/>
                      </a:lnTo>
                      <a:lnTo>
                        <a:pt x="1052" y="932"/>
                      </a:lnTo>
                      <a:close/>
                      <a:moveTo>
                        <a:pt x="1326" y="1189"/>
                      </a:moveTo>
                      <a:lnTo>
                        <a:pt x="1327" y="1191"/>
                      </a:lnTo>
                      <a:lnTo>
                        <a:pt x="1327" y="1189"/>
                      </a:lnTo>
                      <a:lnTo>
                        <a:pt x="1326" y="1189"/>
                      </a:lnTo>
                      <a:lnTo>
                        <a:pt x="1326" y="1191"/>
                      </a:lnTo>
                      <a:lnTo>
                        <a:pt x="1327" y="1192"/>
                      </a:lnTo>
                      <a:lnTo>
                        <a:pt x="1326" y="1191"/>
                      </a:lnTo>
                      <a:lnTo>
                        <a:pt x="1325" y="1191"/>
                      </a:lnTo>
                      <a:lnTo>
                        <a:pt x="1325" y="1189"/>
                      </a:lnTo>
                      <a:lnTo>
                        <a:pt x="1326" y="1189"/>
                      </a:lnTo>
                      <a:close/>
                      <a:moveTo>
                        <a:pt x="1331" y="943"/>
                      </a:moveTo>
                      <a:lnTo>
                        <a:pt x="1330" y="944"/>
                      </a:lnTo>
                      <a:lnTo>
                        <a:pt x="1330" y="943"/>
                      </a:lnTo>
                      <a:lnTo>
                        <a:pt x="1330" y="942"/>
                      </a:lnTo>
                      <a:lnTo>
                        <a:pt x="1331" y="942"/>
                      </a:lnTo>
                      <a:lnTo>
                        <a:pt x="1331" y="941"/>
                      </a:lnTo>
                      <a:lnTo>
                        <a:pt x="1331" y="942"/>
                      </a:lnTo>
                      <a:lnTo>
                        <a:pt x="1331" y="943"/>
                      </a:lnTo>
                      <a:close/>
                      <a:moveTo>
                        <a:pt x="966" y="879"/>
                      </a:moveTo>
                      <a:lnTo>
                        <a:pt x="966" y="880"/>
                      </a:lnTo>
                      <a:lnTo>
                        <a:pt x="966" y="881"/>
                      </a:lnTo>
                      <a:lnTo>
                        <a:pt x="966" y="880"/>
                      </a:lnTo>
                      <a:lnTo>
                        <a:pt x="965" y="880"/>
                      </a:lnTo>
                      <a:lnTo>
                        <a:pt x="964" y="880"/>
                      </a:lnTo>
                      <a:lnTo>
                        <a:pt x="965" y="879"/>
                      </a:lnTo>
                      <a:lnTo>
                        <a:pt x="965" y="880"/>
                      </a:lnTo>
                      <a:lnTo>
                        <a:pt x="965" y="879"/>
                      </a:lnTo>
                      <a:lnTo>
                        <a:pt x="966" y="879"/>
                      </a:lnTo>
                      <a:close/>
                      <a:moveTo>
                        <a:pt x="1370" y="1024"/>
                      </a:moveTo>
                      <a:lnTo>
                        <a:pt x="1370" y="1025"/>
                      </a:lnTo>
                      <a:lnTo>
                        <a:pt x="1370" y="1026"/>
                      </a:lnTo>
                      <a:lnTo>
                        <a:pt x="1369" y="1026"/>
                      </a:lnTo>
                      <a:lnTo>
                        <a:pt x="1369" y="1025"/>
                      </a:lnTo>
                      <a:lnTo>
                        <a:pt x="1368" y="1025"/>
                      </a:lnTo>
                      <a:lnTo>
                        <a:pt x="1369" y="1025"/>
                      </a:lnTo>
                      <a:lnTo>
                        <a:pt x="1368" y="1025"/>
                      </a:lnTo>
                      <a:lnTo>
                        <a:pt x="1369" y="1025"/>
                      </a:lnTo>
                      <a:lnTo>
                        <a:pt x="1369" y="1024"/>
                      </a:lnTo>
                      <a:lnTo>
                        <a:pt x="1370" y="1024"/>
                      </a:lnTo>
                      <a:close/>
                      <a:moveTo>
                        <a:pt x="1293" y="968"/>
                      </a:moveTo>
                      <a:lnTo>
                        <a:pt x="1295" y="968"/>
                      </a:lnTo>
                      <a:lnTo>
                        <a:pt x="1295" y="969"/>
                      </a:lnTo>
                      <a:lnTo>
                        <a:pt x="1295" y="970"/>
                      </a:lnTo>
                      <a:lnTo>
                        <a:pt x="1293" y="969"/>
                      </a:lnTo>
                      <a:lnTo>
                        <a:pt x="1295" y="969"/>
                      </a:lnTo>
                      <a:lnTo>
                        <a:pt x="1293" y="969"/>
                      </a:lnTo>
                      <a:lnTo>
                        <a:pt x="1293" y="968"/>
                      </a:lnTo>
                      <a:lnTo>
                        <a:pt x="1292" y="968"/>
                      </a:lnTo>
                      <a:lnTo>
                        <a:pt x="1293" y="968"/>
                      </a:lnTo>
                      <a:close/>
                      <a:moveTo>
                        <a:pt x="965" y="906"/>
                      </a:moveTo>
                      <a:lnTo>
                        <a:pt x="965" y="907"/>
                      </a:lnTo>
                      <a:lnTo>
                        <a:pt x="964" y="907"/>
                      </a:lnTo>
                      <a:lnTo>
                        <a:pt x="964" y="906"/>
                      </a:lnTo>
                      <a:lnTo>
                        <a:pt x="964" y="905"/>
                      </a:lnTo>
                      <a:lnTo>
                        <a:pt x="965" y="906"/>
                      </a:lnTo>
                      <a:close/>
                      <a:moveTo>
                        <a:pt x="1158" y="970"/>
                      </a:moveTo>
                      <a:lnTo>
                        <a:pt x="1157" y="970"/>
                      </a:lnTo>
                      <a:lnTo>
                        <a:pt x="1157" y="969"/>
                      </a:lnTo>
                      <a:lnTo>
                        <a:pt x="1157" y="968"/>
                      </a:lnTo>
                      <a:lnTo>
                        <a:pt x="1158" y="968"/>
                      </a:lnTo>
                      <a:lnTo>
                        <a:pt x="1158" y="969"/>
                      </a:lnTo>
                      <a:lnTo>
                        <a:pt x="1158" y="970"/>
                      </a:lnTo>
                      <a:close/>
                      <a:moveTo>
                        <a:pt x="1068" y="980"/>
                      </a:moveTo>
                      <a:lnTo>
                        <a:pt x="1068" y="981"/>
                      </a:lnTo>
                      <a:lnTo>
                        <a:pt x="1067" y="981"/>
                      </a:lnTo>
                      <a:lnTo>
                        <a:pt x="1067" y="980"/>
                      </a:lnTo>
                      <a:lnTo>
                        <a:pt x="1067" y="981"/>
                      </a:lnTo>
                      <a:lnTo>
                        <a:pt x="1066" y="981"/>
                      </a:lnTo>
                      <a:lnTo>
                        <a:pt x="1066" y="980"/>
                      </a:lnTo>
                      <a:lnTo>
                        <a:pt x="1067" y="980"/>
                      </a:lnTo>
                      <a:lnTo>
                        <a:pt x="1068" y="980"/>
                      </a:lnTo>
                      <a:close/>
                      <a:moveTo>
                        <a:pt x="1287" y="971"/>
                      </a:moveTo>
                      <a:lnTo>
                        <a:pt x="1287" y="973"/>
                      </a:lnTo>
                      <a:lnTo>
                        <a:pt x="1288" y="973"/>
                      </a:lnTo>
                      <a:lnTo>
                        <a:pt x="1287" y="973"/>
                      </a:lnTo>
                      <a:lnTo>
                        <a:pt x="1286" y="973"/>
                      </a:lnTo>
                      <a:lnTo>
                        <a:pt x="1286" y="974"/>
                      </a:lnTo>
                      <a:lnTo>
                        <a:pt x="1287" y="974"/>
                      </a:lnTo>
                      <a:lnTo>
                        <a:pt x="1287" y="973"/>
                      </a:lnTo>
                      <a:lnTo>
                        <a:pt x="1287" y="974"/>
                      </a:lnTo>
                      <a:lnTo>
                        <a:pt x="1287" y="973"/>
                      </a:lnTo>
                      <a:lnTo>
                        <a:pt x="1288" y="973"/>
                      </a:lnTo>
                      <a:lnTo>
                        <a:pt x="1288" y="974"/>
                      </a:lnTo>
                      <a:lnTo>
                        <a:pt x="1288" y="973"/>
                      </a:lnTo>
                      <a:lnTo>
                        <a:pt x="1287" y="974"/>
                      </a:lnTo>
                      <a:lnTo>
                        <a:pt x="1288" y="974"/>
                      </a:lnTo>
                      <a:lnTo>
                        <a:pt x="1287" y="974"/>
                      </a:lnTo>
                      <a:lnTo>
                        <a:pt x="1286" y="974"/>
                      </a:lnTo>
                      <a:lnTo>
                        <a:pt x="1286" y="973"/>
                      </a:lnTo>
                      <a:lnTo>
                        <a:pt x="1286" y="974"/>
                      </a:lnTo>
                      <a:lnTo>
                        <a:pt x="1285" y="974"/>
                      </a:lnTo>
                      <a:lnTo>
                        <a:pt x="1285" y="973"/>
                      </a:lnTo>
                      <a:lnTo>
                        <a:pt x="1286" y="973"/>
                      </a:lnTo>
                      <a:lnTo>
                        <a:pt x="1287" y="973"/>
                      </a:lnTo>
                      <a:lnTo>
                        <a:pt x="1286" y="973"/>
                      </a:lnTo>
                      <a:lnTo>
                        <a:pt x="1287" y="973"/>
                      </a:lnTo>
                      <a:lnTo>
                        <a:pt x="1287" y="971"/>
                      </a:lnTo>
                      <a:close/>
                      <a:moveTo>
                        <a:pt x="1064" y="991"/>
                      </a:moveTo>
                      <a:lnTo>
                        <a:pt x="1063" y="991"/>
                      </a:lnTo>
                      <a:lnTo>
                        <a:pt x="1060" y="991"/>
                      </a:lnTo>
                      <a:lnTo>
                        <a:pt x="1061" y="990"/>
                      </a:lnTo>
                      <a:lnTo>
                        <a:pt x="1063" y="991"/>
                      </a:lnTo>
                      <a:lnTo>
                        <a:pt x="1064" y="991"/>
                      </a:lnTo>
                      <a:close/>
                      <a:moveTo>
                        <a:pt x="1103" y="977"/>
                      </a:moveTo>
                      <a:lnTo>
                        <a:pt x="1100" y="977"/>
                      </a:lnTo>
                      <a:lnTo>
                        <a:pt x="1099" y="977"/>
                      </a:lnTo>
                      <a:lnTo>
                        <a:pt x="1098" y="977"/>
                      </a:lnTo>
                      <a:lnTo>
                        <a:pt x="1100" y="977"/>
                      </a:lnTo>
                      <a:lnTo>
                        <a:pt x="1103" y="977"/>
                      </a:lnTo>
                      <a:lnTo>
                        <a:pt x="1098" y="977"/>
                      </a:lnTo>
                      <a:lnTo>
                        <a:pt x="1104" y="976"/>
                      </a:lnTo>
                      <a:lnTo>
                        <a:pt x="1104" y="977"/>
                      </a:lnTo>
                      <a:lnTo>
                        <a:pt x="1103" y="977"/>
                      </a:lnTo>
                      <a:close/>
                      <a:moveTo>
                        <a:pt x="1106" y="801"/>
                      </a:moveTo>
                      <a:lnTo>
                        <a:pt x="1108" y="801"/>
                      </a:lnTo>
                      <a:lnTo>
                        <a:pt x="1108" y="802"/>
                      </a:lnTo>
                      <a:lnTo>
                        <a:pt x="1106" y="802"/>
                      </a:lnTo>
                      <a:lnTo>
                        <a:pt x="1106" y="801"/>
                      </a:lnTo>
                      <a:close/>
                      <a:moveTo>
                        <a:pt x="1354" y="999"/>
                      </a:moveTo>
                      <a:lnTo>
                        <a:pt x="1353" y="999"/>
                      </a:lnTo>
                      <a:lnTo>
                        <a:pt x="1354" y="999"/>
                      </a:lnTo>
                      <a:lnTo>
                        <a:pt x="1354" y="1000"/>
                      </a:lnTo>
                      <a:lnTo>
                        <a:pt x="1354" y="999"/>
                      </a:lnTo>
                      <a:lnTo>
                        <a:pt x="1353" y="999"/>
                      </a:lnTo>
                      <a:lnTo>
                        <a:pt x="1352" y="999"/>
                      </a:lnTo>
                      <a:lnTo>
                        <a:pt x="1352" y="998"/>
                      </a:lnTo>
                      <a:lnTo>
                        <a:pt x="1354" y="998"/>
                      </a:lnTo>
                      <a:lnTo>
                        <a:pt x="1354" y="999"/>
                      </a:lnTo>
                      <a:close/>
                      <a:moveTo>
                        <a:pt x="1433" y="1133"/>
                      </a:moveTo>
                      <a:lnTo>
                        <a:pt x="1434" y="1133"/>
                      </a:lnTo>
                      <a:lnTo>
                        <a:pt x="1434" y="1134"/>
                      </a:lnTo>
                      <a:lnTo>
                        <a:pt x="1433" y="1134"/>
                      </a:lnTo>
                      <a:lnTo>
                        <a:pt x="1433" y="1133"/>
                      </a:lnTo>
                      <a:close/>
                      <a:moveTo>
                        <a:pt x="1173" y="846"/>
                      </a:moveTo>
                      <a:lnTo>
                        <a:pt x="1173" y="847"/>
                      </a:lnTo>
                      <a:lnTo>
                        <a:pt x="1172" y="847"/>
                      </a:lnTo>
                      <a:lnTo>
                        <a:pt x="1172" y="846"/>
                      </a:lnTo>
                      <a:lnTo>
                        <a:pt x="1171" y="846"/>
                      </a:lnTo>
                      <a:lnTo>
                        <a:pt x="1172" y="846"/>
                      </a:lnTo>
                      <a:lnTo>
                        <a:pt x="1172" y="845"/>
                      </a:lnTo>
                      <a:lnTo>
                        <a:pt x="1172" y="846"/>
                      </a:lnTo>
                      <a:lnTo>
                        <a:pt x="1173" y="846"/>
                      </a:lnTo>
                      <a:close/>
                      <a:moveTo>
                        <a:pt x="1427" y="1123"/>
                      </a:moveTo>
                      <a:lnTo>
                        <a:pt x="1427" y="1124"/>
                      </a:lnTo>
                      <a:lnTo>
                        <a:pt x="1426" y="1123"/>
                      </a:lnTo>
                      <a:lnTo>
                        <a:pt x="1425" y="1123"/>
                      </a:lnTo>
                      <a:lnTo>
                        <a:pt x="1424" y="1123"/>
                      </a:lnTo>
                      <a:lnTo>
                        <a:pt x="1424" y="1124"/>
                      </a:lnTo>
                      <a:lnTo>
                        <a:pt x="1422" y="1124"/>
                      </a:lnTo>
                      <a:lnTo>
                        <a:pt x="1422" y="1123"/>
                      </a:lnTo>
                      <a:lnTo>
                        <a:pt x="1424" y="1123"/>
                      </a:lnTo>
                      <a:lnTo>
                        <a:pt x="1425" y="1123"/>
                      </a:lnTo>
                      <a:lnTo>
                        <a:pt x="1426" y="1123"/>
                      </a:lnTo>
                      <a:lnTo>
                        <a:pt x="1427" y="1123"/>
                      </a:lnTo>
                      <a:close/>
                      <a:moveTo>
                        <a:pt x="1301" y="1125"/>
                      </a:moveTo>
                      <a:lnTo>
                        <a:pt x="1301" y="1124"/>
                      </a:lnTo>
                      <a:lnTo>
                        <a:pt x="1302" y="1124"/>
                      </a:lnTo>
                      <a:lnTo>
                        <a:pt x="1302" y="1123"/>
                      </a:lnTo>
                      <a:lnTo>
                        <a:pt x="1303" y="1123"/>
                      </a:lnTo>
                      <a:lnTo>
                        <a:pt x="1302" y="1123"/>
                      </a:lnTo>
                      <a:lnTo>
                        <a:pt x="1302" y="1124"/>
                      </a:lnTo>
                      <a:lnTo>
                        <a:pt x="1302" y="1125"/>
                      </a:lnTo>
                      <a:lnTo>
                        <a:pt x="1301" y="1125"/>
                      </a:lnTo>
                      <a:close/>
                      <a:moveTo>
                        <a:pt x="1064" y="983"/>
                      </a:moveTo>
                      <a:lnTo>
                        <a:pt x="1065" y="984"/>
                      </a:lnTo>
                      <a:lnTo>
                        <a:pt x="1065" y="986"/>
                      </a:lnTo>
                      <a:lnTo>
                        <a:pt x="1064" y="986"/>
                      </a:lnTo>
                      <a:lnTo>
                        <a:pt x="1063" y="986"/>
                      </a:lnTo>
                      <a:lnTo>
                        <a:pt x="1064" y="986"/>
                      </a:lnTo>
                      <a:lnTo>
                        <a:pt x="1064" y="984"/>
                      </a:lnTo>
                      <a:lnTo>
                        <a:pt x="1063" y="986"/>
                      </a:lnTo>
                      <a:lnTo>
                        <a:pt x="1063" y="984"/>
                      </a:lnTo>
                      <a:lnTo>
                        <a:pt x="1064" y="984"/>
                      </a:lnTo>
                      <a:lnTo>
                        <a:pt x="1063" y="984"/>
                      </a:lnTo>
                      <a:lnTo>
                        <a:pt x="1064" y="984"/>
                      </a:lnTo>
                      <a:lnTo>
                        <a:pt x="1064" y="983"/>
                      </a:lnTo>
                      <a:close/>
                      <a:moveTo>
                        <a:pt x="1435" y="1131"/>
                      </a:moveTo>
                      <a:lnTo>
                        <a:pt x="1434" y="1131"/>
                      </a:lnTo>
                      <a:lnTo>
                        <a:pt x="1434" y="1132"/>
                      </a:lnTo>
                      <a:lnTo>
                        <a:pt x="1433" y="1131"/>
                      </a:lnTo>
                      <a:lnTo>
                        <a:pt x="1434" y="1131"/>
                      </a:lnTo>
                      <a:lnTo>
                        <a:pt x="1434" y="1130"/>
                      </a:lnTo>
                      <a:lnTo>
                        <a:pt x="1435" y="1130"/>
                      </a:lnTo>
                      <a:lnTo>
                        <a:pt x="1435" y="1131"/>
                      </a:lnTo>
                      <a:close/>
                      <a:moveTo>
                        <a:pt x="1133" y="981"/>
                      </a:moveTo>
                      <a:lnTo>
                        <a:pt x="1134" y="982"/>
                      </a:lnTo>
                      <a:lnTo>
                        <a:pt x="1135" y="982"/>
                      </a:lnTo>
                      <a:lnTo>
                        <a:pt x="1134" y="982"/>
                      </a:lnTo>
                      <a:lnTo>
                        <a:pt x="1133" y="982"/>
                      </a:lnTo>
                      <a:lnTo>
                        <a:pt x="1134" y="984"/>
                      </a:lnTo>
                      <a:lnTo>
                        <a:pt x="1135" y="984"/>
                      </a:lnTo>
                      <a:lnTo>
                        <a:pt x="1135" y="986"/>
                      </a:lnTo>
                      <a:lnTo>
                        <a:pt x="1137" y="988"/>
                      </a:lnTo>
                      <a:lnTo>
                        <a:pt x="1136" y="988"/>
                      </a:lnTo>
                      <a:lnTo>
                        <a:pt x="1132" y="981"/>
                      </a:lnTo>
                      <a:lnTo>
                        <a:pt x="1133" y="981"/>
                      </a:lnTo>
                      <a:close/>
                      <a:moveTo>
                        <a:pt x="1155" y="1026"/>
                      </a:moveTo>
                      <a:lnTo>
                        <a:pt x="1157" y="1026"/>
                      </a:lnTo>
                      <a:lnTo>
                        <a:pt x="1157" y="1027"/>
                      </a:lnTo>
                      <a:lnTo>
                        <a:pt x="1155" y="1027"/>
                      </a:lnTo>
                      <a:lnTo>
                        <a:pt x="1155" y="1026"/>
                      </a:lnTo>
                      <a:close/>
                      <a:moveTo>
                        <a:pt x="1083" y="798"/>
                      </a:moveTo>
                      <a:lnTo>
                        <a:pt x="1082" y="798"/>
                      </a:lnTo>
                      <a:lnTo>
                        <a:pt x="1081" y="798"/>
                      </a:lnTo>
                      <a:lnTo>
                        <a:pt x="1081" y="799"/>
                      </a:lnTo>
                      <a:lnTo>
                        <a:pt x="1081" y="798"/>
                      </a:lnTo>
                      <a:lnTo>
                        <a:pt x="1080" y="798"/>
                      </a:lnTo>
                      <a:lnTo>
                        <a:pt x="1081" y="798"/>
                      </a:lnTo>
                      <a:lnTo>
                        <a:pt x="1082" y="798"/>
                      </a:lnTo>
                      <a:lnTo>
                        <a:pt x="1082" y="797"/>
                      </a:lnTo>
                      <a:lnTo>
                        <a:pt x="1083" y="798"/>
                      </a:lnTo>
                      <a:close/>
                      <a:moveTo>
                        <a:pt x="1273" y="1263"/>
                      </a:moveTo>
                      <a:lnTo>
                        <a:pt x="1273" y="1262"/>
                      </a:lnTo>
                      <a:lnTo>
                        <a:pt x="1274" y="1261"/>
                      </a:lnTo>
                      <a:lnTo>
                        <a:pt x="1275" y="1261"/>
                      </a:lnTo>
                      <a:lnTo>
                        <a:pt x="1274" y="1261"/>
                      </a:lnTo>
                      <a:lnTo>
                        <a:pt x="1274" y="1262"/>
                      </a:lnTo>
                      <a:lnTo>
                        <a:pt x="1274" y="1263"/>
                      </a:lnTo>
                      <a:lnTo>
                        <a:pt x="1273" y="1263"/>
                      </a:lnTo>
                      <a:close/>
                      <a:moveTo>
                        <a:pt x="1143" y="983"/>
                      </a:moveTo>
                      <a:lnTo>
                        <a:pt x="1144" y="986"/>
                      </a:lnTo>
                      <a:lnTo>
                        <a:pt x="1145" y="986"/>
                      </a:lnTo>
                      <a:lnTo>
                        <a:pt x="1145" y="984"/>
                      </a:lnTo>
                      <a:lnTo>
                        <a:pt x="1145" y="986"/>
                      </a:lnTo>
                      <a:lnTo>
                        <a:pt x="1145" y="987"/>
                      </a:lnTo>
                      <a:lnTo>
                        <a:pt x="1146" y="988"/>
                      </a:lnTo>
                      <a:lnTo>
                        <a:pt x="1143" y="983"/>
                      </a:lnTo>
                      <a:lnTo>
                        <a:pt x="1143" y="982"/>
                      </a:lnTo>
                      <a:lnTo>
                        <a:pt x="1143" y="983"/>
                      </a:lnTo>
                      <a:close/>
                      <a:moveTo>
                        <a:pt x="1286" y="1122"/>
                      </a:moveTo>
                      <a:lnTo>
                        <a:pt x="1287" y="1122"/>
                      </a:lnTo>
                      <a:lnTo>
                        <a:pt x="1286" y="1122"/>
                      </a:lnTo>
                      <a:lnTo>
                        <a:pt x="1286" y="1123"/>
                      </a:lnTo>
                      <a:lnTo>
                        <a:pt x="1285" y="1123"/>
                      </a:lnTo>
                      <a:lnTo>
                        <a:pt x="1285" y="1122"/>
                      </a:lnTo>
                      <a:lnTo>
                        <a:pt x="1285" y="1121"/>
                      </a:lnTo>
                      <a:lnTo>
                        <a:pt x="1286" y="1121"/>
                      </a:lnTo>
                      <a:lnTo>
                        <a:pt x="1286" y="1122"/>
                      </a:lnTo>
                      <a:close/>
                      <a:moveTo>
                        <a:pt x="1417" y="1020"/>
                      </a:moveTo>
                      <a:lnTo>
                        <a:pt x="1417" y="1021"/>
                      </a:lnTo>
                      <a:lnTo>
                        <a:pt x="1417" y="1022"/>
                      </a:lnTo>
                      <a:lnTo>
                        <a:pt x="1416" y="1022"/>
                      </a:lnTo>
                      <a:lnTo>
                        <a:pt x="1417" y="1022"/>
                      </a:lnTo>
                      <a:lnTo>
                        <a:pt x="1417" y="1024"/>
                      </a:lnTo>
                      <a:lnTo>
                        <a:pt x="1416" y="1024"/>
                      </a:lnTo>
                      <a:lnTo>
                        <a:pt x="1417" y="1024"/>
                      </a:lnTo>
                      <a:lnTo>
                        <a:pt x="1417" y="1025"/>
                      </a:lnTo>
                      <a:lnTo>
                        <a:pt x="1417" y="1024"/>
                      </a:lnTo>
                      <a:lnTo>
                        <a:pt x="1416" y="1024"/>
                      </a:lnTo>
                      <a:lnTo>
                        <a:pt x="1416" y="1022"/>
                      </a:lnTo>
                      <a:lnTo>
                        <a:pt x="1416" y="1021"/>
                      </a:lnTo>
                      <a:lnTo>
                        <a:pt x="1417" y="1020"/>
                      </a:lnTo>
                      <a:close/>
                      <a:moveTo>
                        <a:pt x="1182" y="973"/>
                      </a:moveTo>
                      <a:lnTo>
                        <a:pt x="1183" y="973"/>
                      </a:lnTo>
                      <a:lnTo>
                        <a:pt x="1184" y="973"/>
                      </a:lnTo>
                      <a:lnTo>
                        <a:pt x="1184" y="974"/>
                      </a:lnTo>
                      <a:lnTo>
                        <a:pt x="1182" y="973"/>
                      </a:lnTo>
                      <a:lnTo>
                        <a:pt x="1181" y="973"/>
                      </a:lnTo>
                      <a:lnTo>
                        <a:pt x="1181" y="971"/>
                      </a:lnTo>
                      <a:lnTo>
                        <a:pt x="1182" y="971"/>
                      </a:lnTo>
                      <a:lnTo>
                        <a:pt x="1182" y="973"/>
                      </a:lnTo>
                      <a:close/>
                      <a:moveTo>
                        <a:pt x="1072" y="981"/>
                      </a:moveTo>
                      <a:lnTo>
                        <a:pt x="1072" y="982"/>
                      </a:lnTo>
                      <a:lnTo>
                        <a:pt x="1071" y="983"/>
                      </a:lnTo>
                      <a:lnTo>
                        <a:pt x="1071" y="982"/>
                      </a:lnTo>
                      <a:lnTo>
                        <a:pt x="1070" y="982"/>
                      </a:lnTo>
                      <a:lnTo>
                        <a:pt x="1069" y="982"/>
                      </a:lnTo>
                      <a:lnTo>
                        <a:pt x="1070" y="982"/>
                      </a:lnTo>
                      <a:lnTo>
                        <a:pt x="1071" y="982"/>
                      </a:lnTo>
                      <a:lnTo>
                        <a:pt x="1071" y="981"/>
                      </a:lnTo>
                      <a:lnTo>
                        <a:pt x="1072" y="981"/>
                      </a:lnTo>
                      <a:close/>
                      <a:moveTo>
                        <a:pt x="1367" y="1028"/>
                      </a:moveTo>
                      <a:lnTo>
                        <a:pt x="1368" y="1028"/>
                      </a:lnTo>
                      <a:lnTo>
                        <a:pt x="1369" y="1028"/>
                      </a:lnTo>
                      <a:lnTo>
                        <a:pt x="1369" y="1029"/>
                      </a:lnTo>
                      <a:lnTo>
                        <a:pt x="1369" y="1030"/>
                      </a:lnTo>
                      <a:lnTo>
                        <a:pt x="1368" y="1029"/>
                      </a:lnTo>
                      <a:lnTo>
                        <a:pt x="1367" y="1029"/>
                      </a:lnTo>
                      <a:lnTo>
                        <a:pt x="1367" y="1028"/>
                      </a:lnTo>
                      <a:close/>
                      <a:moveTo>
                        <a:pt x="1061" y="938"/>
                      </a:moveTo>
                      <a:lnTo>
                        <a:pt x="1060" y="938"/>
                      </a:lnTo>
                      <a:lnTo>
                        <a:pt x="1061" y="937"/>
                      </a:lnTo>
                      <a:lnTo>
                        <a:pt x="1061" y="936"/>
                      </a:lnTo>
                      <a:lnTo>
                        <a:pt x="1061" y="938"/>
                      </a:lnTo>
                      <a:close/>
                      <a:moveTo>
                        <a:pt x="1431" y="1128"/>
                      </a:moveTo>
                      <a:lnTo>
                        <a:pt x="1430" y="1129"/>
                      </a:lnTo>
                      <a:lnTo>
                        <a:pt x="1430" y="1128"/>
                      </a:lnTo>
                      <a:lnTo>
                        <a:pt x="1429" y="1128"/>
                      </a:lnTo>
                      <a:lnTo>
                        <a:pt x="1429" y="1127"/>
                      </a:lnTo>
                      <a:lnTo>
                        <a:pt x="1430" y="1128"/>
                      </a:lnTo>
                      <a:lnTo>
                        <a:pt x="1431" y="1128"/>
                      </a:lnTo>
                      <a:close/>
                      <a:moveTo>
                        <a:pt x="1183" y="1034"/>
                      </a:moveTo>
                      <a:lnTo>
                        <a:pt x="1185" y="1034"/>
                      </a:lnTo>
                      <a:lnTo>
                        <a:pt x="1183" y="1034"/>
                      </a:lnTo>
                      <a:lnTo>
                        <a:pt x="1182" y="1034"/>
                      </a:lnTo>
                      <a:lnTo>
                        <a:pt x="1182" y="1035"/>
                      </a:lnTo>
                      <a:lnTo>
                        <a:pt x="1183" y="1035"/>
                      </a:lnTo>
                      <a:lnTo>
                        <a:pt x="1182" y="1035"/>
                      </a:lnTo>
                      <a:lnTo>
                        <a:pt x="1181" y="1035"/>
                      </a:lnTo>
                      <a:lnTo>
                        <a:pt x="1181" y="1034"/>
                      </a:lnTo>
                      <a:lnTo>
                        <a:pt x="1182" y="1034"/>
                      </a:lnTo>
                      <a:lnTo>
                        <a:pt x="1183" y="1034"/>
                      </a:lnTo>
                      <a:close/>
                      <a:moveTo>
                        <a:pt x="1339" y="937"/>
                      </a:moveTo>
                      <a:lnTo>
                        <a:pt x="1338" y="937"/>
                      </a:lnTo>
                      <a:lnTo>
                        <a:pt x="1338" y="936"/>
                      </a:lnTo>
                      <a:lnTo>
                        <a:pt x="1339" y="936"/>
                      </a:lnTo>
                      <a:lnTo>
                        <a:pt x="1340" y="936"/>
                      </a:lnTo>
                      <a:lnTo>
                        <a:pt x="1340" y="937"/>
                      </a:lnTo>
                      <a:lnTo>
                        <a:pt x="1339" y="937"/>
                      </a:lnTo>
                      <a:close/>
                      <a:moveTo>
                        <a:pt x="1109" y="838"/>
                      </a:moveTo>
                      <a:lnTo>
                        <a:pt x="1111" y="838"/>
                      </a:lnTo>
                      <a:lnTo>
                        <a:pt x="1111" y="840"/>
                      </a:lnTo>
                      <a:lnTo>
                        <a:pt x="1109" y="840"/>
                      </a:lnTo>
                      <a:lnTo>
                        <a:pt x="1109" y="838"/>
                      </a:lnTo>
                      <a:close/>
                      <a:moveTo>
                        <a:pt x="1278" y="951"/>
                      </a:moveTo>
                      <a:lnTo>
                        <a:pt x="1279" y="952"/>
                      </a:lnTo>
                      <a:lnTo>
                        <a:pt x="1276" y="952"/>
                      </a:lnTo>
                      <a:lnTo>
                        <a:pt x="1276" y="951"/>
                      </a:lnTo>
                      <a:lnTo>
                        <a:pt x="1277" y="951"/>
                      </a:lnTo>
                      <a:lnTo>
                        <a:pt x="1278" y="951"/>
                      </a:lnTo>
                      <a:close/>
                      <a:moveTo>
                        <a:pt x="1091" y="976"/>
                      </a:moveTo>
                      <a:lnTo>
                        <a:pt x="1092" y="976"/>
                      </a:lnTo>
                      <a:lnTo>
                        <a:pt x="1093" y="976"/>
                      </a:lnTo>
                      <a:lnTo>
                        <a:pt x="1092" y="977"/>
                      </a:lnTo>
                      <a:lnTo>
                        <a:pt x="1091" y="976"/>
                      </a:lnTo>
                      <a:lnTo>
                        <a:pt x="1091" y="977"/>
                      </a:lnTo>
                      <a:lnTo>
                        <a:pt x="1090" y="977"/>
                      </a:lnTo>
                      <a:lnTo>
                        <a:pt x="1090" y="976"/>
                      </a:lnTo>
                      <a:lnTo>
                        <a:pt x="1091" y="976"/>
                      </a:lnTo>
                      <a:close/>
                      <a:moveTo>
                        <a:pt x="1403" y="1085"/>
                      </a:moveTo>
                      <a:lnTo>
                        <a:pt x="1403" y="1086"/>
                      </a:lnTo>
                      <a:lnTo>
                        <a:pt x="1402" y="1086"/>
                      </a:lnTo>
                      <a:lnTo>
                        <a:pt x="1402" y="1085"/>
                      </a:lnTo>
                      <a:lnTo>
                        <a:pt x="1401" y="1086"/>
                      </a:lnTo>
                      <a:lnTo>
                        <a:pt x="1400" y="1086"/>
                      </a:lnTo>
                      <a:lnTo>
                        <a:pt x="1399" y="1086"/>
                      </a:lnTo>
                      <a:lnTo>
                        <a:pt x="1396" y="1088"/>
                      </a:lnTo>
                      <a:lnTo>
                        <a:pt x="1396" y="1089"/>
                      </a:lnTo>
                      <a:lnTo>
                        <a:pt x="1397" y="1089"/>
                      </a:lnTo>
                      <a:lnTo>
                        <a:pt x="1396" y="1089"/>
                      </a:lnTo>
                      <a:lnTo>
                        <a:pt x="1396" y="1088"/>
                      </a:lnTo>
                      <a:lnTo>
                        <a:pt x="1397" y="1088"/>
                      </a:lnTo>
                      <a:lnTo>
                        <a:pt x="1399" y="1086"/>
                      </a:lnTo>
                      <a:lnTo>
                        <a:pt x="1400" y="1086"/>
                      </a:lnTo>
                      <a:lnTo>
                        <a:pt x="1401" y="1085"/>
                      </a:lnTo>
                      <a:lnTo>
                        <a:pt x="1402" y="1085"/>
                      </a:lnTo>
                      <a:lnTo>
                        <a:pt x="1403" y="1085"/>
                      </a:lnTo>
                      <a:close/>
                      <a:moveTo>
                        <a:pt x="1042" y="983"/>
                      </a:moveTo>
                      <a:lnTo>
                        <a:pt x="1043" y="983"/>
                      </a:lnTo>
                      <a:lnTo>
                        <a:pt x="1042" y="983"/>
                      </a:lnTo>
                      <a:lnTo>
                        <a:pt x="1042" y="984"/>
                      </a:lnTo>
                      <a:lnTo>
                        <a:pt x="1041" y="984"/>
                      </a:lnTo>
                      <a:lnTo>
                        <a:pt x="1041" y="983"/>
                      </a:lnTo>
                      <a:lnTo>
                        <a:pt x="1042" y="983"/>
                      </a:lnTo>
                      <a:lnTo>
                        <a:pt x="1041" y="983"/>
                      </a:lnTo>
                      <a:lnTo>
                        <a:pt x="1042" y="983"/>
                      </a:lnTo>
                      <a:lnTo>
                        <a:pt x="1042" y="982"/>
                      </a:lnTo>
                      <a:lnTo>
                        <a:pt x="1042" y="983"/>
                      </a:lnTo>
                      <a:close/>
                      <a:moveTo>
                        <a:pt x="1143" y="1013"/>
                      </a:moveTo>
                      <a:lnTo>
                        <a:pt x="1143" y="1014"/>
                      </a:lnTo>
                      <a:lnTo>
                        <a:pt x="1143" y="1013"/>
                      </a:lnTo>
                      <a:lnTo>
                        <a:pt x="1142" y="1012"/>
                      </a:lnTo>
                      <a:lnTo>
                        <a:pt x="1143" y="1012"/>
                      </a:lnTo>
                      <a:lnTo>
                        <a:pt x="1144" y="1013"/>
                      </a:lnTo>
                      <a:lnTo>
                        <a:pt x="1143" y="1013"/>
                      </a:lnTo>
                      <a:close/>
                      <a:moveTo>
                        <a:pt x="1043" y="934"/>
                      </a:moveTo>
                      <a:lnTo>
                        <a:pt x="1045" y="934"/>
                      </a:lnTo>
                      <a:lnTo>
                        <a:pt x="1045" y="935"/>
                      </a:lnTo>
                      <a:lnTo>
                        <a:pt x="1043" y="935"/>
                      </a:lnTo>
                      <a:lnTo>
                        <a:pt x="1043" y="937"/>
                      </a:lnTo>
                      <a:lnTo>
                        <a:pt x="1043" y="939"/>
                      </a:lnTo>
                      <a:lnTo>
                        <a:pt x="1044" y="939"/>
                      </a:lnTo>
                      <a:lnTo>
                        <a:pt x="1045" y="939"/>
                      </a:lnTo>
                      <a:lnTo>
                        <a:pt x="1044" y="939"/>
                      </a:lnTo>
                      <a:lnTo>
                        <a:pt x="1044" y="940"/>
                      </a:lnTo>
                      <a:lnTo>
                        <a:pt x="1044" y="941"/>
                      </a:lnTo>
                      <a:lnTo>
                        <a:pt x="1044" y="939"/>
                      </a:lnTo>
                      <a:lnTo>
                        <a:pt x="1043" y="939"/>
                      </a:lnTo>
                      <a:lnTo>
                        <a:pt x="1043" y="937"/>
                      </a:lnTo>
                      <a:lnTo>
                        <a:pt x="1043" y="935"/>
                      </a:lnTo>
                      <a:lnTo>
                        <a:pt x="1042" y="935"/>
                      </a:lnTo>
                      <a:lnTo>
                        <a:pt x="1043" y="935"/>
                      </a:lnTo>
                      <a:lnTo>
                        <a:pt x="1042" y="935"/>
                      </a:lnTo>
                      <a:lnTo>
                        <a:pt x="1042" y="934"/>
                      </a:lnTo>
                      <a:lnTo>
                        <a:pt x="1043" y="934"/>
                      </a:lnTo>
                      <a:close/>
                      <a:moveTo>
                        <a:pt x="975" y="952"/>
                      </a:moveTo>
                      <a:lnTo>
                        <a:pt x="976" y="952"/>
                      </a:lnTo>
                      <a:lnTo>
                        <a:pt x="976" y="953"/>
                      </a:lnTo>
                      <a:lnTo>
                        <a:pt x="975" y="953"/>
                      </a:lnTo>
                      <a:lnTo>
                        <a:pt x="975" y="952"/>
                      </a:lnTo>
                      <a:close/>
                      <a:moveTo>
                        <a:pt x="1054" y="936"/>
                      </a:moveTo>
                      <a:lnTo>
                        <a:pt x="1053" y="936"/>
                      </a:lnTo>
                      <a:lnTo>
                        <a:pt x="1052" y="935"/>
                      </a:lnTo>
                      <a:lnTo>
                        <a:pt x="1053" y="935"/>
                      </a:lnTo>
                      <a:lnTo>
                        <a:pt x="1052" y="935"/>
                      </a:lnTo>
                      <a:lnTo>
                        <a:pt x="1053" y="935"/>
                      </a:lnTo>
                      <a:lnTo>
                        <a:pt x="1053" y="934"/>
                      </a:lnTo>
                      <a:lnTo>
                        <a:pt x="1053" y="935"/>
                      </a:lnTo>
                      <a:lnTo>
                        <a:pt x="1054" y="935"/>
                      </a:lnTo>
                      <a:lnTo>
                        <a:pt x="1054" y="936"/>
                      </a:lnTo>
                      <a:close/>
                      <a:moveTo>
                        <a:pt x="1119" y="975"/>
                      </a:moveTo>
                      <a:lnTo>
                        <a:pt x="1116" y="975"/>
                      </a:lnTo>
                      <a:lnTo>
                        <a:pt x="1117" y="975"/>
                      </a:lnTo>
                      <a:lnTo>
                        <a:pt x="1117" y="974"/>
                      </a:lnTo>
                      <a:lnTo>
                        <a:pt x="1119" y="975"/>
                      </a:lnTo>
                      <a:close/>
                      <a:moveTo>
                        <a:pt x="1096" y="793"/>
                      </a:moveTo>
                      <a:lnTo>
                        <a:pt x="1097" y="793"/>
                      </a:lnTo>
                      <a:lnTo>
                        <a:pt x="1097" y="791"/>
                      </a:lnTo>
                      <a:lnTo>
                        <a:pt x="1097" y="793"/>
                      </a:lnTo>
                      <a:lnTo>
                        <a:pt x="1096" y="793"/>
                      </a:lnTo>
                      <a:lnTo>
                        <a:pt x="1095" y="794"/>
                      </a:lnTo>
                      <a:lnTo>
                        <a:pt x="1095" y="793"/>
                      </a:lnTo>
                      <a:lnTo>
                        <a:pt x="1096" y="791"/>
                      </a:lnTo>
                      <a:lnTo>
                        <a:pt x="1096" y="793"/>
                      </a:lnTo>
                      <a:lnTo>
                        <a:pt x="1096" y="791"/>
                      </a:lnTo>
                      <a:lnTo>
                        <a:pt x="1096" y="793"/>
                      </a:lnTo>
                      <a:close/>
                      <a:moveTo>
                        <a:pt x="1276" y="955"/>
                      </a:moveTo>
                      <a:lnTo>
                        <a:pt x="1275" y="955"/>
                      </a:lnTo>
                      <a:lnTo>
                        <a:pt x="1275" y="956"/>
                      </a:lnTo>
                      <a:lnTo>
                        <a:pt x="1274" y="956"/>
                      </a:lnTo>
                      <a:lnTo>
                        <a:pt x="1273" y="956"/>
                      </a:lnTo>
                      <a:lnTo>
                        <a:pt x="1274" y="956"/>
                      </a:lnTo>
                      <a:lnTo>
                        <a:pt x="1275" y="956"/>
                      </a:lnTo>
                      <a:lnTo>
                        <a:pt x="1275" y="955"/>
                      </a:lnTo>
                      <a:lnTo>
                        <a:pt x="1273" y="956"/>
                      </a:lnTo>
                      <a:lnTo>
                        <a:pt x="1272" y="956"/>
                      </a:lnTo>
                      <a:lnTo>
                        <a:pt x="1271" y="956"/>
                      </a:lnTo>
                      <a:lnTo>
                        <a:pt x="1271" y="955"/>
                      </a:lnTo>
                      <a:lnTo>
                        <a:pt x="1271" y="956"/>
                      </a:lnTo>
                      <a:lnTo>
                        <a:pt x="1272" y="956"/>
                      </a:lnTo>
                      <a:lnTo>
                        <a:pt x="1272" y="955"/>
                      </a:lnTo>
                      <a:lnTo>
                        <a:pt x="1272" y="956"/>
                      </a:lnTo>
                      <a:lnTo>
                        <a:pt x="1274" y="955"/>
                      </a:lnTo>
                      <a:lnTo>
                        <a:pt x="1275" y="955"/>
                      </a:lnTo>
                      <a:lnTo>
                        <a:pt x="1276" y="955"/>
                      </a:lnTo>
                      <a:close/>
                      <a:moveTo>
                        <a:pt x="1431" y="1034"/>
                      </a:moveTo>
                      <a:lnTo>
                        <a:pt x="1432" y="1034"/>
                      </a:lnTo>
                      <a:lnTo>
                        <a:pt x="1431" y="1034"/>
                      </a:lnTo>
                      <a:lnTo>
                        <a:pt x="1431" y="1035"/>
                      </a:lnTo>
                      <a:lnTo>
                        <a:pt x="1431" y="1034"/>
                      </a:lnTo>
                      <a:lnTo>
                        <a:pt x="1431" y="1035"/>
                      </a:lnTo>
                      <a:lnTo>
                        <a:pt x="1430" y="1035"/>
                      </a:lnTo>
                      <a:lnTo>
                        <a:pt x="1429" y="1035"/>
                      </a:lnTo>
                      <a:lnTo>
                        <a:pt x="1430" y="1035"/>
                      </a:lnTo>
                      <a:lnTo>
                        <a:pt x="1429" y="1035"/>
                      </a:lnTo>
                      <a:lnTo>
                        <a:pt x="1429" y="1037"/>
                      </a:lnTo>
                      <a:lnTo>
                        <a:pt x="1429" y="1035"/>
                      </a:lnTo>
                      <a:lnTo>
                        <a:pt x="1430" y="1035"/>
                      </a:lnTo>
                      <a:lnTo>
                        <a:pt x="1431" y="1034"/>
                      </a:lnTo>
                      <a:close/>
                      <a:moveTo>
                        <a:pt x="1021" y="975"/>
                      </a:moveTo>
                      <a:lnTo>
                        <a:pt x="1024" y="975"/>
                      </a:lnTo>
                      <a:lnTo>
                        <a:pt x="1024" y="977"/>
                      </a:lnTo>
                      <a:lnTo>
                        <a:pt x="1021" y="977"/>
                      </a:lnTo>
                      <a:lnTo>
                        <a:pt x="1021" y="975"/>
                      </a:lnTo>
                      <a:close/>
                      <a:moveTo>
                        <a:pt x="1086" y="983"/>
                      </a:moveTo>
                      <a:lnTo>
                        <a:pt x="1084" y="982"/>
                      </a:lnTo>
                      <a:lnTo>
                        <a:pt x="1085" y="982"/>
                      </a:lnTo>
                      <a:lnTo>
                        <a:pt x="1085" y="981"/>
                      </a:lnTo>
                      <a:lnTo>
                        <a:pt x="1085" y="982"/>
                      </a:lnTo>
                      <a:lnTo>
                        <a:pt x="1086" y="982"/>
                      </a:lnTo>
                      <a:lnTo>
                        <a:pt x="1086" y="983"/>
                      </a:lnTo>
                      <a:close/>
                      <a:moveTo>
                        <a:pt x="1301" y="974"/>
                      </a:moveTo>
                      <a:lnTo>
                        <a:pt x="1302" y="974"/>
                      </a:lnTo>
                      <a:lnTo>
                        <a:pt x="1303" y="974"/>
                      </a:lnTo>
                      <a:lnTo>
                        <a:pt x="1302" y="974"/>
                      </a:lnTo>
                      <a:lnTo>
                        <a:pt x="1302" y="975"/>
                      </a:lnTo>
                      <a:lnTo>
                        <a:pt x="1301" y="975"/>
                      </a:lnTo>
                      <a:lnTo>
                        <a:pt x="1301" y="974"/>
                      </a:lnTo>
                      <a:lnTo>
                        <a:pt x="1301" y="973"/>
                      </a:lnTo>
                      <a:lnTo>
                        <a:pt x="1301" y="974"/>
                      </a:lnTo>
                      <a:close/>
                      <a:moveTo>
                        <a:pt x="1434" y="1133"/>
                      </a:moveTo>
                      <a:lnTo>
                        <a:pt x="1437" y="1133"/>
                      </a:lnTo>
                      <a:lnTo>
                        <a:pt x="1437" y="1134"/>
                      </a:lnTo>
                      <a:lnTo>
                        <a:pt x="1434" y="1134"/>
                      </a:lnTo>
                      <a:lnTo>
                        <a:pt x="1434" y="1133"/>
                      </a:lnTo>
                      <a:close/>
                      <a:moveTo>
                        <a:pt x="1092" y="807"/>
                      </a:moveTo>
                      <a:lnTo>
                        <a:pt x="1094" y="807"/>
                      </a:lnTo>
                      <a:lnTo>
                        <a:pt x="1094" y="809"/>
                      </a:lnTo>
                      <a:lnTo>
                        <a:pt x="1092" y="809"/>
                      </a:lnTo>
                      <a:lnTo>
                        <a:pt x="1092" y="807"/>
                      </a:lnTo>
                      <a:close/>
                      <a:moveTo>
                        <a:pt x="1448" y="1032"/>
                      </a:moveTo>
                      <a:lnTo>
                        <a:pt x="1448" y="1033"/>
                      </a:lnTo>
                      <a:lnTo>
                        <a:pt x="1448" y="1034"/>
                      </a:lnTo>
                      <a:lnTo>
                        <a:pt x="1447" y="1034"/>
                      </a:lnTo>
                      <a:lnTo>
                        <a:pt x="1447" y="1033"/>
                      </a:lnTo>
                      <a:lnTo>
                        <a:pt x="1447" y="1034"/>
                      </a:lnTo>
                      <a:lnTo>
                        <a:pt x="1447" y="1033"/>
                      </a:lnTo>
                      <a:lnTo>
                        <a:pt x="1448" y="1033"/>
                      </a:lnTo>
                      <a:lnTo>
                        <a:pt x="1447" y="1033"/>
                      </a:lnTo>
                      <a:lnTo>
                        <a:pt x="1447" y="1032"/>
                      </a:lnTo>
                      <a:lnTo>
                        <a:pt x="1448" y="1032"/>
                      </a:lnTo>
                      <a:lnTo>
                        <a:pt x="1447" y="1032"/>
                      </a:lnTo>
                      <a:lnTo>
                        <a:pt x="1448" y="1032"/>
                      </a:lnTo>
                      <a:lnTo>
                        <a:pt x="1447" y="1032"/>
                      </a:lnTo>
                      <a:lnTo>
                        <a:pt x="1448" y="1032"/>
                      </a:lnTo>
                      <a:close/>
                      <a:moveTo>
                        <a:pt x="1276" y="950"/>
                      </a:moveTo>
                      <a:lnTo>
                        <a:pt x="1276" y="951"/>
                      </a:lnTo>
                      <a:lnTo>
                        <a:pt x="1277" y="951"/>
                      </a:lnTo>
                      <a:lnTo>
                        <a:pt x="1276" y="951"/>
                      </a:lnTo>
                      <a:lnTo>
                        <a:pt x="1275" y="952"/>
                      </a:lnTo>
                      <a:lnTo>
                        <a:pt x="1274" y="951"/>
                      </a:lnTo>
                      <a:lnTo>
                        <a:pt x="1275" y="951"/>
                      </a:lnTo>
                      <a:lnTo>
                        <a:pt x="1275" y="950"/>
                      </a:lnTo>
                      <a:lnTo>
                        <a:pt x="1276" y="950"/>
                      </a:lnTo>
                      <a:close/>
                      <a:moveTo>
                        <a:pt x="1481" y="1091"/>
                      </a:moveTo>
                      <a:lnTo>
                        <a:pt x="1480" y="1091"/>
                      </a:lnTo>
                      <a:lnTo>
                        <a:pt x="1481" y="1090"/>
                      </a:lnTo>
                      <a:lnTo>
                        <a:pt x="1480" y="1090"/>
                      </a:lnTo>
                      <a:lnTo>
                        <a:pt x="1480" y="1089"/>
                      </a:lnTo>
                      <a:lnTo>
                        <a:pt x="1481" y="1089"/>
                      </a:lnTo>
                      <a:lnTo>
                        <a:pt x="1481" y="1090"/>
                      </a:lnTo>
                      <a:lnTo>
                        <a:pt x="1481" y="1091"/>
                      </a:lnTo>
                      <a:close/>
                      <a:moveTo>
                        <a:pt x="1413" y="1130"/>
                      </a:moveTo>
                      <a:lnTo>
                        <a:pt x="1412" y="1131"/>
                      </a:lnTo>
                      <a:lnTo>
                        <a:pt x="1410" y="1131"/>
                      </a:lnTo>
                      <a:lnTo>
                        <a:pt x="1410" y="1130"/>
                      </a:lnTo>
                      <a:lnTo>
                        <a:pt x="1412" y="1130"/>
                      </a:lnTo>
                      <a:lnTo>
                        <a:pt x="1413" y="1130"/>
                      </a:lnTo>
                      <a:lnTo>
                        <a:pt x="1414" y="1129"/>
                      </a:lnTo>
                      <a:lnTo>
                        <a:pt x="1414" y="1130"/>
                      </a:lnTo>
                      <a:lnTo>
                        <a:pt x="1413" y="1130"/>
                      </a:lnTo>
                      <a:close/>
                      <a:moveTo>
                        <a:pt x="989" y="981"/>
                      </a:moveTo>
                      <a:lnTo>
                        <a:pt x="989" y="980"/>
                      </a:lnTo>
                      <a:lnTo>
                        <a:pt x="988" y="979"/>
                      </a:lnTo>
                      <a:lnTo>
                        <a:pt x="989" y="979"/>
                      </a:lnTo>
                      <a:lnTo>
                        <a:pt x="989" y="980"/>
                      </a:lnTo>
                      <a:lnTo>
                        <a:pt x="989" y="981"/>
                      </a:lnTo>
                      <a:close/>
                      <a:moveTo>
                        <a:pt x="1284" y="950"/>
                      </a:moveTo>
                      <a:lnTo>
                        <a:pt x="1285" y="951"/>
                      </a:lnTo>
                      <a:lnTo>
                        <a:pt x="1285" y="952"/>
                      </a:lnTo>
                      <a:lnTo>
                        <a:pt x="1284" y="952"/>
                      </a:lnTo>
                      <a:lnTo>
                        <a:pt x="1284" y="951"/>
                      </a:lnTo>
                      <a:lnTo>
                        <a:pt x="1284" y="952"/>
                      </a:lnTo>
                      <a:lnTo>
                        <a:pt x="1285" y="952"/>
                      </a:lnTo>
                      <a:lnTo>
                        <a:pt x="1284" y="951"/>
                      </a:lnTo>
                      <a:lnTo>
                        <a:pt x="1285" y="951"/>
                      </a:lnTo>
                      <a:lnTo>
                        <a:pt x="1284" y="951"/>
                      </a:lnTo>
                      <a:lnTo>
                        <a:pt x="1284" y="950"/>
                      </a:lnTo>
                      <a:lnTo>
                        <a:pt x="1284" y="951"/>
                      </a:lnTo>
                      <a:lnTo>
                        <a:pt x="1284" y="950"/>
                      </a:lnTo>
                      <a:lnTo>
                        <a:pt x="1283" y="950"/>
                      </a:lnTo>
                      <a:lnTo>
                        <a:pt x="1284" y="950"/>
                      </a:lnTo>
                      <a:close/>
                      <a:moveTo>
                        <a:pt x="1339" y="1000"/>
                      </a:moveTo>
                      <a:lnTo>
                        <a:pt x="1340" y="1001"/>
                      </a:lnTo>
                      <a:lnTo>
                        <a:pt x="1341" y="1001"/>
                      </a:lnTo>
                      <a:lnTo>
                        <a:pt x="1340" y="1001"/>
                      </a:lnTo>
                      <a:lnTo>
                        <a:pt x="1339" y="1001"/>
                      </a:lnTo>
                      <a:lnTo>
                        <a:pt x="1339" y="1000"/>
                      </a:lnTo>
                      <a:lnTo>
                        <a:pt x="1339" y="1001"/>
                      </a:lnTo>
                      <a:lnTo>
                        <a:pt x="1340" y="1001"/>
                      </a:lnTo>
                      <a:lnTo>
                        <a:pt x="1339" y="1001"/>
                      </a:lnTo>
                      <a:lnTo>
                        <a:pt x="1339" y="1000"/>
                      </a:lnTo>
                      <a:lnTo>
                        <a:pt x="1338" y="1000"/>
                      </a:lnTo>
                      <a:lnTo>
                        <a:pt x="1339" y="1000"/>
                      </a:lnTo>
                      <a:close/>
                      <a:moveTo>
                        <a:pt x="1056" y="980"/>
                      </a:moveTo>
                      <a:lnTo>
                        <a:pt x="1058" y="980"/>
                      </a:lnTo>
                      <a:lnTo>
                        <a:pt x="1058" y="981"/>
                      </a:lnTo>
                      <a:lnTo>
                        <a:pt x="1056" y="981"/>
                      </a:lnTo>
                      <a:lnTo>
                        <a:pt x="1056" y="980"/>
                      </a:lnTo>
                      <a:close/>
                      <a:moveTo>
                        <a:pt x="1097" y="977"/>
                      </a:moveTo>
                      <a:lnTo>
                        <a:pt x="1093" y="978"/>
                      </a:lnTo>
                      <a:lnTo>
                        <a:pt x="1093" y="977"/>
                      </a:lnTo>
                      <a:lnTo>
                        <a:pt x="1093" y="978"/>
                      </a:lnTo>
                      <a:lnTo>
                        <a:pt x="1096" y="977"/>
                      </a:lnTo>
                      <a:lnTo>
                        <a:pt x="1097" y="977"/>
                      </a:lnTo>
                      <a:close/>
                      <a:moveTo>
                        <a:pt x="1014" y="934"/>
                      </a:moveTo>
                      <a:lnTo>
                        <a:pt x="1014" y="935"/>
                      </a:lnTo>
                      <a:lnTo>
                        <a:pt x="1013" y="935"/>
                      </a:lnTo>
                      <a:lnTo>
                        <a:pt x="1013" y="936"/>
                      </a:lnTo>
                      <a:lnTo>
                        <a:pt x="1013" y="935"/>
                      </a:lnTo>
                      <a:lnTo>
                        <a:pt x="1013" y="934"/>
                      </a:lnTo>
                      <a:lnTo>
                        <a:pt x="1014" y="934"/>
                      </a:lnTo>
                      <a:close/>
                      <a:moveTo>
                        <a:pt x="1118" y="958"/>
                      </a:moveTo>
                      <a:lnTo>
                        <a:pt x="1119" y="960"/>
                      </a:lnTo>
                      <a:lnTo>
                        <a:pt x="1119" y="958"/>
                      </a:lnTo>
                      <a:lnTo>
                        <a:pt x="1120" y="958"/>
                      </a:lnTo>
                      <a:lnTo>
                        <a:pt x="1120" y="960"/>
                      </a:lnTo>
                      <a:lnTo>
                        <a:pt x="1120" y="961"/>
                      </a:lnTo>
                      <a:lnTo>
                        <a:pt x="1119" y="960"/>
                      </a:lnTo>
                      <a:lnTo>
                        <a:pt x="1118" y="958"/>
                      </a:lnTo>
                      <a:close/>
                      <a:moveTo>
                        <a:pt x="1297" y="968"/>
                      </a:moveTo>
                      <a:lnTo>
                        <a:pt x="1296" y="968"/>
                      </a:lnTo>
                      <a:lnTo>
                        <a:pt x="1295" y="968"/>
                      </a:lnTo>
                      <a:lnTo>
                        <a:pt x="1296" y="968"/>
                      </a:lnTo>
                      <a:lnTo>
                        <a:pt x="1297" y="968"/>
                      </a:lnTo>
                      <a:close/>
                      <a:moveTo>
                        <a:pt x="1153" y="967"/>
                      </a:moveTo>
                      <a:lnTo>
                        <a:pt x="1154" y="967"/>
                      </a:lnTo>
                      <a:lnTo>
                        <a:pt x="1154" y="968"/>
                      </a:lnTo>
                      <a:lnTo>
                        <a:pt x="1153" y="968"/>
                      </a:lnTo>
                      <a:lnTo>
                        <a:pt x="1151" y="967"/>
                      </a:lnTo>
                      <a:lnTo>
                        <a:pt x="1153" y="967"/>
                      </a:lnTo>
                      <a:close/>
                      <a:moveTo>
                        <a:pt x="1041" y="992"/>
                      </a:moveTo>
                      <a:lnTo>
                        <a:pt x="1040" y="993"/>
                      </a:lnTo>
                      <a:lnTo>
                        <a:pt x="1039" y="993"/>
                      </a:lnTo>
                      <a:lnTo>
                        <a:pt x="1038" y="993"/>
                      </a:lnTo>
                      <a:lnTo>
                        <a:pt x="1037" y="993"/>
                      </a:lnTo>
                      <a:lnTo>
                        <a:pt x="1038" y="993"/>
                      </a:lnTo>
                      <a:lnTo>
                        <a:pt x="1039" y="993"/>
                      </a:lnTo>
                      <a:lnTo>
                        <a:pt x="1039" y="992"/>
                      </a:lnTo>
                      <a:lnTo>
                        <a:pt x="1040" y="992"/>
                      </a:lnTo>
                      <a:lnTo>
                        <a:pt x="1040" y="993"/>
                      </a:lnTo>
                      <a:lnTo>
                        <a:pt x="1041" y="992"/>
                      </a:lnTo>
                      <a:lnTo>
                        <a:pt x="1042" y="992"/>
                      </a:lnTo>
                      <a:lnTo>
                        <a:pt x="1041" y="992"/>
                      </a:lnTo>
                      <a:close/>
                      <a:moveTo>
                        <a:pt x="1142" y="971"/>
                      </a:moveTo>
                      <a:lnTo>
                        <a:pt x="1142" y="973"/>
                      </a:lnTo>
                      <a:lnTo>
                        <a:pt x="1141" y="973"/>
                      </a:lnTo>
                      <a:lnTo>
                        <a:pt x="1141" y="971"/>
                      </a:lnTo>
                      <a:lnTo>
                        <a:pt x="1140" y="971"/>
                      </a:lnTo>
                      <a:lnTo>
                        <a:pt x="1141" y="971"/>
                      </a:lnTo>
                      <a:lnTo>
                        <a:pt x="1142" y="971"/>
                      </a:lnTo>
                      <a:close/>
                      <a:moveTo>
                        <a:pt x="1154" y="961"/>
                      </a:moveTo>
                      <a:lnTo>
                        <a:pt x="1154" y="962"/>
                      </a:lnTo>
                      <a:lnTo>
                        <a:pt x="1154" y="961"/>
                      </a:lnTo>
                      <a:lnTo>
                        <a:pt x="1154" y="962"/>
                      </a:lnTo>
                      <a:lnTo>
                        <a:pt x="1153" y="962"/>
                      </a:lnTo>
                      <a:lnTo>
                        <a:pt x="1154" y="962"/>
                      </a:lnTo>
                      <a:lnTo>
                        <a:pt x="1154" y="963"/>
                      </a:lnTo>
                      <a:lnTo>
                        <a:pt x="1153" y="962"/>
                      </a:lnTo>
                      <a:lnTo>
                        <a:pt x="1153" y="963"/>
                      </a:lnTo>
                      <a:lnTo>
                        <a:pt x="1153" y="962"/>
                      </a:lnTo>
                      <a:lnTo>
                        <a:pt x="1153" y="961"/>
                      </a:lnTo>
                      <a:lnTo>
                        <a:pt x="1154" y="961"/>
                      </a:lnTo>
                      <a:close/>
                      <a:moveTo>
                        <a:pt x="1041" y="939"/>
                      </a:moveTo>
                      <a:lnTo>
                        <a:pt x="1042" y="939"/>
                      </a:lnTo>
                      <a:lnTo>
                        <a:pt x="1042" y="940"/>
                      </a:lnTo>
                      <a:lnTo>
                        <a:pt x="1041" y="940"/>
                      </a:lnTo>
                      <a:lnTo>
                        <a:pt x="1041" y="939"/>
                      </a:lnTo>
                      <a:close/>
                      <a:moveTo>
                        <a:pt x="1414" y="1099"/>
                      </a:moveTo>
                      <a:lnTo>
                        <a:pt x="1414" y="1101"/>
                      </a:lnTo>
                      <a:lnTo>
                        <a:pt x="1414" y="1102"/>
                      </a:lnTo>
                      <a:lnTo>
                        <a:pt x="1414" y="1101"/>
                      </a:lnTo>
                      <a:lnTo>
                        <a:pt x="1413" y="1101"/>
                      </a:lnTo>
                      <a:lnTo>
                        <a:pt x="1413" y="1099"/>
                      </a:lnTo>
                      <a:lnTo>
                        <a:pt x="1414" y="1099"/>
                      </a:lnTo>
                      <a:lnTo>
                        <a:pt x="1413" y="1099"/>
                      </a:lnTo>
                      <a:lnTo>
                        <a:pt x="1414" y="1099"/>
                      </a:lnTo>
                      <a:close/>
                      <a:moveTo>
                        <a:pt x="1108" y="967"/>
                      </a:moveTo>
                      <a:lnTo>
                        <a:pt x="1108" y="968"/>
                      </a:lnTo>
                      <a:lnTo>
                        <a:pt x="1107" y="968"/>
                      </a:lnTo>
                      <a:lnTo>
                        <a:pt x="1107" y="967"/>
                      </a:lnTo>
                      <a:lnTo>
                        <a:pt x="1108" y="967"/>
                      </a:lnTo>
                      <a:lnTo>
                        <a:pt x="1109" y="967"/>
                      </a:lnTo>
                      <a:lnTo>
                        <a:pt x="1108" y="967"/>
                      </a:lnTo>
                      <a:close/>
                      <a:moveTo>
                        <a:pt x="1416" y="1091"/>
                      </a:moveTo>
                      <a:lnTo>
                        <a:pt x="1415" y="1091"/>
                      </a:lnTo>
                      <a:lnTo>
                        <a:pt x="1415" y="1090"/>
                      </a:lnTo>
                      <a:lnTo>
                        <a:pt x="1417" y="1090"/>
                      </a:lnTo>
                      <a:lnTo>
                        <a:pt x="1417" y="1091"/>
                      </a:lnTo>
                      <a:lnTo>
                        <a:pt x="1416" y="1091"/>
                      </a:lnTo>
                      <a:close/>
                      <a:moveTo>
                        <a:pt x="1155" y="1032"/>
                      </a:moveTo>
                      <a:lnTo>
                        <a:pt x="1153" y="1032"/>
                      </a:lnTo>
                      <a:lnTo>
                        <a:pt x="1154" y="1031"/>
                      </a:lnTo>
                      <a:lnTo>
                        <a:pt x="1155" y="1031"/>
                      </a:lnTo>
                      <a:lnTo>
                        <a:pt x="1155" y="1032"/>
                      </a:lnTo>
                      <a:close/>
                      <a:moveTo>
                        <a:pt x="1080" y="981"/>
                      </a:moveTo>
                      <a:lnTo>
                        <a:pt x="1081" y="981"/>
                      </a:lnTo>
                      <a:lnTo>
                        <a:pt x="1081" y="982"/>
                      </a:lnTo>
                      <a:lnTo>
                        <a:pt x="1082" y="982"/>
                      </a:lnTo>
                      <a:lnTo>
                        <a:pt x="1083" y="982"/>
                      </a:lnTo>
                      <a:lnTo>
                        <a:pt x="1082" y="982"/>
                      </a:lnTo>
                      <a:lnTo>
                        <a:pt x="1079" y="982"/>
                      </a:lnTo>
                      <a:lnTo>
                        <a:pt x="1079" y="981"/>
                      </a:lnTo>
                      <a:lnTo>
                        <a:pt x="1080" y="981"/>
                      </a:lnTo>
                      <a:close/>
                      <a:moveTo>
                        <a:pt x="1275" y="952"/>
                      </a:moveTo>
                      <a:lnTo>
                        <a:pt x="1274" y="952"/>
                      </a:lnTo>
                      <a:lnTo>
                        <a:pt x="1274" y="953"/>
                      </a:lnTo>
                      <a:lnTo>
                        <a:pt x="1273" y="953"/>
                      </a:lnTo>
                      <a:lnTo>
                        <a:pt x="1273" y="952"/>
                      </a:lnTo>
                      <a:lnTo>
                        <a:pt x="1273" y="951"/>
                      </a:lnTo>
                      <a:lnTo>
                        <a:pt x="1273" y="952"/>
                      </a:lnTo>
                      <a:lnTo>
                        <a:pt x="1274" y="952"/>
                      </a:lnTo>
                      <a:lnTo>
                        <a:pt x="1275" y="952"/>
                      </a:lnTo>
                      <a:lnTo>
                        <a:pt x="1274" y="951"/>
                      </a:lnTo>
                      <a:lnTo>
                        <a:pt x="1275" y="951"/>
                      </a:lnTo>
                      <a:lnTo>
                        <a:pt x="1275" y="952"/>
                      </a:lnTo>
                      <a:close/>
                      <a:moveTo>
                        <a:pt x="1198" y="1047"/>
                      </a:moveTo>
                      <a:lnTo>
                        <a:pt x="1199" y="1047"/>
                      </a:lnTo>
                      <a:lnTo>
                        <a:pt x="1199" y="1050"/>
                      </a:lnTo>
                      <a:lnTo>
                        <a:pt x="1198" y="1050"/>
                      </a:lnTo>
                      <a:lnTo>
                        <a:pt x="1198" y="1047"/>
                      </a:lnTo>
                      <a:close/>
                      <a:moveTo>
                        <a:pt x="1037" y="988"/>
                      </a:moveTo>
                      <a:lnTo>
                        <a:pt x="1037" y="989"/>
                      </a:lnTo>
                      <a:lnTo>
                        <a:pt x="1037" y="990"/>
                      </a:lnTo>
                      <a:lnTo>
                        <a:pt x="1037" y="989"/>
                      </a:lnTo>
                      <a:lnTo>
                        <a:pt x="1035" y="989"/>
                      </a:lnTo>
                      <a:lnTo>
                        <a:pt x="1035" y="990"/>
                      </a:lnTo>
                      <a:lnTo>
                        <a:pt x="1035" y="989"/>
                      </a:lnTo>
                      <a:lnTo>
                        <a:pt x="1037" y="989"/>
                      </a:lnTo>
                      <a:lnTo>
                        <a:pt x="1037" y="988"/>
                      </a:lnTo>
                      <a:lnTo>
                        <a:pt x="1035" y="988"/>
                      </a:lnTo>
                      <a:lnTo>
                        <a:pt x="1035" y="989"/>
                      </a:lnTo>
                      <a:lnTo>
                        <a:pt x="1035" y="988"/>
                      </a:lnTo>
                      <a:lnTo>
                        <a:pt x="1034" y="989"/>
                      </a:lnTo>
                      <a:lnTo>
                        <a:pt x="1034" y="988"/>
                      </a:lnTo>
                      <a:lnTo>
                        <a:pt x="1034" y="989"/>
                      </a:lnTo>
                      <a:lnTo>
                        <a:pt x="1033" y="989"/>
                      </a:lnTo>
                      <a:lnTo>
                        <a:pt x="1033" y="988"/>
                      </a:lnTo>
                      <a:lnTo>
                        <a:pt x="1033" y="989"/>
                      </a:lnTo>
                      <a:lnTo>
                        <a:pt x="1033" y="988"/>
                      </a:lnTo>
                      <a:lnTo>
                        <a:pt x="1035" y="988"/>
                      </a:lnTo>
                      <a:lnTo>
                        <a:pt x="1037" y="988"/>
                      </a:lnTo>
                      <a:close/>
                      <a:moveTo>
                        <a:pt x="1097" y="798"/>
                      </a:moveTo>
                      <a:lnTo>
                        <a:pt x="1098" y="798"/>
                      </a:lnTo>
                      <a:lnTo>
                        <a:pt x="1098" y="799"/>
                      </a:lnTo>
                      <a:lnTo>
                        <a:pt x="1098" y="800"/>
                      </a:lnTo>
                      <a:lnTo>
                        <a:pt x="1097" y="800"/>
                      </a:lnTo>
                      <a:lnTo>
                        <a:pt x="1097" y="799"/>
                      </a:lnTo>
                      <a:lnTo>
                        <a:pt x="1097" y="798"/>
                      </a:lnTo>
                      <a:lnTo>
                        <a:pt x="1096" y="798"/>
                      </a:lnTo>
                      <a:lnTo>
                        <a:pt x="1097" y="798"/>
                      </a:lnTo>
                      <a:close/>
                      <a:moveTo>
                        <a:pt x="1290" y="973"/>
                      </a:moveTo>
                      <a:lnTo>
                        <a:pt x="1291" y="973"/>
                      </a:lnTo>
                      <a:lnTo>
                        <a:pt x="1291" y="974"/>
                      </a:lnTo>
                      <a:lnTo>
                        <a:pt x="1291" y="973"/>
                      </a:lnTo>
                      <a:lnTo>
                        <a:pt x="1291" y="974"/>
                      </a:lnTo>
                      <a:lnTo>
                        <a:pt x="1290" y="974"/>
                      </a:lnTo>
                      <a:lnTo>
                        <a:pt x="1291" y="974"/>
                      </a:lnTo>
                      <a:lnTo>
                        <a:pt x="1290" y="974"/>
                      </a:lnTo>
                      <a:lnTo>
                        <a:pt x="1290" y="973"/>
                      </a:lnTo>
                      <a:lnTo>
                        <a:pt x="1289" y="973"/>
                      </a:lnTo>
                      <a:lnTo>
                        <a:pt x="1290" y="973"/>
                      </a:lnTo>
                      <a:close/>
                      <a:moveTo>
                        <a:pt x="1430" y="1123"/>
                      </a:moveTo>
                      <a:lnTo>
                        <a:pt x="1432" y="1123"/>
                      </a:lnTo>
                      <a:lnTo>
                        <a:pt x="1432" y="1124"/>
                      </a:lnTo>
                      <a:lnTo>
                        <a:pt x="1430" y="1124"/>
                      </a:lnTo>
                      <a:lnTo>
                        <a:pt x="1430" y="1123"/>
                      </a:lnTo>
                      <a:close/>
                      <a:moveTo>
                        <a:pt x="1197" y="1047"/>
                      </a:moveTo>
                      <a:lnTo>
                        <a:pt x="1198" y="1047"/>
                      </a:lnTo>
                      <a:lnTo>
                        <a:pt x="1198" y="1048"/>
                      </a:lnTo>
                      <a:lnTo>
                        <a:pt x="1196" y="1047"/>
                      </a:lnTo>
                      <a:lnTo>
                        <a:pt x="1197" y="1047"/>
                      </a:lnTo>
                      <a:lnTo>
                        <a:pt x="1197" y="1046"/>
                      </a:lnTo>
                      <a:lnTo>
                        <a:pt x="1197" y="1047"/>
                      </a:lnTo>
                      <a:close/>
                      <a:moveTo>
                        <a:pt x="1472" y="1085"/>
                      </a:moveTo>
                      <a:lnTo>
                        <a:pt x="1473" y="1085"/>
                      </a:lnTo>
                      <a:lnTo>
                        <a:pt x="1473" y="1086"/>
                      </a:lnTo>
                      <a:lnTo>
                        <a:pt x="1472" y="1086"/>
                      </a:lnTo>
                      <a:lnTo>
                        <a:pt x="1472" y="1085"/>
                      </a:lnTo>
                      <a:close/>
                      <a:moveTo>
                        <a:pt x="1334" y="1132"/>
                      </a:moveTo>
                      <a:lnTo>
                        <a:pt x="1335" y="1132"/>
                      </a:lnTo>
                      <a:lnTo>
                        <a:pt x="1334" y="1132"/>
                      </a:lnTo>
                      <a:lnTo>
                        <a:pt x="1332" y="1132"/>
                      </a:lnTo>
                      <a:lnTo>
                        <a:pt x="1332" y="1133"/>
                      </a:lnTo>
                      <a:lnTo>
                        <a:pt x="1332" y="1132"/>
                      </a:lnTo>
                      <a:lnTo>
                        <a:pt x="1331" y="1132"/>
                      </a:lnTo>
                      <a:lnTo>
                        <a:pt x="1332" y="1132"/>
                      </a:lnTo>
                      <a:lnTo>
                        <a:pt x="1332" y="1131"/>
                      </a:lnTo>
                      <a:lnTo>
                        <a:pt x="1334" y="1132"/>
                      </a:lnTo>
                      <a:close/>
                      <a:moveTo>
                        <a:pt x="1216" y="1037"/>
                      </a:moveTo>
                      <a:lnTo>
                        <a:pt x="1215" y="1038"/>
                      </a:lnTo>
                      <a:lnTo>
                        <a:pt x="1216" y="1038"/>
                      </a:lnTo>
                      <a:lnTo>
                        <a:pt x="1216" y="1039"/>
                      </a:lnTo>
                      <a:lnTo>
                        <a:pt x="1215" y="1039"/>
                      </a:lnTo>
                      <a:lnTo>
                        <a:pt x="1215" y="1038"/>
                      </a:lnTo>
                      <a:lnTo>
                        <a:pt x="1214" y="1038"/>
                      </a:lnTo>
                      <a:lnTo>
                        <a:pt x="1215" y="1037"/>
                      </a:lnTo>
                      <a:lnTo>
                        <a:pt x="1216" y="1037"/>
                      </a:lnTo>
                      <a:close/>
                      <a:moveTo>
                        <a:pt x="1415" y="1123"/>
                      </a:moveTo>
                      <a:lnTo>
                        <a:pt x="1416" y="1124"/>
                      </a:lnTo>
                      <a:lnTo>
                        <a:pt x="1416" y="1123"/>
                      </a:lnTo>
                      <a:lnTo>
                        <a:pt x="1417" y="1123"/>
                      </a:lnTo>
                      <a:lnTo>
                        <a:pt x="1416" y="1123"/>
                      </a:lnTo>
                      <a:lnTo>
                        <a:pt x="1416" y="1124"/>
                      </a:lnTo>
                      <a:lnTo>
                        <a:pt x="1415" y="1124"/>
                      </a:lnTo>
                      <a:lnTo>
                        <a:pt x="1414" y="1123"/>
                      </a:lnTo>
                      <a:lnTo>
                        <a:pt x="1412" y="1123"/>
                      </a:lnTo>
                      <a:lnTo>
                        <a:pt x="1410" y="1123"/>
                      </a:lnTo>
                      <a:lnTo>
                        <a:pt x="1410" y="1122"/>
                      </a:lnTo>
                      <a:lnTo>
                        <a:pt x="1410" y="1123"/>
                      </a:lnTo>
                      <a:lnTo>
                        <a:pt x="1412" y="1123"/>
                      </a:lnTo>
                      <a:lnTo>
                        <a:pt x="1414" y="1123"/>
                      </a:lnTo>
                      <a:lnTo>
                        <a:pt x="1415" y="1123"/>
                      </a:lnTo>
                      <a:close/>
                      <a:moveTo>
                        <a:pt x="1434" y="1034"/>
                      </a:moveTo>
                      <a:lnTo>
                        <a:pt x="1435" y="1034"/>
                      </a:lnTo>
                      <a:lnTo>
                        <a:pt x="1437" y="1034"/>
                      </a:lnTo>
                      <a:lnTo>
                        <a:pt x="1438" y="1034"/>
                      </a:lnTo>
                      <a:lnTo>
                        <a:pt x="1437" y="1034"/>
                      </a:lnTo>
                      <a:lnTo>
                        <a:pt x="1438" y="1034"/>
                      </a:lnTo>
                      <a:lnTo>
                        <a:pt x="1437" y="1035"/>
                      </a:lnTo>
                      <a:lnTo>
                        <a:pt x="1437" y="1034"/>
                      </a:lnTo>
                      <a:lnTo>
                        <a:pt x="1435" y="1034"/>
                      </a:lnTo>
                      <a:lnTo>
                        <a:pt x="1434" y="1034"/>
                      </a:lnTo>
                      <a:lnTo>
                        <a:pt x="1433" y="1034"/>
                      </a:lnTo>
                      <a:lnTo>
                        <a:pt x="1432" y="1034"/>
                      </a:lnTo>
                      <a:lnTo>
                        <a:pt x="1433" y="1034"/>
                      </a:lnTo>
                      <a:lnTo>
                        <a:pt x="1434" y="1034"/>
                      </a:lnTo>
                      <a:lnTo>
                        <a:pt x="1434" y="1033"/>
                      </a:lnTo>
                      <a:lnTo>
                        <a:pt x="1434" y="1034"/>
                      </a:lnTo>
                      <a:close/>
                      <a:moveTo>
                        <a:pt x="1198" y="924"/>
                      </a:moveTo>
                      <a:lnTo>
                        <a:pt x="1199" y="924"/>
                      </a:lnTo>
                      <a:lnTo>
                        <a:pt x="1199" y="926"/>
                      </a:lnTo>
                      <a:lnTo>
                        <a:pt x="1198" y="926"/>
                      </a:lnTo>
                      <a:lnTo>
                        <a:pt x="1198" y="924"/>
                      </a:lnTo>
                      <a:close/>
                      <a:moveTo>
                        <a:pt x="1295" y="1235"/>
                      </a:moveTo>
                      <a:lnTo>
                        <a:pt x="1296" y="1235"/>
                      </a:lnTo>
                      <a:lnTo>
                        <a:pt x="1296" y="1236"/>
                      </a:lnTo>
                      <a:lnTo>
                        <a:pt x="1295" y="1236"/>
                      </a:lnTo>
                      <a:lnTo>
                        <a:pt x="1295" y="1235"/>
                      </a:lnTo>
                      <a:close/>
                      <a:moveTo>
                        <a:pt x="1427" y="1130"/>
                      </a:moveTo>
                      <a:lnTo>
                        <a:pt x="1428" y="1131"/>
                      </a:lnTo>
                      <a:lnTo>
                        <a:pt x="1428" y="1130"/>
                      </a:lnTo>
                      <a:lnTo>
                        <a:pt x="1429" y="1130"/>
                      </a:lnTo>
                      <a:lnTo>
                        <a:pt x="1428" y="1130"/>
                      </a:lnTo>
                      <a:lnTo>
                        <a:pt x="1428" y="1131"/>
                      </a:lnTo>
                      <a:lnTo>
                        <a:pt x="1427" y="1131"/>
                      </a:lnTo>
                      <a:lnTo>
                        <a:pt x="1427" y="1130"/>
                      </a:lnTo>
                      <a:lnTo>
                        <a:pt x="1427" y="1129"/>
                      </a:lnTo>
                      <a:lnTo>
                        <a:pt x="1428" y="1129"/>
                      </a:lnTo>
                      <a:lnTo>
                        <a:pt x="1428" y="1130"/>
                      </a:lnTo>
                      <a:lnTo>
                        <a:pt x="1427" y="1130"/>
                      </a:lnTo>
                      <a:close/>
                      <a:moveTo>
                        <a:pt x="1061" y="953"/>
                      </a:moveTo>
                      <a:lnTo>
                        <a:pt x="1064" y="953"/>
                      </a:lnTo>
                      <a:lnTo>
                        <a:pt x="1064" y="955"/>
                      </a:lnTo>
                      <a:lnTo>
                        <a:pt x="1061" y="955"/>
                      </a:lnTo>
                      <a:lnTo>
                        <a:pt x="1061" y="953"/>
                      </a:lnTo>
                      <a:close/>
                      <a:moveTo>
                        <a:pt x="1276" y="945"/>
                      </a:moveTo>
                      <a:lnTo>
                        <a:pt x="1276" y="947"/>
                      </a:lnTo>
                      <a:lnTo>
                        <a:pt x="1277" y="947"/>
                      </a:lnTo>
                      <a:lnTo>
                        <a:pt x="1276" y="947"/>
                      </a:lnTo>
                      <a:lnTo>
                        <a:pt x="1274" y="947"/>
                      </a:lnTo>
                      <a:lnTo>
                        <a:pt x="1275" y="947"/>
                      </a:lnTo>
                      <a:lnTo>
                        <a:pt x="1276" y="945"/>
                      </a:lnTo>
                      <a:close/>
                      <a:moveTo>
                        <a:pt x="1120" y="976"/>
                      </a:moveTo>
                      <a:lnTo>
                        <a:pt x="1119" y="976"/>
                      </a:lnTo>
                      <a:lnTo>
                        <a:pt x="1118" y="976"/>
                      </a:lnTo>
                      <a:lnTo>
                        <a:pt x="1118" y="975"/>
                      </a:lnTo>
                      <a:lnTo>
                        <a:pt x="1119" y="975"/>
                      </a:lnTo>
                      <a:lnTo>
                        <a:pt x="1120" y="975"/>
                      </a:lnTo>
                      <a:lnTo>
                        <a:pt x="1120" y="976"/>
                      </a:lnTo>
                      <a:close/>
                      <a:moveTo>
                        <a:pt x="1060" y="973"/>
                      </a:moveTo>
                      <a:lnTo>
                        <a:pt x="1061" y="973"/>
                      </a:lnTo>
                      <a:lnTo>
                        <a:pt x="1061" y="975"/>
                      </a:lnTo>
                      <a:lnTo>
                        <a:pt x="1060" y="975"/>
                      </a:lnTo>
                      <a:lnTo>
                        <a:pt x="1060" y="973"/>
                      </a:lnTo>
                      <a:close/>
                      <a:moveTo>
                        <a:pt x="1274" y="947"/>
                      </a:moveTo>
                      <a:lnTo>
                        <a:pt x="1274" y="948"/>
                      </a:lnTo>
                      <a:lnTo>
                        <a:pt x="1273" y="948"/>
                      </a:lnTo>
                      <a:lnTo>
                        <a:pt x="1272" y="948"/>
                      </a:lnTo>
                      <a:lnTo>
                        <a:pt x="1273" y="948"/>
                      </a:lnTo>
                      <a:lnTo>
                        <a:pt x="1274" y="948"/>
                      </a:lnTo>
                      <a:lnTo>
                        <a:pt x="1274" y="947"/>
                      </a:lnTo>
                      <a:lnTo>
                        <a:pt x="1274" y="948"/>
                      </a:lnTo>
                      <a:lnTo>
                        <a:pt x="1273" y="948"/>
                      </a:lnTo>
                      <a:lnTo>
                        <a:pt x="1273" y="947"/>
                      </a:lnTo>
                      <a:lnTo>
                        <a:pt x="1273" y="948"/>
                      </a:lnTo>
                      <a:lnTo>
                        <a:pt x="1273" y="947"/>
                      </a:lnTo>
                      <a:lnTo>
                        <a:pt x="1274" y="947"/>
                      </a:lnTo>
                      <a:close/>
                      <a:moveTo>
                        <a:pt x="1205" y="1044"/>
                      </a:moveTo>
                      <a:lnTo>
                        <a:pt x="1203" y="1044"/>
                      </a:lnTo>
                      <a:lnTo>
                        <a:pt x="1203" y="1043"/>
                      </a:lnTo>
                      <a:lnTo>
                        <a:pt x="1205" y="1043"/>
                      </a:lnTo>
                      <a:lnTo>
                        <a:pt x="1205" y="1042"/>
                      </a:lnTo>
                      <a:lnTo>
                        <a:pt x="1206" y="1042"/>
                      </a:lnTo>
                      <a:lnTo>
                        <a:pt x="1205" y="1043"/>
                      </a:lnTo>
                      <a:lnTo>
                        <a:pt x="1205" y="1044"/>
                      </a:lnTo>
                      <a:close/>
                      <a:moveTo>
                        <a:pt x="990" y="973"/>
                      </a:moveTo>
                      <a:lnTo>
                        <a:pt x="989" y="973"/>
                      </a:lnTo>
                      <a:lnTo>
                        <a:pt x="989" y="974"/>
                      </a:lnTo>
                      <a:lnTo>
                        <a:pt x="990" y="974"/>
                      </a:lnTo>
                      <a:lnTo>
                        <a:pt x="989" y="975"/>
                      </a:lnTo>
                      <a:lnTo>
                        <a:pt x="989" y="974"/>
                      </a:lnTo>
                      <a:lnTo>
                        <a:pt x="989" y="973"/>
                      </a:lnTo>
                      <a:lnTo>
                        <a:pt x="990" y="973"/>
                      </a:lnTo>
                      <a:close/>
                      <a:moveTo>
                        <a:pt x="1022" y="977"/>
                      </a:moveTo>
                      <a:lnTo>
                        <a:pt x="1022" y="978"/>
                      </a:lnTo>
                      <a:lnTo>
                        <a:pt x="1021" y="978"/>
                      </a:lnTo>
                      <a:lnTo>
                        <a:pt x="1021" y="977"/>
                      </a:lnTo>
                      <a:lnTo>
                        <a:pt x="1022" y="977"/>
                      </a:lnTo>
                      <a:lnTo>
                        <a:pt x="1022" y="976"/>
                      </a:lnTo>
                      <a:lnTo>
                        <a:pt x="1024" y="976"/>
                      </a:lnTo>
                      <a:lnTo>
                        <a:pt x="1024" y="977"/>
                      </a:lnTo>
                      <a:lnTo>
                        <a:pt x="1022" y="977"/>
                      </a:lnTo>
                      <a:close/>
                      <a:moveTo>
                        <a:pt x="1133" y="974"/>
                      </a:moveTo>
                      <a:lnTo>
                        <a:pt x="1135" y="974"/>
                      </a:lnTo>
                      <a:lnTo>
                        <a:pt x="1135" y="975"/>
                      </a:lnTo>
                      <a:lnTo>
                        <a:pt x="1133" y="975"/>
                      </a:lnTo>
                      <a:lnTo>
                        <a:pt x="1133" y="974"/>
                      </a:lnTo>
                      <a:close/>
                      <a:moveTo>
                        <a:pt x="1074" y="992"/>
                      </a:moveTo>
                      <a:lnTo>
                        <a:pt x="1071" y="992"/>
                      </a:lnTo>
                      <a:lnTo>
                        <a:pt x="1074" y="992"/>
                      </a:lnTo>
                      <a:close/>
                      <a:moveTo>
                        <a:pt x="1422" y="1120"/>
                      </a:moveTo>
                      <a:lnTo>
                        <a:pt x="1424" y="1120"/>
                      </a:lnTo>
                      <a:lnTo>
                        <a:pt x="1424" y="1121"/>
                      </a:lnTo>
                      <a:lnTo>
                        <a:pt x="1422" y="1121"/>
                      </a:lnTo>
                      <a:lnTo>
                        <a:pt x="1422" y="1120"/>
                      </a:lnTo>
                      <a:close/>
                      <a:moveTo>
                        <a:pt x="1361" y="1153"/>
                      </a:moveTo>
                      <a:lnTo>
                        <a:pt x="1362" y="1153"/>
                      </a:lnTo>
                      <a:lnTo>
                        <a:pt x="1363" y="1153"/>
                      </a:lnTo>
                      <a:lnTo>
                        <a:pt x="1362" y="1153"/>
                      </a:lnTo>
                      <a:lnTo>
                        <a:pt x="1361" y="1153"/>
                      </a:lnTo>
                      <a:lnTo>
                        <a:pt x="1360" y="1153"/>
                      </a:lnTo>
                      <a:lnTo>
                        <a:pt x="1360" y="1151"/>
                      </a:lnTo>
                      <a:lnTo>
                        <a:pt x="1360" y="1150"/>
                      </a:lnTo>
                      <a:lnTo>
                        <a:pt x="1360" y="1149"/>
                      </a:lnTo>
                      <a:lnTo>
                        <a:pt x="1361" y="1150"/>
                      </a:lnTo>
                      <a:lnTo>
                        <a:pt x="1360" y="1150"/>
                      </a:lnTo>
                      <a:lnTo>
                        <a:pt x="1360" y="1151"/>
                      </a:lnTo>
                      <a:lnTo>
                        <a:pt x="1360" y="1153"/>
                      </a:lnTo>
                      <a:lnTo>
                        <a:pt x="1361" y="1153"/>
                      </a:lnTo>
                      <a:close/>
                      <a:moveTo>
                        <a:pt x="1090" y="800"/>
                      </a:moveTo>
                      <a:lnTo>
                        <a:pt x="1092" y="800"/>
                      </a:lnTo>
                      <a:lnTo>
                        <a:pt x="1092" y="801"/>
                      </a:lnTo>
                      <a:lnTo>
                        <a:pt x="1090" y="801"/>
                      </a:lnTo>
                      <a:lnTo>
                        <a:pt x="1090" y="800"/>
                      </a:lnTo>
                      <a:close/>
                      <a:moveTo>
                        <a:pt x="1340" y="1008"/>
                      </a:moveTo>
                      <a:lnTo>
                        <a:pt x="1339" y="1008"/>
                      </a:lnTo>
                      <a:lnTo>
                        <a:pt x="1339" y="1009"/>
                      </a:lnTo>
                      <a:lnTo>
                        <a:pt x="1338" y="1009"/>
                      </a:lnTo>
                      <a:lnTo>
                        <a:pt x="1338" y="1008"/>
                      </a:lnTo>
                      <a:lnTo>
                        <a:pt x="1339" y="1008"/>
                      </a:lnTo>
                      <a:lnTo>
                        <a:pt x="1340" y="1008"/>
                      </a:lnTo>
                      <a:close/>
                      <a:moveTo>
                        <a:pt x="1438" y="1145"/>
                      </a:moveTo>
                      <a:lnTo>
                        <a:pt x="1439" y="1145"/>
                      </a:lnTo>
                      <a:lnTo>
                        <a:pt x="1439" y="1146"/>
                      </a:lnTo>
                      <a:lnTo>
                        <a:pt x="1438" y="1146"/>
                      </a:lnTo>
                      <a:lnTo>
                        <a:pt x="1438" y="1145"/>
                      </a:lnTo>
                      <a:close/>
                      <a:moveTo>
                        <a:pt x="1102" y="813"/>
                      </a:moveTo>
                      <a:lnTo>
                        <a:pt x="1102" y="814"/>
                      </a:lnTo>
                      <a:lnTo>
                        <a:pt x="1103" y="814"/>
                      </a:lnTo>
                      <a:lnTo>
                        <a:pt x="1102" y="814"/>
                      </a:lnTo>
                      <a:lnTo>
                        <a:pt x="1102" y="813"/>
                      </a:lnTo>
                      <a:lnTo>
                        <a:pt x="1100" y="813"/>
                      </a:lnTo>
                      <a:lnTo>
                        <a:pt x="1102" y="813"/>
                      </a:lnTo>
                      <a:lnTo>
                        <a:pt x="1100" y="813"/>
                      </a:lnTo>
                      <a:lnTo>
                        <a:pt x="1100" y="812"/>
                      </a:lnTo>
                      <a:lnTo>
                        <a:pt x="1102" y="812"/>
                      </a:lnTo>
                      <a:lnTo>
                        <a:pt x="1102" y="813"/>
                      </a:lnTo>
                      <a:close/>
                      <a:moveTo>
                        <a:pt x="1312" y="1214"/>
                      </a:moveTo>
                      <a:lnTo>
                        <a:pt x="1311" y="1215"/>
                      </a:lnTo>
                      <a:lnTo>
                        <a:pt x="1311" y="1214"/>
                      </a:lnTo>
                      <a:lnTo>
                        <a:pt x="1312" y="1214"/>
                      </a:lnTo>
                      <a:lnTo>
                        <a:pt x="1313" y="1214"/>
                      </a:lnTo>
                      <a:lnTo>
                        <a:pt x="1313" y="1213"/>
                      </a:lnTo>
                      <a:lnTo>
                        <a:pt x="1314" y="1211"/>
                      </a:lnTo>
                      <a:lnTo>
                        <a:pt x="1315" y="1209"/>
                      </a:lnTo>
                      <a:lnTo>
                        <a:pt x="1316" y="1206"/>
                      </a:lnTo>
                      <a:lnTo>
                        <a:pt x="1316" y="1207"/>
                      </a:lnTo>
                      <a:lnTo>
                        <a:pt x="1315" y="1207"/>
                      </a:lnTo>
                      <a:lnTo>
                        <a:pt x="1314" y="1210"/>
                      </a:lnTo>
                      <a:lnTo>
                        <a:pt x="1314" y="1211"/>
                      </a:lnTo>
                      <a:lnTo>
                        <a:pt x="1314" y="1212"/>
                      </a:lnTo>
                      <a:lnTo>
                        <a:pt x="1313" y="1212"/>
                      </a:lnTo>
                      <a:lnTo>
                        <a:pt x="1313" y="1213"/>
                      </a:lnTo>
                      <a:lnTo>
                        <a:pt x="1312" y="1214"/>
                      </a:lnTo>
                      <a:close/>
                      <a:moveTo>
                        <a:pt x="1097" y="787"/>
                      </a:moveTo>
                      <a:lnTo>
                        <a:pt x="1097" y="788"/>
                      </a:lnTo>
                      <a:lnTo>
                        <a:pt x="1096" y="788"/>
                      </a:lnTo>
                      <a:lnTo>
                        <a:pt x="1096" y="787"/>
                      </a:lnTo>
                      <a:lnTo>
                        <a:pt x="1096" y="788"/>
                      </a:lnTo>
                      <a:lnTo>
                        <a:pt x="1095" y="788"/>
                      </a:lnTo>
                      <a:lnTo>
                        <a:pt x="1094" y="788"/>
                      </a:lnTo>
                      <a:lnTo>
                        <a:pt x="1095" y="788"/>
                      </a:lnTo>
                      <a:lnTo>
                        <a:pt x="1095" y="787"/>
                      </a:lnTo>
                      <a:lnTo>
                        <a:pt x="1095" y="788"/>
                      </a:lnTo>
                      <a:lnTo>
                        <a:pt x="1096" y="788"/>
                      </a:lnTo>
                      <a:lnTo>
                        <a:pt x="1096" y="787"/>
                      </a:lnTo>
                      <a:lnTo>
                        <a:pt x="1097" y="787"/>
                      </a:lnTo>
                      <a:close/>
                      <a:moveTo>
                        <a:pt x="1173" y="990"/>
                      </a:moveTo>
                      <a:lnTo>
                        <a:pt x="1174" y="990"/>
                      </a:lnTo>
                      <a:lnTo>
                        <a:pt x="1174" y="991"/>
                      </a:lnTo>
                      <a:lnTo>
                        <a:pt x="1173" y="991"/>
                      </a:lnTo>
                      <a:lnTo>
                        <a:pt x="1173" y="990"/>
                      </a:lnTo>
                      <a:close/>
                      <a:moveTo>
                        <a:pt x="1353" y="1001"/>
                      </a:moveTo>
                      <a:lnTo>
                        <a:pt x="1353" y="1002"/>
                      </a:lnTo>
                      <a:lnTo>
                        <a:pt x="1352" y="1001"/>
                      </a:lnTo>
                      <a:lnTo>
                        <a:pt x="1352" y="1002"/>
                      </a:lnTo>
                      <a:lnTo>
                        <a:pt x="1352" y="1001"/>
                      </a:lnTo>
                      <a:lnTo>
                        <a:pt x="1351" y="1001"/>
                      </a:lnTo>
                      <a:lnTo>
                        <a:pt x="1350" y="1001"/>
                      </a:lnTo>
                      <a:lnTo>
                        <a:pt x="1351" y="1001"/>
                      </a:lnTo>
                      <a:lnTo>
                        <a:pt x="1352" y="1001"/>
                      </a:lnTo>
                      <a:lnTo>
                        <a:pt x="1353" y="1001"/>
                      </a:lnTo>
                      <a:lnTo>
                        <a:pt x="1353" y="1002"/>
                      </a:lnTo>
                      <a:lnTo>
                        <a:pt x="1353" y="1001"/>
                      </a:lnTo>
                      <a:lnTo>
                        <a:pt x="1354" y="1001"/>
                      </a:lnTo>
                      <a:lnTo>
                        <a:pt x="1353" y="1001"/>
                      </a:lnTo>
                      <a:lnTo>
                        <a:pt x="1354" y="1001"/>
                      </a:lnTo>
                      <a:lnTo>
                        <a:pt x="1353" y="1001"/>
                      </a:lnTo>
                      <a:close/>
                      <a:moveTo>
                        <a:pt x="1362" y="1154"/>
                      </a:moveTo>
                      <a:lnTo>
                        <a:pt x="1361" y="1154"/>
                      </a:lnTo>
                      <a:lnTo>
                        <a:pt x="1360" y="1154"/>
                      </a:lnTo>
                      <a:lnTo>
                        <a:pt x="1362" y="1154"/>
                      </a:lnTo>
                      <a:lnTo>
                        <a:pt x="1362" y="1153"/>
                      </a:lnTo>
                      <a:lnTo>
                        <a:pt x="1362" y="1154"/>
                      </a:lnTo>
                      <a:close/>
                      <a:moveTo>
                        <a:pt x="993" y="967"/>
                      </a:moveTo>
                      <a:lnTo>
                        <a:pt x="994" y="967"/>
                      </a:lnTo>
                      <a:lnTo>
                        <a:pt x="994" y="969"/>
                      </a:lnTo>
                      <a:lnTo>
                        <a:pt x="993" y="969"/>
                      </a:lnTo>
                      <a:lnTo>
                        <a:pt x="993" y="967"/>
                      </a:lnTo>
                      <a:close/>
                      <a:moveTo>
                        <a:pt x="1108" y="825"/>
                      </a:moveTo>
                      <a:lnTo>
                        <a:pt x="1108" y="826"/>
                      </a:lnTo>
                      <a:lnTo>
                        <a:pt x="1108" y="827"/>
                      </a:lnTo>
                      <a:lnTo>
                        <a:pt x="1108" y="828"/>
                      </a:lnTo>
                      <a:lnTo>
                        <a:pt x="1108" y="827"/>
                      </a:lnTo>
                      <a:lnTo>
                        <a:pt x="1108" y="826"/>
                      </a:lnTo>
                      <a:lnTo>
                        <a:pt x="1108" y="825"/>
                      </a:lnTo>
                      <a:lnTo>
                        <a:pt x="1107" y="825"/>
                      </a:lnTo>
                      <a:lnTo>
                        <a:pt x="1108" y="825"/>
                      </a:lnTo>
                      <a:close/>
                      <a:moveTo>
                        <a:pt x="1090" y="982"/>
                      </a:moveTo>
                      <a:lnTo>
                        <a:pt x="1092" y="982"/>
                      </a:lnTo>
                      <a:lnTo>
                        <a:pt x="1092" y="983"/>
                      </a:lnTo>
                      <a:lnTo>
                        <a:pt x="1090" y="983"/>
                      </a:lnTo>
                      <a:lnTo>
                        <a:pt x="1090" y="982"/>
                      </a:lnTo>
                      <a:close/>
                      <a:moveTo>
                        <a:pt x="1128" y="821"/>
                      </a:moveTo>
                      <a:lnTo>
                        <a:pt x="1128" y="822"/>
                      </a:lnTo>
                      <a:lnTo>
                        <a:pt x="1126" y="822"/>
                      </a:lnTo>
                      <a:lnTo>
                        <a:pt x="1128" y="822"/>
                      </a:lnTo>
                      <a:lnTo>
                        <a:pt x="1126" y="822"/>
                      </a:lnTo>
                      <a:lnTo>
                        <a:pt x="1126" y="821"/>
                      </a:lnTo>
                      <a:lnTo>
                        <a:pt x="1128" y="821"/>
                      </a:lnTo>
                      <a:lnTo>
                        <a:pt x="1128" y="820"/>
                      </a:lnTo>
                      <a:lnTo>
                        <a:pt x="1128" y="821"/>
                      </a:lnTo>
                      <a:close/>
                      <a:moveTo>
                        <a:pt x="1081" y="986"/>
                      </a:moveTo>
                      <a:lnTo>
                        <a:pt x="1083" y="986"/>
                      </a:lnTo>
                      <a:lnTo>
                        <a:pt x="1083" y="988"/>
                      </a:lnTo>
                      <a:lnTo>
                        <a:pt x="1081" y="988"/>
                      </a:lnTo>
                      <a:lnTo>
                        <a:pt x="1081" y="986"/>
                      </a:lnTo>
                      <a:close/>
                      <a:moveTo>
                        <a:pt x="1144" y="1011"/>
                      </a:moveTo>
                      <a:lnTo>
                        <a:pt x="1144" y="1012"/>
                      </a:lnTo>
                      <a:lnTo>
                        <a:pt x="1143" y="1012"/>
                      </a:lnTo>
                      <a:lnTo>
                        <a:pt x="1143" y="1011"/>
                      </a:lnTo>
                      <a:lnTo>
                        <a:pt x="1143" y="1012"/>
                      </a:lnTo>
                      <a:lnTo>
                        <a:pt x="1143" y="1011"/>
                      </a:lnTo>
                      <a:lnTo>
                        <a:pt x="1144" y="1011"/>
                      </a:lnTo>
                      <a:close/>
                      <a:moveTo>
                        <a:pt x="1339" y="931"/>
                      </a:moveTo>
                      <a:lnTo>
                        <a:pt x="1340" y="931"/>
                      </a:lnTo>
                      <a:lnTo>
                        <a:pt x="1340" y="932"/>
                      </a:lnTo>
                      <a:lnTo>
                        <a:pt x="1339" y="932"/>
                      </a:lnTo>
                      <a:lnTo>
                        <a:pt x="1339" y="931"/>
                      </a:lnTo>
                      <a:close/>
                      <a:moveTo>
                        <a:pt x="1091" y="788"/>
                      </a:moveTo>
                      <a:lnTo>
                        <a:pt x="1091" y="789"/>
                      </a:lnTo>
                      <a:lnTo>
                        <a:pt x="1090" y="789"/>
                      </a:lnTo>
                      <a:lnTo>
                        <a:pt x="1090" y="788"/>
                      </a:lnTo>
                      <a:lnTo>
                        <a:pt x="1090" y="789"/>
                      </a:lnTo>
                      <a:lnTo>
                        <a:pt x="1090" y="788"/>
                      </a:lnTo>
                      <a:lnTo>
                        <a:pt x="1091" y="788"/>
                      </a:lnTo>
                      <a:lnTo>
                        <a:pt x="1092" y="788"/>
                      </a:lnTo>
                      <a:lnTo>
                        <a:pt x="1091" y="788"/>
                      </a:lnTo>
                      <a:close/>
                      <a:moveTo>
                        <a:pt x="1429" y="1091"/>
                      </a:moveTo>
                      <a:lnTo>
                        <a:pt x="1429" y="1090"/>
                      </a:lnTo>
                      <a:lnTo>
                        <a:pt x="1430" y="1090"/>
                      </a:lnTo>
                      <a:lnTo>
                        <a:pt x="1429" y="1091"/>
                      </a:lnTo>
                      <a:close/>
                      <a:moveTo>
                        <a:pt x="1422" y="1110"/>
                      </a:moveTo>
                      <a:lnTo>
                        <a:pt x="1424" y="1110"/>
                      </a:lnTo>
                      <a:lnTo>
                        <a:pt x="1424" y="1111"/>
                      </a:lnTo>
                      <a:lnTo>
                        <a:pt x="1422" y="1111"/>
                      </a:lnTo>
                      <a:lnTo>
                        <a:pt x="1422" y="1110"/>
                      </a:lnTo>
                      <a:close/>
                      <a:moveTo>
                        <a:pt x="1047" y="935"/>
                      </a:moveTo>
                      <a:lnTo>
                        <a:pt x="1046" y="939"/>
                      </a:lnTo>
                      <a:lnTo>
                        <a:pt x="1046" y="938"/>
                      </a:lnTo>
                      <a:lnTo>
                        <a:pt x="1046" y="936"/>
                      </a:lnTo>
                      <a:lnTo>
                        <a:pt x="1045" y="936"/>
                      </a:lnTo>
                      <a:lnTo>
                        <a:pt x="1045" y="935"/>
                      </a:lnTo>
                      <a:lnTo>
                        <a:pt x="1046" y="936"/>
                      </a:lnTo>
                      <a:lnTo>
                        <a:pt x="1046" y="938"/>
                      </a:lnTo>
                      <a:lnTo>
                        <a:pt x="1046" y="939"/>
                      </a:lnTo>
                      <a:lnTo>
                        <a:pt x="1047" y="936"/>
                      </a:lnTo>
                      <a:lnTo>
                        <a:pt x="1047" y="935"/>
                      </a:lnTo>
                      <a:close/>
                      <a:moveTo>
                        <a:pt x="1073" y="986"/>
                      </a:moveTo>
                      <a:lnTo>
                        <a:pt x="1074" y="986"/>
                      </a:lnTo>
                      <a:lnTo>
                        <a:pt x="1074" y="987"/>
                      </a:lnTo>
                      <a:lnTo>
                        <a:pt x="1073" y="987"/>
                      </a:lnTo>
                      <a:lnTo>
                        <a:pt x="1073" y="986"/>
                      </a:lnTo>
                      <a:close/>
                      <a:moveTo>
                        <a:pt x="1072" y="991"/>
                      </a:moveTo>
                      <a:lnTo>
                        <a:pt x="1073" y="991"/>
                      </a:lnTo>
                      <a:lnTo>
                        <a:pt x="1076" y="991"/>
                      </a:lnTo>
                      <a:lnTo>
                        <a:pt x="1074" y="992"/>
                      </a:lnTo>
                      <a:lnTo>
                        <a:pt x="1072" y="992"/>
                      </a:lnTo>
                      <a:lnTo>
                        <a:pt x="1072" y="991"/>
                      </a:lnTo>
                      <a:close/>
                      <a:moveTo>
                        <a:pt x="1100" y="983"/>
                      </a:moveTo>
                      <a:lnTo>
                        <a:pt x="1099" y="983"/>
                      </a:lnTo>
                      <a:lnTo>
                        <a:pt x="1099" y="984"/>
                      </a:lnTo>
                      <a:lnTo>
                        <a:pt x="1099" y="983"/>
                      </a:lnTo>
                      <a:lnTo>
                        <a:pt x="1098" y="983"/>
                      </a:lnTo>
                      <a:lnTo>
                        <a:pt x="1099" y="982"/>
                      </a:lnTo>
                      <a:lnTo>
                        <a:pt x="1100" y="982"/>
                      </a:lnTo>
                      <a:lnTo>
                        <a:pt x="1099" y="982"/>
                      </a:lnTo>
                      <a:lnTo>
                        <a:pt x="1100" y="983"/>
                      </a:lnTo>
                      <a:close/>
                      <a:moveTo>
                        <a:pt x="1412" y="1114"/>
                      </a:moveTo>
                      <a:lnTo>
                        <a:pt x="1414" y="1114"/>
                      </a:lnTo>
                      <a:lnTo>
                        <a:pt x="1414" y="1115"/>
                      </a:lnTo>
                      <a:lnTo>
                        <a:pt x="1412" y="1115"/>
                      </a:lnTo>
                      <a:lnTo>
                        <a:pt x="1412" y="1114"/>
                      </a:lnTo>
                      <a:close/>
                      <a:moveTo>
                        <a:pt x="1267" y="953"/>
                      </a:moveTo>
                      <a:lnTo>
                        <a:pt x="1268" y="953"/>
                      </a:lnTo>
                      <a:lnTo>
                        <a:pt x="1267" y="953"/>
                      </a:lnTo>
                      <a:lnTo>
                        <a:pt x="1267" y="951"/>
                      </a:lnTo>
                      <a:lnTo>
                        <a:pt x="1268" y="950"/>
                      </a:lnTo>
                      <a:lnTo>
                        <a:pt x="1270" y="950"/>
                      </a:lnTo>
                      <a:lnTo>
                        <a:pt x="1268" y="950"/>
                      </a:lnTo>
                      <a:lnTo>
                        <a:pt x="1268" y="951"/>
                      </a:lnTo>
                      <a:lnTo>
                        <a:pt x="1267" y="952"/>
                      </a:lnTo>
                      <a:lnTo>
                        <a:pt x="1267" y="953"/>
                      </a:lnTo>
                      <a:close/>
                      <a:moveTo>
                        <a:pt x="1184" y="1033"/>
                      </a:moveTo>
                      <a:lnTo>
                        <a:pt x="1185" y="1033"/>
                      </a:lnTo>
                      <a:lnTo>
                        <a:pt x="1186" y="1033"/>
                      </a:lnTo>
                      <a:lnTo>
                        <a:pt x="1186" y="1034"/>
                      </a:lnTo>
                      <a:lnTo>
                        <a:pt x="1185" y="1034"/>
                      </a:lnTo>
                      <a:lnTo>
                        <a:pt x="1184" y="1034"/>
                      </a:lnTo>
                      <a:lnTo>
                        <a:pt x="1183" y="1034"/>
                      </a:lnTo>
                      <a:lnTo>
                        <a:pt x="1184" y="1033"/>
                      </a:lnTo>
                      <a:close/>
                      <a:moveTo>
                        <a:pt x="1050" y="982"/>
                      </a:moveTo>
                      <a:lnTo>
                        <a:pt x="1051" y="982"/>
                      </a:lnTo>
                      <a:lnTo>
                        <a:pt x="1051" y="984"/>
                      </a:lnTo>
                      <a:lnTo>
                        <a:pt x="1050" y="984"/>
                      </a:lnTo>
                      <a:lnTo>
                        <a:pt x="1050" y="982"/>
                      </a:lnTo>
                      <a:close/>
                      <a:moveTo>
                        <a:pt x="1289" y="945"/>
                      </a:moveTo>
                      <a:lnTo>
                        <a:pt x="1290" y="945"/>
                      </a:lnTo>
                      <a:lnTo>
                        <a:pt x="1290" y="947"/>
                      </a:lnTo>
                      <a:lnTo>
                        <a:pt x="1289" y="947"/>
                      </a:lnTo>
                      <a:lnTo>
                        <a:pt x="1289" y="945"/>
                      </a:lnTo>
                      <a:close/>
                      <a:moveTo>
                        <a:pt x="1209" y="1038"/>
                      </a:moveTo>
                      <a:lnTo>
                        <a:pt x="1208" y="1039"/>
                      </a:lnTo>
                      <a:lnTo>
                        <a:pt x="1208" y="1038"/>
                      </a:lnTo>
                      <a:lnTo>
                        <a:pt x="1207" y="1038"/>
                      </a:lnTo>
                      <a:lnTo>
                        <a:pt x="1207" y="1039"/>
                      </a:lnTo>
                      <a:lnTo>
                        <a:pt x="1207" y="1038"/>
                      </a:lnTo>
                      <a:lnTo>
                        <a:pt x="1208" y="1038"/>
                      </a:lnTo>
                      <a:lnTo>
                        <a:pt x="1208" y="1037"/>
                      </a:lnTo>
                      <a:lnTo>
                        <a:pt x="1209" y="1037"/>
                      </a:lnTo>
                      <a:lnTo>
                        <a:pt x="1209" y="1038"/>
                      </a:lnTo>
                      <a:close/>
                      <a:moveTo>
                        <a:pt x="1435" y="1026"/>
                      </a:moveTo>
                      <a:lnTo>
                        <a:pt x="1434" y="1027"/>
                      </a:lnTo>
                      <a:lnTo>
                        <a:pt x="1433" y="1027"/>
                      </a:lnTo>
                      <a:lnTo>
                        <a:pt x="1432" y="1029"/>
                      </a:lnTo>
                      <a:lnTo>
                        <a:pt x="1431" y="1029"/>
                      </a:lnTo>
                      <a:lnTo>
                        <a:pt x="1432" y="1027"/>
                      </a:lnTo>
                      <a:lnTo>
                        <a:pt x="1433" y="1027"/>
                      </a:lnTo>
                      <a:lnTo>
                        <a:pt x="1434" y="1027"/>
                      </a:lnTo>
                      <a:lnTo>
                        <a:pt x="1434" y="1026"/>
                      </a:lnTo>
                      <a:lnTo>
                        <a:pt x="1434" y="1027"/>
                      </a:lnTo>
                      <a:lnTo>
                        <a:pt x="1435" y="1026"/>
                      </a:lnTo>
                      <a:close/>
                      <a:moveTo>
                        <a:pt x="1070" y="990"/>
                      </a:moveTo>
                      <a:lnTo>
                        <a:pt x="1072" y="990"/>
                      </a:lnTo>
                      <a:lnTo>
                        <a:pt x="1072" y="991"/>
                      </a:lnTo>
                      <a:lnTo>
                        <a:pt x="1070" y="991"/>
                      </a:lnTo>
                      <a:lnTo>
                        <a:pt x="1070" y="990"/>
                      </a:lnTo>
                      <a:close/>
                      <a:moveTo>
                        <a:pt x="1433" y="1217"/>
                      </a:moveTo>
                      <a:lnTo>
                        <a:pt x="1434" y="1218"/>
                      </a:lnTo>
                      <a:lnTo>
                        <a:pt x="1435" y="1218"/>
                      </a:lnTo>
                      <a:lnTo>
                        <a:pt x="1435" y="1219"/>
                      </a:lnTo>
                      <a:lnTo>
                        <a:pt x="1434" y="1218"/>
                      </a:lnTo>
                      <a:lnTo>
                        <a:pt x="1434" y="1219"/>
                      </a:lnTo>
                      <a:lnTo>
                        <a:pt x="1435" y="1219"/>
                      </a:lnTo>
                      <a:lnTo>
                        <a:pt x="1435" y="1220"/>
                      </a:lnTo>
                      <a:lnTo>
                        <a:pt x="1434" y="1219"/>
                      </a:lnTo>
                      <a:lnTo>
                        <a:pt x="1434" y="1218"/>
                      </a:lnTo>
                      <a:lnTo>
                        <a:pt x="1433" y="1218"/>
                      </a:lnTo>
                      <a:lnTo>
                        <a:pt x="1433" y="1217"/>
                      </a:lnTo>
                      <a:close/>
                      <a:moveTo>
                        <a:pt x="1085" y="993"/>
                      </a:moveTo>
                      <a:lnTo>
                        <a:pt x="1079" y="992"/>
                      </a:lnTo>
                      <a:lnTo>
                        <a:pt x="1080" y="992"/>
                      </a:lnTo>
                      <a:lnTo>
                        <a:pt x="1085" y="993"/>
                      </a:lnTo>
                      <a:close/>
                      <a:moveTo>
                        <a:pt x="1199" y="921"/>
                      </a:moveTo>
                      <a:lnTo>
                        <a:pt x="1200" y="921"/>
                      </a:lnTo>
                      <a:lnTo>
                        <a:pt x="1200" y="923"/>
                      </a:lnTo>
                      <a:lnTo>
                        <a:pt x="1199" y="923"/>
                      </a:lnTo>
                      <a:lnTo>
                        <a:pt x="1199" y="921"/>
                      </a:lnTo>
                      <a:close/>
                      <a:moveTo>
                        <a:pt x="1418" y="1099"/>
                      </a:moveTo>
                      <a:lnTo>
                        <a:pt x="1417" y="1099"/>
                      </a:lnTo>
                      <a:lnTo>
                        <a:pt x="1416" y="1101"/>
                      </a:lnTo>
                      <a:lnTo>
                        <a:pt x="1416" y="1099"/>
                      </a:lnTo>
                      <a:lnTo>
                        <a:pt x="1417" y="1099"/>
                      </a:lnTo>
                      <a:lnTo>
                        <a:pt x="1418" y="1099"/>
                      </a:lnTo>
                      <a:close/>
                      <a:moveTo>
                        <a:pt x="1047" y="923"/>
                      </a:moveTo>
                      <a:lnTo>
                        <a:pt x="1048" y="923"/>
                      </a:lnTo>
                      <a:lnTo>
                        <a:pt x="1048" y="924"/>
                      </a:lnTo>
                      <a:lnTo>
                        <a:pt x="1047" y="924"/>
                      </a:lnTo>
                      <a:lnTo>
                        <a:pt x="1047" y="923"/>
                      </a:lnTo>
                      <a:close/>
                      <a:moveTo>
                        <a:pt x="1318" y="1106"/>
                      </a:moveTo>
                      <a:lnTo>
                        <a:pt x="1319" y="1107"/>
                      </a:lnTo>
                      <a:lnTo>
                        <a:pt x="1318" y="1106"/>
                      </a:lnTo>
                      <a:lnTo>
                        <a:pt x="1316" y="1108"/>
                      </a:lnTo>
                      <a:lnTo>
                        <a:pt x="1317" y="1108"/>
                      </a:lnTo>
                      <a:lnTo>
                        <a:pt x="1317" y="1109"/>
                      </a:lnTo>
                      <a:lnTo>
                        <a:pt x="1316" y="1109"/>
                      </a:lnTo>
                      <a:lnTo>
                        <a:pt x="1317" y="1109"/>
                      </a:lnTo>
                      <a:lnTo>
                        <a:pt x="1316" y="1109"/>
                      </a:lnTo>
                      <a:lnTo>
                        <a:pt x="1316" y="1108"/>
                      </a:lnTo>
                      <a:lnTo>
                        <a:pt x="1318" y="1106"/>
                      </a:lnTo>
                      <a:close/>
                      <a:moveTo>
                        <a:pt x="1410" y="1133"/>
                      </a:moveTo>
                      <a:lnTo>
                        <a:pt x="1410" y="1134"/>
                      </a:lnTo>
                      <a:lnTo>
                        <a:pt x="1410" y="1133"/>
                      </a:lnTo>
                      <a:lnTo>
                        <a:pt x="1409" y="1133"/>
                      </a:lnTo>
                      <a:lnTo>
                        <a:pt x="1408" y="1133"/>
                      </a:lnTo>
                      <a:lnTo>
                        <a:pt x="1408" y="1134"/>
                      </a:lnTo>
                      <a:lnTo>
                        <a:pt x="1407" y="1134"/>
                      </a:lnTo>
                      <a:lnTo>
                        <a:pt x="1409" y="1133"/>
                      </a:lnTo>
                      <a:lnTo>
                        <a:pt x="1410" y="1133"/>
                      </a:lnTo>
                      <a:close/>
                      <a:moveTo>
                        <a:pt x="1202" y="930"/>
                      </a:moveTo>
                      <a:lnTo>
                        <a:pt x="1203" y="930"/>
                      </a:lnTo>
                      <a:lnTo>
                        <a:pt x="1203" y="931"/>
                      </a:lnTo>
                      <a:lnTo>
                        <a:pt x="1202" y="931"/>
                      </a:lnTo>
                      <a:lnTo>
                        <a:pt x="1202" y="930"/>
                      </a:lnTo>
                      <a:close/>
                      <a:moveTo>
                        <a:pt x="1326" y="1020"/>
                      </a:moveTo>
                      <a:lnTo>
                        <a:pt x="1328" y="1020"/>
                      </a:lnTo>
                      <a:lnTo>
                        <a:pt x="1328" y="1022"/>
                      </a:lnTo>
                      <a:lnTo>
                        <a:pt x="1326" y="1022"/>
                      </a:lnTo>
                      <a:lnTo>
                        <a:pt x="1326" y="1020"/>
                      </a:lnTo>
                      <a:close/>
                      <a:moveTo>
                        <a:pt x="1364" y="1009"/>
                      </a:moveTo>
                      <a:lnTo>
                        <a:pt x="1366" y="1009"/>
                      </a:lnTo>
                      <a:lnTo>
                        <a:pt x="1366" y="1011"/>
                      </a:lnTo>
                      <a:lnTo>
                        <a:pt x="1364" y="1011"/>
                      </a:lnTo>
                      <a:lnTo>
                        <a:pt x="1364" y="1009"/>
                      </a:lnTo>
                      <a:close/>
                      <a:moveTo>
                        <a:pt x="1044" y="936"/>
                      </a:moveTo>
                      <a:lnTo>
                        <a:pt x="1045" y="936"/>
                      </a:lnTo>
                      <a:lnTo>
                        <a:pt x="1045" y="938"/>
                      </a:lnTo>
                      <a:lnTo>
                        <a:pt x="1044" y="938"/>
                      </a:lnTo>
                      <a:lnTo>
                        <a:pt x="1044" y="936"/>
                      </a:lnTo>
                      <a:close/>
                      <a:moveTo>
                        <a:pt x="1357" y="1009"/>
                      </a:moveTo>
                      <a:lnTo>
                        <a:pt x="1358" y="1009"/>
                      </a:lnTo>
                      <a:lnTo>
                        <a:pt x="1358" y="1012"/>
                      </a:lnTo>
                      <a:lnTo>
                        <a:pt x="1357" y="1012"/>
                      </a:lnTo>
                      <a:lnTo>
                        <a:pt x="1357" y="1009"/>
                      </a:lnTo>
                      <a:close/>
                      <a:moveTo>
                        <a:pt x="1046" y="931"/>
                      </a:moveTo>
                      <a:lnTo>
                        <a:pt x="1048" y="931"/>
                      </a:lnTo>
                      <a:lnTo>
                        <a:pt x="1048" y="932"/>
                      </a:lnTo>
                      <a:lnTo>
                        <a:pt x="1046" y="932"/>
                      </a:lnTo>
                      <a:lnTo>
                        <a:pt x="1046" y="931"/>
                      </a:lnTo>
                      <a:close/>
                      <a:moveTo>
                        <a:pt x="1407" y="1122"/>
                      </a:moveTo>
                      <a:lnTo>
                        <a:pt x="1408" y="1122"/>
                      </a:lnTo>
                      <a:lnTo>
                        <a:pt x="1409" y="1122"/>
                      </a:lnTo>
                      <a:lnTo>
                        <a:pt x="1410" y="1120"/>
                      </a:lnTo>
                      <a:lnTo>
                        <a:pt x="1409" y="1122"/>
                      </a:lnTo>
                      <a:lnTo>
                        <a:pt x="1407" y="1122"/>
                      </a:lnTo>
                      <a:lnTo>
                        <a:pt x="1406" y="1122"/>
                      </a:lnTo>
                      <a:lnTo>
                        <a:pt x="1406" y="1121"/>
                      </a:lnTo>
                      <a:lnTo>
                        <a:pt x="1406" y="1120"/>
                      </a:lnTo>
                      <a:lnTo>
                        <a:pt x="1406" y="1121"/>
                      </a:lnTo>
                      <a:lnTo>
                        <a:pt x="1406" y="1122"/>
                      </a:lnTo>
                      <a:lnTo>
                        <a:pt x="1407" y="1122"/>
                      </a:lnTo>
                      <a:close/>
                      <a:moveTo>
                        <a:pt x="1194" y="835"/>
                      </a:moveTo>
                      <a:lnTo>
                        <a:pt x="1195" y="835"/>
                      </a:lnTo>
                      <a:lnTo>
                        <a:pt x="1195" y="837"/>
                      </a:lnTo>
                      <a:lnTo>
                        <a:pt x="1194" y="837"/>
                      </a:lnTo>
                      <a:lnTo>
                        <a:pt x="1194" y="835"/>
                      </a:lnTo>
                      <a:close/>
                      <a:moveTo>
                        <a:pt x="1040" y="990"/>
                      </a:moveTo>
                      <a:lnTo>
                        <a:pt x="1042" y="990"/>
                      </a:lnTo>
                      <a:lnTo>
                        <a:pt x="1042" y="991"/>
                      </a:lnTo>
                      <a:lnTo>
                        <a:pt x="1040" y="991"/>
                      </a:lnTo>
                      <a:lnTo>
                        <a:pt x="1040" y="990"/>
                      </a:lnTo>
                      <a:close/>
                      <a:moveTo>
                        <a:pt x="1092" y="967"/>
                      </a:moveTo>
                      <a:lnTo>
                        <a:pt x="1093" y="967"/>
                      </a:lnTo>
                      <a:lnTo>
                        <a:pt x="1093" y="969"/>
                      </a:lnTo>
                      <a:lnTo>
                        <a:pt x="1092" y="969"/>
                      </a:lnTo>
                      <a:lnTo>
                        <a:pt x="1092" y="967"/>
                      </a:lnTo>
                      <a:close/>
                      <a:moveTo>
                        <a:pt x="1044" y="929"/>
                      </a:moveTo>
                      <a:lnTo>
                        <a:pt x="1046" y="929"/>
                      </a:lnTo>
                      <a:lnTo>
                        <a:pt x="1046" y="930"/>
                      </a:lnTo>
                      <a:lnTo>
                        <a:pt x="1044" y="930"/>
                      </a:lnTo>
                      <a:lnTo>
                        <a:pt x="1044" y="929"/>
                      </a:lnTo>
                      <a:close/>
                      <a:moveTo>
                        <a:pt x="1058" y="938"/>
                      </a:moveTo>
                      <a:lnTo>
                        <a:pt x="1059" y="940"/>
                      </a:lnTo>
                      <a:lnTo>
                        <a:pt x="1060" y="940"/>
                      </a:lnTo>
                      <a:lnTo>
                        <a:pt x="1060" y="941"/>
                      </a:lnTo>
                      <a:lnTo>
                        <a:pt x="1059" y="941"/>
                      </a:lnTo>
                      <a:lnTo>
                        <a:pt x="1059" y="940"/>
                      </a:lnTo>
                      <a:lnTo>
                        <a:pt x="1059" y="939"/>
                      </a:lnTo>
                      <a:lnTo>
                        <a:pt x="1058" y="939"/>
                      </a:lnTo>
                      <a:lnTo>
                        <a:pt x="1058" y="938"/>
                      </a:lnTo>
                      <a:close/>
                      <a:moveTo>
                        <a:pt x="1430" y="1142"/>
                      </a:moveTo>
                      <a:lnTo>
                        <a:pt x="1430" y="1143"/>
                      </a:lnTo>
                      <a:lnTo>
                        <a:pt x="1431" y="1143"/>
                      </a:lnTo>
                      <a:lnTo>
                        <a:pt x="1431" y="1144"/>
                      </a:lnTo>
                      <a:lnTo>
                        <a:pt x="1431" y="1143"/>
                      </a:lnTo>
                      <a:lnTo>
                        <a:pt x="1430" y="1143"/>
                      </a:lnTo>
                      <a:lnTo>
                        <a:pt x="1430" y="1142"/>
                      </a:lnTo>
                      <a:close/>
                      <a:moveTo>
                        <a:pt x="1441" y="1076"/>
                      </a:moveTo>
                      <a:lnTo>
                        <a:pt x="1442" y="1076"/>
                      </a:lnTo>
                      <a:lnTo>
                        <a:pt x="1442" y="1077"/>
                      </a:lnTo>
                      <a:lnTo>
                        <a:pt x="1441" y="1077"/>
                      </a:lnTo>
                      <a:lnTo>
                        <a:pt x="1441" y="1076"/>
                      </a:lnTo>
                      <a:close/>
                      <a:moveTo>
                        <a:pt x="1071" y="981"/>
                      </a:moveTo>
                      <a:lnTo>
                        <a:pt x="1072" y="981"/>
                      </a:lnTo>
                      <a:lnTo>
                        <a:pt x="1074" y="981"/>
                      </a:lnTo>
                      <a:lnTo>
                        <a:pt x="1073" y="982"/>
                      </a:lnTo>
                      <a:lnTo>
                        <a:pt x="1073" y="981"/>
                      </a:lnTo>
                      <a:lnTo>
                        <a:pt x="1072" y="981"/>
                      </a:lnTo>
                      <a:lnTo>
                        <a:pt x="1071" y="981"/>
                      </a:lnTo>
                      <a:close/>
                      <a:moveTo>
                        <a:pt x="1046" y="939"/>
                      </a:moveTo>
                      <a:lnTo>
                        <a:pt x="1046" y="941"/>
                      </a:lnTo>
                      <a:lnTo>
                        <a:pt x="1046" y="939"/>
                      </a:lnTo>
                      <a:lnTo>
                        <a:pt x="1045" y="939"/>
                      </a:lnTo>
                      <a:lnTo>
                        <a:pt x="1044" y="939"/>
                      </a:lnTo>
                      <a:lnTo>
                        <a:pt x="1044" y="937"/>
                      </a:lnTo>
                      <a:lnTo>
                        <a:pt x="1043" y="936"/>
                      </a:lnTo>
                      <a:lnTo>
                        <a:pt x="1044" y="936"/>
                      </a:lnTo>
                      <a:lnTo>
                        <a:pt x="1044" y="935"/>
                      </a:lnTo>
                      <a:lnTo>
                        <a:pt x="1045" y="935"/>
                      </a:lnTo>
                      <a:lnTo>
                        <a:pt x="1045" y="936"/>
                      </a:lnTo>
                      <a:lnTo>
                        <a:pt x="1044" y="936"/>
                      </a:lnTo>
                      <a:lnTo>
                        <a:pt x="1044" y="939"/>
                      </a:lnTo>
                      <a:lnTo>
                        <a:pt x="1045" y="939"/>
                      </a:lnTo>
                      <a:lnTo>
                        <a:pt x="1046" y="939"/>
                      </a:lnTo>
                      <a:close/>
                      <a:moveTo>
                        <a:pt x="1432" y="1141"/>
                      </a:moveTo>
                      <a:lnTo>
                        <a:pt x="1433" y="1141"/>
                      </a:lnTo>
                      <a:lnTo>
                        <a:pt x="1433" y="1142"/>
                      </a:lnTo>
                      <a:lnTo>
                        <a:pt x="1432" y="1142"/>
                      </a:lnTo>
                      <a:lnTo>
                        <a:pt x="1432" y="1141"/>
                      </a:lnTo>
                      <a:close/>
                      <a:moveTo>
                        <a:pt x="1072" y="990"/>
                      </a:moveTo>
                      <a:lnTo>
                        <a:pt x="1071" y="990"/>
                      </a:lnTo>
                      <a:lnTo>
                        <a:pt x="1071" y="989"/>
                      </a:lnTo>
                      <a:lnTo>
                        <a:pt x="1072" y="988"/>
                      </a:lnTo>
                      <a:lnTo>
                        <a:pt x="1072" y="989"/>
                      </a:lnTo>
                      <a:lnTo>
                        <a:pt x="1071" y="990"/>
                      </a:lnTo>
                      <a:lnTo>
                        <a:pt x="1072" y="990"/>
                      </a:lnTo>
                      <a:close/>
                      <a:moveTo>
                        <a:pt x="1121" y="749"/>
                      </a:moveTo>
                      <a:lnTo>
                        <a:pt x="1123" y="749"/>
                      </a:lnTo>
                      <a:lnTo>
                        <a:pt x="1123" y="750"/>
                      </a:lnTo>
                      <a:lnTo>
                        <a:pt x="1121" y="750"/>
                      </a:lnTo>
                      <a:lnTo>
                        <a:pt x="1121" y="749"/>
                      </a:lnTo>
                      <a:close/>
                      <a:moveTo>
                        <a:pt x="1091" y="993"/>
                      </a:moveTo>
                      <a:lnTo>
                        <a:pt x="1086" y="993"/>
                      </a:lnTo>
                      <a:lnTo>
                        <a:pt x="1087" y="993"/>
                      </a:lnTo>
                      <a:lnTo>
                        <a:pt x="1091" y="993"/>
                      </a:lnTo>
                      <a:close/>
                      <a:moveTo>
                        <a:pt x="1363" y="1046"/>
                      </a:moveTo>
                      <a:lnTo>
                        <a:pt x="1364" y="1046"/>
                      </a:lnTo>
                      <a:lnTo>
                        <a:pt x="1364" y="1047"/>
                      </a:lnTo>
                      <a:lnTo>
                        <a:pt x="1363" y="1047"/>
                      </a:lnTo>
                      <a:lnTo>
                        <a:pt x="1363" y="1046"/>
                      </a:lnTo>
                      <a:close/>
                      <a:moveTo>
                        <a:pt x="1137" y="947"/>
                      </a:moveTo>
                      <a:lnTo>
                        <a:pt x="1137" y="948"/>
                      </a:lnTo>
                      <a:lnTo>
                        <a:pt x="1136" y="948"/>
                      </a:lnTo>
                      <a:lnTo>
                        <a:pt x="1136" y="949"/>
                      </a:lnTo>
                      <a:lnTo>
                        <a:pt x="1135" y="949"/>
                      </a:lnTo>
                      <a:lnTo>
                        <a:pt x="1136" y="948"/>
                      </a:lnTo>
                      <a:lnTo>
                        <a:pt x="1136" y="947"/>
                      </a:lnTo>
                      <a:lnTo>
                        <a:pt x="1137" y="947"/>
                      </a:lnTo>
                      <a:close/>
                      <a:moveTo>
                        <a:pt x="1070" y="968"/>
                      </a:moveTo>
                      <a:lnTo>
                        <a:pt x="1071" y="968"/>
                      </a:lnTo>
                      <a:lnTo>
                        <a:pt x="1071" y="970"/>
                      </a:lnTo>
                      <a:lnTo>
                        <a:pt x="1070" y="970"/>
                      </a:lnTo>
                      <a:lnTo>
                        <a:pt x="1070" y="968"/>
                      </a:lnTo>
                      <a:close/>
                      <a:moveTo>
                        <a:pt x="1013" y="968"/>
                      </a:moveTo>
                      <a:lnTo>
                        <a:pt x="1014" y="968"/>
                      </a:lnTo>
                      <a:lnTo>
                        <a:pt x="1014" y="969"/>
                      </a:lnTo>
                      <a:lnTo>
                        <a:pt x="1013" y="969"/>
                      </a:lnTo>
                      <a:lnTo>
                        <a:pt x="1013" y="968"/>
                      </a:lnTo>
                      <a:close/>
                      <a:moveTo>
                        <a:pt x="1192" y="909"/>
                      </a:moveTo>
                      <a:lnTo>
                        <a:pt x="1192" y="910"/>
                      </a:lnTo>
                      <a:lnTo>
                        <a:pt x="1190" y="910"/>
                      </a:lnTo>
                      <a:lnTo>
                        <a:pt x="1189" y="910"/>
                      </a:lnTo>
                      <a:lnTo>
                        <a:pt x="1190" y="909"/>
                      </a:lnTo>
                      <a:lnTo>
                        <a:pt x="1192" y="909"/>
                      </a:lnTo>
                      <a:close/>
                      <a:moveTo>
                        <a:pt x="1352" y="1000"/>
                      </a:moveTo>
                      <a:lnTo>
                        <a:pt x="1354" y="1000"/>
                      </a:lnTo>
                      <a:lnTo>
                        <a:pt x="1354" y="1001"/>
                      </a:lnTo>
                      <a:lnTo>
                        <a:pt x="1352" y="1001"/>
                      </a:lnTo>
                      <a:lnTo>
                        <a:pt x="1352" y="1000"/>
                      </a:lnTo>
                      <a:close/>
                      <a:moveTo>
                        <a:pt x="1087" y="974"/>
                      </a:moveTo>
                      <a:lnTo>
                        <a:pt x="1089" y="974"/>
                      </a:lnTo>
                      <a:lnTo>
                        <a:pt x="1089" y="975"/>
                      </a:lnTo>
                      <a:lnTo>
                        <a:pt x="1089" y="976"/>
                      </a:lnTo>
                      <a:lnTo>
                        <a:pt x="1087" y="976"/>
                      </a:lnTo>
                      <a:lnTo>
                        <a:pt x="1089" y="975"/>
                      </a:lnTo>
                      <a:lnTo>
                        <a:pt x="1087" y="976"/>
                      </a:lnTo>
                      <a:lnTo>
                        <a:pt x="1089" y="975"/>
                      </a:lnTo>
                      <a:lnTo>
                        <a:pt x="1089" y="974"/>
                      </a:lnTo>
                      <a:lnTo>
                        <a:pt x="1087" y="974"/>
                      </a:lnTo>
                      <a:lnTo>
                        <a:pt x="1087" y="975"/>
                      </a:lnTo>
                      <a:lnTo>
                        <a:pt x="1089" y="975"/>
                      </a:lnTo>
                      <a:lnTo>
                        <a:pt x="1087" y="975"/>
                      </a:lnTo>
                      <a:lnTo>
                        <a:pt x="1087" y="974"/>
                      </a:lnTo>
                      <a:close/>
                      <a:moveTo>
                        <a:pt x="1070" y="966"/>
                      </a:moveTo>
                      <a:lnTo>
                        <a:pt x="1069" y="966"/>
                      </a:lnTo>
                      <a:lnTo>
                        <a:pt x="1069" y="964"/>
                      </a:lnTo>
                      <a:lnTo>
                        <a:pt x="1069" y="963"/>
                      </a:lnTo>
                      <a:lnTo>
                        <a:pt x="1069" y="962"/>
                      </a:lnTo>
                      <a:lnTo>
                        <a:pt x="1069" y="963"/>
                      </a:lnTo>
                      <a:lnTo>
                        <a:pt x="1069" y="964"/>
                      </a:lnTo>
                      <a:lnTo>
                        <a:pt x="1069" y="965"/>
                      </a:lnTo>
                      <a:lnTo>
                        <a:pt x="1070" y="966"/>
                      </a:lnTo>
                      <a:close/>
                      <a:moveTo>
                        <a:pt x="1329" y="1187"/>
                      </a:moveTo>
                      <a:lnTo>
                        <a:pt x="1328" y="1187"/>
                      </a:lnTo>
                      <a:lnTo>
                        <a:pt x="1329" y="1188"/>
                      </a:lnTo>
                      <a:lnTo>
                        <a:pt x="1329" y="1189"/>
                      </a:lnTo>
                      <a:lnTo>
                        <a:pt x="1329" y="1188"/>
                      </a:lnTo>
                      <a:lnTo>
                        <a:pt x="1328" y="1187"/>
                      </a:lnTo>
                      <a:lnTo>
                        <a:pt x="1329" y="1186"/>
                      </a:lnTo>
                      <a:lnTo>
                        <a:pt x="1329" y="1187"/>
                      </a:lnTo>
                      <a:close/>
                      <a:moveTo>
                        <a:pt x="1430" y="1127"/>
                      </a:moveTo>
                      <a:lnTo>
                        <a:pt x="1431" y="1127"/>
                      </a:lnTo>
                      <a:lnTo>
                        <a:pt x="1431" y="1128"/>
                      </a:lnTo>
                      <a:lnTo>
                        <a:pt x="1431" y="1127"/>
                      </a:lnTo>
                      <a:lnTo>
                        <a:pt x="1431" y="1128"/>
                      </a:lnTo>
                      <a:lnTo>
                        <a:pt x="1432" y="1128"/>
                      </a:lnTo>
                      <a:lnTo>
                        <a:pt x="1432" y="1129"/>
                      </a:lnTo>
                      <a:lnTo>
                        <a:pt x="1431" y="1129"/>
                      </a:lnTo>
                      <a:lnTo>
                        <a:pt x="1431" y="1128"/>
                      </a:lnTo>
                      <a:lnTo>
                        <a:pt x="1430" y="1127"/>
                      </a:lnTo>
                      <a:lnTo>
                        <a:pt x="1429" y="1127"/>
                      </a:lnTo>
                      <a:lnTo>
                        <a:pt x="1430" y="1127"/>
                      </a:lnTo>
                      <a:close/>
                      <a:moveTo>
                        <a:pt x="1059" y="970"/>
                      </a:moveTo>
                      <a:lnTo>
                        <a:pt x="1060" y="970"/>
                      </a:lnTo>
                      <a:lnTo>
                        <a:pt x="1060" y="971"/>
                      </a:lnTo>
                      <a:lnTo>
                        <a:pt x="1059" y="971"/>
                      </a:lnTo>
                      <a:lnTo>
                        <a:pt x="1059" y="970"/>
                      </a:lnTo>
                      <a:close/>
                      <a:moveTo>
                        <a:pt x="1160" y="964"/>
                      </a:moveTo>
                      <a:lnTo>
                        <a:pt x="1162" y="964"/>
                      </a:lnTo>
                      <a:lnTo>
                        <a:pt x="1162" y="965"/>
                      </a:lnTo>
                      <a:lnTo>
                        <a:pt x="1160" y="965"/>
                      </a:lnTo>
                      <a:lnTo>
                        <a:pt x="1160" y="964"/>
                      </a:lnTo>
                      <a:close/>
                      <a:moveTo>
                        <a:pt x="1282" y="1127"/>
                      </a:moveTo>
                      <a:lnTo>
                        <a:pt x="1283" y="1127"/>
                      </a:lnTo>
                      <a:lnTo>
                        <a:pt x="1283" y="1128"/>
                      </a:lnTo>
                      <a:lnTo>
                        <a:pt x="1282" y="1128"/>
                      </a:lnTo>
                      <a:lnTo>
                        <a:pt x="1282" y="1127"/>
                      </a:lnTo>
                      <a:close/>
                      <a:moveTo>
                        <a:pt x="1116" y="803"/>
                      </a:moveTo>
                      <a:lnTo>
                        <a:pt x="1116" y="804"/>
                      </a:lnTo>
                      <a:lnTo>
                        <a:pt x="1116" y="806"/>
                      </a:lnTo>
                      <a:lnTo>
                        <a:pt x="1116" y="804"/>
                      </a:lnTo>
                      <a:lnTo>
                        <a:pt x="1117" y="804"/>
                      </a:lnTo>
                      <a:lnTo>
                        <a:pt x="1117" y="806"/>
                      </a:lnTo>
                      <a:lnTo>
                        <a:pt x="1116" y="806"/>
                      </a:lnTo>
                      <a:lnTo>
                        <a:pt x="1117" y="806"/>
                      </a:lnTo>
                      <a:lnTo>
                        <a:pt x="1116" y="806"/>
                      </a:lnTo>
                      <a:lnTo>
                        <a:pt x="1116" y="804"/>
                      </a:lnTo>
                      <a:lnTo>
                        <a:pt x="1115" y="804"/>
                      </a:lnTo>
                      <a:lnTo>
                        <a:pt x="1115" y="803"/>
                      </a:lnTo>
                      <a:lnTo>
                        <a:pt x="1116" y="803"/>
                      </a:lnTo>
                      <a:close/>
                      <a:moveTo>
                        <a:pt x="1362" y="1148"/>
                      </a:moveTo>
                      <a:lnTo>
                        <a:pt x="1363" y="1148"/>
                      </a:lnTo>
                      <a:lnTo>
                        <a:pt x="1363" y="1149"/>
                      </a:lnTo>
                      <a:lnTo>
                        <a:pt x="1362" y="1149"/>
                      </a:lnTo>
                      <a:lnTo>
                        <a:pt x="1362" y="1148"/>
                      </a:lnTo>
                      <a:close/>
                      <a:moveTo>
                        <a:pt x="1288" y="971"/>
                      </a:moveTo>
                      <a:lnTo>
                        <a:pt x="1289" y="971"/>
                      </a:lnTo>
                      <a:lnTo>
                        <a:pt x="1289" y="974"/>
                      </a:lnTo>
                      <a:lnTo>
                        <a:pt x="1288" y="974"/>
                      </a:lnTo>
                      <a:lnTo>
                        <a:pt x="1288" y="971"/>
                      </a:lnTo>
                      <a:close/>
                      <a:moveTo>
                        <a:pt x="1134" y="852"/>
                      </a:moveTo>
                      <a:lnTo>
                        <a:pt x="1135" y="852"/>
                      </a:lnTo>
                      <a:lnTo>
                        <a:pt x="1136" y="852"/>
                      </a:lnTo>
                      <a:lnTo>
                        <a:pt x="1136" y="853"/>
                      </a:lnTo>
                      <a:lnTo>
                        <a:pt x="1135" y="853"/>
                      </a:lnTo>
                      <a:lnTo>
                        <a:pt x="1134" y="853"/>
                      </a:lnTo>
                      <a:lnTo>
                        <a:pt x="1134" y="852"/>
                      </a:lnTo>
                      <a:close/>
                      <a:moveTo>
                        <a:pt x="1091" y="980"/>
                      </a:moveTo>
                      <a:lnTo>
                        <a:pt x="1092" y="980"/>
                      </a:lnTo>
                      <a:lnTo>
                        <a:pt x="1092" y="982"/>
                      </a:lnTo>
                      <a:lnTo>
                        <a:pt x="1091" y="982"/>
                      </a:lnTo>
                      <a:lnTo>
                        <a:pt x="1091" y="980"/>
                      </a:lnTo>
                      <a:close/>
                      <a:moveTo>
                        <a:pt x="1421" y="1118"/>
                      </a:moveTo>
                      <a:lnTo>
                        <a:pt x="1422" y="1118"/>
                      </a:lnTo>
                      <a:lnTo>
                        <a:pt x="1422" y="1119"/>
                      </a:lnTo>
                      <a:lnTo>
                        <a:pt x="1421" y="1119"/>
                      </a:lnTo>
                      <a:lnTo>
                        <a:pt x="1421" y="1118"/>
                      </a:lnTo>
                      <a:close/>
                      <a:moveTo>
                        <a:pt x="1422" y="1095"/>
                      </a:moveTo>
                      <a:lnTo>
                        <a:pt x="1424" y="1095"/>
                      </a:lnTo>
                      <a:lnTo>
                        <a:pt x="1424" y="1096"/>
                      </a:lnTo>
                      <a:lnTo>
                        <a:pt x="1422" y="1096"/>
                      </a:lnTo>
                      <a:lnTo>
                        <a:pt x="1422" y="1095"/>
                      </a:lnTo>
                      <a:close/>
                      <a:moveTo>
                        <a:pt x="1363" y="1005"/>
                      </a:moveTo>
                      <a:lnTo>
                        <a:pt x="1365" y="1005"/>
                      </a:lnTo>
                      <a:lnTo>
                        <a:pt x="1365" y="1006"/>
                      </a:lnTo>
                      <a:lnTo>
                        <a:pt x="1363" y="1006"/>
                      </a:lnTo>
                      <a:lnTo>
                        <a:pt x="1363" y="1005"/>
                      </a:lnTo>
                      <a:close/>
                      <a:moveTo>
                        <a:pt x="1366" y="1040"/>
                      </a:moveTo>
                      <a:lnTo>
                        <a:pt x="1366" y="1042"/>
                      </a:lnTo>
                      <a:lnTo>
                        <a:pt x="1366" y="1040"/>
                      </a:lnTo>
                      <a:close/>
                      <a:moveTo>
                        <a:pt x="1116" y="850"/>
                      </a:moveTo>
                      <a:lnTo>
                        <a:pt x="1118" y="850"/>
                      </a:lnTo>
                      <a:lnTo>
                        <a:pt x="1118" y="851"/>
                      </a:lnTo>
                      <a:lnTo>
                        <a:pt x="1116" y="851"/>
                      </a:lnTo>
                      <a:lnTo>
                        <a:pt x="1116" y="850"/>
                      </a:lnTo>
                      <a:close/>
                      <a:moveTo>
                        <a:pt x="1414" y="1128"/>
                      </a:moveTo>
                      <a:lnTo>
                        <a:pt x="1414" y="1129"/>
                      </a:lnTo>
                      <a:lnTo>
                        <a:pt x="1415" y="1129"/>
                      </a:lnTo>
                      <a:lnTo>
                        <a:pt x="1416" y="1129"/>
                      </a:lnTo>
                      <a:lnTo>
                        <a:pt x="1415" y="1129"/>
                      </a:lnTo>
                      <a:lnTo>
                        <a:pt x="1414" y="1129"/>
                      </a:lnTo>
                      <a:lnTo>
                        <a:pt x="1414" y="1128"/>
                      </a:lnTo>
                      <a:close/>
                      <a:moveTo>
                        <a:pt x="1025" y="967"/>
                      </a:moveTo>
                      <a:lnTo>
                        <a:pt x="1027" y="967"/>
                      </a:lnTo>
                      <a:lnTo>
                        <a:pt x="1027" y="968"/>
                      </a:lnTo>
                      <a:lnTo>
                        <a:pt x="1025" y="968"/>
                      </a:lnTo>
                      <a:lnTo>
                        <a:pt x="1025" y="967"/>
                      </a:lnTo>
                      <a:close/>
                      <a:moveTo>
                        <a:pt x="1363" y="1045"/>
                      </a:moveTo>
                      <a:lnTo>
                        <a:pt x="1364" y="1045"/>
                      </a:lnTo>
                      <a:lnTo>
                        <a:pt x="1364" y="1046"/>
                      </a:lnTo>
                      <a:lnTo>
                        <a:pt x="1363" y="1046"/>
                      </a:lnTo>
                      <a:lnTo>
                        <a:pt x="1363" y="1045"/>
                      </a:lnTo>
                      <a:close/>
                      <a:moveTo>
                        <a:pt x="1106" y="984"/>
                      </a:moveTo>
                      <a:lnTo>
                        <a:pt x="1108" y="984"/>
                      </a:lnTo>
                      <a:lnTo>
                        <a:pt x="1108" y="986"/>
                      </a:lnTo>
                      <a:lnTo>
                        <a:pt x="1106" y="986"/>
                      </a:lnTo>
                      <a:lnTo>
                        <a:pt x="1106" y="984"/>
                      </a:lnTo>
                      <a:close/>
                      <a:moveTo>
                        <a:pt x="1192" y="921"/>
                      </a:moveTo>
                      <a:lnTo>
                        <a:pt x="1193" y="921"/>
                      </a:lnTo>
                      <a:lnTo>
                        <a:pt x="1193" y="923"/>
                      </a:lnTo>
                      <a:lnTo>
                        <a:pt x="1192" y="923"/>
                      </a:lnTo>
                      <a:lnTo>
                        <a:pt x="1192" y="921"/>
                      </a:lnTo>
                      <a:close/>
                      <a:moveTo>
                        <a:pt x="1246" y="941"/>
                      </a:moveTo>
                      <a:lnTo>
                        <a:pt x="1245" y="941"/>
                      </a:lnTo>
                      <a:lnTo>
                        <a:pt x="1246" y="941"/>
                      </a:lnTo>
                      <a:lnTo>
                        <a:pt x="1246" y="940"/>
                      </a:lnTo>
                      <a:lnTo>
                        <a:pt x="1246" y="941"/>
                      </a:lnTo>
                      <a:close/>
                      <a:moveTo>
                        <a:pt x="1138" y="979"/>
                      </a:moveTo>
                      <a:lnTo>
                        <a:pt x="1140" y="980"/>
                      </a:lnTo>
                      <a:lnTo>
                        <a:pt x="1142" y="982"/>
                      </a:lnTo>
                      <a:lnTo>
                        <a:pt x="1140" y="980"/>
                      </a:lnTo>
                      <a:lnTo>
                        <a:pt x="1138" y="979"/>
                      </a:lnTo>
                      <a:close/>
                      <a:moveTo>
                        <a:pt x="1364" y="1038"/>
                      </a:moveTo>
                      <a:lnTo>
                        <a:pt x="1365" y="1038"/>
                      </a:lnTo>
                      <a:lnTo>
                        <a:pt x="1365" y="1039"/>
                      </a:lnTo>
                      <a:lnTo>
                        <a:pt x="1364" y="1039"/>
                      </a:lnTo>
                      <a:lnTo>
                        <a:pt x="1364" y="1038"/>
                      </a:lnTo>
                      <a:close/>
                      <a:moveTo>
                        <a:pt x="1341" y="1000"/>
                      </a:moveTo>
                      <a:lnTo>
                        <a:pt x="1343" y="1000"/>
                      </a:lnTo>
                      <a:lnTo>
                        <a:pt x="1343" y="1001"/>
                      </a:lnTo>
                      <a:lnTo>
                        <a:pt x="1341" y="1001"/>
                      </a:lnTo>
                      <a:lnTo>
                        <a:pt x="1341" y="1000"/>
                      </a:lnTo>
                      <a:close/>
                      <a:moveTo>
                        <a:pt x="1043" y="940"/>
                      </a:moveTo>
                      <a:lnTo>
                        <a:pt x="1044" y="940"/>
                      </a:lnTo>
                      <a:lnTo>
                        <a:pt x="1043" y="940"/>
                      </a:lnTo>
                      <a:close/>
                      <a:moveTo>
                        <a:pt x="1279" y="952"/>
                      </a:moveTo>
                      <a:lnTo>
                        <a:pt x="1278" y="953"/>
                      </a:lnTo>
                      <a:lnTo>
                        <a:pt x="1277" y="953"/>
                      </a:lnTo>
                      <a:lnTo>
                        <a:pt x="1278" y="953"/>
                      </a:lnTo>
                      <a:lnTo>
                        <a:pt x="1278" y="952"/>
                      </a:lnTo>
                      <a:lnTo>
                        <a:pt x="1279" y="952"/>
                      </a:lnTo>
                      <a:close/>
                      <a:moveTo>
                        <a:pt x="1133" y="1008"/>
                      </a:moveTo>
                      <a:lnTo>
                        <a:pt x="1132" y="1008"/>
                      </a:lnTo>
                      <a:lnTo>
                        <a:pt x="1131" y="1008"/>
                      </a:lnTo>
                      <a:lnTo>
                        <a:pt x="1131" y="1007"/>
                      </a:lnTo>
                      <a:lnTo>
                        <a:pt x="1132" y="1007"/>
                      </a:lnTo>
                      <a:lnTo>
                        <a:pt x="1131" y="1007"/>
                      </a:lnTo>
                      <a:lnTo>
                        <a:pt x="1133" y="1007"/>
                      </a:lnTo>
                      <a:lnTo>
                        <a:pt x="1133" y="1008"/>
                      </a:lnTo>
                      <a:close/>
                      <a:moveTo>
                        <a:pt x="1077" y="935"/>
                      </a:moveTo>
                      <a:lnTo>
                        <a:pt x="1078" y="935"/>
                      </a:lnTo>
                      <a:lnTo>
                        <a:pt x="1078" y="936"/>
                      </a:lnTo>
                      <a:lnTo>
                        <a:pt x="1077" y="936"/>
                      </a:lnTo>
                      <a:lnTo>
                        <a:pt x="1077" y="935"/>
                      </a:lnTo>
                      <a:close/>
                      <a:moveTo>
                        <a:pt x="1105" y="782"/>
                      </a:moveTo>
                      <a:lnTo>
                        <a:pt x="1106" y="782"/>
                      </a:lnTo>
                      <a:lnTo>
                        <a:pt x="1107" y="782"/>
                      </a:lnTo>
                      <a:lnTo>
                        <a:pt x="1107" y="783"/>
                      </a:lnTo>
                      <a:lnTo>
                        <a:pt x="1106" y="782"/>
                      </a:lnTo>
                      <a:lnTo>
                        <a:pt x="1105" y="782"/>
                      </a:lnTo>
                      <a:close/>
                      <a:moveTo>
                        <a:pt x="1005" y="955"/>
                      </a:moveTo>
                      <a:lnTo>
                        <a:pt x="1006" y="955"/>
                      </a:lnTo>
                      <a:lnTo>
                        <a:pt x="1007" y="955"/>
                      </a:lnTo>
                      <a:lnTo>
                        <a:pt x="1006" y="955"/>
                      </a:lnTo>
                      <a:lnTo>
                        <a:pt x="1005" y="955"/>
                      </a:lnTo>
                      <a:lnTo>
                        <a:pt x="1005" y="954"/>
                      </a:lnTo>
                      <a:lnTo>
                        <a:pt x="1005" y="955"/>
                      </a:lnTo>
                      <a:close/>
                      <a:moveTo>
                        <a:pt x="1038" y="925"/>
                      </a:moveTo>
                      <a:lnTo>
                        <a:pt x="1039" y="925"/>
                      </a:lnTo>
                      <a:lnTo>
                        <a:pt x="1039" y="926"/>
                      </a:lnTo>
                      <a:lnTo>
                        <a:pt x="1038" y="926"/>
                      </a:lnTo>
                      <a:lnTo>
                        <a:pt x="1038" y="925"/>
                      </a:lnTo>
                      <a:close/>
                      <a:moveTo>
                        <a:pt x="1434" y="1135"/>
                      </a:moveTo>
                      <a:lnTo>
                        <a:pt x="1435" y="1135"/>
                      </a:lnTo>
                      <a:lnTo>
                        <a:pt x="1435" y="1136"/>
                      </a:lnTo>
                      <a:lnTo>
                        <a:pt x="1434" y="1136"/>
                      </a:lnTo>
                      <a:lnTo>
                        <a:pt x="1434" y="1135"/>
                      </a:lnTo>
                      <a:close/>
                      <a:moveTo>
                        <a:pt x="1099" y="815"/>
                      </a:moveTo>
                      <a:lnTo>
                        <a:pt x="1098" y="814"/>
                      </a:lnTo>
                      <a:lnTo>
                        <a:pt x="1097" y="814"/>
                      </a:lnTo>
                      <a:lnTo>
                        <a:pt x="1098" y="813"/>
                      </a:lnTo>
                      <a:lnTo>
                        <a:pt x="1098" y="814"/>
                      </a:lnTo>
                      <a:lnTo>
                        <a:pt x="1099" y="814"/>
                      </a:lnTo>
                      <a:lnTo>
                        <a:pt x="1099" y="815"/>
                      </a:lnTo>
                      <a:close/>
                      <a:moveTo>
                        <a:pt x="1109" y="996"/>
                      </a:moveTo>
                      <a:lnTo>
                        <a:pt x="1108" y="996"/>
                      </a:lnTo>
                      <a:lnTo>
                        <a:pt x="1103" y="995"/>
                      </a:lnTo>
                      <a:lnTo>
                        <a:pt x="1109" y="996"/>
                      </a:lnTo>
                      <a:close/>
                      <a:moveTo>
                        <a:pt x="1432" y="1134"/>
                      </a:moveTo>
                      <a:lnTo>
                        <a:pt x="1431" y="1134"/>
                      </a:lnTo>
                      <a:lnTo>
                        <a:pt x="1430" y="1134"/>
                      </a:lnTo>
                      <a:lnTo>
                        <a:pt x="1430" y="1133"/>
                      </a:lnTo>
                      <a:lnTo>
                        <a:pt x="1431" y="1133"/>
                      </a:lnTo>
                      <a:lnTo>
                        <a:pt x="1430" y="1133"/>
                      </a:lnTo>
                      <a:lnTo>
                        <a:pt x="1431" y="1133"/>
                      </a:lnTo>
                      <a:lnTo>
                        <a:pt x="1431" y="1134"/>
                      </a:lnTo>
                      <a:lnTo>
                        <a:pt x="1432" y="1134"/>
                      </a:lnTo>
                      <a:close/>
                      <a:moveTo>
                        <a:pt x="1409" y="1111"/>
                      </a:moveTo>
                      <a:lnTo>
                        <a:pt x="1410" y="1111"/>
                      </a:lnTo>
                      <a:lnTo>
                        <a:pt x="1410" y="1112"/>
                      </a:lnTo>
                      <a:lnTo>
                        <a:pt x="1409" y="1112"/>
                      </a:lnTo>
                      <a:lnTo>
                        <a:pt x="1409" y="1111"/>
                      </a:lnTo>
                      <a:close/>
                      <a:moveTo>
                        <a:pt x="1055" y="990"/>
                      </a:moveTo>
                      <a:lnTo>
                        <a:pt x="1054" y="990"/>
                      </a:lnTo>
                      <a:lnTo>
                        <a:pt x="1053" y="990"/>
                      </a:lnTo>
                      <a:lnTo>
                        <a:pt x="1055" y="990"/>
                      </a:lnTo>
                      <a:close/>
                      <a:moveTo>
                        <a:pt x="1206" y="1040"/>
                      </a:moveTo>
                      <a:lnTo>
                        <a:pt x="1205" y="1040"/>
                      </a:lnTo>
                      <a:lnTo>
                        <a:pt x="1206" y="1039"/>
                      </a:lnTo>
                      <a:lnTo>
                        <a:pt x="1206" y="1038"/>
                      </a:lnTo>
                      <a:lnTo>
                        <a:pt x="1206" y="1039"/>
                      </a:lnTo>
                      <a:lnTo>
                        <a:pt x="1206" y="1040"/>
                      </a:lnTo>
                      <a:close/>
                      <a:moveTo>
                        <a:pt x="1364" y="1048"/>
                      </a:moveTo>
                      <a:lnTo>
                        <a:pt x="1365" y="1048"/>
                      </a:lnTo>
                      <a:lnTo>
                        <a:pt x="1365" y="1051"/>
                      </a:lnTo>
                      <a:lnTo>
                        <a:pt x="1364" y="1051"/>
                      </a:lnTo>
                      <a:lnTo>
                        <a:pt x="1364" y="1048"/>
                      </a:lnTo>
                      <a:close/>
                      <a:moveTo>
                        <a:pt x="1327" y="1194"/>
                      </a:moveTo>
                      <a:lnTo>
                        <a:pt x="1326" y="1194"/>
                      </a:lnTo>
                      <a:lnTo>
                        <a:pt x="1326" y="1193"/>
                      </a:lnTo>
                      <a:lnTo>
                        <a:pt x="1325" y="1192"/>
                      </a:lnTo>
                      <a:lnTo>
                        <a:pt x="1325" y="1191"/>
                      </a:lnTo>
                      <a:lnTo>
                        <a:pt x="1325" y="1192"/>
                      </a:lnTo>
                      <a:lnTo>
                        <a:pt x="1326" y="1193"/>
                      </a:lnTo>
                      <a:lnTo>
                        <a:pt x="1327" y="1194"/>
                      </a:lnTo>
                      <a:close/>
                      <a:moveTo>
                        <a:pt x="1286" y="961"/>
                      </a:moveTo>
                      <a:lnTo>
                        <a:pt x="1286" y="962"/>
                      </a:lnTo>
                      <a:lnTo>
                        <a:pt x="1287" y="962"/>
                      </a:lnTo>
                      <a:lnTo>
                        <a:pt x="1286" y="963"/>
                      </a:lnTo>
                      <a:lnTo>
                        <a:pt x="1287" y="964"/>
                      </a:lnTo>
                      <a:lnTo>
                        <a:pt x="1286" y="964"/>
                      </a:lnTo>
                      <a:lnTo>
                        <a:pt x="1286" y="963"/>
                      </a:lnTo>
                      <a:lnTo>
                        <a:pt x="1286" y="962"/>
                      </a:lnTo>
                      <a:lnTo>
                        <a:pt x="1286" y="961"/>
                      </a:lnTo>
                      <a:lnTo>
                        <a:pt x="1285" y="962"/>
                      </a:lnTo>
                      <a:lnTo>
                        <a:pt x="1285" y="961"/>
                      </a:lnTo>
                      <a:lnTo>
                        <a:pt x="1286" y="961"/>
                      </a:lnTo>
                      <a:close/>
                      <a:moveTo>
                        <a:pt x="1017" y="969"/>
                      </a:moveTo>
                      <a:lnTo>
                        <a:pt x="1018" y="969"/>
                      </a:lnTo>
                      <a:lnTo>
                        <a:pt x="1018" y="970"/>
                      </a:lnTo>
                      <a:lnTo>
                        <a:pt x="1018" y="969"/>
                      </a:lnTo>
                      <a:lnTo>
                        <a:pt x="1018" y="970"/>
                      </a:lnTo>
                      <a:lnTo>
                        <a:pt x="1017" y="970"/>
                      </a:lnTo>
                      <a:lnTo>
                        <a:pt x="1016" y="970"/>
                      </a:lnTo>
                      <a:lnTo>
                        <a:pt x="1017" y="970"/>
                      </a:lnTo>
                      <a:lnTo>
                        <a:pt x="1017" y="969"/>
                      </a:lnTo>
                      <a:close/>
                      <a:moveTo>
                        <a:pt x="1125" y="951"/>
                      </a:moveTo>
                      <a:lnTo>
                        <a:pt x="1126" y="951"/>
                      </a:lnTo>
                      <a:lnTo>
                        <a:pt x="1126" y="952"/>
                      </a:lnTo>
                      <a:lnTo>
                        <a:pt x="1125" y="952"/>
                      </a:lnTo>
                      <a:lnTo>
                        <a:pt x="1125" y="951"/>
                      </a:lnTo>
                      <a:close/>
                      <a:moveTo>
                        <a:pt x="1112" y="950"/>
                      </a:moveTo>
                      <a:lnTo>
                        <a:pt x="1113" y="951"/>
                      </a:lnTo>
                      <a:lnTo>
                        <a:pt x="1112" y="951"/>
                      </a:lnTo>
                      <a:lnTo>
                        <a:pt x="1111" y="951"/>
                      </a:lnTo>
                      <a:lnTo>
                        <a:pt x="1111" y="950"/>
                      </a:lnTo>
                      <a:lnTo>
                        <a:pt x="1112" y="950"/>
                      </a:lnTo>
                      <a:close/>
                      <a:moveTo>
                        <a:pt x="1068" y="991"/>
                      </a:moveTo>
                      <a:lnTo>
                        <a:pt x="1069" y="991"/>
                      </a:lnTo>
                      <a:lnTo>
                        <a:pt x="1070" y="992"/>
                      </a:lnTo>
                      <a:lnTo>
                        <a:pt x="1071" y="992"/>
                      </a:lnTo>
                      <a:lnTo>
                        <a:pt x="1070" y="992"/>
                      </a:lnTo>
                      <a:lnTo>
                        <a:pt x="1069" y="992"/>
                      </a:lnTo>
                      <a:lnTo>
                        <a:pt x="1068" y="992"/>
                      </a:lnTo>
                      <a:lnTo>
                        <a:pt x="1068" y="991"/>
                      </a:lnTo>
                      <a:close/>
                      <a:moveTo>
                        <a:pt x="1284" y="1120"/>
                      </a:moveTo>
                      <a:lnTo>
                        <a:pt x="1285" y="1120"/>
                      </a:lnTo>
                      <a:lnTo>
                        <a:pt x="1285" y="1121"/>
                      </a:lnTo>
                      <a:lnTo>
                        <a:pt x="1284" y="1121"/>
                      </a:lnTo>
                      <a:lnTo>
                        <a:pt x="1284" y="1120"/>
                      </a:lnTo>
                      <a:close/>
                      <a:moveTo>
                        <a:pt x="1017" y="968"/>
                      </a:moveTo>
                      <a:lnTo>
                        <a:pt x="1018" y="968"/>
                      </a:lnTo>
                      <a:lnTo>
                        <a:pt x="1018" y="969"/>
                      </a:lnTo>
                      <a:lnTo>
                        <a:pt x="1017" y="969"/>
                      </a:lnTo>
                      <a:lnTo>
                        <a:pt x="1017" y="968"/>
                      </a:lnTo>
                      <a:close/>
                      <a:moveTo>
                        <a:pt x="1105" y="986"/>
                      </a:moveTo>
                      <a:lnTo>
                        <a:pt x="1107" y="986"/>
                      </a:lnTo>
                      <a:lnTo>
                        <a:pt x="1105" y="986"/>
                      </a:lnTo>
                      <a:close/>
                      <a:moveTo>
                        <a:pt x="1104" y="956"/>
                      </a:moveTo>
                      <a:lnTo>
                        <a:pt x="1105" y="956"/>
                      </a:lnTo>
                      <a:lnTo>
                        <a:pt x="1105" y="958"/>
                      </a:lnTo>
                      <a:lnTo>
                        <a:pt x="1104" y="958"/>
                      </a:lnTo>
                      <a:lnTo>
                        <a:pt x="1104" y="956"/>
                      </a:lnTo>
                      <a:close/>
                      <a:moveTo>
                        <a:pt x="1135" y="1001"/>
                      </a:moveTo>
                      <a:lnTo>
                        <a:pt x="1134" y="1001"/>
                      </a:lnTo>
                      <a:lnTo>
                        <a:pt x="1134" y="1002"/>
                      </a:lnTo>
                      <a:lnTo>
                        <a:pt x="1133" y="1002"/>
                      </a:lnTo>
                      <a:lnTo>
                        <a:pt x="1134" y="1002"/>
                      </a:lnTo>
                      <a:lnTo>
                        <a:pt x="1134" y="1001"/>
                      </a:lnTo>
                      <a:lnTo>
                        <a:pt x="1135" y="1001"/>
                      </a:lnTo>
                      <a:close/>
                      <a:moveTo>
                        <a:pt x="1339" y="940"/>
                      </a:moveTo>
                      <a:lnTo>
                        <a:pt x="1339" y="942"/>
                      </a:lnTo>
                      <a:lnTo>
                        <a:pt x="1339" y="940"/>
                      </a:lnTo>
                      <a:close/>
                      <a:moveTo>
                        <a:pt x="1338" y="1007"/>
                      </a:moveTo>
                      <a:lnTo>
                        <a:pt x="1340" y="1007"/>
                      </a:lnTo>
                      <a:lnTo>
                        <a:pt x="1340" y="1008"/>
                      </a:lnTo>
                      <a:lnTo>
                        <a:pt x="1338" y="1008"/>
                      </a:lnTo>
                      <a:lnTo>
                        <a:pt x="1338" y="1007"/>
                      </a:lnTo>
                      <a:close/>
                      <a:moveTo>
                        <a:pt x="1046" y="975"/>
                      </a:moveTo>
                      <a:lnTo>
                        <a:pt x="1048" y="975"/>
                      </a:lnTo>
                      <a:lnTo>
                        <a:pt x="1048" y="976"/>
                      </a:lnTo>
                      <a:lnTo>
                        <a:pt x="1046" y="976"/>
                      </a:lnTo>
                      <a:lnTo>
                        <a:pt x="1046" y="975"/>
                      </a:lnTo>
                      <a:close/>
                      <a:moveTo>
                        <a:pt x="1450" y="1141"/>
                      </a:moveTo>
                      <a:lnTo>
                        <a:pt x="1447" y="1143"/>
                      </a:lnTo>
                      <a:lnTo>
                        <a:pt x="1448" y="1142"/>
                      </a:lnTo>
                      <a:lnTo>
                        <a:pt x="1448" y="1141"/>
                      </a:lnTo>
                      <a:lnTo>
                        <a:pt x="1450" y="1141"/>
                      </a:lnTo>
                      <a:close/>
                      <a:moveTo>
                        <a:pt x="1056" y="991"/>
                      </a:moveTo>
                      <a:lnTo>
                        <a:pt x="1057" y="991"/>
                      </a:lnTo>
                      <a:lnTo>
                        <a:pt x="1057" y="992"/>
                      </a:lnTo>
                      <a:lnTo>
                        <a:pt x="1056" y="992"/>
                      </a:lnTo>
                      <a:lnTo>
                        <a:pt x="1056" y="991"/>
                      </a:lnTo>
                      <a:close/>
                      <a:moveTo>
                        <a:pt x="1353" y="1168"/>
                      </a:moveTo>
                      <a:lnTo>
                        <a:pt x="1353" y="1170"/>
                      </a:lnTo>
                      <a:lnTo>
                        <a:pt x="1353" y="1168"/>
                      </a:lnTo>
                      <a:close/>
                      <a:moveTo>
                        <a:pt x="1355" y="1164"/>
                      </a:moveTo>
                      <a:lnTo>
                        <a:pt x="1356" y="1164"/>
                      </a:lnTo>
                      <a:lnTo>
                        <a:pt x="1356" y="1166"/>
                      </a:lnTo>
                      <a:lnTo>
                        <a:pt x="1355" y="1166"/>
                      </a:lnTo>
                      <a:lnTo>
                        <a:pt x="1355" y="1164"/>
                      </a:lnTo>
                      <a:close/>
                      <a:moveTo>
                        <a:pt x="1417" y="1127"/>
                      </a:moveTo>
                      <a:lnTo>
                        <a:pt x="1418" y="1127"/>
                      </a:lnTo>
                      <a:lnTo>
                        <a:pt x="1419" y="1127"/>
                      </a:lnTo>
                      <a:lnTo>
                        <a:pt x="1419" y="1128"/>
                      </a:lnTo>
                      <a:lnTo>
                        <a:pt x="1418" y="1128"/>
                      </a:lnTo>
                      <a:lnTo>
                        <a:pt x="1416" y="1128"/>
                      </a:lnTo>
                      <a:lnTo>
                        <a:pt x="1416" y="1127"/>
                      </a:lnTo>
                      <a:lnTo>
                        <a:pt x="1417" y="1127"/>
                      </a:lnTo>
                      <a:lnTo>
                        <a:pt x="1416" y="1127"/>
                      </a:lnTo>
                      <a:lnTo>
                        <a:pt x="1417" y="1127"/>
                      </a:lnTo>
                      <a:close/>
                      <a:moveTo>
                        <a:pt x="1188" y="910"/>
                      </a:moveTo>
                      <a:lnTo>
                        <a:pt x="1190" y="910"/>
                      </a:lnTo>
                      <a:lnTo>
                        <a:pt x="1190" y="912"/>
                      </a:lnTo>
                      <a:lnTo>
                        <a:pt x="1188" y="912"/>
                      </a:lnTo>
                      <a:lnTo>
                        <a:pt x="1188" y="910"/>
                      </a:lnTo>
                      <a:close/>
                      <a:moveTo>
                        <a:pt x="1065" y="969"/>
                      </a:moveTo>
                      <a:lnTo>
                        <a:pt x="1066" y="969"/>
                      </a:lnTo>
                      <a:lnTo>
                        <a:pt x="1066" y="970"/>
                      </a:lnTo>
                      <a:lnTo>
                        <a:pt x="1065" y="970"/>
                      </a:lnTo>
                      <a:lnTo>
                        <a:pt x="1065" y="969"/>
                      </a:lnTo>
                      <a:close/>
                      <a:moveTo>
                        <a:pt x="1363" y="1038"/>
                      </a:moveTo>
                      <a:lnTo>
                        <a:pt x="1364" y="1038"/>
                      </a:lnTo>
                      <a:lnTo>
                        <a:pt x="1364" y="1039"/>
                      </a:lnTo>
                      <a:lnTo>
                        <a:pt x="1363" y="1039"/>
                      </a:lnTo>
                      <a:lnTo>
                        <a:pt x="1363" y="1038"/>
                      </a:lnTo>
                      <a:close/>
                      <a:moveTo>
                        <a:pt x="1063" y="953"/>
                      </a:moveTo>
                      <a:lnTo>
                        <a:pt x="1064" y="953"/>
                      </a:lnTo>
                      <a:lnTo>
                        <a:pt x="1064" y="954"/>
                      </a:lnTo>
                      <a:lnTo>
                        <a:pt x="1063" y="954"/>
                      </a:lnTo>
                      <a:lnTo>
                        <a:pt x="1063" y="953"/>
                      </a:lnTo>
                      <a:close/>
                      <a:moveTo>
                        <a:pt x="1093" y="800"/>
                      </a:moveTo>
                      <a:lnTo>
                        <a:pt x="1095" y="800"/>
                      </a:lnTo>
                      <a:lnTo>
                        <a:pt x="1095" y="801"/>
                      </a:lnTo>
                      <a:lnTo>
                        <a:pt x="1093" y="801"/>
                      </a:lnTo>
                      <a:lnTo>
                        <a:pt x="1093" y="800"/>
                      </a:lnTo>
                      <a:close/>
                      <a:moveTo>
                        <a:pt x="1306" y="952"/>
                      </a:moveTo>
                      <a:lnTo>
                        <a:pt x="1308" y="952"/>
                      </a:lnTo>
                      <a:lnTo>
                        <a:pt x="1308" y="953"/>
                      </a:lnTo>
                      <a:lnTo>
                        <a:pt x="1306" y="953"/>
                      </a:lnTo>
                      <a:lnTo>
                        <a:pt x="1306" y="952"/>
                      </a:lnTo>
                      <a:close/>
                      <a:moveTo>
                        <a:pt x="1364" y="1016"/>
                      </a:moveTo>
                      <a:lnTo>
                        <a:pt x="1365" y="1016"/>
                      </a:lnTo>
                      <a:lnTo>
                        <a:pt x="1365" y="1017"/>
                      </a:lnTo>
                      <a:lnTo>
                        <a:pt x="1364" y="1017"/>
                      </a:lnTo>
                      <a:lnTo>
                        <a:pt x="1364" y="1018"/>
                      </a:lnTo>
                      <a:lnTo>
                        <a:pt x="1365" y="1018"/>
                      </a:lnTo>
                      <a:lnTo>
                        <a:pt x="1364" y="1018"/>
                      </a:lnTo>
                      <a:lnTo>
                        <a:pt x="1364" y="1017"/>
                      </a:lnTo>
                      <a:lnTo>
                        <a:pt x="1364" y="1016"/>
                      </a:lnTo>
                      <a:close/>
                      <a:moveTo>
                        <a:pt x="1365" y="1027"/>
                      </a:moveTo>
                      <a:lnTo>
                        <a:pt x="1364" y="1026"/>
                      </a:lnTo>
                      <a:lnTo>
                        <a:pt x="1364" y="1025"/>
                      </a:lnTo>
                      <a:lnTo>
                        <a:pt x="1364" y="1024"/>
                      </a:lnTo>
                      <a:lnTo>
                        <a:pt x="1364" y="1022"/>
                      </a:lnTo>
                      <a:lnTo>
                        <a:pt x="1364" y="1024"/>
                      </a:lnTo>
                      <a:lnTo>
                        <a:pt x="1364" y="1025"/>
                      </a:lnTo>
                      <a:lnTo>
                        <a:pt x="1364" y="1026"/>
                      </a:lnTo>
                      <a:lnTo>
                        <a:pt x="1365" y="1027"/>
                      </a:lnTo>
                      <a:close/>
                      <a:moveTo>
                        <a:pt x="1199" y="925"/>
                      </a:moveTo>
                      <a:lnTo>
                        <a:pt x="1200" y="925"/>
                      </a:lnTo>
                      <a:lnTo>
                        <a:pt x="1200" y="926"/>
                      </a:lnTo>
                      <a:lnTo>
                        <a:pt x="1199" y="926"/>
                      </a:lnTo>
                      <a:lnTo>
                        <a:pt x="1199" y="925"/>
                      </a:lnTo>
                      <a:close/>
                      <a:moveTo>
                        <a:pt x="1092" y="968"/>
                      </a:moveTo>
                      <a:lnTo>
                        <a:pt x="1093" y="968"/>
                      </a:lnTo>
                      <a:lnTo>
                        <a:pt x="1093" y="970"/>
                      </a:lnTo>
                      <a:lnTo>
                        <a:pt x="1092" y="970"/>
                      </a:lnTo>
                      <a:lnTo>
                        <a:pt x="1092" y="968"/>
                      </a:lnTo>
                      <a:close/>
                      <a:moveTo>
                        <a:pt x="1116" y="785"/>
                      </a:moveTo>
                      <a:lnTo>
                        <a:pt x="1115" y="785"/>
                      </a:lnTo>
                      <a:lnTo>
                        <a:pt x="1113" y="785"/>
                      </a:lnTo>
                      <a:lnTo>
                        <a:pt x="1113" y="784"/>
                      </a:lnTo>
                      <a:lnTo>
                        <a:pt x="1115" y="784"/>
                      </a:lnTo>
                      <a:lnTo>
                        <a:pt x="1116" y="785"/>
                      </a:lnTo>
                      <a:close/>
                      <a:moveTo>
                        <a:pt x="1086" y="979"/>
                      </a:moveTo>
                      <a:lnTo>
                        <a:pt x="1086" y="980"/>
                      </a:lnTo>
                      <a:lnTo>
                        <a:pt x="1087" y="980"/>
                      </a:lnTo>
                      <a:lnTo>
                        <a:pt x="1086" y="980"/>
                      </a:lnTo>
                      <a:lnTo>
                        <a:pt x="1086" y="979"/>
                      </a:lnTo>
                      <a:lnTo>
                        <a:pt x="1085" y="979"/>
                      </a:lnTo>
                      <a:lnTo>
                        <a:pt x="1087" y="979"/>
                      </a:lnTo>
                      <a:lnTo>
                        <a:pt x="1086" y="979"/>
                      </a:lnTo>
                      <a:close/>
                      <a:moveTo>
                        <a:pt x="1090" y="983"/>
                      </a:moveTo>
                      <a:lnTo>
                        <a:pt x="1087" y="983"/>
                      </a:lnTo>
                      <a:lnTo>
                        <a:pt x="1087" y="982"/>
                      </a:lnTo>
                      <a:lnTo>
                        <a:pt x="1087" y="983"/>
                      </a:lnTo>
                      <a:lnTo>
                        <a:pt x="1089" y="983"/>
                      </a:lnTo>
                      <a:lnTo>
                        <a:pt x="1089" y="982"/>
                      </a:lnTo>
                      <a:lnTo>
                        <a:pt x="1089" y="983"/>
                      </a:lnTo>
                      <a:lnTo>
                        <a:pt x="1089" y="982"/>
                      </a:lnTo>
                      <a:lnTo>
                        <a:pt x="1090" y="982"/>
                      </a:lnTo>
                      <a:lnTo>
                        <a:pt x="1090" y="983"/>
                      </a:lnTo>
                      <a:close/>
                      <a:moveTo>
                        <a:pt x="1073" y="982"/>
                      </a:moveTo>
                      <a:lnTo>
                        <a:pt x="1073" y="984"/>
                      </a:lnTo>
                      <a:lnTo>
                        <a:pt x="1073" y="986"/>
                      </a:lnTo>
                      <a:lnTo>
                        <a:pt x="1072" y="986"/>
                      </a:lnTo>
                      <a:lnTo>
                        <a:pt x="1072" y="984"/>
                      </a:lnTo>
                      <a:lnTo>
                        <a:pt x="1073" y="984"/>
                      </a:lnTo>
                      <a:lnTo>
                        <a:pt x="1072" y="983"/>
                      </a:lnTo>
                      <a:lnTo>
                        <a:pt x="1073" y="983"/>
                      </a:lnTo>
                      <a:lnTo>
                        <a:pt x="1073" y="982"/>
                      </a:lnTo>
                      <a:close/>
                      <a:moveTo>
                        <a:pt x="1051" y="992"/>
                      </a:moveTo>
                      <a:lnTo>
                        <a:pt x="1052" y="992"/>
                      </a:lnTo>
                      <a:lnTo>
                        <a:pt x="1052" y="993"/>
                      </a:lnTo>
                      <a:lnTo>
                        <a:pt x="1051" y="993"/>
                      </a:lnTo>
                      <a:lnTo>
                        <a:pt x="1051" y="992"/>
                      </a:lnTo>
                      <a:close/>
                      <a:moveTo>
                        <a:pt x="1420" y="1116"/>
                      </a:moveTo>
                      <a:lnTo>
                        <a:pt x="1421" y="1116"/>
                      </a:lnTo>
                      <a:lnTo>
                        <a:pt x="1421" y="1117"/>
                      </a:lnTo>
                      <a:lnTo>
                        <a:pt x="1420" y="1117"/>
                      </a:lnTo>
                      <a:lnTo>
                        <a:pt x="1420" y="1116"/>
                      </a:lnTo>
                      <a:close/>
                      <a:moveTo>
                        <a:pt x="1296" y="947"/>
                      </a:moveTo>
                      <a:lnTo>
                        <a:pt x="1297" y="947"/>
                      </a:lnTo>
                      <a:lnTo>
                        <a:pt x="1297" y="949"/>
                      </a:lnTo>
                      <a:lnTo>
                        <a:pt x="1296" y="949"/>
                      </a:lnTo>
                      <a:lnTo>
                        <a:pt x="1296" y="947"/>
                      </a:lnTo>
                      <a:close/>
                      <a:moveTo>
                        <a:pt x="1364" y="1024"/>
                      </a:moveTo>
                      <a:lnTo>
                        <a:pt x="1365" y="1024"/>
                      </a:lnTo>
                      <a:lnTo>
                        <a:pt x="1365" y="1026"/>
                      </a:lnTo>
                      <a:lnTo>
                        <a:pt x="1364" y="1026"/>
                      </a:lnTo>
                      <a:lnTo>
                        <a:pt x="1364" y="1024"/>
                      </a:lnTo>
                      <a:close/>
                      <a:moveTo>
                        <a:pt x="1418" y="1000"/>
                      </a:moveTo>
                      <a:lnTo>
                        <a:pt x="1419" y="1000"/>
                      </a:lnTo>
                      <a:lnTo>
                        <a:pt x="1419" y="1001"/>
                      </a:lnTo>
                      <a:lnTo>
                        <a:pt x="1418" y="1001"/>
                      </a:lnTo>
                      <a:lnTo>
                        <a:pt x="1418" y="1000"/>
                      </a:lnTo>
                      <a:close/>
                      <a:moveTo>
                        <a:pt x="1063" y="934"/>
                      </a:moveTo>
                      <a:lnTo>
                        <a:pt x="1064" y="934"/>
                      </a:lnTo>
                      <a:lnTo>
                        <a:pt x="1064" y="935"/>
                      </a:lnTo>
                      <a:lnTo>
                        <a:pt x="1063" y="935"/>
                      </a:lnTo>
                      <a:lnTo>
                        <a:pt x="1063" y="934"/>
                      </a:lnTo>
                      <a:close/>
                      <a:moveTo>
                        <a:pt x="1412" y="1118"/>
                      </a:moveTo>
                      <a:lnTo>
                        <a:pt x="1412" y="1117"/>
                      </a:lnTo>
                      <a:lnTo>
                        <a:pt x="1410" y="1117"/>
                      </a:lnTo>
                      <a:lnTo>
                        <a:pt x="1410" y="1116"/>
                      </a:lnTo>
                      <a:lnTo>
                        <a:pt x="1412" y="1117"/>
                      </a:lnTo>
                      <a:lnTo>
                        <a:pt x="1412" y="1118"/>
                      </a:lnTo>
                      <a:close/>
                      <a:moveTo>
                        <a:pt x="1306" y="953"/>
                      </a:moveTo>
                      <a:lnTo>
                        <a:pt x="1308" y="953"/>
                      </a:lnTo>
                      <a:lnTo>
                        <a:pt x="1308" y="954"/>
                      </a:lnTo>
                      <a:lnTo>
                        <a:pt x="1306" y="954"/>
                      </a:lnTo>
                      <a:lnTo>
                        <a:pt x="1306" y="953"/>
                      </a:lnTo>
                      <a:close/>
                      <a:moveTo>
                        <a:pt x="1369" y="1140"/>
                      </a:moveTo>
                      <a:lnTo>
                        <a:pt x="1370" y="1140"/>
                      </a:lnTo>
                      <a:lnTo>
                        <a:pt x="1370" y="1142"/>
                      </a:lnTo>
                      <a:lnTo>
                        <a:pt x="1369" y="1142"/>
                      </a:lnTo>
                      <a:lnTo>
                        <a:pt x="1369" y="1140"/>
                      </a:lnTo>
                      <a:close/>
                      <a:moveTo>
                        <a:pt x="1345" y="999"/>
                      </a:moveTo>
                      <a:lnTo>
                        <a:pt x="1347" y="999"/>
                      </a:lnTo>
                      <a:lnTo>
                        <a:pt x="1347" y="1001"/>
                      </a:lnTo>
                      <a:lnTo>
                        <a:pt x="1345" y="1001"/>
                      </a:lnTo>
                      <a:lnTo>
                        <a:pt x="1345" y="999"/>
                      </a:lnTo>
                      <a:close/>
                      <a:moveTo>
                        <a:pt x="1348" y="1120"/>
                      </a:moveTo>
                      <a:lnTo>
                        <a:pt x="1348" y="1121"/>
                      </a:lnTo>
                      <a:lnTo>
                        <a:pt x="1348" y="1120"/>
                      </a:lnTo>
                      <a:close/>
                      <a:moveTo>
                        <a:pt x="1431" y="1132"/>
                      </a:moveTo>
                      <a:lnTo>
                        <a:pt x="1432" y="1132"/>
                      </a:lnTo>
                      <a:lnTo>
                        <a:pt x="1432" y="1133"/>
                      </a:lnTo>
                      <a:lnTo>
                        <a:pt x="1431" y="1133"/>
                      </a:lnTo>
                      <a:lnTo>
                        <a:pt x="1431" y="1132"/>
                      </a:lnTo>
                      <a:close/>
                      <a:moveTo>
                        <a:pt x="1420" y="1018"/>
                      </a:moveTo>
                      <a:lnTo>
                        <a:pt x="1421" y="1018"/>
                      </a:lnTo>
                      <a:lnTo>
                        <a:pt x="1421" y="1019"/>
                      </a:lnTo>
                      <a:lnTo>
                        <a:pt x="1420" y="1019"/>
                      </a:lnTo>
                      <a:lnTo>
                        <a:pt x="1420" y="1018"/>
                      </a:lnTo>
                      <a:close/>
                      <a:moveTo>
                        <a:pt x="1369" y="1137"/>
                      </a:moveTo>
                      <a:lnTo>
                        <a:pt x="1371" y="1137"/>
                      </a:lnTo>
                      <a:lnTo>
                        <a:pt x="1371" y="1140"/>
                      </a:lnTo>
                      <a:lnTo>
                        <a:pt x="1369" y="1140"/>
                      </a:lnTo>
                      <a:lnTo>
                        <a:pt x="1369" y="1137"/>
                      </a:lnTo>
                      <a:close/>
                      <a:moveTo>
                        <a:pt x="1277" y="962"/>
                      </a:moveTo>
                      <a:lnTo>
                        <a:pt x="1278" y="962"/>
                      </a:lnTo>
                      <a:lnTo>
                        <a:pt x="1278" y="964"/>
                      </a:lnTo>
                      <a:lnTo>
                        <a:pt x="1277" y="964"/>
                      </a:lnTo>
                      <a:lnTo>
                        <a:pt x="1277" y="962"/>
                      </a:lnTo>
                      <a:close/>
                      <a:moveTo>
                        <a:pt x="1065" y="984"/>
                      </a:moveTo>
                      <a:lnTo>
                        <a:pt x="1066" y="984"/>
                      </a:lnTo>
                      <a:lnTo>
                        <a:pt x="1066" y="986"/>
                      </a:lnTo>
                      <a:lnTo>
                        <a:pt x="1065" y="986"/>
                      </a:lnTo>
                      <a:lnTo>
                        <a:pt x="1065" y="984"/>
                      </a:lnTo>
                      <a:close/>
                      <a:moveTo>
                        <a:pt x="1006" y="979"/>
                      </a:moveTo>
                      <a:lnTo>
                        <a:pt x="1008" y="979"/>
                      </a:lnTo>
                      <a:lnTo>
                        <a:pt x="1008" y="981"/>
                      </a:lnTo>
                      <a:lnTo>
                        <a:pt x="1006" y="981"/>
                      </a:lnTo>
                      <a:lnTo>
                        <a:pt x="1006" y="979"/>
                      </a:lnTo>
                      <a:close/>
                      <a:moveTo>
                        <a:pt x="1362" y="1000"/>
                      </a:moveTo>
                      <a:lnTo>
                        <a:pt x="1363" y="1000"/>
                      </a:lnTo>
                      <a:lnTo>
                        <a:pt x="1363" y="1001"/>
                      </a:lnTo>
                      <a:lnTo>
                        <a:pt x="1362" y="1001"/>
                      </a:lnTo>
                      <a:lnTo>
                        <a:pt x="1362" y="1000"/>
                      </a:lnTo>
                      <a:close/>
                      <a:moveTo>
                        <a:pt x="1344" y="995"/>
                      </a:moveTo>
                      <a:lnTo>
                        <a:pt x="1347" y="995"/>
                      </a:lnTo>
                      <a:lnTo>
                        <a:pt x="1347" y="996"/>
                      </a:lnTo>
                      <a:lnTo>
                        <a:pt x="1344" y="996"/>
                      </a:lnTo>
                      <a:lnTo>
                        <a:pt x="1344" y="995"/>
                      </a:lnTo>
                      <a:close/>
                      <a:moveTo>
                        <a:pt x="1316" y="1110"/>
                      </a:moveTo>
                      <a:lnTo>
                        <a:pt x="1316" y="1109"/>
                      </a:lnTo>
                      <a:lnTo>
                        <a:pt x="1316" y="1108"/>
                      </a:lnTo>
                      <a:lnTo>
                        <a:pt x="1315" y="1108"/>
                      </a:lnTo>
                      <a:lnTo>
                        <a:pt x="1315" y="1107"/>
                      </a:lnTo>
                      <a:lnTo>
                        <a:pt x="1316" y="1108"/>
                      </a:lnTo>
                      <a:lnTo>
                        <a:pt x="1316" y="1109"/>
                      </a:lnTo>
                      <a:lnTo>
                        <a:pt x="1316" y="1110"/>
                      </a:lnTo>
                      <a:close/>
                      <a:moveTo>
                        <a:pt x="1192" y="911"/>
                      </a:moveTo>
                      <a:lnTo>
                        <a:pt x="1193" y="911"/>
                      </a:lnTo>
                      <a:lnTo>
                        <a:pt x="1193" y="912"/>
                      </a:lnTo>
                      <a:lnTo>
                        <a:pt x="1192" y="912"/>
                      </a:lnTo>
                      <a:lnTo>
                        <a:pt x="1192" y="911"/>
                      </a:lnTo>
                      <a:close/>
                      <a:moveTo>
                        <a:pt x="1364" y="1037"/>
                      </a:moveTo>
                      <a:lnTo>
                        <a:pt x="1364" y="1039"/>
                      </a:lnTo>
                      <a:lnTo>
                        <a:pt x="1364" y="1037"/>
                      </a:lnTo>
                      <a:close/>
                      <a:moveTo>
                        <a:pt x="1360" y="1012"/>
                      </a:moveTo>
                      <a:lnTo>
                        <a:pt x="1361" y="1012"/>
                      </a:lnTo>
                      <a:lnTo>
                        <a:pt x="1361" y="1014"/>
                      </a:lnTo>
                      <a:lnTo>
                        <a:pt x="1360" y="1014"/>
                      </a:lnTo>
                      <a:lnTo>
                        <a:pt x="1360" y="1012"/>
                      </a:lnTo>
                      <a:close/>
                      <a:moveTo>
                        <a:pt x="1426" y="1093"/>
                      </a:moveTo>
                      <a:lnTo>
                        <a:pt x="1427" y="1093"/>
                      </a:lnTo>
                      <a:lnTo>
                        <a:pt x="1426" y="1093"/>
                      </a:lnTo>
                      <a:close/>
                      <a:moveTo>
                        <a:pt x="1354" y="1032"/>
                      </a:moveTo>
                      <a:lnTo>
                        <a:pt x="1355" y="1032"/>
                      </a:lnTo>
                      <a:lnTo>
                        <a:pt x="1355" y="1033"/>
                      </a:lnTo>
                      <a:lnTo>
                        <a:pt x="1354" y="1033"/>
                      </a:lnTo>
                      <a:lnTo>
                        <a:pt x="1354" y="1032"/>
                      </a:lnTo>
                      <a:close/>
                      <a:moveTo>
                        <a:pt x="1432" y="1215"/>
                      </a:moveTo>
                      <a:lnTo>
                        <a:pt x="1434" y="1215"/>
                      </a:lnTo>
                      <a:lnTo>
                        <a:pt x="1434" y="1218"/>
                      </a:lnTo>
                      <a:lnTo>
                        <a:pt x="1432" y="1218"/>
                      </a:lnTo>
                      <a:lnTo>
                        <a:pt x="1432" y="1215"/>
                      </a:lnTo>
                      <a:close/>
                      <a:moveTo>
                        <a:pt x="1364" y="1041"/>
                      </a:moveTo>
                      <a:lnTo>
                        <a:pt x="1365" y="1041"/>
                      </a:lnTo>
                      <a:lnTo>
                        <a:pt x="1364" y="1041"/>
                      </a:lnTo>
                      <a:close/>
                      <a:moveTo>
                        <a:pt x="1041" y="940"/>
                      </a:moveTo>
                      <a:lnTo>
                        <a:pt x="1042" y="940"/>
                      </a:lnTo>
                      <a:lnTo>
                        <a:pt x="1042" y="941"/>
                      </a:lnTo>
                      <a:lnTo>
                        <a:pt x="1041" y="941"/>
                      </a:lnTo>
                      <a:lnTo>
                        <a:pt x="1041" y="940"/>
                      </a:lnTo>
                      <a:close/>
                      <a:moveTo>
                        <a:pt x="1042" y="984"/>
                      </a:moveTo>
                      <a:lnTo>
                        <a:pt x="1043" y="984"/>
                      </a:lnTo>
                      <a:lnTo>
                        <a:pt x="1044" y="984"/>
                      </a:lnTo>
                      <a:lnTo>
                        <a:pt x="1043" y="984"/>
                      </a:lnTo>
                      <a:lnTo>
                        <a:pt x="1042" y="986"/>
                      </a:lnTo>
                      <a:lnTo>
                        <a:pt x="1042" y="984"/>
                      </a:lnTo>
                      <a:close/>
                      <a:moveTo>
                        <a:pt x="1386" y="1114"/>
                      </a:moveTo>
                      <a:lnTo>
                        <a:pt x="1387" y="1114"/>
                      </a:lnTo>
                      <a:lnTo>
                        <a:pt x="1387" y="1115"/>
                      </a:lnTo>
                      <a:lnTo>
                        <a:pt x="1386" y="1115"/>
                      </a:lnTo>
                      <a:lnTo>
                        <a:pt x="1386" y="1114"/>
                      </a:lnTo>
                      <a:close/>
                      <a:moveTo>
                        <a:pt x="1285" y="968"/>
                      </a:moveTo>
                      <a:lnTo>
                        <a:pt x="1286" y="968"/>
                      </a:lnTo>
                      <a:lnTo>
                        <a:pt x="1285" y="968"/>
                      </a:lnTo>
                      <a:lnTo>
                        <a:pt x="1284" y="968"/>
                      </a:lnTo>
                      <a:lnTo>
                        <a:pt x="1283" y="968"/>
                      </a:lnTo>
                      <a:lnTo>
                        <a:pt x="1282" y="968"/>
                      </a:lnTo>
                      <a:lnTo>
                        <a:pt x="1283" y="968"/>
                      </a:lnTo>
                      <a:lnTo>
                        <a:pt x="1284" y="968"/>
                      </a:lnTo>
                      <a:lnTo>
                        <a:pt x="1285" y="968"/>
                      </a:lnTo>
                      <a:close/>
                      <a:moveTo>
                        <a:pt x="1057" y="936"/>
                      </a:moveTo>
                      <a:lnTo>
                        <a:pt x="1059" y="936"/>
                      </a:lnTo>
                      <a:lnTo>
                        <a:pt x="1059" y="938"/>
                      </a:lnTo>
                      <a:lnTo>
                        <a:pt x="1057" y="938"/>
                      </a:lnTo>
                      <a:lnTo>
                        <a:pt x="1057" y="936"/>
                      </a:lnTo>
                      <a:close/>
                      <a:moveTo>
                        <a:pt x="1141" y="1009"/>
                      </a:moveTo>
                      <a:lnTo>
                        <a:pt x="1142" y="1011"/>
                      </a:lnTo>
                      <a:lnTo>
                        <a:pt x="1143" y="1011"/>
                      </a:lnTo>
                      <a:lnTo>
                        <a:pt x="1142" y="1011"/>
                      </a:lnTo>
                      <a:lnTo>
                        <a:pt x="1140" y="1009"/>
                      </a:lnTo>
                      <a:lnTo>
                        <a:pt x="1141" y="1008"/>
                      </a:lnTo>
                      <a:lnTo>
                        <a:pt x="1141" y="1009"/>
                      </a:lnTo>
                      <a:close/>
                      <a:moveTo>
                        <a:pt x="1282" y="968"/>
                      </a:moveTo>
                      <a:lnTo>
                        <a:pt x="1284" y="968"/>
                      </a:lnTo>
                      <a:lnTo>
                        <a:pt x="1284" y="970"/>
                      </a:lnTo>
                      <a:lnTo>
                        <a:pt x="1282" y="970"/>
                      </a:lnTo>
                      <a:lnTo>
                        <a:pt x="1282" y="968"/>
                      </a:lnTo>
                      <a:close/>
                      <a:moveTo>
                        <a:pt x="1394" y="1128"/>
                      </a:moveTo>
                      <a:lnTo>
                        <a:pt x="1395" y="1129"/>
                      </a:lnTo>
                      <a:lnTo>
                        <a:pt x="1394" y="1129"/>
                      </a:lnTo>
                      <a:lnTo>
                        <a:pt x="1394" y="1128"/>
                      </a:lnTo>
                      <a:lnTo>
                        <a:pt x="1394" y="1129"/>
                      </a:lnTo>
                      <a:lnTo>
                        <a:pt x="1395" y="1129"/>
                      </a:lnTo>
                      <a:lnTo>
                        <a:pt x="1395" y="1130"/>
                      </a:lnTo>
                      <a:lnTo>
                        <a:pt x="1394" y="1130"/>
                      </a:lnTo>
                      <a:lnTo>
                        <a:pt x="1394" y="1129"/>
                      </a:lnTo>
                      <a:lnTo>
                        <a:pt x="1394" y="1128"/>
                      </a:lnTo>
                      <a:close/>
                      <a:moveTo>
                        <a:pt x="1201" y="1050"/>
                      </a:moveTo>
                      <a:lnTo>
                        <a:pt x="1201" y="1051"/>
                      </a:lnTo>
                      <a:lnTo>
                        <a:pt x="1202" y="1050"/>
                      </a:lnTo>
                      <a:lnTo>
                        <a:pt x="1202" y="1051"/>
                      </a:lnTo>
                      <a:lnTo>
                        <a:pt x="1201" y="1051"/>
                      </a:lnTo>
                      <a:lnTo>
                        <a:pt x="1200" y="1050"/>
                      </a:lnTo>
                      <a:lnTo>
                        <a:pt x="1201" y="1050"/>
                      </a:lnTo>
                      <a:close/>
                      <a:moveTo>
                        <a:pt x="1078" y="981"/>
                      </a:moveTo>
                      <a:lnTo>
                        <a:pt x="1079" y="981"/>
                      </a:lnTo>
                      <a:lnTo>
                        <a:pt x="1079" y="982"/>
                      </a:lnTo>
                      <a:lnTo>
                        <a:pt x="1078" y="982"/>
                      </a:lnTo>
                      <a:lnTo>
                        <a:pt x="1078" y="981"/>
                      </a:lnTo>
                      <a:close/>
                      <a:moveTo>
                        <a:pt x="1135" y="977"/>
                      </a:moveTo>
                      <a:lnTo>
                        <a:pt x="1136" y="978"/>
                      </a:lnTo>
                      <a:lnTo>
                        <a:pt x="1135" y="977"/>
                      </a:lnTo>
                      <a:lnTo>
                        <a:pt x="1134" y="977"/>
                      </a:lnTo>
                      <a:lnTo>
                        <a:pt x="1134" y="976"/>
                      </a:lnTo>
                      <a:lnTo>
                        <a:pt x="1135" y="976"/>
                      </a:lnTo>
                      <a:lnTo>
                        <a:pt x="1135" y="977"/>
                      </a:lnTo>
                      <a:close/>
                      <a:moveTo>
                        <a:pt x="1041" y="983"/>
                      </a:moveTo>
                      <a:lnTo>
                        <a:pt x="1040" y="983"/>
                      </a:lnTo>
                      <a:lnTo>
                        <a:pt x="1040" y="984"/>
                      </a:lnTo>
                      <a:lnTo>
                        <a:pt x="1040" y="983"/>
                      </a:lnTo>
                      <a:lnTo>
                        <a:pt x="1041" y="983"/>
                      </a:lnTo>
                      <a:close/>
                      <a:moveTo>
                        <a:pt x="1410" y="1093"/>
                      </a:moveTo>
                      <a:lnTo>
                        <a:pt x="1412" y="1093"/>
                      </a:lnTo>
                      <a:lnTo>
                        <a:pt x="1412" y="1094"/>
                      </a:lnTo>
                      <a:lnTo>
                        <a:pt x="1410" y="1094"/>
                      </a:lnTo>
                      <a:lnTo>
                        <a:pt x="1410" y="1093"/>
                      </a:lnTo>
                      <a:close/>
                      <a:moveTo>
                        <a:pt x="1357" y="1029"/>
                      </a:moveTo>
                      <a:lnTo>
                        <a:pt x="1358" y="1029"/>
                      </a:lnTo>
                      <a:lnTo>
                        <a:pt x="1358" y="1030"/>
                      </a:lnTo>
                      <a:lnTo>
                        <a:pt x="1357" y="1030"/>
                      </a:lnTo>
                      <a:lnTo>
                        <a:pt x="1357" y="1029"/>
                      </a:lnTo>
                      <a:close/>
                      <a:moveTo>
                        <a:pt x="1312" y="1106"/>
                      </a:moveTo>
                      <a:lnTo>
                        <a:pt x="1310" y="1106"/>
                      </a:lnTo>
                      <a:lnTo>
                        <a:pt x="1311" y="1106"/>
                      </a:lnTo>
                      <a:lnTo>
                        <a:pt x="1312" y="1106"/>
                      </a:lnTo>
                      <a:close/>
                      <a:moveTo>
                        <a:pt x="1111" y="783"/>
                      </a:moveTo>
                      <a:lnTo>
                        <a:pt x="1112" y="783"/>
                      </a:lnTo>
                      <a:lnTo>
                        <a:pt x="1112" y="784"/>
                      </a:lnTo>
                      <a:lnTo>
                        <a:pt x="1111" y="784"/>
                      </a:lnTo>
                      <a:lnTo>
                        <a:pt x="1111" y="783"/>
                      </a:lnTo>
                      <a:close/>
                      <a:moveTo>
                        <a:pt x="1295" y="953"/>
                      </a:moveTo>
                      <a:lnTo>
                        <a:pt x="1296" y="953"/>
                      </a:lnTo>
                      <a:lnTo>
                        <a:pt x="1296" y="954"/>
                      </a:lnTo>
                      <a:lnTo>
                        <a:pt x="1295" y="954"/>
                      </a:lnTo>
                      <a:lnTo>
                        <a:pt x="1295" y="953"/>
                      </a:lnTo>
                      <a:close/>
                      <a:moveTo>
                        <a:pt x="1042" y="941"/>
                      </a:moveTo>
                      <a:lnTo>
                        <a:pt x="1044" y="941"/>
                      </a:lnTo>
                      <a:lnTo>
                        <a:pt x="1042" y="941"/>
                      </a:lnTo>
                      <a:close/>
                      <a:moveTo>
                        <a:pt x="1045" y="931"/>
                      </a:moveTo>
                      <a:lnTo>
                        <a:pt x="1046" y="931"/>
                      </a:lnTo>
                      <a:lnTo>
                        <a:pt x="1047" y="932"/>
                      </a:lnTo>
                      <a:lnTo>
                        <a:pt x="1046" y="932"/>
                      </a:lnTo>
                      <a:lnTo>
                        <a:pt x="1045" y="932"/>
                      </a:lnTo>
                      <a:lnTo>
                        <a:pt x="1045" y="931"/>
                      </a:lnTo>
                      <a:lnTo>
                        <a:pt x="1045" y="932"/>
                      </a:lnTo>
                      <a:lnTo>
                        <a:pt x="1045" y="931"/>
                      </a:lnTo>
                      <a:close/>
                      <a:moveTo>
                        <a:pt x="1367" y="1002"/>
                      </a:moveTo>
                      <a:lnTo>
                        <a:pt x="1369" y="1002"/>
                      </a:lnTo>
                      <a:lnTo>
                        <a:pt x="1369" y="1004"/>
                      </a:lnTo>
                      <a:lnTo>
                        <a:pt x="1367" y="1004"/>
                      </a:lnTo>
                      <a:lnTo>
                        <a:pt x="1367" y="1002"/>
                      </a:lnTo>
                      <a:close/>
                      <a:moveTo>
                        <a:pt x="1353" y="1013"/>
                      </a:moveTo>
                      <a:lnTo>
                        <a:pt x="1355" y="1013"/>
                      </a:lnTo>
                      <a:lnTo>
                        <a:pt x="1355" y="1014"/>
                      </a:lnTo>
                      <a:lnTo>
                        <a:pt x="1353" y="1014"/>
                      </a:lnTo>
                      <a:lnTo>
                        <a:pt x="1353" y="1013"/>
                      </a:lnTo>
                      <a:close/>
                      <a:moveTo>
                        <a:pt x="1351" y="999"/>
                      </a:moveTo>
                      <a:lnTo>
                        <a:pt x="1352" y="999"/>
                      </a:lnTo>
                      <a:lnTo>
                        <a:pt x="1352" y="1001"/>
                      </a:lnTo>
                      <a:lnTo>
                        <a:pt x="1351" y="1001"/>
                      </a:lnTo>
                      <a:lnTo>
                        <a:pt x="1351" y="999"/>
                      </a:lnTo>
                      <a:close/>
                      <a:moveTo>
                        <a:pt x="1284" y="1251"/>
                      </a:moveTo>
                      <a:lnTo>
                        <a:pt x="1285" y="1251"/>
                      </a:lnTo>
                      <a:lnTo>
                        <a:pt x="1285" y="1252"/>
                      </a:lnTo>
                      <a:lnTo>
                        <a:pt x="1284" y="1252"/>
                      </a:lnTo>
                      <a:lnTo>
                        <a:pt x="1284" y="1251"/>
                      </a:lnTo>
                      <a:close/>
                      <a:moveTo>
                        <a:pt x="1353" y="1050"/>
                      </a:moveTo>
                      <a:lnTo>
                        <a:pt x="1354" y="1050"/>
                      </a:lnTo>
                      <a:lnTo>
                        <a:pt x="1354" y="1051"/>
                      </a:lnTo>
                      <a:lnTo>
                        <a:pt x="1353" y="1051"/>
                      </a:lnTo>
                      <a:lnTo>
                        <a:pt x="1353" y="1050"/>
                      </a:lnTo>
                      <a:close/>
                      <a:moveTo>
                        <a:pt x="1051" y="992"/>
                      </a:moveTo>
                      <a:lnTo>
                        <a:pt x="1051" y="993"/>
                      </a:lnTo>
                      <a:lnTo>
                        <a:pt x="1050" y="993"/>
                      </a:lnTo>
                      <a:lnTo>
                        <a:pt x="1050" y="994"/>
                      </a:lnTo>
                      <a:lnTo>
                        <a:pt x="1050" y="993"/>
                      </a:lnTo>
                      <a:lnTo>
                        <a:pt x="1048" y="993"/>
                      </a:lnTo>
                      <a:lnTo>
                        <a:pt x="1050" y="993"/>
                      </a:lnTo>
                      <a:lnTo>
                        <a:pt x="1050" y="992"/>
                      </a:lnTo>
                      <a:lnTo>
                        <a:pt x="1051" y="992"/>
                      </a:lnTo>
                      <a:close/>
                      <a:moveTo>
                        <a:pt x="1364" y="999"/>
                      </a:moveTo>
                      <a:lnTo>
                        <a:pt x="1366" y="999"/>
                      </a:lnTo>
                      <a:lnTo>
                        <a:pt x="1364" y="999"/>
                      </a:lnTo>
                      <a:close/>
                      <a:moveTo>
                        <a:pt x="1418" y="1129"/>
                      </a:moveTo>
                      <a:lnTo>
                        <a:pt x="1419" y="1129"/>
                      </a:lnTo>
                      <a:lnTo>
                        <a:pt x="1419" y="1130"/>
                      </a:lnTo>
                      <a:lnTo>
                        <a:pt x="1418" y="1130"/>
                      </a:lnTo>
                      <a:lnTo>
                        <a:pt x="1418" y="1129"/>
                      </a:lnTo>
                      <a:lnTo>
                        <a:pt x="1418" y="1130"/>
                      </a:lnTo>
                      <a:lnTo>
                        <a:pt x="1417" y="1130"/>
                      </a:lnTo>
                      <a:lnTo>
                        <a:pt x="1417" y="1129"/>
                      </a:lnTo>
                      <a:lnTo>
                        <a:pt x="1418" y="1129"/>
                      </a:lnTo>
                      <a:close/>
                      <a:moveTo>
                        <a:pt x="1410" y="1114"/>
                      </a:moveTo>
                      <a:lnTo>
                        <a:pt x="1412" y="1114"/>
                      </a:lnTo>
                      <a:lnTo>
                        <a:pt x="1412" y="1115"/>
                      </a:lnTo>
                      <a:lnTo>
                        <a:pt x="1410" y="1115"/>
                      </a:lnTo>
                      <a:lnTo>
                        <a:pt x="1410" y="1114"/>
                      </a:lnTo>
                      <a:close/>
                      <a:moveTo>
                        <a:pt x="1283" y="1124"/>
                      </a:moveTo>
                      <a:lnTo>
                        <a:pt x="1284" y="1124"/>
                      </a:lnTo>
                      <a:lnTo>
                        <a:pt x="1284" y="1125"/>
                      </a:lnTo>
                      <a:lnTo>
                        <a:pt x="1283" y="1125"/>
                      </a:lnTo>
                      <a:lnTo>
                        <a:pt x="1283" y="1124"/>
                      </a:lnTo>
                      <a:close/>
                      <a:moveTo>
                        <a:pt x="1045" y="930"/>
                      </a:moveTo>
                      <a:lnTo>
                        <a:pt x="1046" y="930"/>
                      </a:lnTo>
                      <a:lnTo>
                        <a:pt x="1046" y="931"/>
                      </a:lnTo>
                      <a:lnTo>
                        <a:pt x="1045" y="931"/>
                      </a:lnTo>
                      <a:lnTo>
                        <a:pt x="1045" y="930"/>
                      </a:lnTo>
                      <a:close/>
                      <a:moveTo>
                        <a:pt x="1438" y="1133"/>
                      </a:moveTo>
                      <a:lnTo>
                        <a:pt x="1440" y="1133"/>
                      </a:lnTo>
                      <a:lnTo>
                        <a:pt x="1440" y="1134"/>
                      </a:lnTo>
                      <a:lnTo>
                        <a:pt x="1438" y="1134"/>
                      </a:lnTo>
                      <a:lnTo>
                        <a:pt x="1438" y="1133"/>
                      </a:lnTo>
                      <a:close/>
                      <a:moveTo>
                        <a:pt x="1337" y="1018"/>
                      </a:moveTo>
                      <a:lnTo>
                        <a:pt x="1338" y="1018"/>
                      </a:lnTo>
                      <a:lnTo>
                        <a:pt x="1338" y="1019"/>
                      </a:lnTo>
                      <a:lnTo>
                        <a:pt x="1337" y="1019"/>
                      </a:lnTo>
                      <a:lnTo>
                        <a:pt x="1337" y="1018"/>
                      </a:lnTo>
                      <a:close/>
                      <a:moveTo>
                        <a:pt x="1106" y="977"/>
                      </a:moveTo>
                      <a:lnTo>
                        <a:pt x="1105" y="977"/>
                      </a:lnTo>
                      <a:lnTo>
                        <a:pt x="1106" y="977"/>
                      </a:lnTo>
                      <a:lnTo>
                        <a:pt x="1105" y="977"/>
                      </a:lnTo>
                      <a:lnTo>
                        <a:pt x="1106" y="977"/>
                      </a:lnTo>
                      <a:lnTo>
                        <a:pt x="1107" y="976"/>
                      </a:lnTo>
                      <a:lnTo>
                        <a:pt x="1106" y="977"/>
                      </a:lnTo>
                      <a:close/>
                      <a:moveTo>
                        <a:pt x="1327" y="1187"/>
                      </a:moveTo>
                      <a:lnTo>
                        <a:pt x="1328" y="1187"/>
                      </a:lnTo>
                      <a:lnTo>
                        <a:pt x="1328" y="1189"/>
                      </a:lnTo>
                      <a:lnTo>
                        <a:pt x="1327" y="1189"/>
                      </a:lnTo>
                      <a:lnTo>
                        <a:pt x="1327" y="1187"/>
                      </a:lnTo>
                      <a:close/>
                      <a:moveTo>
                        <a:pt x="1373" y="1141"/>
                      </a:moveTo>
                      <a:lnTo>
                        <a:pt x="1374" y="1141"/>
                      </a:lnTo>
                      <a:lnTo>
                        <a:pt x="1374" y="1142"/>
                      </a:lnTo>
                      <a:lnTo>
                        <a:pt x="1373" y="1142"/>
                      </a:lnTo>
                      <a:lnTo>
                        <a:pt x="1373" y="1141"/>
                      </a:lnTo>
                      <a:close/>
                      <a:moveTo>
                        <a:pt x="1360" y="991"/>
                      </a:moveTo>
                      <a:lnTo>
                        <a:pt x="1361" y="991"/>
                      </a:lnTo>
                      <a:lnTo>
                        <a:pt x="1361" y="992"/>
                      </a:lnTo>
                      <a:lnTo>
                        <a:pt x="1360" y="992"/>
                      </a:lnTo>
                      <a:lnTo>
                        <a:pt x="1360" y="991"/>
                      </a:lnTo>
                      <a:close/>
                      <a:moveTo>
                        <a:pt x="1046" y="987"/>
                      </a:moveTo>
                      <a:lnTo>
                        <a:pt x="1048" y="987"/>
                      </a:lnTo>
                      <a:lnTo>
                        <a:pt x="1048" y="988"/>
                      </a:lnTo>
                      <a:lnTo>
                        <a:pt x="1046" y="988"/>
                      </a:lnTo>
                      <a:lnTo>
                        <a:pt x="1046" y="987"/>
                      </a:lnTo>
                      <a:close/>
                      <a:moveTo>
                        <a:pt x="1451" y="1128"/>
                      </a:moveTo>
                      <a:lnTo>
                        <a:pt x="1452" y="1128"/>
                      </a:lnTo>
                      <a:lnTo>
                        <a:pt x="1452" y="1129"/>
                      </a:lnTo>
                      <a:lnTo>
                        <a:pt x="1451" y="1129"/>
                      </a:lnTo>
                      <a:lnTo>
                        <a:pt x="1451" y="1128"/>
                      </a:lnTo>
                      <a:close/>
                      <a:moveTo>
                        <a:pt x="1422" y="1098"/>
                      </a:moveTo>
                      <a:lnTo>
                        <a:pt x="1424" y="1098"/>
                      </a:lnTo>
                      <a:lnTo>
                        <a:pt x="1424" y="1099"/>
                      </a:lnTo>
                      <a:lnTo>
                        <a:pt x="1422" y="1099"/>
                      </a:lnTo>
                      <a:lnTo>
                        <a:pt x="1422" y="1098"/>
                      </a:lnTo>
                      <a:close/>
                      <a:moveTo>
                        <a:pt x="1100" y="800"/>
                      </a:moveTo>
                      <a:lnTo>
                        <a:pt x="1103" y="800"/>
                      </a:lnTo>
                      <a:lnTo>
                        <a:pt x="1103" y="802"/>
                      </a:lnTo>
                      <a:lnTo>
                        <a:pt x="1100" y="802"/>
                      </a:lnTo>
                      <a:lnTo>
                        <a:pt x="1100" y="800"/>
                      </a:lnTo>
                      <a:close/>
                      <a:moveTo>
                        <a:pt x="1130" y="978"/>
                      </a:moveTo>
                      <a:lnTo>
                        <a:pt x="1131" y="978"/>
                      </a:lnTo>
                      <a:lnTo>
                        <a:pt x="1131" y="979"/>
                      </a:lnTo>
                      <a:lnTo>
                        <a:pt x="1130" y="979"/>
                      </a:lnTo>
                      <a:lnTo>
                        <a:pt x="1130" y="978"/>
                      </a:lnTo>
                      <a:close/>
                      <a:moveTo>
                        <a:pt x="1368" y="1022"/>
                      </a:moveTo>
                      <a:lnTo>
                        <a:pt x="1369" y="1022"/>
                      </a:lnTo>
                      <a:lnTo>
                        <a:pt x="1369" y="1024"/>
                      </a:lnTo>
                      <a:lnTo>
                        <a:pt x="1368" y="1024"/>
                      </a:lnTo>
                      <a:lnTo>
                        <a:pt x="1368" y="1022"/>
                      </a:lnTo>
                      <a:close/>
                      <a:moveTo>
                        <a:pt x="1365" y="1016"/>
                      </a:moveTo>
                      <a:lnTo>
                        <a:pt x="1364" y="1016"/>
                      </a:lnTo>
                      <a:lnTo>
                        <a:pt x="1364" y="1015"/>
                      </a:lnTo>
                      <a:lnTo>
                        <a:pt x="1364" y="1014"/>
                      </a:lnTo>
                      <a:lnTo>
                        <a:pt x="1364" y="1015"/>
                      </a:lnTo>
                      <a:lnTo>
                        <a:pt x="1364" y="1016"/>
                      </a:lnTo>
                      <a:lnTo>
                        <a:pt x="1365" y="1016"/>
                      </a:lnTo>
                      <a:close/>
                      <a:moveTo>
                        <a:pt x="1414" y="1094"/>
                      </a:moveTo>
                      <a:lnTo>
                        <a:pt x="1416" y="1094"/>
                      </a:lnTo>
                      <a:lnTo>
                        <a:pt x="1416" y="1095"/>
                      </a:lnTo>
                      <a:lnTo>
                        <a:pt x="1414" y="1095"/>
                      </a:lnTo>
                      <a:lnTo>
                        <a:pt x="1414" y="1094"/>
                      </a:lnTo>
                      <a:close/>
                      <a:moveTo>
                        <a:pt x="1329" y="1013"/>
                      </a:moveTo>
                      <a:lnTo>
                        <a:pt x="1330" y="1013"/>
                      </a:lnTo>
                      <a:lnTo>
                        <a:pt x="1330" y="1014"/>
                      </a:lnTo>
                      <a:lnTo>
                        <a:pt x="1329" y="1014"/>
                      </a:lnTo>
                      <a:lnTo>
                        <a:pt x="1329" y="1013"/>
                      </a:lnTo>
                      <a:close/>
                      <a:moveTo>
                        <a:pt x="1275" y="954"/>
                      </a:moveTo>
                      <a:lnTo>
                        <a:pt x="1275" y="955"/>
                      </a:lnTo>
                      <a:lnTo>
                        <a:pt x="1274" y="955"/>
                      </a:lnTo>
                      <a:lnTo>
                        <a:pt x="1273" y="955"/>
                      </a:lnTo>
                      <a:lnTo>
                        <a:pt x="1274" y="955"/>
                      </a:lnTo>
                      <a:lnTo>
                        <a:pt x="1274" y="954"/>
                      </a:lnTo>
                      <a:lnTo>
                        <a:pt x="1275" y="954"/>
                      </a:lnTo>
                      <a:close/>
                      <a:moveTo>
                        <a:pt x="1344" y="998"/>
                      </a:moveTo>
                      <a:lnTo>
                        <a:pt x="1343" y="998"/>
                      </a:lnTo>
                      <a:lnTo>
                        <a:pt x="1342" y="998"/>
                      </a:lnTo>
                      <a:lnTo>
                        <a:pt x="1343" y="998"/>
                      </a:lnTo>
                      <a:lnTo>
                        <a:pt x="1343" y="999"/>
                      </a:lnTo>
                      <a:lnTo>
                        <a:pt x="1343" y="998"/>
                      </a:lnTo>
                      <a:lnTo>
                        <a:pt x="1344" y="998"/>
                      </a:lnTo>
                      <a:lnTo>
                        <a:pt x="1343" y="999"/>
                      </a:lnTo>
                      <a:lnTo>
                        <a:pt x="1343" y="998"/>
                      </a:lnTo>
                      <a:lnTo>
                        <a:pt x="1343" y="999"/>
                      </a:lnTo>
                      <a:lnTo>
                        <a:pt x="1342" y="999"/>
                      </a:lnTo>
                      <a:lnTo>
                        <a:pt x="1342" y="998"/>
                      </a:lnTo>
                      <a:lnTo>
                        <a:pt x="1343" y="998"/>
                      </a:lnTo>
                      <a:lnTo>
                        <a:pt x="1344" y="998"/>
                      </a:lnTo>
                      <a:lnTo>
                        <a:pt x="1344" y="996"/>
                      </a:lnTo>
                      <a:lnTo>
                        <a:pt x="1344" y="998"/>
                      </a:lnTo>
                      <a:close/>
                      <a:moveTo>
                        <a:pt x="1030" y="973"/>
                      </a:moveTo>
                      <a:lnTo>
                        <a:pt x="1031" y="973"/>
                      </a:lnTo>
                      <a:lnTo>
                        <a:pt x="1031" y="974"/>
                      </a:lnTo>
                      <a:lnTo>
                        <a:pt x="1030" y="974"/>
                      </a:lnTo>
                      <a:lnTo>
                        <a:pt x="1030" y="973"/>
                      </a:lnTo>
                      <a:close/>
                      <a:moveTo>
                        <a:pt x="1286" y="969"/>
                      </a:moveTo>
                      <a:lnTo>
                        <a:pt x="1287" y="969"/>
                      </a:lnTo>
                      <a:lnTo>
                        <a:pt x="1288" y="969"/>
                      </a:lnTo>
                      <a:lnTo>
                        <a:pt x="1287" y="969"/>
                      </a:lnTo>
                      <a:lnTo>
                        <a:pt x="1286" y="969"/>
                      </a:lnTo>
                      <a:close/>
                      <a:moveTo>
                        <a:pt x="1047" y="930"/>
                      </a:moveTo>
                      <a:lnTo>
                        <a:pt x="1048" y="930"/>
                      </a:lnTo>
                      <a:lnTo>
                        <a:pt x="1048" y="931"/>
                      </a:lnTo>
                      <a:lnTo>
                        <a:pt x="1047" y="931"/>
                      </a:lnTo>
                      <a:lnTo>
                        <a:pt x="1047" y="930"/>
                      </a:lnTo>
                      <a:close/>
                      <a:moveTo>
                        <a:pt x="1130" y="980"/>
                      </a:moveTo>
                      <a:lnTo>
                        <a:pt x="1131" y="980"/>
                      </a:lnTo>
                      <a:lnTo>
                        <a:pt x="1131" y="981"/>
                      </a:lnTo>
                      <a:lnTo>
                        <a:pt x="1130" y="981"/>
                      </a:lnTo>
                      <a:lnTo>
                        <a:pt x="1130" y="980"/>
                      </a:lnTo>
                      <a:close/>
                      <a:moveTo>
                        <a:pt x="988" y="991"/>
                      </a:moveTo>
                      <a:lnTo>
                        <a:pt x="987" y="991"/>
                      </a:lnTo>
                      <a:lnTo>
                        <a:pt x="986" y="992"/>
                      </a:lnTo>
                      <a:lnTo>
                        <a:pt x="986" y="991"/>
                      </a:lnTo>
                      <a:lnTo>
                        <a:pt x="987" y="991"/>
                      </a:lnTo>
                      <a:lnTo>
                        <a:pt x="988" y="991"/>
                      </a:lnTo>
                      <a:close/>
                      <a:moveTo>
                        <a:pt x="1119" y="840"/>
                      </a:moveTo>
                      <a:lnTo>
                        <a:pt x="1120" y="840"/>
                      </a:lnTo>
                      <a:lnTo>
                        <a:pt x="1120" y="841"/>
                      </a:lnTo>
                      <a:lnTo>
                        <a:pt x="1119" y="841"/>
                      </a:lnTo>
                      <a:lnTo>
                        <a:pt x="1119" y="840"/>
                      </a:lnTo>
                      <a:close/>
                      <a:moveTo>
                        <a:pt x="1439" y="1143"/>
                      </a:moveTo>
                      <a:lnTo>
                        <a:pt x="1439" y="1145"/>
                      </a:lnTo>
                      <a:lnTo>
                        <a:pt x="1439" y="1143"/>
                      </a:lnTo>
                      <a:close/>
                      <a:moveTo>
                        <a:pt x="1416" y="1015"/>
                      </a:moveTo>
                      <a:lnTo>
                        <a:pt x="1417" y="1015"/>
                      </a:lnTo>
                      <a:lnTo>
                        <a:pt x="1417" y="1016"/>
                      </a:lnTo>
                      <a:lnTo>
                        <a:pt x="1416" y="1016"/>
                      </a:lnTo>
                      <a:lnTo>
                        <a:pt x="1416" y="1015"/>
                      </a:lnTo>
                      <a:close/>
                      <a:moveTo>
                        <a:pt x="1019" y="964"/>
                      </a:moveTo>
                      <a:lnTo>
                        <a:pt x="1020" y="964"/>
                      </a:lnTo>
                      <a:lnTo>
                        <a:pt x="1020" y="965"/>
                      </a:lnTo>
                      <a:lnTo>
                        <a:pt x="1019" y="965"/>
                      </a:lnTo>
                      <a:lnTo>
                        <a:pt x="1019" y="964"/>
                      </a:lnTo>
                      <a:close/>
                      <a:moveTo>
                        <a:pt x="1060" y="953"/>
                      </a:moveTo>
                      <a:lnTo>
                        <a:pt x="1061" y="953"/>
                      </a:lnTo>
                      <a:lnTo>
                        <a:pt x="1061" y="954"/>
                      </a:lnTo>
                      <a:lnTo>
                        <a:pt x="1060" y="954"/>
                      </a:lnTo>
                      <a:lnTo>
                        <a:pt x="1060" y="953"/>
                      </a:lnTo>
                      <a:close/>
                      <a:moveTo>
                        <a:pt x="1063" y="931"/>
                      </a:moveTo>
                      <a:lnTo>
                        <a:pt x="1063" y="934"/>
                      </a:lnTo>
                      <a:lnTo>
                        <a:pt x="1063" y="931"/>
                      </a:lnTo>
                      <a:close/>
                      <a:moveTo>
                        <a:pt x="1413" y="1115"/>
                      </a:moveTo>
                      <a:lnTo>
                        <a:pt x="1414" y="1115"/>
                      </a:lnTo>
                      <a:lnTo>
                        <a:pt x="1414" y="1116"/>
                      </a:lnTo>
                      <a:lnTo>
                        <a:pt x="1413" y="1116"/>
                      </a:lnTo>
                      <a:lnTo>
                        <a:pt x="1413" y="1115"/>
                      </a:lnTo>
                      <a:close/>
                      <a:moveTo>
                        <a:pt x="1103" y="815"/>
                      </a:moveTo>
                      <a:lnTo>
                        <a:pt x="1104" y="815"/>
                      </a:lnTo>
                      <a:lnTo>
                        <a:pt x="1104" y="816"/>
                      </a:lnTo>
                      <a:lnTo>
                        <a:pt x="1103" y="816"/>
                      </a:lnTo>
                      <a:lnTo>
                        <a:pt x="1103" y="815"/>
                      </a:lnTo>
                      <a:close/>
                      <a:moveTo>
                        <a:pt x="1058" y="979"/>
                      </a:moveTo>
                      <a:lnTo>
                        <a:pt x="1057" y="979"/>
                      </a:lnTo>
                      <a:lnTo>
                        <a:pt x="1056" y="979"/>
                      </a:lnTo>
                      <a:lnTo>
                        <a:pt x="1056" y="980"/>
                      </a:lnTo>
                      <a:lnTo>
                        <a:pt x="1056" y="979"/>
                      </a:lnTo>
                      <a:lnTo>
                        <a:pt x="1058" y="979"/>
                      </a:lnTo>
                      <a:close/>
                      <a:moveTo>
                        <a:pt x="1433" y="1123"/>
                      </a:moveTo>
                      <a:lnTo>
                        <a:pt x="1434" y="1123"/>
                      </a:lnTo>
                      <a:lnTo>
                        <a:pt x="1433" y="1123"/>
                      </a:lnTo>
                      <a:close/>
                      <a:moveTo>
                        <a:pt x="967" y="907"/>
                      </a:moveTo>
                      <a:lnTo>
                        <a:pt x="968" y="907"/>
                      </a:lnTo>
                      <a:lnTo>
                        <a:pt x="968" y="909"/>
                      </a:lnTo>
                      <a:lnTo>
                        <a:pt x="967" y="909"/>
                      </a:lnTo>
                      <a:lnTo>
                        <a:pt x="967" y="907"/>
                      </a:lnTo>
                      <a:close/>
                      <a:moveTo>
                        <a:pt x="1046" y="929"/>
                      </a:moveTo>
                      <a:lnTo>
                        <a:pt x="1047" y="929"/>
                      </a:lnTo>
                      <a:lnTo>
                        <a:pt x="1047" y="930"/>
                      </a:lnTo>
                      <a:lnTo>
                        <a:pt x="1046" y="930"/>
                      </a:lnTo>
                      <a:lnTo>
                        <a:pt x="1046" y="929"/>
                      </a:lnTo>
                      <a:close/>
                      <a:moveTo>
                        <a:pt x="1285" y="952"/>
                      </a:moveTo>
                      <a:lnTo>
                        <a:pt x="1286" y="952"/>
                      </a:lnTo>
                      <a:lnTo>
                        <a:pt x="1286" y="954"/>
                      </a:lnTo>
                      <a:lnTo>
                        <a:pt x="1285" y="954"/>
                      </a:lnTo>
                      <a:lnTo>
                        <a:pt x="1285" y="952"/>
                      </a:lnTo>
                      <a:close/>
                      <a:moveTo>
                        <a:pt x="1022" y="926"/>
                      </a:moveTo>
                      <a:lnTo>
                        <a:pt x="1024" y="926"/>
                      </a:lnTo>
                      <a:lnTo>
                        <a:pt x="1024" y="927"/>
                      </a:lnTo>
                      <a:lnTo>
                        <a:pt x="1022" y="927"/>
                      </a:lnTo>
                      <a:lnTo>
                        <a:pt x="1022" y="926"/>
                      </a:lnTo>
                      <a:close/>
                      <a:moveTo>
                        <a:pt x="1253" y="942"/>
                      </a:moveTo>
                      <a:lnTo>
                        <a:pt x="1252" y="942"/>
                      </a:lnTo>
                      <a:lnTo>
                        <a:pt x="1251" y="942"/>
                      </a:lnTo>
                      <a:lnTo>
                        <a:pt x="1252" y="941"/>
                      </a:lnTo>
                      <a:lnTo>
                        <a:pt x="1252" y="942"/>
                      </a:lnTo>
                      <a:lnTo>
                        <a:pt x="1252" y="941"/>
                      </a:lnTo>
                      <a:lnTo>
                        <a:pt x="1253" y="942"/>
                      </a:lnTo>
                      <a:lnTo>
                        <a:pt x="1253" y="941"/>
                      </a:lnTo>
                      <a:lnTo>
                        <a:pt x="1254" y="941"/>
                      </a:lnTo>
                      <a:lnTo>
                        <a:pt x="1253" y="942"/>
                      </a:lnTo>
                      <a:close/>
                      <a:moveTo>
                        <a:pt x="1356" y="1148"/>
                      </a:moveTo>
                      <a:lnTo>
                        <a:pt x="1357" y="1148"/>
                      </a:lnTo>
                      <a:lnTo>
                        <a:pt x="1357" y="1149"/>
                      </a:lnTo>
                      <a:lnTo>
                        <a:pt x="1356" y="1149"/>
                      </a:lnTo>
                      <a:lnTo>
                        <a:pt x="1356" y="1148"/>
                      </a:lnTo>
                      <a:close/>
                      <a:moveTo>
                        <a:pt x="1298" y="944"/>
                      </a:moveTo>
                      <a:lnTo>
                        <a:pt x="1297" y="944"/>
                      </a:lnTo>
                      <a:lnTo>
                        <a:pt x="1296" y="944"/>
                      </a:lnTo>
                      <a:lnTo>
                        <a:pt x="1297" y="944"/>
                      </a:lnTo>
                      <a:lnTo>
                        <a:pt x="1298" y="944"/>
                      </a:lnTo>
                      <a:close/>
                      <a:moveTo>
                        <a:pt x="1344" y="1002"/>
                      </a:moveTo>
                      <a:lnTo>
                        <a:pt x="1344" y="1001"/>
                      </a:lnTo>
                      <a:lnTo>
                        <a:pt x="1344" y="1000"/>
                      </a:lnTo>
                      <a:lnTo>
                        <a:pt x="1345" y="1000"/>
                      </a:lnTo>
                      <a:lnTo>
                        <a:pt x="1344" y="1000"/>
                      </a:lnTo>
                      <a:lnTo>
                        <a:pt x="1345" y="1000"/>
                      </a:lnTo>
                      <a:lnTo>
                        <a:pt x="1344" y="1000"/>
                      </a:lnTo>
                      <a:lnTo>
                        <a:pt x="1345" y="999"/>
                      </a:lnTo>
                      <a:lnTo>
                        <a:pt x="1347" y="998"/>
                      </a:lnTo>
                      <a:lnTo>
                        <a:pt x="1345" y="998"/>
                      </a:lnTo>
                      <a:lnTo>
                        <a:pt x="1347" y="998"/>
                      </a:lnTo>
                      <a:lnTo>
                        <a:pt x="1345" y="999"/>
                      </a:lnTo>
                      <a:lnTo>
                        <a:pt x="1345" y="1000"/>
                      </a:lnTo>
                      <a:lnTo>
                        <a:pt x="1344" y="1001"/>
                      </a:lnTo>
                      <a:lnTo>
                        <a:pt x="1344" y="1002"/>
                      </a:lnTo>
                      <a:close/>
                      <a:moveTo>
                        <a:pt x="1092" y="983"/>
                      </a:moveTo>
                      <a:lnTo>
                        <a:pt x="1093" y="983"/>
                      </a:lnTo>
                      <a:lnTo>
                        <a:pt x="1093" y="984"/>
                      </a:lnTo>
                      <a:lnTo>
                        <a:pt x="1092" y="984"/>
                      </a:lnTo>
                      <a:lnTo>
                        <a:pt x="1092" y="983"/>
                      </a:lnTo>
                      <a:close/>
                      <a:moveTo>
                        <a:pt x="1287" y="964"/>
                      </a:moveTo>
                      <a:lnTo>
                        <a:pt x="1287" y="963"/>
                      </a:lnTo>
                      <a:lnTo>
                        <a:pt x="1287" y="962"/>
                      </a:lnTo>
                      <a:lnTo>
                        <a:pt x="1287" y="963"/>
                      </a:lnTo>
                      <a:lnTo>
                        <a:pt x="1287" y="964"/>
                      </a:lnTo>
                      <a:close/>
                      <a:moveTo>
                        <a:pt x="1406" y="1120"/>
                      </a:moveTo>
                      <a:lnTo>
                        <a:pt x="1405" y="1120"/>
                      </a:lnTo>
                      <a:lnTo>
                        <a:pt x="1405" y="1119"/>
                      </a:lnTo>
                      <a:lnTo>
                        <a:pt x="1405" y="1118"/>
                      </a:lnTo>
                      <a:lnTo>
                        <a:pt x="1404" y="1117"/>
                      </a:lnTo>
                      <a:lnTo>
                        <a:pt x="1405" y="1117"/>
                      </a:lnTo>
                      <a:lnTo>
                        <a:pt x="1406" y="1117"/>
                      </a:lnTo>
                      <a:lnTo>
                        <a:pt x="1405" y="1117"/>
                      </a:lnTo>
                      <a:lnTo>
                        <a:pt x="1405" y="1118"/>
                      </a:lnTo>
                      <a:lnTo>
                        <a:pt x="1405" y="1119"/>
                      </a:lnTo>
                      <a:lnTo>
                        <a:pt x="1405" y="1120"/>
                      </a:lnTo>
                      <a:lnTo>
                        <a:pt x="1406" y="1120"/>
                      </a:lnTo>
                      <a:close/>
                      <a:moveTo>
                        <a:pt x="1407" y="1132"/>
                      </a:moveTo>
                      <a:lnTo>
                        <a:pt x="1408" y="1132"/>
                      </a:lnTo>
                      <a:lnTo>
                        <a:pt x="1408" y="1133"/>
                      </a:lnTo>
                      <a:lnTo>
                        <a:pt x="1407" y="1133"/>
                      </a:lnTo>
                      <a:lnTo>
                        <a:pt x="1407" y="1132"/>
                      </a:lnTo>
                      <a:close/>
                      <a:moveTo>
                        <a:pt x="1254" y="942"/>
                      </a:moveTo>
                      <a:lnTo>
                        <a:pt x="1255" y="942"/>
                      </a:lnTo>
                      <a:lnTo>
                        <a:pt x="1257" y="942"/>
                      </a:lnTo>
                      <a:lnTo>
                        <a:pt x="1258" y="942"/>
                      </a:lnTo>
                      <a:lnTo>
                        <a:pt x="1259" y="942"/>
                      </a:lnTo>
                      <a:lnTo>
                        <a:pt x="1260" y="942"/>
                      </a:lnTo>
                      <a:lnTo>
                        <a:pt x="1261" y="942"/>
                      </a:lnTo>
                      <a:lnTo>
                        <a:pt x="1260" y="942"/>
                      </a:lnTo>
                      <a:lnTo>
                        <a:pt x="1258" y="942"/>
                      </a:lnTo>
                      <a:lnTo>
                        <a:pt x="1257" y="942"/>
                      </a:lnTo>
                      <a:lnTo>
                        <a:pt x="1255" y="942"/>
                      </a:lnTo>
                      <a:lnTo>
                        <a:pt x="1254" y="942"/>
                      </a:lnTo>
                      <a:lnTo>
                        <a:pt x="1253" y="942"/>
                      </a:lnTo>
                      <a:lnTo>
                        <a:pt x="1254" y="942"/>
                      </a:lnTo>
                      <a:close/>
                      <a:moveTo>
                        <a:pt x="1268" y="949"/>
                      </a:moveTo>
                      <a:lnTo>
                        <a:pt x="1270" y="949"/>
                      </a:lnTo>
                      <a:lnTo>
                        <a:pt x="1271" y="949"/>
                      </a:lnTo>
                      <a:lnTo>
                        <a:pt x="1272" y="949"/>
                      </a:lnTo>
                      <a:lnTo>
                        <a:pt x="1271" y="949"/>
                      </a:lnTo>
                      <a:lnTo>
                        <a:pt x="1270" y="949"/>
                      </a:lnTo>
                      <a:lnTo>
                        <a:pt x="1268" y="949"/>
                      </a:lnTo>
                      <a:close/>
                      <a:moveTo>
                        <a:pt x="1277" y="957"/>
                      </a:moveTo>
                      <a:lnTo>
                        <a:pt x="1277" y="960"/>
                      </a:lnTo>
                      <a:lnTo>
                        <a:pt x="1277" y="957"/>
                      </a:lnTo>
                      <a:close/>
                      <a:moveTo>
                        <a:pt x="1272" y="943"/>
                      </a:moveTo>
                      <a:lnTo>
                        <a:pt x="1273" y="943"/>
                      </a:lnTo>
                      <a:lnTo>
                        <a:pt x="1272" y="943"/>
                      </a:lnTo>
                      <a:lnTo>
                        <a:pt x="1272" y="944"/>
                      </a:lnTo>
                      <a:lnTo>
                        <a:pt x="1272" y="943"/>
                      </a:lnTo>
                      <a:lnTo>
                        <a:pt x="1272" y="942"/>
                      </a:lnTo>
                      <a:lnTo>
                        <a:pt x="1273" y="942"/>
                      </a:lnTo>
                      <a:lnTo>
                        <a:pt x="1272" y="942"/>
                      </a:lnTo>
                      <a:lnTo>
                        <a:pt x="1272" y="943"/>
                      </a:lnTo>
                      <a:close/>
                      <a:moveTo>
                        <a:pt x="1050" y="984"/>
                      </a:moveTo>
                      <a:lnTo>
                        <a:pt x="1051" y="984"/>
                      </a:lnTo>
                      <a:lnTo>
                        <a:pt x="1051" y="986"/>
                      </a:lnTo>
                      <a:lnTo>
                        <a:pt x="1050" y="986"/>
                      </a:lnTo>
                      <a:lnTo>
                        <a:pt x="1050" y="984"/>
                      </a:lnTo>
                      <a:close/>
                      <a:moveTo>
                        <a:pt x="1283" y="955"/>
                      </a:moveTo>
                      <a:lnTo>
                        <a:pt x="1285" y="955"/>
                      </a:lnTo>
                      <a:lnTo>
                        <a:pt x="1285" y="956"/>
                      </a:lnTo>
                      <a:lnTo>
                        <a:pt x="1283" y="956"/>
                      </a:lnTo>
                      <a:lnTo>
                        <a:pt x="1283" y="955"/>
                      </a:lnTo>
                      <a:close/>
                      <a:moveTo>
                        <a:pt x="1369" y="1143"/>
                      </a:moveTo>
                      <a:lnTo>
                        <a:pt x="1370" y="1143"/>
                      </a:lnTo>
                      <a:lnTo>
                        <a:pt x="1370" y="1144"/>
                      </a:lnTo>
                      <a:lnTo>
                        <a:pt x="1369" y="1144"/>
                      </a:lnTo>
                      <a:lnTo>
                        <a:pt x="1369" y="1143"/>
                      </a:lnTo>
                      <a:close/>
                      <a:moveTo>
                        <a:pt x="1314" y="949"/>
                      </a:moveTo>
                      <a:lnTo>
                        <a:pt x="1316" y="949"/>
                      </a:lnTo>
                      <a:lnTo>
                        <a:pt x="1314" y="949"/>
                      </a:lnTo>
                      <a:close/>
                      <a:moveTo>
                        <a:pt x="1430" y="1141"/>
                      </a:moveTo>
                      <a:lnTo>
                        <a:pt x="1431" y="1141"/>
                      </a:lnTo>
                      <a:lnTo>
                        <a:pt x="1431" y="1142"/>
                      </a:lnTo>
                      <a:lnTo>
                        <a:pt x="1430" y="1142"/>
                      </a:lnTo>
                      <a:lnTo>
                        <a:pt x="1430" y="1141"/>
                      </a:lnTo>
                      <a:close/>
                      <a:moveTo>
                        <a:pt x="1153" y="1008"/>
                      </a:moveTo>
                      <a:lnTo>
                        <a:pt x="1155" y="1008"/>
                      </a:lnTo>
                      <a:lnTo>
                        <a:pt x="1155" y="1011"/>
                      </a:lnTo>
                      <a:lnTo>
                        <a:pt x="1153" y="1011"/>
                      </a:lnTo>
                      <a:lnTo>
                        <a:pt x="1153" y="1008"/>
                      </a:lnTo>
                      <a:close/>
                      <a:moveTo>
                        <a:pt x="1366" y="1134"/>
                      </a:moveTo>
                      <a:lnTo>
                        <a:pt x="1367" y="1134"/>
                      </a:lnTo>
                      <a:lnTo>
                        <a:pt x="1367" y="1135"/>
                      </a:lnTo>
                      <a:lnTo>
                        <a:pt x="1366" y="1135"/>
                      </a:lnTo>
                      <a:lnTo>
                        <a:pt x="1366" y="1134"/>
                      </a:lnTo>
                      <a:close/>
                      <a:moveTo>
                        <a:pt x="1286" y="960"/>
                      </a:moveTo>
                      <a:lnTo>
                        <a:pt x="1287" y="960"/>
                      </a:lnTo>
                      <a:lnTo>
                        <a:pt x="1287" y="961"/>
                      </a:lnTo>
                      <a:lnTo>
                        <a:pt x="1286" y="961"/>
                      </a:lnTo>
                      <a:lnTo>
                        <a:pt x="1286" y="960"/>
                      </a:lnTo>
                      <a:close/>
                      <a:moveTo>
                        <a:pt x="1109" y="975"/>
                      </a:moveTo>
                      <a:lnTo>
                        <a:pt x="1109" y="976"/>
                      </a:lnTo>
                      <a:lnTo>
                        <a:pt x="1108" y="976"/>
                      </a:lnTo>
                      <a:lnTo>
                        <a:pt x="1109" y="976"/>
                      </a:lnTo>
                      <a:lnTo>
                        <a:pt x="1108" y="976"/>
                      </a:lnTo>
                      <a:lnTo>
                        <a:pt x="1107" y="976"/>
                      </a:lnTo>
                      <a:lnTo>
                        <a:pt x="1108" y="976"/>
                      </a:lnTo>
                      <a:lnTo>
                        <a:pt x="1109" y="975"/>
                      </a:lnTo>
                      <a:close/>
                      <a:moveTo>
                        <a:pt x="1312" y="952"/>
                      </a:moveTo>
                      <a:lnTo>
                        <a:pt x="1313" y="952"/>
                      </a:lnTo>
                      <a:lnTo>
                        <a:pt x="1313" y="954"/>
                      </a:lnTo>
                      <a:lnTo>
                        <a:pt x="1312" y="954"/>
                      </a:lnTo>
                      <a:lnTo>
                        <a:pt x="1312" y="952"/>
                      </a:lnTo>
                      <a:close/>
                      <a:moveTo>
                        <a:pt x="1412" y="1108"/>
                      </a:moveTo>
                      <a:lnTo>
                        <a:pt x="1413" y="1108"/>
                      </a:lnTo>
                      <a:lnTo>
                        <a:pt x="1413" y="1109"/>
                      </a:lnTo>
                      <a:lnTo>
                        <a:pt x="1412" y="1109"/>
                      </a:lnTo>
                      <a:lnTo>
                        <a:pt x="1412" y="1108"/>
                      </a:lnTo>
                      <a:close/>
                      <a:moveTo>
                        <a:pt x="1137" y="990"/>
                      </a:moveTo>
                      <a:lnTo>
                        <a:pt x="1138" y="990"/>
                      </a:lnTo>
                      <a:lnTo>
                        <a:pt x="1138" y="991"/>
                      </a:lnTo>
                      <a:lnTo>
                        <a:pt x="1137" y="991"/>
                      </a:lnTo>
                      <a:lnTo>
                        <a:pt x="1137" y="990"/>
                      </a:lnTo>
                      <a:close/>
                      <a:moveTo>
                        <a:pt x="1138" y="991"/>
                      </a:moveTo>
                      <a:lnTo>
                        <a:pt x="1137" y="991"/>
                      </a:lnTo>
                      <a:lnTo>
                        <a:pt x="1136" y="991"/>
                      </a:lnTo>
                      <a:lnTo>
                        <a:pt x="1137" y="991"/>
                      </a:lnTo>
                      <a:lnTo>
                        <a:pt x="1138" y="991"/>
                      </a:lnTo>
                      <a:close/>
                      <a:moveTo>
                        <a:pt x="1416" y="1116"/>
                      </a:moveTo>
                      <a:lnTo>
                        <a:pt x="1416" y="1117"/>
                      </a:lnTo>
                      <a:lnTo>
                        <a:pt x="1416" y="1116"/>
                      </a:lnTo>
                      <a:close/>
                      <a:moveTo>
                        <a:pt x="1070" y="970"/>
                      </a:moveTo>
                      <a:lnTo>
                        <a:pt x="1071" y="970"/>
                      </a:lnTo>
                      <a:lnTo>
                        <a:pt x="1071" y="971"/>
                      </a:lnTo>
                      <a:lnTo>
                        <a:pt x="1070" y="971"/>
                      </a:lnTo>
                      <a:lnTo>
                        <a:pt x="1070" y="970"/>
                      </a:lnTo>
                      <a:close/>
                      <a:moveTo>
                        <a:pt x="1072" y="984"/>
                      </a:moveTo>
                      <a:lnTo>
                        <a:pt x="1073" y="984"/>
                      </a:lnTo>
                      <a:lnTo>
                        <a:pt x="1073" y="986"/>
                      </a:lnTo>
                      <a:lnTo>
                        <a:pt x="1072" y="986"/>
                      </a:lnTo>
                      <a:lnTo>
                        <a:pt x="1072" y="984"/>
                      </a:lnTo>
                      <a:close/>
                      <a:moveTo>
                        <a:pt x="1118" y="787"/>
                      </a:moveTo>
                      <a:lnTo>
                        <a:pt x="1119" y="787"/>
                      </a:lnTo>
                      <a:lnTo>
                        <a:pt x="1119" y="788"/>
                      </a:lnTo>
                      <a:lnTo>
                        <a:pt x="1118" y="788"/>
                      </a:lnTo>
                      <a:lnTo>
                        <a:pt x="1118" y="787"/>
                      </a:lnTo>
                      <a:close/>
                      <a:moveTo>
                        <a:pt x="1363" y="1031"/>
                      </a:moveTo>
                      <a:lnTo>
                        <a:pt x="1364" y="1031"/>
                      </a:lnTo>
                      <a:lnTo>
                        <a:pt x="1364" y="1032"/>
                      </a:lnTo>
                      <a:lnTo>
                        <a:pt x="1363" y="1032"/>
                      </a:lnTo>
                      <a:lnTo>
                        <a:pt x="1363" y="1031"/>
                      </a:lnTo>
                      <a:close/>
                      <a:moveTo>
                        <a:pt x="1308" y="1105"/>
                      </a:moveTo>
                      <a:lnTo>
                        <a:pt x="1309" y="1105"/>
                      </a:lnTo>
                      <a:lnTo>
                        <a:pt x="1309" y="1106"/>
                      </a:lnTo>
                      <a:lnTo>
                        <a:pt x="1308" y="1106"/>
                      </a:lnTo>
                      <a:lnTo>
                        <a:pt x="1308" y="1105"/>
                      </a:lnTo>
                      <a:close/>
                      <a:moveTo>
                        <a:pt x="1097" y="975"/>
                      </a:moveTo>
                      <a:lnTo>
                        <a:pt x="1099" y="975"/>
                      </a:lnTo>
                      <a:lnTo>
                        <a:pt x="1099" y="976"/>
                      </a:lnTo>
                      <a:lnTo>
                        <a:pt x="1097" y="976"/>
                      </a:lnTo>
                      <a:lnTo>
                        <a:pt x="1097" y="975"/>
                      </a:lnTo>
                      <a:close/>
                      <a:moveTo>
                        <a:pt x="1430" y="1142"/>
                      </a:moveTo>
                      <a:lnTo>
                        <a:pt x="1431" y="1142"/>
                      </a:lnTo>
                      <a:lnTo>
                        <a:pt x="1431" y="1143"/>
                      </a:lnTo>
                      <a:lnTo>
                        <a:pt x="1430" y="1143"/>
                      </a:lnTo>
                      <a:lnTo>
                        <a:pt x="1430" y="1142"/>
                      </a:lnTo>
                      <a:close/>
                      <a:moveTo>
                        <a:pt x="1065" y="968"/>
                      </a:moveTo>
                      <a:lnTo>
                        <a:pt x="1066" y="968"/>
                      </a:lnTo>
                      <a:lnTo>
                        <a:pt x="1066" y="969"/>
                      </a:lnTo>
                      <a:lnTo>
                        <a:pt x="1065" y="969"/>
                      </a:lnTo>
                      <a:lnTo>
                        <a:pt x="1065" y="968"/>
                      </a:lnTo>
                      <a:close/>
                      <a:moveTo>
                        <a:pt x="1309" y="977"/>
                      </a:moveTo>
                      <a:lnTo>
                        <a:pt x="1308" y="977"/>
                      </a:lnTo>
                      <a:lnTo>
                        <a:pt x="1309" y="976"/>
                      </a:lnTo>
                      <a:lnTo>
                        <a:pt x="1310" y="976"/>
                      </a:lnTo>
                      <a:lnTo>
                        <a:pt x="1311" y="975"/>
                      </a:lnTo>
                      <a:lnTo>
                        <a:pt x="1311" y="976"/>
                      </a:lnTo>
                      <a:lnTo>
                        <a:pt x="1310" y="976"/>
                      </a:lnTo>
                      <a:lnTo>
                        <a:pt x="1309" y="977"/>
                      </a:lnTo>
                      <a:close/>
                      <a:moveTo>
                        <a:pt x="1311" y="1106"/>
                      </a:moveTo>
                      <a:lnTo>
                        <a:pt x="1312" y="1106"/>
                      </a:lnTo>
                      <a:lnTo>
                        <a:pt x="1312" y="1107"/>
                      </a:lnTo>
                      <a:lnTo>
                        <a:pt x="1311" y="1107"/>
                      </a:lnTo>
                      <a:lnTo>
                        <a:pt x="1311" y="1106"/>
                      </a:lnTo>
                      <a:close/>
                      <a:moveTo>
                        <a:pt x="1100" y="981"/>
                      </a:moveTo>
                      <a:lnTo>
                        <a:pt x="1102" y="981"/>
                      </a:lnTo>
                      <a:lnTo>
                        <a:pt x="1102" y="982"/>
                      </a:lnTo>
                      <a:lnTo>
                        <a:pt x="1100" y="982"/>
                      </a:lnTo>
                      <a:lnTo>
                        <a:pt x="1100" y="981"/>
                      </a:lnTo>
                      <a:close/>
                      <a:moveTo>
                        <a:pt x="1157" y="1015"/>
                      </a:moveTo>
                      <a:lnTo>
                        <a:pt x="1157" y="1014"/>
                      </a:lnTo>
                      <a:lnTo>
                        <a:pt x="1157" y="1013"/>
                      </a:lnTo>
                      <a:lnTo>
                        <a:pt x="1157" y="1012"/>
                      </a:lnTo>
                      <a:lnTo>
                        <a:pt x="1157" y="1011"/>
                      </a:lnTo>
                      <a:lnTo>
                        <a:pt x="1157" y="1012"/>
                      </a:lnTo>
                      <a:lnTo>
                        <a:pt x="1157" y="1013"/>
                      </a:lnTo>
                      <a:lnTo>
                        <a:pt x="1157" y="1014"/>
                      </a:lnTo>
                      <a:lnTo>
                        <a:pt x="1157" y="1015"/>
                      </a:lnTo>
                      <a:close/>
                      <a:moveTo>
                        <a:pt x="1078" y="980"/>
                      </a:moveTo>
                      <a:lnTo>
                        <a:pt x="1079" y="980"/>
                      </a:lnTo>
                      <a:lnTo>
                        <a:pt x="1079" y="981"/>
                      </a:lnTo>
                      <a:lnTo>
                        <a:pt x="1078" y="981"/>
                      </a:lnTo>
                      <a:lnTo>
                        <a:pt x="1078" y="980"/>
                      </a:lnTo>
                      <a:close/>
                      <a:moveTo>
                        <a:pt x="1085" y="981"/>
                      </a:moveTo>
                      <a:lnTo>
                        <a:pt x="1086" y="981"/>
                      </a:lnTo>
                      <a:lnTo>
                        <a:pt x="1086" y="982"/>
                      </a:lnTo>
                      <a:lnTo>
                        <a:pt x="1085" y="982"/>
                      </a:lnTo>
                      <a:lnTo>
                        <a:pt x="1085" y="981"/>
                      </a:lnTo>
                      <a:close/>
                      <a:moveTo>
                        <a:pt x="1188" y="842"/>
                      </a:moveTo>
                      <a:lnTo>
                        <a:pt x="1189" y="842"/>
                      </a:lnTo>
                      <a:lnTo>
                        <a:pt x="1189" y="844"/>
                      </a:lnTo>
                      <a:lnTo>
                        <a:pt x="1188" y="844"/>
                      </a:lnTo>
                      <a:lnTo>
                        <a:pt x="1188" y="842"/>
                      </a:lnTo>
                      <a:close/>
                      <a:moveTo>
                        <a:pt x="1041" y="938"/>
                      </a:moveTo>
                      <a:lnTo>
                        <a:pt x="1042" y="938"/>
                      </a:lnTo>
                      <a:lnTo>
                        <a:pt x="1041" y="938"/>
                      </a:lnTo>
                      <a:close/>
                      <a:moveTo>
                        <a:pt x="1357" y="1148"/>
                      </a:moveTo>
                      <a:lnTo>
                        <a:pt x="1360" y="1148"/>
                      </a:lnTo>
                      <a:lnTo>
                        <a:pt x="1360" y="1149"/>
                      </a:lnTo>
                      <a:lnTo>
                        <a:pt x="1357" y="1149"/>
                      </a:lnTo>
                      <a:lnTo>
                        <a:pt x="1357" y="1148"/>
                      </a:lnTo>
                      <a:close/>
                      <a:moveTo>
                        <a:pt x="1025" y="934"/>
                      </a:moveTo>
                      <a:lnTo>
                        <a:pt x="1024" y="934"/>
                      </a:lnTo>
                      <a:lnTo>
                        <a:pt x="1022" y="934"/>
                      </a:lnTo>
                      <a:lnTo>
                        <a:pt x="1024" y="934"/>
                      </a:lnTo>
                      <a:lnTo>
                        <a:pt x="1025" y="934"/>
                      </a:lnTo>
                      <a:lnTo>
                        <a:pt x="1025" y="932"/>
                      </a:lnTo>
                      <a:lnTo>
                        <a:pt x="1025" y="934"/>
                      </a:lnTo>
                      <a:close/>
                      <a:moveTo>
                        <a:pt x="1319" y="1201"/>
                      </a:moveTo>
                      <a:lnTo>
                        <a:pt x="1321" y="1201"/>
                      </a:lnTo>
                      <a:lnTo>
                        <a:pt x="1321" y="1202"/>
                      </a:lnTo>
                      <a:lnTo>
                        <a:pt x="1321" y="1201"/>
                      </a:lnTo>
                      <a:lnTo>
                        <a:pt x="1319" y="1201"/>
                      </a:lnTo>
                      <a:lnTo>
                        <a:pt x="1318" y="1202"/>
                      </a:lnTo>
                      <a:lnTo>
                        <a:pt x="1318" y="1204"/>
                      </a:lnTo>
                      <a:lnTo>
                        <a:pt x="1317" y="1204"/>
                      </a:lnTo>
                      <a:lnTo>
                        <a:pt x="1318" y="1204"/>
                      </a:lnTo>
                      <a:lnTo>
                        <a:pt x="1318" y="1202"/>
                      </a:lnTo>
                      <a:lnTo>
                        <a:pt x="1319" y="1201"/>
                      </a:lnTo>
                      <a:close/>
                      <a:moveTo>
                        <a:pt x="1319" y="1200"/>
                      </a:moveTo>
                      <a:lnTo>
                        <a:pt x="1321" y="1200"/>
                      </a:lnTo>
                      <a:lnTo>
                        <a:pt x="1321" y="1201"/>
                      </a:lnTo>
                      <a:lnTo>
                        <a:pt x="1319" y="1201"/>
                      </a:lnTo>
                      <a:lnTo>
                        <a:pt x="1319" y="1200"/>
                      </a:lnTo>
                      <a:close/>
                      <a:moveTo>
                        <a:pt x="1042" y="923"/>
                      </a:moveTo>
                      <a:lnTo>
                        <a:pt x="1041" y="923"/>
                      </a:lnTo>
                      <a:lnTo>
                        <a:pt x="1042" y="923"/>
                      </a:lnTo>
                      <a:lnTo>
                        <a:pt x="1043" y="922"/>
                      </a:lnTo>
                      <a:lnTo>
                        <a:pt x="1042" y="923"/>
                      </a:lnTo>
                      <a:close/>
                      <a:moveTo>
                        <a:pt x="1413" y="1108"/>
                      </a:moveTo>
                      <a:lnTo>
                        <a:pt x="1415" y="1106"/>
                      </a:lnTo>
                      <a:lnTo>
                        <a:pt x="1413" y="1108"/>
                      </a:lnTo>
                      <a:close/>
                      <a:moveTo>
                        <a:pt x="1043" y="929"/>
                      </a:moveTo>
                      <a:lnTo>
                        <a:pt x="1044" y="929"/>
                      </a:lnTo>
                      <a:lnTo>
                        <a:pt x="1044" y="931"/>
                      </a:lnTo>
                      <a:lnTo>
                        <a:pt x="1043" y="931"/>
                      </a:lnTo>
                      <a:lnTo>
                        <a:pt x="1043" y="929"/>
                      </a:lnTo>
                      <a:close/>
                      <a:moveTo>
                        <a:pt x="974" y="878"/>
                      </a:moveTo>
                      <a:lnTo>
                        <a:pt x="975" y="878"/>
                      </a:lnTo>
                      <a:lnTo>
                        <a:pt x="975" y="879"/>
                      </a:lnTo>
                      <a:lnTo>
                        <a:pt x="974" y="879"/>
                      </a:lnTo>
                      <a:lnTo>
                        <a:pt x="974" y="878"/>
                      </a:lnTo>
                      <a:close/>
                      <a:moveTo>
                        <a:pt x="1287" y="949"/>
                      </a:moveTo>
                      <a:lnTo>
                        <a:pt x="1288" y="949"/>
                      </a:lnTo>
                      <a:lnTo>
                        <a:pt x="1288" y="950"/>
                      </a:lnTo>
                      <a:lnTo>
                        <a:pt x="1287" y="950"/>
                      </a:lnTo>
                      <a:lnTo>
                        <a:pt x="1287" y="949"/>
                      </a:lnTo>
                      <a:close/>
                      <a:moveTo>
                        <a:pt x="1069" y="969"/>
                      </a:moveTo>
                      <a:lnTo>
                        <a:pt x="1070" y="969"/>
                      </a:lnTo>
                      <a:lnTo>
                        <a:pt x="1070" y="970"/>
                      </a:lnTo>
                      <a:lnTo>
                        <a:pt x="1069" y="970"/>
                      </a:lnTo>
                      <a:lnTo>
                        <a:pt x="1069" y="969"/>
                      </a:lnTo>
                      <a:close/>
                      <a:moveTo>
                        <a:pt x="1412" y="1117"/>
                      </a:moveTo>
                      <a:lnTo>
                        <a:pt x="1413" y="1117"/>
                      </a:lnTo>
                      <a:lnTo>
                        <a:pt x="1413" y="1118"/>
                      </a:lnTo>
                      <a:lnTo>
                        <a:pt x="1412" y="1118"/>
                      </a:lnTo>
                      <a:lnTo>
                        <a:pt x="1412" y="1117"/>
                      </a:lnTo>
                      <a:close/>
                      <a:moveTo>
                        <a:pt x="1107" y="806"/>
                      </a:moveTo>
                      <a:lnTo>
                        <a:pt x="1108" y="806"/>
                      </a:lnTo>
                      <a:lnTo>
                        <a:pt x="1109" y="806"/>
                      </a:lnTo>
                      <a:lnTo>
                        <a:pt x="1109" y="807"/>
                      </a:lnTo>
                      <a:lnTo>
                        <a:pt x="1109" y="806"/>
                      </a:lnTo>
                      <a:lnTo>
                        <a:pt x="1108" y="806"/>
                      </a:lnTo>
                      <a:lnTo>
                        <a:pt x="1107" y="806"/>
                      </a:lnTo>
                      <a:close/>
                      <a:moveTo>
                        <a:pt x="1308" y="952"/>
                      </a:moveTo>
                      <a:lnTo>
                        <a:pt x="1309" y="952"/>
                      </a:lnTo>
                      <a:lnTo>
                        <a:pt x="1309" y="953"/>
                      </a:lnTo>
                      <a:lnTo>
                        <a:pt x="1308" y="953"/>
                      </a:lnTo>
                      <a:lnTo>
                        <a:pt x="1308" y="952"/>
                      </a:lnTo>
                      <a:close/>
                      <a:moveTo>
                        <a:pt x="1433" y="1132"/>
                      </a:moveTo>
                      <a:lnTo>
                        <a:pt x="1433" y="1133"/>
                      </a:lnTo>
                      <a:lnTo>
                        <a:pt x="1433" y="1132"/>
                      </a:lnTo>
                      <a:close/>
                      <a:moveTo>
                        <a:pt x="1338" y="1008"/>
                      </a:moveTo>
                      <a:lnTo>
                        <a:pt x="1337" y="1009"/>
                      </a:lnTo>
                      <a:lnTo>
                        <a:pt x="1337" y="1008"/>
                      </a:lnTo>
                      <a:lnTo>
                        <a:pt x="1336" y="1008"/>
                      </a:lnTo>
                      <a:lnTo>
                        <a:pt x="1337" y="1008"/>
                      </a:lnTo>
                      <a:lnTo>
                        <a:pt x="1338" y="1008"/>
                      </a:lnTo>
                      <a:lnTo>
                        <a:pt x="1339" y="1008"/>
                      </a:lnTo>
                      <a:lnTo>
                        <a:pt x="1338" y="1008"/>
                      </a:lnTo>
                      <a:close/>
                      <a:moveTo>
                        <a:pt x="1271" y="947"/>
                      </a:moveTo>
                      <a:lnTo>
                        <a:pt x="1270" y="947"/>
                      </a:lnTo>
                      <a:lnTo>
                        <a:pt x="1270" y="948"/>
                      </a:lnTo>
                      <a:lnTo>
                        <a:pt x="1268" y="948"/>
                      </a:lnTo>
                      <a:lnTo>
                        <a:pt x="1268" y="949"/>
                      </a:lnTo>
                      <a:lnTo>
                        <a:pt x="1268" y="948"/>
                      </a:lnTo>
                      <a:lnTo>
                        <a:pt x="1270" y="948"/>
                      </a:lnTo>
                      <a:lnTo>
                        <a:pt x="1270" y="947"/>
                      </a:lnTo>
                      <a:lnTo>
                        <a:pt x="1271" y="947"/>
                      </a:lnTo>
                      <a:close/>
                      <a:moveTo>
                        <a:pt x="1144" y="1013"/>
                      </a:moveTo>
                      <a:lnTo>
                        <a:pt x="1146" y="1014"/>
                      </a:lnTo>
                      <a:lnTo>
                        <a:pt x="1146" y="1015"/>
                      </a:lnTo>
                      <a:lnTo>
                        <a:pt x="1146" y="1014"/>
                      </a:lnTo>
                      <a:lnTo>
                        <a:pt x="1145" y="1014"/>
                      </a:lnTo>
                      <a:lnTo>
                        <a:pt x="1144" y="1013"/>
                      </a:lnTo>
                      <a:close/>
                      <a:moveTo>
                        <a:pt x="1171" y="989"/>
                      </a:moveTo>
                      <a:lnTo>
                        <a:pt x="1168" y="989"/>
                      </a:lnTo>
                      <a:lnTo>
                        <a:pt x="1168" y="988"/>
                      </a:lnTo>
                      <a:lnTo>
                        <a:pt x="1171" y="989"/>
                      </a:lnTo>
                      <a:close/>
                      <a:moveTo>
                        <a:pt x="1339" y="1006"/>
                      </a:moveTo>
                      <a:lnTo>
                        <a:pt x="1340" y="1006"/>
                      </a:lnTo>
                      <a:lnTo>
                        <a:pt x="1340" y="1007"/>
                      </a:lnTo>
                      <a:lnTo>
                        <a:pt x="1339" y="1007"/>
                      </a:lnTo>
                      <a:lnTo>
                        <a:pt x="1339" y="1006"/>
                      </a:lnTo>
                      <a:close/>
                      <a:moveTo>
                        <a:pt x="1043" y="928"/>
                      </a:moveTo>
                      <a:lnTo>
                        <a:pt x="1044" y="928"/>
                      </a:lnTo>
                      <a:lnTo>
                        <a:pt x="1044" y="929"/>
                      </a:lnTo>
                      <a:lnTo>
                        <a:pt x="1043" y="929"/>
                      </a:lnTo>
                      <a:lnTo>
                        <a:pt x="1043" y="928"/>
                      </a:lnTo>
                      <a:close/>
                      <a:moveTo>
                        <a:pt x="1348" y="999"/>
                      </a:moveTo>
                      <a:lnTo>
                        <a:pt x="1348" y="1000"/>
                      </a:lnTo>
                      <a:lnTo>
                        <a:pt x="1348" y="999"/>
                      </a:lnTo>
                      <a:close/>
                      <a:moveTo>
                        <a:pt x="1035" y="990"/>
                      </a:moveTo>
                      <a:lnTo>
                        <a:pt x="1034" y="990"/>
                      </a:lnTo>
                      <a:lnTo>
                        <a:pt x="1034" y="989"/>
                      </a:lnTo>
                      <a:lnTo>
                        <a:pt x="1034" y="990"/>
                      </a:lnTo>
                      <a:lnTo>
                        <a:pt x="1035" y="990"/>
                      </a:lnTo>
                      <a:close/>
                      <a:moveTo>
                        <a:pt x="1356" y="1014"/>
                      </a:moveTo>
                      <a:lnTo>
                        <a:pt x="1357" y="1014"/>
                      </a:lnTo>
                      <a:lnTo>
                        <a:pt x="1357" y="1015"/>
                      </a:lnTo>
                      <a:lnTo>
                        <a:pt x="1356" y="1015"/>
                      </a:lnTo>
                      <a:lnTo>
                        <a:pt x="1356" y="1014"/>
                      </a:lnTo>
                      <a:close/>
                      <a:moveTo>
                        <a:pt x="1417" y="1099"/>
                      </a:moveTo>
                      <a:lnTo>
                        <a:pt x="1417" y="1102"/>
                      </a:lnTo>
                      <a:lnTo>
                        <a:pt x="1417" y="1099"/>
                      </a:lnTo>
                      <a:close/>
                      <a:moveTo>
                        <a:pt x="1363" y="1037"/>
                      </a:moveTo>
                      <a:lnTo>
                        <a:pt x="1363" y="1038"/>
                      </a:lnTo>
                      <a:lnTo>
                        <a:pt x="1363" y="1037"/>
                      </a:lnTo>
                      <a:close/>
                      <a:moveTo>
                        <a:pt x="1106" y="952"/>
                      </a:moveTo>
                      <a:lnTo>
                        <a:pt x="1107" y="952"/>
                      </a:lnTo>
                      <a:lnTo>
                        <a:pt x="1107" y="953"/>
                      </a:lnTo>
                      <a:lnTo>
                        <a:pt x="1106" y="953"/>
                      </a:lnTo>
                      <a:lnTo>
                        <a:pt x="1106" y="952"/>
                      </a:lnTo>
                      <a:close/>
                      <a:moveTo>
                        <a:pt x="1437" y="1133"/>
                      </a:moveTo>
                      <a:lnTo>
                        <a:pt x="1438" y="1133"/>
                      </a:lnTo>
                      <a:lnTo>
                        <a:pt x="1438" y="1134"/>
                      </a:lnTo>
                      <a:lnTo>
                        <a:pt x="1437" y="1134"/>
                      </a:lnTo>
                      <a:lnTo>
                        <a:pt x="1437" y="1133"/>
                      </a:lnTo>
                      <a:close/>
                      <a:moveTo>
                        <a:pt x="1143" y="993"/>
                      </a:moveTo>
                      <a:lnTo>
                        <a:pt x="1142" y="993"/>
                      </a:lnTo>
                      <a:lnTo>
                        <a:pt x="1140" y="992"/>
                      </a:lnTo>
                      <a:lnTo>
                        <a:pt x="1138" y="992"/>
                      </a:lnTo>
                      <a:lnTo>
                        <a:pt x="1140" y="992"/>
                      </a:lnTo>
                      <a:lnTo>
                        <a:pt x="1142" y="993"/>
                      </a:lnTo>
                      <a:lnTo>
                        <a:pt x="1143" y="993"/>
                      </a:lnTo>
                      <a:close/>
                      <a:moveTo>
                        <a:pt x="1353" y="1163"/>
                      </a:moveTo>
                      <a:lnTo>
                        <a:pt x="1353" y="1164"/>
                      </a:lnTo>
                      <a:lnTo>
                        <a:pt x="1353" y="1163"/>
                      </a:lnTo>
                      <a:close/>
                      <a:moveTo>
                        <a:pt x="1357" y="995"/>
                      </a:moveTo>
                      <a:lnTo>
                        <a:pt x="1358" y="995"/>
                      </a:lnTo>
                      <a:lnTo>
                        <a:pt x="1358" y="996"/>
                      </a:lnTo>
                      <a:lnTo>
                        <a:pt x="1357" y="996"/>
                      </a:lnTo>
                      <a:lnTo>
                        <a:pt x="1357" y="995"/>
                      </a:lnTo>
                      <a:close/>
                      <a:moveTo>
                        <a:pt x="1319" y="1199"/>
                      </a:moveTo>
                      <a:lnTo>
                        <a:pt x="1322" y="1199"/>
                      </a:lnTo>
                      <a:lnTo>
                        <a:pt x="1322" y="1200"/>
                      </a:lnTo>
                      <a:lnTo>
                        <a:pt x="1319" y="1200"/>
                      </a:lnTo>
                      <a:lnTo>
                        <a:pt x="1319" y="1199"/>
                      </a:lnTo>
                      <a:close/>
                      <a:moveTo>
                        <a:pt x="1058" y="939"/>
                      </a:moveTo>
                      <a:lnTo>
                        <a:pt x="1060" y="939"/>
                      </a:lnTo>
                      <a:lnTo>
                        <a:pt x="1060" y="940"/>
                      </a:lnTo>
                      <a:lnTo>
                        <a:pt x="1058" y="940"/>
                      </a:lnTo>
                      <a:lnTo>
                        <a:pt x="1058" y="939"/>
                      </a:lnTo>
                      <a:close/>
                      <a:moveTo>
                        <a:pt x="1432" y="1081"/>
                      </a:moveTo>
                      <a:lnTo>
                        <a:pt x="1433" y="1081"/>
                      </a:lnTo>
                      <a:lnTo>
                        <a:pt x="1433" y="1082"/>
                      </a:lnTo>
                      <a:lnTo>
                        <a:pt x="1432" y="1082"/>
                      </a:lnTo>
                      <a:lnTo>
                        <a:pt x="1432" y="1081"/>
                      </a:lnTo>
                      <a:close/>
                      <a:moveTo>
                        <a:pt x="1203" y="1047"/>
                      </a:moveTo>
                      <a:lnTo>
                        <a:pt x="1205" y="1047"/>
                      </a:lnTo>
                      <a:lnTo>
                        <a:pt x="1205" y="1048"/>
                      </a:lnTo>
                      <a:lnTo>
                        <a:pt x="1203" y="1048"/>
                      </a:lnTo>
                      <a:lnTo>
                        <a:pt x="1203" y="1047"/>
                      </a:lnTo>
                      <a:close/>
                      <a:moveTo>
                        <a:pt x="1201" y="1045"/>
                      </a:moveTo>
                      <a:lnTo>
                        <a:pt x="1203" y="1045"/>
                      </a:lnTo>
                      <a:lnTo>
                        <a:pt x="1203" y="1046"/>
                      </a:lnTo>
                      <a:lnTo>
                        <a:pt x="1201" y="1046"/>
                      </a:lnTo>
                      <a:lnTo>
                        <a:pt x="1201" y="1045"/>
                      </a:lnTo>
                      <a:close/>
                      <a:moveTo>
                        <a:pt x="1078" y="991"/>
                      </a:moveTo>
                      <a:lnTo>
                        <a:pt x="1076" y="991"/>
                      </a:lnTo>
                      <a:lnTo>
                        <a:pt x="1076" y="992"/>
                      </a:lnTo>
                      <a:lnTo>
                        <a:pt x="1077" y="992"/>
                      </a:lnTo>
                      <a:lnTo>
                        <a:pt x="1076" y="992"/>
                      </a:lnTo>
                      <a:lnTo>
                        <a:pt x="1076" y="991"/>
                      </a:lnTo>
                      <a:lnTo>
                        <a:pt x="1078" y="991"/>
                      </a:lnTo>
                      <a:close/>
                      <a:moveTo>
                        <a:pt x="1140" y="1019"/>
                      </a:moveTo>
                      <a:lnTo>
                        <a:pt x="1140" y="1021"/>
                      </a:lnTo>
                      <a:lnTo>
                        <a:pt x="1140" y="1019"/>
                      </a:lnTo>
                      <a:close/>
                      <a:moveTo>
                        <a:pt x="1308" y="1128"/>
                      </a:moveTo>
                      <a:lnTo>
                        <a:pt x="1309" y="1128"/>
                      </a:lnTo>
                      <a:lnTo>
                        <a:pt x="1308" y="1128"/>
                      </a:lnTo>
                      <a:close/>
                      <a:moveTo>
                        <a:pt x="1279" y="1125"/>
                      </a:moveTo>
                      <a:lnTo>
                        <a:pt x="1280" y="1125"/>
                      </a:lnTo>
                      <a:lnTo>
                        <a:pt x="1280" y="1127"/>
                      </a:lnTo>
                      <a:lnTo>
                        <a:pt x="1279" y="1127"/>
                      </a:lnTo>
                      <a:lnTo>
                        <a:pt x="1279" y="1125"/>
                      </a:lnTo>
                      <a:close/>
                      <a:moveTo>
                        <a:pt x="1187" y="1044"/>
                      </a:moveTo>
                      <a:lnTo>
                        <a:pt x="1187" y="1045"/>
                      </a:lnTo>
                      <a:lnTo>
                        <a:pt x="1187" y="1044"/>
                      </a:lnTo>
                      <a:lnTo>
                        <a:pt x="1186" y="1044"/>
                      </a:lnTo>
                      <a:lnTo>
                        <a:pt x="1185" y="1043"/>
                      </a:lnTo>
                      <a:lnTo>
                        <a:pt x="1186" y="1044"/>
                      </a:lnTo>
                      <a:lnTo>
                        <a:pt x="1187" y="1044"/>
                      </a:lnTo>
                      <a:close/>
                      <a:moveTo>
                        <a:pt x="1365" y="1019"/>
                      </a:moveTo>
                      <a:lnTo>
                        <a:pt x="1364" y="1019"/>
                      </a:lnTo>
                      <a:lnTo>
                        <a:pt x="1364" y="1020"/>
                      </a:lnTo>
                      <a:lnTo>
                        <a:pt x="1364" y="1021"/>
                      </a:lnTo>
                      <a:lnTo>
                        <a:pt x="1364" y="1020"/>
                      </a:lnTo>
                      <a:lnTo>
                        <a:pt x="1364" y="1019"/>
                      </a:lnTo>
                      <a:lnTo>
                        <a:pt x="1365" y="1019"/>
                      </a:lnTo>
                      <a:close/>
                      <a:moveTo>
                        <a:pt x="1287" y="968"/>
                      </a:moveTo>
                      <a:lnTo>
                        <a:pt x="1289" y="968"/>
                      </a:lnTo>
                      <a:lnTo>
                        <a:pt x="1289" y="969"/>
                      </a:lnTo>
                      <a:lnTo>
                        <a:pt x="1287" y="969"/>
                      </a:lnTo>
                      <a:lnTo>
                        <a:pt x="1287" y="968"/>
                      </a:lnTo>
                      <a:close/>
                      <a:moveTo>
                        <a:pt x="1367" y="1014"/>
                      </a:moveTo>
                      <a:lnTo>
                        <a:pt x="1369" y="1014"/>
                      </a:lnTo>
                      <a:lnTo>
                        <a:pt x="1369" y="1015"/>
                      </a:lnTo>
                      <a:lnTo>
                        <a:pt x="1367" y="1015"/>
                      </a:lnTo>
                      <a:lnTo>
                        <a:pt x="1367" y="1014"/>
                      </a:lnTo>
                      <a:close/>
                      <a:moveTo>
                        <a:pt x="1335" y="1032"/>
                      </a:moveTo>
                      <a:lnTo>
                        <a:pt x="1335" y="1033"/>
                      </a:lnTo>
                      <a:lnTo>
                        <a:pt x="1335" y="1032"/>
                      </a:lnTo>
                      <a:close/>
                      <a:moveTo>
                        <a:pt x="1067" y="991"/>
                      </a:moveTo>
                      <a:lnTo>
                        <a:pt x="1068" y="991"/>
                      </a:lnTo>
                      <a:lnTo>
                        <a:pt x="1068" y="992"/>
                      </a:lnTo>
                      <a:lnTo>
                        <a:pt x="1067" y="992"/>
                      </a:lnTo>
                      <a:lnTo>
                        <a:pt x="1067" y="991"/>
                      </a:lnTo>
                      <a:close/>
                      <a:moveTo>
                        <a:pt x="1440" y="1079"/>
                      </a:moveTo>
                      <a:lnTo>
                        <a:pt x="1441" y="1079"/>
                      </a:lnTo>
                      <a:lnTo>
                        <a:pt x="1440" y="1079"/>
                      </a:lnTo>
                      <a:close/>
                      <a:moveTo>
                        <a:pt x="1286" y="961"/>
                      </a:moveTo>
                      <a:lnTo>
                        <a:pt x="1285" y="961"/>
                      </a:lnTo>
                      <a:lnTo>
                        <a:pt x="1284" y="961"/>
                      </a:lnTo>
                      <a:lnTo>
                        <a:pt x="1285" y="961"/>
                      </a:lnTo>
                      <a:lnTo>
                        <a:pt x="1286" y="961"/>
                      </a:lnTo>
                      <a:lnTo>
                        <a:pt x="1286" y="960"/>
                      </a:lnTo>
                      <a:lnTo>
                        <a:pt x="1286" y="961"/>
                      </a:lnTo>
                      <a:close/>
                      <a:moveTo>
                        <a:pt x="1312" y="948"/>
                      </a:moveTo>
                      <a:lnTo>
                        <a:pt x="1314" y="948"/>
                      </a:lnTo>
                      <a:lnTo>
                        <a:pt x="1314" y="949"/>
                      </a:lnTo>
                      <a:lnTo>
                        <a:pt x="1312" y="949"/>
                      </a:lnTo>
                      <a:lnTo>
                        <a:pt x="1312" y="948"/>
                      </a:lnTo>
                      <a:close/>
                      <a:moveTo>
                        <a:pt x="1079" y="992"/>
                      </a:moveTo>
                      <a:lnTo>
                        <a:pt x="1076" y="992"/>
                      </a:lnTo>
                      <a:lnTo>
                        <a:pt x="1077" y="992"/>
                      </a:lnTo>
                      <a:lnTo>
                        <a:pt x="1079" y="992"/>
                      </a:lnTo>
                      <a:close/>
                      <a:moveTo>
                        <a:pt x="1439" y="1145"/>
                      </a:moveTo>
                      <a:lnTo>
                        <a:pt x="1440" y="1145"/>
                      </a:lnTo>
                      <a:lnTo>
                        <a:pt x="1440" y="1146"/>
                      </a:lnTo>
                      <a:lnTo>
                        <a:pt x="1439" y="1146"/>
                      </a:lnTo>
                      <a:lnTo>
                        <a:pt x="1439" y="1145"/>
                      </a:lnTo>
                      <a:close/>
                      <a:moveTo>
                        <a:pt x="1140" y="991"/>
                      </a:moveTo>
                      <a:lnTo>
                        <a:pt x="1141" y="991"/>
                      </a:lnTo>
                      <a:lnTo>
                        <a:pt x="1141" y="992"/>
                      </a:lnTo>
                      <a:lnTo>
                        <a:pt x="1140" y="991"/>
                      </a:lnTo>
                      <a:lnTo>
                        <a:pt x="1138" y="991"/>
                      </a:lnTo>
                      <a:lnTo>
                        <a:pt x="1140" y="991"/>
                      </a:lnTo>
                      <a:close/>
                      <a:moveTo>
                        <a:pt x="1100" y="966"/>
                      </a:moveTo>
                      <a:lnTo>
                        <a:pt x="1100" y="968"/>
                      </a:lnTo>
                      <a:lnTo>
                        <a:pt x="1100" y="966"/>
                      </a:lnTo>
                      <a:close/>
                      <a:moveTo>
                        <a:pt x="1330" y="1192"/>
                      </a:moveTo>
                      <a:lnTo>
                        <a:pt x="1329" y="1192"/>
                      </a:lnTo>
                      <a:lnTo>
                        <a:pt x="1328" y="1191"/>
                      </a:lnTo>
                      <a:lnTo>
                        <a:pt x="1328" y="1189"/>
                      </a:lnTo>
                      <a:lnTo>
                        <a:pt x="1327" y="1189"/>
                      </a:lnTo>
                      <a:lnTo>
                        <a:pt x="1328" y="1189"/>
                      </a:lnTo>
                      <a:lnTo>
                        <a:pt x="1328" y="1191"/>
                      </a:lnTo>
                      <a:lnTo>
                        <a:pt x="1329" y="1191"/>
                      </a:lnTo>
                      <a:lnTo>
                        <a:pt x="1330" y="1192"/>
                      </a:lnTo>
                      <a:close/>
                      <a:moveTo>
                        <a:pt x="1046" y="928"/>
                      </a:moveTo>
                      <a:lnTo>
                        <a:pt x="1047" y="928"/>
                      </a:lnTo>
                      <a:lnTo>
                        <a:pt x="1047" y="929"/>
                      </a:lnTo>
                      <a:lnTo>
                        <a:pt x="1046" y="929"/>
                      </a:lnTo>
                      <a:lnTo>
                        <a:pt x="1046" y="928"/>
                      </a:lnTo>
                      <a:close/>
                      <a:moveTo>
                        <a:pt x="1093" y="967"/>
                      </a:moveTo>
                      <a:lnTo>
                        <a:pt x="1094" y="967"/>
                      </a:lnTo>
                      <a:lnTo>
                        <a:pt x="1094" y="968"/>
                      </a:lnTo>
                      <a:lnTo>
                        <a:pt x="1093" y="968"/>
                      </a:lnTo>
                      <a:lnTo>
                        <a:pt x="1093" y="967"/>
                      </a:lnTo>
                      <a:close/>
                      <a:moveTo>
                        <a:pt x="1140" y="1009"/>
                      </a:moveTo>
                      <a:lnTo>
                        <a:pt x="1142" y="1011"/>
                      </a:lnTo>
                      <a:lnTo>
                        <a:pt x="1140" y="1009"/>
                      </a:lnTo>
                      <a:close/>
                      <a:moveTo>
                        <a:pt x="1406" y="1119"/>
                      </a:moveTo>
                      <a:lnTo>
                        <a:pt x="1407" y="1119"/>
                      </a:lnTo>
                      <a:lnTo>
                        <a:pt x="1407" y="1120"/>
                      </a:lnTo>
                      <a:lnTo>
                        <a:pt x="1406" y="1120"/>
                      </a:lnTo>
                      <a:lnTo>
                        <a:pt x="1406" y="1119"/>
                      </a:lnTo>
                      <a:close/>
                      <a:moveTo>
                        <a:pt x="1019" y="951"/>
                      </a:moveTo>
                      <a:lnTo>
                        <a:pt x="1021" y="951"/>
                      </a:lnTo>
                      <a:lnTo>
                        <a:pt x="1021" y="952"/>
                      </a:lnTo>
                      <a:lnTo>
                        <a:pt x="1019" y="952"/>
                      </a:lnTo>
                      <a:lnTo>
                        <a:pt x="1019" y="951"/>
                      </a:lnTo>
                      <a:close/>
                      <a:moveTo>
                        <a:pt x="1420" y="1019"/>
                      </a:moveTo>
                      <a:lnTo>
                        <a:pt x="1420" y="1020"/>
                      </a:lnTo>
                      <a:lnTo>
                        <a:pt x="1420" y="1019"/>
                      </a:lnTo>
                      <a:close/>
                      <a:moveTo>
                        <a:pt x="1432" y="1129"/>
                      </a:moveTo>
                      <a:lnTo>
                        <a:pt x="1433" y="1129"/>
                      </a:lnTo>
                      <a:lnTo>
                        <a:pt x="1433" y="1130"/>
                      </a:lnTo>
                      <a:lnTo>
                        <a:pt x="1432" y="1130"/>
                      </a:lnTo>
                      <a:lnTo>
                        <a:pt x="1432" y="1129"/>
                      </a:lnTo>
                      <a:close/>
                      <a:moveTo>
                        <a:pt x="1349" y="1026"/>
                      </a:moveTo>
                      <a:lnTo>
                        <a:pt x="1350" y="1026"/>
                      </a:lnTo>
                      <a:lnTo>
                        <a:pt x="1350" y="1028"/>
                      </a:lnTo>
                      <a:lnTo>
                        <a:pt x="1349" y="1028"/>
                      </a:lnTo>
                      <a:lnTo>
                        <a:pt x="1349" y="1026"/>
                      </a:lnTo>
                      <a:close/>
                      <a:moveTo>
                        <a:pt x="1141" y="1021"/>
                      </a:moveTo>
                      <a:lnTo>
                        <a:pt x="1140" y="1021"/>
                      </a:lnTo>
                      <a:lnTo>
                        <a:pt x="1141" y="1020"/>
                      </a:lnTo>
                      <a:lnTo>
                        <a:pt x="1141" y="1018"/>
                      </a:lnTo>
                      <a:lnTo>
                        <a:pt x="1142" y="1018"/>
                      </a:lnTo>
                      <a:lnTo>
                        <a:pt x="1141" y="1021"/>
                      </a:lnTo>
                      <a:close/>
                      <a:moveTo>
                        <a:pt x="1094" y="796"/>
                      </a:moveTo>
                      <a:lnTo>
                        <a:pt x="1095" y="796"/>
                      </a:lnTo>
                      <a:lnTo>
                        <a:pt x="1095" y="797"/>
                      </a:lnTo>
                      <a:lnTo>
                        <a:pt x="1094" y="797"/>
                      </a:lnTo>
                      <a:lnTo>
                        <a:pt x="1094" y="796"/>
                      </a:lnTo>
                      <a:close/>
                      <a:moveTo>
                        <a:pt x="1093" y="798"/>
                      </a:moveTo>
                      <a:lnTo>
                        <a:pt x="1093" y="799"/>
                      </a:lnTo>
                      <a:lnTo>
                        <a:pt x="1093" y="798"/>
                      </a:lnTo>
                      <a:close/>
                      <a:moveTo>
                        <a:pt x="1112" y="970"/>
                      </a:moveTo>
                      <a:lnTo>
                        <a:pt x="1111" y="970"/>
                      </a:lnTo>
                      <a:lnTo>
                        <a:pt x="1110" y="969"/>
                      </a:lnTo>
                      <a:lnTo>
                        <a:pt x="1109" y="969"/>
                      </a:lnTo>
                      <a:lnTo>
                        <a:pt x="1110" y="969"/>
                      </a:lnTo>
                      <a:lnTo>
                        <a:pt x="1112" y="970"/>
                      </a:lnTo>
                      <a:close/>
                      <a:moveTo>
                        <a:pt x="1364" y="1000"/>
                      </a:moveTo>
                      <a:lnTo>
                        <a:pt x="1364" y="1001"/>
                      </a:lnTo>
                      <a:lnTo>
                        <a:pt x="1364" y="1000"/>
                      </a:lnTo>
                      <a:close/>
                      <a:moveTo>
                        <a:pt x="1291" y="969"/>
                      </a:moveTo>
                      <a:lnTo>
                        <a:pt x="1293" y="969"/>
                      </a:lnTo>
                      <a:lnTo>
                        <a:pt x="1291" y="969"/>
                      </a:lnTo>
                      <a:close/>
                      <a:moveTo>
                        <a:pt x="1197" y="1047"/>
                      </a:moveTo>
                      <a:lnTo>
                        <a:pt x="1198" y="1047"/>
                      </a:lnTo>
                      <a:lnTo>
                        <a:pt x="1198" y="1046"/>
                      </a:lnTo>
                      <a:lnTo>
                        <a:pt x="1199" y="1046"/>
                      </a:lnTo>
                      <a:lnTo>
                        <a:pt x="1200" y="1046"/>
                      </a:lnTo>
                      <a:lnTo>
                        <a:pt x="1199" y="1046"/>
                      </a:lnTo>
                      <a:lnTo>
                        <a:pt x="1198" y="1047"/>
                      </a:lnTo>
                      <a:lnTo>
                        <a:pt x="1197" y="1047"/>
                      </a:lnTo>
                      <a:lnTo>
                        <a:pt x="1197" y="1046"/>
                      </a:lnTo>
                      <a:lnTo>
                        <a:pt x="1197" y="1047"/>
                      </a:lnTo>
                      <a:close/>
                      <a:moveTo>
                        <a:pt x="1091" y="984"/>
                      </a:moveTo>
                      <a:lnTo>
                        <a:pt x="1092" y="984"/>
                      </a:lnTo>
                      <a:lnTo>
                        <a:pt x="1092" y="986"/>
                      </a:lnTo>
                      <a:lnTo>
                        <a:pt x="1091" y="986"/>
                      </a:lnTo>
                      <a:lnTo>
                        <a:pt x="1091" y="984"/>
                      </a:lnTo>
                      <a:close/>
                      <a:moveTo>
                        <a:pt x="1066" y="927"/>
                      </a:moveTo>
                      <a:lnTo>
                        <a:pt x="1067" y="927"/>
                      </a:lnTo>
                      <a:lnTo>
                        <a:pt x="1066" y="927"/>
                      </a:lnTo>
                      <a:close/>
                      <a:moveTo>
                        <a:pt x="1349" y="1001"/>
                      </a:moveTo>
                      <a:lnTo>
                        <a:pt x="1350" y="1001"/>
                      </a:lnTo>
                      <a:lnTo>
                        <a:pt x="1350" y="1002"/>
                      </a:lnTo>
                      <a:lnTo>
                        <a:pt x="1349" y="1002"/>
                      </a:lnTo>
                      <a:lnTo>
                        <a:pt x="1349" y="1001"/>
                      </a:lnTo>
                      <a:close/>
                      <a:moveTo>
                        <a:pt x="1083" y="982"/>
                      </a:moveTo>
                      <a:lnTo>
                        <a:pt x="1082" y="983"/>
                      </a:lnTo>
                      <a:lnTo>
                        <a:pt x="1082" y="986"/>
                      </a:lnTo>
                      <a:lnTo>
                        <a:pt x="1081" y="984"/>
                      </a:lnTo>
                      <a:lnTo>
                        <a:pt x="1082" y="984"/>
                      </a:lnTo>
                      <a:lnTo>
                        <a:pt x="1082" y="983"/>
                      </a:lnTo>
                      <a:lnTo>
                        <a:pt x="1082" y="982"/>
                      </a:lnTo>
                      <a:lnTo>
                        <a:pt x="1083" y="982"/>
                      </a:lnTo>
                      <a:close/>
                      <a:moveTo>
                        <a:pt x="1107" y="971"/>
                      </a:moveTo>
                      <a:lnTo>
                        <a:pt x="1108" y="971"/>
                      </a:lnTo>
                      <a:lnTo>
                        <a:pt x="1108" y="973"/>
                      </a:lnTo>
                      <a:lnTo>
                        <a:pt x="1107" y="973"/>
                      </a:lnTo>
                      <a:lnTo>
                        <a:pt x="1107" y="971"/>
                      </a:lnTo>
                      <a:close/>
                      <a:moveTo>
                        <a:pt x="1291" y="942"/>
                      </a:moveTo>
                      <a:lnTo>
                        <a:pt x="1290" y="942"/>
                      </a:lnTo>
                      <a:lnTo>
                        <a:pt x="1290" y="941"/>
                      </a:lnTo>
                      <a:lnTo>
                        <a:pt x="1289" y="940"/>
                      </a:lnTo>
                      <a:lnTo>
                        <a:pt x="1290" y="940"/>
                      </a:lnTo>
                      <a:lnTo>
                        <a:pt x="1291" y="942"/>
                      </a:lnTo>
                      <a:close/>
                      <a:moveTo>
                        <a:pt x="1261" y="942"/>
                      </a:moveTo>
                      <a:lnTo>
                        <a:pt x="1262" y="942"/>
                      </a:lnTo>
                      <a:lnTo>
                        <a:pt x="1263" y="942"/>
                      </a:lnTo>
                      <a:lnTo>
                        <a:pt x="1263" y="943"/>
                      </a:lnTo>
                      <a:lnTo>
                        <a:pt x="1262" y="943"/>
                      </a:lnTo>
                      <a:lnTo>
                        <a:pt x="1263" y="943"/>
                      </a:lnTo>
                      <a:lnTo>
                        <a:pt x="1262" y="943"/>
                      </a:lnTo>
                      <a:lnTo>
                        <a:pt x="1261" y="943"/>
                      </a:lnTo>
                      <a:lnTo>
                        <a:pt x="1262" y="943"/>
                      </a:lnTo>
                      <a:lnTo>
                        <a:pt x="1261" y="943"/>
                      </a:lnTo>
                      <a:lnTo>
                        <a:pt x="1261" y="942"/>
                      </a:lnTo>
                      <a:close/>
                      <a:moveTo>
                        <a:pt x="1060" y="939"/>
                      </a:moveTo>
                      <a:lnTo>
                        <a:pt x="1061" y="939"/>
                      </a:lnTo>
                      <a:lnTo>
                        <a:pt x="1061" y="940"/>
                      </a:lnTo>
                      <a:lnTo>
                        <a:pt x="1060" y="940"/>
                      </a:lnTo>
                      <a:lnTo>
                        <a:pt x="1060" y="939"/>
                      </a:lnTo>
                      <a:close/>
                      <a:moveTo>
                        <a:pt x="1171" y="989"/>
                      </a:moveTo>
                      <a:lnTo>
                        <a:pt x="1168" y="988"/>
                      </a:lnTo>
                      <a:lnTo>
                        <a:pt x="1169" y="988"/>
                      </a:lnTo>
                      <a:lnTo>
                        <a:pt x="1171" y="989"/>
                      </a:lnTo>
                      <a:close/>
                      <a:moveTo>
                        <a:pt x="1051" y="934"/>
                      </a:moveTo>
                      <a:lnTo>
                        <a:pt x="1052" y="934"/>
                      </a:lnTo>
                      <a:lnTo>
                        <a:pt x="1052" y="935"/>
                      </a:lnTo>
                      <a:lnTo>
                        <a:pt x="1051" y="935"/>
                      </a:lnTo>
                      <a:lnTo>
                        <a:pt x="1051" y="934"/>
                      </a:lnTo>
                      <a:close/>
                      <a:moveTo>
                        <a:pt x="1113" y="969"/>
                      </a:moveTo>
                      <a:lnTo>
                        <a:pt x="1113" y="970"/>
                      </a:lnTo>
                      <a:lnTo>
                        <a:pt x="1113" y="969"/>
                      </a:lnTo>
                      <a:close/>
                      <a:moveTo>
                        <a:pt x="1366" y="1136"/>
                      </a:moveTo>
                      <a:lnTo>
                        <a:pt x="1367" y="1136"/>
                      </a:lnTo>
                      <a:lnTo>
                        <a:pt x="1366" y="1136"/>
                      </a:lnTo>
                      <a:close/>
                      <a:moveTo>
                        <a:pt x="1364" y="1031"/>
                      </a:moveTo>
                      <a:lnTo>
                        <a:pt x="1365" y="1031"/>
                      </a:lnTo>
                      <a:lnTo>
                        <a:pt x="1364" y="1031"/>
                      </a:lnTo>
                      <a:close/>
                      <a:moveTo>
                        <a:pt x="1041" y="930"/>
                      </a:moveTo>
                      <a:lnTo>
                        <a:pt x="1042" y="930"/>
                      </a:lnTo>
                      <a:lnTo>
                        <a:pt x="1041" y="930"/>
                      </a:lnTo>
                      <a:close/>
                      <a:moveTo>
                        <a:pt x="1042" y="929"/>
                      </a:moveTo>
                      <a:lnTo>
                        <a:pt x="1043" y="929"/>
                      </a:lnTo>
                      <a:lnTo>
                        <a:pt x="1043" y="930"/>
                      </a:lnTo>
                      <a:lnTo>
                        <a:pt x="1042" y="930"/>
                      </a:lnTo>
                      <a:lnTo>
                        <a:pt x="1042" y="929"/>
                      </a:lnTo>
                      <a:close/>
                      <a:moveTo>
                        <a:pt x="1272" y="957"/>
                      </a:moveTo>
                      <a:lnTo>
                        <a:pt x="1271" y="957"/>
                      </a:lnTo>
                      <a:lnTo>
                        <a:pt x="1272" y="957"/>
                      </a:lnTo>
                      <a:lnTo>
                        <a:pt x="1272" y="956"/>
                      </a:lnTo>
                      <a:lnTo>
                        <a:pt x="1273" y="956"/>
                      </a:lnTo>
                      <a:lnTo>
                        <a:pt x="1272" y="956"/>
                      </a:lnTo>
                      <a:lnTo>
                        <a:pt x="1272" y="957"/>
                      </a:lnTo>
                      <a:close/>
                      <a:moveTo>
                        <a:pt x="1193" y="919"/>
                      </a:moveTo>
                      <a:lnTo>
                        <a:pt x="1194" y="919"/>
                      </a:lnTo>
                      <a:lnTo>
                        <a:pt x="1194" y="922"/>
                      </a:lnTo>
                      <a:lnTo>
                        <a:pt x="1193" y="922"/>
                      </a:lnTo>
                      <a:lnTo>
                        <a:pt x="1193" y="919"/>
                      </a:lnTo>
                      <a:close/>
                      <a:moveTo>
                        <a:pt x="1244" y="941"/>
                      </a:moveTo>
                      <a:lnTo>
                        <a:pt x="1245" y="941"/>
                      </a:lnTo>
                      <a:lnTo>
                        <a:pt x="1245" y="942"/>
                      </a:lnTo>
                      <a:lnTo>
                        <a:pt x="1244" y="942"/>
                      </a:lnTo>
                      <a:lnTo>
                        <a:pt x="1244" y="941"/>
                      </a:lnTo>
                      <a:close/>
                      <a:moveTo>
                        <a:pt x="1272" y="952"/>
                      </a:moveTo>
                      <a:lnTo>
                        <a:pt x="1273" y="952"/>
                      </a:lnTo>
                      <a:lnTo>
                        <a:pt x="1273" y="953"/>
                      </a:lnTo>
                      <a:lnTo>
                        <a:pt x="1272" y="953"/>
                      </a:lnTo>
                      <a:lnTo>
                        <a:pt x="1272" y="952"/>
                      </a:lnTo>
                      <a:close/>
                      <a:moveTo>
                        <a:pt x="1360" y="1144"/>
                      </a:moveTo>
                      <a:lnTo>
                        <a:pt x="1358" y="1144"/>
                      </a:lnTo>
                      <a:lnTo>
                        <a:pt x="1357" y="1144"/>
                      </a:lnTo>
                      <a:lnTo>
                        <a:pt x="1357" y="1143"/>
                      </a:lnTo>
                      <a:lnTo>
                        <a:pt x="1358" y="1144"/>
                      </a:lnTo>
                      <a:lnTo>
                        <a:pt x="1360" y="1144"/>
                      </a:lnTo>
                      <a:lnTo>
                        <a:pt x="1360" y="1143"/>
                      </a:lnTo>
                      <a:lnTo>
                        <a:pt x="1360" y="1144"/>
                      </a:lnTo>
                      <a:close/>
                      <a:moveTo>
                        <a:pt x="1102" y="802"/>
                      </a:moveTo>
                      <a:lnTo>
                        <a:pt x="1103" y="802"/>
                      </a:lnTo>
                      <a:lnTo>
                        <a:pt x="1102" y="802"/>
                      </a:lnTo>
                      <a:close/>
                      <a:moveTo>
                        <a:pt x="1257" y="943"/>
                      </a:moveTo>
                      <a:lnTo>
                        <a:pt x="1259" y="943"/>
                      </a:lnTo>
                      <a:lnTo>
                        <a:pt x="1259" y="944"/>
                      </a:lnTo>
                      <a:lnTo>
                        <a:pt x="1257" y="944"/>
                      </a:lnTo>
                      <a:lnTo>
                        <a:pt x="1257" y="943"/>
                      </a:lnTo>
                      <a:close/>
                      <a:moveTo>
                        <a:pt x="1100" y="965"/>
                      </a:moveTo>
                      <a:lnTo>
                        <a:pt x="1097" y="964"/>
                      </a:lnTo>
                      <a:lnTo>
                        <a:pt x="1100" y="965"/>
                      </a:lnTo>
                      <a:close/>
                      <a:moveTo>
                        <a:pt x="1325" y="1021"/>
                      </a:moveTo>
                      <a:lnTo>
                        <a:pt x="1326" y="1021"/>
                      </a:lnTo>
                      <a:lnTo>
                        <a:pt x="1326" y="1022"/>
                      </a:lnTo>
                      <a:lnTo>
                        <a:pt x="1325" y="1022"/>
                      </a:lnTo>
                      <a:lnTo>
                        <a:pt x="1325" y="1021"/>
                      </a:lnTo>
                      <a:close/>
                      <a:moveTo>
                        <a:pt x="1195" y="1047"/>
                      </a:moveTo>
                      <a:lnTo>
                        <a:pt x="1196" y="1047"/>
                      </a:lnTo>
                      <a:lnTo>
                        <a:pt x="1195" y="1047"/>
                      </a:lnTo>
                      <a:close/>
                      <a:moveTo>
                        <a:pt x="1364" y="1021"/>
                      </a:moveTo>
                      <a:lnTo>
                        <a:pt x="1364" y="1022"/>
                      </a:lnTo>
                      <a:lnTo>
                        <a:pt x="1364" y="1021"/>
                      </a:lnTo>
                      <a:lnTo>
                        <a:pt x="1363" y="1021"/>
                      </a:lnTo>
                      <a:lnTo>
                        <a:pt x="1362" y="1021"/>
                      </a:lnTo>
                      <a:lnTo>
                        <a:pt x="1363" y="1021"/>
                      </a:lnTo>
                      <a:lnTo>
                        <a:pt x="1364" y="1021"/>
                      </a:lnTo>
                      <a:close/>
                      <a:moveTo>
                        <a:pt x="1427" y="1125"/>
                      </a:moveTo>
                      <a:lnTo>
                        <a:pt x="1429" y="1125"/>
                      </a:lnTo>
                      <a:lnTo>
                        <a:pt x="1429" y="1127"/>
                      </a:lnTo>
                      <a:lnTo>
                        <a:pt x="1427" y="1127"/>
                      </a:lnTo>
                      <a:lnTo>
                        <a:pt x="1427" y="1125"/>
                      </a:lnTo>
                      <a:close/>
                      <a:moveTo>
                        <a:pt x="1291" y="944"/>
                      </a:moveTo>
                      <a:lnTo>
                        <a:pt x="1292" y="944"/>
                      </a:lnTo>
                      <a:lnTo>
                        <a:pt x="1292" y="945"/>
                      </a:lnTo>
                      <a:lnTo>
                        <a:pt x="1291" y="945"/>
                      </a:lnTo>
                      <a:lnTo>
                        <a:pt x="1291" y="944"/>
                      </a:lnTo>
                      <a:close/>
                      <a:moveTo>
                        <a:pt x="1409" y="1134"/>
                      </a:moveTo>
                      <a:lnTo>
                        <a:pt x="1412" y="1134"/>
                      </a:lnTo>
                      <a:lnTo>
                        <a:pt x="1412" y="1135"/>
                      </a:lnTo>
                      <a:lnTo>
                        <a:pt x="1409" y="1135"/>
                      </a:lnTo>
                      <a:lnTo>
                        <a:pt x="1409" y="1134"/>
                      </a:lnTo>
                      <a:close/>
                      <a:moveTo>
                        <a:pt x="1040" y="986"/>
                      </a:moveTo>
                      <a:lnTo>
                        <a:pt x="1042" y="986"/>
                      </a:lnTo>
                      <a:lnTo>
                        <a:pt x="1040" y="986"/>
                      </a:lnTo>
                      <a:close/>
                      <a:moveTo>
                        <a:pt x="1362" y="1167"/>
                      </a:moveTo>
                      <a:lnTo>
                        <a:pt x="1362" y="1168"/>
                      </a:lnTo>
                      <a:lnTo>
                        <a:pt x="1362" y="1169"/>
                      </a:lnTo>
                      <a:lnTo>
                        <a:pt x="1362" y="1168"/>
                      </a:lnTo>
                      <a:lnTo>
                        <a:pt x="1361" y="1168"/>
                      </a:lnTo>
                      <a:lnTo>
                        <a:pt x="1361" y="1167"/>
                      </a:lnTo>
                      <a:lnTo>
                        <a:pt x="1362" y="1167"/>
                      </a:lnTo>
                      <a:close/>
                      <a:moveTo>
                        <a:pt x="1374" y="1033"/>
                      </a:moveTo>
                      <a:lnTo>
                        <a:pt x="1375" y="1033"/>
                      </a:lnTo>
                      <a:lnTo>
                        <a:pt x="1375" y="1035"/>
                      </a:lnTo>
                      <a:lnTo>
                        <a:pt x="1374" y="1035"/>
                      </a:lnTo>
                      <a:lnTo>
                        <a:pt x="1374" y="1033"/>
                      </a:lnTo>
                      <a:close/>
                      <a:moveTo>
                        <a:pt x="1099" y="994"/>
                      </a:moveTo>
                      <a:lnTo>
                        <a:pt x="1102" y="995"/>
                      </a:lnTo>
                      <a:lnTo>
                        <a:pt x="1103" y="995"/>
                      </a:lnTo>
                      <a:lnTo>
                        <a:pt x="1102" y="995"/>
                      </a:lnTo>
                      <a:lnTo>
                        <a:pt x="1100" y="995"/>
                      </a:lnTo>
                      <a:lnTo>
                        <a:pt x="1099" y="994"/>
                      </a:lnTo>
                      <a:close/>
                      <a:moveTo>
                        <a:pt x="1420" y="1121"/>
                      </a:moveTo>
                      <a:lnTo>
                        <a:pt x="1421" y="1121"/>
                      </a:lnTo>
                      <a:lnTo>
                        <a:pt x="1421" y="1122"/>
                      </a:lnTo>
                      <a:lnTo>
                        <a:pt x="1420" y="1122"/>
                      </a:lnTo>
                      <a:lnTo>
                        <a:pt x="1420" y="1121"/>
                      </a:lnTo>
                      <a:close/>
                      <a:moveTo>
                        <a:pt x="1078" y="991"/>
                      </a:moveTo>
                      <a:lnTo>
                        <a:pt x="1079" y="991"/>
                      </a:lnTo>
                      <a:lnTo>
                        <a:pt x="1079" y="992"/>
                      </a:lnTo>
                      <a:lnTo>
                        <a:pt x="1078" y="992"/>
                      </a:lnTo>
                      <a:lnTo>
                        <a:pt x="1078" y="991"/>
                      </a:lnTo>
                      <a:close/>
                      <a:moveTo>
                        <a:pt x="1276" y="963"/>
                      </a:moveTo>
                      <a:lnTo>
                        <a:pt x="1277" y="963"/>
                      </a:lnTo>
                      <a:lnTo>
                        <a:pt x="1277" y="964"/>
                      </a:lnTo>
                      <a:lnTo>
                        <a:pt x="1276" y="964"/>
                      </a:lnTo>
                      <a:lnTo>
                        <a:pt x="1276" y="963"/>
                      </a:lnTo>
                      <a:close/>
                      <a:moveTo>
                        <a:pt x="1145" y="1009"/>
                      </a:moveTo>
                      <a:lnTo>
                        <a:pt x="1145" y="1011"/>
                      </a:lnTo>
                      <a:lnTo>
                        <a:pt x="1145" y="1009"/>
                      </a:lnTo>
                      <a:close/>
                      <a:moveTo>
                        <a:pt x="1070" y="966"/>
                      </a:moveTo>
                      <a:lnTo>
                        <a:pt x="1071" y="966"/>
                      </a:lnTo>
                      <a:lnTo>
                        <a:pt x="1071" y="968"/>
                      </a:lnTo>
                      <a:lnTo>
                        <a:pt x="1070" y="968"/>
                      </a:lnTo>
                      <a:lnTo>
                        <a:pt x="1070" y="966"/>
                      </a:lnTo>
                      <a:close/>
                      <a:moveTo>
                        <a:pt x="1279" y="965"/>
                      </a:moveTo>
                      <a:lnTo>
                        <a:pt x="1282" y="965"/>
                      </a:lnTo>
                      <a:lnTo>
                        <a:pt x="1282" y="966"/>
                      </a:lnTo>
                      <a:lnTo>
                        <a:pt x="1279" y="966"/>
                      </a:lnTo>
                      <a:lnTo>
                        <a:pt x="1279" y="965"/>
                      </a:lnTo>
                      <a:close/>
                      <a:moveTo>
                        <a:pt x="1119" y="951"/>
                      </a:moveTo>
                      <a:lnTo>
                        <a:pt x="1121" y="951"/>
                      </a:lnTo>
                      <a:lnTo>
                        <a:pt x="1121" y="952"/>
                      </a:lnTo>
                      <a:lnTo>
                        <a:pt x="1119" y="952"/>
                      </a:lnTo>
                      <a:lnTo>
                        <a:pt x="1119" y="951"/>
                      </a:lnTo>
                      <a:close/>
                      <a:moveTo>
                        <a:pt x="1059" y="983"/>
                      </a:moveTo>
                      <a:lnTo>
                        <a:pt x="1061" y="983"/>
                      </a:lnTo>
                      <a:lnTo>
                        <a:pt x="1061" y="986"/>
                      </a:lnTo>
                      <a:lnTo>
                        <a:pt x="1059" y="986"/>
                      </a:lnTo>
                      <a:lnTo>
                        <a:pt x="1059" y="983"/>
                      </a:lnTo>
                      <a:close/>
                      <a:moveTo>
                        <a:pt x="1336" y="1009"/>
                      </a:moveTo>
                      <a:lnTo>
                        <a:pt x="1337" y="1009"/>
                      </a:lnTo>
                      <a:lnTo>
                        <a:pt x="1336" y="1009"/>
                      </a:lnTo>
                      <a:close/>
                      <a:moveTo>
                        <a:pt x="1347" y="1002"/>
                      </a:moveTo>
                      <a:lnTo>
                        <a:pt x="1348" y="1002"/>
                      </a:lnTo>
                      <a:lnTo>
                        <a:pt x="1348" y="1003"/>
                      </a:lnTo>
                      <a:lnTo>
                        <a:pt x="1347" y="1003"/>
                      </a:lnTo>
                      <a:lnTo>
                        <a:pt x="1347" y="1002"/>
                      </a:lnTo>
                      <a:close/>
                      <a:moveTo>
                        <a:pt x="1347" y="998"/>
                      </a:moveTo>
                      <a:lnTo>
                        <a:pt x="1348" y="998"/>
                      </a:lnTo>
                      <a:lnTo>
                        <a:pt x="1348" y="999"/>
                      </a:lnTo>
                      <a:lnTo>
                        <a:pt x="1347" y="999"/>
                      </a:lnTo>
                      <a:lnTo>
                        <a:pt x="1347" y="998"/>
                      </a:lnTo>
                      <a:close/>
                      <a:moveTo>
                        <a:pt x="1351" y="1009"/>
                      </a:moveTo>
                      <a:lnTo>
                        <a:pt x="1352" y="1009"/>
                      </a:lnTo>
                      <a:lnTo>
                        <a:pt x="1353" y="1008"/>
                      </a:lnTo>
                      <a:lnTo>
                        <a:pt x="1352" y="1009"/>
                      </a:lnTo>
                      <a:lnTo>
                        <a:pt x="1351" y="1009"/>
                      </a:lnTo>
                      <a:close/>
                      <a:moveTo>
                        <a:pt x="1357" y="989"/>
                      </a:moveTo>
                      <a:lnTo>
                        <a:pt x="1358" y="989"/>
                      </a:lnTo>
                      <a:lnTo>
                        <a:pt x="1358" y="990"/>
                      </a:lnTo>
                      <a:lnTo>
                        <a:pt x="1357" y="990"/>
                      </a:lnTo>
                      <a:lnTo>
                        <a:pt x="1357" y="989"/>
                      </a:lnTo>
                      <a:close/>
                      <a:moveTo>
                        <a:pt x="1087" y="976"/>
                      </a:moveTo>
                      <a:lnTo>
                        <a:pt x="1089" y="976"/>
                      </a:lnTo>
                      <a:lnTo>
                        <a:pt x="1089" y="977"/>
                      </a:lnTo>
                      <a:lnTo>
                        <a:pt x="1087" y="977"/>
                      </a:lnTo>
                      <a:lnTo>
                        <a:pt x="1087" y="976"/>
                      </a:lnTo>
                      <a:lnTo>
                        <a:pt x="1086" y="976"/>
                      </a:lnTo>
                      <a:lnTo>
                        <a:pt x="1087" y="976"/>
                      </a:lnTo>
                      <a:close/>
                      <a:moveTo>
                        <a:pt x="1415" y="1127"/>
                      </a:moveTo>
                      <a:lnTo>
                        <a:pt x="1416" y="1127"/>
                      </a:lnTo>
                      <a:lnTo>
                        <a:pt x="1416" y="1128"/>
                      </a:lnTo>
                      <a:lnTo>
                        <a:pt x="1415" y="1128"/>
                      </a:lnTo>
                      <a:lnTo>
                        <a:pt x="1415" y="1127"/>
                      </a:lnTo>
                      <a:close/>
                      <a:moveTo>
                        <a:pt x="1316" y="1114"/>
                      </a:moveTo>
                      <a:lnTo>
                        <a:pt x="1313" y="1114"/>
                      </a:lnTo>
                      <a:lnTo>
                        <a:pt x="1316" y="1114"/>
                      </a:lnTo>
                      <a:lnTo>
                        <a:pt x="1317" y="1114"/>
                      </a:lnTo>
                      <a:lnTo>
                        <a:pt x="1316" y="1114"/>
                      </a:lnTo>
                      <a:close/>
                      <a:moveTo>
                        <a:pt x="1344" y="1002"/>
                      </a:moveTo>
                      <a:lnTo>
                        <a:pt x="1347" y="1002"/>
                      </a:lnTo>
                      <a:lnTo>
                        <a:pt x="1347" y="1004"/>
                      </a:lnTo>
                      <a:lnTo>
                        <a:pt x="1344" y="1004"/>
                      </a:lnTo>
                      <a:lnTo>
                        <a:pt x="1344" y="1002"/>
                      </a:lnTo>
                      <a:close/>
                      <a:moveTo>
                        <a:pt x="1132" y="974"/>
                      </a:moveTo>
                      <a:lnTo>
                        <a:pt x="1134" y="974"/>
                      </a:lnTo>
                      <a:lnTo>
                        <a:pt x="1132" y="974"/>
                      </a:lnTo>
                      <a:close/>
                      <a:moveTo>
                        <a:pt x="1286" y="964"/>
                      </a:moveTo>
                      <a:lnTo>
                        <a:pt x="1287" y="964"/>
                      </a:lnTo>
                      <a:lnTo>
                        <a:pt x="1287" y="966"/>
                      </a:lnTo>
                      <a:lnTo>
                        <a:pt x="1286" y="966"/>
                      </a:lnTo>
                      <a:lnTo>
                        <a:pt x="1286" y="964"/>
                      </a:lnTo>
                      <a:close/>
                      <a:moveTo>
                        <a:pt x="1272" y="952"/>
                      </a:moveTo>
                      <a:lnTo>
                        <a:pt x="1272" y="953"/>
                      </a:lnTo>
                      <a:lnTo>
                        <a:pt x="1271" y="952"/>
                      </a:lnTo>
                      <a:lnTo>
                        <a:pt x="1271" y="953"/>
                      </a:lnTo>
                      <a:lnTo>
                        <a:pt x="1270" y="953"/>
                      </a:lnTo>
                      <a:lnTo>
                        <a:pt x="1270" y="952"/>
                      </a:lnTo>
                      <a:lnTo>
                        <a:pt x="1271" y="952"/>
                      </a:lnTo>
                      <a:lnTo>
                        <a:pt x="1272" y="952"/>
                      </a:lnTo>
                      <a:close/>
                      <a:moveTo>
                        <a:pt x="1363" y="1015"/>
                      </a:moveTo>
                      <a:lnTo>
                        <a:pt x="1364" y="1015"/>
                      </a:lnTo>
                      <a:lnTo>
                        <a:pt x="1364" y="1016"/>
                      </a:lnTo>
                      <a:lnTo>
                        <a:pt x="1363" y="1016"/>
                      </a:lnTo>
                      <a:lnTo>
                        <a:pt x="1363" y="1015"/>
                      </a:lnTo>
                      <a:close/>
                      <a:moveTo>
                        <a:pt x="1134" y="1006"/>
                      </a:moveTo>
                      <a:lnTo>
                        <a:pt x="1131" y="1005"/>
                      </a:lnTo>
                      <a:lnTo>
                        <a:pt x="1132" y="1005"/>
                      </a:lnTo>
                      <a:lnTo>
                        <a:pt x="1134" y="1005"/>
                      </a:lnTo>
                      <a:lnTo>
                        <a:pt x="1134" y="1006"/>
                      </a:lnTo>
                      <a:close/>
                      <a:moveTo>
                        <a:pt x="1412" y="1111"/>
                      </a:moveTo>
                      <a:lnTo>
                        <a:pt x="1413" y="1111"/>
                      </a:lnTo>
                      <a:lnTo>
                        <a:pt x="1413" y="1112"/>
                      </a:lnTo>
                      <a:lnTo>
                        <a:pt x="1412" y="1112"/>
                      </a:lnTo>
                      <a:lnTo>
                        <a:pt x="1412" y="1111"/>
                      </a:lnTo>
                      <a:close/>
                      <a:moveTo>
                        <a:pt x="1414" y="1006"/>
                      </a:moveTo>
                      <a:lnTo>
                        <a:pt x="1413" y="1006"/>
                      </a:lnTo>
                      <a:lnTo>
                        <a:pt x="1412" y="1005"/>
                      </a:lnTo>
                      <a:lnTo>
                        <a:pt x="1410" y="1005"/>
                      </a:lnTo>
                      <a:lnTo>
                        <a:pt x="1412" y="1005"/>
                      </a:lnTo>
                      <a:lnTo>
                        <a:pt x="1413" y="1005"/>
                      </a:lnTo>
                      <a:lnTo>
                        <a:pt x="1414" y="1006"/>
                      </a:lnTo>
                      <a:close/>
                      <a:moveTo>
                        <a:pt x="1118" y="786"/>
                      </a:moveTo>
                      <a:lnTo>
                        <a:pt x="1119" y="786"/>
                      </a:lnTo>
                      <a:lnTo>
                        <a:pt x="1118" y="786"/>
                      </a:lnTo>
                      <a:close/>
                      <a:moveTo>
                        <a:pt x="1344" y="998"/>
                      </a:moveTo>
                      <a:lnTo>
                        <a:pt x="1345" y="998"/>
                      </a:lnTo>
                      <a:lnTo>
                        <a:pt x="1345" y="999"/>
                      </a:lnTo>
                      <a:lnTo>
                        <a:pt x="1344" y="999"/>
                      </a:lnTo>
                      <a:lnTo>
                        <a:pt x="1344" y="998"/>
                      </a:lnTo>
                      <a:close/>
                      <a:moveTo>
                        <a:pt x="1362" y="1013"/>
                      </a:moveTo>
                      <a:lnTo>
                        <a:pt x="1363" y="1013"/>
                      </a:lnTo>
                      <a:lnTo>
                        <a:pt x="1363" y="1014"/>
                      </a:lnTo>
                      <a:lnTo>
                        <a:pt x="1362" y="1014"/>
                      </a:lnTo>
                      <a:lnTo>
                        <a:pt x="1362" y="1013"/>
                      </a:lnTo>
                      <a:close/>
                      <a:moveTo>
                        <a:pt x="1408" y="1114"/>
                      </a:moveTo>
                      <a:lnTo>
                        <a:pt x="1408" y="1115"/>
                      </a:lnTo>
                      <a:lnTo>
                        <a:pt x="1408" y="1114"/>
                      </a:lnTo>
                      <a:close/>
                      <a:moveTo>
                        <a:pt x="1141" y="1021"/>
                      </a:moveTo>
                      <a:lnTo>
                        <a:pt x="1141" y="1020"/>
                      </a:lnTo>
                      <a:lnTo>
                        <a:pt x="1142" y="1019"/>
                      </a:lnTo>
                      <a:lnTo>
                        <a:pt x="1141" y="1020"/>
                      </a:lnTo>
                      <a:lnTo>
                        <a:pt x="1141" y="1021"/>
                      </a:lnTo>
                      <a:close/>
                      <a:moveTo>
                        <a:pt x="1299" y="949"/>
                      </a:moveTo>
                      <a:lnTo>
                        <a:pt x="1300" y="949"/>
                      </a:lnTo>
                      <a:lnTo>
                        <a:pt x="1300" y="950"/>
                      </a:lnTo>
                      <a:lnTo>
                        <a:pt x="1299" y="950"/>
                      </a:lnTo>
                      <a:lnTo>
                        <a:pt x="1299" y="949"/>
                      </a:lnTo>
                      <a:close/>
                      <a:moveTo>
                        <a:pt x="1339" y="1001"/>
                      </a:moveTo>
                      <a:lnTo>
                        <a:pt x="1340" y="1001"/>
                      </a:lnTo>
                      <a:lnTo>
                        <a:pt x="1340" y="1002"/>
                      </a:lnTo>
                      <a:lnTo>
                        <a:pt x="1339" y="1002"/>
                      </a:lnTo>
                      <a:lnTo>
                        <a:pt x="1339" y="1001"/>
                      </a:lnTo>
                      <a:close/>
                      <a:moveTo>
                        <a:pt x="1369" y="1134"/>
                      </a:moveTo>
                      <a:lnTo>
                        <a:pt x="1369" y="1133"/>
                      </a:lnTo>
                      <a:lnTo>
                        <a:pt x="1369" y="1132"/>
                      </a:lnTo>
                      <a:lnTo>
                        <a:pt x="1370" y="1132"/>
                      </a:lnTo>
                      <a:lnTo>
                        <a:pt x="1369" y="1132"/>
                      </a:lnTo>
                      <a:lnTo>
                        <a:pt x="1369" y="1133"/>
                      </a:lnTo>
                      <a:lnTo>
                        <a:pt x="1369" y="1134"/>
                      </a:lnTo>
                      <a:close/>
                      <a:moveTo>
                        <a:pt x="1441" y="1077"/>
                      </a:moveTo>
                      <a:lnTo>
                        <a:pt x="1442" y="1077"/>
                      </a:lnTo>
                      <a:lnTo>
                        <a:pt x="1442" y="1078"/>
                      </a:lnTo>
                      <a:lnTo>
                        <a:pt x="1441" y="1078"/>
                      </a:lnTo>
                      <a:lnTo>
                        <a:pt x="1441" y="1077"/>
                      </a:lnTo>
                      <a:close/>
                      <a:moveTo>
                        <a:pt x="1369" y="1019"/>
                      </a:moveTo>
                      <a:lnTo>
                        <a:pt x="1370" y="1019"/>
                      </a:lnTo>
                      <a:lnTo>
                        <a:pt x="1369" y="1019"/>
                      </a:lnTo>
                      <a:close/>
                      <a:moveTo>
                        <a:pt x="1276" y="1244"/>
                      </a:moveTo>
                      <a:lnTo>
                        <a:pt x="1276" y="1245"/>
                      </a:lnTo>
                      <a:lnTo>
                        <a:pt x="1276" y="1244"/>
                      </a:lnTo>
                      <a:close/>
                      <a:moveTo>
                        <a:pt x="1284" y="969"/>
                      </a:moveTo>
                      <a:lnTo>
                        <a:pt x="1286" y="969"/>
                      </a:lnTo>
                      <a:lnTo>
                        <a:pt x="1284" y="969"/>
                      </a:lnTo>
                      <a:close/>
                      <a:moveTo>
                        <a:pt x="1349" y="1001"/>
                      </a:moveTo>
                      <a:lnTo>
                        <a:pt x="1349" y="1002"/>
                      </a:lnTo>
                      <a:lnTo>
                        <a:pt x="1349" y="1001"/>
                      </a:lnTo>
                      <a:close/>
                      <a:moveTo>
                        <a:pt x="1032" y="991"/>
                      </a:moveTo>
                      <a:lnTo>
                        <a:pt x="1031" y="991"/>
                      </a:lnTo>
                      <a:lnTo>
                        <a:pt x="1032" y="990"/>
                      </a:lnTo>
                      <a:lnTo>
                        <a:pt x="1033" y="990"/>
                      </a:lnTo>
                      <a:lnTo>
                        <a:pt x="1032" y="991"/>
                      </a:lnTo>
                      <a:close/>
                      <a:moveTo>
                        <a:pt x="1363" y="998"/>
                      </a:moveTo>
                      <a:lnTo>
                        <a:pt x="1364" y="998"/>
                      </a:lnTo>
                      <a:lnTo>
                        <a:pt x="1364" y="999"/>
                      </a:lnTo>
                      <a:lnTo>
                        <a:pt x="1363" y="999"/>
                      </a:lnTo>
                      <a:lnTo>
                        <a:pt x="1363" y="998"/>
                      </a:lnTo>
                      <a:close/>
                      <a:moveTo>
                        <a:pt x="1271" y="950"/>
                      </a:moveTo>
                      <a:lnTo>
                        <a:pt x="1272" y="950"/>
                      </a:lnTo>
                      <a:lnTo>
                        <a:pt x="1273" y="950"/>
                      </a:lnTo>
                      <a:lnTo>
                        <a:pt x="1273" y="951"/>
                      </a:lnTo>
                      <a:lnTo>
                        <a:pt x="1273" y="950"/>
                      </a:lnTo>
                      <a:lnTo>
                        <a:pt x="1272" y="950"/>
                      </a:lnTo>
                      <a:lnTo>
                        <a:pt x="1271" y="950"/>
                      </a:lnTo>
                      <a:close/>
                      <a:moveTo>
                        <a:pt x="1102" y="799"/>
                      </a:moveTo>
                      <a:lnTo>
                        <a:pt x="1103" y="799"/>
                      </a:lnTo>
                      <a:lnTo>
                        <a:pt x="1103" y="800"/>
                      </a:lnTo>
                      <a:lnTo>
                        <a:pt x="1102" y="800"/>
                      </a:lnTo>
                      <a:lnTo>
                        <a:pt x="1102" y="799"/>
                      </a:lnTo>
                      <a:close/>
                      <a:moveTo>
                        <a:pt x="1364" y="1022"/>
                      </a:moveTo>
                      <a:lnTo>
                        <a:pt x="1365" y="1022"/>
                      </a:lnTo>
                      <a:lnTo>
                        <a:pt x="1365" y="1024"/>
                      </a:lnTo>
                      <a:lnTo>
                        <a:pt x="1364" y="1024"/>
                      </a:lnTo>
                      <a:lnTo>
                        <a:pt x="1364" y="1022"/>
                      </a:lnTo>
                      <a:close/>
                      <a:moveTo>
                        <a:pt x="1279" y="957"/>
                      </a:moveTo>
                      <a:lnTo>
                        <a:pt x="1282" y="957"/>
                      </a:lnTo>
                      <a:lnTo>
                        <a:pt x="1282" y="958"/>
                      </a:lnTo>
                      <a:lnTo>
                        <a:pt x="1279" y="958"/>
                      </a:lnTo>
                      <a:lnTo>
                        <a:pt x="1279" y="957"/>
                      </a:lnTo>
                      <a:close/>
                      <a:moveTo>
                        <a:pt x="1196" y="1047"/>
                      </a:moveTo>
                      <a:lnTo>
                        <a:pt x="1197" y="1047"/>
                      </a:lnTo>
                      <a:lnTo>
                        <a:pt x="1197" y="1048"/>
                      </a:lnTo>
                      <a:lnTo>
                        <a:pt x="1196" y="1048"/>
                      </a:lnTo>
                      <a:lnTo>
                        <a:pt x="1196" y="1047"/>
                      </a:lnTo>
                      <a:close/>
                      <a:moveTo>
                        <a:pt x="1369" y="1142"/>
                      </a:moveTo>
                      <a:lnTo>
                        <a:pt x="1370" y="1142"/>
                      </a:lnTo>
                      <a:lnTo>
                        <a:pt x="1369" y="1142"/>
                      </a:lnTo>
                      <a:close/>
                      <a:moveTo>
                        <a:pt x="1358" y="1158"/>
                      </a:moveTo>
                      <a:lnTo>
                        <a:pt x="1360" y="1158"/>
                      </a:lnTo>
                      <a:lnTo>
                        <a:pt x="1360" y="1159"/>
                      </a:lnTo>
                      <a:lnTo>
                        <a:pt x="1358" y="1159"/>
                      </a:lnTo>
                      <a:lnTo>
                        <a:pt x="1358" y="1158"/>
                      </a:lnTo>
                      <a:close/>
                      <a:moveTo>
                        <a:pt x="1056" y="923"/>
                      </a:moveTo>
                      <a:lnTo>
                        <a:pt x="1057" y="923"/>
                      </a:lnTo>
                      <a:lnTo>
                        <a:pt x="1057" y="924"/>
                      </a:lnTo>
                      <a:lnTo>
                        <a:pt x="1056" y="924"/>
                      </a:lnTo>
                      <a:lnTo>
                        <a:pt x="1056" y="923"/>
                      </a:lnTo>
                      <a:close/>
                      <a:moveTo>
                        <a:pt x="1108" y="968"/>
                      </a:moveTo>
                      <a:lnTo>
                        <a:pt x="1105" y="967"/>
                      </a:lnTo>
                      <a:lnTo>
                        <a:pt x="1108" y="968"/>
                      </a:lnTo>
                      <a:close/>
                      <a:moveTo>
                        <a:pt x="1430" y="1234"/>
                      </a:moveTo>
                      <a:lnTo>
                        <a:pt x="1430" y="1235"/>
                      </a:lnTo>
                      <a:lnTo>
                        <a:pt x="1429" y="1234"/>
                      </a:lnTo>
                      <a:lnTo>
                        <a:pt x="1429" y="1233"/>
                      </a:lnTo>
                      <a:lnTo>
                        <a:pt x="1429" y="1232"/>
                      </a:lnTo>
                      <a:lnTo>
                        <a:pt x="1429" y="1233"/>
                      </a:lnTo>
                      <a:lnTo>
                        <a:pt x="1429" y="1234"/>
                      </a:lnTo>
                      <a:lnTo>
                        <a:pt x="1430" y="1234"/>
                      </a:lnTo>
                      <a:close/>
                      <a:moveTo>
                        <a:pt x="1368" y="1012"/>
                      </a:moveTo>
                      <a:lnTo>
                        <a:pt x="1369" y="1012"/>
                      </a:lnTo>
                      <a:lnTo>
                        <a:pt x="1369" y="1013"/>
                      </a:lnTo>
                      <a:lnTo>
                        <a:pt x="1368" y="1013"/>
                      </a:lnTo>
                      <a:lnTo>
                        <a:pt x="1368" y="1012"/>
                      </a:lnTo>
                      <a:close/>
                      <a:moveTo>
                        <a:pt x="1094" y="976"/>
                      </a:moveTo>
                      <a:lnTo>
                        <a:pt x="1095" y="976"/>
                      </a:lnTo>
                      <a:lnTo>
                        <a:pt x="1094" y="976"/>
                      </a:lnTo>
                      <a:close/>
                      <a:moveTo>
                        <a:pt x="1368" y="1138"/>
                      </a:moveTo>
                      <a:lnTo>
                        <a:pt x="1369" y="1138"/>
                      </a:lnTo>
                      <a:lnTo>
                        <a:pt x="1369" y="1140"/>
                      </a:lnTo>
                      <a:lnTo>
                        <a:pt x="1368" y="1140"/>
                      </a:lnTo>
                      <a:lnTo>
                        <a:pt x="1368" y="1138"/>
                      </a:lnTo>
                      <a:close/>
                      <a:moveTo>
                        <a:pt x="1286" y="954"/>
                      </a:moveTo>
                      <a:lnTo>
                        <a:pt x="1286" y="955"/>
                      </a:lnTo>
                      <a:lnTo>
                        <a:pt x="1286" y="954"/>
                      </a:lnTo>
                      <a:close/>
                      <a:moveTo>
                        <a:pt x="1340" y="1001"/>
                      </a:moveTo>
                      <a:lnTo>
                        <a:pt x="1341" y="1001"/>
                      </a:lnTo>
                      <a:lnTo>
                        <a:pt x="1341" y="1002"/>
                      </a:lnTo>
                      <a:lnTo>
                        <a:pt x="1340" y="1002"/>
                      </a:lnTo>
                      <a:lnTo>
                        <a:pt x="1340" y="1001"/>
                      </a:lnTo>
                      <a:close/>
                      <a:moveTo>
                        <a:pt x="1282" y="962"/>
                      </a:moveTo>
                      <a:lnTo>
                        <a:pt x="1283" y="962"/>
                      </a:lnTo>
                      <a:lnTo>
                        <a:pt x="1282" y="962"/>
                      </a:lnTo>
                      <a:close/>
                      <a:moveTo>
                        <a:pt x="1202" y="1045"/>
                      </a:moveTo>
                      <a:lnTo>
                        <a:pt x="1203" y="1045"/>
                      </a:lnTo>
                      <a:lnTo>
                        <a:pt x="1203" y="1046"/>
                      </a:lnTo>
                      <a:lnTo>
                        <a:pt x="1202" y="1046"/>
                      </a:lnTo>
                      <a:lnTo>
                        <a:pt x="1202" y="1045"/>
                      </a:lnTo>
                      <a:close/>
                      <a:moveTo>
                        <a:pt x="1291" y="970"/>
                      </a:moveTo>
                      <a:lnTo>
                        <a:pt x="1293" y="970"/>
                      </a:lnTo>
                      <a:lnTo>
                        <a:pt x="1291" y="970"/>
                      </a:lnTo>
                      <a:close/>
                      <a:moveTo>
                        <a:pt x="1356" y="1007"/>
                      </a:moveTo>
                      <a:lnTo>
                        <a:pt x="1356" y="1008"/>
                      </a:lnTo>
                      <a:lnTo>
                        <a:pt x="1355" y="1008"/>
                      </a:lnTo>
                      <a:lnTo>
                        <a:pt x="1354" y="1008"/>
                      </a:lnTo>
                      <a:lnTo>
                        <a:pt x="1354" y="1007"/>
                      </a:lnTo>
                      <a:lnTo>
                        <a:pt x="1355" y="1007"/>
                      </a:lnTo>
                      <a:lnTo>
                        <a:pt x="1356" y="1007"/>
                      </a:lnTo>
                      <a:close/>
                      <a:moveTo>
                        <a:pt x="1063" y="927"/>
                      </a:moveTo>
                      <a:lnTo>
                        <a:pt x="1064" y="927"/>
                      </a:lnTo>
                      <a:lnTo>
                        <a:pt x="1064" y="928"/>
                      </a:lnTo>
                      <a:lnTo>
                        <a:pt x="1063" y="928"/>
                      </a:lnTo>
                      <a:lnTo>
                        <a:pt x="1063" y="927"/>
                      </a:lnTo>
                      <a:close/>
                      <a:moveTo>
                        <a:pt x="1045" y="923"/>
                      </a:moveTo>
                      <a:lnTo>
                        <a:pt x="1046" y="923"/>
                      </a:lnTo>
                      <a:lnTo>
                        <a:pt x="1046" y="924"/>
                      </a:lnTo>
                      <a:lnTo>
                        <a:pt x="1045" y="924"/>
                      </a:lnTo>
                      <a:lnTo>
                        <a:pt x="1045" y="923"/>
                      </a:lnTo>
                      <a:close/>
                      <a:moveTo>
                        <a:pt x="1371" y="1038"/>
                      </a:moveTo>
                      <a:lnTo>
                        <a:pt x="1373" y="1038"/>
                      </a:lnTo>
                      <a:lnTo>
                        <a:pt x="1373" y="1039"/>
                      </a:lnTo>
                      <a:lnTo>
                        <a:pt x="1371" y="1039"/>
                      </a:lnTo>
                      <a:lnTo>
                        <a:pt x="1371" y="1038"/>
                      </a:lnTo>
                      <a:close/>
                      <a:moveTo>
                        <a:pt x="1331" y="1132"/>
                      </a:moveTo>
                      <a:lnTo>
                        <a:pt x="1331" y="1133"/>
                      </a:lnTo>
                      <a:lnTo>
                        <a:pt x="1331" y="1132"/>
                      </a:lnTo>
                      <a:close/>
                      <a:moveTo>
                        <a:pt x="1073" y="996"/>
                      </a:moveTo>
                      <a:lnTo>
                        <a:pt x="1074" y="996"/>
                      </a:lnTo>
                      <a:lnTo>
                        <a:pt x="1074" y="998"/>
                      </a:lnTo>
                      <a:lnTo>
                        <a:pt x="1073" y="998"/>
                      </a:lnTo>
                      <a:lnTo>
                        <a:pt x="1073" y="996"/>
                      </a:lnTo>
                      <a:close/>
                      <a:moveTo>
                        <a:pt x="1070" y="992"/>
                      </a:moveTo>
                      <a:lnTo>
                        <a:pt x="1071" y="992"/>
                      </a:lnTo>
                      <a:lnTo>
                        <a:pt x="1071" y="993"/>
                      </a:lnTo>
                      <a:lnTo>
                        <a:pt x="1070" y="993"/>
                      </a:lnTo>
                      <a:lnTo>
                        <a:pt x="1070" y="992"/>
                      </a:lnTo>
                      <a:close/>
                      <a:moveTo>
                        <a:pt x="1305" y="949"/>
                      </a:moveTo>
                      <a:lnTo>
                        <a:pt x="1306" y="949"/>
                      </a:lnTo>
                      <a:lnTo>
                        <a:pt x="1306" y="950"/>
                      </a:lnTo>
                      <a:lnTo>
                        <a:pt x="1305" y="950"/>
                      </a:lnTo>
                      <a:lnTo>
                        <a:pt x="1305" y="949"/>
                      </a:lnTo>
                      <a:close/>
                      <a:moveTo>
                        <a:pt x="1193" y="1046"/>
                      </a:moveTo>
                      <a:lnTo>
                        <a:pt x="1189" y="1045"/>
                      </a:lnTo>
                      <a:lnTo>
                        <a:pt x="1193" y="1046"/>
                      </a:lnTo>
                      <a:close/>
                      <a:moveTo>
                        <a:pt x="1327" y="1195"/>
                      </a:moveTo>
                      <a:lnTo>
                        <a:pt x="1328" y="1195"/>
                      </a:lnTo>
                      <a:lnTo>
                        <a:pt x="1328" y="1196"/>
                      </a:lnTo>
                      <a:lnTo>
                        <a:pt x="1327" y="1196"/>
                      </a:lnTo>
                      <a:lnTo>
                        <a:pt x="1327" y="1195"/>
                      </a:lnTo>
                      <a:close/>
                      <a:moveTo>
                        <a:pt x="1153" y="1013"/>
                      </a:moveTo>
                      <a:lnTo>
                        <a:pt x="1154" y="1013"/>
                      </a:lnTo>
                      <a:lnTo>
                        <a:pt x="1154" y="1014"/>
                      </a:lnTo>
                      <a:lnTo>
                        <a:pt x="1153" y="1014"/>
                      </a:lnTo>
                      <a:lnTo>
                        <a:pt x="1153" y="1013"/>
                      </a:lnTo>
                      <a:close/>
                      <a:moveTo>
                        <a:pt x="1073" y="932"/>
                      </a:moveTo>
                      <a:lnTo>
                        <a:pt x="1074" y="932"/>
                      </a:lnTo>
                      <a:lnTo>
                        <a:pt x="1073" y="932"/>
                      </a:lnTo>
                      <a:close/>
                      <a:moveTo>
                        <a:pt x="1355" y="996"/>
                      </a:moveTo>
                      <a:lnTo>
                        <a:pt x="1355" y="998"/>
                      </a:lnTo>
                      <a:lnTo>
                        <a:pt x="1355" y="996"/>
                      </a:lnTo>
                      <a:close/>
                      <a:moveTo>
                        <a:pt x="1342" y="1170"/>
                      </a:moveTo>
                      <a:lnTo>
                        <a:pt x="1342" y="1171"/>
                      </a:lnTo>
                      <a:lnTo>
                        <a:pt x="1342" y="1170"/>
                      </a:lnTo>
                      <a:close/>
                      <a:moveTo>
                        <a:pt x="1109" y="850"/>
                      </a:moveTo>
                      <a:lnTo>
                        <a:pt x="1110" y="850"/>
                      </a:lnTo>
                      <a:lnTo>
                        <a:pt x="1110" y="851"/>
                      </a:lnTo>
                      <a:lnTo>
                        <a:pt x="1109" y="851"/>
                      </a:lnTo>
                      <a:lnTo>
                        <a:pt x="1109" y="850"/>
                      </a:lnTo>
                      <a:close/>
                      <a:moveTo>
                        <a:pt x="1353" y="1054"/>
                      </a:moveTo>
                      <a:lnTo>
                        <a:pt x="1354" y="1054"/>
                      </a:lnTo>
                      <a:lnTo>
                        <a:pt x="1354" y="1056"/>
                      </a:lnTo>
                      <a:lnTo>
                        <a:pt x="1353" y="1056"/>
                      </a:lnTo>
                      <a:lnTo>
                        <a:pt x="1353" y="1054"/>
                      </a:lnTo>
                      <a:close/>
                      <a:moveTo>
                        <a:pt x="1313" y="1107"/>
                      </a:moveTo>
                      <a:lnTo>
                        <a:pt x="1314" y="1107"/>
                      </a:lnTo>
                      <a:lnTo>
                        <a:pt x="1314" y="1108"/>
                      </a:lnTo>
                      <a:lnTo>
                        <a:pt x="1313" y="1108"/>
                      </a:lnTo>
                      <a:lnTo>
                        <a:pt x="1313" y="1107"/>
                      </a:lnTo>
                      <a:close/>
                      <a:moveTo>
                        <a:pt x="1358" y="995"/>
                      </a:moveTo>
                      <a:lnTo>
                        <a:pt x="1360" y="995"/>
                      </a:lnTo>
                      <a:lnTo>
                        <a:pt x="1360" y="996"/>
                      </a:lnTo>
                      <a:lnTo>
                        <a:pt x="1358" y="996"/>
                      </a:lnTo>
                      <a:lnTo>
                        <a:pt x="1358" y="995"/>
                      </a:lnTo>
                      <a:close/>
                      <a:moveTo>
                        <a:pt x="1353" y="996"/>
                      </a:moveTo>
                      <a:lnTo>
                        <a:pt x="1354" y="996"/>
                      </a:lnTo>
                      <a:lnTo>
                        <a:pt x="1354" y="998"/>
                      </a:lnTo>
                      <a:lnTo>
                        <a:pt x="1353" y="998"/>
                      </a:lnTo>
                      <a:lnTo>
                        <a:pt x="1353" y="996"/>
                      </a:lnTo>
                      <a:close/>
                      <a:moveTo>
                        <a:pt x="1316" y="1107"/>
                      </a:moveTo>
                      <a:lnTo>
                        <a:pt x="1315" y="1106"/>
                      </a:lnTo>
                      <a:lnTo>
                        <a:pt x="1314" y="1106"/>
                      </a:lnTo>
                      <a:lnTo>
                        <a:pt x="1315" y="1106"/>
                      </a:lnTo>
                      <a:lnTo>
                        <a:pt x="1315" y="1107"/>
                      </a:lnTo>
                      <a:lnTo>
                        <a:pt x="1316" y="1107"/>
                      </a:lnTo>
                      <a:close/>
                      <a:moveTo>
                        <a:pt x="1360" y="1039"/>
                      </a:moveTo>
                      <a:lnTo>
                        <a:pt x="1361" y="1039"/>
                      </a:lnTo>
                      <a:lnTo>
                        <a:pt x="1360" y="1039"/>
                      </a:lnTo>
                      <a:close/>
                      <a:moveTo>
                        <a:pt x="1295" y="968"/>
                      </a:moveTo>
                      <a:lnTo>
                        <a:pt x="1296" y="968"/>
                      </a:lnTo>
                      <a:lnTo>
                        <a:pt x="1296" y="969"/>
                      </a:lnTo>
                      <a:lnTo>
                        <a:pt x="1295" y="969"/>
                      </a:lnTo>
                      <a:lnTo>
                        <a:pt x="1295" y="968"/>
                      </a:lnTo>
                      <a:close/>
                      <a:moveTo>
                        <a:pt x="1366" y="1037"/>
                      </a:moveTo>
                      <a:lnTo>
                        <a:pt x="1366" y="1038"/>
                      </a:lnTo>
                      <a:lnTo>
                        <a:pt x="1366" y="1037"/>
                      </a:lnTo>
                      <a:close/>
                      <a:moveTo>
                        <a:pt x="1430" y="1090"/>
                      </a:moveTo>
                      <a:lnTo>
                        <a:pt x="1431" y="1090"/>
                      </a:lnTo>
                      <a:lnTo>
                        <a:pt x="1430" y="1090"/>
                      </a:lnTo>
                      <a:close/>
                      <a:moveTo>
                        <a:pt x="1024" y="921"/>
                      </a:moveTo>
                      <a:lnTo>
                        <a:pt x="1025" y="921"/>
                      </a:lnTo>
                      <a:lnTo>
                        <a:pt x="1025" y="922"/>
                      </a:lnTo>
                      <a:lnTo>
                        <a:pt x="1024" y="922"/>
                      </a:lnTo>
                      <a:lnTo>
                        <a:pt x="1024" y="921"/>
                      </a:lnTo>
                      <a:close/>
                      <a:moveTo>
                        <a:pt x="1098" y="979"/>
                      </a:moveTo>
                      <a:lnTo>
                        <a:pt x="1099" y="979"/>
                      </a:lnTo>
                      <a:lnTo>
                        <a:pt x="1099" y="980"/>
                      </a:lnTo>
                      <a:lnTo>
                        <a:pt x="1098" y="980"/>
                      </a:lnTo>
                      <a:lnTo>
                        <a:pt x="1098" y="979"/>
                      </a:lnTo>
                      <a:close/>
                      <a:moveTo>
                        <a:pt x="1064" y="981"/>
                      </a:moveTo>
                      <a:lnTo>
                        <a:pt x="1065" y="981"/>
                      </a:lnTo>
                      <a:lnTo>
                        <a:pt x="1065" y="983"/>
                      </a:lnTo>
                      <a:lnTo>
                        <a:pt x="1064" y="983"/>
                      </a:lnTo>
                      <a:lnTo>
                        <a:pt x="1064" y="981"/>
                      </a:lnTo>
                      <a:close/>
                      <a:moveTo>
                        <a:pt x="1337" y="1018"/>
                      </a:moveTo>
                      <a:lnTo>
                        <a:pt x="1339" y="1018"/>
                      </a:lnTo>
                      <a:lnTo>
                        <a:pt x="1337" y="1018"/>
                      </a:lnTo>
                      <a:close/>
                      <a:moveTo>
                        <a:pt x="1429" y="1133"/>
                      </a:moveTo>
                      <a:lnTo>
                        <a:pt x="1430" y="1133"/>
                      </a:lnTo>
                      <a:lnTo>
                        <a:pt x="1430" y="1134"/>
                      </a:lnTo>
                      <a:lnTo>
                        <a:pt x="1429" y="1134"/>
                      </a:lnTo>
                      <a:lnTo>
                        <a:pt x="1429" y="1133"/>
                      </a:lnTo>
                      <a:close/>
                      <a:moveTo>
                        <a:pt x="1366" y="1163"/>
                      </a:moveTo>
                      <a:lnTo>
                        <a:pt x="1367" y="1163"/>
                      </a:lnTo>
                      <a:lnTo>
                        <a:pt x="1367" y="1164"/>
                      </a:lnTo>
                      <a:lnTo>
                        <a:pt x="1366" y="1164"/>
                      </a:lnTo>
                      <a:lnTo>
                        <a:pt x="1366" y="1163"/>
                      </a:lnTo>
                      <a:close/>
                      <a:moveTo>
                        <a:pt x="1412" y="1133"/>
                      </a:moveTo>
                      <a:lnTo>
                        <a:pt x="1413" y="1133"/>
                      </a:lnTo>
                      <a:lnTo>
                        <a:pt x="1412" y="1133"/>
                      </a:lnTo>
                      <a:close/>
                      <a:moveTo>
                        <a:pt x="1099" y="804"/>
                      </a:moveTo>
                      <a:lnTo>
                        <a:pt x="1100" y="804"/>
                      </a:lnTo>
                      <a:lnTo>
                        <a:pt x="1100" y="806"/>
                      </a:lnTo>
                      <a:lnTo>
                        <a:pt x="1099" y="806"/>
                      </a:lnTo>
                      <a:lnTo>
                        <a:pt x="1099" y="804"/>
                      </a:lnTo>
                      <a:close/>
                      <a:moveTo>
                        <a:pt x="1434" y="1144"/>
                      </a:moveTo>
                      <a:lnTo>
                        <a:pt x="1434" y="1145"/>
                      </a:lnTo>
                      <a:lnTo>
                        <a:pt x="1434" y="1144"/>
                      </a:lnTo>
                      <a:close/>
                      <a:moveTo>
                        <a:pt x="1056" y="992"/>
                      </a:moveTo>
                      <a:lnTo>
                        <a:pt x="1057" y="992"/>
                      </a:lnTo>
                      <a:lnTo>
                        <a:pt x="1057" y="993"/>
                      </a:lnTo>
                      <a:lnTo>
                        <a:pt x="1056" y="993"/>
                      </a:lnTo>
                      <a:lnTo>
                        <a:pt x="1056" y="992"/>
                      </a:lnTo>
                      <a:close/>
                      <a:moveTo>
                        <a:pt x="993" y="877"/>
                      </a:moveTo>
                      <a:lnTo>
                        <a:pt x="994" y="877"/>
                      </a:lnTo>
                      <a:lnTo>
                        <a:pt x="994" y="878"/>
                      </a:lnTo>
                      <a:lnTo>
                        <a:pt x="993" y="878"/>
                      </a:lnTo>
                      <a:lnTo>
                        <a:pt x="993" y="877"/>
                      </a:lnTo>
                      <a:close/>
                      <a:moveTo>
                        <a:pt x="1406" y="1086"/>
                      </a:moveTo>
                      <a:lnTo>
                        <a:pt x="1405" y="1086"/>
                      </a:lnTo>
                      <a:lnTo>
                        <a:pt x="1404" y="1085"/>
                      </a:lnTo>
                      <a:lnTo>
                        <a:pt x="1405" y="1086"/>
                      </a:lnTo>
                      <a:lnTo>
                        <a:pt x="1406" y="1086"/>
                      </a:lnTo>
                      <a:close/>
                      <a:moveTo>
                        <a:pt x="975" y="878"/>
                      </a:moveTo>
                      <a:lnTo>
                        <a:pt x="976" y="878"/>
                      </a:lnTo>
                      <a:lnTo>
                        <a:pt x="975" y="878"/>
                      </a:lnTo>
                      <a:close/>
                      <a:moveTo>
                        <a:pt x="1287" y="950"/>
                      </a:moveTo>
                      <a:lnTo>
                        <a:pt x="1287" y="951"/>
                      </a:lnTo>
                      <a:lnTo>
                        <a:pt x="1287" y="950"/>
                      </a:lnTo>
                      <a:close/>
                      <a:moveTo>
                        <a:pt x="1072" y="980"/>
                      </a:moveTo>
                      <a:lnTo>
                        <a:pt x="1074" y="980"/>
                      </a:lnTo>
                      <a:lnTo>
                        <a:pt x="1074" y="981"/>
                      </a:lnTo>
                      <a:lnTo>
                        <a:pt x="1072" y="981"/>
                      </a:lnTo>
                      <a:lnTo>
                        <a:pt x="1072" y="980"/>
                      </a:lnTo>
                      <a:close/>
                      <a:moveTo>
                        <a:pt x="1086" y="983"/>
                      </a:moveTo>
                      <a:lnTo>
                        <a:pt x="1084" y="983"/>
                      </a:lnTo>
                      <a:lnTo>
                        <a:pt x="1086" y="983"/>
                      </a:lnTo>
                      <a:close/>
                      <a:moveTo>
                        <a:pt x="1042" y="984"/>
                      </a:moveTo>
                      <a:lnTo>
                        <a:pt x="1044" y="984"/>
                      </a:lnTo>
                      <a:lnTo>
                        <a:pt x="1044" y="986"/>
                      </a:lnTo>
                      <a:lnTo>
                        <a:pt x="1042" y="986"/>
                      </a:lnTo>
                      <a:lnTo>
                        <a:pt x="1042" y="984"/>
                      </a:lnTo>
                      <a:close/>
                      <a:moveTo>
                        <a:pt x="1448" y="1125"/>
                      </a:moveTo>
                      <a:lnTo>
                        <a:pt x="1450" y="1125"/>
                      </a:lnTo>
                      <a:lnTo>
                        <a:pt x="1450" y="1127"/>
                      </a:lnTo>
                      <a:lnTo>
                        <a:pt x="1448" y="1127"/>
                      </a:lnTo>
                      <a:lnTo>
                        <a:pt x="1448" y="1125"/>
                      </a:lnTo>
                      <a:close/>
                      <a:moveTo>
                        <a:pt x="1279" y="1121"/>
                      </a:moveTo>
                      <a:lnTo>
                        <a:pt x="1280" y="1121"/>
                      </a:lnTo>
                      <a:lnTo>
                        <a:pt x="1279" y="1121"/>
                      </a:lnTo>
                      <a:close/>
                      <a:moveTo>
                        <a:pt x="1416" y="1127"/>
                      </a:moveTo>
                      <a:lnTo>
                        <a:pt x="1416" y="1125"/>
                      </a:lnTo>
                      <a:lnTo>
                        <a:pt x="1415" y="1125"/>
                      </a:lnTo>
                      <a:lnTo>
                        <a:pt x="1414" y="1125"/>
                      </a:lnTo>
                      <a:lnTo>
                        <a:pt x="1414" y="1124"/>
                      </a:lnTo>
                      <a:lnTo>
                        <a:pt x="1414" y="1125"/>
                      </a:lnTo>
                      <a:lnTo>
                        <a:pt x="1415" y="1125"/>
                      </a:lnTo>
                      <a:lnTo>
                        <a:pt x="1416" y="1125"/>
                      </a:lnTo>
                      <a:lnTo>
                        <a:pt x="1416" y="1127"/>
                      </a:lnTo>
                      <a:close/>
                      <a:moveTo>
                        <a:pt x="1280" y="966"/>
                      </a:moveTo>
                      <a:lnTo>
                        <a:pt x="1283" y="966"/>
                      </a:lnTo>
                      <a:lnTo>
                        <a:pt x="1283" y="967"/>
                      </a:lnTo>
                      <a:lnTo>
                        <a:pt x="1280" y="967"/>
                      </a:lnTo>
                      <a:lnTo>
                        <a:pt x="1280" y="966"/>
                      </a:lnTo>
                      <a:close/>
                      <a:moveTo>
                        <a:pt x="1155" y="1031"/>
                      </a:moveTo>
                      <a:lnTo>
                        <a:pt x="1155" y="1032"/>
                      </a:lnTo>
                      <a:lnTo>
                        <a:pt x="1155" y="1031"/>
                      </a:lnTo>
                      <a:close/>
                      <a:moveTo>
                        <a:pt x="1367" y="1040"/>
                      </a:moveTo>
                      <a:lnTo>
                        <a:pt x="1367" y="1041"/>
                      </a:lnTo>
                      <a:lnTo>
                        <a:pt x="1367" y="1040"/>
                      </a:lnTo>
                      <a:close/>
                      <a:moveTo>
                        <a:pt x="1072" y="982"/>
                      </a:moveTo>
                      <a:lnTo>
                        <a:pt x="1072" y="983"/>
                      </a:lnTo>
                      <a:lnTo>
                        <a:pt x="1072" y="982"/>
                      </a:lnTo>
                      <a:close/>
                      <a:moveTo>
                        <a:pt x="1336" y="1032"/>
                      </a:moveTo>
                      <a:lnTo>
                        <a:pt x="1336" y="1033"/>
                      </a:lnTo>
                      <a:lnTo>
                        <a:pt x="1336" y="1032"/>
                      </a:lnTo>
                      <a:close/>
                      <a:moveTo>
                        <a:pt x="1179" y="930"/>
                      </a:moveTo>
                      <a:lnTo>
                        <a:pt x="1180" y="930"/>
                      </a:lnTo>
                      <a:lnTo>
                        <a:pt x="1179" y="930"/>
                      </a:lnTo>
                      <a:close/>
                      <a:moveTo>
                        <a:pt x="1276" y="1123"/>
                      </a:moveTo>
                      <a:lnTo>
                        <a:pt x="1277" y="1123"/>
                      </a:lnTo>
                      <a:lnTo>
                        <a:pt x="1277" y="1124"/>
                      </a:lnTo>
                      <a:lnTo>
                        <a:pt x="1276" y="1124"/>
                      </a:lnTo>
                      <a:lnTo>
                        <a:pt x="1276" y="1123"/>
                      </a:lnTo>
                      <a:close/>
                      <a:moveTo>
                        <a:pt x="1048" y="922"/>
                      </a:moveTo>
                      <a:lnTo>
                        <a:pt x="1050" y="922"/>
                      </a:lnTo>
                      <a:lnTo>
                        <a:pt x="1050" y="924"/>
                      </a:lnTo>
                      <a:lnTo>
                        <a:pt x="1048" y="924"/>
                      </a:lnTo>
                      <a:lnTo>
                        <a:pt x="1048" y="922"/>
                      </a:lnTo>
                      <a:close/>
                      <a:moveTo>
                        <a:pt x="1354" y="1003"/>
                      </a:moveTo>
                      <a:lnTo>
                        <a:pt x="1355" y="1003"/>
                      </a:lnTo>
                      <a:lnTo>
                        <a:pt x="1355" y="1004"/>
                      </a:lnTo>
                      <a:lnTo>
                        <a:pt x="1354" y="1004"/>
                      </a:lnTo>
                      <a:lnTo>
                        <a:pt x="1354" y="1003"/>
                      </a:lnTo>
                      <a:close/>
                      <a:moveTo>
                        <a:pt x="1363" y="1019"/>
                      </a:moveTo>
                      <a:lnTo>
                        <a:pt x="1364" y="1019"/>
                      </a:lnTo>
                      <a:lnTo>
                        <a:pt x="1363" y="1019"/>
                      </a:lnTo>
                      <a:close/>
                      <a:moveTo>
                        <a:pt x="1431" y="1133"/>
                      </a:moveTo>
                      <a:lnTo>
                        <a:pt x="1432" y="1133"/>
                      </a:lnTo>
                      <a:lnTo>
                        <a:pt x="1431" y="1133"/>
                      </a:lnTo>
                      <a:close/>
                      <a:moveTo>
                        <a:pt x="1081" y="983"/>
                      </a:moveTo>
                      <a:lnTo>
                        <a:pt x="1082" y="983"/>
                      </a:lnTo>
                      <a:lnTo>
                        <a:pt x="1082" y="984"/>
                      </a:lnTo>
                      <a:lnTo>
                        <a:pt x="1081" y="984"/>
                      </a:lnTo>
                      <a:lnTo>
                        <a:pt x="1081" y="983"/>
                      </a:lnTo>
                      <a:close/>
                      <a:moveTo>
                        <a:pt x="1354" y="1002"/>
                      </a:moveTo>
                      <a:lnTo>
                        <a:pt x="1355" y="1002"/>
                      </a:lnTo>
                      <a:lnTo>
                        <a:pt x="1355" y="1003"/>
                      </a:lnTo>
                      <a:lnTo>
                        <a:pt x="1354" y="1003"/>
                      </a:lnTo>
                      <a:lnTo>
                        <a:pt x="1354" y="1002"/>
                      </a:lnTo>
                      <a:close/>
                      <a:moveTo>
                        <a:pt x="1337" y="1002"/>
                      </a:moveTo>
                      <a:lnTo>
                        <a:pt x="1338" y="1002"/>
                      </a:lnTo>
                      <a:lnTo>
                        <a:pt x="1338" y="1003"/>
                      </a:lnTo>
                      <a:lnTo>
                        <a:pt x="1337" y="1003"/>
                      </a:lnTo>
                      <a:lnTo>
                        <a:pt x="1337" y="1002"/>
                      </a:lnTo>
                      <a:close/>
                      <a:moveTo>
                        <a:pt x="1107" y="994"/>
                      </a:moveTo>
                      <a:lnTo>
                        <a:pt x="1108" y="994"/>
                      </a:lnTo>
                      <a:lnTo>
                        <a:pt x="1107" y="994"/>
                      </a:lnTo>
                      <a:lnTo>
                        <a:pt x="1106" y="994"/>
                      </a:lnTo>
                      <a:lnTo>
                        <a:pt x="1107" y="994"/>
                      </a:lnTo>
                      <a:close/>
                      <a:moveTo>
                        <a:pt x="1286" y="1247"/>
                      </a:moveTo>
                      <a:lnTo>
                        <a:pt x="1287" y="1247"/>
                      </a:lnTo>
                      <a:lnTo>
                        <a:pt x="1287" y="1248"/>
                      </a:lnTo>
                      <a:lnTo>
                        <a:pt x="1286" y="1248"/>
                      </a:lnTo>
                      <a:lnTo>
                        <a:pt x="1286" y="1247"/>
                      </a:lnTo>
                      <a:close/>
                      <a:moveTo>
                        <a:pt x="1224" y="995"/>
                      </a:moveTo>
                      <a:lnTo>
                        <a:pt x="1225" y="995"/>
                      </a:lnTo>
                      <a:lnTo>
                        <a:pt x="1225" y="996"/>
                      </a:lnTo>
                      <a:lnTo>
                        <a:pt x="1224" y="996"/>
                      </a:lnTo>
                      <a:lnTo>
                        <a:pt x="1224" y="995"/>
                      </a:lnTo>
                      <a:close/>
                      <a:moveTo>
                        <a:pt x="1365" y="1039"/>
                      </a:moveTo>
                      <a:lnTo>
                        <a:pt x="1366" y="1039"/>
                      </a:lnTo>
                      <a:lnTo>
                        <a:pt x="1365" y="1039"/>
                      </a:lnTo>
                      <a:close/>
                      <a:moveTo>
                        <a:pt x="1048" y="986"/>
                      </a:moveTo>
                      <a:lnTo>
                        <a:pt x="1048" y="988"/>
                      </a:lnTo>
                      <a:lnTo>
                        <a:pt x="1048" y="986"/>
                      </a:lnTo>
                      <a:close/>
                      <a:moveTo>
                        <a:pt x="1354" y="1047"/>
                      </a:moveTo>
                      <a:lnTo>
                        <a:pt x="1355" y="1047"/>
                      </a:lnTo>
                      <a:lnTo>
                        <a:pt x="1355" y="1048"/>
                      </a:lnTo>
                      <a:lnTo>
                        <a:pt x="1354" y="1048"/>
                      </a:lnTo>
                      <a:lnTo>
                        <a:pt x="1354" y="1047"/>
                      </a:lnTo>
                      <a:close/>
                      <a:moveTo>
                        <a:pt x="1288" y="948"/>
                      </a:moveTo>
                      <a:lnTo>
                        <a:pt x="1289" y="948"/>
                      </a:lnTo>
                      <a:lnTo>
                        <a:pt x="1289" y="949"/>
                      </a:lnTo>
                      <a:lnTo>
                        <a:pt x="1288" y="949"/>
                      </a:lnTo>
                      <a:lnTo>
                        <a:pt x="1288" y="948"/>
                      </a:lnTo>
                      <a:close/>
                      <a:moveTo>
                        <a:pt x="1038" y="983"/>
                      </a:moveTo>
                      <a:lnTo>
                        <a:pt x="1037" y="983"/>
                      </a:lnTo>
                      <a:lnTo>
                        <a:pt x="1037" y="982"/>
                      </a:lnTo>
                      <a:lnTo>
                        <a:pt x="1035" y="982"/>
                      </a:lnTo>
                      <a:lnTo>
                        <a:pt x="1038" y="983"/>
                      </a:lnTo>
                      <a:close/>
                      <a:moveTo>
                        <a:pt x="1272" y="949"/>
                      </a:moveTo>
                      <a:lnTo>
                        <a:pt x="1273" y="949"/>
                      </a:lnTo>
                      <a:lnTo>
                        <a:pt x="1273" y="950"/>
                      </a:lnTo>
                      <a:lnTo>
                        <a:pt x="1272" y="950"/>
                      </a:lnTo>
                      <a:lnTo>
                        <a:pt x="1272" y="949"/>
                      </a:lnTo>
                      <a:close/>
                      <a:moveTo>
                        <a:pt x="1067" y="976"/>
                      </a:moveTo>
                      <a:lnTo>
                        <a:pt x="1067" y="977"/>
                      </a:lnTo>
                      <a:lnTo>
                        <a:pt x="1067" y="976"/>
                      </a:lnTo>
                      <a:close/>
                      <a:moveTo>
                        <a:pt x="1360" y="1145"/>
                      </a:moveTo>
                      <a:lnTo>
                        <a:pt x="1361" y="1145"/>
                      </a:lnTo>
                      <a:lnTo>
                        <a:pt x="1361" y="1146"/>
                      </a:lnTo>
                      <a:lnTo>
                        <a:pt x="1360" y="1146"/>
                      </a:lnTo>
                      <a:lnTo>
                        <a:pt x="1360" y="1145"/>
                      </a:lnTo>
                      <a:close/>
                      <a:moveTo>
                        <a:pt x="1193" y="1046"/>
                      </a:moveTo>
                      <a:lnTo>
                        <a:pt x="1189" y="1046"/>
                      </a:lnTo>
                      <a:lnTo>
                        <a:pt x="1193" y="1046"/>
                      </a:lnTo>
                      <a:close/>
                      <a:moveTo>
                        <a:pt x="1053" y="934"/>
                      </a:moveTo>
                      <a:lnTo>
                        <a:pt x="1054" y="934"/>
                      </a:lnTo>
                      <a:lnTo>
                        <a:pt x="1054" y="935"/>
                      </a:lnTo>
                      <a:lnTo>
                        <a:pt x="1053" y="935"/>
                      </a:lnTo>
                      <a:lnTo>
                        <a:pt x="1053" y="934"/>
                      </a:lnTo>
                      <a:close/>
                      <a:moveTo>
                        <a:pt x="1181" y="1042"/>
                      </a:moveTo>
                      <a:lnTo>
                        <a:pt x="1182" y="1042"/>
                      </a:lnTo>
                      <a:lnTo>
                        <a:pt x="1182" y="1043"/>
                      </a:lnTo>
                      <a:lnTo>
                        <a:pt x="1181" y="1043"/>
                      </a:lnTo>
                      <a:lnTo>
                        <a:pt x="1181" y="1042"/>
                      </a:lnTo>
                      <a:close/>
                      <a:moveTo>
                        <a:pt x="1280" y="956"/>
                      </a:moveTo>
                      <a:lnTo>
                        <a:pt x="1282" y="956"/>
                      </a:lnTo>
                      <a:lnTo>
                        <a:pt x="1280" y="956"/>
                      </a:lnTo>
                      <a:close/>
                      <a:moveTo>
                        <a:pt x="1264" y="1265"/>
                      </a:moveTo>
                      <a:lnTo>
                        <a:pt x="1264" y="1266"/>
                      </a:lnTo>
                      <a:lnTo>
                        <a:pt x="1264" y="1265"/>
                      </a:lnTo>
                      <a:close/>
                      <a:moveTo>
                        <a:pt x="1360" y="1002"/>
                      </a:moveTo>
                      <a:lnTo>
                        <a:pt x="1361" y="1002"/>
                      </a:lnTo>
                      <a:lnTo>
                        <a:pt x="1360" y="1002"/>
                      </a:lnTo>
                      <a:close/>
                      <a:moveTo>
                        <a:pt x="1306" y="952"/>
                      </a:moveTo>
                      <a:lnTo>
                        <a:pt x="1308" y="952"/>
                      </a:lnTo>
                      <a:lnTo>
                        <a:pt x="1308" y="953"/>
                      </a:lnTo>
                      <a:lnTo>
                        <a:pt x="1306" y="953"/>
                      </a:lnTo>
                      <a:lnTo>
                        <a:pt x="1306" y="952"/>
                      </a:lnTo>
                      <a:close/>
                      <a:moveTo>
                        <a:pt x="1362" y="994"/>
                      </a:moveTo>
                      <a:lnTo>
                        <a:pt x="1363" y="994"/>
                      </a:lnTo>
                      <a:lnTo>
                        <a:pt x="1362" y="994"/>
                      </a:lnTo>
                      <a:close/>
                      <a:moveTo>
                        <a:pt x="1353" y="1002"/>
                      </a:moveTo>
                      <a:lnTo>
                        <a:pt x="1354" y="1002"/>
                      </a:lnTo>
                      <a:lnTo>
                        <a:pt x="1354" y="1003"/>
                      </a:lnTo>
                      <a:lnTo>
                        <a:pt x="1353" y="1003"/>
                      </a:lnTo>
                      <a:lnTo>
                        <a:pt x="1353" y="1002"/>
                      </a:lnTo>
                      <a:close/>
                      <a:moveTo>
                        <a:pt x="1135" y="976"/>
                      </a:moveTo>
                      <a:lnTo>
                        <a:pt x="1137" y="976"/>
                      </a:lnTo>
                      <a:lnTo>
                        <a:pt x="1137" y="978"/>
                      </a:lnTo>
                      <a:lnTo>
                        <a:pt x="1135" y="978"/>
                      </a:lnTo>
                      <a:lnTo>
                        <a:pt x="1135" y="976"/>
                      </a:lnTo>
                      <a:close/>
                      <a:moveTo>
                        <a:pt x="1282" y="961"/>
                      </a:moveTo>
                      <a:lnTo>
                        <a:pt x="1284" y="961"/>
                      </a:lnTo>
                      <a:lnTo>
                        <a:pt x="1284" y="962"/>
                      </a:lnTo>
                      <a:lnTo>
                        <a:pt x="1282" y="962"/>
                      </a:lnTo>
                      <a:lnTo>
                        <a:pt x="1282" y="961"/>
                      </a:lnTo>
                      <a:close/>
                      <a:moveTo>
                        <a:pt x="1452" y="1128"/>
                      </a:moveTo>
                      <a:lnTo>
                        <a:pt x="1452" y="1129"/>
                      </a:lnTo>
                      <a:lnTo>
                        <a:pt x="1452" y="1128"/>
                      </a:lnTo>
                      <a:close/>
                      <a:moveTo>
                        <a:pt x="1293" y="943"/>
                      </a:moveTo>
                      <a:lnTo>
                        <a:pt x="1295" y="943"/>
                      </a:lnTo>
                      <a:lnTo>
                        <a:pt x="1295" y="944"/>
                      </a:lnTo>
                      <a:lnTo>
                        <a:pt x="1293" y="944"/>
                      </a:lnTo>
                      <a:lnTo>
                        <a:pt x="1293" y="943"/>
                      </a:lnTo>
                      <a:close/>
                      <a:moveTo>
                        <a:pt x="1115" y="971"/>
                      </a:moveTo>
                      <a:lnTo>
                        <a:pt x="1116" y="971"/>
                      </a:lnTo>
                      <a:lnTo>
                        <a:pt x="1116" y="973"/>
                      </a:lnTo>
                      <a:lnTo>
                        <a:pt x="1115" y="973"/>
                      </a:lnTo>
                      <a:lnTo>
                        <a:pt x="1115" y="971"/>
                      </a:lnTo>
                      <a:close/>
                      <a:moveTo>
                        <a:pt x="1367" y="1027"/>
                      </a:moveTo>
                      <a:lnTo>
                        <a:pt x="1368" y="1027"/>
                      </a:lnTo>
                      <a:lnTo>
                        <a:pt x="1367" y="1027"/>
                      </a:lnTo>
                      <a:close/>
                      <a:moveTo>
                        <a:pt x="1200" y="1046"/>
                      </a:moveTo>
                      <a:lnTo>
                        <a:pt x="1201" y="1046"/>
                      </a:lnTo>
                      <a:lnTo>
                        <a:pt x="1201" y="1047"/>
                      </a:lnTo>
                      <a:lnTo>
                        <a:pt x="1200" y="1047"/>
                      </a:lnTo>
                      <a:lnTo>
                        <a:pt x="1200" y="1046"/>
                      </a:lnTo>
                      <a:close/>
                      <a:moveTo>
                        <a:pt x="1051" y="991"/>
                      </a:moveTo>
                      <a:lnTo>
                        <a:pt x="1052" y="991"/>
                      </a:lnTo>
                      <a:lnTo>
                        <a:pt x="1051" y="991"/>
                      </a:lnTo>
                      <a:close/>
                      <a:moveTo>
                        <a:pt x="1060" y="971"/>
                      </a:moveTo>
                      <a:lnTo>
                        <a:pt x="1061" y="971"/>
                      </a:lnTo>
                      <a:lnTo>
                        <a:pt x="1061" y="973"/>
                      </a:lnTo>
                      <a:lnTo>
                        <a:pt x="1060" y="973"/>
                      </a:lnTo>
                      <a:lnTo>
                        <a:pt x="1060" y="971"/>
                      </a:lnTo>
                      <a:close/>
                      <a:moveTo>
                        <a:pt x="1363" y="1018"/>
                      </a:moveTo>
                      <a:lnTo>
                        <a:pt x="1364" y="1018"/>
                      </a:lnTo>
                      <a:lnTo>
                        <a:pt x="1364" y="1019"/>
                      </a:lnTo>
                      <a:lnTo>
                        <a:pt x="1363" y="1019"/>
                      </a:lnTo>
                      <a:lnTo>
                        <a:pt x="1363" y="1018"/>
                      </a:lnTo>
                      <a:close/>
                      <a:moveTo>
                        <a:pt x="1369" y="1040"/>
                      </a:moveTo>
                      <a:lnTo>
                        <a:pt x="1370" y="1040"/>
                      </a:lnTo>
                      <a:lnTo>
                        <a:pt x="1370" y="1041"/>
                      </a:lnTo>
                      <a:lnTo>
                        <a:pt x="1369" y="1041"/>
                      </a:lnTo>
                      <a:lnTo>
                        <a:pt x="1369" y="1040"/>
                      </a:lnTo>
                      <a:close/>
                      <a:moveTo>
                        <a:pt x="1097" y="977"/>
                      </a:moveTo>
                      <a:lnTo>
                        <a:pt x="1095" y="977"/>
                      </a:lnTo>
                      <a:lnTo>
                        <a:pt x="1097" y="977"/>
                      </a:lnTo>
                      <a:close/>
                      <a:moveTo>
                        <a:pt x="1046" y="923"/>
                      </a:moveTo>
                      <a:lnTo>
                        <a:pt x="1046" y="924"/>
                      </a:lnTo>
                      <a:lnTo>
                        <a:pt x="1046" y="923"/>
                      </a:lnTo>
                      <a:close/>
                      <a:moveTo>
                        <a:pt x="1416" y="1125"/>
                      </a:moveTo>
                      <a:lnTo>
                        <a:pt x="1418" y="1125"/>
                      </a:lnTo>
                      <a:lnTo>
                        <a:pt x="1416" y="1125"/>
                      </a:lnTo>
                      <a:close/>
                      <a:moveTo>
                        <a:pt x="1430" y="1054"/>
                      </a:moveTo>
                      <a:lnTo>
                        <a:pt x="1431" y="1054"/>
                      </a:lnTo>
                      <a:lnTo>
                        <a:pt x="1430" y="1054"/>
                      </a:lnTo>
                      <a:close/>
                      <a:moveTo>
                        <a:pt x="1353" y="1048"/>
                      </a:moveTo>
                      <a:lnTo>
                        <a:pt x="1354" y="1048"/>
                      </a:lnTo>
                      <a:lnTo>
                        <a:pt x="1353" y="1048"/>
                      </a:lnTo>
                      <a:close/>
                      <a:moveTo>
                        <a:pt x="1363" y="1151"/>
                      </a:moveTo>
                      <a:lnTo>
                        <a:pt x="1365" y="1151"/>
                      </a:lnTo>
                      <a:lnTo>
                        <a:pt x="1365" y="1153"/>
                      </a:lnTo>
                      <a:lnTo>
                        <a:pt x="1363" y="1153"/>
                      </a:lnTo>
                      <a:lnTo>
                        <a:pt x="1363" y="1151"/>
                      </a:lnTo>
                      <a:close/>
                      <a:moveTo>
                        <a:pt x="1222" y="994"/>
                      </a:moveTo>
                      <a:lnTo>
                        <a:pt x="1223" y="994"/>
                      </a:lnTo>
                      <a:lnTo>
                        <a:pt x="1222" y="994"/>
                      </a:lnTo>
                      <a:close/>
                      <a:moveTo>
                        <a:pt x="1323" y="1194"/>
                      </a:moveTo>
                      <a:lnTo>
                        <a:pt x="1323" y="1196"/>
                      </a:lnTo>
                      <a:lnTo>
                        <a:pt x="1323" y="1194"/>
                      </a:lnTo>
                      <a:close/>
                      <a:moveTo>
                        <a:pt x="1153" y="1013"/>
                      </a:moveTo>
                      <a:lnTo>
                        <a:pt x="1154" y="1013"/>
                      </a:lnTo>
                      <a:lnTo>
                        <a:pt x="1153" y="1013"/>
                      </a:lnTo>
                      <a:close/>
                      <a:moveTo>
                        <a:pt x="1138" y="936"/>
                      </a:moveTo>
                      <a:lnTo>
                        <a:pt x="1138" y="937"/>
                      </a:lnTo>
                      <a:lnTo>
                        <a:pt x="1138" y="936"/>
                      </a:lnTo>
                      <a:close/>
                      <a:moveTo>
                        <a:pt x="1291" y="970"/>
                      </a:moveTo>
                      <a:lnTo>
                        <a:pt x="1291" y="971"/>
                      </a:lnTo>
                      <a:lnTo>
                        <a:pt x="1291" y="970"/>
                      </a:lnTo>
                      <a:close/>
                      <a:moveTo>
                        <a:pt x="1367" y="1134"/>
                      </a:moveTo>
                      <a:lnTo>
                        <a:pt x="1368" y="1134"/>
                      </a:lnTo>
                      <a:lnTo>
                        <a:pt x="1368" y="1135"/>
                      </a:lnTo>
                      <a:lnTo>
                        <a:pt x="1367" y="1135"/>
                      </a:lnTo>
                      <a:lnTo>
                        <a:pt x="1367" y="1134"/>
                      </a:lnTo>
                      <a:close/>
                      <a:moveTo>
                        <a:pt x="1108" y="982"/>
                      </a:moveTo>
                      <a:lnTo>
                        <a:pt x="1109" y="982"/>
                      </a:lnTo>
                      <a:lnTo>
                        <a:pt x="1109" y="983"/>
                      </a:lnTo>
                      <a:lnTo>
                        <a:pt x="1108" y="983"/>
                      </a:lnTo>
                      <a:lnTo>
                        <a:pt x="1108" y="982"/>
                      </a:lnTo>
                      <a:close/>
                      <a:moveTo>
                        <a:pt x="1190" y="925"/>
                      </a:moveTo>
                      <a:lnTo>
                        <a:pt x="1192" y="925"/>
                      </a:lnTo>
                      <a:lnTo>
                        <a:pt x="1190" y="925"/>
                      </a:lnTo>
                      <a:close/>
                      <a:moveTo>
                        <a:pt x="1288" y="970"/>
                      </a:moveTo>
                      <a:lnTo>
                        <a:pt x="1289" y="970"/>
                      </a:lnTo>
                      <a:lnTo>
                        <a:pt x="1288" y="970"/>
                      </a:lnTo>
                      <a:close/>
                      <a:moveTo>
                        <a:pt x="1442" y="1146"/>
                      </a:moveTo>
                      <a:lnTo>
                        <a:pt x="1443" y="1146"/>
                      </a:lnTo>
                      <a:lnTo>
                        <a:pt x="1442" y="1146"/>
                      </a:lnTo>
                      <a:close/>
                      <a:moveTo>
                        <a:pt x="1355" y="1014"/>
                      </a:moveTo>
                      <a:lnTo>
                        <a:pt x="1356" y="1014"/>
                      </a:lnTo>
                      <a:lnTo>
                        <a:pt x="1355" y="1014"/>
                      </a:lnTo>
                      <a:close/>
                      <a:moveTo>
                        <a:pt x="1310" y="1107"/>
                      </a:moveTo>
                      <a:lnTo>
                        <a:pt x="1311" y="1107"/>
                      </a:lnTo>
                      <a:lnTo>
                        <a:pt x="1311" y="1108"/>
                      </a:lnTo>
                      <a:lnTo>
                        <a:pt x="1310" y="1108"/>
                      </a:lnTo>
                      <a:lnTo>
                        <a:pt x="1310" y="1107"/>
                      </a:lnTo>
                      <a:close/>
                      <a:moveTo>
                        <a:pt x="1416" y="1000"/>
                      </a:moveTo>
                      <a:lnTo>
                        <a:pt x="1417" y="1000"/>
                      </a:lnTo>
                      <a:lnTo>
                        <a:pt x="1416" y="1000"/>
                      </a:lnTo>
                      <a:close/>
                      <a:moveTo>
                        <a:pt x="1287" y="966"/>
                      </a:moveTo>
                      <a:lnTo>
                        <a:pt x="1288" y="966"/>
                      </a:lnTo>
                      <a:lnTo>
                        <a:pt x="1288" y="967"/>
                      </a:lnTo>
                      <a:lnTo>
                        <a:pt x="1287" y="967"/>
                      </a:lnTo>
                      <a:lnTo>
                        <a:pt x="1287" y="966"/>
                      </a:lnTo>
                      <a:close/>
                      <a:moveTo>
                        <a:pt x="1061" y="977"/>
                      </a:moveTo>
                      <a:lnTo>
                        <a:pt x="1061" y="978"/>
                      </a:lnTo>
                      <a:lnTo>
                        <a:pt x="1061" y="977"/>
                      </a:lnTo>
                      <a:close/>
                      <a:moveTo>
                        <a:pt x="1283" y="962"/>
                      </a:moveTo>
                      <a:lnTo>
                        <a:pt x="1285" y="962"/>
                      </a:lnTo>
                      <a:lnTo>
                        <a:pt x="1283" y="962"/>
                      </a:lnTo>
                      <a:close/>
                      <a:moveTo>
                        <a:pt x="1140" y="982"/>
                      </a:moveTo>
                      <a:lnTo>
                        <a:pt x="1142" y="982"/>
                      </a:lnTo>
                      <a:lnTo>
                        <a:pt x="1142" y="983"/>
                      </a:lnTo>
                      <a:lnTo>
                        <a:pt x="1140" y="983"/>
                      </a:lnTo>
                      <a:lnTo>
                        <a:pt x="1140" y="982"/>
                      </a:lnTo>
                      <a:close/>
                      <a:moveTo>
                        <a:pt x="1403" y="1102"/>
                      </a:moveTo>
                      <a:lnTo>
                        <a:pt x="1404" y="1102"/>
                      </a:lnTo>
                      <a:lnTo>
                        <a:pt x="1404" y="1103"/>
                      </a:lnTo>
                      <a:lnTo>
                        <a:pt x="1403" y="1103"/>
                      </a:lnTo>
                      <a:lnTo>
                        <a:pt x="1403" y="1102"/>
                      </a:lnTo>
                      <a:close/>
                      <a:moveTo>
                        <a:pt x="1255" y="942"/>
                      </a:moveTo>
                      <a:lnTo>
                        <a:pt x="1258" y="942"/>
                      </a:lnTo>
                      <a:lnTo>
                        <a:pt x="1258" y="943"/>
                      </a:lnTo>
                      <a:lnTo>
                        <a:pt x="1255" y="943"/>
                      </a:lnTo>
                      <a:lnTo>
                        <a:pt x="1255" y="942"/>
                      </a:lnTo>
                      <a:close/>
                      <a:moveTo>
                        <a:pt x="1353" y="1046"/>
                      </a:moveTo>
                      <a:lnTo>
                        <a:pt x="1353" y="1047"/>
                      </a:lnTo>
                      <a:lnTo>
                        <a:pt x="1353" y="1046"/>
                      </a:lnTo>
                      <a:close/>
                      <a:moveTo>
                        <a:pt x="1341" y="1171"/>
                      </a:moveTo>
                      <a:lnTo>
                        <a:pt x="1342" y="1171"/>
                      </a:lnTo>
                      <a:lnTo>
                        <a:pt x="1342" y="1172"/>
                      </a:lnTo>
                      <a:lnTo>
                        <a:pt x="1341" y="1172"/>
                      </a:lnTo>
                      <a:lnTo>
                        <a:pt x="1341" y="1171"/>
                      </a:lnTo>
                      <a:close/>
                      <a:moveTo>
                        <a:pt x="1019" y="968"/>
                      </a:moveTo>
                      <a:lnTo>
                        <a:pt x="1019" y="969"/>
                      </a:lnTo>
                      <a:lnTo>
                        <a:pt x="1019" y="968"/>
                      </a:lnTo>
                      <a:close/>
                      <a:moveTo>
                        <a:pt x="1414" y="1124"/>
                      </a:moveTo>
                      <a:lnTo>
                        <a:pt x="1416" y="1124"/>
                      </a:lnTo>
                      <a:lnTo>
                        <a:pt x="1416" y="1125"/>
                      </a:lnTo>
                      <a:lnTo>
                        <a:pt x="1414" y="1125"/>
                      </a:lnTo>
                      <a:lnTo>
                        <a:pt x="1414" y="1124"/>
                      </a:lnTo>
                      <a:close/>
                      <a:moveTo>
                        <a:pt x="1368" y="1133"/>
                      </a:moveTo>
                      <a:lnTo>
                        <a:pt x="1368" y="1134"/>
                      </a:lnTo>
                      <a:lnTo>
                        <a:pt x="1368" y="1133"/>
                      </a:lnTo>
                      <a:close/>
                      <a:moveTo>
                        <a:pt x="1272" y="1264"/>
                      </a:moveTo>
                      <a:lnTo>
                        <a:pt x="1273" y="1264"/>
                      </a:lnTo>
                      <a:lnTo>
                        <a:pt x="1273" y="1265"/>
                      </a:lnTo>
                      <a:lnTo>
                        <a:pt x="1272" y="1265"/>
                      </a:lnTo>
                      <a:lnTo>
                        <a:pt x="1272" y="1264"/>
                      </a:lnTo>
                      <a:close/>
                      <a:moveTo>
                        <a:pt x="1364" y="1021"/>
                      </a:moveTo>
                      <a:lnTo>
                        <a:pt x="1366" y="1021"/>
                      </a:lnTo>
                      <a:lnTo>
                        <a:pt x="1366" y="1022"/>
                      </a:lnTo>
                      <a:lnTo>
                        <a:pt x="1364" y="1022"/>
                      </a:lnTo>
                      <a:lnTo>
                        <a:pt x="1364" y="1021"/>
                      </a:lnTo>
                      <a:close/>
                      <a:moveTo>
                        <a:pt x="1279" y="1231"/>
                      </a:moveTo>
                      <a:lnTo>
                        <a:pt x="1280" y="1231"/>
                      </a:lnTo>
                      <a:lnTo>
                        <a:pt x="1279" y="1231"/>
                      </a:lnTo>
                      <a:close/>
                      <a:moveTo>
                        <a:pt x="1349" y="1123"/>
                      </a:moveTo>
                      <a:lnTo>
                        <a:pt x="1349" y="1124"/>
                      </a:lnTo>
                      <a:lnTo>
                        <a:pt x="1349" y="1123"/>
                      </a:lnTo>
                      <a:close/>
                      <a:moveTo>
                        <a:pt x="1072" y="986"/>
                      </a:moveTo>
                      <a:lnTo>
                        <a:pt x="1073" y="986"/>
                      </a:lnTo>
                      <a:lnTo>
                        <a:pt x="1073" y="987"/>
                      </a:lnTo>
                      <a:lnTo>
                        <a:pt x="1072" y="987"/>
                      </a:lnTo>
                      <a:lnTo>
                        <a:pt x="1072" y="986"/>
                      </a:lnTo>
                      <a:close/>
                      <a:moveTo>
                        <a:pt x="1421" y="1123"/>
                      </a:moveTo>
                      <a:lnTo>
                        <a:pt x="1422" y="1123"/>
                      </a:lnTo>
                      <a:lnTo>
                        <a:pt x="1422" y="1124"/>
                      </a:lnTo>
                      <a:lnTo>
                        <a:pt x="1421" y="1124"/>
                      </a:lnTo>
                      <a:lnTo>
                        <a:pt x="1421" y="1123"/>
                      </a:lnTo>
                      <a:close/>
                      <a:moveTo>
                        <a:pt x="1080" y="984"/>
                      </a:moveTo>
                      <a:lnTo>
                        <a:pt x="1081" y="984"/>
                      </a:lnTo>
                      <a:lnTo>
                        <a:pt x="1081" y="986"/>
                      </a:lnTo>
                      <a:lnTo>
                        <a:pt x="1080" y="986"/>
                      </a:lnTo>
                      <a:lnTo>
                        <a:pt x="1080" y="984"/>
                      </a:lnTo>
                      <a:close/>
                      <a:moveTo>
                        <a:pt x="1330" y="1185"/>
                      </a:moveTo>
                      <a:lnTo>
                        <a:pt x="1331" y="1185"/>
                      </a:lnTo>
                      <a:lnTo>
                        <a:pt x="1330" y="1185"/>
                      </a:lnTo>
                      <a:close/>
                      <a:moveTo>
                        <a:pt x="1375" y="1038"/>
                      </a:moveTo>
                      <a:lnTo>
                        <a:pt x="1375" y="1039"/>
                      </a:lnTo>
                      <a:lnTo>
                        <a:pt x="1375" y="1038"/>
                      </a:lnTo>
                      <a:close/>
                      <a:moveTo>
                        <a:pt x="1098" y="976"/>
                      </a:moveTo>
                      <a:lnTo>
                        <a:pt x="1096" y="976"/>
                      </a:lnTo>
                      <a:lnTo>
                        <a:pt x="1098" y="976"/>
                      </a:lnTo>
                      <a:close/>
                      <a:moveTo>
                        <a:pt x="1143" y="1009"/>
                      </a:moveTo>
                      <a:lnTo>
                        <a:pt x="1144" y="1009"/>
                      </a:lnTo>
                      <a:lnTo>
                        <a:pt x="1144" y="1011"/>
                      </a:lnTo>
                      <a:lnTo>
                        <a:pt x="1143" y="1011"/>
                      </a:lnTo>
                      <a:lnTo>
                        <a:pt x="1143" y="1009"/>
                      </a:lnTo>
                      <a:close/>
                      <a:moveTo>
                        <a:pt x="1356" y="1043"/>
                      </a:moveTo>
                      <a:lnTo>
                        <a:pt x="1357" y="1043"/>
                      </a:lnTo>
                      <a:lnTo>
                        <a:pt x="1356" y="1043"/>
                      </a:lnTo>
                      <a:close/>
                      <a:moveTo>
                        <a:pt x="1258" y="952"/>
                      </a:moveTo>
                      <a:lnTo>
                        <a:pt x="1259" y="952"/>
                      </a:lnTo>
                      <a:lnTo>
                        <a:pt x="1259" y="953"/>
                      </a:lnTo>
                      <a:lnTo>
                        <a:pt x="1258" y="953"/>
                      </a:lnTo>
                      <a:lnTo>
                        <a:pt x="1258" y="952"/>
                      </a:lnTo>
                      <a:close/>
                      <a:moveTo>
                        <a:pt x="1425" y="1124"/>
                      </a:moveTo>
                      <a:lnTo>
                        <a:pt x="1426" y="1124"/>
                      </a:lnTo>
                      <a:lnTo>
                        <a:pt x="1425" y="1124"/>
                      </a:lnTo>
                      <a:close/>
                      <a:moveTo>
                        <a:pt x="1350" y="1090"/>
                      </a:moveTo>
                      <a:lnTo>
                        <a:pt x="1351" y="1090"/>
                      </a:lnTo>
                      <a:lnTo>
                        <a:pt x="1350" y="1090"/>
                      </a:lnTo>
                      <a:close/>
                      <a:moveTo>
                        <a:pt x="1224" y="994"/>
                      </a:moveTo>
                      <a:lnTo>
                        <a:pt x="1224" y="995"/>
                      </a:lnTo>
                      <a:lnTo>
                        <a:pt x="1224" y="994"/>
                      </a:lnTo>
                      <a:close/>
                      <a:moveTo>
                        <a:pt x="1357" y="968"/>
                      </a:moveTo>
                      <a:lnTo>
                        <a:pt x="1358" y="968"/>
                      </a:lnTo>
                      <a:lnTo>
                        <a:pt x="1358" y="969"/>
                      </a:lnTo>
                      <a:lnTo>
                        <a:pt x="1357" y="969"/>
                      </a:lnTo>
                      <a:lnTo>
                        <a:pt x="1357" y="968"/>
                      </a:lnTo>
                      <a:close/>
                      <a:moveTo>
                        <a:pt x="1363" y="1031"/>
                      </a:moveTo>
                      <a:lnTo>
                        <a:pt x="1364" y="1031"/>
                      </a:lnTo>
                      <a:lnTo>
                        <a:pt x="1363" y="1031"/>
                      </a:lnTo>
                      <a:close/>
                      <a:moveTo>
                        <a:pt x="1284" y="949"/>
                      </a:moveTo>
                      <a:lnTo>
                        <a:pt x="1285" y="949"/>
                      </a:lnTo>
                      <a:lnTo>
                        <a:pt x="1284" y="949"/>
                      </a:lnTo>
                      <a:close/>
                      <a:moveTo>
                        <a:pt x="1136" y="991"/>
                      </a:moveTo>
                      <a:lnTo>
                        <a:pt x="1138" y="991"/>
                      </a:lnTo>
                      <a:lnTo>
                        <a:pt x="1138" y="992"/>
                      </a:lnTo>
                      <a:lnTo>
                        <a:pt x="1136" y="992"/>
                      </a:lnTo>
                      <a:lnTo>
                        <a:pt x="1136" y="991"/>
                      </a:lnTo>
                      <a:close/>
                      <a:moveTo>
                        <a:pt x="1197" y="1045"/>
                      </a:moveTo>
                      <a:lnTo>
                        <a:pt x="1198" y="1045"/>
                      </a:lnTo>
                      <a:lnTo>
                        <a:pt x="1197" y="1045"/>
                      </a:lnTo>
                      <a:close/>
                      <a:moveTo>
                        <a:pt x="1367" y="1026"/>
                      </a:moveTo>
                      <a:lnTo>
                        <a:pt x="1368" y="1026"/>
                      </a:lnTo>
                      <a:lnTo>
                        <a:pt x="1367" y="1026"/>
                      </a:lnTo>
                      <a:close/>
                      <a:moveTo>
                        <a:pt x="1135" y="1002"/>
                      </a:moveTo>
                      <a:lnTo>
                        <a:pt x="1136" y="1002"/>
                      </a:lnTo>
                      <a:lnTo>
                        <a:pt x="1136" y="1003"/>
                      </a:lnTo>
                      <a:lnTo>
                        <a:pt x="1135" y="1003"/>
                      </a:lnTo>
                      <a:lnTo>
                        <a:pt x="1135" y="1002"/>
                      </a:lnTo>
                      <a:close/>
                      <a:moveTo>
                        <a:pt x="1363" y="1050"/>
                      </a:moveTo>
                      <a:lnTo>
                        <a:pt x="1364" y="1050"/>
                      </a:lnTo>
                      <a:lnTo>
                        <a:pt x="1363" y="1050"/>
                      </a:lnTo>
                      <a:close/>
                      <a:moveTo>
                        <a:pt x="1321" y="1103"/>
                      </a:moveTo>
                      <a:lnTo>
                        <a:pt x="1319" y="1105"/>
                      </a:lnTo>
                      <a:lnTo>
                        <a:pt x="1321" y="1103"/>
                      </a:lnTo>
                      <a:lnTo>
                        <a:pt x="1321" y="1101"/>
                      </a:lnTo>
                      <a:lnTo>
                        <a:pt x="1321" y="1103"/>
                      </a:lnTo>
                      <a:close/>
                      <a:moveTo>
                        <a:pt x="1312" y="1106"/>
                      </a:moveTo>
                      <a:lnTo>
                        <a:pt x="1313" y="1106"/>
                      </a:lnTo>
                      <a:lnTo>
                        <a:pt x="1312" y="1106"/>
                      </a:lnTo>
                      <a:close/>
                      <a:moveTo>
                        <a:pt x="1103" y="800"/>
                      </a:moveTo>
                      <a:lnTo>
                        <a:pt x="1104" y="800"/>
                      </a:lnTo>
                      <a:lnTo>
                        <a:pt x="1104" y="801"/>
                      </a:lnTo>
                      <a:lnTo>
                        <a:pt x="1103" y="801"/>
                      </a:lnTo>
                      <a:lnTo>
                        <a:pt x="1103" y="800"/>
                      </a:lnTo>
                      <a:close/>
                      <a:moveTo>
                        <a:pt x="1309" y="948"/>
                      </a:moveTo>
                      <a:lnTo>
                        <a:pt x="1311" y="948"/>
                      </a:lnTo>
                      <a:lnTo>
                        <a:pt x="1309" y="948"/>
                      </a:lnTo>
                      <a:close/>
                      <a:moveTo>
                        <a:pt x="1290" y="971"/>
                      </a:moveTo>
                      <a:lnTo>
                        <a:pt x="1290" y="973"/>
                      </a:lnTo>
                      <a:lnTo>
                        <a:pt x="1290" y="971"/>
                      </a:lnTo>
                      <a:close/>
                      <a:moveTo>
                        <a:pt x="1326" y="1021"/>
                      </a:moveTo>
                      <a:lnTo>
                        <a:pt x="1326" y="1022"/>
                      </a:lnTo>
                      <a:lnTo>
                        <a:pt x="1326" y="1021"/>
                      </a:lnTo>
                      <a:close/>
                      <a:moveTo>
                        <a:pt x="1187" y="929"/>
                      </a:moveTo>
                      <a:lnTo>
                        <a:pt x="1188" y="929"/>
                      </a:lnTo>
                      <a:lnTo>
                        <a:pt x="1187" y="929"/>
                      </a:lnTo>
                      <a:close/>
                      <a:moveTo>
                        <a:pt x="1413" y="1090"/>
                      </a:moveTo>
                      <a:lnTo>
                        <a:pt x="1414" y="1090"/>
                      </a:lnTo>
                      <a:lnTo>
                        <a:pt x="1413" y="1090"/>
                      </a:lnTo>
                      <a:close/>
                      <a:moveTo>
                        <a:pt x="1364" y="1030"/>
                      </a:moveTo>
                      <a:lnTo>
                        <a:pt x="1365" y="1030"/>
                      </a:lnTo>
                      <a:lnTo>
                        <a:pt x="1364" y="1030"/>
                      </a:lnTo>
                      <a:close/>
                      <a:moveTo>
                        <a:pt x="1338" y="1004"/>
                      </a:moveTo>
                      <a:lnTo>
                        <a:pt x="1339" y="1004"/>
                      </a:lnTo>
                      <a:lnTo>
                        <a:pt x="1339" y="1005"/>
                      </a:lnTo>
                      <a:lnTo>
                        <a:pt x="1338" y="1005"/>
                      </a:lnTo>
                      <a:lnTo>
                        <a:pt x="1338" y="1004"/>
                      </a:lnTo>
                      <a:close/>
                      <a:moveTo>
                        <a:pt x="1366" y="1004"/>
                      </a:moveTo>
                      <a:lnTo>
                        <a:pt x="1367" y="1004"/>
                      </a:lnTo>
                      <a:lnTo>
                        <a:pt x="1367" y="1005"/>
                      </a:lnTo>
                      <a:lnTo>
                        <a:pt x="1366" y="1005"/>
                      </a:lnTo>
                      <a:lnTo>
                        <a:pt x="1366" y="1004"/>
                      </a:lnTo>
                      <a:close/>
                      <a:moveTo>
                        <a:pt x="1316" y="1101"/>
                      </a:moveTo>
                      <a:lnTo>
                        <a:pt x="1313" y="1099"/>
                      </a:lnTo>
                      <a:lnTo>
                        <a:pt x="1315" y="1101"/>
                      </a:lnTo>
                      <a:lnTo>
                        <a:pt x="1316" y="1101"/>
                      </a:lnTo>
                      <a:close/>
                      <a:moveTo>
                        <a:pt x="1042" y="986"/>
                      </a:moveTo>
                      <a:lnTo>
                        <a:pt x="1043" y="986"/>
                      </a:lnTo>
                      <a:lnTo>
                        <a:pt x="1042" y="986"/>
                      </a:lnTo>
                      <a:close/>
                      <a:moveTo>
                        <a:pt x="1363" y="1145"/>
                      </a:moveTo>
                      <a:lnTo>
                        <a:pt x="1364" y="1145"/>
                      </a:lnTo>
                      <a:lnTo>
                        <a:pt x="1363" y="1145"/>
                      </a:lnTo>
                      <a:close/>
                      <a:moveTo>
                        <a:pt x="1326" y="1188"/>
                      </a:moveTo>
                      <a:lnTo>
                        <a:pt x="1327" y="1188"/>
                      </a:lnTo>
                      <a:lnTo>
                        <a:pt x="1327" y="1189"/>
                      </a:lnTo>
                      <a:lnTo>
                        <a:pt x="1326" y="1189"/>
                      </a:lnTo>
                      <a:lnTo>
                        <a:pt x="1326" y="1188"/>
                      </a:lnTo>
                      <a:close/>
                      <a:moveTo>
                        <a:pt x="1136" y="973"/>
                      </a:moveTo>
                      <a:lnTo>
                        <a:pt x="1138" y="973"/>
                      </a:lnTo>
                      <a:lnTo>
                        <a:pt x="1136" y="973"/>
                      </a:lnTo>
                      <a:close/>
                      <a:moveTo>
                        <a:pt x="1140" y="1008"/>
                      </a:moveTo>
                      <a:lnTo>
                        <a:pt x="1141" y="1008"/>
                      </a:lnTo>
                      <a:lnTo>
                        <a:pt x="1141" y="1009"/>
                      </a:lnTo>
                      <a:lnTo>
                        <a:pt x="1140" y="1009"/>
                      </a:lnTo>
                      <a:lnTo>
                        <a:pt x="1140" y="1008"/>
                      </a:lnTo>
                      <a:close/>
                      <a:moveTo>
                        <a:pt x="1087" y="800"/>
                      </a:moveTo>
                      <a:lnTo>
                        <a:pt x="1089" y="800"/>
                      </a:lnTo>
                      <a:lnTo>
                        <a:pt x="1087" y="800"/>
                      </a:lnTo>
                      <a:close/>
                      <a:moveTo>
                        <a:pt x="1273" y="945"/>
                      </a:moveTo>
                      <a:lnTo>
                        <a:pt x="1274" y="945"/>
                      </a:lnTo>
                      <a:lnTo>
                        <a:pt x="1274" y="947"/>
                      </a:lnTo>
                      <a:lnTo>
                        <a:pt x="1273" y="947"/>
                      </a:lnTo>
                      <a:lnTo>
                        <a:pt x="1273" y="945"/>
                      </a:lnTo>
                      <a:close/>
                      <a:moveTo>
                        <a:pt x="1347" y="996"/>
                      </a:moveTo>
                      <a:lnTo>
                        <a:pt x="1348" y="996"/>
                      </a:lnTo>
                      <a:lnTo>
                        <a:pt x="1348" y="998"/>
                      </a:lnTo>
                      <a:lnTo>
                        <a:pt x="1347" y="998"/>
                      </a:lnTo>
                      <a:lnTo>
                        <a:pt x="1347" y="996"/>
                      </a:lnTo>
                      <a:close/>
                      <a:moveTo>
                        <a:pt x="1261" y="943"/>
                      </a:moveTo>
                      <a:lnTo>
                        <a:pt x="1263" y="943"/>
                      </a:lnTo>
                      <a:lnTo>
                        <a:pt x="1261" y="943"/>
                      </a:lnTo>
                      <a:close/>
                      <a:moveTo>
                        <a:pt x="1279" y="965"/>
                      </a:moveTo>
                      <a:lnTo>
                        <a:pt x="1280" y="965"/>
                      </a:lnTo>
                      <a:lnTo>
                        <a:pt x="1279" y="965"/>
                      </a:lnTo>
                      <a:close/>
                      <a:moveTo>
                        <a:pt x="1284" y="969"/>
                      </a:moveTo>
                      <a:lnTo>
                        <a:pt x="1285" y="969"/>
                      </a:lnTo>
                      <a:lnTo>
                        <a:pt x="1284" y="969"/>
                      </a:lnTo>
                      <a:close/>
                      <a:moveTo>
                        <a:pt x="1363" y="1043"/>
                      </a:moveTo>
                      <a:lnTo>
                        <a:pt x="1364" y="1043"/>
                      </a:lnTo>
                      <a:lnTo>
                        <a:pt x="1363" y="1043"/>
                      </a:lnTo>
                      <a:close/>
                      <a:moveTo>
                        <a:pt x="1367" y="1013"/>
                      </a:moveTo>
                      <a:lnTo>
                        <a:pt x="1368" y="1013"/>
                      </a:lnTo>
                      <a:lnTo>
                        <a:pt x="1368" y="1014"/>
                      </a:lnTo>
                      <a:lnTo>
                        <a:pt x="1367" y="1014"/>
                      </a:lnTo>
                      <a:lnTo>
                        <a:pt x="1367" y="1013"/>
                      </a:lnTo>
                      <a:close/>
                      <a:moveTo>
                        <a:pt x="1145" y="1009"/>
                      </a:moveTo>
                      <a:lnTo>
                        <a:pt x="1146" y="1009"/>
                      </a:lnTo>
                      <a:lnTo>
                        <a:pt x="1145" y="1009"/>
                      </a:lnTo>
                      <a:close/>
                      <a:moveTo>
                        <a:pt x="1352" y="996"/>
                      </a:moveTo>
                      <a:lnTo>
                        <a:pt x="1353" y="996"/>
                      </a:lnTo>
                      <a:lnTo>
                        <a:pt x="1353" y="998"/>
                      </a:lnTo>
                      <a:lnTo>
                        <a:pt x="1352" y="998"/>
                      </a:lnTo>
                      <a:lnTo>
                        <a:pt x="1352" y="996"/>
                      </a:lnTo>
                      <a:close/>
                      <a:moveTo>
                        <a:pt x="1199" y="1047"/>
                      </a:moveTo>
                      <a:lnTo>
                        <a:pt x="1200" y="1047"/>
                      </a:lnTo>
                      <a:lnTo>
                        <a:pt x="1199" y="1047"/>
                      </a:lnTo>
                      <a:close/>
                      <a:moveTo>
                        <a:pt x="1363" y="1017"/>
                      </a:moveTo>
                      <a:lnTo>
                        <a:pt x="1364" y="1017"/>
                      </a:lnTo>
                      <a:lnTo>
                        <a:pt x="1364" y="1018"/>
                      </a:lnTo>
                      <a:lnTo>
                        <a:pt x="1363" y="1018"/>
                      </a:lnTo>
                      <a:lnTo>
                        <a:pt x="1363" y="1017"/>
                      </a:lnTo>
                      <a:close/>
                      <a:moveTo>
                        <a:pt x="1286" y="954"/>
                      </a:moveTo>
                      <a:lnTo>
                        <a:pt x="1287" y="954"/>
                      </a:lnTo>
                      <a:lnTo>
                        <a:pt x="1287" y="955"/>
                      </a:lnTo>
                      <a:lnTo>
                        <a:pt x="1286" y="955"/>
                      </a:lnTo>
                      <a:lnTo>
                        <a:pt x="1286" y="954"/>
                      </a:lnTo>
                      <a:close/>
                      <a:moveTo>
                        <a:pt x="1208" y="1040"/>
                      </a:moveTo>
                      <a:lnTo>
                        <a:pt x="1208" y="1041"/>
                      </a:lnTo>
                      <a:lnTo>
                        <a:pt x="1208" y="1040"/>
                      </a:lnTo>
                      <a:close/>
                      <a:moveTo>
                        <a:pt x="1065" y="979"/>
                      </a:moveTo>
                      <a:lnTo>
                        <a:pt x="1067" y="979"/>
                      </a:lnTo>
                      <a:lnTo>
                        <a:pt x="1067" y="980"/>
                      </a:lnTo>
                      <a:lnTo>
                        <a:pt x="1065" y="980"/>
                      </a:lnTo>
                      <a:lnTo>
                        <a:pt x="1065" y="979"/>
                      </a:lnTo>
                      <a:close/>
                      <a:moveTo>
                        <a:pt x="1283" y="954"/>
                      </a:moveTo>
                      <a:lnTo>
                        <a:pt x="1283" y="955"/>
                      </a:lnTo>
                      <a:lnTo>
                        <a:pt x="1283" y="954"/>
                      </a:lnTo>
                      <a:close/>
                      <a:moveTo>
                        <a:pt x="1368" y="1020"/>
                      </a:moveTo>
                      <a:lnTo>
                        <a:pt x="1369" y="1020"/>
                      </a:lnTo>
                      <a:lnTo>
                        <a:pt x="1369" y="1021"/>
                      </a:lnTo>
                      <a:lnTo>
                        <a:pt x="1368" y="1021"/>
                      </a:lnTo>
                      <a:lnTo>
                        <a:pt x="1368" y="1020"/>
                      </a:lnTo>
                      <a:close/>
                      <a:moveTo>
                        <a:pt x="1365" y="1020"/>
                      </a:moveTo>
                      <a:lnTo>
                        <a:pt x="1365" y="1021"/>
                      </a:lnTo>
                      <a:lnTo>
                        <a:pt x="1365" y="1020"/>
                      </a:lnTo>
                      <a:close/>
                      <a:moveTo>
                        <a:pt x="1182" y="1028"/>
                      </a:moveTo>
                      <a:lnTo>
                        <a:pt x="1182" y="1029"/>
                      </a:lnTo>
                      <a:lnTo>
                        <a:pt x="1182" y="1028"/>
                      </a:lnTo>
                      <a:close/>
                      <a:moveTo>
                        <a:pt x="1323" y="1193"/>
                      </a:moveTo>
                      <a:lnTo>
                        <a:pt x="1324" y="1193"/>
                      </a:lnTo>
                      <a:lnTo>
                        <a:pt x="1324" y="1194"/>
                      </a:lnTo>
                      <a:lnTo>
                        <a:pt x="1323" y="1194"/>
                      </a:lnTo>
                      <a:lnTo>
                        <a:pt x="1323" y="1193"/>
                      </a:lnTo>
                      <a:close/>
                      <a:moveTo>
                        <a:pt x="1058" y="973"/>
                      </a:moveTo>
                      <a:lnTo>
                        <a:pt x="1059" y="973"/>
                      </a:lnTo>
                      <a:lnTo>
                        <a:pt x="1058" y="973"/>
                      </a:lnTo>
                      <a:close/>
                      <a:moveTo>
                        <a:pt x="1203" y="1045"/>
                      </a:moveTo>
                      <a:lnTo>
                        <a:pt x="1203" y="1046"/>
                      </a:lnTo>
                      <a:lnTo>
                        <a:pt x="1203" y="1045"/>
                      </a:lnTo>
                      <a:close/>
                      <a:moveTo>
                        <a:pt x="1350" y="1028"/>
                      </a:moveTo>
                      <a:lnTo>
                        <a:pt x="1351" y="1028"/>
                      </a:lnTo>
                      <a:lnTo>
                        <a:pt x="1350" y="1028"/>
                      </a:lnTo>
                      <a:close/>
                      <a:moveTo>
                        <a:pt x="1258" y="952"/>
                      </a:moveTo>
                      <a:lnTo>
                        <a:pt x="1259" y="952"/>
                      </a:lnTo>
                      <a:lnTo>
                        <a:pt x="1258" y="952"/>
                      </a:lnTo>
                      <a:close/>
                      <a:moveTo>
                        <a:pt x="1357" y="1145"/>
                      </a:moveTo>
                      <a:lnTo>
                        <a:pt x="1357" y="1146"/>
                      </a:lnTo>
                      <a:lnTo>
                        <a:pt x="1357" y="1145"/>
                      </a:lnTo>
                      <a:close/>
                      <a:moveTo>
                        <a:pt x="1021" y="915"/>
                      </a:moveTo>
                      <a:lnTo>
                        <a:pt x="1022" y="915"/>
                      </a:lnTo>
                      <a:lnTo>
                        <a:pt x="1021" y="915"/>
                      </a:lnTo>
                      <a:close/>
                      <a:moveTo>
                        <a:pt x="1315" y="1101"/>
                      </a:moveTo>
                      <a:lnTo>
                        <a:pt x="1313" y="1099"/>
                      </a:lnTo>
                      <a:lnTo>
                        <a:pt x="1315" y="1101"/>
                      </a:lnTo>
                      <a:close/>
                      <a:moveTo>
                        <a:pt x="1429" y="1119"/>
                      </a:moveTo>
                      <a:lnTo>
                        <a:pt x="1430" y="1119"/>
                      </a:lnTo>
                      <a:lnTo>
                        <a:pt x="1429" y="1119"/>
                      </a:lnTo>
                      <a:close/>
                      <a:moveTo>
                        <a:pt x="1286" y="951"/>
                      </a:moveTo>
                      <a:lnTo>
                        <a:pt x="1287" y="951"/>
                      </a:lnTo>
                      <a:lnTo>
                        <a:pt x="1287" y="952"/>
                      </a:lnTo>
                      <a:lnTo>
                        <a:pt x="1286" y="952"/>
                      </a:lnTo>
                      <a:lnTo>
                        <a:pt x="1286" y="951"/>
                      </a:lnTo>
                      <a:close/>
                      <a:moveTo>
                        <a:pt x="1417" y="1123"/>
                      </a:moveTo>
                      <a:lnTo>
                        <a:pt x="1418" y="1123"/>
                      </a:lnTo>
                      <a:lnTo>
                        <a:pt x="1417" y="1123"/>
                      </a:lnTo>
                      <a:close/>
                      <a:moveTo>
                        <a:pt x="1058" y="971"/>
                      </a:moveTo>
                      <a:lnTo>
                        <a:pt x="1058" y="973"/>
                      </a:lnTo>
                      <a:lnTo>
                        <a:pt x="1058" y="971"/>
                      </a:lnTo>
                      <a:close/>
                      <a:moveTo>
                        <a:pt x="1041" y="929"/>
                      </a:moveTo>
                      <a:lnTo>
                        <a:pt x="1042" y="929"/>
                      </a:lnTo>
                      <a:lnTo>
                        <a:pt x="1042" y="930"/>
                      </a:lnTo>
                      <a:lnTo>
                        <a:pt x="1041" y="930"/>
                      </a:lnTo>
                      <a:lnTo>
                        <a:pt x="1041" y="929"/>
                      </a:lnTo>
                      <a:close/>
                      <a:moveTo>
                        <a:pt x="1370" y="1032"/>
                      </a:moveTo>
                      <a:lnTo>
                        <a:pt x="1371" y="1032"/>
                      </a:lnTo>
                      <a:lnTo>
                        <a:pt x="1370" y="1032"/>
                      </a:lnTo>
                      <a:close/>
                      <a:moveTo>
                        <a:pt x="1116" y="971"/>
                      </a:moveTo>
                      <a:lnTo>
                        <a:pt x="1118" y="971"/>
                      </a:lnTo>
                      <a:lnTo>
                        <a:pt x="1116" y="971"/>
                      </a:lnTo>
                      <a:close/>
                      <a:moveTo>
                        <a:pt x="1285" y="948"/>
                      </a:moveTo>
                      <a:lnTo>
                        <a:pt x="1285" y="949"/>
                      </a:lnTo>
                      <a:lnTo>
                        <a:pt x="1285" y="948"/>
                      </a:lnTo>
                      <a:close/>
                      <a:moveTo>
                        <a:pt x="1356" y="1146"/>
                      </a:moveTo>
                      <a:lnTo>
                        <a:pt x="1358" y="1146"/>
                      </a:lnTo>
                      <a:lnTo>
                        <a:pt x="1356" y="1146"/>
                      </a:lnTo>
                      <a:close/>
                      <a:moveTo>
                        <a:pt x="1014" y="981"/>
                      </a:moveTo>
                      <a:lnTo>
                        <a:pt x="1015" y="981"/>
                      </a:lnTo>
                      <a:lnTo>
                        <a:pt x="1015" y="982"/>
                      </a:lnTo>
                      <a:lnTo>
                        <a:pt x="1014" y="982"/>
                      </a:lnTo>
                      <a:lnTo>
                        <a:pt x="1014" y="981"/>
                      </a:lnTo>
                      <a:close/>
                      <a:moveTo>
                        <a:pt x="1018" y="968"/>
                      </a:moveTo>
                      <a:lnTo>
                        <a:pt x="1019" y="968"/>
                      </a:lnTo>
                      <a:lnTo>
                        <a:pt x="1019" y="969"/>
                      </a:lnTo>
                      <a:lnTo>
                        <a:pt x="1018" y="969"/>
                      </a:lnTo>
                      <a:lnTo>
                        <a:pt x="1018" y="968"/>
                      </a:lnTo>
                      <a:close/>
                      <a:moveTo>
                        <a:pt x="1050" y="924"/>
                      </a:moveTo>
                      <a:lnTo>
                        <a:pt x="1050" y="925"/>
                      </a:lnTo>
                      <a:lnTo>
                        <a:pt x="1050" y="924"/>
                      </a:lnTo>
                      <a:close/>
                      <a:moveTo>
                        <a:pt x="1116" y="956"/>
                      </a:moveTo>
                      <a:lnTo>
                        <a:pt x="1117" y="956"/>
                      </a:lnTo>
                      <a:lnTo>
                        <a:pt x="1117" y="957"/>
                      </a:lnTo>
                      <a:lnTo>
                        <a:pt x="1116" y="957"/>
                      </a:lnTo>
                      <a:lnTo>
                        <a:pt x="1116" y="956"/>
                      </a:lnTo>
                      <a:close/>
                      <a:moveTo>
                        <a:pt x="1282" y="962"/>
                      </a:moveTo>
                      <a:lnTo>
                        <a:pt x="1283" y="962"/>
                      </a:lnTo>
                      <a:lnTo>
                        <a:pt x="1283" y="963"/>
                      </a:lnTo>
                      <a:lnTo>
                        <a:pt x="1282" y="963"/>
                      </a:lnTo>
                      <a:lnTo>
                        <a:pt x="1282" y="962"/>
                      </a:lnTo>
                      <a:close/>
                      <a:moveTo>
                        <a:pt x="1410" y="1044"/>
                      </a:moveTo>
                      <a:lnTo>
                        <a:pt x="1410" y="1045"/>
                      </a:lnTo>
                      <a:lnTo>
                        <a:pt x="1410" y="1044"/>
                      </a:lnTo>
                      <a:close/>
                      <a:moveTo>
                        <a:pt x="1277" y="956"/>
                      </a:moveTo>
                      <a:lnTo>
                        <a:pt x="1278" y="956"/>
                      </a:lnTo>
                      <a:lnTo>
                        <a:pt x="1277" y="956"/>
                      </a:lnTo>
                      <a:close/>
                      <a:moveTo>
                        <a:pt x="1084" y="978"/>
                      </a:moveTo>
                      <a:lnTo>
                        <a:pt x="1085" y="978"/>
                      </a:lnTo>
                      <a:lnTo>
                        <a:pt x="1085" y="979"/>
                      </a:lnTo>
                      <a:lnTo>
                        <a:pt x="1084" y="979"/>
                      </a:lnTo>
                      <a:lnTo>
                        <a:pt x="1084" y="978"/>
                      </a:lnTo>
                      <a:close/>
                      <a:moveTo>
                        <a:pt x="1354" y="999"/>
                      </a:moveTo>
                      <a:lnTo>
                        <a:pt x="1355" y="999"/>
                      </a:lnTo>
                      <a:lnTo>
                        <a:pt x="1354" y="999"/>
                      </a:lnTo>
                      <a:close/>
                      <a:moveTo>
                        <a:pt x="1185" y="1043"/>
                      </a:moveTo>
                      <a:lnTo>
                        <a:pt x="1186" y="1043"/>
                      </a:lnTo>
                      <a:lnTo>
                        <a:pt x="1186" y="1044"/>
                      </a:lnTo>
                      <a:lnTo>
                        <a:pt x="1185" y="1044"/>
                      </a:lnTo>
                      <a:lnTo>
                        <a:pt x="1185" y="1043"/>
                      </a:lnTo>
                      <a:close/>
                      <a:moveTo>
                        <a:pt x="1117" y="957"/>
                      </a:moveTo>
                      <a:lnTo>
                        <a:pt x="1118" y="957"/>
                      </a:lnTo>
                      <a:lnTo>
                        <a:pt x="1118" y="958"/>
                      </a:lnTo>
                      <a:lnTo>
                        <a:pt x="1117" y="958"/>
                      </a:lnTo>
                      <a:lnTo>
                        <a:pt x="1117" y="957"/>
                      </a:lnTo>
                      <a:close/>
                      <a:moveTo>
                        <a:pt x="1302" y="947"/>
                      </a:moveTo>
                      <a:lnTo>
                        <a:pt x="1302" y="948"/>
                      </a:lnTo>
                      <a:lnTo>
                        <a:pt x="1302" y="947"/>
                      </a:lnTo>
                      <a:close/>
                      <a:moveTo>
                        <a:pt x="1442" y="1076"/>
                      </a:moveTo>
                      <a:lnTo>
                        <a:pt x="1443" y="1076"/>
                      </a:lnTo>
                      <a:lnTo>
                        <a:pt x="1442" y="1076"/>
                      </a:lnTo>
                      <a:close/>
                      <a:moveTo>
                        <a:pt x="1365" y="1035"/>
                      </a:moveTo>
                      <a:lnTo>
                        <a:pt x="1365" y="1037"/>
                      </a:lnTo>
                      <a:lnTo>
                        <a:pt x="1365" y="1035"/>
                      </a:lnTo>
                      <a:close/>
                      <a:moveTo>
                        <a:pt x="1413" y="1091"/>
                      </a:moveTo>
                      <a:lnTo>
                        <a:pt x="1414" y="1091"/>
                      </a:lnTo>
                      <a:lnTo>
                        <a:pt x="1414" y="1092"/>
                      </a:lnTo>
                      <a:lnTo>
                        <a:pt x="1413" y="1092"/>
                      </a:lnTo>
                      <a:lnTo>
                        <a:pt x="1413" y="1091"/>
                      </a:lnTo>
                      <a:close/>
                      <a:moveTo>
                        <a:pt x="1297" y="966"/>
                      </a:moveTo>
                      <a:lnTo>
                        <a:pt x="1298" y="966"/>
                      </a:lnTo>
                      <a:lnTo>
                        <a:pt x="1298" y="967"/>
                      </a:lnTo>
                      <a:lnTo>
                        <a:pt x="1297" y="967"/>
                      </a:lnTo>
                      <a:lnTo>
                        <a:pt x="1297" y="966"/>
                      </a:lnTo>
                      <a:close/>
                      <a:moveTo>
                        <a:pt x="1277" y="956"/>
                      </a:moveTo>
                      <a:lnTo>
                        <a:pt x="1278" y="956"/>
                      </a:lnTo>
                      <a:lnTo>
                        <a:pt x="1277" y="956"/>
                      </a:lnTo>
                      <a:close/>
                      <a:moveTo>
                        <a:pt x="1406" y="1116"/>
                      </a:moveTo>
                      <a:lnTo>
                        <a:pt x="1407" y="1116"/>
                      </a:lnTo>
                      <a:lnTo>
                        <a:pt x="1407" y="1117"/>
                      </a:lnTo>
                      <a:lnTo>
                        <a:pt x="1406" y="1117"/>
                      </a:lnTo>
                      <a:lnTo>
                        <a:pt x="1406" y="1116"/>
                      </a:lnTo>
                      <a:close/>
                      <a:moveTo>
                        <a:pt x="1280" y="954"/>
                      </a:moveTo>
                      <a:lnTo>
                        <a:pt x="1282" y="954"/>
                      </a:lnTo>
                      <a:lnTo>
                        <a:pt x="1282" y="955"/>
                      </a:lnTo>
                      <a:lnTo>
                        <a:pt x="1280" y="955"/>
                      </a:lnTo>
                      <a:lnTo>
                        <a:pt x="1280" y="954"/>
                      </a:lnTo>
                      <a:close/>
                      <a:moveTo>
                        <a:pt x="1087" y="982"/>
                      </a:moveTo>
                      <a:lnTo>
                        <a:pt x="1089" y="982"/>
                      </a:lnTo>
                      <a:lnTo>
                        <a:pt x="1087" y="982"/>
                      </a:lnTo>
                      <a:close/>
                      <a:moveTo>
                        <a:pt x="1338" y="1007"/>
                      </a:moveTo>
                      <a:lnTo>
                        <a:pt x="1338" y="1008"/>
                      </a:lnTo>
                      <a:lnTo>
                        <a:pt x="1338" y="1007"/>
                      </a:lnTo>
                      <a:close/>
                      <a:moveTo>
                        <a:pt x="1147" y="837"/>
                      </a:moveTo>
                      <a:lnTo>
                        <a:pt x="1148" y="837"/>
                      </a:lnTo>
                      <a:lnTo>
                        <a:pt x="1147" y="837"/>
                      </a:lnTo>
                      <a:close/>
                      <a:moveTo>
                        <a:pt x="1087" y="983"/>
                      </a:moveTo>
                      <a:lnTo>
                        <a:pt x="1089" y="983"/>
                      </a:lnTo>
                      <a:lnTo>
                        <a:pt x="1087" y="983"/>
                      </a:lnTo>
                      <a:close/>
                      <a:moveTo>
                        <a:pt x="1368" y="1015"/>
                      </a:moveTo>
                      <a:lnTo>
                        <a:pt x="1369" y="1015"/>
                      </a:lnTo>
                      <a:lnTo>
                        <a:pt x="1369" y="1016"/>
                      </a:lnTo>
                      <a:lnTo>
                        <a:pt x="1368" y="1016"/>
                      </a:lnTo>
                      <a:lnTo>
                        <a:pt x="1368" y="1015"/>
                      </a:lnTo>
                      <a:close/>
                      <a:moveTo>
                        <a:pt x="1431" y="1129"/>
                      </a:moveTo>
                      <a:lnTo>
                        <a:pt x="1432" y="1129"/>
                      </a:lnTo>
                      <a:lnTo>
                        <a:pt x="1432" y="1130"/>
                      </a:lnTo>
                      <a:lnTo>
                        <a:pt x="1431" y="1130"/>
                      </a:lnTo>
                      <a:lnTo>
                        <a:pt x="1431" y="1129"/>
                      </a:lnTo>
                      <a:close/>
                      <a:moveTo>
                        <a:pt x="1038" y="984"/>
                      </a:moveTo>
                      <a:lnTo>
                        <a:pt x="1039" y="984"/>
                      </a:lnTo>
                      <a:lnTo>
                        <a:pt x="1038" y="984"/>
                      </a:lnTo>
                      <a:close/>
                      <a:moveTo>
                        <a:pt x="1192" y="1046"/>
                      </a:moveTo>
                      <a:lnTo>
                        <a:pt x="1189" y="1045"/>
                      </a:lnTo>
                      <a:lnTo>
                        <a:pt x="1192" y="1046"/>
                      </a:lnTo>
                      <a:close/>
                      <a:moveTo>
                        <a:pt x="1121" y="963"/>
                      </a:moveTo>
                      <a:lnTo>
                        <a:pt x="1122" y="963"/>
                      </a:lnTo>
                      <a:lnTo>
                        <a:pt x="1121" y="963"/>
                      </a:lnTo>
                      <a:close/>
                      <a:moveTo>
                        <a:pt x="1373" y="1029"/>
                      </a:moveTo>
                      <a:lnTo>
                        <a:pt x="1373" y="1030"/>
                      </a:lnTo>
                      <a:lnTo>
                        <a:pt x="1373" y="1029"/>
                      </a:lnTo>
                      <a:close/>
                      <a:moveTo>
                        <a:pt x="1090" y="977"/>
                      </a:moveTo>
                      <a:lnTo>
                        <a:pt x="1090" y="978"/>
                      </a:lnTo>
                      <a:lnTo>
                        <a:pt x="1090" y="977"/>
                      </a:lnTo>
                      <a:close/>
                      <a:moveTo>
                        <a:pt x="1386" y="1102"/>
                      </a:moveTo>
                      <a:lnTo>
                        <a:pt x="1386" y="1103"/>
                      </a:lnTo>
                      <a:lnTo>
                        <a:pt x="1386" y="1102"/>
                      </a:lnTo>
                      <a:close/>
                      <a:moveTo>
                        <a:pt x="1365" y="1031"/>
                      </a:moveTo>
                      <a:lnTo>
                        <a:pt x="1366" y="1031"/>
                      </a:lnTo>
                      <a:lnTo>
                        <a:pt x="1366" y="1032"/>
                      </a:lnTo>
                      <a:lnTo>
                        <a:pt x="1365" y="1032"/>
                      </a:lnTo>
                      <a:lnTo>
                        <a:pt x="1365" y="1031"/>
                      </a:lnTo>
                      <a:close/>
                      <a:moveTo>
                        <a:pt x="1363" y="1014"/>
                      </a:moveTo>
                      <a:lnTo>
                        <a:pt x="1363" y="1015"/>
                      </a:lnTo>
                      <a:lnTo>
                        <a:pt x="1363" y="1014"/>
                      </a:lnTo>
                      <a:close/>
                      <a:moveTo>
                        <a:pt x="1184" y="1044"/>
                      </a:moveTo>
                      <a:lnTo>
                        <a:pt x="1186" y="1044"/>
                      </a:lnTo>
                      <a:lnTo>
                        <a:pt x="1184" y="1044"/>
                      </a:lnTo>
                      <a:close/>
                      <a:moveTo>
                        <a:pt x="1090" y="980"/>
                      </a:moveTo>
                      <a:lnTo>
                        <a:pt x="1090" y="981"/>
                      </a:lnTo>
                      <a:lnTo>
                        <a:pt x="1090" y="980"/>
                      </a:lnTo>
                      <a:close/>
                      <a:moveTo>
                        <a:pt x="1353" y="1003"/>
                      </a:moveTo>
                      <a:lnTo>
                        <a:pt x="1354" y="1003"/>
                      </a:lnTo>
                      <a:lnTo>
                        <a:pt x="1354" y="1004"/>
                      </a:lnTo>
                      <a:lnTo>
                        <a:pt x="1353" y="1004"/>
                      </a:lnTo>
                      <a:lnTo>
                        <a:pt x="1353" y="1003"/>
                      </a:lnTo>
                      <a:close/>
                      <a:moveTo>
                        <a:pt x="1172" y="1035"/>
                      </a:moveTo>
                      <a:lnTo>
                        <a:pt x="1173" y="1035"/>
                      </a:lnTo>
                      <a:lnTo>
                        <a:pt x="1173" y="1037"/>
                      </a:lnTo>
                      <a:lnTo>
                        <a:pt x="1172" y="1037"/>
                      </a:lnTo>
                      <a:lnTo>
                        <a:pt x="1172" y="1035"/>
                      </a:lnTo>
                      <a:close/>
                      <a:moveTo>
                        <a:pt x="1357" y="1007"/>
                      </a:moveTo>
                      <a:lnTo>
                        <a:pt x="1358" y="1007"/>
                      </a:lnTo>
                      <a:lnTo>
                        <a:pt x="1357" y="1007"/>
                      </a:lnTo>
                      <a:close/>
                      <a:moveTo>
                        <a:pt x="1106" y="976"/>
                      </a:moveTo>
                      <a:lnTo>
                        <a:pt x="1107" y="976"/>
                      </a:lnTo>
                      <a:lnTo>
                        <a:pt x="1106" y="976"/>
                      </a:lnTo>
                      <a:close/>
                      <a:moveTo>
                        <a:pt x="1321" y="1197"/>
                      </a:moveTo>
                      <a:lnTo>
                        <a:pt x="1322" y="1197"/>
                      </a:lnTo>
                      <a:lnTo>
                        <a:pt x="1322" y="1198"/>
                      </a:lnTo>
                      <a:lnTo>
                        <a:pt x="1321" y="1198"/>
                      </a:lnTo>
                      <a:lnTo>
                        <a:pt x="1321" y="1197"/>
                      </a:lnTo>
                      <a:close/>
                      <a:moveTo>
                        <a:pt x="1279" y="964"/>
                      </a:moveTo>
                      <a:lnTo>
                        <a:pt x="1280" y="964"/>
                      </a:lnTo>
                      <a:lnTo>
                        <a:pt x="1280" y="965"/>
                      </a:lnTo>
                      <a:lnTo>
                        <a:pt x="1279" y="965"/>
                      </a:lnTo>
                      <a:lnTo>
                        <a:pt x="1279" y="964"/>
                      </a:lnTo>
                      <a:close/>
                      <a:moveTo>
                        <a:pt x="1421" y="1095"/>
                      </a:moveTo>
                      <a:lnTo>
                        <a:pt x="1421" y="1096"/>
                      </a:lnTo>
                      <a:lnTo>
                        <a:pt x="1421" y="1095"/>
                      </a:lnTo>
                      <a:close/>
                      <a:moveTo>
                        <a:pt x="1326" y="1191"/>
                      </a:moveTo>
                      <a:lnTo>
                        <a:pt x="1327" y="1191"/>
                      </a:lnTo>
                      <a:lnTo>
                        <a:pt x="1327" y="1192"/>
                      </a:lnTo>
                      <a:lnTo>
                        <a:pt x="1326" y="1192"/>
                      </a:lnTo>
                      <a:lnTo>
                        <a:pt x="1326" y="1191"/>
                      </a:lnTo>
                      <a:close/>
                      <a:moveTo>
                        <a:pt x="1429" y="1141"/>
                      </a:moveTo>
                      <a:lnTo>
                        <a:pt x="1430" y="1141"/>
                      </a:lnTo>
                      <a:lnTo>
                        <a:pt x="1430" y="1142"/>
                      </a:lnTo>
                      <a:lnTo>
                        <a:pt x="1429" y="1142"/>
                      </a:lnTo>
                      <a:lnTo>
                        <a:pt x="1429" y="1141"/>
                      </a:lnTo>
                      <a:close/>
                      <a:moveTo>
                        <a:pt x="1285" y="949"/>
                      </a:moveTo>
                      <a:lnTo>
                        <a:pt x="1286" y="949"/>
                      </a:lnTo>
                      <a:lnTo>
                        <a:pt x="1285" y="949"/>
                      </a:lnTo>
                      <a:close/>
                      <a:moveTo>
                        <a:pt x="1343" y="1037"/>
                      </a:moveTo>
                      <a:lnTo>
                        <a:pt x="1343" y="1038"/>
                      </a:lnTo>
                      <a:lnTo>
                        <a:pt x="1343" y="1037"/>
                      </a:lnTo>
                      <a:close/>
                      <a:moveTo>
                        <a:pt x="1110" y="996"/>
                      </a:moveTo>
                      <a:lnTo>
                        <a:pt x="1111" y="996"/>
                      </a:lnTo>
                      <a:lnTo>
                        <a:pt x="1110" y="996"/>
                      </a:lnTo>
                      <a:close/>
                      <a:moveTo>
                        <a:pt x="1074" y="992"/>
                      </a:moveTo>
                      <a:lnTo>
                        <a:pt x="1076" y="992"/>
                      </a:lnTo>
                      <a:lnTo>
                        <a:pt x="1074" y="992"/>
                      </a:lnTo>
                      <a:close/>
                      <a:moveTo>
                        <a:pt x="1254" y="940"/>
                      </a:moveTo>
                      <a:lnTo>
                        <a:pt x="1255" y="940"/>
                      </a:lnTo>
                      <a:lnTo>
                        <a:pt x="1255" y="941"/>
                      </a:lnTo>
                      <a:lnTo>
                        <a:pt x="1254" y="941"/>
                      </a:lnTo>
                      <a:lnTo>
                        <a:pt x="1254" y="940"/>
                      </a:lnTo>
                      <a:close/>
                      <a:moveTo>
                        <a:pt x="1138" y="990"/>
                      </a:moveTo>
                      <a:lnTo>
                        <a:pt x="1140" y="990"/>
                      </a:lnTo>
                      <a:lnTo>
                        <a:pt x="1140" y="991"/>
                      </a:lnTo>
                      <a:lnTo>
                        <a:pt x="1138" y="991"/>
                      </a:lnTo>
                      <a:lnTo>
                        <a:pt x="1138" y="990"/>
                      </a:lnTo>
                      <a:close/>
                      <a:moveTo>
                        <a:pt x="1277" y="1121"/>
                      </a:moveTo>
                      <a:lnTo>
                        <a:pt x="1278" y="1121"/>
                      </a:lnTo>
                      <a:lnTo>
                        <a:pt x="1277" y="1121"/>
                      </a:lnTo>
                      <a:close/>
                      <a:moveTo>
                        <a:pt x="1224" y="994"/>
                      </a:moveTo>
                      <a:lnTo>
                        <a:pt x="1225" y="994"/>
                      </a:lnTo>
                      <a:lnTo>
                        <a:pt x="1225" y="995"/>
                      </a:lnTo>
                      <a:lnTo>
                        <a:pt x="1224" y="995"/>
                      </a:lnTo>
                      <a:lnTo>
                        <a:pt x="1224" y="994"/>
                      </a:lnTo>
                      <a:close/>
                      <a:moveTo>
                        <a:pt x="1303" y="1111"/>
                      </a:moveTo>
                      <a:lnTo>
                        <a:pt x="1303" y="1112"/>
                      </a:lnTo>
                      <a:lnTo>
                        <a:pt x="1303" y="1111"/>
                      </a:lnTo>
                      <a:close/>
                      <a:moveTo>
                        <a:pt x="1164" y="969"/>
                      </a:moveTo>
                      <a:lnTo>
                        <a:pt x="1166" y="969"/>
                      </a:lnTo>
                      <a:lnTo>
                        <a:pt x="1166" y="970"/>
                      </a:lnTo>
                      <a:lnTo>
                        <a:pt x="1164" y="970"/>
                      </a:lnTo>
                      <a:lnTo>
                        <a:pt x="1164" y="969"/>
                      </a:lnTo>
                      <a:close/>
                      <a:moveTo>
                        <a:pt x="1181" y="1029"/>
                      </a:moveTo>
                      <a:lnTo>
                        <a:pt x="1182" y="1029"/>
                      </a:lnTo>
                      <a:lnTo>
                        <a:pt x="1182" y="1030"/>
                      </a:lnTo>
                      <a:lnTo>
                        <a:pt x="1181" y="1030"/>
                      </a:lnTo>
                      <a:lnTo>
                        <a:pt x="1181" y="1029"/>
                      </a:lnTo>
                      <a:close/>
                      <a:moveTo>
                        <a:pt x="1321" y="1046"/>
                      </a:moveTo>
                      <a:lnTo>
                        <a:pt x="1322" y="1046"/>
                      </a:lnTo>
                      <a:lnTo>
                        <a:pt x="1322" y="1047"/>
                      </a:lnTo>
                      <a:lnTo>
                        <a:pt x="1321" y="1047"/>
                      </a:lnTo>
                      <a:lnTo>
                        <a:pt x="1321" y="1046"/>
                      </a:lnTo>
                      <a:close/>
                      <a:moveTo>
                        <a:pt x="1367" y="1021"/>
                      </a:moveTo>
                      <a:lnTo>
                        <a:pt x="1368" y="1021"/>
                      </a:lnTo>
                      <a:lnTo>
                        <a:pt x="1367" y="1021"/>
                      </a:lnTo>
                      <a:close/>
                      <a:moveTo>
                        <a:pt x="1163" y="966"/>
                      </a:moveTo>
                      <a:lnTo>
                        <a:pt x="1164" y="966"/>
                      </a:lnTo>
                      <a:lnTo>
                        <a:pt x="1163" y="966"/>
                      </a:lnTo>
                      <a:close/>
                      <a:moveTo>
                        <a:pt x="1041" y="923"/>
                      </a:moveTo>
                      <a:lnTo>
                        <a:pt x="1041" y="924"/>
                      </a:lnTo>
                      <a:lnTo>
                        <a:pt x="1041" y="923"/>
                      </a:lnTo>
                      <a:close/>
                      <a:moveTo>
                        <a:pt x="1306" y="950"/>
                      </a:moveTo>
                      <a:lnTo>
                        <a:pt x="1306" y="951"/>
                      </a:lnTo>
                      <a:lnTo>
                        <a:pt x="1306" y="950"/>
                      </a:lnTo>
                      <a:close/>
                      <a:moveTo>
                        <a:pt x="1312" y="1107"/>
                      </a:moveTo>
                      <a:lnTo>
                        <a:pt x="1313" y="1107"/>
                      </a:lnTo>
                      <a:lnTo>
                        <a:pt x="1312" y="1107"/>
                      </a:lnTo>
                      <a:close/>
                      <a:moveTo>
                        <a:pt x="1432" y="1131"/>
                      </a:moveTo>
                      <a:lnTo>
                        <a:pt x="1433" y="1131"/>
                      </a:lnTo>
                      <a:lnTo>
                        <a:pt x="1432" y="1131"/>
                      </a:lnTo>
                      <a:close/>
                      <a:moveTo>
                        <a:pt x="1042" y="942"/>
                      </a:moveTo>
                      <a:lnTo>
                        <a:pt x="1044" y="942"/>
                      </a:lnTo>
                      <a:lnTo>
                        <a:pt x="1042" y="942"/>
                      </a:lnTo>
                      <a:close/>
                      <a:moveTo>
                        <a:pt x="1435" y="1134"/>
                      </a:moveTo>
                      <a:lnTo>
                        <a:pt x="1435" y="1135"/>
                      </a:lnTo>
                      <a:lnTo>
                        <a:pt x="1435" y="1134"/>
                      </a:lnTo>
                      <a:close/>
                      <a:moveTo>
                        <a:pt x="1428" y="1130"/>
                      </a:moveTo>
                      <a:lnTo>
                        <a:pt x="1429" y="1130"/>
                      </a:lnTo>
                      <a:lnTo>
                        <a:pt x="1429" y="1131"/>
                      </a:lnTo>
                      <a:lnTo>
                        <a:pt x="1428" y="1131"/>
                      </a:lnTo>
                      <a:lnTo>
                        <a:pt x="1428" y="1130"/>
                      </a:lnTo>
                      <a:close/>
                      <a:moveTo>
                        <a:pt x="1417" y="1019"/>
                      </a:moveTo>
                      <a:lnTo>
                        <a:pt x="1417" y="1020"/>
                      </a:lnTo>
                      <a:lnTo>
                        <a:pt x="1417" y="1019"/>
                      </a:lnTo>
                      <a:close/>
                      <a:moveTo>
                        <a:pt x="1362" y="1150"/>
                      </a:moveTo>
                      <a:lnTo>
                        <a:pt x="1363" y="1150"/>
                      </a:lnTo>
                      <a:lnTo>
                        <a:pt x="1362" y="1150"/>
                      </a:lnTo>
                      <a:close/>
                      <a:moveTo>
                        <a:pt x="1366" y="1011"/>
                      </a:moveTo>
                      <a:lnTo>
                        <a:pt x="1366" y="1012"/>
                      </a:lnTo>
                      <a:lnTo>
                        <a:pt x="1366" y="1011"/>
                      </a:lnTo>
                      <a:close/>
                      <a:moveTo>
                        <a:pt x="1435" y="1220"/>
                      </a:moveTo>
                      <a:lnTo>
                        <a:pt x="1435" y="1221"/>
                      </a:lnTo>
                      <a:lnTo>
                        <a:pt x="1435" y="1220"/>
                      </a:lnTo>
                      <a:close/>
                      <a:moveTo>
                        <a:pt x="1414" y="1114"/>
                      </a:moveTo>
                      <a:lnTo>
                        <a:pt x="1414" y="1115"/>
                      </a:lnTo>
                      <a:lnTo>
                        <a:pt x="1414" y="1114"/>
                      </a:lnTo>
                      <a:close/>
                      <a:moveTo>
                        <a:pt x="1082" y="983"/>
                      </a:moveTo>
                      <a:lnTo>
                        <a:pt x="1083" y="983"/>
                      </a:lnTo>
                      <a:lnTo>
                        <a:pt x="1083" y="984"/>
                      </a:lnTo>
                      <a:lnTo>
                        <a:pt x="1082" y="984"/>
                      </a:lnTo>
                      <a:lnTo>
                        <a:pt x="1082" y="983"/>
                      </a:lnTo>
                      <a:close/>
                      <a:moveTo>
                        <a:pt x="1366" y="1042"/>
                      </a:moveTo>
                      <a:lnTo>
                        <a:pt x="1367" y="1042"/>
                      </a:lnTo>
                      <a:lnTo>
                        <a:pt x="1367" y="1043"/>
                      </a:lnTo>
                      <a:lnTo>
                        <a:pt x="1366" y="1043"/>
                      </a:lnTo>
                      <a:lnTo>
                        <a:pt x="1366" y="1042"/>
                      </a:lnTo>
                      <a:close/>
                      <a:moveTo>
                        <a:pt x="1244" y="940"/>
                      </a:moveTo>
                      <a:lnTo>
                        <a:pt x="1245" y="940"/>
                      </a:lnTo>
                      <a:lnTo>
                        <a:pt x="1244" y="940"/>
                      </a:lnTo>
                      <a:close/>
                      <a:moveTo>
                        <a:pt x="1311" y="1114"/>
                      </a:moveTo>
                      <a:lnTo>
                        <a:pt x="1312" y="1114"/>
                      </a:lnTo>
                      <a:lnTo>
                        <a:pt x="1311" y="1114"/>
                      </a:lnTo>
                      <a:close/>
                      <a:moveTo>
                        <a:pt x="1138" y="934"/>
                      </a:moveTo>
                      <a:lnTo>
                        <a:pt x="1138" y="935"/>
                      </a:lnTo>
                      <a:lnTo>
                        <a:pt x="1138" y="934"/>
                      </a:lnTo>
                      <a:close/>
                      <a:moveTo>
                        <a:pt x="1100" y="804"/>
                      </a:moveTo>
                      <a:lnTo>
                        <a:pt x="1102" y="804"/>
                      </a:lnTo>
                      <a:lnTo>
                        <a:pt x="1100" y="804"/>
                      </a:lnTo>
                      <a:close/>
                      <a:moveTo>
                        <a:pt x="1417" y="1016"/>
                      </a:moveTo>
                      <a:lnTo>
                        <a:pt x="1417" y="1017"/>
                      </a:lnTo>
                      <a:lnTo>
                        <a:pt x="1417" y="1016"/>
                      </a:lnTo>
                      <a:close/>
                      <a:moveTo>
                        <a:pt x="1407" y="1115"/>
                      </a:moveTo>
                      <a:lnTo>
                        <a:pt x="1407" y="1116"/>
                      </a:lnTo>
                      <a:lnTo>
                        <a:pt x="1407" y="1115"/>
                      </a:lnTo>
                      <a:close/>
                      <a:moveTo>
                        <a:pt x="1188" y="1044"/>
                      </a:moveTo>
                      <a:lnTo>
                        <a:pt x="1189" y="1044"/>
                      </a:lnTo>
                      <a:lnTo>
                        <a:pt x="1189" y="1045"/>
                      </a:lnTo>
                      <a:lnTo>
                        <a:pt x="1188" y="1045"/>
                      </a:lnTo>
                      <a:lnTo>
                        <a:pt x="1188" y="1044"/>
                      </a:lnTo>
                      <a:close/>
                      <a:moveTo>
                        <a:pt x="1109" y="800"/>
                      </a:moveTo>
                      <a:lnTo>
                        <a:pt x="1109" y="801"/>
                      </a:lnTo>
                      <a:lnTo>
                        <a:pt x="1109" y="800"/>
                      </a:lnTo>
                      <a:close/>
                      <a:moveTo>
                        <a:pt x="1367" y="1040"/>
                      </a:moveTo>
                      <a:lnTo>
                        <a:pt x="1368" y="1040"/>
                      </a:lnTo>
                      <a:lnTo>
                        <a:pt x="1367" y="1040"/>
                      </a:lnTo>
                      <a:close/>
                      <a:moveTo>
                        <a:pt x="1154" y="957"/>
                      </a:moveTo>
                      <a:lnTo>
                        <a:pt x="1155" y="957"/>
                      </a:lnTo>
                      <a:lnTo>
                        <a:pt x="1154" y="957"/>
                      </a:lnTo>
                      <a:close/>
                      <a:moveTo>
                        <a:pt x="1440" y="1079"/>
                      </a:moveTo>
                      <a:lnTo>
                        <a:pt x="1441" y="1079"/>
                      </a:lnTo>
                      <a:lnTo>
                        <a:pt x="1441" y="1080"/>
                      </a:lnTo>
                      <a:lnTo>
                        <a:pt x="1440" y="1080"/>
                      </a:lnTo>
                      <a:lnTo>
                        <a:pt x="1440" y="1079"/>
                      </a:lnTo>
                      <a:close/>
                      <a:moveTo>
                        <a:pt x="1356" y="971"/>
                      </a:moveTo>
                      <a:lnTo>
                        <a:pt x="1357" y="971"/>
                      </a:lnTo>
                      <a:lnTo>
                        <a:pt x="1357" y="973"/>
                      </a:lnTo>
                      <a:lnTo>
                        <a:pt x="1356" y="973"/>
                      </a:lnTo>
                      <a:lnTo>
                        <a:pt x="1356" y="971"/>
                      </a:lnTo>
                      <a:close/>
                      <a:moveTo>
                        <a:pt x="1354" y="1050"/>
                      </a:moveTo>
                      <a:lnTo>
                        <a:pt x="1354" y="1051"/>
                      </a:lnTo>
                      <a:lnTo>
                        <a:pt x="1354" y="1050"/>
                      </a:lnTo>
                      <a:close/>
                      <a:moveTo>
                        <a:pt x="1371" y="1029"/>
                      </a:moveTo>
                      <a:lnTo>
                        <a:pt x="1373" y="1029"/>
                      </a:lnTo>
                      <a:lnTo>
                        <a:pt x="1371" y="1029"/>
                      </a:lnTo>
                      <a:close/>
                      <a:moveTo>
                        <a:pt x="1079" y="998"/>
                      </a:moveTo>
                      <a:lnTo>
                        <a:pt x="1079" y="999"/>
                      </a:lnTo>
                      <a:lnTo>
                        <a:pt x="1079" y="998"/>
                      </a:lnTo>
                      <a:close/>
                      <a:moveTo>
                        <a:pt x="1071" y="980"/>
                      </a:moveTo>
                      <a:lnTo>
                        <a:pt x="1071" y="981"/>
                      </a:lnTo>
                      <a:lnTo>
                        <a:pt x="1071" y="980"/>
                      </a:lnTo>
                      <a:close/>
                      <a:moveTo>
                        <a:pt x="1356" y="1044"/>
                      </a:moveTo>
                      <a:lnTo>
                        <a:pt x="1356" y="1045"/>
                      </a:lnTo>
                      <a:lnTo>
                        <a:pt x="1356" y="1044"/>
                      </a:lnTo>
                      <a:close/>
                      <a:moveTo>
                        <a:pt x="1071" y="968"/>
                      </a:moveTo>
                      <a:lnTo>
                        <a:pt x="1072" y="968"/>
                      </a:lnTo>
                      <a:lnTo>
                        <a:pt x="1071" y="968"/>
                      </a:lnTo>
                      <a:close/>
                      <a:moveTo>
                        <a:pt x="1260" y="942"/>
                      </a:moveTo>
                      <a:lnTo>
                        <a:pt x="1261" y="942"/>
                      </a:lnTo>
                      <a:lnTo>
                        <a:pt x="1261" y="943"/>
                      </a:lnTo>
                      <a:lnTo>
                        <a:pt x="1260" y="943"/>
                      </a:lnTo>
                      <a:lnTo>
                        <a:pt x="1260" y="942"/>
                      </a:lnTo>
                      <a:close/>
                      <a:moveTo>
                        <a:pt x="1348" y="1123"/>
                      </a:moveTo>
                      <a:lnTo>
                        <a:pt x="1348" y="1124"/>
                      </a:lnTo>
                      <a:lnTo>
                        <a:pt x="1348" y="1123"/>
                      </a:lnTo>
                      <a:close/>
                      <a:moveTo>
                        <a:pt x="1070" y="993"/>
                      </a:moveTo>
                      <a:lnTo>
                        <a:pt x="1071" y="993"/>
                      </a:lnTo>
                      <a:lnTo>
                        <a:pt x="1070" y="993"/>
                      </a:lnTo>
                      <a:close/>
                      <a:moveTo>
                        <a:pt x="1369" y="1040"/>
                      </a:moveTo>
                      <a:lnTo>
                        <a:pt x="1369" y="1041"/>
                      </a:lnTo>
                      <a:lnTo>
                        <a:pt x="1369" y="1040"/>
                      </a:lnTo>
                      <a:close/>
                      <a:moveTo>
                        <a:pt x="1369" y="1086"/>
                      </a:moveTo>
                      <a:lnTo>
                        <a:pt x="1369" y="1088"/>
                      </a:lnTo>
                      <a:lnTo>
                        <a:pt x="1369" y="1086"/>
                      </a:lnTo>
                      <a:close/>
                      <a:moveTo>
                        <a:pt x="1339" y="1003"/>
                      </a:moveTo>
                      <a:lnTo>
                        <a:pt x="1340" y="1003"/>
                      </a:lnTo>
                      <a:lnTo>
                        <a:pt x="1339" y="1003"/>
                      </a:lnTo>
                      <a:close/>
                      <a:moveTo>
                        <a:pt x="1338" y="1006"/>
                      </a:moveTo>
                      <a:lnTo>
                        <a:pt x="1339" y="1006"/>
                      </a:lnTo>
                      <a:lnTo>
                        <a:pt x="1339" y="1007"/>
                      </a:lnTo>
                      <a:lnTo>
                        <a:pt x="1338" y="1007"/>
                      </a:lnTo>
                      <a:lnTo>
                        <a:pt x="1338" y="1006"/>
                      </a:lnTo>
                      <a:close/>
                      <a:moveTo>
                        <a:pt x="1154" y="968"/>
                      </a:moveTo>
                      <a:lnTo>
                        <a:pt x="1154" y="969"/>
                      </a:lnTo>
                      <a:lnTo>
                        <a:pt x="1154" y="968"/>
                      </a:lnTo>
                      <a:close/>
                      <a:moveTo>
                        <a:pt x="1077" y="981"/>
                      </a:moveTo>
                      <a:lnTo>
                        <a:pt x="1078" y="981"/>
                      </a:lnTo>
                      <a:lnTo>
                        <a:pt x="1077" y="981"/>
                      </a:lnTo>
                      <a:close/>
                      <a:moveTo>
                        <a:pt x="1094" y="977"/>
                      </a:moveTo>
                      <a:lnTo>
                        <a:pt x="1095" y="977"/>
                      </a:lnTo>
                      <a:lnTo>
                        <a:pt x="1094" y="977"/>
                      </a:lnTo>
                      <a:close/>
                      <a:moveTo>
                        <a:pt x="1418" y="1101"/>
                      </a:moveTo>
                      <a:lnTo>
                        <a:pt x="1418" y="1102"/>
                      </a:lnTo>
                      <a:lnTo>
                        <a:pt x="1418" y="1101"/>
                      </a:lnTo>
                      <a:close/>
                      <a:moveTo>
                        <a:pt x="1105" y="984"/>
                      </a:moveTo>
                      <a:lnTo>
                        <a:pt x="1106" y="984"/>
                      </a:lnTo>
                      <a:lnTo>
                        <a:pt x="1106" y="986"/>
                      </a:lnTo>
                      <a:lnTo>
                        <a:pt x="1105" y="986"/>
                      </a:lnTo>
                      <a:lnTo>
                        <a:pt x="1105" y="984"/>
                      </a:lnTo>
                      <a:close/>
                      <a:moveTo>
                        <a:pt x="1276" y="957"/>
                      </a:moveTo>
                      <a:lnTo>
                        <a:pt x="1277" y="957"/>
                      </a:lnTo>
                      <a:lnTo>
                        <a:pt x="1277" y="958"/>
                      </a:lnTo>
                      <a:lnTo>
                        <a:pt x="1276" y="958"/>
                      </a:lnTo>
                      <a:lnTo>
                        <a:pt x="1276" y="957"/>
                      </a:lnTo>
                      <a:close/>
                      <a:moveTo>
                        <a:pt x="1324" y="1192"/>
                      </a:moveTo>
                      <a:lnTo>
                        <a:pt x="1325" y="1192"/>
                      </a:lnTo>
                      <a:lnTo>
                        <a:pt x="1325" y="1193"/>
                      </a:lnTo>
                      <a:lnTo>
                        <a:pt x="1324" y="1193"/>
                      </a:lnTo>
                      <a:lnTo>
                        <a:pt x="1324" y="1192"/>
                      </a:lnTo>
                      <a:close/>
                      <a:moveTo>
                        <a:pt x="1184" y="1044"/>
                      </a:moveTo>
                      <a:lnTo>
                        <a:pt x="1185" y="1044"/>
                      </a:lnTo>
                      <a:lnTo>
                        <a:pt x="1184" y="1044"/>
                      </a:lnTo>
                      <a:close/>
                      <a:moveTo>
                        <a:pt x="1284" y="953"/>
                      </a:moveTo>
                      <a:lnTo>
                        <a:pt x="1285" y="953"/>
                      </a:lnTo>
                      <a:lnTo>
                        <a:pt x="1284" y="953"/>
                      </a:lnTo>
                      <a:close/>
                      <a:moveTo>
                        <a:pt x="1355" y="1048"/>
                      </a:moveTo>
                      <a:lnTo>
                        <a:pt x="1355" y="1050"/>
                      </a:lnTo>
                      <a:lnTo>
                        <a:pt x="1355" y="1048"/>
                      </a:lnTo>
                      <a:close/>
                      <a:moveTo>
                        <a:pt x="1197" y="1048"/>
                      </a:moveTo>
                      <a:lnTo>
                        <a:pt x="1198" y="1048"/>
                      </a:lnTo>
                      <a:lnTo>
                        <a:pt x="1197" y="1048"/>
                      </a:lnTo>
                      <a:close/>
                      <a:moveTo>
                        <a:pt x="1084" y="979"/>
                      </a:moveTo>
                      <a:lnTo>
                        <a:pt x="1085" y="979"/>
                      </a:lnTo>
                      <a:lnTo>
                        <a:pt x="1085" y="980"/>
                      </a:lnTo>
                      <a:lnTo>
                        <a:pt x="1084" y="980"/>
                      </a:lnTo>
                      <a:lnTo>
                        <a:pt x="1084" y="979"/>
                      </a:lnTo>
                      <a:close/>
                      <a:moveTo>
                        <a:pt x="1288" y="969"/>
                      </a:moveTo>
                      <a:lnTo>
                        <a:pt x="1289" y="969"/>
                      </a:lnTo>
                      <a:lnTo>
                        <a:pt x="1289" y="970"/>
                      </a:lnTo>
                      <a:lnTo>
                        <a:pt x="1288" y="970"/>
                      </a:lnTo>
                      <a:lnTo>
                        <a:pt x="1288" y="969"/>
                      </a:lnTo>
                      <a:close/>
                      <a:moveTo>
                        <a:pt x="1361" y="1168"/>
                      </a:moveTo>
                      <a:lnTo>
                        <a:pt x="1362" y="1168"/>
                      </a:lnTo>
                      <a:lnTo>
                        <a:pt x="1362" y="1169"/>
                      </a:lnTo>
                      <a:lnTo>
                        <a:pt x="1361" y="1169"/>
                      </a:lnTo>
                      <a:lnTo>
                        <a:pt x="1361" y="1168"/>
                      </a:lnTo>
                      <a:close/>
                      <a:moveTo>
                        <a:pt x="1415" y="1128"/>
                      </a:moveTo>
                      <a:lnTo>
                        <a:pt x="1415" y="1129"/>
                      </a:lnTo>
                      <a:lnTo>
                        <a:pt x="1415" y="1128"/>
                      </a:lnTo>
                      <a:close/>
                      <a:moveTo>
                        <a:pt x="1358" y="1050"/>
                      </a:moveTo>
                      <a:lnTo>
                        <a:pt x="1360" y="1050"/>
                      </a:lnTo>
                      <a:lnTo>
                        <a:pt x="1358" y="1050"/>
                      </a:lnTo>
                      <a:close/>
                      <a:moveTo>
                        <a:pt x="1182" y="1041"/>
                      </a:moveTo>
                      <a:lnTo>
                        <a:pt x="1183" y="1041"/>
                      </a:lnTo>
                      <a:lnTo>
                        <a:pt x="1183" y="1042"/>
                      </a:lnTo>
                      <a:lnTo>
                        <a:pt x="1182" y="1042"/>
                      </a:lnTo>
                      <a:lnTo>
                        <a:pt x="1182" y="1041"/>
                      </a:lnTo>
                      <a:close/>
                      <a:moveTo>
                        <a:pt x="1351" y="1003"/>
                      </a:moveTo>
                      <a:lnTo>
                        <a:pt x="1352" y="1003"/>
                      </a:lnTo>
                      <a:lnTo>
                        <a:pt x="1351" y="1003"/>
                      </a:lnTo>
                      <a:close/>
                      <a:moveTo>
                        <a:pt x="1155" y="969"/>
                      </a:moveTo>
                      <a:lnTo>
                        <a:pt x="1156" y="969"/>
                      </a:lnTo>
                      <a:lnTo>
                        <a:pt x="1156" y="970"/>
                      </a:lnTo>
                      <a:lnTo>
                        <a:pt x="1155" y="970"/>
                      </a:lnTo>
                      <a:lnTo>
                        <a:pt x="1155" y="969"/>
                      </a:lnTo>
                      <a:close/>
                      <a:moveTo>
                        <a:pt x="1314" y="1178"/>
                      </a:moveTo>
                      <a:lnTo>
                        <a:pt x="1315" y="1178"/>
                      </a:lnTo>
                      <a:lnTo>
                        <a:pt x="1314" y="1178"/>
                      </a:lnTo>
                      <a:close/>
                      <a:moveTo>
                        <a:pt x="1190" y="965"/>
                      </a:moveTo>
                      <a:lnTo>
                        <a:pt x="1192" y="965"/>
                      </a:lnTo>
                      <a:lnTo>
                        <a:pt x="1192" y="966"/>
                      </a:lnTo>
                      <a:lnTo>
                        <a:pt x="1190" y="966"/>
                      </a:lnTo>
                      <a:lnTo>
                        <a:pt x="1190" y="965"/>
                      </a:lnTo>
                      <a:close/>
                      <a:moveTo>
                        <a:pt x="1057" y="926"/>
                      </a:moveTo>
                      <a:lnTo>
                        <a:pt x="1057" y="927"/>
                      </a:lnTo>
                      <a:lnTo>
                        <a:pt x="1057" y="926"/>
                      </a:lnTo>
                      <a:close/>
                      <a:moveTo>
                        <a:pt x="1347" y="1002"/>
                      </a:moveTo>
                      <a:lnTo>
                        <a:pt x="1348" y="1002"/>
                      </a:lnTo>
                      <a:lnTo>
                        <a:pt x="1347" y="1002"/>
                      </a:lnTo>
                      <a:close/>
                      <a:moveTo>
                        <a:pt x="1079" y="999"/>
                      </a:moveTo>
                      <a:lnTo>
                        <a:pt x="1080" y="999"/>
                      </a:lnTo>
                      <a:lnTo>
                        <a:pt x="1079" y="999"/>
                      </a:lnTo>
                      <a:close/>
                      <a:moveTo>
                        <a:pt x="1367" y="1015"/>
                      </a:moveTo>
                      <a:lnTo>
                        <a:pt x="1368" y="1015"/>
                      </a:lnTo>
                      <a:lnTo>
                        <a:pt x="1367" y="1015"/>
                      </a:lnTo>
                      <a:close/>
                      <a:moveTo>
                        <a:pt x="1021" y="932"/>
                      </a:moveTo>
                      <a:lnTo>
                        <a:pt x="1022" y="932"/>
                      </a:lnTo>
                      <a:lnTo>
                        <a:pt x="1022" y="934"/>
                      </a:lnTo>
                      <a:lnTo>
                        <a:pt x="1021" y="934"/>
                      </a:lnTo>
                      <a:lnTo>
                        <a:pt x="1021" y="932"/>
                      </a:lnTo>
                      <a:close/>
                      <a:moveTo>
                        <a:pt x="1444" y="1146"/>
                      </a:moveTo>
                      <a:lnTo>
                        <a:pt x="1445" y="1146"/>
                      </a:lnTo>
                      <a:lnTo>
                        <a:pt x="1445" y="1147"/>
                      </a:lnTo>
                      <a:lnTo>
                        <a:pt x="1444" y="1147"/>
                      </a:lnTo>
                      <a:lnTo>
                        <a:pt x="1444" y="1146"/>
                      </a:lnTo>
                      <a:close/>
                      <a:moveTo>
                        <a:pt x="1437" y="1145"/>
                      </a:moveTo>
                      <a:lnTo>
                        <a:pt x="1438" y="1145"/>
                      </a:lnTo>
                      <a:lnTo>
                        <a:pt x="1438" y="1146"/>
                      </a:lnTo>
                      <a:lnTo>
                        <a:pt x="1437" y="1146"/>
                      </a:lnTo>
                      <a:lnTo>
                        <a:pt x="1437" y="1145"/>
                      </a:lnTo>
                      <a:close/>
                      <a:moveTo>
                        <a:pt x="1417" y="1001"/>
                      </a:moveTo>
                      <a:lnTo>
                        <a:pt x="1418" y="1001"/>
                      </a:lnTo>
                      <a:lnTo>
                        <a:pt x="1417" y="1001"/>
                      </a:lnTo>
                      <a:close/>
                      <a:moveTo>
                        <a:pt x="1370" y="1040"/>
                      </a:moveTo>
                      <a:lnTo>
                        <a:pt x="1370" y="1041"/>
                      </a:lnTo>
                      <a:lnTo>
                        <a:pt x="1370" y="1040"/>
                      </a:lnTo>
                      <a:close/>
                      <a:moveTo>
                        <a:pt x="1140" y="994"/>
                      </a:moveTo>
                      <a:lnTo>
                        <a:pt x="1141" y="994"/>
                      </a:lnTo>
                      <a:lnTo>
                        <a:pt x="1141" y="995"/>
                      </a:lnTo>
                      <a:lnTo>
                        <a:pt x="1140" y="995"/>
                      </a:lnTo>
                      <a:lnTo>
                        <a:pt x="1140" y="994"/>
                      </a:lnTo>
                      <a:close/>
                      <a:moveTo>
                        <a:pt x="1100" y="806"/>
                      </a:moveTo>
                      <a:lnTo>
                        <a:pt x="1102" y="806"/>
                      </a:lnTo>
                      <a:lnTo>
                        <a:pt x="1102" y="807"/>
                      </a:lnTo>
                      <a:lnTo>
                        <a:pt x="1100" y="807"/>
                      </a:lnTo>
                      <a:lnTo>
                        <a:pt x="1100" y="806"/>
                      </a:lnTo>
                      <a:close/>
                      <a:moveTo>
                        <a:pt x="1428" y="1056"/>
                      </a:moveTo>
                      <a:lnTo>
                        <a:pt x="1429" y="1056"/>
                      </a:lnTo>
                      <a:lnTo>
                        <a:pt x="1428" y="1056"/>
                      </a:lnTo>
                      <a:close/>
                      <a:moveTo>
                        <a:pt x="1322" y="1195"/>
                      </a:moveTo>
                      <a:lnTo>
                        <a:pt x="1322" y="1196"/>
                      </a:lnTo>
                      <a:lnTo>
                        <a:pt x="1322" y="1195"/>
                      </a:lnTo>
                      <a:close/>
                      <a:moveTo>
                        <a:pt x="1059" y="926"/>
                      </a:moveTo>
                      <a:lnTo>
                        <a:pt x="1059" y="927"/>
                      </a:lnTo>
                      <a:lnTo>
                        <a:pt x="1059" y="926"/>
                      </a:lnTo>
                      <a:close/>
                      <a:moveTo>
                        <a:pt x="1438" y="1131"/>
                      </a:moveTo>
                      <a:lnTo>
                        <a:pt x="1439" y="1131"/>
                      </a:lnTo>
                      <a:lnTo>
                        <a:pt x="1439" y="1132"/>
                      </a:lnTo>
                      <a:lnTo>
                        <a:pt x="1438" y="1132"/>
                      </a:lnTo>
                      <a:lnTo>
                        <a:pt x="1438" y="1131"/>
                      </a:lnTo>
                      <a:close/>
                      <a:moveTo>
                        <a:pt x="1154" y="968"/>
                      </a:moveTo>
                      <a:lnTo>
                        <a:pt x="1155" y="968"/>
                      </a:lnTo>
                      <a:lnTo>
                        <a:pt x="1154" y="968"/>
                      </a:lnTo>
                      <a:close/>
                      <a:moveTo>
                        <a:pt x="1373" y="1040"/>
                      </a:moveTo>
                      <a:lnTo>
                        <a:pt x="1374" y="1040"/>
                      </a:lnTo>
                      <a:lnTo>
                        <a:pt x="1373" y="1040"/>
                      </a:lnTo>
                      <a:close/>
                      <a:moveTo>
                        <a:pt x="1364" y="1014"/>
                      </a:moveTo>
                      <a:lnTo>
                        <a:pt x="1365" y="1014"/>
                      </a:lnTo>
                      <a:lnTo>
                        <a:pt x="1364" y="1014"/>
                      </a:lnTo>
                      <a:close/>
                      <a:moveTo>
                        <a:pt x="1132" y="974"/>
                      </a:moveTo>
                      <a:lnTo>
                        <a:pt x="1133" y="974"/>
                      </a:lnTo>
                      <a:lnTo>
                        <a:pt x="1132" y="974"/>
                      </a:lnTo>
                      <a:close/>
                      <a:moveTo>
                        <a:pt x="1136" y="990"/>
                      </a:moveTo>
                      <a:lnTo>
                        <a:pt x="1137" y="990"/>
                      </a:lnTo>
                      <a:lnTo>
                        <a:pt x="1136" y="990"/>
                      </a:lnTo>
                      <a:close/>
                      <a:moveTo>
                        <a:pt x="1181" y="1035"/>
                      </a:moveTo>
                      <a:lnTo>
                        <a:pt x="1182" y="1035"/>
                      </a:lnTo>
                      <a:lnTo>
                        <a:pt x="1181" y="1035"/>
                      </a:lnTo>
                      <a:close/>
                      <a:moveTo>
                        <a:pt x="1361" y="1160"/>
                      </a:moveTo>
                      <a:lnTo>
                        <a:pt x="1361" y="1161"/>
                      </a:lnTo>
                      <a:lnTo>
                        <a:pt x="1361" y="1160"/>
                      </a:lnTo>
                      <a:close/>
                      <a:moveTo>
                        <a:pt x="1351" y="1008"/>
                      </a:moveTo>
                      <a:lnTo>
                        <a:pt x="1351" y="1009"/>
                      </a:lnTo>
                      <a:lnTo>
                        <a:pt x="1351" y="1008"/>
                      </a:lnTo>
                      <a:close/>
                      <a:moveTo>
                        <a:pt x="1344" y="999"/>
                      </a:moveTo>
                      <a:lnTo>
                        <a:pt x="1344" y="1000"/>
                      </a:lnTo>
                      <a:lnTo>
                        <a:pt x="1344" y="999"/>
                      </a:lnTo>
                      <a:close/>
                      <a:moveTo>
                        <a:pt x="1276" y="956"/>
                      </a:moveTo>
                      <a:lnTo>
                        <a:pt x="1277" y="956"/>
                      </a:lnTo>
                      <a:lnTo>
                        <a:pt x="1276" y="956"/>
                      </a:lnTo>
                      <a:close/>
                      <a:moveTo>
                        <a:pt x="1134" y="977"/>
                      </a:moveTo>
                      <a:lnTo>
                        <a:pt x="1135" y="977"/>
                      </a:lnTo>
                      <a:lnTo>
                        <a:pt x="1135" y="978"/>
                      </a:lnTo>
                      <a:lnTo>
                        <a:pt x="1134" y="978"/>
                      </a:lnTo>
                      <a:lnTo>
                        <a:pt x="1134" y="977"/>
                      </a:lnTo>
                      <a:close/>
                      <a:moveTo>
                        <a:pt x="1350" y="1008"/>
                      </a:moveTo>
                      <a:lnTo>
                        <a:pt x="1351" y="1008"/>
                      </a:lnTo>
                      <a:lnTo>
                        <a:pt x="1350" y="1008"/>
                      </a:lnTo>
                      <a:close/>
                      <a:moveTo>
                        <a:pt x="1363" y="1028"/>
                      </a:moveTo>
                      <a:lnTo>
                        <a:pt x="1364" y="1028"/>
                      </a:lnTo>
                      <a:lnTo>
                        <a:pt x="1363" y="1028"/>
                      </a:lnTo>
                      <a:close/>
                      <a:moveTo>
                        <a:pt x="1041" y="989"/>
                      </a:moveTo>
                      <a:lnTo>
                        <a:pt x="1042" y="989"/>
                      </a:lnTo>
                      <a:lnTo>
                        <a:pt x="1042" y="990"/>
                      </a:lnTo>
                      <a:lnTo>
                        <a:pt x="1041" y="990"/>
                      </a:lnTo>
                      <a:lnTo>
                        <a:pt x="1041" y="989"/>
                      </a:lnTo>
                      <a:close/>
                      <a:moveTo>
                        <a:pt x="1311" y="975"/>
                      </a:moveTo>
                      <a:lnTo>
                        <a:pt x="1312" y="975"/>
                      </a:lnTo>
                      <a:lnTo>
                        <a:pt x="1311" y="975"/>
                      </a:lnTo>
                      <a:close/>
                      <a:moveTo>
                        <a:pt x="1108" y="968"/>
                      </a:moveTo>
                      <a:lnTo>
                        <a:pt x="1109" y="968"/>
                      </a:lnTo>
                      <a:lnTo>
                        <a:pt x="1108" y="968"/>
                      </a:lnTo>
                      <a:close/>
                      <a:moveTo>
                        <a:pt x="1312" y="949"/>
                      </a:moveTo>
                      <a:lnTo>
                        <a:pt x="1313" y="949"/>
                      </a:lnTo>
                      <a:lnTo>
                        <a:pt x="1312" y="949"/>
                      </a:lnTo>
                      <a:close/>
                      <a:moveTo>
                        <a:pt x="1063" y="928"/>
                      </a:moveTo>
                      <a:lnTo>
                        <a:pt x="1063" y="929"/>
                      </a:lnTo>
                      <a:lnTo>
                        <a:pt x="1063" y="928"/>
                      </a:lnTo>
                      <a:close/>
                      <a:moveTo>
                        <a:pt x="1083" y="981"/>
                      </a:moveTo>
                      <a:lnTo>
                        <a:pt x="1084" y="981"/>
                      </a:lnTo>
                      <a:lnTo>
                        <a:pt x="1084" y="982"/>
                      </a:lnTo>
                      <a:lnTo>
                        <a:pt x="1083" y="982"/>
                      </a:lnTo>
                      <a:lnTo>
                        <a:pt x="1083" y="981"/>
                      </a:lnTo>
                      <a:close/>
                      <a:moveTo>
                        <a:pt x="1339" y="1005"/>
                      </a:moveTo>
                      <a:lnTo>
                        <a:pt x="1340" y="1005"/>
                      </a:lnTo>
                      <a:lnTo>
                        <a:pt x="1339" y="1005"/>
                      </a:lnTo>
                      <a:close/>
                      <a:moveTo>
                        <a:pt x="1349" y="1002"/>
                      </a:moveTo>
                      <a:lnTo>
                        <a:pt x="1350" y="1002"/>
                      </a:lnTo>
                      <a:lnTo>
                        <a:pt x="1350" y="1003"/>
                      </a:lnTo>
                      <a:lnTo>
                        <a:pt x="1349" y="1003"/>
                      </a:lnTo>
                      <a:lnTo>
                        <a:pt x="1349" y="1002"/>
                      </a:lnTo>
                      <a:close/>
                      <a:moveTo>
                        <a:pt x="1354" y="1051"/>
                      </a:moveTo>
                      <a:lnTo>
                        <a:pt x="1354" y="1052"/>
                      </a:lnTo>
                      <a:lnTo>
                        <a:pt x="1354" y="1051"/>
                      </a:lnTo>
                      <a:close/>
                      <a:moveTo>
                        <a:pt x="1358" y="1147"/>
                      </a:moveTo>
                      <a:lnTo>
                        <a:pt x="1360" y="1147"/>
                      </a:lnTo>
                      <a:lnTo>
                        <a:pt x="1358" y="1147"/>
                      </a:lnTo>
                      <a:close/>
                      <a:moveTo>
                        <a:pt x="1338" y="1007"/>
                      </a:moveTo>
                      <a:lnTo>
                        <a:pt x="1338" y="1008"/>
                      </a:lnTo>
                      <a:lnTo>
                        <a:pt x="1338" y="1007"/>
                      </a:lnTo>
                      <a:close/>
                      <a:moveTo>
                        <a:pt x="1285" y="968"/>
                      </a:moveTo>
                      <a:lnTo>
                        <a:pt x="1286" y="968"/>
                      </a:lnTo>
                      <a:lnTo>
                        <a:pt x="1285" y="968"/>
                      </a:lnTo>
                      <a:close/>
                      <a:moveTo>
                        <a:pt x="1365" y="1159"/>
                      </a:moveTo>
                      <a:lnTo>
                        <a:pt x="1366" y="1159"/>
                      </a:lnTo>
                      <a:lnTo>
                        <a:pt x="1365" y="1159"/>
                      </a:lnTo>
                      <a:close/>
                      <a:moveTo>
                        <a:pt x="1434" y="1134"/>
                      </a:moveTo>
                      <a:lnTo>
                        <a:pt x="1435" y="1134"/>
                      </a:lnTo>
                      <a:lnTo>
                        <a:pt x="1434" y="1134"/>
                      </a:lnTo>
                      <a:close/>
                      <a:moveTo>
                        <a:pt x="1447" y="1031"/>
                      </a:moveTo>
                      <a:lnTo>
                        <a:pt x="1448" y="1031"/>
                      </a:lnTo>
                      <a:lnTo>
                        <a:pt x="1448" y="1032"/>
                      </a:lnTo>
                      <a:lnTo>
                        <a:pt x="1447" y="1032"/>
                      </a:lnTo>
                      <a:lnTo>
                        <a:pt x="1447" y="1031"/>
                      </a:lnTo>
                      <a:close/>
                      <a:moveTo>
                        <a:pt x="1364" y="1052"/>
                      </a:moveTo>
                      <a:lnTo>
                        <a:pt x="1365" y="1052"/>
                      </a:lnTo>
                      <a:lnTo>
                        <a:pt x="1365" y="1053"/>
                      </a:lnTo>
                      <a:lnTo>
                        <a:pt x="1364" y="1053"/>
                      </a:lnTo>
                      <a:lnTo>
                        <a:pt x="1364" y="1052"/>
                      </a:lnTo>
                      <a:close/>
                      <a:moveTo>
                        <a:pt x="1304" y="1103"/>
                      </a:moveTo>
                      <a:lnTo>
                        <a:pt x="1304" y="1104"/>
                      </a:lnTo>
                      <a:lnTo>
                        <a:pt x="1304" y="1103"/>
                      </a:lnTo>
                      <a:close/>
                      <a:moveTo>
                        <a:pt x="1131" y="1003"/>
                      </a:moveTo>
                      <a:lnTo>
                        <a:pt x="1132" y="1003"/>
                      </a:lnTo>
                      <a:lnTo>
                        <a:pt x="1132" y="1004"/>
                      </a:lnTo>
                      <a:lnTo>
                        <a:pt x="1131" y="1004"/>
                      </a:lnTo>
                      <a:lnTo>
                        <a:pt x="1131" y="1003"/>
                      </a:lnTo>
                      <a:close/>
                      <a:moveTo>
                        <a:pt x="1291" y="968"/>
                      </a:moveTo>
                      <a:lnTo>
                        <a:pt x="1291" y="969"/>
                      </a:lnTo>
                      <a:lnTo>
                        <a:pt x="1291" y="968"/>
                      </a:lnTo>
                      <a:close/>
                      <a:moveTo>
                        <a:pt x="1181" y="1043"/>
                      </a:moveTo>
                      <a:lnTo>
                        <a:pt x="1182" y="1043"/>
                      </a:lnTo>
                      <a:lnTo>
                        <a:pt x="1181" y="1043"/>
                      </a:lnTo>
                      <a:close/>
                      <a:moveTo>
                        <a:pt x="1169" y="970"/>
                      </a:moveTo>
                      <a:lnTo>
                        <a:pt x="1169" y="971"/>
                      </a:lnTo>
                      <a:lnTo>
                        <a:pt x="1169" y="970"/>
                      </a:lnTo>
                      <a:close/>
                      <a:moveTo>
                        <a:pt x="1104" y="978"/>
                      </a:moveTo>
                      <a:lnTo>
                        <a:pt x="1105" y="978"/>
                      </a:lnTo>
                      <a:lnTo>
                        <a:pt x="1104" y="978"/>
                      </a:lnTo>
                      <a:close/>
                      <a:moveTo>
                        <a:pt x="1434" y="1132"/>
                      </a:moveTo>
                      <a:lnTo>
                        <a:pt x="1435" y="1132"/>
                      </a:lnTo>
                      <a:lnTo>
                        <a:pt x="1434" y="1132"/>
                      </a:lnTo>
                      <a:close/>
                      <a:moveTo>
                        <a:pt x="1272" y="945"/>
                      </a:moveTo>
                      <a:lnTo>
                        <a:pt x="1273" y="945"/>
                      </a:lnTo>
                      <a:lnTo>
                        <a:pt x="1273" y="947"/>
                      </a:lnTo>
                      <a:lnTo>
                        <a:pt x="1272" y="947"/>
                      </a:lnTo>
                      <a:lnTo>
                        <a:pt x="1272" y="945"/>
                      </a:lnTo>
                      <a:close/>
                      <a:moveTo>
                        <a:pt x="1314" y="1107"/>
                      </a:moveTo>
                      <a:lnTo>
                        <a:pt x="1315" y="1107"/>
                      </a:lnTo>
                      <a:lnTo>
                        <a:pt x="1314" y="1107"/>
                      </a:lnTo>
                      <a:close/>
                      <a:moveTo>
                        <a:pt x="1420" y="1060"/>
                      </a:moveTo>
                      <a:lnTo>
                        <a:pt x="1421" y="1060"/>
                      </a:lnTo>
                      <a:lnTo>
                        <a:pt x="1420" y="1060"/>
                      </a:lnTo>
                      <a:close/>
                      <a:moveTo>
                        <a:pt x="1434" y="1143"/>
                      </a:moveTo>
                      <a:lnTo>
                        <a:pt x="1435" y="1143"/>
                      </a:lnTo>
                      <a:lnTo>
                        <a:pt x="1435" y="1144"/>
                      </a:lnTo>
                      <a:lnTo>
                        <a:pt x="1434" y="1144"/>
                      </a:lnTo>
                      <a:lnTo>
                        <a:pt x="1434" y="1143"/>
                      </a:lnTo>
                      <a:close/>
                      <a:moveTo>
                        <a:pt x="1360" y="1146"/>
                      </a:moveTo>
                      <a:lnTo>
                        <a:pt x="1361" y="1146"/>
                      </a:lnTo>
                      <a:lnTo>
                        <a:pt x="1361" y="1147"/>
                      </a:lnTo>
                      <a:lnTo>
                        <a:pt x="1360" y="1147"/>
                      </a:lnTo>
                      <a:lnTo>
                        <a:pt x="1360" y="1146"/>
                      </a:lnTo>
                      <a:close/>
                      <a:moveTo>
                        <a:pt x="1058" y="980"/>
                      </a:moveTo>
                      <a:lnTo>
                        <a:pt x="1058" y="981"/>
                      </a:lnTo>
                      <a:lnTo>
                        <a:pt x="1058" y="980"/>
                      </a:lnTo>
                      <a:close/>
                      <a:moveTo>
                        <a:pt x="1270" y="957"/>
                      </a:moveTo>
                      <a:lnTo>
                        <a:pt x="1271" y="957"/>
                      </a:lnTo>
                      <a:lnTo>
                        <a:pt x="1270" y="957"/>
                      </a:lnTo>
                      <a:close/>
                      <a:moveTo>
                        <a:pt x="1072" y="989"/>
                      </a:moveTo>
                      <a:lnTo>
                        <a:pt x="1072" y="990"/>
                      </a:lnTo>
                      <a:lnTo>
                        <a:pt x="1072" y="989"/>
                      </a:lnTo>
                      <a:close/>
                      <a:moveTo>
                        <a:pt x="1366" y="1003"/>
                      </a:moveTo>
                      <a:lnTo>
                        <a:pt x="1367" y="1003"/>
                      </a:lnTo>
                      <a:lnTo>
                        <a:pt x="1367" y="1004"/>
                      </a:lnTo>
                      <a:lnTo>
                        <a:pt x="1366" y="1004"/>
                      </a:lnTo>
                      <a:lnTo>
                        <a:pt x="1366" y="1003"/>
                      </a:lnTo>
                      <a:close/>
                      <a:moveTo>
                        <a:pt x="1464" y="1088"/>
                      </a:moveTo>
                      <a:lnTo>
                        <a:pt x="1465" y="1088"/>
                      </a:lnTo>
                      <a:lnTo>
                        <a:pt x="1464" y="1088"/>
                      </a:lnTo>
                      <a:close/>
                      <a:moveTo>
                        <a:pt x="1415" y="1127"/>
                      </a:moveTo>
                      <a:lnTo>
                        <a:pt x="1415" y="1128"/>
                      </a:lnTo>
                      <a:lnTo>
                        <a:pt x="1415" y="1127"/>
                      </a:lnTo>
                      <a:close/>
                      <a:moveTo>
                        <a:pt x="1133" y="977"/>
                      </a:moveTo>
                      <a:lnTo>
                        <a:pt x="1134" y="977"/>
                      </a:lnTo>
                      <a:lnTo>
                        <a:pt x="1134" y="978"/>
                      </a:lnTo>
                      <a:lnTo>
                        <a:pt x="1133" y="978"/>
                      </a:lnTo>
                      <a:lnTo>
                        <a:pt x="1133" y="977"/>
                      </a:lnTo>
                      <a:close/>
                      <a:moveTo>
                        <a:pt x="1349" y="999"/>
                      </a:moveTo>
                      <a:lnTo>
                        <a:pt x="1350" y="999"/>
                      </a:lnTo>
                      <a:lnTo>
                        <a:pt x="1350" y="1000"/>
                      </a:lnTo>
                      <a:lnTo>
                        <a:pt x="1349" y="1000"/>
                      </a:lnTo>
                      <a:lnTo>
                        <a:pt x="1349" y="999"/>
                      </a:lnTo>
                      <a:close/>
                      <a:moveTo>
                        <a:pt x="1185" y="1044"/>
                      </a:moveTo>
                      <a:lnTo>
                        <a:pt x="1187" y="1044"/>
                      </a:lnTo>
                      <a:lnTo>
                        <a:pt x="1187" y="1045"/>
                      </a:lnTo>
                      <a:lnTo>
                        <a:pt x="1185" y="1045"/>
                      </a:lnTo>
                      <a:lnTo>
                        <a:pt x="1185" y="1044"/>
                      </a:lnTo>
                      <a:close/>
                      <a:moveTo>
                        <a:pt x="1273" y="951"/>
                      </a:moveTo>
                      <a:lnTo>
                        <a:pt x="1274" y="951"/>
                      </a:lnTo>
                      <a:lnTo>
                        <a:pt x="1273" y="951"/>
                      </a:lnTo>
                      <a:close/>
                      <a:moveTo>
                        <a:pt x="1155" y="969"/>
                      </a:moveTo>
                      <a:lnTo>
                        <a:pt x="1156" y="969"/>
                      </a:lnTo>
                      <a:lnTo>
                        <a:pt x="1155" y="969"/>
                      </a:lnTo>
                      <a:close/>
                      <a:moveTo>
                        <a:pt x="1089" y="982"/>
                      </a:moveTo>
                      <a:lnTo>
                        <a:pt x="1090" y="982"/>
                      </a:lnTo>
                      <a:lnTo>
                        <a:pt x="1089" y="982"/>
                      </a:lnTo>
                      <a:close/>
                      <a:moveTo>
                        <a:pt x="1134" y="977"/>
                      </a:moveTo>
                      <a:lnTo>
                        <a:pt x="1135" y="977"/>
                      </a:lnTo>
                      <a:lnTo>
                        <a:pt x="1135" y="978"/>
                      </a:lnTo>
                      <a:lnTo>
                        <a:pt x="1134" y="978"/>
                      </a:lnTo>
                      <a:lnTo>
                        <a:pt x="1134" y="977"/>
                      </a:lnTo>
                      <a:close/>
                      <a:moveTo>
                        <a:pt x="1188" y="1045"/>
                      </a:moveTo>
                      <a:lnTo>
                        <a:pt x="1189" y="1045"/>
                      </a:lnTo>
                      <a:lnTo>
                        <a:pt x="1188" y="1045"/>
                      </a:lnTo>
                      <a:close/>
                      <a:moveTo>
                        <a:pt x="1154" y="969"/>
                      </a:moveTo>
                      <a:lnTo>
                        <a:pt x="1155" y="969"/>
                      </a:lnTo>
                      <a:lnTo>
                        <a:pt x="1154" y="969"/>
                      </a:lnTo>
                      <a:close/>
                      <a:moveTo>
                        <a:pt x="1272" y="945"/>
                      </a:moveTo>
                      <a:lnTo>
                        <a:pt x="1273" y="945"/>
                      </a:lnTo>
                      <a:lnTo>
                        <a:pt x="1272" y="945"/>
                      </a:lnTo>
                      <a:close/>
                      <a:moveTo>
                        <a:pt x="1354" y="1021"/>
                      </a:moveTo>
                      <a:lnTo>
                        <a:pt x="1355" y="1021"/>
                      </a:lnTo>
                      <a:lnTo>
                        <a:pt x="1354" y="1021"/>
                      </a:lnTo>
                      <a:close/>
                      <a:moveTo>
                        <a:pt x="1413" y="1127"/>
                      </a:moveTo>
                      <a:lnTo>
                        <a:pt x="1415" y="1127"/>
                      </a:lnTo>
                      <a:lnTo>
                        <a:pt x="1413" y="1127"/>
                      </a:lnTo>
                      <a:close/>
                      <a:moveTo>
                        <a:pt x="1259" y="942"/>
                      </a:moveTo>
                      <a:lnTo>
                        <a:pt x="1260" y="942"/>
                      </a:lnTo>
                      <a:lnTo>
                        <a:pt x="1259" y="942"/>
                      </a:lnTo>
                      <a:close/>
                      <a:moveTo>
                        <a:pt x="1018" y="968"/>
                      </a:moveTo>
                      <a:lnTo>
                        <a:pt x="1019" y="968"/>
                      </a:lnTo>
                      <a:lnTo>
                        <a:pt x="1018" y="968"/>
                      </a:lnTo>
                      <a:close/>
                      <a:moveTo>
                        <a:pt x="1356" y="1007"/>
                      </a:moveTo>
                      <a:lnTo>
                        <a:pt x="1357" y="1007"/>
                      </a:lnTo>
                      <a:lnTo>
                        <a:pt x="1356" y="1007"/>
                      </a:lnTo>
                      <a:close/>
                      <a:moveTo>
                        <a:pt x="1342" y="999"/>
                      </a:moveTo>
                      <a:lnTo>
                        <a:pt x="1343" y="999"/>
                      </a:lnTo>
                      <a:lnTo>
                        <a:pt x="1342" y="999"/>
                      </a:lnTo>
                      <a:close/>
                      <a:moveTo>
                        <a:pt x="1348" y="996"/>
                      </a:moveTo>
                      <a:lnTo>
                        <a:pt x="1348" y="998"/>
                      </a:lnTo>
                      <a:lnTo>
                        <a:pt x="1348" y="996"/>
                      </a:lnTo>
                      <a:close/>
                      <a:moveTo>
                        <a:pt x="1061" y="982"/>
                      </a:moveTo>
                      <a:lnTo>
                        <a:pt x="1061" y="983"/>
                      </a:lnTo>
                      <a:lnTo>
                        <a:pt x="1061" y="982"/>
                      </a:lnTo>
                      <a:close/>
                      <a:moveTo>
                        <a:pt x="1315" y="1174"/>
                      </a:moveTo>
                      <a:lnTo>
                        <a:pt x="1315" y="1175"/>
                      </a:lnTo>
                      <a:lnTo>
                        <a:pt x="1315" y="1174"/>
                      </a:lnTo>
                      <a:close/>
                      <a:moveTo>
                        <a:pt x="1043" y="929"/>
                      </a:moveTo>
                      <a:lnTo>
                        <a:pt x="1044" y="929"/>
                      </a:lnTo>
                      <a:lnTo>
                        <a:pt x="1043" y="929"/>
                      </a:lnTo>
                      <a:close/>
                      <a:moveTo>
                        <a:pt x="1108" y="968"/>
                      </a:moveTo>
                      <a:lnTo>
                        <a:pt x="1109" y="968"/>
                      </a:lnTo>
                      <a:lnTo>
                        <a:pt x="1109" y="969"/>
                      </a:lnTo>
                      <a:lnTo>
                        <a:pt x="1108" y="969"/>
                      </a:lnTo>
                      <a:lnTo>
                        <a:pt x="1108" y="968"/>
                      </a:lnTo>
                      <a:close/>
                      <a:moveTo>
                        <a:pt x="1271" y="947"/>
                      </a:moveTo>
                      <a:lnTo>
                        <a:pt x="1272" y="947"/>
                      </a:lnTo>
                      <a:lnTo>
                        <a:pt x="1271" y="947"/>
                      </a:lnTo>
                      <a:close/>
                      <a:moveTo>
                        <a:pt x="1363" y="1012"/>
                      </a:moveTo>
                      <a:lnTo>
                        <a:pt x="1364" y="1012"/>
                      </a:lnTo>
                      <a:lnTo>
                        <a:pt x="1364" y="1013"/>
                      </a:lnTo>
                      <a:lnTo>
                        <a:pt x="1363" y="1013"/>
                      </a:lnTo>
                      <a:lnTo>
                        <a:pt x="1363" y="1012"/>
                      </a:lnTo>
                      <a:close/>
                      <a:moveTo>
                        <a:pt x="1428" y="1093"/>
                      </a:moveTo>
                      <a:lnTo>
                        <a:pt x="1428" y="1094"/>
                      </a:lnTo>
                      <a:lnTo>
                        <a:pt x="1428" y="1093"/>
                      </a:lnTo>
                      <a:close/>
                      <a:moveTo>
                        <a:pt x="1349" y="1031"/>
                      </a:moveTo>
                      <a:lnTo>
                        <a:pt x="1350" y="1031"/>
                      </a:lnTo>
                      <a:lnTo>
                        <a:pt x="1350" y="1032"/>
                      </a:lnTo>
                      <a:lnTo>
                        <a:pt x="1349" y="1032"/>
                      </a:lnTo>
                      <a:lnTo>
                        <a:pt x="1349" y="1031"/>
                      </a:lnTo>
                      <a:close/>
                      <a:moveTo>
                        <a:pt x="1363" y="1016"/>
                      </a:moveTo>
                      <a:lnTo>
                        <a:pt x="1364" y="1016"/>
                      </a:lnTo>
                      <a:lnTo>
                        <a:pt x="1364" y="1017"/>
                      </a:lnTo>
                      <a:lnTo>
                        <a:pt x="1363" y="1017"/>
                      </a:lnTo>
                      <a:lnTo>
                        <a:pt x="1363" y="1016"/>
                      </a:lnTo>
                      <a:close/>
                      <a:moveTo>
                        <a:pt x="1183" y="1044"/>
                      </a:moveTo>
                      <a:lnTo>
                        <a:pt x="1184" y="1044"/>
                      </a:lnTo>
                      <a:lnTo>
                        <a:pt x="1183" y="1044"/>
                      </a:lnTo>
                      <a:close/>
                      <a:moveTo>
                        <a:pt x="1108" y="976"/>
                      </a:moveTo>
                      <a:lnTo>
                        <a:pt x="1109" y="976"/>
                      </a:lnTo>
                      <a:lnTo>
                        <a:pt x="1109" y="977"/>
                      </a:lnTo>
                      <a:lnTo>
                        <a:pt x="1108" y="977"/>
                      </a:lnTo>
                      <a:lnTo>
                        <a:pt x="1108" y="976"/>
                      </a:lnTo>
                      <a:close/>
                      <a:moveTo>
                        <a:pt x="1107" y="970"/>
                      </a:moveTo>
                      <a:lnTo>
                        <a:pt x="1107" y="971"/>
                      </a:lnTo>
                      <a:lnTo>
                        <a:pt x="1107" y="970"/>
                      </a:lnTo>
                      <a:close/>
                      <a:moveTo>
                        <a:pt x="1365" y="1020"/>
                      </a:moveTo>
                      <a:lnTo>
                        <a:pt x="1366" y="1020"/>
                      </a:lnTo>
                      <a:lnTo>
                        <a:pt x="1366" y="1021"/>
                      </a:lnTo>
                      <a:lnTo>
                        <a:pt x="1365" y="1021"/>
                      </a:lnTo>
                      <a:lnTo>
                        <a:pt x="1365" y="1020"/>
                      </a:lnTo>
                      <a:close/>
                      <a:moveTo>
                        <a:pt x="1107" y="968"/>
                      </a:moveTo>
                      <a:lnTo>
                        <a:pt x="1108" y="968"/>
                      </a:lnTo>
                      <a:lnTo>
                        <a:pt x="1108" y="969"/>
                      </a:lnTo>
                      <a:lnTo>
                        <a:pt x="1107" y="969"/>
                      </a:lnTo>
                      <a:lnTo>
                        <a:pt x="1107" y="968"/>
                      </a:lnTo>
                      <a:close/>
                      <a:moveTo>
                        <a:pt x="1345" y="996"/>
                      </a:moveTo>
                      <a:lnTo>
                        <a:pt x="1347" y="996"/>
                      </a:lnTo>
                      <a:lnTo>
                        <a:pt x="1347" y="998"/>
                      </a:lnTo>
                      <a:lnTo>
                        <a:pt x="1345" y="998"/>
                      </a:lnTo>
                      <a:lnTo>
                        <a:pt x="1345" y="996"/>
                      </a:lnTo>
                      <a:close/>
                      <a:moveTo>
                        <a:pt x="1119" y="975"/>
                      </a:moveTo>
                      <a:lnTo>
                        <a:pt x="1120" y="975"/>
                      </a:lnTo>
                      <a:lnTo>
                        <a:pt x="1119" y="975"/>
                      </a:lnTo>
                      <a:close/>
                      <a:moveTo>
                        <a:pt x="1052" y="936"/>
                      </a:moveTo>
                      <a:lnTo>
                        <a:pt x="1053" y="936"/>
                      </a:lnTo>
                      <a:lnTo>
                        <a:pt x="1052" y="936"/>
                      </a:lnTo>
                      <a:close/>
                      <a:moveTo>
                        <a:pt x="1018" y="967"/>
                      </a:moveTo>
                      <a:lnTo>
                        <a:pt x="1019" y="967"/>
                      </a:lnTo>
                      <a:lnTo>
                        <a:pt x="1019" y="968"/>
                      </a:lnTo>
                      <a:lnTo>
                        <a:pt x="1018" y="968"/>
                      </a:lnTo>
                      <a:lnTo>
                        <a:pt x="1018" y="967"/>
                      </a:lnTo>
                      <a:close/>
                      <a:moveTo>
                        <a:pt x="1373" y="1031"/>
                      </a:moveTo>
                      <a:lnTo>
                        <a:pt x="1373" y="1032"/>
                      </a:lnTo>
                      <a:lnTo>
                        <a:pt x="1373" y="1031"/>
                      </a:lnTo>
                      <a:close/>
                      <a:moveTo>
                        <a:pt x="1277" y="1127"/>
                      </a:moveTo>
                      <a:lnTo>
                        <a:pt x="1277" y="1128"/>
                      </a:lnTo>
                      <a:lnTo>
                        <a:pt x="1277" y="1127"/>
                      </a:lnTo>
                      <a:close/>
                      <a:moveTo>
                        <a:pt x="1083" y="982"/>
                      </a:moveTo>
                      <a:lnTo>
                        <a:pt x="1083" y="983"/>
                      </a:lnTo>
                      <a:lnTo>
                        <a:pt x="1083" y="982"/>
                      </a:lnTo>
                      <a:close/>
                      <a:moveTo>
                        <a:pt x="1259" y="944"/>
                      </a:moveTo>
                      <a:lnTo>
                        <a:pt x="1259" y="945"/>
                      </a:lnTo>
                      <a:lnTo>
                        <a:pt x="1259" y="944"/>
                      </a:lnTo>
                      <a:close/>
                      <a:moveTo>
                        <a:pt x="1067" y="980"/>
                      </a:moveTo>
                      <a:lnTo>
                        <a:pt x="1068" y="980"/>
                      </a:lnTo>
                      <a:lnTo>
                        <a:pt x="1067" y="980"/>
                      </a:lnTo>
                      <a:close/>
                      <a:moveTo>
                        <a:pt x="1108" y="976"/>
                      </a:moveTo>
                      <a:lnTo>
                        <a:pt x="1108" y="977"/>
                      </a:lnTo>
                      <a:lnTo>
                        <a:pt x="1108" y="976"/>
                      </a:lnTo>
                      <a:close/>
                      <a:moveTo>
                        <a:pt x="1271" y="954"/>
                      </a:moveTo>
                      <a:lnTo>
                        <a:pt x="1272" y="954"/>
                      </a:lnTo>
                      <a:lnTo>
                        <a:pt x="1272" y="955"/>
                      </a:lnTo>
                      <a:lnTo>
                        <a:pt x="1271" y="955"/>
                      </a:lnTo>
                      <a:lnTo>
                        <a:pt x="1271" y="954"/>
                      </a:lnTo>
                      <a:close/>
                      <a:moveTo>
                        <a:pt x="1159" y="967"/>
                      </a:moveTo>
                      <a:lnTo>
                        <a:pt x="1160" y="967"/>
                      </a:lnTo>
                      <a:lnTo>
                        <a:pt x="1159" y="967"/>
                      </a:lnTo>
                      <a:close/>
                      <a:moveTo>
                        <a:pt x="1336" y="1017"/>
                      </a:moveTo>
                      <a:lnTo>
                        <a:pt x="1337" y="1017"/>
                      </a:lnTo>
                      <a:lnTo>
                        <a:pt x="1336" y="1017"/>
                      </a:lnTo>
                      <a:close/>
                      <a:moveTo>
                        <a:pt x="1439" y="1134"/>
                      </a:moveTo>
                      <a:lnTo>
                        <a:pt x="1440" y="1134"/>
                      </a:lnTo>
                      <a:lnTo>
                        <a:pt x="1439" y="1134"/>
                      </a:lnTo>
                      <a:close/>
                      <a:moveTo>
                        <a:pt x="1276" y="943"/>
                      </a:moveTo>
                      <a:lnTo>
                        <a:pt x="1277" y="943"/>
                      </a:lnTo>
                      <a:lnTo>
                        <a:pt x="1277" y="944"/>
                      </a:lnTo>
                      <a:lnTo>
                        <a:pt x="1276" y="944"/>
                      </a:lnTo>
                      <a:lnTo>
                        <a:pt x="1276" y="943"/>
                      </a:lnTo>
                      <a:close/>
                      <a:moveTo>
                        <a:pt x="1419" y="1127"/>
                      </a:moveTo>
                      <a:lnTo>
                        <a:pt x="1420" y="1127"/>
                      </a:lnTo>
                      <a:lnTo>
                        <a:pt x="1419" y="1127"/>
                      </a:lnTo>
                      <a:close/>
                      <a:moveTo>
                        <a:pt x="1097" y="796"/>
                      </a:moveTo>
                      <a:lnTo>
                        <a:pt x="1097" y="797"/>
                      </a:lnTo>
                      <a:lnTo>
                        <a:pt x="1097" y="796"/>
                      </a:lnTo>
                      <a:close/>
                      <a:moveTo>
                        <a:pt x="1201" y="1047"/>
                      </a:moveTo>
                      <a:lnTo>
                        <a:pt x="1202" y="1047"/>
                      </a:lnTo>
                      <a:lnTo>
                        <a:pt x="1201" y="1047"/>
                      </a:lnTo>
                      <a:close/>
                      <a:moveTo>
                        <a:pt x="1299" y="968"/>
                      </a:moveTo>
                      <a:lnTo>
                        <a:pt x="1300" y="968"/>
                      </a:lnTo>
                      <a:lnTo>
                        <a:pt x="1300" y="969"/>
                      </a:lnTo>
                      <a:lnTo>
                        <a:pt x="1299" y="969"/>
                      </a:lnTo>
                      <a:lnTo>
                        <a:pt x="1299" y="968"/>
                      </a:lnTo>
                      <a:close/>
                      <a:moveTo>
                        <a:pt x="1354" y="1050"/>
                      </a:moveTo>
                      <a:lnTo>
                        <a:pt x="1355" y="1050"/>
                      </a:lnTo>
                      <a:lnTo>
                        <a:pt x="1355" y="1051"/>
                      </a:lnTo>
                      <a:lnTo>
                        <a:pt x="1354" y="1051"/>
                      </a:lnTo>
                      <a:lnTo>
                        <a:pt x="1354" y="1050"/>
                      </a:lnTo>
                      <a:close/>
                      <a:moveTo>
                        <a:pt x="1367" y="1033"/>
                      </a:moveTo>
                      <a:lnTo>
                        <a:pt x="1368" y="1033"/>
                      </a:lnTo>
                      <a:lnTo>
                        <a:pt x="1368" y="1034"/>
                      </a:lnTo>
                      <a:lnTo>
                        <a:pt x="1367" y="1034"/>
                      </a:lnTo>
                      <a:lnTo>
                        <a:pt x="1367" y="1033"/>
                      </a:lnTo>
                      <a:close/>
                      <a:moveTo>
                        <a:pt x="1297" y="974"/>
                      </a:moveTo>
                      <a:lnTo>
                        <a:pt x="1297" y="976"/>
                      </a:lnTo>
                      <a:lnTo>
                        <a:pt x="1297" y="974"/>
                      </a:lnTo>
                      <a:close/>
                      <a:moveTo>
                        <a:pt x="1043" y="942"/>
                      </a:moveTo>
                      <a:lnTo>
                        <a:pt x="1044" y="942"/>
                      </a:lnTo>
                      <a:lnTo>
                        <a:pt x="1043" y="942"/>
                      </a:lnTo>
                      <a:close/>
                      <a:moveTo>
                        <a:pt x="1283" y="1125"/>
                      </a:moveTo>
                      <a:lnTo>
                        <a:pt x="1283" y="1127"/>
                      </a:lnTo>
                      <a:lnTo>
                        <a:pt x="1283" y="1125"/>
                      </a:lnTo>
                      <a:close/>
                      <a:moveTo>
                        <a:pt x="1086" y="986"/>
                      </a:moveTo>
                      <a:lnTo>
                        <a:pt x="1087" y="986"/>
                      </a:lnTo>
                      <a:lnTo>
                        <a:pt x="1087" y="987"/>
                      </a:lnTo>
                      <a:lnTo>
                        <a:pt x="1086" y="987"/>
                      </a:lnTo>
                      <a:lnTo>
                        <a:pt x="1086" y="986"/>
                      </a:lnTo>
                      <a:close/>
                      <a:moveTo>
                        <a:pt x="1432" y="1130"/>
                      </a:moveTo>
                      <a:lnTo>
                        <a:pt x="1432" y="1131"/>
                      </a:lnTo>
                      <a:lnTo>
                        <a:pt x="1432" y="1130"/>
                      </a:lnTo>
                      <a:close/>
                      <a:moveTo>
                        <a:pt x="1133" y="977"/>
                      </a:moveTo>
                      <a:lnTo>
                        <a:pt x="1134" y="977"/>
                      </a:lnTo>
                      <a:lnTo>
                        <a:pt x="1133" y="977"/>
                      </a:lnTo>
                      <a:close/>
                      <a:moveTo>
                        <a:pt x="1374" y="1030"/>
                      </a:moveTo>
                      <a:lnTo>
                        <a:pt x="1374" y="1031"/>
                      </a:lnTo>
                      <a:lnTo>
                        <a:pt x="1374" y="1030"/>
                      </a:lnTo>
                      <a:close/>
                      <a:moveTo>
                        <a:pt x="1059" y="983"/>
                      </a:moveTo>
                      <a:lnTo>
                        <a:pt x="1060" y="983"/>
                      </a:lnTo>
                      <a:lnTo>
                        <a:pt x="1060" y="984"/>
                      </a:lnTo>
                      <a:lnTo>
                        <a:pt x="1059" y="984"/>
                      </a:lnTo>
                      <a:lnTo>
                        <a:pt x="1059" y="983"/>
                      </a:lnTo>
                      <a:close/>
                      <a:moveTo>
                        <a:pt x="1364" y="1012"/>
                      </a:moveTo>
                      <a:lnTo>
                        <a:pt x="1364" y="1013"/>
                      </a:lnTo>
                      <a:lnTo>
                        <a:pt x="1364" y="1012"/>
                      </a:lnTo>
                      <a:close/>
                      <a:moveTo>
                        <a:pt x="1135" y="1000"/>
                      </a:moveTo>
                      <a:lnTo>
                        <a:pt x="1135" y="1001"/>
                      </a:lnTo>
                      <a:lnTo>
                        <a:pt x="1135" y="1000"/>
                      </a:lnTo>
                      <a:close/>
                      <a:moveTo>
                        <a:pt x="1438" y="1131"/>
                      </a:moveTo>
                      <a:lnTo>
                        <a:pt x="1439" y="1131"/>
                      </a:lnTo>
                      <a:lnTo>
                        <a:pt x="1439" y="1132"/>
                      </a:lnTo>
                      <a:lnTo>
                        <a:pt x="1438" y="1132"/>
                      </a:lnTo>
                      <a:lnTo>
                        <a:pt x="1438" y="1131"/>
                      </a:lnTo>
                      <a:close/>
                      <a:moveTo>
                        <a:pt x="1348" y="1002"/>
                      </a:moveTo>
                      <a:lnTo>
                        <a:pt x="1348" y="1003"/>
                      </a:lnTo>
                      <a:lnTo>
                        <a:pt x="1348" y="1002"/>
                      </a:lnTo>
                      <a:close/>
                      <a:moveTo>
                        <a:pt x="1276" y="1127"/>
                      </a:moveTo>
                      <a:lnTo>
                        <a:pt x="1277" y="1127"/>
                      </a:lnTo>
                      <a:lnTo>
                        <a:pt x="1276" y="1127"/>
                      </a:lnTo>
                      <a:close/>
                      <a:moveTo>
                        <a:pt x="1133" y="987"/>
                      </a:moveTo>
                      <a:lnTo>
                        <a:pt x="1134" y="987"/>
                      </a:lnTo>
                      <a:lnTo>
                        <a:pt x="1133" y="987"/>
                      </a:lnTo>
                      <a:close/>
                      <a:moveTo>
                        <a:pt x="1106" y="984"/>
                      </a:moveTo>
                      <a:lnTo>
                        <a:pt x="1107" y="984"/>
                      </a:lnTo>
                      <a:lnTo>
                        <a:pt x="1106" y="984"/>
                      </a:lnTo>
                      <a:close/>
                      <a:moveTo>
                        <a:pt x="1432" y="1128"/>
                      </a:moveTo>
                      <a:lnTo>
                        <a:pt x="1432" y="1129"/>
                      </a:lnTo>
                      <a:lnTo>
                        <a:pt x="1432" y="1128"/>
                      </a:lnTo>
                      <a:close/>
                      <a:moveTo>
                        <a:pt x="1032" y="990"/>
                      </a:moveTo>
                      <a:lnTo>
                        <a:pt x="1033" y="990"/>
                      </a:lnTo>
                      <a:lnTo>
                        <a:pt x="1032" y="990"/>
                      </a:lnTo>
                      <a:close/>
                      <a:moveTo>
                        <a:pt x="1339" y="1004"/>
                      </a:moveTo>
                      <a:lnTo>
                        <a:pt x="1339" y="1005"/>
                      </a:lnTo>
                      <a:lnTo>
                        <a:pt x="1339" y="1004"/>
                      </a:lnTo>
                      <a:close/>
                      <a:moveTo>
                        <a:pt x="1339" y="1181"/>
                      </a:moveTo>
                      <a:lnTo>
                        <a:pt x="1340" y="1181"/>
                      </a:lnTo>
                      <a:lnTo>
                        <a:pt x="1339" y="1181"/>
                      </a:lnTo>
                      <a:close/>
                      <a:moveTo>
                        <a:pt x="1270" y="956"/>
                      </a:moveTo>
                      <a:lnTo>
                        <a:pt x="1271" y="956"/>
                      </a:lnTo>
                      <a:lnTo>
                        <a:pt x="1270" y="956"/>
                      </a:lnTo>
                      <a:close/>
                      <a:moveTo>
                        <a:pt x="1348" y="998"/>
                      </a:moveTo>
                      <a:lnTo>
                        <a:pt x="1348" y="999"/>
                      </a:lnTo>
                      <a:lnTo>
                        <a:pt x="1348" y="998"/>
                      </a:lnTo>
                      <a:close/>
                      <a:moveTo>
                        <a:pt x="1184" y="1044"/>
                      </a:moveTo>
                      <a:lnTo>
                        <a:pt x="1185" y="1044"/>
                      </a:lnTo>
                      <a:lnTo>
                        <a:pt x="1184" y="1044"/>
                      </a:lnTo>
                      <a:close/>
                      <a:moveTo>
                        <a:pt x="1105" y="782"/>
                      </a:moveTo>
                      <a:lnTo>
                        <a:pt x="1106" y="782"/>
                      </a:lnTo>
                      <a:lnTo>
                        <a:pt x="1106" y="783"/>
                      </a:lnTo>
                      <a:lnTo>
                        <a:pt x="1105" y="783"/>
                      </a:lnTo>
                      <a:lnTo>
                        <a:pt x="1105" y="782"/>
                      </a:lnTo>
                      <a:close/>
                      <a:moveTo>
                        <a:pt x="1273" y="947"/>
                      </a:moveTo>
                      <a:lnTo>
                        <a:pt x="1274" y="947"/>
                      </a:lnTo>
                      <a:lnTo>
                        <a:pt x="1273" y="947"/>
                      </a:lnTo>
                      <a:close/>
                      <a:moveTo>
                        <a:pt x="1186" y="1044"/>
                      </a:moveTo>
                      <a:lnTo>
                        <a:pt x="1187" y="1044"/>
                      </a:lnTo>
                      <a:lnTo>
                        <a:pt x="1186" y="1044"/>
                      </a:lnTo>
                      <a:close/>
                      <a:moveTo>
                        <a:pt x="991" y="960"/>
                      </a:moveTo>
                      <a:lnTo>
                        <a:pt x="992" y="960"/>
                      </a:lnTo>
                      <a:lnTo>
                        <a:pt x="991" y="960"/>
                      </a:lnTo>
                      <a:close/>
                      <a:moveTo>
                        <a:pt x="1084" y="981"/>
                      </a:moveTo>
                      <a:lnTo>
                        <a:pt x="1085" y="981"/>
                      </a:lnTo>
                      <a:lnTo>
                        <a:pt x="1084" y="981"/>
                      </a:lnTo>
                      <a:close/>
                      <a:moveTo>
                        <a:pt x="1195" y="916"/>
                      </a:moveTo>
                      <a:lnTo>
                        <a:pt x="1195" y="917"/>
                      </a:lnTo>
                      <a:lnTo>
                        <a:pt x="1195" y="916"/>
                      </a:lnTo>
                      <a:close/>
                      <a:moveTo>
                        <a:pt x="1367" y="1135"/>
                      </a:moveTo>
                      <a:lnTo>
                        <a:pt x="1367" y="1136"/>
                      </a:lnTo>
                      <a:lnTo>
                        <a:pt x="1367" y="1135"/>
                      </a:lnTo>
                      <a:close/>
                      <a:moveTo>
                        <a:pt x="1450" y="1084"/>
                      </a:moveTo>
                      <a:lnTo>
                        <a:pt x="1450" y="1085"/>
                      </a:lnTo>
                      <a:lnTo>
                        <a:pt x="1450" y="1084"/>
                      </a:lnTo>
                      <a:close/>
                      <a:moveTo>
                        <a:pt x="1360" y="1144"/>
                      </a:moveTo>
                      <a:lnTo>
                        <a:pt x="1360" y="1145"/>
                      </a:lnTo>
                      <a:lnTo>
                        <a:pt x="1360" y="1144"/>
                      </a:lnTo>
                      <a:close/>
                      <a:moveTo>
                        <a:pt x="1354" y="1003"/>
                      </a:moveTo>
                      <a:lnTo>
                        <a:pt x="1355" y="1003"/>
                      </a:lnTo>
                      <a:lnTo>
                        <a:pt x="1354" y="1003"/>
                      </a:lnTo>
                      <a:close/>
                      <a:moveTo>
                        <a:pt x="1369" y="1031"/>
                      </a:moveTo>
                      <a:lnTo>
                        <a:pt x="1370" y="1031"/>
                      </a:lnTo>
                      <a:lnTo>
                        <a:pt x="1370" y="1032"/>
                      </a:lnTo>
                      <a:lnTo>
                        <a:pt x="1369" y="1032"/>
                      </a:lnTo>
                      <a:lnTo>
                        <a:pt x="1369" y="1031"/>
                      </a:lnTo>
                      <a:close/>
                      <a:moveTo>
                        <a:pt x="1370" y="1137"/>
                      </a:moveTo>
                      <a:lnTo>
                        <a:pt x="1371" y="1137"/>
                      </a:lnTo>
                      <a:lnTo>
                        <a:pt x="1370" y="1137"/>
                      </a:lnTo>
                      <a:close/>
                      <a:moveTo>
                        <a:pt x="1313" y="1176"/>
                      </a:moveTo>
                      <a:lnTo>
                        <a:pt x="1313" y="1178"/>
                      </a:lnTo>
                      <a:lnTo>
                        <a:pt x="1313" y="1176"/>
                      </a:lnTo>
                      <a:close/>
                      <a:moveTo>
                        <a:pt x="1431" y="1038"/>
                      </a:moveTo>
                      <a:lnTo>
                        <a:pt x="1431" y="1039"/>
                      </a:lnTo>
                      <a:lnTo>
                        <a:pt x="1431" y="1038"/>
                      </a:lnTo>
                      <a:close/>
                      <a:moveTo>
                        <a:pt x="1052" y="932"/>
                      </a:moveTo>
                      <a:lnTo>
                        <a:pt x="1053" y="932"/>
                      </a:lnTo>
                      <a:lnTo>
                        <a:pt x="1053" y="934"/>
                      </a:lnTo>
                      <a:lnTo>
                        <a:pt x="1052" y="934"/>
                      </a:lnTo>
                      <a:lnTo>
                        <a:pt x="1052" y="932"/>
                      </a:lnTo>
                      <a:close/>
                      <a:moveTo>
                        <a:pt x="1416" y="1125"/>
                      </a:moveTo>
                      <a:lnTo>
                        <a:pt x="1416" y="1127"/>
                      </a:lnTo>
                      <a:lnTo>
                        <a:pt x="1416" y="1125"/>
                      </a:lnTo>
                      <a:close/>
                      <a:moveTo>
                        <a:pt x="1325" y="1193"/>
                      </a:moveTo>
                      <a:lnTo>
                        <a:pt x="1326" y="1193"/>
                      </a:lnTo>
                      <a:lnTo>
                        <a:pt x="1326" y="1194"/>
                      </a:lnTo>
                      <a:lnTo>
                        <a:pt x="1325" y="1194"/>
                      </a:lnTo>
                      <a:lnTo>
                        <a:pt x="1325" y="1193"/>
                      </a:lnTo>
                      <a:close/>
                      <a:moveTo>
                        <a:pt x="1258" y="944"/>
                      </a:moveTo>
                      <a:lnTo>
                        <a:pt x="1258" y="945"/>
                      </a:lnTo>
                      <a:lnTo>
                        <a:pt x="1258" y="944"/>
                      </a:lnTo>
                      <a:close/>
                      <a:moveTo>
                        <a:pt x="1311" y="948"/>
                      </a:moveTo>
                      <a:lnTo>
                        <a:pt x="1311" y="949"/>
                      </a:lnTo>
                      <a:lnTo>
                        <a:pt x="1311" y="948"/>
                      </a:lnTo>
                      <a:close/>
                      <a:moveTo>
                        <a:pt x="1187" y="1044"/>
                      </a:moveTo>
                      <a:lnTo>
                        <a:pt x="1188" y="1044"/>
                      </a:lnTo>
                      <a:lnTo>
                        <a:pt x="1187" y="1044"/>
                      </a:lnTo>
                      <a:close/>
                      <a:moveTo>
                        <a:pt x="1433" y="1144"/>
                      </a:moveTo>
                      <a:lnTo>
                        <a:pt x="1433" y="1145"/>
                      </a:lnTo>
                      <a:lnTo>
                        <a:pt x="1433" y="1144"/>
                      </a:lnTo>
                      <a:close/>
                      <a:moveTo>
                        <a:pt x="1352" y="1043"/>
                      </a:moveTo>
                      <a:lnTo>
                        <a:pt x="1353" y="1043"/>
                      </a:lnTo>
                      <a:lnTo>
                        <a:pt x="1352" y="1043"/>
                      </a:lnTo>
                      <a:close/>
                      <a:moveTo>
                        <a:pt x="1025" y="968"/>
                      </a:moveTo>
                      <a:lnTo>
                        <a:pt x="1026" y="968"/>
                      </a:lnTo>
                      <a:lnTo>
                        <a:pt x="1026" y="969"/>
                      </a:lnTo>
                      <a:lnTo>
                        <a:pt x="1025" y="969"/>
                      </a:lnTo>
                      <a:lnTo>
                        <a:pt x="1025" y="968"/>
                      </a:lnTo>
                      <a:close/>
                      <a:moveTo>
                        <a:pt x="1118" y="976"/>
                      </a:moveTo>
                      <a:lnTo>
                        <a:pt x="1119" y="976"/>
                      </a:lnTo>
                      <a:lnTo>
                        <a:pt x="1118" y="976"/>
                      </a:lnTo>
                      <a:close/>
                      <a:moveTo>
                        <a:pt x="1096" y="803"/>
                      </a:moveTo>
                      <a:lnTo>
                        <a:pt x="1097" y="803"/>
                      </a:lnTo>
                      <a:lnTo>
                        <a:pt x="1096" y="803"/>
                      </a:lnTo>
                      <a:close/>
                      <a:moveTo>
                        <a:pt x="1280" y="1121"/>
                      </a:moveTo>
                      <a:lnTo>
                        <a:pt x="1282" y="1121"/>
                      </a:lnTo>
                      <a:lnTo>
                        <a:pt x="1282" y="1122"/>
                      </a:lnTo>
                      <a:lnTo>
                        <a:pt x="1280" y="1122"/>
                      </a:lnTo>
                      <a:lnTo>
                        <a:pt x="1280" y="1121"/>
                      </a:lnTo>
                      <a:close/>
                      <a:moveTo>
                        <a:pt x="1271" y="948"/>
                      </a:moveTo>
                      <a:lnTo>
                        <a:pt x="1272" y="948"/>
                      </a:lnTo>
                      <a:lnTo>
                        <a:pt x="1271" y="948"/>
                      </a:lnTo>
                      <a:close/>
                      <a:moveTo>
                        <a:pt x="1358" y="1007"/>
                      </a:moveTo>
                      <a:lnTo>
                        <a:pt x="1360" y="1007"/>
                      </a:lnTo>
                      <a:lnTo>
                        <a:pt x="1358" y="1007"/>
                      </a:lnTo>
                      <a:close/>
                      <a:moveTo>
                        <a:pt x="1438" y="1134"/>
                      </a:moveTo>
                      <a:lnTo>
                        <a:pt x="1439" y="1134"/>
                      </a:lnTo>
                      <a:lnTo>
                        <a:pt x="1439" y="1135"/>
                      </a:lnTo>
                      <a:lnTo>
                        <a:pt x="1438" y="1135"/>
                      </a:lnTo>
                      <a:lnTo>
                        <a:pt x="1438" y="1134"/>
                      </a:lnTo>
                      <a:close/>
                      <a:moveTo>
                        <a:pt x="1418" y="1125"/>
                      </a:moveTo>
                      <a:lnTo>
                        <a:pt x="1419" y="1125"/>
                      </a:lnTo>
                      <a:lnTo>
                        <a:pt x="1418" y="1125"/>
                      </a:lnTo>
                      <a:close/>
                      <a:moveTo>
                        <a:pt x="1413" y="1124"/>
                      </a:moveTo>
                      <a:lnTo>
                        <a:pt x="1414" y="1124"/>
                      </a:lnTo>
                      <a:lnTo>
                        <a:pt x="1413" y="1124"/>
                      </a:lnTo>
                      <a:close/>
                      <a:moveTo>
                        <a:pt x="1420" y="1129"/>
                      </a:moveTo>
                      <a:lnTo>
                        <a:pt x="1420" y="1130"/>
                      </a:lnTo>
                      <a:lnTo>
                        <a:pt x="1420" y="1129"/>
                      </a:lnTo>
                      <a:close/>
                      <a:moveTo>
                        <a:pt x="1046" y="934"/>
                      </a:moveTo>
                      <a:lnTo>
                        <a:pt x="1047" y="934"/>
                      </a:lnTo>
                      <a:lnTo>
                        <a:pt x="1047" y="935"/>
                      </a:lnTo>
                      <a:lnTo>
                        <a:pt x="1046" y="935"/>
                      </a:lnTo>
                      <a:lnTo>
                        <a:pt x="1046" y="934"/>
                      </a:lnTo>
                      <a:close/>
                      <a:moveTo>
                        <a:pt x="1327" y="1021"/>
                      </a:moveTo>
                      <a:lnTo>
                        <a:pt x="1328" y="1021"/>
                      </a:lnTo>
                      <a:lnTo>
                        <a:pt x="1328" y="1022"/>
                      </a:lnTo>
                      <a:lnTo>
                        <a:pt x="1327" y="1022"/>
                      </a:lnTo>
                      <a:lnTo>
                        <a:pt x="1327" y="1021"/>
                      </a:lnTo>
                      <a:close/>
                      <a:moveTo>
                        <a:pt x="1337" y="1130"/>
                      </a:moveTo>
                      <a:lnTo>
                        <a:pt x="1338" y="1130"/>
                      </a:lnTo>
                      <a:lnTo>
                        <a:pt x="1337" y="1130"/>
                      </a:lnTo>
                      <a:close/>
                      <a:moveTo>
                        <a:pt x="1354" y="1040"/>
                      </a:moveTo>
                      <a:lnTo>
                        <a:pt x="1354" y="1041"/>
                      </a:lnTo>
                      <a:lnTo>
                        <a:pt x="1354" y="1040"/>
                      </a:lnTo>
                      <a:close/>
                      <a:moveTo>
                        <a:pt x="1254" y="940"/>
                      </a:moveTo>
                      <a:lnTo>
                        <a:pt x="1255" y="940"/>
                      </a:lnTo>
                      <a:lnTo>
                        <a:pt x="1254" y="940"/>
                      </a:lnTo>
                      <a:close/>
                      <a:moveTo>
                        <a:pt x="1332" y="1174"/>
                      </a:moveTo>
                      <a:lnTo>
                        <a:pt x="1334" y="1174"/>
                      </a:lnTo>
                      <a:lnTo>
                        <a:pt x="1334" y="1175"/>
                      </a:lnTo>
                      <a:lnTo>
                        <a:pt x="1332" y="1175"/>
                      </a:lnTo>
                      <a:lnTo>
                        <a:pt x="1332" y="1174"/>
                      </a:lnTo>
                      <a:close/>
                      <a:moveTo>
                        <a:pt x="1277" y="943"/>
                      </a:moveTo>
                      <a:lnTo>
                        <a:pt x="1277" y="944"/>
                      </a:lnTo>
                      <a:lnTo>
                        <a:pt x="1277" y="943"/>
                      </a:lnTo>
                      <a:close/>
                      <a:moveTo>
                        <a:pt x="1290" y="970"/>
                      </a:moveTo>
                      <a:lnTo>
                        <a:pt x="1290" y="971"/>
                      </a:lnTo>
                      <a:lnTo>
                        <a:pt x="1290" y="970"/>
                      </a:lnTo>
                      <a:close/>
                      <a:moveTo>
                        <a:pt x="1194" y="921"/>
                      </a:moveTo>
                      <a:lnTo>
                        <a:pt x="1195" y="921"/>
                      </a:lnTo>
                      <a:lnTo>
                        <a:pt x="1194" y="921"/>
                      </a:lnTo>
                      <a:close/>
                      <a:moveTo>
                        <a:pt x="1186" y="1045"/>
                      </a:moveTo>
                      <a:lnTo>
                        <a:pt x="1187" y="1045"/>
                      </a:lnTo>
                      <a:lnTo>
                        <a:pt x="1186" y="1045"/>
                      </a:lnTo>
                      <a:close/>
                      <a:moveTo>
                        <a:pt x="1177" y="1034"/>
                      </a:moveTo>
                      <a:lnTo>
                        <a:pt x="1179" y="1034"/>
                      </a:lnTo>
                      <a:lnTo>
                        <a:pt x="1177" y="1034"/>
                      </a:lnTo>
                      <a:close/>
                      <a:moveTo>
                        <a:pt x="1300" y="1104"/>
                      </a:moveTo>
                      <a:lnTo>
                        <a:pt x="1300" y="1105"/>
                      </a:lnTo>
                      <a:lnTo>
                        <a:pt x="1300" y="1104"/>
                      </a:lnTo>
                      <a:close/>
                      <a:moveTo>
                        <a:pt x="1042" y="990"/>
                      </a:moveTo>
                      <a:lnTo>
                        <a:pt x="1043" y="990"/>
                      </a:lnTo>
                      <a:lnTo>
                        <a:pt x="1043" y="991"/>
                      </a:lnTo>
                      <a:lnTo>
                        <a:pt x="1042" y="991"/>
                      </a:lnTo>
                      <a:lnTo>
                        <a:pt x="1042" y="990"/>
                      </a:lnTo>
                      <a:close/>
                      <a:moveTo>
                        <a:pt x="1189" y="1044"/>
                      </a:moveTo>
                      <a:lnTo>
                        <a:pt x="1189" y="1045"/>
                      </a:lnTo>
                      <a:lnTo>
                        <a:pt x="1189" y="1044"/>
                      </a:lnTo>
                      <a:close/>
                      <a:moveTo>
                        <a:pt x="1173" y="1035"/>
                      </a:moveTo>
                      <a:lnTo>
                        <a:pt x="1174" y="1035"/>
                      </a:lnTo>
                      <a:lnTo>
                        <a:pt x="1174" y="1037"/>
                      </a:lnTo>
                      <a:lnTo>
                        <a:pt x="1173" y="1037"/>
                      </a:lnTo>
                      <a:lnTo>
                        <a:pt x="1173" y="1035"/>
                      </a:lnTo>
                      <a:close/>
                      <a:moveTo>
                        <a:pt x="1311" y="1108"/>
                      </a:moveTo>
                      <a:lnTo>
                        <a:pt x="1312" y="1108"/>
                      </a:lnTo>
                      <a:lnTo>
                        <a:pt x="1312" y="1109"/>
                      </a:lnTo>
                      <a:lnTo>
                        <a:pt x="1311" y="1109"/>
                      </a:lnTo>
                      <a:lnTo>
                        <a:pt x="1311" y="1108"/>
                      </a:lnTo>
                      <a:close/>
                      <a:moveTo>
                        <a:pt x="1316" y="1174"/>
                      </a:moveTo>
                      <a:lnTo>
                        <a:pt x="1317" y="1174"/>
                      </a:lnTo>
                      <a:lnTo>
                        <a:pt x="1316" y="1174"/>
                      </a:lnTo>
                      <a:close/>
                      <a:moveTo>
                        <a:pt x="1280" y="966"/>
                      </a:moveTo>
                      <a:lnTo>
                        <a:pt x="1280" y="967"/>
                      </a:lnTo>
                      <a:lnTo>
                        <a:pt x="1280" y="966"/>
                      </a:lnTo>
                      <a:close/>
                      <a:moveTo>
                        <a:pt x="1287" y="956"/>
                      </a:moveTo>
                      <a:lnTo>
                        <a:pt x="1287" y="957"/>
                      </a:lnTo>
                      <a:lnTo>
                        <a:pt x="1287" y="956"/>
                      </a:lnTo>
                      <a:close/>
                      <a:moveTo>
                        <a:pt x="1070" y="993"/>
                      </a:moveTo>
                      <a:lnTo>
                        <a:pt x="1071" y="993"/>
                      </a:lnTo>
                      <a:lnTo>
                        <a:pt x="1070" y="993"/>
                      </a:lnTo>
                      <a:close/>
                      <a:moveTo>
                        <a:pt x="1341" y="1125"/>
                      </a:moveTo>
                      <a:lnTo>
                        <a:pt x="1341" y="1127"/>
                      </a:lnTo>
                      <a:lnTo>
                        <a:pt x="1341" y="1125"/>
                      </a:lnTo>
                      <a:close/>
                      <a:moveTo>
                        <a:pt x="1309" y="1094"/>
                      </a:moveTo>
                      <a:lnTo>
                        <a:pt x="1310" y="1094"/>
                      </a:lnTo>
                      <a:lnTo>
                        <a:pt x="1309" y="1094"/>
                      </a:lnTo>
                      <a:close/>
                      <a:moveTo>
                        <a:pt x="1106" y="977"/>
                      </a:moveTo>
                      <a:lnTo>
                        <a:pt x="1107" y="977"/>
                      </a:lnTo>
                      <a:lnTo>
                        <a:pt x="1106" y="977"/>
                      </a:lnTo>
                      <a:close/>
                      <a:moveTo>
                        <a:pt x="1301" y="1114"/>
                      </a:moveTo>
                      <a:lnTo>
                        <a:pt x="1302" y="1114"/>
                      </a:lnTo>
                      <a:lnTo>
                        <a:pt x="1301" y="1114"/>
                      </a:lnTo>
                      <a:close/>
                      <a:moveTo>
                        <a:pt x="1057" y="929"/>
                      </a:moveTo>
                      <a:lnTo>
                        <a:pt x="1058" y="929"/>
                      </a:lnTo>
                      <a:lnTo>
                        <a:pt x="1057" y="929"/>
                      </a:lnTo>
                      <a:close/>
                      <a:moveTo>
                        <a:pt x="1347" y="1004"/>
                      </a:moveTo>
                      <a:lnTo>
                        <a:pt x="1348" y="1004"/>
                      </a:lnTo>
                      <a:lnTo>
                        <a:pt x="1348" y="1005"/>
                      </a:lnTo>
                      <a:lnTo>
                        <a:pt x="1347" y="1005"/>
                      </a:lnTo>
                      <a:lnTo>
                        <a:pt x="1347" y="1004"/>
                      </a:lnTo>
                      <a:close/>
                      <a:moveTo>
                        <a:pt x="1099" y="969"/>
                      </a:moveTo>
                      <a:lnTo>
                        <a:pt x="1100" y="969"/>
                      </a:lnTo>
                      <a:lnTo>
                        <a:pt x="1099" y="969"/>
                      </a:lnTo>
                      <a:close/>
                      <a:moveTo>
                        <a:pt x="1020" y="968"/>
                      </a:moveTo>
                      <a:lnTo>
                        <a:pt x="1020" y="969"/>
                      </a:lnTo>
                      <a:lnTo>
                        <a:pt x="1020" y="968"/>
                      </a:lnTo>
                      <a:close/>
                      <a:moveTo>
                        <a:pt x="1074" y="996"/>
                      </a:moveTo>
                      <a:lnTo>
                        <a:pt x="1074" y="998"/>
                      </a:lnTo>
                      <a:lnTo>
                        <a:pt x="1074" y="996"/>
                      </a:lnTo>
                      <a:close/>
                      <a:moveTo>
                        <a:pt x="1366" y="1170"/>
                      </a:moveTo>
                      <a:lnTo>
                        <a:pt x="1367" y="1170"/>
                      </a:lnTo>
                      <a:lnTo>
                        <a:pt x="1366" y="1170"/>
                      </a:lnTo>
                      <a:close/>
                      <a:moveTo>
                        <a:pt x="1367" y="1140"/>
                      </a:moveTo>
                      <a:lnTo>
                        <a:pt x="1368" y="1140"/>
                      </a:lnTo>
                      <a:lnTo>
                        <a:pt x="1367" y="1140"/>
                      </a:lnTo>
                      <a:close/>
                      <a:moveTo>
                        <a:pt x="1052" y="930"/>
                      </a:moveTo>
                      <a:lnTo>
                        <a:pt x="1053" y="930"/>
                      </a:lnTo>
                      <a:lnTo>
                        <a:pt x="1052" y="930"/>
                      </a:lnTo>
                      <a:close/>
                      <a:moveTo>
                        <a:pt x="1268" y="953"/>
                      </a:moveTo>
                      <a:lnTo>
                        <a:pt x="1270" y="953"/>
                      </a:lnTo>
                      <a:lnTo>
                        <a:pt x="1270" y="954"/>
                      </a:lnTo>
                      <a:lnTo>
                        <a:pt x="1268" y="954"/>
                      </a:lnTo>
                      <a:lnTo>
                        <a:pt x="1268" y="953"/>
                      </a:lnTo>
                      <a:close/>
                      <a:moveTo>
                        <a:pt x="1362" y="1012"/>
                      </a:moveTo>
                      <a:lnTo>
                        <a:pt x="1362" y="1013"/>
                      </a:lnTo>
                      <a:lnTo>
                        <a:pt x="1362" y="1012"/>
                      </a:lnTo>
                      <a:close/>
                      <a:moveTo>
                        <a:pt x="1306" y="1118"/>
                      </a:moveTo>
                      <a:lnTo>
                        <a:pt x="1306" y="1119"/>
                      </a:lnTo>
                      <a:lnTo>
                        <a:pt x="1306" y="1118"/>
                      </a:lnTo>
                      <a:close/>
                      <a:moveTo>
                        <a:pt x="1100" y="965"/>
                      </a:moveTo>
                      <a:lnTo>
                        <a:pt x="1100" y="966"/>
                      </a:lnTo>
                      <a:lnTo>
                        <a:pt x="1100" y="965"/>
                      </a:lnTo>
                      <a:close/>
                      <a:moveTo>
                        <a:pt x="1259" y="944"/>
                      </a:moveTo>
                      <a:lnTo>
                        <a:pt x="1260" y="944"/>
                      </a:lnTo>
                      <a:lnTo>
                        <a:pt x="1260" y="945"/>
                      </a:lnTo>
                      <a:lnTo>
                        <a:pt x="1259" y="945"/>
                      </a:lnTo>
                      <a:lnTo>
                        <a:pt x="1259" y="944"/>
                      </a:lnTo>
                      <a:close/>
                      <a:moveTo>
                        <a:pt x="1367" y="1129"/>
                      </a:moveTo>
                      <a:lnTo>
                        <a:pt x="1367" y="1130"/>
                      </a:lnTo>
                      <a:lnTo>
                        <a:pt x="1367" y="1129"/>
                      </a:lnTo>
                      <a:close/>
                      <a:moveTo>
                        <a:pt x="1368" y="1013"/>
                      </a:moveTo>
                      <a:lnTo>
                        <a:pt x="1369" y="1013"/>
                      </a:lnTo>
                      <a:lnTo>
                        <a:pt x="1369" y="1014"/>
                      </a:lnTo>
                      <a:lnTo>
                        <a:pt x="1368" y="1014"/>
                      </a:lnTo>
                      <a:lnTo>
                        <a:pt x="1368" y="1013"/>
                      </a:lnTo>
                      <a:close/>
                      <a:moveTo>
                        <a:pt x="1274" y="949"/>
                      </a:moveTo>
                      <a:lnTo>
                        <a:pt x="1275" y="949"/>
                      </a:lnTo>
                      <a:lnTo>
                        <a:pt x="1275" y="950"/>
                      </a:lnTo>
                      <a:lnTo>
                        <a:pt x="1274" y="950"/>
                      </a:lnTo>
                      <a:lnTo>
                        <a:pt x="1274" y="949"/>
                      </a:lnTo>
                      <a:close/>
                      <a:moveTo>
                        <a:pt x="1189" y="1045"/>
                      </a:moveTo>
                      <a:lnTo>
                        <a:pt x="1189" y="1046"/>
                      </a:lnTo>
                      <a:lnTo>
                        <a:pt x="1189" y="1045"/>
                      </a:lnTo>
                      <a:close/>
                      <a:moveTo>
                        <a:pt x="1059" y="983"/>
                      </a:moveTo>
                      <a:lnTo>
                        <a:pt x="1059" y="984"/>
                      </a:lnTo>
                      <a:lnTo>
                        <a:pt x="1059" y="983"/>
                      </a:lnTo>
                      <a:close/>
                      <a:moveTo>
                        <a:pt x="1272" y="956"/>
                      </a:moveTo>
                      <a:lnTo>
                        <a:pt x="1272" y="957"/>
                      </a:lnTo>
                      <a:lnTo>
                        <a:pt x="1272" y="956"/>
                      </a:lnTo>
                      <a:close/>
                      <a:moveTo>
                        <a:pt x="1408" y="1132"/>
                      </a:moveTo>
                      <a:lnTo>
                        <a:pt x="1409" y="1132"/>
                      </a:lnTo>
                      <a:lnTo>
                        <a:pt x="1409" y="1133"/>
                      </a:lnTo>
                      <a:lnTo>
                        <a:pt x="1408" y="1133"/>
                      </a:lnTo>
                      <a:lnTo>
                        <a:pt x="1408" y="1132"/>
                      </a:lnTo>
                      <a:close/>
                      <a:moveTo>
                        <a:pt x="1280" y="1231"/>
                      </a:moveTo>
                      <a:lnTo>
                        <a:pt x="1280" y="1232"/>
                      </a:lnTo>
                      <a:lnTo>
                        <a:pt x="1280" y="1231"/>
                      </a:lnTo>
                      <a:close/>
                      <a:moveTo>
                        <a:pt x="1350" y="1125"/>
                      </a:moveTo>
                      <a:lnTo>
                        <a:pt x="1350" y="1127"/>
                      </a:lnTo>
                      <a:lnTo>
                        <a:pt x="1350" y="1125"/>
                      </a:lnTo>
                      <a:close/>
                      <a:moveTo>
                        <a:pt x="1104" y="977"/>
                      </a:moveTo>
                      <a:lnTo>
                        <a:pt x="1105" y="977"/>
                      </a:lnTo>
                      <a:lnTo>
                        <a:pt x="1104" y="977"/>
                      </a:lnTo>
                      <a:close/>
                      <a:moveTo>
                        <a:pt x="1085" y="980"/>
                      </a:moveTo>
                      <a:lnTo>
                        <a:pt x="1086" y="980"/>
                      </a:lnTo>
                      <a:lnTo>
                        <a:pt x="1086" y="981"/>
                      </a:lnTo>
                      <a:lnTo>
                        <a:pt x="1085" y="981"/>
                      </a:lnTo>
                      <a:lnTo>
                        <a:pt x="1085" y="980"/>
                      </a:lnTo>
                      <a:close/>
                      <a:moveTo>
                        <a:pt x="1354" y="1005"/>
                      </a:moveTo>
                      <a:lnTo>
                        <a:pt x="1354" y="1006"/>
                      </a:lnTo>
                      <a:lnTo>
                        <a:pt x="1354" y="1005"/>
                      </a:lnTo>
                      <a:close/>
                      <a:moveTo>
                        <a:pt x="1298" y="949"/>
                      </a:moveTo>
                      <a:lnTo>
                        <a:pt x="1299" y="949"/>
                      </a:lnTo>
                      <a:lnTo>
                        <a:pt x="1298" y="949"/>
                      </a:lnTo>
                      <a:close/>
                      <a:moveTo>
                        <a:pt x="1084" y="986"/>
                      </a:moveTo>
                      <a:lnTo>
                        <a:pt x="1085" y="986"/>
                      </a:lnTo>
                      <a:lnTo>
                        <a:pt x="1084" y="986"/>
                      </a:lnTo>
                      <a:close/>
                      <a:moveTo>
                        <a:pt x="1083" y="982"/>
                      </a:moveTo>
                      <a:lnTo>
                        <a:pt x="1084" y="982"/>
                      </a:lnTo>
                      <a:lnTo>
                        <a:pt x="1083" y="982"/>
                      </a:lnTo>
                      <a:close/>
                      <a:moveTo>
                        <a:pt x="1116" y="851"/>
                      </a:moveTo>
                      <a:lnTo>
                        <a:pt x="1116" y="852"/>
                      </a:lnTo>
                      <a:lnTo>
                        <a:pt x="1116" y="851"/>
                      </a:lnTo>
                      <a:close/>
                      <a:moveTo>
                        <a:pt x="1188" y="1045"/>
                      </a:moveTo>
                      <a:lnTo>
                        <a:pt x="1189" y="1045"/>
                      </a:lnTo>
                      <a:lnTo>
                        <a:pt x="1188" y="1045"/>
                      </a:lnTo>
                      <a:close/>
                      <a:moveTo>
                        <a:pt x="1432" y="1144"/>
                      </a:moveTo>
                      <a:lnTo>
                        <a:pt x="1433" y="1144"/>
                      </a:lnTo>
                      <a:lnTo>
                        <a:pt x="1432" y="1144"/>
                      </a:lnTo>
                      <a:close/>
                      <a:moveTo>
                        <a:pt x="1303" y="1225"/>
                      </a:moveTo>
                      <a:lnTo>
                        <a:pt x="1303" y="1226"/>
                      </a:lnTo>
                      <a:lnTo>
                        <a:pt x="1303" y="1225"/>
                      </a:lnTo>
                      <a:close/>
                      <a:moveTo>
                        <a:pt x="1370" y="1142"/>
                      </a:moveTo>
                      <a:lnTo>
                        <a:pt x="1371" y="1142"/>
                      </a:lnTo>
                      <a:lnTo>
                        <a:pt x="1370" y="1142"/>
                      </a:lnTo>
                      <a:close/>
                      <a:moveTo>
                        <a:pt x="1271" y="952"/>
                      </a:moveTo>
                      <a:lnTo>
                        <a:pt x="1272" y="952"/>
                      </a:lnTo>
                      <a:lnTo>
                        <a:pt x="1271" y="952"/>
                      </a:lnTo>
                      <a:close/>
                      <a:moveTo>
                        <a:pt x="1365" y="1132"/>
                      </a:moveTo>
                      <a:lnTo>
                        <a:pt x="1365" y="1133"/>
                      </a:lnTo>
                      <a:lnTo>
                        <a:pt x="1365" y="1132"/>
                      </a:lnTo>
                      <a:close/>
                      <a:moveTo>
                        <a:pt x="1277" y="964"/>
                      </a:moveTo>
                      <a:lnTo>
                        <a:pt x="1278" y="964"/>
                      </a:lnTo>
                      <a:lnTo>
                        <a:pt x="1278" y="965"/>
                      </a:lnTo>
                      <a:lnTo>
                        <a:pt x="1277" y="965"/>
                      </a:lnTo>
                      <a:lnTo>
                        <a:pt x="1277" y="964"/>
                      </a:lnTo>
                      <a:close/>
                      <a:moveTo>
                        <a:pt x="1278" y="956"/>
                      </a:moveTo>
                      <a:lnTo>
                        <a:pt x="1279" y="956"/>
                      </a:lnTo>
                      <a:lnTo>
                        <a:pt x="1279" y="957"/>
                      </a:lnTo>
                      <a:lnTo>
                        <a:pt x="1278" y="957"/>
                      </a:lnTo>
                      <a:lnTo>
                        <a:pt x="1278" y="956"/>
                      </a:lnTo>
                      <a:close/>
                      <a:moveTo>
                        <a:pt x="1329" y="1189"/>
                      </a:moveTo>
                      <a:lnTo>
                        <a:pt x="1330" y="1189"/>
                      </a:lnTo>
                      <a:lnTo>
                        <a:pt x="1329" y="1189"/>
                      </a:lnTo>
                      <a:close/>
                      <a:moveTo>
                        <a:pt x="1369" y="1142"/>
                      </a:moveTo>
                      <a:lnTo>
                        <a:pt x="1370" y="1142"/>
                      </a:lnTo>
                      <a:lnTo>
                        <a:pt x="1370" y="1143"/>
                      </a:lnTo>
                      <a:lnTo>
                        <a:pt x="1369" y="1143"/>
                      </a:lnTo>
                      <a:lnTo>
                        <a:pt x="1369" y="1142"/>
                      </a:lnTo>
                      <a:close/>
                      <a:moveTo>
                        <a:pt x="1061" y="953"/>
                      </a:moveTo>
                      <a:lnTo>
                        <a:pt x="1063" y="953"/>
                      </a:lnTo>
                      <a:lnTo>
                        <a:pt x="1061" y="953"/>
                      </a:lnTo>
                      <a:close/>
                      <a:moveTo>
                        <a:pt x="1061" y="983"/>
                      </a:moveTo>
                      <a:lnTo>
                        <a:pt x="1063" y="983"/>
                      </a:lnTo>
                      <a:lnTo>
                        <a:pt x="1061" y="983"/>
                      </a:lnTo>
                      <a:close/>
                      <a:moveTo>
                        <a:pt x="1071" y="971"/>
                      </a:moveTo>
                      <a:lnTo>
                        <a:pt x="1071" y="973"/>
                      </a:lnTo>
                      <a:lnTo>
                        <a:pt x="1071" y="971"/>
                      </a:lnTo>
                      <a:close/>
                      <a:moveTo>
                        <a:pt x="1145" y="987"/>
                      </a:moveTo>
                      <a:lnTo>
                        <a:pt x="1145" y="988"/>
                      </a:lnTo>
                      <a:lnTo>
                        <a:pt x="1145" y="987"/>
                      </a:lnTo>
                      <a:close/>
                      <a:moveTo>
                        <a:pt x="1358" y="1144"/>
                      </a:moveTo>
                      <a:lnTo>
                        <a:pt x="1358" y="1145"/>
                      </a:lnTo>
                      <a:lnTo>
                        <a:pt x="1358" y="1144"/>
                      </a:lnTo>
                      <a:close/>
                      <a:moveTo>
                        <a:pt x="1421" y="1128"/>
                      </a:moveTo>
                      <a:lnTo>
                        <a:pt x="1421" y="1129"/>
                      </a:lnTo>
                      <a:lnTo>
                        <a:pt x="1421" y="1128"/>
                      </a:lnTo>
                      <a:close/>
                      <a:moveTo>
                        <a:pt x="1273" y="945"/>
                      </a:moveTo>
                      <a:lnTo>
                        <a:pt x="1274" y="945"/>
                      </a:lnTo>
                      <a:lnTo>
                        <a:pt x="1273" y="945"/>
                      </a:lnTo>
                      <a:close/>
                      <a:moveTo>
                        <a:pt x="1407" y="1135"/>
                      </a:moveTo>
                      <a:lnTo>
                        <a:pt x="1408" y="1135"/>
                      </a:lnTo>
                      <a:lnTo>
                        <a:pt x="1407" y="1135"/>
                      </a:lnTo>
                      <a:close/>
                      <a:moveTo>
                        <a:pt x="1091" y="983"/>
                      </a:moveTo>
                      <a:lnTo>
                        <a:pt x="1091" y="984"/>
                      </a:lnTo>
                      <a:lnTo>
                        <a:pt x="1091" y="983"/>
                      </a:lnTo>
                      <a:close/>
                      <a:moveTo>
                        <a:pt x="1313" y="1106"/>
                      </a:moveTo>
                      <a:lnTo>
                        <a:pt x="1314" y="1106"/>
                      </a:lnTo>
                      <a:lnTo>
                        <a:pt x="1313" y="1106"/>
                      </a:lnTo>
                      <a:close/>
                      <a:moveTo>
                        <a:pt x="1069" y="991"/>
                      </a:moveTo>
                      <a:lnTo>
                        <a:pt x="1070" y="991"/>
                      </a:lnTo>
                      <a:lnTo>
                        <a:pt x="1069" y="991"/>
                      </a:lnTo>
                      <a:close/>
                      <a:moveTo>
                        <a:pt x="1356" y="1147"/>
                      </a:moveTo>
                      <a:lnTo>
                        <a:pt x="1357" y="1147"/>
                      </a:lnTo>
                      <a:lnTo>
                        <a:pt x="1356" y="1147"/>
                      </a:lnTo>
                      <a:close/>
                      <a:moveTo>
                        <a:pt x="1417" y="1000"/>
                      </a:moveTo>
                      <a:lnTo>
                        <a:pt x="1418" y="1000"/>
                      </a:lnTo>
                      <a:lnTo>
                        <a:pt x="1417" y="1000"/>
                      </a:lnTo>
                      <a:close/>
                      <a:moveTo>
                        <a:pt x="1407" y="1115"/>
                      </a:moveTo>
                      <a:lnTo>
                        <a:pt x="1408" y="1115"/>
                      </a:lnTo>
                      <a:lnTo>
                        <a:pt x="1408" y="1116"/>
                      </a:lnTo>
                      <a:lnTo>
                        <a:pt x="1407" y="1116"/>
                      </a:lnTo>
                      <a:lnTo>
                        <a:pt x="1407" y="1115"/>
                      </a:lnTo>
                      <a:close/>
                      <a:moveTo>
                        <a:pt x="1174" y="1037"/>
                      </a:moveTo>
                      <a:lnTo>
                        <a:pt x="1175" y="1037"/>
                      </a:lnTo>
                      <a:lnTo>
                        <a:pt x="1174" y="1037"/>
                      </a:lnTo>
                      <a:close/>
                      <a:moveTo>
                        <a:pt x="1298" y="949"/>
                      </a:moveTo>
                      <a:lnTo>
                        <a:pt x="1299" y="949"/>
                      </a:lnTo>
                      <a:lnTo>
                        <a:pt x="1298" y="949"/>
                      </a:lnTo>
                      <a:close/>
                      <a:moveTo>
                        <a:pt x="1303" y="1225"/>
                      </a:moveTo>
                      <a:lnTo>
                        <a:pt x="1304" y="1225"/>
                      </a:lnTo>
                      <a:lnTo>
                        <a:pt x="1303" y="1225"/>
                      </a:lnTo>
                      <a:close/>
                      <a:moveTo>
                        <a:pt x="1303" y="1225"/>
                      </a:moveTo>
                      <a:lnTo>
                        <a:pt x="1304" y="1225"/>
                      </a:lnTo>
                      <a:lnTo>
                        <a:pt x="1303" y="1225"/>
                      </a:lnTo>
                      <a:close/>
                      <a:moveTo>
                        <a:pt x="1280" y="966"/>
                      </a:moveTo>
                      <a:lnTo>
                        <a:pt x="1282" y="966"/>
                      </a:lnTo>
                      <a:lnTo>
                        <a:pt x="1282" y="967"/>
                      </a:lnTo>
                      <a:lnTo>
                        <a:pt x="1280" y="967"/>
                      </a:lnTo>
                      <a:lnTo>
                        <a:pt x="1280" y="966"/>
                      </a:lnTo>
                      <a:close/>
                      <a:moveTo>
                        <a:pt x="1105" y="977"/>
                      </a:moveTo>
                      <a:lnTo>
                        <a:pt x="1105" y="978"/>
                      </a:lnTo>
                      <a:lnTo>
                        <a:pt x="1105" y="977"/>
                      </a:lnTo>
                      <a:close/>
                      <a:moveTo>
                        <a:pt x="1433" y="1129"/>
                      </a:moveTo>
                      <a:lnTo>
                        <a:pt x="1434" y="1129"/>
                      </a:lnTo>
                      <a:lnTo>
                        <a:pt x="1434" y="1130"/>
                      </a:lnTo>
                      <a:lnTo>
                        <a:pt x="1433" y="1130"/>
                      </a:lnTo>
                      <a:lnTo>
                        <a:pt x="1433" y="1129"/>
                      </a:lnTo>
                      <a:close/>
                      <a:moveTo>
                        <a:pt x="1276" y="1127"/>
                      </a:moveTo>
                      <a:lnTo>
                        <a:pt x="1276" y="1128"/>
                      </a:lnTo>
                      <a:lnTo>
                        <a:pt x="1276" y="1127"/>
                      </a:lnTo>
                      <a:close/>
                      <a:moveTo>
                        <a:pt x="1187" y="1045"/>
                      </a:moveTo>
                      <a:lnTo>
                        <a:pt x="1188" y="1045"/>
                      </a:lnTo>
                      <a:lnTo>
                        <a:pt x="1187" y="1045"/>
                      </a:lnTo>
                      <a:close/>
                      <a:moveTo>
                        <a:pt x="1312" y="1109"/>
                      </a:moveTo>
                      <a:lnTo>
                        <a:pt x="1313" y="1109"/>
                      </a:lnTo>
                      <a:lnTo>
                        <a:pt x="1312" y="1109"/>
                      </a:lnTo>
                      <a:close/>
                      <a:moveTo>
                        <a:pt x="1319" y="1105"/>
                      </a:moveTo>
                      <a:lnTo>
                        <a:pt x="1319" y="1106"/>
                      </a:lnTo>
                      <a:lnTo>
                        <a:pt x="1319" y="1105"/>
                      </a:lnTo>
                      <a:close/>
                      <a:moveTo>
                        <a:pt x="1018" y="964"/>
                      </a:moveTo>
                      <a:lnTo>
                        <a:pt x="1019" y="964"/>
                      </a:lnTo>
                      <a:lnTo>
                        <a:pt x="1018" y="964"/>
                      </a:lnTo>
                      <a:close/>
                      <a:moveTo>
                        <a:pt x="1280" y="963"/>
                      </a:moveTo>
                      <a:lnTo>
                        <a:pt x="1282" y="963"/>
                      </a:lnTo>
                      <a:lnTo>
                        <a:pt x="1280" y="963"/>
                      </a:lnTo>
                      <a:close/>
                      <a:moveTo>
                        <a:pt x="1315" y="1175"/>
                      </a:moveTo>
                      <a:lnTo>
                        <a:pt x="1315" y="1176"/>
                      </a:lnTo>
                      <a:lnTo>
                        <a:pt x="1315" y="1175"/>
                      </a:lnTo>
                      <a:close/>
                      <a:moveTo>
                        <a:pt x="1058" y="928"/>
                      </a:moveTo>
                      <a:lnTo>
                        <a:pt x="1058" y="929"/>
                      </a:lnTo>
                      <a:lnTo>
                        <a:pt x="1058" y="928"/>
                      </a:lnTo>
                      <a:close/>
                      <a:moveTo>
                        <a:pt x="1409" y="1181"/>
                      </a:moveTo>
                      <a:lnTo>
                        <a:pt x="1409" y="1182"/>
                      </a:lnTo>
                      <a:lnTo>
                        <a:pt x="1409" y="1181"/>
                      </a:lnTo>
                      <a:close/>
                      <a:moveTo>
                        <a:pt x="1312" y="1111"/>
                      </a:moveTo>
                      <a:lnTo>
                        <a:pt x="1312" y="1112"/>
                      </a:lnTo>
                      <a:lnTo>
                        <a:pt x="1312" y="1111"/>
                      </a:lnTo>
                      <a:close/>
                      <a:moveTo>
                        <a:pt x="1311" y="1116"/>
                      </a:moveTo>
                      <a:lnTo>
                        <a:pt x="1312" y="1116"/>
                      </a:lnTo>
                      <a:lnTo>
                        <a:pt x="1311" y="1116"/>
                      </a:lnTo>
                      <a:close/>
                      <a:moveTo>
                        <a:pt x="1258" y="943"/>
                      </a:moveTo>
                      <a:lnTo>
                        <a:pt x="1258" y="944"/>
                      </a:lnTo>
                      <a:lnTo>
                        <a:pt x="1258" y="943"/>
                      </a:lnTo>
                      <a:close/>
                      <a:moveTo>
                        <a:pt x="1316" y="1103"/>
                      </a:moveTo>
                      <a:lnTo>
                        <a:pt x="1317" y="1103"/>
                      </a:lnTo>
                      <a:lnTo>
                        <a:pt x="1316" y="1103"/>
                      </a:lnTo>
                      <a:close/>
                      <a:moveTo>
                        <a:pt x="1260" y="944"/>
                      </a:moveTo>
                      <a:lnTo>
                        <a:pt x="1260" y="945"/>
                      </a:lnTo>
                      <a:lnTo>
                        <a:pt x="1260" y="944"/>
                      </a:lnTo>
                      <a:close/>
                      <a:moveTo>
                        <a:pt x="1063" y="983"/>
                      </a:moveTo>
                      <a:lnTo>
                        <a:pt x="1063" y="984"/>
                      </a:lnTo>
                      <a:lnTo>
                        <a:pt x="1063" y="983"/>
                      </a:lnTo>
                      <a:close/>
                      <a:moveTo>
                        <a:pt x="1090" y="983"/>
                      </a:moveTo>
                      <a:lnTo>
                        <a:pt x="1091" y="983"/>
                      </a:lnTo>
                      <a:lnTo>
                        <a:pt x="1091" y="984"/>
                      </a:lnTo>
                      <a:lnTo>
                        <a:pt x="1090" y="984"/>
                      </a:lnTo>
                      <a:lnTo>
                        <a:pt x="1090" y="983"/>
                      </a:lnTo>
                      <a:close/>
                      <a:moveTo>
                        <a:pt x="1350" y="1088"/>
                      </a:moveTo>
                      <a:lnTo>
                        <a:pt x="1350" y="1089"/>
                      </a:lnTo>
                      <a:lnTo>
                        <a:pt x="1350" y="1088"/>
                      </a:lnTo>
                      <a:close/>
                      <a:moveTo>
                        <a:pt x="1046" y="982"/>
                      </a:moveTo>
                      <a:lnTo>
                        <a:pt x="1046" y="983"/>
                      </a:lnTo>
                      <a:lnTo>
                        <a:pt x="1046" y="982"/>
                      </a:lnTo>
                      <a:close/>
                      <a:moveTo>
                        <a:pt x="1304" y="1129"/>
                      </a:moveTo>
                      <a:lnTo>
                        <a:pt x="1305" y="1129"/>
                      </a:lnTo>
                      <a:lnTo>
                        <a:pt x="1304" y="1129"/>
                      </a:lnTo>
                      <a:close/>
                      <a:moveTo>
                        <a:pt x="1071" y="983"/>
                      </a:moveTo>
                      <a:lnTo>
                        <a:pt x="1072" y="983"/>
                      </a:lnTo>
                      <a:lnTo>
                        <a:pt x="1071" y="983"/>
                      </a:lnTo>
                      <a:close/>
                      <a:moveTo>
                        <a:pt x="1052" y="935"/>
                      </a:moveTo>
                      <a:lnTo>
                        <a:pt x="1052" y="936"/>
                      </a:lnTo>
                      <a:lnTo>
                        <a:pt x="1052" y="935"/>
                      </a:lnTo>
                      <a:close/>
                      <a:moveTo>
                        <a:pt x="1181" y="927"/>
                      </a:moveTo>
                      <a:lnTo>
                        <a:pt x="1182" y="927"/>
                      </a:lnTo>
                      <a:lnTo>
                        <a:pt x="1181" y="927"/>
                      </a:lnTo>
                      <a:close/>
                      <a:moveTo>
                        <a:pt x="1019" y="968"/>
                      </a:moveTo>
                      <a:lnTo>
                        <a:pt x="1020" y="968"/>
                      </a:lnTo>
                      <a:lnTo>
                        <a:pt x="1019" y="968"/>
                      </a:lnTo>
                      <a:close/>
                      <a:moveTo>
                        <a:pt x="1341" y="1125"/>
                      </a:moveTo>
                      <a:lnTo>
                        <a:pt x="1341" y="1127"/>
                      </a:lnTo>
                      <a:lnTo>
                        <a:pt x="1341" y="1125"/>
                      </a:lnTo>
                      <a:close/>
                      <a:moveTo>
                        <a:pt x="1051" y="935"/>
                      </a:moveTo>
                      <a:lnTo>
                        <a:pt x="1052" y="935"/>
                      </a:lnTo>
                      <a:lnTo>
                        <a:pt x="1051" y="935"/>
                      </a:lnTo>
                      <a:close/>
                      <a:moveTo>
                        <a:pt x="1313" y="1173"/>
                      </a:moveTo>
                      <a:lnTo>
                        <a:pt x="1313" y="1174"/>
                      </a:lnTo>
                      <a:lnTo>
                        <a:pt x="1313" y="1173"/>
                      </a:lnTo>
                      <a:close/>
                      <a:moveTo>
                        <a:pt x="1087" y="980"/>
                      </a:moveTo>
                      <a:lnTo>
                        <a:pt x="1087" y="981"/>
                      </a:lnTo>
                      <a:lnTo>
                        <a:pt x="1087" y="980"/>
                      </a:lnTo>
                      <a:close/>
                      <a:moveTo>
                        <a:pt x="1310" y="1111"/>
                      </a:moveTo>
                      <a:lnTo>
                        <a:pt x="1311" y="1111"/>
                      </a:lnTo>
                      <a:lnTo>
                        <a:pt x="1310" y="1111"/>
                      </a:lnTo>
                      <a:close/>
                      <a:moveTo>
                        <a:pt x="1019" y="968"/>
                      </a:moveTo>
                      <a:lnTo>
                        <a:pt x="1020" y="968"/>
                      </a:lnTo>
                      <a:lnTo>
                        <a:pt x="1020" y="969"/>
                      </a:lnTo>
                      <a:lnTo>
                        <a:pt x="1019" y="969"/>
                      </a:lnTo>
                      <a:lnTo>
                        <a:pt x="1019" y="968"/>
                      </a:lnTo>
                      <a:close/>
                      <a:moveTo>
                        <a:pt x="1042" y="935"/>
                      </a:moveTo>
                      <a:lnTo>
                        <a:pt x="1042" y="936"/>
                      </a:lnTo>
                      <a:lnTo>
                        <a:pt x="1042" y="935"/>
                      </a:lnTo>
                      <a:close/>
                      <a:moveTo>
                        <a:pt x="1042" y="992"/>
                      </a:moveTo>
                      <a:lnTo>
                        <a:pt x="1043" y="992"/>
                      </a:lnTo>
                      <a:lnTo>
                        <a:pt x="1043" y="993"/>
                      </a:lnTo>
                      <a:lnTo>
                        <a:pt x="1042" y="993"/>
                      </a:lnTo>
                      <a:lnTo>
                        <a:pt x="1042" y="992"/>
                      </a:lnTo>
                      <a:close/>
                      <a:moveTo>
                        <a:pt x="1314" y="1175"/>
                      </a:moveTo>
                      <a:lnTo>
                        <a:pt x="1315" y="1175"/>
                      </a:lnTo>
                      <a:lnTo>
                        <a:pt x="1315" y="1176"/>
                      </a:lnTo>
                      <a:lnTo>
                        <a:pt x="1314" y="1176"/>
                      </a:lnTo>
                      <a:lnTo>
                        <a:pt x="1314" y="1175"/>
                      </a:lnTo>
                      <a:close/>
                      <a:moveTo>
                        <a:pt x="1311" y="948"/>
                      </a:moveTo>
                      <a:lnTo>
                        <a:pt x="1312" y="948"/>
                      </a:lnTo>
                      <a:lnTo>
                        <a:pt x="1311" y="948"/>
                      </a:lnTo>
                      <a:close/>
                      <a:moveTo>
                        <a:pt x="1099" y="964"/>
                      </a:moveTo>
                      <a:lnTo>
                        <a:pt x="1100" y="964"/>
                      </a:lnTo>
                      <a:lnTo>
                        <a:pt x="1099" y="964"/>
                      </a:lnTo>
                      <a:close/>
                      <a:moveTo>
                        <a:pt x="1046" y="929"/>
                      </a:moveTo>
                      <a:lnTo>
                        <a:pt x="1047" y="929"/>
                      </a:lnTo>
                      <a:lnTo>
                        <a:pt x="1046" y="929"/>
                      </a:lnTo>
                      <a:close/>
                      <a:moveTo>
                        <a:pt x="1061" y="987"/>
                      </a:moveTo>
                      <a:lnTo>
                        <a:pt x="1063" y="987"/>
                      </a:lnTo>
                      <a:lnTo>
                        <a:pt x="1061" y="987"/>
                      </a:lnTo>
                      <a:close/>
                      <a:moveTo>
                        <a:pt x="1350" y="1120"/>
                      </a:moveTo>
                      <a:lnTo>
                        <a:pt x="1350" y="1121"/>
                      </a:lnTo>
                      <a:lnTo>
                        <a:pt x="1350" y="1120"/>
                      </a:lnTo>
                      <a:close/>
                      <a:moveTo>
                        <a:pt x="1195" y="915"/>
                      </a:moveTo>
                      <a:lnTo>
                        <a:pt x="1195" y="916"/>
                      </a:lnTo>
                      <a:lnTo>
                        <a:pt x="1195" y="915"/>
                      </a:lnTo>
                      <a:close/>
                      <a:moveTo>
                        <a:pt x="1045" y="936"/>
                      </a:moveTo>
                      <a:lnTo>
                        <a:pt x="1046" y="936"/>
                      </a:lnTo>
                      <a:lnTo>
                        <a:pt x="1045" y="936"/>
                      </a:lnTo>
                      <a:close/>
                      <a:moveTo>
                        <a:pt x="1069" y="964"/>
                      </a:moveTo>
                      <a:lnTo>
                        <a:pt x="1070" y="964"/>
                      </a:lnTo>
                      <a:lnTo>
                        <a:pt x="1069" y="964"/>
                      </a:lnTo>
                      <a:close/>
                      <a:moveTo>
                        <a:pt x="1045" y="992"/>
                      </a:moveTo>
                      <a:lnTo>
                        <a:pt x="1046" y="992"/>
                      </a:lnTo>
                      <a:lnTo>
                        <a:pt x="1045" y="992"/>
                      </a:lnTo>
                      <a:close/>
                      <a:moveTo>
                        <a:pt x="1045" y="974"/>
                      </a:moveTo>
                      <a:lnTo>
                        <a:pt x="1046" y="974"/>
                      </a:lnTo>
                      <a:lnTo>
                        <a:pt x="1046" y="975"/>
                      </a:lnTo>
                      <a:lnTo>
                        <a:pt x="1045" y="975"/>
                      </a:lnTo>
                      <a:lnTo>
                        <a:pt x="1045" y="974"/>
                      </a:lnTo>
                      <a:close/>
                      <a:moveTo>
                        <a:pt x="1063" y="954"/>
                      </a:moveTo>
                      <a:lnTo>
                        <a:pt x="1064" y="954"/>
                      </a:lnTo>
                      <a:lnTo>
                        <a:pt x="1064" y="955"/>
                      </a:lnTo>
                      <a:lnTo>
                        <a:pt x="1063" y="955"/>
                      </a:lnTo>
                      <a:lnTo>
                        <a:pt x="1063" y="954"/>
                      </a:lnTo>
                      <a:close/>
                      <a:moveTo>
                        <a:pt x="1032" y="924"/>
                      </a:moveTo>
                      <a:lnTo>
                        <a:pt x="1032" y="925"/>
                      </a:lnTo>
                      <a:lnTo>
                        <a:pt x="1032" y="924"/>
                      </a:lnTo>
                      <a:close/>
                      <a:moveTo>
                        <a:pt x="991" y="991"/>
                      </a:moveTo>
                      <a:lnTo>
                        <a:pt x="992" y="991"/>
                      </a:lnTo>
                      <a:lnTo>
                        <a:pt x="991" y="991"/>
                      </a:lnTo>
                      <a:close/>
                      <a:moveTo>
                        <a:pt x="1314" y="1176"/>
                      </a:moveTo>
                      <a:lnTo>
                        <a:pt x="1315" y="1176"/>
                      </a:lnTo>
                      <a:lnTo>
                        <a:pt x="1315" y="1178"/>
                      </a:lnTo>
                      <a:lnTo>
                        <a:pt x="1314" y="1178"/>
                      </a:lnTo>
                      <a:lnTo>
                        <a:pt x="1314" y="1176"/>
                      </a:lnTo>
                      <a:close/>
                      <a:moveTo>
                        <a:pt x="1302" y="1111"/>
                      </a:moveTo>
                      <a:lnTo>
                        <a:pt x="1303" y="1111"/>
                      </a:lnTo>
                      <a:lnTo>
                        <a:pt x="1302" y="1111"/>
                      </a:lnTo>
                      <a:close/>
                      <a:moveTo>
                        <a:pt x="1312" y="1174"/>
                      </a:moveTo>
                      <a:lnTo>
                        <a:pt x="1313" y="1174"/>
                      </a:lnTo>
                      <a:lnTo>
                        <a:pt x="1312" y="1174"/>
                      </a:lnTo>
                      <a:close/>
                      <a:moveTo>
                        <a:pt x="1052" y="990"/>
                      </a:moveTo>
                      <a:lnTo>
                        <a:pt x="1053" y="990"/>
                      </a:lnTo>
                      <a:lnTo>
                        <a:pt x="1052" y="990"/>
                      </a:lnTo>
                      <a:close/>
                      <a:moveTo>
                        <a:pt x="1313" y="1173"/>
                      </a:moveTo>
                      <a:lnTo>
                        <a:pt x="1313" y="1174"/>
                      </a:lnTo>
                      <a:lnTo>
                        <a:pt x="1313" y="1173"/>
                      </a:lnTo>
                      <a:close/>
                      <a:moveTo>
                        <a:pt x="1065" y="969"/>
                      </a:moveTo>
                      <a:lnTo>
                        <a:pt x="1065" y="970"/>
                      </a:lnTo>
                      <a:lnTo>
                        <a:pt x="1065" y="969"/>
                      </a:lnTo>
                      <a:close/>
                      <a:moveTo>
                        <a:pt x="1136" y="982"/>
                      </a:moveTo>
                      <a:lnTo>
                        <a:pt x="1136" y="983"/>
                      </a:lnTo>
                      <a:lnTo>
                        <a:pt x="1136" y="982"/>
                      </a:lnTo>
                      <a:close/>
                    </a:path>
                  </a:pathLst>
                </a:custGeom>
                <a:grpFill/>
                <a:ln w="19050">
                  <a:solidFill>
                    <a:srgbClr val="FFC000"/>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sp>
            <p:nvSpPr>
              <p:cNvPr id="1910" name="Freeform 34">
                <a:extLst>
                  <a:ext uri="{FF2B5EF4-FFF2-40B4-BE49-F238E27FC236}">
                    <a16:creationId xmlns:a16="http://schemas.microsoft.com/office/drawing/2014/main" id="{E7352D9F-780B-DD84-C362-C9F2CEDB293D}"/>
                  </a:ext>
                </a:extLst>
              </p:cNvPr>
              <p:cNvSpPr>
                <a:spLocks/>
              </p:cNvSpPr>
              <p:nvPr/>
            </p:nvSpPr>
            <p:spPr bwMode="auto">
              <a:xfrm>
                <a:off x="949983" y="4446207"/>
                <a:ext cx="854075" cy="509588"/>
              </a:xfrm>
              <a:custGeom>
                <a:avLst/>
                <a:gdLst>
                  <a:gd name="T0" fmla="*/ 450 w 538"/>
                  <a:gd name="T1" fmla="*/ 97 h 321"/>
                  <a:gd name="T2" fmla="*/ 472 w 538"/>
                  <a:gd name="T3" fmla="*/ 162 h 321"/>
                  <a:gd name="T4" fmla="*/ 502 w 538"/>
                  <a:gd name="T5" fmla="*/ 237 h 321"/>
                  <a:gd name="T6" fmla="*/ 537 w 538"/>
                  <a:gd name="T7" fmla="*/ 247 h 321"/>
                  <a:gd name="T8" fmla="*/ 528 w 538"/>
                  <a:gd name="T9" fmla="*/ 255 h 321"/>
                  <a:gd name="T10" fmla="*/ 526 w 538"/>
                  <a:gd name="T11" fmla="*/ 263 h 321"/>
                  <a:gd name="T12" fmla="*/ 530 w 538"/>
                  <a:gd name="T13" fmla="*/ 272 h 321"/>
                  <a:gd name="T14" fmla="*/ 536 w 538"/>
                  <a:gd name="T15" fmla="*/ 279 h 321"/>
                  <a:gd name="T16" fmla="*/ 472 w 538"/>
                  <a:gd name="T17" fmla="*/ 289 h 321"/>
                  <a:gd name="T18" fmla="*/ 424 w 538"/>
                  <a:gd name="T19" fmla="*/ 321 h 321"/>
                  <a:gd name="T20" fmla="*/ 366 w 538"/>
                  <a:gd name="T21" fmla="*/ 311 h 321"/>
                  <a:gd name="T22" fmla="*/ 240 w 538"/>
                  <a:gd name="T23" fmla="*/ 311 h 321"/>
                  <a:gd name="T24" fmla="*/ 28 w 538"/>
                  <a:gd name="T25" fmla="*/ 309 h 321"/>
                  <a:gd name="T26" fmla="*/ 34 w 538"/>
                  <a:gd name="T27" fmla="*/ 307 h 321"/>
                  <a:gd name="T28" fmla="*/ 40 w 538"/>
                  <a:gd name="T29" fmla="*/ 302 h 321"/>
                  <a:gd name="T30" fmla="*/ 24 w 538"/>
                  <a:gd name="T31" fmla="*/ 291 h 321"/>
                  <a:gd name="T32" fmla="*/ 24 w 538"/>
                  <a:gd name="T33" fmla="*/ 288 h 321"/>
                  <a:gd name="T34" fmla="*/ 27 w 538"/>
                  <a:gd name="T35" fmla="*/ 279 h 321"/>
                  <a:gd name="T36" fmla="*/ 38 w 538"/>
                  <a:gd name="T37" fmla="*/ 268 h 321"/>
                  <a:gd name="T38" fmla="*/ 40 w 538"/>
                  <a:gd name="T39" fmla="*/ 261 h 321"/>
                  <a:gd name="T40" fmla="*/ 42 w 538"/>
                  <a:gd name="T41" fmla="*/ 250 h 321"/>
                  <a:gd name="T42" fmla="*/ 45 w 538"/>
                  <a:gd name="T43" fmla="*/ 246 h 321"/>
                  <a:gd name="T44" fmla="*/ 37 w 538"/>
                  <a:gd name="T45" fmla="*/ 242 h 321"/>
                  <a:gd name="T46" fmla="*/ 38 w 538"/>
                  <a:gd name="T47" fmla="*/ 234 h 321"/>
                  <a:gd name="T48" fmla="*/ 39 w 538"/>
                  <a:gd name="T49" fmla="*/ 224 h 321"/>
                  <a:gd name="T50" fmla="*/ 35 w 538"/>
                  <a:gd name="T51" fmla="*/ 219 h 321"/>
                  <a:gd name="T52" fmla="*/ 36 w 538"/>
                  <a:gd name="T53" fmla="*/ 212 h 321"/>
                  <a:gd name="T54" fmla="*/ 32 w 538"/>
                  <a:gd name="T55" fmla="*/ 211 h 321"/>
                  <a:gd name="T56" fmla="*/ 30 w 538"/>
                  <a:gd name="T57" fmla="*/ 203 h 321"/>
                  <a:gd name="T58" fmla="*/ 30 w 538"/>
                  <a:gd name="T59" fmla="*/ 198 h 321"/>
                  <a:gd name="T60" fmla="*/ 29 w 538"/>
                  <a:gd name="T61" fmla="*/ 191 h 321"/>
                  <a:gd name="T62" fmla="*/ 35 w 538"/>
                  <a:gd name="T63" fmla="*/ 186 h 321"/>
                  <a:gd name="T64" fmla="*/ 38 w 538"/>
                  <a:gd name="T65" fmla="*/ 182 h 321"/>
                  <a:gd name="T66" fmla="*/ 39 w 538"/>
                  <a:gd name="T67" fmla="*/ 177 h 321"/>
                  <a:gd name="T68" fmla="*/ 35 w 538"/>
                  <a:gd name="T69" fmla="*/ 172 h 321"/>
                  <a:gd name="T70" fmla="*/ 38 w 538"/>
                  <a:gd name="T71" fmla="*/ 163 h 321"/>
                  <a:gd name="T72" fmla="*/ 35 w 538"/>
                  <a:gd name="T73" fmla="*/ 159 h 321"/>
                  <a:gd name="T74" fmla="*/ 34 w 538"/>
                  <a:gd name="T75" fmla="*/ 154 h 321"/>
                  <a:gd name="T76" fmla="*/ 35 w 538"/>
                  <a:gd name="T77" fmla="*/ 147 h 321"/>
                  <a:gd name="T78" fmla="*/ 35 w 538"/>
                  <a:gd name="T79" fmla="*/ 140 h 321"/>
                  <a:gd name="T80" fmla="*/ 30 w 538"/>
                  <a:gd name="T81" fmla="*/ 139 h 321"/>
                  <a:gd name="T82" fmla="*/ 22 w 538"/>
                  <a:gd name="T83" fmla="*/ 136 h 321"/>
                  <a:gd name="T84" fmla="*/ 16 w 538"/>
                  <a:gd name="T85" fmla="*/ 132 h 321"/>
                  <a:gd name="T86" fmla="*/ 13 w 538"/>
                  <a:gd name="T87" fmla="*/ 127 h 321"/>
                  <a:gd name="T88" fmla="*/ 9 w 538"/>
                  <a:gd name="T89" fmla="*/ 120 h 321"/>
                  <a:gd name="T90" fmla="*/ 8 w 538"/>
                  <a:gd name="T91" fmla="*/ 114 h 321"/>
                  <a:gd name="T92" fmla="*/ 1 w 538"/>
                  <a:gd name="T93" fmla="*/ 111 h 321"/>
                  <a:gd name="T94" fmla="*/ 1 w 538"/>
                  <a:gd name="T95" fmla="*/ 104 h 321"/>
                  <a:gd name="T96" fmla="*/ 4 w 538"/>
                  <a:gd name="T97" fmla="*/ 100 h 321"/>
                  <a:gd name="T98" fmla="*/ 3 w 538"/>
                  <a:gd name="T99" fmla="*/ 92 h 321"/>
                  <a:gd name="T100" fmla="*/ 9 w 538"/>
                  <a:gd name="T101" fmla="*/ 92 h 321"/>
                  <a:gd name="T102" fmla="*/ 7 w 538"/>
                  <a:gd name="T103" fmla="*/ 88 h 321"/>
                  <a:gd name="T104" fmla="*/ 4 w 538"/>
                  <a:gd name="T105" fmla="*/ 75 h 321"/>
                  <a:gd name="T106" fmla="*/ 5 w 538"/>
                  <a:gd name="T107" fmla="*/ 71 h 321"/>
                  <a:gd name="T108" fmla="*/ 14 w 538"/>
                  <a:gd name="T109" fmla="*/ 65 h 321"/>
                  <a:gd name="T110" fmla="*/ 75 w 538"/>
                  <a:gd name="T111" fmla="*/ 62 h 321"/>
                  <a:gd name="T112" fmla="*/ 163 w 538"/>
                  <a:gd name="T113" fmla="*/ 62 h 321"/>
                  <a:gd name="T114" fmla="*/ 234 w 538"/>
                  <a:gd name="T115" fmla="*/ 20 h 321"/>
                  <a:gd name="T116" fmla="*/ 276 w 538"/>
                  <a:gd name="T117" fmla="*/ 6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321">
                    <a:moveTo>
                      <a:pt x="389" y="61"/>
                    </a:moveTo>
                    <a:lnTo>
                      <a:pt x="389" y="66"/>
                    </a:lnTo>
                    <a:lnTo>
                      <a:pt x="389" y="78"/>
                    </a:lnTo>
                    <a:lnTo>
                      <a:pt x="396" y="78"/>
                    </a:lnTo>
                    <a:lnTo>
                      <a:pt x="413" y="79"/>
                    </a:lnTo>
                    <a:lnTo>
                      <a:pt x="415" y="79"/>
                    </a:lnTo>
                    <a:lnTo>
                      <a:pt x="416" y="79"/>
                    </a:lnTo>
                    <a:lnTo>
                      <a:pt x="429" y="79"/>
                    </a:lnTo>
                    <a:lnTo>
                      <a:pt x="450" y="79"/>
                    </a:lnTo>
                    <a:lnTo>
                      <a:pt x="450" y="81"/>
                    </a:lnTo>
                    <a:lnTo>
                      <a:pt x="450" y="92"/>
                    </a:lnTo>
                    <a:lnTo>
                      <a:pt x="450" y="97"/>
                    </a:lnTo>
                    <a:lnTo>
                      <a:pt x="450" y="109"/>
                    </a:lnTo>
                    <a:lnTo>
                      <a:pt x="450" y="114"/>
                    </a:lnTo>
                    <a:lnTo>
                      <a:pt x="450" y="118"/>
                    </a:lnTo>
                    <a:lnTo>
                      <a:pt x="450" y="125"/>
                    </a:lnTo>
                    <a:lnTo>
                      <a:pt x="450" y="131"/>
                    </a:lnTo>
                    <a:lnTo>
                      <a:pt x="450" y="134"/>
                    </a:lnTo>
                    <a:lnTo>
                      <a:pt x="450" y="150"/>
                    </a:lnTo>
                    <a:lnTo>
                      <a:pt x="450" y="151"/>
                    </a:lnTo>
                    <a:lnTo>
                      <a:pt x="450" y="152"/>
                    </a:lnTo>
                    <a:lnTo>
                      <a:pt x="450" y="162"/>
                    </a:lnTo>
                    <a:lnTo>
                      <a:pt x="465" y="162"/>
                    </a:lnTo>
                    <a:lnTo>
                      <a:pt x="472" y="162"/>
                    </a:lnTo>
                    <a:lnTo>
                      <a:pt x="472" y="163"/>
                    </a:lnTo>
                    <a:lnTo>
                      <a:pt x="472" y="170"/>
                    </a:lnTo>
                    <a:lnTo>
                      <a:pt x="472" y="173"/>
                    </a:lnTo>
                    <a:lnTo>
                      <a:pt x="472" y="178"/>
                    </a:lnTo>
                    <a:lnTo>
                      <a:pt x="472" y="182"/>
                    </a:lnTo>
                    <a:lnTo>
                      <a:pt x="472" y="183"/>
                    </a:lnTo>
                    <a:lnTo>
                      <a:pt x="472" y="184"/>
                    </a:lnTo>
                    <a:lnTo>
                      <a:pt x="472" y="185"/>
                    </a:lnTo>
                    <a:lnTo>
                      <a:pt x="472" y="194"/>
                    </a:lnTo>
                    <a:lnTo>
                      <a:pt x="472" y="204"/>
                    </a:lnTo>
                    <a:lnTo>
                      <a:pt x="472" y="236"/>
                    </a:lnTo>
                    <a:lnTo>
                      <a:pt x="502" y="237"/>
                    </a:lnTo>
                    <a:lnTo>
                      <a:pt x="513" y="237"/>
                    </a:lnTo>
                    <a:lnTo>
                      <a:pt x="534" y="237"/>
                    </a:lnTo>
                    <a:lnTo>
                      <a:pt x="534" y="238"/>
                    </a:lnTo>
                    <a:lnTo>
                      <a:pt x="534" y="239"/>
                    </a:lnTo>
                    <a:lnTo>
                      <a:pt x="534" y="240"/>
                    </a:lnTo>
                    <a:lnTo>
                      <a:pt x="533" y="241"/>
                    </a:lnTo>
                    <a:lnTo>
                      <a:pt x="533" y="242"/>
                    </a:lnTo>
                    <a:lnTo>
                      <a:pt x="533" y="244"/>
                    </a:lnTo>
                    <a:lnTo>
                      <a:pt x="536" y="244"/>
                    </a:lnTo>
                    <a:lnTo>
                      <a:pt x="537" y="245"/>
                    </a:lnTo>
                    <a:lnTo>
                      <a:pt x="537" y="246"/>
                    </a:lnTo>
                    <a:lnTo>
                      <a:pt x="537" y="247"/>
                    </a:lnTo>
                    <a:lnTo>
                      <a:pt x="537" y="248"/>
                    </a:lnTo>
                    <a:lnTo>
                      <a:pt x="536" y="248"/>
                    </a:lnTo>
                    <a:lnTo>
                      <a:pt x="536" y="249"/>
                    </a:lnTo>
                    <a:lnTo>
                      <a:pt x="534" y="249"/>
                    </a:lnTo>
                    <a:lnTo>
                      <a:pt x="533" y="250"/>
                    </a:lnTo>
                    <a:lnTo>
                      <a:pt x="533" y="251"/>
                    </a:lnTo>
                    <a:lnTo>
                      <a:pt x="532" y="251"/>
                    </a:lnTo>
                    <a:lnTo>
                      <a:pt x="531" y="251"/>
                    </a:lnTo>
                    <a:lnTo>
                      <a:pt x="531" y="252"/>
                    </a:lnTo>
                    <a:lnTo>
                      <a:pt x="530" y="253"/>
                    </a:lnTo>
                    <a:lnTo>
                      <a:pt x="530" y="254"/>
                    </a:lnTo>
                    <a:lnTo>
                      <a:pt x="528" y="255"/>
                    </a:lnTo>
                    <a:lnTo>
                      <a:pt x="527" y="255"/>
                    </a:lnTo>
                    <a:lnTo>
                      <a:pt x="527" y="254"/>
                    </a:lnTo>
                    <a:lnTo>
                      <a:pt x="526" y="254"/>
                    </a:lnTo>
                    <a:lnTo>
                      <a:pt x="526" y="255"/>
                    </a:lnTo>
                    <a:lnTo>
                      <a:pt x="527" y="257"/>
                    </a:lnTo>
                    <a:lnTo>
                      <a:pt x="527" y="258"/>
                    </a:lnTo>
                    <a:lnTo>
                      <a:pt x="526" y="258"/>
                    </a:lnTo>
                    <a:lnTo>
                      <a:pt x="526" y="259"/>
                    </a:lnTo>
                    <a:lnTo>
                      <a:pt x="526" y="260"/>
                    </a:lnTo>
                    <a:lnTo>
                      <a:pt x="526" y="261"/>
                    </a:lnTo>
                    <a:lnTo>
                      <a:pt x="525" y="262"/>
                    </a:lnTo>
                    <a:lnTo>
                      <a:pt x="526" y="263"/>
                    </a:lnTo>
                    <a:lnTo>
                      <a:pt x="526" y="264"/>
                    </a:lnTo>
                    <a:lnTo>
                      <a:pt x="526" y="265"/>
                    </a:lnTo>
                    <a:lnTo>
                      <a:pt x="525" y="265"/>
                    </a:lnTo>
                    <a:lnTo>
                      <a:pt x="525" y="266"/>
                    </a:lnTo>
                    <a:lnTo>
                      <a:pt x="526" y="267"/>
                    </a:lnTo>
                    <a:lnTo>
                      <a:pt x="527" y="268"/>
                    </a:lnTo>
                    <a:lnTo>
                      <a:pt x="528" y="268"/>
                    </a:lnTo>
                    <a:lnTo>
                      <a:pt x="530" y="268"/>
                    </a:lnTo>
                    <a:lnTo>
                      <a:pt x="530" y="270"/>
                    </a:lnTo>
                    <a:lnTo>
                      <a:pt x="529" y="270"/>
                    </a:lnTo>
                    <a:lnTo>
                      <a:pt x="530" y="271"/>
                    </a:lnTo>
                    <a:lnTo>
                      <a:pt x="530" y="272"/>
                    </a:lnTo>
                    <a:lnTo>
                      <a:pt x="531" y="273"/>
                    </a:lnTo>
                    <a:lnTo>
                      <a:pt x="531" y="274"/>
                    </a:lnTo>
                    <a:lnTo>
                      <a:pt x="530" y="275"/>
                    </a:lnTo>
                    <a:lnTo>
                      <a:pt x="530" y="276"/>
                    </a:lnTo>
                    <a:lnTo>
                      <a:pt x="531" y="276"/>
                    </a:lnTo>
                    <a:lnTo>
                      <a:pt x="532" y="276"/>
                    </a:lnTo>
                    <a:lnTo>
                      <a:pt x="533" y="277"/>
                    </a:lnTo>
                    <a:lnTo>
                      <a:pt x="532" y="278"/>
                    </a:lnTo>
                    <a:lnTo>
                      <a:pt x="533" y="279"/>
                    </a:lnTo>
                    <a:lnTo>
                      <a:pt x="534" y="279"/>
                    </a:lnTo>
                    <a:lnTo>
                      <a:pt x="536" y="278"/>
                    </a:lnTo>
                    <a:lnTo>
                      <a:pt x="536" y="279"/>
                    </a:lnTo>
                    <a:lnTo>
                      <a:pt x="534" y="281"/>
                    </a:lnTo>
                    <a:lnTo>
                      <a:pt x="536" y="283"/>
                    </a:lnTo>
                    <a:lnTo>
                      <a:pt x="534" y="284"/>
                    </a:lnTo>
                    <a:lnTo>
                      <a:pt x="536" y="285"/>
                    </a:lnTo>
                    <a:lnTo>
                      <a:pt x="537" y="287"/>
                    </a:lnTo>
                    <a:lnTo>
                      <a:pt x="538" y="288"/>
                    </a:lnTo>
                    <a:lnTo>
                      <a:pt x="538" y="289"/>
                    </a:lnTo>
                    <a:lnTo>
                      <a:pt x="524" y="289"/>
                    </a:lnTo>
                    <a:lnTo>
                      <a:pt x="508" y="289"/>
                    </a:lnTo>
                    <a:lnTo>
                      <a:pt x="505" y="289"/>
                    </a:lnTo>
                    <a:lnTo>
                      <a:pt x="500" y="289"/>
                    </a:lnTo>
                    <a:lnTo>
                      <a:pt x="472" y="289"/>
                    </a:lnTo>
                    <a:lnTo>
                      <a:pt x="472" y="310"/>
                    </a:lnTo>
                    <a:lnTo>
                      <a:pt x="472" y="312"/>
                    </a:lnTo>
                    <a:lnTo>
                      <a:pt x="472" y="321"/>
                    </a:lnTo>
                    <a:lnTo>
                      <a:pt x="462" y="321"/>
                    </a:lnTo>
                    <a:lnTo>
                      <a:pt x="461" y="319"/>
                    </a:lnTo>
                    <a:lnTo>
                      <a:pt x="459" y="319"/>
                    </a:lnTo>
                    <a:lnTo>
                      <a:pt x="458" y="319"/>
                    </a:lnTo>
                    <a:lnTo>
                      <a:pt x="456" y="319"/>
                    </a:lnTo>
                    <a:lnTo>
                      <a:pt x="455" y="319"/>
                    </a:lnTo>
                    <a:lnTo>
                      <a:pt x="451" y="319"/>
                    </a:lnTo>
                    <a:lnTo>
                      <a:pt x="440" y="319"/>
                    </a:lnTo>
                    <a:lnTo>
                      <a:pt x="424" y="321"/>
                    </a:lnTo>
                    <a:lnTo>
                      <a:pt x="421" y="321"/>
                    </a:lnTo>
                    <a:lnTo>
                      <a:pt x="418" y="321"/>
                    </a:lnTo>
                    <a:lnTo>
                      <a:pt x="417" y="321"/>
                    </a:lnTo>
                    <a:lnTo>
                      <a:pt x="416" y="321"/>
                    </a:lnTo>
                    <a:lnTo>
                      <a:pt x="415" y="321"/>
                    </a:lnTo>
                    <a:lnTo>
                      <a:pt x="410" y="321"/>
                    </a:lnTo>
                    <a:lnTo>
                      <a:pt x="390" y="321"/>
                    </a:lnTo>
                    <a:lnTo>
                      <a:pt x="390" y="310"/>
                    </a:lnTo>
                    <a:lnTo>
                      <a:pt x="385" y="310"/>
                    </a:lnTo>
                    <a:lnTo>
                      <a:pt x="381" y="310"/>
                    </a:lnTo>
                    <a:lnTo>
                      <a:pt x="370" y="311"/>
                    </a:lnTo>
                    <a:lnTo>
                      <a:pt x="366" y="311"/>
                    </a:lnTo>
                    <a:lnTo>
                      <a:pt x="360" y="311"/>
                    </a:lnTo>
                    <a:lnTo>
                      <a:pt x="338" y="311"/>
                    </a:lnTo>
                    <a:lnTo>
                      <a:pt x="309" y="311"/>
                    </a:lnTo>
                    <a:lnTo>
                      <a:pt x="308" y="311"/>
                    </a:lnTo>
                    <a:lnTo>
                      <a:pt x="298" y="311"/>
                    </a:lnTo>
                    <a:lnTo>
                      <a:pt x="294" y="311"/>
                    </a:lnTo>
                    <a:lnTo>
                      <a:pt x="278" y="311"/>
                    </a:lnTo>
                    <a:lnTo>
                      <a:pt x="273" y="311"/>
                    </a:lnTo>
                    <a:lnTo>
                      <a:pt x="269" y="311"/>
                    </a:lnTo>
                    <a:lnTo>
                      <a:pt x="267" y="311"/>
                    </a:lnTo>
                    <a:lnTo>
                      <a:pt x="260" y="311"/>
                    </a:lnTo>
                    <a:lnTo>
                      <a:pt x="240" y="311"/>
                    </a:lnTo>
                    <a:lnTo>
                      <a:pt x="222" y="311"/>
                    </a:lnTo>
                    <a:lnTo>
                      <a:pt x="167" y="311"/>
                    </a:lnTo>
                    <a:lnTo>
                      <a:pt x="163" y="311"/>
                    </a:lnTo>
                    <a:lnTo>
                      <a:pt x="133" y="311"/>
                    </a:lnTo>
                    <a:lnTo>
                      <a:pt x="131" y="311"/>
                    </a:lnTo>
                    <a:lnTo>
                      <a:pt x="101" y="311"/>
                    </a:lnTo>
                    <a:lnTo>
                      <a:pt x="100" y="311"/>
                    </a:lnTo>
                    <a:lnTo>
                      <a:pt x="91" y="311"/>
                    </a:lnTo>
                    <a:lnTo>
                      <a:pt x="28" y="311"/>
                    </a:lnTo>
                    <a:lnTo>
                      <a:pt x="27" y="311"/>
                    </a:lnTo>
                    <a:lnTo>
                      <a:pt x="28" y="310"/>
                    </a:lnTo>
                    <a:lnTo>
                      <a:pt x="28" y="309"/>
                    </a:lnTo>
                    <a:lnTo>
                      <a:pt x="28" y="307"/>
                    </a:lnTo>
                    <a:lnTo>
                      <a:pt x="28" y="305"/>
                    </a:lnTo>
                    <a:lnTo>
                      <a:pt x="28" y="303"/>
                    </a:lnTo>
                    <a:lnTo>
                      <a:pt x="28" y="302"/>
                    </a:lnTo>
                    <a:lnTo>
                      <a:pt x="29" y="301"/>
                    </a:lnTo>
                    <a:lnTo>
                      <a:pt x="30" y="301"/>
                    </a:lnTo>
                    <a:lnTo>
                      <a:pt x="32" y="300"/>
                    </a:lnTo>
                    <a:lnTo>
                      <a:pt x="33" y="301"/>
                    </a:lnTo>
                    <a:lnTo>
                      <a:pt x="33" y="303"/>
                    </a:lnTo>
                    <a:lnTo>
                      <a:pt x="33" y="304"/>
                    </a:lnTo>
                    <a:lnTo>
                      <a:pt x="34" y="305"/>
                    </a:lnTo>
                    <a:lnTo>
                      <a:pt x="34" y="307"/>
                    </a:lnTo>
                    <a:lnTo>
                      <a:pt x="34" y="309"/>
                    </a:lnTo>
                    <a:lnTo>
                      <a:pt x="35" y="309"/>
                    </a:lnTo>
                    <a:lnTo>
                      <a:pt x="36" y="310"/>
                    </a:lnTo>
                    <a:lnTo>
                      <a:pt x="37" y="310"/>
                    </a:lnTo>
                    <a:lnTo>
                      <a:pt x="38" y="309"/>
                    </a:lnTo>
                    <a:lnTo>
                      <a:pt x="39" y="307"/>
                    </a:lnTo>
                    <a:lnTo>
                      <a:pt x="40" y="307"/>
                    </a:lnTo>
                    <a:lnTo>
                      <a:pt x="40" y="306"/>
                    </a:lnTo>
                    <a:lnTo>
                      <a:pt x="41" y="306"/>
                    </a:lnTo>
                    <a:lnTo>
                      <a:pt x="41" y="305"/>
                    </a:lnTo>
                    <a:lnTo>
                      <a:pt x="41" y="304"/>
                    </a:lnTo>
                    <a:lnTo>
                      <a:pt x="40" y="302"/>
                    </a:lnTo>
                    <a:lnTo>
                      <a:pt x="40" y="301"/>
                    </a:lnTo>
                    <a:lnTo>
                      <a:pt x="39" y="300"/>
                    </a:lnTo>
                    <a:lnTo>
                      <a:pt x="38" y="300"/>
                    </a:lnTo>
                    <a:lnTo>
                      <a:pt x="37" y="300"/>
                    </a:lnTo>
                    <a:lnTo>
                      <a:pt x="36" y="300"/>
                    </a:lnTo>
                    <a:lnTo>
                      <a:pt x="32" y="299"/>
                    </a:lnTo>
                    <a:lnTo>
                      <a:pt x="30" y="299"/>
                    </a:lnTo>
                    <a:lnTo>
                      <a:pt x="30" y="298"/>
                    </a:lnTo>
                    <a:lnTo>
                      <a:pt x="29" y="297"/>
                    </a:lnTo>
                    <a:lnTo>
                      <a:pt x="28" y="296"/>
                    </a:lnTo>
                    <a:lnTo>
                      <a:pt x="25" y="291"/>
                    </a:lnTo>
                    <a:lnTo>
                      <a:pt x="24" y="291"/>
                    </a:lnTo>
                    <a:lnTo>
                      <a:pt x="22" y="290"/>
                    </a:lnTo>
                    <a:lnTo>
                      <a:pt x="21" y="289"/>
                    </a:lnTo>
                    <a:lnTo>
                      <a:pt x="21" y="288"/>
                    </a:lnTo>
                    <a:lnTo>
                      <a:pt x="20" y="287"/>
                    </a:lnTo>
                    <a:lnTo>
                      <a:pt x="20" y="286"/>
                    </a:lnTo>
                    <a:lnTo>
                      <a:pt x="21" y="285"/>
                    </a:lnTo>
                    <a:lnTo>
                      <a:pt x="22" y="285"/>
                    </a:lnTo>
                    <a:lnTo>
                      <a:pt x="22" y="284"/>
                    </a:lnTo>
                    <a:lnTo>
                      <a:pt x="22" y="285"/>
                    </a:lnTo>
                    <a:lnTo>
                      <a:pt x="23" y="285"/>
                    </a:lnTo>
                    <a:lnTo>
                      <a:pt x="23" y="287"/>
                    </a:lnTo>
                    <a:lnTo>
                      <a:pt x="24" y="288"/>
                    </a:lnTo>
                    <a:lnTo>
                      <a:pt x="24" y="289"/>
                    </a:lnTo>
                    <a:lnTo>
                      <a:pt x="25" y="289"/>
                    </a:lnTo>
                    <a:lnTo>
                      <a:pt x="26" y="289"/>
                    </a:lnTo>
                    <a:lnTo>
                      <a:pt x="26" y="288"/>
                    </a:lnTo>
                    <a:lnTo>
                      <a:pt x="26" y="287"/>
                    </a:lnTo>
                    <a:lnTo>
                      <a:pt x="26" y="286"/>
                    </a:lnTo>
                    <a:lnTo>
                      <a:pt x="26" y="285"/>
                    </a:lnTo>
                    <a:lnTo>
                      <a:pt x="26" y="284"/>
                    </a:lnTo>
                    <a:lnTo>
                      <a:pt x="26" y="283"/>
                    </a:lnTo>
                    <a:lnTo>
                      <a:pt x="26" y="281"/>
                    </a:lnTo>
                    <a:lnTo>
                      <a:pt x="26" y="280"/>
                    </a:lnTo>
                    <a:lnTo>
                      <a:pt x="27" y="279"/>
                    </a:lnTo>
                    <a:lnTo>
                      <a:pt x="29" y="278"/>
                    </a:lnTo>
                    <a:lnTo>
                      <a:pt x="29" y="277"/>
                    </a:lnTo>
                    <a:lnTo>
                      <a:pt x="32" y="276"/>
                    </a:lnTo>
                    <a:lnTo>
                      <a:pt x="32" y="275"/>
                    </a:lnTo>
                    <a:lnTo>
                      <a:pt x="33" y="274"/>
                    </a:lnTo>
                    <a:lnTo>
                      <a:pt x="33" y="272"/>
                    </a:lnTo>
                    <a:lnTo>
                      <a:pt x="33" y="271"/>
                    </a:lnTo>
                    <a:lnTo>
                      <a:pt x="33" y="270"/>
                    </a:lnTo>
                    <a:lnTo>
                      <a:pt x="34" y="270"/>
                    </a:lnTo>
                    <a:lnTo>
                      <a:pt x="35" y="270"/>
                    </a:lnTo>
                    <a:lnTo>
                      <a:pt x="37" y="270"/>
                    </a:lnTo>
                    <a:lnTo>
                      <a:pt x="38" y="268"/>
                    </a:lnTo>
                    <a:lnTo>
                      <a:pt x="39" y="268"/>
                    </a:lnTo>
                    <a:lnTo>
                      <a:pt x="39" y="267"/>
                    </a:lnTo>
                    <a:lnTo>
                      <a:pt x="39" y="266"/>
                    </a:lnTo>
                    <a:lnTo>
                      <a:pt x="39" y="265"/>
                    </a:lnTo>
                    <a:lnTo>
                      <a:pt x="38" y="264"/>
                    </a:lnTo>
                    <a:lnTo>
                      <a:pt x="37" y="263"/>
                    </a:lnTo>
                    <a:lnTo>
                      <a:pt x="36" y="263"/>
                    </a:lnTo>
                    <a:lnTo>
                      <a:pt x="36" y="262"/>
                    </a:lnTo>
                    <a:lnTo>
                      <a:pt x="37" y="261"/>
                    </a:lnTo>
                    <a:lnTo>
                      <a:pt x="38" y="261"/>
                    </a:lnTo>
                    <a:lnTo>
                      <a:pt x="39" y="261"/>
                    </a:lnTo>
                    <a:lnTo>
                      <a:pt x="40" y="261"/>
                    </a:lnTo>
                    <a:lnTo>
                      <a:pt x="40" y="260"/>
                    </a:lnTo>
                    <a:lnTo>
                      <a:pt x="40" y="259"/>
                    </a:lnTo>
                    <a:lnTo>
                      <a:pt x="40" y="258"/>
                    </a:lnTo>
                    <a:lnTo>
                      <a:pt x="39" y="257"/>
                    </a:lnTo>
                    <a:lnTo>
                      <a:pt x="39" y="255"/>
                    </a:lnTo>
                    <a:lnTo>
                      <a:pt x="39" y="253"/>
                    </a:lnTo>
                    <a:lnTo>
                      <a:pt x="40" y="252"/>
                    </a:lnTo>
                    <a:lnTo>
                      <a:pt x="40" y="251"/>
                    </a:lnTo>
                    <a:lnTo>
                      <a:pt x="40" y="250"/>
                    </a:lnTo>
                    <a:lnTo>
                      <a:pt x="40" y="249"/>
                    </a:lnTo>
                    <a:lnTo>
                      <a:pt x="41" y="249"/>
                    </a:lnTo>
                    <a:lnTo>
                      <a:pt x="42" y="250"/>
                    </a:lnTo>
                    <a:lnTo>
                      <a:pt x="43" y="251"/>
                    </a:lnTo>
                    <a:lnTo>
                      <a:pt x="45" y="252"/>
                    </a:lnTo>
                    <a:lnTo>
                      <a:pt x="45" y="251"/>
                    </a:lnTo>
                    <a:lnTo>
                      <a:pt x="46" y="251"/>
                    </a:lnTo>
                    <a:lnTo>
                      <a:pt x="47" y="249"/>
                    </a:lnTo>
                    <a:lnTo>
                      <a:pt x="48" y="248"/>
                    </a:lnTo>
                    <a:lnTo>
                      <a:pt x="48" y="247"/>
                    </a:lnTo>
                    <a:lnTo>
                      <a:pt x="47" y="247"/>
                    </a:lnTo>
                    <a:lnTo>
                      <a:pt x="46" y="248"/>
                    </a:lnTo>
                    <a:lnTo>
                      <a:pt x="46" y="247"/>
                    </a:lnTo>
                    <a:lnTo>
                      <a:pt x="45" y="247"/>
                    </a:lnTo>
                    <a:lnTo>
                      <a:pt x="45" y="246"/>
                    </a:lnTo>
                    <a:lnTo>
                      <a:pt x="45" y="245"/>
                    </a:lnTo>
                    <a:lnTo>
                      <a:pt x="43" y="245"/>
                    </a:lnTo>
                    <a:lnTo>
                      <a:pt x="43" y="244"/>
                    </a:lnTo>
                    <a:lnTo>
                      <a:pt x="43" y="241"/>
                    </a:lnTo>
                    <a:lnTo>
                      <a:pt x="42" y="240"/>
                    </a:lnTo>
                    <a:lnTo>
                      <a:pt x="42" y="239"/>
                    </a:lnTo>
                    <a:lnTo>
                      <a:pt x="41" y="239"/>
                    </a:lnTo>
                    <a:lnTo>
                      <a:pt x="40" y="239"/>
                    </a:lnTo>
                    <a:lnTo>
                      <a:pt x="39" y="240"/>
                    </a:lnTo>
                    <a:lnTo>
                      <a:pt x="39" y="241"/>
                    </a:lnTo>
                    <a:lnTo>
                      <a:pt x="38" y="241"/>
                    </a:lnTo>
                    <a:lnTo>
                      <a:pt x="37" y="242"/>
                    </a:lnTo>
                    <a:lnTo>
                      <a:pt x="36" y="244"/>
                    </a:lnTo>
                    <a:lnTo>
                      <a:pt x="35" y="244"/>
                    </a:lnTo>
                    <a:lnTo>
                      <a:pt x="35" y="242"/>
                    </a:lnTo>
                    <a:lnTo>
                      <a:pt x="36" y="241"/>
                    </a:lnTo>
                    <a:lnTo>
                      <a:pt x="37" y="241"/>
                    </a:lnTo>
                    <a:lnTo>
                      <a:pt x="37" y="240"/>
                    </a:lnTo>
                    <a:lnTo>
                      <a:pt x="37" y="239"/>
                    </a:lnTo>
                    <a:lnTo>
                      <a:pt x="36" y="238"/>
                    </a:lnTo>
                    <a:lnTo>
                      <a:pt x="36" y="237"/>
                    </a:lnTo>
                    <a:lnTo>
                      <a:pt x="36" y="236"/>
                    </a:lnTo>
                    <a:lnTo>
                      <a:pt x="37" y="235"/>
                    </a:lnTo>
                    <a:lnTo>
                      <a:pt x="38" y="234"/>
                    </a:lnTo>
                    <a:lnTo>
                      <a:pt x="39" y="233"/>
                    </a:lnTo>
                    <a:lnTo>
                      <a:pt x="39" y="230"/>
                    </a:lnTo>
                    <a:lnTo>
                      <a:pt x="40" y="229"/>
                    </a:lnTo>
                    <a:lnTo>
                      <a:pt x="39" y="229"/>
                    </a:lnTo>
                    <a:lnTo>
                      <a:pt x="39" y="228"/>
                    </a:lnTo>
                    <a:lnTo>
                      <a:pt x="39" y="227"/>
                    </a:lnTo>
                    <a:lnTo>
                      <a:pt x="39" y="226"/>
                    </a:lnTo>
                    <a:lnTo>
                      <a:pt x="39" y="225"/>
                    </a:lnTo>
                    <a:lnTo>
                      <a:pt x="40" y="224"/>
                    </a:lnTo>
                    <a:lnTo>
                      <a:pt x="40" y="223"/>
                    </a:lnTo>
                    <a:lnTo>
                      <a:pt x="39" y="223"/>
                    </a:lnTo>
                    <a:lnTo>
                      <a:pt x="39" y="224"/>
                    </a:lnTo>
                    <a:lnTo>
                      <a:pt x="38" y="224"/>
                    </a:lnTo>
                    <a:lnTo>
                      <a:pt x="37" y="224"/>
                    </a:lnTo>
                    <a:lnTo>
                      <a:pt x="37" y="223"/>
                    </a:lnTo>
                    <a:lnTo>
                      <a:pt x="37" y="222"/>
                    </a:lnTo>
                    <a:lnTo>
                      <a:pt x="37" y="221"/>
                    </a:lnTo>
                    <a:lnTo>
                      <a:pt x="37" y="220"/>
                    </a:lnTo>
                    <a:lnTo>
                      <a:pt x="36" y="220"/>
                    </a:lnTo>
                    <a:lnTo>
                      <a:pt x="36" y="221"/>
                    </a:lnTo>
                    <a:lnTo>
                      <a:pt x="35" y="221"/>
                    </a:lnTo>
                    <a:lnTo>
                      <a:pt x="35" y="220"/>
                    </a:lnTo>
                    <a:lnTo>
                      <a:pt x="34" y="220"/>
                    </a:lnTo>
                    <a:lnTo>
                      <a:pt x="35" y="219"/>
                    </a:lnTo>
                    <a:lnTo>
                      <a:pt x="35" y="217"/>
                    </a:lnTo>
                    <a:lnTo>
                      <a:pt x="35" y="216"/>
                    </a:lnTo>
                    <a:lnTo>
                      <a:pt x="35" y="215"/>
                    </a:lnTo>
                    <a:lnTo>
                      <a:pt x="34" y="215"/>
                    </a:lnTo>
                    <a:lnTo>
                      <a:pt x="33" y="214"/>
                    </a:lnTo>
                    <a:lnTo>
                      <a:pt x="33" y="213"/>
                    </a:lnTo>
                    <a:lnTo>
                      <a:pt x="33" y="212"/>
                    </a:lnTo>
                    <a:lnTo>
                      <a:pt x="33" y="211"/>
                    </a:lnTo>
                    <a:lnTo>
                      <a:pt x="34" y="211"/>
                    </a:lnTo>
                    <a:lnTo>
                      <a:pt x="34" y="212"/>
                    </a:lnTo>
                    <a:lnTo>
                      <a:pt x="35" y="212"/>
                    </a:lnTo>
                    <a:lnTo>
                      <a:pt x="36" y="212"/>
                    </a:lnTo>
                    <a:lnTo>
                      <a:pt x="37" y="212"/>
                    </a:lnTo>
                    <a:lnTo>
                      <a:pt x="37" y="211"/>
                    </a:lnTo>
                    <a:lnTo>
                      <a:pt x="37" y="210"/>
                    </a:lnTo>
                    <a:lnTo>
                      <a:pt x="36" y="210"/>
                    </a:lnTo>
                    <a:lnTo>
                      <a:pt x="36" y="209"/>
                    </a:lnTo>
                    <a:lnTo>
                      <a:pt x="36" y="208"/>
                    </a:lnTo>
                    <a:lnTo>
                      <a:pt x="35" y="208"/>
                    </a:lnTo>
                    <a:lnTo>
                      <a:pt x="34" y="208"/>
                    </a:lnTo>
                    <a:lnTo>
                      <a:pt x="34" y="209"/>
                    </a:lnTo>
                    <a:lnTo>
                      <a:pt x="33" y="210"/>
                    </a:lnTo>
                    <a:lnTo>
                      <a:pt x="32" y="210"/>
                    </a:lnTo>
                    <a:lnTo>
                      <a:pt x="32" y="211"/>
                    </a:lnTo>
                    <a:lnTo>
                      <a:pt x="30" y="211"/>
                    </a:lnTo>
                    <a:lnTo>
                      <a:pt x="29" y="210"/>
                    </a:lnTo>
                    <a:lnTo>
                      <a:pt x="29" y="209"/>
                    </a:lnTo>
                    <a:lnTo>
                      <a:pt x="30" y="209"/>
                    </a:lnTo>
                    <a:lnTo>
                      <a:pt x="30" y="208"/>
                    </a:lnTo>
                    <a:lnTo>
                      <a:pt x="32" y="208"/>
                    </a:lnTo>
                    <a:lnTo>
                      <a:pt x="32" y="207"/>
                    </a:lnTo>
                    <a:lnTo>
                      <a:pt x="30" y="207"/>
                    </a:lnTo>
                    <a:lnTo>
                      <a:pt x="30" y="206"/>
                    </a:lnTo>
                    <a:lnTo>
                      <a:pt x="29" y="206"/>
                    </a:lnTo>
                    <a:lnTo>
                      <a:pt x="29" y="204"/>
                    </a:lnTo>
                    <a:lnTo>
                      <a:pt x="30" y="203"/>
                    </a:lnTo>
                    <a:lnTo>
                      <a:pt x="32" y="204"/>
                    </a:lnTo>
                    <a:lnTo>
                      <a:pt x="32" y="203"/>
                    </a:lnTo>
                    <a:lnTo>
                      <a:pt x="32" y="202"/>
                    </a:lnTo>
                    <a:lnTo>
                      <a:pt x="32" y="200"/>
                    </a:lnTo>
                    <a:lnTo>
                      <a:pt x="32" y="199"/>
                    </a:lnTo>
                    <a:lnTo>
                      <a:pt x="30" y="201"/>
                    </a:lnTo>
                    <a:lnTo>
                      <a:pt x="29" y="201"/>
                    </a:lnTo>
                    <a:lnTo>
                      <a:pt x="28" y="200"/>
                    </a:lnTo>
                    <a:lnTo>
                      <a:pt x="27" y="199"/>
                    </a:lnTo>
                    <a:lnTo>
                      <a:pt x="28" y="198"/>
                    </a:lnTo>
                    <a:lnTo>
                      <a:pt x="29" y="198"/>
                    </a:lnTo>
                    <a:lnTo>
                      <a:pt x="30" y="198"/>
                    </a:lnTo>
                    <a:lnTo>
                      <a:pt x="30" y="197"/>
                    </a:lnTo>
                    <a:lnTo>
                      <a:pt x="30" y="196"/>
                    </a:lnTo>
                    <a:lnTo>
                      <a:pt x="29" y="196"/>
                    </a:lnTo>
                    <a:lnTo>
                      <a:pt x="28" y="196"/>
                    </a:lnTo>
                    <a:lnTo>
                      <a:pt x="28" y="195"/>
                    </a:lnTo>
                    <a:lnTo>
                      <a:pt x="29" y="195"/>
                    </a:lnTo>
                    <a:lnTo>
                      <a:pt x="30" y="195"/>
                    </a:lnTo>
                    <a:lnTo>
                      <a:pt x="29" y="195"/>
                    </a:lnTo>
                    <a:lnTo>
                      <a:pt x="28" y="195"/>
                    </a:lnTo>
                    <a:lnTo>
                      <a:pt x="28" y="194"/>
                    </a:lnTo>
                    <a:lnTo>
                      <a:pt x="28" y="193"/>
                    </a:lnTo>
                    <a:lnTo>
                      <a:pt x="29" y="191"/>
                    </a:lnTo>
                    <a:lnTo>
                      <a:pt x="30" y="191"/>
                    </a:lnTo>
                    <a:lnTo>
                      <a:pt x="30" y="190"/>
                    </a:lnTo>
                    <a:lnTo>
                      <a:pt x="32" y="190"/>
                    </a:lnTo>
                    <a:lnTo>
                      <a:pt x="32" y="191"/>
                    </a:lnTo>
                    <a:lnTo>
                      <a:pt x="33" y="193"/>
                    </a:lnTo>
                    <a:lnTo>
                      <a:pt x="34" y="191"/>
                    </a:lnTo>
                    <a:lnTo>
                      <a:pt x="34" y="190"/>
                    </a:lnTo>
                    <a:lnTo>
                      <a:pt x="34" y="189"/>
                    </a:lnTo>
                    <a:lnTo>
                      <a:pt x="33" y="188"/>
                    </a:lnTo>
                    <a:lnTo>
                      <a:pt x="33" y="187"/>
                    </a:lnTo>
                    <a:lnTo>
                      <a:pt x="34" y="186"/>
                    </a:lnTo>
                    <a:lnTo>
                      <a:pt x="35" y="186"/>
                    </a:lnTo>
                    <a:lnTo>
                      <a:pt x="34" y="185"/>
                    </a:lnTo>
                    <a:lnTo>
                      <a:pt x="33" y="185"/>
                    </a:lnTo>
                    <a:lnTo>
                      <a:pt x="33" y="184"/>
                    </a:lnTo>
                    <a:lnTo>
                      <a:pt x="34" y="184"/>
                    </a:lnTo>
                    <a:lnTo>
                      <a:pt x="34" y="183"/>
                    </a:lnTo>
                    <a:lnTo>
                      <a:pt x="34" y="182"/>
                    </a:lnTo>
                    <a:lnTo>
                      <a:pt x="34" y="181"/>
                    </a:lnTo>
                    <a:lnTo>
                      <a:pt x="35" y="181"/>
                    </a:lnTo>
                    <a:lnTo>
                      <a:pt x="35" y="182"/>
                    </a:lnTo>
                    <a:lnTo>
                      <a:pt x="36" y="182"/>
                    </a:lnTo>
                    <a:lnTo>
                      <a:pt x="37" y="182"/>
                    </a:lnTo>
                    <a:lnTo>
                      <a:pt x="38" y="182"/>
                    </a:lnTo>
                    <a:lnTo>
                      <a:pt x="38" y="181"/>
                    </a:lnTo>
                    <a:lnTo>
                      <a:pt x="37" y="181"/>
                    </a:lnTo>
                    <a:lnTo>
                      <a:pt x="37" y="180"/>
                    </a:lnTo>
                    <a:lnTo>
                      <a:pt x="37" y="181"/>
                    </a:lnTo>
                    <a:lnTo>
                      <a:pt x="36" y="181"/>
                    </a:lnTo>
                    <a:lnTo>
                      <a:pt x="35" y="180"/>
                    </a:lnTo>
                    <a:lnTo>
                      <a:pt x="35" y="178"/>
                    </a:lnTo>
                    <a:lnTo>
                      <a:pt x="36" y="177"/>
                    </a:lnTo>
                    <a:lnTo>
                      <a:pt x="37" y="177"/>
                    </a:lnTo>
                    <a:lnTo>
                      <a:pt x="38" y="178"/>
                    </a:lnTo>
                    <a:lnTo>
                      <a:pt x="39" y="178"/>
                    </a:lnTo>
                    <a:lnTo>
                      <a:pt x="39" y="177"/>
                    </a:lnTo>
                    <a:lnTo>
                      <a:pt x="38" y="177"/>
                    </a:lnTo>
                    <a:lnTo>
                      <a:pt x="38" y="176"/>
                    </a:lnTo>
                    <a:lnTo>
                      <a:pt x="38" y="175"/>
                    </a:lnTo>
                    <a:lnTo>
                      <a:pt x="37" y="174"/>
                    </a:lnTo>
                    <a:lnTo>
                      <a:pt x="36" y="174"/>
                    </a:lnTo>
                    <a:lnTo>
                      <a:pt x="35" y="174"/>
                    </a:lnTo>
                    <a:lnTo>
                      <a:pt x="35" y="173"/>
                    </a:lnTo>
                    <a:lnTo>
                      <a:pt x="36" y="173"/>
                    </a:lnTo>
                    <a:lnTo>
                      <a:pt x="37" y="173"/>
                    </a:lnTo>
                    <a:lnTo>
                      <a:pt x="37" y="172"/>
                    </a:lnTo>
                    <a:lnTo>
                      <a:pt x="36" y="172"/>
                    </a:lnTo>
                    <a:lnTo>
                      <a:pt x="35" y="172"/>
                    </a:lnTo>
                    <a:lnTo>
                      <a:pt x="35" y="171"/>
                    </a:lnTo>
                    <a:lnTo>
                      <a:pt x="36" y="171"/>
                    </a:lnTo>
                    <a:lnTo>
                      <a:pt x="36" y="170"/>
                    </a:lnTo>
                    <a:lnTo>
                      <a:pt x="35" y="170"/>
                    </a:lnTo>
                    <a:lnTo>
                      <a:pt x="35" y="169"/>
                    </a:lnTo>
                    <a:lnTo>
                      <a:pt x="36" y="169"/>
                    </a:lnTo>
                    <a:lnTo>
                      <a:pt x="37" y="169"/>
                    </a:lnTo>
                    <a:lnTo>
                      <a:pt x="37" y="168"/>
                    </a:lnTo>
                    <a:lnTo>
                      <a:pt x="37" y="167"/>
                    </a:lnTo>
                    <a:lnTo>
                      <a:pt x="37" y="165"/>
                    </a:lnTo>
                    <a:lnTo>
                      <a:pt x="38" y="164"/>
                    </a:lnTo>
                    <a:lnTo>
                      <a:pt x="38" y="163"/>
                    </a:lnTo>
                    <a:lnTo>
                      <a:pt x="39" y="163"/>
                    </a:lnTo>
                    <a:lnTo>
                      <a:pt x="39" y="162"/>
                    </a:lnTo>
                    <a:lnTo>
                      <a:pt x="38" y="162"/>
                    </a:lnTo>
                    <a:lnTo>
                      <a:pt x="37" y="162"/>
                    </a:lnTo>
                    <a:lnTo>
                      <a:pt x="36" y="162"/>
                    </a:lnTo>
                    <a:lnTo>
                      <a:pt x="36" y="161"/>
                    </a:lnTo>
                    <a:lnTo>
                      <a:pt x="36" y="160"/>
                    </a:lnTo>
                    <a:lnTo>
                      <a:pt x="37" y="160"/>
                    </a:lnTo>
                    <a:lnTo>
                      <a:pt x="37" y="159"/>
                    </a:lnTo>
                    <a:lnTo>
                      <a:pt x="36" y="159"/>
                    </a:lnTo>
                    <a:lnTo>
                      <a:pt x="36" y="160"/>
                    </a:lnTo>
                    <a:lnTo>
                      <a:pt x="35" y="159"/>
                    </a:lnTo>
                    <a:lnTo>
                      <a:pt x="35" y="158"/>
                    </a:lnTo>
                    <a:lnTo>
                      <a:pt x="36" y="158"/>
                    </a:lnTo>
                    <a:lnTo>
                      <a:pt x="37" y="158"/>
                    </a:lnTo>
                    <a:lnTo>
                      <a:pt x="37" y="157"/>
                    </a:lnTo>
                    <a:lnTo>
                      <a:pt x="36" y="158"/>
                    </a:lnTo>
                    <a:lnTo>
                      <a:pt x="35" y="158"/>
                    </a:lnTo>
                    <a:lnTo>
                      <a:pt x="35" y="157"/>
                    </a:lnTo>
                    <a:lnTo>
                      <a:pt x="36" y="156"/>
                    </a:lnTo>
                    <a:lnTo>
                      <a:pt x="36" y="155"/>
                    </a:lnTo>
                    <a:lnTo>
                      <a:pt x="35" y="155"/>
                    </a:lnTo>
                    <a:lnTo>
                      <a:pt x="34" y="155"/>
                    </a:lnTo>
                    <a:lnTo>
                      <a:pt x="34" y="154"/>
                    </a:lnTo>
                    <a:lnTo>
                      <a:pt x="35" y="154"/>
                    </a:lnTo>
                    <a:lnTo>
                      <a:pt x="36" y="154"/>
                    </a:lnTo>
                    <a:lnTo>
                      <a:pt x="37" y="154"/>
                    </a:lnTo>
                    <a:lnTo>
                      <a:pt x="37" y="152"/>
                    </a:lnTo>
                    <a:lnTo>
                      <a:pt x="37" y="151"/>
                    </a:lnTo>
                    <a:lnTo>
                      <a:pt x="37" y="150"/>
                    </a:lnTo>
                    <a:lnTo>
                      <a:pt x="38" y="149"/>
                    </a:lnTo>
                    <a:lnTo>
                      <a:pt x="38" y="148"/>
                    </a:lnTo>
                    <a:lnTo>
                      <a:pt x="37" y="148"/>
                    </a:lnTo>
                    <a:lnTo>
                      <a:pt x="36" y="148"/>
                    </a:lnTo>
                    <a:lnTo>
                      <a:pt x="35" y="148"/>
                    </a:lnTo>
                    <a:lnTo>
                      <a:pt x="35" y="147"/>
                    </a:lnTo>
                    <a:lnTo>
                      <a:pt x="35" y="146"/>
                    </a:lnTo>
                    <a:lnTo>
                      <a:pt x="36" y="146"/>
                    </a:lnTo>
                    <a:lnTo>
                      <a:pt x="37" y="146"/>
                    </a:lnTo>
                    <a:lnTo>
                      <a:pt x="37" y="145"/>
                    </a:lnTo>
                    <a:lnTo>
                      <a:pt x="38" y="144"/>
                    </a:lnTo>
                    <a:lnTo>
                      <a:pt x="38" y="143"/>
                    </a:lnTo>
                    <a:lnTo>
                      <a:pt x="38" y="142"/>
                    </a:lnTo>
                    <a:lnTo>
                      <a:pt x="37" y="142"/>
                    </a:lnTo>
                    <a:lnTo>
                      <a:pt x="37" y="140"/>
                    </a:lnTo>
                    <a:lnTo>
                      <a:pt x="36" y="140"/>
                    </a:lnTo>
                    <a:lnTo>
                      <a:pt x="36" y="139"/>
                    </a:lnTo>
                    <a:lnTo>
                      <a:pt x="35" y="140"/>
                    </a:lnTo>
                    <a:lnTo>
                      <a:pt x="35" y="143"/>
                    </a:lnTo>
                    <a:lnTo>
                      <a:pt x="34" y="144"/>
                    </a:lnTo>
                    <a:lnTo>
                      <a:pt x="33" y="144"/>
                    </a:lnTo>
                    <a:lnTo>
                      <a:pt x="33" y="143"/>
                    </a:lnTo>
                    <a:lnTo>
                      <a:pt x="33" y="142"/>
                    </a:lnTo>
                    <a:lnTo>
                      <a:pt x="34" y="140"/>
                    </a:lnTo>
                    <a:lnTo>
                      <a:pt x="33" y="140"/>
                    </a:lnTo>
                    <a:lnTo>
                      <a:pt x="32" y="138"/>
                    </a:lnTo>
                    <a:lnTo>
                      <a:pt x="30" y="138"/>
                    </a:lnTo>
                    <a:lnTo>
                      <a:pt x="32" y="138"/>
                    </a:lnTo>
                    <a:lnTo>
                      <a:pt x="32" y="139"/>
                    </a:lnTo>
                    <a:lnTo>
                      <a:pt x="30" y="139"/>
                    </a:lnTo>
                    <a:lnTo>
                      <a:pt x="29" y="138"/>
                    </a:lnTo>
                    <a:lnTo>
                      <a:pt x="29" y="137"/>
                    </a:lnTo>
                    <a:lnTo>
                      <a:pt x="28" y="137"/>
                    </a:lnTo>
                    <a:lnTo>
                      <a:pt x="27" y="138"/>
                    </a:lnTo>
                    <a:lnTo>
                      <a:pt x="26" y="138"/>
                    </a:lnTo>
                    <a:lnTo>
                      <a:pt x="25" y="138"/>
                    </a:lnTo>
                    <a:lnTo>
                      <a:pt x="25" y="136"/>
                    </a:lnTo>
                    <a:lnTo>
                      <a:pt x="24" y="136"/>
                    </a:lnTo>
                    <a:lnTo>
                      <a:pt x="24" y="137"/>
                    </a:lnTo>
                    <a:lnTo>
                      <a:pt x="23" y="137"/>
                    </a:lnTo>
                    <a:lnTo>
                      <a:pt x="23" y="136"/>
                    </a:lnTo>
                    <a:lnTo>
                      <a:pt x="22" y="136"/>
                    </a:lnTo>
                    <a:lnTo>
                      <a:pt x="21" y="136"/>
                    </a:lnTo>
                    <a:lnTo>
                      <a:pt x="21" y="135"/>
                    </a:lnTo>
                    <a:lnTo>
                      <a:pt x="20" y="135"/>
                    </a:lnTo>
                    <a:lnTo>
                      <a:pt x="18" y="135"/>
                    </a:lnTo>
                    <a:lnTo>
                      <a:pt x="17" y="135"/>
                    </a:lnTo>
                    <a:lnTo>
                      <a:pt x="18" y="134"/>
                    </a:lnTo>
                    <a:lnTo>
                      <a:pt x="20" y="134"/>
                    </a:lnTo>
                    <a:lnTo>
                      <a:pt x="20" y="133"/>
                    </a:lnTo>
                    <a:lnTo>
                      <a:pt x="18" y="133"/>
                    </a:lnTo>
                    <a:lnTo>
                      <a:pt x="17" y="133"/>
                    </a:lnTo>
                    <a:lnTo>
                      <a:pt x="17" y="132"/>
                    </a:lnTo>
                    <a:lnTo>
                      <a:pt x="16" y="132"/>
                    </a:lnTo>
                    <a:lnTo>
                      <a:pt x="15" y="134"/>
                    </a:lnTo>
                    <a:lnTo>
                      <a:pt x="14" y="134"/>
                    </a:lnTo>
                    <a:lnTo>
                      <a:pt x="14" y="133"/>
                    </a:lnTo>
                    <a:lnTo>
                      <a:pt x="14" y="132"/>
                    </a:lnTo>
                    <a:lnTo>
                      <a:pt x="13" y="132"/>
                    </a:lnTo>
                    <a:lnTo>
                      <a:pt x="13" y="131"/>
                    </a:lnTo>
                    <a:lnTo>
                      <a:pt x="14" y="131"/>
                    </a:lnTo>
                    <a:lnTo>
                      <a:pt x="15" y="131"/>
                    </a:lnTo>
                    <a:lnTo>
                      <a:pt x="15" y="130"/>
                    </a:lnTo>
                    <a:lnTo>
                      <a:pt x="15" y="129"/>
                    </a:lnTo>
                    <a:lnTo>
                      <a:pt x="14" y="129"/>
                    </a:lnTo>
                    <a:lnTo>
                      <a:pt x="13" y="127"/>
                    </a:lnTo>
                    <a:lnTo>
                      <a:pt x="13" y="126"/>
                    </a:lnTo>
                    <a:lnTo>
                      <a:pt x="12" y="126"/>
                    </a:lnTo>
                    <a:lnTo>
                      <a:pt x="11" y="126"/>
                    </a:lnTo>
                    <a:lnTo>
                      <a:pt x="12" y="124"/>
                    </a:lnTo>
                    <a:lnTo>
                      <a:pt x="12" y="123"/>
                    </a:lnTo>
                    <a:lnTo>
                      <a:pt x="11" y="123"/>
                    </a:lnTo>
                    <a:lnTo>
                      <a:pt x="10" y="123"/>
                    </a:lnTo>
                    <a:lnTo>
                      <a:pt x="10" y="122"/>
                    </a:lnTo>
                    <a:lnTo>
                      <a:pt x="11" y="122"/>
                    </a:lnTo>
                    <a:lnTo>
                      <a:pt x="11" y="121"/>
                    </a:lnTo>
                    <a:lnTo>
                      <a:pt x="10" y="121"/>
                    </a:lnTo>
                    <a:lnTo>
                      <a:pt x="9" y="120"/>
                    </a:lnTo>
                    <a:lnTo>
                      <a:pt x="10" y="120"/>
                    </a:lnTo>
                    <a:lnTo>
                      <a:pt x="10" y="119"/>
                    </a:lnTo>
                    <a:lnTo>
                      <a:pt x="9" y="119"/>
                    </a:lnTo>
                    <a:lnTo>
                      <a:pt x="8" y="119"/>
                    </a:lnTo>
                    <a:lnTo>
                      <a:pt x="8" y="118"/>
                    </a:lnTo>
                    <a:lnTo>
                      <a:pt x="7" y="117"/>
                    </a:lnTo>
                    <a:lnTo>
                      <a:pt x="7" y="116"/>
                    </a:lnTo>
                    <a:lnTo>
                      <a:pt x="8" y="116"/>
                    </a:lnTo>
                    <a:lnTo>
                      <a:pt x="9" y="116"/>
                    </a:lnTo>
                    <a:lnTo>
                      <a:pt x="9" y="114"/>
                    </a:lnTo>
                    <a:lnTo>
                      <a:pt x="9" y="113"/>
                    </a:lnTo>
                    <a:lnTo>
                      <a:pt x="8" y="114"/>
                    </a:lnTo>
                    <a:lnTo>
                      <a:pt x="7" y="114"/>
                    </a:lnTo>
                    <a:lnTo>
                      <a:pt x="7" y="113"/>
                    </a:lnTo>
                    <a:lnTo>
                      <a:pt x="7" y="112"/>
                    </a:lnTo>
                    <a:lnTo>
                      <a:pt x="5" y="112"/>
                    </a:lnTo>
                    <a:lnTo>
                      <a:pt x="4" y="112"/>
                    </a:lnTo>
                    <a:lnTo>
                      <a:pt x="4" y="113"/>
                    </a:lnTo>
                    <a:lnTo>
                      <a:pt x="3" y="113"/>
                    </a:lnTo>
                    <a:lnTo>
                      <a:pt x="2" y="113"/>
                    </a:lnTo>
                    <a:lnTo>
                      <a:pt x="1" y="113"/>
                    </a:lnTo>
                    <a:lnTo>
                      <a:pt x="1" y="112"/>
                    </a:lnTo>
                    <a:lnTo>
                      <a:pt x="0" y="111"/>
                    </a:lnTo>
                    <a:lnTo>
                      <a:pt x="1" y="111"/>
                    </a:lnTo>
                    <a:lnTo>
                      <a:pt x="1" y="110"/>
                    </a:lnTo>
                    <a:lnTo>
                      <a:pt x="2" y="110"/>
                    </a:lnTo>
                    <a:lnTo>
                      <a:pt x="2" y="109"/>
                    </a:lnTo>
                    <a:lnTo>
                      <a:pt x="3" y="109"/>
                    </a:lnTo>
                    <a:lnTo>
                      <a:pt x="3" y="108"/>
                    </a:lnTo>
                    <a:lnTo>
                      <a:pt x="4" y="107"/>
                    </a:lnTo>
                    <a:lnTo>
                      <a:pt x="3" y="107"/>
                    </a:lnTo>
                    <a:lnTo>
                      <a:pt x="2" y="107"/>
                    </a:lnTo>
                    <a:lnTo>
                      <a:pt x="1" y="106"/>
                    </a:lnTo>
                    <a:lnTo>
                      <a:pt x="0" y="105"/>
                    </a:lnTo>
                    <a:lnTo>
                      <a:pt x="0" y="104"/>
                    </a:lnTo>
                    <a:lnTo>
                      <a:pt x="1" y="104"/>
                    </a:lnTo>
                    <a:lnTo>
                      <a:pt x="2" y="104"/>
                    </a:lnTo>
                    <a:lnTo>
                      <a:pt x="3" y="105"/>
                    </a:lnTo>
                    <a:lnTo>
                      <a:pt x="4" y="105"/>
                    </a:lnTo>
                    <a:lnTo>
                      <a:pt x="4" y="104"/>
                    </a:lnTo>
                    <a:lnTo>
                      <a:pt x="3" y="104"/>
                    </a:lnTo>
                    <a:lnTo>
                      <a:pt x="3" y="103"/>
                    </a:lnTo>
                    <a:lnTo>
                      <a:pt x="2" y="103"/>
                    </a:lnTo>
                    <a:lnTo>
                      <a:pt x="1" y="103"/>
                    </a:lnTo>
                    <a:lnTo>
                      <a:pt x="1" y="101"/>
                    </a:lnTo>
                    <a:lnTo>
                      <a:pt x="2" y="101"/>
                    </a:lnTo>
                    <a:lnTo>
                      <a:pt x="3" y="100"/>
                    </a:lnTo>
                    <a:lnTo>
                      <a:pt x="4" y="100"/>
                    </a:lnTo>
                    <a:lnTo>
                      <a:pt x="4" y="99"/>
                    </a:lnTo>
                    <a:lnTo>
                      <a:pt x="5" y="99"/>
                    </a:lnTo>
                    <a:lnTo>
                      <a:pt x="4" y="98"/>
                    </a:lnTo>
                    <a:lnTo>
                      <a:pt x="3" y="98"/>
                    </a:lnTo>
                    <a:lnTo>
                      <a:pt x="2" y="97"/>
                    </a:lnTo>
                    <a:lnTo>
                      <a:pt x="3" y="96"/>
                    </a:lnTo>
                    <a:lnTo>
                      <a:pt x="4" y="96"/>
                    </a:lnTo>
                    <a:lnTo>
                      <a:pt x="4" y="95"/>
                    </a:lnTo>
                    <a:lnTo>
                      <a:pt x="3" y="95"/>
                    </a:lnTo>
                    <a:lnTo>
                      <a:pt x="3" y="94"/>
                    </a:lnTo>
                    <a:lnTo>
                      <a:pt x="3" y="93"/>
                    </a:lnTo>
                    <a:lnTo>
                      <a:pt x="3" y="92"/>
                    </a:lnTo>
                    <a:lnTo>
                      <a:pt x="4" y="92"/>
                    </a:lnTo>
                    <a:lnTo>
                      <a:pt x="4" y="93"/>
                    </a:lnTo>
                    <a:lnTo>
                      <a:pt x="4" y="94"/>
                    </a:lnTo>
                    <a:lnTo>
                      <a:pt x="5" y="95"/>
                    </a:lnTo>
                    <a:lnTo>
                      <a:pt x="7" y="95"/>
                    </a:lnTo>
                    <a:lnTo>
                      <a:pt x="7" y="94"/>
                    </a:lnTo>
                    <a:lnTo>
                      <a:pt x="7" y="93"/>
                    </a:lnTo>
                    <a:lnTo>
                      <a:pt x="8" y="93"/>
                    </a:lnTo>
                    <a:lnTo>
                      <a:pt x="9" y="93"/>
                    </a:lnTo>
                    <a:lnTo>
                      <a:pt x="10" y="93"/>
                    </a:lnTo>
                    <a:lnTo>
                      <a:pt x="10" y="92"/>
                    </a:lnTo>
                    <a:lnTo>
                      <a:pt x="9" y="92"/>
                    </a:lnTo>
                    <a:lnTo>
                      <a:pt x="9" y="91"/>
                    </a:lnTo>
                    <a:lnTo>
                      <a:pt x="7" y="90"/>
                    </a:lnTo>
                    <a:lnTo>
                      <a:pt x="5" y="90"/>
                    </a:lnTo>
                    <a:lnTo>
                      <a:pt x="5" y="88"/>
                    </a:lnTo>
                    <a:lnTo>
                      <a:pt x="4" y="88"/>
                    </a:lnTo>
                    <a:lnTo>
                      <a:pt x="4" y="87"/>
                    </a:lnTo>
                    <a:lnTo>
                      <a:pt x="4" y="86"/>
                    </a:lnTo>
                    <a:lnTo>
                      <a:pt x="4" y="85"/>
                    </a:lnTo>
                    <a:lnTo>
                      <a:pt x="5" y="85"/>
                    </a:lnTo>
                    <a:lnTo>
                      <a:pt x="5" y="86"/>
                    </a:lnTo>
                    <a:lnTo>
                      <a:pt x="5" y="87"/>
                    </a:lnTo>
                    <a:lnTo>
                      <a:pt x="7" y="88"/>
                    </a:lnTo>
                    <a:lnTo>
                      <a:pt x="7" y="87"/>
                    </a:lnTo>
                    <a:lnTo>
                      <a:pt x="8" y="87"/>
                    </a:lnTo>
                    <a:lnTo>
                      <a:pt x="7" y="86"/>
                    </a:lnTo>
                    <a:lnTo>
                      <a:pt x="7" y="85"/>
                    </a:lnTo>
                    <a:lnTo>
                      <a:pt x="7" y="84"/>
                    </a:lnTo>
                    <a:lnTo>
                      <a:pt x="7" y="83"/>
                    </a:lnTo>
                    <a:lnTo>
                      <a:pt x="7" y="81"/>
                    </a:lnTo>
                    <a:lnTo>
                      <a:pt x="7" y="79"/>
                    </a:lnTo>
                    <a:lnTo>
                      <a:pt x="7" y="78"/>
                    </a:lnTo>
                    <a:lnTo>
                      <a:pt x="7" y="77"/>
                    </a:lnTo>
                    <a:lnTo>
                      <a:pt x="5" y="77"/>
                    </a:lnTo>
                    <a:lnTo>
                      <a:pt x="4" y="75"/>
                    </a:lnTo>
                    <a:lnTo>
                      <a:pt x="4" y="74"/>
                    </a:lnTo>
                    <a:lnTo>
                      <a:pt x="5" y="74"/>
                    </a:lnTo>
                    <a:lnTo>
                      <a:pt x="5" y="75"/>
                    </a:lnTo>
                    <a:lnTo>
                      <a:pt x="7" y="75"/>
                    </a:lnTo>
                    <a:lnTo>
                      <a:pt x="7" y="74"/>
                    </a:lnTo>
                    <a:lnTo>
                      <a:pt x="8" y="74"/>
                    </a:lnTo>
                    <a:lnTo>
                      <a:pt x="8" y="73"/>
                    </a:lnTo>
                    <a:lnTo>
                      <a:pt x="7" y="73"/>
                    </a:lnTo>
                    <a:lnTo>
                      <a:pt x="5" y="73"/>
                    </a:lnTo>
                    <a:lnTo>
                      <a:pt x="4" y="73"/>
                    </a:lnTo>
                    <a:lnTo>
                      <a:pt x="4" y="72"/>
                    </a:lnTo>
                    <a:lnTo>
                      <a:pt x="5" y="71"/>
                    </a:lnTo>
                    <a:lnTo>
                      <a:pt x="5" y="70"/>
                    </a:lnTo>
                    <a:lnTo>
                      <a:pt x="7" y="70"/>
                    </a:lnTo>
                    <a:lnTo>
                      <a:pt x="8" y="69"/>
                    </a:lnTo>
                    <a:lnTo>
                      <a:pt x="9" y="69"/>
                    </a:lnTo>
                    <a:lnTo>
                      <a:pt x="9" y="67"/>
                    </a:lnTo>
                    <a:lnTo>
                      <a:pt x="10" y="67"/>
                    </a:lnTo>
                    <a:lnTo>
                      <a:pt x="11" y="66"/>
                    </a:lnTo>
                    <a:lnTo>
                      <a:pt x="12" y="66"/>
                    </a:lnTo>
                    <a:lnTo>
                      <a:pt x="12" y="67"/>
                    </a:lnTo>
                    <a:lnTo>
                      <a:pt x="13" y="66"/>
                    </a:lnTo>
                    <a:lnTo>
                      <a:pt x="13" y="65"/>
                    </a:lnTo>
                    <a:lnTo>
                      <a:pt x="14" y="65"/>
                    </a:lnTo>
                    <a:lnTo>
                      <a:pt x="14" y="63"/>
                    </a:lnTo>
                    <a:lnTo>
                      <a:pt x="15" y="63"/>
                    </a:lnTo>
                    <a:lnTo>
                      <a:pt x="15" y="62"/>
                    </a:lnTo>
                    <a:lnTo>
                      <a:pt x="38" y="62"/>
                    </a:lnTo>
                    <a:lnTo>
                      <a:pt x="45" y="62"/>
                    </a:lnTo>
                    <a:lnTo>
                      <a:pt x="49" y="62"/>
                    </a:lnTo>
                    <a:lnTo>
                      <a:pt x="55" y="61"/>
                    </a:lnTo>
                    <a:lnTo>
                      <a:pt x="58" y="62"/>
                    </a:lnTo>
                    <a:lnTo>
                      <a:pt x="59" y="61"/>
                    </a:lnTo>
                    <a:lnTo>
                      <a:pt x="62" y="62"/>
                    </a:lnTo>
                    <a:lnTo>
                      <a:pt x="67" y="62"/>
                    </a:lnTo>
                    <a:lnTo>
                      <a:pt x="75" y="62"/>
                    </a:lnTo>
                    <a:lnTo>
                      <a:pt x="88" y="62"/>
                    </a:lnTo>
                    <a:lnTo>
                      <a:pt x="97" y="61"/>
                    </a:lnTo>
                    <a:lnTo>
                      <a:pt x="106" y="61"/>
                    </a:lnTo>
                    <a:lnTo>
                      <a:pt x="112" y="61"/>
                    </a:lnTo>
                    <a:lnTo>
                      <a:pt x="128" y="61"/>
                    </a:lnTo>
                    <a:lnTo>
                      <a:pt x="134" y="62"/>
                    </a:lnTo>
                    <a:lnTo>
                      <a:pt x="147" y="62"/>
                    </a:lnTo>
                    <a:lnTo>
                      <a:pt x="150" y="62"/>
                    </a:lnTo>
                    <a:lnTo>
                      <a:pt x="151" y="62"/>
                    </a:lnTo>
                    <a:lnTo>
                      <a:pt x="153" y="62"/>
                    </a:lnTo>
                    <a:lnTo>
                      <a:pt x="154" y="62"/>
                    </a:lnTo>
                    <a:lnTo>
                      <a:pt x="163" y="62"/>
                    </a:lnTo>
                    <a:lnTo>
                      <a:pt x="171" y="62"/>
                    </a:lnTo>
                    <a:lnTo>
                      <a:pt x="171" y="48"/>
                    </a:lnTo>
                    <a:lnTo>
                      <a:pt x="171" y="30"/>
                    </a:lnTo>
                    <a:lnTo>
                      <a:pt x="171" y="24"/>
                    </a:lnTo>
                    <a:lnTo>
                      <a:pt x="171" y="10"/>
                    </a:lnTo>
                    <a:lnTo>
                      <a:pt x="171" y="0"/>
                    </a:lnTo>
                    <a:lnTo>
                      <a:pt x="202" y="0"/>
                    </a:lnTo>
                    <a:lnTo>
                      <a:pt x="213" y="0"/>
                    </a:lnTo>
                    <a:lnTo>
                      <a:pt x="224" y="0"/>
                    </a:lnTo>
                    <a:lnTo>
                      <a:pt x="234" y="0"/>
                    </a:lnTo>
                    <a:lnTo>
                      <a:pt x="234" y="10"/>
                    </a:lnTo>
                    <a:lnTo>
                      <a:pt x="234" y="20"/>
                    </a:lnTo>
                    <a:lnTo>
                      <a:pt x="234" y="21"/>
                    </a:lnTo>
                    <a:lnTo>
                      <a:pt x="234" y="28"/>
                    </a:lnTo>
                    <a:lnTo>
                      <a:pt x="233" y="30"/>
                    </a:lnTo>
                    <a:lnTo>
                      <a:pt x="233" y="31"/>
                    </a:lnTo>
                    <a:lnTo>
                      <a:pt x="233" y="37"/>
                    </a:lnTo>
                    <a:lnTo>
                      <a:pt x="233" y="41"/>
                    </a:lnTo>
                    <a:lnTo>
                      <a:pt x="233" y="53"/>
                    </a:lnTo>
                    <a:lnTo>
                      <a:pt x="233" y="59"/>
                    </a:lnTo>
                    <a:lnTo>
                      <a:pt x="233" y="62"/>
                    </a:lnTo>
                    <a:lnTo>
                      <a:pt x="240" y="62"/>
                    </a:lnTo>
                    <a:lnTo>
                      <a:pt x="265" y="61"/>
                    </a:lnTo>
                    <a:lnTo>
                      <a:pt x="276" y="61"/>
                    </a:lnTo>
                    <a:lnTo>
                      <a:pt x="300" y="61"/>
                    </a:lnTo>
                    <a:lnTo>
                      <a:pt x="306" y="61"/>
                    </a:lnTo>
                    <a:lnTo>
                      <a:pt x="316" y="61"/>
                    </a:lnTo>
                    <a:lnTo>
                      <a:pt x="319" y="61"/>
                    </a:lnTo>
                    <a:lnTo>
                      <a:pt x="326" y="61"/>
                    </a:lnTo>
                    <a:lnTo>
                      <a:pt x="376" y="61"/>
                    </a:lnTo>
                    <a:lnTo>
                      <a:pt x="384" y="61"/>
                    </a:lnTo>
                    <a:lnTo>
                      <a:pt x="389" y="61"/>
                    </a:lnTo>
                    <a:close/>
                  </a:path>
                </a:pathLst>
              </a:custGeom>
              <a:grpFill/>
              <a:ln w="19050">
                <a:solidFill>
                  <a:srgbClr val="FFC000"/>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911" name="Freeform 42">
                <a:extLst>
                  <a:ext uri="{FF2B5EF4-FFF2-40B4-BE49-F238E27FC236}">
                    <a16:creationId xmlns:a16="http://schemas.microsoft.com/office/drawing/2014/main" id="{45D6F7CD-58B5-AAB6-7889-66DF72B74AF5}"/>
                  </a:ext>
                </a:extLst>
              </p:cNvPr>
              <p:cNvSpPr>
                <a:spLocks/>
              </p:cNvSpPr>
              <p:nvPr/>
            </p:nvSpPr>
            <p:spPr bwMode="auto">
              <a:xfrm>
                <a:off x="1711983" y="3279394"/>
                <a:ext cx="884238" cy="714375"/>
              </a:xfrm>
              <a:custGeom>
                <a:avLst/>
                <a:gdLst>
                  <a:gd name="T0" fmla="*/ 492 w 557"/>
                  <a:gd name="T1" fmla="*/ 32 h 450"/>
                  <a:gd name="T2" fmla="*/ 501 w 557"/>
                  <a:gd name="T3" fmla="*/ 39 h 450"/>
                  <a:gd name="T4" fmla="*/ 506 w 557"/>
                  <a:gd name="T5" fmla="*/ 50 h 450"/>
                  <a:gd name="T6" fmla="*/ 504 w 557"/>
                  <a:gd name="T7" fmla="*/ 65 h 450"/>
                  <a:gd name="T8" fmla="*/ 516 w 557"/>
                  <a:gd name="T9" fmla="*/ 85 h 450"/>
                  <a:gd name="T10" fmla="*/ 530 w 557"/>
                  <a:gd name="T11" fmla="*/ 95 h 450"/>
                  <a:gd name="T12" fmla="*/ 531 w 557"/>
                  <a:gd name="T13" fmla="*/ 103 h 450"/>
                  <a:gd name="T14" fmla="*/ 540 w 557"/>
                  <a:gd name="T15" fmla="*/ 102 h 450"/>
                  <a:gd name="T16" fmla="*/ 550 w 557"/>
                  <a:gd name="T17" fmla="*/ 110 h 450"/>
                  <a:gd name="T18" fmla="*/ 552 w 557"/>
                  <a:gd name="T19" fmla="*/ 121 h 450"/>
                  <a:gd name="T20" fmla="*/ 549 w 557"/>
                  <a:gd name="T21" fmla="*/ 128 h 450"/>
                  <a:gd name="T22" fmla="*/ 542 w 557"/>
                  <a:gd name="T23" fmla="*/ 137 h 450"/>
                  <a:gd name="T24" fmla="*/ 535 w 557"/>
                  <a:gd name="T25" fmla="*/ 145 h 450"/>
                  <a:gd name="T26" fmla="*/ 525 w 557"/>
                  <a:gd name="T27" fmla="*/ 151 h 450"/>
                  <a:gd name="T28" fmla="*/ 516 w 557"/>
                  <a:gd name="T29" fmla="*/ 153 h 450"/>
                  <a:gd name="T30" fmla="*/ 503 w 557"/>
                  <a:gd name="T31" fmla="*/ 158 h 450"/>
                  <a:gd name="T32" fmla="*/ 493 w 557"/>
                  <a:gd name="T33" fmla="*/ 147 h 450"/>
                  <a:gd name="T34" fmla="*/ 490 w 557"/>
                  <a:gd name="T35" fmla="*/ 136 h 450"/>
                  <a:gd name="T36" fmla="*/ 480 w 557"/>
                  <a:gd name="T37" fmla="*/ 134 h 450"/>
                  <a:gd name="T38" fmla="*/ 470 w 557"/>
                  <a:gd name="T39" fmla="*/ 135 h 450"/>
                  <a:gd name="T40" fmla="*/ 464 w 557"/>
                  <a:gd name="T41" fmla="*/ 138 h 450"/>
                  <a:gd name="T42" fmla="*/ 459 w 557"/>
                  <a:gd name="T43" fmla="*/ 238 h 450"/>
                  <a:gd name="T44" fmla="*/ 458 w 557"/>
                  <a:gd name="T45" fmla="*/ 280 h 450"/>
                  <a:gd name="T46" fmla="*/ 471 w 557"/>
                  <a:gd name="T47" fmla="*/ 379 h 450"/>
                  <a:gd name="T48" fmla="*/ 474 w 557"/>
                  <a:gd name="T49" fmla="*/ 397 h 450"/>
                  <a:gd name="T50" fmla="*/ 400 w 557"/>
                  <a:gd name="T51" fmla="*/ 397 h 450"/>
                  <a:gd name="T52" fmla="*/ 391 w 557"/>
                  <a:gd name="T53" fmla="*/ 392 h 450"/>
                  <a:gd name="T54" fmla="*/ 386 w 557"/>
                  <a:gd name="T55" fmla="*/ 383 h 450"/>
                  <a:gd name="T56" fmla="*/ 376 w 557"/>
                  <a:gd name="T57" fmla="*/ 378 h 450"/>
                  <a:gd name="T58" fmla="*/ 369 w 557"/>
                  <a:gd name="T59" fmla="*/ 372 h 450"/>
                  <a:gd name="T60" fmla="*/ 356 w 557"/>
                  <a:gd name="T61" fmla="*/ 375 h 450"/>
                  <a:gd name="T62" fmla="*/ 348 w 557"/>
                  <a:gd name="T63" fmla="*/ 384 h 450"/>
                  <a:gd name="T64" fmla="*/ 337 w 557"/>
                  <a:gd name="T65" fmla="*/ 392 h 450"/>
                  <a:gd name="T66" fmla="*/ 328 w 557"/>
                  <a:gd name="T67" fmla="*/ 397 h 450"/>
                  <a:gd name="T68" fmla="*/ 309 w 557"/>
                  <a:gd name="T69" fmla="*/ 406 h 450"/>
                  <a:gd name="T70" fmla="*/ 307 w 557"/>
                  <a:gd name="T71" fmla="*/ 420 h 450"/>
                  <a:gd name="T72" fmla="*/ 306 w 557"/>
                  <a:gd name="T73" fmla="*/ 432 h 450"/>
                  <a:gd name="T74" fmla="*/ 298 w 557"/>
                  <a:gd name="T75" fmla="*/ 441 h 450"/>
                  <a:gd name="T76" fmla="*/ 290 w 557"/>
                  <a:gd name="T77" fmla="*/ 445 h 450"/>
                  <a:gd name="T78" fmla="*/ 280 w 557"/>
                  <a:gd name="T79" fmla="*/ 447 h 450"/>
                  <a:gd name="T80" fmla="*/ 272 w 557"/>
                  <a:gd name="T81" fmla="*/ 444 h 450"/>
                  <a:gd name="T82" fmla="*/ 264 w 557"/>
                  <a:gd name="T83" fmla="*/ 441 h 450"/>
                  <a:gd name="T84" fmla="*/ 235 w 557"/>
                  <a:gd name="T85" fmla="*/ 444 h 450"/>
                  <a:gd name="T86" fmla="*/ 108 w 557"/>
                  <a:gd name="T87" fmla="*/ 450 h 450"/>
                  <a:gd name="T88" fmla="*/ 95 w 557"/>
                  <a:gd name="T89" fmla="*/ 298 h 450"/>
                  <a:gd name="T90" fmla="*/ 84 w 557"/>
                  <a:gd name="T91" fmla="*/ 190 h 450"/>
                  <a:gd name="T92" fmla="*/ 63 w 557"/>
                  <a:gd name="T93" fmla="*/ 145 h 450"/>
                  <a:gd name="T94" fmla="*/ 27 w 557"/>
                  <a:gd name="T95" fmla="*/ 134 h 450"/>
                  <a:gd name="T96" fmla="*/ 43 w 557"/>
                  <a:gd name="T97" fmla="*/ 93 h 450"/>
                  <a:gd name="T98" fmla="*/ 120 w 557"/>
                  <a:gd name="T99" fmla="*/ 41 h 450"/>
                  <a:gd name="T100" fmla="*/ 165 w 557"/>
                  <a:gd name="T101" fmla="*/ 7 h 450"/>
                  <a:gd name="T102" fmla="*/ 181 w 557"/>
                  <a:gd name="T103" fmla="*/ 12 h 450"/>
                  <a:gd name="T104" fmla="*/ 173 w 557"/>
                  <a:gd name="T105" fmla="*/ 25 h 450"/>
                  <a:gd name="T106" fmla="*/ 169 w 557"/>
                  <a:gd name="T107" fmla="*/ 48 h 450"/>
                  <a:gd name="T108" fmla="*/ 177 w 557"/>
                  <a:gd name="T109" fmla="*/ 62 h 450"/>
                  <a:gd name="T110" fmla="*/ 176 w 557"/>
                  <a:gd name="T111" fmla="*/ 80 h 450"/>
                  <a:gd name="T112" fmla="*/ 191 w 557"/>
                  <a:gd name="T113" fmla="*/ 82 h 450"/>
                  <a:gd name="T114" fmla="*/ 200 w 557"/>
                  <a:gd name="T115" fmla="*/ 94 h 450"/>
                  <a:gd name="T116" fmla="*/ 224 w 557"/>
                  <a:gd name="T117" fmla="*/ 89 h 450"/>
                  <a:gd name="T118" fmla="*/ 345 w 557"/>
                  <a:gd name="T119" fmla="*/ 6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 h="450">
                    <a:moveTo>
                      <a:pt x="482" y="29"/>
                    </a:moveTo>
                    <a:lnTo>
                      <a:pt x="482" y="30"/>
                    </a:lnTo>
                    <a:lnTo>
                      <a:pt x="483" y="32"/>
                    </a:lnTo>
                    <a:lnTo>
                      <a:pt x="484" y="35"/>
                    </a:lnTo>
                    <a:lnTo>
                      <a:pt x="485" y="36"/>
                    </a:lnTo>
                    <a:lnTo>
                      <a:pt x="486" y="36"/>
                    </a:lnTo>
                    <a:lnTo>
                      <a:pt x="487" y="36"/>
                    </a:lnTo>
                    <a:lnTo>
                      <a:pt x="488" y="35"/>
                    </a:lnTo>
                    <a:lnTo>
                      <a:pt x="489" y="35"/>
                    </a:lnTo>
                    <a:lnTo>
                      <a:pt x="489" y="34"/>
                    </a:lnTo>
                    <a:lnTo>
                      <a:pt x="489" y="33"/>
                    </a:lnTo>
                    <a:lnTo>
                      <a:pt x="489" y="32"/>
                    </a:lnTo>
                    <a:lnTo>
                      <a:pt x="489" y="31"/>
                    </a:lnTo>
                    <a:lnTo>
                      <a:pt x="490" y="31"/>
                    </a:lnTo>
                    <a:lnTo>
                      <a:pt x="491" y="31"/>
                    </a:lnTo>
                    <a:lnTo>
                      <a:pt x="492" y="32"/>
                    </a:lnTo>
                    <a:lnTo>
                      <a:pt x="492" y="33"/>
                    </a:lnTo>
                    <a:lnTo>
                      <a:pt x="493" y="34"/>
                    </a:lnTo>
                    <a:lnTo>
                      <a:pt x="495" y="35"/>
                    </a:lnTo>
                    <a:lnTo>
                      <a:pt x="496" y="35"/>
                    </a:lnTo>
                    <a:lnTo>
                      <a:pt x="497" y="35"/>
                    </a:lnTo>
                    <a:lnTo>
                      <a:pt x="498" y="35"/>
                    </a:lnTo>
                    <a:lnTo>
                      <a:pt x="499" y="34"/>
                    </a:lnTo>
                    <a:lnTo>
                      <a:pt x="500" y="33"/>
                    </a:lnTo>
                    <a:lnTo>
                      <a:pt x="501" y="33"/>
                    </a:lnTo>
                    <a:lnTo>
                      <a:pt x="501" y="34"/>
                    </a:lnTo>
                    <a:lnTo>
                      <a:pt x="501" y="35"/>
                    </a:lnTo>
                    <a:lnTo>
                      <a:pt x="502" y="36"/>
                    </a:lnTo>
                    <a:lnTo>
                      <a:pt x="503" y="36"/>
                    </a:lnTo>
                    <a:lnTo>
                      <a:pt x="503" y="37"/>
                    </a:lnTo>
                    <a:lnTo>
                      <a:pt x="502" y="38"/>
                    </a:lnTo>
                    <a:lnTo>
                      <a:pt x="501" y="39"/>
                    </a:lnTo>
                    <a:lnTo>
                      <a:pt x="500" y="41"/>
                    </a:lnTo>
                    <a:lnTo>
                      <a:pt x="499" y="42"/>
                    </a:lnTo>
                    <a:lnTo>
                      <a:pt x="498" y="43"/>
                    </a:lnTo>
                    <a:lnTo>
                      <a:pt x="498" y="44"/>
                    </a:lnTo>
                    <a:lnTo>
                      <a:pt x="498" y="45"/>
                    </a:lnTo>
                    <a:lnTo>
                      <a:pt x="499" y="45"/>
                    </a:lnTo>
                    <a:lnTo>
                      <a:pt x="500" y="46"/>
                    </a:lnTo>
                    <a:lnTo>
                      <a:pt x="501" y="46"/>
                    </a:lnTo>
                    <a:lnTo>
                      <a:pt x="502" y="46"/>
                    </a:lnTo>
                    <a:lnTo>
                      <a:pt x="503" y="47"/>
                    </a:lnTo>
                    <a:lnTo>
                      <a:pt x="504" y="47"/>
                    </a:lnTo>
                    <a:lnTo>
                      <a:pt x="505" y="47"/>
                    </a:lnTo>
                    <a:lnTo>
                      <a:pt x="505" y="48"/>
                    </a:lnTo>
                    <a:lnTo>
                      <a:pt x="506" y="48"/>
                    </a:lnTo>
                    <a:lnTo>
                      <a:pt x="506" y="49"/>
                    </a:lnTo>
                    <a:lnTo>
                      <a:pt x="506" y="50"/>
                    </a:lnTo>
                    <a:lnTo>
                      <a:pt x="506" y="51"/>
                    </a:lnTo>
                    <a:lnTo>
                      <a:pt x="506" y="52"/>
                    </a:lnTo>
                    <a:lnTo>
                      <a:pt x="505" y="54"/>
                    </a:lnTo>
                    <a:lnTo>
                      <a:pt x="504" y="54"/>
                    </a:lnTo>
                    <a:lnTo>
                      <a:pt x="504" y="55"/>
                    </a:lnTo>
                    <a:lnTo>
                      <a:pt x="504" y="56"/>
                    </a:lnTo>
                    <a:lnTo>
                      <a:pt x="503" y="56"/>
                    </a:lnTo>
                    <a:lnTo>
                      <a:pt x="503" y="57"/>
                    </a:lnTo>
                    <a:lnTo>
                      <a:pt x="502" y="58"/>
                    </a:lnTo>
                    <a:lnTo>
                      <a:pt x="502" y="59"/>
                    </a:lnTo>
                    <a:lnTo>
                      <a:pt x="502" y="60"/>
                    </a:lnTo>
                    <a:lnTo>
                      <a:pt x="502" y="61"/>
                    </a:lnTo>
                    <a:lnTo>
                      <a:pt x="503" y="61"/>
                    </a:lnTo>
                    <a:lnTo>
                      <a:pt x="503" y="62"/>
                    </a:lnTo>
                    <a:lnTo>
                      <a:pt x="504" y="64"/>
                    </a:lnTo>
                    <a:lnTo>
                      <a:pt x="504" y="65"/>
                    </a:lnTo>
                    <a:lnTo>
                      <a:pt x="504" y="67"/>
                    </a:lnTo>
                    <a:lnTo>
                      <a:pt x="504" y="68"/>
                    </a:lnTo>
                    <a:lnTo>
                      <a:pt x="504" y="69"/>
                    </a:lnTo>
                    <a:lnTo>
                      <a:pt x="508" y="70"/>
                    </a:lnTo>
                    <a:lnTo>
                      <a:pt x="509" y="72"/>
                    </a:lnTo>
                    <a:lnTo>
                      <a:pt x="509" y="73"/>
                    </a:lnTo>
                    <a:lnTo>
                      <a:pt x="510" y="74"/>
                    </a:lnTo>
                    <a:lnTo>
                      <a:pt x="510" y="75"/>
                    </a:lnTo>
                    <a:lnTo>
                      <a:pt x="509" y="77"/>
                    </a:lnTo>
                    <a:lnTo>
                      <a:pt x="510" y="78"/>
                    </a:lnTo>
                    <a:lnTo>
                      <a:pt x="510" y="80"/>
                    </a:lnTo>
                    <a:lnTo>
                      <a:pt x="510" y="81"/>
                    </a:lnTo>
                    <a:lnTo>
                      <a:pt x="511" y="82"/>
                    </a:lnTo>
                    <a:lnTo>
                      <a:pt x="513" y="83"/>
                    </a:lnTo>
                    <a:lnTo>
                      <a:pt x="514" y="84"/>
                    </a:lnTo>
                    <a:lnTo>
                      <a:pt x="516" y="85"/>
                    </a:lnTo>
                    <a:lnTo>
                      <a:pt x="517" y="86"/>
                    </a:lnTo>
                    <a:lnTo>
                      <a:pt x="519" y="87"/>
                    </a:lnTo>
                    <a:lnTo>
                      <a:pt x="519" y="88"/>
                    </a:lnTo>
                    <a:lnTo>
                      <a:pt x="521" y="88"/>
                    </a:lnTo>
                    <a:lnTo>
                      <a:pt x="521" y="89"/>
                    </a:lnTo>
                    <a:lnTo>
                      <a:pt x="521" y="90"/>
                    </a:lnTo>
                    <a:lnTo>
                      <a:pt x="522" y="90"/>
                    </a:lnTo>
                    <a:lnTo>
                      <a:pt x="523" y="91"/>
                    </a:lnTo>
                    <a:lnTo>
                      <a:pt x="523" y="93"/>
                    </a:lnTo>
                    <a:lnTo>
                      <a:pt x="524" y="94"/>
                    </a:lnTo>
                    <a:lnTo>
                      <a:pt x="525" y="94"/>
                    </a:lnTo>
                    <a:lnTo>
                      <a:pt x="527" y="94"/>
                    </a:lnTo>
                    <a:lnTo>
                      <a:pt x="528" y="94"/>
                    </a:lnTo>
                    <a:lnTo>
                      <a:pt x="529" y="94"/>
                    </a:lnTo>
                    <a:lnTo>
                      <a:pt x="529" y="95"/>
                    </a:lnTo>
                    <a:lnTo>
                      <a:pt x="530" y="95"/>
                    </a:lnTo>
                    <a:lnTo>
                      <a:pt x="531" y="95"/>
                    </a:lnTo>
                    <a:lnTo>
                      <a:pt x="531" y="96"/>
                    </a:lnTo>
                    <a:lnTo>
                      <a:pt x="530" y="96"/>
                    </a:lnTo>
                    <a:lnTo>
                      <a:pt x="530" y="97"/>
                    </a:lnTo>
                    <a:lnTo>
                      <a:pt x="529" y="97"/>
                    </a:lnTo>
                    <a:lnTo>
                      <a:pt x="529" y="98"/>
                    </a:lnTo>
                    <a:lnTo>
                      <a:pt x="528" y="98"/>
                    </a:lnTo>
                    <a:lnTo>
                      <a:pt x="528" y="99"/>
                    </a:lnTo>
                    <a:lnTo>
                      <a:pt x="527" y="99"/>
                    </a:lnTo>
                    <a:lnTo>
                      <a:pt x="528" y="100"/>
                    </a:lnTo>
                    <a:lnTo>
                      <a:pt x="529" y="100"/>
                    </a:lnTo>
                    <a:lnTo>
                      <a:pt x="529" y="101"/>
                    </a:lnTo>
                    <a:lnTo>
                      <a:pt x="530" y="101"/>
                    </a:lnTo>
                    <a:lnTo>
                      <a:pt x="530" y="102"/>
                    </a:lnTo>
                    <a:lnTo>
                      <a:pt x="531" y="102"/>
                    </a:lnTo>
                    <a:lnTo>
                      <a:pt x="531" y="103"/>
                    </a:lnTo>
                    <a:lnTo>
                      <a:pt x="533" y="103"/>
                    </a:lnTo>
                    <a:lnTo>
                      <a:pt x="533" y="102"/>
                    </a:lnTo>
                    <a:lnTo>
                      <a:pt x="533" y="103"/>
                    </a:lnTo>
                    <a:lnTo>
                      <a:pt x="534" y="103"/>
                    </a:lnTo>
                    <a:lnTo>
                      <a:pt x="534" y="104"/>
                    </a:lnTo>
                    <a:lnTo>
                      <a:pt x="534" y="103"/>
                    </a:lnTo>
                    <a:lnTo>
                      <a:pt x="535" y="104"/>
                    </a:lnTo>
                    <a:lnTo>
                      <a:pt x="536" y="103"/>
                    </a:lnTo>
                    <a:lnTo>
                      <a:pt x="536" y="102"/>
                    </a:lnTo>
                    <a:lnTo>
                      <a:pt x="537" y="102"/>
                    </a:lnTo>
                    <a:lnTo>
                      <a:pt x="537" y="101"/>
                    </a:lnTo>
                    <a:lnTo>
                      <a:pt x="538" y="102"/>
                    </a:lnTo>
                    <a:lnTo>
                      <a:pt x="538" y="101"/>
                    </a:lnTo>
                    <a:lnTo>
                      <a:pt x="539" y="101"/>
                    </a:lnTo>
                    <a:lnTo>
                      <a:pt x="539" y="102"/>
                    </a:lnTo>
                    <a:lnTo>
                      <a:pt x="540" y="102"/>
                    </a:lnTo>
                    <a:lnTo>
                      <a:pt x="541" y="103"/>
                    </a:lnTo>
                    <a:lnTo>
                      <a:pt x="542" y="103"/>
                    </a:lnTo>
                    <a:lnTo>
                      <a:pt x="542" y="104"/>
                    </a:lnTo>
                    <a:lnTo>
                      <a:pt x="543" y="104"/>
                    </a:lnTo>
                    <a:lnTo>
                      <a:pt x="543" y="106"/>
                    </a:lnTo>
                    <a:lnTo>
                      <a:pt x="543" y="107"/>
                    </a:lnTo>
                    <a:lnTo>
                      <a:pt x="544" y="107"/>
                    </a:lnTo>
                    <a:lnTo>
                      <a:pt x="544" y="108"/>
                    </a:lnTo>
                    <a:lnTo>
                      <a:pt x="544" y="109"/>
                    </a:lnTo>
                    <a:lnTo>
                      <a:pt x="546" y="110"/>
                    </a:lnTo>
                    <a:lnTo>
                      <a:pt x="546" y="109"/>
                    </a:lnTo>
                    <a:lnTo>
                      <a:pt x="547" y="109"/>
                    </a:lnTo>
                    <a:lnTo>
                      <a:pt x="547" y="110"/>
                    </a:lnTo>
                    <a:lnTo>
                      <a:pt x="548" y="110"/>
                    </a:lnTo>
                    <a:lnTo>
                      <a:pt x="549" y="109"/>
                    </a:lnTo>
                    <a:lnTo>
                      <a:pt x="550" y="110"/>
                    </a:lnTo>
                    <a:lnTo>
                      <a:pt x="551" y="110"/>
                    </a:lnTo>
                    <a:lnTo>
                      <a:pt x="551" y="112"/>
                    </a:lnTo>
                    <a:lnTo>
                      <a:pt x="551" y="113"/>
                    </a:lnTo>
                    <a:lnTo>
                      <a:pt x="551" y="114"/>
                    </a:lnTo>
                    <a:lnTo>
                      <a:pt x="551" y="115"/>
                    </a:lnTo>
                    <a:lnTo>
                      <a:pt x="552" y="116"/>
                    </a:lnTo>
                    <a:lnTo>
                      <a:pt x="553" y="116"/>
                    </a:lnTo>
                    <a:lnTo>
                      <a:pt x="554" y="116"/>
                    </a:lnTo>
                    <a:lnTo>
                      <a:pt x="554" y="118"/>
                    </a:lnTo>
                    <a:lnTo>
                      <a:pt x="555" y="118"/>
                    </a:lnTo>
                    <a:lnTo>
                      <a:pt x="555" y="119"/>
                    </a:lnTo>
                    <a:lnTo>
                      <a:pt x="555" y="120"/>
                    </a:lnTo>
                    <a:lnTo>
                      <a:pt x="554" y="120"/>
                    </a:lnTo>
                    <a:lnTo>
                      <a:pt x="553" y="120"/>
                    </a:lnTo>
                    <a:lnTo>
                      <a:pt x="552" y="120"/>
                    </a:lnTo>
                    <a:lnTo>
                      <a:pt x="552" y="121"/>
                    </a:lnTo>
                    <a:lnTo>
                      <a:pt x="553" y="122"/>
                    </a:lnTo>
                    <a:lnTo>
                      <a:pt x="553" y="123"/>
                    </a:lnTo>
                    <a:lnTo>
                      <a:pt x="554" y="123"/>
                    </a:lnTo>
                    <a:lnTo>
                      <a:pt x="555" y="122"/>
                    </a:lnTo>
                    <a:lnTo>
                      <a:pt x="556" y="124"/>
                    </a:lnTo>
                    <a:lnTo>
                      <a:pt x="557" y="125"/>
                    </a:lnTo>
                    <a:lnTo>
                      <a:pt x="557" y="126"/>
                    </a:lnTo>
                    <a:lnTo>
                      <a:pt x="556" y="126"/>
                    </a:lnTo>
                    <a:lnTo>
                      <a:pt x="555" y="127"/>
                    </a:lnTo>
                    <a:lnTo>
                      <a:pt x="554" y="127"/>
                    </a:lnTo>
                    <a:lnTo>
                      <a:pt x="553" y="127"/>
                    </a:lnTo>
                    <a:lnTo>
                      <a:pt x="553" y="128"/>
                    </a:lnTo>
                    <a:lnTo>
                      <a:pt x="552" y="128"/>
                    </a:lnTo>
                    <a:lnTo>
                      <a:pt x="551" y="128"/>
                    </a:lnTo>
                    <a:lnTo>
                      <a:pt x="550" y="128"/>
                    </a:lnTo>
                    <a:lnTo>
                      <a:pt x="549" y="128"/>
                    </a:lnTo>
                    <a:lnTo>
                      <a:pt x="548" y="128"/>
                    </a:lnTo>
                    <a:lnTo>
                      <a:pt x="548" y="129"/>
                    </a:lnTo>
                    <a:lnTo>
                      <a:pt x="548" y="131"/>
                    </a:lnTo>
                    <a:lnTo>
                      <a:pt x="549" y="132"/>
                    </a:lnTo>
                    <a:lnTo>
                      <a:pt x="548" y="132"/>
                    </a:lnTo>
                    <a:lnTo>
                      <a:pt x="547" y="132"/>
                    </a:lnTo>
                    <a:lnTo>
                      <a:pt x="547" y="131"/>
                    </a:lnTo>
                    <a:lnTo>
                      <a:pt x="546" y="131"/>
                    </a:lnTo>
                    <a:lnTo>
                      <a:pt x="546" y="132"/>
                    </a:lnTo>
                    <a:lnTo>
                      <a:pt x="544" y="132"/>
                    </a:lnTo>
                    <a:lnTo>
                      <a:pt x="544" y="133"/>
                    </a:lnTo>
                    <a:lnTo>
                      <a:pt x="543" y="133"/>
                    </a:lnTo>
                    <a:lnTo>
                      <a:pt x="544" y="134"/>
                    </a:lnTo>
                    <a:lnTo>
                      <a:pt x="544" y="135"/>
                    </a:lnTo>
                    <a:lnTo>
                      <a:pt x="543" y="136"/>
                    </a:lnTo>
                    <a:lnTo>
                      <a:pt x="542" y="137"/>
                    </a:lnTo>
                    <a:lnTo>
                      <a:pt x="542" y="138"/>
                    </a:lnTo>
                    <a:lnTo>
                      <a:pt x="542" y="139"/>
                    </a:lnTo>
                    <a:lnTo>
                      <a:pt x="542" y="140"/>
                    </a:lnTo>
                    <a:lnTo>
                      <a:pt x="541" y="140"/>
                    </a:lnTo>
                    <a:lnTo>
                      <a:pt x="541" y="141"/>
                    </a:lnTo>
                    <a:lnTo>
                      <a:pt x="540" y="141"/>
                    </a:lnTo>
                    <a:lnTo>
                      <a:pt x="539" y="140"/>
                    </a:lnTo>
                    <a:lnTo>
                      <a:pt x="538" y="140"/>
                    </a:lnTo>
                    <a:lnTo>
                      <a:pt x="537" y="141"/>
                    </a:lnTo>
                    <a:lnTo>
                      <a:pt x="536" y="141"/>
                    </a:lnTo>
                    <a:lnTo>
                      <a:pt x="536" y="142"/>
                    </a:lnTo>
                    <a:lnTo>
                      <a:pt x="535" y="142"/>
                    </a:lnTo>
                    <a:lnTo>
                      <a:pt x="534" y="142"/>
                    </a:lnTo>
                    <a:lnTo>
                      <a:pt x="534" y="144"/>
                    </a:lnTo>
                    <a:lnTo>
                      <a:pt x="535" y="144"/>
                    </a:lnTo>
                    <a:lnTo>
                      <a:pt x="535" y="145"/>
                    </a:lnTo>
                    <a:lnTo>
                      <a:pt x="533" y="145"/>
                    </a:lnTo>
                    <a:lnTo>
                      <a:pt x="531" y="146"/>
                    </a:lnTo>
                    <a:lnTo>
                      <a:pt x="531" y="148"/>
                    </a:lnTo>
                    <a:lnTo>
                      <a:pt x="529" y="149"/>
                    </a:lnTo>
                    <a:lnTo>
                      <a:pt x="529" y="148"/>
                    </a:lnTo>
                    <a:lnTo>
                      <a:pt x="528" y="148"/>
                    </a:lnTo>
                    <a:lnTo>
                      <a:pt x="528" y="147"/>
                    </a:lnTo>
                    <a:lnTo>
                      <a:pt x="528" y="146"/>
                    </a:lnTo>
                    <a:lnTo>
                      <a:pt x="527" y="147"/>
                    </a:lnTo>
                    <a:lnTo>
                      <a:pt x="527" y="148"/>
                    </a:lnTo>
                    <a:lnTo>
                      <a:pt x="526" y="149"/>
                    </a:lnTo>
                    <a:lnTo>
                      <a:pt x="526" y="148"/>
                    </a:lnTo>
                    <a:lnTo>
                      <a:pt x="526" y="149"/>
                    </a:lnTo>
                    <a:lnTo>
                      <a:pt x="525" y="149"/>
                    </a:lnTo>
                    <a:lnTo>
                      <a:pt x="526" y="150"/>
                    </a:lnTo>
                    <a:lnTo>
                      <a:pt x="525" y="151"/>
                    </a:lnTo>
                    <a:lnTo>
                      <a:pt x="525" y="152"/>
                    </a:lnTo>
                    <a:lnTo>
                      <a:pt x="524" y="152"/>
                    </a:lnTo>
                    <a:lnTo>
                      <a:pt x="523" y="152"/>
                    </a:lnTo>
                    <a:lnTo>
                      <a:pt x="522" y="152"/>
                    </a:lnTo>
                    <a:lnTo>
                      <a:pt x="522" y="153"/>
                    </a:lnTo>
                    <a:lnTo>
                      <a:pt x="522" y="152"/>
                    </a:lnTo>
                    <a:lnTo>
                      <a:pt x="521" y="152"/>
                    </a:lnTo>
                    <a:lnTo>
                      <a:pt x="521" y="151"/>
                    </a:lnTo>
                    <a:lnTo>
                      <a:pt x="521" y="150"/>
                    </a:lnTo>
                    <a:lnTo>
                      <a:pt x="521" y="151"/>
                    </a:lnTo>
                    <a:lnTo>
                      <a:pt x="519" y="151"/>
                    </a:lnTo>
                    <a:lnTo>
                      <a:pt x="518" y="151"/>
                    </a:lnTo>
                    <a:lnTo>
                      <a:pt x="517" y="151"/>
                    </a:lnTo>
                    <a:lnTo>
                      <a:pt x="516" y="151"/>
                    </a:lnTo>
                    <a:lnTo>
                      <a:pt x="516" y="152"/>
                    </a:lnTo>
                    <a:lnTo>
                      <a:pt x="516" y="153"/>
                    </a:lnTo>
                    <a:lnTo>
                      <a:pt x="515" y="153"/>
                    </a:lnTo>
                    <a:lnTo>
                      <a:pt x="514" y="153"/>
                    </a:lnTo>
                    <a:lnTo>
                      <a:pt x="514" y="154"/>
                    </a:lnTo>
                    <a:lnTo>
                      <a:pt x="513" y="154"/>
                    </a:lnTo>
                    <a:lnTo>
                      <a:pt x="512" y="155"/>
                    </a:lnTo>
                    <a:lnTo>
                      <a:pt x="511" y="154"/>
                    </a:lnTo>
                    <a:lnTo>
                      <a:pt x="510" y="154"/>
                    </a:lnTo>
                    <a:lnTo>
                      <a:pt x="509" y="154"/>
                    </a:lnTo>
                    <a:lnTo>
                      <a:pt x="508" y="153"/>
                    </a:lnTo>
                    <a:lnTo>
                      <a:pt x="508" y="154"/>
                    </a:lnTo>
                    <a:lnTo>
                      <a:pt x="506" y="155"/>
                    </a:lnTo>
                    <a:lnTo>
                      <a:pt x="505" y="155"/>
                    </a:lnTo>
                    <a:lnTo>
                      <a:pt x="504" y="155"/>
                    </a:lnTo>
                    <a:lnTo>
                      <a:pt x="503" y="155"/>
                    </a:lnTo>
                    <a:lnTo>
                      <a:pt x="503" y="157"/>
                    </a:lnTo>
                    <a:lnTo>
                      <a:pt x="503" y="158"/>
                    </a:lnTo>
                    <a:lnTo>
                      <a:pt x="502" y="158"/>
                    </a:lnTo>
                    <a:lnTo>
                      <a:pt x="502" y="157"/>
                    </a:lnTo>
                    <a:lnTo>
                      <a:pt x="502" y="155"/>
                    </a:lnTo>
                    <a:lnTo>
                      <a:pt x="501" y="154"/>
                    </a:lnTo>
                    <a:lnTo>
                      <a:pt x="501" y="153"/>
                    </a:lnTo>
                    <a:lnTo>
                      <a:pt x="500" y="153"/>
                    </a:lnTo>
                    <a:lnTo>
                      <a:pt x="500" y="152"/>
                    </a:lnTo>
                    <a:lnTo>
                      <a:pt x="499" y="152"/>
                    </a:lnTo>
                    <a:lnTo>
                      <a:pt x="498" y="152"/>
                    </a:lnTo>
                    <a:lnTo>
                      <a:pt x="497" y="151"/>
                    </a:lnTo>
                    <a:lnTo>
                      <a:pt x="496" y="150"/>
                    </a:lnTo>
                    <a:lnTo>
                      <a:pt x="495" y="150"/>
                    </a:lnTo>
                    <a:lnTo>
                      <a:pt x="495" y="149"/>
                    </a:lnTo>
                    <a:lnTo>
                      <a:pt x="493" y="149"/>
                    </a:lnTo>
                    <a:lnTo>
                      <a:pt x="493" y="148"/>
                    </a:lnTo>
                    <a:lnTo>
                      <a:pt x="493" y="147"/>
                    </a:lnTo>
                    <a:lnTo>
                      <a:pt x="495" y="147"/>
                    </a:lnTo>
                    <a:lnTo>
                      <a:pt x="495" y="146"/>
                    </a:lnTo>
                    <a:lnTo>
                      <a:pt x="493" y="146"/>
                    </a:lnTo>
                    <a:lnTo>
                      <a:pt x="492" y="146"/>
                    </a:lnTo>
                    <a:lnTo>
                      <a:pt x="492" y="145"/>
                    </a:lnTo>
                    <a:lnTo>
                      <a:pt x="492" y="144"/>
                    </a:lnTo>
                    <a:lnTo>
                      <a:pt x="492" y="142"/>
                    </a:lnTo>
                    <a:lnTo>
                      <a:pt x="492" y="141"/>
                    </a:lnTo>
                    <a:lnTo>
                      <a:pt x="492" y="140"/>
                    </a:lnTo>
                    <a:lnTo>
                      <a:pt x="492" y="139"/>
                    </a:lnTo>
                    <a:lnTo>
                      <a:pt x="491" y="139"/>
                    </a:lnTo>
                    <a:lnTo>
                      <a:pt x="490" y="138"/>
                    </a:lnTo>
                    <a:lnTo>
                      <a:pt x="491" y="138"/>
                    </a:lnTo>
                    <a:lnTo>
                      <a:pt x="491" y="137"/>
                    </a:lnTo>
                    <a:lnTo>
                      <a:pt x="491" y="136"/>
                    </a:lnTo>
                    <a:lnTo>
                      <a:pt x="490" y="136"/>
                    </a:lnTo>
                    <a:lnTo>
                      <a:pt x="489" y="137"/>
                    </a:lnTo>
                    <a:lnTo>
                      <a:pt x="488" y="137"/>
                    </a:lnTo>
                    <a:lnTo>
                      <a:pt x="487" y="137"/>
                    </a:lnTo>
                    <a:lnTo>
                      <a:pt x="486" y="137"/>
                    </a:lnTo>
                    <a:lnTo>
                      <a:pt x="486" y="136"/>
                    </a:lnTo>
                    <a:lnTo>
                      <a:pt x="486" y="135"/>
                    </a:lnTo>
                    <a:lnTo>
                      <a:pt x="486" y="134"/>
                    </a:lnTo>
                    <a:lnTo>
                      <a:pt x="485" y="134"/>
                    </a:lnTo>
                    <a:lnTo>
                      <a:pt x="485" y="133"/>
                    </a:lnTo>
                    <a:lnTo>
                      <a:pt x="484" y="133"/>
                    </a:lnTo>
                    <a:lnTo>
                      <a:pt x="484" y="134"/>
                    </a:lnTo>
                    <a:lnTo>
                      <a:pt x="484" y="133"/>
                    </a:lnTo>
                    <a:lnTo>
                      <a:pt x="483" y="133"/>
                    </a:lnTo>
                    <a:lnTo>
                      <a:pt x="482" y="133"/>
                    </a:lnTo>
                    <a:lnTo>
                      <a:pt x="482" y="134"/>
                    </a:lnTo>
                    <a:lnTo>
                      <a:pt x="480" y="134"/>
                    </a:lnTo>
                    <a:lnTo>
                      <a:pt x="482" y="134"/>
                    </a:lnTo>
                    <a:lnTo>
                      <a:pt x="482" y="135"/>
                    </a:lnTo>
                    <a:lnTo>
                      <a:pt x="480" y="135"/>
                    </a:lnTo>
                    <a:lnTo>
                      <a:pt x="479" y="135"/>
                    </a:lnTo>
                    <a:lnTo>
                      <a:pt x="478" y="135"/>
                    </a:lnTo>
                    <a:lnTo>
                      <a:pt x="477" y="135"/>
                    </a:lnTo>
                    <a:lnTo>
                      <a:pt x="477" y="136"/>
                    </a:lnTo>
                    <a:lnTo>
                      <a:pt x="476" y="135"/>
                    </a:lnTo>
                    <a:lnTo>
                      <a:pt x="475" y="136"/>
                    </a:lnTo>
                    <a:lnTo>
                      <a:pt x="475" y="137"/>
                    </a:lnTo>
                    <a:lnTo>
                      <a:pt x="474" y="137"/>
                    </a:lnTo>
                    <a:lnTo>
                      <a:pt x="473" y="137"/>
                    </a:lnTo>
                    <a:lnTo>
                      <a:pt x="472" y="137"/>
                    </a:lnTo>
                    <a:lnTo>
                      <a:pt x="472" y="136"/>
                    </a:lnTo>
                    <a:lnTo>
                      <a:pt x="471" y="135"/>
                    </a:lnTo>
                    <a:lnTo>
                      <a:pt x="470" y="135"/>
                    </a:lnTo>
                    <a:lnTo>
                      <a:pt x="469" y="135"/>
                    </a:lnTo>
                    <a:lnTo>
                      <a:pt x="469" y="134"/>
                    </a:lnTo>
                    <a:lnTo>
                      <a:pt x="467" y="134"/>
                    </a:lnTo>
                    <a:lnTo>
                      <a:pt x="466" y="134"/>
                    </a:lnTo>
                    <a:lnTo>
                      <a:pt x="467" y="134"/>
                    </a:lnTo>
                    <a:lnTo>
                      <a:pt x="467" y="135"/>
                    </a:lnTo>
                    <a:lnTo>
                      <a:pt x="467" y="136"/>
                    </a:lnTo>
                    <a:lnTo>
                      <a:pt x="466" y="136"/>
                    </a:lnTo>
                    <a:lnTo>
                      <a:pt x="466" y="135"/>
                    </a:lnTo>
                    <a:lnTo>
                      <a:pt x="466" y="134"/>
                    </a:lnTo>
                    <a:lnTo>
                      <a:pt x="465" y="134"/>
                    </a:lnTo>
                    <a:lnTo>
                      <a:pt x="465" y="135"/>
                    </a:lnTo>
                    <a:lnTo>
                      <a:pt x="464" y="135"/>
                    </a:lnTo>
                    <a:lnTo>
                      <a:pt x="464" y="136"/>
                    </a:lnTo>
                    <a:lnTo>
                      <a:pt x="464" y="137"/>
                    </a:lnTo>
                    <a:lnTo>
                      <a:pt x="464" y="138"/>
                    </a:lnTo>
                    <a:lnTo>
                      <a:pt x="463" y="137"/>
                    </a:lnTo>
                    <a:lnTo>
                      <a:pt x="463" y="138"/>
                    </a:lnTo>
                    <a:lnTo>
                      <a:pt x="462" y="138"/>
                    </a:lnTo>
                    <a:lnTo>
                      <a:pt x="462" y="139"/>
                    </a:lnTo>
                    <a:lnTo>
                      <a:pt x="461" y="139"/>
                    </a:lnTo>
                    <a:lnTo>
                      <a:pt x="461" y="140"/>
                    </a:lnTo>
                    <a:lnTo>
                      <a:pt x="460" y="140"/>
                    </a:lnTo>
                    <a:lnTo>
                      <a:pt x="459" y="140"/>
                    </a:lnTo>
                    <a:lnTo>
                      <a:pt x="459" y="144"/>
                    </a:lnTo>
                    <a:lnTo>
                      <a:pt x="459" y="175"/>
                    </a:lnTo>
                    <a:lnTo>
                      <a:pt x="459" y="188"/>
                    </a:lnTo>
                    <a:lnTo>
                      <a:pt x="459" y="192"/>
                    </a:lnTo>
                    <a:lnTo>
                      <a:pt x="459" y="193"/>
                    </a:lnTo>
                    <a:lnTo>
                      <a:pt x="459" y="221"/>
                    </a:lnTo>
                    <a:lnTo>
                      <a:pt x="459" y="232"/>
                    </a:lnTo>
                    <a:lnTo>
                      <a:pt x="459" y="238"/>
                    </a:lnTo>
                    <a:lnTo>
                      <a:pt x="459" y="263"/>
                    </a:lnTo>
                    <a:lnTo>
                      <a:pt x="459" y="264"/>
                    </a:lnTo>
                    <a:lnTo>
                      <a:pt x="460" y="264"/>
                    </a:lnTo>
                    <a:lnTo>
                      <a:pt x="462" y="266"/>
                    </a:lnTo>
                    <a:lnTo>
                      <a:pt x="464" y="268"/>
                    </a:lnTo>
                    <a:lnTo>
                      <a:pt x="464" y="269"/>
                    </a:lnTo>
                    <a:lnTo>
                      <a:pt x="464" y="270"/>
                    </a:lnTo>
                    <a:lnTo>
                      <a:pt x="463" y="270"/>
                    </a:lnTo>
                    <a:lnTo>
                      <a:pt x="462" y="273"/>
                    </a:lnTo>
                    <a:lnTo>
                      <a:pt x="461" y="273"/>
                    </a:lnTo>
                    <a:lnTo>
                      <a:pt x="461" y="274"/>
                    </a:lnTo>
                    <a:lnTo>
                      <a:pt x="460" y="274"/>
                    </a:lnTo>
                    <a:lnTo>
                      <a:pt x="459" y="276"/>
                    </a:lnTo>
                    <a:lnTo>
                      <a:pt x="458" y="277"/>
                    </a:lnTo>
                    <a:lnTo>
                      <a:pt x="458" y="279"/>
                    </a:lnTo>
                    <a:lnTo>
                      <a:pt x="458" y="280"/>
                    </a:lnTo>
                    <a:lnTo>
                      <a:pt x="459" y="282"/>
                    </a:lnTo>
                    <a:lnTo>
                      <a:pt x="459" y="283"/>
                    </a:lnTo>
                    <a:lnTo>
                      <a:pt x="459" y="286"/>
                    </a:lnTo>
                    <a:lnTo>
                      <a:pt x="459" y="287"/>
                    </a:lnTo>
                    <a:lnTo>
                      <a:pt x="459" y="288"/>
                    </a:lnTo>
                    <a:lnTo>
                      <a:pt x="460" y="289"/>
                    </a:lnTo>
                    <a:lnTo>
                      <a:pt x="460" y="291"/>
                    </a:lnTo>
                    <a:lnTo>
                      <a:pt x="460" y="292"/>
                    </a:lnTo>
                    <a:lnTo>
                      <a:pt x="462" y="311"/>
                    </a:lnTo>
                    <a:lnTo>
                      <a:pt x="462" y="312"/>
                    </a:lnTo>
                    <a:lnTo>
                      <a:pt x="462" y="318"/>
                    </a:lnTo>
                    <a:lnTo>
                      <a:pt x="469" y="371"/>
                    </a:lnTo>
                    <a:lnTo>
                      <a:pt x="469" y="378"/>
                    </a:lnTo>
                    <a:lnTo>
                      <a:pt x="470" y="378"/>
                    </a:lnTo>
                    <a:lnTo>
                      <a:pt x="470" y="379"/>
                    </a:lnTo>
                    <a:lnTo>
                      <a:pt x="471" y="379"/>
                    </a:lnTo>
                    <a:lnTo>
                      <a:pt x="471" y="380"/>
                    </a:lnTo>
                    <a:lnTo>
                      <a:pt x="472" y="380"/>
                    </a:lnTo>
                    <a:lnTo>
                      <a:pt x="472" y="381"/>
                    </a:lnTo>
                    <a:lnTo>
                      <a:pt x="472" y="383"/>
                    </a:lnTo>
                    <a:lnTo>
                      <a:pt x="472" y="385"/>
                    </a:lnTo>
                    <a:lnTo>
                      <a:pt x="472" y="386"/>
                    </a:lnTo>
                    <a:lnTo>
                      <a:pt x="472" y="388"/>
                    </a:lnTo>
                    <a:lnTo>
                      <a:pt x="472" y="389"/>
                    </a:lnTo>
                    <a:lnTo>
                      <a:pt x="472" y="390"/>
                    </a:lnTo>
                    <a:lnTo>
                      <a:pt x="473" y="390"/>
                    </a:lnTo>
                    <a:lnTo>
                      <a:pt x="475" y="390"/>
                    </a:lnTo>
                    <a:lnTo>
                      <a:pt x="476" y="390"/>
                    </a:lnTo>
                    <a:lnTo>
                      <a:pt x="476" y="391"/>
                    </a:lnTo>
                    <a:lnTo>
                      <a:pt x="474" y="394"/>
                    </a:lnTo>
                    <a:lnTo>
                      <a:pt x="474" y="396"/>
                    </a:lnTo>
                    <a:lnTo>
                      <a:pt x="474" y="397"/>
                    </a:lnTo>
                    <a:lnTo>
                      <a:pt x="474" y="398"/>
                    </a:lnTo>
                    <a:lnTo>
                      <a:pt x="473" y="398"/>
                    </a:lnTo>
                    <a:lnTo>
                      <a:pt x="472" y="398"/>
                    </a:lnTo>
                    <a:lnTo>
                      <a:pt x="472" y="397"/>
                    </a:lnTo>
                    <a:lnTo>
                      <a:pt x="471" y="397"/>
                    </a:lnTo>
                    <a:lnTo>
                      <a:pt x="471" y="396"/>
                    </a:lnTo>
                    <a:lnTo>
                      <a:pt x="470" y="396"/>
                    </a:lnTo>
                    <a:lnTo>
                      <a:pt x="469" y="396"/>
                    </a:lnTo>
                    <a:lnTo>
                      <a:pt x="460" y="396"/>
                    </a:lnTo>
                    <a:lnTo>
                      <a:pt x="448" y="396"/>
                    </a:lnTo>
                    <a:lnTo>
                      <a:pt x="430" y="396"/>
                    </a:lnTo>
                    <a:lnTo>
                      <a:pt x="426" y="396"/>
                    </a:lnTo>
                    <a:lnTo>
                      <a:pt x="409" y="396"/>
                    </a:lnTo>
                    <a:lnTo>
                      <a:pt x="408" y="397"/>
                    </a:lnTo>
                    <a:lnTo>
                      <a:pt x="399" y="397"/>
                    </a:lnTo>
                    <a:lnTo>
                      <a:pt x="400" y="397"/>
                    </a:lnTo>
                    <a:lnTo>
                      <a:pt x="400" y="395"/>
                    </a:lnTo>
                    <a:lnTo>
                      <a:pt x="402" y="394"/>
                    </a:lnTo>
                    <a:lnTo>
                      <a:pt x="402" y="393"/>
                    </a:lnTo>
                    <a:lnTo>
                      <a:pt x="402" y="392"/>
                    </a:lnTo>
                    <a:lnTo>
                      <a:pt x="401" y="392"/>
                    </a:lnTo>
                    <a:lnTo>
                      <a:pt x="400" y="392"/>
                    </a:lnTo>
                    <a:lnTo>
                      <a:pt x="400" y="391"/>
                    </a:lnTo>
                    <a:lnTo>
                      <a:pt x="399" y="391"/>
                    </a:lnTo>
                    <a:lnTo>
                      <a:pt x="398" y="391"/>
                    </a:lnTo>
                    <a:lnTo>
                      <a:pt x="396" y="391"/>
                    </a:lnTo>
                    <a:lnTo>
                      <a:pt x="395" y="392"/>
                    </a:lnTo>
                    <a:lnTo>
                      <a:pt x="394" y="392"/>
                    </a:lnTo>
                    <a:lnTo>
                      <a:pt x="393" y="393"/>
                    </a:lnTo>
                    <a:lnTo>
                      <a:pt x="392" y="393"/>
                    </a:lnTo>
                    <a:lnTo>
                      <a:pt x="391" y="393"/>
                    </a:lnTo>
                    <a:lnTo>
                      <a:pt x="391" y="392"/>
                    </a:lnTo>
                    <a:lnTo>
                      <a:pt x="391" y="391"/>
                    </a:lnTo>
                    <a:lnTo>
                      <a:pt x="391" y="390"/>
                    </a:lnTo>
                    <a:lnTo>
                      <a:pt x="392" y="390"/>
                    </a:lnTo>
                    <a:lnTo>
                      <a:pt x="392" y="389"/>
                    </a:lnTo>
                    <a:lnTo>
                      <a:pt x="393" y="389"/>
                    </a:lnTo>
                    <a:lnTo>
                      <a:pt x="393" y="388"/>
                    </a:lnTo>
                    <a:lnTo>
                      <a:pt x="393" y="386"/>
                    </a:lnTo>
                    <a:lnTo>
                      <a:pt x="393" y="385"/>
                    </a:lnTo>
                    <a:lnTo>
                      <a:pt x="393" y="384"/>
                    </a:lnTo>
                    <a:lnTo>
                      <a:pt x="392" y="384"/>
                    </a:lnTo>
                    <a:lnTo>
                      <a:pt x="391" y="384"/>
                    </a:lnTo>
                    <a:lnTo>
                      <a:pt x="391" y="383"/>
                    </a:lnTo>
                    <a:lnTo>
                      <a:pt x="389" y="383"/>
                    </a:lnTo>
                    <a:lnTo>
                      <a:pt x="388" y="383"/>
                    </a:lnTo>
                    <a:lnTo>
                      <a:pt x="387" y="383"/>
                    </a:lnTo>
                    <a:lnTo>
                      <a:pt x="386" y="383"/>
                    </a:lnTo>
                    <a:lnTo>
                      <a:pt x="385" y="383"/>
                    </a:lnTo>
                    <a:lnTo>
                      <a:pt x="384" y="383"/>
                    </a:lnTo>
                    <a:lnTo>
                      <a:pt x="384" y="382"/>
                    </a:lnTo>
                    <a:lnTo>
                      <a:pt x="383" y="382"/>
                    </a:lnTo>
                    <a:lnTo>
                      <a:pt x="382" y="382"/>
                    </a:lnTo>
                    <a:lnTo>
                      <a:pt x="381" y="381"/>
                    </a:lnTo>
                    <a:lnTo>
                      <a:pt x="381" y="380"/>
                    </a:lnTo>
                    <a:lnTo>
                      <a:pt x="381" y="379"/>
                    </a:lnTo>
                    <a:lnTo>
                      <a:pt x="382" y="379"/>
                    </a:lnTo>
                    <a:lnTo>
                      <a:pt x="381" y="378"/>
                    </a:lnTo>
                    <a:lnTo>
                      <a:pt x="380" y="377"/>
                    </a:lnTo>
                    <a:lnTo>
                      <a:pt x="379" y="378"/>
                    </a:lnTo>
                    <a:lnTo>
                      <a:pt x="377" y="378"/>
                    </a:lnTo>
                    <a:lnTo>
                      <a:pt x="377" y="379"/>
                    </a:lnTo>
                    <a:lnTo>
                      <a:pt x="376" y="379"/>
                    </a:lnTo>
                    <a:lnTo>
                      <a:pt x="376" y="378"/>
                    </a:lnTo>
                    <a:lnTo>
                      <a:pt x="374" y="378"/>
                    </a:lnTo>
                    <a:lnTo>
                      <a:pt x="374" y="377"/>
                    </a:lnTo>
                    <a:lnTo>
                      <a:pt x="373" y="377"/>
                    </a:lnTo>
                    <a:lnTo>
                      <a:pt x="372" y="377"/>
                    </a:lnTo>
                    <a:lnTo>
                      <a:pt x="372" y="376"/>
                    </a:lnTo>
                    <a:lnTo>
                      <a:pt x="373" y="375"/>
                    </a:lnTo>
                    <a:lnTo>
                      <a:pt x="372" y="373"/>
                    </a:lnTo>
                    <a:lnTo>
                      <a:pt x="372" y="375"/>
                    </a:lnTo>
                    <a:lnTo>
                      <a:pt x="371" y="375"/>
                    </a:lnTo>
                    <a:lnTo>
                      <a:pt x="370" y="375"/>
                    </a:lnTo>
                    <a:lnTo>
                      <a:pt x="370" y="373"/>
                    </a:lnTo>
                    <a:lnTo>
                      <a:pt x="371" y="373"/>
                    </a:lnTo>
                    <a:lnTo>
                      <a:pt x="371" y="371"/>
                    </a:lnTo>
                    <a:lnTo>
                      <a:pt x="370" y="371"/>
                    </a:lnTo>
                    <a:lnTo>
                      <a:pt x="370" y="372"/>
                    </a:lnTo>
                    <a:lnTo>
                      <a:pt x="369" y="372"/>
                    </a:lnTo>
                    <a:lnTo>
                      <a:pt x="369" y="371"/>
                    </a:lnTo>
                    <a:lnTo>
                      <a:pt x="368" y="370"/>
                    </a:lnTo>
                    <a:lnTo>
                      <a:pt x="367" y="370"/>
                    </a:lnTo>
                    <a:lnTo>
                      <a:pt x="367" y="371"/>
                    </a:lnTo>
                    <a:lnTo>
                      <a:pt x="366" y="371"/>
                    </a:lnTo>
                    <a:lnTo>
                      <a:pt x="366" y="370"/>
                    </a:lnTo>
                    <a:lnTo>
                      <a:pt x="364" y="370"/>
                    </a:lnTo>
                    <a:lnTo>
                      <a:pt x="363" y="370"/>
                    </a:lnTo>
                    <a:lnTo>
                      <a:pt x="363" y="371"/>
                    </a:lnTo>
                    <a:lnTo>
                      <a:pt x="362" y="372"/>
                    </a:lnTo>
                    <a:lnTo>
                      <a:pt x="361" y="372"/>
                    </a:lnTo>
                    <a:lnTo>
                      <a:pt x="360" y="373"/>
                    </a:lnTo>
                    <a:lnTo>
                      <a:pt x="359" y="373"/>
                    </a:lnTo>
                    <a:lnTo>
                      <a:pt x="358" y="373"/>
                    </a:lnTo>
                    <a:lnTo>
                      <a:pt x="357" y="375"/>
                    </a:lnTo>
                    <a:lnTo>
                      <a:pt x="356" y="375"/>
                    </a:lnTo>
                    <a:lnTo>
                      <a:pt x="355" y="375"/>
                    </a:lnTo>
                    <a:lnTo>
                      <a:pt x="354" y="375"/>
                    </a:lnTo>
                    <a:lnTo>
                      <a:pt x="353" y="375"/>
                    </a:lnTo>
                    <a:lnTo>
                      <a:pt x="353" y="376"/>
                    </a:lnTo>
                    <a:lnTo>
                      <a:pt x="351" y="376"/>
                    </a:lnTo>
                    <a:lnTo>
                      <a:pt x="351" y="377"/>
                    </a:lnTo>
                    <a:lnTo>
                      <a:pt x="350" y="377"/>
                    </a:lnTo>
                    <a:lnTo>
                      <a:pt x="350" y="378"/>
                    </a:lnTo>
                    <a:lnTo>
                      <a:pt x="351" y="378"/>
                    </a:lnTo>
                    <a:lnTo>
                      <a:pt x="351" y="379"/>
                    </a:lnTo>
                    <a:lnTo>
                      <a:pt x="350" y="380"/>
                    </a:lnTo>
                    <a:lnTo>
                      <a:pt x="350" y="381"/>
                    </a:lnTo>
                    <a:lnTo>
                      <a:pt x="349" y="382"/>
                    </a:lnTo>
                    <a:lnTo>
                      <a:pt x="349" y="383"/>
                    </a:lnTo>
                    <a:lnTo>
                      <a:pt x="349" y="384"/>
                    </a:lnTo>
                    <a:lnTo>
                      <a:pt x="348" y="384"/>
                    </a:lnTo>
                    <a:lnTo>
                      <a:pt x="348" y="385"/>
                    </a:lnTo>
                    <a:lnTo>
                      <a:pt x="348" y="386"/>
                    </a:lnTo>
                    <a:lnTo>
                      <a:pt x="347" y="386"/>
                    </a:lnTo>
                    <a:lnTo>
                      <a:pt x="347" y="388"/>
                    </a:lnTo>
                    <a:lnTo>
                      <a:pt x="347" y="389"/>
                    </a:lnTo>
                    <a:lnTo>
                      <a:pt x="346" y="389"/>
                    </a:lnTo>
                    <a:lnTo>
                      <a:pt x="345" y="389"/>
                    </a:lnTo>
                    <a:lnTo>
                      <a:pt x="345" y="390"/>
                    </a:lnTo>
                    <a:lnTo>
                      <a:pt x="344" y="390"/>
                    </a:lnTo>
                    <a:lnTo>
                      <a:pt x="343" y="390"/>
                    </a:lnTo>
                    <a:lnTo>
                      <a:pt x="342" y="390"/>
                    </a:lnTo>
                    <a:lnTo>
                      <a:pt x="342" y="391"/>
                    </a:lnTo>
                    <a:lnTo>
                      <a:pt x="340" y="391"/>
                    </a:lnTo>
                    <a:lnTo>
                      <a:pt x="338" y="391"/>
                    </a:lnTo>
                    <a:lnTo>
                      <a:pt x="338" y="392"/>
                    </a:lnTo>
                    <a:lnTo>
                      <a:pt x="337" y="392"/>
                    </a:lnTo>
                    <a:lnTo>
                      <a:pt x="336" y="392"/>
                    </a:lnTo>
                    <a:lnTo>
                      <a:pt x="335" y="392"/>
                    </a:lnTo>
                    <a:lnTo>
                      <a:pt x="335" y="393"/>
                    </a:lnTo>
                    <a:lnTo>
                      <a:pt x="334" y="393"/>
                    </a:lnTo>
                    <a:lnTo>
                      <a:pt x="334" y="394"/>
                    </a:lnTo>
                    <a:lnTo>
                      <a:pt x="334" y="393"/>
                    </a:lnTo>
                    <a:lnTo>
                      <a:pt x="333" y="393"/>
                    </a:lnTo>
                    <a:lnTo>
                      <a:pt x="332" y="393"/>
                    </a:lnTo>
                    <a:lnTo>
                      <a:pt x="332" y="394"/>
                    </a:lnTo>
                    <a:lnTo>
                      <a:pt x="331" y="394"/>
                    </a:lnTo>
                    <a:lnTo>
                      <a:pt x="332" y="395"/>
                    </a:lnTo>
                    <a:lnTo>
                      <a:pt x="331" y="395"/>
                    </a:lnTo>
                    <a:lnTo>
                      <a:pt x="331" y="396"/>
                    </a:lnTo>
                    <a:lnTo>
                      <a:pt x="330" y="396"/>
                    </a:lnTo>
                    <a:lnTo>
                      <a:pt x="329" y="396"/>
                    </a:lnTo>
                    <a:lnTo>
                      <a:pt x="328" y="397"/>
                    </a:lnTo>
                    <a:lnTo>
                      <a:pt x="327" y="397"/>
                    </a:lnTo>
                    <a:lnTo>
                      <a:pt x="325" y="397"/>
                    </a:lnTo>
                    <a:lnTo>
                      <a:pt x="324" y="398"/>
                    </a:lnTo>
                    <a:lnTo>
                      <a:pt x="323" y="399"/>
                    </a:lnTo>
                    <a:lnTo>
                      <a:pt x="322" y="402"/>
                    </a:lnTo>
                    <a:lnTo>
                      <a:pt x="320" y="403"/>
                    </a:lnTo>
                    <a:lnTo>
                      <a:pt x="319" y="403"/>
                    </a:lnTo>
                    <a:lnTo>
                      <a:pt x="316" y="402"/>
                    </a:lnTo>
                    <a:lnTo>
                      <a:pt x="315" y="402"/>
                    </a:lnTo>
                    <a:lnTo>
                      <a:pt x="314" y="402"/>
                    </a:lnTo>
                    <a:lnTo>
                      <a:pt x="315" y="403"/>
                    </a:lnTo>
                    <a:lnTo>
                      <a:pt x="314" y="404"/>
                    </a:lnTo>
                    <a:lnTo>
                      <a:pt x="312" y="405"/>
                    </a:lnTo>
                    <a:lnTo>
                      <a:pt x="311" y="406"/>
                    </a:lnTo>
                    <a:lnTo>
                      <a:pt x="310" y="406"/>
                    </a:lnTo>
                    <a:lnTo>
                      <a:pt x="309" y="406"/>
                    </a:lnTo>
                    <a:lnTo>
                      <a:pt x="308" y="405"/>
                    </a:lnTo>
                    <a:lnTo>
                      <a:pt x="307" y="406"/>
                    </a:lnTo>
                    <a:lnTo>
                      <a:pt x="307" y="407"/>
                    </a:lnTo>
                    <a:lnTo>
                      <a:pt x="307" y="408"/>
                    </a:lnTo>
                    <a:lnTo>
                      <a:pt x="307" y="409"/>
                    </a:lnTo>
                    <a:lnTo>
                      <a:pt x="307" y="410"/>
                    </a:lnTo>
                    <a:lnTo>
                      <a:pt x="306" y="411"/>
                    </a:lnTo>
                    <a:lnTo>
                      <a:pt x="306" y="412"/>
                    </a:lnTo>
                    <a:lnTo>
                      <a:pt x="306" y="414"/>
                    </a:lnTo>
                    <a:lnTo>
                      <a:pt x="307" y="414"/>
                    </a:lnTo>
                    <a:lnTo>
                      <a:pt x="306" y="415"/>
                    </a:lnTo>
                    <a:lnTo>
                      <a:pt x="306" y="416"/>
                    </a:lnTo>
                    <a:lnTo>
                      <a:pt x="306" y="417"/>
                    </a:lnTo>
                    <a:lnTo>
                      <a:pt x="306" y="418"/>
                    </a:lnTo>
                    <a:lnTo>
                      <a:pt x="307" y="419"/>
                    </a:lnTo>
                    <a:lnTo>
                      <a:pt x="307" y="420"/>
                    </a:lnTo>
                    <a:lnTo>
                      <a:pt x="307" y="421"/>
                    </a:lnTo>
                    <a:lnTo>
                      <a:pt x="307" y="422"/>
                    </a:lnTo>
                    <a:lnTo>
                      <a:pt x="307" y="423"/>
                    </a:lnTo>
                    <a:lnTo>
                      <a:pt x="308" y="423"/>
                    </a:lnTo>
                    <a:lnTo>
                      <a:pt x="308" y="424"/>
                    </a:lnTo>
                    <a:lnTo>
                      <a:pt x="308" y="425"/>
                    </a:lnTo>
                    <a:lnTo>
                      <a:pt x="307" y="425"/>
                    </a:lnTo>
                    <a:lnTo>
                      <a:pt x="307" y="427"/>
                    </a:lnTo>
                    <a:lnTo>
                      <a:pt x="307" y="428"/>
                    </a:lnTo>
                    <a:lnTo>
                      <a:pt x="307" y="429"/>
                    </a:lnTo>
                    <a:lnTo>
                      <a:pt x="306" y="429"/>
                    </a:lnTo>
                    <a:lnTo>
                      <a:pt x="307" y="430"/>
                    </a:lnTo>
                    <a:lnTo>
                      <a:pt x="307" y="429"/>
                    </a:lnTo>
                    <a:lnTo>
                      <a:pt x="307" y="430"/>
                    </a:lnTo>
                    <a:lnTo>
                      <a:pt x="306" y="431"/>
                    </a:lnTo>
                    <a:lnTo>
                      <a:pt x="306" y="432"/>
                    </a:lnTo>
                    <a:lnTo>
                      <a:pt x="306" y="433"/>
                    </a:lnTo>
                    <a:lnTo>
                      <a:pt x="305" y="434"/>
                    </a:lnTo>
                    <a:lnTo>
                      <a:pt x="304" y="434"/>
                    </a:lnTo>
                    <a:lnTo>
                      <a:pt x="304" y="435"/>
                    </a:lnTo>
                    <a:lnTo>
                      <a:pt x="303" y="435"/>
                    </a:lnTo>
                    <a:lnTo>
                      <a:pt x="303" y="436"/>
                    </a:lnTo>
                    <a:lnTo>
                      <a:pt x="303" y="437"/>
                    </a:lnTo>
                    <a:lnTo>
                      <a:pt x="303" y="436"/>
                    </a:lnTo>
                    <a:lnTo>
                      <a:pt x="303" y="437"/>
                    </a:lnTo>
                    <a:lnTo>
                      <a:pt x="302" y="437"/>
                    </a:lnTo>
                    <a:lnTo>
                      <a:pt x="301" y="438"/>
                    </a:lnTo>
                    <a:lnTo>
                      <a:pt x="299" y="438"/>
                    </a:lnTo>
                    <a:lnTo>
                      <a:pt x="299" y="440"/>
                    </a:lnTo>
                    <a:lnTo>
                      <a:pt x="298" y="440"/>
                    </a:lnTo>
                    <a:lnTo>
                      <a:pt x="297" y="441"/>
                    </a:lnTo>
                    <a:lnTo>
                      <a:pt x="298" y="441"/>
                    </a:lnTo>
                    <a:lnTo>
                      <a:pt x="298" y="442"/>
                    </a:lnTo>
                    <a:lnTo>
                      <a:pt x="298" y="441"/>
                    </a:lnTo>
                    <a:lnTo>
                      <a:pt x="297" y="442"/>
                    </a:lnTo>
                    <a:lnTo>
                      <a:pt x="296" y="442"/>
                    </a:lnTo>
                    <a:lnTo>
                      <a:pt x="296" y="443"/>
                    </a:lnTo>
                    <a:lnTo>
                      <a:pt x="295" y="443"/>
                    </a:lnTo>
                    <a:lnTo>
                      <a:pt x="295" y="444"/>
                    </a:lnTo>
                    <a:lnTo>
                      <a:pt x="294" y="443"/>
                    </a:lnTo>
                    <a:lnTo>
                      <a:pt x="294" y="444"/>
                    </a:lnTo>
                    <a:lnTo>
                      <a:pt x="293" y="444"/>
                    </a:lnTo>
                    <a:lnTo>
                      <a:pt x="292" y="444"/>
                    </a:lnTo>
                    <a:lnTo>
                      <a:pt x="292" y="445"/>
                    </a:lnTo>
                    <a:lnTo>
                      <a:pt x="291" y="445"/>
                    </a:lnTo>
                    <a:lnTo>
                      <a:pt x="290" y="445"/>
                    </a:lnTo>
                    <a:lnTo>
                      <a:pt x="290" y="446"/>
                    </a:lnTo>
                    <a:lnTo>
                      <a:pt x="290" y="445"/>
                    </a:lnTo>
                    <a:lnTo>
                      <a:pt x="290" y="446"/>
                    </a:lnTo>
                    <a:lnTo>
                      <a:pt x="289" y="445"/>
                    </a:lnTo>
                    <a:lnTo>
                      <a:pt x="290" y="445"/>
                    </a:lnTo>
                    <a:lnTo>
                      <a:pt x="289" y="445"/>
                    </a:lnTo>
                    <a:lnTo>
                      <a:pt x="289" y="446"/>
                    </a:lnTo>
                    <a:lnTo>
                      <a:pt x="288" y="446"/>
                    </a:lnTo>
                    <a:lnTo>
                      <a:pt x="288" y="445"/>
                    </a:lnTo>
                    <a:lnTo>
                      <a:pt x="286" y="446"/>
                    </a:lnTo>
                    <a:lnTo>
                      <a:pt x="285" y="446"/>
                    </a:lnTo>
                    <a:lnTo>
                      <a:pt x="284" y="446"/>
                    </a:lnTo>
                    <a:lnTo>
                      <a:pt x="284" y="447"/>
                    </a:lnTo>
                    <a:lnTo>
                      <a:pt x="283" y="448"/>
                    </a:lnTo>
                    <a:lnTo>
                      <a:pt x="283" y="447"/>
                    </a:lnTo>
                    <a:lnTo>
                      <a:pt x="282" y="447"/>
                    </a:lnTo>
                    <a:lnTo>
                      <a:pt x="281" y="447"/>
                    </a:lnTo>
                    <a:lnTo>
                      <a:pt x="280" y="447"/>
                    </a:lnTo>
                    <a:lnTo>
                      <a:pt x="279" y="447"/>
                    </a:lnTo>
                    <a:lnTo>
                      <a:pt x="280" y="447"/>
                    </a:lnTo>
                    <a:lnTo>
                      <a:pt x="280" y="446"/>
                    </a:lnTo>
                    <a:lnTo>
                      <a:pt x="279" y="446"/>
                    </a:lnTo>
                    <a:lnTo>
                      <a:pt x="279" y="445"/>
                    </a:lnTo>
                    <a:lnTo>
                      <a:pt x="279" y="444"/>
                    </a:lnTo>
                    <a:lnTo>
                      <a:pt x="279" y="443"/>
                    </a:lnTo>
                    <a:lnTo>
                      <a:pt x="279" y="444"/>
                    </a:lnTo>
                    <a:lnTo>
                      <a:pt x="278" y="444"/>
                    </a:lnTo>
                    <a:lnTo>
                      <a:pt x="278" y="443"/>
                    </a:lnTo>
                    <a:lnTo>
                      <a:pt x="277" y="444"/>
                    </a:lnTo>
                    <a:lnTo>
                      <a:pt x="277" y="443"/>
                    </a:lnTo>
                    <a:lnTo>
                      <a:pt x="276" y="444"/>
                    </a:lnTo>
                    <a:lnTo>
                      <a:pt x="275" y="444"/>
                    </a:lnTo>
                    <a:lnTo>
                      <a:pt x="273" y="444"/>
                    </a:lnTo>
                    <a:lnTo>
                      <a:pt x="272" y="444"/>
                    </a:lnTo>
                    <a:lnTo>
                      <a:pt x="273" y="444"/>
                    </a:lnTo>
                    <a:lnTo>
                      <a:pt x="272" y="444"/>
                    </a:lnTo>
                    <a:lnTo>
                      <a:pt x="272" y="443"/>
                    </a:lnTo>
                    <a:lnTo>
                      <a:pt x="272" y="444"/>
                    </a:lnTo>
                    <a:lnTo>
                      <a:pt x="271" y="444"/>
                    </a:lnTo>
                    <a:lnTo>
                      <a:pt x="270" y="444"/>
                    </a:lnTo>
                    <a:lnTo>
                      <a:pt x="269" y="444"/>
                    </a:lnTo>
                    <a:lnTo>
                      <a:pt x="268" y="444"/>
                    </a:lnTo>
                    <a:lnTo>
                      <a:pt x="268" y="443"/>
                    </a:lnTo>
                    <a:lnTo>
                      <a:pt x="267" y="443"/>
                    </a:lnTo>
                    <a:lnTo>
                      <a:pt x="268" y="443"/>
                    </a:lnTo>
                    <a:lnTo>
                      <a:pt x="268" y="442"/>
                    </a:lnTo>
                    <a:lnTo>
                      <a:pt x="267" y="442"/>
                    </a:lnTo>
                    <a:lnTo>
                      <a:pt x="266" y="441"/>
                    </a:lnTo>
                    <a:lnTo>
                      <a:pt x="265" y="441"/>
                    </a:lnTo>
                    <a:lnTo>
                      <a:pt x="264" y="441"/>
                    </a:lnTo>
                    <a:lnTo>
                      <a:pt x="264" y="442"/>
                    </a:lnTo>
                    <a:lnTo>
                      <a:pt x="263" y="442"/>
                    </a:lnTo>
                    <a:lnTo>
                      <a:pt x="263" y="443"/>
                    </a:lnTo>
                    <a:lnTo>
                      <a:pt x="262" y="443"/>
                    </a:lnTo>
                    <a:lnTo>
                      <a:pt x="262" y="442"/>
                    </a:lnTo>
                    <a:lnTo>
                      <a:pt x="262" y="443"/>
                    </a:lnTo>
                    <a:lnTo>
                      <a:pt x="260" y="443"/>
                    </a:lnTo>
                    <a:lnTo>
                      <a:pt x="259" y="443"/>
                    </a:lnTo>
                    <a:lnTo>
                      <a:pt x="259" y="444"/>
                    </a:lnTo>
                    <a:lnTo>
                      <a:pt x="258" y="443"/>
                    </a:lnTo>
                    <a:lnTo>
                      <a:pt x="258" y="444"/>
                    </a:lnTo>
                    <a:lnTo>
                      <a:pt x="257" y="444"/>
                    </a:lnTo>
                    <a:lnTo>
                      <a:pt x="258" y="444"/>
                    </a:lnTo>
                    <a:lnTo>
                      <a:pt x="246" y="445"/>
                    </a:lnTo>
                    <a:lnTo>
                      <a:pt x="235" y="446"/>
                    </a:lnTo>
                    <a:lnTo>
                      <a:pt x="235" y="444"/>
                    </a:lnTo>
                    <a:lnTo>
                      <a:pt x="220" y="444"/>
                    </a:lnTo>
                    <a:lnTo>
                      <a:pt x="203" y="444"/>
                    </a:lnTo>
                    <a:lnTo>
                      <a:pt x="196" y="444"/>
                    </a:lnTo>
                    <a:lnTo>
                      <a:pt x="183" y="443"/>
                    </a:lnTo>
                    <a:lnTo>
                      <a:pt x="181" y="443"/>
                    </a:lnTo>
                    <a:lnTo>
                      <a:pt x="180" y="443"/>
                    </a:lnTo>
                    <a:lnTo>
                      <a:pt x="169" y="444"/>
                    </a:lnTo>
                    <a:lnTo>
                      <a:pt x="161" y="444"/>
                    </a:lnTo>
                    <a:lnTo>
                      <a:pt x="161" y="445"/>
                    </a:lnTo>
                    <a:lnTo>
                      <a:pt x="160" y="446"/>
                    </a:lnTo>
                    <a:lnTo>
                      <a:pt x="160" y="447"/>
                    </a:lnTo>
                    <a:lnTo>
                      <a:pt x="160" y="448"/>
                    </a:lnTo>
                    <a:lnTo>
                      <a:pt x="142" y="448"/>
                    </a:lnTo>
                    <a:lnTo>
                      <a:pt x="125" y="450"/>
                    </a:lnTo>
                    <a:lnTo>
                      <a:pt x="118" y="450"/>
                    </a:lnTo>
                    <a:lnTo>
                      <a:pt x="108" y="450"/>
                    </a:lnTo>
                    <a:lnTo>
                      <a:pt x="97" y="450"/>
                    </a:lnTo>
                    <a:lnTo>
                      <a:pt x="97" y="443"/>
                    </a:lnTo>
                    <a:lnTo>
                      <a:pt x="97" y="435"/>
                    </a:lnTo>
                    <a:lnTo>
                      <a:pt x="97" y="417"/>
                    </a:lnTo>
                    <a:lnTo>
                      <a:pt x="97" y="406"/>
                    </a:lnTo>
                    <a:lnTo>
                      <a:pt x="97" y="402"/>
                    </a:lnTo>
                    <a:lnTo>
                      <a:pt x="97" y="392"/>
                    </a:lnTo>
                    <a:lnTo>
                      <a:pt x="97" y="390"/>
                    </a:lnTo>
                    <a:lnTo>
                      <a:pt x="97" y="372"/>
                    </a:lnTo>
                    <a:lnTo>
                      <a:pt x="97" y="364"/>
                    </a:lnTo>
                    <a:lnTo>
                      <a:pt x="95" y="364"/>
                    </a:lnTo>
                    <a:lnTo>
                      <a:pt x="95" y="341"/>
                    </a:lnTo>
                    <a:lnTo>
                      <a:pt x="95" y="327"/>
                    </a:lnTo>
                    <a:lnTo>
                      <a:pt x="95" y="304"/>
                    </a:lnTo>
                    <a:lnTo>
                      <a:pt x="95" y="301"/>
                    </a:lnTo>
                    <a:lnTo>
                      <a:pt x="95" y="298"/>
                    </a:lnTo>
                    <a:lnTo>
                      <a:pt x="95" y="294"/>
                    </a:lnTo>
                    <a:lnTo>
                      <a:pt x="93" y="280"/>
                    </a:lnTo>
                    <a:lnTo>
                      <a:pt x="93" y="253"/>
                    </a:lnTo>
                    <a:lnTo>
                      <a:pt x="93" y="232"/>
                    </a:lnTo>
                    <a:lnTo>
                      <a:pt x="93" y="219"/>
                    </a:lnTo>
                    <a:lnTo>
                      <a:pt x="93" y="208"/>
                    </a:lnTo>
                    <a:lnTo>
                      <a:pt x="93" y="206"/>
                    </a:lnTo>
                    <a:lnTo>
                      <a:pt x="93" y="205"/>
                    </a:lnTo>
                    <a:lnTo>
                      <a:pt x="93" y="199"/>
                    </a:lnTo>
                    <a:lnTo>
                      <a:pt x="93" y="197"/>
                    </a:lnTo>
                    <a:lnTo>
                      <a:pt x="93" y="193"/>
                    </a:lnTo>
                    <a:lnTo>
                      <a:pt x="93" y="192"/>
                    </a:lnTo>
                    <a:lnTo>
                      <a:pt x="93" y="191"/>
                    </a:lnTo>
                    <a:lnTo>
                      <a:pt x="91" y="190"/>
                    </a:lnTo>
                    <a:lnTo>
                      <a:pt x="87" y="190"/>
                    </a:lnTo>
                    <a:lnTo>
                      <a:pt x="84" y="190"/>
                    </a:lnTo>
                    <a:lnTo>
                      <a:pt x="84" y="186"/>
                    </a:lnTo>
                    <a:lnTo>
                      <a:pt x="84" y="175"/>
                    </a:lnTo>
                    <a:lnTo>
                      <a:pt x="73" y="175"/>
                    </a:lnTo>
                    <a:lnTo>
                      <a:pt x="73" y="173"/>
                    </a:lnTo>
                    <a:lnTo>
                      <a:pt x="73" y="171"/>
                    </a:lnTo>
                    <a:lnTo>
                      <a:pt x="73" y="165"/>
                    </a:lnTo>
                    <a:lnTo>
                      <a:pt x="71" y="165"/>
                    </a:lnTo>
                    <a:lnTo>
                      <a:pt x="65" y="165"/>
                    </a:lnTo>
                    <a:lnTo>
                      <a:pt x="63" y="165"/>
                    </a:lnTo>
                    <a:lnTo>
                      <a:pt x="63" y="153"/>
                    </a:lnTo>
                    <a:lnTo>
                      <a:pt x="63" y="152"/>
                    </a:lnTo>
                    <a:lnTo>
                      <a:pt x="63" y="151"/>
                    </a:lnTo>
                    <a:lnTo>
                      <a:pt x="63" y="149"/>
                    </a:lnTo>
                    <a:lnTo>
                      <a:pt x="63" y="148"/>
                    </a:lnTo>
                    <a:lnTo>
                      <a:pt x="63" y="147"/>
                    </a:lnTo>
                    <a:lnTo>
                      <a:pt x="63" y="145"/>
                    </a:lnTo>
                    <a:lnTo>
                      <a:pt x="62" y="145"/>
                    </a:lnTo>
                    <a:lnTo>
                      <a:pt x="52" y="145"/>
                    </a:lnTo>
                    <a:lnTo>
                      <a:pt x="52" y="140"/>
                    </a:lnTo>
                    <a:lnTo>
                      <a:pt x="52" y="139"/>
                    </a:lnTo>
                    <a:lnTo>
                      <a:pt x="47" y="139"/>
                    </a:lnTo>
                    <a:lnTo>
                      <a:pt x="46" y="139"/>
                    </a:lnTo>
                    <a:lnTo>
                      <a:pt x="44" y="139"/>
                    </a:lnTo>
                    <a:lnTo>
                      <a:pt x="41" y="139"/>
                    </a:lnTo>
                    <a:lnTo>
                      <a:pt x="38" y="139"/>
                    </a:lnTo>
                    <a:lnTo>
                      <a:pt x="37" y="139"/>
                    </a:lnTo>
                    <a:lnTo>
                      <a:pt x="36" y="139"/>
                    </a:lnTo>
                    <a:lnTo>
                      <a:pt x="32" y="139"/>
                    </a:lnTo>
                    <a:lnTo>
                      <a:pt x="32" y="137"/>
                    </a:lnTo>
                    <a:lnTo>
                      <a:pt x="32" y="134"/>
                    </a:lnTo>
                    <a:lnTo>
                      <a:pt x="28" y="134"/>
                    </a:lnTo>
                    <a:lnTo>
                      <a:pt x="27" y="134"/>
                    </a:lnTo>
                    <a:lnTo>
                      <a:pt x="11" y="134"/>
                    </a:lnTo>
                    <a:lnTo>
                      <a:pt x="11" y="132"/>
                    </a:lnTo>
                    <a:lnTo>
                      <a:pt x="11" y="128"/>
                    </a:lnTo>
                    <a:lnTo>
                      <a:pt x="5" y="128"/>
                    </a:lnTo>
                    <a:lnTo>
                      <a:pt x="0" y="128"/>
                    </a:lnTo>
                    <a:lnTo>
                      <a:pt x="0" y="126"/>
                    </a:lnTo>
                    <a:lnTo>
                      <a:pt x="0" y="123"/>
                    </a:lnTo>
                    <a:lnTo>
                      <a:pt x="11" y="123"/>
                    </a:lnTo>
                    <a:lnTo>
                      <a:pt x="22" y="123"/>
                    </a:lnTo>
                    <a:lnTo>
                      <a:pt x="22" y="108"/>
                    </a:lnTo>
                    <a:lnTo>
                      <a:pt x="32" y="108"/>
                    </a:lnTo>
                    <a:lnTo>
                      <a:pt x="37" y="108"/>
                    </a:lnTo>
                    <a:lnTo>
                      <a:pt x="43" y="108"/>
                    </a:lnTo>
                    <a:lnTo>
                      <a:pt x="43" y="104"/>
                    </a:lnTo>
                    <a:lnTo>
                      <a:pt x="43" y="102"/>
                    </a:lnTo>
                    <a:lnTo>
                      <a:pt x="43" y="93"/>
                    </a:lnTo>
                    <a:lnTo>
                      <a:pt x="58" y="93"/>
                    </a:lnTo>
                    <a:lnTo>
                      <a:pt x="58" y="82"/>
                    </a:lnTo>
                    <a:lnTo>
                      <a:pt x="67" y="82"/>
                    </a:lnTo>
                    <a:lnTo>
                      <a:pt x="67" y="72"/>
                    </a:lnTo>
                    <a:lnTo>
                      <a:pt x="67" y="71"/>
                    </a:lnTo>
                    <a:lnTo>
                      <a:pt x="83" y="71"/>
                    </a:lnTo>
                    <a:lnTo>
                      <a:pt x="83" y="65"/>
                    </a:lnTo>
                    <a:lnTo>
                      <a:pt x="83" y="61"/>
                    </a:lnTo>
                    <a:lnTo>
                      <a:pt x="93" y="61"/>
                    </a:lnTo>
                    <a:lnTo>
                      <a:pt x="93" y="56"/>
                    </a:lnTo>
                    <a:lnTo>
                      <a:pt x="103" y="56"/>
                    </a:lnTo>
                    <a:lnTo>
                      <a:pt x="103" y="51"/>
                    </a:lnTo>
                    <a:lnTo>
                      <a:pt x="103" y="45"/>
                    </a:lnTo>
                    <a:lnTo>
                      <a:pt x="114" y="45"/>
                    </a:lnTo>
                    <a:lnTo>
                      <a:pt x="114" y="41"/>
                    </a:lnTo>
                    <a:lnTo>
                      <a:pt x="120" y="41"/>
                    </a:lnTo>
                    <a:lnTo>
                      <a:pt x="120" y="35"/>
                    </a:lnTo>
                    <a:lnTo>
                      <a:pt x="121" y="35"/>
                    </a:lnTo>
                    <a:lnTo>
                      <a:pt x="125" y="35"/>
                    </a:lnTo>
                    <a:lnTo>
                      <a:pt x="125" y="30"/>
                    </a:lnTo>
                    <a:lnTo>
                      <a:pt x="128" y="30"/>
                    </a:lnTo>
                    <a:lnTo>
                      <a:pt x="129" y="30"/>
                    </a:lnTo>
                    <a:lnTo>
                      <a:pt x="135" y="30"/>
                    </a:lnTo>
                    <a:lnTo>
                      <a:pt x="135" y="23"/>
                    </a:lnTo>
                    <a:lnTo>
                      <a:pt x="142" y="17"/>
                    </a:lnTo>
                    <a:lnTo>
                      <a:pt x="147" y="13"/>
                    </a:lnTo>
                    <a:lnTo>
                      <a:pt x="161" y="1"/>
                    </a:lnTo>
                    <a:lnTo>
                      <a:pt x="161" y="0"/>
                    </a:lnTo>
                    <a:lnTo>
                      <a:pt x="162" y="1"/>
                    </a:lnTo>
                    <a:lnTo>
                      <a:pt x="164" y="5"/>
                    </a:lnTo>
                    <a:lnTo>
                      <a:pt x="164" y="6"/>
                    </a:lnTo>
                    <a:lnTo>
                      <a:pt x="165" y="7"/>
                    </a:lnTo>
                    <a:lnTo>
                      <a:pt x="165" y="9"/>
                    </a:lnTo>
                    <a:lnTo>
                      <a:pt x="166" y="10"/>
                    </a:lnTo>
                    <a:lnTo>
                      <a:pt x="167" y="12"/>
                    </a:lnTo>
                    <a:lnTo>
                      <a:pt x="168" y="13"/>
                    </a:lnTo>
                    <a:lnTo>
                      <a:pt x="169" y="14"/>
                    </a:lnTo>
                    <a:lnTo>
                      <a:pt x="172" y="17"/>
                    </a:lnTo>
                    <a:lnTo>
                      <a:pt x="173" y="18"/>
                    </a:lnTo>
                    <a:lnTo>
                      <a:pt x="174" y="18"/>
                    </a:lnTo>
                    <a:lnTo>
                      <a:pt x="175" y="18"/>
                    </a:lnTo>
                    <a:lnTo>
                      <a:pt x="176" y="17"/>
                    </a:lnTo>
                    <a:lnTo>
                      <a:pt x="177" y="17"/>
                    </a:lnTo>
                    <a:lnTo>
                      <a:pt x="177" y="16"/>
                    </a:lnTo>
                    <a:lnTo>
                      <a:pt x="178" y="14"/>
                    </a:lnTo>
                    <a:lnTo>
                      <a:pt x="179" y="13"/>
                    </a:lnTo>
                    <a:lnTo>
                      <a:pt x="180" y="12"/>
                    </a:lnTo>
                    <a:lnTo>
                      <a:pt x="181" y="12"/>
                    </a:lnTo>
                    <a:lnTo>
                      <a:pt x="181" y="13"/>
                    </a:lnTo>
                    <a:lnTo>
                      <a:pt x="183" y="13"/>
                    </a:lnTo>
                    <a:lnTo>
                      <a:pt x="183" y="14"/>
                    </a:lnTo>
                    <a:lnTo>
                      <a:pt x="183" y="16"/>
                    </a:lnTo>
                    <a:lnTo>
                      <a:pt x="183" y="17"/>
                    </a:lnTo>
                    <a:lnTo>
                      <a:pt x="183" y="18"/>
                    </a:lnTo>
                    <a:lnTo>
                      <a:pt x="182" y="19"/>
                    </a:lnTo>
                    <a:lnTo>
                      <a:pt x="181" y="19"/>
                    </a:lnTo>
                    <a:lnTo>
                      <a:pt x="179" y="19"/>
                    </a:lnTo>
                    <a:lnTo>
                      <a:pt x="178" y="18"/>
                    </a:lnTo>
                    <a:lnTo>
                      <a:pt x="177" y="18"/>
                    </a:lnTo>
                    <a:lnTo>
                      <a:pt x="174" y="19"/>
                    </a:lnTo>
                    <a:lnTo>
                      <a:pt x="174" y="20"/>
                    </a:lnTo>
                    <a:lnTo>
                      <a:pt x="174" y="22"/>
                    </a:lnTo>
                    <a:lnTo>
                      <a:pt x="174" y="24"/>
                    </a:lnTo>
                    <a:lnTo>
                      <a:pt x="173" y="25"/>
                    </a:lnTo>
                    <a:lnTo>
                      <a:pt x="174" y="27"/>
                    </a:lnTo>
                    <a:lnTo>
                      <a:pt x="175" y="29"/>
                    </a:lnTo>
                    <a:lnTo>
                      <a:pt x="178" y="30"/>
                    </a:lnTo>
                    <a:lnTo>
                      <a:pt x="179" y="32"/>
                    </a:lnTo>
                    <a:lnTo>
                      <a:pt x="179" y="33"/>
                    </a:lnTo>
                    <a:lnTo>
                      <a:pt x="177" y="34"/>
                    </a:lnTo>
                    <a:lnTo>
                      <a:pt x="174" y="34"/>
                    </a:lnTo>
                    <a:lnTo>
                      <a:pt x="173" y="34"/>
                    </a:lnTo>
                    <a:lnTo>
                      <a:pt x="169" y="34"/>
                    </a:lnTo>
                    <a:lnTo>
                      <a:pt x="168" y="34"/>
                    </a:lnTo>
                    <a:lnTo>
                      <a:pt x="168" y="35"/>
                    </a:lnTo>
                    <a:lnTo>
                      <a:pt x="168" y="37"/>
                    </a:lnTo>
                    <a:lnTo>
                      <a:pt x="168" y="39"/>
                    </a:lnTo>
                    <a:lnTo>
                      <a:pt x="168" y="41"/>
                    </a:lnTo>
                    <a:lnTo>
                      <a:pt x="168" y="46"/>
                    </a:lnTo>
                    <a:lnTo>
                      <a:pt x="169" y="48"/>
                    </a:lnTo>
                    <a:lnTo>
                      <a:pt x="169" y="49"/>
                    </a:lnTo>
                    <a:lnTo>
                      <a:pt x="170" y="50"/>
                    </a:lnTo>
                    <a:lnTo>
                      <a:pt x="172" y="51"/>
                    </a:lnTo>
                    <a:lnTo>
                      <a:pt x="173" y="52"/>
                    </a:lnTo>
                    <a:lnTo>
                      <a:pt x="175" y="54"/>
                    </a:lnTo>
                    <a:lnTo>
                      <a:pt x="177" y="52"/>
                    </a:lnTo>
                    <a:lnTo>
                      <a:pt x="179" y="52"/>
                    </a:lnTo>
                    <a:lnTo>
                      <a:pt x="181" y="51"/>
                    </a:lnTo>
                    <a:lnTo>
                      <a:pt x="182" y="50"/>
                    </a:lnTo>
                    <a:lnTo>
                      <a:pt x="185" y="51"/>
                    </a:lnTo>
                    <a:lnTo>
                      <a:pt x="185" y="54"/>
                    </a:lnTo>
                    <a:lnTo>
                      <a:pt x="183" y="56"/>
                    </a:lnTo>
                    <a:lnTo>
                      <a:pt x="182" y="57"/>
                    </a:lnTo>
                    <a:lnTo>
                      <a:pt x="181" y="59"/>
                    </a:lnTo>
                    <a:lnTo>
                      <a:pt x="178" y="61"/>
                    </a:lnTo>
                    <a:lnTo>
                      <a:pt x="177" y="62"/>
                    </a:lnTo>
                    <a:lnTo>
                      <a:pt x="176" y="64"/>
                    </a:lnTo>
                    <a:lnTo>
                      <a:pt x="177" y="67"/>
                    </a:lnTo>
                    <a:lnTo>
                      <a:pt x="177" y="68"/>
                    </a:lnTo>
                    <a:lnTo>
                      <a:pt x="178" y="69"/>
                    </a:lnTo>
                    <a:lnTo>
                      <a:pt x="180" y="70"/>
                    </a:lnTo>
                    <a:lnTo>
                      <a:pt x="182" y="71"/>
                    </a:lnTo>
                    <a:lnTo>
                      <a:pt x="183" y="71"/>
                    </a:lnTo>
                    <a:lnTo>
                      <a:pt x="186" y="72"/>
                    </a:lnTo>
                    <a:lnTo>
                      <a:pt x="187" y="73"/>
                    </a:lnTo>
                    <a:lnTo>
                      <a:pt x="187" y="74"/>
                    </a:lnTo>
                    <a:lnTo>
                      <a:pt x="186" y="75"/>
                    </a:lnTo>
                    <a:lnTo>
                      <a:pt x="183" y="75"/>
                    </a:lnTo>
                    <a:lnTo>
                      <a:pt x="181" y="77"/>
                    </a:lnTo>
                    <a:lnTo>
                      <a:pt x="179" y="78"/>
                    </a:lnTo>
                    <a:lnTo>
                      <a:pt x="177" y="78"/>
                    </a:lnTo>
                    <a:lnTo>
                      <a:pt x="176" y="80"/>
                    </a:lnTo>
                    <a:lnTo>
                      <a:pt x="175" y="82"/>
                    </a:lnTo>
                    <a:lnTo>
                      <a:pt x="175" y="83"/>
                    </a:lnTo>
                    <a:lnTo>
                      <a:pt x="176" y="83"/>
                    </a:lnTo>
                    <a:lnTo>
                      <a:pt x="176" y="84"/>
                    </a:lnTo>
                    <a:lnTo>
                      <a:pt x="177" y="85"/>
                    </a:lnTo>
                    <a:lnTo>
                      <a:pt x="178" y="86"/>
                    </a:lnTo>
                    <a:lnTo>
                      <a:pt x="180" y="86"/>
                    </a:lnTo>
                    <a:lnTo>
                      <a:pt x="182" y="87"/>
                    </a:lnTo>
                    <a:lnTo>
                      <a:pt x="183" y="88"/>
                    </a:lnTo>
                    <a:lnTo>
                      <a:pt x="185" y="88"/>
                    </a:lnTo>
                    <a:lnTo>
                      <a:pt x="186" y="88"/>
                    </a:lnTo>
                    <a:lnTo>
                      <a:pt x="188" y="87"/>
                    </a:lnTo>
                    <a:lnTo>
                      <a:pt x="189" y="85"/>
                    </a:lnTo>
                    <a:lnTo>
                      <a:pt x="190" y="83"/>
                    </a:lnTo>
                    <a:lnTo>
                      <a:pt x="190" y="82"/>
                    </a:lnTo>
                    <a:lnTo>
                      <a:pt x="191" y="82"/>
                    </a:lnTo>
                    <a:lnTo>
                      <a:pt x="192" y="81"/>
                    </a:lnTo>
                    <a:lnTo>
                      <a:pt x="192" y="82"/>
                    </a:lnTo>
                    <a:lnTo>
                      <a:pt x="192" y="83"/>
                    </a:lnTo>
                    <a:lnTo>
                      <a:pt x="193" y="84"/>
                    </a:lnTo>
                    <a:lnTo>
                      <a:pt x="193" y="85"/>
                    </a:lnTo>
                    <a:lnTo>
                      <a:pt x="193" y="87"/>
                    </a:lnTo>
                    <a:lnTo>
                      <a:pt x="193" y="88"/>
                    </a:lnTo>
                    <a:lnTo>
                      <a:pt x="193" y="89"/>
                    </a:lnTo>
                    <a:lnTo>
                      <a:pt x="194" y="90"/>
                    </a:lnTo>
                    <a:lnTo>
                      <a:pt x="194" y="91"/>
                    </a:lnTo>
                    <a:lnTo>
                      <a:pt x="195" y="91"/>
                    </a:lnTo>
                    <a:lnTo>
                      <a:pt x="195" y="93"/>
                    </a:lnTo>
                    <a:lnTo>
                      <a:pt x="196" y="93"/>
                    </a:lnTo>
                    <a:lnTo>
                      <a:pt x="198" y="94"/>
                    </a:lnTo>
                    <a:lnTo>
                      <a:pt x="199" y="94"/>
                    </a:lnTo>
                    <a:lnTo>
                      <a:pt x="200" y="94"/>
                    </a:lnTo>
                    <a:lnTo>
                      <a:pt x="201" y="94"/>
                    </a:lnTo>
                    <a:lnTo>
                      <a:pt x="202" y="94"/>
                    </a:lnTo>
                    <a:lnTo>
                      <a:pt x="203" y="94"/>
                    </a:lnTo>
                    <a:lnTo>
                      <a:pt x="204" y="93"/>
                    </a:lnTo>
                    <a:lnTo>
                      <a:pt x="205" y="93"/>
                    </a:lnTo>
                    <a:lnTo>
                      <a:pt x="207" y="91"/>
                    </a:lnTo>
                    <a:lnTo>
                      <a:pt x="208" y="90"/>
                    </a:lnTo>
                    <a:lnTo>
                      <a:pt x="209" y="90"/>
                    </a:lnTo>
                    <a:lnTo>
                      <a:pt x="211" y="90"/>
                    </a:lnTo>
                    <a:lnTo>
                      <a:pt x="212" y="89"/>
                    </a:lnTo>
                    <a:lnTo>
                      <a:pt x="213" y="90"/>
                    </a:lnTo>
                    <a:lnTo>
                      <a:pt x="214" y="90"/>
                    </a:lnTo>
                    <a:lnTo>
                      <a:pt x="214" y="91"/>
                    </a:lnTo>
                    <a:lnTo>
                      <a:pt x="215" y="91"/>
                    </a:lnTo>
                    <a:lnTo>
                      <a:pt x="219" y="90"/>
                    </a:lnTo>
                    <a:lnTo>
                      <a:pt x="224" y="89"/>
                    </a:lnTo>
                    <a:lnTo>
                      <a:pt x="225" y="89"/>
                    </a:lnTo>
                    <a:lnTo>
                      <a:pt x="237" y="86"/>
                    </a:lnTo>
                    <a:lnTo>
                      <a:pt x="246" y="84"/>
                    </a:lnTo>
                    <a:lnTo>
                      <a:pt x="255" y="82"/>
                    </a:lnTo>
                    <a:lnTo>
                      <a:pt x="259" y="81"/>
                    </a:lnTo>
                    <a:lnTo>
                      <a:pt x="270" y="78"/>
                    </a:lnTo>
                    <a:lnTo>
                      <a:pt x="276" y="76"/>
                    </a:lnTo>
                    <a:lnTo>
                      <a:pt x="280" y="75"/>
                    </a:lnTo>
                    <a:lnTo>
                      <a:pt x="285" y="74"/>
                    </a:lnTo>
                    <a:lnTo>
                      <a:pt x="289" y="73"/>
                    </a:lnTo>
                    <a:lnTo>
                      <a:pt x="308" y="69"/>
                    </a:lnTo>
                    <a:lnTo>
                      <a:pt x="316" y="67"/>
                    </a:lnTo>
                    <a:lnTo>
                      <a:pt x="324" y="64"/>
                    </a:lnTo>
                    <a:lnTo>
                      <a:pt x="325" y="64"/>
                    </a:lnTo>
                    <a:lnTo>
                      <a:pt x="328" y="64"/>
                    </a:lnTo>
                    <a:lnTo>
                      <a:pt x="345" y="60"/>
                    </a:lnTo>
                    <a:lnTo>
                      <a:pt x="350" y="59"/>
                    </a:lnTo>
                    <a:lnTo>
                      <a:pt x="368" y="55"/>
                    </a:lnTo>
                    <a:lnTo>
                      <a:pt x="372" y="54"/>
                    </a:lnTo>
                    <a:lnTo>
                      <a:pt x="377" y="51"/>
                    </a:lnTo>
                    <a:lnTo>
                      <a:pt x="396" y="48"/>
                    </a:lnTo>
                    <a:lnTo>
                      <a:pt x="397" y="47"/>
                    </a:lnTo>
                    <a:lnTo>
                      <a:pt x="415" y="43"/>
                    </a:lnTo>
                    <a:lnTo>
                      <a:pt x="427" y="42"/>
                    </a:lnTo>
                    <a:lnTo>
                      <a:pt x="431" y="41"/>
                    </a:lnTo>
                    <a:lnTo>
                      <a:pt x="434" y="39"/>
                    </a:lnTo>
                    <a:lnTo>
                      <a:pt x="467" y="32"/>
                    </a:lnTo>
                    <a:lnTo>
                      <a:pt x="473" y="31"/>
                    </a:lnTo>
                    <a:lnTo>
                      <a:pt x="482" y="29"/>
                    </a:lnTo>
                    <a:close/>
                  </a:path>
                </a:pathLst>
              </a:custGeom>
              <a:grpFill/>
              <a:ln w="19050">
                <a:solidFill>
                  <a:srgbClr val="FFC000"/>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912" name="Freeform 54">
                <a:extLst>
                  <a:ext uri="{FF2B5EF4-FFF2-40B4-BE49-F238E27FC236}">
                    <a16:creationId xmlns:a16="http://schemas.microsoft.com/office/drawing/2014/main" id="{DB68EDB4-12E6-BB36-A441-3EC9A4C0940B}"/>
                  </a:ext>
                </a:extLst>
              </p:cNvPr>
              <p:cNvSpPr>
                <a:spLocks/>
              </p:cNvSpPr>
              <p:nvPr/>
            </p:nvSpPr>
            <p:spPr bwMode="auto">
              <a:xfrm>
                <a:off x="2262846" y="1896682"/>
                <a:ext cx="496888" cy="534988"/>
              </a:xfrm>
              <a:custGeom>
                <a:avLst/>
                <a:gdLst>
                  <a:gd name="T0" fmla="*/ 298 w 313"/>
                  <a:gd name="T1" fmla="*/ 167 h 337"/>
                  <a:gd name="T2" fmla="*/ 294 w 313"/>
                  <a:gd name="T3" fmla="*/ 175 h 337"/>
                  <a:gd name="T4" fmla="*/ 291 w 313"/>
                  <a:gd name="T5" fmla="*/ 185 h 337"/>
                  <a:gd name="T6" fmla="*/ 290 w 313"/>
                  <a:gd name="T7" fmla="*/ 196 h 337"/>
                  <a:gd name="T8" fmla="*/ 284 w 313"/>
                  <a:gd name="T9" fmla="*/ 203 h 337"/>
                  <a:gd name="T10" fmla="*/ 275 w 313"/>
                  <a:gd name="T11" fmla="*/ 214 h 337"/>
                  <a:gd name="T12" fmla="*/ 270 w 313"/>
                  <a:gd name="T13" fmla="*/ 221 h 337"/>
                  <a:gd name="T14" fmla="*/ 262 w 313"/>
                  <a:gd name="T15" fmla="*/ 229 h 337"/>
                  <a:gd name="T16" fmla="*/ 257 w 313"/>
                  <a:gd name="T17" fmla="*/ 238 h 337"/>
                  <a:gd name="T18" fmla="*/ 252 w 313"/>
                  <a:gd name="T19" fmla="*/ 253 h 337"/>
                  <a:gd name="T20" fmla="*/ 249 w 313"/>
                  <a:gd name="T21" fmla="*/ 264 h 337"/>
                  <a:gd name="T22" fmla="*/ 247 w 313"/>
                  <a:gd name="T23" fmla="*/ 276 h 337"/>
                  <a:gd name="T24" fmla="*/ 243 w 313"/>
                  <a:gd name="T25" fmla="*/ 290 h 337"/>
                  <a:gd name="T26" fmla="*/ 242 w 313"/>
                  <a:gd name="T27" fmla="*/ 309 h 337"/>
                  <a:gd name="T28" fmla="*/ 221 w 313"/>
                  <a:gd name="T29" fmla="*/ 324 h 337"/>
                  <a:gd name="T30" fmla="*/ 161 w 313"/>
                  <a:gd name="T31" fmla="*/ 336 h 337"/>
                  <a:gd name="T32" fmla="*/ 154 w 313"/>
                  <a:gd name="T33" fmla="*/ 324 h 337"/>
                  <a:gd name="T34" fmla="*/ 29 w 313"/>
                  <a:gd name="T35" fmla="*/ 258 h 337"/>
                  <a:gd name="T36" fmla="*/ 0 w 313"/>
                  <a:gd name="T37" fmla="*/ 150 h 337"/>
                  <a:gd name="T38" fmla="*/ 39 w 313"/>
                  <a:gd name="T39" fmla="*/ 101 h 337"/>
                  <a:gd name="T40" fmla="*/ 72 w 313"/>
                  <a:gd name="T41" fmla="*/ 98 h 337"/>
                  <a:gd name="T42" fmla="*/ 81 w 313"/>
                  <a:gd name="T43" fmla="*/ 101 h 337"/>
                  <a:gd name="T44" fmla="*/ 90 w 313"/>
                  <a:gd name="T45" fmla="*/ 100 h 337"/>
                  <a:gd name="T46" fmla="*/ 100 w 313"/>
                  <a:gd name="T47" fmla="*/ 100 h 337"/>
                  <a:gd name="T48" fmla="*/ 109 w 313"/>
                  <a:gd name="T49" fmla="*/ 97 h 337"/>
                  <a:gd name="T50" fmla="*/ 117 w 313"/>
                  <a:gd name="T51" fmla="*/ 95 h 337"/>
                  <a:gd name="T52" fmla="*/ 117 w 313"/>
                  <a:gd name="T53" fmla="*/ 87 h 337"/>
                  <a:gd name="T54" fmla="*/ 158 w 313"/>
                  <a:gd name="T55" fmla="*/ 54 h 337"/>
                  <a:gd name="T56" fmla="*/ 174 w 313"/>
                  <a:gd name="T57" fmla="*/ 34 h 337"/>
                  <a:gd name="T58" fmla="*/ 188 w 313"/>
                  <a:gd name="T59" fmla="*/ 29 h 337"/>
                  <a:gd name="T60" fmla="*/ 201 w 313"/>
                  <a:gd name="T61" fmla="*/ 21 h 337"/>
                  <a:gd name="T62" fmla="*/ 213 w 313"/>
                  <a:gd name="T63" fmla="*/ 1 h 337"/>
                  <a:gd name="T64" fmla="*/ 226 w 313"/>
                  <a:gd name="T65" fmla="*/ 2 h 337"/>
                  <a:gd name="T66" fmla="*/ 214 w 313"/>
                  <a:gd name="T67" fmla="*/ 9 h 337"/>
                  <a:gd name="T68" fmla="*/ 221 w 313"/>
                  <a:gd name="T69" fmla="*/ 6 h 337"/>
                  <a:gd name="T70" fmla="*/ 220 w 313"/>
                  <a:gd name="T71" fmla="*/ 14 h 337"/>
                  <a:gd name="T72" fmla="*/ 229 w 313"/>
                  <a:gd name="T73" fmla="*/ 17 h 337"/>
                  <a:gd name="T74" fmla="*/ 223 w 313"/>
                  <a:gd name="T75" fmla="*/ 27 h 337"/>
                  <a:gd name="T76" fmla="*/ 235 w 313"/>
                  <a:gd name="T77" fmla="*/ 18 h 337"/>
                  <a:gd name="T78" fmla="*/ 229 w 313"/>
                  <a:gd name="T79" fmla="*/ 8 h 337"/>
                  <a:gd name="T80" fmla="*/ 239 w 313"/>
                  <a:gd name="T81" fmla="*/ 15 h 337"/>
                  <a:gd name="T82" fmla="*/ 247 w 313"/>
                  <a:gd name="T83" fmla="*/ 13 h 337"/>
                  <a:gd name="T84" fmla="*/ 258 w 313"/>
                  <a:gd name="T85" fmla="*/ 14 h 337"/>
                  <a:gd name="T86" fmla="*/ 268 w 313"/>
                  <a:gd name="T87" fmla="*/ 9 h 337"/>
                  <a:gd name="T88" fmla="*/ 272 w 313"/>
                  <a:gd name="T89" fmla="*/ 16 h 337"/>
                  <a:gd name="T90" fmla="*/ 275 w 313"/>
                  <a:gd name="T91" fmla="*/ 27 h 337"/>
                  <a:gd name="T92" fmla="*/ 283 w 313"/>
                  <a:gd name="T93" fmla="*/ 35 h 337"/>
                  <a:gd name="T94" fmla="*/ 294 w 313"/>
                  <a:gd name="T95" fmla="*/ 46 h 337"/>
                  <a:gd name="T96" fmla="*/ 304 w 313"/>
                  <a:gd name="T97" fmla="*/ 41 h 337"/>
                  <a:gd name="T98" fmla="*/ 310 w 313"/>
                  <a:gd name="T99" fmla="*/ 52 h 337"/>
                  <a:gd name="T100" fmla="*/ 301 w 313"/>
                  <a:gd name="T101" fmla="*/ 56 h 337"/>
                  <a:gd name="T102" fmla="*/ 303 w 313"/>
                  <a:gd name="T103" fmla="*/ 67 h 337"/>
                  <a:gd name="T104" fmla="*/ 299 w 313"/>
                  <a:gd name="T105" fmla="*/ 77 h 337"/>
                  <a:gd name="T106" fmla="*/ 297 w 313"/>
                  <a:gd name="T107" fmla="*/ 97 h 337"/>
                  <a:gd name="T108" fmla="*/ 299 w 313"/>
                  <a:gd name="T109" fmla="*/ 111 h 337"/>
                  <a:gd name="T110" fmla="*/ 303 w 313"/>
                  <a:gd name="T111" fmla="*/ 123 h 337"/>
                  <a:gd name="T112" fmla="*/ 307 w 313"/>
                  <a:gd name="T113" fmla="*/ 133 h 337"/>
                  <a:gd name="T114" fmla="*/ 313 w 313"/>
                  <a:gd name="T115" fmla="*/ 14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 h="337">
                    <a:moveTo>
                      <a:pt x="308" y="158"/>
                    </a:moveTo>
                    <a:lnTo>
                      <a:pt x="305" y="162"/>
                    </a:lnTo>
                    <a:lnTo>
                      <a:pt x="305" y="163"/>
                    </a:lnTo>
                    <a:lnTo>
                      <a:pt x="304" y="163"/>
                    </a:lnTo>
                    <a:lnTo>
                      <a:pt x="303" y="164"/>
                    </a:lnTo>
                    <a:lnTo>
                      <a:pt x="301" y="164"/>
                    </a:lnTo>
                    <a:lnTo>
                      <a:pt x="301" y="165"/>
                    </a:lnTo>
                    <a:lnTo>
                      <a:pt x="300" y="165"/>
                    </a:lnTo>
                    <a:lnTo>
                      <a:pt x="299" y="165"/>
                    </a:lnTo>
                    <a:lnTo>
                      <a:pt x="299" y="167"/>
                    </a:lnTo>
                    <a:lnTo>
                      <a:pt x="298" y="167"/>
                    </a:lnTo>
                    <a:lnTo>
                      <a:pt x="297" y="167"/>
                    </a:lnTo>
                    <a:lnTo>
                      <a:pt x="296" y="167"/>
                    </a:lnTo>
                    <a:lnTo>
                      <a:pt x="296" y="168"/>
                    </a:lnTo>
                    <a:lnTo>
                      <a:pt x="295" y="168"/>
                    </a:lnTo>
                    <a:lnTo>
                      <a:pt x="295" y="169"/>
                    </a:lnTo>
                    <a:lnTo>
                      <a:pt x="295" y="170"/>
                    </a:lnTo>
                    <a:lnTo>
                      <a:pt x="294" y="172"/>
                    </a:lnTo>
                    <a:lnTo>
                      <a:pt x="294" y="173"/>
                    </a:lnTo>
                    <a:lnTo>
                      <a:pt x="295" y="173"/>
                    </a:lnTo>
                    <a:lnTo>
                      <a:pt x="295" y="174"/>
                    </a:lnTo>
                    <a:lnTo>
                      <a:pt x="294" y="175"/>
                    </a:lnTo>
                    <a:lnTo>
                      <a:pt x="294" y="176"/>
                    </a:lnTo>
                    <a:lnTo>
                      <a:pt x="293" y="176"/>
                    </a:lnTo>
                    <a:lnTo>
                      <a:pt x="293" y="177"/>
                    </a:lnTo>
                    <a:lnTo>
                      <a:pt x="292" y="178"/>
                    </a:lnTo>
                    <a:lnTo>
                      <a:pt x="292" y="180"/>
                    </a:lnTo>
                    <a:lnTo>
                      <a:pt x="291" y="181"/>
                    </a:lnTo>
                    <a:lnTo>
                      <a:pt x="291" y="182"/>
                    </a:lnTo>
                    <a:lnTo>
                      <a:pt x="291" y="183"/>
                    </a:lnTo>
                    <a:lnTo>
                      <a:pt x="292" y="183"/>
                    </a:lnTo>
                    <a:lnTo>
                      <a:pt x="291" y="184"/>
                    </a:lnTo>
                    <a:lnTo>
                      <a:pt x="291" y="185"/>
                    </a:lnTo>
                    <a:lnTo>
                      <a:pt x="291" y="186"/>
                    </a:lnTo>
                    <a:lnTo>
                      <a:pt x="290" y="186"/>
                    </a:lnTo>
                    <a:lnTo>
                      <a:pt x="290" y="187"/>
                    </a:lnTo>
                    <a:lnTo>
                      <a:pt x="288" y="188"/>
                    </a:lnTo>
                    <a:lnTo>
                      <a:pt x="287" y="190"/>
                    </a:lnTo>
                    <a:lnTo>
                      <a:pt x="288" y="191"/>
                    </a:lnTo>
                    <a:lnTo>
                      <a:pt x="288" y="193"/>
                    </a:lnTo>
                    <a:lnTo>
                      <a:pt x="290" y="193"/>
                    </a:lnTo>
                    <a:lnTo>
                      <a:pt x="291" y="194"/>
                    </a:lnTo>
                    <a:lnTo>
                      <a:pt x="291" y="195"/>
                    </a:lnTo>
                    <a:lnTo>
                      <a:pt x="290" y="196"/>
                    </a:lnTo>
                    <a:lnTo>
                      <a:pt x="288" y="197"/>
                    </a:lnTo>
                    <a:lnTo>
                      <a:pt x="288" y="198"/>
                    </a:lnTo>
                    <a:lnTo>
                      <a:pt x="288" y="199"/>
                    </a:lnTo>
                    <a:lnTo>
                      <a:pt x="287" y="199"/>
                    </a:lnTo>
                    <a:lnTo>
                      <a:pt x="286" y="199"/>
                    </a:lnTo>
                    <a:lnTo>
                      <a:pt x="286" y="200"/>
                    </a:lnTo>
                    <a:lnTo>
                      <a:pt x="285" y="200"/>
                    </a:lnTo>
                    <a:lnTo>
                      <a:pt x="285" y="201"/>
                    </a:lnTo>
                    <a:lnTo>
                      <a:pt x="285" y="202"/>
                    </a:lnTo>
                    <a:lnTo>
                      <a:pt x="284" y="202"/>
                    </a:lnTo>
                    <a:lnTo>
                      <a:pt x="284" y="203"/>
                    </a:lnTo>
                    <a:lnTo>
                      <a:pt x="284" y="204"/>
                    </a:lnTo>
                    <a:lnTo>
                      <a:pt x="283" y="204"/>
                    </a:lnTo>
                    <a:lnTo>
                      <a:pt x="282" y="204"/>
                    </a:lnTo>
                    <a:lnTo>
                      <a:pt x="281" y="206"/>
                    </a:lnTo>
                    <a:lnTo>
                      <a:pt x="279" y="208"/>
                    </a:lnTo>
                    <a:lnTo>
                      <a:pt x="278" y="209"/>
                    </a:lnTo>
                    <a:lnTo>
                      <a:pt x="277" y="210"/>
                    </a:lnTo>
                    <a:lnTo>
                      <a:pt x="277" y="211"/>
                    </a:lnTo>
                    <a:lnTo>
                      <a:pt x="277" y="212"/>
                    </a:lnTo>
                    <a:lnTo>
                      <a:pt x="275" y="213"/>
                    </a:lnTo>
                    <a:lnTo>
                      <a:pt x="275" y="214"/>
                    </a:lnTo>
                    <a:lnTo>
                      <a:pt x="274" y="215"/>
                    </a:lnTo>
                    <a:lnTo>
                      <a:pt x="274" y="216"/>
                    </a:lnTo>
                    <a:lnTo>
                      <a:pt x="273" y="216"/>
                    </a:lnTo>
                    <a:lnTo>
                      <a:pt x="272" y="215"/>
                    </a:lnTo>
                    <a:lnTo>
                      <a:pt x="271" y="217"/>
                    </a:lnTo>
                    <a:lnTo>
                      <a:pt x="271" y="219"/>
                    </a:lnTo>
                    <a:lnTo>
                      <a:pt x="272" y="219"/>
                    </a:lnTo>
                    <a:lnTo>
                      <a:pt x="272" y="220"/>
                    </a:lnTo>
                    <a:lnTo>
                      <a:pt x="271" y="220"/>
                    </a:lnTo>
                    <a:lnTo>
                      <a:pt x="271" y="221"/>
                    </a:lnTo>
                    <a:lnTo>
                      <a:pt x="270" y="221"/>
                    </a:lnTo>
                    <a:lnTo>
                      <a:pt x="271" y="221"/>
                    </a:lnTo>
                    <a:lnTo>
                      <a:pt x="270" y="222"/>
                    </a:lnTo>
                    <a:lnTo>
                      <a:pt x="269" y="222"/>
                    </a:lnTo>
                    <a:lnTo>
                      <a:pt x="269" y="223"/>
                    </a:lnTo>
                    <a:lnTo>
                      <a:pt x="268" y="223"/>
                    </a:lnTo>
                    <a:lnTo>
                      <a:pt x="268" y="222"/>
                    </a:lnTo>
                    <a:lnTo>
                      <a:pt x="267" y="223"/>
                    </a:lnTo>
                    <a:lnTo>
                      <a:pt x="266" y="223"/>
                    </a:lnTo>
                    <a:lnTo>
                      <a:pt x="265" y="224"/>
                    </a:lnTo>
                    <a:lnTo>
                      <a:pt x="264" y="226"/>
                    </a:lnTo>
                    <a:lnTo>
                      <a:pt x="262" y="229"/>
                    </a:lnTo>
                    <a:lnTo>
                      <a:pt x="262" y="231"/>
                    </a:lnTo>
                    <a:lnTo>
                      <a:pt x="261" y="231"/>
                    </a:lnTo>
                    <a:lnTo>
                      <a:pt x="260" y="232"/>
                    </a:lnTo>
                    <a:lnTo>
                      <a:pt x="260" y="233"/>
                    </a:lnTo>
                    <a:lnTo>
                      <a:pt x="259" y="233"/>
                    </a:lnTo>
                    <a:lnTo>
                      <a:pt x="258" y="233"/>
                    </a:lnTo>
                    <a:lnTo>
                      <a:pt x="258" y="234"/>
                    </a:lnTo>
                    <a:lnTo>
                      <a:pt x="258" y="235"/>
                    </a:lnTo>
                    <a:lnTo>
                      <a:pt x="258" y="236"/>
                    </a:lnTo>
                    <a:lnTo>
                      <a:pt x="258" y="237"/>
                    </a:lnTo>
                    <a:lnTo>
                      <a:pt x="257" y="238"/>
                    </a:lnTo>
                    <a:lnTo>
                      <a:pt x="257" y="239"/>
                    </a:lnTo>
                    <a:lnTo>
                      <a:pt x="257" y="240"/>
                    </a:lnTo>
                    <a:lnTo>
                      <a:pt x="256" y="240"/>
                    </a:lnTo>
                    <a:lnTo>
                      <a:pt x="256" y="241"/>
                    </a:lnTo>
                    <a:lnTo>
                      <a:pt x="256" y="242"/>
                    </a:lnTo>
                    <a:lnTo>
                      <a:pt x="255" y="244"/>
                    </a:lnTo>
                    <a:lnTo>
                      <a:pt x="254" y="246"/>
                    </a:lnTo>
                    <a:lnTo>
                      <a:pt x="252" y="249"/>
                    </a:lnTo>
                    <a:lnTo>
                      <a:pt x="252" y="250"/>
                    </a:lnTo>
                    <a:lnTo>
                      <a:pt x="252" y="252"/>
                    </a:lnTo>
                    <a:lnTo>
                      <a:pt x="252" y="253"/>
                    </a:lnTo>
                    <a:lnTo>
                      <a:pt x="251" y="254"/>
                    </a:lnTo>
                    <a:lnTo>
                      <a:pt x="251" y="255"/>
                    </a:lnTo>
                    <a:lnTo>
                      <a:pt x="249" y="255"/>
                    </a:lnTo>
                    <a:lnTo>
                      <a:pt x="249" y="259"/>
                    </a:lnTo>
                    <a:lnTo>
                      <a:pt x="249" y="260"/>
                    </a:lnTo>
                    <a:lnTo>
                      <a:pt x="248" y="260"/>
                    </a:lnTo>
                    <a:lnTo>
                      <a:pt x="247" y="261"/>
                    </a:lnTo>
                    <a:lnTo>
                      <a:pt x="247" y="262"/>
                    </a:lnTo>
                    <a:lnTo>
                      <a:pt x="248" y="262"/>
                    </a:lnTo>
                    <a:lnTo>
                      <a:pt x="249" y="263"/>
                    </a:lnTo>
                    <a:lnTo>
                      <a:pt x="249" y="264"/>
                    </a:lnTo>
                    <a:lnTo>
                      <a:pt x="251" y="265"/>
                    </a:lnTo>
                    <a:lnTo>
                      <a:pt x="251" y="267"/>
                    </a:lnTo>
                    <a:lnTo>
                      <a:pt x="251" y="268"/>
                    </a:lnTo>
                    <a:lnTo>
                      <a:pt x="249" y="270"/>
                    </a:lnTo>
                    <a:lnTo>
                      <a:pt x="248" y="270"/>
                    </a:lnTo>
                    <a:lnTo>
                      <a:pt x="248" y="271"/>
                    </a:lnTo>
                    <a:lnTo>
                      <a:pt x="247" y="272"/>
                    </a:lnTo>
                    <a:lnTo>
                      <a:pt x="247" y="273"/>
                    </a:lnTo>
                    <a:lnTo>
                      <a:pt x="247" y="274"/>
                    </a:lnTo>
                    <a:lnTo>
                      <a:pt x="247" y="275"/>
                    </a:lnTo>
                    <a:lnTo>
                      <a:pt x="247" y="276"/>
                    </a:lnTo>
                    <a:lnTo>
                      <a:pt x="248" y="278"/>
                    </a:lnTo>
                    <a:lnTo>
                      <a:pt x="248" y="279"/>
                    </a:lnTo>
                    <a:lnTo>
                      <a:pt x="248" y="281"/>
                    </a:lnTo>
                    <a:lnTo>
                      <a:pt x="247" y="284"/>
                    </a:lnTo>
                    <a:lnTo>
                      <a:pt x="247" y="285"/>
                    </a:lnTo>
                    <a:lnTo>
                      <a:pt x="247" y="287"/>
                    </a:lnTo>
                    <a:lnTo>
                      <a:pt x="246" y="289"/>
                    </a:lnTo>
                    <a:lnTo>
                      <a:pt x="245" y="289"/>
                    </a:lnTo>
                    <a:lnTo>
                      <a:pt x="244" y="289"/>
                    </a:lnTo>
                    <a:lnTo>
                      <a:pt x="244" y="290"/>
                    </a:lnTo>
                    <a:lnTo>
                      <a:pt x="243" y="290"/>
                    </a:lnTo>
                    <a:lnTo>
                      <a:pt x="243" y="291"/>
                    </a:lnTo>
                    <a:lnTo>
                      <a:pt x="243" y="292"/>
                    </a:lnTo>
                    <a:lnTo>
                      <a:pt x="243" y="293"/>
                    </a:lnTo>
                    <a:lnTo>
                      <a:pt x="244" y="293"/>
                    </a:lnTo>
                    <a:lnTo>
                      <a:pt x="245" y="293"/>
                    </a:lnTo>
                    <a:lnTo>
                      <a:pt x="244" y="298"/>
                    </a:lnTo>
                    <a:lnTo>
                      <a:pt x="244" y="301"/>
                    </a:lnTo>
                    <a:lnTo>
                      <a:pt x="243" y="303"/>
                    </a:lnTo>
                    <a:lnTo>
                      <a:pt x="243" y="304"/>
                    </a:lnTo>
                    <a:lnTo>
                      <a:pt x="243" y="306"/>
                    </a:lnTo>
                    <a:lnTo>
                      <a:pt x="242" y="309"/>
                    </a:lnTo>
                    <a:lnTo>
                      <a:pt x="242" y="310"/>
                    </a:lnTo>
                    <a:lnTo>
                      <a:pt x="241" y="312"/>
                    </a:lnTo>
                    <a:lnTo>
                      <a:pt x="240" y="313"/>
                    </a:lnTo>
                    <a:lnTo>
                      <a:pt x="240" y="315"/>
                    </a:lnTo>
                    <a:lnTo>
                      <a:pt x="239" y="317"/>
                    </a:lnTo>
                    <a:lnTo>
                      <a:pt x="238" y="318"/>
                    </a:lnTo>
                    <a:lnTo>
                      <a:pt x="235" y="321"/>
                    </a:lnTo>
                    <a:lnTo>
                      <a:pt x="234" y="322"/>
                    </a:lnTo>
                    <a:lnTo>
                      <a:pt x="233" y="323"/>
                    </a:lnTo>
                    <a:lnTo>
                      <a:pt x="233" y="324"/>
                    </a:lnTo>
                    <a:lnTo>
                      <a:pt x="221" y="324"/>
                    </a:lnTo>
                    <a:lnTo>
                      <a:pt x="202" y="324"/>
                    </a:lnTo>
                    <a:lnTo>
                      <a:pt x="201" y="324"/>
                    </a:lnTo>
                    <a:lnTo>
                      <a:pt x="200" y="324"/>
                    </a:lnTo>
                    <a:lnTo>
                      <a:pt x="199" y="324"/>
                    </a:lnTo>
                    <a:lnTo>
                      <a:pt x="190" y="324"/>
                    </a:lnTo>
                    <a:lnTo>
                      <a:pt x="190" y="337"/>
                    </a:lnTo>
                    <a:lnTo>
                      <a:pt x="184" y="337"/>
                    </a:lnTo>
                    <a:lnTo>
                      <a:pt x="178" y="337"/>
                    </a:lnTo>
                    <a:lnTo>
                      <a:pt x="162" y="337"/>
                    </a:lnTo>
                    <a:lnTo>
                      <a:pt x="161" y="337"/>
                    </a:lnTo>
                    <a:lnTo>
                      <a:pt x="161" y="336"/>
                    </a:lnTo>
                    <a:lnTo>
                      <a:pt x="162" y="335"/>
                    </a:lnTo>
                    <a:lnTo>
                      <a:pt x="162" y="334"/>
                    </a:lnTo>
                    <a:lnTo>
                      <a:pt x="161" y="332"/>
                    </a:lnTo>
                    <a:lnTo>
                      <a:pt x="159" y="331"/>
                    </a:lnTo>
                    <a:lnTo>
                      <a:pt x="158" y="331"/>
                    </a:lnTo>
                    <a:lnTo>
                      <a:pt x="157" y="330"/>
                    </a:lnTo>
                    <a:lnTo>
                      <a:pt x="156" y="329"/>
                    </a:lnTo>
                    <a:lnTo>
                      <a:pt x="155" y="328"/>
                    </a:lnTo>
                    <a:lnTo>
                      <a:pt x="154" y="327"/>
                    </a:lnTo>
                    <a:lnTo>
                      <a:pt x="154" y="326"/>
                    </a:lnTo>
                    <a:lnTo>
                      <a:pt x="154" y="324"/>
                    </a:lnTo>
                    <a:lnTo>
                      <a:pt x="153" y="324"/>
                    </a:lnTo>
                    <a:lnTo>
                      <a:pt x="105" y="324"/>
                    </a:lnTo>
                    <a:lnTo>
                      <a:pt x="102" y="324"/>
                    </a:lnTo>
                    <a:lnTo>
                      <a:pt x="101" y="324"/>
                    </a:lnTo>
                    <a:lnTo>
                      <a:pt x="94" y="324"/>
                    </a:lnTo>
                    <a:lnTo>
                      <a:pt x="70" y="324"/>
                    </a:lnTo>
                    <a:lnTo>
                      <a:pt x="63" y="324"/>
                    </a:lnTo>
                    <a:lnTo>
                      <a:pt x="63" y="292"/>
                    </a:lnTo>
                    <a:lnTo>
                      <a:pt x="58" y="286"/>
                    </a:lnTo>
                    <a:lnTo>
                      <a:pt x="57" y="286"/>
                    </a:lnTo>
                    <a:lnTo>
                      <a:pt x="29" y="258"/>
                    </a:lnTo>
                    <a:lnTo>
                      <a:pt x="10" y="239"/>
                    </a:lnTo>
                    <a:lnTo>
                      <a:pt x="3" y="232"/>
                    </a:lnTo>
                    <a:lnTo>
                      <a:pt x="0" y="228"/>
                    </a:lnTo>
                    <a:lnTo>
                      <a:pt x="0" y="204"/>
                    </a:lnTo>
                    <a:lnTo>
                      <a:pt x="0" y="186"/>
                    </a:lnTo>
                    <a:lnTo>
                      <a:pt x="0" y="183"/>
                    </a:lnTo>
                    <a:lnTo>
                      <a:pt x="0" y="170"/>
                    </a:lnTo>
                    <a:lnTo>
                      <a:pt x="0" y="167"/>
                    </a:lnTo>
                    <a:lnTo>
                      <a:pt x="0" y="165"/>
                    </a:lnTo>
                    <a:lnTo>
                      <a:pt x="0" y="157"/>
                    </a:lnTo>
                    <a:lnTo>
                      <a:pt x="0" y="150"/>
                    </a:lnTo>
                    <a:lnTo>
                      <a:pt x="0" y="146"/>
                    </a:lnTo>
                    <a:lnTo>
                      <a:pt x="0" y="137"/>
                    </a:lnTo>
                    <a:lnTo>
                      <a:pt x="0" y="127"/>
                    </a:lnTo>
                    <a:lnTo>
                      <a:pt x="0" y="122"/>
                    </a:lnTo>
                    <a:lnTo>
                      <a:pt x="0" y="101"/>
                    </a:lnTo>
                    <a:lnTo>
                      <a:pt x="19" y="101"/>
                    </a:lnTo>
                    <a:lnTo>
                      <a:pt x="24" y="101"/>
                    </a:lnTo>
                    <a:lnTo>
                      <a:pt x="25" y="101"/>
                    </a:lnTo>
                    <a:lnTo>
                      <a:pt x="26" y="101"/>
                    </a:lnTo>
                    <a:lnTo>
                      <a:pt x="32" y="101"/>
                    </a:lnTo>
                    <a:lnTo>
                      <a:pt x="39" y="101"/>
                    </a:lnTo>
                    <a:lnTo>
                      <a:pt x="53" y="101"/>
                    </a:lnTo>
                    <a:lnTo>
                      <a:pt x="67" y="101"/>
                    </a:lnTo>
                    <a:lnTo>
                      <a:pt x="68" y="101"/>
                    </a:lnTo>
                    <a:lnTo>
                      <a:pt x="68" y="100"/>
                    </a:lnTo>
                    <a:lnTo>
                      <a:pt x="68" y="101"/>
                    </a:lnTo>
                    <a:lnTo>
                      <a:pt x="70" y="101"/>
                    </a:lnTo>
                    <a:lnTo>
                      <a:pt x="71" y="101"/>
                    </a:lnTo>
                    <a:lnTo>
                      <a:pt x="71" y="100"/>
                    </a:lnTo>
                    <a:lnTo>
                      <a:pt x="71" y="99"/>
                    </a:lnTo>
                    <a:lnTo>
                      <a:pt x="72" y="99"/>
                    </a:lnTo>
                    <a:lnTo>
                      <a:pt x="72" y="98"/>
                    </a:lnTo>
                    <a:lnTo>
                      <a:pt x="73" y="98"/>
                    </a:lnTo>
                    <a:lnTo>
                      <a:pt x="74" y="98"/>
                    </a:lnTo>
                    <a:lnTo>
                      <a:pt x="75" y="99"/>
                    </a:lnTo>
                    <a:lnTo>
                      <a:pt x="76" y="99"/>
                    </a:lnTo>
                    <a:lnTo>
                      <a:pt x="77" y="100"/>
                    </a:lnTo>
                    <a:lnTo>
                      <a:pt x="78" y="101"/>
                    </a:lnTo>
                    <a:lnTo>
                      <a:pt x="79" y="101"/>
                    </a:lnTo>
                    <a:lnTo>
                      <a:pt x="79" y="100"/>
                    </a:lnTo>
                    <a:lnTo>
                      <a:pt x="80" y="100"/>
                    </a:lnTo>
                    <a:lnTo>
                      <a:pt x="80" y="101"/>
                    </a:lnTo>
                    <a:lnTo>
                      <a:pt x="81" y="101"/>
                    </a:lnTo>
                    <a:lnTo>
                      <a:pt x="83" y="101"/>
                    </a:lnTo>
                    <a:lnTo>
                      <a:pt x="84" y="101"/>
                    </a:lnTo>
                    <a:lnTo>
                      <a:pt x="85" y="101"/>
                    </a:lnTo>
                    <a:lnTo>
                      <a:pt x="84" y="103"/>
                    </a:lnTo>
                    <a:lnTo>
                      <a:pt x="85" y="103"/>
                    </a:lnTo>
                    <a:lnTo>
                      <a:pt x="86" y="103"/>
                    </a:lnTo>
                    <a:lnTo>
                      <a:pt x="87" y="103"/>
                    </a:lnTo>
                    <a:lnTo>
                      <a:pt x="88" y="103"/>
                    </a:lnTo>
                    <a:lnTo>
                      <a:pt x="89" y="101"/>
                    </a:lnTo>
                    <a:lnTo>
                      <a:pt x="90" y="101"/>
                    </a:lnTo>
                    <a:lnTo>
                      <a:pt x="90" y="100"/>
                    </a:lnTo>
                    <a:lnTo>
                      <a:pt x="91" y="101"/>
                    </a:lnTo>
                    <a:lnTo>
                      <a:pt x="92" y="101"/>
                    </a:lnTo>
                    <a:lnTo>
                      <a:pt x="93" y="101"/>
                    </a:lnTo>
                    <a:lnTo>
                      <a:pt x="93" y="103"/>
                    </a:lnTo>
                    <a:lnTo>
                      <a:pt x="94" y="103"/>
                    </a:lnTo>
                    <a:lnTo>
                      <a:pt x="96" y="101"/>
                    </a:lnTo>
                    <a:lnTo>
                      <a:pt x="97" y="101"/>
                    </a:lnTo>
                    <a:lnTo>
                      <a:pt x="98" y="101"/>
                    </a:lnTo>
                    <a:lnTo>
                      <a:pt x="98" y="100"/>
                    </a:lnTo>
                    <a:lnTo>
                      <a:pt x="99" y="100"/>
                    </a:lnTo>
                    <a:lnTo>
                      <a:pt x="100" y="100"/>
                    </a:lnTo>
                    <a:lnTo>
                      <a:pt x="101" y="99"/>
                    </a:lnTo>
                    <a:lnTo>
                      <a:pt x="101" y="98"/>
                    </a:lnTo>
                    <a:lnTo>
                      <a:pt x="101" y="97"/>
                    </a:lnTo>
                    <a:lnTo>
                      <a:pt x="102" y="98"/>
                    </a:lnTo>
                    <a:lnTo>
                      <a:pt x="102" y="97"/>
                    </a:lnTo>
                    <a:lnTo>
                      <a:pt x="103" y="97"/>
                    </a:lnTo>
                    <a:lnTo>
                      <a:pt x="104" y="97"/>
                    </a:lnTo>
                    <a:lnTo>
                      <a:pt x="105" y="97"/>
                    </a:lnTo>
                    <a:lnTo>
                      <a:pt x="106" y="97"/>
                    </a:lnTo>
                    <a:lnTo>
                      <a:pt x="107" y="97"/>
                    </a:lnTo>
                    <a:lnTo>
                      <a:pt x="109" y="97"/>
                    </a:lnTo>
                    <a:lnTo>
                      <a:pt x="110" y="97"/>
                    </a:lnTo>
                    <a:lnTo>
                      <a:pt x="111" y="97"/>
                    </a:lnTo>
                    <a:lnTo>
                      <a:pt x="112" y="98"/>
                    </a:lnTo>
                    <a:lnTo>
                      <a:pt x="113" y="97"/>
                    </a:lnTo>
                    <a:lnTo>
                      <a:pt x="114" y="97"/>
                    </a:lnTo>
                    <a:lnTo>
                      <a:pt x="114" y="96"/>
                    </a:lnTo>
                    <a:lnTo>
                      <a:pt x="115" y="97"/>
                    </a:lnTo>
                    <a:lnTo>
                      <a:pt x="115" y="96"/>
                    </a:lnTo>
                    <a:lnTo>
                      <a:pt x="116" y="96"/>
                    </a:lnTo>
                    <a:lnTo>
                      <a:pt x="117" y="96"/>
                    </a:lnTo>
                    <a:lnTo>
                      <a:pt x="117" y="95"/>
                    </a:lnTo>
                    <a:lnTo>
                      <a:pt x="118" y="95"/>
                    </a:lnTo>
                    <a:lnTo>
                      <a:pt x="118" y="94"/>
                    </a:lnTo>
                    <a:lnTo>
                      <a:pt x="118" y="93"/>
                    </a:lnTo>
                    <a:lnTo>
                      <a:pt x="117" y="93"/>
                    </a:lnTo>
                    <a:lnTo>
                      <a:pt x="118" y="92"/>
                    </a:lnTo>
                    <a:lnTo>
                      <a:pt x="117" y="92"/>
                    </a:lnTo>
                    <a:lnTo>
                      <a:pt x="117" y="91"/>
                    </a:lnTo>
                    <a:lnTo>
                      <a:pt x="117" y="90"/>
                    </a:lnTo>
                    <a:lnTo>
                      <a:pt x="118" y="90"/>
                    </a:lnTo>
                    <a:lnTo>
                      <a:pt x="117" y="88"/>
                    </a:lnTo>
                    <a:lnTo>
                      <a:pt x="117" y="87"/>
                    </a:lnTo>
                    <a:lnTo>
                      <a:pt x="117" y="86"/>
                    </a:lnTo>
                    <a:lnTo>
                      <a:pt x="117" y="85"/>
                    </a:lnTo>
                    <a:lnTo>
                      <a:pt x="118" y="85"/>
                    </a:lnTo>
                    <a:lnTo>
                      <a:pt x="118" y="84"/>
                    </a:lnTo>
                    <a:lnTo>
                      <a:pt x="118" y="83"/>
                    </a:lnTo>
                    <a:lnTo>
                      <a:pt x="118" y="82"/>
                    </a:lnTo>
                    <a:lnTo>
                      <a:pt x="119" y="82"/>
                    </a:lnTo>
                    <a:lnTo>
                      <a:pt x="119" y="81"/>
                    </a:lnTo>
                    <a:lnTo>
                      <a:pt x="120" y="81"/>
                    </a:lnTo>
                    <a:lnTo>
                      <a:pt x="154" y="57"/>
                    </a:lnTo>
                    <a:lnTo>
                      <a:pt x="158" y="54"/>
                    </a:lnTo>
                    <a:lnTo>
                      <a:pt x="169" y="45"/>
                    </a:lnTo>
                    <a:lnTo>
                      <a:pt x="170" y="45"/>
                    </a:lnTo>
                    <a:lnTo>
                      <a:pt x="168" y="42"/>
                    </a:lnTo>
                    <a:lnTo>
                      <a:pt x="168" y="41"/>
                    </a:lnTo>
                    <a:lnTo>
                      <a:pt x="168" y="40"/>
                    </a:lnTo>
                    <a:lnTo>
                      <a:pt x="168" y="37"/>
                    </a:lnTo>
                    <a:lnTo>
                      <a:pt x="168" y="35"/>
                    </a:lnTo>
                    <a:lnTo>
                      <a:pt x="169" y="34"/>
                    </a:lnTo>
                    <a:lnTo>
                      <a:pt x="170" y="34"/>
                    </a:lnTo>
                    <a:lnTo>
                      <a:pt x="172" y="34"/>
                    </a:lnTo>
                    <a:lnTo>
                      <a:pt x="174" y="34"/>
                    </a:lnTo>
                    <a:lnTo>
                      <a:pt x="175" y="34"/>
                    </a:lnTo>
                    <a:lnTo>
                      <a:pt x="176" y="34"/>
                    </a:lnTo>
                    <a:lnTo>
                      <a:pt x="179" y="35"/>
                    </a:lnTo>
                    <a:lnTo>
                      <a:pt x="180" y="35"/>
                    </a:lnTo>
                    <a:lnTo>
                      <a:pt x="181" y="35"/>
                    </a:lnTo>
                    <a:lnTo>
                      <a:pt x="182" y="35"/>
                    </a:lnTo>
                    <a:lnTo>
                      <a:pt x="182" y="34"/>
                    </a:lnTo>
                    <a:lnTo>
                      <a:pt x="184" y="33"/>
                    </a:lnTo>
                    <a:lnTo>
                      <a:pt x="186" y="32"/>
                    </a:lnTo>
                    <a:lnTo>
                      <a:pt x="187" y="30"/>
                    </a:lnTo>
                    <a:lnTo>
                      <a:pt x="188" y="29"/>
                    </a:lnTo>
                    <a:lnTo>
                      <a:pt x="189" y="29"/>
                    </a:lnTo>
                    <a:lnTo>
                      <a:pt x="190" y="29"/>
                    </a:lnTo>
                    <a:lnTo>
                      <a:pt x="192" y="29"/>
                    </a:lnTo>
                    <a:lnTo>
                      <a:pt x="193" y="29"/>
                    </a:lnTo>
                    <a:lnTo>
                      <a:pt x="195" y="28"/>
                    </a:lnTo>
                    <a:lnTo>
                      <a:pt x="197" y="27"/>
                    </a:lnTo>
                    <a:lnTo>
                      <a:pt x="199" y="27"/>
                    </a:lnTo>
                    <a:lnTo>
                      <a:pt x="200" y="26"/>
                    </a:lnTo>
                    <a:lnTo>
                      <a:pt x="200" y="24"/>
                    </a:lnTo>
                    <a:lnTo>
                      <a:pt x="200" y="23"/>
                    </a:lnTo>
                    <a:lnTo>
                      <a:pt x="201" y="21"/>
                    </a:lnTo>
                    <a:lnTo>
                      <a:pt x="201" y="20"/>
                    </a:lnTo>
                    <a:lnTo>
                      <a:pt x="202" y="18"/>
                    </a:lnTo>
                    <a:lnTo>
                      <a:pt x="203" y="16"/>
                    </a:lnTo>
                    <a:lnTo>
                      <a:pt x="204" y="14"/>
                    </a:lnTo>
                    <a:lnTo>
                      <a:pt x="206" y="13"/>
                    </a:lnTo>
                    <a:lnTo>
                      <a:pt x="207" y="10"/>
                    </a:lnTo>
                    <a:lnTo>
                      <a:pt x="208" y="9"/>
                    </a:lnTo>
                    <a:lnTo>
                      <a:pt x="209" y="7"/>
                    </a:lnTo>
                    <a:lnTo>
                      <a:pt x="210" y="5"/>
                    </a:lnTo>
                    <a:lnTo>
                      <a:pt x="212" y="3"/>
                    </a:lnTo>
                    <a:lnTo>
                      <a:pt x="213" y="1"/>
                    </a:lnTo>
                    <a:lnTo>
                      <a:pt x="214" y="1"/>
                    </a:lnTo>
                    <a:lnTo>
                      <a:pt x="215" y="0"/>
                    </a:lnTo>
                    <a:lnTo>
                      <a:pt x="216" y="0"/>
                    </a:lnTo>
                    <a:lnTo>
                      <a:pt x="218" y="1"/>
                    </a:lnTo>
                    <a:lnTo>
                      <a:pt x="219" y="1"/>
                    </a:lnTo>
                    <a:lnTo>
                      <a:pt x="219" y="2"/>
                    </a:lnTo>
                    <a:lnTo>
                      <a:pt x="220" y="2"/>
                    </a:lnTo>
                    <a:lnTo>
                      <a:pt x="222" y="2"/>
                    </a:lnTo>
                    <a:lnTo>
                      <a:pt x="223" y="2"/>
                    </a:lnTo>
                    <a:lnTo>
                      <a:pt x="225" y="2"/>
                    </a:lnTo>
                    <a:lnTo>
                      <a:pt x="226" y="2"/>
                    </a:lnTo>
                    <a:lnTo>
                      <a:pt x="225" y="3"/>
                    </a:lnTo>
                    <a:lnTo>
                      <a:pt x="225" y="4"/>
                    </a:lnTo>
                    <a:lnTo>
                      <a:pt x="223" y="3"/>
                    </a:lnTo>
                    <a:lnTo>
                      <a:pt x="222" y="3"/>
                    </a:lnTo>
                    <a:lnTo>
                      <a:pt x="221" y="3"/>
                    </a:lnTo>
                    <a:lnTo>
                      <a:pt x="220" y="3"/>
                    </a:lnTo>
                    <a:lnTo>
                      <a:pt x="219" y="4"/>
                    </a:lnTo>
                    <a:lnTo>
                      <a:pt x="218" y="5"/>
                    </a:lnTo>
                    <a:lnTo>
                      <a:pt x="217" y="6"/>
                    </a:lnTo>
                    <a:lnTo>
                      <a:pt x="215" y="9"/>
                    </a:lnTo>
                    <a:lnTo>
                      <a:pt x="214" y="9"/>
                    </a:lnTo>
                    <a:lnTo>
                      <a:pt x="214" y="10"/>
                    </a:lnTo>
                    <a:lnTo>
                      <a:pt x="215" y="10"/>
                    </a:lnTo>
                    <a:lnTo>
                      <a:pt x="216" y="10"/>
                    </a:lnTo>
                    <a:lnTo>
                      <a:pt x="216" y="9"/>
                    </a:lnTo>
                    <a:lnTo>
                      <a:pt x="216" y="8"/>
                    </a:lnTo>
                    <a:lnTo>
                      <a:pt x="217" y="8"/>
                    </a:lnTo>
                    <a:lnTo>
                      <a:pt x="217" y="7"/>
                    </a:lnTo>
                    <a:lnTo>
                      <a:pt x="218" y="7"/>
                    </a:lnTo>
                    <a:lnTo>
                      <a:pt x="219" y="7"/>
                    </a:lnTo>
                    <a:lnTo>
                      <a:pt x="220" y="6"/>
                    </a:lnTo>
                    <a:lnTo>
                      <a:pt x="221" y="6"/>
                    </a:lnTo>
                    <a:lnTo>
                      <a:pt x="221" y="5"/>
                    </a:lnTo>
                    <a:lnTo>
                      <a:pt x="222" y="5"/>
                    </a:lnTo>
                    <a:lnTo>
                      <a:pt x="222" y="6"/>
                    </a:lnTo>
                    <a:lnTo>
                      <a:pt x="222" y="7"/>
                    </a:lnTo>
                    <a:lnTo>
                      <a:pt x="220" y="8"/>
                    </a:lnTo>
                    <a:lnTo>
                      <a:pt x="219" y="9"/>
                    </a:lnTo>
                    <a:lnTo>
                      <a:pt x="219" y="10"/>
                    </a:lnTo>
                    <a:lnTo>
                      <a:pt x="219" y="11"/>
                    </a:lnTo>
                    <a:lnTo>
                      <a:pt x="219" y="13"/>
                    </a:lnTo>
                    <a:lnTo>
                      <a:pt x="220" y="13"/>
                    </a:lnTo>
                    <a:lnTo>
                      <a:pt x="220" y="14"/>
                    </a:lnTo>
                    <a:lnTo>
                      <a:pt x="220" y="15"/>
                    </a:lnTo>
                    <a:lnTo>
                      <a:pt x="221" y="15"/>
                    </a:lnTo>
                    <a:lnTo>
                      <a:pt x="221" y="16"/>
                    </a:lnTo>
                    <a:lnTo>
                      <a:pt x="220" y="17"/>
                    </a:lnTo>
                    <a:lnTo>
                      <a:pt x="220" y="18"/>
                    </a:lnTo>
                    <a:lnTo>
                      <a:pt x="221" y="18"/>
                    </a:lnTo>
                    <a:lnTo>
                      <a:pt x="222" y="18"/>
                    </a:lnTo>
                    <a:lnTo>
                      <a:pt x="223" y="18"/>
                    </a:lnTo>
                    <a:lnTo>
                      <a:pt x="227" y="16"/>
                    </a:lnTo>
                    <a:lnTo>
                      <a:pt x="228" y="16"/>
                    </a:lnTo>
                    <a:lnTo>
                      <a:pt x="229" y="17"/>
                    </a:lnTo>
                    <a:lnTo>
                      <a:pt x="228" y="17"/>
                    </a:lnTo>
                    <a:lnTo>
                      <a:pt x="227" y="19"/>
                    </a:lnTo>
                    <a:lnTo>
                      <a:pt x="226" y="19"/>
                    </a:lnTo>
                    <a:lnTo>
                      <a:pt x="226" y="20"/>
                    </a:lnTo>
                    <a:lnTo>
                      <a:pt x="226" y="21"/>
                    </a:lnTo>
                    <a:lnTo>
                      <a:pt x="225" y="22"/>
                    </a:lnTo>
                    <a:lnTo>
                      <a:pt x="223" y="22"/>
                    </a:lnTo>
                    <a:lnTo>
                      <a:pt x="223" y="23"/>
                    </a:lnTo>
                    <a:lnTo>
                      <a:pt x="223" y="24"/>
                    </a:lnTo>
                    <a:lnTo>
                      <a:pt x="223" y="26"/>
                    </a:lnTo>
                    <a:lnTo>
                      <a:pt x="223" y="27"/>
                    </a:lnTo>
                    <a:lnTo>
                      <a:pt x="225" y="27"/>
                    </a:lnTo>
                    <a:lnTo>
                      <a:pt x="226" y="27"/>
                    </a:lnTo>
                    <a:lnTo>
                      <a:pt x="226" y="26"/>
                    </a:lnTo>
                    <a:lnTo>
                      <a:pt x="227" y="26"/>
                    </a:lnTo>
                    <a:lnTo>
                      <a:pt x="227" y="24"/>
                    </a:lnTo>
                    <a:lnTo>
                      <a:pt x="228" y="23"/>
                    </a:lnTo>
                    <a:lnTo>
                      <a:pt x="229" y="23"/>
                    </a:lnTo>
                    <a:lnTo>
                      <a:pt x="233" y="21"/>
                    </a:lnTo>
                    <a:lnTo>
                      <a:pt x="234" y="20"/>
                    </a:lnTo>
                    <a:lnTo>
                      <a:pt x="235" y="19"/>
                    </a:lnTo>
                    <a:lnTo>
                      <a:pt x="235" y="18"/>
                    </a:lnTo>
                    <a:lnTo>
                      <a:pt x="235" y="17"/>
                    </a:lnTo>
                    <a:lnTo>
                      <a:pt x="235" y="16"/>
                    </a:lnTo>
                    <a:lnTo>
                      <a:pt x="233" y="16"/>
                    </a:lnTo>
                    <a:lnTo>
                      <a:pt x="231" y="16"/>
                    </a:lnTo>
                    <a:lnTo>
                      <a:pt x="229" y="15"/>
                    </a:lnTo>
                    <a:lnTo>
                      <a:pt x="228" y="14"/>
                    </a:lnTo>
                    <a:lnTo>
                      <a:pt x="228" y="13"/>
                    </a:lnTo>
                    <a:lnTo>
                      <a:pt x="228" y="11"/>
                    </a:lnTo>
                    <a:lnTo>
                      <a:pt x="228" y="10"/>
                    </a:lnTo>
                    <a:lnTo>
                      <a:pt x="228" y="9"/>
                    </a:lnTo>
                    <a:lnTo>
                      <a:pt x="229" y="8"/>
                    </a:lnTo>
                    <a:lnTo>
                      <a:pt x="230" y="7"/>
                    </a:lnTo>
                    <a:lnTo>
                      <a:pt x="231" y="7"/>
                    </a:lnTo>
                    <a:lnTo>
                      <a:pt x="232" y="7"/>
                    </a:lnTo>
                    <a:lnTo>
                      <a:pt x="233" y="7"/>
                    </a:lnTo>
                    <a:lnTo>
                      <a:pt x="234" y="7"/>
                    </a:lnTo>
                    <a:lnTo>
                      <a:pt x="234" y="8"/>
                    </a:lnTo>
                    <a:lnTo>
                      <a:pt x="234" y="9"/>
                    </a:lnTo>
                    <a:lnTo>
                      <a:pt x="235" y="10"/>
                    </a:lnTo>
                    <a:lnTo>
                      <a:pt x="236" y="13"/>
                    </a:lnTo>
                    <a:lnTo>
                      <a:pt x="238" y="14"/>
                    </a:lnTo>
                    <a:lnTo>
                      <a:pt x="239" y="15"/>
                    </a:lnTo>
                    <a:lnTo>
                      <a:pt x="240" y="16"/>
                    </a:lnTo>
                    <a:lnTo>
                      <a:pt x="241" y="16"/>
                    </a:lnTo>
                    <a:lnTo>
                      <a:pt x="242" y="16"/>
                    </a:lnTo>
                    <a:lnTo>
                      <a:pt x="243" y="16"/>
                    </a:lnTo>
                    <a:lnTo>
                      <a:pt x="244" y="16"/>
                    </a:lnTo>
                    <a:lnTo>
                      <a:pt x="245" y="16"/>
                    </a:lnTo>
                    <a:lnTo>
                      <a:pt x="245" y="15"/>
                    </a:lnTo>
                    <a:lnTo>
                      <a:pt x="246" y="15"/>
                    </a:lnTo>
                    <a:lnTo>
                      <a:pt x="246" y="14"/>
                    </a:lnTo>
                    <a:lnTo>
                      <a:pt x="247" y="14"/>
                    </a:lnTo>
                    <a:lnTo>
                      <a:pt x="247" y="13"/>
                    </a:lnTo>
                    <a:lnTo>
                      <a:pt x="248" y="11"/>
                    </a:lnTo>
                    <a:lnTo>
                      <a:pt x="248" y="10"/>
                    </a:lnTo>
                    <a:lnTo>
                      <a:pt x="249" y="10"/>
                    </a:lnTo>
                    <a:lnTo>
                      <a:pt x="251" y="10"/>
                    </a:lnTo>
                    <a:lnTo>
                      <a:pt x="252" y="10"/>
                    </a:lnTo>
                    <a:lnTo>
                      <a:pt x="252" y="11"/>
                    </a:lnTo>
                    <a:lnTo>
                      <a:pt x="253" y="11"/>
                    </a:lnTo>
                    <a:lnTo>
                      <a:pt x="255" y="13"/>
                    </a:lnTo>
                    <a:lnTo>
                      <a:pt x="256" y="13"/>
                    </a:lnTo>
                    <a:lnTo>
                      <a:pt x="257" y="14"/>
                    </a:lnTo>
                    <a:lnTo>
                      <a:pt x="258" y="14"/>
                    </a:lnTo>
                    <a:lnTo>
                      <a:pt x="260" y="13"/>
                    </a:lnTo>
                    <a:lnTo>
                      <a:pt x="260" y="11"/>
                    </a:lnTo>
                    <a:lnTo>
                      <a:pt x="261" y="11"/>
                    </a:lnTo>
                    <a:lnTo>
                      <a:pt x="262" y="11"/>
                    </a:lnTo>
                    <a:lnTo>
                      <a:pt x="264" y="11"/>
                    </a:lnTo>
                    <a:lnTo>
                      <a:pt x="265" y="11"/>
                    </a:lnTo>
                    <a:lnTo>
                      <a:pt x="266" y="10"/>
                    </a:lnTo>
                    <a:lnTo>
                      <a:pt x="266" y="11"/>
                    </a:lnTo>
                    <a:lnTo>
                      <a:pt x="267" y="10"/>
                    </a:lnTo>
                    <a:lnTo>
                      <a:pt x="268" y="10"/>
                    </a:lnTo>
                    <a:lnTo>
                      <a:pt x="268" y="9"/>
                    </a:lnTo>
                    <a:lnTo>
                      <a:pt x="269" y="9"/>
                    </a:lnTo>
                    <a:lnTo>
                      <a:pt x="268" y="9"/>
                    </a:lnTo>
                    <a:lnTo>
                      <a:pt x="269" y="9"/>
                    </a:lnTo>
                    <a:lnTo>
                      <a:pt x="268" y="8"/>
                    </a:lnTo>
                    <a:lnTo>
                      <a:pt x="269" y="8"/>
                    </a:lnTo>
                    <a:lnTo>
                      <a:pt x="270" y="8"/>
                    </a:lnTo>
                    <a:lnTo>
                      <a:pt x="270" y="9"/>
                    </a:lnTo>
                    <a:lnTo>
                      <a:pt x="272" y="11"/>
                    </a:lnTo>
                    <a:lnTo>
                      <a:pt x="272" y="13"/>
                    </a:lnTo>
                    <a:lnTo>
                      <a:pt x="272" y="15"/>
                    </a:lnTo>
                    <a:lnTo>
                      <a:pt x="272" y="16"/>
                    </a:lnTo>
                    <a:lnTo>
                      <a:pt x="272" y="17"/>
                    </a:lnTo>
                    <a:lnTo>
                      <a:pt x="272" y="18"/>
                    </a:lnTo>
                    <a:lnTo>
                      <a:pt x="272" y="19"/>
                    </a:lnTo>
                    <a:lnTo>
                      <a:pt x="273" y="21"/>
                    </a:lnTo>
                    <a:lnTo>
                      <a:pt x="273" y="22"/>
                    </a:lnTo>
                    <a:lnTo>
                      <a:pt x="273" y="23"/>
                    </a:lnTo>
                    <a:lnTo>
                      <a:pt x="273" y="24"/>
                    </a:lnTo>
                    <a:lnTo>
                      <a:pt x="274" y="24"/>
                    </a:lnTo>
                    <a:lnTo>
                      <a:pt x="274" y="26"/>
                    </a:lnTo>
                    <a:lnTo>
                      <a:pt x="274" y="27"/>
                    </a:lnTo>
                    <a:lnTo>
                      <a:pt x="275" y="27"/>
                    </a:lnTo>
                    <a:lnTo>
                      <a:pt x="275" y="28"/>
                    </a:lnTo>
                    <a:lnTo>
                      <a:pt x="275" y="29"/>
                    </a:lnTo>
                    <a:lnTo>
                      <a:pt x="277" y="30"/>
                    </a:lnTo>
                    <a:lnTo>
                      <a:pt x="277" y="31"/>
                    </a:lnTo>
                    <a:lnTo>
                      <a:pt x="278" y="31"/>
                    </a:lnTo>
                    <a:lnTo>
                      <a:pt x="278" y="32"/>
                    </a:lnTo>
                    <a:lnTo>
                      <a:pt x="278" y="33"/>
                    </a:lnTo>
                    <a:lnTo>
                      <a:pt x="280" y="34"/>
                    </a:lnTo>
                    <a:lnTo>
                      <a:pt x="281" y="35"/>
                    </a:lnTo>
                    <a:lnTo>
                      <a:pt x="282" y="35"/>
                    </a:lnTo>
                    <a:lnTo>
                      <a:pt x="283" y="35"/>
                    </a:lnTo>
                    <a:lnTo>
                      <a:pt x="283" y="36"/>
                    </a:lnTo>
                    <a:lnTo>
                      <a:pt x="284" y="37"/>
                    </a:lnTo>
                    <a:lnTo>
                      <a:pt x="285" y="40"/>
                    </a:lnTo>
                    <a:lnTo>
                      <a:pt x="286" y="40"/>
                    </a:lnTo>
                    <a:lnTo>
                      <a:pt x="286" y="42"/>
                    </a:lnTo>
                    <a:lnTo>
                      <a:pt x="286" y="43"/>
                    </a:lnTo>
                    <a:lnTo>
                      <a:pt x="287" y="43"/>
                    </a:lnTo>
                    <a:lnTo>
                      <a:pt x="288" y="43"/>
                    </a:lnTo>
                    <a:lnTo>
                      <a:pt x="290" y="44"/>
                    </a:lnTo>
                    <a:lnTo>
                      <a:pt x="292" y="45"/>
                    </a:lnTo>
                    <a:lnTo>
                      <a:pt x="294" y="46"/>
                    </a:lnTo>
                    <a:lnTo>
                      <a:pt x="295" y="46"/>
                    </a:lnTo>
                    <a:lnTo>
                      <a:pt x="296" y="44"/>
                    </a:lnTo>
                    <a:lnTo>
                      <a:pt x="296" y="43"/>
                    </a:lnTo>
                    <a:lnTo>
                      <a:pt x="296" y="42"/>
                    </a:lnTo>
                    <a:lnTo>
                      <a:pt x="297" y="42"/>
                    </a:lnTo>
                    <a:lnTo>
                      <a:pt x="297" y="41"/>
                    </a:lnTo>
                    <a:lnTo>
                      <a:pt x="299" y="41"/>
                    </a:lnTo>
                    <a:lnTo>
                      <a:pt x="300" y="40"/>
                    </a:lnTo>
                    <a:lnTo>
                      <a:pt x="301" y="40"/>
                    </a:lnTo>
                    <a:lnTo>
                      <a:pt x="303" y="41"/>
                    </a:lnTo>
                    <a:lnTo>
                      <a:pt x="304" y="41"/>
                    </a:lnTo>
                    <a:lnTo>
                      <a:pt x="306" y="43"/>
                    </a:lnTo>
                    <a:lnTo>
                      <a:pt x="307" y="43"/>
                    </a:lnTo>
                    <a:lnTo>
                      <a:pt x="307" y="44"/>
                    </a:lnTo>
                    <a:lnTo>
                      <a:pt x="308" y="44"/>
                    </a:lnTo>
                    <a:lnTo>
                      <a:pt x="308" y="45"/>
                    </a:lnTo>
                    <a:lnTo>
                      <a:pt x="309" y="45"/>
                    </a:lnTo>
                    <a:lnTo>
                      <a:pt x="309" y="46"/>
                    </a:lnTo>
                    <a:lnTo>
                      <a:pt x="310" y="48"/>
                    </a:lnTo>
                    <a:lnTo>
                      <a:pt x="310" y="49"/>
                    </a:lnTo>
                    <a:lnTo>
                      <a:pt x="310" y="51"/>
                    </a:lnTo>
                    <a:lnTo>
                      <a:pt x="310" y="52"/>
                    </a:lnTo>
                    <a:lnTo>
                      <a:pt x="309" y="52"/>
                    </a:lnTo>
                    <a:lnTo>
                      <a:pt x="309" y="53"/>
                    </a:lnTo>
                    <a:lnTo>
                      <a:pt x="308" y="53"/>
                    </a:lnTo>
                    <a:lnTo>
                      <a:pt x="308" y="54"/>
                    </a:lnTo>
                    <a:lnTo>
                      <a:pt x="307" y="54"/>
                    </a:lnTo>
                    <a:lnTo>
                      <a:pt x="306" y="53"/>
                    </a:lnTo>
                    <a:lnTo>
                      <a:pt x="305" y="53"/>
                    </a:lnTo>
                    <a:lnTo>
                      <a:pt x="304" y="54"/>
                    </a:lnTo>
                    <a:lnTo>
                      <a:pt x="303" y="55"/>
                    </a:lnTo>
                    <a:lnTo>
                      <a:pt x="301" y="55"/>
                    </a:lnTo>
                    <a:lnTo>
                      <a:pt x="301" y="56"/>
                    </a:lnTo>
                    <a:lnTo>
                      <a:pt x="300" y="56"/>
                    </a:lnTo>
                    <a:lnTo>
                      <a:pt x="300" y="57"/>
                    </a:lnTo>
                    <a:lnTo>
                      <a:pt x="300" y="58"/>
                    </a:lnTo>
                    <a:lnTo>
                      <a:pt x="300" y="60"/>
                    </a:lnTo>
                    <a:lnTo>
                      <a:pt x="300" y="61"/>
                    </a:lnTo>
                    <a:lnTo>
                      <a:pt x="300" y="62"/>
                    </a:lnTo>
                    <a:lnTo>
                      <a:pt x="301" y="62"/>
                    </a:lnTo>
                    <a:lnTo>
                      <a:pt x="301" y="65"/>
                    </a:lnTo>
                    <a:lnTo>
                      <a:pt x="301" y="66"/>
                    </a:lnTo>
                    <a:lnTo>
                      <a:pt x="301" y="67"/>
                    </a:lnTo>
                    <a:lnTo>
                      <a:pt x="303" y="67"/>
                    </a:lnTo>
                    <a:lnTo>
                      <a:pt x="303" y="68"/>
                    </a:lnTo>
                    <a:lnTo>
                      <a:pt x="303" y="69"/>
                    </a:lnTo>
                    <a:lnTo>
                      <a:pt x="303" y="71"/>
                    </a:lnTo>
                    <a:lnTo>
                      <a:pt x="303" y="72"/>
                    </a:lnTo>
                    <a:lnTo>
                      <a:pt x="301" y="72"/>
                    </a:lnTo>
                    <a:lnTo>
                      <a:pt x="301" y="73"/>
                    </a:lnTo>
                    <a:lnTo>
                      <a:pt x="300" y="73"/>
                    </a:lnTo>
                    <a:lnTo>
                      <a:pt x="300" y="74"/>
                    </a:lnTo>
                    <a:lnTo>
                      <a:pt x="300" y="75"/>
                    </a:lnTo>
                    <a:lnTo>
                      <a:pt x="300" y="77"/>
                    </a:lnTo>
                    <a:lnTo>
                      <a:pt x="299" y="77"/>
                    </a:lnTo>
                    <a:lnTo>
                      <a:pt x="299" y="78"/>
                    </a:lnTo>
                    <a:lnTo>
                      <a:pt x="299" y="79"/>
                    </a:lnTo>
                    <a:lnTo>
                      <a:pt x="298" y="79"/>
                    </a:lnTo>
                    <a:lnTo>
                      <a:pt x="297" y="80"/>
                    </a:lnTo>
                    <a:lnTo>
                      <a:pt x="297" y="81"/>
                    </a:lnTo>
                    <a:lnTo>
                      <a:pt x="297" y="82"/>
                    </a:lnTo>
                    <a:lnTo>
                      <a:pt x="296" y="82"/>
                    </a:lnTo>
                    <a:lnTo>
                      <a:pt x="296" y="83"/>
                    </a:lnTo>
                    <a:lnTo>
                      <a:pt x="296" y="84"/>
                    </a:lnTo>
                    <a:lnTo>
                      <a:pt x="297" y="91"/>
                    </a:lnTo>
                    <a:lnTo>
                      <a:pt x="297" y="97"/>
                    </a:lnTo>
                    <a:lnTo>
                      <a:pt x="298" y="100"/>
                    </a:lnTo>
                    <a:lnTo>
                      <a:pt x="300" y="101"/>
                    </a:lnTo>
                    <a:lnTo>
                      <a:pt x="301" y="103"/>
                    </a:lnTo>
                    <a:lnTo>
                      <a:pt x="301" y="104"/>
                    </a:lnTo>
                    <a:lnTo>
                      <a:pt x="301" y="105"/>
                    </a:lnTo>
                    <a:lnTo>
                      <a:pt x="301" y="106"/>
                    </a:lnTo>
                    <a:lnTo>
                      <a:pt x="301" y="107"/>
                    </a:lnTo>
                    <a:lnTo>
                      <a:pt x="300" y="108"/>
                    </a:lnTo>
                    <a:lnTo>
                      <a:pt x="299" y="109"/>
                    </a:lnTo>
                    <a:lnTo>
                      <a:pt x="299" y="110"/>
                    </a:lnTo>
                    <a:lnTo>
                      <a:pt x="299" y="111"/>
                    </a:lnTo>
                    <a:lnTo>
                      <a:pt x="299" y="112"/>
                    </a:lnTo>
                    <a:lnTo>
                      <a:pt x="299" y="114"/>
                    </a:lnTo>
                    <a:lnTo>
                      <a:pt x="300" y="116"/>
                    </a:lnTo>
                    <a:lnTo>
                      <a:pt x="300" y="117"/>
                    </a:lnTo>
                    <a:lnTo>
                      <a:pt x="300" y="118"/>
                    </a:lnTo>
                    <a:lnTo>
                      <a:pt x="301" y="119"/>
                    </a:lnTo>
                    <a:lnTo>
                      <a:pt x="303" y="120"/>
                    </a:lnTo>
                    <a:lnTo>
                      <a:pt x="301" y="121"/>
                    </a:lnTo>
                    <a:lnTo>
                      <a:pt x="301" y="122"/>
                    </a:lnTo>
                    <a:lnTo>
                      <a:pt x="303" y="122"/>
                    </a:lnTo>
                    <a:lnTo>
                      <a:pt x="303" y="123"/>
                    </a:lnTo>
                    <a:lnTo>
                      <a:pt x="303" y="125"/>
                    </a:lnTo>
                    <a:lnTo>
                      <a:pt x="303" y="126"/>
                    </a:lnTo>
                    <a:lnTo>
                      <a:pt x="303" y="127"/>
                    </a:lnTo>
                    <a:lnTo>
                      <a:pt x="304" y="129"/>
                    </a:lnTo>
                    <a:lnTo>
                      <a:pt x="304" y="130"/>
                    </a:lnTo>
                    <a:lnTo>
                      <a:pt x="305" y="130"/>
                    </a:lnTo>
                    <a:lnTo>
                      <a:pt x="305" y="131"/>
                    </a:lnTo>
                    <a:lnTo>
                      <a:pt x="305" y="132"/>
                    </a:lnTo>
                    <a:lnTo>
                      <a:pt x="306" y="132"/>
                    </a:lnTo>
                    <a:lnTo>
                      <a:pt x="306" y="133"/>
                    </a:lnTo>
                    <a:lnTo>
                      <a:pt x="307" y="133"/>
                    </a:lnTo>
                    <a:lnTo>
                      <a:pt x="308" y="134"/>
                    </a:lnTo>
                    <a:lnTo>
                      <a:pt x="310" y="135"/>
                    </a:lnTo>
                    <a:lnTo>
                      <a:pt x="311" y="136"/>
                    </a:lnTo>
                    <a:lnTo>
                      <a:pt x="311" y="137"/>
                    </a:lnTo>
                    <a:lnTo>
                      <a:pt x="310" y="137"/>
                    </a:lnTo>
                    <a:lnTo>
                      <a:pt x="310" y="138"/>
                    </a:lnTo>
                    <a:lnTo>
                      <a:pt x="311" y="139"/>
                    </a:lnTo>
                    <a:lnTo>
                      <a:pt x="311" y="141"/>
                    </a:lnTo>
                    <a:lnTo>
                      <a:pt x="312" y="141"/>
                    </a:lnTo>
                    <a:lnTo>
                      <a:pt x="312" y="142"/>
                    </a:lnTo>
                    <a:lnTo>
                      <a:pt x="313" y="142"/>
                    </a:lnTo>
                    <a:lnTo>
                      <a:pt x="313" y="147"/>
                    </a:lnTo>
                    <a:lnTo>
                      <a:pt x="313" y="148"/>
                    </a:lnTo>
                    <a:lnTo>
                      <a:pt x="313" y="149"/>
                    </a:lnTo>
                    <a:lnTo>
                      <a:pt x="313" y="150"/>
                    </a:lnTo>
                    <a:lnTo>
                      <a:pt x="313" y="151"/>
                    </a:lnTo>
                    <a:lnTo>
                      <a:pt x="312" y="151"/>
                    </a:lnTo>
                    <a:lnTo>
                      <a:pt x="312" y="152"/>
                    </a:lnTo>
                    <a:lnTo>
                      <a:pt x="311" y="152"/>
                    </a:lnTo>
                    <a:lnTo>
                      <a:pt x="311" y="154"/>
                    </a:lnTo>
                    <a:lnTo>
                      <a:pt x="308" y="158"/>
                    </a:lnTo>
                    <a:close/>
                  </a:path>
                </a:pathLst>
              </a:custGeom>
              <a:grpFill/>
              <a:ln w="19050">
                <a:solidFill>
                  <a:srgbClr val="FFC000"/>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grpSp>
      <p:grpSp>
        <p:nvGrpSpPr>
          <p:cNvPr id="12" name="Group 11">
            <a:extLst>
              <a:ext uri="{FF2B5EF4-FFF2-40B4-BE49-F238E27FC236}">
                <a16:creationId xmlns:a16="http://schemas.microsoft.com/office/drawing/2014/main" id="{B7484FB8-896C-0AFD-174D-674DB020288A}"/>
              </a:ext>
            </a:extLst>
          </p:cNvPr>
          <p:cNvGrpSpPr/>
          <p:nvPr/>
        </p:nvGrpSpPr>
        <p:grpSpPr>
          <a:xfrm>
            <a:off x="6392362" y="1625501"/>
            <a:ext cx="4507964" cy="4121848"/>
            <a:chOff x="6392361" y="1547432"/>
            <a:chExt cx="5078413" cy="4643437"/>
          </a:xfrm>
        </p:grpSpPr>
        <p:grpSp>
          <p:nvGrpSpPr>
            <p:cNvPr id="1445" name="Group 1444">
              <a:extLst>
                <a:ext uri="{FF2B5EF4-FFF2-40B4-BE49-F238E27FC236}">
                  <a16:creationId xmlns:a16="http://schemas.microsoft.com/office/drawing/2014/main" id="{B7BC7DCD-CD96-8B2B-5B6E-99DB12F84BF5}"/>
                </a:ext>
              </a:extLst>
            </p:cNvPr>
            <p:cNvGrpSpPr/>
            <p:nvPr/>
          </p:nvGrpSpPr>
          <p:grpSpPr>
            <a:xfrm>
              <a:off x="6392361" y="1547432"/>
              <a:ext cx="5078413" cy="4643437"/>
              <a:chOff x="1144588" y="1128713"/>
              <a:chExt cx="5078413" cy="4643437"/>
            </a:xfrm>
          </p:grpSpPr>
          <p:sp>
            <p:nvSpPr>
              <p:cNvPr id="1246" name="Freeform 274">
                <a:extLst>
                  <a:ext uri="{FF2B5EF4-FFF2-40B4-BE49-F238E27FC236}">
                    <a16:creationId xmlns:a16="http://schemas.microsoft.com/office/drawing/2014/main" id="{C8FAF6B2-4030-BF66-73FB-75EC45D98659}"/>
                  </a:ext>
                </a:extLst>
              </p:cNvPr>
              <p:cNvSpPr>
                <a:spLocks noEditPoints="1"/>
              </p:cNvSpPr>
              <p:nvPr/>
            </p:nvSpPr>
            <p:spPr bwMode="auto">
              <a:xfrm>
                <a:off x="4097338" y="4659313"/>
                <a:ext cx="963613" cy="962025"/>
              </a:xfrm>
              <a:custGeom>
                <a:avLst/>
                <a:gdLst>
                  <a:gd name="T0" fmla="*/ 311 w 607"/>
                  <a:gd name="T1" fmla="*/ 41 h 606"/>
                  <a:gd name="T2" fmla="*/ 369 w 607"/>
                  <a:gd name="T3" fmla="*/ 105 h 606"/>
                  <a:gd name="T4" fmla="*/ 498 w 607"/>
                  <a:gd name="T5" fmla="*/ 166 h 606"/>
                  <a:gd name="T6" fmla="*/ 515 w 607"/>
                  <a:gd name="T7" fmla="*/ 231 h 606"/>
                  <a:gd name="T8" fmla="*/ 478 w 607"/>
                  <a:gd name="T9" fmla="*/ 272 h 606"/>
                  <a:gd name="T10" fmla="*/ 473 w 607"/>
                  <a:gd name="T11" fmla="*/ 299 h 606"/>
                  <a:gd name="T12" fmla="*/ 517 w 607"/>
                  <a:gd name="T13" fmla="*/ 318 h 606"/>
                  <a:gd name="T14" fmla="*/ 557 w 607"/>
                  <a:gd name="T15" fmla="*/ 335 h 606"/>
                  <a:gd name="T16" fmla="*/ 578 w 607"/>
                  <a:gd name="T17" fmla="*/ 347 h 606"/>
                  <a:gd name="T18" fmla="*/ 593 w 607"/>
                  <a:gd name="T19" fmla="*/ 388 h 606"/>
                  <a:gd name="T20" fmla="*/ 588 w 607"/>
                  <a:gd name="T21" fmla="*/ 411 h 606"/>
                  <a:gd name="T22" fmla="*/ 585 w 607"/>
                  <a:gd name="T23" fmla="*/ 425 h 606"/>
                  <a:gd name="T24" fmla="*/ 551 w 607"/>
                  <a:gd name="T25" fmla="*/ 400 h 606"/>
                  <a:gd name="T26" fmla="*/ 554 w 607"/>
                  <a:gd name="T27" fmla="*/ 408 h 606"/>
                  <a:gd name="T28" fmla="*/ 530 w 607"/>
                  <a:gd name="T29" fmla="*/ 391 h 606"/>
                  <a:gd name="T30" fmla="*/ 518 w 607"/>
                  <a:gd name="T31" fmla="*/ 391 h 606"/>
                  <a:gd name="T32" fmla="*/ 530 w 607"/>
                  <a:gd name="T33" fmla="*/ 416 h 606"/>
                  <a:gd name="T34" fmla="*/ 539 w 607"/>
                  <a:gd name="T35" fmla="*/ 435 h 606"/>
                  <a:gd name="T36" fmla="*/ 552 w 607"/>
                  <a:gd name="T37" fmla="*/ 477 h 606"/>
                  <a:gd name="T38" fmla="*/ 554 w 607"/>
                  <a:gd name="T39" fmla="*/ 495 h 606"/>
                  <a:gd name="T40" fmla="*/ 560 w 607"/>
                  <a:gd name="T41" fmla="*/ 507 h 606"/>
                  <a:gd name="T42" fmla="*/ 575 w 607"/>
                  <a:gd name="T43" fmla="*/ 504 h 606"/>
                  <a:gd name="T44" fmla="*/ 483 w 607"/>
                  <a:gd name="T45" fmla="*/ 577 h 606"/>
                  <a:gd name="T46" fmla="*/ 468 w 607"/>
                  <a:gd name="T47" fmla="*/ 558 h 606"/>
                  <a:gd name="T48" fmla="*/ 444 w 607"/>
                  <a:gd name="T49" fmla="*/ 540 h 606"/>
                  <a:gd name="T50" fmla="*/ 459 w 607"/>
                  <a:gd name="T51" fmla="*/ 520 h 606"/>
                  <a:gd name="T52" fmla="*/ 459 w 607"/>
                  <a:gd name="T53" fmla="*/ 504 h 606"/>
                  <a:gd name="T54" fmla="*/ 447 w 607"/>
                  <a:gd name="T55" fmla="*/ 462 h 606"/>
                  <a:gd name="T56" fmla="*/ 422 w 607"/>
                  <a:gd name="T57" fmla="*/ 455 h 606"/>
                  <a:gd name="T58" fmla="*/ 400 w 607"/>
                  <a:gd name="T59" fmla="*/ 410 h 606"/>
                  <a:gd name="T60" fmla="*/ 390 w 607"/>
                  <a:gd name="T61" fmla="*/ 433 h 606"/>
                  <a:gd name="T62" fmla="*/ 380 w 607"/>
                  <a:gd name="T63" fmla="*/ 450 h 606"/>
                  <a:gd name="T64" fmla="*/ 350 w 607"/>
                  <a:gd name="T65" fmla="*/ 364 h 606"/>
                  <a:gd name="T66" fmla="*/ 283 w 607"/>
                  <a:gd name="T67" fmla="*/ 282 h 606"/>
                  <a:gd name="T68" fmla="*/ 177 w 607"/>
                  <a:gd name="T69" fmla="*/ 179 h 606"/>
                  <a:gd name="T70" fmla="*/ 40 w 607"/>
                  <a:gd name="T71" fmla="*/ 83 h 606"/>
                  <a:gd name="T72" fmla="*/ 189 w 607"/>
                  <a:gd name="T73" fmla="*/ 16 h 606"/>
                  <a:gd name="T74" fmla="*/ 541 w 607"/>
                  <a:gd name="T75" fmla="*/ 412 h 606"/>
                  <a:gd name="T76" fmla="*/ 540 w 607"/>
                  <a:gd name="T77" fmla="*/ 397 h 606"/>
                  <a:gd name="T78" fmla="*/ 402 w 607"/>
                  <a:gd name="T79" fmla="*/ 560 h 606"/>
                  <a:gd name="T80" fmla="*/ 592 w 607"/>
                  <a:gd name="T81" fmla="*/ 348 h 606"/>
                  <a:gd name="T82" fmla="*/ 545 w 607"/>
                  <a:gd name="T83" fmla="*/ 428 h 606"/>
                  <a:gd name="T84" fmla="*/ 581 w 607"/>
                  <a:gd name="T85" fmla="*/ 334 h 606"/>
                  <a:gd name="T86" fmla="*/ 591 w 607"/>
                  <a:gd name="T87" fmla="*/ 433 h 606"/>
                  <a:gd name="T88" fmla="*/ 374 w 607"/>
                  <a:gd name="T89" fmla="*/ 469 h 606"/>
                  <a:gd name="T90" fmla="*/ 397 w 607"/>
                  <a:gd name="T91" fmla="*/ 575 h 606"/>
                  <a:gd name="T92" fmla="*/ 451 w 607"/>
                  <a:gd name="T93" fmla="*/ 495 h 606"/>
                  <a:gd name="T94" fmla="*/ 597 w 607"/>
                  <a:gd name="T95" fmla="*/ 439 h 606"/>
                  <a:gd name="T96" fmla="*/ 563 w 607"/>
                  <a:gd name="T97" fmla="*/ 423 h 606"/>
                  <a:gd name="T98" fmla="*/ 547 w 607"/>
                  <a:gd name="T99" fmla="*/ 422 h 606"/>
                  <a:gd name="T100" fmla="*/ 589 w 607"/>
                  <a:gd name="T101" fmla="*/ 351 h 606"/>
                  <a:gd name="T102" fmla="*/ 592 w 607"/>
                  <a:gd name="T103" fmla="*/ 416 h 606"/>
                  <a:gd name="T104" fmla="*/ 596 w 607"/>
                  <a:gd name="T105" fmla="*/ 351 h 606"/>
                  <a:gd name="T106" fmla="*/ 554 w 607"/>
                  <a:gd name="T107" fmla="*/ 453 h 606"/>
                  <a:gd name="T108" fmla="*/ 557 w 607"/>
                  <a:gd name="T109" fmla="*/ 444 h 606"/>
                  <a:gd name="T110" fmla="*/ 550 w 607"/>
                  <a:gd name="T111" fmla="*/ 416 h 606"/>
                  <a:gd name="T112" fmla="*/ 570 w 607"/>
                  <a:gd name="T113" fmla="*/ 437 h 606"/>
                  <a:gd name="T114" fmla="*/ 509 w 607"/>
                  <a:gd name="T115" fmla="*/ 202 h 606"/>
                  <a:gd name="T116" fmla="*/ 563 w 607"/>
                  <a:gd name="T117" fmla="*/ 418 h 606"/>
                  <a:gd name="T118" fmla="*/ 373 w 607"/>
                  <a:gd name="T119" fmla="*/ 476 h 606"/>
                  <a:gd name="T120" fmla="*/ 599 w 607"/>
                  <a:gd name="T121" fmla="*/ 349 h 606"/>
                  <a:gd name="T122" fmla="*/ 570 w 607"/>
                  <a:gd name="T123" fmla="*/ 500 h 606"/>
                  <a:gd name="T124" fmla="*/ 564 w 607"/>
                  <a:gd name="T125" fmla="*/ 504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7" h="606">
                    <a:moveTo>
                      <a:pt x="215" y="24"/>
                    </a:moveTo>
                    <a:lnTo>
                      <a:pt x="215" y="23"/>
                    </a:lnTo>
                    <a:lnTo>
                      <a:pt x="215" y="24"/>
                    </a:lnTo>
                    <a:lnTo>
                      <a:pt x="215" y="23"/>
                    </a:lnTo>
                    <a:lnTo>
                      <a:pt x="216" y="23"/>
                    </a:lnTo>
                    <a:lnTo>
                      <a:pt x="217" y="23"/>
                    </a:lnTo>
                    <a:lnTo>
                      <a:pt x="217" y="22"/>
                    </a:lnTo>
                    <a:lnTo>
                      <a:pt x="218" y="22"/>
                    </a:lnTo>
                    <a:lnTo>
                      <a:pt x="219" y="22"/>
                    </a:lnTo>
                    <a:lnTo>
                      <a:pt x="220" y="22"/>
                    </a:lnTo>
                    <a:lnTo>
                      <a:pt x="221" y="22"/>
                    </a:lnTo>
                    <a:lnTo>
                      <a:pt x="221" y="20"/>
                    </a:lnTo>
                    <a:lnTo>
                      <a:pt x="221" y="22"/>
                    </a:lnTo>
                    <a:lnTo>
                      <a:pt x="221" y="20"/>
                    </a:lnTo>
                    <a:lnTo>
                      <a:pt x="222" y="20"/>
                    </a:lnTo>
                    <a:lnTo>
                      <a:pt x="223" y="20"/>
                    </a:lnTo>
                    <a:lnTo>
                      <a:pt x="223" y="22"/>
                    </a:lnTo>
                    <a:lnTo>
                      <a:pt x="224" y="22"/>
                    </a:lnTo>
                    <a:lnTo>
                      <a:pt x="224" y="20"/>
                    </a:lnTo>
                    <a:lnTo>
                      <a:pt x="225" y="20"/>
                    </a:lnTo>
                    <a:lnTo>
                      <a:pt x="227" y="20"/>
                    </a:lnTo>
                    <a:lnTo>
                      <a:pt x="227" y="19"/>
                    </a:lnTo>
                    <a:lnTo>
                      <a:pt x="228" y="19"/>
                    </a:lnTo>
                    <a:lnTo>
                      <a:pt x="229" y="19"/>
                    </a:lnTo>
                    <a:lnTo>
                      <a:pt x="230" y="19"/>
                    </a:lnTo>
                    <a:lnTo>
                      <a:pt x="231" y="19"/>
                    </a:lnTo>
                    <a:lnTo>
                      <a:pt x="232" y="19"/>
                    </a:lnTo>
                    <a:lnTo>
                      <a:pt x="233" y="19"/>
                    </a:lnTo>
                    <a:lnTo>
                      <a:pt x="233" y="20"/>
                    </a:lnTo>
                    <a:lnTo>
                      <a:pt x="234" y="20"/>
                    </a:lnTo>
                    <a:lnTo>
                      <a:pt x="235" y="22"/>
                    </a:lnTo>
                    <a:lnTo>
                      <a:pt x="236" y="22"/>
                    </a:lnTo>
                    <a:lnTo>
                      <a:pt x="237" y="22"/>
                    </a:lnTo>
                    <a:lnTo>
                      <a:pt x="237" y="23"/>
                    </a:lnTo>
                    <a:lnTo>
                      <a:pt x="238" y="23"/>
                    </a:lnTo>
                    <a:lnTo>
                      <a:pt x="240" y="23"/>
                    </a:lnTo>
                    <a:lnTo>
                      <a:pt x="241" y="23"/>
                    </a:lnTo>
                    <a:lnTo>
                      <a:pt x="242" y="23"/>
                    </a:lnTo>
                    <a:lnTo>
                      <a:pt x="242" y="24"/>
                    </a:lnTo>
                    <a:lnTo>
                      <a:pt x="242" y="25"/>
                    </a:lnTo>
                    <a:lnTo>
                      <a:pt x="242" y="26"/>
                    </a:lnTo>
                    <a:lnTo>
                      <a:pt x="242" y="27"/>
                    </a:lnTo>
                    <a:lnTo>
                      <a:pt x="242" y="28"/>
                    </a:lnTo>
                    <a:lnTo>
                      <a:pt x="243" y="28"/>
                    </a:lnTo>
                    <a:lnTo>
                      <a:pt x="244" y="28"/>
                    </a:lnTo>
                    <a:lnTo>
                      <a:pt x="245" y="27"/>
                    </a:lnTo>
                    <a:lnTo>
                      <a:pt x="246" y="27"/>
                    </a:lnTo>
                    <a:lnTo>
                      <a:pt x="247" y="26"/>
                    </a:lnTo>
                    <a:lnTo>
                      <a:pt x="248" y="25"/>
                    </a:lnTo>
                    <a:lnTo>
                      <a:pt x="249" y="23"/>
                    </a:lnTo>
                    <a:lnTo>
                      <a:pt x="250" y="23"/>
                    </a:lnTo>
                    <a:lnTo>
                      <a:pt x="250" y="22"/>
                    </a:lnTo>
                    <a:lnTo>
                      <a:pt x="251" y="22"/>
                    </a:lnTo>
                    <a:lnTo>
                      <a:pt x="253" y="20"/>
                    </a:lnTo>
                    <a:lnTo>
                      <a:pt x="261" y="20"/>
                    </a:lnTo>
                    <a:lnTo>
                      <a:pt x="277" y="20"/>
                    </a:lnTo>
                    <a:lnTo>
                      <a:pt x="282" y="22"/>
                    </a:lnTo>
                    <a:lnTo>
                      <a:pt x="283" y="22"/>
                    </a:lnTo>
                    <a:lnTo>
                      <a:pt x="284" y="22"/>
                    </a:lnTo>
                    <a:lnTo>
                      <a:pt x="287" y="24"/>
                    </a:lnTo>
                    <a:lnTo>
                      <a:pt x="288" y="24"/>
                    </a:lnTo>
                    <a:lnTo>
                      <a:pt x="289" y="24"/>
                    </a:lnTo>
                    <a:lnTo>
                      <a:pt x="291" y="25"/>
                    </a:lnTo>
                    <a:lnTo>
                      <a:pt x="292" y="26"/>
                    </a:lnTo>
                    <a:lnTo>
                      <a:pt x="292" y="27"/>
                    </a:lnTo>
                    <a:lnTo>
                      <a:pt x="295" y="33"/>
                    </a:lnTo>
                    <a:lnTo>
                      <a:pt x="296" y="36"/>
                    </a:lnTo>
                    <a:lnTo>
                      <a:pt x="297" y="37"/>
                    </a:lnTo>
                    <a:lnTo>
                      <a:pt x="298" y="38"/>
                    </a:lnTo>
                    <a:lnTo>
                      <a:pt x="300" y="40"/>
                    </a:lnTo>
                    <a:lnTo>
                      <a:pt x="300" y="41"/>
                    </a:lnTo>
                    <a:lnTo>
                      <a:pt x="301" y="42"/>
                    </a:lnTo>
                    <a:lnTo>
                      <a:pt x="304" y="42"/>
                    </a:lnTo>
                    <a:lnTo>
                      <a:pt x="305" y="42"/>
                    </a:lnTo>
                    <a:lnTo>
                      <a:pt x="306" y="41"/>
                    </a:lnTo>
                    <a:lnTo>
                      <a:pt x="307" y="41"/>
                    </a:lnTo>
                    <a:lnTo>
                      <a:pt x="308" y="41"/>
                    </a:lnTo>
                    <a:lnTo>
                      <a:pt x="308" y="40"/>
                    </a:lnTo>
                    <a:lnTo>
                      <a:pt x="309" y="40"/>
                    </a:lnTo>
                    <a:lnTo>
                      <a:pt x="310" y="40"/>
                    </a:lnTo>
                    <a:lnTo>
                      <a:pt x="310" y="41"/>
                    </a:lnTo>
                    <a:lnTo>
                      <a:pt x="311" y="41"/>
                    </a:lnTo>
                    <a:lnTo>
                      <a:pt x="312" y="41"/>
                    </a:lnTo>
                    <a:lnTo>
                      <a:pt x="312" y="42"/>
                    </a:lnTo>
                    <a:lnTo>
                      <a:pt x="313" y="42"/>
                    </a:lnTo>
                    <a:lnTo>
                      <a:pt x="313" y="43"/>
                    </a:lnTo>
                    <a:lnTo>
                      <a:pt x="314" y="44"/>
                    </a:lnTo>
                    <a:lnTo>
                      <a:pt x="315" y="44"/>
                    </a:lnTo>
                    <a:lnTo>
                      <a:pt x="317" y="44"/>
                    </a:lnTo>
                    <a:lnTo>
                      <a:pt x="317" y="45"/>
                    </a:lnTo>
                    <a:lnTo>
                      <a:pt x="318" y="45"/>
                    </a:lnTo>
                    <a:lnTo>
                      <a:pt x="318" y="46"/>
                    </a:lnTo>
                    <a:lnTo>
                      <a:pt x="318" y="48"/>
                    </a:lnTo>
                    <a:lnTo>
                      <a:pt x="318" y="49"/>
                    </a:lnTo>
                    <a:lnTo>
                      <a:pt x="319" y="49"/>
                    </a:lnTo>
                    <a:lnTo>
                      <a:pt x="319" y="50"/>
                    </a:lnTo>
                    <a:lnTo>
                      <a:pt x="320" y="50"/>
                    </a:lnTo>
                    <a:lnTo>
                      <a:pt x="320" y="51"/>
                    </a:lnTo>
                    <a:lnTo>
                      <a:pt x="321" y="52"/>
                    </a:lnTo>
                    <a:lnTo>
                      <a:pt x="322" y="53"/>
                    </a:lnTo>
                    <a:lnTo>
                      <a:pt x="323" y="54"/>
                    </a:lnTo>
                    <a:lnTo>
                      <a:pt x="323" y="55"/>
                    </a:lnTo>
                    <a:lnTo>
                      <a:pt x="323" y="56"/>
                    </a:lnTo>
                    <a:lnTo>
                      <a:pt x="322" y="57"/>
                    </a:lnTo>
                    <a:lnTo>
                      <a:pt x="322" y="58"/>
                    </a:lnTo>
                    <a:lnTo>
                      <a:pt x="322" y="59"/>
                    </a:lnTo>
                    <a:lnTo>
                      <a:pt x="323" y="61"/>
                    </a:lnTo>
                    <a:lnTo>
                      <a:pt x="323" y="62"/>
                    </a:lnTo>
                    <a:lnTo>
                      <a:pt x="324" y="64"/>
                    </a:lnTo>
                    <a:lnTo>
                      <a:pt x="324" y="66"/>
                    </a:lnTo>
                    <a:lnTo>
                      <a:pt x="324" y="67"/>
                    </a:lnTo>
                    <a:lnTo>
                      <a:pt x="324" y="68"/>
                    </a:lnTo>
                    <a:lnTo>
                      <a:pt x="324" y="69"/>
                    </a:lnTo>
                    <a:lnTo>
                      <a:pt x="324" y="70"/>
                    </a:lnTo>
                    <a:lnTo>
                      <a:pt x="324" y="71"/>
                    </a:lnTo>
                    <a:lnTo>
                      <a:pt x="324" y="72"/>
                    </a:lnTo>
                    <a:lnTo>
                      <a:pt x="324" y="75"/>
                    </a:lnTo>
                    <a:lnTo>
                      <a:pt x="324" y="77"/>
                    </a:lnTo>
                    <a:lnTo>
                      <a:pt x="325" y="78"/>
                    </a:lnTo>
                    <a:lnTo>
                      <a:pt x="326" y="79"/>
                    </a:lnTo>
                    <a:lnTo>
                      <a:pt x="327" y="79"/>
                    </a:lnTo>
                    <a:lnTo>
                      <a:pt x="327" y="80"/>
                    </a:lnTo>
                    <a:lnTo>
                      <a:pt x="327" y="81"/>
                    </a:lnTo>
                    <a:lnTo>
                      <a:pt x="328" y="82"/>
                    </a:lnTo>
                    <a:lnTo>
                      <a:pt x="328" y="83"/>
                    </a:lnTo>
                    <a:lnTo>
                      <a:pt x="330" y="84"/>
                    </a:lnTo>
                    <a:lnTo>
                      <a:pt x="331" y="84"/>
                    </a:lnTo>
                    <a:lnTo>
                      <a:pt x="333" y="85"/>
                    </a:lnTo>
                    <a:lnTo>
                      <a:pt x="333" y="87"/>
                    </a:lnTo>
                    <a:lnTo>
                      <a:pt x="334" y="88"/>
                    </a:lnTo>
                    <a:lnTo>
                      <a:pt x="335" y="89"/>
                    </a:lnTo>
                    <a:lnTo>
                      <a:pt x="336" y="90"/>
                    </a:lnTo>
                    <a:lnTo>
                      <a:pt x="338" y="91"/>
                    </a:lnTo>
                    <a:lnTo>
                      <a:pt x="338" y="92"/>
                    </a:lnTo>
                    <a:lnTo>
                      <a:pt x="339" y="92"/>
                    </a:lnTo>
                    <a:lnTo>
                      <a:pt x="340" y="92"/>
                    </a:lnTo>
                    <a:lnTo>
                      <a:pt x="341" y="93"/>
                    </a:lnTo>
                    <a:lnTo>
                      <a:pt x="343" y="93"/>
                    </a:lnTo>
                    <a:lnTo>
                      <a:pt x="344" y="94"/>
                    </a:lnTo>
                    <a:lnTo>
                      <a:pt x="345" y="95"/>
                    </a:lnTo>
                    <a:lnTo>
                      <a:pt x="346" y="96"/>
                    </a:lnTo>
                    <a:lnTo>
                      <a:pt x="346" y="97"/>
                    </a:lnTo>
                    <a:lnTo>
                      <a:pt x="348" y="99"/>
                    </a:lnTo>
                    <a:lnTo>
                      <a:pt x="348" y="100"/>
                    </a:lnTo>
                    <a:lnTo>
                      <a:pt x="349" y="101"/>
                    </a:lnTo>
                    <a:lnTo>
                      <a:pt x="350" y="101"/>
                    </a:lnTo>
                    <a:lnTo>
                      <a:pt x="350" y="102"/>
                    </a:lnTo>
                    <a:lnTo>
                      <a:pt x="351" y="102"/>
                    </a:lnTo>
                    <a:lnTo>
                      <a:pt x="352" y="103"/>
                    </a:lnTo>
                    <a:lnTo>
                      <a:pt x="353" y="104"/>
                    </a:lnTo>
                    <a:lnTo>
                      <a:pt x="354" y="104"/>
                    </a:lnTo>
                    <a:lnTo>
                      <a:pt x="356" y="104"/>
                    </a:lnTo>
                    <a:lnTo>
                      <a:pt x="357" y="103"/>
                    </a:lnTo>
                    <a:lnTo>
                      <a:pt x="358" y="103"/>
                    </a:lnTo>
                    <a:lnTo>
                      <a:pt x="359" y="104"/>
                    </a:lnTo>
                    <a:lnTo>
                      <a:pt x="361" y="104"/>
                    </a:lnTo>
                    <a:lnTo>
                      <a:pt x="361" y="105"/>
                    </a:lnTo>
                    <a:lnTo>
                      <a:pt x="362" y="105"/>
                    </a:lnTo>
                    <a:lnTo>
                      <a:pt x="363" y="105"/>
                    </a:lnTo>
                    <a:lnTo>
                      <a:pt x="364" y="106"/>
                    </a:lnTo>
                    <a:lnTo>
                      <a:pt x="365" y="106"/>
                    </a:lnTo>
                    <a:lnTo>
                      <a:pt x="366" y="105"/>
                    </a:lnTo>
                    <a:lnTo>
                      <a:pt x="367" y="105"/>
                    </a:lnTo>
                    <a:lnTo>
                      <a:pt x="369" y="105"/>
                    </a:lnTo>
                    <a:lnTo>
                      <a:pt x="370" y="106"/>
                    </a:lnTo>
                    <a:lnTo>
                      <a:pt x="371" y="106"/>
                    </a:lnTo>
                    <a:lnTo>
                      <a:pt x="372" y="107"/>
                    </a:lnTo>
                    <a:lnTo>
                      <a:pt x="373" y="107"/>
                    </a:lnTo>
                    <a:lnTo>
                      <a:pt x="374" y="108"/>
                    </a:lnTo>
                    <a:lnTo>
                      <a:pt x="375" y="109"/>
                    </a:lnTo>
                    <a:lnTo>
                      <a:pt x="376" y="109"/>
                    </a:lnTo>
                    <a:lnTo>
                      <a:pt x="377" y="109"/>
                    </a:lnTo>
                    <a:lnTo>
                      <a:pt x="378" y="110"/>
                    </a:lnTo>
                    <a:lnTo>
                      <a:pt x="379" y="110"/>
                    </a:lnTo>
                    <a:lnTo>
                      <a:pt x="380" y="110"/>
                    </a:lnTo>
                    <a:lnTo>
                      <a:pt x="382" y="112"/>
                    </a:lnTo>
                    <a:lnTo>
                      <a:pt x="383" y="112"/>
                    </a:lnTo>
                    <a:lnTo>
                      <a:pt x="384" y="112"/>
                    </a:lnTo>
                    <a:lnTo>
                      <a:pt x="385" y="112"/>
                    </a:lnTo>
                    <a:lnTo>
                      <a:pt x="385" y="113"/>
                    </a:lnTo>
                    <a:lnTo>
                      <a:pt x="387" y="113"/>
                    </a:lnTo>
                    <a:lnTo>
                      <a:pt x="387" y="114"/>
                    </a:lnTo>
                    <a:lnTo>
                      <a:pt x="388" y="115"/>
                    </a:lnTo>
                    <a:lnTo>
                      <a:pt x="388" y="116"/>
                    </a:lnTo>
                    <a:lnTo>
                      <a:pt x="388" y="117"/>
                    </a:lnTo>
                    <a:lnTo>
                      <a:pt x="388" y="118"/>
                    </a:lnTo>
                    <a:lnTo>
                      <a:pt x="388" y="119"/>
                    </a:lnTo>
                    <a:lnTo>
                      <a:pt x="388" y="121"/>
                    </a:lnTo>
                    <a:lnTo>
                      <a:pt x="388" y="122"/>
                    </a:lnTo>
                    <a:lnTo>
                      <a:pt x="388" y="123"/>
                    </a:lnTo>
                    <a:lnTo>
                      <a:pt x="389" y="125"/>
                    </a:lnTo>
                    <a:lnTo>
                      <a:pt x="389" y="126"/>
                    </a:lnTo>
                    <a:lnTo>
                      <a:pt x="390" y="126"/>
                    </a:lnTo>
                    <a:lnTo>
                      <a:pt x="391" y="127"/>
                    </a:lnTo>
                    <a:lnTo>
                      <a:pt x="393" y="128"/>
                    </a:lnTo>
                    <a:lnTo>
                      <a:pt x="395" y="129"/>
                    </a:lnTo>
                    <a:lnTo>
                      <a:pt x="395" y="130"/>
                    </a:lnTo>
                    <a:lnTo>
                      <a:pt x="395" y="131"/>
                    </a:lnTo>
                    <a:lnTo>
                      <a:pt x="395" y="132"/>
                    </a:lnTo>
                    <a:lnTo>
                      <a:pt x="395" y="133"/>
                    </a:lnTo>
                    <a:lnTo>
                      <a:pt x="393" y="134"/>
                    </a:lnTo>
                    <a:lnTo>
                      <a:pt x="393" y="135"/>
                    </a:lnTo>
                    <a:lnTo>
                      <a:pt x="393" y="136"/>
                    </a:lnTo>
                    <a:lnTo>
                      <a:pt x="395" y="138"/>
                    </a:lnTo>
                    <a:lnTo>
                      <a:pt x="395" y="139"/>
                    </a:lnTo>
                    <a:lnTo>
                      <a:pt x="396" y="139"/>
                    </a:lnTo>
                    <a:lnTo>
                      <a:pt x="396" y="140"/>
                    </a:lnTo>
                    <a:lnTo>
                      <a:pt x="396" y="141"/>
                    </a:lnTo>
                    <a:lnTo>
                      <a:pt x="395" y="142"/>
                    </a:lnTo>
                    <a:lnTo>
                      <a:pt x="396" y="144"/>
                    </a:lnTo>
                    <a:lnTo>
                      <a:pt x="396" y="145"/>
                    </a:lnTo>
                    <a:lnTo>
                      <a:pt x="396" y="146"/>
                    </a:lnTo>
                    <a:lnTo>
                      <a:pt x="395" y="146"/>
                    </a:lnTo>
                    <a:lnTo>
                      <a:pt x="395" y="147"/>
                    </a:lnTo>
                    <a:lnTo>
                      <a:pt x="395" y="148"/>
                    </a:lnTo>
                    <a:lnTo>
                      <a:pt x="395" y="149"/>
                    </a:lnTo>
                    <a:lnTo>
                      <a:pt x="395" y="151"/>
                    </a:lnTo>
                    <a:lnTo>
                      <a:pt x="395" y="153"/>
                    </a:lnTo>
                    <a:lnTo>
                      <a:pt x="396" y="154"/>
                    </a:lnTo>
                    <a:lnTo>
                      <a:pt x="397" y="155"/>
                    </a:lnTo>
                    <a:lnTo>
                      <a:pt x="397" y="156"/>
                    </a:lnTo>
                    <a:lnTo>
                      <a:pt x="398" y="157"/>
                    </a:lnTo>
                    <a:lnTo>
                      <a:pt x="399" y="158"/>
                    </a:lnTo>
                    <a:lnTo>
                      <a:pt x="399" y="159"/>
                    </a:lnTo>
                    <a:lnTo>
                      <a:pt x="400" y="159"/>
                    </a:lnTo>
                    <a:lnTo>
                      <a:pt x="400" y="160"/>
                    </a:lnTo>
                    <a:lnTo>
                      <a:pt x="401" y="160"/>
                    </a:lnTo>
                    <a:lnTo>
                      <a:pt x="402" y="160"/>
                    </a:lnTo>
                    <a:lnTo>
                      <a:pt x="403" y="161"/>
                    </a:lnTo>
                    <a:lnTo>
                      <a:pt x="404" y="161"/>
                    </a:lnTo>
                    <a:lnTo>
                      <a:pt x="408" y="162"/>
                    </a:lnTo>
                    <a:lnTo>
                      <a:pt x="422" y="162"/>
                    </a:lnTo>
                    <a:lnTo>
                      <a:pt x="424" y="162"/>
                    </a:lnTo>
                    <a:lnTo>
                      <a:pt x="429" y="162"/>
                    </a:lnTo>
                    <a:lnTo>
                      <a:pt x="476" y="162"/>
                    </a:lnTo>
                    <a:lnTo>
                      <a:pt x="478" y="162"/>
                    </a:lnTo>
                    <a:lnTo>
                      <a:pt x="492" y="162"/>
                    </a:lnTo>
                    <a:lnTo>
                      <a:pt x="492" y="164"/>
                    </a:lnTo>
                    <a:lnTo>
                      <a:pt x="492" y="165"/>
                    </a:lnTo>
                    <a:lnTo>
                      <a:pt x="493" y="165"/>
                    </a:lnTo>
                    <a:lnTo>
                      <a:pt x="494" y="165"/>
                    </a:lnTo>
                    <a:lnTo>
                      <a:pt x="495" y="165"/>
                    </a:lnTo>
                    <a:lnTo>
                      <a:pt x="496" y="164"/>
                    </a:lnTo>
                    <a:lnTo>
                      <a:pt x="498" y="164"/>
                    </a:lnTo>
                    <a:lnTo>
                      <a:pt x="498" y="165"/>
                    </a:lnTo>
                    <a:lnTo>
                      <a:pt x="498" y="166"/>
                    </a:lnTo>
                    <a:lnTo>
                      <a:pt x="499" y="167"/>
                    </a:lnTo>
                    <a:lnTo>
                      <a:pt x="499" y="168"/>
                    </a:lnTo>
                    <a:lnTo>
                      <a:pt x="500" y="168"/>
                    </a:lnTo>
                    <a:lnTo>
                      <a:pt x="500" y="169"/>
                    </a:lnTo>
                    <a:lnTo>
                      <a:pt x="501" y="170"/>
                    </a:lnTo>
                    <a:lnTo>
                      <a:pt x="502" y="170"/>
                    </a:lnTo>
                    <a:lnTo>
                      <a:pt x="503" y="170"/>
                    </a:lnTo>
                    <a:lnTo>
                      <a:pt x="503" y="171"/>
                    </a:lnTo>
                    <a:lnTo>
                      <a:pt x="504" y="171"/>
                    </a:lnTo>
                    <a:lnTo>
                      <a:pt x="504" y="170"/>
                    </a:lnTo>
                    <a:lnTo>
                      <a:pt x="505" y="170"/>
                    </a:lnTo>
                    <a:lnTo>
                      <a:pt x="506" y="169"/>
                    </a:lnTo>
                    <a:lnTo>
                      <a:pt x="507" y="169"/>
                    </a:lnTo>
                    <a:lnTo>
                      <a:pt x="507" y="170"/>
                    </a:lnTo>
                    <a:lnTo>
                      <a:pt x="508" y="170"/>
                    </a:lnTo>
                    <a:lnTo>
                      <a:pt x="509" y="170"/>
                    </a:lnTo>
                    <a:lnTo>
                      <a:pt x="509" y="172"/>
                    </a:lnTo>
                    <a:lnTo>
                      <a:pt x="511" y="172"/>
                    </a:lnTo>
                    <a:lnTo>
                      <a:pt x="511" y="173"/>
                    </a:lnTo>
                    <a:lnTo>
                      <a:pt x="512" y="173"/>
                    </a:lnTo>
                    <a:lnTo>
                      <a:pt x="512" y="174"/>
                    </a:lnTo>
                    <a:lnTo>
                      <a:pt x="512" y="176"/>
                    </a:lnTo>
                    <a:lnTo>
                      <a:pt x="512" y="177"/>
                    </a:lnTo>
                    <a:lnTo>
                      <a:pt x="512" y="178"/>
                    </a:lnTo>
                    <a:lnTo>
                      <a:pt x="512" y="180"/>
                    </a:lnTo>
                    <a:lnTo>
                      <a:pt x="513" y="180"/>
                    </a:lnTo>
                    <a:lnTo>
                      <a:pt x="513" y="182"/>
                    </a:lnTo>
                    <a:lnTo>
                      <a:pt x="512" y="183"/>
                    </a:lnTo>
                    <a:lnTo>
                      <a:pt x="513" y="184"/>
                    </a:lnTo>
                    <a:lnTo>
                      <a:pt x="512" y="184"/>
                    </a:lnTo>
                    <a:lnTo>
                      <a:pt x="512" y="185"/>
                    </a:lnTo>
                    <a:lnTo>
                      <a:pt x="511" y="185"/>
                    </a:lnTo>
                    <a:lnTo>
                      <a:pt x="509" y="186"/>
                    </a:lnTo>
                    <a:lnTo>
                      <a:pt x="509" y="187"/>
                    </a:lnTo>
                    <a:lnTo>
                      <a:pt x="509" y="189"/>
                    </a:lnTo>
                    <a:lnTo>
                      <a:pt x="508" y="190"/>
                    </a:lnTo>
                    <a:lnTo>
                      <a:pt x="508" y="189"/>
                    </a:lnTo>
                    <a:lnTo>
                      <a:pt x="508" y="187"/>
                    </a:lnTo>
                    <a:lnTo>
                      <a:pt x="507" y="187"/>
                    </a:lnTo>
                    <a:lnTo>
                      <a:pt x="506" y="187"/>
                    </a:lnTo>
                    <a:lnTo>
                      <a:pt x="506" y="191"/>
                    </a:lnTo>
                    <a:lnTo>
                      <a:pt x="506" y="192"/>
                    </a:lnTo>
                    <a:lnTo>
                      <a:pt x="507" y="192"/>
                    </a:lnTo>
                    <a:lnTo>
                      <a:pt x="507" y="193"/>
                    </a:lnTo>
                    <a:lnTo>
                      <a:pt x="506" y="193"/>
                    </a:lnTo>
                    <a:lnTo>
                      <a:pt x="506" y="194"/>
                    </a:lnTo>
                    <a:lnTo>
                      <a:pt x="505" y="194"/>
                    </a:lnTo>
                    <a:lnTo>
                      <a:pt x="505" y="195"/>
                    </a:lnTo>
                    <a:lnTo>
                      <a:pt x="505" y="196"/>
                    </a:lnTo>
                    <a:lnTo>
                      <a:pt x="505" y="197"/>
                    </a:lnTo>
                    <a:lnTo>
                      <a:pt x="505" y="198"/>
                    </a:lnTo>
                    <a:lnTo>
                      <a:pt x="505" y="199"/>
                    </a:lnTo>
                    <a:lnTo>
                      <a:pt x="506" y="200"/>
                    </a:lnTo>
                    <a:lnTo>
                      <a:pt x="506" y="202"/>
                    </a:lnTo>
                    <a:lnTo>
                      <a:pt x="507" y="203"/>
                    </a:lnTo>
                    <a:lnTo>
                      <a:pt x="508" y="203"/>
                    </a:lnTo>
                    <a:lnTo>
                      <a:pt x="509" y="203"/>
                    </a:lnTo>
                    <a:lnTo>
                      <a:pt x="509" y="204"/>
                    </a:lnTo>
                    <a:lnTo>
                      <a:pt x="508" y="204"/>
                    </a:lnTo>
                    <a:lnTo>
                      <a:pt x="507" y="205"/>
                    </a:lnTo>
                    <a:lnTo>
                      <a:pt x="507" y="206"/>
                    </a:lnTo>
                    <a:lnTo>
                      <a:pt x="506" y="207"/>
                    </a:lnTo>
                    <a:lnTo>
                      <a:pt x="506" y="209"/>
                    </a:lnTo>
                    <a:lnTo>
                      <a:pt x="506" y="210"/>
                    </a:lnTo>
                    <a:lnTo>
                      <a:pt x="505" y="211"/>
                    </a:lnTo>
                    <a:lnTo>
                      <a:pt x="505" y="212"/>
                    </a:lnTo>
                    <a:lnTo>
                      <a:pt x="506" y="213"/>
                    </a:lnTo>
                    <a:lnTo>
                      <a:pt x="506" y="216"/>
                    </a:lnTo>
                    <a:lnTo>
                      <a:pt x="507" y="216"/>
                    </a:lnTo>
                    <a:lnTo>
                      <a:pt x="506" y="217"/>
                    </a:lnTo>
                    <a:lnTo>
                      <a:pt x="506" y="218"/>
                    </a:lnTo>
                    <a:lnTo>
                      <a:pt x="507" y="219"/>
                    </a:lnTo>
                    <a:lnTo>
                      <a:pt x="508" y="221"/>
                    </a:lnTo>
                    <a:lnTo>
                      <a:pt x="509" y="221"/>
                    </a:lnTo>
                    <a:lnTo>
                      <a:pt x="511" y="223"/>
                    </a:lnTo>
                    <a:lnTo>
                      <a:pt x="512" y="224"/>
                    </a:lnTo>
                    <a:lnTo>
                      <a:pt x="512" y="225"/>
                    </a:lnTo>
                    <a:lnTo>
                      <a:pt x="513" y="225"/>
                    </a:lnTo>
                    <a:lnTo>
                      <a:pt x="514" y="228"/>
                    </a:lnTo>
                    <a:lnTo>
                      <a:pt x="515" y="229"/>
                    </a:lnTo>
                    <a:lnTo>
                      <a:pt x="515" y="230"/>
                    </a:lnTo>
                    <a:lnTo>
                      <a:pt x="515" y="231"/>
                    </a:lnTo>
                    <a:lnTo>
                      <a:pt x="515" y="233"/>
                    </a:lnTo>
                    <a:lnTo>
                      <a:pt x="515" y="234"/>
                    </a:lnTo>
                    <a:lnTo>
                      <a:pt x="515" y="235"/>
                    </a:lnTo>
                    <a:lnTo>
                      <a:pt x="515" y="236"/>
                    </a:lnTo>
                    <a:lnTo>
                      <a:pt x="514" y="237"/>
                    </a:lnTo>
                    <a:lnTo>
                      <a:pt x="514" y="238"/>
                    </a:lnTo>
                    <a:lnTo>
                      <a:pt x="513" y="238"/>
                    </a:lnTo>
                    <a:lnTo>
                      <a:pt x="512" y="239"/>
                    </a:lnTo>
                    <a:lnTo>
                      <a:pt x="511" y="239"/>
                    </a:lnTo>
                    <a:lnTo>
                      <a:pt x="511" y="241"/>
                    </a:lnTo>
                    <a:lnTo>
                      <a:pt x="512" y="241"/>
                    </a:lnTo>
                    <a:lnTo>
                      <a:pt x="513" y="241"/>
                    </a:lnTo>
                    <a:lnTo>
                      <a:pt x="512" y="241"/>
                    </a:lnTo>
                    <a:lnTo>
                      <a:pt x="512" y="242"/>
                    </a:lnTo>
                    <a:lnTo>
                      <a:pt x="513" y="242"/>
                    </a:lnTo>
                    <a:lnTo>
                      <a:pt x="512" y="242"/>
                    </a:lnTo>
                    <a:lnTo>
                      <a:pt x="512" y="243"/>
                    </a:lnTo>
                    <a:lnTo>
                      <a:pt x="513" y="244"/>
                    </a:lnTo>
                    <a:lnTo>
                      <a:pt x="513" y="243"/>
                    </a:lnTo>
                    <a:lnTo>
                      <a:pt x="513" y="244"/>
                    </a:lnTo>
                    <a:lnTo>
                      <a:pt x="514" y="244"/>
                    </a:lnTo>
                    <a:lnTo>
                      <a:pt x="514" y="245"/>
                    </a:lnTo>
                    <a:lnTo>
                      <a:pt x="513" y="245"/>
                    </a:lnTo>
                    <a:lnTo>
                      <a:pt x="513" y="246"/>
                    </a:lnTo>
                    <a:lnTo>
                      <a:pt x="512" y="246"/>
                    </a:lnTo>
                    <a:lnTo>
                      <a:pt x="511" y="246"/>
                    </a:lnTo>
                    <a:lnTo>
                      <a:pt x="509" y="246"/>
                    </a:lnTo>
                    <a:lnTo>
                      <a:pt x="509" y="247"/>
                    </a:lnTo>
                    <a:lnTo>
                      <a:pt x="508" y="247"/>
                    </a:lnTo>
                    <a:lnTo>
                      <a:pt x="508" y="246"/>
                    </a:lnTo>
                    <a:lnTo>
                      <a:pt x="508" y="247"/>
                    </a:lnTo>
                    <a:lnTo>
                      <a:pt x="507" y="247"/>
                    </a:lnTo>
                    <a:lnTo>
                      <a:pt x="506" y="247"/>
                    </a:lnTo>
                    <a:lnTo>
                      <a:pt x="505" y="247"/>
                    </a:lnTo>
                    <a:lnTo>
                      <a:pt x="504" y="247"/>
                    </a:lnTo>
                    <a:lnTo>
                      <a:pt x="504" y="246"/>
                    </a:lnTo>
                    <a:lnTo>
                      <a:pt x="503" y="246"/>
                    </a:lnTo>
                    <a:lnTo>
                      <a:pt x="503" y="247"/>
                    </a:lnTo>
                    <a:lnTo>
                      <a:pt x="502" y="247"/>
                    </a:lnTo>
                    <a:lnTo>
                      <a:pt x="501" y="247"/>
                    </a:lnTo>
                    <a:lnTo>
                      <a:pt x="500" y="247"/>
                    </a:lnTo>
                    <a:lnTo>
                      <a:pt x="499" y="247"/>
                    </a:lnTo>
                    <a:lnTo>
                      <a:pt x="499" y="248"/>
                    </a:lnTo>
                    <a:lnTo>
                      <a:pt x="500" y="248"/>
                    </a:lnTo>
                    <a:lnTo>
                      <a:pt x="499" y="248"/>
                    </a:lnTo>
                    <a:lnTo>
                      <a:pt x="499" y="249"/>
                    </a:lnTo>
                    <a:lnTo>
                      <a:pt x="498" y="249"/>
                    </a:lnTo>
                    <a:lnTo>
                      <a:pt x="496" y="249"/>
                    </a:lnTo>
                    <a:lnTo>
                      <a:pt x="495" y="249"/>
                    </a:lnTo>
                    <a:lnTo>
                      <a:pt x="494" y="249"/>
                    </a:lnTo>
                    <a:lnTo>
                      <a:pt x="493" y="250"/>
                    </a:lnTo>
                    <a:lnTo>
                      <a:pt x="492" y="250"/>
                    </a:lnTo>
                    <a:lnTo>
                      <a:pt x="491" y="251"/>
                    </a:lnTo>
                    <a:lnTo>
                      <a:pt x="490" y="251"/>
                    </a:lnTo>
                    <a:lnTo>
                      <a:pt x="489" y="251"/>
                    </a:lnTo>
                    <a:lnTo>
                      <a:pt x="489" y="252"/>
                    </a:lnTo>
                    <a:lnTo>
                      <a:pt x="488" y="254"/>
                    </a:lnTo>
                    <a:lnTo>
                      <a:pt x="487" y="254"/>
                    </a:lnTo>
                    <a:lnTo>
                      <a:pt x="487" y="255"/>
                    </a:lnTo>
                    <a:lnTo>
                      <a:pt x="486" y="256"/>
                    </a:lnTo>
                    <a:lnTo>
                      <a:pt x="486" y="257"/>
                    </a:lnTo>
                    <a:lnTo>
                      <a:pt x="485" y="257"/>
                    </a:lnTo>
                    <a:lnTo>
                      <a:pt x="485" y="258"/>
                    </a:lnTo>
                    <a:lnTo>
                      <a:pt x="485" y="259"/>
                    </a:lnTo>
                    <a:lnTo>
                      <a:pt x="483" y="259"/>
                    </a:lnTo>
                    <a:lnTo>
                      <a:pt x="483" y="260"/>
                    </a:lnTo>
                    <a:lnTo>
                      <a:pt x="485" y="260"/>
                    </a:lnTo>
                    <a:lnTo>
                      <a:pt x="485" y="261"/>
                    </a:lnTo>
                    <a:lnTo>
                      <a:pt x="485" y="262"/>
                    </a:lnTo>
                    <a:lnTo>
                      <a:pt x="483" y="262"/>
                    </a:lnTo>
                    <a:lnTo>
                      <a:pt x="483" y="263"/>
                    </a:lnTo>
                    <a:lnTo>
                      <a:pt x="482" y="264"/>
                    </a:lnTo>
                    <a:lnTo>
                      <a:pt x="482" y="266"/>
                    </a:lnTo>
                    <a:lnTo>
                      <a:pt x="481" y="267"/>
                    </a:lnTo>
                    <a:lnTo>
                      <a:pt x="481" y="268"/>
                    </a:lnTo>
                    <a:lnTo>
                      <a:pt x="481" y="269"/>
                    </a:lnTo>
                    <a:lnTo>
                      <a:pt x="480" y="269"/>
                    </a:lnTo>
                    <a:lnTo>
                      <a:pt x="480" y="270"/>
                    </a:lnTo>
                    <a:lnTo>
                      <a:pt x="479" y="270"/>
                    </a:lnTo>
                    <a:lnTo>
                      <a:pt x="479" y="271"/>
                    </a:lnTo>
                    <a:lnTo>
                      <a:pt x="478" y="271"/>
                    </a:lnTo>
                    <a:lnTo>
                      <a:pt x="478" y="272"/>
                    </a:lnTo>
                    <a:lnTo>
                      <a:pt x="477" y="272"/>
                    </a:lnTo>
                    <a:lnTo>
                      <a:pt x="476" y="273"/>
                    </a:lnTo>
                    <a:lnTo>
                      <a:pt x="477" y="273"/>
                    </a:lnTo>
                    <a:lnTo>
                      <a:pt x="477" y="274"/>
                    </a:lnTo>
                    <a:lnTo>
                      <a:pt x="478" y="274"/>
                    </a:lnTo>
                    <a:lnTo>
                      <a:pt x="478" y="275"/>
                    </a:lnTo>
                    <a:lnTo>
                      <a:pt x="479" y="276"/>
                    </a:lnTo>
                    <a:lnTo>
                      <a:pt x="479" y="277"/>
                    </a:lnTo>
                    <a:lnTo>
                      <a:pt x="480" y="277"/>
                    </a:lnTo>
                    <a:lnTo>
                      <a:pt x="480" y="279"/>
                    </a:lnTo>
                    <a:lnTo>
                      <a:pt x="481" y="279"/>
                    </a:lnTo>
                    <a:lnTo>
                      <a:pt x="482" y="279"/>
                    </a:lnTo>
                    <a:lnTo>
                      <a:pt x="482" y="280"/>
                    </a:lnTo>
                    <a:lnTo>
                      <a:pt x="483" y="280"/>
                    </a:lnTo>
                    <a:lnTo>
                      <a:pt x="485" y="280"/>
                    </a:lnTo>
                    <a:lnTo>
                      <a:pt x="485" y="281"/>
                    </a:lnTo>
                    <a:lnTo>
                      <a:pt x="486" y="281"/>
                    </a:lnTo>
                    <a:lnTo>
                      <a:pt x="486" y="282"/>
                    </a:lnTo>
                    <a:lnTo>
                      <a:pt x="486" y="281"/>
                    </a:lnTo>
                    <a:lnTo>
                      <a:pt x="487" y="281"/>
                    </a:lnTo>
                    <a:lnTo>
                      <a:pt x="488" y="281"/>
                    </a:lnTo>
                    <a:lnTo>
                      <a:pt x="488" y="280"/>
                    </a:lnTo>
                    <a:lnTo>
                      <a:pt x="489" y="280"/>
                    </a:lnTo>
                    <a:lnTo>
                      <a:pt x="490" y="280"/>
                    </a:lnTo>
                    <a:lnTo>
                      <a:pt x="491" y="280"/>
                    </a:lnTo>
                    <a:lnTo>
                      <a:pt x="492" y="280"/>
                    </a:lnTo>
                    <a:lnTo>
                      <a:pt x="491" y="280"/>
                    </a:lnTo>
                    <a:lnTo>
                      <a:pt x="491" y="281"/>
                    </a:lnTo>
                    <a:lnTo>
                      <a:pt x="492" y="282"/>
                    </a:lnTo>
                    <a:lnTo>
                      <a:pt x="492" y="283"/>
                    </a:lnTo>
                    <a:lnTo>
                      <a:pt x="493" y="283"/>
                    </a:lnTo>
                    <a:lnTo>
                      <a:pt x="493" y="282"/>
                    </a:lnTo>
                    <a:lnTo>
                      <a:pt x="494" y="282"/>
                    </a:lnTo>
                    <a:lnTo>
                      <a:pt x="494" y="283"/>
                    </a:lnTo>
                    <a:lnTo>
                      <a:pt x="495" y="283"/>
                    </a:lnTo>
                    <a:lnTo>
                      <a:pt x="495" y="285"/>
                    </a:lnTo>
                    <a:lnTo>
                      <a:pt x="494" y="284"/>
                    </a:lnTo>
                    <a:lnTo>
                      <a:pt x="493" y="284"/>
                    </a:lnTo>
                    <a:lnTo>
                      <a:pt x="492" y="284"/>
                    </a:lnTo>
                    <a:lnTo>
                      <a:pt x="491" y="284"/>
                    </a:lnTo>
                    <a:lnTo>
                      <a:pt x="491" y="285"/>
                    </a:lnTo>
                    <a:lnTo>
                      <a:pt x="490" y="285"/>
                    </a:lnTo>
                    <a:lnTo>
                      <a:pt x="490" y="284"/>
                    </a:lnTo>
                    <a:lnTo>
                      <a:pt x="489" y="284"/>
                    </a:lnTo>
                    <a:lnTo>
                      <a:pt x="489" y="283"/>
                    </a:lnTo>
                    <a:lnTo>
                      <a:pt x="488" y="283"/>
                    </a:lnTo>
                    <a:lnTo>
                      <a:pt x="487" y="283"/>
                    </a:lnTo>
                    <a:lnTo>
                      <a:pt x="486" y="283"/>
                    </a:lnTo>
                    <a:lnTo>
                      <a:pt x="483" y="283"/>
                    </a:lnTo>
                    <a:lnTo>
                      <a:pt x="482" y="284"/>
                    </a:lnTo>
                    <a:lnTo>
                      <a:pt x="481" y="284"/>
                    </a:lnTo>
                    <a:lnTo>
                      <a:pt x="480" y="284"/>
                    </a:lnTo>
                    <a:lnTo>
                      <a:pt x="479" y="284"/>
                    </a:lnTo>
                    <a:lnTo>
                      <a:pt x="478" y="284"/>
                    </a:lnTo>
                    <a:lnTo>
                      <a:pt x="476" y="284"/>
                    </a:lnTo>
                    <a:lnTo>
                      <a:pt x="476" y="285"/>
                    </a:lnTo>
                    <a:lnTo>
                      <a:pt x="475" y="285"/>
                    </a:lnTo>
                    <a:lnTo>
                      <a:pt x="475" y="286"/>
                    </a:lnTo>
                    <a:lnTo>
                      <a:pt x="474" y="287"/>
                    </a:lnTo>
                    <a:lnTo>
                      <a:pt x="474" y="288"/>
                    </a:lnTo>
                    <a:lnTo>
                      <a:pt x="474" y="289"/>
                    </a:lnTo>
                    <a:lnTo>
                      <a:pt x="474" y="290"/>
                    </a:lnTo>
                    <a:lnTo>
                      <a:pt x="475" y="290"/>
                    </a:lnTo>
                    <a:lnTo>
                      <a:pt x="474" y="290"/>
                    </a:lnTo>
                    <a:lnTo>
                      <a:pt x="474" y="292"/>
                    </a:lnTo>
                    <a:lnTo>
                      <a:pt x="474" y="293"/>
                    </a:lnTo>
                    <a:lnTo>
                      <a:pt x="474" y="294"/>
                    </a:lnTo>
                    <a:lnTo>
                      <a:pt x="475" y="294"/>
                    </a:lnTo>
                    <a:lnTo>
                      <a:pt x="475" y="293"/>
                    </a:lnTo>
                    <a:lnTo>
                      <a:pt x="476" y="293"/>
                    </a:lnTo>
                    <a:lnTo>
                      <a:pt x="476" y="294"/>
                    </a:lnTo>
                    <a:lnTo>
                      <a:pt x="476" y="293"/>
                    </a:lnTo>
                    <a:lnTo>
                      <a:pt x="476" y="294"/>
                    </a:lnTo>
                    <a:lnTo>
                      <a:pt x="475" y="294"/>
                    </a:lnTo>
                    <a:lnTo>
                      <a:pt x="475" y="295"/>
                    </a:lnTo>
                    <a:lnTo>
                      <a:pt x="475" y="296"/>
                    </a:lnTo>
                    <a:lnTo>
                      <a:pt x="474" y="296"/>
                    </a:lnTo>
                    <a:lnTo>
                      <a:pt x="474" y="297"/>
                    </a:lnTo>
                    <a:lnTo>
                      <a:pt x="473" y="297"/>
                    </a:lnTo>
                    <a:lnTo>
                      <a:pt x="473" y="298"/>
                    </a:lnTo>
                    <a:lnTo>
                      <a:pt x="474" y="298"/>
                    </a:lnTo>
                    <a:lnTo>
                      <a:pt x="473" y="299"/>
                    </a:lnTo>
                    <a:lnTo>
                      <a:pt x="474" y="299"/>
                    </a:lnTo>
                    <a:lnTo>
                      <a:pt x="475" y="299"/>
                    </a:lnTo>
                    <a:lnTo>
                      <a:pt x="475" y="298"/>
                    </a:lnTo>
                    <a:lnTo>
                      <a:pt x="476" y="298"/>
                    </a:lnTo>
                    <a:lnTo>
                      <a:pt x="476" y="297"/>
                    </a:lnTo>
                    <a:lnTo>
                      <a:pt x="477" y="297"/>
                    </a:lnTo>
                    <a:lnTo>
                      <a:pt x="478" y="296"/>
                    </a:lnTo>
                    <a:lnTo>
                      <a:pt x="478" y="295"/>
                    </a:lnTo>
                    <a:lnTo>
                      <a:pt x="479" y="295"/>
                    </a:lnTo>
                    <a:lnTo>
                      <a:pt x="479" y="296"/>
                    </a:lnTo>
                    <a:lnTo>
                      <a:pt x="480" y="296"/>
                    </a:lnTo>
                    <a:lnTo>
                      <a:pt x="480" y="297"/>
                    </a:lnTo>
                    <a:lnTo>
                      <a:pt x="480" y="298"/>
                    </a:lnTo>
                    <a:lnTo>
                      <a:pt x="480" y="299"/>
                    </a:lnTo>
                    <a:lnTo>
                      <a:pt x="479" y="299"/>
                    </a:lnTo>
                    <a:lnTo>
                      <a:pt x="479" y="300"/>
                    </a:lnTo>
                    <a:lnTo>
                      <a:pt x="480" y="300"/>
                    </a:lnTo>
                    <a:lnTo>
                      <a:pt x="480" y="301"/>
                    </a:lnTo>
                    <a:lnTo>
                      <a:pt x="479" y="301"/>
                    </a:lnTo>
                    <a:lnTo>
                      <a:pt x="479" y="302"/>
                    </a:lnTo>
                    <a:lnTo>
                      <a:pt x="479" y="303"/>
                    </a:lnTo>
                    <a:lnTo>
                      <a:pt x="479" y="305"/>
                    </a:lnTo>
                    <a:lnTo>
                      <a:pt x="480" y="305"/>
                    </a:lnTo>
                    <a:lnTo>
                      <a:pt x="481" y="306"/>
                    </a:lnTo>
                    <a:lnTo>
                      <a:pt x="482" y="307"/>
                    </a:lnTo>
                    <a:lnTo>
                      <a:pt x="482" y="308"/>
                    </a:lnTo>
                    <a:lnTo>
                      <a:pt x="483" y="308"/>
                    </a:lnTo>
                    <a:lnTo>
                      <a:pt x="483" y="307"/>
                    </a:lnTo>
                    <a:lnTo>
                      <a:pt x="485" y="307"/>
                    </a:lnTo>
                    <a:lnTo>
                      <a:pt x="485" y="308"/>
                    </a:lnTo>
                    <a:lnTo>
                      <a:pt x="486" y="308"/>
                    </a:lnTo>
                    <a:lnTo>
                      <a:pt x="486" y="307"/>
                    </a:lnTo>
                    <a:lnTo>
                      <a:pt x="486" y="308"/>
                    </a:lnTo>
                    <a:lnTo>
                      <a:pt x="487" y="308"/>
                    </a:lnTo>
                    <a:lnTo>
                      <a:pt x="488" y="308"/>
                    </a:lnTo>
                    <a:lnTo>
                      <a:pt x="489" y="308"/>
                    </a:lnTo>
                    <a:lnTo>
                      <a:pt x="489" y="309"/>
                    </a:lnTo>
                    <a:lnTo>
                      <a:pt x="489" y="308"/>
                    </a:lnTo>
                    <a:lnTo>
                      <a:pt x="490" y="308"/>
                    </a:lnTo>
                    <a:lnTo>
                      <a:pt x="491" y="308"/>
                    </a:lnTo>
                    <a:lnTo>
                      <a:pt x="492" y="308"/>
                    </a:lnTo>
                    <a:lnTo>
                      <a:pt x="493" y="307"/>
                    </a:lnTo>
                    <a:lnTo>
                      <a:pt x="493" y="308"/>
                    </a:lnTo>
                    <a:lnTo>
                      <a:pt x="494" y="308"/>
                    </a:lnTo>
                    <a:lnTo>
                      <a:pt x="495" y="308"/>
                    </a:lnTo>
                    <a:lnTo>
                      <a:pt x="496" y="308"/>
                    </a:lnTo>
                    <a:lnTo>
                      <a:pt x="498" y="308"/>
                    </a:lnTo>
                    <a:lnTo>
                      <a:pt x="498" y="309"/>
                    </a:lnTo>
                    <a:lnTo>
                      <a:pt x="499" y="309"/>
                    </a:lnTo>
                    <a:lnTo>
                      <a:pt x="499" y="310"/>
                    </a:lnTo>
                    <a:lnTo>
                      <a:pt x="499" y="311"/>
                    </a:lnTo>
                    <a:lnTo>
                      <a:pt x="500" y="312"/>
                    </a:lnTo>
                    <a:lnTo>
                      <a:pt x="501" y="312"/>
                    </a:lnTo>
                    <a:lnTo>
                      <a:pt x="502" y="313"/>
                    </a:lnTo>
                    <a:lnTo>
                      <a:pt x="501" y="313"/>
                    </a:lnTo>
                    <a:lnTo>
                      <a:pt x="501" y="314"/>
                    </a:lnTo>
                    <a:lnTo>
                      <a:pt x="501" y="315"/>
                    </a:lnTo>
                    <a:lnTo>
                      <a:pt x="501" y="316"/>
                    </a:lnTo>
                    <a:lnTo>
                      <a:pt x="502" y="318"/>
                    </a:lnTo>
                    <a:lnTo>
                      <a:pt x="503" y="319"/>
                    </a:lnTo>
                    <a:lnTo>
                      <a:pt x="503" y="320"/>
                    </a:lnTo>
                    <a:lnTo>
                      <a:pt x="504" y="320"/>
                    </a:lnTo>
                    <a:lnTo>
                      <a:pt x="504" y="321"/>
                    </a:lnTo>
                    <a:lnTo>
                      <a:pt x="505" y="321"/>
                    </a:lnTo>
                    <a:lnTo>
                      <a:pt x="505" y="320"/>
                    </a:lnTo>
                    <a:lnTo>
                      <a:pt x="506" y="320"/>
                    </a:lnTo>
                    <a:lnTo>
                      <a:pt x="506" y="321"/>
                    </a:lnTo>
                    <a:lnTo>
                      <a:pt x="507" y="321"/>
                    </a:lnTo>
                    <a:lnTo>
                      <a:pt x="507" y="320"/>
                    </a:lnTo>
                    <a:lnTo>
                      <a:pt x="508" y="319"/>
                    </a:lnTo>
                    <a:lnTo>
                      <a:pt x="508" y="320"/>
                    </a:lnTo>
                    <a:lnTo>
                      <a:pt x="508" y="319"/>
                    </a:lnTo>
                    <a:lnTo>
                      <a:pt x="509" y="319"/>
                    </a:lnTo>
                    <a:lnTo>
                      <a:pt x="509" y="318"/>
                    </a:lnTo>
                    <a:lnTo>
                      <a:pt x="508" y="318"/>
                    </a:lnTo>
                    <a:lnTo>
                      <a:pt x="509" y="318"/>
                    </a:lnTo>
                    <a:lnTo>
                      <a:pt x="511" y="318"/>
                    </a:lnTo>
                    <a:lnTo>
                      <a:pt x="512" y="318"/>
                    </a:lnTo>
                    <a:lnTo>
                      <a:pt x="514" y="318"/>
                    </a:lnTo>
                    <a:lnTo>
                      <a:pt x="515" y="318"/>
                    </a:lnTo>
                    <a:lnTo>
                      <a:pt x="516" y="318"/>
                    </a:lnTo>
                    <a:lnTo>
                      <a:pt x="517" y="318"/>
                    </a:lnTo>
                    <a:lnTo>
                      <a:pt x="518" y="318"/>
                    </a:lnTo>
                    <a:lnTo>
                      <a:pt x="518" y="316"/>
                    </a:lnTo>
                    <a:lnTo>
                      <a:pt x="517" y="315"/>
                    </a:lnTo>
                    <a:lnTo>
                      <a:pt x="518" y="315"/>
                    </a:lnTo>
                    <a:lnTo>
                      <a:pt x="518" y="314"/>
                    </a:lnTo>
                    <a:lnTo>
                      <a:pt x="518" y="313"/>
                    </a:lnTo>
                    <a:lnTo>
                      <a:pt x="518" y="312"/>
                    </a:lnTo>
                    <a:lnTo>
                      <a:pt x="518" y="311"/>
                    </a:lnTo>
                    <a:lnTo>
                      <a:pt x="519" y="311"/>
                    </a:lnTo>
                    <a:lnTo>
                      <a:pt x="519" y="310"/>
                    </a:lnTo>
                    <a:lnTo>
                      <a:pt x="519" y="309"/>
                    </a:lnTo>
                    <a:lnTo>
                      <a:pt x="519" y="310"/>
                    </a:lnTo>
                    <a:lnTo>
                      <a:pt x="519" y="311"/>
                    </a:lnTo>
                    <a:lnTo>
                      <a:pt x="518" y="312"/>
                    </a:lnTo>
                    <a:lnTo>
                      <a:pt x="519" y="313"/>
                    </a:lnTo>
                    <a:lnTo>
                      <a:pt x="520" y="313"/>
                    </a:lnTo>
                    <a:lnTo>
                      <a:pt x="520" y="314"/>
                    </a:lnTo>
                    <a:lnTo>
                      <a:pt x="521" y="314"/>
                    </a:lnTo>
                    <a:lnTo>
                      <a:pt x="522" y="315"/>
                    </a:lnTo>
                    <a:lnTo>
                      <a:pt x="524" y="316"/>
                    </a:lnTo>
                    <a:lnTo>
                      <a:pt x="524" y="318"/>
                    </a:lnTo>
                    <a:lnTo>
                      <a:pt x="524" y="319"/>
                    </a:lnTo>
                    <a:lnTo>
                      <a:pt x="524" y="320"/>
                    </a:lnTo>
                    <a:lnTo>
                      <a:pt x="525" y="321"/>
                    </a:lnTo>
                    <a:lnTo>
                      <a:pt x="525" y="322"/>
                    </a:lnTo>
                    <a:lnTo>
                      <a:pt x="526" y="322"/>
                    </a:lnTo>
                    <a:lnTo>
                      <a:pt x="526" y="323"/>
                    </a:lnTo>
                    <a:lnTo>
                      <a:pt x="526" y="324"/>
                    </a:lnTo>
                    <a:lnTo>
                      <a:pt x="526" y="325"/>
                    </a:lnTo>
                    <a:lnTo>
                      <a:pt x="527" y="326"/>
                    </a:lnTo>
                    <a:lnTo>
                      <a:pt x="526" y="327"/>
                    </a:lnTo>
                    <a:lnTo>
                      <a:pt x="527" y="327"/>
                    </a:lnTo>
                    <a:lnTo>
                      <a:pt x="528" y="327"/>
                    </a:lnTo>
                    <a:lnTo>
                      <a:pt x="528" y="328"/>
                    </a:lnTo>
                    <a:lnTo>
                      <a:pt x="529" y="328"/>
                    </a:lnTo>
                    <a:lnTo>
                      <a:pt x="530" y="328"/>
                    </a:lnTo>
                    <a:lnTo>
                      <a:pt x="530" y="329"/>
                    </a:lnTo>
                    <a:lnTo>
                      <a:pt x="531" y="329"/>
                    </a:lnTo>
                    <a:lnTo>
                      <a:pt x="532" y="329"/>
                    </a:lnTo>
                    <a:lnTo>
                      <a:pt x="532" y="328"/>
                    </a:lnTo>
                    <a:lnTo>
                      <a:pt x="533" y="328"/>
                    </a:lnTo>
                    <a:lnTo>
                      <a:pt x="534" y="328"/>
                    </a:lnTo>
                    <a:lnTo>
                      <a:pt x="535" y="328"/>
                    </a:lnTo>
                    <a:lnTo>
                      <a:pt x="537" y="328"/>
                    </a:lnTo>
                    <a:lnTo>
                      <a:pt x="535" y="329"/>
                    </a:lnTo>
                    <a:lnTo>
                      <a:pt x="537" y="331"/>
                    </a:lnTo>
                    <a:lnTo>
                      <a:pt x="537" y="332"/>
                    </a:lnTo>
                    <a:lnTo>
                      <a:pt x="537" y="333"/>
                    </a:lnTo>
                    <a:lnTo>
                      <a:pt x="537" y="332"/>
                    </a:lnTo>
                    <a:lnTo>
                      <a:pt x="538" y="332"/>
                    </a:lnTo>
                    <a:lnTo>
                      <a:pt x="539" y="332"/>
                    </a:lnTo>
                    <a:lnTo>
                      <a:pt x="539" y="331"/>
                    </a:lnTo>
                    <a:lnTo>
                      <a:pt x="539" y="334"/>
                    </a:lnTo>
                    <a:lnTo>
                      <a:pt x="538" y="334"/>
                    </a:lnTo>
                    <a:lnTo>
                      <a:pt x="538" y="335"/>
                    </a:lnTo>
                    <a:lnTo>
                      <a:pt x="539" y="335"/>
                    </a:lnTo>
                    <a:lnTo>
                      <a:pt x="540" y="335"/>
                    </a:lnTo>
                    <a:lnTo>
                      <a:pt x="541" y="335"/>
                    </a:lnTo>
                    <a:lnTo>
                      <a:pt x="541" y="336"/>
                    </a:lnTo>
                    <a:lnTo>
                      <a:pt x="542" y="336"/>
                    </a:lnTo>
                    <a:lnTo>
                      <a:pt x="542" y="337"/>
                    </a:lnTo>
                    <a:lnTo>
                      <a:pt x="543" y="337"/>
                    </a:lnTo>
                    <a:lnTo>
                      <a:pt x="544" y="337"/>
                    </a:lnTo>
                    <a:lnTo>
                      <a:pt x="545" y="337"/>
                    </a:lnTo>
                    <a:lnTo>
                      <a:pt x="546" y="336"/>
                    </a:lnTo>
                    <a:lnTo>
                      <a:pt x="546" y="335"/>
                    </a:lnTo>
                    <a:lnTo>
                      <a:pt x="546" y="334"/>
                    </a:lnTo>
                    <a:lnTo>
                      <a:pt x="546" y="333"/>
                    </a:lnTo>
                    <a:lnTo>
                      <a:pt x="547" y="333"/>
                    </a:lnTo>
                    <a:lnTo>
                      <a:pt x="546" y="333"/>
                    </a:lnTo>
                    <a:lnTo>
                      <a:pt x="547" y="332"/>
                    </a:lnTo>
                    <a:lnTo>
                      <a:pt x="548" y="332"/>
                    </a:lnTo>
                    <a:lnTo>
                      <a:pt x="548" y="333"/>
                    </a:lnTo>
                    <a:lnTo>
                      <a:pt x="550" y="332"/>
                    </a:lnTo>
                    <a:lnTo>
                      <a:pt x="551" y="332"/>
                    </a:lnTo>
                    <a:lnTo>
                      <a:pt x="552" y="333"/>
                    </a:lnTo>
                    <a:lnTo>
                      <a:pt x="553" y="333"/>
                    </a:lnTo>
                    <a:lnTo>
                      <a:pt x="554" y="333"/>
                    </a:lnTo>
                    <a:lnTo>
                      <a:pt x="554" y="334"/>
                    </a:lnTo>
                    <a:lnTo>
                      <a:pt x="555" y="334"/>
                    </a:lnTo>
                    <a:lnTo>
                      <a:pt x="556" y="334"/>
                    </a:lnTo>
                    <a:lnTo>
                      <a:pt x="557" y="335"/>
                    </a:lnTo>
                    <a:lnTo>
                      <a:pt x="558" y="335"/>
                    </a:lnTo>
                    <a:lnTo>
                      <a:pt x="559" y="335"/>
                    </a:lnTo>
                    <a:lnTo>
                      <a:pt x="560" y="335"/>
                    </a:lnTo>
                    <a:lnTo>
                      <a:pt x="561" y="335"/>
                    </a:lnTo>
                    <a:lnTo>
                      <a:pt x="561" y="336"/>
                    </a:lnTo>
                    <a:lnTo>
                      <a:pt x="560" y="336"/>
                    </a:lnTo>
                    <a:lnTo>
                      <a:pt x="560" y="337"/>
                    </a:lnTo>
                    <a:lnTo>
                      <a:pt x="561" y="338"/>
                    </a:lnTo>
                    <a:lnTo>
                      <a:pt x="561" y="337"/>
                    </a:lnTo>
                    <a:lnTo>
                      <a:pt x="563" y="336"/>
                    </a:lnTo>
                    <a:lnTo>
                      <a:pt x="563" y="335"/>
                    </a:lnTo>
                    <a:lnTo>
                      <a:pt x="563" y="334"/>
                    </a:lnTo>
                    <a:lnTo>
                      <a:pt x="564" y="334"/>
                    </a:lnTo>
                    <a:lnTo>
                      <a:pt x="565" y="334"/>
                    </a:lnTo>
                    <a:lnTo>
                      <a:pt x="565" y="333"/>
                    </a:lnTo>
                    <a:lnTo>
                      <a:pt x="565" y="334"/>
                    </a:lnTo>
                    <a:lnTo>
                      <a:pt x="566" y="334"/>
                    </a:lnTo>
                    <a:lnTo>
                      <a:pt x="567" y="335"/>
                    </a:lnTo>
                    <a:lnTo>
                      <a:pt x="568" y="334"/>
                    </a:lnTo>
                    <a:lnTo>
                      <a:pt x="568" y="335"/>
                    </a:lnTo>
                    <a:lnTo>
                      <a:pt x="569" y="335"/>
                    </a:lnTo>
                    <a:lnTo>
                      <a:pt x="570" y="335"/>
                    </a:lnTo>
                    <a:lnTo>
                      <a:pt x="571" y="335"/>
                    </a:lnTo>
                    <a:lnTo>
                      <a:pt x="571" y="334"/>
                    </a:lnTo>
                    <a:lnTo>
                      <a:pt x="571" y="335"/>
                    </a:lnTo>
                    <a:lnTo>
                      <a:pt x="572" y="335"/>
                    </a:lnTo>
                    <a:lnTo>
                      <a:pt x="573" y="335"/>
                    </a:lnTo>
                    <a:lnTo>
                      <a:pt x="573" y="334"/>
                    </a:lnTo>
                    <a:lnTo>
                      <a:pt x="575" y="334"/>
                    </a:lnTo>
                    <a:lnTo>
                      <a:pt x="576" y="334"/>
                    </a:lnTo>
                    <a:lnTo>
                      <a:pt x="577" y="334"/>
                    </a:lnTo>
                    <a:lnTo>
                      <a:pt x="577" y="335"/>
                    </a:lnTo>
                    <a:lnTo>
                      <a:pt x="576" y="335"/>
                    </a:lnTo>
                    <a:lnTo>
                      <a:pt x="576" y="336"/>
                    </a:lnTo>
                    <a:lnTo>
                      <a:pt x="576" y="337"/>
                    </a:lnTo>
                    <a:lnTo>
                      <a:pt x="577" y="339"/>
                    </a:lnTo>
                    <a:lnTo>
                      <a:pt x="576" y="339"/>
                    </a:lnTo>
                    <a:lnTo>
                      <a:pt x="575" y="339"/>
                    </a:lnTo>
                    <a:lnTo>
                      <a:pt x="573" y="338"/>
                    </a:lnTo>
                    <a:lnTo>
                      <a:pt x="572" y="338"/>
                    </a:lnTo>
                    <a:lnTo>
                      <a:pt x="572" y="339"/>
                    </a:lnTo>
                    <a:lnTo>
                      <a:pt x="571" y="339"/>
                    </a:lnTo>
                    <a:lnTo>
                      <a:pt x="570" y="339"/>
                    </a:lnTo>
                    <a:lnTo>
                      <a:pt x="570" y="340"/>
                    </a:lnTo>
                    <a:lnTo>
                      <a:pt x="569" y="340"/>
                    </a:lnTo>
                    <a:lnTo>
                      <a:pt x="568" y="340"/>
                    </a:lnTo>
                    <a:lnTo>
                      <a:pt x="567" y="340"/>
                    </a:lnTo>
                    <a:lnTo>
                      <a:pt x="566" y="340"/>
                    </a:lnTo>
                    <a:lnTo>
                      <a:pt x="566" y="341"/>
                    </a:lnTo>
                    <a:lnTo>
                      <a:pt x="566" y="342"/>
                    </a:lnTo>
                    <a:lnTo>
                      <a:pt x="566" y="344"/>
                    </a:lnTo>
                    <a:lnTo>
                      <a:pt x="565" y="344"/>
                    </a:lnTo>
                    <a:lnTo>
                      <a:pt x="566" y="345"/>
                    </a:lnTo>
                    <a:lnTo>
                      <a:pt x="566" y="346"/>
                    </a:lnTo>
                    <a:lnTo>
                      <a:pt x="567" y="346"/>
                    </a:lnTo>
                    <a:lnTo>
                      <a:pt x="567" y="347"/>
                    </a:lnTo>
                    <a:lnTo>
                      <a:pt x="568" y="347"/>
                    </a:lnTo>
                    <a:lnTo>
                      <a:pt x="568" y="346"/>
                    </a:lnTo>
                    <a:lnTo>
                      <a:pt x="567" y="345"/>
                    </a:lnTo>
                    <a:lnTo>
                      <a:pt x="567" y="344"/>
                    </a:lnTo>
                    <a:lnTo>
                      <a:pt x="568" y="342"/>
                    </a:lnTo>
                    <a:lnTo>
                      <a:pt x="570" y="342"/>
                    </a:lnTo>
                    <a:lnTo>
                      <a:pt x="571" y="344"/>
                    </a:lnTo>
                    <a:lnTo>
                      <a:pt x="571" y="342"/>
                    </a:lnTo>
                    <a:lnTo>
                      <a:pt x="572" y="342"/>
                    </a:lnTo>
                    <a:lnTo>
                      <a:pt x="572" y="341"/>
                    </a:lnTo>
                    <a:lnTo>
                      <a:pt x="573" y="341"/>
                    </a:lnTo>
                    <a:lnTo>
                      <a:pt x="573" y="340"/>
                    </a:lnTo>
                    <a:lnTo>
                      <a:pt x="575" y="340"/>
                    </a:lnTo>
                    <a:lnTo>
                      <a:pt x="575" y="341"/>
                    </a:lnTo>
                    <a:lnTo>
                      <a:pt x="575" y="342"/>
                    </a:lnTo>
                    <a:lnTo>
                      <a:pt x="576" y="344"/>
                    </a:lnTo>
                    <a:lnTo>
                      <a:pt x="576" y="345"/>
                    </a:lnTo>
                    <a:lnTo>
                      <a:pt x="576" y="346"/>
                    </a:lnTo>
                    <a:lnTo>
                      <a:pt x="576" y="347"/>
                    </a:lnTo>
                    <a:lnTo>
                      <a:pt x="576" y="348"/>
                    </a:lnTo>
                    <a:lnTo>
                      <a:pt x="577" y="348"/>
                    </a:lnTo>
                    <a:lnTo>
                      <a:pt x="577" y="347"/>
                    </a:lnTo>
                    <a:lnTo>
                      <a:pt x="576" y="347"/>
                    </a:lnTo>
                    <a:lnTo>
                      <a:pt x="577" y="347"/>
                    </a:lnTo>
                    <a:lnTo>
                      <a:pt x="577" y="348"/>
                    </a:lnTo>
                    <a:lnTo>
                      <a:pt x="578" y="347"/>
                    </a:lnTo>
                    <a:lnTo>
                      <a:pt x="578" y="348"/>
                    </a:lnTo>
                    <a:lnTo>
                      <a:pt x="578" y="349"/>
                    </a:lnTo>
                    <a:lnTo>
                      <a:pt x="579" y="350"/>
                    </a:lnTo>
                    <a:lnTo>
                      <a:pt x="579" y="351"/>
                    </a:lnTo>
                    <a:lnTo>
                      <a:pt x="580" y="352"/>
                    </a:lnTo>
                    <a:lnTo>
                      <a:pt x="581" y="353"/>
                    </a:lnTo>
                    <a:lnTo>
                      <a:pt x="581" y="354"/>
                    </a:lnTo>
                    <a:lnTo>
                      <a:pt x="581" y="356"/>
                    </a:lnTo>
                    <a:lnTo>
                      <a:pt x="581" y="357"/>
                    </a:lnTo>
                    <a:lnTo>
                      <a:pt x="580" y="357"/>
                    </a:lnTo>
                    <a:lnTo>
                      <a:pt x="580" y="358"/>
                    </a:lnTo>
                    <a:lnTo>
                      <a:pt x="579" y="360"/>
                    </a:lnTo>
                    <a:lnTo>
                      <a:pt x="579" y="361"/>
                    </a:lnTo>
                    <a:lnTo>
                      <a:pt x="580" y="361"/>
                    </a:lnTo>
                    <a:lnTo>
                      <a:pt x="580" y="362"/>
                    </a:lnTo>
                    <a:lnTo>
                      <a:pt x="580" y="363"/>
                    </a:lnTo>
                    <a:lnTo>
                      <a:pt x="580" y="364"/>
                    </a:lnTo>
                    <a:lnTo>
                      <a:pt x="581" y="364"/>
                    </a:lnTo>
                    <a:lnTo>
                      <a:pt x="581" y="365"/>
                    </a:lnTo>
                    <a:lnTo>
                      <a:pt x="580" y="365"/>
                    </a:lnTo>
                    <a:lnTo>
                      <a:pt x="579" y="365"/>
                    </a:lnTo>
                    <a:lnTo>
                      <a:pt x="579" y="366"/>
                    </a:lnTo>
                    <a:lnTo>
                      <a:pt x="578" y="366"/>
                    </a:lnTo>
                    <a:lnTo>
                      <a:pt x="578" y="365"/>
                    </a:lnTo>
                    <a:lnTo>
                      <a:pt x="577" y="365"/>
                    </a:lnTo>
                    <a:lnTo>
                      <a:pt x="576" y="365"/>
                    </a:lnTo>
                    <a:lnTo>
                      <a:pt x="575" y="366"/>
                    </a:lnTo>
                    <a:lnTo>
                      <a:pt x="575" y="367"/>
                    </a:lnTo>
                    <a:lnTo>
                      <a:pt x="573" y="367"/>
                    </a:lnTo>
                    <a:lnTo>
                      <a:pt x="573" y="369"/>
                    </a:lnTo>
                    <a:lnTo>
                      <a:pt x="572" y="369"/>
                    </a:lnTo>
                    <a:lnTo>
                      <a:pt x="572" y="370"/>
                    </a:lnTo>
                    <a:lnTo>
                      <a:pt x="573" y="370"/>
                    </a:lnTo>
                    <a:lnTo>
                      <a:pt x="573" y="371"/>
                    </a:lnTo>
                    <a:lnTo>
                      <a:pt x="575" y="371"/>
                    </a:lnTo>
                    <a:lnTo>
                      <a:pt x="575" y="372"/>
                    </a:lnTo>
                    <a:lnTo>
                      <a:pt x="576" y="372"/>
                    </a:lnTo>
                    <a:lnTo>
                      <a:pt x="576" y="373"/>
                    </a:lnTo>
                    <a:lnTo>
                      <a:pt x="577" y="373"/>
                    </a:lnTo>
                    <a:lnTo>
                      <a:pt x="577" y="374"/>
                    </a:lnTo>
                    <a:lnTo>
                      <a:pt x="578" y="374"/>
                    </a:lnTo>
                    <a:lnTo>
                      <a:pt x="579" y="375"/>
                    </a:lnTo>
                    <a:lnTo>
                      <a:pt x="580" y="375"/>
                    </a:lnTo>
                    <a:lnTo>
                      <a:pt x="579" y="375"/>
                    </a:lnTo>
                    <a:lnTo>
                      <a:pt x="579" y="376"/>
                    </a:lnTo>
                    <a:lnTo>
                      <a:pt x="580" y="376"/>
                    </a:lnTo>
                    <a:lnTo>
                      <a:pt x="581" y="376"/>
                    </a:lnTo>
                    <a:lnTo>
                      <a:pt x="581" y="377"/>
                    </a:lnTo>
                    <a:lnTo>
                      <a:pt x="580" y="377"/>
                    </a:lnTo>
                    <a:lnTo>
                      <a:pt x="580" y="378"/>
                    </a:lnTo>
                    <a:lnTo>
                      <a:pt x="580" y="379"/>
                    </a:lnTo>
                    <a:lnTo>
                      <a:pt x="581" y="380"/>
                    </a:lnTo>
                    <a:lnTo>
                      <a:pt x="582" y="380"/>
                    </a:lnTo>
                    <a:lnTo>
                      <a:pt x="583" y="380"/>
                    </a:lnTo>
                    <a:lnTo>
                      <a:pt x="584" y="380"/>
                    </a:lnTo>
                    <a:lnTo>
                      <a:pt x="583" y="382"/>
                    </a:lnTo>
                    <a:lnTo>
                      <a:pt x="582" y="382"/>
                    </a:lnTo>
                    <a:lnTo>
                      <a:pt x="581" y="383"/>
                    </a:lnTo>
                    <a:lnTo>
                      <a:pt x="580" y="383"/>
                    </a:lnTo>
                    <a:lnTo>
                      <a:pt x="580" y="384"/>
                    </a:lnTo>
                    <a:lnTo>
                      <a:pt x="581" y="385"/>
                    </a:lnTo>
                    <a:lnTo>
                      <a:pt x="582" y="385"/>
                    </a:lnTo>
                    <a:lnTo>
                      <a:pt x="583" y="384"/>
                    </a:lnTo>
                    <a:lnTo>
                      <a:pt x="584" y="384"/>
                    </a:lnTo>
                    <a:lnTo>
                      <a:pt x="585" y="384"/>
                    </a:lnTo>
                    <a:lnTo>
                      <a:pt x="586" y="384"/>
                    </a:lnTo>
                    <a:lnTo>
                      <a:pt x="586" y="383"/>
                    </a:lnTo>
                    <a:lnTo>
                      <a:pt x="588" y="383"/>
                    </a:lnTo>
                    <a:lnTo>
                      <a:pt x="588" y="384"/>
                    </a:lnTo>
                    <a:lnTo>
                      <a:pt x="589" y="384"/>
                    </a:lnTo>
                    <a:lnTo>
                      <a:pt x="590" y="384"/>
                    </a:lnTo>
                    <a:lnTo>
                      <a:pt x="591" y="384"/>
                    </a:lnTo>
                    <a:lnTo>
                      <a:pt x="592" y="384"/>
                    </a:lnTo>
                    <a:lnTo>
                      <a:pt x="592" y="383"/>
                    </a:lnTo>
                    <a:lnTo>
                      <a:pt x="592" y="384"/>
                    </a:lnTo>
                    <a:lnTo>
                      <a:pt x="592" y="385"/>
                    </a:lnTo>
                    <a:lnTo>
                      <a:pt x="592" y="386"/>
                    </a:lnTo>
                    <a:lnTo>
                      <a:pt x="593" y="386"/>
                    </a:lnTo>
                    <a:lnTo>
                      <a:pt x="593" y="387"/>
                    </a:lnTo>
                    <a:lnTo>
                      <a:pt x="593" y="386"/>
                    </a:lnTo>
                    <a:lnTo>
                      <a:pt x="593" y="387"/>
                    </a:lnTo>
                    <a:lnTo>
                      <a:pt x="593" y="388"/>
                    </a:lnTo>
                    <a:lnTo>
                      <a:pt x="592" y="388"/>
                    </a:lnTo>
                    <a:lnTo>
                      <a:pt x="591" y="388"/>
                    </a:lnTo>
                    <a:lnTo>
                      <a:pt x="590" y="389"/>
                    </a:lnTo>
                    <a:lnTo>
                      <a:pt x="589" y="389"/>
                    </a:lnTo>
                    <a:lnTo>
                      <a:pt x="589" y="390"/>
                    </a:lnTo>
                    <a:lnTo>
                      <a:pt x="590" y="390"/>
                    </a:lnTo>
                    <a:lnTo>
                      <a:pt x="590" y="391"/>
                    </a:lnTo>
                    <a:lnTo>
                      <a:pt x="589" y="391"/>
                    </a:lnTo>
                    <a:lnTo>
                      <a:pt x="589" y="392"/>
                    </a:lnTo>
                    <a:lnTo>
                      <a:pt x="589" y="393"/>
                    </a:lnTo>
                    <a:lnTo>
                      <a:pt x="589" y="395"/>
                    </a:lnTo>
                    <a:lnTo>
                      <a:pt x="589" y="396"/>
                    </a:lnTo>
                    <a:lnTo>
                      <a:pt x="590" y="396"/>
                    </a:lnTo>
                    <a:lnTo>
                      <a:pt x="591" y="396"/>
                    </a:lnTo>
                    <a:lnTo>
                      <a:pt x="591" y="397"/>
                    </a:lnTo>
                    <a:lnTo>
                      <a:pt x="590" y="397"/>
                    </a:lnTo>
                    <a:lnTo>
                      <a:pt x="590" y="398"/>
                    </a:lnTo>
                    <a:lnTo>
                      <a:pt x="591" y="398"/>
                    </a:lnTo>
                    <a:lnTo>
                      <a:pt x="592" y="398"/>
                    </a:lnTo>
                    <a:lnTo>
                      <a:pt x="592" y="399"/>
                    </a:lnTo>
                    <a:lnTo>
                      <a:pt x="593" y="400"/>
                    </a:lnTo>
                    <a:lnTo>
                      <a:pt x="592" y="400"/>
                    </a:lnTo>
                    <a:lnTo>
                      <a:pt x="591" y="400"/>
                    </a:lnTo>
                    <a:lnTo>
                      <a:pt x="591" y="401"/>
                    </a:lnTo>
                    <a:lnTo>
                      <a:pt x="590" y="401"/>
                    </a:lnTo>
                    <a:lnTo>
                      <a:pt x="589" y="401"/>
                    </a:lnTo>
                    <a:lnTo>
                      <a:pt x="589" y="400"/>
                    </a:lnTo>
                    <a:lnTo>
                      <a:pt x="590" y="400"/>
                    </a:lnTo>
                    <a:lnTo>
                      <a:pt x="589" y="400"/>
                    </a:lnTo>
                    <a:lnTo>
                      <a:pt x="589" y="399"/>
                    </a:lnTo>
                    <a:lnTo>
                      <a:pt x="588" y="399"/>
                    </a:lnTo>
                    <a:lnTo>
                      <a:pt x="588" y="398"/>
                    </a:lnTo>
                    <a:lnTo>
                      <a:pt x="588" y="397"/>
                    </a:lnTo>
                    <a:lnTo>
                      <a:pt x="586" y="396"/>
                    </a:lnTo>
                    <a:lnTo>
                      <a:pt x="585" y="397"/>
                    </a:lnTo>
                    <a:lnTo>
                      <a:pt x="585" y="396"/>
                    </a:lnTo>
                    <a:lnTo>
                      <a:pt x="584" y="397"/>
                    </a:lnTo>
                    <a:lnTo>
                      <a:pt x="583" y="397"/>
                    </a:lnTo>
                    <a:lnTo>
                      <a:pt x="583" y="398"/>
                    </a:lnTo>
                    <a:lnTo>
                      <a:pt x="582" y="398"/>
                    </a:lnTo>
                    <a:lnTo>
                      <a:pt x="582" y="397"/>
                    </a:lnTo>
                    <a:lnTo>
                      <a:pt x="581" y="396"/>
                    </a:lnTo>
                    <a:lnTo>
                      <a:pt x="580" y="396"/>
                    </a:lnTo>
                    <a:lnTo>
                      <a:pt x="580" y="397"/>
                    </a:lnTo>
                    <a:lnTo>
                      <a:pt x="580" y="398"/>
                    </a:lnTo>
                    <a:lnTo>
                      <a:pt x="581" y="398"/>
                    </a:lnTo>
                    <a:lnTo>
                      <a:pt x="582" y="398"/>
                    </a:lnTo>
                    <a:lnTo>
                      <a:pt x="583" y="398"/>
                    </a:lnTo>
                    <a:lnTo>
                      <a:pt x="583" y="399"/>
                    </a:lnTo>
                    <a:lnTo>
                      <a:pt x="584" y="399"/>
                    </a:lnTo>
                    <a:lnTo>
                      <a:pt x="585" y="400"/>
                    </a:lnTo>
                    <a:lnTo>
                      <a:pt x="586" y="400"/>
                    </a:lnTo>
                    <a:lnTo>
                      <a:pt x="586" y="399"/>
                    </a:lnTo>
                    <a:lnTo>
                      <a:pt x="588" y="399"/>
                    </a:lnTo>
                    <a:lnTo>
                      <a:pt x="589" y="399"/>
                    </a:lnTo>
                    <a:lnTo>
                      <a:pt x="589" y="400"/>
                    </a:lnTo>
                    <a:lnTo>
                      <a:pt x="589" y="401"/>
                    </a:lnTo>
                    <a:lnTo>
                      <a:pt x="588" y="401"/>
                    </a:lnTo>
                    <a:lnTo>
                      <a:pt x="589" y="401"/>
                    </a:lnTo>
                    <a:lnTo>
                      <a:pt x="589" y="402"/>
                    </a:lnTo>
                    <a:lnTo>
                      <a:pt x="590" y="402"/>
                    </a:lnTo>
                    <a:lnTo>
                      <a:pt x="590" y="403"/>
                    </a:lnTo>
                    <a:lnTo>
                      <a:pt x="589" y="403"/>
                    </a:lnTo>
                    <a:lnTo>
                      <a:pt x="588" y="403"/>
                    </a:lnTo>
                    <a:lnTo>
                      <a:pt x="588" y="402"/>
                    </a:lnTo>
                    <a:lnTo>
                      <a:pt x="586" y="402"/>
                    </a:lnTo>
                    <a:lnTo>
                      <a:pt x="586" y="403"/>
                    </a:lnTo>
                    <a:lnTo>
                      <a:pt x="585" y="403"/>
                    </a:lnTo>
                    <a:lnTo>
                      <a:pt x="585" y="404"/>
                    </a:lnTo>
                    <a:lnTo>
                      <a:pt x="585" y="405"/>
                    </a:lnTo>
                    <a:lnTo>
                      <a:pt x="586" y="406"/>
                    </a:lnTo>
                    <a:lnTo>
                      <a:pt x="588" y="406"/>
                    </a:lnTo>
                    <a:lnTo>
                      <a:pt x="588" y="408"/>
                    </a:lnTo>
                    <a:lnTo>
                      <a:pt x="589" y="408"/>
                    </a:lnTo>
                    <a:lnTo>
                      <a:pt x="590" y="408"/>
                    </a:lnTo>
                    <a:lnTo>
                      <a:pt x="590" y="409"/>
                    </a:lnTo>
                    <a:lnTo>
                      <a:pt x="590" y="408"/>
                    </a:lnTo>
                    <a:lnTo>
                      <a:pt x="590" y="409"/>
                    </a:lnTo>
                    <a:lnTo>
                      <a:pt x="590" y="410"/>
                    </a:lnTo>
                    <a:lnTo>
                      <a:pt x="589" y="410"/>
                    </a:lnTo>
                    <a:lnTo>
                      <a:pt x="589" y="411"/>
                    </a:lnTo>
                    <a:lnTo>
                      <a:pt x="588" y="411"/>
                    </a:lnTo>
                    <a:lnTo>
                      <a:pt x="588" y="410"/>
                    </a:lnTo>
                    <a:lnTo>
                      <a:pt x="586" y="411"/>
                    </a:lnTo>
                    <a:lnTo>
                      <a:pt x="586" y="410"/>
                    </a:lnTo>
                    <a:lnTo>
                      <a:pt x="585" y="410"/>
                    </a:lnTo>
                    <a:lnTo>
                      <a:pt x="584" y="411"/>
                    </a:lnTo>
                    <a:lnTo>
                      <a:pt x="583" y="411"/>
                    </a:lnTo>
                    <a:lnTo>
                      <a:pt x="584" y="411"/>
                    </a:lnTo>
                    <a:lnTo>
                      <a:pt x="584" y="410"/>
                    </a:lnTo>
                    <a:lnTo>
                      <a:pt x="585" y="410"/>
                    </a:lnTo>
                    <a:lnTo>
                      <a:pt x="585" y="409"/>
                    </a:lnTo>
                    <a:lnTo>
                      <a:pt x="585" y="408"/>
                    </a:lnTo>
                    <a:lnTo>
                      <a:pt x="586" y="408"/>
                    </a:lnTo>
                    <a:lnTo>
                      <a:pt x="585" y="408"/>
                    </a:lnTo>
                    <a:lnTo>
                      <a:pt x="585" y="406"/>
                    </a:lnTo>
                    <a:lnTo>
                      <a:pt x="585" y="405"/>
                    </a:lnTo>
                    <a:lnTo>
                      <a:pt x="585" y="404"/>
                    </a:lnTo>
                    <a:lnTo>
                      <a:pt x="584" y="404"/>
                    </a:lnTo>
                    <a:lnTo>
                      <a:pt x="584" y="403"/>
                    </a:lnTo>
                    <a:lnTo>
                      <a:pt x="583" y="403"/>
                    </a:lnTo>
                    <a:lnTo>
                      <a:pt x="583" y="402"/>
                    </a:lnTo>
                    <a:lnTo>
                      <a:pt x="583" y="401"/>
                    </a:lnTo>
                    <a:lnTo>
                      <a:pt x="583" y="400"/>
                    </a:lnTo>
                    <a:lnTo>
                      <a:pt x="583" y="399"/>
                    </a:lnTo>
                    <a:lnTo>
                      <a:pt x="582" y="399"/>
                    </a:lnTo>
                    <a:lnTo>
                      <a:pt x="581" y="399"/>
                    </a:lnTo>
                    <a:lnTo>
                      <a:pt x="581" y="400"/>
                    </a:lnTo>
                    <a:lnTo>
                      <a:pt x="581" y="401"/>
                    </a:lnTo>
                    <a:lnTo>
                      <a:pt x="582" y="401"/>
                    </a:lnTo>
                    <a:lnTo>
                      <a:pt x="582" y="402"/>
                    </a:lnTo>
                    <a:lnTo>
                      <a:pt x="582" y="403"/>
                    </a:lnTo>
                    <a:lnTo>
                      <a:pt x="581" y="403"/>
                    </a:lnTo>
                    <a:lnTo>
                      <a:pt x="581" y="404"/>
                    </a:lnTo>
                    <a:lnTo>
                      <a:pt x="580" y="404"/>
                    </a:lnTo>
                    <a:lnTo>
                      <a:pt x="580" y="405"/>
                    </a:lnTo>
                    <a:lnTo>
                      <a:pt x="580" y="406"/>
                    </a:lnTo>
                    <a:lnTo>
                      <a:pt x="580" y="408"/>
                    </a:lnTo>
                    <a:lnTo>
                      <a:pt x="579" y="408"/>
                    </a:lnTo>
                    <a:lnTo>
                      <a:pt x="579" y="409"/>
                    </a:lnTo>
                    <a:lnTo>
                      <a:pt x="578" y="409"/>
                    </a:lnTo>
                    <a:lnTo>
                      <a:pt x="578" y="410"/>
                    </a:lnTo>
                    <a:lnTo>
                      <a:pt x="578" y="411"/>
                    </a:lnTo>
                    <a:lnTo>
                      <a:pt x="579" y="411"/>
                    </a:lnTo>
                    <a:lnTo>
                      <a:pt x="579" y="410"/>
                    </a:lnTo>
                    <a:lnTo>
                      <a:pt x="580" y="411"/>
                    </a:lnTo>
                    <a:lnTo>
                      <a:pt x="579" y="411"/>
                    </a:lnTo>
                    <a:lnTo>
                      <a:pt x="579" y="412"/>
                    </a:lnTo>
                    <a:lnTo>
                      <a:pt x="578" y="412"/>
                    </a:lnTo>
                    <a:lnTo>
                      <a:pt x="579" y="414"/>
                    </a:lnTo>
                    <a:lnTo>
                      <a:pt x="579" y="415"/>
                    </a:lnTo>
                    <a:lnTo>
                      <a:pt x="579" y="414"/>
                    </a:lnTo>
                    <a:lnTo>
                      <a:pt x="580" y="414"/>
                    </a:lnTo>
                    <a:lnTo>
                      <a:pt x="579" y="414"/>
                    </a:lnTo>
                    <a:lnTo>
                      <a:pt x="579" y="413"/>
                    </a:lnTo>
                    <a:lnTo>
                      <a:pt x="579" y="414"/>
                    </a:lnTo>
                    <a:lnTo>
                      <a:pt x="580" y="414"/>
                    </a:lnTo>
                    <a:lnTo>
                      <a:pt x="580" y="413"/>
                    </a:lnTo>
                    <a:lnTo>
                      <a:pt x="581" y="413"/>
                    </a:lnTo>
                    <a:lnTo>
                      <a:pt x="580" y="413"/>
                    </a:lnTo>
                    <a:lnTo>
                      <a:pt x="580" y="412"/>
                    </a:lnTo>
                    <a:lnTo>
                      <a:pt x="581" y="411"/>
                    </a:lnTo>
                    <a:lnTo>
                      <a:pt x="581" y="412"/>
                    </a:lnTo>
                    <a:lnTo>
                      <a:pt x="581" y="411"/>
                    </a:lnTo>
                    <a:lnTo>
                      <a:pt x="581" y="412"/>
                    </a:lnTo>
                    <a:lnTo>
                      <a:pt x="581" y="413"/>
                    </a:lnTo>
                    <a:lnTo>
                      <a:pt x="581" y="414"/>
                    </a:lnTo>
                    <a:lnTo>
                      <a:pt x="580" y="414"/>
                    </a:lnTo>
                    <a:lnTo>
                      <a:pt x="579" y="415"/>
                    </a:lnTo>
                    <a:lnTo>
                      <a:pt x="579" y="416"/>
                    </a:lnTo>
                    <a:lnTo>
                      <a:pt x="580" y="417"/>
                    </a:lnTo>
                    <a:lnTo>
                      <a:pt x="580" y="418"/>
                    </a:lnTo>
                    <a:lnTo>
                      <a:pt x="581" y="418"/>
                    </a:lnTo>
                    <a:lnTo>
                      <a:pt x="581" y="419"/>
                    </a:lnTo>
                    <a:lnTo>
                      <a:pt x="582" y="419"/>
                    </a:lnTo>
                    <a:lnTo>
                      <a:pt x="582" y="421"/>
                    </a:lnTo>
                    <a:lnTo>
                      <a:pt x="583" y="422"/>
                    </a:lnTo>
                    <a:lnTo>
                      <a:pt x="583" y="423"/>
                    </a:lnTo>
                    <a:lnTo>
                      <a:pt x="584" y="423"/>
                    </a:lnTo>
                    <a:lnTo>
                      <a:pt x="584" y="424"/>
                    </a:lnTo>
                    <a:lnTo>
                      <a:pt x="585" y="424"/>
                    </a:lnTo>
                    <a:lnTo>
                      <a:pt x="585" y="425"/>
                    </a:lnTo>
                    <a:lnTo>
                      <a:pt x="584" y="425"/>
                    </a:lnTo>
                    <a:lnTo>
                      <a:pt x="585" y="425"/>
                    </a:lnTo>
                    <a:lnTo>
                      <a:pt x="585" y="426"/>
                    </a:lnTo>
                    <a:lnTo>
                      <a:pt x="584" y="426"/>
                    </a:lnTo>
                    <a:lnTo>
                      <a:pt x="583" y="426"/>
                    </a:lnTo>
                    <a:lnTo>
                      <a:pt x="583" y="427"/>
                    </a:lnTo>
                    <a:lnTo>
                      <a:pt x="584" y="427"/>
                    </a:lnTo>
                    <a:lnTo>
                      <a:pt x="585" y="427"/>
                    </a:lnTo>
                    <a:lnTo>
                      <a:pt x="586" y="427"/>
                    </a:lnTo>
                    <a:lnTo>
                      <a:pt x="586" y="428"/>
                    </a:lnTo>
                    <a:lnTo>
                      <a:pt x="588" y="429"/>
                    </a:lnTo>
                    <a:lnTo>
                      <a:pt x="586" y="429"/>
                    </a:lnTo>
                    <a:lnTo>
                      <a:pt x="586" y="430"/>
                    </a:lnTo>
                    <a:lnTo>
                      <a:pt x="585" y="430"/>
                    </a:lnTo>
                    <a:lnTo>
                      <a:pt x="585" y="429"/>
                    </a:lnTo>
                    <a:lnTo>
                      <a:pt x="584" y="429"/>
                    </a:lnTo>
                    <a:lnTo>
                      <a:pt x="585" y="429"/>
                    </a:lnTo>
                    <a:lnTo>
                      <a:pt x="584" y="429"/>
                    </a:lnTo>
                    <a:lnTo>
                      <a:pt x="585" y="429"/>
                    </a:lnTo>
                    <a:lnTo>
                      <a:pt x="584" y="429"/>
                    </a:lnTo>
                    <a:lnTo>
                      <a:pt x="584" y="430"/>
                    </a:lnTo>
                    <a:lnTo>
                      <a:pt x="585" y="430"/>
                    </a:lnTo>
                    <a:lnTo>
                      <a:pt x="584" y="430"/>
                    </a:lnTo>
                    <a:lnTo>
                      <a:pt x="583" y="429"/>
                    </a:lnTo>
                    <a:lnTo>
                      <a:pt x="582" y="429"/>
                    </a:lnTo>
                    <a:lnTo>
                      <a:pt x="582" y="428"/>
                    </a:lnTo>
                    <a:lnTo>
                      <a:pt x="581" y="428"/>
                    </a:lnTo>
                    <a:lnTo>
                      <a:pt x="580" y="428"/>
                    </a:lnTo>
                    <a:lnTo>
                      <a:pt x="580" y="427"/>
                    </a:lnTo>
                    <a:lnTo>
                      <a:pt x="579" y="425"/>
                    </a:lnTo>
                    <a:lnTo>
                      <a:pt x="579" y="424"/>
                    </a:lnTo>
                    <a:lnTo>
                      <a:pt x="578" y="424"/>
                    </a:lnTo>
                    <a:lnTo>
                      <a:pt x="577" y="423"/>
                    </a:lnTo>
                    <a:lnTo>
                      <a:pt x="576" y="422"/>
                    </a:lnTo>
                    <a:lnTo>
                      <a:pt x="576" y="421"/>
                    </a:lnTo>
                    <a:lnTo>
                      <a:pt x="573" y="419"/>
                    </a:lnTo>
                    <a:lnTo>
                      <a:pt x="573" y="418"/>
                    </a:lnTo>
                    <a:lnTo>
                      <a:pt x="572" y="418"/>
                    </a:lnTo>
                    <a:lnTo>
                      <a:pt x="572" y="417"/>
                    </a:lnTo>
                    <a:lnTo>
                      <a:pt x="571" y="417"/>
                    </a:lnTo>
                    <a:lnTo>
                      <a:pt x="571" y="416"/>
                    </a:lnTo>
                    <a:lnTo>
                      <a:pt x="571" y="415"/>
                    </a:lnTo>
                    <a:lnTo>
                      <a:pt x="570" y="415"/>
                    </a:lnTo>
                    <a:lnTo>
                      <a:pt x="569" y="413"/>
                    </a:lnTo>
                    <a:lnTo>
                      <a:pt x="568" y="413"/>
                    </a:lnTo>
                    <a:lnTo>
                      <a:pt x="569" y="413"/>
                    </a:lnTo>
                    <a:lnTo>
                      <a:pt x="568" y="412"/>
                    </a:lnTo>
                    <a:lnTo>
                      <a:pt x="567" y="411"/>
                    </a:lnTo>
                    <a:lnTo>
                      <a:pt x="566" y="410"/>
                    </a:lnTo>
                    <a:lnTo>
                      <a:pt x="565" y="410"/>
                    </a:lnTo>
                    <a:lnTo>
                      <a:pt x="565" y="409"/>
                    </a:lnTo>
                    <a:lnTo>
                      <a:pt x="565" y="408"/>
                    </a:lnTo>
                    <a:lnTo>
                      <a:pt x="564" y="408"/>
                    </a:lnTo>
                    <a:lnTo>
                      <a:pt x="564" y="406"/>
                    </a:lnTo>
                    <a:lnTo>
                      <a:pt x="563" y="406"/>
                    </a:lnTo>
                    <a:lnTo>
                      <a:pt x="563" y="405"/>
                    </a:lnTo>
                    <a:lnTo>
                      <a:pt x="561" y="405"/>
                    </a:lnTo>
                    <a:lnTo>
                      <a:pt x="563" y="406"/>
                    </a:lnTo>
                    <a:lnTo>
                      <a:pt x="561" y="406"/>
                    </a:lnTo>
                    <a:lnTo>
                      <a:pt x="560" y="406"/>
                    </a:lnTo>
                    <a:lnTo>
                      <a:pt x="560" y="405"/>
                    </a:lnTo>
                    <a:lnTo>
                      <a:pt x="560" y="404"/>
                    </a:lnTo>
                    <a:lnTo>
                      <a:pt x="559" y="404"/>
                    </a:lnTo>
                    <a:lnTo>
                      <a:pt x="559" y="403"/>
                    </a:lnTo>
                    <a:lnTo>
                      <a:pt x="558" y="403"/>
                    </a:lnTo>
                    <a:lnTo>
                      <a:pt x="558" y="402"/>
                    </a:lnTo>
                    <a:lnTo>
                      <a:pt x="558" y="401"/>
                    </a:lnTo>
                    <a:lnTo>
                      <a:pt x="558" y="400"/>
                    </a:lnTo>
                    <a:lnTo>
                      <a:pt x="557" y="401"/>
                    </a:lnTo>
                    <a:lnTo>
                      <a:pt x="557" y="400"/>
                    </a:lnTo>
                    <a:lnTo>
                      <a:pt x="557" y="399"/>
                    </a:lnTo>
                    <a:lnTo>
                      <a:pt x="556" y="398"/>
                    </a:lnTo>
                    <a:lnTo>
                      <a:pt x="555" y="398"/>
                    </a:lnTo>
                    <a:lnTo>
                      <a:pt x="555" y="399"/>
                    </a:lnTo>
                    <a:lnTo>
                      <a:pt x="555" y="400"/>
                    </a:lnTo>
                    <a:lnTo>
                      <a:pt x="556" y="400"/>
                    </a:lnTo>
                    <a:lnTo>
                      <a:pt x="556" y="401"/>
                    </a:lnTo>
                    <a:lnTo>
                      <a:pt x="557" y="401"/>
                    </a:lnTo>
                    <a:lnTo>
                      <a:pt x="556" y="402"/>
                    </a:lnTo>
                    <a:lnTo>
                      <a:pt x="555" y="401"/>
                    </a:lnTo>
                    <a:lnTo>
                      <a:pt x="555" y="400"/>
                    </a:lnTo>
                    <a:lnTo>
                      <a:pt x="553" y="400"/>
                    </a:lnTo>
                    <a:lnTo>
                      <a:pt x="552" y="400"/>
                    </a:lnTo>
                    <a:lnTo>
                      <a:pt x="551" y="400"/>
                    </a:lnTo>
                    <a:lnTo>
                      <a:pt x="552" y="400"/>
                    </a:lnTo>
                    <a:lnTo>
                      <a:pt x="553" y="401"/>
                    </a:lnTo>
                    <a:lnTo>
                      <a:pt x="553" y="402"/>
                    </a:lnTo>
                    <a:lnTo>
                      <a:pt x="553" y="403"/>
                    </a:lnTo>
                    <a:lnTo>
                      <a:pt x="554" y="404"/>
                    </a:lnTo>
                    <a:lnTo>
                      <a:pt x="554" y="405"/>
                    </a:lnTo>
                    <a:lnTo>
                      <a:pt x="555" y="405"/>
                    </a:lnTo>
                    <a:lnTo>
                      <a:pt x="555" y="406"/>
                    </a:lnTo>
                    <a:lnTo>
                      <a:pt x="555" y="405"/>
                    </a:lnTo>
                    <a:lnTo>
                      <a:pt x="554" y="404"/>
                    </a:lnTo>
                    <a:lnTo>
                      <a:pt x="554" y="403"/>
                    </a:lnTo>
                    <a:lnTo>
                      <a:pt x="553" y="402"/>
                    </a:lnTo>
                    <a:lnTo>
                      <a:pt x="553" y="401"/>
                    </a:lnTo>
                    <a:lnTo>
                      <a:pt x="554" y="401"/>
                    </a:lnTo>
                    <a:lnTo>
                      <a:pt x="555" y="401"/>
                    </a:lnTo>
                    <a:lnTo>
                      <a:pt x="555" y="402"/>
                    </a:lnTo>
                    <a:lnTo>
                      <a:pt x="556" y="402"/>
                    </a:lnTo>
                    <a:lnTo>
                      <a:pt x="556" y="403"/>
                    </a:lnTo>
                    <a:lnTo>
                      <a:pt x="556" y="404"/>
                    </a:lnTo>
                    <a:lnTo>
                      <a:pt x="556" y="405"/>
                    </a:lnTo>
                    <a:lnTo>
                      <a:pt x="556" y="406"/>
                    </a:lnTo>
                    <a:lnTo>
                      <a:pt x="557" y="406"/>
                    </a:lnTo>
                    <a:lnTo>
                      <a:pt x="557" y="408"/>
                    </a:lnTo>
                    <a:lnTo>
                      <a:pt x="558" y="409"/>
                    </a:lnTo>
                    <a:lnTo>
                      <a:pt x="559" y="410"/>
                    </a:lnTo>
                    <a:lnTo>
                      <a:pt x="560" y="411"/>
                    </a:lnTo>
                    <a:lnTo>
                      <a:pt x="560" y="412"/>
                    </a:lnTo>
                    <a:lnTo>
                      <a:pt x="560" y="413"/>
                    </a:lnTo>
                    <a:lnTo>
                      <a:pt x="561" y="413"/>
                    </a:lnTo>
                    <a:lnTo>
                      <a:pt x="561" y="412"/>
                    </a:lnTo>
                    <a:lnTo>
                      <a:pt x="563" y="413"/>
                    </a:lnTo>
                    <a:lnTo>
                      <a:pt x="564" y="413"/>
                    </a:lnTo>
                    <a:lnTo>
                      <a:pt x="564" y="414"/>
                    </a:lnTo>
                    <a:lnTo>
                      <a:pt x="565" y="414"/>
                    </a:lnTo>
                    <a:lnTo>
                      <a:pt x="565" y="413"/>
                    </a:lnTo>
                    <a:lnTo>
                      <a:pt x="565" y="414"/>
                    </a:lnTo>
                    <a:lnTo>
                      <a:pt x="566" y="414"/>
                    </a:lnTo>
                    <a:lnTo>
                      <a:pt x="567" y="414"/>
                    </a:lnTo>
                    <a:lnTo>
                      <a:pt x="566" y="415"/>
                    </a:lnTo>
                    <a:lnTo>
                      <a:pt x="566" y="416"/>
                    </a:lnTo>
                    <a:lnTo>
                      <a:pt x="565" y="416"/>
                    </a:lnTo>
                    <a:lnTo>
                      <a:pt x="565" y="415"/>
                    </a:lnTo>
                    <a:lnTo>
                      <a:pt x="565" y="414"/>
                    </a:lnTo>
                    <a:lnTo>
                      <a:pt x="564" y="414"/>
                    </a:lnTo>
                    <a:lnTo>
                      <a:pt x="564" y="415"/>
                    </a:lnTo>
                    <a:lnTo>
                      <a:pt x="565" y="415"/>
                    </a:lnTo>
                    <a:lnTo>
                      <a:pt x="565" y="416"/>
                    </a:lnTo>
                    <a:lnTo>
                      <a:pt x="563" y="416"/>
                    </a:lnTo>
                    <a:lnTo>
                      <a:pt x="561" y="417"/>
                    </a:lnTo>
                    <a:lnTo>
                      <a:pt x="560" y="416"/>
                    </a:lnTo>
                    <a:lnTo>
                      <a:pt x="561" y="415"/>
                    </a:lnTo>
                    <a:lnTo>
                      <a:pt x="560" y="414"/>
                    </a:lnTo>
                    <a:lnTo>
                      <a:pt x="559" y="414"/>
                    </a:lnTo>
                    <a:lnTo>
                      <a:pt x="559" y="413"/>
                    </a:lnTo>
                    <a:lnTo>
                      <a:pt x="558" y="413"/>
                    </a:lnTo>
                    <a:lnTo>
                      <a:pt x="558" y="414"/>
                    </a:lnTo>
                    <a:lnTo>
                      <a:pt x="557" y="414"/>
                    </a:lnTo>
                    <a:lnTo>
                      <a:pt x="557" y="415"/>
                    </a:lnTo>
                    <a:lnTo>
                      <a:pt x="556" y="415"/>
                    </a:lnTo>
                    <a:lnTo>
                      <a:pt x="556" y="414"/>
                    </a:lnTo>
                    <a:lnTo>
                      <a:pt x="555" y="414"/>
                    </a:lnTo>
                    <a:lnTo>
                      <a:pt x="555" y="413"/>
                    </a:lnTo>
                    <a:lnTo>
                      <a:pt x="554" y="412"/>
                    </a:lnTo>
                    <a:lnTo>
                      <a:pt x="554" y="411"/>
                    </a:lnTo>
                    <a:lnTo>
                      <a:pt x="555" y="411"/>
                    </a:lnTo>
                    <a:lnTo>
                      <a:pt x="555" y="412"/>
                    </a:lnTo>
                    <a:lnTo>
                      <a:pt x="556" y="412"/>
                    </a:lnTo>
                    <a:lnTo>
                      <a:pt x="556" y="413"/>
                    </a:lnTo>
                    <a:lnTo>
                      <a:pt x="557" y="413"/>
                    </a:lnTo>
                    <a:lnTo>
                      <a:pt x="558" y="413"/>
                    </a:lnTo>
                    <a:lnTo>
                      <a:pt x="558" y="412"/>
                    </a:lnTo>
                    <a:lnTo>
                      <a:pt x="557" y="412"/>
                    </a:lnTo>
                    <a:lnTo>
                      <a:pt x="557" y="411"/>
                    </a:lnTo>
                    <a:lnTo>
                      <a:pt x="556" y="410"/>
                    </a:lnTo>
                    <a:lnTo>
                      <a:pt x="555" y="410"/>
                    </a:lnTo>
                    <a:lnTo>
                      <a:pt x="555" y="409"/>
                    </a:lnTo>
                    <a:lnTo>
                      <a:pt x="556" y="409"/>
                    </a:lnTo>
                    <a:lnTo>
                      <a:pt x="555" y="409"/>
                    </a:lnTo>
                    <a:lnTo>
                      <a:pt x="555" y="408"/>
                    </a:lnTo>
                    <a:lnTo>
                      <a:pt x="554" y="406"/>
                    </a:lnTo>
                    <a:lnTo>
                      <a:pt x="553" y="406"/>
                    </a:lnTo>
                    <a:lnTo>
                      <a:pt x="554" y="408"/>
                    </a:lnTo>
                    <a:lnTo>
                      <a:pt x="554" y="409"/>
                    </a:lnTo>
                    <a:lnTo>
                      <a:pt x="553" y="409"/>
                    </a:lnTo>
                    <a:lnTo>
                      <a:pt x="553" y="410"/>
                    </a:lnTo>
                    <a:lnTo>
                      <a:pt x="552" y="410"/>
                    </a:lnTo>
                    <a:lnTo>
                      <a:pt x="552" y="409"/>
                    </a:lnTo>
                    <a:lnTo>
                      <a:pt x="551" y="409"/>
                    </a:lnTo>
                    <a:lnTo>
                      <a:pt x="551" y="408"/>
                    </a:lnTo>
                    <a:lnTo>
                      <a:pt x="550" y="406"/>
                    </a:lnTo>
                    <a:lnTo>
                      <a:pt x="550" y="405"/>
                    </a:lnTo>
                    <a:lnTo>
                      <a:pt x="551" y="405"/>
                    </a:lnTo>
                    <a:lnTo>
                      <a:pt x="551" y="406"/>
                    </a:lnTo>
                    <a:lnTo>
                      <a:pt x="552" y="406"/>
                    </a:lnTo>
                    <a:lnTo>
                      <a:pt x="552" y="408"/>
                    </a:lnTo>
                    <a:lnTo>
                      <a:pt x="553" y="406"/>
                    </a:lnTo>
                    <a:lnTo>
                      <a:pt x="552" y="406"/>
                    </a:lnTo>
                    <a:lnTo>
                      <a:pt x="552" y="405"/>
                    </a:lnTo>
                    <a:lnTo>
                      <a:pt x="551" y="404"/>
                    </a:lnTo>
                    <a:lnTo>
                      <a:pt x="550" y="404"/>
                    </a:lnTo>
                    <a:lnTo>
                      <a:pt x="550" y="403"/>
                    </a:lnTo>
                    <a:lnTo>
                      <a:pt x="551" y="403"/>
                    </a:lnTo>
                    <a:lnTo>
                      <a:pt x="552" y="403"/>
                    </a:lnTo>
                    <a:lnTo>
                      <a:pt x="552" y="404"/>
                    </a:lnTo>
                    <a:lnTo>
                      <a:pt x="553" y="403"/>
                    </a:lnTo>
                    <a:lnTo>
                      <a:pt x="552" y="403"/>
                    </a:lnTo>
                    <a:lnTo>
                      <a:pt x="552" y="402"/>
                    </a:lnTo>
                    <a:lnTo>
                      <a:pt x="551" y="402"/>
                    </a:lnTo>
                    <a:lnTo>
                      <a:pt x="550" y="402"/>
                    </a:lnTo>
                    <a:lnTo>
                      <a:pt x="550" y="401"/>
                    </a:lnTo>
                    <a:lnTo>
                      <a:pt x="548" y="401"/>
                    </a:lnTo>
                    <a:lnTo>
                      <a:pt x="548" y="400"/>
                    </a:lnTo>
                    <a:lnTo>
                      <a:pt x="547" y="400"/>
                    </a:lnTo>
                    <a:lnTo>
                      <a:pt x="546" y="400"/>
                    </a:lnTo>
                    <a:lnTo>
                      <a:pt x="546" y="401"/>
                    </a:lnTo>
                    <a:lnTo>
                      <a:pt x="547" y="401"/>
                    </a:lnTo>
                    <a:lnTo>
                      <a:pt x="548" y="401"/>
                    </a:lnTo>
                    <a:lnTo>
                      <a:pt x="548" y="402"/>
                    </a:lnTo>
                    <a:lnTo>
                      <a:pt x="550" y="403"/>
                    </a:lnTo>
                    <a:lnTo>
                      <a:pt x="550" y="404"/>
                    </a:lnTo>
                    <a:lnTo>
                      <a:pt x="550" y="405"/>
                    </a:lnTo>
                    <a:lnTo>
                      <a:pt x="548" y="405"/>
                    </a:lnTo>
                    <a:lnTo>
                      <a:pt x="548" y="404"/>
                    </a:lnTo>
                    <a:lnTo>
                      <a:pt x="548" y="403"/>
                    </a:lnTo>
                    <a:lnTo>
                      <a:pt x="547" y="403"/>
                    </a:lnTo>
                    <a:lnTo>
                      <a:pt x="547" y="404"/>
                    </a:lnTo>
                    <a:lnTo>
                      <a:pt x="546" y="403"/>
                    </a:lnTo>
                    <a:lnTo>
                      <a:pt x="546" y="402"/>
                    </a:lnTo>
                    <a:lnTo>
                      <a:pt x="545" y="401"/>
                    </a:lnTo>
                    <a:lnTo>
                      <a:pt x="544" y="400"/>
                    </a:lnTo>
                    <a:lnTo>
                      <a:pt x="543" y="399"/>
                    </a:lnTo>
                    <a:lnTo>
                      <a:pt x="542" y="398"/>
                    </a:lnTo>
                    <a:lnTo>
                      <a:pt x="541" y="397"/>
                    </a:lnTo>
                    <a:lnTo>
                      <a:pt x="539" y="396"/>
                    </a:lnTo>
                    <a:lnTo>
                      <a:pt x="538" y="395"/>
                    </a:lnTo>
                    <a:lnTo>
                      <a:pt x="538" y="396"/>
                    </a:lnTo>
                    <a:lnTo>
                      <a:pt x="538" y="397"/>
                    </a:lnTo>
                    <a:lnTo>
                      <a:pt x="537" y="397"/>
                    </a:lnTo>
                    <a:lnTo>
                      <a:pt x="537" y="398"/>
                    </a:lnTo>
                    <a:lnTo>
                      <a:pt x="537" y="399"/>
                    </a:lnTo>
                    <a:lnTo>
                      <a:pt x="535" y="398"/>
                    </a:lnTo>
                    <a:lnTo>
                      <a:pt x="534" y="398"/>
                    </a:lnTo>
                    <a:lnTo>
                      <a:pt x="534" y="397"/>
                    </a:lnTo>
                    <a:lnTo>
                      <a:pt x="533" y="397"/>
                    </a:lnTo>
                    <a:lnTo>
                      <a:pt x="532" y="397"/>
                    </a:lnTo>
                    <a:lnTo>
                      <a:pt x="532" y="396"/>
                    </a:lnTo>
                    <a:lnTo>
                      <a:pt x="532" y="397"/>
                    </a:lnTo>
                    <a:lnTo>
                      <a:pt x="533" y="397"/>
                    </a:lnTo>
                    <a:lnTo>
                      <a:pt x="535" y="396"/>
                    </a:lnTo>
                    <a:lnTo>
                      <a:pt x="537" y="397"/>
                    </a:lnTo>
                    <a:lnTo>
                      <a:pt x="537" y="396"/>
                    </a:lnTo>
                    <a:lnTo>
                      <a:pt x="534" y="396"/>
                    </a:lnTo>
                    <a:lnTo>
                      <a:pt x="533" y="396"/>
                    </a:lnTo>
                    <a:lnTo>
                      <a:pt x="532" y="396"/>
                    </a:lnTo>
                    <a:lnTo>
                      <a:pt x="532" y="395"/>
                    </a:lnTo>
                    <a:lnTo>
                      <a:pt x="533" y="395"/>
                    </a:lnTo>
                    <a:lnTo>
                      <a:pt x="533" y="393"/>
                    </a:lnTo>
                    <a:lnTo>
                      <a:pt x="533" y="392"/>
                    </a:lnTo>
                    <a:lnTo>
                      <a:pt x="532" y="391"/>
                    </a:lnTo>
                    <a:lnTo>
                      <a:pt x="531" y="391"/>
                    </a:lnTo>
                    <a:lnTo>
                      <a:pt x="530" y="391"/>
                    </a:lnTo>
                    <a:lnTo>
                      <a:pt x="531" y="390"/>
                    </a:lnTo>
                    <a:lnTo>
                      <a:pt x="530" y="390"/>
                    </a:lnTo>
                    <a:lnTo>
                      <a:pt x="530" y="391"/>
                    </a:lnTo>
                    <a:lnTo>
                      <a:pt x="531" y="392"/>
                    </a:lnTo>
                    <a:lnTo>
                      <a:pt x="530" y="392"/>
                    </a:lnTo>
                    <a:lnTo>
                      <a:pt x="531" y="392"/>
                    </a:lnTo>
                    <a:lnTo>
                      <a:pt x="531" y="391"/>
                    </a:lnTo>
                    <a:lnTo>
                      <a:pt x="531" y="392"/>
                    </a:lnTo>
                    <a:lnTo>
                      <a:pt x="532" y="393"/>
                    </a:lnTo>
                    <a:lnTo>
                      <a:pt x="531" y="393"/>
                    </a:lnTo>
                    <a:lnTo>
                      <a:pt x="531" y="395"/>
                    </a:lnTo>
                    <a:lnTo>
                      <a:pt x="531" y="393"/>
                    </a:lnTo>
                    <a:lnTo>
                      <a:pt x="530" y="393"/>
                    </a:lnTo>
                    <a:lnTo>
                      <a:pt x="531" y="393"/>
                    </a:lnTo>
                    <a:lnTo>
                      <a:pt x="531" y="392"/>
                    </a:lnTo>
                    <a:lnTo>
                      <a:pt x="530" y="392"/>
                    </a:lnTo>
                    <a:lnTo>
                      <a:pt x="529" y="391"/>
                    </a:lnTo>
                    <a:lnTo>
                      <a:pt x="527" y="389"/>
                    </a:lnTo>
                    <a:lnTo>
                      <a:pt x="528" y="389"/>
                    </a:lnTo>
                    <a:lnTo>
                      <a:pt x="528" y="388"/>
                    </a:lnTo>
                    <a:lnTo>
                      <a:pt x="525" y="389"/>
                    </a:lnTo>
                    <a:lnTo>
                      <a:pt x="527" y="389"/>
                    </a:lnTo>
                    <a:lnTo>
                      <a:pt x="528" y="390"/>
                    </a:lnTo>
                    <a:lnTo>
                      <a:pt x="529" y="391"/>
                    </a:lnTo>
                    <a:lnTo>
                      <a:pt x="530" y="392"/>
                    </a:lnTo>
                    <a:lnTo>
                      <a:pt x="530" y="393"/>
                    </a:lnTo>
                    <a:lnTo>
                      <a:pt x="530" y="395"/>
                    </a:lnTo>
                    <a:lnTo>
                      <a:pt x="529" y="395"/>
                    </a:lnTo>
                    <a:lnTo>
                      <a:pt x="529" y="396"/>
                    </a:lnTo>
                    <a:lnTo>
                      <a:pt x="529" y="395"/>
                    </a:lnTo>
                    <a:lnTo>
                      <a:pt x="529" y="393"/>
                    </a:lnTo>
                    <a:lnTo>
                      <a:pt x="528" y="393"/>
                    </a:lnTo>
                    <a:lnTo>
                      <a:pt x="529" y="393"/>
                    </a:lnTo>
                    <a:lnTo>
                      <a:pt x="529" y="395"/>
                    </a:lnTo>
                    <a:lnTo>
                      <a:pt x="529" y="396"/>
                    </a:lnTo>
                    <a:lnTo>
                      <a:pt x="530" y="396"/>
                    </a:lnTo>
                    <a:lnTo>
                      <a:pt x="529" y="396"/>
                    </a:lnTo>
                    <a:lnTo>
                      <a:pt x="528" y="396"/>
                    </a:lnTo>
                    <a:lnTo>
                      <a:pt x="529" y="396"/>
                    </a:lnTo>
                    <a:lnTo>
                      <a:pt x="528" y="396"/>
                    </a:lnTo>
                    <a:lnTo>
                      <a:pt x="529" y="395"/>
                    </a:lnTo>
                    <a:lnTo>
                      <a:pt x="528" y="393"/>
                    </a:lnTo>
                    <a:lnTo>
                      <a:pt x="528" y="392"/>
                    </a:lnTo>
                    <a:lnTo>
                      <a:pt x="527" y="392"/>
                    </a:lnTo>
                    <a:lnTo>
                      <a:pt x="527" y="391"/>
                    </a:lnTo>
                    <a:lnTo>
                      <a:pt x="526" y="391"/>
                    </a:lnTo>
                    <a:lnTo>
                      <a:pt x="525" y="391"/>
                    </a:lnTo>
                    <a:lnTo>
                      <a:pt x="525" y="390"/>
                    </a:lnTo>
                    <a:lnTo>
                      <a:pt x="524" y="390"/>
                    </a:lnTo>
                    <a:lnTo>
                      <a:pt x="522" y="390"/>
                    </a:lnTo>
                    <a:lnTo>
                      <a:pt x="522" y="389"/>
                    </a:lnTo>
                    <a:lnTo>
                      <a:pt x="524" y="389"/>
                    </a:lnTo>
                    <a:lnTo>
                      <a:pt x="522" y="389"/>
                    </a:lnTo>
                    <a:lnTo>
                      <a:pt x="522" y="388"/>
                    </a:lnTo>
                    <a:lnTo>
                      <a:pt x="521" y="388"/>
                    </a:lnTo>
                    <a:lnTo>
                      <a:pt x="521" y="387"/>
                    </a:lnTo>
                    <a:lnTo>
                      <a:pt x="520" y="387"/>
                    </a:lnTo>
                    <a:lnTo>
                      <a:pt x="520" y="386"/>
                    </a:lnTo>
                    <a:lnTo>
                      <a:pt x="521" y="386"/>
                    </a:lnTo>
                    <a:lnTo>
                      <a:pt x="521" y="385"/>
                    </a:lnTo>
                    <a:lnTo>
                      <a:pt x="520" y="385"/>
                    </a:lnTo>
                    <a:lnTo>
                      <a:pt x="520" y="387"/>
                    </a:lnTo>
                    <a:lnTo>
                      <a:pt x="520" y="389"/>
                    </a:lnTo>
                    <a:lnTo>
                      <a:pt x="519" y="388"/>
                    </a:lnTo>
                    <a:lnTo>
                      <a:pt x="518" y="387"/>
                    </a:lnTo>
                    <a:lnTo>
                      <a:pt x="517" y="387"/>
                    </a:lnTo>
                    <a:lnTo>
                      <a:pt x="516" y="386"/>
                    </a:lnTo>
                    <a:lnTo>
                      <a:pt x="515" y="386"/>
                    </a:lnTo>
                    <a:lnTo>
                      <a:pt x="518" y="388"/>
                    </a:lnTo>
                    <a:lnTo>
                      <a:pt x="517" y="389"/>
                    </a:lnTo>
                    <a:lnTo>
                      <a:pt x="517" y="390"/>
                    </a:lnTo>
                    <a:lnTo>
                      <a:pt x="516" y="390"/>
                    </a:lnTo>
                    <a:lnTo>
                      <a:pt x="515" y="390"/>
                    </a:lnTo>
                    <a:lnTo>
                      <a:pt x="515" y="389"/>
                    </a:lnTo>
                    <a:lnTo>
                      <a:pt x="514" y="388"/>
                    </a:lnTo>
                    <a:lnTo>
                      <a:pt x="514" y="387"/>
                    </a:lnTo>
                    <a:lnTo>
                      <a:pt x="513" y="387"/>
                    </a:lnTo>
                    <a:lnTo>
                      <a:pt x="513" y="388"/>
                    </a:lnTo>
                    <a:lnTo>
                      <a:pt x="514" y="389"/>
                    </a:lnTo>
                    <a:lnTo>
                      <a:pt x="515" y="389"/>
                    </a:lnTo>
                    <a:lnTo>
                      <a:pt x="515" y="390"/>
                    </a:lnTo>
                    <a:lnTo>
                      <a:pt x="516" y="390"/>
                    </a:lnTo>
                    <a:lnTo>
                      <a:pt x="517" y="390"/>
                    </a:lnTo>
                    <a:lnTo>
                      <a:pt x="517" y="391"/>
                    </a:lnTo>
                    <a:lnTo>
                      <a:pt x="518" y="391"/>
                    </a:lnTo>
                    <a:lnTo>
                      <a:pt x="518" y="392"/>
                    </a:lnTo>
                    <a:lnTo>
                      <a:pt x="518" y="393"/>
                    </a:lnTo>
                    <a:lnTo>
                      <a:pt x="519" y="393"/>
                    </a:lnTo>
                    <a:lnTo>
                      <a:pt x="519" y="395"/>
                    </a:lnTo>
                    <a:lnTo>
                      <a:pt x="520" y="395"/>
                    </a:lnTo>
                    <a:lnTo>
                      <a:pt x="520" y="396"/>
                    </a:lnTo>
                    <a:lnTo>
                      <a:pt x="521" y="396"/>
                    </a:lnTo>
                    <a:lnTo>
                      <a:pt x="521" y="397"/>
                    </a:lnTo>
                    <a:lnTo>
                      <a:pt x="522" y="398"/>
                    </a:lnTo>
                    <a:lnTo>
                      <a:pt x="521" y="398"/>
                    </a:lnTo>
                    <a:lnTo>
                      <a:pt x="522" y="398"/>
                    </a:lnTo>
                    <a:lnTo>
                      <a:pt x="522" y="399"/>
                    </a:lnTo>
                    <a:lnTo>
                      <a:pt x="522" y="400"/>
                    </a:lnTo>
                    <a:lnTo>
                      <a:pt x="524" y="400"/>
                    </a:lnTo>
                    <a:lnTo>
                      <a:pt x="522" y="400"/>
                    </a:lnTo>
                    <a:lnTo>
                      <a:pt x="524" y="400"/>
                    </a:lnTo>
                    <a:lnTo>
                      <a:pt x="524" y="401"/>
                    </a:lnTo>
                    <a:lnTo>
                      <a:pt x="524" y="402"/>
                    </a:lnTo>
                    <a:lnTo>
                      <a:pt x="525" y="402"/>
                    </a:lnTo>
                    <a:lnTo>
                      <a:pt x="525" y="403"/>
                    </a:lnTo>
                    <a:lnTo>
                      <a:pt x="525" y="404"/>
                    </a:lnTo>
                    <a:lnTo>
                      <a:pt x="526" y="404"/>
                    </a:lnTo>
                    <a:lnTo>
                      <a:pt x="527" y="404"/>
                    </a:lnTo>
                    <a:lnTo>
                      <a:pt x="528" y="405"/>
                    </a:lnTo>
                    <a:lnTo>
                      <a:pt x="527" y="405"/>
                    </a:lnTo>
                    <a:lnTo>
                      <a:pt x="526" y="405"/>
                    </a:lnTo>
                    <a:lnTo>
                      <a:pt x="526" y="404"/>
                    </a:lnTo>
                    <a:lnTo>
                      <a:pt x="525" y="404"/>
                    </a:lnTo>
                    <a:lnTo>
                      <a:pt x="525" y="405"/>
                    </a:lnTo>
                    <a:lnTo>
                      <a:pt x="525" y="406"/>
                    </a:lnTo>
                    <a:lnTo>
                      <a:pt x="526" y="406"/>
                    </a:lnTo>
                    <a:lnTo>
                      <a:pt x="527" y="406"/>
                    </a:lnTo>
                    <a:lnTo>
                      <a:pt x="527" y="408"/>
                    </a:lnTo>
                    <a:lnTo>
                      <a:pt x="527" y="409"/>
                    </a:lnTo>
                    <a:lnTo>
                      <a:pt x="527" y="410"/>
                    </a:lnTo>
                    <a:lnTo>
                      <a:pt x="527" y="409"/>
                    </a:lnTo>
                    <a:lnTo>
                      <a:pt x="527" y="410"/>
                    </a:lnTo>
                    <a:lnTo>
                      <a:pt x="528" y="410"/>
                    </a:lnTo>
                    <a:lnTo>
                      <a:pt x="529" y="410"/>
                    </a:lnTo>
                    <a:lnTo>
                      <a:pt x="529" y="409"/>
                    </a:lnTo>
                    <a:lnTo>
                      <a:pt x="529" y="408"/>
                    </a:lnTo>
                    <a:lnTo>
                      <a:pt x="528" y="408"/>
                    </a:lnTo>
                    <a:lnTo>
                      <a:pt x="529" y="408"/>
                    </a:lnTo>
                    <a:lnTo>
                      <a:pt x="530" y="408"/>
                    </a:lnTo>
                    <a:lnTo>
                      <a:pt x="530" y="406"/>
                    </a:lnTo>
                    <a:lnTo>
                      <a:pt x="531" y="406"/>
                    </a:lnTo>
                    <a:lnTo>
                      <a:pt x="532" y="406"/>
                    </a:lnTo>
                    <a:lnTo>
                      <a:pt x="532" y="405"/>
                    </a:lnTo>
                    <a:lnTo>
                      <a:pt x="532" y="406"/>
                    </a:lnTo>
                    <a:lnTo>
                      <a:pt x="532" y="405"/>
                    </a:lnTo>
                    <a:lnTo>
                      <a:pt x="532" y="406"/>
                    </a:lnTo>
                    <a:lnTo>
                      <a:pt x="532" y="408"/>
                    </a:lnTo>
                    <a:lnTo>
                      <a:pt x="533" y="406"/>
                    </a:lnTo>
                    <a:lnTo>
                      <a:pt x="534" y="406"/>
                    </a:lnTo>
                    <a:lnTo>
                      <a:pt x="534" y="408"/>
                    </a:lnTo>
                    <a:lnTo>
                      <a:pt x="533" y="408"/>
                    </a:lnTo>
                    <a:lnTo>
                      <a:pt x="534" y="408"/>
                    </a:lnTo>
                    <a:lnTo>
                      <a:pt x="534" y="409"/>
                    </a:lnTo>
                    <a:lnTo>
                      <a:pt x="535" y="409"/>
                    </a:lnTo>
                    <a:lnTo>
                      <a:pt x="535" y="410"/>
                    </a:lnTo>
                    <a:lnTo>
                      <a:pt x="535" y="411"/>
                    </a:lnTo>
                    <a:lnTo>
                      <a:pt x="534" y="411"/>
                    </a:lnTo>
                    <a:lnTo>
                      <a:pt x="534" y="410"/>
                    </a:lnTo>
                    <a:lnTo>
                      <a:pt x="533" y="410"/>
                    </a:lnTo>
                    <a:lnTo>
                      <a:pt x="532" y="410"/>
                    </a:lnTo>
                    <a:lnTo>
                      <a:pt x="531" y="410"/>
                    </a:lnTo>
                    <a:lnTo>
                      <a:pt x="530" y="410"/>
                    </a:lnTo>
                    <a:lnTo>
                      <a:pt x="530" y="411"/>
                    </a:lnTo>
                    <a:lnTo>
                      <a:pt x="530" y="412"/>
                    </a:lnTo>
                    <a:lnTo>
                      <a:pt x="530" y="413"/>
                    </a:lnTo>
                    <a:lnTo>
                      <a:pt x="531" y="413"/>
                    </a:lnTo>
                    <a:lnTo>
                      <a:pt x="531" y="414"/>
                    </a:lnTo>
                    <a:lnTo>
                      <a:pt x="530" y="414"/>
                    </a:lnTo>
                    <a:lnTo>
                      <a:pt x="529" y="414"/>
                    </a:lnTo>
                    <a:lnTo>
                      <a:pt x="529" y="415"/>
                    </a:lnTo>
                    <a:lnTo>
                      <a:pt x="530" y="414"/>
                    </a:lnTo>
                    <a:lnTo>
                      <a:pt x="531" y="414"/>
                    </a:lnTo>
                    <a:lnTo>
                      <a:pt x="532" y="414"/>
                    </a:lnTo>
                    <a:lnTo>
                      <a:pt x="532" y="415"/>
                    </a:lnTo>
                    <a:lnTo>
                      <a:pt x="531" y="415"/>
                    </a:lnTo>
                    <a:lnTo>
                      <a:pt x="531" y="416"/>
                    </a:lnTo>
                    <a:lnTo>
                      <a:pt x="530" y="416"/>
                    </a:lnTo>
                    <a:lnTo>
                      <a:pt x="530" y="415"/>
                    </a:lnTo>
                    <a:lnTo>
                      <a:pt x="530" y="416"/>
                    </a:lnTo>
                    <a:lnTo>
                      <a:pt x="530" y="417"/>
                    </a:lnTo>
                    <a:lnTo>
                      <a:pt x="531" y="417"/>
                    </a:lnTo>
                    <a:lnTo>
                      <a:pt x="531" y="416"/>
                    </a:lnTo>
                    <a:lnTo>
                      <a:pt x="532" y="416"/>
                    </a:lnTo>
                    <a:lnTo>
                      <a:pt x="532" y="415"/>
                    </a:lnTo>
                    <a:lnTo>
                      <a:pt x="533" y="416"/>
                    </a:lnTo>
                    <a:lnTo>
                      <a:pt x="533" y="417"/>
                    </a:lnTo>
                    <a:lnTo>
                      <a:pt x="533" y="418"/>
                    </a:lnTo>
                    <a:lnTo>
                      <a:pt x="532" y="418"/>
                    </a:lnTo>
                    <a:lnTo>
                      <a:pt x="532" y="417"/>
                    </a:lnTo>
                    <a:lnTo>
                      <a:pt x="532" y="418"/>
                    </a:lnTo>
                    <a:lnTo>
                      <a:pt x="533" y="418"/>
                    </a:lnTo>
                    <a:lnTo>
                      <a:pt x="533" y="419"/>
                    </a:lnTo>
                    <a:lnTo>
                      <a:pt x="534" y="419"/>
                    </a:lnTo>
                    <a:lnTo>
                      <a:pt x="534" y="418"/>
                    </a:lnTo>
                    <a:lnTo>
                      <a:pt x="533" y="418"/>
                    </a:lnTo>
                    <a:lnTo>
                      <a:pt x="533" y="417"/>
                    </a:lnTo>
                    <a:lnTo>
                      <a:pt x="533" y="418"/>
                    </a:lnTo>
                    <a:lnTo>
                      <a:pt x="534" y="418"/>
                    </a:lnTo>
                    <a:lnTo>
                      <a:pt x="534" y="419"/>
                    </a:lnTo>
                    <a:lnTo>
                      <a:pt x="535" y="419"/>
                    </a:lnTo>
                    <a:lnTo>
                      <a:pt x="535" y="421"/>
                    </a:lnTo>
                    <a:lnTo>
                      <a:pt x="535" y="419"/>
                    </a:lnTo>
                    <a:lnTo>
                      <a:pt x="535" y="421"/>
                    </a:lnTo>
                    <a:lnTo>
                      <a:pt x="534" y="421"/>
                    </a:lnTo>
                    <a:lnTo>
                      <a:pt x="533" y="421"/>
                    </a:lnTo>
                    <a:lnTo>
                      <a:pt x="533" y="419"/>
                    </a:lnTo>
                    <a:lnTo>
                      <a:pt x="532" y="419"/>
                    </a:lnTo>
                    <a:lnTo>
                      <a:pt x="533" y="419"/>
                    </a:lnTo>
                    <a:lnTo>
                      <a:pt x="533" y="421"/>
                    </a:lnTo>
                    <a:lnTo>
                      <a:pt x="534" y="422"/>
                    </a:lnTo>
                    <a:lnTo>
                      <a:pt x="533" y="422"/>
                    </a:lnTo>
                    <a:lnTo>
                      <a:pt x="538" y="422"/>
                    </a:lnTo>
                    <a:lnTo>
                      <a:pt x="539" y="422"/>
                    </a:lnTo>
                    <a:lnTo>
                      <a:pt x="540" y="422"/>
                    </a:lnTo>
                    <a:lnTo>
                      <a:pt x="533" y="422"/>
                    </a:lnTo>
                    <a:lnTo>
                      <a:pt x="541" y="423"/>
                    </a:lnTo>
                    <a:lnTo>
                      <a:pt x="540" y="423"/>
                    </a:lnTo>
                    <a:lnTo>
                      <a:pt x="539" y="423"/>
                    </a:lnTo>
                    <a:lnTo>
                      <a:pt x="538" y="423"/>
                    </a:lnTo>
                    <a:lnTo>
                      <a:pt x="537" y="423"/>
                    </a:lnTo>
                    <a:lnTo>
                      <a:pt x="537" y="424"/>
                    </a:lnTo>
                    <a:lnTo>
                      <a:pt x="535" y="424"/>
                    </a:lnTo>
                    <a:lnTo>
                      <a:pt x="537" y="425"/>
                    </a:lnTo>
                    <a:lnTo>
                      <a:pt x="537" y="426"/>
                    </a:lnTo>
                    <a:lnTo>
                      <a:pt x="537" y="427"/>
                    </a:lnTo>
                    <a:lnTo>
                      <a:pt x="538" y="427"/>
                    </a:lnTo>
                    <a:lnTo>
                      <a:pt x="539" y="429"/>
                    </a:lnTo>
                    <a:lnTo>
                      <a:pt x="539" y="430"/>
                    </a:lnTo>
                    <a:lnTo>
                      <a:pt x="539" y="429"/>
                    </a:lnTo>
                    <a:lnTo>
                      <a:pt x="538" y="429"/>
                    </a:lnTo>
                    <a:lnTo>
                      <a:pt x="538" y="428"/>
                    </a:lnTo>
                    <a:lnTo>
                      <a:pt x="537" y="428"/>
                    </a:lnTo>
                    <a:lnTo>
                      <a:pt x="537" y="429"/>
                    </a:lnTo>
                    <a:lnTo>
                      <a:pt x="537" y="428"/>
                    </a:lnTo>
                    <a:lnTo>
                      <a:pt x="535" y="428"/>
                    </a:lnTo>
                    <a:lnTo>
                      <a:pt x="535" y="427"/>
                    </a:lnTo>
                    <a:lnTo>
                      <a:pt x="534" y="427"/>
                    </a:lnTo>
                    <a:lnTo>
                      <a:pt x="535" y="427"/>
                    </a:lnTo>
                    <a:lnTo>
                      <a:pt x="534" y="427"/>
                    </a:lnTo>
                    <a:lnTo>
                      <a:pt x="534" y="426"/>
                    </a:lnTo>
                    <a:lnTo>
                      <a:pt x="533" y="426"/>
                    </a:lnTo>
                    <a:lnTo>
                      <a:pt x="533" y="427"/>
                    </a:lnTo>
                    <a:lnTo>
                      <a:pt x="533" y="428"/>
                    </a:lnTo>
                    <a:lnTo>
                      <a:pt x="533" y="429"/>
                    </a:lnTo>
                    <a:lnTo>
                      <a:pt x="533" y="430"/>
                    </a:lnTo>
                    <a:lnTo>
                      <a:pt x="534" y="430"/>
                    </a:lnTo>
                    <a:lnTo>
                      <a:pt x="534" y="431"/>
                    </a:lnTo>
                    <a:lnTo>
                      <a:pt x="535" y="431"/>
                    </a:lnTo>
                    <a:lnTo>
                      <a:pt x="535" y="433"/>
                    </a:lnTo>
                    <a:lnTo>
                      <a:pt x="537" y="433"/>
                    </a:lnTo>
                    <a:lnTo>
                      <a:pt x="535" y="433"/>
                    </a:lnTo>
                    <a:lnTo>
                      <a:pt x="535" y="431"/>
                    </a:lnTo>
                    <a:lnTo>
                      <a:pt x="535" y="430"/>
                    </a:lnTo>
                    <a:lnTo>
                      <a:pt x="537" y="431"/>
                    </a:lnTo>
                    <a:lnTo>
                      <a:pt x="537" y="433"/>
                    </a:lnTo>
                    <a:lnTo>
                      <a:pt x="537" y="434"/>
                    </a:lnTo>
                    <a:lnTo>
                      <a:pt x="538" y="434"/>
                    </a:lnTo>
                    <a:lnTo>
                      <a:pt x="538" y="435"/>
                    </a:lnTo>
                    <a:lnTo>
                      <a:pt x="539" y="435"/>
                    </a:lnTo>
                    <a:lnTo>
                      <a:pt x="539" y="436"/>
                    </a:lnTo>
                    <a:lnTo>
                      <a:pt x="539" y="437"/>
                    </a:lnTo>
                    <a:lnTo>
                      <a:pt x="539" y="438"/>
                    </a:lnTo>
                    <a:lnTo>
                      <a:pt x="539" y="439"/>
                    </a:lnTo>
                    <a:lnTo>
                      <a:pt x="540" y="439"/>
                    </a:lnTo>
                    <a:lnTo>
                      <a:pt x="540" y="440"/>
                    </a:lnTo>
                    <a:lnTo>
                      <a:pt x="539" y="440"/>
                    </a:lnTo>
                    <a:lnTo>
                      <a:pt x="539" y="441"/>
                    </a:lnTo>
                    <a:lnTo>
                      <a:pt x="538" y="441"/>
                    </a:lnTo>
                    <a:lnTo>
                      <a:pt x="538" y="442"/>
                    </a:lnTo>
                    <a:lnTo>
                      <a:pt x="538" y="443"/>
                    </a:lnTo>
                    <a:lnTo>
                      <a:pt x="538" y="444"/>
                    </a:lnTo>
                    <a:lnTo>
                      <a:pt x="538" y="446"/>
                    </a:lnTo>
                    <a:lnTo>
                      <a:pt x="539" y="446"/>
                    </a:lnTo>
                    <a:lnTo>
                      <a:pt x="540" y="446"/>
                    </a:lnTo>
                    <a:lnTo>
                      <a:pt x="540" y="447"/>
                    </a:lnTo>
                    <a:lnTo>
                      <a:pt x="540" y="448"/>
                    </a:lnTo>
                    <a:lnTo>
                      <a:pt x="541" y="449"/>
                    </a:lnTo>
                    <a:lnTo>
                      <a:pt x="542" y="450"/>
                    </a:lnTo>
                    <a:lnTo>
                      <a:pt x="543" y="450"/>
                    </a:lnTo>
                    <a:lnTo>
                      <a:pt x="544" y="450"/>
                    </a:lnTo>
                    <a:lnTo>
                      <a:pt x="545" y="450"/>
                    </a:lnTo>
                    <a:lnTo>
                      <a:pt x="545" y="451"/>
                    </a:lnTo>
                    <a:lnTo>
                      <a:pt x="545" y="452"/>
                    </a:lnTo>
                    <a:lnTo>
                      <a:pt x="545" y="453"/>
                    </a:lnTo>
                    <a:lnTo>
                      <a:pt x="546" y="453"/>
                    </a:lnTo>
                    <a:lnTo>
                      <a:pt x="545" y="453"/>
                    </a:lnTo>
                    <a:lnTo>
                      <a:pt x="546" y="453"/>
                    </a:lnTo>
                    <a:lnTo>
                      <a:pt x="545" y="453"/>
                    </a:lnTo>
                    <a:lnTo>
                      <a:pt x="546" y="453"/>
                    </a:lnTo>
                    <a:lnTo>
                      <a:pt x="547" y="453"/>
                    </a:lnTo>
                    <a:lnTo>
                      <a:pt x="548" y="453"/>
                    </a:lnTo>
                    <a:lnTo>
                      <a:pt x="547" y="453"/>
                    </a:lnTo>
                    <a:lnTo>
                      <a:pt x="546" y="453"/>
                    </a:lnTo>
                    <a:lnTo>
                      <a:pt x="546" y="454"/>
                    </a:lnTo>
                    <a:lnTo>
                      <a:pt x="547" y="454"/>
                    </a:lnTo>
                    <a:lnTo>
                      <a:pt x="545" y="456"/>
                    </a:lnTo>
                    <a:lnTo>
                      <a:pt x="546" y="456"/>
                    </a:lnTo>
                    <a:lnTo>
                      <a:pt x="547" y="455"/>
                    </a:lnTo>
                    <a:lnTo>
                      <a:pt x="547" y="456"/>
                    </a:lnTo>
                    <a:lnTo>
                      <a:pt x="548" y="456"/>
                    </a:lnTo>
                    <a:lnTo>
                      <a:pt x="550" y="456"/>
                    </a:lnTo>
                    <a:lnTo>
                      <a:pt x="548" y="457"/>
                    </a:lnTo>
                    <a:lnTo>
                      <a:pt x="548" y="459"/>
                    </a:lnTo>
                    <a:lnTo>
                      <a:pt x="547" y="459"/>
                    </a:lnTo>
                    <a:lnTo>
                      <a:pt x="547" y="460"/>
                    </a:lnTo>
                    <a:lnTo>
                      <a:pt x="548" y="461"/>
                    </a:lnTo>
                    <a:lnTo>
                      <a:pt x="550" y="461"/>
                    </a:lnTo>
                    <a:lnTo>
                      <a:pt x="550" y="462"/>
                    </a:lnTo>
                    <a:lnTo>
                      <a:pt x="551" y="463"/>
                    </a:lnTo>
                    <a:lnTo>
                      <a:pt x="548" y="463"/>
                    </a:lnTo>
                    <a:lnTo>
                      <a:pt x="550" y="464"/>
                    </a:lnTo>
                    <a:lnTo>
                      <a:pt x="551" y="465"/>
                    </a:lnTo>
                    <a:lnTo>
                      <a:pt x="551" y="468"/>
                    </a:lnTo>
                    <a:lnTo>
                      <a:pt x="551" y="469"/>
                    </a:lnTo>
                    <a:lnTo>
                      <a:pt x="551" y="470"/>
                    </a:lnTo>
                    <a:lnTo>
                      <a:pt x="552" y="470"/>
                    </a:lnTo>
                    <a:lnTo>
                      <a:pt x="552" y="472"/>
                    </a:lnTo>
                    <a:lnTo>
                      <a:pt x="551" y="472"/>
                    </a:lnTo>
                    <a:lnTo>
                      <a:pt x="551" y="473"/>
                    </a:lnTo>
                    <a:lnTo>
                      <a:pt x="550" y="473"/>
                    </a:lnTo>
                    <a:lnTo>
                      <a:pt x="550" y="474"/>
                    </a:lnTo>
                    <a:lnTo>
                      <a:pt x="551" y="474"/>
                    </a:lnTo>
                    <a:lnTo>
                      <a:pt x="552" y="474"/>
                    </a:lnTo>
                    <a:lnTo>
                      <a:pt x="552" y="475"/>
                    </a:lnTo>
                    <a:lnTo>
                      <a:pt x="551" y="475"/>
                    </a:lnTo>
                    <a:lnTo>
                      <a:pt x="552" y="475"/>
                    </a:lnTo>
                    <a:lnTo>
                      <a:pt x="553" y="475"/>
                    </a:lnTo>
                    <a:lnTo>
                      <a:pt x="553" y="476"/>
                    </a:lnTo>
                    <a:lnTo>
                      <a:pt x="554" y="475"/>
                    </a:lnTo>
                    <a:lnTo>
                      <a:pt x="555" y="475"/>
                    </a:lnTo>
                    <a:lnTo>
                      <a:pt x="555" y="476"/>
                    </a:lnTo>
                    <a:lnTo>
                      <a:pt x="555" y="477"/>
                    </a:lnTo>
                    <a:lnTo>
                      <a:pt x="554" y="477"/>
                    </a:lnTo>
                    <a:lnTo>
                      <a:pt x="553" y="477"/>
                    </a:lnTo>
                    <a:lnTo>
                      <a:pt x="552" y="477"/>
                    </a:lnTo>
                    <a:lnTo>
                      <a:pt x="552" y="476"/>
                    </a:lnTo>
                    <a:lnTo>
                      <a:pt x="551" y="477"/>
                    </a:lnTo>
                    <a:lnTo>
                      <a:pt x="552" y="477"/>
                    </a:lnTo>
                    <a:lnTo>
                      <a:pt x="551" y="477"/>
                    </a:lnTo>
                    <a:lnTo>
                      <a:pt x="551" y="478"/>
                    </a:lnTo>
                    <a:lnTo>
                      <a:pt x="552" y="477"/>
                    </a:lnTo>
                    <a:lnTo>
                      <a:pt x="553" y="478"/>
                    </a:lnTo>
                    <a:lnTo>
                      <a:pt x="553" y="479"/>
                    </a:lnTo>
                    <a:lnTo>
                      <a:pt x="553" y="480"/>
                    </a:lnTo>
                    <a:lnTo>
                      <a:pt x="554" y="480"/>
                    </a:lnTo>
                    <a:lnTo>
                      <a:pt x="554" y="479"/>
                    </a:lnTo>
                    <a:lnTo>
                      <a:pt x="554" y="478"/>
                    </a:lnTo>
                    <a:lnTo>
                      <a:pt x="555" y="478"/>
                    </a:lnTo>
                    <a:lnTo>
                      <a:pt x="554" y="479"/>
                    </a:lnTo>
                    <a:lnTo>
                      <a:pt x="554" y="480"/>
                    </a:lnTo>
                    <a:lnTo>
                      <a:pt x="554" y="481"/>
                    </a:lnTo>
                    <a:lnTo>
                      <a:pt x="555" y="481"/>
                    </a:lnTo>
                    <a:lnTo>
                      <a:pt x="554" y="481"/>
                    </a:lnTo>
                    <a:lnTo>
                      <a:pt x="553" y="481"/>
                    </a:lnTo>
                    <a:lnTo>
                      <a:pt x="552" y="480"/>
                    </a:lnTo>
                    <a:lnTo>
                      <a:pt x="552" y="479"/>
                    </a:lnTo>
                    <a:lnTo>
                      <a:pt x="552" y="478"/>
                    </a:lnTo>
                    <a:lnTo>
                      <a:pt x="552" y="479"/>
                    </a:lnTo>
                    <a:lnTo>
                      <a:pt x="551" y="479"/>
                    </a:lnTo>
                    <a:lnTo>
                      <a:pt x="551" y="478"/>
                    </a:lnTo>
                    <a:lnTo>
                      <a:pt x="551" y="477"/>
                    </a:lnTo>
                    <a:lnTo>
                      <a:pt x="550" y="478"/>
                    </a:lnTo>
                    <a:lnTo>
                      <a:pt x="551" y="479"/>
                    </a:lnTo>
                    <a:lnTo>
                      <a:pt x="551" y="480"/>
                    </a:lnTo>
                    <a:lnTo>
                      <a:pt x="551" y="481"/>
                    </a:lnTo>
                    <a:lnTo>
                      <a:pt x="552" y="481"/>
                    </a:lnTo>
                    <a:lnTo>
                      <a:pt x="552" y="482"/>
                    </a:lnTo>
                    <a:lnTo>
                      <a:pt x="552" y="483"/>
                    </a:lnTo>
                    <a:lnTo>
                      <a:pt x="552" y="485"/>
                    </a:lnTo>
                    <a:lnTo>
                      <a:pt x="553" y="486"/>
                    </a:lnTo>
                    <a:lnTo>
                      <a:pt x="554" y="486"/>
                    </a:lnTo>
                    <a:lnTo>
                      <a:pt x="555" y="486"/>
                    </a:lnTo>
                    <a:lnTo>
                      <a:pt x="556" y="486"/>
                    </a:lnTo>
                    <a:lnTo>
                      <a:pt x="556" y="485"/>
                    </a:lnTo>
                    <a:lnTo>
                      <a:pt x="556" y="486"/>
                    </a:lnTo>
                    <a:lnTo>
                      <a:pt x="556" y="487"/>
                    </a:lnTo>
                    <a:lnTo>
                      <a:pt x="557" y="487"/>
                    </a:lnTo>
                    <a:lnTo>
                      <a:pt x="558" y="487"/>
                    </a:lnTo>
                    <a:lnTo>
                      <a:pt x="559" y="487"/>
                    </a:lnTo>
                    <a:lnTo>
                      <a:pt x="559" y="486"/>
                    </a:lnTo>
                    <a:lnTo>
                      <a:pt x="560" y="486"/>
                    </a:lnTo>
                    <a:lnTo>
                      <a:pt x="560" y="487"/>
                    </a:lnTo>
                    <a:lnTo>
                      <a:pt x="559" y="487"/>
                    </a:lnTo>
                    <a:lnTo>
                      <a:pt x="559" y="488"/>
                    </a:lnTo>
                    <a:lnTo>
                      <a:pt x="558" y="488"/>
                    </a:lnTo>
                    <a:lnTo>
                      <a:pt x="557" y="488"/>
                    </a:lnTo>
                    <a:lnTo>
                      <a:pt x="557" y="487"/>
                    </a:lnTo>
                    <a:lnTo>
                      <a:pt x="556" y="487"/>
                    </a:lnTo>
                    <a:lnTo>
                      <a:pt x="555" y="487"/>
                    </a:lnTo>
                    <a:lnTo>
                      <a:pt x="555" y="486"/>
                    </a:lnTo>
                    <a:lnTo>
                      <a:pt x="555" y="487"/>
                    </a:lnTo>
                    <a:lnTo>
                      <a:pt x="554" y="487"/>
                    </a:lnTo>
                    <a:lnTo>
                      <a:pt x="553" y="487"/>
                    </a:lnTo>
                    <a:lnTo>
                      <a:pt x="553" y="486"/>
                    </a:lnTo>
                    <a:lnTo>
                      <a:pt x="553" y="487"/>
                    </a:lnTo>
                    <a:lnTo>
                      <a:pt x="552" y="487"/>
                    </a:lnTo>
                    <a:lnTo>
                      <a:pt x="552" y="486"/>
                    </a:lnTo>
                    <a:lnTo>
                      <a:pt x="551" y="486"/>
                    </a:lnTo>
                    <a:lnTo>
                      <a:pt x="551" y="485"/>
                    </a:lnTo>
                    <a:lnTo>
                      <a:pt x="551" y="486"/>
                    </a:lnTo>
                    <a:lnTo>
                      <a:pt x="552" y="486"/>
                    </a:lnTo>
                    <a:lnTo>
                      <a:pt x="551" y="486"/>
                    </a:lnTo>
                    <a:lnTo>
                      <a:pt x="552" y="486"/>
                    </a:lnTo>
                    <a:lnTo>
                      <a:pt x="551" y="486"/>
                    </a:lnTo>
                    <a:lnTo>
                      <a:pt x="552" y="487"/>
                    </a:lnTo>
                    <a:lnTo>
                      <a:pt x="553" y="487"/>
                    </a:lnTo>
                    <a:lnTo>
                      <a:pt x="552" y="487"/>
                    </a:lnTo>
                    <a:lnTo>
                      <a:pt x="552" y="488"/>
                    </a:lnTo>
                    <a:lnTo>
                      <a:pt x="552" y="489"/>
                    </a:lnTo>
                    <a:lnTo>
                      <a:pt x="552" y="490"/>
                    </a:lnTo>
                    <a:lnTo>
                      <a:pt x="552" y="491"/>
                    </a:lnTo>
                    <a:lnTo>
                      <a:pt x="553" y="491"/>
                    </a:lnTo>
                    <a:lnTo>
                      <a:pt x="553" y="492"/>
                    </a:lnTo>
                    <a:lnTo>
                      <a:pt x="553" y="493"/>
                    </a:lnTo>
                    <a:lnTo>
                      <a:pt x="553" y="492"/>
                    </a:lnTo>
                    <a:lnTo>
                      <a:pt x="552" y="492"/>
                    </a:lnTo>
                    <a:lnTo>
                      <a:pt x="553" y="492"/>
                    </a:lnTo>
                    <a:lnTo>
                      <a:pt x="553" y="493"/>
                    </a:lnTo>
                    <a:lnTo>
                      <a:pt x="554" y="493"/>
                    </a:lnTo>
                    <a:lnTo>
                      <a:pt x="554" y="494"/>
                    </a:lnTo>
                    <a:lnTo>
                      <a:pt x="554" y="493"/>
                    </a:lnTo>
                    <a:lnTo>
                      <a:pt x="554" y="494"/>
                    </a:lnTo>
                    <a:lnTo>
                      <a:pt x="554" y="495"/>
                    </a:lnTo>
                    <a:lnTo>
                      <a:pt x="555" y="495"/>
                    </a:lnTo>
                    <a:lnTo>
                      <a:pt x="555" y="494"/>
                    </a:lnTo>
                    <a:lnTo>
                      <a:pt x="555" y="495"/>
                    </a:lnTo>
                    <a:lnTo>
                      <a:pt x="555" y="496"/>
                    </a:lnTo>
                    <a:lnTo>
                      <a:pt x="555" y="498"/>
                    </a:lnTo>
                    <a:lnTo>
                      <a:pt x="555" y="499"/>
                    </a:lnTo>
                    <a:lnTo>
                      <a:pt x="556" y="500"/>
                    </a:lnTo>
                    <a:lnTo>
                      <a:pt x="556" y="501"/>
                    </a:lnTo>
                    <a:lnTo>
                      <a:pt x="555" y="501"/>
                    </a:lnTo>
                    <a:lnTo>
                      <a:pt x="555" y="502"/>
                    </a:lnTo>
                    <a:lnTo>
                      <a:pt x="556" y="502"/>
                    </a:lnTo>
                    <a:lnTo>
                      <a:pt x="555" y="503"/>
                    </a:lnTo>
                    <a:lnTo>
                      <a:pt x="555" y="502"/>
                    </a:lnTo>
                    <a:lnTo>
                      <a:pt x="555" y="503"/>
                    </a:lnTo>
                    <a:lnTo>
                      <a:pt x="555" y="504"/>
                    </a:lnTo>
                    <a:lnTo>
                      <a:pt x="556" y="504"/>
                    </a:lnTo>
                    <a:lnTo>
                      <a:pt x="556" y="505"/>
                    </a:lnTo>
                    <a:lnTo>
                      <a:pt x="556" y="506"/>
                    </a:lnTo>
                    <a:lnTo>
                      <a:pt x="555" y="506"/>
                    </a:lnTo>
                    <a:lnTo>
                      <a:pt x="556" y="506"/>
                    </a:lnTo>
                    <a:lnTo>
                      <a:pt x="555" y="506"/>
                    </a:lnTo>
                    <a:lnTo>
                      <a:pt x="555" y="507"/>
                    </a:lnTo>
                    <a:lnTo>
                      <a:pt x="555" y="508"/>
                    </a:lnTo>
                    <a:lnTo>
                      <a:pt x="555" y="509"/>
                    </a:lnTo>
                    <a:lnTo>
                      <a:pt x="556" y="509"/>
                    </a:lnTo>
                    <a:lnTo>
                      <a:pt x="555" y="508"/>
                    </a:lnTo>
                    <a:lnTo>
                      <a:pt x="556" y="508"/>
                    </a:lnTo>
                    <a:lnTo>
                      <a:pt x="556" y="509"/>
                    </a:lnTo>
                    <a:lnTo>
                      <a:pt x="557" y="509"/>
                    </a:lnTo>
                    <a:lnTo>
                      <a:pt x="558" y="508"/>
                    </a:lnTo>
                    <a:lnTo>
                      <a:pt x="558" y="507"/>
                    </a:lnTo>
                    <a:lnTo>
                      <a:pt x="557" y="507"/>
                    </a:lnTo>
                    <a:lnTo>
                      <a:pt x="557" y="506"/>
                    </a:lnTo>
                    <a:lnTo>
                      <a:pt x="556" y="506"/>
                    </a:lnTo>
                    <a:lnTo>
                      <a:pt x="557" y="506"/>
                    </a:lnTo>
                    <a:lnTo>
                      <a:pt x="557" y="507"/>
                    </a:lnTo>
                    <a:lnTo>
                      <a:pt x="558" y="507"/>
                    </a:lnTo>
                    <a:lnTo>
                      <a:pt x="557" y="506"/>
                    </a:lnTo>
                    <a:lnTo>
                      <a:pt x="557" y="505"/>
                    </a:lnTo>
                    <a:lnTo>
                      <a:pt x="557" y="506"/>
                    </a:lnTo>
                    <a:lnTo>
                      <a:pt x="558" y="505"/>
                    </a:lnTo>
                    <a:lnTo>
                      <a:pt x="557" y="505"/>
                    </a:lnTo>
                    <a:lnTo>
                      <a:pt x="557" y="506"/>
                    </a:lnTo>
                    <a:lnTo>
                      <a:pt x="556" y="506"/>
                    </a:lnTo>
                    <a:lnTo>
                      <a:pt x="556" y="505"/>
                    </a:lnTo>
                    <a:lnTo>
                      <a:pt x="557" y="505"/>
                    </a:lnTo>
                    <a:lnTo>
                      <a:pt x="557" y="504"/>
                    </a:lnTo>
                    <a:lnTo>
                      <a:pt x="558" y="504"/>
                    </a:lnTo>
                    <a:lnTo>
                      <a:pt x="558" y="505"/>
                    </a:lnTo>
                    <a:lnTo>
                      <a:pt x="558" y="506"/>
                    </a:lnTo>
                    <a:lnTo>
                      <a:pt x="559" y="506"/>
                    </a:lnTo>
                    <a:lnTo>
                      <a:pt x="559" y="507"/>
                    </a:lnTo>
                    <a:lnTo>
                      <a:pt x="560" y="507"/>
                    </a:lnTo>
                    <a:lnTo>
                      <a:pt x="560" y="506"/>
                    </a:lnTo>
                    <a:lnTo>
                      <a:pt x="559" y="506"/>
                    </a:lnTo>
                    <a:lnTo>
                      <a:pt x="559" y="505"/>
                    </a:lnTo>
                    <a:lnTo>
                      <a:pt x="560" y="506"/>
                    </a:lnTo>
                    <a:lnTo>
                      <a:pt x="560" y="505"/>
                    </a:lnTo>
                    <a:lnTo>
                      <a:pt x="560" y="506"/>
                    </a:lnTo>
                    <a:lnTo>
                      <a:pt x="561" y="506"/>
                    </a:lnTo>
                    <a:lnTo>
                      <a:pt x="561" y="505"/>
                    </a:lnTo>
                    <a:lnTo>
                      <a:pt x="563" y="505"/>
                    </a:lnTo>
                    <a:lnTo>
                      <a:pt x="561" y="506"/>
                    </a:lnTo>
                    <a:lnTo>
                      <a:pt x="563" y="506"/>
                    </a:lnTo>
                    <a:lnTo>
                      <a:pt x="563" y="505"/>
                    </a:lnTo>
                    <a:lnTo>
                      <a:pt x="564" y="505"/>
                    </a:lnTo>
                    <a:lnTo>
                      <a:pt x="564" y="506"/>
                    </a:lnTo>
                    <a:lnTo>
                      <a:pt x="564" y="505"/>
                    </a:lnTo>
                    <a:lnTo>
                      <a:pt x="563" y="506"/>
                    </a:lnTo>
                    <a:lnTo>
                      <a:pt x="561" y="506"/>
                    </a:lnTo>
                    <a:lnTo>
                      <a:pt x="561" y="507"/>
                    </a:lnTo>
                    <a:lnTo>
                      <a:pt x="563" y="507"/>
                    </a:lnTo>
                    <a:lnTo>
                      <a:pt x="563" y="506"/>
                    </a:lnTo>
                    <a:lnTo>
                      <a:pt x="563" y="507"/>
                    </a:lnTo>
                    <a:lnTo>
                      <a:pt x="563" y="508"/>
                    </a:lnTo>
                    <a:lnTo>
                      <a:pt x="561" y="508"/>
                    </a:lnTo>
                    <a:lnTo>
                      <a:pt x="561" y="509"/>
                    </a:lnTo>
                    <a:lnTo>
                      <a:pt x="561" y="511"/>
                    </a:lnTo>
                    <a:lnTo>
                      <a:pt x="561" y="509"/>
                    </a:lnTo>
                    <a:lnTo>
                      <a:pt x="561" y="508"/>
                    </a:lnTo>
                    <a:lnTo>
                      <a:pt x="560" y="508"/>
                    </a:lnTo>
                    <a:lnTo>
                      <a:pt x="560" y="507"/>
                    </a:lnTo>
                    <a:lnTo>
                      <a:pt x="560" y="508"/>
                    </a:lnTo>
                    <a:lnTo>
                      <a:pt x="559" y="508"/>
                    </a:lnTo>
                    <a:lnTo>
                      <a:pt x="559" y="509"/>
                    </a:lnTo>
                    <a:lnTo>
                      <a:pt x="560" y="509"/>
                    </a:lnTo>
                    <a:lnTo>
                      <a:pt x="560" y="511"/>
                    </a:lnTo>
                    <a:lnTo>
                      <a:pt x="560" y="512"/>
                    </a:lnTo>
                    <a:lnTo>
                      <a:pt x="559" y="512"/>
                    </a:lnTo>
                    <a:lnTo>
                      <a:pt x="558" y="512"/>
                    </a:lnTo>
                    <a:lnTo>
                      <a:pt x="557" y="513"/>
                    </a:lnTo>
                    <a:lnTo>
                      <a:pt x="558" y="513"/>
                    </a:lnTo>
                    <a:lnTo>
                      <a:pt x="559" y="513"/>
                    </a:lnTo>
                    <a:lnTo>
                      <a:pt x="558" y="513"/>
                    </a:lnTo>
                    <a:lnTo>
                      <a:pt x="558" y="512"/>
                    </a:lnTo>
                    <a:lnTo>
                      <a:pt x="559" y="512"/>
                    </a:lnTo>
                    <a:lnTo>
                      <a:pt x="560" y="512"/>
                    </a:lnTo>
                    <a:lnTo>
                      <a:pt x="560" y="511"/>
                    </a:lnTo>
                    <a:lnTo>
                      <a:pt x="561" y="511"/>
                    </a:lnTo>
                    <a:lnTo>
                      <a:pt x="561" y="512"/>
                    </a:lnTo>
                    <a:lnTo>
                      <a:pt x="561" y="513"/>
                    </a:lnTo>
                    <a:lnTo>
                      <a:pt x="560" y="513"/>
                    </a:lnTo>
                    <a:lnTo>
                      <a:pt x="559" y="513"/>
                    </a:lnTo>
                    <a:lnTo>
                      <a:pt x="560" y="514"/>
                    </a:lnTo>
                    <a:lnTo>
                      <a:pt x="561" y="514"/>
                    </a:lnTo>
                    <a:lnTo>
                      <a:pt x="561" y="513"/>
                    </a:lnTo>
                    <a:lnTo>
                      <a:pt x="561" y="512"/>
                    </a:lnTo>
                    <a:lnTo>
                      <a:pt x="561" y="511"/>
                    </a:lnTo>
                    <a:lnTo>
                      <a:pt x="563" y="511"/>
                    </a:lnTo>
                    <a:lnTo>
                      <a:pt x="564" y="511"/>
                    </a:lnTo>
                    <a:lnTo>
                      <a:pt x="565" y="511"/>
                    </a:lnTo>
                    <a:lnTo>
                      <a:pt x="565" y="512"/>
                    </a:lnTo>
                    <a:lnTo>
                      <a:pt x="564" y="512"/>
                    </a:lnTo>
                    <a:lnTo>
                      <a:pt x="563" y="512"/>
                    </a:lnTo>
                    <a:lnTo>
                      <a:pt x="563" y="513"/>
                    </a:lnTo>
                    <a:lnTo>
                      <a:pt x="564" y="513"/>
                    </a:lnTo>
                    <a:lnTo>
                      <a:pt x="565" y="513"/>
                    </a:lnTo>
                    <a:lnTo>
                      <a:pt x="566" y="513"/>
                    </a:lnTo>
                    <a:lnTo>
                      <a:pt x="567" y="513"/>
                    </a:lnTo>
                    <a:lnTo>
                      <a:pt x="568" y="513"/>
                    </a:lnTo>
                    <a:lnTo>
                      <a:pt x="567" y="513"/>
                    </a:lnTo>
                    <a:lnTo>
                      <a:pt x="567" y="512"/>
                    </a:lnTo>
                    <a:lnTo>
                      <a:pt x="568" y="512"/>
                    </a:lnTo>
                    <a:lnTo>
                      <a:pt x="567" y="512"/>
                    </a:lnTo>
                    <a:lnTo>
                      <a:pt x="567" y="511"/>
                    </a:lnTo>
                    <a:lnTo>
                      <a:pt x="567" y="512"/>
                    </a:lnTo>
                    <a:lnTo>
                      <a:pt x="566" y="512"/>
                    </a:lnTo>
                    <a:lnTo>
                      <a:pt x="566" y="511"/>
                    </a:lnTo>
                    <a:lnTo>
                      <a:pt x="566" y="512"/>
                    </a:lnTo>
                    <a:lnTo>
                      <a:pt x="566" y="511"/>
                    </a:lnTo>
                    <a:lnTo>
                      <a:pt x="565" y="511"/>
                    </a:lnTo>
                    <a:lnTo>
                      <a:pt x="566" y="511"/>
                    </a:lnTo>
                    <a:lnTo>
                      <a:pt x="566" y="509"/>
                    </a:lnTo>
                    <a:lnTo>
                      <a:pt x="567" y="509"/>
                    </a:lnTo>
                    <a:lnTo>
                      <a:pt x="567" y="511"/>
                    </a:lnTo>
                    <a:lnTo>
                      <a:pt x="568" y="511"/>
                    </a:lnTo>
                    <a:lnTo>
                      <a:pt x="568" y="509"/>
                    </a:lnTo>
                    <a:lnTo>
                      <a:pt x="569" y="509"/>
                    </a:lnTo>
                    <a:lnTo>
                      <a:pt x="569" y="511"/>
                    </a:lnTo>
                    <a:lnTo>
                      <a:pt x="569" y="509"/>
                    </a:lnTo>
                    <a:lnTo>
                      <a:pt x="568" y="511"/>
                    </a:lnTo>
                    <a:lnTo>
                      <a:pt x="568" y="512"/>
                    </a:lnTo>
                    <a:lnTo>
                      <a:pt x="567" y="512"/>
                    </a:lnTo>
                    <a:lnTo>
                      <a:pt x="568" y="512"/>
                    </a:lnTo>
                    <a:lnTo>
                      <a:pt x="569" y="512"/>
                    </a:lnTo>
                    <a:lnTo>
                      <a:pt x="569" y="511"/>
                    </a:lnTo>
                    <a:lnTo>
                      <a:pt x="569" y="509"/>
                    </a:lnTo>
                    <a:lnTo>
                      <a:pt x="570" y="509"/>
                    </a:lnTo>
                    <a:lnTo>
                      <a:pt x="570" y="508"/>
                    </a:lnTo>
                    <a:lnTo>
                      <a:pt x="571" y="508"/>
                    </a:lnTo>
                    <a:lnTo>
                      <a:pt x="571" y="507"/>
                    </a:lnTo>
                    <a:lnTo>
                      <a:pt x="571" y="506"/>
                    </a:lnTo>
                    <a:lnTo>
                      <a:pt x="572" y="506"/>
                    </a:lnTo>
                    <a:lnTo>
                      <a:pt x="571" y="506"/>
                    </a:lnTo>
                    <a:lnTo>
                      <a:pt x="572" y="506"/>
                    </a:lnTo>
                    <a:lnTo>
                      <a:pt x="572" y="505"/>
                    </a:lnTo>
                    <a:lnTo>
                      <a:pt x="572" y="504"/>
                    </a:lnTo>
                    <a:lnTo>
                      <a:pt x="571" y="504"/>
                    </a:lnTo>
                    <a:lnTo>
                      <a:pt x="571" y="503"/>
                    </a:lnTo>
                    <a:lnTo>
                      <a:pt x="571" y="502"/>
                    </a:lnTo>
                    <a:lnTo>
                      <a:pt x="571" y="503"/>
                    </a:lnTo>
                    <a:lnTo>
                      <a:pt x="572" y="503"/>
                    </a:lnTo>
                    <a:lnTo>
                      <a:pt x="573" y="504"/>
                    </a:lnTo>
                    <a:lnTo>
                      <a:pt x="575" y="504"/>
                    </a:lnTo>
                    <a:lnTo>
                      <a:pt x="576" y="503"/>
                    </a:lnTo>
                    <a:lnTo>
                      <a:pt x="576" y="502"/>
                    </a:lnTo>
                    <a:lnTo>
                      <a:pt x="577" y="503"/>
                    </a:lnTo>
                    <a:lnTo>
                      <a:pt x="577" y="504"/>
                    </a:lnTo>
                    <a:lnTo>
                      <a:pt x="577" y="505"/>
                    </a:lnTo>
                    <a:lnTo>
                      <a:pt x="578" y="505"/>
                    </a:lnTo>
                    <a:lnTo>
                      <a:pt x="578" y="506"/>
                    </a:lnTo>
                    <a:lnTo>
                      <a:pt x="577" y="506"/>
                    </a:lnTo>
                    <a:lnTo>
                      <a:pt x="576" y="506"/>
                    </a:lnTo>
                    <a:lnTo>
                      <a:pt x="575" y="507"/>
                    </a:lnTo>
                    <a:lnTo>
                      <a:pt x="573" y="507"/>
                    </a:lnTo>
                    <a:lnTo>
                      <a:pt x="573" y="508"/>
                    </a:lnTo>
                    <a:lnTo>
                      <a:pt x="572" y="508"/>
                    </a:lnTo>
                    <a:lnTo>
                      <a:pt x="572" y="509"/>
                    </a:lnTo>
                    <a:lnTo>
                      <a:pt x="572" y="511"/>
                    </a:lnTo>
                    <a:lnTo>
                      <a:pt x="571" y="511"/>
                    </a:lnTo>
                    <a:lnTo>
                      <a:pt x="571" y="512"/>
                    </a:lnTo>
                    <a:lnTo>
                      <a:pt x="570" y="512"/>
                    </a:lnTo>
                    <a:lnTo>
                      <a:pt x="569" y="512"/>
                    </a:lnTo>
                    <a:lnTo>
                      <a:pt x="569" y="513"/>
                    </a:lnTo>
                    <a:lnTo>
                      <a:pt x="568" y="513"/>
                    </a:lnTo>
                    <a:lnTo>
                      <a:pt x="567" y="514"/>
                    </a:lnTo>
                    <a:lnTo>
                      <a:pt x="566" y="515"/>
                    </a:lnTo>
                    <a:lnTo>
                      <a:pt x="566" y="516"/>
                    </a:lnTo>
                    <a:lnTo>
                      <a:pt x="565" y="516"/>
                    </a:lnTo>
                    <a:lnTo>
                      <a:pt x="565" y="517"/>
                    </a:lnTo>
                    <a:lnTo>
                      <a:pt x="564" y="517"/>
                    </a:lnTo>
                    <a:lnTo>
                      <a:pt x="565" y="518"/>
                    </a:lnTo>
                    <a:lnTo>
                      <a:pt x="564" y="518"/>
                    </a:lnTo>
                    <a:lnTo>
                      <a:pt x="564" y="519"/>
                    </a:lnTo>
                    <a:lnTo>
                      <a:pt x="565" y="519"/>
                    </a:lnTo>
                    <a:lnTo>
                      <a:pt x="564" y="519"/>
                    </a:lnTo>
                    <a:lnTo>
                      <a:pt x="564" y="520"/>
                    </a:lnTo>
                    <a:lnTo>
                      <a:pt x="561" y="521"/>
                    </a:lnTo>
                    <a:lnTo>
                      <a:pt x="560" y="521"/>
                    </a:lnTo>
                    <a:lnTo>
                      <a:pt x="560" y="523"/>
                    </a:lnTo>
                    <a:lnTo>
                      <a:pt x="561" y="523"/>
                    </a:lnTo>
                    <a:lnTo>
                      <a:pt x="563" y="524"/>
                    </a:lnTo>
                    <a:lnTo>
                      <a:pt x="563" y="525"/>
                    </a:lnTo>
                    <a:lnTo>
                      <a:pt x="563" y="526"/>
                    </a:lnTo>
                    <a:lnTo>
                      <a:pt x="564" y="526"/>
                    </a:lnTo>
                    <a:lnTo>
                      <a:pt x="563" y="527"/>
                    </a:lnTo>
                    <a:lnTo>
                      <a:pt x="564" y="527"/>
                    </a:lnTo>
                    <a:lnTo>
                      <a:pt x="564" y="528"/>
                    </a:lnTo>
                    <a:lnTo>
                      <a:pt x="563" y="528"/>
                    </a:lnTo>
                    <a:lnTo>
                      <a:pt x="563" y="529"/>
                    </a:lnTo>
                    <a:lnTo>
                      <a:pt x="563" y="530"/>
                    </a:lnTo>
                    <a:lnTo>
                      <a:pt x="561" y="531"/>
                    </a:lnTo>
                    <a:lnTo>
                      <a:pt x="561" y="532"/>
                    </a:lnTo>
                    <a:lnTo>
                      <a:pt x="552" y="541"/>
                    </a:lnTo>
                    <a:lnTo>
                      <a:pt x="546" y="545"/>
                    </a:lnTo>
                    <a:lnTo>
                      <a:pt x="540" y="550"/>
                    </a:lnTo>
                    <a:lnTo>
                      <a:pt x="531" y="556"/>
                    </a:lnTo>
                    <a:lnTo>
                      <a:pt x="512" y="569"/>
                    </a:lnTo>
                    <a:lnTo>
                      <a:pt x="507" y="572"/>
                    </a:lnTo>
                    <a:lnTo>
                      <a:pt x="503" y="577"/>
                    </a:lnTo>
                    <a:lnTo>
                      <a:pt x="502" y="577"/>
                    </a:lnTo>
                    <a:lnTo>
                      <a:pt x="493" y="582"/>
                    </a:lnTo>
                    <a:lnTo>
                      <a:pt x="491" y="583"/>
                    </a:lnTo>
                    <a:lnTo>
                      <a:pt x="490" y="583"/>
                    </a:lnTo>
                    <a:lnTo>
                      <a:pt x="489" y="584"/>
                    </a:lnTo>
                    <a:lnTo>
                      <a:pt x="488" y="584"/>
                    </a:lnTo>
                    <a:lnTo>
                      <a:pt x="486" y="585"/>
                    </a:lnTo>
                    <a:lnTo>
                      <a:pt x="485" y="586"/>
                    </a:lnTo>
                    <a:lnTo>
                      <a:pt x="483" y="588"/>
                    </a:lnTo>
                    <a:lnTo>
                      <a:pt x="482" y="588"/>
                    </a:lnTo>
                    <a:lnTo>
                      <a:pt x="481" y="589"/>
                    </a:lnTo>
                    <a:lnTo>
                      <a:pt x="479" y="590"/>
                    </a:lnTo>
                    <a:lnTo>
                      <a:pt x="479" y="589"/>
                    </a:lnTo>
                    <a:lnTo>
                      <a:pt x="479" y="588"/>
                    </a:lnTo>
                    <a:lnTo>
                      <a:pt x="479" y="586"/>
                    </a:lnTo>
                    <a:lnTo>
                      <a:pt x="479" y="585"/>
                    </a:lnTo>
                    <a:lnTo>
                      <a:pt x="480" y="584"/>
                    </a:lnTo>
                    <a:lnTo>
                      <a:pt x="480" y="583"/>
                    </a:lnTo>
                    <a:lnTo>
                      <a:pt x="480" y="582"/>
                    </a:lnTo>
                    <a:lnTo>
                      <a:pt x="480" y="581"/>
                    </a:lnTo>
                    <a:lnTo>
                      <a:pt x="480" y="580"/>
                    </a:lnTo>
                    <a:lnTo>
                      <a:pt x="481" y="580"/>
                    </a:lnTo>
                    <a:lnTo>
                      <a:pt x="481" y="579"/>
                    </a:lnTo>
                    <a:lnTo>
                      <a:pt x="482" y="578"/>
                    </a:lnTo>
                    <a:lnTo>
                      <a:pt x="483" y="578"/>
                    </a:lnTo>
                    <a:lnTo>
                      <a:pt x="483" y="577"/>
                    </a:lnTo>
                    <a:lnTo>
                      <a:pt x="486" y="576"/>
                    </a:lnTo>
                    <a:lnTo>
                      <a:pt x="486" y="575"/>
                    </a:lnTo>
                    <a:lnTo>
                      <a:pt x="482" y="576"/>
                    </a:lnTo>
                    <a:lnTo>
                      <a:pt x="481" y="578"/>
                    </a:lnTo>
                    <a:lnTo>
                      <a:pt x="480" y="579"/>
                    </a:lnTo>
                    <a:lnTo>
                      <a:pt x="479" y="580"/>
                    </a:lnTo>
                    <a:lnTo>
                      <a:pt x="479" y="581"/>
                    </a:lnTo>
                    <a:lnTo>
                      <a:pt x="479" y="582"/>
                    </a:lnTo>
                    <a:lnTo>
                      <a:pt x="478" y="582"/>
                    </a:lnTo>
                    <a:lnTo>
                      <a:pt x="478" y="583"/>
                    </a:lnTo>
                    <a:lnTo>
                      <a:pt x="478" y="584"/>
                    </a:lnTo>
                    <a:lnTo>
                      <a:pt x="477" y="586"/>
                    </a:lnTo>
                    <a:lnTo>
                      <a:pt x="477" y="588"/>
                    </a:lnTo>
                    <a:lnTo>
                      <a:pt x="476" y="586"/>
                    </a:lnTo>
                    <a:lnTo>
                      <a:pt x="475" y="586"/>
                    </a:lnTo>
                    <a:lnTo>
                      <a:pt x="474" y="586"/>
                    </a:lnTo>
                    <a:lnTo>
                      <a:pt x="473" y="585"/>
                    </a:lnTo>
                    <a:lnTo>
                      <a:pt x="470" y="585"/>
                    </a:lnTo>
                    <a:lnTo>
                      <a:pt x="469" y="584"/>
                    </a:lnTo>
                    <a:lnTo>
                      <a:pt x="468" y="584"/>
                    </a:lnTo>
                    <a:lnTo>
                      <a:pt x="463" y="584"/>
                    </a:lnTo>
                    <a:lnTo>
                      <a:pt x="462" y="584"/>
                    </a:lnTo>
                    <a:lnTo>
                      <a:pt x="462" y="583"/>
                    </a:lnTo>
                    <a:lnTo>
                      <a:pt x="463" y="582"/>
                    </a:lnTo>
                    <a:lnTo>
                      <a:pt x="463" y="583"/>
                    </a:lnTo>
                    <a:lnTo>
                      <a:pt x="464" y="583"/>
                    </a:lnTo>
                    <a:lnTo>
                      <a:pt x="464" y="582"/>
                    </a:lnTo>
                    <a:lnTo>
                      <a:pt x="464" y="581"/>
                    </a:lnTo>
                    <a:lnTo>
                      <a:pt x="465" y="581"/>
                    </a:lnTo>
                    <a:lnTo>
                      <a:pt x="466" y="581"/>
                    </a:lnTo>
                    <a:lnTo>
                      <a:pt x="467" y="582"/>
                    </a:lnTo>
                    <a:lnTo>
                      <a:pt x="468" y="582"/>
                    </a:lnTo>
                    <a:lnTo>
                      <a:pt x="469" y="583"/>
                    </a:lnTo>
                    <a:lnTo>
                      <a:pt x="470" y="583"/>
                    </a:lnTo>
                    <a:lnTo>
                      <a:pt x="472" y="583"/>
                    </a:lnTo>
                    <a:lnTo>
                      <a:pt x="470" y="583"/>
                    </a:lnTo>
                    <a:lnTo>
                      <a:pt x="470" y="582"/>
                    </a:lnTo>
                    <a:lnTo>
                      <a:pt x="469" y="582"/>
                    </a:lnTo>
                    <a:lnTo>
                      <a:pt x="468" y="582"/>
                    </a:lnTo>
                    <a:lnTo>
                      <a:pt x="468" y="581"/>
                    </a:lnTo>
                    <a:lnTo>
                      <a:pt x="468" y="580"/>
                    </a:lnTo>
                    <a:lnTo>
                      <a:pt x="468" y="579"/>
                    </a:lnTo>
                    <a:lnTo>
                      <a:pt x="467" y="579"/>
                    </a:lnTo>
                    <a:lnTo>
                      <a:pt x="466" y="578"/>
                    </a:lnTo>
                    <a:lnTo>
                      <a:pt x="465" y="577"/>
                    </a:lnTo>
                    <a:lnTo>
                      <a:pt x="465" y="576"/>
                    </a:lnTo>
                    <a:lnTo>
                      <a:pt x="464" y="576"/>
                    </a:lnTo>
                    <a:lnTo>
                      <a:pt x="463" y="575"/>
                    </a:lnTo>
                    <a:lnTo>
                      <a:pt x="463" y="573"/>
                    </a:lnTo>
                    <a:lnTo>
                      <a:pt x="464" y="572"/>
                    </a:lnTo>
                    <a:lnTo>
                      <a:pt x="464" y="573"/>
                    </a:lnTo>
                    <a:lnTo>
                      <a:pt x="465" y="573"/>
                    </a:lnTo>
                    <a:lnTo>
                      <a:pt x="465" y="572"/>
                    </a:lnTo>
                    <a:lnTo>
                      <a:pt x="464" y="572"/>
                    </a:lnTo>
                    <a:lnTo>
                      <a:pt x="465" y="572"/>
                    </a:lnTo>
                    <a:lnTo>
                      <a:pt x="466" y="572"/>
                    </a:lnTo>
                    <a:lnTo>
                      <a:pt x="467" y="572"/>
                    </a:lnTo>
                    <a:lnTo>
                      <a:pt x="467" y="573"/>
                    </a:lnTo>
                    <a:lnTo>
                      <a:pt x="468" y="573"/>
                    </a:lnTo>
                    <a:lnTo>
                      <a:pt x="468" y="575"/>
                    </a:lnTo>
                    <a:lnTo>
                      <a:pt x="469" y="575"/>
                    </a:lnTo>
                    <a:lnTo>
                      <a:pt x="469" y="573"/>
                    </a:lnTo>
                    <a:lnTo>
                      <a:pt x="470" y="573"/>
                    </a:lnTo>
                    <a:lnTo>
                      <a:pt x="470" y="575"/>
                    </a:lnTo>
                    <a:lnTo>
                      <a:pt x="470" y="572"/>
                    </a:lnTo>
                    <a:lnTo>
                      <a:pt x="472" y="572"/>
                    </a:lnTo>
                    <a:lnTo>
                      <a:pt x="473" y="571"/>
                    </a:lnTo>
                    <a:lnTo>
                      <a:pt x="473" y="570"/>
                    </a:lnTo>
                    <a:lnTo>
                      <a:pt x="473" y="567"/>
                    </a:lnTo>
                    <a:lnTo>
                      <a:pt x="473" y="566"/>
                    </a:lnTo>
                    <a:lnTo>
                      <a:pt x="473" y="565"/>
                    </a:lnTo>
                    <a:lnTo>
                      <a:pt x="473" y="563"/>
                    </a:lnTo>
                    <a:lnTo>
                      <a:pt x="473" y="562"/>
                    </a:lnTo>
                    <a:lnTo>
                      <a:pt x="474" y="560"/>
                    </a:lnTo>
                    <a:lnTo>
                      <a:pt x="473" y="560"/>
                    </a:lnTo>
                    <a:lnTo>
                      <a:pt x="473" y="559"/>
                    </a:lnTo>
                    <a:lnTo>
                      <a:pt x="473" y="558"/>
                    </a:lnTo>
                    <a:lnTo>
                      <a:pt x="472" y="558"/>
                    </a:lnTo>
                    <a:lnTo>
                      <a:pt x="472" y="557"/>
                    </a:lnTo>
                    <a:lnTo>
                      <a:pt x="470" y="557"/>
                    </a:lnTo>
                    <a:lnTo>
                      <a:pt x="469" y="558"/>
                    </a:lnTo>
                    <a:lnTo>
                      <a:pt x="468" y="558"/>
                    </a:lnTo>
                    <a:lnTo>
                      <a:pt x="468" y="557"/>
                    </a:lnTo>
                    <a:lnTo>
                      <a:pt x="467" y="556"/>
                    </a:lnTo>
                    <a:lnTo>
                      <a:pt x="467" y="555"/>
                    </a:lnTo>
                    <a:lnTo>
                      <a:pt x="467" y="554"/>
                    </a:lnTo>
                    <a:lnTo>
                      <a:pt x="466" y="553"/>
                    </a:lnTo>
                    <a:lnTo>
                      <a:pt x="466" y="552"/>
                    </a:lnTo>
                    <a:lnTo>
                      <a:pt x="466" y="551"/>
                    </a:lnTo>
                    <a:lnTo>
                      <a:pt x="465" y="551"/>
                    </a:lnTo>
                    <a:lnTo>
                      <a:pt x="465" y="552"/>
                    </a:lnTo>
                    <a:lnTo>
                      <a:pt x="464" y="552"/>
                    </a:lnTo>
                    <a:lnTo>
                      <a:pt x="464" y="551"/>
                    </a:lnTo>
                    <a:lnTo>
                      <a:pt x="464" y="552"/>
                    </a:lnTo>
                    <a:lnTo>
                      <a:pt x="463" y="552"/>
                    </a:lnTo>
                    <a:lnTo>
                      <a:pt x="462" y="552"/>
                    </a:lnTo>
                    <a:lnTo>
                      <a:pt x="461" y="552"/>
                    </a:lnTo>
                    <a:lnTo>
                      <a:pt x="459" y="552"/>
                    </a:lnTo>
                    <a:lnTo>
                      <a:pt x="457" y="552"/>
                    </a:lnTo>
                    <a:lnTo>
                      <a:pt x="456" y="552"/>
                    </a:lnTo>
                    <a:lnTo>
                      <a:pt x="455" y="552"/>
                    </a:lnTo>
                    <a:lnTo>
                      <a:pt x="454" y="552"/>
                    </a:lnTo>
                    <a:lnTo>
                      <a:pt x="453" y="552"/>
                    </a:lnTo>
                    <a:lnTo>
                      <a:pt x="452" y="552"/>
                    </a:lnTo>
                    <a:lnTo>
                      <a:pt x="451" y="552"/>
                    </a:lnTo>
                    <a:lnTo>
                      <a:pt x="451" y="551"/>
                    </a:lnTo>
                    <a:lnTo>
                      <a:pt x="450" y="551"/>
                    </a:lnTo>
                    <a:lnTo>
                      <a:pt x="449" y="551"/>
                    </a:lnTo>
                    <a:lnTo>
                      <a:pt x="449" y="550"/>
                    </a:lnTo>
                    <a:lnTo>
                      <a:pt x="450" y="550"/>
                    </a:lnTo>
                    <a:lnTo>
                      <a:pt x="451" y="550"/>
                    </a:lnTo>
                    <a:lnTo>
                      <a:pt x="451" y="549"/>
                    </a:lnTo>
                    <a:lnTo>
                      <a:pt x="452" y="549"/>
                    </a:lnTo>
                    <a:lnTo>
                      <a:pt x="453" y="549"/>
                    </a:lnTo>
                    <a:lnTo>
                      <a:pt x="453" y="550"/>
                    </a:lnTo>
                    <a:lnTo>
                      <a:pt x="454" y="550"/>
                    </a:lnTo>
                    <a:lnTo>
                      <a:pt x="454" y="551"/>
                    </a:lnTo>
                    <a:lnTo>
                      <a:pt x="454" y="550"/>
                    </a:lnTo>
                    <a:lnTo>
                      <a:pt x="455" y="549"/>
                    </a:lnTo>
                    <a:lnTo>
                      <a:pt x="456" y="549"/>
                    </a:lnTo>
                    <a:lnTo>
                      <a:pt x="457" y="549"/>
                    </a:lnTo>
                    <a:lnTo>
                      <a:pt x="459" y="549"/>
                    </a:lnTo>
                    <a:lnTo>
                      <a:pt x="460" y="549"/>
                    </a:lnTo>
                    <a:lnTo>
                      <a:pt x="461" y="549"/>
                    </a:lnTo>
                    <a:lnTo>
                      <a:pt x="461" y="547"/>
                    </a:lnTo>
                    <a:lnTo>
                      <a:pt x="462" y="547"/>
                    </a:lnTo>
                    <a:lnTo>
                      <a:pt x="462" y="546"/>
                    </a:lnTo>
                    <a:lnTo>
                      <a:pt x="464" y="546"/>
                    </a:lnTo>
                    <a:lnTo>
                      <a:pt x="465" y="546"/>
                    </a:lnTo>
                    <a:lnTo>
                      <a:pt x="466" y="545"/>
                    </a:lnTo>
                    <a:lnTo>
                      <a:pt x="466" y="544"/>
                    </a:lnTo>
                    <a:lnTo>
                      <a:pt x="465" y="544"/>
                    </a:lnTo>
                    <a:lnTo>
                      <a:pt x="465" y="543"/>
                    </a:lnTo>
                    <a:lnTo>
                      <a:pt x="464" y="543"/>
                    </a:lnTo>
                    <a:lnTo>
                      <a:pt x="463" y="543"/>
                    </a:lnTo>
                    <a:lnTo>
                      <a:pt x="462" y="543"/>
                    </a:lnTo>
                    <a:lnTo>
                      <a:pt x="462" y="544"/>
                    </a:lnTo>
                    <a:lnTo>
                      <a:pt x="462" y="543"/>
                    </a:lnTo>
                    <a:lnTo>
                      <a:pt x="461" y="542"/>
                    </a:lnTo>
                    <a:lnTo>
                      <a:pt x="459" y="541"/>
                    </a:lnTo>
                    <a:lnTo>
                      <a:pt x="457" y="540"/>
                    </a:lnTo>
                    <a:lnTo>
                      <a:pt x="456" y="539"/>
                    </a:lnTo>
                    <a:lnTo>
                      <a:pt x="454" y="539"/>
                    </a:lnTo>
                    <a:lnTo>
                      <a:pt x="454" y="540"/>
                    </a:lnTo>
                    <a:lnTo>
                      <a:pt x="453" y="540"/>
                    </a:lnTo>
                    <a:lnTo>
                      <a:pt x="453" y="541"/>
                    </a:lnTo>
                    <a:lnTo>
                      <a:pt x="452" y="541"/>
                    </a:lnTo>
                    <a:lnTo>
                      <a:pt x="452" y="540"/>
                    </a:lnTo>
                    <a:lnTo>
                      <a:pt x="453" y="540"/>
                    </a:lnTo>
                    <a:lnTo>
                      <a:pt x="453" y="539"/>
                    </a:lnTo>
                    <a:lnTo>
                      <a:pt x="453" y="538"/>
                    </a:lnTo>
                    <a:lnTo>
                      <a:pt x="453" y="539"/>
                    </a:lnTo>
                    <a:lnTo>
                      <a:pt x="453" y="540"/>
                    </a:lnTo>
                    <a:lnTo>
                      <a:pt x="452" y="539"/>
                    </a:lnTo>
                    <a:lnTo>
                      <a:pt x="452" y="540"/>
                    </a:lnTo>
                    <a:lnTo>
                      <a:pt x="452" y="541"/>
                    </a:lnTo>
                    <a:lnTo>
                      <a:pt x="451" y="542"/>
                    </a:lnTo>
                    <a:lnTo>
                      <a:pt x="450" y="540"/>
                    </a:lnTo>
                    <a:lnTo>
                      <a:pt x="449" y="539"/>
                    </a:lnTo>
                    <a:lnTo>
                      <a:pt x="449" y="538"/>
                    </a:lnTo>
                    <a:lnTo>
                      <a:pt x="448" y="538"/>
                    </a:lnTo>
                    <a:lnTo>
                      <a:pt x="447" y="538"/>
                    </a:lnTo>
                    <a:lnTo>
                      <a:pt x="446" y="539"/>
                    </a:lnTo>
                    <a:lnTo>
                      <a:pt x="444" y="540"/>
                    </a:lnTo>
                    <a:lnTo>
                      <a:pt x="443" y="540"/>
                    </a:lnTo>
                    <a:lnTo>
                      <a:pt x="443" y="539"/>
                    </a:lnTo>
                    <a:lnTo>
                      <a:pt x="444" y="538"/>
                    </a:lnTo>
                    <a:lnTo>
                      <a:pt x="446" y="537"/>
                    </a:lnTo>
                    <a:lnTo>
                      <a:pt x="447" y="537"/>
                    </a:lnTo>
                    <a:lnTo>
                      <a:pt x="448" y="537"/>
                    </a:lnTo>
                    <a:lnTo>
                      <a:pt x="449" y="537"/>
                    </a:lnTo>
                    <a:lnTo>
                      <a:pt x="449" y="538"/>
                    </a:lnTo>
                    <a:lnTo>
                      <a:pt x="450" y="538"/>
                    </a:lnTo>
                    <a:lnTo>
                      <a:pt x="451" y="538"/>
                    </a:lnTo>
                    <a:lnTo>
                      <a:pt x="453" y="537"/>
                    </a:lnTo>
                    <a:lnTo>
                      <a:pt x="454" y="536"/>
                    </a:lnTo>
                    <a:lnTo>
                      <a:pt x="455" y="536"/>
                    </a:lnTo>
                    <a:lnTo>
                      <a:pt x="455" y="534"/>
                    </a:lnTo>
                    <a:lnTo>
                      <a:pt x="456" y="534"/>
                    </a:lnTo>
                    <a:lnTo>
                      <a:pt x="456" y="536"/>
                    </a:lnTo>
                    <a:lnTo>
                      <a:pt x="457" y="537"/>
                    </a:lnTo>
                    <a:lnTo>
                      <a:pt x="459" y="537"/>
                    </a:lnTo>
                    <a:lnTo>
                      <a:pt x="460" y="537"/>
                    </a:lnTo>
                    <a:lnTo>
                      <a:pt x="460" y="538"/>
                    </a:lnTo>
                    <a:lnTo>
                      <a:pt x="461" y="538"/>
                    </a:lnTo>
                    <a:lnTo>
                      <a:pt x="462" y="538"/>
                    </a:lnTo>
                    <a:lnTo>
                      <a:pt x="463" y="538"/>
                    </a:lnTo>
                    <a:lnTo>
                      <a:pt x="463" y="537"/>
                    </a:lnTo>
                    <a:lnTo>
                      <a:pt x="463" y="533"/>
                    </a:lnTo>
                    <a:lnTo>
                      <a:pt x="462" y="532"/>
                    </a:lnTo>
                    <a:lnTo>
                      <a:pt x="461" y="533"/>
                    </a:lnTo>
                    <a:lnTo>
                      <a:pt x="460" y="533"/>
                    </a:lnTo>
                    <a:lnTo>
                      <a:pt x="460" y="532"/>
                    </a:lnTo>
                    <a:lnTo>
                      <a:pt x="460" y="531"/>
                    </a:lnTo>
                    <a:lnTo>
                      <a:pt x="459" y="531"/>
                    </a:lnTo>
                    <a:lnTo>
                      <a:pt x="459" y="530"/>
                    </a:lnTo>
                    <a:lnTo>
                      <a:pt x="459" y="529"/>
                    </a:lnTo>
                    <a:lnTo>
                      <a:pt x="457" y="529"/>
                    </a:lnTo>
                    <a:lnTo>
                      <a:pt x="456" y="529"/>
                    </a:lnTo>
                    <a:lnTo>
                      <a:pt x="455" y="529"/>
                    </a:lnTo>
                    <a:lnTo>
                      <a:pt x="454" y="528"/>
                    </a:lnTo>
                    <a:lnTo>
                      <a:pt x="453" y="528"/>
                    </a:lnTo>
                    <a:lnTo>
                      <a:pt x="453" y="529"/>
                    </a:lnTo>
                    <a:lnTo>
                      <a:pt x="452" y="529"/>
                    </a:lnTo>
                    <a:lnTo>
                      <a:pt x="451" y="529"/>
                    </a:lnTo>
                    <a:lnTo>
                      <a:pt x="450" y="529"/>
                    </a:lnTo>
                    <a:lnTo>
                      <a:pt x="449" y="530"/>
                    </a:lnTo>
                    <a:lnTo>
                      <a:pt x="448" y="530"/>
                    </a:lnTo>
                    <a:lnTo>
                      <a:pt x="448" y="531"/>
                    </a:lnTo>
                    <a:lnTo>
                      <a:pt x="448" y="530"/>
                    </a:lnTo>
                    <a:lnTo>
                      <a:pt x="447" y="530"/>
                    </a:lnTo>
                    <a:lnTo>
                      <a:pt x="447" y="529"/>
                    </a:lnTo>
                    <a:lnTo>
                      <a:pt x="446" y="529"/>
                    </a:lnTo>
                    <a:lnTo>
                      <a:pt x="444" y="530"/>
                    </a:lnTo>
                    <a:lnTo>
                      <a:pt x="443" y="530"/>
                    </a:lnTo>
                    <a:lnTo>
                      <a:pt x="444" y="528"/>
                    </a:lnTo>
                    <a:lnTo>
                      <a:pt x="444" y="529"/>
                    </a:lnTo>
                    <a:lnTo>
                      <a:pt x="444" y="528"/>
                    </a:lnTo>
                    <a:lnTo>
                      <a:pt x="446" y="528"/>
                    </a:lnTo>
                    <a:lnTo>
                      <a:pt x="446" y="527"/>
                    </a:lnTo>
                    <a:lnTo>
                      <a:pt x="447" y="527"/>
                    </a:lnTo>
                    <a:lnTo>
                      <a:pt x="447" y="526"/>
                    </a:lnTo>
                    <a:lnTo>
                      <a:pt x="447" y="525"/>
                    </a:lnTo>
                    <a:lnTo>
                      <a:pt x="448" y="525"/>
                    </a:lnTo>
                    <a:lnTo>
                      <a:pt x="448" y="526"/>
                    </a:lnTo>
                    <a:lnTo>
                      <a:pt x="449" y="526"/>
                    </a:lnTo>
                    <a:lnTo>
                      <a:pt x="449" y="527"/>
                    </a:lnTo>
                    <a:lnTo>
                      <a:pt x="449" y="526"/>
                    </a:lnTo>
                    <a:lnTo>
                      <a:pt x="450" y="526"/>
                    </a:lnTo>
                    <a:lnTo>
                      <a:pt x="450" y="525"/>
                    </a:lnTo>
                    <a:lnTo>
                      <a:pt x="451" y="525"/>
                    </a:lnTo>
                    <a:lnTo>
                      <a:pt x="452" y="525"/>
                    </a:lnTo>
                    <a:lnTo>
                      <a:pt x="452" y="524"/>
                    </a:lnTo>
                    <a:lnTo>
                      <a:pt x="453" y="524"/>
                    </a:lnTo>
                    <a:lnTo>
                      <a:pt x="454" y="524"/>
                    </a:lnTo>
                    <a:lnTo>
                      <a:pt x="454" y="525"/>
                    </a:lnTo>
                    <a:lnTo>
                      <a:pt x="455" y="525"/>
                    </a:lnTo>
                    <a:lnTo>
                      <a:pt x="455" y="526"/>
                    </a:lnTo>
                    <a:lnTo>
                      <a:pt x="456" y="527"/>
                    </a:lnTo>
                    <a:lnTo>
                      <a:pt x="456" y="526"/>
                    </a:lnTo>
                    <a:lnTo>
                      <a:pt x="457" y="525"/>
                    </a:lnTo>
                    <a:lnTo>
                      <a:pt x="459" y="525"/>
                    </a:lnTo>
                    <a:lnTo>
                      <a:pt x="460" y="524"/>
                    </a:lnTo>
                    <a:lnTo>
                      <a:pt x="460" y="523"/>
                    </a:lnTo>
                    <a:lnTo>
                      <a:pt x="459" y="521"/>
                    </a:lnTo>
                    <a:lnTo>
                      <a:pt x="459" y="520"/>
                    </a:lnTo>
                    <a:lnTo>
                      <a:pt x="457" y="520"/>
                    </a:lnTo>
                    <a:lnTo>
                      <a:pt x="456" y="520"/>
                    </a:lnTo>
                    <a:lnTo>
                      <a:pt x="456" y="521"/>
                    </a:lnTo>
                    <a:lnTo>
                      <a:pt x="456" y="523"/>
                    </a:lnTo>
                    <a:lnTo>
                      <a:pt x="455" y="523"/>
                    </a:lnTo>
                    <a:lnTo>
                      <a:pt x="455" y="524"/>
                    </a:lnTo>
                    <a:lnTo>
                      <a:pt x="455" y="523"/>
                    </a:lnTo>
                    <a:lnTo>
                      <a:pt x="455" y="521"/>
                    </a:lnTo>
                    <a:lnTo>
                      <a:pt x="455" y="520"/>
                    </a:lnTo>
                    <a:lnTo>
                      <a:pt x="456" y="520"/>
                    </a:lnTo>
                    <a:lnTo>
                      <a:pt x="457" y="517"/>
                    </a:lnTo>
                    <a:lnTo>
                      <a:pt x="456" y="516"/>
                    </a:lnTo>
                    <a:lnTo>
                      <a:pt x="456" y="515"/>
                    </a:lnTo>
                    <a:lnTo>
                      <a:pt x="455" y="516"/>
                    </a:lnTo>
                    <a:lnTo>
                      <a:pt x="455" y="515"/>
                    </a:lnTo>
                    <a:lnTo>
                      <a:pt x="454" y="515"/>
                    </a:lnTo>
                    <a:lnTo>
                      <a:pt x="454" y="516"/>
                    </a:lnTo>
                    <a:lnTo>
                      <a:pt x="454" y="515"/>
                    </a:lnTo>
                    <a:lnTo>
                      <a:pt x="454" y="514"/>
                    </a:lnTo>
                    <a:lnTo>
                      <a:pt x="455" y="514"/>
                    </a:lnTo>
                    <a:lnTo>
                      <a:pt x="456" y="514"/>
                    </a:lnTo>
                    <a:lnTo>
                      <a:pt x="456" y="513"/>
                    </a:lnTo>
                    <a:lnTo>
                      <a:pt x="455" y="513"/>
                    </a:lnTo>
                    <a:lnTo>
                      <a:pt x="456" y="512"/>
                    </a:lnTo>
                    <a:lnTo>
                      <a:pt x="456" y="513"/>
                    </a:lnTo>
                    <a:lnTo>
                      <a:pt x="456" y="512"/>
                    </a:lnTo>
                    <a:lnTo>
                      <a:pt x="456" y="511"/>
                    </a:lnTo>
                    <a:lnTo>
                      <a:pt x="457" y="509"/>
                    </a:lnTo>
                    <a:lnTo>
                      <a:pt x="457" y="508"/>
                    </a:lnTo>
                    <a:lnTo>
                      <a:pt x="457" y="507"/>
                    </a:lnTo>
                    <a:lnTo>
                      <a:pt x="457" y="505"/>
                    </a:lnTo>
                    <a:lnTo>
                      <a:pt x="456" y="505"/>
                    </a:lnTo>
                    <a:lnTo>
                      <a:pt x="456" y="506"/>
                    </a:lnTo>
                    <a:lnTo>
                      <a:pt x="456" y="507"/>
                    </a:lnTo>
                    <a:lnTo>
                      <a:pt x="455" y="507"/>
                    </a:lnTo>
                    <a:lnTo>
                      <a:pt x="455" y="506"/>
                    </a:lnTo>
                    <a:lnTo>
                      <a:pt x="456" y="506"/>
                    </a:lnTo>
                    <a:lnTo>
                      <a:pt x="456" y="505"/>
                    </a:lnTo>
                    <a:lnTo>
                      <a:pt x="455" y="504"/>
                    </a:lnTo>
                    <a:lnTo>
                      <a:pt x="454" y="504"/>
                    </a:lnTo>
                    <a:lnTo>
                      <a:pt x="453" y="504"/>
                    </a:lnTo>
                    <a:lnTo>
                      <a:pt x="453" y="505"/>
                    </a:lnTo>
                    <a:lnTo>
                      <a:pt x="454" y="507"/>
                    </a:lnTo>
                    <a:lnTo>
                      <a:pt x="455" y="507"/>
                    </a:lnTo>
                    <a:lnTo>
                      <a:pt x="455" y="508"/>
                    </a:lnTo>
                    <a:lnTo>
                      <a:pt x="455" y="509"/>
                    </a:lnTo>
                    <a:lnTo>
                      <a:pt x="454" y="509"/>
                    </a:lnTo>
                    <a:lnTo>
                      <a:pt x="453" y="509"/>
                    </a:lnTo>
                    <a:lnTo>
                      <a:pt x="451" y="509"/>
                    </a:lnTo>
                    <a:lnTo>
                      <a:pt x="450" y="509"/>
                    </a:lnTo>
                    <a:lnTo>
                      <a:pt x="449" y="509"/>
                    </a:lnTo>
                    <a:lnTo>
                      <a:pt x="449" y="508"/>
                    </a:lnTo>
                    <a:lnTo>
                      <a:pt x="450" y="508"/>
                    </a:lnTo>
                    <a:lnTo>
                      <a:pt x="450" y="507"/>
                    </a:lnTo>
                    <a:lnTo>
                      <a:pt x="450" y="506"/>
                    </a:lnTo>
                    <a:lnTo>
                      <a:pt x="450" y="505"/>
                    </a:lnTo>
                    <a:lnTo>
                      <a:pt x="449" y="504"/>
                    </a:lnTo>
                    <a:lnTo>
                      <a:pt x="448" y="504"/>
                    </a:lnTo>
                    <a:lnTo>
                      <a:pt x="448" y="503"/>
                    </a:lnTo>
                    <a:lnTo>
                      <a:pt x="447" y="502"/>
                    </a:lnTo>
                    <a:lnTo>
                      <a:pt x="447" y="501"/>
                    </a:lnTo>
                    <a:lnTo>
                      <a:pt x="448" y="501"/>
                    </a:lnTo>
                    <a:lnTo>
                      <a:pt x="449" y="501"/>
                    </a:lnTo>
                    <a:lnTo>
                      <a:pt x="449" y="502"/>
                    </a:lnTo>
                    <a:lnTo>
                      <a:pt x="450" y="502"/>
                    </a:lnTo>
                    <a:lnTo>
                      <a:pt x="451" y="502"/>
                    </a:lnTo>
                    <a:lnTo>
                      <a:pt x="452" y="501"/>
                    </a:lnTo>
                    <a:lnTo>
                      <a:pt x="453" y="501"/>
                    </a:lnTo>
                    <a:lnTo>
                      <a:pt x="453" y="500"/>
                    </a:lnTo>
                    <a:lnTo>
                      <a:pt x="453" y="499"/>
                    </a:lnTo>
                    <a:lnTo>
                      <a:pt x="454" y="499"/>
                    </a:lnTo>
                    <a:lnTo>
                      <a:pt x="454" y="498"/>
                    </a:lnTo>
                    <a:lnTo>
                      <a:pt x="454" y="496"/>
                    </a:lnTo>
                    <a:lnTo>
                      <a:pt x="455" y="496"/>
                    </a:lnTo>
                    <a:lnTo>
                      <a:pt x="456" y="498"/>
                    </a:lnTo>
                    <a:lnTo>
                      <a:pt x="456" y="499"/>
                    </a:lnTo>
                    <a:lnTo>
                      <a:pt x="456" y="500"/>
                    </a:lnTo>
                    <a:lnTo>
                      <a:pt x="456" y="501"/>
                    </a:lnTo>
                    <a:lnTo>
                      <a:pt x="456" y="502"/>
                    </a:lnTo>
                    <a:lnTo>
                      <a:pt x="456" y="503"/>
                    </a:lnTo>
                    <a:lnTo>
                      <a:pt x="457" y="504"/>
                    </a:lnTo>
                    <a:lnTo>
                      <a:pt x="459" y="504"/>
                    </a:lnTo>
                    <a:lnTo>
                      <a:pt x="460" y="504"/>
                    </a:lnTo>
                    <a:lnTo>
                      <a:pt x="460" y="505"/>
                    </a:lnTo>
                    <a:lnTo>
                      <a:pt x="461" y="505"/>
                    </a:lnTo>
                    <a:lnTo>
                      <a:pt x="462" y="505"/>
                    </a:lnTo>
                    <a:lnTo>
                      <a:pt x="461" y="505"/>
                    </a:lnTo>
                    <a:lnTo>
                      <a:pt x="461" y="504"/>
                    </a:lnTo>
                    <a:lnTo>
                      <a:pt x="461" y="503"/>
                    </a:lnTo>
                    <a:lnTo>
                      <a:pt x="462" y="502"/>
                    </a:lnTo>
                    <a:lnTo>
                      <a:pt x="462" y="501"/>
                    </a:lnTo>
                    <a:lnTo>
                      <a:pt x="463" y="501"/>
                    </a:lnTo>
                    <a:lnTo>
                      <a:pt x="462" y="500"/>
                    </a:lnTo>
                    <a:lnTo>
                      <a:pt x="463" y="499"/>
                    </a:lnTo>
                    <a:lnTo>
                      <a:pt x="463" y="498"/>
                    </a:lnTo>
                    <a:lnTo>
                      <a:pt x="463" y="496"/>
                    </a:lnTo>
                    <a:lnTo>
                      <a:pt x="463" y="495"/>
                    </a:lnTo>
                    <a:lnTo>
                      <a:pt x="463" y="494"/>
                    </a:lnTo>
                    <a:lnTo>
                      <a:pt x="464" y="494"/>
                    </a:lnTo>
                    <a:lnTo>
                      <a:pt x="465" y="493"/>
                    </a:lnTo>
                    <a:lnTo>
                      <a:pt x="466" y="493"/>
                    </a:lnTo>
                    <a:lnTo>
                      <a:pt x="467" y="493"/>
                    </a:lnTo>
                    <a:lnTo>
                      <a:pt x="468" y="492"/>
                    </a:lnTo>
                    <a:lnTo>
                      <a:pt x="469" y="491"/>
                    </a:lnTo>
                    <a:lnTo>
                      <a:pt x="470" y="491"/>
                    </a:lnTo>
                    <a:lnTo>
                      <a:pt x="470" y="490"/>
                    </a:lnTo>
                    <a:lnTo>
                      <a:pt x="472" y="490"/>
                    </a:lnTo>
                    <a:lnTo>
                      <a:pt x="472" y="489"/>
                    </a:lnTo>
                    <a:lnTo>
                      <a:pt x="470" y="488"/>
                    </a:lnTo>
                    <a:lnTo>
                      <a:pt x="470" y="487"/>
                    </a:lnTo>
                    <a:lnTo>
                      <a:pt x="470" y="486"/>
                    </a:lnTo>
                    <a:lnTo>
                      <a:pt x="470" y="485"/>
                    </a:lnTo>
                    <a:lnTo>
                      <a:pt x="469" y="483"/>
                    </a:lnTo>
                    <a:lnTo>
                      <a:pt x="468" y="483"/>
                    </a:lnTo>
                    <a:lnTo>
                      <a:pt x="467" y="483"/>
                    </a:lnTo>
                    <a:lnTo>
                      <a:pt x="465" y="483"/>
                    </a:lnTo>
                    <a:lnTo>
                      <a:pt x="465" y="485"/>
                    </a:lnTo>
                    <a:lnTo>
                      <a:pt x="464" y="486"/>
                    </a:lnTo>
                    <a:lnTo>
                      <a:pt x="463" y="486"/>
                    </a:lnTo>
                    <a:lnTo>
                      <a:pt x="462" y="487"/>
                    </a:lnTo>
                    <a:lnTo>
                      <a:pt x="462" y="488"/>
                    </a:lnTo>
                    <a:lnTo>
                      <a:pt x="461" y="489"/>
                    </a:lnTo>
                    <a:lnTo>
                      <a:pt x="461" y="490"/>
                    </a:lnTo>
                    <a:lnTo>
                      <a:pt x="461" y="491"/>
                    </a:lnTo>
                    <a:lnTo>
                      <a:pt x="460" y="491"/>
                    </a:lnTo>
                    <a:lnTo>
                      <a:pt x="460" y="492"/>
                    </a:lnTo>
                    <a:lnTo>
                      <a:pt x="459" y="491"/>
                    </a:lnTo>
                    <a:lnTo>
                      <a:pt x="457" y="491"/>
                    </a:lnTo>
                    <a:lnTo>
                      <a:pt x="457" y="490"/>
                    </a:lnTo>
                    <a:lnTo>
                      <a:pt x="459" y="489"/>
                    </a:lnTo>
                    <a:lnTo>
                      <a:pt x="460" y="488"/>
                    </a:lnTo>
                    <a:lnTo>
                      <a:pt x="461" y="486"/>
                    </a:lnTo>
                    <a:lnTo>
                      <a:pt x="462" y="485"/>
                    </a:lnTo>
                    <a:lnTo>
                      <a:pt x="462" y="483"/>
                    </a:lnTo>
                    <a:lnTo>
                      <a:pt x="461" y="482"/>
                    </a:lnTo>
                    <a:lnTo>
                      <a:pt x="461" y="481"/>
                    </a:lnTo>
                    <a:lnTo>
                      <a:pt x="461" y="480"/>
                    </a:lnTo>
                    <a:lnTo>
                      <a:pt x="461" y="479"/>
                    </a:lnTo>
                    <a:lnTo>
                      <a:pt x="461" y="478"/>
                    </a:lnTo>
                    <a:lnTo>
                      <a:pt x="460" y="478"/>
                    </a:lnTo>
                    <a:lnTo>
                      <a:pt x="461" y="478"/>
                    </a:lnTo>
                    <a:lnTo>
                      <a:pt x="460" y="477"/>
                    </a:lnTo>
                    <a:lnTo>
                      <a:pt x="461" y="476"/>
                    </a:lnTo>
                    <a:lnTo>
                      <a:pt x="461" y="474"/>
                    </a:lnTo>
                    <a:lnTo>
                      <a:pt x="460" y="474"/>
                    </a:lnTo>
                    <a:lnTo>
                      <a:pt x="460" y="473"/>
                    </a:lnTo>
                    <a:lnTo>
                      <a:pt x="460" y="472"/>
                    </a:lnTo>
                    <a:lnTo>
                      <a:pt x="459" y="472"/>
                    </a:lnTo>
                    <a:lnTo>
                      <a:pt x="459" y="470"/>
                    </a:lnTo>
                    <a:lnTo>
                      <a:pt x="459" y="469"/>
                    </a:lnTo>
                    <a:lnTo>
                      <a:pt x="457" y="469"/>
                    </a:lnTo>
                    <a:lnTo>
                      <a:pt x="457" y="468"/>
                    </a:lnTo>
                    <a:lnTo>
                      <a:pt x="456" y="467"/>
                    </a:lnTo>
                    <a:lnTo>
                      <a:pt x="455" y="467"/>
                    </a:lnTo>
                    <a:lnTo>
                      <a:pt x="454" y="467"/>
                    </a:lnTo>
                    <a:lnTo>
                      <a:pt x="453" y="467"/>
                    </a:lnTo>
                    <a:lnTo>
                      <a:pt x="452" y="467"/>
                    </a:lnTo>
                    <a:lnTo>
                      <a:pt x="451" y="467"/>
                    </a:lnTo>
                    <a:lnTo>
                      <a:pt x="451" y="466"/>
                    </a:lnTo>
                    <a:lnTo>
                      <a:pt x="451" y="465"/>
                    </a:lnTo>
                    <a:lnTo>
                      <a:pt x="450" y="464"/>
                    </a:lnTo>
                    <a:lnTo>
                      <a:pt x="449" y="463"/>
                    </a:lnTo>
                    <a:lnTo>
                      <a:pt x="448" y="462"/>
                    </a:lnTo>
                    <a:lnTo>
                      <a:pt x="447" y="462"/>
                    </a:lnTo>
                    <a:lnTo>
                      <a:pt x="446" y="462"/>
                    </a:lnTo>
                    <a:lnTo>
                      <a:pt x="444" y="462"/>
                    </a:lnTo>
                    <a:lnTo>
                      <a:pt x="443" y="462"/>
                    </a:lnTo>
                    <a:lnTo>
                      <a:pt x="443" y="463"/>
                    </a:lnTo>
                    <a:lnTo>
                      <a:pt x="443" y="464"/>
                    </a:lnTo>
                    <a:lnTo>
                      <a:pt x="443" y="465"/>
                    </a:lnTo>
                    <a:lnTo>
                      <a:pt x="442" y="466"/>
                    </a:lnTo>
                    <a:lnTo>
                      <a:pt x="441" y="466"/>
                    </a:lnTo>
                    <a:lnTo>
                      <a:pt x="441" y="467"/>
                    </a:lnTo>
                    <a:lnTo>
                      <a:pt x="442" y="468"/>
                    </a:lnTo>
                    <a:lnTo>
                      <a:pt x="442" y="469"/>
                    </a:lnTo>
                    <a:lnTo>
                      <a:pt x="442" y="472"/>
                    </a:lnTo>
                    <a:lnTo>
                      <a:pt x="442" y="473"/>
                    </a:lnTo>
                    <a:lnTo>
                      <a:pt x="443" y="474"/>
                    </a:lnTo>
                    <a:lnTo>
                      <a:pt x="444" y="474"/>
                    </a:lnTo>
                    <a:lnTo>
                      <a:pt x="443" y="475"/>
                    </a:lnTo>
                    <a:lnTo>
                      <a:pt x="442" y="475"/>
                    </a:lnTo>
                    <a:lnTo>
                      <a:pt x="441" y="476"/>
                    </a:lnTo>
                    <a:lnTo>
                      <a:pt x="441" y="477"/>
                    </a:lnTo>
                    <a:lnTo>
                      <a:pt x="442" y="477"/>
                    </a:lnTo>
                    <a:lnTo>
                      <a:pt x="441" y="480"/>
                    </a:lnTo>
                    <a:lnTo>
                      <a:pt x="442" y="480"/>
                    </a:lnTo>
                    <a:lnTo>
                      <a:pt x="442" y="481"/>
                    </a:lnTo>
                    <a:lnTo>
                      <a:pt x="443" y="482"/>
                    </a:lnTo>
                    <a:lnTo>
                      <a:pt x="443" y="483"/>
                    </a:lnTo>
                    <a:lnTo>
                      <a:pt x="443" y="485"/>
                    </a:lnTo>
                    <a:lnTo>
                      <a:pt x="443" y="488"/>
                    </a:lnTo>
                    <a:lnTo>
                      <a:pt x="442" y="490"/>
                    </a:lnTo>
                    <a:lnTo>
                      <a:pt x="443" y="490"/>
                    </a:lnTo>
                    <a:lnTo>
                      <a:pt x="443" y="491"/>
                    </a:lnTo>
                    <a:lnTo>
                      <a:pt x="442" y="492"/>
                    </a:lnTo>
                    <a:lnTo>
                      <a:pt x="442" y="494"/>
                    </a:lnTo>
                    <a:lnTo>
                      <a:pt x="441" y="493"/>
                    </a:lnTo>
                    <a:lnTo>
                      <a:pt x="441" y="492"/>
                    </a:lnTo>
                    <a:lnTo>
                      <a:pt x="441" y="491"/>
                    </a:lnTo>
                    <a:lnTo>
                      <a:pt x="440" y="490"/>
                    </a:lnTo>
                    <a:lnTo>
                      <a:pt x="440" y="489"/>
                    </a:lnTo>
                    <a:lnTo>
                      <a:pt x="440" y="488"/>
                    </a:lnTo>
                    <a:lnTo>
                      <a:pt x="440" y="487"/>
                    </a:lnTo>
                    <a:lnTo>
                      <a:pt x="439" y="486"/>
                    </a:lnTo>
                    <a:lnTo>
                      <a:pt x="439" y="485"/>
                    </a:lnTo>
                    <a:lnTo>
                      <a:pt x="439" y="483"/>
                    </a:lnTo>
                    <a:lnTo>
                      <a:pt x="439" y="482"/>
                    </a:lnTo>
                    <a:lnTo>
                      <a:pt x="439" y="481"/>
                    </a:lnTo>
                    <a:lnTo>
                      <a:pt x="439" y="480"/>
                    </a:lnTo>
                    <a:lnTo>
                      <a:pt x="438" y="480"/>
                    </a:lnTo>
                    <a:lnTo>
                      <a:pt x="437" y="480"/>
                    </a:lnTo>
                    <a:lnTo>
                      <a:pt x="436" y="479"/>
                    </a:lnTo>
                    <a:lnTo>
                      <a:pt x="436" y="478"/>
                    </a:lnTo>
                    <a:lnTo>
                      <a:pt x="436" y="477"/>
                    </a:lnTo>
                    <a:lnTo>
                      <a:pt x="436" y="476"/>
                    </a:lnTo>
                    <a:lnTo>
                      <a:pt x="436" y="475"/>
                    </a:lnTo>
                    <a:lnTo>
                      <a:pt x="435" y="475"/>
                    </a:lnTo>
                    <a:lnTo>
                      <a:pt x="434" y="475"/>
                    </a:lnTo>
                    <a:lnTo>
                      <a:pt x="434" y="474"/>
                    </a:lnTo>
                    <a:lnTo>
                      <a:pt x="434" y="473"/>
                    </a:lnTo>
                    <a:lnTo>
                      <a:pt x="434" y="472"/>
                    </a:lnTo>
                    <a:lnTo>
                      <a:pt x="433" y="469"/>
                    </a:lnTo>
                    <a:lnTo>
                      <a:pt x="433" y="468"/>
                    </a:lnTo>
                    <a:lnTo>
                      <a:pt x="433" y="467"/>
                    </a:lnTo>
                    <a:lnTo>
                      <a:pt x="431" y="467"/>
                    </a:lnTo>
                    <a:lnTo>
                      <a:pt x="431" y="466"/>
                    </a:lnTo>
                    <a:lnTo>
                      <a:pt x="431" y="465"/>
                    </a:lnTo>
                    <a:lnTo>
                      <a:pt x="430" y="465"/>
                    </a:lnTo>
                    <a:lnTo>
                      <a:pt x="430" y="464"/>
                    </a:lnTo>
                    <a:lnTo>
                      <a:pt x="429" y="463"/>
                    </a:lnTo>
                    <a:lnTo>
                      <a:pt x="430" y="462"/>
                    </a:lnTo>
                    <a:lnTo>
                      <a:pt x="429" y="461"/>
                    </a:lnTo>
                    <a:lnTo>
                      <a:pt x="428" y="461"/>
                    </a:lnTo>
                    <a:lnTo>
                      <a:pt x="428" y="460"/>
                    </a:lnTo>
                    <a:lnTo>
                      <a:pt x="427" y="459"/>
                    </a:lnTo>
                    <a:lnTo>
                      <a:pt x="426" y="459"/>
                    </a:lnTo>
                    <a:lnTo>
                      <a:pt x="426" y="460"/>
                    </a:lnTo>
                    <a:lnTo>
                      <a:pt x="426" y="461"/>
                    </a:lnTo>
                    <a:lnTo>
                      <a:pt x="425" y="461"/>
                    </a:lnTo>
                    <a:lnTo>
                      <a:pt x="424" y="461"/>
                    </a:lnTo>
                    <a:lnTo>
                      <a:pt x="424" y="460"/>
                    </a:lnTo>
                    <a:lnTo>
                      <a:pt x="423" y="460"/>
                    </a:lnTo>
                    <a:lnTo>
                      <a:pt x="423" y="459"/>
                    </a:lnTo>
                    <a:lnTo>
                      <a:pt x="423" y="457"/>
                    </a:lnTo>
                    <a:lnTo>
                      <a:pt x="422" y="456"/>
                    </a:lnTo>
                    <a:lnTo>
                      <a:pt x="422" y="455"/>
                    </a:lnTo>
                    <a:lnTo>
                      <a:pt x="421" y="455"/>
                    </a:lnTo>
                    <a:lnTo>
                      <a:pt x="421" y="457"/>
                    </a:lnTo>
                    <a:lnTo>
                      <a:pt x="419" y="457"/>
                    </a:lnTo>
                    <a:lnTo>
                      <a:pt x="418" y="459"/>
                    </a:lnTo>
                    <a:lnTo>
                      <a:pt x="417" y="457"/>
                    </a:lnTo>
                    <a:lnTo>
                      <a:pt x="418" y="457"/>
                    </a:lnTo>
                    <a:lnTo>
                      <a:pt x="418" y="456"/>
                    </a:lnTo>
                    <a:lnTo>
                      <a:pt x="418" y="455"/>
                    </a:lnTo>
                    <a:lnTo>
                      <a:pt x="418" y="454"/>
                    </a:lnTo>
                    <a:lnTo>
                      <a:pt x="418" y="453"/>
                    </a:lnTo>
                    <a:lnTo>
                      <a:pt x="418" y="452"/>
                    </a:lnTo>
                    <a:lnTo>
                      <a:pt x="418" y="451"/>
                    </a:lnTo>
                    <a:lnTo>
                      <a:pt x="419" y="451"/>
                    </a:lnTo>
                    <a:lnTo>
                      <a:pt x="417" y="449"/>
                    </a:lnTo>
                    <a:lnTo>
                      <a:pt x="416" y="448"/>
                    </a:lnTo>
                    <a:lnTo>
                      <a:pt x="415" y="448"/>
                    </a:lnTo>
                    <a:lnTo>
                      <a:pt x="415" y="450"/>
                    </a:lnTo>
                    <a:lnTo>
                      <a:pt x="414" y="450"/>
                    </a:lnTo>
                    <a:lnTo>
                      <a:pt x="413" y="450"/>
                    </a:lnTo>
                    <a:lnTo>
                      <a:pt x="413" y="451"/>
                    </a:lnTo>
                    <a:lnTo>
                      <a:pt x="413" y="452"/>
                    </a:lnTo>
                    <a:lnTo>
                      <a:pt x="413" y="453"/>
                    </a:lnTo>
                    <a:lnTo>
                      <a:pt x="412" y="453"/>
                    </a:lnTo>
                    <a:lnTo>
                      <a:pt x="412" y="452"/>
                    </a:lnTo>
                    <a:lnTo>
                      <a:pt x="411" y="451"/>
                    </a:lnTo>
                    <a:lnTo>
                      <a:pt x="411" y="450"/>
                    </a:lnTo>
                    <a:lnTo>
                      <a:pt x="410" y="450"/>
                    </a:lnTo>
                    <a:lnTo>
                      <a:pt x="409" y="449"/>
                    </a:lnTo>
                    <a:lnTo>
                      <a:pt x="410" y="449"/>
                    </a:lnTo>
                    <a:lnTo>
                      <a:pt x="410" y="448"/>
                    </a:lnTo>
                    <a:lnTo>
                      <a:pt x="409" y="447"/>
                    </a:lnTo>
                    <a:lnTo>
                      <a:pt x="408" y="447"/>
                    </a:lnTo>
                    <a:lnTo>
                      <a:pt x="406" y="446"/>
                    </a:lnTo>
                    <a:lnTo>
                      <a:pt x="406" y="447"/>
                    </a:lnTo>
                    <a:lnTo>
                      <a:pt x="405" y="447"/>
                    </a:lnTo>
                    <a:lnTo>
                      <a:pt x="404" y="447"/>
                    </a:lnTo>
                    <a:lnTo>
                      <a:pt x="404" y="446"/>
                    </a:lnTo>
                    <a:lnTo>
                      <a:pt x="405" y="446"/>
                    </a:lnTo>
                    <a:lnTo>
                      <a:pt x="406" y="446"/>
                    </a:lnTo>
                    <a:lnTo>
                      <a:pt x="408" y="446"/>
                    </a:lnTo>
                    <a:lnTo>
                      <a:pt x="410" y="444"/>
                    </a:lnTo>
                    <a:lnTo>
                      <a:pt x="411" y="443"/>
                    </a:lnTo>
                    <a:lnTo>
                      <a:pt x="412" y="442"/>
                    </a:lnTo>
                    <a:lnTo>
                      <a:pt x="413" y="441"/>
                    </a:lnTo>
                    <a:lnTo>
                      <a:pt x="413" y="440"/>
                    </a:lnTo>
                    <a:lnTo>
                      <a:pt x="413" y="439"/>
                    </a:lnTo>
                    <a:lnTo>
                      <a:pt x="413" y="438"/>
                    </a:lnTo>
                    <a:lnTo>
                      <a:pt x="413" y="437"/>
                    </a:lnTo>
                    <a:lnTo>
                      <a:pt x="413" y="436"/>
                    </a:lnTo>
                    <a:lnTo>
                      <a:pt x="413" y="435"/>
                    </a:lnTo>
                    <a:lnTo>
                      <a:pt x="413" y="434"/>
                    </a:lnTo>
                    <a:lnTo>
                      <a:pt x="413" y="433"/>
                    </a:lnTo>
                    <a:lnTo>
                      <a:pt x="413" y="431"/>
                    </a:lnTo>
                    <a:lnTo>
                      <a:pt x="412" y="430"/>
                    </a:lnTo>
                    <a:lnTo>
                      <a:pt x="412" y="429"/>
                    </a:lnTo>
                    <a:lnTo>
                      <a:pt x="410" y="428"/>
                    </a:lnTo>
                    <a:lnTo>
                      <a:pt x="409" y="427"/>
                    </a:lnTo>
                    <a:lnTo>
                      <a:pt x="409" y="426"/>
                    </a:lnTo>
                    <a:lnTo>
                      <a:pt x="409" y="425"/>
                    </a:lnTo>
                    <a:lnTo>
                      <a:pt x="408" y="424"/>
                    </a:lnTo>
                    <a:lnTo>
                      <a:pt x="406" y="424"/>
                    </a:lnTo>
                    <a:lnTo>
                      <a:pt x="405" y="423"/>
                    </a:lnTo>
                    <a:lnTo>
                      <a:pt x="404" y="423"/>
                    </a:lnTo>
                    <a:lnTo>
                      <a:pt x="404" y="422"/>
                    </a:lnTo>
                    <a:lnTo>
                      <a:pt x="405" y="421"/>
                    </a:lnTo>
                    <a:lnTo>
                      <a:pt x="406" y="422"/>
                    </a:lnTo>
                    <a:lnTo>
                      <a:pt x="408" y="421"/>
                    </a:lnTo>
                    <a:lnTo>
                      <a:pt x="408" y="419"/>
                    </a:lnTo>
                    <a:lnTo>
                      <a:pt x="406" y="419"/>
                    </a:lnTo>
                    <a:lnTo>
                      <a:pt x="406" y="418"/>
                    </a:lnTo>
                    <a:lnTo>
                      <a:pt x="406" y="416"/>
                    </a:lnTo>
                    <a:lnTo>
                      <a:pt x="405" y="416"/>
                    </a:lnTo>
                    <a:lnTo>
                      <a:pt x="405" y="415"/>
                    </a:lnTo>
                    <a:lnTo>
                      <a:pt x="404" y="415"/>
                    </a:lnTo>
                    <a:lnTo>
                      <a:pt x="404" y="414"/>
                    </a:lnTo>
                    <a:lnTo>
                      <a:pt x="404" y="413"/>
                    </a:lnTo>
                    <a:lnTo>
                      <a:pt x="403" y="413"/>
                    </a:lnTo>
                    <a:lnTo>
                      <a:pt x="403" y="412"/>
                    </a:lnTo>
                    <a:lnTo>
                      <a:pt x="402" y="412"/>
                    </a:lnTo>
                    <a:lnTo>
                      <a:pt x="402" y="411"/>
                    </a:lnTo>
                    <a:lnTo>
                      <a:pt x="401" y="410"/>
                    </a:lnTo>
                    <a:lnTo>
                      <a:pt x="400" y="410"/>
                    </a:lnTo>
                    <a:lnTo>
                      <a:pt x="399" y="410"/>
                    </a:lnTo>
                    <a:lnTo>
                      <a:pt x="398" y="410"/>
                    </a:lnTo>
                    <a:lnTo>
                      <a:pt x="398" y="411"/>
                    </a:lnTo>
                    <a:lnTo>
                      <a:pt x="398" y="412"/>
                    </a:lnTo>
                    <a:lnTo>
                      <a:pt x="398" y="413"/>
                    </a:lnTo>
                    <a:lnTo>
                      <a:pt x="398" y="414"/>
                    </a:lnTo>
                    <a:lnTo>
                      <a:pt x="398" y="415"/>
                    </a:lnTo>
                    <a:lnTo>
                      <a:pt x="399" y="415"/>
                    </a:lnTo>
                    <a:lnTo>
                      <a:pt x="399" y="416"/>
                    </a:lnTo>
                    <a:lnTo>
                      <a:pt x="399" y="417"/>
                    </a:lnTo>
                    <a:lnTo>
                      <a:pt x="399" y="418"/>
                    </a:lnTo>
                    <a:lnTo>
                      <a:pt x="400" y="419"/>
                    </a:lnTo>
                    <a:lnTo>
                      <a:pt x="400" y="421"/>
                    </a:lnTo>
                    <a:lnTo>
                      <a:pt x="401" y="421"/>
                    </a:lnTo>
                    <a:lnTo>
                      <a:pt x="401" y="422"/>
                    </a:lnTo>
                    <a:lnTo>
                      <a:pt x="402" y="423"/>
                    </a:lnTo>
                    <a:lnTo>
                      <a:pt x="402" y="424"/>
                    </a:lnTo>
                    <a:lnTo>
                      <a:pt x="401" y="424"/>
                    </a:lnTo>
                    <a:lnTo>
                      <a:pt x="401" y="425"/>
                    </a:lnTo>
                    <a:lnTo>
                      <a:pt x="401" y="426"/>
                    </a:lnTo>
                    <a:lnTo>
                      <a:pt x="401" y="427"/>
                    </a:lnTo>
                    <a:lnTo>
                      <a:pt x="401" y="428"/>
                    </a:lnTo>
                    <a:lnTo>
                      <a:pt x="401" y="429"/>
                    </a:lnTo>
                    <a:lnTo>
                      <a:pt x="402" y="430"/>
                    </a:lnTo>
                    <a:lnTo>
                      <a:pt x="403" y="430"/>
                    </a:lnTo>
                    <a:lnTo>
                      <a:pt x="403" y="431"/>
                    </a:lnTo>
                    <a:lnTo>
                      <a:pt x="403" y="433"/>
                    </a:lnTo>
                    <a:lnTo>
                      <a:pt x="403" y="434"/>
                    </a:lnTo>
                    <a:lnTo>
                      <a:pt x="403" y="433"/>
                    </a:lnTo>
                    <a:lnTo>
                      <a:pt x="402" y="433"/>
                    </a:lnTo>
                    <a:lnTo>
                      <a:pt x="403" y="433"/>
                    </a:lnTo>
                    <a:lnTo>
                      <a:pt x="403" y="434"/>
                    </a:lnTo>
                    <a:lnTo>
                      <a:pt x="402" y="434"/>
                    </a:lnTo>
                    <a:lnTo>
                      <a:pt x="403" y="434"/>
                    </a:lnTo>
                    <a:lnTo>
                      <a:pt x="403" y="435"/>
                    </a:lnTo>
                    <a:lnTo>
                      <a:pt x="404" y="435"/>
                    </a:lnTo>
                    <a:lnTo>
                      <a:pt x="404" y="436"/>
                    </a:lnTo>
                    <a:lnTo>
                      <a:pt x="405" y="436"/>
                    </a:lnTo>
                    <a:lnTo>
                      <a:pt x="405" y="437"/>
                    </a:lnTo>
                    <a:lnTo>
                      <a:pt x="405" y="438"/>
                    </a:lnTo>
                    <a:lnTo>
                      <a:pt x="406" y="438"/>
                    </a:lnTo>
                    <a:lnTo>
                      <a:pt x="406" y="439"/>
                    </a:lnTo>
                    <a:lnTo>
                      <a:pt x="408" y="438"/>
                    </a:lnTo>
                    <a:lnTo>
                      <a:pt x="408" y="439"/>
                    </a:lnTo>
                    <a:lnTo>
                      <a:pt x="409" y="439"/>
                    </a:lnTo>
                    <a:lnTo>
                      <a:pt x="408" y="439"/>
                    </a:lnTo>
                    <a:lnTo>
                      <a:pt x="406" y="439"/>
                    </a:lnTo>
                    <a:lnTo>
                      <a:pt x="405" y="439"/>
                    </a:lnTo>
                    <a:lnTo>
                      <a:pt x="404" y="438"/>
                    </a:lnTo>
                    <a:lnTo>
                      <a:pt x="403" y="438"/>
                    </a:lnTo>
                    <a:lnTo>
                      <a:pt x="402" y="436"/>
                    </a:lnTo>
                    <a:lnTo>
                      <a:pt x="402" y="435"/>
                    </a:lnTo>
                    <a:lnTo>
                      <a:pt x="401" y="435"/>
                    </a:lnTo>
                    <a:lnTo>
                      <a:pt x="400" y="435"/>
                    </a:lnTo>
                    <a:lnTo>
                      <a:pt x="400" y="434"/>
                    </a:lnTo>
                    <a:lnTo>
                      <a:pt x="399" y="433"/>
                    </a:lnTo>
                    <a:lnTo>
                      <a:pt x="398" y="433"/>
                    </a:lnTo>
                    <a:lnTo>
                      <a:pt x="398" y="431"/>
                    </a:lnTo>
                    <a:lnTo>
                      <a:pt x="397" y="431"/>
                    </a:lnTo>
                    <a:lnTo>
                      <a:pt x="396" y="431"/>
                    </a:lnTo>
                    <a:lnTo>
                      <a:pt x="395" y="431"/>
                    </a:lnTo>
                    <a:lnTo>
                      <a:pt x="395" y="433"/>
                    </a:lnTo>
                    <a:lnTo>
                      <a:pt x="395" y="434"/>
                    </a:lnTo>
                    <a:lnTo>
                      <a:pt x="395" y="435"/>
                    </a:lnTo>
                    <a:lnTo>
                      <a:pt x="393" y="436"/>
                    </a:lnTo>
                    <a:lnTo>
                      <a:pt x="393" y="437"/>
                    </a:lnTo>
                    <a:lnTo>
                      <a:pt x="392" y="437"/>
                    </a:lnTo>
                    <a:lnTo>
                      <a:pt x="392" y="438"/>
                    </a:lnTo>
                    <a:lnTo>
                      <a:pt x="393" y="438"/>
                    </a:lnTo>
                    <a:lnTo>
                      <a:pt x="393" y="440"/>
                    </a:lnTo>
                    <a:lnTo>
                      <a:pt x="391" y="440"/>
                    </a:lnTo>
                    <a:lnTo>
                      <a:pt x="389" y="440"/>
                    </a:lnTo>
                    <a:lnTo>
                      <a:pt x="388" y="440"/>
                    </a:lnTo>
                    <a:lnTo>
                      <a:pt x="388" y="439"/>
                    </a:lnTo>
                    <a:lnTo>
                      <a:pt x="389" y="438"/>
                    </a:lnTo>
                    <a:lnTo>
                      <a:pt x="390" y="438"/>
                    </a:lnTo>
                    <a:lnTo>
                      <a:pt x="390" y="437"/>
                    </a:lnTo>
                    <a:lnTo>
                      <a:pt x="390" y="436"/>
                    </a:lnTo>
                    <a:lnTo>
                      <a:pt x="390" y="435"/>
                    </a:lnTo>
                    <a:lnTo>
                      <a:pt x="390" y="434"/>
                    </a:lnTo>
                    <a:lnTo>
                      <a:pt x="389" y="434"/>
                    </a:lnTo>
                    <a:lnTo>
                      <a:pt x="390" y="433"/>
                    </a:lnTo>
                    <a:lnTo>
                      <a:pt x="389" y="433"/>
                    </a:lnTo>
                    <a:lnTo>
                      <a:pt x="388" y="434"/>
                    </a:lnTo>
                    <a:lnTo>
                      <a:pt x="388" y="435"/>
                    </a:lnTo>
                    <a:lnTo>
                      <a:pt x="387" y="436"/>
                    </a:lnTo>
                    <a:lnTo>
                      <a:pt x="387" y="437"/>
                    </a:lnTo>
                    <a:lnTo>
                      <a:pt x="387" y="439"/>
                    </a:lnTo>
                    <a:lnTo>
                      <a:pt x="387" y="440"/>
                    </a:lnTo>
                    <a:lnTo>
                      <a:pt x="387" y="441"/>
                    </a:lnTo>
                    <a:lnTo>
                      <a:pt x="387" y="442"/>
                    </a:lnTo>
                    <a:lnTo>
                      <a:pt x="386" y="442"/>
                    </a:lnTo>
                    <a:lnTo>
                      <a:pt x="385" y="443"/>
                    </a:lnTo>
                    <a:lnTo>
                      <a:pt x="385" y="444"/>
                    </a:lnTo>
                    <a:lnTo>
                      <a:pt x="385" y="446"/>
                    </a:lnTo>
                    <a:lnTo>
                      <a:pt x="385" y="447"/>
                    </a:lnTo>
                    <a:lnTo>
                      <a:pt x="385" y="448"/>
                    </a:lnTo>
                    <a:lnTo>
                      <a:pt x="384" y="449"/>
                    </a:lnTo>
                    <a:lnTo>
                      <a:pt x="384" y="450"/>
                    </a:lnTo>
                    <a:lnTo>
                      <a:pt x="384" y="451"/>
                    </a:lnTo>
                    <a:lnTo>
                      <a:pt x="385" y="452"/>
                    </a:lnTo>
                    <a:lnTo>
                      <a:pt x="384" y="453"/>
                    </a:lnTo>
                    <a:lnTo>
                      <a:pt x="385" y="453"/>
                    </a:lnTo>
                    <a:lnTo>
                      <a:pt x="385" y="454"/>
                    </a:lnTo>
                    <a:lnTo>
                      <a:pt x="385" y="455"/>
                    </a:lnTo>
                    <a:lnTo>
                      <a:pt x="385" y="456"/>
                    </a:lnTo>
                    <a:lnTo>
                      <a:pt x="386" y="457"/>
                    </a:lnTo>
                    <a:lnTo>
                      <a:pt x="387" y="456"/>
                    </a:lnTo>
                    <a:lnTo>
                      <a:pt x="388" y="456"/>
                    </a:lnTo>
                    <a:lnTo>
                      <a:pt x="388" y="457"/>
                    </a:lnTo>
                    <a:lnTo>
                      <a:pt x="387" y="457"/>
                    </a:lnTo>
                    <a:lnTo>
                      <a:pt x="387" y="459"/>
                    </a:lnTo>
                    <a:lnTo>
                      <a:pt x="387" y="460"/>
                    </a:lnTo>
                    <a:lnTo>
                      <a:pt x="387" y="461"/>
                    </a:lnTo>
                    <a:lnTo>
                      <a:pt x="387" y="462"/>
                    </a:lnTo>
                    <a:lnTo>
                      <a:pt x="388" y="463"/>
                    </a:lnTo>
                    <a:lnTo>
                      <a:pt x="388" y="464"/>
                    </a:lnTo>
                    <a:lnTo>
                      <a:pt x="387" y="464"/>
                    </a:lnTo>
                    <a:lnTo>
                      <a:pt x="386" y="464"/>
                    </a:lnTo>
                    <a:lnTo>
                      <a:pt x="385" y="466"/>
                    </a:lnTo>
                    <a:lnTo>
                      <a:pt x="384" y="466"/>
                    </a:lnTo>
                    <a:lnTo>
                      <a:pt x="384" y="467"/>
                    </a:lnTo>
                    <a:lnTo>
                      <a:pt x="384" y="468"/>
                    </a:lnTo>
                    <a:lnTo>
                      <a:pt x="384" y="469"/>
                    </a:lnTo>
                    <a:lnTo>
                      <a:pt x="383" y="469"/>
                    </a:lnTo>
                    <a:lnTo>
                      <a:pt x="382" y="469"/>
                    </a:lnTo>
                    <a:lnTo>
                      <a:pt x="383" y="468"/>
                    </a:lnTo>
                    <a:lnTo>
                      <a:pt x="383" y="467"/>
                    </a:lnTo>
                    <a:lnTo>
                      <a:pt x="383" y="466"/>
                    </a:lnTo>
                    <a:lnTo>
                      <a:pt x="383" y="465"/>
                    </a:lnTo>
                    <a:lnTo>
                      <a:pt x="383" y="464"/>
                    </a:lnTo>
                    <a:lnTo>
                      <a:pt x="383" y="462"/>
                    </a:lnTo>
                    <a:lnTo>
                      <a:pt x="382" y="461"/>
                    </a:lnTo>
                    <a:lnTo>
                      <a:pt x="382" y="460"/>
                    </a:lnTo>
                    <a:lnTo>
                      <a:pt x="380" y="460"/>
                    </a:lnTo>
                    <a:lnTo>
                      <a:pt x="380" y="462"/>
                    </a:lnTo>
                    <a:lnTo>
                      <a:pt x="380" y="463"/>
                    </a:lnTo>
                    <a:lnTo>
                      <a:pt x="380" y="464"/>
                    </a:lnTo>
                    <a:lnTo>
                      <a:pt x="379" y="464"/>
                    </a:lnTo>
                    <a:lnTo>
                      <a:pt x="378" y="464"/>
                    </a:lnTo>
                    <a:lnTo>
                      <a:pt x="379" y="463"/>
                    </a:lnTo>
                    <a:lnTo>
                      <a:pt x="379" y="462"/>
                    </a:lnTo>
                    <a:lnTo>
                      <a:pt x="377" y="461"/>
                    </a:lnTo>
                    <a:lnTo>
                      <a:pt x="376" y="462"/>
                    </a:lnTo>
                    <a:lnTo>
                      <a:pt x="376" y="464"/>
                    </a:lnTo>
                    <a:lnTo>
                      <a:pt x="375" y="464"/>
                    </a:lnTo>
                    <a:lnTo>
                      <a:pt x="374" y="463"/>
                    </a:lnTo>
                    <a:lnTo>
                      <a:pt x="373" y="464"/>
                    </a:lnTo>
                    <a:lnTo>
                      <a:pt x="373" y="463"/>
                    </a:lnTo>
                    <a:lnTo>
                      <a:pt x="373" y="462"/>
                    </a:lnTo>
                    <a:lnTo>
                      <a:pt x="374" y="462"/>
                    </a:lnTo>
                    <a:lnTo>
                      <a:pt x="374" y="461"/>
                    </a:lnTo>
                    <a:lnTo>
                      <a:pt x="375" y="461"/>
                    </a:lnTo>
                    <a:lnTo>
                      <a:pt x="376" y="459"/>
                    </a:lnTo>
                    <a:lnTo>
                      <a:pt x="376" y="457"/>
                    </a:lnTo>
                    <a:lnTo>
                      <a:pt x="376" y="456"/>
                    </a:lnTo>
                    <a:lnTo>
                      <a:pt x="377" y="455"/>
                    </a:lnTo>
                    <a:lnTo>
                      <a:pt x="377" y="454"/>
                    </a:lnTo>
                    <a:lnTo>
                      <a:pt x="378" y="454"/>
                    </a:lnTo>
                    <a:lnTo>
                      <a:pt x="379" y="453"/>
                    </a:lnTo>
                    <a:lnTo>
                      <a:pt x="380" y="452"/>
                    </a:lnTo>
                    <a:lnTo>
                      <a:pt x="382" y="452"/>
                    </a:lnTo>
                    <a:lnTo>
                      <a:pt x="382" y="451"/>
                    </a:lnTo>
                    <a:lnTo>
                      <a:pt x="380" y="450"/>
                    </a:lnTo>
                    <a:lnTo>
                      <a:pt x="380" y="449"/>
                    </a:lnTo>
                    <a:lnTo>
                      <a:pt x="382" y="449"/>
                    </a:lnTo>
                    <a:lnTo>
                      <a:pt x="382" y="448"/>
                    </a:lnTo>
                    <a:lnTo>
                      <a:pt x="382" y="447"/>
                    </a:lnTo>
                    <a:lnTo>
                      <a:pt x="382" y="446"/>
                    </a:lnTo>
                    <a:lnTo>
                      <a:pt x="382" y="444"/>
                    </a:lnTo>
                    <a:lnTo>
                      <a:pt x="382" y="443"/>
                    </a:lnTo>
                    <a:lnTo>
                      <a:pt x="382" y="441"/>
                    </a:lnTo>
                    <a:lnTo>
                      <a:pt x="383" y="440"/>
                    </a:lnTo>
                    <a:lnTo>
                      <a:pt x="384" y="439"/>
                    </a:lnTo>
                    <a:lnTo>
                      <a:pt x="385" y="438"/>
                    </a:lnTo>
                    <a:lnTo>
                      <a:pt x="385" y="437"/>
                    </a:lnTo>
                    <a:lnTo>
                      <a:pt x="385" y="436"/>
                    </a:lnTo>
                    <a:lnTo>
                      <a:pt x="385" y="435"/>
                    </a:lnTo>
                    <a:lnTo>
                      <a:pt x="385" y="431"/>
                    </a:lnTo>
                    <a:lnTo>
                      <a:pt x="384" y="431"/>
                    </a:lnTo>
                    <a:lnTo>
                      <a:pt x="384" y="430"/>
                    </a:lnTo>
                    <a:lnTo>
                      <a:pt x="384" y="429"/>
                    </a:lnTo>
                    <a:lnTo>
                      <a:pt x="383" y="428"/>
                    </a:lnTo>
                    <a:lnTo>
                      <a:pt x="383" y="427"/>
                    </a:lnTo>
                    <a:lnTo>
                      <a:pt x="382" y="427"/>
                    </a:lnTo>
                    <a:lnTo>
                      <a:pt x="382" y="426"/>
                    </a:lnTo>
                    <a:lnTo>
                      <a:pt x="382" y="425"/>
                    </a:lnTo>
                    <a:lnTo>
                      <a:pt x="380" y="424"/>
                    </a:lnTo>
                    <a:lnTo>
                      <a:pt x="380" y="423"/>
                    </a:lnTo>
                    <a:lnTo>
                      <a:pt x="379" y="422"/>
                    </a:lnTo>
                    <a:lnTo>
                      <a:pt x="379" y="421"/>
                    </a:lnTo>
                    <a:lnTo>
                      <a:pt x="379" y="419"/>
                    </a:lnTo>
                    <a:lnTo>
                      <a:pt x="380" y="417"/>
                    </a:lnTo>
                    <a:lnTo>
                      <a:pt x="382" y="416"/>
                    </a:lnTo>
                    <a:lnTo>
                      <a:pt x="382" y="415"/>
                    </a:lnTo>
                    <a:lnTo>
                      <a:pt x="382" y="414"/>
                    </a:lnTo>
                    <a:lnTo>
                      <a:pt x="383" y="414"/>
                    </a:lnTo>
                    <a:lnTo>
                      <a:pt x="383" y="412"/>
                    </a:lnTo>
                    <a:lnTo>
                      <a:pt x="382" y="411"/>
                    </a:lnTo>
                    <a:lnTo>
                      <a:pt x="382" y="410"/>
                    </a:lnTo>
                    <a:lnTo>
                      <a:pt x="382" y="408"/>
                    </a:lnTo>
                    <a:lnTo>
                      <a:pt x="383" y="406"/>
                    </a:lnTo>
                    <a:lnTo>
                      <a:pt x="383" y="405"/>
                    </a:lnTo>
                    <a:lnTo>
                      <a:pt x="384" y="405"/>
                    </a:lnTo>
                    <a:lnTo>
                      <a:pt x="384" y="404"/>
                    </a:lnTo>
                    <a:lnTo>
                      <a:pt x="384" y="403"/>
                    </a:lnTo>
                    <a:lnTo>
                      <a:pt x="384" y="402"/>
                    </a:lnTo>
                    <a:lnTo>
                      <a:pt x="383" y="399"/>
                    </a:lnTo>
                    <a:lnTo>
                      <a:pt x="382" y="398"/>
                    </a:lnTo>
                    <a:lnTo>
                      <a:pt x="382" y="397"/>
                    </a:lnTo>
                    <a:lnTo>
                      <a:pt x="382" y="396"/>
                    </a:lnTo>
                    <a:lnTo>
                      <a:pt x="380" y="393"/>
                    </a:lnTo>
                    <a:lnTo>
                      <a:pt x="380" y="392"/>
                    </a:lnTo>
                    <a:lnTo>
                      <a:pt x="380" y="391"/>
                    </a:lnTo>
                    <a:lnTo>
                      <a:pt x="379" y="391"/>
                    </a:lnTo>
                    <a:lnTo>
                      <a:pt x="379" y="390"/>
                    </a:lnTo>
                    <a:lnTo>
                      <a:pt x="377" y="389"/>
                    </a:lnTo>
                    <a:lnTo>
                      <a:pt x="376" y="387"/>
                    </a:lnTo>
                    <a:lnTo>
                      <a:pt x="375" y="386"/>
                    </a:lnTo>
                    <a:lnTo>
                      <a:pt x="374" y="385"/>
                    </a:lnTo>
                    <a:lnTo>
                      <a:pt x="374" y="384"/>
                    </a:lnTo>
                    <a:lnTo>
                      <a:pt x="373" y="383"/>
                    </a:lnTo>
                    <a:lnTo>
                      <a:pt x="372" y="382"/>
                    </a:lnTo>
                    <a:lnTo>
                      <a:pt x="371" y="382"/>
                    </a:lnTo>
                    <a:lnTo>
                      <a:pt x="371" y="380"/>
                    </a:lnTo>
                    <a:lnTo>
                      <a:pt x="370" y="379"/>
                    </a:lnTo>
                    <a:lnTo>
                      <a:pt x="369" y="379"/>
                    </a:lnTo>
                    <a:lnTo>
                      <a:pt x="366" y="379"/>
                    </a:lnTo>
                    <a:lnTo>
                      <a:pt x="366" y="378"/>
                    </a:lnTo>
                    <a:lnTo>
                      <a:pt x="364" y="377"/>
                    </a:lnTo>
                    <a:lnTo>
                      <a:pt x="363" y="377"/>
                    </a:lnTo>
                    <a:lnTo>
                      <a:pt x="362" y="376"/>
                    </a:lnTo>
                    <a:lnTo>
                      <a:pt x="361" y="376"/>
                    </a:lnTo>
                    <a:lnTo>
                      <a:pt x="360" y="375"/>
                    </a:lnTo>
                    <a:lnTo>
                      <a:pt x="359" y="375"/>
                    </a:lnTo>
                    <a:lnTo>
                      <a:pt x="359" y="374"/>
                    </a:lnTo>
                    <a:lnTo>
                      <a:pt x="358" y="372"/>
                    </a:lnTo>
                    <a:lnTo>
                      <a:pt x="357" y="371"/>
                    </a:lnTo>
                    <a:lnTo>
                      <a:pt x="356" y="370"/>
                    </a:lnTo>
                    <a:lnTo>
                      <a:pt x="354" y="369"/>
                    </a:lnTo>
                    <a:lnTo>
                      <a:pt x="354" y="367"/>
                    </a:lnTo>
                    <a:lnTo>
                      <a:pt x="353" y="367"/>
                    </a:lnTo>
                    <a:lnTo>
                      <a:pt x="352" y="366"/>
                    </a:lnTo>
                    <a:lnTo>
                      <a:pt x="351" y="365"/>
                    </a:lnTo>
                    <a:lnTo>
                      <a:pt x="351" y="364"/>
                    </a:lnTo>
                    <a:lnTo>
                      <a:pt x="350" y="364"/>
                    </a:lnTo>
                    <a:lnTo>
                      <a:pt x="349" y="363"/>
                    </a:lnTo>
                    <a:lnTo>
                      <a:pt x="348" y="361"/>
                    </a:lnTo>
                    <a:lnTo>
                      <a:pt x="347" y="360"/>
                    </a:lnTo>
                    <a:lnTo>
                      <a:pt x="346" y="359"/>
                    </a:lnTo>
                    <a:lnTo>
                      <a:pt x="345" y="358"/>
                    </a:lnTo>
                    <a:lnTo>
                      <a:pt x="344" y="358"/>
                    </a:lnTo>
                    <a:lnTo>
                      <a:pt x="343" y="357"/>
                    </a:lnTo>
                    <a:lnTo>
                      <a:pt x="341" y="356"/>
                    </a:lnTo>
                    <a:lnTo>
                      <a:pt x="341" y="354"/>
                    </a:lnTo>
                    <a:lnTo>
                      <a:pt x="341" y="353"/>
                    </a:lnTo>
                    <a:lnTo>
                      <a:pt x="340" y="353"/>
                    </a:lnTo>
                    <a:lnTo>
                      <a:pt x="340" y="352"/>
                    </a:lnTo>
                    <a:lnTo>
                      <a:pt x="340" y="351"/>
                    </a:lnTo>
                    <a:lnTo>
                      <a:pt x="339" y="351"/>
                    </a:lnTo>
                    <a:lnTo>
                      <a:pt x="339" y="350"/>
                    </a:lnTo>
                    <a:lnTo>
                      <a:pt x="337" y="348"/>
                    </a:lnTo>
                    <a:lnTo>
                      <a:pt x="336" y="348"/>
                    </a:lnTo>
                    <a:lnTo>
                      <a:pt x="335" y="347"/>
                    </a:lnTo>
                    <a:lnTo>
                      <a:pt x="335" y="346"/>
                    </a:lnTo>
                    <a:lnTo>
                      <a:pt x="335" y="344"/>
                    </a:lnTo>
                    <a:lnTo>
                      <a:pt x="335" y="342"/>
                    </a:lnTo>
                    <a:lnTo>
                      <a:pt x="334" y="341"/>
                    </a:lnTo>
                    <a:lnTo>
                      <a:pt x="334" y="340"/>
                    </a:lnTo>
                    <a:lnTo>
                      <a:pt x="333" y="338"/>
                    </a:lnTo>
                    <a:lnTo>
                      <a:pt x="333" y="337"/>
                    </a:lnTo>
                    <a:lnTo>
                      <a:pt x="332" y="337"/>
                    </a:lnTo>
                    <a:lnTo>
                      <a:pt x="332" y="336"/>
                    </a:lnTo>
                    <a:lnTo>
                      <a:pt x="332" y="335"/>
                    </a:lnTo>
                    <a:lnTo>
                      <a:pt x="331" y="334"/>
                    </a:lnTo>
                    <a:lnTo>
                      <a:pt x="331" y="333"/>
                    </a:lnTo>
                    <a:lnTo>
                      <a:pt x="330" y="332"/>
                    </a:lnTo>
                    <a:lnTo>
                      <a:pt x="330" y="331"/>
                    </a:lnTo>
                    <a:lnTo>
                      <a:pt x="328" y="331"/>
                    </a:lnTo>
                    <a:lnTo>
                      <a:pt x="325" y="328"/>
                    </a:lnTo>
                    <a:lnTo>
                      <a:pt x="324" y="328"/>
                    </a:lnTo>
                    <a:lnTo>
                      <a:pt x="323" y="327"/>
                    </a:lnTo>
                    <a:lnTo>
                      <a:pt x="322" y="326"/>
                    </a:lnTo>
                    <a:lnTo>
                      <a:pt x="322" y="325"/>
                    </a:lnTo>
                    <a:lnTo>
                      <a:pt x="321" y="325"/>
                    </a:lnTo>
                    <a:lnTo>
                      <a:pt x="319" y="325"/>
                    </a:lnTo>
                    <a:lnTo>
                      <a:pt x="318" y="323"/>
                    </a:lnTo>
                    <a:lnTo>
                      <a:pt x="315" y="321"/>
                    </a:lnTo>
                    <a:lnTo>
                      <a:pt x="314" y="321"/>
                    </a:lnTo>
                    <a:lnTo>
                      <a:pt x="313" y="320"/>
                    </a:lnTo>
                    <a:lnTo>
                      <a:pt x="313" y="319"/>
                    </a:lnTo>
                    <a:lnTo>
                      <a:pt x="313" y="318"/>
                    </a:lnTo>
                    <a:lnTo>
                      <a:pt x="312" y="318"/>
                    </a:lnTo>
                    <a:lnTo>
                      <a:pt x="312" y="316"/>
                    </a:lnTo>
                    <a:lnTo>
                      <a:pt x="311" y="315"/>
                    </a:lnTo>
                    <a:lnTo>
                      <a:pt x="311" y="314"/>
                    </a:lnTo>
                    <a:lnTo>
                      <a:pt x="310" y="314"/>
                    </a:lnTo>
                    <a:lnTo>
                      <a:pt x="308" y="314"/>
                    </a:lnTo>
                    <a:lnTo>
                      <a:pt x="307" y="314"/>
                    </a:lnTo>
                    <a:lnTo>
                      <a:pt x="306" y="314"/>
                    </a:lnTo>
                    <a:lnTo>
                      <a:pt x="306" y="313"/>
                    </a:lnTo>
                    <a:lnTo>
                      <a:pt x="306" y="312"/>
                    </a:lnTo>
                    <a:lnTo>
                      <a:pt x="305" y="310"/>
                    </a:lnTo>
                    <a:lnTo>
                      <a:pt x="304" y="310"/>
                    </a:lnTo>
                    <a:lnTo>
                      <a:pt x="304" y="309"/>
                    </a:lnTo>
                    <a:lnTo>
                      <a:pt x="302" y="308"/>
                    </a:lnTo>
                    <a:lnTo>
                      <a:pt x="300" y="307"/>
                    </a:lnTo>
                    <a:lnTo>
                      <a:pt x="299" y="306"/>
                    </a:lnTo>
                    <a:lnTo>
                      <a:pt x="297" y="303"/>
                    </a:lnTo>
                    <a:lnTo>
                      <a:pt x="297" y="302"/>
                    </a:lnTo>
                    <a:lnTo>
                      <a:pt x="296" y="302"/>
                    </a:lnTo>
                    <a:lnTo>
                      <a:pt x="296" y="301"/>
                    </a:lnTo>
                    <a:lnTo>
                      <a:pt x="294" y="299"/>
                    </a:lnTo>
                    <a:lnTo>
                      <a:pt x="294" y="298"/>
                    </a:lnTo>
                    <a:lnTo>
                      <a:pt x="293" y="298"/>
                    </a:lnTo>
                    <a:lnTo>
                      <a:pt x="292" y="298"/>
                    </a:lnTo>
                    <a:lnTo>
                      <a:pt x="289" y="297"/>
                    </a:lnTo>
                    <a:lnTo>
                      <a:pt x="287" y="294"/>
                    </a:lnTo>
                    <a:lnTo>
                      <a:pt x="286" y="294"/>
                    </a:lnTo>
                    <a:lnTo>
                      <a:pt x="286" y="293"/>
                    </a:lnTo>
                    <a:lnTo>
                      <a:pt x="287" y="290"/>
                    </a:lnTo>
                    <a:lnTo>
                      <a:pt x="287" y="289"/>
                    </a:lnTo>
                    <a:lnTo>
                      <a:pt x="287" y="288"/>
                    </a:lnTo>
                    <a:lnTo>
                      <a:pt x="287" y="287"/>
                    </a:lnTo>
                    <a:lnTo>
                      <a:pt x="285" y="286"/>
                    </a:lnTo>
                    <a:lnTo>
                      <a:pt x="284" y="285"/>
                    </a:lnTo>
                    <a:lnTo>
                      <a:pt x="284" y="284"/>
                    </a:lnTo>
                    <a:lnTo>
                      <a:pt x="283" y="282"/>
                    </a:lnTo>
                    <a:lnTo>
                      <a:pt x="283" y="281"/>
                    </a:lnTo>
                    <a:lnTo>
                      <a:pt x="282" y="280"/>
                    </a:lnTo>
                    <a:lnTo>
                      <a:pt x="282" y="279"/>
                    </a:lnTo>
                    <a:lnTo>
                      <a:pt x="281" y="279"/>
                    </a:lnTo>
                    <a:lnTo>
                      <a:pt x="280" y="277"/>
                    </a:lnTo>
                    <a:lnTo>
                      <a:pt x="279" y="276"/>
                    </a:lnTo>
                    <a:lnTo>
                      <a:pt x="277" y="274"/>
                    </a:lnTo>
                    <a:lnTo>
                      <a:pt x="275" y="273"/>
                    </a:lnTo>
                    <a:lnTo>
                      <a:pt x="274" y="273"/>
                    </a:lnTo>
                    <a:lnTo>
                      <a:pt x="273" y="273"/>
                    </a:lnTo>
                    <a:lnTo>
                      <a:pt x="270" y="273"/>
                    </a:lnTo>
                    <a:lnTo>
                      <a:pt x="268" y="273"/>
                    </a:lnTo>
                    <a:lnTo>
                      <a:pt x="268" y="272"/>
                    </a:lnTo>
                    <a:lnTo>
                      <a:pt x="267" y="268"/>
                    </a:lnTo>
                    <a:lnTo>
                      <a:pt x="264" y="258"/>
                    </a:lnTo>
                    <a:lnTo>
                      <a:pt x="264" y="257"/>
                    </a:lnTo>
                    <a:lnTo>
                      <a:pt x="262" y="256"/>
                    </a:lnTo>
                    <a:lnTo>
                      <a:pt x="261" y="255"/>
                    </a:lnTo>
                    <a:lnTo>
                      <a:pt x="260" y="254"/>
                    </a:lnTo>
                    <a:lnTo>
                      <a:pt x="257" y="251"/>
                    </a:lnTo>
                    <a:lnTo>
                      <a:pt x="256" y="250"/>
                    </a:lnTo>
                    <a:lnTo>
                      <a:pt x="255" y="250"/>
                    </a:lnTo>
                    <a:lnTo>
                      <a:pt x="254" y="250"/>
                    </a:lnTo>
                    <a:lnTo>
                      <a:pt x="253" y="249"/>
                    </a:lnTo>
                    <a:lnTo>
                      <a:pt x="251" y="248"/>
                    </a:lnTo>
                    <a:lnTo>
                      <a:pt x="247" y="247"/>
                    </a:lnTo>
                    <a:lnTo>
                      <a:pt x="247" y="246"/>
                    </a:lnTo>
                    <a:lnTo>
                      <a:pt x="246" y="246"/>
                    </a:lnTo>
                    <a:lnTo>
                      <a:pt x="246" y="245"/>
                    </a:lnTo>
                    <a:lnTo>
                      <a:pt x="245" y="245"/>
                    </a:lnTo>
                    <a:lnTo>
                      <a:pt x="245" y="244"/>
                    </a:lnTo>
                    <a:lnTo>
                      <a:pt x="245" y="243"/>
                    </a:lnTo>
                    <a:lnTo>
                      <a:pt x="244" y="242"/>
                    </a:lnTo>
                    <a:lnTo>
                      <a:pt x="243" y="241"/>
                    </a:lnTo>
                    <a:lnTo>
                      <a:pt x="241" y="238"/>
                    </a:lnTo>
                    <a:lnTo>
                      <a:pt x="240" y="236"/>
                    </a:lnTo>
                    <a:lnTo>
                      <a:pt x="237" y="234"/>
                    </a:lnTo>
                    <a:lnTo>
                      <a:pt x="237" y="230"/>
                    </a:lnTo>
                    <a:lnTo>
                      <a:pt x="236" y="229"/>
                    </a:lnTo>
                    <a:lnTo>
                      <a:pt x="235" y="229"/>
                    </a:lnTo>
                    <a:lnTo>
                      <a:pt x="234" y="228"/>
                    </a:lnTo>
                    <a:lnTo>
                      <a:pt x="233" y="228"/>
                    </a:lnTo>
                    <a:lnTo>
                      <a:pt x="230" y="226"/>
                    </a:lnTo>
                    <a:lnTo>
                      <a:pt x="227" y="226"/>
                    </a:lnTo>
                    <a:lnTo>
                      <a:pt x="225" y="226"/>
                    </a:lnTo>
                    <a:lnTo>
                      <a:pt x="223" y="226"/>
                    </a:lnTo>
                    <a:lnTo>
                      <a:pt x="222" y="226"/>
                    </a:lnTo>
                    <a:lnTo>
                      <a:pt x="221" y="226"/>
                    </a:lnTo>
                    <a:lnTo>
                      <a:pt x="219" y="225"/>
                    </a:lnTo>
                    <a:lnTo>
                      <a:pt x="218" y="225"/>
                    </a:lnTo>
                    <a:lnTo>
                      <a:pt x="217" y="225"/>
                    </a:lnTo>
                    <a:lnTo>
                      <a:pt x="216" y="224"/>
                    </a:lnTo>
                    <a:lnTo>
                      <a:pt x="215" y="223"/>
                    </a:lnTo>
                    <a:lnTo>
                      <a:pt x="214" y="222"/>
                    </a:lnTo>
                    <a:lnTo>
                      <a:pt x="212" y="220"/>
                    </a:lnTo>
                    <a:lnTo>
                      <a:pt x="211" y="219"/>
                    </a:lnTo>
                    <a:lnTo>
                      <a:pt x="209" y="217"/>
                    </a:lnTo>
                    <a:lnTo>
                      <a:pt x="209" y="216"/>
                    </a:lnTo>
                    <a:lnTo>
                      <a:pt x="208" y="215"/>
                    </a:lnTo>
                    <a:lnTo>
                      <a:pt x="208" y="212"/>
                    </a:lnTo>
                    <a:lnTo>
                      <a:pt x="207" y="212"/>
                    </a:lnTo>
                    <a:lnTo>
                      <a:pt x="207" y="211"/>
                    </a:lnTo>
                    <a:lnTo>
                      <a:pt x="205" y="209"/>
                    </a:lnTo>
                    <a:lnTo>
                      <a:pt x="205" y="208"/>
                    </a:lnTo>
                    <a:lnTo>
                      <a:pt x="202" y="204"/>
                    </a:lnTo>
                    <a:lnTo>
                      <a:pt x="202" y="203"/>
                    </a:lnTo>
                    <a:lnTo>
                      <a:pt x="201" y="202"/>
                    </a:lnTo>
                    <a:lnTo>
                      <a:pt x="199" y="199"/>
                    </a:lnTo>
                    <a:lnTo>
                      <a:pt x="197" y="197"/>
                    </a:lnTo>
                    <a:lnTo>
                      <a:pt x="196" y="196"/>
                    </a:lnTo>
                    <a:lnTo>
                      <a:pt x="195" y="196"/>
                    </a:lnTo>
                    <a:lnTo>
                      <a:pt x="193" y="194"/>
                    </a:lnTo>
                    <a:lnTo>
                      <a:pt x="191" y="192"/>
                    </a:lnTo>
                    <a:lnTo>
                      <a:pt x="190" y="190"/>
                    </a:lnTo>
                    <a:lnTo>
                      <a:pt x="186" y="185"/>
                    </a:lnTo>
                    <a:lnTo>
                      <a:pt x="184" y="182"/>
                    </a:lnTo>
                    <a:lnTo>
                      <a:pt x="183" y="182"/>
                    </a:lnTo>
                    <a:lnTo>
                      <a:pt x="181" y="181"/>
                    </a:lnTo>
                    <a:lnTo>
                      <a:pt x="180" y="180"/>
                    </a:lnTo>
                    <a:lnTo>
                      <a:pt x="179" y="180"/>
                    </a:lnTo>
                    <a:lnTo>
                      <a:pt x="178" y="179"/>
                    </a:lnTo>
                    <a:lnTo>
                      <a:pt x="177" y="179"/>
                    </a:lnTo>
                    <a:lnTo>
                      <a:pt x="173" y="177"/>
                    </a:lnTo>
                    <a:lnTo>
                      <a:pt x="172" y="176"/>
                    </a:lnTo>
                    <a:lnTo>
                      <a:pt x="171" y="174"/>
                    </a:lnTo>
                    <a:lnTo>
                      <a:pt x="170" y="174"/>
                    </a:lnTo>
                    <a:lnTo>
                      <a:pt x="169" y="174"/>
                    </a:lnTo>
                    <a:lnTo>
                      <a:pt x="168" y="174"/>
                    </a:lnTo>
                    <a:lnTo>
                      <a:pt x="166" y="174"/>
                    </a:lnTo>
                    <a:lnTo>
                      <a:pt x="165" y="174"/>
                    </a:lnTo>
                    <a:lnTo>
                      <a:pt x="164" y="174"/>
                    </a:lnTo>
                    <a:lnTo>
                      <a:pt x="163" y="174"/>
                    </a:lnTo>
                    <a:lnTo>
                      <a:pt x="162" y="174"/>
                    </a:lnTo>
                    <a:lnTo>
                      <a:pt x="162" y="173"/>
                    </a:lnTo>
                    <a:lnTo>
                      <a:pt x="160" y="173"/>
                    </a:lnTo>
                    <a:lnTo>
                      <a:pt x="159" y="173"/>
                    </a:lnTo>
                    <a:lnTo>
                      <a:pt x="158" y="172"/>
                    </a:lnTo>
                    <a:lnTo>
                      <a:pt x="158" y="171"/>
                    </a:lnTo>
                    <a:lnTo>
                      <a:pt x="156" y="169"/>
                    </a:lnTo>
                    <a:lnTo>
                      <a:pt x="154" y="167"/>
                    </a:lnTo>
                    <a:lnTo>
                      <a:pt x="153" y="166"/>
                    </a:lnTo>
                    <a:lnTo>
                      <a:pt x="152" y="165"/>
                    </a:lnTo>
                    <a:lnTo>
                      <a:pt x="151" y="164"/>
                    </a:lnTo>
                    <a:lnTo>
                      <a:pt x="149" y="162"/>
                    </a:lnTo>
                    <a:lnTo>
                      <a:pt x="147" y="161"/>
                    </a:lnTo>
                    <a:lnTo>
                      <a:pt x="146" y="160"/>
                    </a:lnTo>
                    <a:lnTo>
                      <a:pt x="146" y="159"/>
                    </a:lnTo>
                    <a:lnTo>
                      <a:pt x="145" y="157"/>
                    </a:lnTo>
                    <a:lnTo>
                      <a:pt x="143" y="153"/>
                    </a:lnTo>
                    <a:lnTo>
                      <a:pt x="143" y="151"/>
                    </a:lnTo>
                    <a:lnTo>
                      <a:pt x="143" y="149"/>
                    </a:lnTo>
                    <a:lnTo>
                      <a:pt x="141" y="145"/>
                    </a:lnTo>
                    <a:lnTo>
                      <a:pt x="140" y="143"/>
                    </a:lnTo>
                    <a:lnTo>
                      <a:pt x="140" y="142"/>
                    </a:lnTo>
                    <a:lnTo>
                      <a:pt x="138" y="138"/>
                    </a:lnTo>
                    <a:lnTo>
                      <a:pt x="137" y="135"/>
                    </a:lnTo>
                    <a:lnTo>
                      <a:pt x="135" y="134"/>
                    </a:lnTo>
                    <a:lnTo>
                      <a:pt x="134" y="134"/>
                    </a:lnTo>
                    <a:lnTo>
                      <a:pt x="133" y="131"/>
                    </a:lnTo>
                    <a:lnTo>
                      <a:pt x="134" y="130"/>
                    </a:lnTo>
                    <a:lnTo>
                      <a:pt x="133" y="127"/>
                    </a:lnTo>
                    <a:lnTo>
                      <a:pt x="135" y="126"/>
                    </a:lnTo>
                    <a:lnTo>
                      <a:pt x="133" y="123"/>
                    </a:lnTo>
                    <a:lnTo>
                      <a:pt x="128" y="126"/>
                    </a:lnTo>
                    <a:lnTo>
                      <a:pt x="126" y="125"/>
                    </a:lnTo>
                    <a:lnTo>
                      <a:pt x="124" y="122"/>
                    </a:lnTo>
                    <a:lnTo>
                      <a:pt x="124" y="121"/>
                    </a:lnTo>
                    <a:lnTo>
                      <a:pt x="124" y="119"/>
                    </a:lnTo>
                    <a:lnTo>
                      <a:pt x="124" y="116"/>
                    </a:lnTo>
                    <a:lnTo>
                      <a:pt x="124" y="113"/>
                    </a:lnTo>
                    <a:lnTo>
                      <a:pt x="122" y="113"/>
                    </a:lnTo>
                    <a:lnTo>
                      <a:pt x="122" y="107"/>
                    </a:lnTo>
                    <a:lnTo>
                      <a:pt x="124" y="107"/>
                    </a:lnTo>
                    <a:lnTo>
                      <a:pt x="122" y="105"/>
                    </a:lnTo>
                    <a:lnTo>
                      <a:pt x="121" y="104"/>
                    </a:lnTo>
                    <a:lnTo>
                      <a:pt x="119" y="103"/>
                    </a:lnTo>
                    <a:lnTo>
                      <a:pt x="117" y="103"/>
                    </a:lnTo>
                    <a:lnTo>
                      <a:pt x="116" y="103"/>
                    </a:lnTo>
                    <a:lnTo>
                      <a:pt x="115" y="103"/>
                    </a:lnTo>
                    <a:lnTo>
                      <a:pt x="114" y="102"/>
                    </a:lnTo>
                    <a:lnTo>
                      <a:pt x="113" y="102"/>
                    </a:lnTo>
                    <a:lnTo>
                      <a:pt x="112" y="103"/>
                    </a:lnTo>
                    <a:lnTo>
                      <a:pt x="111" y="103"/>
                    </a:lnTo>
                    <a:lnTo>
                      <a:pt x="109" y="104"/>
                    </a:lnTo>
                    <a:lnTo>
                      <a:pt x="109" y="109"/>
                    </a:lnTo>
                    <a:lnTo>
                      <a:pt x="109" y="112"/>
                    </a:lnTo>
                    <a:lnTo>
                      <a:pt x="106" y="114"/>
                    </a:lnTo>
                    <a:lnTo>
                      <a:pt x="103" y="115"/>
                    </a:lnTo>
                    <a:lnTo>
                      <a:pt x="101" y="115"/>
                    </a:lnTo>
                    <a:lnTo>
                      <a:pt x="100" y="118"/>
                    </a:lnTo>
                    <a:lnTo>
                      <a:pt x="99" y="118"/>
                    </a:lnTo>
                    <a:lnTo>
                      <a:pt x="99" y="120"/>
                    </a:lnTo>
                    <a:lnTo>
                      <a:pt x="101" y="125"/>
                    </a:lnTo>
                    <a:lnTo>
                      <a:pt x="80" y="125"/>
                    </a:lnTo>
                    <a:lnTo>
                      <a:pt x="76" y="125"/>
                    </a:lnTo>
                    <a:lnTo>
                      <a:pt x="77" y="145"/>
                    </a:lnTo>
                    <a:lnTo>
                      <a:pt x="57" y="146"/>
                    </a:lnTo>
                    <a:lnTo>
                      <a:pt x="24" y="146"/>
                    </a:lnTo>
                    <a:lnTo>
                      <a:pt x="10" y="146"/>
                    </a:lnTo>
                    <a:lnTo>
                      <a:pt x="0" y="146"/>
                    </a:lnTo>
                    <a:lnTo>
                      <a:pt x="15" y="126"/>
                    </a:lnTo>
                    <a:lnTo>
                      <a:pt x="22" y="116"/>
                    </a:lnTo>
                    <a:lnTo>
                      <a:pt x="36" y="92"/>
                    </a:lnTo>
                    <a:lnTo>
                      <a:pt x="40" y="83"/>
                    </a:lnTo>
                    <a:lnTo>
                      <a:pt x="50" y="66"/>
                    </a:lnTo>
                    <a:lnTo>
                      <a:pt x="50" y="65"/>
                    </a:lnTo>
                    <a:lnTo>
                      <a:pt x="50" y="63"/>
                    </a:lnTo>
                    <a:lnTo>
                      <a:pt x="54" y="48"/>
                    </a:lnTo>
                    <a:lnTo>
                      <a:pt x="59" y="32"/>
                    </a:lnTo>
                    <a:lnTo>
                      <a:pt x="74" y="31"/>
                    </a:lnTo>
                    <a:lnTo>
                      <a:pt x="74" y="12"/>
                    </a:lnTo>
                    <a:lnTo>
                      <a:pt x="80" y="12"/>
                    </a:lnTo>
                    <a:lnTo>
                      <a:pt x="129" y="11"/>
                    </a:lnTo>
                    <a:lnTo>
                      <a:pt x="135" y="11"/>
                    </a:lnTo>
                    <a:lnTo>
                      <a:pt x="134" y="1"/>
                    </a:lnTo>
                    <a:lnTo>
                      <a:pt x="140" y="0"/>
                    </a:lnTo>
                    <a:lnTo>
                      <a:pt x="141" y="1"/>
                    </a:lnTo>
                    <a:lnTo>
                      <a:pt x="142" y="2"/>
                    </a:lnTo>
                    <a:lnTo>
                      <a:pt x="143" y="2"/>
                    </a:lnTo>
                    <a:lnTo>
                      <a:pt x="145" y="3"/>
                    </a:lnTo>
                    <a:lnTo>
                      <a:pt x="147" y="3"/>
                    </a:lnTo>
                    <a:lnTo>
                      <a:pt x="149" y="4"/>
                    </a:lnTo>
                    <a:lnTo>
                      <a:pt x="150" y="5"/>
                    </a:lnTo>
                    <a:lnTo>
                      <a:pt x="151" y="5"/>
                    </a:lnTo>
                    <a:lnTo>
                      <a:pt x="153" y="5"/>
                    </a:lnTo>
                    <a:lnTo>
                      <a:pt x="154" y="5"/>
                    </a:lnTo>
                    <a:lnTo>
                      <a:pt x="155" y="6"/>
                    </a:lnTo>
                    <a:lnTo>
                      <a:pt x="156" y="6"/>
                    </a:lnTo>
                    <a:lnTo>
                      <a:pt x="157" y="6"/>
                    </a:lnTo>
                    <a:lnTo>
                      <a:pt x="157" y="7"/>
                    </a:lnTo>
                    <a:lnTo>
                      <a:pt x="158" y="7"/>
                    </a:lnTo>
                    <a:lnTo>
                      <a:pt x="160" y="7"/>
                    </a:lnTo>
                    <a:lnTo>
                      <a:pt x="162" y="7"/>
                    </a:lnTo>
                    <a:lnTo>
                      <a:pt x="163" y="7"/>
                    </a:lnTo>
                    <a:lnTo>
                      <a:pt x="164" y="9"/>
                    </a:lnTo>
                    <a:lnTo>
                      <a:pt x="165" y="9"/>
                    </a:lnTo>
                    <a:lnTo>
                      <a:pt x="166" y="9"/>
                    </a:lnTo>
                    <a:lnTo>
                      <a:pt x="167" y="9"/>
                    </a:lnTo>
                    <a:lnTo>
                      <a:pt x="168" y="9"/>
                    </a:lnTo>
                    <a:lnTo>
                      <a:pt x="169" y="9"/>
                    </a:lnTo>
                    <a:lnTo>
                      <a:pt x="169" y="7"/>
                    </a:lnTo>
                    <a:lnTo>
                      <a:pt x="169" y="9"/>
                    </a:lnTo>
                    <a:lnTo>
                      <a:pt x="170" y="9"/>
                    </a:lnTo>
                    <a:lnTo>
                      <a:pt x="169" y="9"/>
                    </a:lnTo>
                    <a:lnTo>
                      <a:pt x="169" y="10"/>
                    </a:lnTo>
                    <a:lnTo>
                      <a:pt x="169" y="11"/>
                    </a:lnTo>
                    <a:lnTo>
                      <a:pt x="169" y="12"/>
                    </a:lnTo>
                    <a:lnTo>
                      <a:pt x="170" y="12"/>
                    </a:lnTo>
                    <a:lnTo>
                      <a:pt x="169" y="12"/>
                    </a:lnTo>
                    <a:lnTo>
                      <a:pt x="170" y="12"/>
                    </a:lnTo>
                    <a:lnTo>
                      <a:pt x="171" y="12"/>
                    </a:lnTo>
                    <a:lnTo>
                      <a:pt x="172" y="12"/>
                    </a:lnTo>
                    <a:lnTo>
                      <a:pt x="172" y="11"/>
                    </a:lnTo>
                    <a:lnTo>
                      <a:pt x="173" y="11"/>
                    </a:lnTo>
                    <a:lnTo>
                      <a:pt x="173" y="12"/>
                    </a:lnTo>
                    <a:lnTo>
                      <a:pt x="175" y="12"/>
                    </a:lnTo>
                    <a:lnTo>
                      <a:pt x="175" y="13"/>
                    </a:lnTo>
                    <a:lnTo>
                      <a:pt x="176" y="13"/>
                    </a:lnTo>
                    <a:lnTo>
                      <a:pt x="176" y="14"/>
                    </a:lnTo>
                    <a:lnTo>
                      <a:pt x="177" y="14"/>
                    </a:lnTo>
                    <a:lnTo>
                      <a:pt x="177" y="15"/>
                    </a:lnTo>
                    <a:lnTo>
                      <a:pt x="177" y="16"/>
                    </a:lnTo>
                    <a:lnTo>
                      <a:pt x="177" y="17"/>
                    </a:lnTo>
                    <a:lnTo>
                      <a:pt x="177" y="18"/>
                    </a:lnTo>
                    <a:lnTo>
                      <a:pt x="178" y="18"/>
                    </a:lnTo>
                    <a:lnTo>
                      <a:pt x="179" y="18"/>
                    </a:lnTo>
                    <a:lnTo>
                      <a:pt x="180" y="18"/>
                    </a:lnTo>
                    <a:lnTo>
                      <a:pt x="181" y="18"/>
                    </a:lnTo>
                    <a:lnTo>
                      <a:pt x="182" y="18"/>
                    </a:lnTo>
                    <a:lnTo>
                      <a:pt x="182" y="17"/>
                    </a:lnTo>
                    <a:lnTo>
                      <a:pt x="181" y="17"/>
                    </a:lnTo>
                    <a:lnTo>
                      <a:pt x="181" y="16"/>
                    </a:lnTo>
                    <a:lnTo>
                      <a:pt x="181" y="15"/>
                    </a:lnTo>
                    <a:lnTo>
                      <a:pt x="182" y="15"/>
                    </a:lnTo>
                    <a:lnTo>
                      <a:pt x="182" y="14"/>
                    </a:lnTo>
                    <a:lnTo>
                      <a:pt x="183" y="15"/>
                    </a:lnTo>
                    <a:lnTo>
                      <a:pt x="184" y="15"/>
                    </a:lnTo>
                    <a:lnTo>
                      <a:pt x="184" y="14"/>
                    </a:lnTo>
                    <a:lnTo>
                      <a:pt x="185" y="14"/>
                    </a:lnTo>
                    <a:lnTo>
                      <a:pt x="186" y="14"/>
                    </a:lnTo>
                    <a:lnTo>
                      <a:pt x="186" y="13"/>
                    </a:lnTo>
                    <a:lnTo>
                      <a:pt x="188" y="13"/>
                    </a:lnTo>
                    <a:lnTo>
                      <a:pt x="188" y="14"/>
                    </a:lnTo>
                    <a:lnTo>
                      <a:pt x="189" y="14"/>
                    </a:lnTo>
                    <a:lnTo>
                      <a:pt x="189" y="15"/>
                    </a:lnTo>
                    <a:lnTo>
                      <a:pt x="189" y="16"/>
                    </a:lnTo>
                    <a:lnTo>
                      <a:pt x="190" y="16"/>
                    </a:lnTo>
                    <a:lnTo>
                      <a:pt x="190" y="15"/>
                    </a:lnTo>
                    <a:lnTo>
                      <a:pt x="191" y="14"/>
                    </a:lnTo>
                    <a:lnTo>
                      <a:pt x="192" y="13"/>
                    </a:lnTo>
                    <a:lnTo>
                      <a:pt x="193" y="13"/>
                    </a:lnTo>
                    <a:lnTo>
                      <a:pt x="194" y="13"/>
                    </a:lnTo>
                    <a:lnTo>
                      <a:pt x="194" y="14"/>
                    </a:lnTo>
                    <a:lnTo>
                      <a:pt x="195" y="14"/>
                    </a:lnTo>
                    <a:lnTo>
                      <a:pt x="194" y="15"/>
                    </a:lnTo>
                    <a:lnTo>
                      <a:pt x="194" y="16"/>
                    </a:lnTo>
                    <a:lnTo>
                      <a:pt x="195" y="16"/>
                    </a:lnTo>
                    <a:lnTo>
                      <a:pt x="195" y="17"/>
                    </a:lnTo>
                    <a:lnTo>
                      <a:pt x="196" y="17"/>
                    </a:lnTo>
                    <a:lnTo>
                      <a:pt x="197" y="17"/>
                    </a:lnTo>
                    <a:lnTo>
                      <a:pt x="197" y="18"/>
                    </a:lnTo>
                    <a:lnTo>
                      <a:pt x="198" y="18"/>
                    </a:lnTo>
                    <a:lnTo>
                      <a:pt x="198" y="19"/>
                    </a:lnTo>
                    <a:lnTo>
                      <a:pt x="199" y="19"/>
                    </a:lnTo>
                    <a:lnTo>
                      <a:pt x="199" y="20"/>
                    </a:lnTo>
                    <a:lnTo>
                      <a:pt x="199" y="22"/>
                    </a:lnTo>
                    <a:lnTo>
                      <a:pt x="201" y="20"/>
                    </a:lnTo>
                    <a:lnTo>
                      <a:pt x="201" y="22"/>
                    </a:lnTo>
                    <a:lnTo>
                      <a:pt x="201" y="20"/>
                    </a:lnTo>
                    <a:lnTo>
                      <a:pt x="202" y="20"/>
                    </a:lnTo>
                    <a:lnTo>
                      <a:pt x="203" y="20"/>
                    </a:lnTo>
                    <a:lnTo>
                      <a:pt x="204" y="22"/>
                    </a:lnTo>
                    <a:lnTo>
                      <a:pt x="204" y="23"/>
                    </a:lnTo>
                    <a:lnTo>
                      <a:pt x="205" y="23"/>
                    </a:lnTo>
                    <a:lnTo>
                      <a:pt x="206" y="23"/>
                    </a:lnTo>
                    <a:lnTo>
                      <a:pt x="206" y="24"/>
                    </a:lnTo>
                    <a:lnTo>
                      <a:pt x="207" y="24"/>
                    </a:lnTo>
                    <a:lnTo>
                      <a:pt x="207" y="23"/>
                    </a:lnTo>
                    <a:lnTo>
                      <a:pt x="208" y="23"/>
                    </a:lnTo>
                    <a:lnTo>
                      <a:pt x="208" y="22"/>
                    </a:lnTo>
                    <a:lnTo>
                      <a:pt x="209" y="22"/>
                    </a:lnTo>
                    <a:lnTo>
                      <a:pt x="209" y="23"/>
                    </a:lnTo>
                    <a:lnTo>
                      <a:pt x="208" y="23"/>
                    </a:lnTo>
                    <a:lnTo>
                      <a:pt x="209" y="23"/>
                    </a:lnTo>
                    <a:lnTo>
                      <a:pt x="210" y="23"/>
                    </a:lnTo>
                    <a:lnTo>
                      <a:pt x="211" y="23"/>
                    </a:lnTo>
                    <a:lnTo>
                      <a:pt x="211" y="22"/>
                    </a:lnTo>
                    <a:lnTo>
                      <a:pt x="211" y="23"/>
                    </a:lnTo>
                    <a:lnTo>
                      <a:pt x="212" y="23"/>
                    </a:lnTo>
                    <a:lnTo>
                      <a:pt x="212" y="24"/>
                    </a:lnTo>
                    <a:lnTo>
                      <a:pt x="214" y="24"/>
                    </a:lnTo>
                    <a:lnTo>
                      <a:pt x="215" y="24"/>
                    </a:lnTo>
                    <a:close/>
                    <a:moveTo>
                      <a:pt x="540" y="397"/>
                    </a:moveTo>
                    <a:lnTo>
                      <a:pt x="541" y="397"/>
                    </a:lnTo>
                    <a:lnTo>
                      <a:pt x="541" y="398"/>
                    </a:lnTo>
                    <a:lnTo>
                      <a:pt x="542" y="398"/>
                    </a:lnTo>
                    <a:lnTo>
                      <a:pt x="542" y="399"/>
                    </a:lnTo>
                    <a:lnTo>
                      <a:pt x="543" y="400"/>
                    </a:lnTo>
                    <a:lnTo>
                      <a:pt x="544" y="400"/>
                    </a:lnTo>
                    <a:lnTo>
                      <a:pt x="545" y="401"/>
                    </a:lnTo>
                    <a:lnTo>
                      <a:pt x="546" y="403"/>
                    </a:lnTo>
                    <a:lnTo>
                      <a:pt x="547" y="404"/>
                    </a:lnTo>
                    <a:lnTo>
                      <a:pt x="547" y="405"/>
                    </a:lnTo>
                    <a:lnTo>
                      <a:pt x="546" y="405"/>
                    </a:lnTo>
                    <a:lnTo>
                      <a:pt x="545" y="404"/>
                    </a:lnTo>
                    <a:lnTo>
                      <a:pt x="544" y="403"/>
                    </a:lnTo>
                    <a:lnTo>
                      <a:pt x="544" y="402"/>
                    </a:lnTo>
                    <a:lnTo>
                      <a:pt x="544" y="403"/>
                    </a:lnTo>
                    <a:lnTo>
                      <a:pt x="543" y="403"/>
                    </a:lnTo>
                    <a:lnTo>
                      <a:pt x="544" y="404"/>
                    </a:lnTo>
                    <a:lnTo>
                      <a:pt x="544" y="405"/>
                    </a:lnTo>
                    <a:lnTo>
                      <a:pt x="544" y="406"/>
                    </a:lnTo>
                    <a:lnTo>
                      <a:pt x="545" y="406"/>
                    </a:lnTo>
                    <a:lnTo>
                      <a:pt x="546" y="406"/>
                    </a:lnTo>
                    <a:lnTo>
                      <a:pt x="546" y="408"/>
                    </a:lnTo>
                    <a:lnTo>
                      <a:pt x="545" y="408"/>
                    </a:lnTo>
                    <a:lnTo>
                      <a:pt x="545" y="409"/>
                    </a:lnTo>
                    <a:lnTo>
                      <a:pt x="544" y="410"/>
                    </a:lnTo>
                    <a:lnTo>
                      <a:pt x="544" y="411"/>
                    </a:lnTo>
                    <a:lnTo>
                      <a:pt x="545" y="412"/>
                    </a:lnTo>
                    <a:lnTo>
                      <a:pt x="545" y="413"/>
                    </a:lnTo>
                    <a:lnTo>
                      <a:pt x="545" y="414"/>
                    </a:lnTo>
                    <a:lnTo>
                      <a:pt x="544" y="414"/>
                    </a:lnTo>
                    <a:lnTo>
                      <a:pt x="544" y="413"/>
                    </a:lnTo>
                    <a:lnTo>
                      <a:pt x="543" y="413"/>
                    </a:lnTo>
                    <a:lnTo>
                      <a:pt x="543" y="412"/>
                    </a:lnTo>
                    <a:lnTo>
                      <a:pt x="542" y="412"/>
                    </a:lnTo>
                    <a:lnTo>
                      <a:pt x="541" y="412"/>
                    </a:lnTo>
                    <a:lnTo>
                      <a:pt x="540" y="412"/>
                    </a:lnTo>
                    <a:lnTo>
                      <a:pt x="539" y="412"/>
                    </a:lnTo>
                    <a:lnTo>
                      <a:pt x="539" y="411"/>
                    </a:lnTo>
                    <a:lnTo>
                      <a:pt x="538" y="411"/>
                    </a:lnTo>
                    <a:lnTo>
                      <a:pt x="538" y="410"/>
                    </a:lnTo>
                    <a:lnTo>
                      <a:pt x="539" y="410"/>
                    </a:lnTo>
                    <a:lnTo>
                      <a:pt x="539" y="409"/>
                    </a:lnTo>
                    <a:lnTo>
                      <a:pt x="540" y="409"/>
                    </a:lnTo>
                    <a:lnTo>
                      <a:pt x="540" y="408"/>
                    </a:lnTo>
                    <a:lnTo>
                      <a:pt x="540" y="406"/>
                    </a:lnTo>
                    <a:lnTo>
                      <a:pt x="540" y="405"/>
                    </a:lnTo>
                    <a:lnTo>
                      <a:pt x="539" y="405"/>
                    </a:lnTo>
                    <a:lnTo>
                      <a:pt x="540" y="405"/>
                    </a:lnTo>
                    <a:lnTo>
                      <a:pt x="539" y="405"/>
                    </a:lnTo>
                    <a:lnTo>
                      <a:pt x="539" y="404"/>
                    </a:lnTo>
                    <a:lnTo>
                      <a:pt x="539" y="405"/>
                    </a:lnTo>
                    <a:lnTo>
                      <a:pt x="539" y="404"/>
                    </a:lnTo>
                    <a:lnTo>
                      <a:pt x="538" y="404"/>
                    </a:lnTo>
                    <a:lnTo>
                      <a:pt x="538" y="403"/>
                    </a:lnTo>
                    <a:lnTo>
                      <a:pt x="537" y="403"/>
                    </a:lnTo>
                    <a:lnTo>
                      <a:pt x="535" y="403"/>
                    </a:lnTo>
                    <a:lnTo>
                      <a:pt x="534" y="402"/>
                    </a:lnTo>
                    <a:lnTo>
                      <a:pt x="534" y="403"/>
                    </a:lnTo>
                    <a:lnTo>
                      <a:pt x="533" y="402"/>
                    </a:lnTo>
                    <a:lnTo>
                      <a:pt x="532" y="402"/>
                    </a:lnTo>
                    <a:lnTo>
                      <a:pt x="531" y="402"/>
                    </a:lnTo>
                    <a:lnTo>
                      <a:pt x="531" y="401"/>
                    </a:lnTo>
                    <a:lnTo>
                      <a:pt x="531" y="400"/>
                    </a:lnTo>
                    <a:lnTo>
                      <a:pt x="532" y="400"/>
                    </a:lnTo>
                    <a:lnTo>
                      <a:pt x="533" y="401"/>
                    </a:lnTo>
                    <a:lnTo>
                      <a:pt x="534" y="401"/>
                    </a:lnTo>
                    <a:lnTo>
                      <a:pt x="534" y="402"/>
                    </a:lnTo>
                    <a:lnTo>
                      <a:pt x="535" y="402"/>
                    </a:lnTo>
                    <a:lnTo>
                      <a:pt x="535" y="401"/>
                    </a:lnTo>
                    <a:lnTo>
                      <a:pt x="534" y="401"/>
                    </a:lnTo>
                    <a:lnTo>
                      <a:pt x="533" y="401"/>
                    </a:lnTo>
                    <a:lnTo>
                      <a:pt x="533" y="400"/>
                    </a:lnTo>
                    <a:lnTo>
                      <a:pt x="532" y="400"/>
                    </a:lnTo>
                    <a:lnTo>
                      <a:pt x="531" y="399"/>
                    </a:lnTo>
                    <a:lnTo>
                      <a:pt x="531" y="398"/>
                    </a:lnTo>
                    <a:lnTo>
                      <a:pt x="532" y="398"/>
                    </a:lnTo>
                    <a:lnTo>
                      <a:pt x="533" y="398"/>
                    </a:lnTo>
                    <a:lnTo>
                      <a:pt x="532" y="398"/>
                    </a:lnTo>
                    <a:lnTo>
                      <a:pt x="533" y="399"/>
                    </a:lnTo>
                    <a:lnTo>
                      <a:pt x="533" y="398"/>
                    </a:lnTo>
                    <a:lnTo>
                      <a:pt x="533" y="399"/>
                    </a:lnTo>
                    <a:lnTo>
                      <a:pt x="534" y="399"/>
                    </a:lnTo>
                    <a:lnTo>
                      <a:pt x="534" y="398"/>
                    </a:lnTo>
                    <a:lnTo>
                      <a:pt x="535" y="398"/>
                    </a:lnTo>
                    <a:lnTo>
                      <a:pt x="535" y="399"/>
                    </a:lnTo>
                    <a:lnTo>
                      <a:pt x="535" y="400"/>
                    </a:lnTo>
                    <a:lnTo>
                      <a:pt x="534" y="400"/>
                    </a:lnTo>
                    <a:lnTo>
                      <a:pt x="535" y="400"/>
                    </a:lnTo>
                    <a:lnTo>
                      <a:pt x="537" y="399"/>
                    </a:lnTo>
                    <a:lnTo>
                      <a:pt x="537" y="400"/>
                    </a:lnTo>
                    <a:lnTo>
                      <a:pt x="538" y="400"/>
                    </a:lnTo>
                    <a:lnTo>
                      <a:pt x="538" y="401"/>
                    </a:lnTo>
                    <a:lnTo>
                      <a:pt x="538" y="402"/>
                    </a:lnTo>
                    <a:lnTo>
                      <a:pt x="539" y="402"/>
                    </a:lnTo>
                    <a:lnTo>
                      <a:pt x="538" y="402"/>
                    </a:lnTo>
                    <a:lnTo>
                      <a:pt x="538" y="403"/>
                    </a:lnTo>
                    <a:lnTo>
                      <a:pt x="538" y="402"/>
                    </a:lnTo>
                    <a:lnTo>
                      <a:pt x="537" y="402"/>
                    </a:lnTo>
                    <a:lnTo>
                      <a:pt x="537" y="401"/>
                    </a:lnTo>
                    <a:lnTo>
                      <a:pt x="537" y="402"/>
                    </a:lnTo>
                    <a:lnTo>
                      <a:pt x="538" y="402"/>
                    </a:lnTo>
                    <a:lnTo>
                      <a:pt x="537" y="402"/>
                    </a:lnTo>
                    <a:lnTo>
                      <a:pt x="538" y="402"/>
                    </a:lnTo>
                    <a:lnTo>
                      <a:pt x="538" y="403"/>
                    </a:lnTo>
                    <a:lnTo>
                      <a:pt x="539" y="403"/>
                    </a:lnTo>
                    <a:lnTo>
                      <a:pt x="538" y="403"/>
                    </a:lnTo>
                    <a:lnTo>
                      <a:pt x="539" y="402"/>
                    </a:lnTo>
                    <a:lnTo>
                      <a:pt x="539" y="401"/>
                    </a:lnTo>
                    <a:lnTo>
                      <a:pt x="539" y="400"/>
                    </a:lnTo>
                    <a:lnTo>
                      <a:pt x="538" y="400"/>
                    </a:lnTo>
                    <a:lnTo>
                      <a:pt x="538" y="399"/>
                    </a:lnTo>
                    <a:lnTo>
                      <a:pt x="537" y="399"/>
                    </a:lnTo>
                    <a:lnTo>
                      <a:pt x="538" y="398"/>
                    </a:lnTo>
                    <a:lnTo>
                      <a:pt x="538" y="397"/>
                    </a:lnTo>
                    <a:lnTo>
                      <a:pt x="538" y="396"/>
                    </a:lnTo>
                    <a:lnTo>
                      <a:pt x="539" y="396"/>
                    </a:lnTo>
                    <a:lnTo>
                      <a:pt x="540" y="397"/>
                    </a:lnTo>
                    <a:close/>
                    <a:moveTo>
                      <a:pt x="403" y="560"/>
                    </a:moveTo>
                    <a:lnTo>
                      <a:pt x="403" y="562"/>
                    </a:lnTo>
                    <a:lnTo>
                      <a:pt x="402" y="562"/>
                    </a:lnTo>
                    <a:lnTo>
                      <a:pt x="402" y="560"/>
                    </a:lnTo>
                    <a:lnTo>
                      <a:pt x="402" y="562"/>
                    </a:lnTo>
                    <a:lnTo>
                      <a:pt x="401" y="563"/>
                    </a:lnTo>
                    <a:lnTo>
                      <a:pt x="402" y="563"/>
                    </a:lnTo>
                    <a:lnTo>
                      <a:pt x="401" y="564"/>
                    </a:lnTo>
                    <a:lnTo>
                      <a:pt x="401" y="565"/>
                    </a:lnTo>
                    <a:lnTo>
                      <a:pt x="402" y="566"/>
                    </a:lnTo>
                    <a:lnTo>
                      <a:pt x="403" y="566"/>
                    </a:lnTo>
                    <a:lnTo>
                      <a:pt x="403" y="565"/>
                    </a:lnTo>
                    <a:lnTo>
                      <a:pt x="404" y="565"/>
                    </a:lnTo>
                    <a:lnTo>
                      <a:pt x="404" y="564"/>
                    </a:lnTo>
                    <a:lnTo>
                      <a:pt x="403" y="564"/>
                    </a:lnTo>
                    <a:lnTo>
                      <a:pt x="403" y="563"/>
                    </a:lnTo>
                    <a:lnTo>
                      <a:pt x="402" y="563"/>
                    </a:lnTo>
                    <a:lnTo>
                      <a:pt x="402" y="562"/>
                    </a:lnTo>
                    <a:lnTo>
                      <a:pt x="403" y="562"/>
                    </a:lnTo>
                    <a:lnTo>
                      <a:pt x="404" y="562"/>
                    </a:lnTo>
                    <a:lnTo>
                      <a:pt x="404" y="560"/>
                    </a:lnTo>
                    <a:lnTo>
                      <a:pt x="403" y="560"/>
                    </a:lnTo>
                    <a:lnTo>
                      <a:pt x="403" y="559"/>
                    </a:lnTo>
                    <a:lnTo>
                      <a:pt x="404" y="558"/>
                    </a:lnTo>
                    <a:lnTo>
                      <a:pt x="403" y="558"/>
                    </a:lnTo>
                    <a:lnTo>
                      <a:pt x="403" y="559"/>
                    </a:lnTo>
                    <a:lnTo>
                      <a:pt x="403" y="560"/>
                    </a:lnTo>
                    <a:lnTo>
                      <a:pt x="403" y="559"/>
                    </a:lnTo>
                    <a:lnTo>
                      <a:pt x="403" y="558"/>
                    </a:lnTo>
                    <a:lnTo>
                      <a:pt x="404" y="558"/>
                    </a:lnTo>
                    <a:lnTo>
                      <a:pt x="406" y="559"/>
                    </a:lnTo>
                    <a:lnTo>
                      <a:pt x="408" y="560"/>
                    </a:lnTo>
                    <a:lnTo>
                      <a:pt x="408" y="562"/>
                    </a:lnTo>
                    <a:lnTo>
                      <a:pt x="408" y="563"/>
                    </a:lnTo>
                    <a:lnTo>
                      <a:pt x="409" y="563"/>
                    </a:lnTo>
                    <a:lnTo>
                      <a:pt x="408" y="564"/>
                    </a:lnTo>
                    <a:lnTo>
                      <a:pt x="406" y="565"/>
                    </a:lnTo>
                    <a:lnTo>
                      <a:pt x="405" y="566"/>
                    </a:lnTo>
                    <a:lnTo>
                      <a:pt x="404" y="566"/>
                    </a:lnTo>
                    <a:lnTo>
                      <a:pt x="404" y="567"/>
                    </a:lnTo>
                    <a:lnTo>
                      <a:pt x="402" y="567"/>
                    </a:lnTo>
                    <a:lnTo>
                      <a:pt x="402" y="568"/>
                    </a:lnTo>
                    <a:lnTo>
                      <a:pt x="401" y="568"/>
                    </a:lnTo>
                    <a:lnTo>
                      <a:pt x="400" y="568"/>
                    </a:lnTo>
                    <a:lnTo>
                      <a:pt x="398" y="569"/>
                    </a:lnTo>
                    <a:lnTo>
                      <a:pt x="397" y="569"/>
                    </a:lnTo>
                    <a:lnTo>
                      <a:pt x="396" y="569"/>
                    </a:lnTo>
                    <a:lnTo>
                      <a:pt x="395" y="570"/>
                    </a:lnTo>
                    <a:lnTo>
                      <a:pt x="393" y="570"/>
                    </a:lnTo>
                    <a:lnTo>
                      <a:pt x="392" y="571"/>
                    </a:lnTo>
                    <a:lnTo>
                      <a:pt x="390" y="571"/>
                    </a:lnTo>
                    <a:lnTo>
                      <a:pt x="389" y="571"/>
                    </a:lnTo>
                    <a:lnTo>
                      <a:pt x="387" y="572"/>
                    </a:lnTo>
                    <a:lnTo>
                      <a:pt x="386" y="572"/>
                    </a:lnTo>
                    <a:lnTo>
                      <a:pt x="386" y="571"/>
                    </a:lnTo>
                    <a:lnTo>
                      <a:pt x="387" y="571"/>
                    </a:lnTo>
                    <a:lnTo>
                      <a:pt x="388" y="571"/>
                    </a:lnTo>
                    <a:lnTo>
                      <a:pt x="389" y="570"/>
                    </a:lnTo>
                    <a:lnTo>
                      <a:pt x="390" y="570"/>
                    </a:lnTo>
                    <a:lnTo>
                      <a:pt x="391" y="569"/>
                    </a:lnTo>
                    <a:lnTo>
                      <a:pt x="393" y="569"/>
                    </a:lnTo>
                    <a:lnTo>
                      <a:pt x="395" y="569"/>
                    </a:lnTo>
                    <a:lnTo>
                      <a:pt x="396" y="568"/>
                    </a:lnTo>
                    <a:lnTo>
                      <a:pt x="398" y="568"/>
                    </a:lnTo>
                    <a:lnTo>
                      <a:pt x="399" y="568"/>
                    </a:lnTo>
                    <a:lnTo>
                      <a:pt x="399" y="567"/>
                    </a:lnTo>
                    <a:lnTo>
                      <a:pt x="399" y="566"/>
                    </a:lnTo>
                    <a:lnTo>
                      <a:pt x="400" y="566"/>
                    </a:lnTo>
                    <a:lnTo>
                      <a:pt x="400" y="565"/>
                    </a:lnTo>
                    <a:lnTo>
                      <a:pt x="401" y="564"/>
                    </a:lnTo>
                    <a:lnTo>
                      <a:pt x="401" y="563"/>
                    </a:lnTo>
                    <a:lnTo>
                      <a:pt x="401" y="562"/>
                    </a:lnTo>
                    <a:lnTo>
                      <a:pt x="401" y="560"/>
                    </a:lnTo>
                    <a:lnTo>
                      <a:pt x="400" y="560"/>
                    </a:lnTo>
                    <a:lnTo>
                      <a:pt x="400" y="559"/>
                    </a:lnTo>
                    <a:lnTo>
                      <a:pt x="400" y="558"/>
                    </a:lnTo>
                    <a:lnTo>
                      <a:pt x="401" y="557"/>
                    </a:lnTo>
                    <a:lnTo>
                      <a:pt x="402" y="558"/>
                    </a:lnTo>
                    <a:lnTo>
                      <a:pt x="402" y="559"/>
                    </a:lnTo>
                    <a:lnTo>
                      <a:pt x="401" y="559"/>
                    </a:lnTo>
                    <a:lnTo>
                      <a:pt x="401" y="560"/>
                    </a:lnTo>
                    <a:lnTo>
                      <a:pt x="402" y="560"/>
                    </a:lnTo>
                    <a:lnTo>
                      <a:pt x="403" y="560"/>
                    </a:lnTo>
                    <a:close/>
                    <a:moveTo>
                      <a:pt x="427" y="601"/>
                    </a:moveTo>
                    <a:lnTo>
                      <a:pt x="426" y="601"/>
                    </a:lnTo>
                    <a:lnTo>
                      <a:pt x="425" y="602"/>
                    </a:lnTo>
                    <a:lnTo>
                      <a:pt x="424" y="602"/>
                    </a:lnTo>
                    <a:lnTo>
                      <a:pt x="423" y="602"/>
                    </a:lnTo>
                    <a:lnTo>
                      <a:pt x="422" y="603"/>
                    </a:lnTo>
                    <a:lnTo>
                      <a:pt x="419" y="603"/>
                    </a:lnTo>
                    <a:lnTo>
                      <a:pt x="419" y="604"/>
                    </a:lnTo>
                    <a:lnTo>
                      <a:pt x="417" y="604"/>
                    </a:lnTo>
                    <a:lnTo>
                      <a:pt x="416" y="604"/>
                    </a:lnTo>
                    <a:lnTo>
                      <a:pt x="416" y="605"/>
                    </a:lnTo>
                    <a:lnTo>
                      <a:pt x="415" y="605"/>
                    </a:lnTo>
                    <a:lnTo>
                      <a:pt x="414" y="605"/>
                    </a:lnTo>
                    <a:lnTo>
                      <a:pt x="414" y="606"/>
                    </a:lnTo>
                    <a:lnTo>
                      <a:pt x="413" y="606"/>
                    </a:lnTo>
                    <a:lnTo>
                      <a:pt x="411" y="606"/>
                    </a:lnTo>
                    <a:lnTo>
                      <a:pt x="410" y="606"/>
                    </a:lnTo>
                    <a:lnTo>
                      <a:pt x="410" y="605"/>
                    </a:lnTo>
                    <a:lnTo>
                      <a:pt x="409" y="604"/>
                    </a:lnTo>
                    <a:lnTo>
                      <a:pt x="410" y="604"/>
                    </a:lnTo>
                    <a:lnTo>
                      <a:pt x="411" y="604"/>
                    </a:lnTo>
                    <a:lnTo>
                      <a:pt x="412" y="604"/>
                    </a:lnTo>
                    <a:lnTo>
                      <a:pt x="413" y="603"/>
                    </a:lnTo>
                    <a:lnTo>
                      <a:pt x="414" y="602"/>
                    </a:lnTo>
                    <a:lnTo>
                      <a:pt x="415" y="601"/>
                    </a:lnTo>
                    <a:lnTo>
                      <a:pt x="416" y="601"/>
                    </a:lnTo>
                    <a:lnTo>
                      <a:pt x="417" y="601"/>
                    </a:lnTo>
                    <a:lnTo>
                      <a:pt x="418" y="601"/>
                    </a:lnTo>
                    <a:lnTo>
                      <a:pt x="421" y="601"/>
                    </a:lnTo>
                    <a:lnTo>
                      <a:pt x="422" y="601"/>
                    </a:lnTo>
                    <a:lnTo>
                      <a:pt x="423" y="599"/>
                    </a:lnTo>
                    <a:lnTo>
                      <a:pt x="424" y="599"/>
                    </a:lnTo>
                    <a:lnTo>
                      <a:pt x="424" y="598"/>
                    </a:lnTo>
                    <a:lnTo>
                      <a:pt x="425" y="598"/>
                    </a:lnTo>
                    <a:lnTo>
                      <a:pt x="426" y="598"/>
                    </a:lnTo>
                    <a:lnTo>
                      <a:pt x="427" y="598"/>
                    </a:lnTo>
                    <a:lnTo>
                      <a:pt x="427" y="599"/>
                    </a:lnTo>
                    <a:lnTo>
                      <a:pt x="427" y="601"/>
                    </a:lnTo>
                    <a:close/>
                    <a:moveTo>
                      <a:pt x="593" y="346"/>
                    </a:moveTo>
                    <a:lnTo>
                      <a:pt x="594" y="346"/>
                    </a:lnTo>
                    <a:lnTo>
                      <a:pt x="595" y="346"/>
                    </a:lnTo>
                    <a:lnTo>
                      <a:pt x="595" y="347"/>
                    </a:lnTo>
                    <a:lnTo>
                      <a:pt x="596" y="347"/>
                    </a:lnTo>
                    <a:lnTo>
                      <a:pt x="596" y="348"/>
                    </a:lnTo>
                    <a:lnTo>
                      <a:pt x="596" y="347"/>
                    </a:lnTo>
                    <a:lnTo>
                      <a:pt x="596" y="348"/>
                    </a:lnTo>
                    <a:lnTo>
                      <a:pt x="597" y="348"/>
                    </a:lnTo>
                    <a:lnTo>
                      <a:pt x="597" y="349"/>
                    </a:lnTo>
                    <a:lnTo>
                      <a:pt x="598" y="349"/>
                    </a:lnTo>
                    <a:lnTo>
                      <a:pt x="598" y="348"/>
                    </a:lnTo>
                    <a:lnTo>
                      <a:pt x="599" y="348"/>
                    </a:lnTo>
                    <a:lnTo>
                      <a:pt x="599" y="349"/>
                    </a:lnTo>
                    <a:lnTo>
                      <a:pt x="598" y="349"/>
                    </a:lnTo>
                    <a:lnTo>
                      <a:pt x="597" y="349"/>
                    </a:lnTo>
                    <a:lnTo>
                      <a:pt x="597" y="350"/>
                    </a:lnTo>
                    <a:lnTo>
                      <a:pt x="597" y="349"/>
                    </a:lnTo>
                    <a:lnTo>
                      <a:pt x="596" y="349"/>
                    </a:lnTo>
                    <a:lnTo>
                      <a:pt x="597" y="349"/>
                    </a:lnTo>
                    <a:lnTo>
                      <a:pt x="596" y="349"/>
                    </a:lnTo>
                    <a:lnTo>
                      <a:pt x="596" y="350"/>
                    </a:lnTo>
                    <a:lnTo>
                      <a:pt x="595" y="350"/>
                    </a:lnTo>
                    <a:lnTo>
                      <a:pt x="595" y="351"/>
                    </a:lnTo>
                    <a:lnTo>
                      <a:pt x="593" y="353"/>
                    </a:lnTo>
                    <a:lnTo>
                      <a:pt x="592" y="353"/>
                    </a:lnTo>
                    <a:lnTo>
                      <a:pt x="592" y="354"/>
                    </a:lnTo>
                    <a:lnTo>
                      <a:pt x="593" y="356"/>
                    </a:lnTo>
                    <a:lnTo>
                      <a:pt x="593" y="357"/>
                    </a:lnTo>
                    <a:lnTo>
                      <a:pt x="592" y="357"/>
                    </a:lnTo>
                    <a:lnTo>
                      <a:pt x="591" y="357"/>
                    </a:lnTo>
                    <a:lnTo>
                      <a:pt x="590" y="357"/>
                    </a:lnTo>
                    <a:lnTo>
                      <a:pt x="590" y="356"/>
                    </a:lnTo>
                    <a:lnTo>
                      <a:pt x="590" y="354"/>
                    </a:lnTo>
                    <a:lnTo>
                      <a:pt x="591" y="354"/>
                    </a:lnTo>
                    <a:lnTo>
                      <a:pt x="591" y="353"/>
                    </a:lnTo>
                    <a:lnTo>
                      <a:pt x="590" y="353"/>
                    </a:lnTo>
                    <a:lnTo>
                      <a:pt x="591" y="352"/>
                    </a:lnTo>
                    <a:lnTo>
                      <a:pt x="591" y="351"/>
                    </a:lnTo>
                    <a:lnTo>
                      <a:pt x="592" y="351"/>
                    </a:lnTo>
                    <a:lnTo>
                      <a:pt x="592" y="349"/>
                    </a:lnTo>
                    <a:lnTo>
                      <a:pt x="593" y="349"/>
                    </a:lnTo>
                    <a:lnTo>
                      <a:pt x="592" y="348"/>
                    </a:lnTo>
                    <a:lnTo>
                      <a:pt x="592" y="349"/>
                    </a:lnTo>
                    <a:lnTo>
                      <a:pt x="589" y="347"/>
                    </a:lnTo>
                    <a:lnTo>
                      <a:pt x="590" y="347"/>
                    </a:lnTo>
                    <a:lnTo>
                      <a:pt x="590" y="346"/>
                    </a:lnTo>
                    <a:lnTo>
                      <a:pt x="591" y="346"/>
                    </a:lnTo>
                    <a:lnTo>
                      <a:pt x="591" y="345"/>
                    </a:lnTo>
                    <a:lnTo>
                      <a:pt x="592" y="345"/>
                    </a:lnTo>
                    <a:lnTo>
                      <a:pt x="593" y="345"/>
                    </a:lnTo>
                    <a:lnTo>
                      <a:pt x="593" y="346"/>
                    </a:lnTo>
                    <a:close/>
                    <a:moveTo>
                      <a:pt x="550" y="423"/>
                    </a:moveTo>
                    <a:lnTo>
                      <a:pt x="552" y="423"/>
                    </a:lnTo>
                    <a:lnTo>
                      <a:pt x="553" y="423"/>
                    </a:lnTo>
                    <a:lnTo>
                      <a:pt x="551" y="424"/>
                    </a:lnTo>
                    <a:lnTo>
                      <a:pt x="550" y="426"/>
                    </a:lnTo>
                    <a:lnTo>
                      <a:pt x="548" y="426"/>
                    </a:lnTo>
                    <a:lnTo>
                      <a:pt x="548" y="427"/>
                    </a:lnTo>
                    <a:lnTo>
                      <a:pt x="547" y="427"/>
                    </a:lnTo>
                    <a:lnTo>
                      <a:pt x="547" y="428"/>
                    </a:lnTo>
                    <a:lnTo>
                      <a:pt x="547" y="429"/>
                    </a:lnTo>
                    <a:lnTo>
                      <a:pt x="546" y="429"/>
                    </a:lnTo>
                    <a:lnTo>
                      <a:pt x="547" y="429"/>
                    </a:lnTo>
                    <a:lnTo>
                      <a:pt x="548" y="429"/>
                    </a:lnTo>
                    <a:lnTo>
                      <a:pt x="548" y="428"/>
                    </a:lnTo>
                    <a:lnTo>
                      <a:pt x="548" y="427"/>
                    </a:lnTo>
                    <a:lnTo>
                      <a:pt x="550" y="427"/>
                    </a:lnTo>
                    <a:lnTo>
                      <a:pt x="548" y="427"/>
                    </a:lnTo>
                    <a:lnTo>
                      <a:pt x="548" y="426"/>
                    </a:lnTo>
                    <a:lnTo>
                      <a:pt x="550" y="426"/>
                    </a:lnTo>
                    <a:lnTo>
                      <a:pt x="550" y="427"/>
                    </a:lnTo>
                    <a:lnTo>
                      <a:pt x="550" y="428"/>
                    </a:lnTo>
                    <a:lnTo>
                      <a:pt x="550" y="429"/>
                    </a:lnTo>
                    <a:lnTo>
                      <a:pt x="550" y="430"/>
                    </a:lnTo>
                    <a:lnTo>
                      <a:pt x="550" y="431"/>
                    </a:lnTo>
                    <a:lnTo>
                      <a:pt x="550" y="433"/>
                    </a:lnTo>
                    <a:lnTo>
                      <a:pt x="551" y="433"/>
                    </a:lnTo>
                    <a:lnTo>
                      <a:pt x="551" y="431"/>
                    </a:lnTo>
                    <a:lnTo>
                      <a:pt x="552" y="433"/>
                    </a:lnTo>
                    <a:lnTo>
                      <a:pt x="552" y="434"/>
                    </a:lnTo>
                    <a:lnTo>
                      <a:pt x="553" y="434"/>
                    </a:lnTo>
                    <a:lnTo>
                      <a:pt x="554" y="434"/>
                    </a:lnTo>
                    <a:lnTo>
                      <a:pt x="555" y="434"/>
                    </a:lnTo>
                    <a:lnTo>
                      <a:pt x="554" y="434"/>
                    </a:lnTo>
                    <a:lnTo>
                      <a:pt x="554" y="435"/>
                    </a:lnTo>
                    <a:lnTo>
                      <a:pt x="555" y="435"/>
                    </a:lnTo>
                    <a:lnTo>
                      <a:pt x="555" y="436"/>
                    </a:lnTo>
                    <a:lnTo>
                      <a:pt x="554" y="436"/>
                    </a:lnTo>
                    <a:lnTo>
                      <a:pt x="554" y="435"/>
                    </a:lnTo>
                    <a:lnTo>
                      <a:pt x="553" y="435"/>
                    </a:lnTo>
                    <a:lnTo>
                      <a:pt x="552" y="435"/>
                    </a:lnTo>
                    <a:lnTo>
                      <a:pt x="553" y="435"/>
                    </a:lnTo>
                    <a:lnTo>
                      <a:pt x="553" y="436"/>
                    </a:lnTo>
                    <a:lnTo>
                      <a:pt x="554" y="436"/>
                    </a:lnTo>
                    <a:lnTo>
                      <a:pt x="554" y="435"/>
                    </a:lnTo>
                    <a:lnTo>
                      <a:pt x="554" y="436"/>
                    </a:lnTo>
                    <a:lnTo>
                      <a:pt x="553" y="437"/>
                    </a:lnTo>
                    <a:lnTo>
                      <a:pt x="554" y="438"/>
                    </a:lnTo>
                    <a:lnTo>
                      <a:pt x="554" y="439"/>
                    </a:lnTo>
                    <a:lnTo>
                      <a:pt x="553" y="438"/>
                    </a:lnTo>
                    <a:lnTo>
                      <a:pt x="552" y="438"/>
                    </a:lnTo>
                    <a:lnTo>
                      <a:pt x="552" y="437"/>
                    </a:lnTo>
                    <a:lnTo>
                      <a:pt x="552" y="436"/>
                    </a:lnTo>
                    <a:lnTo>
                      <a:pt x="552" y="437"/>
                    </a:lnTo>
                    <a:lnTo>
                      <a:pt x="553" y="436"/>
                    </a:lnTo>
                    <a:lnTo>
                      <a:pt x="552" y="436"/>
                    </a:lnTo>
                    <a:lnTo>
                      <a:pt x="551" y="436"/>
                    </a:lnTo>
                    <a:lnTo>
                      <a:pt x="551" y="435"/>
                    </a:lnTo>
                    <a:lnTo>
                      <a:pt x="550" y="435"/>
                    </a:lnTo>
                    <a:lnTo>
                      <a:pt x="550" y="434"/>
                    </a:lnTo>
                    <a:lnTo>
                      <a:pt x="551" y="434"/>
                    </a:lnTo>
                    <a:lnTo>
                      <a:pt x="550" y="433"/>
                    </a:lnTo>
                    <a:lnTo>
                      <a:pt x="548" y="433"/>
                    </a:lnTo>
                    <a:lnTo>
                      <a:pt x="547" y="433"/>
                    </a:lnTo>
                    <a:lnTo>
                      <a:pt x="547" y="431"/>
                    </a:lnTo>
                    <a:lnTo>
                      <a:pt x="547" y="430"/>
                    </a:lnTo>
                    <a:lnTo>
                      <a:pt x="546" y="430"/>
                    </a:lnTo>
                    <a:lnTo>
                      <a:pt x="547" y="430"/>
                    </a:lnTo>
                    <a:lnTo>
                      <a:pt x="546" y="430"/>
                    </a:lnTo>
                    <a:lnTo>
                      <a:pt x="546" y="429"/>
                    </a:lnTo>
                    <a:lnTo>
                      <a:pt x="546" y="428"/>
                    </a:lnTo>
                    <a:lnTo>
                      <a:pt x="545" y="428"/>
                    </a:lnTo>
                    <a:lnTo>
                      <a:pt x="545" y="427"/>
                    </a:lnTo>
                    <a:lnTo>
                      <a:pt x="545" y="428"/>
                    </a:lnTo>
                    <a:lnTo>
                      <a:pt x="545" y="427"/>
                    </a:lnTo>
                    <a:lnTo>
                      <a:pt x="545" y="426"/>
                    </a:lnTo>
                    <a:lnTo>
                      <a:pt x="544" y="425"/>
                    </a:lnTo>
                    <a:lnTo>
                      <a:pt x="544" y="424"/>
                    </a:lnTo>
                    <a:lnTo>
                      <a:pt x="543" y="424"/>
                    </a:lnTo>
                    <a:lnTo>
                      <a:pt x="544" y="424"/>
                    </a:lnTo>
                    <a:lnTo>
                      <a:pt x="544" y="425"/>
                    </a:lnTo>
                    <a:lnTo>
                      <a:pt x="545" y="425"/>
                    </a:lnTo>
                    <a:lnTo>
                      <a:pt x="545" y="426"/>
                    </a:lnTo>
                    <a:lnTo>
                      <a:pt x="546" y="426"/>
                    </a:lnTo>
                    <a:lnTo>
                      <a:pt x="546" y="425"/>
                    </a:lnTo>
                    <a:lnTo>
                      <a:pt x="547" y="425"/>
                    </a:lnTo>
                    <a:lnTo>
                      <a:pt x="547" y="424"/>
                    </a:lnTo>
                    <a:lnTo>
                      <a:pt x="548" y="424"/>
                    </a:lnTo>
                    <a:lnTo>
                      <a:pt x="547" y="424"/>
                    </a:lnTo>
                    <a:lnTo>
                      <a:pt x="548" y="424"/>
                    </a:lnTo>
                    <a:lnTo>
                      <a:pt x="548" y="423"/>
                    </a:lnTo>
                    <a:lnTo>
                      <a:pt x="547" y="424"/>
                    </a:lnTo>
                    <a:lnTo>
                      <a:pt x="547" y="423"/>
                    </a:lnTo>
                    <a:lnTo>
                      <a:pt x="547" y="424"/>
                    </a:lnTo>
                    <a:lnTo>
                      <a:pt x="546" y="424"/>
                    </a:lnTo>
                    <a:lnTo>
                      <a:pt x="546" y="423"/>
                    </a:lnTo>
                    <a:lnTo>
                      <a:pt x="545" y="423"/>
                    </a:lnTo>
                    <a:lnTo>
                      <a:pt x="545" y="424"/>
                    </a:lnTo>
                    <a:lnTo>
                      <a:pt x="545" y="423"/>
                    </a:lnTo>
                    <a:lnTo>
                      <a:pt x="550" y="423"/>
                    </a:lnTo>
                    <a:close/>
                    <a:moveTo>
                      <a:pt x="582" y="332"/>
                    </a:moveTo>
                    <a:lnTo>
                      <a:pt x="583" y="333"/>
                    </a:lnTo>
                    <a:lnTo>
                      <a:pt x="584" y="333"/>
                    </a:lnTo>
                    <a:lnTo>
                      <a:pt x="584" y="334"/>
                    </a:lnTo>
                    <a:lnTo>
                      <a:pt x="585" y="334"/>
                    </a:lnTo>
                    <a:lnTo>
                      <a:pt x="586" y="334"/>
                    </a:lnTo>
                    <a:lnTo>
                      <a:pt x="588" y="334"/>
                    </a:lnTo>
                    <a:lnTo>
                      <a:pt x="588" y="335"/>
                    </a:lnTo>
                    <a:lnTo>
                      <a:pt x="588" y="334"/>
                    </a:lnTo>
                    <a:lnTo>
                      <a:pt x="588" y="333"/>
                    </a:lnTo>
                    <a:lnTo>
                      <a:pt x="589" y="333"/>
                    </a:lnTo>
                    <a:lnTo>
                      <a:pt x="589" y="334"/>
                    </a:lnTo>
                    <a:lnTo>
                      <a:pt x="589" y="335"/>
                    </a:lnTo>
                    <a:lnTo>
                      <a:pt x="590" y="335"/>
                    </a:lnTo>
                    <a:lnTo>
                      <a:pt x="589" y="335"/>
                    </a:lnTo>
                    <a:lnTo>
                      <a:pt x="589" y="336"/>
                    </a:lnTo>
                    <a:lnTo>
                      <a:pt x="589" y="337"/>
                    </a:lnTo>
                    <a:lnTo>
                      <a:pt x="589" y="338"/>
                    </a:lnTo>
                    <a:lnTo>
                      <a:pt x="589" y="339"/>
                    </a:lnTo>
                    <a:lnTo>
                      <a:pt x="588" y="339"/>
                    </a:lnTo>
                    <a:lnTo>
                      <a:pt x="588" y="340"/>
                    </a:lnTo>
                    <a:lnTo>
                      <a:pt x="586" y="339"/>
                    </a:lnTo>
                    <a:lnTo>
                      <a:pt x="586" y="338"/>
                    </a:lnTo>
                    <a:lnTo>
                      <a:pt x="585" y="338"/>
                    </a:lnTo>
                    <a:lnTo>
                      <a:pt x="584" y="339"/>
                    </a:lnTo>
                    <a:lnTo>
                      <a:pt x="584" y="338"/>
                    </a:lnTo>
                    <a:lnTo>
                      <a:pt x="583" y="337"/>
                    </a:lnTo>
                    <a:lnTo>
                      <a:pt x="584" y="336"/>
                    </a:lnTo>
                    <a:lnTo>
                      <a:pt x="585" y="336"/>
                    </a:lnTo>
                    <a:lnTo>
                      <a:pt x="585" y="337"/>
                    </a:lnTo>
                    <a:lnTo>
                      <a:pt x="586" y="337"/>
                    </a:lnTo>
                    <a:lnTo>
                      <a:pt x="586" y="338"/>
                    </a:lnTo>
                    <a:lnTo>
                      <a:pt x="586" y="337"/>
                    </a:lnTo>
                    <a:lnTo>
                      <a:pt x="585" y="337"/>
                    </a:lnTo>
                    <a:lnTo>
                      <a:pt x="586" y="337"/>
                    </a:lnTo>
                    <a:lnTo>
                      <a:pt x="585" y="336"/>
                    </a:lnTo>
                    <a:lnTo>
                      <a:pt x="586" y="336"/>
                    </a:lnTo>
                    <a:lnTo>
                      <a:pt x="586" y="335"/>
                    </a:lnTo>
                    <a:lnTo>
                      <a:pt x="586" y="334"/>
                    </a:lnTo>
                    <a:lnTo>
                      <a:pt x="586" y="335"/>
                    </a:lnTo>
                    <a:lnTo>
                      <a:pt x="585" y="335"/>
                    </a:lnTo>
                    <a:lnTo>
                      <a:pt x="586" y="335"/>
                    </a:lnTo>
                    <a:lnTo>
                      <a:pt x="585" y="336"/>
                    </a:lnTo>
                    <a:lnTo>
                      <a:pt x="585" y="335"/>
                    </a:lnTo>
                    <a:lnTo>
                      <a:pt x="585" y="336"/>
                    </a:lnTo>
                    <a:lnTo>
                      <a:pt x="584" y="336"/>
                    </a:lnTo>
                    <a:lnTo>
                      <a:pt x="584" y="335"/>
                    </a:lnTo>
                    <a:lnTo>
                      <a:pt x="584" y="336"/>
                    </a:lnTo>
                    <a:lnTo>
                      <a:pt x="583" y="335"/>
                    </a:lnTo>
                    <a:lnTo>
                      <a:pt x="583" y="336"/>
                    </a:lnTo>
                    <a:lnTo>
                      <a:pt x="583" y="337"/>
                    </a:lnTo>
                    <a:lnTo>
                      <a:pt x="582" y="337"/>
                    </a:lnTo>
                    <a:lnTo>
                      <a:pt x="581" y="337"/>
                    </a:lnTo>
                    <a:lnTo>
                      <a:pt x="581" y="336"/>
                    </a:lnTo>
                    <a:lnTo>
                      <a:pt x="581" y="335"/>
                    </a:lnTo>
                    <a:lnTo>
                      <a:pt x="581" y="334"/>
                    </a:lnTo>
                    <a:lnTo>
                      <a:pt x="582" y="334"/>
                    </a:lnTo>
                    <a:lnTo>
                      <a:pt x="582" y="333"/>
                    </a:lnTo>
                    <a:lnTo>
                      <a:pt x="581" y="333"/>
                    </a:lnTo>
                    <a:lnTo>
                      <a:pt x="580" y="333"/>
                    </a:lnTo>
                    <a:lnTo>
                      <a:pt x="580" y="334"/>
                    </a:lnTo>
                    <a:lnTo>
                      <a:pt x="580" y="333"/>
                    </a:lnTo>
                    <a:lnTo>
                      <a:pt x="580" y="332"/>
                    </a:lnTo>
                    <a:lnTo>
                      <a:pt x="581" y="332"/>
                    </a:lnTo>
                    <a:lnTo>
                      <a:pt x="582" y="332"/>
                    </a:lnTo>
                    <a:lnTo>
                      <a:pt x="582" y="331"/>
                    </a:lnTo>
                    <a:lnTo>
                      <a:pt x="582" y="332"/>
                    </a:lnTo>
                    <a:close/>
                    <a:moveTo>
                      <a:pt x="520" y="390"/>
                    </a:moveTo>
                    <a:lnTo>
                      <a:pt x="521" y="390"/>
                    </a:lnTo>
                    <a:lnTo>
                      <a:pt x="522" y="390"/>
                    </a:lnTo>
                    <a:lnTo>
                      <a:pt x="522" y="391"/>
                    </a:lnTo>
                    <a:lnTo>
                      <a:pt x="524" y="391"/>
                    </a:lnTo>
                    <a:lnTo>
                      <a:pt x="525" y="393"/>
                    </a:lnTo>
                    <a:lnTo>
                      <a:pt x="526" y="396"/>
                    </a:lnTo>
                    <a:lnTo>
                      <a:pt x="526" y="397"/>
                    </a:lnTo>
                    <a:lnTo>
                      <a:pt x="525" y="397"/>
                    </a:lnTo>
                    <a:lnTo>
                      <a:pt x="526" y="397"/>
                    </a:lnTo>
                    <a:lnTo>
                      <a:pt x="525" y="396"/>
                    </a:lnTo>
                    <a:lnTo>
                      <a:pt x="525" y="395"/>
                    </a:lnTo>
                    <a:lnTo>
                      <a:pt x="525" y="393"/>
                    </a:lnTo>
                    <a:lnTo>
                      <a:pt x="524" y="393"/>
                    </a:lnTo>
                    <a:lnTo>
                      <a:pt x="524" y="392"/>
                    </a:lnTo>
                    <a:lnTo>
                      <a:pt x="522" y="392"/>
                    </a:lnTo>
                    <a:lnTo>
                      <a:pt x="522" y="393"/>
                    </a:lnTo>
                    <a:lnTo>
                      <a:pt x="522" y="395"/>
                    </a:lnTo>
                    <a:lnTo>
                      <a:pt x="524" y="395"/>
                    </a:lnTo>
                    <a:lnTo>
                      <a:pt x="524" y="396"/>
                    </a:lnTo>
                    <a:lnTo>
                      <a:pt x="525" y="396"/>
                    </a:lnTo>
                    <a:lnTo>
                      <a:pt x="525" y="397"/>
                    </a:lnTo>
                    <a:lnTo>
                      <a:pt x="526" y="397"/>
                    </a:lnTo>
                    <a:lnTo>
                      <a:pt x="526" y="398"/>
                    </a:lnTo>
                    <a:lnTo>
                      <a:pt x="527" y="399"/>
                    </a:lnTo>
                    <a:lnTo>
                      <a:pt x="528" y="399"/>
                    </a:lnTo>
                    <a:lnTo>
                      <a:pt x="526" y="398"/>
                    </a:lnTo>
                    <a:lnTo>
                      <a:pt x="526" y="397"/>
                    </a:lnTo>
                    <a:lnTo>
                      <a:pt x="526" y="398"/>
                    </a:lnTo>
                    <a:lnTo>
                      <a:pt x="527" y="398"/>
                    </a:lnTo>
                    <a:lnTo>
                      <a:pt x="528" y="398"/>
                    </a:lnTo>
                    <a:lnTo>
                      <a:pt x="528" y="399"/>
                    </a:lnTo>
                    <a:lnTo>
                      <a:pt x="528" y="400"/>
                    </a:lnTo>
                    <a:lnTo>
                      <a:pt x="529" y="400"/>
                    </a:lnTo>
                    <a:lnTo>
                      <a:pt x="529" y="401"/>
                    </a:lnTo>
                    <a:lnTo>
                      <a:pt x="529" y="400"/>
                    </a:lnTo>
                    <a:lnTo>
                      <a:pt x="528" y="400"/>
                    </a:lnTo>
                    <a:lnTo>
                      <a:pt x="527" y="400"/>
                    </a:lnTo>
                    <a:lnTo>
                      <a:pt x="526" y="400"/>
                    </a:lnTo>
                    <a:lnTo>
                      <a:pt x="526" y="399"/>
                    </a:lnTo>
                    <a:lnTo>
                      <a:pt x="525" y="399"/>
                    </a:lnTo>
                    <a:lnTo>
                      <a:pt x="525" y="398"/>
                    </a:lnTo>
                    <a:lnTo>
                      <a:pt x="524" y="398"/>
                    </a:lnTo>
                    <a:lnTo>
                      <a:pt x="524" y="397"/>
                    </a:lnTo>
                    <a:lnTo>
                      <a:pt x="522" y="397"/>
                    </a:lnTo>
                    <a:lnTo>
                      <a:pt x="522" y="396"/>
                    </a:lnTo>
                    <a:lnTo>
                      <a:pt x="521" y="396"/>
                    </a:lnTo>
                    <a:lnTo>
                      <a:pt x="521" y="395"/>
                    </a:lnTo>
                    <a:lnTo>
                      <a:pt x="521" y="393"/>
                    </a:lnTo>
                    <a:lnTo>
                      <a:pt x="520" y="393"/>
                    </a:lnTo>
                    <a:lnTo>
                      <a:pt x="520" y="392"/>
                    </a:lnTo>
                    <a:lnTo>
                      <a:pt x="519" y="391"/>
                    </a:lnTo>
                    <a:lnTo>
                      <a:pt x="518" y="391"/>
                    </a:lnTo>
                    <a:lnTo>
                      <a:pt x="517" y="390"/>
                    </a:lnTo>
                    <a:lnTo>
                      <a:pt x="518" y="388"/>
                    </a:lnTo>
                    <a:lnTo>
                      <a:pt x="520" y="389"/>
                    </a:lnTo>
                    <a:lnTo>
                      <a:pt x="520" y="390"/>
                    </a:lnTo>
                    <a:close/>
                    <a:moveTo>
                      <a:pt x="583" y="430"/>
                    </a:moveTo>
                    <a:lnTo>
                      <a:pt x="584" y="431"/>
                    </a:lnTo>
                    <a:lnTo>
                      <a:pt x="585" y="431"/>
                    </a:lnTo>
                    <a:lnTo>
                      <a:pt x="585" y="430"/>
                    </a:lnTo>
                    <a:lnTo>
                      <a:pt x="585" y="431"/>
                    </a:lnTo>
                    <a:lnTo>
                      <a:pt x="586" y="431"/>
                    </a:lnTo>
                    <a:lnTo>
                      <a:pt x="586" y="433"/>
                    </a:lnTo>
                    <a:lnTo>
                      <a:pt x="588" y="433"/>
                    </a:lnTo>
                    <a:lnTo>
                      <a:pt x="589" y="433"/>
                    </a:lnTo>
                    <a:lnTo>
                      <a:pt x="589" y="431"/>
                    </a:lnTo>
                    <a:lnTo>
                      <a:pt x="588" y="431"/>
                    </a:lnTo>
                    <a:lnTo>
                      <a:pt x="589" y="431"/>
                    </a:lnTo>
                    <a:lnTo>
                      <a:pt x="590" y="433"/>
                    </a:lnTo>
                    <a:lnTo>
                      <a:pt x="591" y="433"/>
                    </a:lnTo>
                    <a:lnTo>
                      <a:pt x="590" y="433"/>
                    </a:lnTo>
                    <a:lnTo>
                      <a:pt x="591" y="433"/>
                    </a:lnTo>
                    <a:lnTo>
                      <a:pt x="592" y="433"/>
                    </a:lnTo>
                    <a:lnTo>
                      <a:pt x="593" y="433"/>
                    </a:lnTo>
                    <a:lnTo>
                      <a:pt x="593" y="434"/>
                    </a:lnTo>
                    <a:lnTo>
                      <a:pt x="593" y="435"/>
                    </a:lnTo>
                    <a:lnTo>
                      <a:pt x="592" y="434"/>
                    </a:lnTo>
                    <a:lnTo>
                      <a:pt x="593" y="435"/>
                    </a:lnTo>
                    <a:lnTo>
                      <a:pt x="593" y="436"/>
                    </a:lnTo>
                    <a:lnTo>
                      <a:pt x="594" y="436"/>
                    </a:lnTo>
                    <a:lnTo>
                      <a:pt x="594" y="437"/>
                    </a:lnTo>
                    <a:lnTo>
                      <a:pt x="593" y="437"/>
                    </a:lnTo>
                    <a:lnTo>
                      <a:pt x="593" y="438"/>
                    </a:lnTo>
                    <a:lnTo>
                      <a:pt x="592" y="439"/>
                    </a:lnTo>
                    <a:lnTo>
                      <a:pt x="591" y="439"/>
                    </a:lnTo>
                    <a:lnTo>
                      <a:pt x="590" y="439"/>
                    </a:lnTo>
                    <a:lnTo>
                      <a:pt x="590" y="438"/>
                    </a:lnTo>
                    <a:lnTo>
                      <a:pt x="591" y="438"/>
                    </a:lnTo>
                    <a:lnTo>
                      <a:pt x="592" y="438"/>
                    </a:lnTo>
                    <a:lnTo>
                      <a:pt x="593" y="437"/>
                    </a:lnTo>
                    <a:lnTo>
                      <a:pt x="592" y="437"/>
                    </a:lnTo>
                    <a:lnTo>
                      <a:pt x="592" y="438"/>
                    </a:lnTo>
                    <a:lnTo>
                      <a:pt x="592" y="437"/>
                    </a:lnTo>
                    <a:lnTo>
                      <a:pt x="592" y="438"/>
                    </a:lnTo>
                    <a:lnTo>
                      <a:pt x="592" y="437"/>
                    </a:lnTo>
                    <a:lnTo>
                      <a:pt x="591" y="437"/>
                    </a:lnTo>
                    <a:lnTo>
                      <a:pt x="592" y="436"/>
                    </a:lnTo>
                    <a:lnTo>
                      <a:pt x="593" y="437"/>
                    </a:lnTo>
                    <a:lnTo>
                      <a:pt x="593" y="436"/>
                    </a:lnTo>
                    <a:lnTo>
                      <a:pt x="592" y="436"/>
                    </a:lnTo>
                    <a:lnTo>
                      <a:pt x="591" y="437"/>
                    </a:lnTo>
                    <a:lnTo>
                      <a:pt x="591" y="436"/>
                    </a:lnTo>
                    <a:lnTo>
                      <a:pt x="591" y="435"/>
                    </a:lnTo>
                    <a:lnTo>
                      <a:pt x="590" y="435"/>
                    </a:lnTo>
                    <a:lnTo>
                      <a:pt x="589" y="435"/>
                    </a:lnTo>
                    <a:lnTo>
                      <a:pt x="589" y="434"/>
                    </a:lnTo>
                    <a:lnTo>
                      <a:pt x="589" y="435"/>
                    </a:lnTo>
                    <a:lnTo>
                      <a:pt x="588" y="434"/>
                    </a:lnTo>
                    <a:lnTo>
                      <a:pt x="586" y="434"/>
                    </a:lnTo>
                    <a:lnTo>
                      <a:pt x="585" y="434"/>
                    </a:lnTo>
                    <a:lnTo>
                      <a:pt x="584" y="434"/>
                    </a:lnTo>
                    <a:lnTo>
                      <a:pt x="584" y="433"/>
                    </a:lnTo>
                    <a:lnTo>
                      <a:pt x="584" y="434"/>
                    </a:lnTo>
                    <a:lnTo>
                      <a:pt x="583" y="434"/>
                    </a:lnTo>
                    <a:lnTo>
                      <a:pt x="582" y="434"/>
                    </a:lnTo>
                    <a:lnTo>
                      <a:pt x="582" y="433"/>
                    </a:lnTo>
                    <a:lnTo>
                      <a:pt x="582" y="431"/>
                    </a:lnTo>
                    <a:lnTo>
                      <a:pt x="581" y="431"/>
                    </a:lnTo>
                    <a:lnTo>
                      <a:pt x="582" y="430"/>
                    </a:lnTo>
                    <a:lnTo>
                      <a:pt x="583" y="430"/>
                    </a:lnTo>
                    <a:close/>
                    <a:moveTo>
                      <a:pt x="380" y="466"/>
                    </a:moveTo>
                    <a:lnTo>
                      <a:pt x="379" y="466"/>
                    </a:lnTo>
                    <a:lnTo>
                      <a:pt x="379" y="467"/>
                    </a:lnTo>
                    <a:lnTo>
                      <a:pt x="379" y="468"/>
                    </a:lnTo>
                    <a:lnTo>
                      <a:pt x="378" y="468"/>
                    </a:lnTo>
                    <a:lnTo>
                      <a:pt x="378" y="469"/>
                    </a:lnTo>
                    <a:lnTo>
                      <a:pt x="378" y="470"/>
                    </a:lnTo>
                    <a:lnTo>
                      <a:pt x="377" y="472"/>
                    </a:lnTo>
                    <a:lnTo>
                      <a:pt x="377" y="474"/>
                    </a:lnTo>
                    <a:lnTo>
                      <a:pt x="377" y="475"/>
                    </a:lnTo>
                    <a:lnTo>
                      <a:pt x="377" y="476"/>
                    </a:lnTo>
                    <a:lnTo>
                      <a:pt x="377" y="477"/>
                    </a:lnTo>
                    <a:lnTo>
                      <a:pt x="377" y="478"/>
                    </a:lnTo>
                    <a:lnTo>
                      <a:pt x="376" y="479"/>
                    </a:lnTo>
                    <a:lnTo>
                      <a:pt x="375" y="480"/>
                    </a:lnTo>
                    <a:lnTo>
                      <a:pt x="375" y="479"/>
                    </a:lnTo>
                    <a:lnTo>
                      <a:pt x="376" y="479"/>
                    </a:lnTo>
                    <a:lnTo>
                      <a:pt x="376" y="478"/>
                    </a:lnTo>
                    <a:lnTo>
                      <a:pt x="375" y="478"/>
                    </a:lnTo>
                    <a:lnTo>
                      <a:pt x="375" y="477"/>
                    </a:lnTo>
                    <a:lnTo>
                      <a:pt x="376" y="477"/>
                    </a:lnTo>
                    <a:lnTo>
                      <a:pt x="375" y="477"/>
                    </a:lnTo>
                    <a:lnTo>
                      <a:pt x="375" y="476"/>
                    </a:lnTo>
                    <a:lnTo>
                      <a:pt x="376" y="476"/>
                    </a:lnTo>
                    <a:lnTo>
                      <a:pt x="376" y="475"/>
                    </a:lnTo>
                    <a:lnTo>
                      <a:pt x="376" y="474"/>
                    </a:lnTo>
                    <a:lnTo>
                      <a:pt x="376" y="473"/>
                    </a:lnTo>
                    <a:lnTo>
                      <a:pt x="376" y="472"/>
                    </a:lnTo>
                    <a:lnTo>
                      <a:pt x="376" y="470"/>
                    </a:lnTo>
                    <a:lnTo>
                      <a:pt x="375" y="470"/>
                    </a:lnTo>
                    <a:lnTo>
                      <a:pt x="375" y="469"/>
                    </a:lnTo>
                    <a:lnTo>
                      <a:pt x="374" y="469"/>
                    </a:lnTo>
                    <a:lnTo>
                      <a:pt x="374" y="468"/>
                    </a:lnTo>
                    <a:lnTo>
                      <a:pt x="374" y="467"/>
                    </a:lnTo>
                    <a:lnTo>
                      <a:pt x="374" y="466"/>
                    </a:lnTo>
                    <a:lnTo>
                      <a:pt x="375" y="466"/>
                    </a:lnTo>
                    <a:lnTo>
                      <a:pt x="376" y="466"/>
                    </a:lnTo>
                    <a:lnTo>
                      <a:pt x="376" y="467"/>
                    </a:lnTo>
                    <a:lnTo>
                      <a:pt x="376" y="468"/>
                    </a:lnTo>
                    <a:lnTo>
                      <a:pt x="377" y="468"/>
                    </a:lnTo>
                    <a:lnTo>
                      <a:pt x="377" y="467"/>
                    </a:lnTo>
                    <a:lnTo>
                      <a:pt x="378" y="467"/>
                    </a:lnTo>
                    <a:lnTo>
                      <a:pt x="379" y="467"/>
                    </a:lnTo>
                    <a:lnTo>
                      <a:pt x="379" y="466"/>
                    </a:lnTo>
                    <a:lnTo>
                      <a:pt x="380" y="466"/>
                    </a:lnTo>
                    <a:close/>
                    <a:moveTo>
                      <a:pt x="583" y="337"/>
                    </a:moveTo>
                    <a:lnTo>
                      <a:pt x="584" y="338"/>
                    </a:lnTo>
                    <a:lnTo>
                      <a:pt x="584" y="339"/>
                    </a:lnTo>
                    <a:lnTo>
                      <a:pt x="585" y="339"/>
                    </a:lnTo>
                    <a:lnTo>
                      <a:pt x="584" y="340"/>
                    </a:lnTo>
                    <a:lnTo>
                      <a:pt x="585" y="340"/>
                    </a:lnTo>
                    <a:lnTo>
                      <a:pt x="585" y="341"/>
                    </a:lnTo>
                    <a:lnTo>
                      <a:pt x="586" y="341"/>
                    </a:lnTo>
                    <a:lnTo>
                      <a:pt x="586" y="340"/>
                    </a:lnTo>
                    <a:lnTo>
                      <a:pt x="585" y="340"/>
                    </a:lnTo>
                    <a:lnTo>
                      <a:pt x="585" y="339"/>
                    </a:lnTo>
                    <a:lnTo>
                      <a:pt x="585" y="338"/>
                    </a:lnTo>
                    <a:lnTo>
                      <a:pt x="586" y="339"/>
                    </a:lnTo>
                    <a:lnTo>
                      <a:pt x="586" y="340"/>
                    </a:lnTo>
                    <a:lnTo>
                      <a:pt x="588" y="340"/>
                    </a:lnTo>
                    <a:lnTo>
                      <a:pt x="588" y="339"/>
                    </a:lnTo>
                    <a:lnTo>
                      <a:pt x="589" y="339"/>
                    </a:lnTo>
                    <a:lnTo>
                      <a:pt x="589" y="340"/>
                    </a:lnTo>
                    <a:lnTo>
                      <a:pt x="589" y="341"/>
                    </a:lnTo>
                    <a:lnTo>
                      <a:pt x="590" y="341"/>
                    </a:lnTo>
                    <a:lnTo>
                      <a:pt x="591" y="341"/>
                    </a:lnTo>
                    <a:lnTo>
                      <a:pt x="591" y="342"/>
                    </a:lnTo>
                    <a:lnTo>
                      <a:pt x="590" y="342"/>
                    </a:lnTo>
                    <a:lnTo>
                      <a:pt x="589" y="342"/>
                    </a:lnTo>
                    <a:lnTo>
                      <a:pt x="589" y="344"/>
                    </a:lnTo>
                    <a:lnTo>
                      <a:pt x="588" y="345"/>
                    </a:lnTo>
                    <a:lnTo>
                      <a:pt x="588" y="346"/>
                    </a:lnTo>
                    <a:lnTo>
                      <a:pt x="586" y="346"/>
                    </a:lnTo>
                    <a:lnTo>
                      <a:pt x="586" y="347"/>
                    </a:lnTo>
                    <a:lnTo>
                      <a:pt x="588" y="348"/>
                    </a:lnTo>
                    <a:lnTo>
                      <a:pt x="586" y="348"/>
                    </a:lnTo>
                    <a:lnTo>
                      <a:pt x="586" y="347"/>
                    </a:lnTo>
                    <a:lnTo>
                      <a:pt x="586" y="346"/>
                    </a:lnTo>
                    <a:lnTo>
                      <a:pt x="586" y="345"/>
                    </a:lnTo>
                    <a:lnTo>
                      <a:pt x="586" y="344"/>
                    </a:lnTo>
                    <a:lnTo>
                      <a:pt x="586" y="342"/>
                    </a:lnTo>
                    <a:lnTo>
                      <a:pt x="586" y="344"/>
                    </a:lnTo>
                    <a:lnTo>
                      <a:pt x="585" y="342"/>
                    </a:lnTo>
                    <a:lnTo>
                      <a:pt x="585" y="341"/>
                    </a:lnTo>
                    <a:lnTo>
                      <a:pt x="584" y="341"/>
                    </a:lnTo>
                    <a:lnTo>
                      <a:pt x="583" y="341"/>
                    </a:lnTo>
                    <a:lnTo>
                      <a:pt x="584" y="341"/>
                    </a:lnTo>
                    <a:lnTo>
                      <a:pt x="583" y="339"/>
                    </a:lnTo>
                    <a:lnTo>
                      <a:pt x="583" y="338"/>
                    </a:lnTo>
                    <a:lnTo>
                      <a:pt x="582" y="338"/>
                    </a:lnTo>
                    <a:lnTo>
                      <a:pt x="582" y="337"/>
                    </a:lnTo>
                    <a:lnTo>
                      <a:pt x="581" y="337"/>
                    </a:lnTo>
                    <a:lnTo>
                      <a:pt x="582" y="337"/>
                    </a:lnTo>
                    <a:lnTo>
                      <a:pt x="583" y="337"/>
                    </a:lnTo>
                    <a:lnTo>
                      <a:pt x="583" y="336"/>
                    </a:lnTo>
                    <a:lnTo>
                      <a:pt x="584" y="336"/>
                    </a:lnTo>
                    <a:lnTo>
                      <a:pt x="583" y="337"/>
                    </a:lnTo>
                    <a:close/>
                    <a:moveTo>
                      <a:pt x="403" y="575"/>
                    </a:moveTo>
                    <a:lnTo>
                      <a:pt x="404" y="575"/>
                    </a:lnTo>
                    <a:lnTo>
                      <a:pt x="405" y="575"/>
                    </a:lnTo>
                    <a:lnTo>
                      <a:pt x="406" y="575"/>
                    </a:lnTo>
                    <a:lnTo>
                      <a:pt x="405" y="576"/>
                    </a:lnTo>
                    <a:lnTo>
                      <a:pt x="404" y="576"/>
                    </a:lnTo>
                    <a:lnTo>
                      <a:pt x="403" y="577"/>
                    </a:lnTo>
                    <a:lnTo>
                      <a:pt x="402" y="577"/>
                    </a:lnTo>
                    <a:lnTo>
                      <a:pt x="401" y="577"/>
                    </a:lnTo>
                    <a:lnTo>
                      <a:pt x="400" y="577"/>
                    </a:lnTo>
                    <a:lnTo>
                      <a:pt x="398" y="577"/>
                    </a:lnTo>
                    <a:lnTo>
                      <a:pt x="396" y="577"/>
                    </a:lnTo>
                    <a:lnTo>
                      <a:pt x="395" y="577"/>
                    </a:lnTo>
                    <a:lnTo>
                      <a:pt x="395" y="576"/>
                    </a:lnTo>
                    <a:lnTo>
                      <a:pt x="396" y="576"/>
                    </a:lnTo>
                    <a:lnTo>
                      <a:pt x="397" y="576"/>
                    </a:lnTo>
                    <a:lnTo>
                      <a:pt x="397" y="575"/>
                    </a:lnTo>
                    <a:lnTo>
                      <a:pt x="398" y="575"/>
                    </a:lnTo>
                    <a:lnTo>
                      <a:pt x="400" y="575"/>
                    </a:lnTo>
                    <a:lnTo>
                      <a:pt x="401" y="575"/>
                    </a:lnTo>
                    <a:lnTo>
                      <a:pt x="402" y="575"/>
                    </a:lnTo>
                    <a:lnTo>
                      <a:pt x="402" y="573"/>
                    </a:lnTo>
                    <a:lnTo>
                      <a:pt x="403" y="573"/>
                    </a:lnTo>
                    <a:lnTo>
                      <a:pt x="403" y="575"/>
                    </a:lnTo>
                    <a:close/>
                    <a:moveTo>
                      <a:pt x="493" y="298"/>
                    </a:moveTo>
                    <a:lnTo>
                      <a:pt x="493" y="299"/>
                    </a:lnTo>
                    <a:lnTo>
                      <a:pt x="493" y="300"/>
                    </a:lnTo>
                    <a:lnTo>
                      <a:pt x="493" y="301"/>
                    </a:lnTo>
                    <a:lnTo>
                      <a:pt x="493" y="302"/>
                    </a:lnTo>
                    <a:lnTo>
                      <a:pt x="494" y="302"/>
                    </a:lnTo>
                    <a:lnTo>
                      <a:pt x="495" y="302"/>
                    </a:lnTo>
                    <a:lnTo>
                      <a:pt x="495" y="303"/>
                    </a:lnTo>
                    <a:lnTo>
                      <a:pt x="494" y="303"/>
                    </a:lnTo>
                    <a:lnTo>
                      <a:pt x="493" y="303"/>
                    </a:lnTo>
                    <a:lnTo>
                      <a:pt x="493" y="302"/>
                    </a:lnTo>
                    <a:lnTo>
                      <a:pt x="492" y="302"/>
                    </a:lnTo>
                    <a:lnTo>
                      <a:pt x="491" y="302"/>
                    </a:lnTo>
                    <a:lnTo>
                      <a:pt x="491" y="301"/>
                    </a:lnTo>
                    <a:lnTo>
                      <a:pt x="490" y="301"/>
                    </a:lnTo>
                    <a:lnTo>
                      <a:pt x="489" y="301"/>
                    </a:lnTo>
                    <a:lnTo>
                      <a:pt x="488" y="300"/>
                    </a:lnTo>
                    <a:lnTo>
                      <a:pt x="487" y="300"/>
                    </a:lnTo>
                    <a:lnTo>
                      <a:pt x="486" y="300"/>
                    </a:lnTo>
                    <a:lnTo>
                      <a:pt x="486" y="299"/>
                    </a:lnTo>
                    <a:lnTo>
                      <a:pt x="487" y="299"/>
                    </a:lnTo>
                    <a:lnTo>
                      <a:pt x="488" y="299"/>
                    </a:lnTo>
                    <a:lnTo>
                      <a:pt x="488" y="298"/>
                    </a:lnTo>
                    <a:lnTo>
                      <a:pt x="489" y="298"/>
                    </a:lnTo>
                    <a:lnTo>
                      <a:pt x="489" y="299"/>
                    </a:lnTo>
                    <a:lnTo>
                      <a:pt x="490" y="299"/>
                    </a:lnTo>
                    <a:lnTo>
                      <a:pt x="491" y="299"/>
                    </a:lnTo>
                    <a:lnTo>
                      <a:pt x="491" y="298"/>
                    </a:lnTo>
                    <a:lnTo>
                      <a:pt x="492" y="298"/>
                    </a:lnTo>
                    <a:lnTo>
                      <a:pt x="493" y="298"/>
                    </a:lnTo>
                    <a:close/>
                    <a:moveTo>
                      <a:pt x="577" y="424"/>
                    </a:moveTo>
                    <a:lnTo>
                      <a:pt x="578" y="424"/>
                    </a:lnTo>
                    <a:lnTo>
                      <a:pt x="578" y="425"/>
                    </a:lnTo>
                    <a:lnTo>
                      <a:pt x="579" y="427"/>
                    </a:lnTo>
                    <a:lnTo>
                      <a:pt x="580" y="428"/>
                    </a:lnTo>
                    <a:lnTo>
                      <a:pt x="581" y="428"/>
                    </a:lnTo>
                    <a:lnTo>
                      <a:pt x="582" y="429"/>
                    </a:lnTo>
                    <a:lnTo>
                      <a:pt x="581" y="429"/>
                    </a:lnTo>
                    <a:lnTo>
                      <a:pt x="581" y="430"/>
                    </a:lnTo>
                    <a:lnTo>
                      <a:pt x="582" y="430"/>
                    </a:lnTo>
                    <a:lnTo>
                      <a:pt x="581" y="431"/>
                    </a:lnTo>
                    <a:lnTo>
                      <a:pt x="580" y="430"/>
                    </a:lnTo>
                    <a:lnTo>
                      <a:pt x="579" y="431"/>
                    </a:lnTo>
                    <a:lnTo>
                      <a:pt x="579" y="433"/>
                    </a:lnTo>
                    <a:lnTo>
                      <a:pt x="580" y="433"/>
                    </a:lnTo>
                    <a:lnTo>
                      <a:pt x="579" y="433"/>
                    </a:lnTo>
                    <a:lnTo>
                      <a:pt x="579" y="431"/>
                    </a:lnTo>
                    <a:lnTo>
                      <a:pt x="578" y="431"/>
                    </a:lnTo>
                    <a:lnTo>
                      <a:pt x="577" y="431"/>
                    </a:lnTo>
                    <a:lnTo>
                      <a:pt x="576" y="431"/>
                    </a:lnTo>
                    <a:lnTo>
                      <a:pt x="576" y="430"/>
                    </a:lnTo>
                    <a:lnTo>
                      <a:pt x="577" y="430"/>
                    </a:lnTo>
                    <a:lnTo>
                      <a:pt x="576" y="430"/>
                    </a:lnTo>
                    <a:lnTo>
                      <a:pt x="576" y="429"/>
                    </a:lnTo>
                    <a:lnTo>
                      <a:pt x="577" y="429"/>
                    </a:lnTo>
                    <a:lnTo>
                      <a:pt x="578" y="429"/>
                    </a:lnTo>
                    <a:lnTo>
                      <a:pt x="578" y="428"/>
                    </a:lnTo>
                    <a:lnTo>
                      <a:pt x="577" y="428"/>
                    </a:lnTo>
                    <a:lnTo>
                      <a:pt x="578" y="428"/>
                    </a:lnTo>
                    <a:lnTo>
                      <a:pt x="578" y="429"/>
                    </a:lnTo>
                    <a:lnTo>
                      <a:pt x="579" y="429"/>
                    </a:lnTo>
                    <a:lnTo>
                      <a:pt x="579" y="428"/>
                    </a:lnTo>
                    <a:lnTo>
                      <a:pt x="579" y="427"/>
                    </a:lnTo>
                    <a:lnTo>
                      <a:pt x="578" y="427"/>
                    </a:lnTo>
                    <a:lnTo>
                      <a:pt x="578" y="426"/>
                    </a:lnTo>
                    <a:lnTo>
                      <a:pt x="577" y="426"/>
                    </a:lnTo>
                    <a:lnTo>
                      <a:pt x="577" y="425"/>
                    </a:lnTo>
                    <a:lnTo>
                      <a:pt x="576" y="424"/>
                    </a:lnTo>
                    <a:lnTo>
                      <a:pt x="575" y="424"/>
                    </a:lnTo>
                    <a:lnTo>
                      <a:pt x="576" y="424"/>
                    </a:lnTo>
                    <a:lnTo>
                      <a:pt x="577" y="424"/>
                    </a:lnTo>
                    <a:close/>
                    <a:moveTo>
                      <a:pt x="449" y="498"/>
                    </a:moveTo>
                    <a:lnTo>
                      <a:pt x="450" y="498"/>
                    </a:lnTo>
                    <a:lnTo>
                      <a:pt x="450" y="495"/>
                    </a:lnTo>
                    <a:lnTo>
                      <a:pt x="451" y="495"/>
                    </a:lnTo>
                    <a:lnTo>
                      <a:pt x="451" y="494"/>
                    </a:lnTo>
                    <a:lnTo>
                      <a:pt x="452" y="494"/>
                    </a:lnTo>
                    <a:lnTo>
                      <a:pt x="452" y="493"/>
                    </a:lnTo>
                    <a:lnTo>
                      <a:pt x="453" y="494"/>
                    </a:lnTo>
                    <a:lnTo>
                      <a:pt x="453" y="495"/>
                    </a:lnTo>
                    <a:lnTo>
                      <a:pt x="452" y="496"/>
                    </a:lnTo>
                    <a:lnTo>
                      <a:pt x="452" y="498"/>
                    </a:lnTo>
                    <a:lnTo>
                      <a:pt x="452" y="499"/>
                    </a:lnTo>
                    <a:lnTo>
                      <a:pt x="451" y="500"/>
                    </a:lnTo>
                    <a:lnTo>
                      <a:pt x="450" y="499"/>
                    </a:lnTo>
                    <a:lnTo>
                      <a:pt x="449" y="498"/>
                    </a:lnTo>
                    <a:lnTo>
                      <a:pt x="447" y="498"/>
                    </a:lnTo>
                    <a:lnTo>
                      <a:pt x="447" y="496"/>
                    </a:lnTo>
                    <a:lnTo>
                      <a:pt x="446" y="495"/>
                    </a:lnTo>
                    <a:lnTo>
                      <a:pt x="444" y="495"/>
                    </a:lnTo>
                    <a:lnTo>
                      <a:pt x="444" y="494"/>
                    </a:lnTo>
                    <a:lnTo>
                      <a:pt x="444" y="493"/>
                    </a:lnTo>
                    <a:lnTo>
                      <a:pt x="446" y="493"/>
                    </a:lnTo>
                    <a:lnTo>
                      <a:pt x="446" y="494"/>
                    </a:lnTo>
                    <a:lnTo>
                      <a:pt x="447" y="495"/>
                    </a:lnTo>
                    <a:lnTo>
                      <a:pt x="448" y="495"/>
                    </a:lnTo>
                    <a:lnTo>
                      <a:pt x="448" y="496"/>
                    </a:lnTo>
                    <a:lnTo>
                      <a:pt x="449" y="496"/>
                    </a:lnTo>
                    <a:lnTo>
                      <a:pt x="449" y="498"/>
                    </a:lnTo>
                    <a:close/>
                    <a:moveTo>
                      <a:pt x="446" y="525"/>
                    </a:moveTo>
                    <a:lnTo>
                      <a:pt x="444" y="525"/>
                    </a:lnTo>
                    <a:lnTo>
                      <a:pt x="443" y="525"/>
                    </a:lnTo>
                    <a:lnTo>
                      <a:pt x="442" y="525"/>
                    </a:lnTo>
                    <a:lnTo>
                      <a:pt x="441" y="526"/>
                    </a:lnTo>
                    <a:lnTo>
                      <a:pt x="440" y="525"/>
                    </a:lnTo>
                    <a:lnTo>
                      <a:pt x="441" y="524"/>
                    </a:lnTo>
                    <a:lnTo>
                      <a:pt x="442" y="523"/>
                    </a:lnTo>
                    <a:lnTo>
                      <a:pt x="443" y="523"/>
                    </a:lnTo>
                    <a:lnTo>
                      <a:pt x="442" y="523"/>
                    </a:lnTo>
                    <a:lnTo>
                      <a:pt x="443" y="523"/>
                    </a:lnTo>
                    <a:lnTo>
                      <a:pt x="443" y="521"/>
                    </a:lnTo>
                    <a:lnTo>
                      <a:pt x="443" y="520"/>
                    </a:lnTo>
                    <a:lnTo>
                      <a:pt x="443" y="519"/>
                    </a:lnTo>
                    <a:lnTo>
                      <a:pt x="444" y="519"/>
                    </a:lnTo>
                    <a:lnTo>
                      <a:pt x="444" y="520"/>
                    </a:lnTo>
                    <a:lnTo>
                      <a:pt x="446" y="521"/>
                    </a:lnTo>
                    <a:lnTo>
                      <a:pt x="447" y="521"/>
                    </a:lnTo>
                    <a:lnTo>
                      <a:pt x="448" y="521"/>
                    </a:lnTo>
                    <a:lnTo>
                      <a:pt x="448" y="523"/>
                    </a:lnTo>
                    <a:lnTo>
                      <a:pt x="447" y="524"/>
                    </a:lnTo>
                    <a:lnTo>
                      <a:pt x="446" y="524"/>
                    </a:lnTo>
                    <a:lnTo>
                      <a:pt x="446" y="525"/>
                    </a:lnTo>
                    <a:close/>
                    <a:moveTo>
                      <a:pt x="597" y="438"/>
                    </a:moveTo>
                    <a:lnTo>
                      <a:pt x="598" y="439"/>
                    </a:lnTo>
                    <a:lnTo>
                      <a:pt x="599" y="439"/>
                    </a:lnTo>
                    <a:lnTo>
                      <a:pt x="599" y="438"/>
                    </a:lnTo>
                    <a:lnTo>
                      <a:pt x="601" y="438"/>
                    </a:lnTo>
                    <a:lnTo>
                      <a:pt x="599" y="439"/>
                    </a:lnTo>
                    <a:lnTo>
                      <a:pt x="598" y="439"/>
                    </a:lnTo>
                    <a:lnTo>
                      <a:pt x="598" y="441"/>
                    </a:lnTo>
                    <a:lnTo>
                      <a:pt x="599" y="441"/>
                    </a:lnTo>
                    <a:lnTo>
                      <a:pt x="599" y="442"/>
                    </a:lnTo>
                    <a:lnTo>
                      <a:pt x="599" y="443"/>
                    </a:lnTo>
                    <a:lnTo>
                      <a:pt x="601" y="443"/>
                    </a:lnTo>
                    <a:lnTo>
                      <a:pt x="599" y="444"/>
                    </a:lnTo>
                    <a:lnTo>
                      <a:pt x="599" y="446"/>
                    </a:lnTo>
                    <a:lnTo>
                      <a:pt x="599" y="447"/>
                    </a:lnTo>
                    <a:lnTo>
                      <a:pt x="598" y="447"/>
                    </a:lnTo>
                    <a:lnTo>
                      <a:pt x="598" y="446"/>
                    </a:lnTo>
                    <a:lnTo>
                      <a:pt x="598" y="444"/>
                    </a:lnTo>
                    <a:lnTo>
                      <a:pt x="597" y="444"/>
                    </a:lnTo>
                    <a:lnTo>
                      <a:pt x="597" y="443"/>
                    </a:lnTo>
                    <a:lnTo>
                      <a:pt x="596" y="443"/>
                    </a:lnTo>
                    <a:lnTo>
                      <a:pt x="597" y="442"/>
                    </a:lnTo>
                    <a:lnTo>
                      <a:pt x="597" y="441"/>
                    </a:lnTo>
                    <a:lnTo>
                      <a:pt x="598" y="441"/>
                    </a:lnTo>
                    <a:lnTo>
                      <a:pt x="597" y="440"/>
                    </a:lnTo>
                    <a:lnTo>
                      <a:pt x="597" y="441"/>
                    </a:lnTo>
                    <a:lnTo>
                      <a:pt x="596" y="441"/>
                    </a:lnTo>
                    <a:lnTo>
                      <a:pt x="597" y="440"/>
                    </a:lnTo>
                    <a:lnTo>
                      <a:pt x="596" y="440"/>
                    </a:lnTo>
                    <a:lnTo>
                      <a:pt x="597" y="440"/>
                    </a:lnTo>
                    <a:lnTo>
                      <a:pt x="596" y="440"/>
                    </a:lnTo>
                    <a:lnTo>
                      <a:pt x="596" y="439"/>
                    </a:lnTo>
                    <a:lnTo>
                      <a:pt x="596" y="438"/>
                    </a:lnTo>
                    <a:lnTo>
                      <a:pt x="596" y="439"/>
                    </a:lnTo>
                    <a:lnTo>
                      <a:pt x="597" y="439"/>
                    </a:lnTo>
                    <a:lnTo>
                      <a:pt x="596" y="438"/>
                    </a:lnTo>
                    <a:lnTo>
                      <a:pt x="597" y="438"/>
                    </a:lnTo>
                    <a:lnTo>
                      <a:pt x="597" y="437"/>
                    </a:lnTo>
                    <a:lnTo>
                      <a:pt x="598" y="437"/>
                    </a:lnTo>
                    <a:lnTo>
                      <a:pt x="598" y="438"/>
                    </a:lnTo>
                    <a:lnTo>
                      <a:pt x="597" y="438"/>
                    </a:lnTo>
                    <a:close/>
                    <a:moveTo>
                      <a:pt x="605" y="438"/>
                    </a:moveTo>
                    <a:lnTo>
                      <a:pt x="605" y="439"/>
                    </a:lnTo>
                    <a:lnTo>
                      <a:pt x="606" y="439"/>
                    </a:lnTo>
                    <a:lnTo>
                      <a:pt x="607" y="440"/>
                    </a:lnTo>
                    <a:lnTo>
                      <a:pt x="606" y="440"/>
                    </a:lnTo>
                    <a:lnTo>
                      <a:pt x="606" y="441"/>
                    </a:lnTo>
                    <a:lnTo>
                      <a:pt x="607" y="442"/>
                    </a:lnTo>
                    <a:lnTo>
                      <a:pt x="607" y="443"/>
                    </a:lnTo>
                    <a:lnTo>
                      <a:pt x="606" y="444"/>
                    </a:lnTo>
                    <a:lnTo>
                      <a:pt x="606" y="446"/>
                    </a:lnTo>
                    <a:lnTo>
                      <a:pt x="605" y="446"/>
                    </a:lnTo>
                    <a:lnTo>
                      <a:pt x="605" y="447"/>
                    </a:lnTo>
                    <a:lnTo>
                      <a:pt x="604" y="448"/>
                    </a:lnTo>
                    <a:lnTo>
                      <a:pt x="604" y="447"/>
                    </a:lnTo>
                    <a:lnTo>
                      <a:pt x="605" y="446"/>
                    </a:lnTo>
                    <a:lnTo>
                      <a:pt x="605" y="444"/>
                    </a:lnTo>
                    <a:lnTo>
                      <a:pt x="605" y="443"/>
                    </a:lnTo>
                    <a:lnTo>
                      <a:pt x="605" y="442"/>
                    </a:lnTo>
                    <a:lnTo>
                      <a:pt x="604" y="442"/>
                    </a:lnTo>
                    <a:lnTo>
                      <a:pt x="604" y="441"/>
                    </a:lnTo>
                    <a:lnTo>
                      <a:pt x="603" y="441"/>
                    </a:lnTo>
                    <a:lnTo>
                      <a:pt x="604" y="441"/>
                    </a:lnTo>
                    <a:lnTo>
                      <a:pt x="604" y="440"/>
                    </a:lnTo>
                    <a:lnTo>
                      <a:pt x="605" y="440"/>
                    </a:lnTo>
                    <a:lnTo>
                      <a:pt x="604" y="440"/>
                    </a:lnTo>
                    <a:lnTo>
                      <a:pt x="604" y="439"/>
                    </a:lnTo>
                    <a:lnTo>
                      <a:pt x="603" y="439"/>
                    </a:lnTo>
                    <a:lnTo>
                      <a:pt x="604" y="438"/>
                    </a:lnTo>
                    <a:lnTo>
                      <a:pt x="605" y="438"/>
                    </a:lnTo>
                    <a:close/>
                    <a:moveTo>
                      <a:pt x="371" y="474"/>
                    </a:moveTo>
                    <a:lnTo>
                      <a:pt x="370" y="474"/>
                    </a:lnTo>
                    <a:lnTo>
                      <a:pt x="370" y="475"/>
                    </a:lnTo>
                    <a:lnTo>
                      <a:pt x="371" y="475"/>
                    </a:lnTo>
                    <a:lnTo>
                      <a:pt x="371" y="476"/>
                    </a:lnTo>
                    <a:lnTo>
                      <a:pt x="371" y="477"/>
                    </a:lnTo>
                    <a:lnTo>
                      <a:pt x="372" y="477"/>
                    </a:lnTo>
                    <a:lnTo>
                      <a:pt x="372" y="478"/>
                    </a:lnTo>
                    <a:lnTo>
                      <a:pt x="372" y="479"/>
                    </a:lnTo>
                    <a:lnTo>
                      <a:pt x="373" y="479"/>
                    </a:lnTo>
                    <a:lnTo>
                      <a:pt x="373" y="480"/>
                    </a:lnTo>
                    <a:lnTo>
                      <a:pt x="372" y="480"/>
                    </a:lnTo>
                    <a:lnTo>
                      <a:pt x="372" y="481"/>
                    </a:lnTo>
                    <a:lnTo>
                      <a:pt x="371" y="481"/>
                    </a:lnTo>
                    <a:lnTo>
                      <a:pt x="371" y="482"/>
                    </a:lnTo>
                    <a:lnTo>
                      <a:pt x="370" y="482"/>
                    </a:lnTo>
                    <a:lnTo>
                      <a:pt x="370" y="483"/>
                    </a:lnTo>
                    <a:lnTo>
                      <a:pt x="370" y="485"/>
                    </a:lnTo>
                    <a:lnTo>
                      <a:pt x="371" y="485"/>
                    </a:lnTo>
                    <a:lnTo>
                      <a:pt x="370" y="485"/>
                    </a:lnTo>
                    <a:lnTo>
                      <a:pt x="370" y="486"/>
                    </a:lnTo>
                    <a:lnTo>
                      <a:pt x="369" y="486"/>
                    </a:lnTo>
                    <a:lnTo>
                      <a:pt x="369" y="485"/>
                    </a:lnTo>
                    <a:lnTo>
                      <a:pt x="370" y="483"/>
                    </a:lnTo>
                    <a:lnTo>
                      <a:pt x="370" y="482"/>
                    </a:lnTo>
                    <a:lnTo>
                      <a:pt x="369" y="482"/>
                    </a:lnTo>
                    <a:lnTo>
                      <a:pt x="369" y="481"/>
                    </a:lnTo>
                    <a:lnTo>
                      <a:pt x="370" y="481"/>
                    </a:lnTo>
                    <a:lnTo>
                      <a:pt x="371" y="481"/>
                    </a:lnTo>
                    <a:lnTo>
                      <a:pt x="371" y="480"/>
                    </a:lnTo>
                    <a:lnTo>
                      <a:pt x="371" y="479"/>
                    </a:lnTo>
                    <a:lnTo>
                      <a:pt x="371" y="478"/>
                    </a:lnTo>
                    <a:lnTo>
                      <a:pt x="371" y="477"/>
                    </a:lnTo>
                    <a:lnTo>
                      <a:pt x="370" y="477"/>
                    </a:lnTo>
                    <a:lnTo>
                      <a:pt x="370" y="476"/>
                    </a:lnTo>
                    <a:lnTo>
                      <a:pt x="370" y="475"/>
                    </a:lnTo>
                    <a:lnTo>
                      <a:pt x="369" y="474"/>
                    </a:lnTo>
                    <a:lnTo>
                      <a:pt x="370" y="474"/>
                    </a:lnTo>
                    <a:lnTo>
                      <a:pt x="370" y="473"/>
                    </a:lnTo>
                    <a:lnTo>
                      <a:pt x="371" y="473"/>
                    </a:lnTo>
                    <a:lnTo>
                      <a:pt x="371" y="474"/>
                    </a:lnTo>
                    <a:close/>
                    <a:moveTo>
                      <a:pt x="565" y="418"/>
                    </a:moveTo>
                    <a:lnTo>
                      <a:pt x="565" y="421"/>
                    </a:lnTo>
                    <a:lnTo>
                      <a:pt x="565" y="422"/>
                    </a:lnTo>
                    <a:lnTo>
                      <a:pt x="565" y="423"/>
                    </a:lnTo>
                    <a:lnTo>
                      <a:pt x="564" y="423"/>
                    </a:lnTo>
                    <a:lnTo>
                      <a:pt x="563" y="423"/>
                    </a:lnTo>
                    <a:lnTo>
                      <a:pt x="560" y="423"/>
                    </a:lnTo>
                    <a:lnTo>
                      <a:pt x="559" y="423"/>
                    </a:lnTo>
                    <a:lnTo>
                      <a:pt x="559" y="422"/>
                    </a:lnTo>
                    <a:lnTo>
                      <a:pt x="558" y="422"/>
                    </a:lnTo>
                    <a:lnTo>
                      <a:pt x="559" y="422"/>
                    </a:lnTo>
                    <a:lnTo>
                      <a:pt x="558" y="422"/>
                    </a:lnTo>
                    <a:lnTo>
                      <a:pt x="558" y="421"/>
                    </a:lnTo>
                    <a:lnTo>
                      <a:pt x="559" y="421"/>
                    </a:lnTo>
                    <a:lnTo>
                      <a:pt x="560" y="421"/>
                    </a:lnTo>
                    <a:lnTo>
                      <a:pt x="559" y="421"/>
                    </a:lnTo>
                    <a:lnTo>
                      <a:pt x="558" y="421"/>
                    </a:lnTo>
                    <a:lnTo>
                      <a:pt x="559" y="421"/>
                    </a:lnTo>
                    <a:lnTo>
                      <a:pt x="559" y="422"/>
                    </a:lnTo>
                    <a:lnTo>
                      <a:pt x="560" y="422"/>
                    </a:lnTo>
                    <a:lnTo>
                      <a:pt x="561" y="422"/>
                    </a:lnTo>
                    <a:lnTo>
                      <a:pt x="563" y="422"/>
                    </a:lnTo>
                    <a:lnTo>
                      <a:pt x="561" y="421"/>
                    </a:lnTo>
                    <a:lnTo>
                      <a:pt x="563" y="421"/>
                    </a:lnTo>
                    <a:lnTo>
                      <a:pt x="561" y="419"/>
                    </a:lnTo>
                    <a:lnTo>
                      <a:pt x="563" y="419"/>
                    </a:lnTo>
                    <a:lnTo>
                      <a:pt x="564" y="419"/>
                    </a:lnTo>
                    <a:lnTo>
                      <a:pt x="563" y="419"/>
                    </a:lnTo>
                    <a:lnTo>
                      <a:pt x="563" y="421"/>
                    </a:lnTo>
                    <a:lnTo>
                      <a:pt x="564" y="421"/>
                    </a:lnTo>
                    <a:lnTo>
                      <a:pt x="564" y="419"/>
                    </a:lnTo>
                    <a:lnTo>
                      <a:pt x="564" y="418"/>
                    </a:lnTo>
                    <a:lnTo>
                      <a:pt x="565" y="418"/>
                    </a:lnTo>
                    <a:close/>
                    <a:moveTo>
                      <a:pt x="515" y="245"/>
                    </a:moveTo>
                    <a:lnTo>
                      <a:pt x="515" y="246"/>
                    </a:lnTo>
                    <a:lnTo>
                      <a:pt x="516" y="246"/>
                    </a:lnTo>
                    <a:lnTo>
                      <a:pt x="515" y="246"/>
                    </a:lnTo>
                    <a:lnTo>
                      <a:pt x="514" y="246"/>
                    </a:lnTo>
                    <a:lnTo>
                      <a:pt x="515" y="246"/>
                    </a:lnTo>
                    <a:lnTo>
                      <a:pt x="516" y="246"/>
                    </a:lnTo>
                    <a:lnTo>
                      <a:pt x="517" y="246"/>
                    </a:lnTo>
                    <a:lnTo>
                      <a:pt x="517" y="247"/>
                    </a:lnTo>
                    <a:lnTo>
                      <a:pt x="517" y="248"/>
                    </a:lnTo>
                    <a:lnTo>
                      <a:pt x="516" y="248"/>
                    </a:lnTo>
                    <a:lnTo>
                      <a:pt x="515" y="248"/>
                    </a:lnTo>
                    <a:lnTo>
                      <a:pt x="514" y="248"/>
                    </a:lnTo>
                    <a:lnTo>
                      <a:pt x="514" y="249"/>
                    </a:lnTo>
                    <a:lnTo>
                      <a:pt x="513" y="249"/>
                    </a:lnTo>
                    <a:lnTo>
                      <a:pt x="512" y="249"/>
                    </a:lnTo>
                    <a:lnTo>
                      <a:pt x="512" y="248"/>
                    </a:lnTo>
                    <a:lnTo>
                      <a:pt x="513" y="248"/>
                    </a:lnTo>
                    <a:lnTo>
                      <a:pt x="512" y="248"/>
                    </a:lnTo>
                    <a:lnTo>
                      <a:pt x="511" y="248"/>
                    </a:lnTo>
                    <a:lnTo>
                      <a:pt x="511" y="247"/>
                    </a:lnTo>
                    <a:lnTo>
                      <a:pt x="512" y="246"/>
                    </a:lnTo>
                    <a:lnTo>
                      <a:pt x="513" y="246"/>
                    </a:lnTo>
                    <a:lnTo>
                      <a:pt x="514" y="245"/>
                    </a:lnTo>
                    <a:lnTo>
                      <a:pt x="515" y="245"/>
                    </a:lnTo>
                    <a:close/>
                    <a:moveTo>
                      <a:pt x="409" y="518"/>
                    </a:moveTo>
                    <a:lnTo>
                      <a:pt x="406" y="518"/>
                    </a:lnTo>
                    <a:lnTo>
                      <a:pt x="406" y="519"/>
                    </a:lnTo>
                    <a:lnTo>
                      <a:pt x="405" y="519"/>
                    </a:lnTo>
                    <a:lnTo>
                      <a:pt x="404" y="520"/>
                    </a:lnTo>
                    <a:lnTo>
                      <a:pt x="404" y="521"/>
                    </a:lnTo>
                    <a:lnTo>
                      <a:pt x="403" y="523"/>
                    </a:lnTo>
                    <a:lnTo>
                      <a:pt x="403" y="524"/>
                    </a:lnTo>
                    <a:lnTo>
                      <a:pt x="402" y="524"/>
                    </a:lnTo>
                    <a:lnTo>
                      <a:pt x="402" y="523"/>
                    </a:lnTo>
                    <a:lnTo>
                      <a:pt x="401" y="523"/>
                    </a:lnTo>
                    <a:lnTo>
                      <a:pt x="402" y="521"/>
                    </a:lnTo>
                    <a:lnTo>
                      <a:pt x="403" y="520"/>
                    </a:lnTo>
                    <a:lnTo>
                      <a:pt x="403" y="519"/>
                    </a:lnTo>
                    <a:lnTo>
                      <a:pt x="403" y="518"/>
                    </a:lnTo>
                    <a:lnTo>
                      <a:pt x="404" y="518"/>
                    </a:lnTo>
                    <a:lnTo>
                      <a:pt x="405" y="517"/>
                    </a:lnTo>
                    <a:lnTo>
                      <a:pt x="405" y="518"/>
                    </a:lnTo>
                    <a:lnTo>
                      <a:pt x="408" y="518"/>
                    </a:lnTo>
                    <a:lnTo>
                      <a:pt x="408" y="517"/>
                    </a:lnTo>
                    <a:lnTo>
                      <a:pt x="409" y="516"/>
                    </a:lnTo>
                    <a:lnTo>
                      <a:pt x="410" y="516"/>
                    </a:lnTo>
                    <a:lnTo>
                      <a:pt x="409" y="517"/>
                    </a:lnTo>
                    <a:lnTo>
                      <a:pt x="409" y="518"/>
                    </a:lnTo>
                    <a:close/>
                    <a:moveTo>
                      <a:pt x="544" y="419"/>
                    </a:moveTo>
                    <a:lnTo>
                      <a:pt x="545" y="419"/>
                    </a:lnTo>
                    <a:lnTo>
                      <a:pt x="545" y="421"/>
                    </a:lnTo>
                    <a:lnTo>
                      <a:pt x="545" y="422"/>
                    </a:lnTo>
                    <a:lnTo>
                      <a:pt x="546" y="422"/>
                    </a:lnTo>
                    <a:lnTo>
                      <a:pt x="547" y="422"/>
                    </a:lnTo>
                    <a:lnTo>
                      <a:pt x="548" y="421"/>
                    </a:lnTo>
                    <a:lnTo>
                      <a:pt x="550" y="421"/>
                    </a:lnTo>
                    <a:lnTo>
                      <a:pt x="552" y="421"/>
                    </a:lnTo>
                    <a:lnTo>
                      <a:pt x="552" y="422"/>
                    </a:lnTo>
                    <a:lnTo>
                      <a:pt x="553" y="422"/>
                    </a:lnTo>
                    <a:lnTo>
                      <a:pt x="554" y="422"/>
                    </a:lnTo>
                    <a:lnTo>
                      <a:pt x="554" y="423"/>
                    </a:lnTo>
                    <a:lnTo>
                      <a:pt x="553" y="423"/>
                    </a:lnTo>
                    <a:lnTo>
                      <a:pt x="544" y="422"/>
                    </a:lnTo>
                    <a:lnTo>
                      <a:pt x="545" y="421"/>
                    </a:lnTo>
                    <a:lnTo>
                      <a:pt x="544" y="421"/>
                    </a:lnTo>
                    <a:lnTo>
                      <a:pt x="545" y="421"/>
                    </a:lnTo>
                    <a:lnTo>
                      <a:pt x="544" y="421"/>
                    </a:lnTo>
                    <a:lnTo>
                      <a:pt x="544" y="419"/>
                    </a:lnTo>
                    <a:lnTo>
                      <a:pt x="544" y="418"/>
                    </a:lnTo>
                    <a:lnTo>
                      <a:pt x="544" y="417"/>
                    </a:lnTo>
                    <a:lnTo>
                      <a:pt x="544" y="418"/>
                    </a:lnTo>
                    <a:lnTo>
                      <a:pt x="544" y="419"/>
                    </a:lnTo>
                    <a:close/>
                    <a:moveTo>
                      <a:pt x="589" y="419"/>
                    </a:moveTo>
                    <a:lnTo>
                      <a:pt x="590" y="419"/>
                    </a:lnTo>
                    <a:lnTo>
                      <a:pt x="591" y="419"/>
                    </a:lnTo>
                    <a:lnTo>
                      <a:pt x="591" y="421"/>
                    </a:lnTo>
                    <a:lnTo>
                      <a:pt x="590" y="421"/>
                    </a:lnTo>
                    <a:lnTo>
                      <a:pt x="590" y="422"/>
                    </a:lnTo>
                    <a:lnTo>
                      <a:pt x="590" y="423"/>
                    </a:lnTo>
                    <a:lnTo>
                      <a:pt x="589" y="423"/>
                    </a:lnTo>
                    <a:lnTo>
                      <a:pt x="589" y="422"/>
                    </a:lnTo>
                    <a:lnTo>
                      <a:pt x="588" y="422"/>
                    </a:lnTo>
                    <a:lnTo>
                      <a:pt x="588" y="421"/>
                    </a:lnTo>
                    <a:lnTo>
                      <a:pt x="586" y="421"/>
                    </a:lnTo>
                    <a:lnTo>
                      <a:pt x="585" y="421"/>
                    </a:lnTo>
                    <a:lnTo>
                      <a:pt x="584" y="421"/>
                    </a:lnTo>
                    <a:lnTo>
                      <a:pt x="584" y="419"/>
                    </a:lnTo>
                    <a:lnTo>
                      <a:pt x="585" y="419"/>
                    </a:lnTo>
                    <a:lnTo>
                      <a:pt x="585" y="418"/>
                    </a:lnTo>
                    <a:lnTo>
                      <a:pt x="586" y="418"/>
                    </a:lnTo>
                    <a:lnTo>
                      <a:pt x="586" y="419"/>
                    </a:lnTo>
                    <a:lnTo>
                      <a:pt x="588" y="419"/>
                    </a:lnTo>
                    <a:lnTo>
                      <a:pt x="588" y="418"/>
                    </a:lnTo>
                    <a:lnTo>
                      <a:pt x="589" y="418"/>
                    </a:lnTo>
                    <a:lnTo>
                      <a:pt x="589" y="419"/>
                    </a:lnTo>
                    <a:close/>
                    <a:moveTo>
                      <a:pt x="584" y="347"/>
                    </a:moveTo>
                    <a:lnTo>
                      <a:pt x="584" y="348"/>
                    </a:lnTo>
                    <a:lnTo>
                      <a:pt x="585" y="348"/>
                    </a:lnTo>
                    <a:lnTo>
                      <a:pt x="584" y="349"/>
                    </a:lnTo>
                    <a:lnTo>
                      <a:pt x="585" y="349"/>
                    </a:lnTo>
                    <a:lnTo>
                      <a:pt x="585" y="348"/>
                    </a:lnTo>
                    <a:lnTo>
                      <a:pt x="586" y="349"/>
                    </a:lnTo>
                    <a:lnTo>
                      <a:pt x="585" y="350"/>
                    </a:lnTo>
                    <a:lnTo>
                      <a:pt x="585" y="351"/>
                    </a:lnTo>
                    <a:lnTo>
                      <a:pt x="584" y="351"/>
                    </a:lnTo>
                    <a:lnTo>
                      <a:pt x="583" y="351"/>
                    </a:lnTo>
                    <a:lnTo>
                      <a:pt x="583" y="350"/>
                    </a:lnTo>
                    <a:lnTo>
                      <a:pt x="583" y="351"/>
                    </a:lnTo>
                    <a:lnTo>
                      <a:pt x="584" y="351"/>
                    </a:lnTo>
                    <a:lnTo>
                      <a:pt x="584" y="352"/>
                    </a:lnTo>
                    <a:lnTo>
                      <a:pt x="585" y="351"/>
                    </a:lnTo>
                    <a:lnTo>
                      <a:pt x="585" y="352"/>
                    </a:lnTo>
                    <a:lnTo>
                      <a:pt x="584" y="352"/>
                    </a:lnTo>
                    <a:lnTo>
                      <a:pt x="585" y="352"/>
                    </a:lnTo>
                    <a:lnTo>
                      <a:pt x="584" y="352"/>
                    </a:lnTo>
                    <a:lnTo>
                      <a:pt x="583" y="352"/>
                    </a:lnTo>
                    <a:lnTo>
                      <a:pt x="583" y="351"/>
                    </a:lnTo>
                    <a:lnTo>
                      <a:pt x="583" y="350"/>
                    </a:lnTo>
                    <a:lnTo>
                      <a:pt x="582" y="349"/>
                    </a:lnTo>
                    <a:lnTo>
                      <a:pt x="582" y="348"/>
                    </a:lnTo>
                    <a:lnTo>
                      <a:pt x="581" y="348"/>
                    </a:lnTo>
                    <a:lnTo>
                      <a:pt x="582" y="348"/>
                    </a:lnTo>
                    <a:lnTo>
                      <a:pt x="582" y="347"/>
                    </a:lnTo>
                    <a:lnTo>
                      <a:pt x="583" y="347"/>
                    </a:lnTo>
                    <a:lnTo>
                      <a:pt x="583" y="348"/>
                    </a:lnTo>
                    <a:lnTo>
                      <a:pt x="583" y="347"/>
                    </a:lnTo>
                    <a:lnTo>
                      <a:pt x="584" y="347"/>
                    </a:lnTo>
                    <a:close/>
                    <a:moveTo>
                      <a:pt x="591" y="349"/>
                    </a:moveTo>
                    <a:lnTo>
                      <a:pt x="592" y="349"/>
                    </a:lnTo>
                    <a:lnTo>
                      <a:pt x="592" y="350"/>
                    </a:lnTo>
                    <a:lnTo>
                      <a:pt x="591" y="350"/>
                    </a:lnTo>
                    <a:lnTo>
                      <a:pt x="591" y="351"/>
                    </a:lnTo>
                    <a:lnTo>
                      <a:pt x="591" y="352"/>
                    </a:lnTo>
                    <a:lnTo>
                      <a:pt x="590" y="352"/>
                    </a:lnTo>
                    <a:lnTo>
                      <a:pt x="590" y="351"/>
                    </a:lnTo>
                    <a:lnTo>
                      <a:pt x="589" y="351"/>
                    </a:lnTo>
                    <a:lnTo>
                      <a:pt x="589" y="350"/>
                    </a:lnTo>
                    <a:lnTo>
                      <a:pt x="588" y="350"/>
                    </a:lnTo>
                    <a:lnTo>
                      <a:pt x="589" y="350"/>
                    </a:lnTo>
                    <a:lnTo>
                      <a:pt x="589" y="349"/>
                    </a:lnTo>
                    <a:lnTo>
                      <a:pt x="588" y="350"/>
                    </a:lnTo>
                    <a:lnTo>
                      <a:pt x="585" y="348"/>
                    </a:lnTo>
                    <a:lnTo>
                      <a:pt x="586" y="348"/>
                    </a:lnTo>
                    <a:lnTo>
                      <a:pt x="586" y="349"/>
                    </a:lnTo>
                    <a:lnTo>
                      <a:pt x="588" y="349"/>
                    </a:lnTo>
                    <a:lnTo>
                      <a:pt x="588" y="348"/>
                    </a:lnTo>
                    <a:lnTo>
                      <a:pt x="588" y="347"/>
                    </a:lnTo>
                    <a:lnTo>
                      <a:pt x="589" y="347"/>
                    </a:lnTo>
                    <a:lnTo>
                      <a:pt x="590" y="348"/>
                    </a:lnTo>
                    <a:lnTo>
                      <a:pt x="591" y="349"/>
                    </a:lnTo>
                    <a:close/>
                    <a:moveTo>
                      <a:pt x="444" y="593"/>
                    </a:moveTo>
                    <a:lnTo>
                      <a:pt x="444" y="594"/>
                    </a:lnTo>
                    <a:lnTo>
                      <a:pt x="443" y="594"/>
                    </a:lnTo>
                    <a:lnTo>
                      <a:pt x="442" y="595"/>
                    </a:lnTo>
                    <a:lnTo>
                      <a:pt x="441" y="595"/>
                    </a:lnTo>
                    <a:lnTo>
                      <a:pt x="440" y="595"/>
                    </a:lnTo>
                    <a:lnTo>
                      <a:pt x="439" y="595"/>
                    </a:lnTo>
                    <a:lnTo>
                      <a:pt x="438" y="594"/>
                    </a:lnTo>
                    <a:lnTo>
                      <a:pt x="437" y="593"/>
                    </a:lnTo>
                    <a:lnTo>
                      <a:pt x="438" y="593"/>
                    </a:lnTo>
                    <a:lnTo>
                      <a:pt x="438" y="594"/>
                    </a:lnTo>
                    <a:lnTo>
                      <a:pt x="439" y="594"/>
                    </a:lnTo>
                    <a:lnTo>
                      <a:pt x="440" y="594"/>
                    </a:lnTo>
                    <a:lnTo>
                      <a:pt x="440" y="593"/>
                    </a:lnTo>
                    <a:lnTo>
                      <a:pt x="441" y="593"/>
                    </a:lnTo>
                    <a:lnTo>
                      <a:pt x="442" y="593"/>
                    </a:lnTo>
                    <a:lnTo>
                      <a:pt x="443" y="593"/>
                    </a:lnTo>
                    <a:lnTo>
                      <a:pt x="443" y="592"/>
                    </a:lnTo>
                    <a:lnTo>
                      <a:pt x="444" y="592"/>
                    </a:lnTo>
                    <a:lnTo>
                      <a:pt x="444" y="593"/>
                    </a:lnTo>
                    <a:close/>
                    <a:moveTo>
                      <a:pt x="539" y="418"/>
                    </a:moveTo>
                    <a:lnTo>
                      <a:pt x="539" y="419"/>
                    </a:lnTo>
                    <a:lnTo>
                      <a:pt x="539" y="421"/>
                    </a:lnTo>
                    <a:lnTo>
                      <a:pt x="539" y="419"/>
                    </a:lnTo>
                    <a:lnTo>
                      <a:pt x="539" y="421"/>
                    </a:lnTo>
                    <a:lnTo>
                      <a:pt x="538" y="421"/>
                    </a:lnTo>
                    <a:lnTo>
                      <a:pt x="539" y="421"/>
                    </a:lnTo>
                    <a:lnTo>
                      <a:pt x="539" y="422"/>
                    </a:lnTo>
                    <a:lnTo>
                      <a:pt x="534" y="422"/>
                    </a:lnTo>
                    <a:lnTo>
                      <a:pt x="534" y="421"/>
                    </a:lnTo>
                    <a:lnTo>
                      <a:pt x="534" y="422"/>
                    </a:lnTo>
                    <a:lnTo>
                      <a:pt x="534" y="421"/>
                    </a:lnTo>
                    <a:lnTo>
                      <a:pt x="535" y="421"/>
                    </a:lnTo>
                    <a:lnTo>
                      <a:pt x="535" y="419"/>
                    </a:lnTo>
                    <a:lnTo>
                      <a:pt x="537" y="419"/>
                    </a:lnTo>
                    <a:lnTo>
                      <a:pt x="535" y="419"/>
                    </a:lnTo>
                    <a:lnTo>
                      <a:pt x="535" y="418"/>
                    </a:lnTo>
                    <a:lnTo>
                      <a:pt x="537" y="418"/>
                    </a:lnTo>
                    <a:lnTo>
                      <a:pt x="538" y="418"/>
                    </a:lnTo>
                    <a:lnTo>
                      <a:pt x="538" y="417"/>
                    </a:lnTo>
                    <a:lnTo>
                      <a:pt x="538" y="418"/>
                    </a:lnTo>
                    <a:lnTo>
                      <a:pt x="538" y="417"/>
                    </a:lnTo>
                    <a:lnTo>
                      <a:pt x="539" y="418"/>
                    </a:lnTo>
                    <a:close/>
                    <a:moveTo>
                      <a:pt x="379" y="601"/>
                    </a:moveTo>
                    <a:lnTo>
                      <a:pt x="380" y="601"/>
                    </a:lnTo>
                    <a:lnTo>
                      <a:pt x="382" y="601"/>
                    </a:lnTo>
                    <a:lnTo>
                      <a:pt x="383" y="601"/>
                    </a:lnTo>
                    <a:lnTo>
                      <a:pt x="384" y="602"/>
                    </a:lnTo>
                    <a:lnTo>
                      <a:pt x="385" y="602"/>
                    </a:lnTo>
                    <a:lnTo>
                      <a:pt x="385" y="603"/>
                    </a:lnTo>
                    <a:lnTo>
                      <a:pt x="384" y="602"/>
                    </a:lnTo>
                    <a:lnTo>
                      <a:pt x="378" y="601"/>
                    </a:lnTo>
                    <a:lnTo>
                      <a:pt x="377" y="601"/>
                    </a:lnTo>
                    <a:lnTo>
                      <a:pt x="376" y="601"/>
                    </a:lnTo>
                    <a:lnTo>
                      <a:pt x="375" y="599"/>
                    </a:lnTo>
                    <a:lnTo>
                      <a:pt x="374" y="598"/>
                    </a:lnTo>
                    <a:lnTo>
                      <a:pt x="375" y="598"/>
                    </a:lnTo>
                    <a:lnTo>
                      <a:pt x="376" y="599"/>
                    </a:lnTo>
                    <a:lnTo>
                      <a:pt x="378" y="599"/>
                    </a:lnTo>
                    <a:lnTo>
                      <a:pt x="379" y="601"/>
                    </a:lnTo>
                    <a:close/>
                    <a:moveTo>
                      <a:pt x="592" y="411"/>
                    </a:moveTo>
                    <a:lnTo>
                      <a:pt x="593" y="412"/>
                    </a:lnTo>
                    <a:lnTo>
                      <a:pt x="594" y="412"/>
                    </a:lnTo>
                    <a:lnTo>
                      <a:pt x="593" y="413"/>
                    </a:lnTo>
                    <a:lnTo>
                      <a:pt x="593" y="414"/>
                    </a:lnTo>
                    <a:lnTo>
                      <a:pt x="592" y="414"/>
                    </a:lnTo>
                    <a:lnTo>
                      <a:pt x="592" y="415"/>
                    </a:lnTo>
                    <a:lnTo>
                      <a:pt x="592" y="416"/>
                    </a:lnTo>
                    <a:lnTo>
                      <a:pt x="591" y="415"/>
                    </a:lnTo>
                    <a:lnTo>
                      <a:pt x="591" y="416"/>
                    </a:lnTo>
                    <a:lnTo>
                      <a:pt x="590" y="416"/>
                    </a:lnTo>
                    <a:lnTo>
                      <a:pt x="590" y="415"/>
                    </a:lnTo>
                    <a:lnTo>
                      <a:pt x="591" y="414"/>
                    </a:lnTo>
                    <a:lnTo>
                      <a:pt x="591" y="413"/>
                    </a:lnTo>
                    <a:lnTo>
                      <a:pt x="590" y="413"/>
                    </a:lnTo>
                    <a:lnTo>
                      <a:pt x="590" y="412"/>
                    </a:lnTo>
                    <a:lnTo>
                      <a:pt x="591" y="412"/>
                    </a:lnTo>
                    <a:lnTo>
                      <a:pt x="591" y="411"/>
                    </a:lnTo>
                    <a:lnTo>
                      <a:pt x="592" y="411"/>
                    </a:lnTo>
                    <a:close/>
                    <a:moveTo>
                      <a:pt x="595" y="441"/>
                    </a:moveTo>
                    <a:lnTo>
                      <a:pt x="595" y="442"/>
                    </a:lnTo>
                    <a:lnTo>
                      <a:pt x="595" y="443"/>
                    </a:lnTo>
                    <a:lnTo>
                      <a:pt x="594" y="443"/>
                    </a:lnTo>
                    <a:lnTo>
                      <a:pt x="593" y="442"/>
                    </a:lnTo>
                    <a:lnTo>
                      <a:pt x="592" y="442"/>
                    </a:lnTo>
                    <a:lnTo>
                      <a:pt x="591" y="443"/>
                    </a:lnTo>
                    <a:lnTo>
                      <a:pt x="591" y="442"/>
                    </a:lnTo>
                    <a:lnTo>
                      <a:pt x="590" y="441"/>
                    </a:lnTo>
                    <a:lnTo>
                      <a:pt x="591" y="440"/>
                    </a:lnTo>
                    <a:lnTo>
                      <a:pt x="591" y="441"/>
                    </a:lnTo>
                    <a:lnTo>
                      <a:pt x="592" y="441"/>
                    </a:lnTo>
                    <a:lnTo>
                      <a:pt x="592" y="442"/>
                    </a:lnTo>
                    <a:lnTo>
                      <a:pt x="593" y="442"/>
                    </a:lnTo>
                    <a:lnTo>
                      <a:pt x="593" y="441"/>
                    </a:lnTo>
                    <a:lnTo>
                      <a:pt x="594" y="441"/>
                    </a:lnTo>
                    <a:lnTo>
                      <a:pt x="594" y="440"/>
                    </a:lnTo>
                    <a:lnTo>
                      <a:pt x="593" y="439"/>
                    </a:lnTo>
                    <a:lnTo>
                      <a:pt x="593" y="438"/>
                    </a:lnTo>
                    <a:lnTo>
                      <a:pt x="594" y="439"/>
                    </a:lnTo>
                    <a:lnTo>
                      <a:pt x="594" y="440"/>
                    </a:lnTo>
                    <a:lnTo>
                      <a:pt x="595" y="441"/>
                    </a:lnTo>
                    <a:close/>
                    <a:moveTo>
                      <a:pt x="568" y="415"/>
                    </a:moveTo>
                    <a:lnTo>
                      <a:pt x="569" y="415"/>
                    </a:lnTo>
                    <a:lnTo>
                      <a:pt x="569" y="416"/>
                    </a:lnTo>
                    <a:lnTo>
                      <a:pt x="570" y="417"/>
                    </a:lnTo>
                    <a:lnTo>
                      <a:pt x="571" y="417"/>
                    </a:lnTo>
                    <a:lnTo>
                      <a:pt x="571" y="418"/>
                    </a:lnTo>
                    <a:lnTo>
                      <a:pt x="571" y="419"/>
                    </a:lnTo>
                    <a:lnTo>
                      <a:pt x="571" y="418"/>
                    </a:lnTo>
                    <a:lnTo>
                      <a:pt x="570" y="418"/>
                    </a:lnTo>
                    <a:lnTo>
                      <a:pt x="569" y="418"/>
                    </a:lnTo>
                    <a:lnTo>
                      <a:pt x="568" y="418"/>
                    </a:lnTo>
                    <a:lnTo>
                      <a:pt x="567" y="418"/>
                    </a:lnTo>
                    <a:lnTo>
                      <a:pt x="566" y="418"/>
                    </a:lnTo>
                    <a:lnTo>
                      <a:pt x="566" y="417"/>
                    </a:lnTo>
                    <a:lnTo>
                      <a:pt x="567" y="417"/>
                    </a:lnTo>
                    <a:lnTo>
                      <a:pt x="568" y="417"/>
                    </a:lnTo>
                    <a:lnTo>
                      <a:pt x="568" y="416"/>
                    </a:lnTo>
                    <a:lnTo>
                      <a:pt x="568" y="415"/>
                    </a:lnTo>
                    <a:lnTo>
                      <a:pt x="567" y="415"/>
                    </a:lnTo>
                    <a:lnTo>
                      <a:pt x="568" y="415"/>
                    </a:lnTo>
                    <a:close/>
                    <a:moveTo>
                      <a:pt x="525" y="392"/>
                    </a:moveTo>
                    <a:lnTo>
                      <a:pt x="525" y="393"/>
                    </a:lnTo>
                    <a:lnTo>
                      <a:pt x="526" y="393"/>
                    </a:lnTo>
                    <a:lnTo>
                      <a:pt x="526" y="392"/>
                    </a:lnTo>
                    <a:lnTo>
                      <a:pt x="527" y="392"/>
                    </a:lnTo>
                    <a:lnTo>
                      <a:pt x="527" y="393"/>
                    </a:lnTo>
                    <a:lnTo>
                      <a:pt x="528" y="395"/>
                    </a:lnTo>
                    <a:lnTo>
                      <a:pt x="529" y="395"/>
                    </a:lnTo>
                    <a:lnTo>
                      <a:pt x="528" y="395"/>
                    </a:lnTo>
                    <a:lnTo>
                      <a:pt x="528" y="396"/>
                    </a:lnTo>
                    <a:lnTo>
                      <a:pt x="528" y="397"/>
                    </a:lnTo>
                    <a:lnTo>
                      <a:pt x="528" y="398"/>
                    </a:lnTo>
                    <a:lnTo>
                      <a:pt x="527" y="398"/>
                    </a:lnTo>
                    <a:lnTo>
                      <a:pt x="528" y="397"/>
                    </a:lnTo>
                    <a:lnTo>
                      <a:pt x="527" y="397"/>
                    </a:lnTo>
                    <a:lnTo>
                      <a:pt x="526" y="397"/>
                    </a:lnTo>
                    <a:lnTo>
                      <a:pt x="526" y="396"/>
                    </a:lnTo>
                    <a:lnTo>
                      <a:pt x="527" y="396"/>
                    </a:lnTo>
                    <a:lnTo>
                      <a:pt x="527" y="397"/>
                    </a:lnTo>
                    <a:lnTo>
                      <a:pt x="528" y="397"/>
                    </a:lnTo>
                    <a:lnTo>
                      <a:pt x="527" y="396"/>
                    </a:lnTo>
                    <a:lnTo>
                      <a:pt x="526" y="396"/>
                    </a:lnTo>
                    <a:lnTo>
                      <a:pt x="526" y="395"/>
                    </a:lnTo>
                    <a:lnTo>
                      <a:pt x="525" y="393"/>
                    </a:lnTo>
                    <a:lnTo>
                      <a:pt x="524" y="391"/>
                    </a:lnTo>
                    <a:lnTo>
                      <a:pt x="525" y="392"/>
                    </a:lnTo>
                    <a:close/>
                    <a:moveTo>
                      <a:pt x="597" y="350"/>
                    </a:moveTo>
                    <a:lnTo>
                      <a:pt x="597" y="351"/>
                    </a:lnTo>
                    <a:lnTo>
                      <a:pt x="596" y="351"/>
                    </a:lnTo>
                    <a:lnTo>
                      <a:pt x="596" y="352"/>
                    </a:lnTo>
                    <a:lnTo>
                      <a:pt x="595" y="352"/>
                    </a:lnTo>
                    <a:lnTo>
                      <a:pt x="595" y="353"/>
                    </a:lnTo>
                    <a:lnTo>
                      <a:pt x="595" y="352"/>
                    </a:lnTo>
                    <a:lnTo>
                      <a:pt x="595" y="353"/>
                    </a:lnTo>
                    <a:lnTo>
                      <a:pt x="595" y="354"/>
                    </a:lnTo>
                    <a:lnTo>
                      <a:pt x="594" y="354"/>
                    </a:lnTo>
                    <a:lnTo>
                      <a:pt x="594" y="356"/>
                    </a:lnTo>
                    <a:lnTo>
                      <a:pt x="595" y="356"/>
                    </a:lnTo>
                    <a:lnTo>
                      <a:pt x="595" y="357"/>
                    </a:lnTo>
                    <a:lnTo>
                      <a:pt x="594" y="357"/>
                    </a:lnTo>
                    <a:lnTo>
                      <a:pt x="594" y="356"/>
                    </a:lnTo>
                    <a:lnTo>
                      <a:pt x="593" y="356"/>
                    </a:lnTo>
                    <a:lnTo>
                      <a:pt x="593" y="354"/>
                    </a:lnTo>
                    <a:lnTo>
                      <a:pt x="593" y="353"/>
                    </a:lnTo>
                    <a:lnTo>
                      <a:pt x="595" y="351"/>
                    </a:lnTo>
                    <a:lnTo>
                      <a:pt x="596" y="351"/>
                    </a:lnTo>
                    <a:lnTo>
                      <a:pt x="596" y="350"/>
                    </a:lnTo>
                    <a:lnTo>
                      <a:pt x="596" y="351"/>
                    </a:lnTo>
                    <a:lnTo>
                      <a:pt x="596" y="350"/>
                    </a:lnTo>
                    <a:lnTo>
                      <a:pt x="597" y="350"/>
                    </a:lnTo>
                    <a:close/>
                    <a:moveTo>
                      <a:pt x="564" y="488"/>
                    </a:moveTo>
                    <a:lnTo>
                      <a:pt x="565" y="488"/>
                    </a:lnTo>
                    <a:lnTo>
                      <a:pt x="565" y="489"/>
                    </a:lnTo>
                    <a:lnTo>
                      <a:pt x="566" y="489"/>
                    </a:lnTo>
                    <a:lnTo>
                      <a:pt x="566" y="490"/>
                    </a:lnTo>
                    <a:lnTo>
                      <a:pt x="566" y="491"/>
                    </a:lnTo>
                    <a:lnTo>
                      <a:pt x="566" y="492"/>
                    </a:lnTo>
                    <a:lnTo>
                      <a:pt x="565" y="492"/>
                    </a:lnTo>
                    <a:lnTo>
                      <a:pt x="565" y="491"/>
                    </a:lnTo>
                    <a:lnTo>
                      <a:pt x="565" y="490"/>
                    </a:lnTo>
                    <a:lnTo>
                      <a:pt x="564" y="490"/>
                    </a:lnTo>
                    <a:lnTo>
                      <a:pt x="563" y="490"/>
                    </a:lnTo>
                    <a:lnTo>
                      <a:pt x="564" y="490"/>
                    </a:lnTo>
                    <a:lnTo>
                      <a:pt x="563" y="489"/>
                    </a:lnTo>
                    <a:lnTo>
                      <a:pt x="563" y="488"/>
                    </a:lnTo>
                    <a:lnTo>
                      <a:pt x="563" y="487"/>
                    </a:lnTo>
                    <a:lnTo>
                      <a:pt x="564" y="488"/>
                    </a:lnTo>
                    <a:close/>
                    <a:moveTo>
                      <a:pt x="581" y="334"/>
                    </a:moveTo>
                    <a:lnTo>
                      <a:pt x="580" y="334"/>
                    </a:lnTo>
                    <a:lnTo>
                      <a:pt x="580" y="335"/>
                    </a:lnTo>
                    <a:lnTo>
                      <a:pt x="581" y="336"/>
                    </a:lnTo>
                    <a:lnTo>
                      <a:pt x="580" y="336"/>
                    </a:lnTo>
                    <a:lnTo>
                      <a:pt x="579" y="336"/>
                    </a:lnTo>
                    <a:lnTo>
                      <a:pt x="578" y="336"/>
                    </a:lnTo>
                    <a:lnTo>
                      <a:pt x="578" y="335"/>
                    </a:lnTo>
                    <a:lnTo>
                      <a:pt x="577" y="335"/>
                    </a:lnTo>
                    <a:lnTo>
                      <a:pt x="577" y="334"/>
                    </a:lnTo>
                    <a:lnTo>
                      <a:pt x="578" y="334"/>
                    </a:lnTo>
                    <a:lnTo>
                      <a:pt x="579" y="334"/>
                    </a:lnTo>
                    <a:lnTo>
                      <a:pt x="580" y="334"/>
                    </a:lnTo>
                    <a:lnTo>
                      <a:pt x="580" y="333"/>
                    </a:lnTo>
                    <a:lnTo>
                      <a:pt x="581" y="333"/>
                    </a:lnTo>
                    <a:lnTo>
                      <a:pt x="581" y="334"/>
                    </a:lnTo>
                    <a:lnTo>
                      <a:pt x="582" y="334"/>
                    </a:lnTo>
                    <a:lnTo>
                      <a:pt x="581" y="334"/>
                    </a:lnTo>
                    <a:close/>
                    <a:moveTo>
                      <a:pt x="555" y="451"/>
                    </a:moveTo>
                    <a:lnTo>
                      <a:pt x="555" y="452"/>
                    </a:lnTo>
                    <a:lnTo>
                      <a:pt x="554" y="452"/>
                    </a:lnTo>
                    <a:lnTo>
                      <a:pt x="554" y="453"/>
                    </a:lnTo>
                    <a:lnTo>
                      <a:pt x="555" y="454"/>
                    </a:lnTo>
                    <a:lnTo>
                      <a:pt x="556" y="453"/>
                    </a:lnTo>
                    <a:lnTo>
                      <a:pt x="556" y="452"/>
                    </a:lnTo>
                    <a:lnTo>
                      <a:pt x="556" y="451"/>
                    </a:lnTo>
                    <a:lnTo>
                      <a:pt x="556" y="452"/>
                    </a:lnTo>
                    <a:lnTo>
                      <a:pt x="556" y="453"/>
                    </a:lnTo>
                    <a:lnTo>
                      <a:pt x="556" y="454"/>
                    </a:lnTo>
                    <a:lnTo>
                      <a:pt x="556" y="455"/>
                    </a:lnTo>
                    <a:lnTo>
                      <a:pt x="556" y="456"/>
                    </a:lnTo>
                    <a:lnTo>
                      <a:pt x="556" y="455"/>
                    </a:lnTo>
                    <a:lnTo>
                      <a:pt x="555" y="455"/>
                    </a:lnTo>
                    <a:lnTo>
                      <a:pt x="554" y="455"/>
                    </a:lnTo>
                    <a:lnTo>
                      <a:pt x="553" y="455"/>
                    </a:lnTo>
                    <a:lnTo>
                      <a:pt x="553" y="454"/>
                    </a:lnTo>
                    <a:lnTo>
                      <a:pt x="552" y="454"/>
                    </a:lnTo>
                    <a:lnTo>
                      <a:pt x="552" y="453"/>
                    </a:lnTo>
                    <a:lnTo>
                      <a:pt x="552" y="454"/>
                    </a:lnTo>
                    <a:lnTo>
                      <a:pt x="553" y="454"/>
                    </a:lnTo>
                    <a:lnTo>
                      <a:pt x="553" y="455"/>
                    </a:lnTo>
                    <a:lnTo>
                      <a:pt x="554" y="455"/>
                    </a:lnTo>
                    <a:lnTo>
                      <a:pt x="554" y="454"/>
                    </a:lnTo>
                    <a:lnTo>
                      <a:pt x="554" y="453"/>
                    </a:lnTo>
                    <a:lnTo>
                      <a:pt x="554" y="452"/>
                    </a:lnTo>
                    <a:lnTo>
                      <a:pt x="555" y="451"/>
                    </a:lnTo>
                    <a:close/>
                    <a:moveTo>
                      <a:pt x="567" y="418"/>
                    </a:moveTo>
                    <a:lnTo>
                      <a:pt x="567" y="419"/>
                    </a:lnTo>
                    <a:lnTo>
                      <a:pt x="566" y="419"/>
                    </a:lnTo>
                    <a:lnTo>
                      <a:pt x="566" y="421"/>
                    </a:lnTo>
                    <a:lnTo>
                      <a:pt x="566" y="419"/>
                    </a:lnTo>
                    <a:lnTo>
                      <a:pt x="567" y="419"/>
                    </a:lnTo>
                    <a:lnTo>
                      <a:pt x="568" y="419"/>
                    </a:lnTo>
                    <a:lnTo>
                      <a:pt x="569" y="421"/>
                    </a:lnTo>
                    <a:lnTo>
                      <a:pt x="568" y="422"/>
                    </a:lnTo>
                    <a:lnTo>
                      <a:pt x="568" y="421"/>
                    </a:lnTo>
                    <a:lnTo>
                      <a:pt x="567" y="421"/>
                    </a:lnTo>
                    <a:lnTo>
                      <a:pt x="567" y="422"/>
                    </a:lnTo>
                    <a:lnTo>
                      <a:pt x="567" y="423"/>
                    </a:lnTo>
                    <a:lnTo>
                      <a:pt x="566" y="423"/>
                    </a:lnTo>
                    <a:lnTo>
                      <a:pt x="566" y="421"/>
                    </a:lnTo>
                    <a:lnTo>
                      <a:pt x="566" y="419"/>
                    </a:lnTo>
                    <a:lnTo>
                      <a:pt x="566" y="418"/>
                    </a:lnTo>
                    <a:lnTo>
                      <a:pt x="567" y="418"/>
                    </a:lnTo>
                    <a:close/>
                    <a:moveTo>
                      <a:pt x="572" y="419"/>
                    </a:moveTo>
                    <a:lnTo>
                      <a:pt x="573" y="419"/>
                    </a:lnTo>
                    <a:lnTo>
                      <a:pt x="573" y="421"/>
                    </a:lnTo>
                    <a:lnTo>
                      <a:pt x="575" y="421"/>
                    </a:lnTo>
                    <a:lnTo>
                      <a:pt x="576" y="422"/>
                    </a:lnTo>
                    <a:lnTo>
                      <a:pt x="575" y="422"/>
                    </a:lnTo>
                    <a:lnTo>
                      <a:pt x="575" y="423"/>
                    </a:lnTo>
                    <a:lnTo>
                      <a:pt x="573" y="423"/>
                    </a:lnTo>
                    <a:lnTo>
                      <a:pt x="572" y="422"/>
                    </a:lnTo>
                    <a:lnTo>
                      <a:pt x="573" y="422"/>
                    </a:lnTo>
                    <a:lnTo>
                      <a:pt x="572" y="422"/>
                    </a:lnTo>
                    <a:lnTo>
                      <a:pt x="572" y="421"/>
                    </a:lnTo>
                    <a:lnTo>
                      <a:pt x="571" y="419"/>
                    </a:lnTo>
                    <a:lnTo>
                      <a:pt x="572" y="419"/>
                    </a:lnTo>
                    <a:close/>
                    <a:moveTo>
                      <a:pt x="572" y="440"/>
                    </a:moveTo>
                    <a:lnTo>
                      <a:pt x="572" y="439"/>
                    </a:lnTo>
                    <a:lnTo>
                      <a:pt x="573" y="440"/>
                    </a:lnTo>
                    <a:lnTo>
                      <a:pt x="573" y="439"/>
                    </a:lnTo>
                    <a:lnTo>
                      <a:pt x="575" y="439"/>
                    </a:lnTo>
                    <a:lnTo>
                      <a:pt x="575" y="440"/>
                    </a:lnTo>
                    <a:lnTo>
                      <a:pt x="575" y="441"/>
                    </a:lnTo>
                    <a:lnTo>
                      <a:pt x="573" y="441"/>
                    </a:lnTo>
                    <a:lnTo>
                      <a:pt x="572" y="441"/>
                    </a:lnTo>
                    <a:lnTo>
                      <a:pt x="570" y="441"/>
                    </a:lnTo>
                    <a:lnTo>
                      <a:pt x="570" y="440"/>
                    </a:lnTo>
                    <a:lnTo>
                      <a:pt x="569" y="440"/>
                    </a:lnTo>
                    <a:lnTo>
                      <a:pt x="569" y="439"/>
                    </a:lnTo>
                    <a:lnTo>
                      <a:pt x="570" y="440"/>
                    </a:lnTo>
                    <a:lnTo>
                      <a:pt x="571" y="440"/>
                    </a:lnTo>
                    <a:lnTo>
                      <a:pt x="571" y="439"/>
                    </a:lnTo>
                    <a:lnTo>
                      <a:pt x="571" y="438"/>
                    </a:lnTo>
                    <a:lnTo>
                      <a:pt x="572" y="438"/>
                    </a:lnTo>
                    <a:lnTo>
                      <a:pt x="572" y="439"/>
                    </a:lnTo>
                    <a:lnTo>
                      <a:pt x="571" y="439"/>
                    </a:lnTo>
                    <a:lnTo>
                      <a:pt x="572" y="440"/>
                    </a:lnTo>
                    <a:close/>
                    <a:moveTo>
                      <a:pt x="576" y="431"/>
                    </a:moveTo>
                    <a:lnTo>
                      <a:pt x="576" y="433"/>
                    </a:lnTo>
                    <a:lnTo>
                      <a:pt x="575" y="433"/>
                    </a:lnTo>
                    <a:lnTo>
                      <a:pt x="576" y="433"/>
                    </a:lnTo>
                    <a:lnTo>
                      <a:pt x="575" y="434"/>
                    </a:lnTo>
                    <a:lnTo>
                      <a:pt x="576" y="435"/>
                    </a:lnTo>
                    <a:lnTo>
                      <a:pt x="575" y="435"/>
                    </a:lnTo>
                    <a:lnTo>
                      <a:pt x="576" y="435"/>
                    </a:lnTo>
                    <a:lnTo>
                      <a:pt x="575" y="436"/>
                    </a:lnTo>
                    <a:lnTo>
                      <a:pt x="575" y="435"/>
                    </a:lnTo>
                    <a:lnTo>
                      <a:pt x="573" y="434"/>
                    </a:lnTo>
                    <a:lnTo>
                      <a:pt x="572" y="433"/>
                    </a:lnTo>
                    <a:lnTo>
                      <a:pt x="572" y="431"/>
                    </a:lnTo>
                    <a:lnTo>
                      <a:pt x="572" y="433"/>
                    </a:lnTo>
                    <a:lnTo>
                      <a:pt x="573" y="433"/>
                    </a:lnTo>
                    <a:lnTo>
                      <a:pt x="575" y="433"/>
                    </a:lnTo>
                    <a:lnTo>
                      <a:pt x="575" y="431"/>
                    </a:lnTo>
                    <a:lnTo>
                      <a:pt x="576" y="431"/>
                    </a:lnTo>
                    <a:close/>
                    <a:moveTo>
                      <a:pt x="556" y="439"/>
                    </a:moveTo>
                    <a:lnTo>
                      <a:pt x="556" y="440"/>
                    </a:lnTo>
                    <a:lnTo>
                      <a:pt x="556" y="441"/>
                    </a:lnTo>
                    <a:lnTo>
                      <a:pt x="555" y="441"/>
                    </a:lnTo>
                    <a:lnTo>
                      <a:pt x="556" y="441"/>
                    </a:lnTo>
                    <a:lnTo>
                      <a:pt x="556" y="442"/>
                    </a:lnTo>
                    <a:lnTo>
                      <a:pt x="556" y="443"/>
                    </a:lnTo>
                    <a:lnTo>
                      <a:pt x="557" y="443"/>
                    </a:lnTo>
                    <a:lnTo>
                      <a:pt x="557" y="444"/>
                    </a:lnTo>
                    <a:lnTo>
                      <a:pt x="556" y="444"/>
                    </a:lnTo>
                    <a:lnTo>
                      <a:pt x="556" y="443"/>
                    </a:lnTo>
                    <a:lnTo>
                      <a:pt x="555" y="443"/>
                    </a:lnTo>
                    <a:lnTo>
                      <a:pt x="556" y="443"/>
                    </a:lnTo>
                    <a:lnTo>
                      <a:pt x="555" y="443"/>
                    </a:lnTo>
                    <a:lnTo>
                      <a:pt x="555" y="442"/>
                    </a:lnTo>
                    <a:lnTo>
                      <a:pt x="556" y="442"/>
                    </a:lnTo>
                    <a:lnTo>
                      <a:pt x="555" y="442"/>
                    </a:lnTo>
                    <a:lnTo>
                      <a:pt x="555" y="441"/>
                    </a:lnTo>
                    <a:lnTo>
                      <a:pt x="555" y="440"/>
                    </a:lnTo>
                    <a:lnTo>
                      <a:pt x="555" y="439"/>
                    </a:lnTo>
                    <a:lnTo>
                      <a:pt x="556" y="439"/>
                    </a:lnTo>
                    <a:close/>
                    <a:moveTo>
                      <a:pt x="597" y="382"/>
                    </a:moveTo>
                    <a:lnTo>
                      <a:pt x="597" y="383"/>
                    </a:lnTo>
                    <a:lnTo>
                      <a:pt x="596" y="383"/>
                    </a:lnTo>
                    <a:lnTo>
                      <a:pt x="594" y="383"/>
                    </a:lnTo>
                    <a:lnTo>
                      <a:pt x="593" y="383"/>
                    </a:lnTo>
                    <a:lnTo>
                      <a:pt x="593" y="382"/>
                    </a:lnTo>
                    <a:lnTo>
                      <a:pt x="595" y="382"/>
                    </a:lnTo>
                    <a:lnTo>
                      <a:pt x="595" y="380"/>
                    </a:lnTo>
                    <a:lnTo>
                      <a:pt x="596" y="380"/>
                    </a:lnTo>
                    <a:lnTo>
                      <a:pt x="597" y="382"/>
                    </a:lnTo>
                    <a:close/>
                    <a:moveTo>
                      <a:pt x="547" y="439"/>
                    </a:moveTo>
                    <a:lnTo>
                      <a:pt x="548" y="439"/>
                    </a:lnTo>
                    <a:lnTo>
                      <a:pt x="550" y="439"/>
                    </a:lnTo>
                    <a:lnTo>
                      <a:pt x="550" y="440"/>
                    </a:lnTo>
                    <a:lnTo>
                      <a:pt x="548" y="440"/>
                    </a:lnTo>
                    <a:lnTo>
                      <a:pt x="548" y="441"/>
                    </a:lnTo>
                    <a:lnTo>
                      <a:pt x="550" y="441"/>
                    </a:lnTo>
                    <a:lnTo>
                      <a:pt x="550" y="440"/>
                    </a:lnTo>
                    <a:lnTo>
                      <a:pt x="550" y="441"/>
                    </a:lnTo>
                    <a:lnTo>
                      <a:pt x="551" y="441"/>
                    </a:lnTo>
                    <a:lnTo>
                      <a:pt x="551" y="442"/>
                    </a:lnTo>
                    <a:lnTo>
                      <a:pt x="552" y="442"/>
                    </a:lnTo>
                    <a:lnTo>
                      <a:pt x="552" y="443"/>
                    </a:lnTo>
                    <a:lnTo>
                      <a:pt x="551" y="443"/>
                    </a:lnTo>
                    <a:lnTo>
                      <a:pt x="551" y="442"/>
                    </a:lnTo>
                    <a:lnTo>
                      <a:pt x="551" y="441"/>
                    </a:lnTo>
                    <a:lnTo>
                      <a:pt x="550" y="441"/>
                    </a:lnTo>
                    <a:lnTo>
                      <a:pt x="548" y="441"/>
                    </a:lnTo>
                    <a:lnTo>
                      <a:pt x="550" y="442"/>
                    </a:lnTo>
                    <a:lnTo>
                      <a:pt x="550" y="443"/>
                    </a:lnTo>
                    <a:lnTo>
                      <a:pt x="551" y="443"/>
                    </a:lnTo>
                    <a:lnTo>
                      <a:pt x="550" y="443"/>
                    </a:lnTo>
                    <a:lnTo>
                      <a:pt x="550" y="442"/>
                    </a:lnTo>
                    <a:lnTo>
                      <a:pt x="548" y="441"/>
                    </a:lnTo>
                    <a:lnTo>
                      <a:pt x="548" y="442"/>
                    </a:lnTo>
                    <a:lnTo>
                      <a:pt x="548" y="443"/>
                    </a:lnTo>
                    <a:lnTo>
                      <a:pt x="547" y="443"/>
                    </a:lnTo>
                    <a:lnTo>
                      <a:pt x="548" y="443"/>
                    </a:lnTo>
                    <a:lnTo>
                      <a:pt x="548" y="444"/>
                    </a:lnTo>
                    <a:lnTo>
                      <a:pt x="550" y="444"/>
                    </a:lnTo>
                    <a:lnTo>
                      <a:pt x="547" y="444"/>
                    </a:lnTo>
                    <a:lnTo>
                      <a:pt x="547" y="443"/>
                    </a:lnTo>
                    <a:lnTo>
                      <a:pt x="548" y="443"/>
                    </a:lnTo>
                    <a:lnTo>
                      <a:pt x="547" y="443"/>
                    </a:lnTo>
                    <a:lnTo>
                      <a:pt x="548" y="442"/>
                    </a:lnTo>
                    <a:lnTo>
                      <a:pt x="548" y="441"/>
                    </a:lnTo>
                    <a:lnTo>
                      <a:pt x="548" y="440"/>
                    </a:lnTo>
                    <a:lnTo>
                      <a:pt x="547" y="439"/>
                    </a:lnTo>
                    <a:lnTo>
                      <a:pt x="548" y="439"/>
                    </a:lnTo>
                    <a:lnTo>
                      <a:pt x="547" y="439"/>
                    </a:lnTo>
                    <a:close/>
                    <a:moveTo>
                      <a:pt x="594" y="385"/>
                    </a:moveTo>
                    <a:lnTo>
                      <a:pt x="594" y="384"/>
                    </a:lnTo>
                    <a:lnTo>
                      <a:pt x="594" y="385"/>
                    </a:lnTo>
                    <a:lnTo>
                      <a:pt x="595" y="385"/>
                    </a:lnTo>
                    <a:lnTo>
                      <a:pt x="595" y="384"/>
                    </a:lnTo>
                    <a:lnTo>
                      <a:pt x="595" y="385"/>
                    </a:lnTo>
                    <a:lnTo>
                      <a:pt x="595" y="386"/>
                    </a:lnTo>
                    <a:lnTo>
                      <a:pt x="594" y="386"/>
                    </a:lnTo>
                    <a:lnTo>
                      <a:pt x="593" y="386"/>
                    </a:lnTo>
                    <a:lnTo>
                      <a:pt x="593" y="385"/>
                    </a:lnTo>
                    <a:lnTo>
                      <a:pt x="592" y="385"/>
                    </a:lnTo>
                    <a:lnTo>
                      <a:pt x="593" y="384"/>
                    </a:lnTo>
                    <a:lnTo>
                      <a:pt x="593" y="383"/>
                    </a:lnTo>
                    <a:lnTo>
                      <a:pt x="594" y="383"/>
                    </a:lnTo>
                    <a:lnTo>
                      <a:pt x="594" y="384"/>
                    </a:lnTo>
                    <a:lnTo>
                      <a:pt x="594" y="385"/>
                    </a:lnTo>
                    <a:close/>
                    <a:moveTo>
                      <a:pt x="547" y="415"/>
                    </a:moveTo>
                    <a:lnTo>
                      <a:pt x="548" y="415"/>
                    </a:lnTo>
                    <a:lnTo>
                      <a:pt x="548" y="416"/>
                    </a:lnTo>
                    <a:lnTo>
                      <a:pt x="550" y="416"/>
                    </a:lnTo>
                    <a:lnTo>
                      <a:pt x="550" y="417"/>
                    </a:lnTo>
                    <a:lnTo>
                      <a:pt x="550" y="418"/>
                    </a:lnTo>
                    <a:lnTo>
                      <a:pt x="548" y="418"/>
                    </a:lnTo>
                    <a:lnTo>
                      <a:pt x="548" y="419"/>
                    </a:lnTo>
                    <a:lnTo>
                      <a:pt x="548" y="418"/>
                    </a:lnTo>
                    <a:lnTo>
                      <a:pt x="547" y="418"/>
                    </a:lnTo>
                    <a:lnTo>
                      <a:pt x="548" y="417"/>
                    </a:lnTo>
                    <a:lnTo>
                      <a:pt x="548" y="418"/>
                    </a:lnTo>
                    <a:lnTo>
                      <a:pt x="550" y="417"/>
                    </a:lnTo>
                    <a:lnTo>
                      <a:pt x="548" y="417"/>
                    </a:lnTo>
                    <a:lnTo>
                      <a:pt x="547" y="417"/>
                    </a:lnTo>
                    <a:lnTo>
                      <a:pt x="547" y="416"/>
                    </a:lnTo>
                    <a:lnTo>
                      <a:pt x="546" y="416"/>
                    </a:lnTo>
                    <a:lnTo>
                      <a:pt x="546" y="417"/>
                    </a:lnTo>
                    <a:lnTo>
                      <a:pt x="547" y="417"/>
                    </a:lnTo>
                    <a:lnTo>
                      <a:pt x="547" y="418"/>
                    </a:lnTo>
                    <a:lnTo>
                      <a:pt x="547" y="417"/>
                    </a:lnTo>
                    <a:lnTo>
                      <a:pt x="547" y="418"/>
                    </a:lnTo>
                    <a:lnTo>
                      <a:pt x="547" y="417"/>
                    </a:lnTo>
                    <a:lnTo>
                      <a:pt x="546" y="417"/>
                    </a:lnTo>
                    <a:lnTo>
                      <a:pt x="546" y="416"/>
                    </a:lnTo>
                    <a:lnTo>
                      <a:pt x="547" y="416"/>
                    </a:lnTo>
                    <a:lnTo>
                      <a:pt x="547" y="415"/>
                    </a:lnTo>
                    <a:close/>
                    <a:moveTo>
                      <a:pt x="569" y="493"/>
                    </a:moveTo>
                    <a:lnTo>
                      <a:pt x="569" y="494"/>
                    </a:lnTo>
                    <a:lnTo>
                      <a:pt x="570" y="494"/>
                    </a:lnTo>
                    <a:lnTo>
                      <a:pt x="570" y="495"/>
                    </a:lnTo>
                    <a:lnTo>
                      <a:pt x="570" y="496"/>
                    </a:lnTo>
                    <a:lnTo>
                      <a:pt x="569" y="495"/>
                    </a:lnTo>
                    <a:lnTo>
                      <a:pt x="568" y="495"/>
                    </a:lnTo>
                    <a:lnTo>
                      <a:pt x="568" y="494"/>
                    </a:lnTo>
                    <a:lnTo>
                      <a:pt x="567" y="494"/>
                    </a:lnTo>
                    <a:lnTo>
                      <a:pt x="567" y="493"/>
                    </a:lnTo>
                    <a:lnTo>
                      <a:pt x="567" y="494"/>
                    </a:lnTo>
                    <a:lnTo>
                      <a:pt x="567" y="493"/>
                    </a:lnTo>
                    <a:lnTo>
                      <a:pt x="568" y="492"/>
                    </a:lnTo>
                    <a:lnTo>
                      <a:pt x="569" y="492"/>
                    </a:lnTo>
                    <a:lnTo>
                      <a:pt x="569" y="493"/>
                    </a:lnTo>
                    <a:close/>
                    <a:moveTo>
                      <a:pt x="591" y="447"/>
                    </a:moveTo>
                    <a:lnTo>
                      <a:pt x="590" y="447"/>
                    </a:lnTo>
                    <a:lnTo>
                      <a:pt x="590" y="448"/>
                    </a:lnTo>
                    <a:lnTo>
                      <a:pt x="589" y="448"/>
                    </a:lnTo>
                    <a:lnTo>
                      <a:pt x="588" y="448"/>
                    </a:lnTo>
                    <a:lnTo>
                      <a:pt x="588" y="449"/>
                    </a:lnTo>
                    <a:lnTo>
                      <a:pt x="588" y="448"/>
                    </a:lnTo>
                    <a:lnTo>
                      <a:pt x="586" y="447"/>
                    </a:lnTo>
                    <a:lnTo>
                      <a:pt x="588" y="447"/>
                    </a:lnTo>
                    <a:lnTo>
                      <a:pt x="589" y="447"/>
                    </a:lnTo>
                    <a:lnTo>
                      <a:pt x="590" y="447"/>
                    </a:lnTo>
                    <a:lnTo>
                      <a:pt x="590" y="446"/>
                    </a:lnTo>
                    <a:lnTo>
                      <a:pt x="591" y="446"/>
                    </a:lnTo>
                    <a:lnTo>
                      <a:pt x="591" y="444"/>
                    </a:lnTo>
                    <a:lnTo>
                      <a:pt x="591" y="446"/>
                    </a:lnTo>
                    <a:lnTo>
                      <a:pt x="591" y="447"/>
                    </a:lnTo>
                    <a:close/>
                    <a:moveTo>
                      <a:pt x="561" y="417"/>
                    </a:moveTo>
                    <a:lnTo>
                      <a:pt x="563" y="417"/>
                    </a:lnTo>
                    <a:lnTo>
                      <a:pt x="563" y="418"/>
                    </a:lnTo>
                    <a:lnTo>
                      <a:pt x="563" y="419"/>
                    </a:lnTo>
                    <a:lnTo>
                      <a:pt x="561" y="419"/>
                    </a:lnTo>
                    <a:lnTo>
                      <a:pt x="560" y="419"/>
                    </a:lnTo>
                    <a:lnTo>
                      <a:pt x="559" y="419"/>
                    </a:lnTo>
                    <a:lnTo>
                      <a:pt x="558" y="419"/>
                    </a:lnTo>
                    <a:lnTo>
                      <a:pt x="558" y="418"/>
                    </a:lnTo>
                    <a:lnTo>
                      <a:pt x="559" y="418"/>
                    </a:lnTo>
                    <a:lnTo>
                      <a:pt x="559" y="419"/>
                    </a:lnTo>
                    <a:lnTo>
                      <a:pt x="560" y="419"/>
                    </a:lnTo>
                    <a:lnTo>
                      <a:pt x="561" y="419"/>
                    </a:lnTo>
                    <a:lnTo>
                      <a:pt x="560" y="418"/>
                    </a:lnTo>
                    <a:lnTo>
                      <a:pt x="559" y="418"/>
                    </a:lnTo>
                    <a:lnTo>
                      <a:pt x="560" y="418"/>
                    </a:lnTo>
                    <a:lnTo>
                      <a:pt x="561" y="418"/>
                    </a:lnTo>
                    <a:lnTo>
                      <a:pt x="561" y="417"/>
                    </a:lnTo>
                    <a:close/>
                    <a:moveTo>
                      <a:pt x="572" y="434"/>
                    </a:moveTo>
                    <a:lnTo>
                      <a:pt x="572" y="435"/>
                    </a:lnTo>
                    <a:lnTo>
                      <a:pt x="573" y="435"/>
                    </a:lnTo>
                    <a:lnTo>
                      <a:pt x="573" y="436"/>
                    </a:lnTo>
                    <a:lnTo>
                      <a:pt x="573" y="437"/>
                    </a:lnTo>
                    <a:lnTo>
                      <a:pt x="572" y="437"/>
                    </a:lnTo>
                    <a:lnTo>
                      <a:pt x="572" y="436"/>
                    </a:lnTo>
                    <a:lnTo>
                      <a:pt x="572" y="437"/>
                    </a:lnTo>
                    <a:lnTo>
                      <a:pt x="571" y="437"/>
                    </a:lnTo>
                    <a:lnTo>
                      <a:pt x="570" y="437"/>
                    </a:lnTo>
                    <a:lnTo>
                      <a:pt x="571" y="437"/>
                    </a:lnTo>
                    <a:lnTo>
                      <a:pt x="571" y="436"/>
                    </a:lnTo>
                    <a:lnTo>
                      <a:pt x="570" y="436"/>
                    </a:lnTo>
                    <a:lnTo>
                      <a:pt x="571" y="436"/>
                    </a:lnTo>
                    <a:lnTo>
                      <a:pt x="570" y="436"/>
                    </a:lnTo>
                    <a:lnTo>
                      <a:pt x="570" y="435"/>
                    </a:lnTo>
                    <a:lnTo>
                      <a:pt x="571" y="435"/>
                    </a:lnTo>
                    <a:lnTo>
                      <a:pt x="571" y="436"/>
                    </a:lnTo>
                    <a:lnTo>
                      <a:pt x="572" y="436"/>
                    </a:lnTo>
                    <a:lnTo>
                      <a:pt x="572" y="435"/>
                    </a:lnTo>
                    <a:lnTo>
                      <a:pt x="571" y="435"/>
                    </a:lnTo>
                    <a:lnTo>
                      <a:pt x="571" y="434"/>
                    </a:lnTo>
                    <a:lnTo>
                      <a:pt x="572" y="435"/>
                    </a:lnTo>
                    <a:lnTo>
                      <a:pt x="572" y="434"/>
                    </a:lnTo>
                    <a:close/>
                    <a:moveTo>
                      <a:pt x="495" y="308"/>
                    </a:moveTo>
                    <a:lnTo>
                      <a:pt x="495" y="307"/>
                    </a:lnTo>
                    <a:lnTo>
                      <a:pt x="494" y="307"/>
                    </a:lnTo>
                    <a:lnTo>
                      <a:pt x="495" y="307"/>
                    </a:lnTo>
                    <a:lnTo>
                      <a:pt x="495" y="306"/>
                    </a:lnTo>
                    <a:lnTo>
                      <a:pt x="495" y="305"/>
                    </a:lnTo>
                    <a:lnTo>
                      <a:pt x="496" y="306"/>
                    </a:lnTo>
                    <a:lnTo>
                      <a:pt x="496" y="307"/>
                    </a:lnTo>
                    <a:lnTo>
                      <a:pt x="496" y="308"/>
                    </a:lnTo>
                    <a:lnTo>
                      <a:pt x="495" y="308"/>
                    </a:lnTo>
                    <a:close/>
                    <a:moveTo>
                      <a:pt x="548" y="444"/>
                    </a:moveTo>
                    <a:lnTo>
                      <a:pt x="552" y="444"/>
                    </a:lnTo>
                    <a:lnTo>
                      <a:pt x="552" y="446"/>
                    </a:lnTo>
                    <a:lnTo>
                      <a:pt x="552" y="447"/>
                    </a:lnTo>
                    <a:lnTo>
                      <a:pt x="552" y="446"/>
                    </a:lnTo>
                    <a:lnTo>
                      <a:pt x="552" y="447"/>
                    </a:lnTo>
                    <a:lnTo>
                      <a:pt x="551" y="446"/>
                    </a:lnTo>
                    <a:lnTo>
                      <a:pt x="552" y="447"/>
                    </a:lnTo>
                    <a:lnTo>
                      <a:pt x="553" y="447"/>
                    </a:lnTo>
                    <a:lnTo>
                      <a:pt x="553" y="448"/>
                    </a:lnTo>
                    <a:lnTo>
                      <a:pt x="553" y="447"/>
                    </a:lnTo>
                    <a:lnTo>
                      <a:pt x="552" y="447"/>
                    </a:lnTo>
                    <a:lnTo>
                      <a:pt x="551" y="447"/>
                    </a:lnTo>
                    <a:lnTo>
                      <a:pt x="551" y="446"/>
                    </a:lnTo>
                    <a:lnTo>
                      <a:pt x="551" y="447"/>
                    </a:lnTo>
                    <a:lnTo>
                      <a:pt x="550" y="447"/>
                    </a:lnTo>
                    <a:lnTo>
                      <a:pt x="550" y="446"/>
                    </a:lnTo>
                    <a:lnTo>
                      <a:pt x="548" y="446"/>
                    </a:lnTo>
                    <a:lnTo>
                      <a:pt x="548" y="444"/>
                    </a:lnTo>
                    <a:lnTo>
                      <a:pt x="548" y="446"/>
                    </a:lnTo>
                    <a:lnTo>
                      <a:pt x="547" y="446"/>
                    </a:lnTo>
                    <a:lnTo>
                      <a:pt x="547" y="444"/>
                    </a:lnTo>
                    <a:lnTo>
                      <a:pt x="548" y="444"/>
                    </a:lnTo>
                    <a:close/>
                    <a:moveTo>
                      <a:pt x="601" y="448"/>
                    </a:moveTo>
                    <a:lnTo>
                      <a:pt x="602" y="448"/>
                    </a:lnTo>
                    <a:lnTo>
                      <a:pt x="603" y="448"/>
                    </a:lnTo>
                    <a:lnTo>
                      <a:pt x="603" y="449"/>
                    </a:lnTo>
                    <a:lnTo>
                      <a:pt x="602" y="449"/>
                    </a:lnTo>
                    <a:lnTo>
                      <a:pt x="602" y="450"/>
                    </a:lnTo>
                    <a:lnTo>
                      <a:pt x="601" y="450"/>
                    </a:lnTo>
                    <a:lnTo>
                      <a:pt x="599" y="450"/>
                    </a:lnTo>
                    <a:lnTo>
                      <a:pt x="599" y="449"/>
                    </a:lnTo>
                    <a:lnTo>
                      <a:pt x="601" y="449"/>
                    </a:lnTo>
                    <a:lnTo>
                      <a:pt x="601" y="448"/>
                    </a:lnTo>
                    <a:close/>
                    <a:moveTo>
                      <a:pt x="592" y="416"/>
                    </a:moveTo>
                    <a:lnTo>
                      <a:pt x="592" y="417"/>
                    </a:lnTo>
                    <a:lnTo>
                      <a:pt x="592" y="418"/>
                    </a:lnTo>
                    <a:lnTo>
                      <a:pt x="591" y="417"/>
                    </a:lnTo>
                    <a:lnTo>
                      <a:pt x="591" y="418"/>
                    </a:lnTo>
                    <a:lnTo>
                      <a:pt x="590" y="418"/>
                    </a:lnTo>
                    <a:lnTo>
                      <a:pt x="590" y="417"/>
                    </a:lnTo>
                    <a:lnTo>
                      <a:pt x="590" y="416"/>
                    </a:lnTo>
                    <a:lnTo>
                      <a:pt x="591" y="416"/>
                    </a:lnTo>
                    <a:lnTo>
                      <a:pt x="592" y="416"/>
                    </a:lnTo>
                    <a:close/>
                    <a:moveTo>
                      <a:pt x="550" y="408"/>
                    </a:moveTo>
                    <a:lnTo>
                      <a:pt x="550" y="409"/>
                    </a:lnTo>
                    <a:lnTo>
                      <a:pt x="550" y="408"/>
                    </a:lnTo>
                    <a:lnTo>
                      <a:pt x="548" y="408"/>
                    </a:lnTo>
                    <a:lnTo>
                      <a:pt x="547" y="408"/>
                    </a:lnTo>
                    <a:lnTo>
                      <a:pt x="547" y="406"/>
                    </a:lnTo>
                    <a:lnTo>
                      <a:pt x="547" y="405"/>
                    </a:lnTo>
                    <a:lnTo>
                      <a:pt x="547" y="404"/>
                    </a:lnTo>
                    <a:lnTo>
                      <a:pt x="548" y="404"/>
                    </a:lnTo>
                    <a:lnTo>
                      <a:pt x="548" y="405"/>
                    </a:lnTo>
                    <a:lnTo>
                      <a:pt x="548" y="406"/>
                    </a:lnTo>
                    <a:lnTo>
                      <a:pt x="550" y="406"/>
                    </a:lnTo>
                    <a:lnTo>
                      <a:pt x="550" y="408"/>
                    </a:lnTo>
                    <a:close/>
                    <a:moveTo>
                      <a:pt x="509" y="202"/>
                    </a:moveTo>
                    <a:lnTo>
                      <a:pt x="508" y="202"/>
                    </a:lnTo>
                    <a:lnTo>
                      <a:pt x="507" y="202"/>
                    </a:lnTo>
                    <a:lnTo>
                      <a:pt x="507" y="200"/>
                    </a:lnTo>
                    <a:lnTo>
                      <a:pt x="506" y="199"/>
                    </a:lnTo>
                    <a:lnTo>
                      <a:pt x="507" y="199"/>
                    </a:lnTo>
                    <a:lnTo>
                      <a:pt x="507" y="200"/>
                    </a:lnTo>
                    <a:lnTo>
                      <a:pt x="508" y="200"/>
                    </a:lnTo>
                    <a:lnTo>
                      <a:pt x="509" y="202"/>
                    </a:lnTo>
                    <a:close/>
                    <a:moveTo>
                      <a:pt x="531" y="396"/>
                    </a:moveTo>
                    <a:lnTo>
                      <a:pt x="531" y="397"/>
                    </a:lnTo>
                    <a:lnTo>
                      <a:pt x="531" y="398"/>
                    </a:lnTo>
                    <a:lnTo>
                      <a:pt x="530" y="397"/>
                    </a:lnTo>
                    <a:lnTo>
                      <a:pt x="529" y="397"/>
                    </a:lnTo>
                    <a:lnTo>
                      <a:pt x="529" y="396"/>
                    </a:lnTo>
                    <a:lnTo>
                      <a:pt x="530" y="396"/>
                    </a:lnTo>
                    <a:lnTo>
                      <a:pt x="530" y="395"/>
                    </a:lnTo>
                    <a:lnTo>
                      <a:pt x="531" y="395"/>
                    </a:lnTo>
                    <a:lnTo>
                      <a:pt x="531" y="396"/>
                    </a:lnTo>
                    <a:close/>
                    <a:moveTo>
                      <a:pt x="546" y="451"/>
                    </a:moveTo>
                    <a:lnTo>
                      <a:pt x="547" y="451"/>
                    </a:lnTo>
                    <a:lnTo>
                      <a:pt x="547" y="452"/>
                    </a:lnTo>
                    <a:lnTo>
                      <a:pt x="548" y="452"/>
                    </a:lnTo>
                    <a:lnTo>
                      <a:pt x="550" y="452"/>
                    </a:lnTo>
                    <a:lnTo>
                      <a:pt x="551" y="452"/>
                    </a:lnTo>
                    <a:lnTo>
                      <a:pt x="551" y="453"/>
                    </a:lnTo>
                    <a:lnTo>
                      <a:pt x="550" y="453"/>
                    </a:lnTo>
                    <a:lnTo>
                      <a:pt x="550" y="452"/>
                    </a:lnTo>
                    <a:lnTo>
                      <a:pt x="548" y="452"/>
                    </a:lnTo>
                    <a:lnTo>
                      <a:pt x="547" y="452"/>
                    </a:lnTo>
                    <a:lnTo>
                      <a:pt x="546" y="452"/>
                    </a:lnTo>
                    <a:lnTo>
                      <a:pt x="546" y="451"/>
                    </a:lnTo>
                    <a:close/>
                    <a:moveTo>
                      <a:pt x="586" y="350"/>
                    </a:moveTo>
                    <a:lnTo>
                      <a:pt x="589" y="351"/>
                    </a:lnTo>
                    <a:lnTo>
                      <a:pt x="590" y="352"/>
                    </a:lnTo>
                    <a:lnTo>
                      <a:pt x="590" y="353"/>
                    </a:lnTo>
                    <a:lnTo>
                      <a:pt x="590" y="352"/>
                    </a:lnTo>
                    <a:lnTo>
                      <a:pt x="589" y="352"/>
                    </a:lnTo>
                    <a:lnTo>
                      <a:pt x="589" y="351"/>
                    </a:lnTo>
                    <a:lnTo>
                      <a:pt x="588" y="351"/>
                    </a:lnTo>
                    <a:lnTo>
                      <a:pt x="586" y="351"/>
                    </a:lnTo>
                    <a:lnTo>
                      <a:pt x="585" y="351"/>
                    </a:lnTo>
                    <a:lnTo>
                      <a:pt x="586" y="350"/>
                    </a:lnTo>
                    <a:close/>
                    <a:moveTo>
                      <a:pt x="589" y="358"/>
                    </a:moveTo>
                    <a:lnTo>
                      <a:pt x="588" y="358"/>
                    </a:lnTo>
                    <a:lnTo>
                      <a:pt x="588" y="357"/>
                    </a:lnTo>
                    <a:lnTo>
                      <a:pt x="589" y="357"/>
                    </a:lnTo>
                    <a:lnTo>
                      <a:pt x="589" y="356"/>
                    </a:lnTo>
                    <a:lnTo>
                      <a:pt x="589" y="357"/>
                    </a:lnTo>
                    <a:lnTo>
                      <a:pt x="590" y="357"/>
                    </a:lnTo>
                    <a:lnTo>
                      <a:pt x="589" y="357"/>
                    </a:lnTo>
                    <a:lnTo>
                      <a:pt x="590" y="358"/>
                    </a:lnTo>
                    <a:lnTo>
                      <a:pt x="589" y="358"/>
                    </a:lnTo>
                    <a:close/>
                    <a:moveTo>
                      <a:pt x="552" y="456"/>
                    </a:moveTo>
                    <a:lnTo>
                      <a:pt x="553" y="455"/>
                    </a:lnTo>
                    <a:lnTo>
                      <a:pt x="553" y="456"/>
                    </a:lnTo>
                    <a:lnTo>
                      <a:pt x="553" y="457"/>
                    </a:lnTo>
                    <a:lnTo>
                      <a:pt x="552" y="457"/>
                    </a:lnTo>
                    <a:lnTo>
                      <a:pt x="552" y="456"/>
                    </a:lnTo>
                    <a:lnTo>
                      <a:pt x="552" y="457"/>
                    </a:lnTo>
                    <a:lnTo>
                      <a:pt x="551" y="457"/>
                    </a:lnTo>
                    <a:lnTo>
                      <a:pt x="551" y="456"/>
                    </a:lnTo>
                    <a:lnTo>
                      <a:pt x="552" y="456"/>
                    </a:lnTo>
                    <a:lnTo>
                      <a:pt x="551" y="456"/>
                    </a:lnTo>
                    <a:lnTo>
                      <a:pt x="552" y="456"/>
                    </a:lnTo>
                    <a:lnTo>
                      <a:pt x="552" y="455"/>
                    </a:lnTo>
                    <a:lnTo>
                      <a:pt x="553" y="455"/>
                    </a:lnTo>
                    <a:lnTo>
                      <a:pt x="552" y="455"/>
                    </a:lnTo>
                    <a:lnTo>
                      <a:pt x="552" y="456"/>
                    </a:lnTo>
                    <a:close/>
                    <a:moveTo>
                      <a:pt x="568" y="439"/>
                    </a:moveTo>
                    <a:lnTo>
                      <a:pt x="569" y="439"/>
                    </a:lnTo>
                    <a:lnTo>
                      <a:pt x="569" y="440"/>
                    </a:lnTo>
                    <a:lnTo>
                      <a:pt x="567" y="441"/>
                    </a:lnTo>
                    <a:lnTo>
                      <a:pt x="566" y="440"/>
                    </a:lnTo>
                    <a:lnTo>
                      <a:pt x="565" y="440"/>
                    </a:lnTo>
                    <a:lnTo>
                      <a:pt x="566" y="440"/>
                    </a:lnTo>
                    <a:lnTo>
                      <a:pt x="566" y="439"/>
                    </a:lnTo>
                    <a:lnTo>
                      <a:pt x="566" y="440"/>
                    </a:lnTo>
                    <a:lnTo>
                      <a:pt x="567" y="440"/>
                    </a:lnTo>
                    <a:lnTo>
                      <a:pt x="568" y="439"/>
                    </a:lnTo>
                    <a:close/>
                    <a:moveTo>
                      <a:pt x="565" y="417"/>
                    </a:moveTo>
                    <a:lnTo>
                      <a:pt x="565" y="418"/>
                    </a:lnTo>
                    <a:lnTo>
                      <a:pt x="563" y="418"/>
                    </a:lnTo>
                    <a:lnTo>
                      <a:pt x="564" y="418"/>
                    </a:lnTo>
                    <a:lnTo>
                      <a:pt x="564" y="417"/>
                    </a:lnTo>
                    <a:lnTo>
                      <a:pt x="564" y="416"/>
                    </a:lnTo>
                    <a:lnTo>
                      <a:pt x="565" y="417"/>
                    </a:lnTo>
                    <a:close/>
                    <a:moveTo>
                      <a:pt x="561" y="449"/>
                    </a:moveTo>
                    <a:lnTo>
                      <a:pt x="563" y="449"/>
                    </a:lnTo>
                    <a:lnTo>
                      <a:pt x="564" y="449"/>
                    </a:lnTo>
                    <a:lnTo>
                      <a:pt x="563" y="450"/>
                    </a:lnTo>
                    <a:lnTo>
                      <a:pt x="561" y="450"/>
                    </a:lnTo>
                    <a:lnTo>
                      <a:pt x="560" y="450"/>
                    </a:lnTo>
                    <a:lnTo>
                      <a:pt x="559" y="449"/>
                    </a:lnTo>
                    <a:lnTo>
                      <a:pt x="560" y="449"/>
                    </a:lnTo>
                    <a:lnTo>
                      <a:pt x="560" y="448"/>
                    </a:lnTo>
                    <a:lnTo>
                      <a:pt x="560" y="449"/>
                    </a:lnTo>
                    <a:lnTo>
                      <a:pt x="561" y="449"/>
                    </a:lnTo>
                    <a:close/>
                    <a:moveTo>
                      <a:pt x="578" y="328"/>
                    </a:moveTo>
                    <a:lnTo>
                      <a:pt x="579" y="328"/>
                    </a:lnTo>
                    <a:lnTo>
                      <a:pt x="579" y="331"/>
                    </a:lnTo>
                    <a:lnTo>
                      <a:pt x="578" y="331"/>
                    </a:lnTo>
                    <a:lnTo>
                      <a:pt x="578" y="328"/>
                    </a:lnTo>
                    <a:close/>
                    <a:moveTo>
                      <a:pt x="598" y="448"/>
                    </a:moveTo>
                    <a:lnTo>
                      <a:pt x="598" y="449"/>
                    </a:lnTo>
                    <a:lnTo>
                      <a:pt x="599" y="449"/>
                    </a:lnTo>
                    <a:lnTo>
                      <a:pt x="598" y="449"/>
                    </a:lnTo>
                    <a:lnTo>
                      <a:pt x="598" y="450"/>
                    </a:lnTo>
                    <a:lnTo>
                      <a:pt x="597" y="450"/>
                    </a:lnTo>
                    <a:lnTo>
                      <a:pt x="597" y="449"/>
                    </a:lnTo>
                    <a:lnTo>
                      <a:pt x="598" y="449"/>
                    </a:lnTo>
                    <a:lnTo>
                      <a:pt x="598" y="448"/>
                    </a:lnTo>
                    <a:close/>
                    <a:moveTo>
                      <a:pt x="572" y="328"/>
                    </a:moveTo>
                    <a:lnTo>
                      <a:pt x="573" y="328"/>
                    </a:lnTo>
                    <a:lnTo>
                      <a:pt x="573" y="329"/>
                    </a:lnTo>
                    <a:lnTo>
                      <a:pt x="572" y="329"/>
                    </a:lnTo>
                    <a:lnTo>
                      <a:pt x="572" y="328"/>
                    </a:lnTo>
                    <a:lnTo>
                      <a:pt x="571" y="328"/>
                    </a:lnTo>
                    <a:lnTo>
                      <a:pt x="570" y="328"/>
                    </a:lnTo>
                    <a:lnTo>
                      <a:pt x="571" y="328"/>
                    </a:lnTo>
                    <a:lnTo>
                      <a:pt x="572" y="327"/>
                    </a:lnTo>
                    <a:lnTo>
                      <a:pt x="572" y="328"/>
                    </a:lnTo>
                    <a:close/>
                    <a:moveTo>
                      <a:pt x="552" y="443"/>
                    </a:moveTo>
                    <a:lnTo>
                      <a:pt x="552" y="444"/>
                    </a:lnTo>
                    <a:lnTo>
                      <a:pt x="550" y="444"/>
                    </a:lnTo>
                    <a:lnTo>
                      <a:pt x="551" y="444"/>
                    </a:lnTo>
                    <a:lnTo>
                      <a:pt x="551" y="443"/>
                    </a:lnTo>
                    <a:lnTo>
                      <a:pt x="551" y="444"/>
                    </a:lnTo>
                    <a:lnTo>
                      <a:pt x="550" y="444"/>
                    </a:lnTo>
                    <a:lnTo>
                      <a:pt x="550" y="443"/>
                    </a:lnTo>
                    <a:lnTo>
                      <a:pt x="551" y="443"/>
                    </a:lnTo>
                    <a:lnTo>
                      <a:pt x="552" y="443"/>
                    </a:lnTo>
                    <a:close/>
                    <a:moveTo>
                      <a:pt x="395" y="437"/>
                    </a:moveTo>
                    <a:lnTo>
                      <a:pt x="397" y="437"/>
                    </a:lnTo>
                    <a:lnTo>
                      <a:pt x="397" y="438"/>
                    </a:lnTo>
                    <a:lnTo>
                      <a:pt x="395" y="438"/>
                    </a:lnTo>
                    <a:lnTo>
                      <a:pt x="395" y="437"/>
                    </a:lnTo>
                    <a:close/>
                    <a:moveTo>
                      <a:pt x="577" y="423"/>
                    </a:moveTo>
                    <a:lnTo>
                      <a:pt x="577" y="424"/>
                    </a:lnTo>
                    <a:lnTo>
                      <a:pt x="575" y="424"/>
                    </a:lnTo>
                    <a:lnTo>
                      <a:pt x="573" y="424"/>
                    </a:lnTo>
                    <a:lnTo>
                      <a:pt x="575" y="423"/>
                    </a:lnTo>
                    <a:lnTo>
                      <a:pt x="573" y="423"/>
                    </a:lnTo>
                    <a:lnTo>
                      <a:pt x="573" y="424"/>
                    </a:lnTo>
                    <a:lnTo>
                      <a:pt x="573" y="423"/>
                    </a:lnTo>
                    <a:lnTo>
                      <a:pt x="577" y="423"/>
                    </a:lnTo>
                    <a:close/>
                    <a:moveTo>
                      <a:pt x="556" y="503"/>
                    </a:moveTo>
                    <a:lnTo>
                      <a:pt x="557" y="503"/>
                    </a:lnTo>
                    <a:lnTo>
                      <a:pt x="557" y="505"/>
                    </a:lnTo>
                    <a:lnTo>
                      <a:pt x="556" y="505"/>
                    </a:lnTo>
                    <a:lnTo>
                      <a:pt x="556" y="503"/>
                    </a:lnTo>
                    <a:close/>
                    <a:moveTo>
                      <a:pt x="591" y="429"/>
                    </a:moveTo>
                    <a:lnTo>
                      <a:pt x="593" y="429"/>
                    </a:lnTo>
                    <a:lnTo>
                      <a:pt x="593" y="430"/>
                    </a:lnTo>
                    <a:lnTo>
                      <a:pt x="591" y="430"/>
                    </a:lnTo>
                    <a:lnTo>
                      <a:pt x="591" y="429"/>
                    </a:lnTo>
                    <a:close/>
                    <a:moveTo>
                      <a:pt x="373" y="476"/>
                    </a:moveTo>
                    <a:lnTo>
                      <a:pt x="374" y="476"/>
                    </a:lnTo>
                    <a:lnTo>
                      <a:pt x="375" y="477"/>
                    </a:lnTo>
                    <a:lnTo>
                      <a:pt x="374" y="477"/>
                    </a:lnTo>
                    <a:lnTo>
                      <a:pt x="373" y="477"/>
                    </a:lnTo>
                    <a:lnTo>
                      <a:pt x="372" y="476"/>
                    </a:lnTo>
                    <a:lnTo>
                      <a:pt x="372" y="475"/>
                    </a:lnTo>
                    <a:lnTo>
                      <a:pt x="373" y="475"/>
                    </a:lnTo>
                    <a:lnTo>
                      <a:pt x="373" y="476"/>
                    </a:lnTo>
                    <a:close/>
                    <a:moveTo>
                      <a:pt x="558" y="446"/>
                    </a:moveTo>
                    <a:lnTo>
                      <a:pt x="559" y="446"/>
                    </a:lnTo>
                    <a:lnTo>
                      <a:pt x="560" y="446"/>
                    </a:lnTo>
                    <a:lnTo>
                      <a:pt x="559" y="446"/>
                    </a:lnTo>
                    <a:lnTo>
                      <a:pt x="559" y="447"/>
                    </a:lnTo>
                    <a:lnTo>
                      <a:pt x="558" y="447"/>
                    </a:lnTo>
                    <a:lnTo>
                      <a:pt x="558" y="446"/>
                    </a:lnTo>
                    <a:lnTo>
                      <a:pt x="557" y="446"/>
                    </a:lnTo>
                    <a:lnTo>
                      <a:pt x="558" y="446"/>
                    </a:lnTo>
                    <a:lnTo>
                      <a:pt x="557" y="446"/>
                    </a:lnTo>
                    <a:lnTo>
                      <a:pt x="558" y="446"/>
                    </a:lnTo>
                    <a:close/>
                    <a:moveTo>
                      <a:pt x="571" y="492"/>
                    </a:moveTo>
                    <a:lnTo>
                      <a:pt x="572" y="492"/>
                    </a:lnTo>
                    <a:lnTo>
                      <a:pt x="571" y="492"/>
                    </a:lnTo>
                    <a:lnTo>
                      <a:pt x="571" y="493"/>
                    </a:lnTo>
                    <a:lnTo>
                      <a:pt x="570" y="493"/>
                    </a:lnTo>
                    <a:lnTo>
                      <a:pt x="570" y="492"/>
                    </a:lnTo>
                    <a:lnTo>
                      <a:pt x="571" y="492"/>
                    </a:lnTo>
                    <a:close/>
                    <a:moveTo>
                      <a:pt x="405" y="433"/>
                    </a:moveTo>
                    <a:lnTo>
                      <a:pt x="408" y="433"/>
                    </a:lnTo>
                    <a:lnTo>
                      <a:pt x="408" y="435"/>
                    </a:lnTo>
                    <a:lnTo>
                      <a:pt x="405" y="435"/>
                    </a:lnTo>
                    <a:lnTo>
                      <a:pt x="405" y="433"/>
                    </a:lnTo>
                    <a:close/>
                    <a:moveTo>
                      <a:pt x="578" y="332"/>
                    </a:moveTo>
                    <a:lnTo>
                      <a:pt x="579" y="332"/>
                    </a:lnTo>
                    <a:lnTo>
                      <a:pt x="579" y="334"/>
                    </a:lnTo>
                    <a:lnTo>
                      <a:pt x="578" y="334"/>
                    </a:lnTo>
                    <a:lnTo>
                      <a:pt x="578" y="332"/>
                    </a:lnTo>
                    <a:close/>
                    <a:moveTo>
                      <a:pt x="564" y="495"/>
                    </a:moveTo>
                    <a:lnTo>
                      <a:pt x="565" y="495"/>
                    </a:lnTo>
                    <a:lnTo>
                      <a:pt x="565" y="496"/>
                    </a:lnTo>
                    <a:lnTo>
                      <a:pt x="566" y="498"/>
                    </a:lnTo>
                    <a:lnTo>
                      <a:pt x="565" y="498"/>
                    </a:lnTo>
                    <a:lnTo>
                      <a:pt x="565" y="496"/>
                    </a:lnTo>
                    <a:lnTo>
                      <a:pt x="564" y="496"/>
                    </a:lnTo>
                    <a:lnTo>
                      <a:pt x="564" y="495"/>
                    </a:lnTo>
                    <a:lnTo>
                      <a:pt x="564" y="494"/>
                    </a:lnTo>
                    <a:lnTo>
                      <a:pt x="564" y="495"/>
                    </a:lnTo>
                    <a:close/>
                    <a:moveTo>
                      <a:pt x="552" y="423"/>
                    </a:moveTo>
                    <a:lnTo>
                      <a:pt x="546" y="423"/>
                    </a:lnTo>
                    <a:lnTo>
                      <a:pt x="544" y="423"/>
                    </a:lnTo>
                    <a:lnTo>
                      <a:pt x="544" y="422"/>
                    </a:lnTo>
                    <a:lnTo>
                      <a:pt x="552" y="423"/>
                    </a:lnTo>
                    <a:close/>
                    <a:moveTo>
                      <a:pt x="565" y="428"/>
                    </a:moveTo>
                    <a:lnTo>
                      <a:pt x="564" y="428"/>
                    </a:lnTo>
                    <a:lnTo>
                      <a:pt x="563" y="428"/>
                    </a:lnTo>
                    <a:lnTo>
                      <a:pt x="561" y="428"/>
                    </a:lnTo>
                    <a:lnTo>
                      <a:pt x="563" y="428"/>
                    </a:lnTo>
                    <a:lnTo>
                      <a:pt x="564" y="428"/>
                    </a:lnTo>
                    <a:lnTo>
                      <a:pt x="565" y="428"/>
                    </a:lnTo>
                    <a:lnTo>
                      <a:pt x="565" y="427"/>
                    </a:lnTo>
                    <a:lnTo>
                      <a:pt x="565" y="428"/>
                    </a:lnTo>
                    <a:close/>
                    <a:moveTo>
                      <a:pt x="391" y="450"/>
                    </a:moveTo>
                    <a:lnTo>
                      <a:pt x="393" y="450"/>
                    </a:lnTo>
                    <a:lnTo>
                      <a:pt x="393" y="452"/>
                    </a:lnTo>
                    <a:lnTo>
                      <a:pt x="391" y="452"/>
                    </a:lnTo>
                    <a:lnTo>
                      <a:pt x="391" y="450"/>
                    </a:lnTo>
                    <a:close/>
                    <a:moveTo>
                      <a:pt x="569" y="441"/>
                    </a:moveTo>
                    <a:lnTo>
                      <a:pt x="568" y="441"/>
                    </a:lnTo>
                    <a:lnTo>
                      <a:pt x="567" y="441"/>
                    </a:lnTo>
                    <a:lnTo>
                      <a:pt x="569" y="440"/>
                    </a:lnTo>
                    <a:lnTo>
                      <a:pt x="569" y="441"/>
                    </a:lnTo>
                    <a:close/>
                    <a:moveTo>
                      <a:pt x="520" y="388"/>
                    </a:moveTo>
                    <a:lnTo>
                      <a:pt x="521" y="388"/>
                    </a:lnTo>
                    <a:lnTo>
                      <a:pt x="521" y="389"/>
                    </a:lnTo>
                    <a:lnTo>
                      <a:pt x="520" y="389"/>
                    </a:lnTo>
                    <a:lnTo>
                      <a:pt x="520" y="388"/>
                    </a:lnTo>
                    <a:close/>
                    <a:moveTo>
                      <a:pt x="575" y="436"/>
                    </a:moveTo>
                    <a:lnTo>
                      <a:pt x="577" y="436"/>
                    </a:lnTo>
                    <a:lnTo>
                      <a:pt x="577" y="438"/>
                    </a:lnTo>
                    <a:lnTo>
                      <a:pt x="575" y="438"/>
                    </a:lnTo>
                    <a:lnTo>
                      <a:pt x="575" y="436"/>
                    </a:lnTo>
                    <a:close/>
                    <a:moveTo>
                      <a:pt x="551" y="454"/>
                    </a:moveTo>
                    <a:lnTo>
                      <a:pt x="552" y="455"/>
                    </a:lnTo>
                    <a:lnTo>
                      <a:pt x="551" y="455"/>
                    </a:lnTo>
                    <a:lnTo>
                      <a:pt x="551" y="454"/>
                    </a:lnTo>
                    <a:lnTo>
                      <a:pt x="551" y="455"/>
                    </a:lnTo>
                    <a:lnTo>
                      <a:pt x="551" y="454"/>
                    </a:lnTo>
                    <a:lnTo>
                      <a:pt x="550" y="453"/>
                    </a:lnTo>
                    <a:lnTo>
                      <a:pt x="551" y="453"/>
                    </a:lnTo>
                    <a:lnTo>
                      <a:pt x="551" y="454"/>
                    </a:lnTo>
                    <a:close/>
                    <a:moveTo>
                      <a:pt x="599" y="349"/>
                    </a:moveTo>
                    <a:lnTo>
                      <a:pt x="599" y="350"/>
                    </a:lnTo>
                    <a:lnTo>
                      <a:pt x="598" y="350"/>
                    </a:lnTo>
                    <a:lnTo>
                      <a:pt x="597" y="350"/>
                    </a:lnTo>
                    <a:lnTo>
                      <a:pt x="597" y="349"/>
                    </a:lnTo>
                    <a:lnTo>
                      <a:pt x="598" y="350"/>
                    </a:lnTo>
                    <a:lnTo>
                      <a:pt x="598" y="349"/>
                    </a:lnTo>
                    <a:lnTo>
                      <a:pt x="599" y="349"/>
                    </a:lnTo>
                    <a:close/>
                    <a:moveTo>
                      <a:pt x="388" y="452"/>
                    </a:moveTo>
                    <a:lnTo>
                      <a:pt x="387" y="452"/>
                    </a:lnTo>
                    <a:lnTo>
                      <a:pt x="388" y="451"/>
                    </a:lnTo>
                    <a:lnTo>
                      <a:pt x="389" y="452"/>
                    </a:lnTo>
                    <a:lnTo>
                      <a:pt x="388" y="452"/>
                    </a:lnTo>
                    <a:close/>
                    <a:moveTo>
                      <a:pt x="594" y="383"/>
                    </a:moveTo>
                    <a:lnTo>
                      <a:pt x="595" y="383"/>
                    </a:lnTo>
                    <a:lnTo>
                      <a:pt x="595" y="384"/>
                    </a:lnTo>
                    <a:lnTo>
                      <a:pt x="594" y="384"/>
                    </a:lnTo>
                    <a:lnTo>
                      <a:pt x="594" y="383"/>
                    </a:lnTo>
                    <a:close/>
                    <a:moveTo>
                      <a:pt x="594" y="406"/>
                    </a:moveTo>
                    <a:lnTo>
                      <a:pt x="595" y="406"/>
                    </a:lnTo>
                    <a:lnTo>
                      <a:pt x="595" y="405"/>
                    </a:lnTo>
                    <a:lnTo>
                      <a:pt x="595" y="406"/>
                    </a:lnTo>
                    <a:lnTo>
                      <a:pt x="594" y="406"/>
                    </a:lnTo>
                    <a:lnTo>
                      <a:pt x="593" y="406"/>
                    </a:lnTo>
                    <a:lnTo>
                      <a:pt x="594" y="406"/>
                    </a:lnTo>
                    <a:lnTo>
                      <a:pt x="594" y="405"/>
                    </a:lnTo>
                    <a:lnTo>
                      <a:pt x="594" y="406"/>
                    </a:lnTo>
                    <a:close/>
                    <a:moveTo>
                      <a:pt x="551" y="417"/>
                    </a:moveTo>
                    <a:lnTo>
                      <a:pt x="553" y="417"/>
                    </a:lnTo>
                    <a:lnTo>
                      <a:pt x="553" y="419"/>
                    </a:lnTo>
                    <a:lnTo>
                      <a:pt x="551" y="419"/>
                    </a:lnTo>
                    <a:lnTo>
                      <a:pt x="551" y="417"/>
                    </a:lnTo>
                    <a:close/>
                    <a:moveTo>
                      <a:pt x="568" y="418"/>
                    </a:moveTo>
                    <a:lnTo>
                      <a:pt x="569" y="418"/>
                    </a:lnTo>
                    <a:lnTo>
                      <a:pt x="569" y="421"/>
                    </a:lnTo>
                    <a:lnTo>
                      <a:pt x="568" y="421"/>
                    </a:lnTo>
                    <a:lnTo>
                      <a:pt x="568" y="418"/>
                    </a:lnTo>
                    <a:close/>
                    <a:moveTo>
                      <a:pt x="592" y="421"/>
                    </a:moveTo>
                    <a:lnTo>
                      <a:pt x="593" y="421"/>
                    </a:lnTo>
                    <a:lnTo>
                      <a:pt x="592" y="421"/>
                    </a:lnTo>
                    <a:lnTo>
                      <a:pt x="593" y="421"/>
                    </a:lnTo>
                    <a:lnTo>
                      <a:pt x="593" y="422"/>
                    </a:lnTo>
                    <a:lnTo>
                      <a:pt x="592" y="421"/>
                    </a:lnTo>
                    <a:lnTo>
                      <a:pt x="592" y="422"/>
                    </a:lnTo>
                    <a:lnTo>
                      <a:pt x="591" y="422"/>
                    </a:lnTo>
                    <a:lnTo>
                      <a:pt x="592" y="421"/>
                    </a:lnTo>
                    <a:close/>
                    <a:moveTo>
                      <a:pt x="593" y="357"/>
                    </a:moveTo>
                    <a:lnTo>
                      <a:pt x="592" y="357"/>
                    </a:lnTo>
                    <a:lnTo>
                      <a:pt x="591" y="357"/>
                    </a:lnTo>
                    <a:lnTo>
                      <a:pt x="590" y="358"/>
                    </a:lnTo>
                    <a:lnTo>
                      <a:pt x="590" y="357"/>
                    </a:lnTo>
                    <a:lnTo>
                      <a:pt x="592" y="357"/>
                    </a:lnTo>
                    <a:lnTo>
                      <a:pt x="593" y="357"/>
                    </a:lnTo>
                    <a:close/>
                    <a:moveTo>
                      <a:pt x="582" y="429"/>
                    </a:moveTo>
                    <a:lnTo>
                      <a:pt x="583" y="429"/>
                    </a:lnTo>
                    <a:lnTo>
                      <a:pt x="583" y="430"/>
                    </a:lnTo>
                    <a:lnTo>
                      <a:pt x="582" y="430"/>
                    </a:lnTo>
                    <a:lnTo>
                      <a:pt x="582" y="429"/>
                    </a:lnTo>
                    <a:close/>
                    <a:moveTo>
                      <a:pt x="578" y="435"/>
                    </a:moveTo>
                    <a:lnTo>
                      <a:pt x="579" y="435"/>
                    </a:lnTo>
                    <a:lnTo>
                      <a:pt x="579" y="436"/>
                    </a:lnTo>
                    <a:lnTo>
                      <a:pt x="578" y="436"/>
                    </a:lnTo>
                    <a:lnTo>
                      <a:pt x="578" y="435"/>
                    </a:lnTo>
                    <a:close/>
                    <a:moveTo>
                      <a:pt x="586" y="403"/>
                    </a:moveTo>
                    <a:lnTo>
                      <a:pt x="589" y="403"/>
                    </a:lnTo>
                    <a:lnTo>
                      <a:pt x="586" y="403"/>
                    </a:lnTo>
                    <a:close/>
                    <a:moveTo>
                      <a:pt x="542" y="423"/>
                    </a:moveTo>
                    <a:lnTo>
                      <a:pt x="543" y="423"/>
                    </a:lnTo>
                    <a:lnTo>
                      <a:pt x="543" y="424"/>
                    </a:lnTo>
                    <a:lnTo>
                      <a:pt x="542" y="424"/>
                    </a:lnTo>
                    <a:lnTo>
                      <a:pt x="542" y="423"/>
                    </a:lnTo>
                    <a:close/>
                    <a:moveTo>
                      <a:pt x="575" y="422"/>
                    </a:moveTo>
                    <a:lnTo>
                      <a:pt x="577" y="422"/>
                    </a:lnTo>
                    <a:lnTo>
                      <a:pt x="577" y="423"/>
                    </a:lnTo>
                    <a:lnTo>
                      <a:pt x="575" y="423"/>
                    </a:lnTo>
                    <a:lnTo>
                      <a:pt x="575" y="422"/>
                    </a:lnTo>
                    <a:close/>
                    <a:moveTo>
                      <a:pt x="584" y="326"/>
                    </a:moveTo>
                    <a:lnTo>
                      <a:pt x="585" y="326"/>
                    </a:lnTo>
                    <a:lnTo>
                      <a:pt x="585" y="327"/>
                    </a:lnTo>
                    <a:lnTo>
                      <a:pt x="584" y="327"/>
                    </a:lnTo>
                    <a:lnTo>
                      <a:pt x="584" y="326"/>
                    </a:lnTo>
                    <a:close/>
                    <a:moveTo>
                      <a:pt x="570" y="499"/>
                    </a:moveTo>
                    <a:lnTo>
                      <a:pt x="570" y="500"/>
                    </a:lnTo>
                    <a:lnTo>
                      <a:pt x="570" y="499"/>
                    </a:lnTo>
                    <a:lnTo>
                      <a:pt x="569" y="499"/>
                    </a:lnTo>
                    <a:lnTo>
                      <a:pt x="569" y="498"/>
                    </a:lnTo>
                    <a:lnTo>
                      <a:pt x="570" y="498"/>
                    </a:lnTo>
                    <a:lnTo>
                      <a:pt x="570" y="499"/>
                    </a:lnTo>
                    <a:close/>
                    <a:moveTo>
                      <a:pt x="555" y="423"/>
                    </a:moveTo>
                    <a:lnTo>
                      <a:pt x="556" y="423"/>
                    </a:lnTo>
                    <a:lnTo>
                      <a:pt x="556" y="424"/>
                    </a:lnTo>
                    <a:lnTo>
                      <a:pt x="555" y="424"/>
                    </a:lnTo>
                    <a:lnTo>
                      <a:pt x="555" y="423"/>
                    </a:lnTo>
                    <a:close/>
                    <a:moveTo>
                      <a:pt x="565" y="438"/>
                    </a:moveTo>
                    <a:lnTo>
                      <a:pt x="566" y="438"/>
                    </a:lnTo>
                    <a:lnTo>
                      <a:pt x="565" y="438"/>
                    </a:lnTo>
                    <a:close/>
                    <a:moveTo>
                      <a:pt x="563" y="423"/>
                    </a:moveTo>
                    <a:lnTo>
                      <a:pt x="560" y="423"/>
                    </a:lnTo>
                    <a:lnTo>
                      <a:pt x="560" y="424"/>
                    </a:lnTo>
                    <a:lnTo>
                      <a:pt x="559" y="424"/>
                    </a:lnTo>
                    <a:lnTo>
                      <a:pt x="559" y="423"/>
                    </a:lnTo>
                    <a:lnTo>
                      <a:pt x="560" y="423"/>
                    </a:lnTo>
                    <a:lnTo>
                      <a:pt x="563" y="423"/>
                    </a:lnTo>
                    <a:close/>
                    <a:moveTo>
                      <a:pt x="568" y="499"/>
                    </a:moveTo>
                    <a:lnTo>
                      <a:pt x="569" y="499"/>
                    </a:lnTo>
                    <a:lnTo>
                      <a:pt x="569" y="500"/>
                    </a:lnTo>
                    <a:lnTo>
                      <a:pt x="568" y="500"/>
                    </a:lnTo>
                    <a:lnTo>
                      <a:pt x="568" y="499"/>
                    </a:lnTo>
                    <a:close/>
                    <a:moveTo>
                      <a:pt x="551" y="451"/>
                    </a:moveTo>
                    <a:lnTo>
                      <a:pt x="552" y="451"/>
                    </a:lnTo>
                    <a:lnTo>
                      <a:pt x="552" y="452"/>
                    </a:lnTo>
                    <a:lnTo>
                      <a:pt x="551" y="452"/>
                    </a:lnTo>
                    <a:lnTo>
                      <a:pt x="551" y="451"/>
                    </a:lnTo>
                    <a:close/>
                    <a:moveTo>
                      <a:pt x="374" y="478"/>
                    </a:moveTo>
                    <a:lnTo>
                      <a:pt x="375" y="478"/>
                    </a:lnTo>
                    <a:lnTo>
                      <a:pt x="375" y="479"/>
                    </a:lnTo>
                    <a:lnTo>
                      <a:pt x="374" y="479"/>
                    </a:lnTo>
                    <a:lnTo>
                      <a:pt x="374" y="478"/>
                    </a:lnTo>
                    <a:close/>
                    <a:moveTo>
                      <a:pt x="588" y="437"/>
                    </a:moveTo>
                    <a:lnTo>
                      <a:pt x="589" y="437"/>
                    </a:lnTo>
                    <a:lnTo>
                      <a:pt x="589" y="438"/>
                    </a:lnTo>
                    <a:lnTo>
                      <a:pt x="588" y="438"/>
                    </a:lnTo>
                    <a:lnTo>
                      <a:pt x="588" y="437"/>
                    </a:lnTo>
                    <a:close/>
                    <a:moveTo>
                      <a:pt x="589" y="439"/>
                    </a:moveTo>
                    <a:lnTo>
                      <a:pt x="590" y="439"/>
                    </a:lnTo>
                    <a:lnTo>
                      <a:pt x="590" y="440"/>
                    </a:lnTo>
                    <a:lnTo>
                      <a:pt x="589" y="440"/>
                    </a:lnTo>
                    <a:lnTo>
                      <a:pt x="589" y="439"/>
                    </a:lnTo>
                    <a:close/>
                    <a:moveTo>
                      <a:pt x="373" y="482"/>
                    </a:moveTo>
                    <a:lnTo>
                      <a:pt x="374" y="482"/>
                    </a:lnTo>
                    <a:lnTo>
                      <a:pt x="374" y="483"/>
                    </a:lnTo>
                    <a:lnTo>
                      <a:pt x="373" y="483"/>
                    </a:lnTo>
                    <a:lnTo>
                      <a:pt x="373" y="482"/>
                    </a:lnTo>
                    <a:close/>
                    <a:moveTo>
                      <a:pt x="557" y="449"/>
                    </a:moveTo>
                    <a:lnTo>
                      <a:pt x="558" y="449"/>
                    </a:lnTo>
                    <a:lnTo>
                      <a:pt x="558" y="450"/>
                    </a:lnTo>
                    <a:lnTo>
                      <a:pt x="557" y="450"/>
                    </a:lnTo>
                    <a:lnTo>
                      <a:pt x="557" y="449"/>
                    </a:lnTo>
                    <a:close/>
                    <a:moveTo>
                      <a:pt x="588" y="332"/>
                    </a:moveTo>
                    <a:lnTo>
                      <a:pt x="588" y="333"/>
                    </a:lnTo>
                    <a:lnTo>
                      <a:pt x="588" y="332"/>
                    </a:lnTo>
                    <a:close/>
                    <a:moveTo>
                      <a:pt x="580" y="434"/>
                    </a:moveTo>
                    <a:lnTo>
                      <a:pt x="580" y="435"/>
                    </a:lnTo>
                    <a:lnTo>
                      <a:pt x="580" y="434"/>
                    </a:lnTo>
                    <a:close/>
                    <a:moveTo>
                      <a:pt x="564" y="423"/>
                    </a:moveTo>
                    <a:lnTo>
                      <a:pt x="565" y="423"/>
                    </a:lnTo>
                    <a:lnTo>
                      <a:pt x="565" y="424"/>
                    </a:lnTo>
                    <a:lnTo>
                      <a:pt x="564" y="424"/>
                    </a:lnTo>
                    <a:lnTo>
                      <a:pt x="564" y="423"/>
                    </a:lnTo>
                    <a:close/>
                    <a:moveTo>
                      <a:pt x="593" y="427"/>
                    </a:moveTo>
                    <a:lnTo>
                      <a:pt x="594" y="427"/>
                    </a:lnTo>
                    <a:lnTo>
                      <a:pt x="594" y="428"/>
                    </a:lnTo>
                    <a:lnTo>
                      <a:pt x="593" y="428"/>
                    </a:lnTo>
                    <a:lnTo>
                      <a:pt x="593" y="427"/>
                    </a:lnTo>
                    <a:close/>
                    <a:moveTo>
                      <a:pt x="581" y="356"/>
                    </a:moveTo>
                    <a:lnTo>
                      <a:pt x="582" y="356"/>
                    </a:lnTo>
                    <a:lnTo>
                      <a:pt x="581" y="356"/>
                    </a:lnTo>
                    <a:close/>
                    <a:moveTo>
                      <a:pt x="575" y="429"/>
                    </a:moveTo>
                    <a:lnTo>
                      <a:pt x="576" y="429"/>
                    </a:lnTo>
                    <a:lnTo>
                      <a:pt x="576" y="430"/>
                    </a:lnTo>
                    <a:lnTo>
                      <a:pt x="575" y="430"/>
                    </a:lnTo>
                    <a:lnTo>
                      <a:pt x="575" y="429"/>
                    </a:lnTo>
                    <a:close/>
                    <a:moveTo>
                      <a:pt x="564" y="504"/>
                    </a:moveTo>
                    <a:lnTo>
                      <a:pt x="564" y="505"/>
                    </a:lnTo>
                    <a:lnTo>
                      <a:pt x="564" y="504"/>
                    </a:lnTo>
                    <a:close/>
                    <a:moveTo>
                      <a:pt x="566" y="499"/>
                    </a:moveTo>
                    <a:lnTo>
                      <a:pt x="567" y="499"/>
                    </a:lnTo>
                    <a:lnTo>
                      <a:pt x="567" y="500"/>
                    </a:lnTo>
                    <a:lnTo>
                      <a:pt x="566" y="500"/>
                    </a:lnTo>
                    <a:lnTo>
                      <a:pt x="566" y="499"/>
                    </a:lnTo>
                    <a:close/>
                    <a:moveTo>
                      <a:pt x="589" y="438"/>
                    </a:moveTo>
                    <a:lnTo>
                      <a:pt x="589" y="439"/>
                    </a:lnTo>
                    <a:lnTo>
                      <a:pt x="589" y="438"/>
                    </a:lnTo>
                    <a:close/>
                    <a:moveTo>
                      <a:pt x="571" y="437"/>
                    </a:moveTo>
                    <a:lnTo>
                      <a:pt x="572" y="437"/>
                    </a:lnTo>
                    <a:lnTo>
                      <a:pt x="572" y="438"/>
                    </a:lnTo>
                    <a:lnTo>
                      <a:pt x="571" y="438"/>
                    </a:lnTo>
                    <a:lnTo>
                      <a:pt x="571" y="437"/>
                    </a:lnTo>
                    <a:close/>
                    <a:moveTo>
                      <a:pt x="583" y="332"/>
                    </a:moveTo>
                    <a:lnTo>
                      <a:pt x="583" y="333"/>
                    </a:lnTo>
                    <a:lnTo>
                      <a:pt x="583" y="332"/>
                    </a:lnTo>
                    <a:close/>
                    <a:moveTo>
                      <a:pt x="547" y="427"/>
                    </a:moveTo>
                    <a:lnTo>
                      <a:pt x="548" y="427"/>
                    </a:lnTo>
                    <a:lnTo>
                      <a:pt x="547" y="427"/>
                    </a:lnTo>
                    <a:close/>
                    <a:moveTo>
                      <a:pt x="559" y="447"/>
                    </a:moveTo>
                    <a:lnTo>
                      <a:pt x="560" y="447"/>
                    </a:lnTo>
                    <a:lnTo>
                      <a:pt x="560" y="448"/>
                    </a:lnTo>
                    <a:lnTo>
                      <a:pt x="559" y="448"/>
                    </a:lnTo>
                    <a:lnTo>
                      <a:pt x="559" y="447"/>
                    </a:lnTo>
                    <a:close/>
                    <a:moveTo>
                      <a:pt x="547" y="427"/>
                    </a:moveTo>
                    <a:lnTo>
                      <a:pt x="547" y="428"/>
                    </a:lnTo>
                    <a:lnTo>
                      <a:pt x="547" y="427"/>
                    </a:lnTo>
                    <a:close/>
                    <a:moveTo>
                      <a:pt x="579" y="331"/>
                    </a:moveTo>
                    <a:lnTo>
                      <a:pt x="579" y="332"/>
                    </a:lnTo>
                    <a:lnTo>
                      <a:pt x="579" y="331"/>
                    </a:lnTo>
                    <a:close/>
                    <a:moveTo>
                      <a:pt x="558" y="503"/>
                    </a:moveTo>
                    <a:lnTo>
                      <a:pt x="558" y="504"/>
                    </a:lnTo>
                    <a:lnTo>
                      <a:pt x="558" y="503"/>
                    </a:lnTo>
                    <a:close/>
                    <a:moveTo>
                      <a:pt x="566" y="418"/>
                    </a:moveTo>
                    <a:lnTo>
                      <a:pt x="566" y="419"/>
                    </a:lnTo>
                    <a:lnTo>
                      <a:pt x="566" y="418"/>
                    </a:lnTo>
                    <a:close/>
                    <a:moveTo>
                      <a:pt x="588" y="359"/>
                    </a:moveTo>
                    <a:lnTo>
                      <a:pt x="589" y="359"/>
                    </a:lnTo>
                    <a:lnTo>
                      <a:pt x="588" y="359"/>
                    </a:lnTo>
                    <a:close/>
                    <a:moveTo>
                      <a:pt x="402" y="565"/>
                    </a:moveTo>
                    <a:lnTo>
                      <a:pt x="403" y="565"/>
                    </a:lnTo>
                    <a:lnTo>
                      <a:pt x="402" y="565"/>
                    </a:lnTo>
                    <a:close/>
                    <a:moveTo>
                      <a:pt x="565" y="423"/>
                    </a:moveTo>
                    <a:lnTo>
                      <a:pt x="566" y="423"/>
                    </a:lnTo>
                    <a:lnTo>
                      <a:pt x="566" y="424"/>
                    </a:lnTo>
                    <a:lnTo>
                      <a:pt x="565" y="424"/>
                    </a:lnTo>
                    <a:lnTo>
                      <a:pt x="565" y="423"/>
                    </a:lnTo>
                    <a:close/>
                    <a:moveTo>
                      <a:pt x="537" y="427"/>
                    </a:moveTo>
                    <a:lnTo>
                      <a:pt x="538" y="427"/>
                    </a:lnTo>
                    <a:lnTo>
                      <a:pt x="537" y="427"/>
                    </a:lnTo>
                    <a:close/>
                    <a:moveTo>
                      <a:pt x="565" y="494"/>
                    </a:moveTo>
                    <a:lnTo>
                      <a:pt x="566" y="494"/>
                    </a:lnTo>
                    <a:lnTo>
                      <a:pt x="565" y="494"/>
                    </a:lnTo>
                    <a:close/>
                  </a:path>
                </a:pathLst>
              </a:custGeom>
              <a:solidFill>
                <a:srgbClr val="2375D4"/>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47" name="Freeform 275">
                <a:extLst>
                  <a:ext uri="{FF2B5EF4-FFF2-40B4-BE49-F238E27FC236}">
                    <a16:creationId xmlns:a16="http://schemas.microsoft.com/office/drawing/2014/main" id="{20DA8CAB-4C7E-3D91-28EF-BEAC8DE5EBE6}"/>
                  </a:ext>
                </a:extLst>
              </p:cNvPr>
              <p:cNvSpPr>
                <a:spLocks noEditPoints="1"/>
              </p:cNvSpPr>
              <p:nvPr/>
            </p:nvSpPr>
            <p:spPr bwMode="auto">
              <a:xfrm>
                <a:off x="3762376" y="4821238"/>
                <a:ext cx="946150" cy="819150"/>
              </a:xfrm>
              <a:custGeom>
                <a:avLst/>
                <a:gdLst>
                  <a:gd name="T0" fmla="*/ 567 w 596"/>
                  <a:gd name="T1" fmla="*/ 319 h 516"/>
                  <a:gd name="T2" fmla="*/ 550 w 596"/>
                  <a:gd name="T3" fmla="*/ 321 h 516"/>
                  <a:gd name="T4" fmla="*/ 516 w 596"/>
                  <a:gd name="T5" fmla="*/ 333 h 516"/>
                  <a:gd name="T6" fmla="*/ 484 w 596"/>
                  <a:gd name="T7" fmla="*/ 334 h 516"/>
                  <a:gd name="T8" fmla="*/ 457 w 596"/>
                  <a:gd name="T9" fmla="*/ 336 h 516"/>
                  <a:gd name="T10" fmla="*/ 466 w 596"/>
                  <a:gd name="T11" fmla="*/ 358 h 516"/>
                  <a:gd name="T12" fmla="*/ 442 w 596"/>
                  <a:gd name="T13" fmla="*/ 375 h 516"/>
                  <a:gd name="T14" fmla="*/ 441 w 596"/>
                  <a:gd name="T15" fmla="*/ 377 h 516"/>
                  <a:gd name="T16" fmla="*/ 422 w 596"/>
                  <a:gd name="T17" fmla="*/ 388 h 516"/>
                  <a:gd name="T18" fmla="*/ 404 w 596"/>
                  <a:gd name="T19" fmla="*/ 393 h 516"/>
                  <a:gd name="T20" fmla="*/ 414 w 596"/>
                  <a:gd name="T21" fmla="*/ 426 h 516"/>
                  <a:gd name="T22" fmla="*/ 391 w 596"/>
                  <a:gd name="T23" fmla="*/ 445 h 516"/>
                  <a:gd name="T24" fmla="*/ 367 w 596"/>
                  <a:gd name="T25" fmla="*/ 464 h 516"/>
                  <a:gd name="T26" fmla="*/ 352 w 596"/>
                  <a:gd name="T27" fmla="*/ 467 h 516"/>
                  <a:gd name="T28" fmla="*/ 320 w 596"/>
                  <a:gd name="T29" fmla="*/ 469 h 516"/>
                  <a:gd name="T30" fmla="*/ 291 w 596"/>
                  <a:gd name="T31" fmla="*/ 473 h 516"/>
                  <a:gd name="T32" fmla="*/ 277 w 596"/>
                  <a:gd name="T33" fmla="*/ 449 h 516"/>
                  <a:gd name="T34" fmla="*/ 254 w 596"/>
                  <a:gd name="T35" fmla="*/ 422 h 516"/>
                  <a:gd name="T36" fmla="*/ 252 w 596"/>
                  <a:gd name="T37" fmla="*/ 410 h 516"/>
                  <a:gd name="T38" fmla="*/ 233 w 596"/>
                  <a:gd name="T39" fmla="*/ 421 h 516"/>
                  <a:gd name="T40" fmla="*/ 210 w 596"/>
                  <a:gd name="T41" fmla="*/ 407 h 516"/>
                  <a:gd name="T42" fmla="*/ 198 w 596"/>
                  <a:gd name="T43" fmla="*/ 405 h 516"/>
                  <a:gd name="T44" fmla="*/ 162 w 596"/>
                  <a:gd name="T45" fmla="*/ 414 h 516"/>
                  <a:gd name="T46" fmla="*/ 30 w 596"/>
                  <a:gd name="T47" fmla="*/ 360 h 516"/>
                  <a:gd name="T48" fmla="*/ 39 w 596"/>
                  <a:gd name="T49" fmla="*/ 322 h 516"/>
                  <a:gd name="T50" fmla="*/ 77 w 596"/>
                  <a:gd name="T51" fmla="*/ 313 h 516"/>
                  <a:gd name="T52" fmla="*/ 109 w 596"/>
                  <a:gd name="T53" fmla="*/ 320 h 516"/>
                  <a:gd name="T54" fmla="*/ 116 w 596"/>
                  <a:gd name="T55" fmla="*/ 367 h 516"/>
                  <a:gd name="T56" fmla="*/ 142 w 596"/>
                  <a:gd name="T57" fmla="*/ 367 h 516"/>
                  <a:gd name="T58" fmla="*/ 142 w 596"/>
                  <a:gd name="T59" fmla="*/ 333 h 516"/>
                  <a:gd name="T60" fmla="*/ 109 w 596"/>
                  <a:gd name="T61" fmla="*/ 293 h 516"/>
                  <a:gd name="T62" fmla="*/ 82 w 596"/>
                  <a:gd name="T63" fmla="*/ 243 h 516"/>
                  <a:gd name="T64" fmla="*/ 53 w 596"/>
                  <a:gd name="T65" fmla="*/ 196 h 516"/>
                  <a:gd name="T66" fmla="*/ 81 w 596"/>
                  <a:gd name="T67" fmla="*/ 136 h 516"/>
                  <a:gd name="T68" fmla="*/ 139 w 596"/>
                  <a:gd name="T69" fmla="*/ 120 h 516"/>
                  <a:gd name="T70" fmla="*/ 335 w 596"/>
                  <a:gd name="T71" fmla="*/ 5 h 516"/>
                  <a:gd name="T72" fmla="*/ 401 w 596"/>
                  <a:gd name="T73" fmla="*/ 88 h 516"/>
                  <a:gd name="T74" fmla="*/ 475 w 596"/>
                  <a:gd name="T75" fmla="*/ 156 h 516"/>
                  <a:gd name="T76" fmla="*/ 533 w 596"/>
                  <a:gd name="T77" fmla="*/ 223 h 516"/>
                  <a:gd name="T78" fmla="*/ 582 w 596"/>
                  <a:gd name="T79" fmla="*/ 278 h 516"/>
                  <a:gd name="T80" fmla="*/ 593 w 596"/>
                  <a:gd name="T81" fmla="*/ 347 h 516"/>
                  <a:gd name="T82" fmla="*/ 519 w 596"/>
                  <a:gd name="T83" fmla="*/ 494 h 516"/>
                  <a:gd name="T84" fmla="*/ 555 w 596"/>
                  <a:gd name="T85" fmla="*/ 504 h 516"/>
                  <a:gd name="T86" fmla="*/ 431 w 596"/>
                  <a:gd name="T87" fmla="*/ 501 h 516"/>
                  <a:gd name="T88" fmla="*/ 366 w 596"/>
                  <a:gd name="T89" fmla="*/ 513 h 516"/>
                  <a:gd name="T90" fmla="*/ 419 w 596"/>
                  <a:gd name="T91" fmla="*/ 502 h 516"/>
                  <a:gd name="T92" fmla="*/ 315 w 596"/>
                  <a:gd name="T93" fmla="*/ 495 h 516"/>
                  <a:gd name="T94" fmla="*/ 332 w 596"/>
                  <a:gd name="T95" fmla="*/ 512 h 516"/>
                  <a:gd name="T96" fmla="*/ 326 w 596"/>
                  <a:gd name="T97" fmla="*/ 509 h 516"/>
                  <a:gd name="T98" fmla="*/ 338 w 596"/>
                  <a:gd name="T99" fmla="*/ 478 h 516"/>
                  <a:gd name="T100" fmla="*/ 430 w 596"/>
                  <a:gd name="T101" fmla="*/ 413 h 516"/>
                  <a:gd name="T102" fmla="*/ 207 w 596"/>
                  <a:gd name="T103" fmla="*/ 421 h 516"/>
                  <a:gd name="T104" fmla="*/ 425 w 596"/>
                  <a:gd name="T105" fmla="*/ 399 h 516"/>
                  <a:gd name="T106" fmla="*/ 387 w 596"/>
                  <a:gd name="T107" fmla="*/ 456 h 516"/>
                  <a:gd name="T108" fmla="*/ 469 w 596"/>
                  <a:gd name="T109" fmla="*/ 378 h 516"/>
                  <a:gd name="T110" fmla="*/ 307 w 596"/>
                  <a:gd name="T111" fmla="*/ 486 h 516"/>
                  <a:gd name="T112" fmla="*/ 487 w 596"/>
                  <a:gd name="T113" fmla="*/ 340 h 516"/>
                  <a:gd name="T114" fmla="*/ 138 w 596"/>
                  <a:gd name="T115" fmla="*/ 342 h 516"/>
                  <a:gd name="T116" fmla="*/ 454 w 596"/>
                  <a:gd name="T117" fmla="*/ 482 h 516"/>
                  <a:gd name="T118" fmla="*/ 478 w 596"/>
                  <a:gd name="T119" fmla="*/ 380 h 516"/>
                  <a:gd name="T120" fmla="*/ 392 w 596"/>
                  <a:gd name="T121" fmla="*/ 448 h 516"/>
                  <a:gd name="T122" fmla="*/ 332 w 596"/>
                  <a:gd name="T123" fmla="*/ 502 h 516"/>
                  <a:gd name="T124" fmla="*/ 412 w 596"/>
                  <a:gd name="T125" fmla="*/ 45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516">
                    <a:moveTo>
                      <a:pt x="584" y="362"/>
                    </a:moveTo>
                    <a:lnTo>
                      <a:pt x="584" y="361"/>
                    </a:lnTo>
                    <a:lnTo>
                      <a:pt x="584" y="360"/>
                    </a:lnTo>
                    <a:lnTo>
                      <a:pt x="584" y="359"/>
                    </a:lnTo>
                    <a:lnTo>
                      <a:pt x="584" y="358"/>
                    </a:lnTo>
                    <a:lnTo>
                      <a:pt x="584" y="357"/>
                    </a:lnTo>
                    <a:lnTo>
                      <a:pt x="584" y="354"/>
                    </a:lnTo>
                    <a:lnTo>
                      <a:pt x="583" y="354"/>
                    </a:lnTo>
                    <a:lnTo>
                      <a:pt x="582" y="354"/>
                    </a:lnTo>
                    <a:lnTo>
                      <a:pt x="582" y="353"/>
                    </a:lnTo>
                    <a:lnTo>
                      <a:pt x="583" y="352"/>
                    </a:lnTo>
                    <a:lnTo>
                      <a:pt x="583" y="351"/>
                    </a:lnTo>
                    <a:lnTo>
                      <a:pt x="583" y="348"/>
                    </a:lnTo>
                    <a:lnTo>
                      <a:pt x="583" y="347"/>
                    </a:lnTo>
                    <a:lnTo>
                      <a:pt x="584" y="347"/>
                    </a:lnTo>
                    <a:lnTo>
                      <a:pt x="584" y="346"/>
                    </a:lnTo>
                    <a:lnTo>
                      <a:pt x="584" y="345"/>
                    </a:lnTo>
                    <a:lnTo>
                      <a:pt x="585" y="345"/>
                    </a:lnTo>
                    <a:lnTo>
                      <a:pt x="585" y="344"/>
                    </a:lnTo>
                    <a:lnTo>
                      <a:pt x="585" y="342"/>
                    </a:lnTo>
                    <a:lnTo>
                      <a:pt x="585" y="340"/>
                    </a:lnTo>
                    <a:lnTo>
                      <a:pt x="586" y="340"/>
                    </a:lnTo>
                    <a:lnTo>
                      <a:pt x="586" y="339"/>
                    </a:lnTo>
                    <a:lnTo>
                      <a:pt x="587" y="338"/>
                    </a:lnTo>
                    <a:lnTo>
                      <a:pt x="586" y="338"/>
                    </a:lnTo>
                    <a:lnTo>
                      <a:pt x="586" y="337"/>
                    </a:lnTo>
                    <a:lnTo>
                      <a:pt x="585" y="336"/>
                    </a:lnTo>
                    <a:lnTo>
                      <a:pt x="585" y="335"/>
                    </a:lnTo>
                    <a:lnTo>
                      <a:pt x="584" y="334"/>
                    </a:lnTo>
                    <a:lnTo>
                      <a:pt x="584" y="333"/>
                    </a:lnTo>
                    <a:lnTo>
                      <a:pt x="584" y="332"/>
                    </a:lnTo>
                    <a:lnTo>
                      <a:pt x="584" y="331"/>
                    </a:lnTo>
                    <a:lnTo>
                      <a:pt x="584" y="329"/>
                    </a:lnTo>
                    <a:lnTo>
                      <a:pt x="584" y="328"/>
                    </a:lnTo>
                    <a:lnTo>
                      <a:pt x="583" y="328"/>
                    </a:lnTo>
                    <a:lnTo>
                      <a:pt x="582" y="328"/>
                    </a:lnTo>
                    <a:lnTo>
                      <a:pt x="581" y="328"/>
                    </a:lnTo>
                    <a:lnTo>
                      <a:pt x="580" y="328"/>
                    </a:lnTo>
                    <a:lnTo>
                      <a:pt x="580" y="327"/>
                    </a:lnTo>
                    <a:lnTo>
                      <a:pt x="578" y="327"/>
                    </a:lnTo>
                    <a:lnTo>
                      <a:pt x="577" y="327"/>
                    </a:lnTo>
                    <a:lnTo>
                      <a:pt x="577" y="326"/>
                    </a:lnTo>
                    <a:lnTo>
                      <a:pt x="576" y="326"/>
                    </a:lnTo>
                    <a:lnTo>
                      <a:pt x="575" y="325"/>
                    </a:lnTo>
                    <a:lnTo>
                      <a:pt x="575" y="324"/>
                    </a:lnTo>
                    <a:lnTo>
                      <a:pt x="575" y="323"/>
                    </a:lnTo>
                    <a:lnTo>
                      <a:pt x="574" y="323"/>
                    </a:lnTo>
                    <a:lnTo>
                      <a:pt x="573" y="323"/>
                    </a:lnTo>
                    <a:lnTo>
                      <a:pt x="572" y="323"/>
                    </a:lnTo>
                    <a:lnTo>
                      <a:pt x="572" y="322"/>
                    </a:lnTo>
                    <a:lnTo>
                      <a:pt x="572" y="321"/>
                    </a:lnTo>
                    <a:lnTo>
                      <a:pt x="572" y="320"/>
                    </a:lnTo>
                    <a:lnTo>
                      <a:pt x="571" y="320"/>
                    </a:lnTo>
                    <a:lnTo>
                      <a:pt x="570" y="320"/>
                    </a:lnTo>
                    <a:lnTo>
                      <a:pt x="569" y="319"/>
                    </a:lnTo>
                    <a:lnTo>
                      <a:pt x="568" y="319"/>
                    </a:lnTo>
                    <a:lnTo>
                      <a:pt x="568" y="317"/>
                    </a:lnTo>
                    <a:lnTo>
                      <a:pt x="567" y="317"/>
                    </a:lnTo>
                    <a:lnTo>
                      <a:pt x="567" y="319"/>
                    </a:lnTo>
                    <a:lnTo>
                      <a:pt x="567" y="317"/>
                    </a:lnTo>
                    <a:lnTo>
                      <a:pt x="567" y="315"/>
                    </a:lnTo>
                    <a:lnTo>
                      <a:pt x="565" y="314"/>
                    </a:lnTo>
                    <a:lnTo>
                      <a:pt x="565" y="313"/>
                    </a:lnTo>
                    <a:lnTo>
                      <a:pt x="567" y="312"/>
                    </a:lnTo>
                    <a:lnTo>
                      <a:pt x="565" y="312"/>
                    </a:lnTo>
                    <a:lnTo>
                      <a:pt x="564" y="312"/>
                    </a:lnTo>
                    <a:lnTo>
                      <a:pt x="564" y="311"/>
                    </a:lnTo>
                    <a:lnTo>
                      <a:pt x="564" y="310"/>
                    </a:lnTo>
                    <a:lnTo>
                      <a:pt x="564" y="309"/>
                    </a:lnTo>
                    <a:lnTo>
                      <a:pt x="564" y="308"/>
                    </a:lnTo>
                    <a:lnTo>
                      <a:pt x="564" y="309"/>
                    </a:lnTo>
                    <a:lnTo>
                      <a:pt x="563" y="309"/>
                    </a:lnTo>
                    <a:lnTo>
                      <a:pt x="563" y="308"/>
                    </a:lnTo>
                    <a:lnTo>
                      <a:pt x="563" y="306"/>
                    </a:lnTo>
                    <a:lnTo>
                      <a:pt x="564" y="304"/>
                    </a:lnTo>
                    <a:lnTo>
                      <a:pt x="564" y="303"/>
                    </a:lnTo>
                    <a:lnTo>
                      <a:pt x="564" y="302"/>
                    </a:lnTo>
                    <a:lnTo>
                      <a:pt x="563" y="302"/>
                    </a:lnTo>
                    <a:lnTo>
                      <a:pt x="562" y="303"/>
                    </a:lnTo>
                    <a:lnTo>
                      <a:pt x="561" y="303"/>
                    </a:lnTo>
                    <a:lnTo>
                      <a:pt x="561" y="302"/>
                    </a:lnTo>
                    <a:lnTo>
                      <a:pt x="560" y="302"/>
                    </a:lnTo>
                    <a:lnTo>
                      <a:pt x="559" y="302"/>
                    </a:lnTo>
                    <a:lnTo>
                      <a:pt x="558" y="302"/>
                    </a:lnTo>
                    <a:lnTo>
                      <a:pt x="557" y="302"/>
                    </a:lnTo>
                    <a:lnTo>
                      <a:pt x="556" y="302"/>
                    </a:lnTo>
                    <a:lnTo>
                      <a:pt x="555" y="301"/>
                    </a:lnTo>
                    <a:lnTo>
                      <a:pt x="555" y="300"/>
                    </a:lnTo>
                    <a:lnTo>
                      <a:pt x="554" y="300"/>
                    </a:lnTo>
                    <a:lnTo>
                      <a:pt x="552" y="301"/>
                    </a:lnTo>
                    <a:lnTo>
                      <a:pt x="552" y="302"/>
                    </a:lnTo>
                    <a:lnTo>
                      <a:pt x="552" y="303"/>
                    </a:lnTo>
                    <a:lnTo>
                      <a:pt x="554" y="303"/>
                    </a:lnTo>
                    <a:lnTo>
                      <a:pt x="552" y="303"/>
                    </a:lnTo>
                    <a:lnTo>
                      <a:pt x="551" y="304"/>
                    </a:lnTo>
                    <a:lnTo>
                      <a:pt x="550" y="306"/>
                    </a:lnTo>
                    <a:lnTo>
                      <a:pt x="549" y="306"/>
                    </a:lnTo>
                    <a:lnTo>
                      <a:pt x="548" y="307"/>
                    </a:lnTo>
                    <a:lnTo>
                      <a:pt x="547" y="307"/>
                    </a:lnTo>
                    <a:lnTo>
                      <a:pt x="547" y="308"/>
                    </a:lnTo>
                    <a:lnTo>
                      <a:pt x="547" y="309"/>
                    </a:lnTo>
                    <a:lnTo>
                      <a:pt x="546" y="309"/>
                    </a:lnTo>
                    <a:lnTo>
                      <a:pt x="546" y="310"/>
                    </a:lnTo>
                    <a:lnTo>
                      <a:pt x="545" y="310"/>
                    </a:lnTo>
                    <a:lnTo>
                      <a:pt x="545" y="311"/>
                    </a:lnTo>
                    <a:lnTo>
                      <a:pt x="546" y="311"/>
                    </a:lnTo>
                    <a:lnTo>
                      <a:pt x="547" y="312"/>
                    </a:lnTo>
                    <a:lnTo>
                      <a:pt x="547" y="313"/>
                    </a:lnTo>
                    <a:lnTo>
                      <a:pt x="547" y="314"/>
                    </a:lnTo>
                    <a:lnTo>
                      <a:pt x="548" y="315"/>
                    </a:lnTo>
                    <a:lnTo>
                      <a:pt x="548" y="316"/>
                    </a:lnTo>
                    <a:lnTo>
                      <a:pt x="549" y="316"/>
                    </a:lnTo>
                    <a:lnTo>
                      <a:pt x="549" y="317"/>
                    </a:lnTo>
                    <a:lnTo>
                      <a:pt x="550" y="317"/>
                    </a:lnTo>
                    <a:lnTo>
                      <a:pt x="551" y="319"/>
                    </a:lnTo>
                    <a:lnTo>
                      <a:pt x="551" y="320"/>
                    </a:lnTo>
                    <a:lnTo>
                      <a:pt x="551" y="321"/>
                    </a:lnTo>
                    <a:lnTo>
                      <a:pt x="550" y="321"/>
                    </a:lnTo>
                    <a:lnTo>
                      <a:pt x="550" y="322"/>
                    </a:lnTo>
                    <a:lnTo>
                      <a:pt x="549" y="323"/>
                    </a:lnTo>
                    <a:lnTo>
                      <a:pt x="550" y="323"/>
                    </a:lnTo>
                    <a:lnTo>
                      <a:pt x="549" y="324"/>
                    </a:lnTo>
                    <a:lnTo>
                      <a:pt x="548" y="324"/>
                    </a:lnTo>
                    <a:lnTo>
                      <a:pt x="548" y="325"/>
                    </a:lnTo>
                    <a:lnTo>
                      <a:pt x="548" y="326"/>
                    </a:lnTo>
                    <a:lnTo>
                      <a:pt x="547" y="326"/>
                    </a:lnTo>
                    <a:lnTo>
                      <a:pt x="546" y="327"/>
                    </a:lnTo>
                    <a:lnTo>
                      <a:pt x="545" y="327"/>
                    </a:lnTo>
                    <a:lnTo>
                      <a:pt x="545" y="328"/>
                    </a:lnTo>
                    <a:lnTo>
                      <a:pt x="544" y="329"/>
                    </a:lnTo>
                    <a:lnTo>
                      <a:pt x="543" y="329"/>
                    </a:lnTo>
                    <a:lnTo>
                      <a:pt x="543" y="331"/>
                    </a:lnTo>
                    <a:lnTo>
                      <a:pt x="542" y="331"/>
                    </a:lnTo>
                    <a:lnTo>
                      <a:pt x="542" y="332"/>
                    </a:lnTo>
                    <a:lnTo>
                      <a:pt x="542" y="333"/>
                    </a:lnTo>
                    <a:lnTo>
                      <a:pt x="542" y="334"/>
                    </a:lnTo>
                    <a:lnTo>
                      <a:pt x="542" y="335"/>
                    </a:lnTo>
                    <a:lnTo>
                      <a:pt x="541" y="336"/>
                    </a:lnTo>
                    <a:lnTo>
                      <a:pt x="539" y="337"/>
                    </a:lnTo>
                    <a:lnTo>
                      <a:pt x="539" y="338"/>
                    </a:lnTo>
                    <a:lnTo>
                      <a:pt x="538" y="338"/>
                    </a:lnTo>
                    <a:lnTo>
                      <a:pt x="537" y="338"/>
                    </a:lnTo>
                    <a:lnTo>
                      <a:pt x="537" y="339"/>
                    </a:lnTo>
                    <a:lnTo>
                      <a:pt x="536" y="339"/>
                    </a:lnTo>
                    <a:lnTo>
                      <a:pt x="535" y="340"/>
                    </a:lnTo>
                    <a:lnTo>
                      <a:pt x="534" y="341"/>
                    </a:lnTo>
                    <a:lnTo>
                      <a:pt x="534" y="342"/>
                    </a:lnTo>
                    <a:lnTo>
                      <a:pt x="533" y="342"/>
                    </a:lnTo>
                    <a:lnTo>
                      <a:pt x="533" y="341"/>
                    </a:lnTo>
                    <a:lnTo>
                      <a:pt x="533" y="340"/>
                    </a:lnTo>
                    <a:lnTo>
                      <a:pt x="532" y="339"/>
                    </a:lnTo>
                    <a:lnTo>
                      <a:pt x="532" y="338"/>
                    </a:lnTo>
                    <a:lnTo>
                      <a:pt x="531" y="338"/>
                    </a:lnTo>
                    <a:lnTo>
                      <a:pt x="531" y="339"/>
                    </a:lnTo>
                    <a:lnTo>
                      <a:pt x="531" y="340"/>
                    </a:lnTo>
                    <a:lnTo>
                      <a:pt x="530" y="340"/>
                    </a:lnTo>
                    <a:lnTo>
                      <a:pt x="530" y="341"/>
                    </a:lnTo>
                    <a:lnTo>
                      <a:pt x="530" y="340"/>
                    </a:lnTo>
                    <a:lnTo>
                      <a:pt x="529" y="340"/>
                    </a:lnTo>
                    <a:lnTo>
                      <a:pt x="529" y="339"/>
                    </a:lnTo>
                    <a:lnTo>
                      <a:pt x="528" y="339"/>
                    </a:lnTo>
                    <a:lnTo>
                      <a:pt x="528" y="340"/>
                    </a:lnTo>
                    <a:lnTo>
                      <a:pt x="526" y="339"/>
                    </a:lnTo>
                    <a:lnTo>
                      <a:pt x="525" y="339"/>
                    </a:lnTo>
                    <a:lnTo>
                      <a:pt x="524" y="339"/>
                    </a:lnTo>
                    <a:lnTo>
                      <a:pt x="524" y="338"/>
                    </a:lnTo>
                    <a:lnTo>
                      <a:pt x="523" y="338"/>
                    </a:lnTo>
                    <a:lnTo>
                      <a:pt x="521" y="337"/>
                    </a:lnTo>
                    <a:lnTo>
                      <a:pt x="521" y="336"/>
                    </a:lnTo>
                    <a:lnTo>
                      <a:pt x="520" y="336"/>
                    </a:lnTo>
                    <a:lnTo>
                      <a:pt x="520" y="335"/>
                    </a:lnTo>
                    <a:lnTo>
                      <a:pt x="520" y="334"/>
                    </a:lnTo>
                    <a:lnTo>
                      <a:pt x="520" y="333"/>
                    </a:lnTo>
                    <a:lnTo>
                      <a:pt x="519" y="333"/>
                    </a:lnTo>
                    <a:lnTo>
                      <a:pt x="518" y="333"/>
                    </a:lnTo>
                    <a:lnTo>
                      <a:pt x="517" y="333"/>
                    </a:lnTo>
                    <a:lnTo>
                      <a:pt x="516" y="333"/>
                    </a:lnTo>
                    <a:lnTo>
                      <a:pt x="515" y="333"/>
                    </a:lnTo>
                    <a:lnTo>
                      <a:pt x="515" y="334"/>
                    </a:lnTo>
                    <a:lnTo>
                      <a:pt x="515" y="335"/>
                    </a:lnTo>
                    <a:lnTo>
                      <a:pt x="513" y="335"/>
                    </a:lnTo>
                    <a:lnTo>
                      <a:pt x="513" y="336"/>
                    </a:lnTo>
                    <a:lnTo>
                      <a:pt x="512" y="336"/>
                    </a:lnTo>
                    <a:lnTo>
                      <a:pt x="511" y="335"/>
                    </a:lnTo>
                    <a:lnTo>
                      <a:pt x="510" y="335"/>
                    </a:lnTo>
                    <a:lnTo>
                      <a:pt x="509" y="335"/>
                    </a:lnTo>
                    <a:lnTo>
                      <a:pt x="508" y="335"/>
                    </a:lnTo>
                    <a:lnTo>
                      <a:pt x="507" y="335"/>
                    </a:lnTo>
                    <a:lnTo>
                      <a:pt x="507" y="334"/>
                    </a:lnTo>
                    <a:lnTo>
                      <a:pt x="506" y="333"/>
                    </a:lnTo>
                    <a:lnTo>
                      <a:pt x="505" y="333"/>
                    </a:lnTo>
                    <a:lnTo>
                      <a:pt x="504" y="333"/>
                    </a:lnTo>
                    <a:lnTo>
                      <a:pt x="503" y="334"/>
                    </a:lnTo>
                    <a:lnTo>
                      <a:pt x="502" y="334"/>
                    </a:lnTo>
                    <a:lnTo>
                      <a:pt x="502" y="335"/>
                    </a:lnTo>
                    <a:lnTo>
                      <a:pt x="500" y="335"/>
                    </a:lnTo>
                    <a:lnTo>
                      <a:pt x="500" y="334"/>
                    </a:lnTo>
                    <a:lnTo>
                      <a:pt x="499" y="334"/>
                    </a:lnTo>
                    <a:lnTo>
                      <a:pt x="498" y="334"/>
                    </a:lnTo>
                    <a:lnTo>
                      <a:pt x="498" y="333"/>
                    </a:lnTo>
                    <a:lnTo>
                      <a:pt x="498" y="332"/>
                    </a:lnTo>
                    <a:lnTo>
                      <a:pt x="497" y="332"/>
                    </a:lnTo>
                    <a:lnTo>
                      <a:pt x="497" y="331"/>
                    </a:lnTo>
                    <a:lnTo>
                      <a:pt x="497" y="329"/>
                    </a:lnTo>
                    <a:lnTo>
                      <a:pt x="496" y="331"/>
                    </a:lnTo>
                    <a:lnTo>
                      <a:pt x="496" y="332"/>
                    </a:lnTo>
                    <a:lnTo>
                      <a:pt x="495" y="332"/>
                    </a:lnTo>
                    <a:lnTo>
                      <a:pt x="495" y="331"/>
                    </a:lnTo>
                    <a:lnTo>
                      <a:pt x="496" y="331"/>
                    </a:lnTo>
                    <a:lnTo>
                      <a:pt x="496" y="329"/>
                    </a:lnTo>
                    <a:lnTo>
                      <a:pt x="495" y="328"/>
                    </a:lnTo>
                    <a:lnTo>
                      <a:pt x="495" y="327"/>
                    </a:lnTo>
                    <a:lnTo>
                      <a:pt x="495" y="326"/>
                    </a:lnTo>
                    <a:lnTo>
                      <a:pt x="495" y="325"/>
                    </a:lnTo>
                    <a:lnTo>
                      <a:pt x="494" y="325"/>
                    </a:lnTo>
                    <a:lnTo>
                      <a:pt x="493" y="325"/>
                    </a:lnTo>
                    <a:lnTo>
                      <a:pt x="492" y="325"/>
                    </a:lnTo>
                    <a:lnTo>
                      <a:pt x="492" y="324"/>
                    </a:lnTo>
                    <a:lnTo>
                      <a:pt x="491" y="325"/>
                    </a:lnTo>
                    <a:lnTo>
                      <a:pt x="490" y="325"/>
                    </a:lnTo>
                    <a:lnTo>
                      <a:pt x="488" y="325"/>
                    </a:lnTo>
                    <a:lnTo>
                      <a:pt x="487" y="325"/>
                    </a:lnTo>
                    <a:lnTo>
                      <a:pt x="487" y="326"/>
                    </a:lnTo>
                    <a:lnTo>
                      <a:pt x="487" y="327"/>
                    </a:lnTo>
                    <a:lnTo>
                      <a:pt x="486" y="327"/>
                    </a:lnTo>
                    <a:lnTo>
                      <a:pt x="486" y="328"/>
                    </a:lnTo>
                    <a:lnTo>
                      <a:pt x="486" y="329"/>
                    </a:lnTo>
                    <a:lnTo>
                      <a:pt x="485" y="329"/>
                    </a:lnTo>
                    <a:lnTo>
                      <a:pt x="484" y="329"/>
                    </a:lnTo>
                    <a:lnTo>
                      <a:pt x="484" y="331"/>
                    </a:lnTo>
                    <a:lnTo>
                      <a:pt x="483" y="331"/>
                    </a:lnTo>
                    <a:lnTo>
                      <a:pt x="484" y="331"/>
                    </a:lnTo>
                    <a:lnTo>
                      <a:pt x="484" y="332"/>
                    </a:lnTo>
                    <a:lnTo>
                      <a:pt x="485" y="333"/>
                    </a:lnTo>
                    <a:lnTo>
                      <a:pt x="484" y="333"/>
                    </a:lnTo>
                    <a:lnTo>
                      <a:pt x="484" y="334"/>
                    </a:lnTo>
                    <a:lnTo>
                      <a:pt x="484" y="333"/>
                    </a:lnTo>
                    <a:lnTo>
                      <a:pt x="483" y="333"/>
                    </a:lnTo>
                    <a:lnTo>
                      <a:pt x="484" y="333"/>
                    </a:lnTo>
                    <a:lnTo>
                      <a:pt x="484" y="332"/>
                    </a:lnTo>
                    <a:lnTo>
                      <a:pt x="483" y="332"/>
                    </a:lnTo>
                    <a:lnTo>
                      <a:pt x="483" y="331"/>
                    </a:lnTo>
                    <a:lnTo>
                      <a:pt x="482" y="331"/>
                    </a:lnTo>
                    <a:lnTo>
                      <a:pt x="483" y="329"/>
                    </a:lnTo>
                    <a:lnTo>
                      <a:pt x="482" y="329"/>
                    </a:lnTo>
                    <a:lnTo>
                      <a:pt x="481" y="329"/>
                    </a:lnTo>
                    <a:lnTo>
                      <a:pt x="481" y="328"/>
                    </a:lnTo>
                    <a:lnTo>
                      <a:pt x="480" y="328"/>
                    </a:lnTo>
                    <a:lnTo>
                      <a:pt x="480" y="327"/>
                    </a:lnTo>
                    <a:lnTo>
                      <a:pt x="479" y="327"/>
                    </a:lnTo>
                    <a:lnTo>
                      <a:pt x="478" y="327"/>
                    </a:lnTo>
                    <a:lnTo>
                      <a:pt x="477" y="326"/>
                    </a:lnTo>
                    <a:lnTo>
                      <a:pt x="475" y="326"/>
                    </a:lnTo>
                    <a:lnTo>
                      <a:pt x="474" y="327"/>
                    </a:lnTo>
                    <a:lnTo>
                      <a:pt x="473" y="327"/>
                    </a:lnTo>
                    <a:lnTo>
                      <a:pt x="472" y="328"/>
                    </a:lnTo>
                    <a:lnTo>
                      <a:pt x="471" y="328"/>
                    </a:lnTo>
                    <a:lnTo>
                      <a:pt x="471" y="327"/>
                    </a:lnTo>
                    <a:lnTo>
                      <a:pt x="470" y="328"/>
                    </a:lnTo>
                    <a:lnTo>
                      <a:pt x="469" y="328"/>
                    </a:lnTo>
                    <a:lnTo>
                      <a:pt x="469" y="327"/>
                    </a:lnTo>
                    <a:lnTo>
                      <a:pt x="469" y="326"/>
                    </a:lnTo>
                    <a:lnTo>
                      <a:pt x="468" y="326"/>
                    </a:lnTo>
                    <a:lnTo>
                      <a:pt x="468" y="325"/>
                    </a:lnTo>
                    <a:lnTo>
                      <a:pt x="467" y="326"/>
                    </a:lnTo>
                    <a:lnTo>
                      <a:pt x="467" y="327"/>
                    </a:lnTo>
                    <a:lnTo>
                      <a:pt x="466" y="327"/>
                    </a:lnTo>
                    <a:lnTo>
                      <a:pt x="466" y="329"/>
                    </a:lnTo>
                    <a:lnTo>
                      <a:pt x="467" y="329"/>
                    </a:lnTo>
                    <a:lnTo>
                      <a:pt x="466" y="331"/>
                    </a:lnTo>
                    <a:lnTo>
                      <a:pt x="467" y="331"/>
                    </a:lnTo>
                    <a:lnTo>
                      <a:pt x="466" y="332"/>
                    </a:lnTo>
                    <a:lnTo>
                      <a:pt x="465" y="332"/>
                    </a:lnTo>
                    <a:lnTo>
                      <a:pt x="464" y="331"/>
                    </a:lnTo>
                    <a:lnTo>
                      <a:pt x="464" y="332"/>
                    </a:lnTo>
                    <a:lnTo>
                      <a:pt x="462" y="332"/>
                    </a:lnTo>
                    <a:lnTo>
                      <a:pt x="462" y="331"/>
                    </a:lnTo>
                    <a:lnTo>
                      <a:pt x="461" y="331"/>
                    </a:lnTo>
                    <a:lnTo>
                      <a:pt x="461" y="329"/>
                    </a:lnTo>
                    <a:lnTo>
                      <a:pt x="460" y="329"/>
                    </a:lnTo>
                    <a:lnTo>
                      <a:pt x="459" y="331"/>
                    </a:lnTo>
                    <a:lnTo>
                      <a:pt x="459" y="332"/>
                    </a:lnTo>
                    <a:lnTo>
                      <a:pt x="458" y="333"/>
                    </a:lnTo>
                    <a:lnTo>
                      <a:pt x="459" y="333"/>
                    </a:lnTo>
                    <a:lnTo>
                      <a:pt x="460" y="333"/>
                    </a:lnTo>
                    <a:lnTo>
                      <a:pt x="460" y="334"/>
                    </a:lnTo>
                    <a:lnTo>
                      <a:pt x="460" y="335"/>
                    </a:lnTo>
                    <a:lnTo>
                      <a:pt x="460" y="336"/>
                    </a:lnTo>
                    <a:lnTo>
                      <a:pt x="460" y="337"/>
                    </a:lnTo>
                    <a:lnTo>
                      <a:pt x="460" y="338"/>
                    </a:lnTo>
                    <a:lnTo>
                      <a:pt x="459" y="338"/>
                    </a:lnTo>
                    <a:lnTo>
                      <a:pt x="459" y="337"/>
                    </a:lnTo>
                    <a:lnTo>
                      <a:pt x="458" y="337"/>
                    </a:lnTo>
                    <a:lnTo>
                      <a:pt x="458" y="336"/>
                    </a:lnTo>
                    <a:lnTo>
                      <a:pt x="457" y="336"/>
                    </a:lnTo>
                    <a:lnTo>
                      <a:pt x="456" y="336"/>
                    </a:lnTo>
                    <a:lnTo>
                      <a:pt x="455" y="337"/>
                    </a:lnTo>
                    <a:lnTo>
                      <a:pt x="455" y="336"/>
                    </a:lnTo>
                    <a:lnTo>
                      <a:pt x="454" y="335"/>
                    </a:lnTo>
                    <a:lnTo>
                      <a:pt x="453" y="335"/>
                    </a:lnTo>
                    <a:lnTo>
                      <a:pt x="453" y="336"/>
                    </a:lnTo>
                    <a:lnTo>
                      <a:pt x="452" y="336"/>
                    </a:lnTo>
                    <a:lnTo>
                      <a:pt x="452" y="337"/>
                    </a:lnTo>
                    <a:lnTo>
                      <a:pt x="452" y="338"/>
                    </a:lnTo>
                    <a:lnTo>
                      <a:pt x="452" y="339"/>
                    </a:lnTo>
                    <a:lnTo>
                      <a:pt x="451" y="340"/>
                    </a:lnTo>
                    <a:lnTo>
                      <a:pt x="451" y="339"/>
                    </a:lnTo>
                    <a:lnTo>
                      <a:pt x="449" y="339"/>
                    </a:lnTo>
                    <a:lnTo>
                      <a:pt x="448" y="338"/>
                    </a:lnTo>
                    <a:lnTo>
                      <a:pt x="448" y="339"/>
                    </a:lnTo>
                    <a:lnTo>
                      <a:pt x="447" y="339"/>
                    </a:lnTo>
                    <a:lnTo>
                      <a:pt x="448" y="340"/>
                    </a:lnTo>
                    <a:lnTo>
                      <a:pt x="449" y="340"/>
                    </a:lnTo>
                    <a:lnTo>
                      <a:pt x="449" y="341"/>
                    </a:lnTo>
                    <a:lnTo>
                      <a:pt x="451" y="341"/>
                    </a:lnTo>
                    <a:lnTo>
                      <a:pt x="451" y="342"/>
                    </a:lnTo>
                    <a:lnTo>
                      <a:pt x="449" y="341"/>
                    </a:lnTo>
                    <a:lnTo>
                      <a:pt x="448" y="341"/>
                    </a:lnTo>
                    <a:lnTo>
                      <a:pt x="447" y="342"/>
                    </a:lnTo>
                    <a:lnTo>
                      <a:pt x="447" y="344"/>
                    </a:lnTo>
                    <a:lnTo>
                      <a:pt x="447" y="345"/>
                    </a:lnTo>
                    <a:lnTo>
                      <a:pt x="447" y="346"/>
                    </a:lnTo>
                    <a:lnTo>
                      <a:pt x="447" y="347"/>
                    </a:lnTo>
                    <a:lnTo>
                      <a:pt x="448" y="347"/>
                    </a:lnTo>
                    <a:lnTo>
                      <a:pt x="449" y="348"/>
                    </a:lnTo>
                    <a:lnTo>
                      <a:pt x="449" y="349"/>
                    </a:lnTo>
                    <a:lnTo>
                      <a:pt x="449" y="350"/>
                    </a:lnTo>
                    <a:lnTo>
                      <a:pt x="449" y="351"/>
                    </a:lnTo>
                    <a:lnTo>
                      <a:pt x="451" y="351"/>
                    </a:lnTo>
                    <a:lnTo>
                      <a:pt x="451" y="352"/>
                    </a:lnTo>
                    <a:lnTo>
                      <a:pt x="452" y="352"/>
                    </a:lnTo>
                    <a:lnTo>
                      <a:pt x="452" y="353"/>
                    </a:lnTo>
                    <a:lnTo>
                      <a:pt x="453" y="353"/>
                    </a:lnTo>
                    <a:lnTo>
                      <a:pt x="453" y="354"/>
                    </a:lnTo>
                    <a:lnTo>
                      <a:pt x="454" y="354"/>
                    </a:lnTo>
                    <a:lnTo>
                      <a:pt x="455" y="355"/>
                    </a:lnTo>
                    <a:lnTo>
                      <a:pt x="456" y="357"/>
                    </a:lnTo>
                    <a:lnTo>
                      <a:pt x="456" y="358"/>
                    </a:lnTo>
                    <a:lnTo>
                      <a:pt x="457" y="358"/>
                    </a:lnTo>
                    <a:lnTo>
                      <a:pt x="458" y="360"/>
                    </a:lnTo>
                    <a:lnTo>
                      <a:pt x="459" y="360"/>
                    </a:lnTo>
                    <a:lnTo>
                      <a:pt x="460" y="361"/>
                    </a:lnTo>
                    <a:lnTo>
                      <a:pt x="460" y="360"/>
                    </a:lnTo>
                    <a:lnTo>
                      <a:pt x="461" y="360"/>
                    </a:lnTo>
                    <a:lnTo>
                      <a:pt x="461" y="358"/>
                    </a:lnTo>
                    <a:lnTo>
                      <a:pt x="462" y="358"/>
                    </a:lnTo>
                    <a:lnTo>
                      <a:pt x="462" y="357"/>
                    </a:lnTo>
                    <a:lnTo>
                      <a:pt x="464" y="355"/>
                    </a:lnTo>
                    <a:lnTo>
                      <a:pt x="465" y="355"/>
                    </a:lnTo>
                    <a:lnTo>
                      <a:pt x="466" y="354"/>
                    </a:lnTo>
                    <a:lnTo>
                      <a:pt x="467" y="355"/>
                    </a:lnTo>
                    <a:lnTo>
                      <a:pt x="467" y="357"/>
                    </a:lnTo>
                    <a:lnTo>
                      <a:pt x="467" y="358"/>
                    </a:lnTo>
                    <a:lnTo>
                      <a:pt x="466" y="358"/>
                    </a:lnTo>
                    <a:lnTo>
                      <a:pt x="465" y="358"/>
                    </a:lnTo>
                    <a:lnTo>
                      <a:pt x="464" y="358"/>
                    </a:lnTo>
                    <a:lnTo>
                      <a:pt x="464" y="359"/>
                    </a:lnTo>
                    <a:lnTo>
                      <a:pt x="464" y="360"/>
                    </a:lnTo>
                    <a:lnTo>
                      <a:pt x="465" y="360"/>
                    </a:lnTo>
                    <a:lnTo>
                      <a:pt x="465" y="361"/>
                    </a:lnTo>
                    <a:lnTo>
                      <a:pt x="466" y="361"/>
                    </a:lnTo>
                    <a:lnTo>
                      <a:pt x="466" y="362"/>
                    </a:lnTo>
                    <a:lnTo>
                      <a:pt x="465" y="362"/>
                    </a:lnTo>
                    <a:lnTo>
                      <a:pt x="465" y="363"/>
                    </a:lnTo>
                    <a:lnTo>
                      <a:pt x="466" y="363"/>
                    </a:lnTo>
                    <a:lnTo>
                      <a:pt x="466" y="364"/>
                    </a:lnTo>
                    <a:lnTo>
                      <a:pt x="467" y="365"/>
                    </a:lnTo>
                    <a:lnTo>
                      <a:pt x="466" y="365"/>
                    </a:lnTo>
                    <a:lnTo>
                      <a:pt x="466" y="366"/>
                    </a:lnTo>
                    <a:lnTo>
                      <a:pt x="466" y="367"/>
                    </a:lnTo>
                    <a:lnTo>
                      <a:pt x="466" y="368"/>
                    </a:lnTo>
                    <a:lnTo>
                      <a:pt x="466" y="370"/>
                    </a:lnTo>
                    <a:lnTo>
                      <a:pt x="465" y="371"/>
                    </a:lnTo>
                    <a:lnTo>
                      <a:pt x="465" y="372"/>
                    </a:lnTo>
                    <a:lnTo>
                      <a:pt x="465" y="373"/>
                    </a:lnTo>
                    <a:lnTo>
                      <a:pt x="465" y="374"/>
                    </a:lnTo>
                    <a:lnTo>
                      <a:pt x="465" y="376"/>
                    </a:lnTo>
                    <a:lnTo>
                      <a:pt x="464" y="376"/>
                    </a:lnTo>
                    <a:lnTo>
                      <a:pt x="464" y="378"/>
                    </a:lnTo>
                    <a:lnTo>
                      <a:pt x="462" y="378"/>
                    </a:lnTo>
                    <a:lnTo>
                      <a:pt x="461" y="378"/>
                    </a:lnTo>
                    <a:lnTo>
                      <a:pt x="460" y="378"/>
                    </a:lnTo>
                    <a:lnTo>
                      <a:pt x="459" y="377"/>
                    </a:lnTo>
                    <a:lnTo>
                      <a:pt x="459" y="376"/>
                    </a:lnTo>
                    <a:lnTo>
                      <a:pt x="459" y="375"/>
                    </a:lnTo>
                    <a:lnTo>
                      <a:pt x="458" y="375"/>
                    </a:lnTo>
                    <a:lnTo>
                      <a:pt x="458" y="374"/>
                    </a:lnTo>
                    <a:lnTo>
                      <a:pt x="457" y="374"/>
                    </a:lnTo>
                    <a:lnTo>
                      <a:pt x="457" y="373"/>
                    </a:lnTo>
                    <a:lnTo>
                      <a:pt x="456" y="372"/>
                    </a:lnTo>
                    <a:lnTo>
                      <a:pt x="455" y="372"/>
                    </a:lnTo>
                    <a:lnTo>
                      <a:pt x="454" y="372"/>
                    </a:lnTo>
                    <a:lnTo>
                      <a:pt x="454" y="371"/>
                    </a:lnTo>
                    <a:lnTo>
                      <a:pt x="454" y="370"/>
                    </a:lnTo>
                    <a:lnTo>
                      <a:pt x="454" y="368"/>
                    </a:lnTo>
                    <a:lnTo>
                      <a:pt x="453" y="368"/>
                    </a:lnTo>
                    <a:lnTo>
                      <a:pt x="452" y="367"/>
                    </a:lnTo>
                    <a:lnTo>
                      <a:pt x="451" y="367"/>
                    </a:lnTo>
                    <a:lnTo>
                      <a:pt x="449" y="367"/>
                    </a:lnTo>
                    <a:lnTo>
                      <a:pt x="448" y="367"/>
                    </a:lnTo>
                    <a:lnTo>
                      <a:pt x="447" y="367"/>
                    </a:lnTo>
                    <a:lnTo>
                      <a:pt x="445" y="366"/>
                    </a:lnTo>
                    <a:lnTo>
                      <a:pt x="443" y="366"/>
                    </a:lnTo>
                    <a:lnTo>
                      <a:pt x="442" y="366"/>
                    </a:lnTo>
                    <a:lnTo>
                      <a:pt x="442" y="367"/>
                    </a:lnTo>
                    <a:lnTo>
                      <a:pt x="441" y="367"/>
                    </a:lnTo>
                    <a:lnTo>
                      <a:pt x="441" y="368"/>
                    </a:lnTo>
                    <a:lnTo>
                      <a:pt x="441" y="370"/>
                    </a:lnTo>
                    <a:lnTo>
                      <a:pt x="440" y="371"/>
                    </a:lnTo>
                    <a:lnTo>
                      <a:pt x="440" y="372"/>
                    </a:lnTo>
                    <a:lnTo>
                      <a:pt x="441" y="373"/>
                    </a:lnTo>
                    <a:lnTo>
                      <a:pt x="442" y="374"/>
                    </a:lnTo>
                    <a:lnTo>
                      <a:pt x="442" y="375"/>
                    </a:lnTo>
                    <a:lnTo>
                      <a:pt x="443" y="375"/>
                    </a:lnTo>
                    <a:lnTo>
                      <a:pt x="443" y="376"/>
                    </a:lnTo>
                    <a:lnTo>
                      <a:pt x="443" y="377"/>
                    </a:lnTo>
                    <a:lnTo>
                      <a:pt x="444" y="377"/>
                    </a:lnTo>
                    <a:lnTo>
                      <a:pt x="444" y="378"/>
                    </a:lnTo>
                    <a:lnTo>
                      <a:pt x="445" y="379"/>
                    </a:lnTo>
                    <a:lnTo>
                      <a:pt x="445" y="380"/>
                    </a:lnTo>
                    <a:lnTo>
                      <a:pt x="446" y="380"/>
                    </a:lnTo>
                    <a:lnTo>
                      <a:pt x="447" y="380"/>
                    </a:lnTo>
                    <a:lnTo>
                      <a:pt x="447" y="379"/>
                    </a:lnTo>
                    <a:lnTo>
                      <a:pt x="448" y="379"/>
                    </a:lnTo>
                    <a:lnTo>
                      <a:pt x="449" y="380"/>
                    </a:lnTo>
                    <a:lnTo>
                      <a:pt x="448" y="380"/>
                    </a:lnTo>
                    <a:lnTo>
                      <a:pt x="448" y="381"/>
                    </a:lnTo>
                    <a:lnTo>
                      <a:pt x="448" y="383"/>
                    </a:lnTo>
                    <a:lnTo>
                      <a:pt x="449" y="384"/>
                    </a:lnTo>
                    <a:lnTo>
                      <a:pt x="452" y="385"/>
                    </a:lnTo>
                    <a:lnTo>
                      <a:pt x="453" y="386"/>
                    </a:lnTo>
                    <a:lnTo>
                      <a:pt x="453" y="387"/>
                    </a:lnTo>
                    <a:lnTo>
                      <a:pt x="454" y="387"/>
                    </a:lnTo>
                    <a:lnTo>
                      <a:pt x="455" y="388"/>
                    </a:lnTo>
                    <a:lnTo>
                      <a:pt x="456" y="389"/>
                    </a:lnTo>
                    <a:lnTo>
                      <a:pt x="456" y="390"/>
                    </a:lnTo>
                    <a:lnTo>
                      <a:pt x="455" y="390"/>
                    </a:lnTo>
                    <a:lnTo>
                      <a:pt x="454" y="390"/>
                    </a:lnTo>
                    <a:lnTo>
                      <a:pt x="454" y="389"/>
                    </a:lnTo>
                    <a:lnTo>
                      <a:pt x="454" y="388"/>
                    </a:lnTo>
                    <a:lnTo>
                      <a:pt x="453" y="388"/>
                    </a:lnTo>
                    <a:lnTo>
                      <a:pt x="452" y="387"/>
                    </a:lnTo>
                    <a:lnTo>
                      <a:pt x="451" y="387"/>
                    </a:lnTo>
                    <a:lnTo>
                      <a:pt x="451" y="388"/>
                    </a:lnTo>
                    <a:lnTo>
                      <a:pt x="451" y="389"/>
                    </a:lnTo>
                    <a:lnTo>
                      <a:pt x="451" y="390"/>
                    </a:lnTo>
                    <a:lnTo>
                      <a:pt x="452" y="391"/>
                    </a:lnTo>
                    <a:lnTo>
                      <a:pt x="452" y="392"/>
                    </a:lnTo>
                    <a:lnTo>
                      <a:pt x="453" y="393"/>
                    </a:lnTo>
                    <a:lnTo>
                      <a:pt x="453" y="394"/>
                    </a:lnTo>
                    <a:lnTo>
                      <a:pt x="453" y="396"/>
                    </a:lnTo>
                    <a:lnTo>
                      <a:pt x="453" y="397"/>
                    </a:lnTo>
                    <a:lnTo>
                      <a:pt x="452" y="397"/>
                    </a:lnTo>
                    <a:lnTo>
                      <a:pt x="452" y="396"/>
                    </a:lnTo>
                    <a:lnTo>
                      <a:pt x="452" y="393"/>
                    </a:lnTo>
                    <a:lnTo>
                      <a:pt x="451" y="391"/>
                    </a:lnTo>
                    <a:lnTo>
                      <a:pt x="449" y="391"/>
                    </a:lnTo>
                    <a:lnTo>
                      <a:pt x="449" y="390"/>
                    </a:lnTo>
                    <a:lnTo>
                      <a:pt x="448" y="389"/>
                    </a:lnTo>
                    <a:lnTo>
                      <a:pt x="448" y="387"/>
                    </a:lnTo>
                    <a:lnTo>
                      <a:pt x="447" y="387"/>
                    </a:lnTo>
                    <a:lnTo>
                      <a:pt x="447" y="386"/>
                    </a:lnTo>
                    <a:lnTo>
                      <a:pt x="447" y="385"/>
                    </a:lnTo>
                    <a:lnTo>
                      <a:pt x="446" y="384"/>
                    </a:lnTo>
                    <a:lnTo>
                      <a:pt x="445" y="383"/>
                    </a:lnTo>
                    <a:lnTo>
                      <a:pt x="445" y="381"/>
                    </a:lnTo>
                    <a:lnTo>
                      <a:pt x="444" y="381"/>
                    </a:lnTo>
                    <a:lnTo>
                      <a:pt x="444" y="380"/>
                    </a:lnTo>
                    <a:lnTo>
                      <a:pt x="443" y="380"/>
                    </a:lnTo>
                    <a:lnTo>
                      <a:pt x="443" y="379"/>
                    </a:lnTo>
                    <a:lnTo>
                      <a:pt x="442" y="378"/>
                    </a:lnTo>
                    <a:lnTo>
                      <a:pt x="441" y="377"/>
                    </a:lnTo>
                    <a:lnTo>
                      <a:pt x="441" y="376"/>
                    </a:lnTo>
                    <a:lnTo>
                      <a:pt x="440" y="375"/>
                    </a:lnTo>
                    <a:lnTo>
                      <a:pt x="439" y="375"/>
                    </a:lnTo>
                    <a:lnTo>
                      <a:pt x="439" y="374"/>
                    </a:lnTo>
                    <a:lnTo>
                      <a:pt x="438" y="374"/>
                    </a:lnTo>
                    <a:lnTo>
                      <a:pt x="438" y="375"/>
                    </a:lnTo>
                    <a:lnTo>
                      <a:pt x="436" y="375"/>
                    </a:lnTo>
                    <a:lnTo>
                      <a:pt x="436" y="376"/>
                    </a:lnTo>
                    <a:lnTo>
                      <a:pt x="435" y="376"/>
                    </a:lnTo>
                    <a:lnTo>
                      <a:pt x="434" y="376"/>
                    </a:lnTo>
                    <a:lnTo>
                      <a:pt x="434" y="377"/>
                    </a:lnTo>
                    <a:lnTo>
                      <a:pt x="434" y="378"/>
                    </a:lnTo>
                    <a:lnTo>
                      <a:pt x="435" y="379"/>
                    </a:lnTo>
                    <a:lnTo>
                      <a:pt x="435" y="380"/>
                    </a:lnTo>
                    <a:lnTo>
                      <a:pt x="436" y="380"/>
                    </a:lnTo>
                    <a:lnTo>
                      <a:pt x="436" y="381"/>
                    </a:lnTo>
                    <a:lnTo>
                      <a:pt x="438" y="381"/>
                    </a:lnTo>
                    <a:lnTo>
                      <a:pt x="439" y="381"/>
                    </a:lnTo>
                    <a:lnTo>
                      <a:pt x="439" y="383"/>
                    </a:lnTo>
                    <a:lnTo>
                      <a:pt x="438" y="383"/>
                    </a:lnTo>
                    <a:lnTo>
                      <a:pt x="438" y="384"/>
                    </a:lnTo>
                    <a:lnTo>
                      <a:pt x="436" y="385"/>
                    </a:lnTo>
                    <a:lnTo>
                      <a:pt x="436" y="386"/>
                    </a:lnTo>
                    <a:lnTo>
                      <a:pt x="436" y="387"/>
                    </a:lnTo>
                    <a:lnTo>
                      <a:pt x="436" y="388"/>
                    </a:lnTo>
                    <a:lnTo>
                      <a:pt x="436" y="389"/>
                    </a:lnTo>
                    <a:lnTo>
                      <a:pt x="435" y="389"/>
                    </a:lnTo>
                    <a:lnTo>
                      <a:pt x="435" y="390"/>
                    </a:lnTo>
                    <a:lnTo>
                      <a:pt x="435" y="391"/>
                    </a:lnTo>
                    <a:lnTo>
                      <a:pt x="435" y="390"/>
                    </a:lnTo>
                    <a:lnTo>
                      <a:pt x="435" y="389"/>
                    </a:lnTo>
                    <a:lnTo>
                      <a:pt x="434" y="389"/>
                    </a:lnTo>
                    <a:lnTo>
                      <a:pt x="434" y="388"/>
                    </a:lnTo>
                    <a:lnTo>
                      <a:pt x="434" y="387"/>
                    </a:lnTo>
                    <a:lnTo>
                      <a:pt x="435" y="387"/>
                    </a:lnTo>
                    <a:lnTo>
                      <a:pt x="435" y="386"/>
                    </a:lnTo>
                    <a:lnTo>
                      <a:pt x="435" y="385"/>
                    </a:lnTo>
                    <a:lnTo>
                      <a:pt x="435" y="384"/>
                    </a:lnTo>
                    <a:lnTo>
                      <a:pt x="435" y="383"/>
                    </a:lnTo>
                    <a:lnTo>
                      <a:pt x="434" y="383"/>
                    </a:lnTo>
                    <a:lnTo>
                      <a:pt x="434" y="381"/>
                    </a:lnTo>
                    <a:lnTo>
                      <a:pt x="433" y="381"/>
                    </a:lnTo>
                    <a:lnTo>
                      <a:pt x="433" y="380"/>
                    </a:lnTo>
                    <a:lnTo>
                      <a:pt x="432" y="380"/>
                    </a:lnTo>
                    <a:lnTo>
                      <a:pt x="432" y="383"/>
                    </a:lnTo>
                    <a:lnTo>
                      <a:pt x="431" y="383"/>
                    </a:lnTo>
                    <a:lnTo>
                      <a:pt x="430" y="383"/>
                    </a:lnTo>
                    <a:lnTo>
                      <a:pt x="429" y="383"/>
                    </a:lnTo>
                    <a:lnTo>
                      <a:pt x="429" y="384"/>
                    </a:lnTo>
                    <a:lnTo>
                      <a:pt x="428" y="384"/>
                    </a:lnTo>
                    <a:lnTo>
                      <a:pt x="428" y="385"/>
                    </a:lnTo>
                    <a:lnTo>
                      <a:pt x="427" y="385"/>
                    </a:lnTo>
                    <a:lnTo>
                      <a:pt x="426" y="385"/>
                    </a:lnTo>
                    <a:lnTo>
                      <a:pt x="425" y="385"/>
                    </a:lnTo>
                    <a:lnTo>
                      <a:pt x="425" y="386"/>
                    </a:lnTo>
                    <a:lnTo>
                      <a:pt x="423" y="386"/>
                    </a:lnTo>
                    <a:lnTo>
                      <a:pt x="423" y="387"/>
                    </a:lnTo>
                    <a:lnTo>
                      <a:pt x="422" y="387"/>
                    </a:lnTo>
                    <a:lnTo>
                      <a:pt x="422" y="388"/>
                    </a:lnTo>
                    <a:lnTo>
                      <a:pt x="422" y="389"/>
                    </a:lnTo>
                    <a:lnTo>
                      <a:pt x="422" y="388"/>
                    </a:lnTo>
                    <a:lnTo>
                      <a:pt x="421" y="388"/>
                    </a:lnTo>
                    <a:lnTo>
                      <a:pt x="421" y="387"/>
                    </a:lnTo>
                    <a:lnTo>
                      <a:pt x="420" y="386"/>
                    </a:lnTo>
                    <a:lnTo>
                      <a:pt x="420" y="385"/>
                    </a:lnTo>
                    <a:lnTo>
                      <a:pt x="419" y="384"/>
                    </a:lnTo>
                    <a:lnTo>
                      <a:pt x="418" y="385"/>
                    </a:lnTo>
                    <a:lnTo>
                      <a:pt x="417" y="385"/>
                    </a:lnTo>
                    <a:lnTo>
                      <a:pt x="417" y="386"/>
                    </a:lnTo>
                    <a:lnTo>
                      <a:pt x="417" y="387"/>
                    </a:lnTo>
                    <a:lnTo>
                      <a:pt x="417" y="389"/>
                    </a:lnTo>
                    <a:lnTo>
                      <a:pt x="418" y="390"/>
                    </a:lnTo>
                    <a:lnTo>
                      <a:pt x="418" y="391"/>
                    </a:lnTo>
                    <a:lnTo>
                      <a:pt x="418" y="392"/>
                    </a:lnTo>
                    <a:lnTo>
                      <a:pt x="418" y="393"/>
                    </a:lnTo>
                    <a:lnTo>
                      <a:pt x="418" y="394"/>
                    </a:lnTo>
                    <a:lnTo>
                      <a:pt x="418" y="396"/>
                    </a:lnTo>
                    <a:lnTo>
                      <a:pt x="419" y="398"/>
                    </a:lnTo>
                    <a:lnTo>
                      <a:pt x="419" y="399"/>
                    </a:lnTo>
                    <a:lnTo>
                      <a:pt x="419" y="400"/>
                    </a:lnTo>
                    <a:lnTo>
                      <a:pt x="419" y="401"/>
                    </a:lnTo>
                    <a:lnTo>
                      <a:pt x="419" y="402"/>
                    </a:lnTo>
                    <a:lnTo>
                      <a:pt x="418" y="402"/>
                    </a:lnTo>
                    <a:lnTo>
                      <a:pt x="418" y="403"/>
                    </a:lnTo>
                    <a:lnTo>
                      <a:pt x="417" y="403"/>
                    </a:lnTo>
                    <a:lnTo>
                      <a:pt x="416" y="403"/>
                    </a:lnTo>
                    <a:lnTo>
                      <a:pt x="416" y="402"/>
                    </a:lnTo>
                    <a:lnTo>
                      <a:pt x="415" y="401"/>
                    </a:lnTo>
                    <a:lnTo>
                      <a:pt x="414" y="401"/>
                    </a:lnTo>
                    <a:lnTo>
                      <a:pt x="414" y="402"/>
                    </a:lnTo>
                    <a:lnTo>
                      <a:pt x="414" y="401"/>
                    </a:lnTo>
                    <a:lnTo>
                      <a:pt x="413" y="401"/>
                    </a:lnTo>
                    <a:lnTo>
                      <a:pt x="413" y="400"/>
                    </a:lnTo>
                    <a:lnTo>
                      <a:pt x="413" y="399"/>
                    </a:lnTo>
                    <a:lnTo>
                      <a:pt x="412" y="399"/>
                    </a:lnTo>
                    <a:lnTo>
                      <a:pt x="412" y="398"/>
                    </a:lnTo>
                    <a:lnTo>
                      <a:pt x="412" y="397"/>
                    </a:lnTo>
                    <a:lnTo>
                      <a:pt x="412" y="396"/>
                    </a:lnTo>
                    <a:lnTo>
                      <a:pt x="412" y="394"/>
                    </a:lnTo>
                    <a:lnTo>
                      <a:pt x="410" y="394"/>
                    </a:lnTo>
                    <a:lnTo>
                      <a:pt x="410" y="393"/>
                    </a:lnTo>
                    <a:lnTo>
                      <a:pt x="410" y="392"/>
                    </a:lnTo>
                    <a:lnTo>
                      <a:pt x="410" y="391"/>
                    </a:lnTo>
                    <a:lnTo>
                      <a:pt x="412" y="391"/>
                    </a:lnTo>
                    <a:lnTo>
                      <a:pt x="412" y="390"/>
                    </a:lnTo>
                    <a:lnTo>
                      <a:pt x="412" y="389"/>
                    </a:lnTo>
                    <a:lnTo>
                      <a:pt x="410" y="389"/>
                    </a:lnTo>
                    <a:lnTo>
                      <a:pt x="410" y="390"/>
                    </a:lnTo>
                    <a:lnTo>
                      <a:pt x="409" y="390"/>
                    </a:lnTo>
                    <a:lnTo>
                      <a:pt x="408" y="390"/>
                    </a:lnTo>
                    <a:lnTo>
                      <a:pt x="407" y="390"/>
                    </a:lnTo>
                    <a:lnTo>
                      <a:pt x="407" y="391"/>
                    </a:lnTo>
                    <a:lnTo>
                      <a:pt x="406" y="391"/>
                    </a:lnTo>
                    <a:lnTo>
                      <a:pt x="407" y="392"/>
                    </a:lnTo>
                    <a:lnTo>
                      <a:pt x="406" y="392"/>
                    </a:lnTo>
                    <a:lnTo>
                      <a:pt x="406" y="393"/>
                    </a:lnTo>
                    <a:lnTo>
                      <a:pt x="405" y="393"/>
                    </a:lnTo>
                    <a:lnTo>
                      <a:pt x="404" y="393"/>
                    </a:lnTo>
                    <a:lnTo>
                      <a:pt x="404" y="394"/>
                    </a:lnTo>
                    <a:lnTo>
                      <a:pt x="405" y="394"/>
                    </a:lnTo>
                    <a:lnTo>
                      <a:pt x="404" y="396"/>
                    </a:lnTo>
                    <a:lnTo>
                      <a:pt x="404" y="397"/>
                    </a:lnTo>
                    <a:lnTo>
                      <a:pt x="404" y="398"/>
                    </a:lnTo>
                    <a:lnTo>
                      <a:pt x="404" y="399"/>
                    </a:lnTo>
                    <a:lnTo>
                      <a:pt x="405" y="399"/>
                    </a:lnTo>
                    <a:lnTo>
                      <a:pt x="406" y="400"/>
                    </a:lnTo>
                    <a:lnTo>
                      <a:pt x="405" y="400"/>
                    </a:lnTo>
                    <a:lnTo>
                      <a:pt x="405" y="401"/>
                    </a:lnTo>
                    <a:lnTo>
                      <a:pt x="404" y="401"/>
                    </a:lnTo>
                    <a:lnTo>
                      <a:pt x="405" y="402"/>
                    </a:lnTo>
                    <a:lnTo>
                      <a:pt x="405" y="403"/>
                    </a:lnTo>
                    <a:lnTo>
                      <a:pt x="404" y="403"/>
                    </a:lnTo>
                    <a:lnTo>
                      <a:pt x="405" y="403"/>
                    </a:lnTo>
                    <a:lnTo>
                      <a:pt x="405" y="404"/>
                    </a:lnTo>
                    <a:lnTo>
                      <a:pt x="407" y="404"/>
                    </a:lnTo>
                    <a:lnTo>
                      <a:pt x="409" y="405"/>
                    </a:lnTo>
                    <a:lnTo>
                      <a:pt x="408" y="405"/>
                    </a:lnTo>
                    <a:lnTo>
                      <a:pt x="409" y="406"/>
                    </a:lnTo>
                    <a:lnTo>
                      <a:pt x="410" y="406"/>
                    </a:lnTo>
                    <a:lnTo>
                      <a:pt x="412" y="406"/>
                    </a:lnTo>
                    <a:lnTo>
                      <a:pt x="412" y="407"/>
                    </a:lnTo>
                    <a:lnTo>
                      <a:pt x="410" y="407"/>
                    </a:lnTo>
                    <a:lnTo>
                      <a:pt x="409" y="407"/>
                    </a:lnTo>
                    <a:lnTo>
                      <a:pt x="409" y="409"/>
                    </a:lnTo>
                    <a:lnTo>
                      <a:pt x="410" y="409"/>
                    </a:lnTo>
                    <a:lnTo>
                      <a:pt x="410" y="410"/>
                    </a:lnTo>
                    <a:lnTo>
                      <a:pt x="410" y="411"/>
                    </a:lnTo>
                    <a:lnTo>
                      <a:pt x="412" y="411"/>
                    </a:lnTo>
                    <a:lnTo>
                      <a:pt x="413" y="411"/>
                    </a:lnTo>
                    <a:lnTo>
                      <a:pt x="414" y="411"/>
                    </a:lnTo>
                    <a:lnTo>
                      <a:pt x="414" y="410"/>
                    </a:lnTo>
                    <a:lnTo>
                      <a:pt x="414" y="409"/>
                    </a:lnTo>
                    <a:lnTo>
                      <a:pt x="414" y="407"/>
                    </a:lnTo>
                    <a:lnTo>
                      <a:pt x="415" y="407"/>
                    </a:lnTo>
                    <a:lnTo>
                      <a:pt x="416" y="407"/>
                    </a:lnTo>
                    <a:lnTo>
                      <a:pt x="416" y="409"/>
                    </a:lnTo>
                    <a:lnTo>
                      <a:pt x="415" y="410"/>
                    </a:lnTo>
                    <a:lnTo>
                      <a:pt x="416" y="411"/>
                    </a:lnTo>
                    <a:lnTo>
                      <a:pt x="416" y="412"/>
                    </a:lnTo>
                    <a:lnTo>
                      <a:pt x="417" y="412"/>
                    </a:lnTo>
                    <a:lnTo>
                      <a:pt x="417" y="413"/>
                    </a:lnTo>
                    <a:lnTo>
                      <a:pt x="418" y="414"/>
                    </a:lnTo>
                    <a:lnTo>
                      <a:pt x="417" y="415"/>
                    </a:lnTo>
                    <a:lnTo>
                      <a:pt x="416" y="415"/>
                    </a:lnTo>
                    <a:lnTo>
                      <a:pt x="415" y="415"/>
                    </a:lnTo>
                    <a:lnTo>
                      <a:pt x="414" y="415"/>
                    </a:lnTo>
                    <a:lnTo>
                      <a:pt x="413" y="416"/>
                    </a:lnTo>
                    <a:lnTo>
                      <a:pt x="413" y="417"/>
                    </a:lnTo>
                    <a:lnTo>
                      <a:pt x="413" y="418"/>
                    </a:lnTo>
                    <a:lnTo>
                      <a:pt x="413" y="419"/>
                    </a:lnTo>
                    <a:lnTo>
                      <a:pt x="413" y="421"/>
                    </a:lnTo>
                    <a:lnTo>
                      <a:pt x="413" y="422"/>
                    </a:lnTo>
                    <a:lnTo>
                      <a:pt x="413" y="423"/>
                    </a:lnTo>
                    <a:lnTo>
                      <a:pt x="413" y="424"/>
                    </a:lnTo>
                    <a:lnTo>
                      <a:pt x="414" y="424"/>
                    </a:lnTo>
                    <a:lnTo>
                      <a:pt x="414" y="425"/>
                    </a:lnTo>
                    <a:lnTo>
                      <a:pt x="414" y="426"/>
                    </a:lnTo>
                    <a:lnTo>
                      <a:pt x="413" y="426"/>
                    </a:lnTo>
                    <a:lnTo>
                      <a:pt x="412" y="426"/>
                    </a:lnTo>
                    <a:lnTo>
                      <a:pt x="410" y="426"/>
                    </a:lnTo>
                    <a:lnTo>
                      <a:pt x="410" y="427"/>
                    </a:lnTo>
                    <a:lnTo>
                      <a:pt x="409" y="427"/>
                    </a:lnTo>
                    <a:lnTo>
                      <a:pt x="408" y="427"/>
                    </a:lnTo>
                    <a:lnTo>
                      <a:pt x="407" y="427"/>
                    </a:lnTo>
                    <a:lnTo>
                      <a:pt x="406" y="428"/>
                    </a:lnTo>
                    <a:lnTo>
                      <a:pt x="406" y="429"/>
                    </a:lnTo>
                    <a:lnTo>
                      <a:pt x="407" y="430"/>
                    </a:lnTo>
                    <a:lnTo>
                      <a:pt x="407" y="431"/>
                    </a:lnTo>
                    <a:lnTo>
                      <a:pt x="406" y="431"/>
                    </a:lnTo>
                    <a:lnTo>
                      <a:pt x="406" y="432"/>
                    </a:lnTo>
                    <a:lnTo>
                      <a:pt x="406" y="434"/>
                    </a:lnTo>
                    <a:lnTo>
                      <a:pt x="407" y="434"/>
                    </a:lnTo>
                    <a:lnTo>
                      <a:pt x="407" y="435"/>
                    </a:lnTo>
                    <a:lnTo>
                      <a:pt x="407" y="436"/>
                    </a:lnTo>
                    <a:lnTo>
                      <a:pt x="407" y="437"/>
                    </a:lnTo>
                    <a:lnTo>
                      <a:pt x="408" y="437"/>
                    </a:lnTo>
                    <a:lnTo>
                      <a:pt x="409" y="437"/>
                    </a:lnTo>
                    <a:lnTo>
                      <a:pt x="409" y="438"/>
                    </a:lnTo>
                    <a:lnTo>
                      <a:pt x="409" y="439"/>
                    </a:lnTo>
                    <a:lnTo>
                      <a:pt x="408" y="439"/>
                    </a:lnTo>
                    <a:lnTo>
                      <a:pt x="408" y="440"/>
                    </a:lnTo>
                    <a:lnTo>
                      <a:pt x="407" y="440"/>
                    </a:lnTo>
                    <a:lnTo>
                      <a:pt x="406" y="441"/>
                    </a:lnTo>
                    <a:lnTo>
                      <a:pt x="406" y="442"/>
                    </a:lnTo>
                    <a:lnTo>
                      <a:pt x="405" y="442"/>
                    </a:lnTo>
                    <a:lnTo>
                      <a:pt x="405" y="443"/>
                    </a:lnTo>
                    <a:lnTo>
                      <a:pt x="405" y="444"/>
                    </a:lnTo>
                    <a:lnTo>
                      <a:pt x="405" y="445"/>
                    </a:lnTo>
                    <a:lnTo>
                      <a:pt x="405" y="447"/>
                    </a:lnTo>
                    <a:lnTo>
                      <a:pt x="405" y="448"/>
                    </a:lnTo>
                    <a:lnTo>
                      <a:pt x="405" y="449"/>
                    </a:lnTo>
                    <a:lnTo>
                      <a:pt x="405" y="450"/>
                    </a:lnTo>
                    <a:lnTo>
                      <a:pt x="405" y="449"/>
                    </a:lnTo>
                    <a:lnTo>
                      <a:pt x="404" y="448"/>
                    </a:lnTo>
                    <a:lnTo>
                      <a:pt x="404" y="447"/>
                    </a:lnTo>
                    <a:lnTo>
                      <a:pt x="403" y="448"/>
                    </a:lnTo>
                    <a:lnTo>
                      <a:pt x="402" y="448"/>
                    </a:lnTo>
                    <a:lnTo>
                      <a:pt x="403" y="449"/>
                    </a:lnTo>
                    <a:lnTo>
                      <a:pt x="403" y="450"/>
                    </a:lnTo>
                    <a:lnTo>
                      <a:pt x="402" y="451"/>
                    </a:lnTo>
                    <a:lnTo>
                      <a:pt x="401" y="451"/>
                    </a:lnTo>
                    <a:lnTo>
                      <a:pt x="401" y="450"/>
                    </a:lnTo>
                    <a:lnTo>
                      <a:pt x="400" y="449"/>
                    </a:lnTo>
                    <a:lnTo>
                      <a:pt x="399" y="448"/>
                    </a:lnTo>
                    <a:lnTo>
                      <a:pt x="397" y="449"/>
                    </a:lnTo>
                    <a:lnTo>
                      <a:pt x="397" y="448"/>
                    </a:lnTo>
                    <a:lnTo>
                      <a:pt x="397" y="447"/>
                    </a:lnTo>
                    <a:lnTo>
                      <a:pt x="396" y="447"/>
                    </a:lnTo>
                    <a:lnTo>
                      <a:pt x="396" y="445"/>
                    </a:lnTo>
                    <a:lnTo>
                      <a:pt x="396" y="444"/>
                    </a:lnTo>
                    <a:lnTo>
                      <a:pt x="395" y="444"/>
                    </a:lnTo>
                    <a:lnTo>
                      <a:pt x="394" y="444"/>
                    </a:lnTo>
                    <a:lnTo>
                      <a:pt x="394" y="445"/>
                    </a:lnTo>
                    <a:lnTo>
                      <a:pt x="393" y="445"/>
                    </a:lnTo>
                    <a:lnTo>
                      <a:pt x="392" y="445"/>
                    </a:lnTo>
                    <a:lnTo>
                      <a:pt x="391" y="445"/>
                    </a:lnTo>
                    <a:lnTo>
                      <a:pt x="390" y="445"/>
                    </a:lnTo>
                    <a:lnTo>
                      <a:pt x="388" y="445"/>
                    </a:lnTo>
                    <a:lnTo>
                      <a:pt x="387" y="445"/>
                    </a:lnTo>
                    <a:lnTo>
                      <a:pt x="387" y="447"/>
                    </a:lnTo>
                    <a:lnTo>
                      <a:pt x="386" y="447"/>
                    </a:lnTo>
                    <a:lnTo>
                      <a:pt x="386" y="448"/>
                    </a:lnTo>
                    <a:lnTo>
                      <a:pt x="384" y="448"/>
                    </a:lnTo>
                    <a:lnTo>
                      <a:pt x="386" y="449"/>
                    </a:lnTo>
                    <a:lnTo>
                      <a:pt x="386" y="450"/>
                    </a:lnTo>
                    <a:lnTo>
                      <a:pt x="387" y="450"/>
                    </a:lnTo>
                    <a:lnTo>
                      <a:pt x="388" y="450"/>
                    </a:lnTo>
                    <a:lnTo>
                      <a:pt x="388" y="451"/>
                    </a:lnTo>
                    <a:lnTo>
                      <a:pt x="387" y="451"/>
                    </a:lnTo>
                    <a:lnTo>
                      <a:pt x="386" y="452"/>
                    </a:lnTo>
                    <a:lnTo>
                      <a:pt x="384" y="451"/>
                    </a:lnTo>
                    <a:lnTo>
                      <a:pt x="384" y="452"/>
                    </a:lnTo>
                    <a:lnTo>
                      <a:pt x="384" y="451"/>
                    </a:lnTo>
                    <a:lnTo>
                      <a:pt x="383" y="451"/>
                    </a:lnTo>
                    <a:lnTo>
                      <a:pt x="383" y="450"/>
                    </a:lnTo>
                    <a:lnTo>
                      <a:pt x="382" y="450"/>
                    </a:lnTo>
                    <a:lnTo>
                      <a:pt x="381" y="451"/>
                    </a:lnTo>
                    <a:lnTo>
                      <a:pt x="380" y="451"/>
                    </a:lnTo>
                    <a:lnTo>
                      <a:pt x="381" y="450"/>
                    </a:lnTo>
                    <a:lnTo>
                      <a:pt x="381" y="449"/>
                    </a:lnTo>
                    <a:lnTo>
                      <a:pt x="380" y="449"/>
                    </a:lnTo>
                    <a:lnTo>
                      <a:pt x="380" y="450"/>
                    </a:lnTo>
                    <a:lnTo>
                      <a:pt x="379" y="450"/>
                    </a:lnTo>
                    <a:lnTo>
                      <a:pt x="378" y="450"/>
                    </a:lnTo>
                    <a:lnTo>
                      <a:pt x="378" y="449"/>
                    </a:lnTo>
                    <a:lnTo>
                      <a:pt x="377" y="449"/>
                    </a:lnTo>
                    <a:lnTo>
                      <a:pt x="375" y="449"/>
                    </a:lnTo>
                    <a:lnTo>
                      <a:pt x="375" y="450"/>
                    </a:lnTo>
                    <a:lnTo>
                      <a:pt x="374" y="451"/>
                    </a:lnTo>
                    <a:lnTo>
                      <a:pt x="375" y="451"/>
                    </a:lnTo>
                    <a:lnTo>
                      <a:pt x="376" y="451"/>
                    </a:lnTo>
                    <a:lnTo>
                      <a:pt x="376" y="452"/>
                    </a:lnTo>
                    <a:lnTo>
                      <a:pt x="376" y="453"/>
                    </a:lnTo>
                    <a:lnTo>
                      <a:pt x="376" y="454"/>
                    </a:lnTo>
                    <a:lnTo>
                      <a:pt x="375" y="455"/>
                    </a:lnTo>
                    <a:lnTo>
                      <a:pt x="375" y="456"/>
                    </a:lnTo>
                    <a:lnTo>
                      <a:pt x="374" y="456"/>
                    </a:lnTo>
                    <a:lnTo>
                      <a:pt x="374" y="457"/>
                    </a:lnTo>
                    <a:lnTo>
                      <a:pt x="374" y="458"/>
                    </a:lnTo>
                    <a:lnTo>
                      <a:pt x="373" y="458"/>
                    </a:lnTo>
                    <a:lnTo>
                      <a:pt x="371" y="458"/>
                    </a:lnTo>
                    <a:lnTo>
                      <a:pt x="371" y="460"/>
                    </a:lnTo>
                    <a:lnTo>
                      <a:pt x="371" y="461"/>
                    </a:lnTo>
                    <a:lnTo>
                      <a:pt x="371" y="462"/>
                    </a:lnTo>
                    <a:lnTo>
                      <a:pt x="373" y="462"/>
                    </a:lnTo>
                    <a:lnTo>
                      <a:pt x="373" y="463"/>
                    </a:lnTo>
                    <a:lnTo>
                      <a:pt x="371" y="463"/>
                    </a:lnTo>
                    <a:lnTo>
                      <a:pt x="371" y="464"/>
                    </a:lnTo>
                    <a:lnTo>
                      <a:pt x="371" y="465"/>
                    </a:lnTo>
                    <a:lnTo>
                      <a:pt x="370" y="465"/>
                    </a:lnTo>
                    <a:lnTo>
                      <a:pt x="369" y="464"/>
                    </a:lnTo>
                    <a:lnTo>
                      <a:pt x="368" y="464"/>
                    </a:lnTo>
                    <a:lnTo>
                      <a:pt x="367" y="464"/>
                    </a:lnTo>
                    <a:lnTo>
                      <a:pt x="366" y="464"/>
                    </a:lnTo>
                    <a:lnTo>
                      <a:pt x="367" y="464"/>
                    </a:lnTo>
                    <a:lnTo>
                      <a:pt x="367" y="463"/>
                    </a:lnTo>
                    <a:lnTo>
                      <a:pt x="366" y="463"/>
                    </a:lnTo>
                    <a:lnTo>
                      <a:pt x="366" y="462"/>
                    </a:lnTo>
                    <a:lnTo>
                      <a:pt x="367" y="462"/>
                    </a:lnTo>
                    <a:lnTo>
                      <a:pt x="366" y="461"/>
                    </a:lnTo>
                    <a:lnTo>
                      <a:pt x="366" y="462"/>
                    </a:lnTo>
                    <a:lnTo>
                      <a:pt x="365" y="462"/>
                    </a:lnTo>
                    <a:lnTo>
                      <a:pt x="365" y="461"/>
                    </a:lnTo>
                    <a:lnTo>
                      <a:pt x="365" y="460"/>
                    </a:lnTo>
                    <a:lnTo>
                      <a:pt x="366" y="460"/>
                    </a:lnTo>
                    <a:lnTo>
                      <a:pt x="367" y="460"/>
                    </a:lnTo>
                    <a:lnTo>
                      <a:pt x="367" y="458"/>
                    </a:lnTo>
                    <a:lnTo>
                      <a:pt x="366" y="458"/>
                    </a:lnTo>
                    <a:lnTo>
                      <a:pt x="365" y="458"/>
                    </a:lnTo>
                    <a:lnTo>
                      <a:pt x="365" y="457"/>
                    </a:lnTo>
                    <a:lnTo>
                      <a:pt x="365" y="458"/>
                    </a:lnTo>
                    <a:lnTo>
                      <a:pt x="364" y="458"/>
                    </a:lnTo>
                    <a:lnTo>
                      <a:pt x="363" y="458"/>
                    </a:lnTo>
                    <a:lnTo>
                      <a:pt x="363" y="460"/>
                    </a:lnTo>
                    <a:lnTo>
                      <a:pt x="362" y="460"/>
                    </a:lnTo>
                    <a:lnTo>
                      <a:pt x="362" y="458"/>
                    </a:lnTo>
                    <a:lnTo>
                      <a:pt x="361" y="458"/>
                    </a:lnTo>
                    <a:lnTo>
                      <a:pt x="360" y="458"/>
                    </a:lnTo>
                    <a:lnTo>
                      <a:pt x="360" y="460"/>
                    </a:lnTo>
                    <a:lnTo>
                      <a:pt x="358" y="460"/>
                    </a:lnTo>
                    <a:lnTo>
                      <a:pt x="358" y="461"/>
                    </a:lnTo>
                    <a:lnTo>
                      <a:pt x="360" y="462"/>
                    </a:lnTo>
                    <a:lnTo>
                      <a:pt x="361" y="462"/>
                    </a:lnTo>
                    <a:lnTo>
                      <a:pt x="361" y="463"/>
                    </a:lnTo>
                    <a:lnTo>
                      <a:pt x="360" y="464"/>
                    </a:lnTo>
                    <a:lnTo>
                      <a:pt x="360" y="465"/>
                    </a:lnTo>
                    <a:lnTo>
                      <a:pt x="358" y="466"/>
                    </a:lnTo>
                    <a:lnTo>
                      <a:pt x="357" y="467"/>
                    </a:lnTo>
                    <a:lnTo>
                      <a:pt x="356" y="467"/>
                    </a:lnTo>
                    <a:lnTo>
                      <a:pt x="355" y="468"/>
                    </a:lnTo>
                    <a:lnTo>
                      <a:pt x="355" y="469"/>
                    </a:lnTo>
                    <a:lnTo>
                      <a:pt x="354" y="469"/>
                    </a:lnTo>
                    <a:lnTo>
                      <a:pt x="354" y="470"/>
                    </a:lnTo>
                    <a:lnTo>
                      <a:pt x="353" y="470"/>
                    </a:lnTo>
                    <a:lnTo>
                      <a:pt x="353" y="471"/>
                    </a:lnTo>
                    <a:lnTo>
                      <a:pt x="353" y="473"/>
                    </a:lnTo>
                    <a:lnTo>
                      <a:pt x="354" y="474"/>
                    </a:lnTo>
                    <a:lnTo>
                      <a:pt x="354" y="475"/>
                    </a:lnTo>
                    <a:lnTo>
                      <a:pt x="353" y="475"/>
                    </a:lnTo>
                    <a:lnTo>
                      <a:pt x="352" y="475"/>
                    </a:lnTo>
                    <a:lnTo>
                      <a:pt x="351" y="474"/>
                    </a:lnTo>
                    <a:lnTo>
                      <a:pt x="351" y="473"/>
                    </a:lnTo>
                    <a:lnTo>
                      <a:pt x="350" y="473"/>
                    </a:lnTo>
                    <a:lnTo>
                      <a:pt x="350" y="474"/>
                    </a:lnTo>
                    <a:lnTo>
                      <a:pt x="350" y="473"/>
                    </a:lnTo>
                    <a:lnTo>
                      <a:pt x="349" y="473"/>
                    </a:lnTo>
                    <a:lnTo>
                      <a:pt x="349" y="471"/>
                    </a:lnTo>
                    <a:lnTo>
                      <a:pt x="349" y="470"/>
                    </a:lnTo>
                    <a:lnTo>
                      <a:pt x="350" y="470"/>
                    </a:lnTo>
                    <a:lnTo>
                      <a:pt x="350" y="469"/>
                    </a:lnTo>
                    <a:lnTo>
                      <a:pt x="351" y="469"/>
                    </a:lnTo>
                    <a:lnTo>
                      <a:pt x="351" y="468"/>
                    </a:lnTo>
                    <a:lnTo>
                      <a:pt x="351" y="467"/>
                    </a:lnTo>
                    <a:lnTo>
                      <a:pt x="352" y="467"/>
                    </a:lnTo>
                    <a:lnTo>
                      <a:pt x="352" y="466"/>
                    </a:lnTo>
                    <a:lnTo>
                      <a:pt x="353" y="466"/>
                    </a:lnTo>
                    <a:lnTo>
                      <a:pt x="353" y="465"/>
                    </a:lnTo>
                    <a:lnTo>
                      <a:pt x="352" y="465"/>
                    </a:lnTo>
                    <a:lnTo>
                      <a:pt x="352" y="464"/>
                    </a:lnTo>
                    <a:lnTo>
                      <a:pt x="351" y="464"/>
                    </a:lnTo>
                    <a:lnTo>
                      <a:pt x="351" y="463"/>
                    </a:lnTo>
                    <a:lnTo>
                      <a:pt x="350" y="463"/>
                    </a:lnTo>
                    <a:lnTo>
                      <a:pt x="350" y="462"/>
                    </a:lnTo>
                    <a:lnTo>
                      <a:pt x="349" y="462"/>
                    </a:lnTo>
                    <a:lnTo>
                      <a:pt x="348" y="462"/>
                    </a:lnTo>
                    <a:lnTo>
                      <a:pt x="348" y="461"/>
                    </a:lnTo>
                    <a:lnTo>
                      <a:pt x="346" y="461"/>
                    </a:lnTo>
                    <a:lnTo>
                      <a:pt x="345" y="460"/>
                    </a:lnTo>
                    <a:lnTo>
                      <a:pt x="344" y="460"/>
                    </a:lnTo>
                    <a:lnTo>
                      <a:pt x="343" y="460"/>
                    </a:lnTo>
                    <a:lnTo>
                      <a:pt x="342" y="458"/>
                    </a:lnTo>
                    <a:lnTo>
                      <a:pt x="341" y="458"/>
                    </a:lnTo>
                    <a:lnTo>
                      <a:pt x="340" y="458"/>
                    </a:lnTo>
                    <a:lnTo>
                      <a:pt x="339" y="460"/>
                    </a:lnTo>
                    <a:lnTo>
                      <a:pt x="338" y="461"/>
                    </a:lnTo>
                    <a:lnTo>
                      <a:pt x="337" y="461"/>
                    </a:lnTo>
                    <a:lnTo>
                      <a:pt x="337" y="462"/>
                    </a:lnTo>
                    <a:lnTo>
                      <a:pt x="336" y="462"/>
                    </a:lnTo>
                    <a:lnTo>
                      <a:pt x="336" y="461"/>
                    </a:lnTo>
                    <a:lnTo>
                      <a:pt x="337" y="461"/>
                    </a:lnTo>
                    <a:lnTo>
                      <a:pt x="337" y="460"/>
                    </a:lnTo>
                    <a:lnTo>
                      <a:pt x="336" y="460"/>
                    </a:lnTo>
                    <a:lnTo>
                      <a:pt x="335" y="461"/>
                    </a:lnTo>
                    <a:lnTo>
                      <a:pt x="333" y="461"/>
                    </a:lnTo>
                    <a:lnTo>
                      <a:pt x="332" y="461"/>
                    </a:lnTo>
                    <a:lnTo>
                      <a:pt x="331" y="461"/>
                    </a:lnTo>
                    <a:lnTo>
                      <a:pt x="330" y="462"/>
                    </a:lnTo>
                    <a:lnTo>
                      <a:pt x="329" y="461"/>
                    </a:lnTo>
                    <a:lnTo>
                      <a:pt x="329" y="462"/>
                    </a:lnTo>
                    <a:lnTo>
                      <a:pt x="329" y="463"/>
                    </a:lnTo>
                    <a:lnTo>
                      <a:pt x="329" y="464"/>
                    </a:lnTo>
                    <a:lnTo>
                      <a:pt x="329" y="465"/>
                    </a:lnTo>
                    <a:lnTo>
                      <a:pt x="330" y="465"/>
                    </a:lnTo>
                    <a:lnTo>
                      <a:pt x="330" y="466"/>
                    </a:lnTo>
                    <a:lnTo>
                      <a:pt x="330" y="467"/>
                    </a:lnTo>
                    <a:lnTo>
                      <a:pt x="329" y="467"/>
                    </a:lnTo>
                    <a:lnTo>
                      <a:pt x="329" y="466"/>
                    </a:lnTo>
                    <a:lnTo>
                      <a:pt x="328" y="466"/>
                    </a:lnTo>
                    <a:lnTo>
                      <a:pt x="328" y="465"/>
                    </a:lnTo>
                    <a:lnTo>
                      <a:pt x="328" y="464"/>
                    </a:lnTo>
                    <a:lnTo>
                      <a:pt x="327" y="463"/>
                    </a:lnTo>
                    <a:lnTo>
                      <a:pt x="326" y="463"/>
                    </a:lnTo>
                    <a:lnTo>
                      <a:pt x="325" y="463"/>
                    </a:lnTo>
                    <a:lnTo>
                      <a:pt x="325" y="465"/>
                    </a:lnTo>
                    <a:lnTo>
                      <a:pt x="324" y="465"/>
                    </a:lnTo>
                    <a:lnTo>
                      <a:pt x="324" y="466"/>
                    </a:lnTo>
                    <a:lnTo>
                      <a:pt x="324" y="467"/>
                    </a:lnTo>
                    <a:lnTo>
                      <a:pt x="324" y="468"/>
                    </a:lnTo>
                    <a:lnTo>
                      <a:pt x="323" y="468"/>
                    </a:lnTo>
                    <a:lnTo>
                      <a:pt x="322" y="468"/>
                    </a:lnTo>
                    <a:lnTo>
                      <a:pt x="322" y="469"/>
                    </a:lnTo>
                    <a:lnTo>
                      <a:pt x="320" y="470"/>
                    </a:lnTo>
                    <a:lnTo>
                      <a:pt x="320" y="469"/>
                    </a:lnTo>
                    <a:lnTo>
                      <a:pt x="319" y="468"/>
                    </a:lnTo>
                    <a:lnTo>
                      <a:pt x="318" y="468"/>
                    </a:lnTo>
                    <a:lnTo>
                      <a:pt x="317" y="468"/>
                    </a:lnTo>
                    <a:lnTo>
                      <a:pt x="317" y="469"/>
                    </a:lnTo>
                    <a:lnTo>
                      <a:pt x="317" y="470"/>
                    </a:lnTo>
                    <a:lnTo>
                      <a:pt x="317" y="471"/>
                    </a:lnTo>
                    <a:lnTo>
                      <a:pt x="316" y="471"/>
                    </a:lnTo>
                    <a:lnTo>
                      <a:pt x="316" y="473"/>
                    </a:lnTo>
                    <a:lnTo>
                      <a:pt x="315" y="473"/>
                    </a:lnTo>
                    <a:lnTo>
                      <a:pt x="315" y="474"/>
                    </a:lnTo>
                    <a:lnTo>
                      <a:pt x="314" y="474"/>
                    </a:lnTo>
                    <a:lnTo>
                      <a:pt x="314" y="475"/>
                    </a:lnTo>
                    <a:lnTo>
                      <a:pt x="314" y="474"/>
                    </a:lnTo>
                    <a:lnTo>
                      <a:pt x="313" y="474"/>
                    </a:lnTo>
                    <a:lnTo>
                      <a:pt x="312" y="475"/>
                    </a:lnTo>
                    <a:lnTo>
                      <a:pt x="311" y="475"/>
                    </a:lnTo>
                    <a:lnTo>
                      <a:pt x="310" y="474"/>
                    </a:lnTo>
                    <a:lnTo>
                      <a:pt x="310" y="473"/>
                    </a:lnTo>
                    <a:lnTo>
                      <a:pt x="309" y="473"/>
                    </a:lnTo>
                    <a:lnTo>
                      <a:pt x="309" y="474"/>
                    </a:lnTo>
                    <a:lnTo>
                      <a:pt x="307" y="474"/>
                    </a:lnTo>
                    <a:lnTo>
                      <a:pt x="306" y="473"/>
                    </a:lnTo>
                    <a:lnTo>
                      <a:pt x="305" y="473"/>
                    </a:lnTo>
                    <a:lnTo>
                      <a:pt x="304" y="473"/>
                    </a:lnTo>
                    <a:lnTo>
                      <a:pt x="303" y="473"/>
                    </a:lnTo>
                    <a:lnTo>
                      <a:pt x="302" y="473"/>
                    </a:lnTo>
                    <a:lnTo>
                      <a:pt x="302" y="474"/>
                    </a:lnTo>
                    <a:lnTo>
                      <a:pt x="301" y="474"/>
                    </a:lnTo>
                    <a:lnTo>
                      <a:pt x="301" y="475"/>
                    </a:lnTo>
                    <a:lnTo>
                      <a:pt x="301" y="478"/>
                    </a:lnTo>
                    <a:lnTo>
                      <a:pt x="301" y="479"/>
                    </a:lnTo>
                    <a:lnTo>
                      <a:pt x="302" y="479"/>
                    </a:lnTo>
                    <a:lnTo>
                      <a:pt x="301" y="480"/>
                    </a:lnTo>
                    <a:lnTo>
                      <a:pt x="302" y="480"/>
                    </a:lnTo>
                    <a:lnTo>
                      <a:pt x="302" y="481"/>
                    </a:lnTo>
                    <a:lnTo>
                      <a:pt x="303" y="482"/>
                    </a:lnTo>
                    <a:lnTo>
                      <a:pt x="303" y="483"/>
                    </a:lnTo>
                    <a:lnTo>
                      <a:pt x="302" y="483"/>
                    </a:lnTo>
                    <a:lnTo>
                      <a:pt x="302" y="482"/>
                    </a:lnTo>
                    <a:lnTo>
                      <a:pt x="301" y="482"/>
                    </a:lnTo>
                    <a:lnTo>
                      <a:pt x="301" y="481"/>
                    </a:lnTo>
                    <a:lnTo>
                      <a:pt x="300" y="480"/>
                    </a:lnTo>
                    <a:lnTo>
                      <a:pt x="301" y="479"/>
                    </a:lnTo>
                    <a:lnTo>
                      <a:pt x="300" y="479"/>
                    </a:lnTo>
                    <a:lnTo>
                      <a:pt x="300" y="478"/>
                    </a:lnTo>
                    <a:lnTo>
                      <a:pt x="300" y="477"/>
                    </a:lnTo>
                    <a:lnTo>
                      <a:pt x="300" y="476"/>
                    </a:lnTo>
                    <a:lnTo>
                      <a:pt x="300" y="475"/>
                    </a:lnTo>
                    <a:lnTo>
                      <a:pt x="300" y="474"/>
                    </a:lnTo>
                    <a:lnTo>
                      <a:pt x="299" y="474"/>
                    </a:lnTo>
                    <a:lnTo>
                      <a:pt x="299" y="475"/>
                    </a:lnTo>
                    <a:lnTo>
                      <a:pt x="298" y="475"/>
                    </a:lnTo>
                    <a:lnTo>
                      <a:pt x="297" y="475"/>
                    </a:lnTo>
                    <a:lnTo>
                      <a:pt x="296" y="474"/>
                    </a:lnTo>
                    <a:lnTo>
                      <a:pt x="296" y="473"/>
                    </a:lnTo>
                    <a:lnTo>
                      <a:pt x="294" y="473"/>
                    </a:lnTo>
                    <a:lnTo>
                      <a:pt x="293" y="473"/>
                    </a:lnTo>
                    <a:lnTo>
                      <a:pt x="292" y="473"/>
                    </a:lnTo>
                    <a:lnTo>
                      <a:pt x="291" y="473"/>
                    </a:lnTo>
                    <a:lnTo>
                      <a:pt x="291" y="471"/>
                    </a:lnTo>
                    <a:lnTo>
                      <a:pt x="291" y="470"/>
                    </a:lnTo>
                    <a:lnTo>
                      <a:pt x="291" y="469"/>
                    </a:lnTo>
                    <a:lnTo>
                      <a:pt x="292" y="468"/>
                    </a:lnTo>
                    <a:lnTo>
                      <a:pt x="293" y="467"/>
                    </a:lnTo>
                    <a:lnTo>
                      <a:pt x="294" y="466"/>
                    </a:lnTo>
                    <a:lnTo>
                      <a:pt x="294" y="465"/>
                    </a:lnTo>
                    <a:lnTo>
                      <a:pt x="294" y="464"/>
                    </a:lnTo>
                    <a:lnTo>
                      <a:pt x="296" y="464"/>
                    </a:lnTo>
                    <a:lnTo>
                      <a:pt x="296" y="463"/>
                    </a:lnTo>
                    <a:lnTo>
                      <a:pt x="294" y="462"/>
                    </a:lnTo>
                    <a:lnTo>
                      <a:pt x="294" y="461"/>
                    </a:lnTo>
                    <a:lnTo>
                      <a:pt x="292" y="461"/>
                    </a:lnTo>
                    <a:lnTo>
                      <a:pt x="292" y="462"/>
                    </a:lnTo>
                    <a:lnTo>
                      <a:pt x="291" y="462"/>
                    </a:lnTo>
                    <a:lnTo>
                      <a:pt x="291" y="463"/>
                    </a:lnTo>
                    <a:lnTo>
                      <a:pt x="291" y="464"/>
                    </a:lnTo>
                    <a:lnTo>
                      <a:pt x="290" y="464"/>
                    </a:lnTo>
                    <a:lnTo>
                      <a:pt x="289" y="464"/>
                    </a:lnTo>
                    <a:lnTo>
                      <a:pt x="289" y="465"/>
                    </a:lnTo>
                    <a:lnTo>
                      <a:pt x="288" y="464"/>
                    </a:lnTo>
                    <a:lnTo>
                      <a:pt x="288" y="465"/>
                    </a:lnTo>
                    <a:lnTo>
                      <a:pt x="287" y="464"/>
                    </a:lnTo>
                    <a:lnTo>
                      <a:pt x="286" y="464"/>
                    </a:lnTo>
                    <a:lnTo>
                      <a:pt x="284" y="462"/>
                    </a:lnTo>
                    <a:lnTo>
                      <a:pt x="283" y="462"/>
                    </a:lnTo>
                    <a:lnTo>
                      <a:pt x="283" y="461"/>
                    </a:lnTo>
                    <a:lnTo>
                      <a:pt x="284" y="461"/>
                    </a:lnTo>
                    <a:lnTo>
                      <a:pt x="285" y="460"/>
                    </a:lnTo>
                    <a:lnTo>
                      <a:pt x="286" y="460"/>
                    </a:lnTo>
                    <a:lnTo>
                      <a:pt x="287" y="460"/>
                    </a:lnTo>
                    <a:lnTo>
                      <a:pt x="287" y="458"/>
                    </a:lnTo>
                    <a:lnTo>
                      <a:pt x="287" y="457"/>
                    </a:lnTo>
                    <a:lnTo>
                      <a:pt x="286" y="456"/>
                    </a:lnTo>
                    <a:lnTo>
                      <a:pt x="286" y="455"/>
                    </a:lnTo>
                    <a:lnTo>
                      <a:pt x="285" y="456"/>
                    </a:lnTo>
                    <a:lnTo>
                      <a:pt x="285" y="457"/>
                    </a:lnTo>
                    <a:lnTo>
                      <a:pt x="284" y="457"/>
                    </a:lnTo>
                    <a:lnTo>
                      <a:pt x="283" y="457"/>
                    </a:lnTo>
                    <a:lnTo>
                      <a:pt x="283" y="456"/>
                    </a:lnTo>
                    <a:lnTo>
                      <a:pt x="283" y="455"/>
                    </a:lnTo>
                    <a:lnTo>
                      <a:pt x="283" y="454"/>
                    </a:lnTo>
                    <a:lnTo>
                      <a:pt x="281" y="454"/>
                    </a:lnTo>
                    <a:lnTo>
                      <a:pt x="280" y="454"/>
                    </a:lnTo>
                    <a:lnTo>
                      <a:pt x="280" y="455"/>
                    </a:lnTo>
                    <a:lnTo>
                      <a:pt x="279" y="455"/>
                    </a:lnTo>
                    <a:lnTo>
                      <a:pt x="278" y="455"/>
                    </a:lnTo>
                    <a:lnTo>
                      <a:pt x="278" y="454"/>
                    </a:lnTo>
                    <a:lnTo>
                      <a:pt x="278" y="453"/>
                    </a:lnTo>
                    <a:lnTo>
                      <a:pt x="277" y="453"/>
                    </a:lnTo>
                    <a:lnTo>
                      <a:pt x="276" y="454"/>
                    </a:lnTo>
                    <a:lnTo>
                      <a:pt x="276" y="453"/>
                    </a:lnTo>
                    <a:lnTo>
                      <a:pt x="275" y="453"/>
                    </a:lnTo>
                    <a:lnTo>
                      <a:pt x="275" y="452"/>
                    </a:lnTo>
                    <a:lnTo>
                      <a:pt x="275" y="451"/>
                    </a:lnTo>
                    <a:lnTo>
                      <a:pt x="276" y="451"/>
                    </a:lnTo>
                    <a:lnTo>
                      <a:pt x="276" y="450"/>
                    </a:lnTo>
                    <a:lnTo>
                      <a:pt x="277" y="450"/>
                    </a:lnTo>
                    <a:lnTo>
                      <a:pt x="277" y="449"/>
                    </a:lnTo>
                    <a:lnTo>
                      <a:pt x="278" y="449"/>
                    </a:lnTo>
                    <a:lnTo>
                      <a:pt x="279" y="448"/>
                    </a:lnTo>
                    <a:lnTo>
                      <a:pt x="279" y="447"/>
                    </a:lnTo>
                    <a:lnTo>
                      <a:pt x="278" y="447"/>
                    </a:lnTo>
                    <a:lnTo>
                      <a:pt x="277" y="445"/>
                    </a:lnTo>
                    <a:lnTo>
                      <a:pt x="277" y="444"/>
                    </a:lnTo>
                    <a:lnTo>
                      <a:pt x="276" y="444"/>
                    </a:lnTo>
                    <a:lnTo>
                      <a:pt x="275" y="445"/>
                    </a:lnTo>
                    <a:lnTo>
                      <a:pt x="274" y="447"/>
                    </a:lnTo>
                    <a:lnTo>
                      <a:pt x="273" y="448"/>
                    </a:lnTo>
                    <a:lnTo>
                      <a:pt x="273" y="449"/>
                    </a:lnTo>
                    <a:lnTo>
                      <a:pt x="272" y="449"/>
                    </a:lnTo>
                    <a:lnTo>
                      <a:pt x="271" y="449"/>
                    </a:lnTo>
                    <a:lnTo>
                      <a:pt x="271" y="448"/>
                    </a:lnTo>
                    <a:lnTo>
                      <a:pt x="271" y="447"/>
                    </a:lnTo>
                    <a:lnTo>
                      <a:pt x="272" y="447"/>
                    </a:lnTo>
                    <a:lnTo>
                      <a:pt x="272" y="445"/>
                    </a:lnTo>
                    <a:lnTo>
                      <a:pt x="271" y="445"/>
                    </a:lnTo>
                    <a:lnTo>
                      <a:pt x="270" y="445"/>
                    </a:lnTo>
                    <a:lnTo>
                      <a:pt x="268" y="444"/>
                    </a:lnTo>
                    <a:lnTo>
                      <a:pt x="270" y="444"/>
                    </a:lnTo>
                    <a:lnTo>
                      <a:pt x="270" y="443"/>
                    </a:lnTo>
                    <a:lnTo>
                      <a:pt x="270" y="442"/>
                    </a:lnTo>
                    <a:lnTo>
                      <a:pt x="268" y="442"/>
                    </a:lnTo>
                    <a:lnTo>
                      <a:pt x="267" y="443"/>
                    </a:lnTo>
                    <a:lnTo>
                      <a:pt x="267" y="444"/>
                    </a:lnTo>
                    <a:lnTo>
                      <a:pt x="266" y="444"/>
                    </a:lnTo>
                    <a:lnTo>
                      <a:pt x="266" y="443"/>
                    </a:lnTo>
                    <a:lnTo>
                      <a:pt x="265" y="443"/>
                    </a:lnTo>
                    <a:lnTo>
                      <a:pt x="265" y="442"/>
                    </a:lnTo>
                    <a:lnTo>
                      <a:pt x="264" y="442"/>
                    </a:lnTo>
                    <a:lnTo>
                      <a:pt x="263" y="441"/>
                    </a:lnTo>
                    <a:lnTo>
                      <a:pt x="262" y="441"/>
                    </a:lnTo>
                    <a:lnTo>
                      <a:pt x="262" y="440"/>
                    </a:lnTo>
                    <a:lnTo>
                      <a:pt x="261" y="439"/>
                    </a:lnTo>
                    <a:lnTo>
                      <a:pt x="260" y="438"/>
                    </a:lnTo>
                    <a:lnTo>
                      <a:pt x="259" y="438"/>
                    </a:lnTo>
                    <a:lnTo>
                      <a:pt x="259" y="437"/>
                    </a:lnTo>
                    <a:lnTo>
                      <a:pt x="258" y="437"/>
                    </a:lnTo>
                    <a:lnTo>
                      <a:pt x="257" y="436"/>
                    </a:lnTo>
                    <a:lnTo>
                      <a:pt x="257" y="435"/>
                    </a:lnTo>
                    <a:lnTo>
                      <a:pt x="255" y="434"/>
                    </a:lnTo>
                    <a:lnTo>
                      <a:pt x="254" y="434"/>
                    </a:lnTo>
                    <a:lnTo>
                      <a:pt x="253" y="432"/>
                    </a:lnTo>
                    <a:lnTo>
                      <a:pt x="253" y="431"/>
                    </a:lnTo>
                    <a:lnTo>
                      <a:pt x="252" y="431"/>
                    </a:lnTo>
                    <a:lnTo>
                      <a:pt x="251" y="430"/>
                    </a:lnTo>
                    <a:lnTo>
                      <a:pt x="252" y="430"/>
                    </a:lnTo>
                    <a:lnTo>
                      <a:pt x="252" y="429"/>
                    </a:lnTo>
                    <a:lnTo>
                      <a:pt x="252" y="428"/>
                    </a:lnTo>
                    <a:lnTo>
                      <a:pt x="253" y="428"/>
                    </a:lnTo>
                    <a:lnTo>
                      <a:pt x="253" y="427"/>
                    </a:lnTo>
                    <a:lnTo>
                      <a:pt x="254" y="427"/>
                    </a:lnTo>
                    <a:lnTo>
                      <a:pt x="254" y="426"/>
                    </a:lnTo>
                    <a:lnTo>
                      <a:pt x="253" y="426"/>
                    </a:lnTo>
                    <a:lnTo>
                      <a:pt x="253" y="425"/>
                    </a:lnTo>
                    <a:lnTo>
                      <a:pt x="253" y="424"/>
                    </a:lnTo>
                    <a:lnTo>
                      <a:pt x="253" y="423"/>
                    </a:lnTo>
                    <a:lnTo>
                      <a:pt x="254" y="422"/>
                    </a:lnTo>
                    <a:lnTo>
                      <a:pt x="254" y="421"/>
                    </a:lnTo>
                    <a:lnTo>
                      <a:pt x="253" y="419"/>
                    </a:lnTo>
                    <a:lnTo>
                      <a:pt x="253" y="418"/>
                    </a:lnTo>
                    <a:lnTo>
                      <a:pt x="252" y="418"/>
                    </a:lnTo>
                    <a:lnTo>
                      <a:pt x="251" y="418"/>
                    </a:lnTo>
                    <a:lnTo>
                      <a:pt x="251" y="419"/>
                    </a:lnTo>
                    <a:lnTo>
                      <a:pt x="250" y="419"/>
                    </a:lnTo>
                    <a:lnTo>
                      <a:pt x="250" y="421"/>
                    </a:lnTo>
                    <a:lnTo>
                      <a:pt x="249" y="421"/>
                    </a:lnTo>
                    <a:lnTo>
                      <a:pt x="250" y="422"/>
                    </a:lnTo>
                    <a:lnTo>
                      <a:pt x="249" y="423"/>
                    </a:lnTo>
                    <a:lnTo>
                      <a:pt x="250" y="424"/>
                    </a:lnTo>
                    <a:lnTo>
                      <a:pt x="249" y="424"/>
                    </a:lnTo>
                    <a:lnTo>
                      <a:pt x="249" y="425"/>
                    </a:lnTo>
                    <a:lnTo>
                      <a:pt x="248" y="424"/>
                    </a:lnTo>
                    <a:lnTo>
                      <a:pt x="247" y="424"/>
                    </a:lnTo>
                    <a:lnTo>
                      <a:pt x="246" y="424"/>
                    </a:lnTo>
                    <a:lnTo>
                      <a:pt x="246" y="423"/>
                    </a:lnTo>
                    <a:lnTo>
                      <a:pt x="246" y="422"/>
                    </a:lnTo>
                    <a:lnTo>
                      <a:pt x="245" y="421"/>
                    </a:lnTo>
                    <a:lnTo>
                      <a:pt x="245" y="422"/>
                    </a:lnTo>
                    <a:lnTo>
                      <a:pt x="244" y="422"/>
                    </a:lnTo>
                    <a:lnTo>
                      <a:pt x="244" y="421"/>
                    </a:lnTo>
                    <a:lnTo>
                      <a:pt x="244" y="419"/>
                    </a:lnTo>
                    <a:lnTo>
                      <a:pt x="244" y="418"/>
                    </a:lnTo>
                    <a:lnTo>
                      <a:pt x="242" y="418"/>
                    </a:lnTo>
                    <a:lnTo>
                      <a:pt x="241" y="417"/>
                    </a:lnTo>
                    <a:lnTo>
                      <a:pt x="240" y="417"/>
                    </a:lnTo>
                    <a:lnTo>
                      <a:pt x="239" y="416"/>
                    </a:lnTo>
                    <a:lnTo>
                      <a:pt x="239" y="415"/>
                    </a:lnTo>
                    <a:lnTo>
                      <a:pt x="238" y="415"/>
                    </a:lnTo>
                    <a:lnTo>
                      <a:pt x="237" y="415"/>
                    </a:lnTo>
                    <a:lnTo>
                      <a:pt x="234" y="415"/>
                    </a:lnTo>
                    <a:lnTo>
                      <a:pt x="233" y="415"/>
                    </a:lnTo>
                    <a:lnTo>
                      <a:pt x="233" y="414"/>
                    </a:lnTo>
                    <a:lnTo>
                      <a:pt x="234" y="413"/>
                    </a:lnTo>
                    <a:lnTo>
                      <a:pt x="234" y="412"/>
                    </a:lnTo>
                    <a:lnTo>
                      <a:pt x="235" y="411"/>
                    </a:lnTo>
                    <a:lnTo>
                      <a:pt x="235" y="410"/>
                    </a:lnTo>
                    <a:lnTo>
                      <a:pt x="235" y="409"/>
                    </a:lnTo>
                    <a:lnTo>
                      <a:pt x="235" y="410"/>
                    </a:lnTo>
                    <a:lnTo>
                      <a:pt x="237" y="410"/>
                    </a:lnTo>
                    <a:lnTo>
                      <a:pt x="238" y="410"/>
                    </a:lnTo>
                    <a:lnTo>
                      <a:pt x="239" y="409"/>
                    </a:lnTo>
                    <a:lnTo>
                      <a:pt x="240" y="409"/>
                    </a:lnTo>
                    <a:lnTo>
                      <a:pt x="241" y="409"/>
                    </a:lnTo>
                    <a:lnTo>
                      <a:pt x="242" y="409"/>
                    </a:lnTo>
                    <a:lnTo>
                      <a:pt x="244" y="409"/>
                    </a:lnTo>
                    <a:lnTo>
                      <a:pt x="245" y="409"/>
                    </a:lnTo>
                    <a:lnTo>
                      <a:pt x="245" y="410"/>
                    </a:lnTo>
                    <a:lnTo>
                      <a:pt x="246" y="410"/>
                    </a:lnTo>
                    <a:lnTo>
                      <a:pt x="247" y="410"/>
                    </a:lnTo>
                    <a:lnTo>
                      <a:pt x="248" y="410"/>
                    </a:lnTo>
                    <a:lnTo>
                      <a:pt x="249" y="410"/>
                    </a:lnTo>
                    <a:lnTo>
                      <a:pt x="249" y="411"/>
                    </a:lnTo>
                    <a:lnTo>
                      <a:pt x="250" y="411"/>
                    </a:lnTo>
                    <a:lnTo>
                      <a:pt x="251" y="411"/>
                    </a:lnTo>
                    <a:lnTo>
                      <a:pt x="251" y="410"/>
                    </a:lnTo>
                    <a:lnTo>
                      <a:pt x="252" y="410"/>
                    </a:lnTo>
                    <a:lnTo>
                      <a:pt x="252" y="409"/>
                    </a:lnTo>
                    <a:lnTo>
                      <a:pt x="252" y="407"/>
                    </a:lnTo>
                    <a:lnTo>
                      <a:pt x="252" y="406"/>
                    </a:lnTo>
                    <a:lnTo>
                      <a:pt x="251" y="406"/>
                    </a:lnTo>
                    <a:lnTo>
                      <a:pt x="250" y="405"/>
                    </a:lnTo>
                    <a:lnTo>
                      <a:pt x="249" y="405"/>
                    </a:lnTo>
                    <a:lnTo>
                      <a:pt x="248" y="405"/>
                    </a:lnTo>
                    <a:lnTo>
                      <a:pt x="247" y="405"/>
                    </a:lnTo>
                    <a:lnTo>
                      <a:pt x="246" y="405"/>
                    </a:lnTo>
                    <a:lnTo>
                      <a:pt x="245" y="406"/>
                    </a:lnTo>
                    <a:lnTo>
                      <a:pt x="244" y="406"/>
                    </a:lnTo>
                    <a:lnTo>
                      <a:pt x="242" y="405"/>
                    </a:lnTo>
                    <a:lnTo>
                      <a:pt x="241" y="405"/>
                    </a:lnTo>
                    <a:lnTo>
                      <a:pt x="240" y="405"/>
                    </a:lnTo>
                    <a:lnTo>
                      <a:pt x="239" y="405"/>
                    </a:lnTo>
                    <a:lnTo>
                      <a:pt x="239" y="406"/>
                    </a:lnTo>
                    <a:lnTo>
                      <a:pt x="238" y="406"/>
                    </a:lnTo>
                    <a:lnTo>
                      <a:pt x="237" y="406"/>
                    </a:lnTo>
                    <a:lnTo>
                      <a:pt x="236" y="406"/>
                    </a:lnTo>
                    <a:lnTo>
                      <a:pt x="234" y="406"/>
                    </a:lnTo>
                    <a:lnTo>
                      <a:pt x="233" y="406"/>
                    </a:lnTo>
                    <a:lnTo>
                      <a:pt x="232" y="406"/>
                    </a:lnTo>
                    <a:lnTo>
                      <a:pt x="232" y="407"/>
                    </a:lnTo>
                    <a:lnTo>
                      <a:pt x="232" y="409"/>
                    </a:lnTo>
                    <a:lnTo>
                      <a:pt x="231" y="409"/>
                    </a:lnTo>
                    <a:lnTo>
                      <a:pt x="231" y="410"/>
                    </a:lnTo>
                    <a:lnTo>
                      <a:pt x="229" y="410"/>
                    </a:lnTo>
                    <a:lnTo>
                      <a:pt x="229" y="409"/>
                    </a:lnTo>
                    <a:lnTo>
                      <a:pt x="229" y="410"/>
                    </a:lnTo>
                    <a:lnTo>
                      <a:pt x="228" y="410"/>
                    </a:lnTo>
                    <a:lnTo>
                      <a:pt x="227" y="410"/>
                    </a:lnTo>
                    <a:lnTo>
                      <a:pt x="227" y="411"/>
                    </a:lnTo>
                    <a:lnTo>
                      <a:pt x="227" y="412"/>
                    </a:lnTo>
                    <a:lnTo>
                      <a:pt x="228" y="412"/>
                    </a:lnTo>
                    <a:lnTo>
                      <a:pt x="229" y="412"/>
                    </a:lnTo>
                    <a:lnTo>
                      <a:pt x="228" y="413"/>
                    </a:lnTo>
                    <a:lnTo>
                      <a:pt x="229" y="413"/>
                    </a:lnTo>
                    <a:lnTo>
                      <a:pt x="228" y="414"/>
                    </a:lnTo>
                    <a:lnTo>
                      <a:pt x="227" y="415"/>
                    </a:lnTo>
                    <a:lnTo>
                      <a:pt x="226" y="415"/>
                    </a:lnTo>
                    <a:lnTo>
                      <a:pt x="226" y="416"/>
                    </a:lnTo>
                    <a:lnTo>
                      <a:pt x="226" y="417"/>
                    </a:lnTo>
                    <a:lnTo>
                      <a:pt x="227" y="417"/>
                    </a:lnTo>
                    <a:lnTo>
                      <a:pt x="227" y="418"/>
                    </a:lnTo>
                    <a:lnTo>
                      <a:pt x="228" y="418"/>
                    </a:lnTo>
                    <a:lnTo>
                      <a:pt x="228" y="419"/>
                    </a:lnTo>
                    <a:lnTo>
                      <a:pt x="228" y="421"/>
                    </a:lnTo>
                    <a:lnTo>
                      <a:pt x="229" y="419"/>
                    </a:lnTo>
                    <a:lnTo>
                      <a:pt x="229" y="421"/>
                    </a:lnTo>
                    <a:lnTo>
                      <a:pt x="231" y="419"/>
                    </a:lnTo>
                    <a:lnTo>
                      <a:pt x="231" y="421"/>
                    </a:lnTo>
                    <a:lnTo>
                      <a:pt x="232" y="421"/>
                    </a:lnTo>
                    <a:lnTo>
                      <a:pt x="232" y="419"/>
                    </a:lnTo>
                    <a:lnTo>
                      <a:pt x="233" y="419"/>
                    </a:lnTo>
                    <a:lnTo>
                      <a:pt x="233" y="421"/>
                    </a:lnTo>
                    <a:lnTo>
                      <a:pt x="232" y="421"/>
                    </a:lnTo>
                    <a:lnTo>
                      <a:pt x="232" y="422"/>
                    </a:lnTo>
                    <a:lnTo>
                      <a:pt x="232" y="421"/>
                    </a:lnTo>
                    <a:lnTo>
                      <a:pt x="233" y="421"/>
                    </a:lnTo>
                    <a:lnTo>
                      <a:pt x="234" y="421"/>
                    </a:lnTo>
                    <a:lnTo>
                      <a:pt x="234" y="422"/>
                    </a:lnTo>
                    <a:lnTo>
                      <a:pt x="233" y="422"/>
                    </a:lnTo>
                    <a:lnTo>
                      <a:pt x="232" y="422"/>
                    </a:lnTo>
                    <a:lnTo>
                      <a:pt x="232" y="423"/>
                    </a:lnTo>
                    <a:lnTo>
                      <a:pt x="231" y="423"/>
                    </a:lnTo>
                    <a:lnTo>
                      <a:pt x="229" y="424"/>
                    </a:lnTo>
                    <a:lnTo>
                      <a:pt x="228" y="424"/>
                    </a:lnTo>
                    <a:lnTo>
                      <a:pt x="227" y="424"/>
                    </a:lnTo>
                    <a:lnTo>
                      <a:pt x="227" y="425"/>
                    </a:lnTo>
                    <a:lnTo>
                      <a:pt x="226" y="425"/>
                    </a:lnTo>
                    <a:lnTo>
                      <a:pt x="225" y="425"/>
                    </a:lnTo>
                    <a:lnTo>
                      <a:pt x="224" y="425"/>
                    </a:lnTo>
                    <a:lnTo>
                      <a:pt x="222" y="425"/>
                    </a:lnTo>
                    <a:lnTo>
                      <a:pt x="221" y="425"/>
                    </a:lnTo>
                    <a:lnTo>
                      <a:pt x="221" y="424"/>
                    </a:lnTo>
                    <a:lnTo>
                      <a:pt x="220" y="424"/>
                    </a:lnTo>
                    <a:lnTo>
                      <a:pt x="220" y="423"/>
                    </a:lnTo>
                    <a:lnTo>
                      <a:pt x="220" y="424"/>
                    </a:lnTo>
                    <a:lnTo>
                      <a:pt x="219" y="424"/>
                    </a:lnTo>
                    <a:lnTo>
                      <a:pt x="219" y="425"/>
                    </a:lnTo>
                    <a:lnTo>
                      <a:pt x="217" y="425"/>
                    </a:lnTo>
                    <a:lnTo>
                      <a:pt x="217" y="426"/>
                    </a:lnTo>
                    <a:lnTo>
                      <a:pt x="216" y="426"/>
                    </a:lnTo>
                    <a:lnTo>
                      <a:pt x="215" y="426"/>
                    </a:lnTo>
                    <a:lnTo>
                      <a:pt x="214" y="426"/>
                    </a:lnTo>
                    <a:lnTo>
                      <a:pt x="214" y="425"/>
                    </a:lnTo>
                    <a:lnTo>
                      <a:pt x="213" y="426"/>
                    </a:lnTo>
                    <a:lnTo>
                      <a:pt x="213" y="425"/>
                    </a:lnTo>
                    <a:lnTo>
                      <a:pt x="212" y="425"/>
                    </a:lnTo>
                    <a:lnTo>
                      <a:pt x="211" y="425"/>
                    </a:lnTo>
                    <a:lnTo>
                      <a:pt x="210" y="425"/>
                    </a:lnTo>
                    <a:lnTo>
                      <a:pt x="209" y="425"/>
                    </a:lnTo>
                    <a:lnTo>
                      <a:pt x="209" y="424"/>
                    </a:lnTo>
                    <a:lnTo>
                      <a:pt x="208" y="424"/>
                    </a:lnTo>
                    <a:lnTo>
                      <a:pt x="208" y="423"/>
                    </a:lnTo>
                    <a:lnTo>
                      <a:pt x="209" y="423"/>
                    </a:lnTo>
                    <a:lnTo>
                      <a:pt x="209" y="422"/>
                    </a:lnTo>
                    <a:lnTo>
                      <a:pt x="208" y="421"/>
                    </a:lnTo>
                    <a:lnTo>
                      <a:pt x="208" y="419"/>
                    </a:lnTo>
                    <a:lnTo>
                      <a:pt x="207" y="418"/>
                    </a:lnTo>
                    <a:lnTo>
                      <a:pt x="208" y="418"/>
                    </a:lnTo>
                    <a:lnTo>
                      <a:pt x="209" y="418"/>
                    </a:lnTo>
                    <a:lnTo>
                      <a:pt x="210" y="418"/>
                    </a:lnTo>
                    <a:lnTo>
                      <a:pt x="210" y="417"/>
                    </a:lnTo>
                    <a:lnTo>
                      <a:pt x="211" y="417"/>
                    </a:lnTo>
                    <a:lnTo>
                      <a:pt x="211" y="416"/>
                    </a:lnTo>
                    <a:lnTo>
                      <a:pt x="210" y="415"/>
                    </a:lnTo>
                    <a:lnTo>
                      <a:pt x="210" y="414"/>
                    </a:lnTo>
                    <a:lnTo>
                      <a:pt x="210" y="413"/>
                    </a:lnTo>
                    <a:lnTo>
                      <a:pt x="210" y="412"/>
                    </a:lnTo>
                    <a:lnTo>
                      <a:pt x="211" y="412"/>
                    </a:lnTo>
                    <a:lnTo>
                      <a:pt x="210" y="412"/>
                    </a:lnTo>
                    <a:lnTo>
                      <a:pt x="210" y="411"/>
                    </a:lnTo>
                    <a:lnTo>
                      <a:pt x="209" y="411"/>
                    </a:lnTo>
                    <a:lnTo>
                      <a:pt x="209" y="410"/>
                    </a:lnTo>
                    <a:lnTo>
                      <a:pt x="210" y="410"/>
                    </a:lnTo>
                    <a:lnTo>
                      <a:pt x="210" y="409"/>
                    </a:lnTo>
                    <a:lnTo>
                      <a:pt x="210" y="407"/>
                    </a:lnTo>
                    <a:lnTo>
                      <a:pt x="210" y="409"/>
                    </a:lnTo>
                    <a:lnTo>
                      <a:pt x="210" y="410"/>
                    </a:lnTo>
                    <a:lnTo>
                      <a:pt x="211" y="410"/>
                    </a:lnTo>
                    <a:lnTo>
                      <a:pt x="212" y="410"/>
                    </a:lnTo>
                    <a:lnTo>
                      <a:pt x="211" y="409"/>
                    </a:lnTo>
                    <a:lnTo>
                      <a:pt x="212" y="409"/>
                    </a:lnTo>
                    <a:lnTo>
                      <a:pt x="213" y="409"/>
                    </a:lnTo>
                    <a:lnTo>
                      <a:pt x="214" y="409"/>
                    </a:lnTo>
                    <a:lnTo>
                      <a:pt x="215" y="407"/>
                    </a:lnTo>
                    <a:lnTo>
                      <a:pt x="216" y="407"/>
                    </a:lnTo>
                    <a:lnTo>
                      <a:pt x="217" y="406"/>
                    </a:lnTo>
                    <a:lnTo>
                      <a:pt x="216" y="406"/>
                    </a:lnTo>
                    <a:lnTo>
                      <a:pt x="217" y="406"/>
                    </a:lnTo>
                    <a:lnTo>
                      <a:pt x="219" y="406"/>
                    </a:lnTo>
                    <a:lnTo>
                      <a:pt x="219" y="407"/>
                    </a:lnTo>
                    <a:lnTo>
                      <a:pt x="220" y="407"/>
                    </a:lnTo>
                    <a:lnTo>
                      <a:pt x="220" y="406"/>
                    </a:lnTo>
                    <a:lnTo>
                      <a:pt x="220" y="405"/>
                    </a:lnTo>
                    <a:lnTo>
                      <a:pt x="220" y="404"/>
                    </a:lnTo>
                    <a:lnTo>
                      <a:pt x="219" y="402"/>
                    </a:lnTo>
                    <a:lnTo>
                      <a:pt x="217" y="402"/>
                    </a:lnTo>
                    <a:lnTo>
                      <a:pt x="217" y="404"/>
                    </a:lnTo>
                    <a:lnTo>
                      <a:pt x="217" y="403"/>
                    </a:lnTo>
                    <a:lnTo>
                      <a:pt x="216" y="403"/>
                    </a:lnTo>
                    <a:lnTo>
                      <a:pt x="216" y="402"/>
                    </a:lnTo>
                    <a:lnTo>
                      <a:pt x="215" y="402"/>
                    </a:lnTo>
                    <a:lnTo>
                      <a:pt x="215" y="401"/>
                    </a:lnTo>
                    <a:lnTo>
                      <a:pt x="216" y="401"/>
                    </a:lnTo>
                    <a:lnTo>
                      <a:pt x="216" y="400"/>
                    </a:lnTo>
                    <a:lnTo>
                      <a:pt x="215" y="400"/>
                    </a:lnTo>
                    <a:lnTo>
                      <a:pt x="215" y="401"/>
                    </a:lnTo>
                    <a:lnTo>
                      <a:pt x="214" y="400"/>
                    </a:lnTo>
                    <a:lnTo>
                      <a:pt x="214" y="399"/>
                    </a:lnTo>
                    <a:lnTo>
                      <a:pt x="214" y="398"/>
                    </a:lnTo>
                    <a:lnTo>
                      <a:pt x="214" y="397"/>
                    </a:lnTo>
                    <a:lnTo>
                      <a:pt x="214" y="396"/>
                    </a:lnTo>
                    <a:lnTo>
                      <a:pt x="213" y="396"/>
                    </a:lnTo>
                    <a:lnTo>
                      <a:pt x="212" y="394"/>
                    </a:lnTo>
                    <a:lnTo>
                      <a:pt x="211" y="394"/>
                    </a:lnTo>
                    <a:lnTo>
                      <a:pt x="210" y="394"/>
                    </a:lnTo>
                    <a:lnTo>
                      <a:pt x="211" y="394"/>
                    </a:lnTo>
                    <a:lnTo>
                      <a:pt x="210" y="396"/>
                    </a:lnTo>
                    <a:lnTo>
                      <a:pt x="209" y="397"/>
                    </a:lnTo>
                    <a:lnTo>
                      <a:pt x="208" y="398"/>
                    </a:lnTo>
                    <a:lnTo>
                      <a:pt x="207" y="398"/>
                    </a:lnTo>
                    <a:lnTo>
                      <a:pt x="207" y="399"/>
                    </a:lnTo>
                    <a:lnTo>
                      <a:pt x="206" y="399"/>
                    </a:lnTo>
                    <a:lnTo>
                      <a:pt x="204" y="399"/>
                    </a:lnTo>
                    <a:lnTo>
                      <a:pt x="204" y="400"/>
                    </a:lnTo>
                    <a:lnTo>
                      <a:pt x="204" y="401"/>
                    </a:lnTo>
                    <a:lnTo>
                      <a:pt x="204" y="402"/>
                    </a:lnTo>
                    <a:lnTo>
                      <a:pt x="203" y="402"/>
                    </a:lnTo>
                    <a:lnTo>
                      <a:pt x="202" y="402"/>
                    </a:lnTo>
                    <a:lnTo>
                      <a:pt x="201" y="403"/>
                    </a:lnTo>
                    <a:lnTo>
                      <a:pt x="200" y="403"/>
                    </a:lnTo>
                    <a:lnTo>
                      <a:pt x="199" y="403"/>
                    </a:lnTo>
                    <a:lnTo>
                      <a:pt x="199" y="404"/>
                    </a:lnTo>
                    <a:lnTo>
                      <a:pt x="199" y="405"/>
                    </a:lnTo>
                    <a:lnTo>
                      <a:pt x="198" y="405"/>
                    </a:lnTo>
                    <a:lnTo>
                      <a:pt x="197" y="405"/>
                    </a:lnTo>
                    <a:lnTo>
                      <a:pt x="197" y="403"/>
                    </a:lnTo>
                    <a:lnTo>
                      <a:pt x="196" y="403"/>
                    </a:lnTo>
                    <a:lnTo>
                      <a:pt x="196" y="404"/>
                    </a:lnTo>
                    <a:lnTo>
                      <a:pt x="196" y="405"/>
                    </a:lnTo>
                    <a:lnTo>
                      <a:pt x="195" y="405"/>
                    </a:lnTo>
                    <a:lnTo>
                      <a:pt x="195" y="404"/>
                    </a:lnTo>
                    <a:lnTo>
                      <a:pt x="194" y="404"/>
                    </a:lnTo>
                    <a:lnTo>
                      <a:pt x="194" y="403"/>
                    </a:lnTo>
                    <a:lnTo>
                      <a:pt x="193" y="402"/>
                    </a:lnTo>
                    <a:lnTo>
                      <a:pt x="193" y="401"/>
                    </a:lnTo>
                    <a:lnTo>
                      <a:pt x="191" y="401"/>
                    </a:lnTo>
                    <a:lnTo>
                      <a:pt x="191" y="400"/>
                    </a:lnTo>
                    <a:lnTo>
                      <a:pt x="191" y="399"/>
                    </a:lnTo>
                    <a:lnTo>
                      <a:pt x="190" y="398"/>
                    </a:lnTo>
                    <a:lnTo>
                      <a:pt x="190" y="397"/>
                    </a:lnTo>
                    <a:lnTo>
                      <a:pt x="189" y="397"/>
                    </a:lnTo>
                    <a:lnTo>
                      <a:pt x="189" y="398"/>
                    </a:lnTo>
                    <a:lnTo>
                      <a:pt x="189" y="399"/>
                    </a:lnTo>
                    <a:lnTo>
                      <a:pt x="189" y="400"/>
                    </a:lnTo>
                    <a:lnTo>
                      <a:pt x="188" y="400"/>
                    </a:lnTo>
                    <a:lnTo>
                      <a:pt x="187" y="401"/>
                    </a:lnTo>
                    <a:lnTo>
                      <a:pt x="186" y="402"/>
                    </a:lnTo>
                    <a:lnTo>
                      <a:pt x="186" y="403"/>
                    </a:lnTo>
                    <a:lnTo>
                      <a:pt x="186" y="404"/>
                    </a:lnTo>
                    <a:lnTo>
                      <a:pt x="185" y="404"/>
                    </a:lnTo>
                    <a:lnTo>
                      <a:pt x="185" y="405"/>
                    </a:lnTo>
                    <a:lnTo>
                      <a:pt x="184" y="406"/>
                    </a:lnTo>
                    <a:lnTo>
                      <a:pt x="184" y="407"/>
                    </a:lnTo>
                    <a:lnTo>
                      <a:pt x="184" y="409"/>
                    </a:lnTo>
                    <a:lnTo>
                      <a:pt x="184" y="410"/>
                    </a:lnTo>
                    <a:lnTo>
                      <a:pt x="184" y="411"/>
                    </a:lnTo>
                    <a:lnTo>
                      <a:pt x="184" y="412"/>
                    </a:lnTo>
                    <a:lnTo>
                      <a:pt x="183" y="412"/>
                    </a:lnTo>
                    <a:lnTo>
                      <a:pt x="182" y="411"/>
                    </a:lnTo>
                    <a:lnTo>
                      <a:pt x="182" y="412"/>
                    </a:lnTo>
                    <a:lnTo>
                      <a:pt x="181" y="412"/>
                    </a:lnTo>
                    <a:lnTo>
                      <a:pt x="181" y="413"/>
                    </a:lnTo>
                    <a:lnTo>
                      <a:pt x="181" y="414"/>
                    </a:lnTo>
                    <a:lnTo>
                      <a:pt x="182" y="414"/>
                    </a:lnTo>
                    <a:lnTo>
                      <a:pt x="181" y="414"/>
                    </a:lnTo>
                    <a:lnTo>
                      <a:pt x="181" y="415"/>
                    </a:lnTo>
                    <a:lnTo>
                      <a:pt x="180" y="415"/>
                    </a:lnTo>
                    <a:lnTo>
                      <a:pt x="180" y="416"/>
                    </a:lnTo>
                    <a:lnTo>
                      <a:pt x="180" y="417"/>
                    </a:lnTo>
                    <a:lnTo>
                      <a:pt x="178" y="417"/>
                    </a:lnTo>
                    <a:lnTo>
                      <a:pt x="177" y="417"/>
                    </a:lnTo>
                    <a:lnTo>
                      <a:pt x="177" y="418"/>
                    </a:lnTo>
                    <a:lnTo>
                      <a:pt x="176" y="418"/>
                    </a:lnTo>
                    <a:lnTo>
                      <a:pt x="175" y="418"/>
                    </a:lnTo>
                    <a:lnTo>
                      <a:pt x="174" y="416"/>
                    </a:lnTo>
                    <a:lnTo>
                      <a:pt x="171" y="415"/>
                    </a:lnTo>
                    <a:lnTo>
                      <a:pt x="169" y="414"/>
                    </a:lnTo>
                    <a:lnTo>
                      <a:pt x="167" y="414"/>
                    </a:lnTo>
                    <a:lnTo>
                      <a:pt x="167" y="413"/>
                    </a:lnTo>
                    <a:lnTo>
                      <a:pt x="165" y="413"/>
                    </a:lnTo>
                    <a:lnTo>
                      <a:pt x="163" y="413"/>
                    </a:lnTo>
                    <a:lnTo>
                      <a:pt x="162" y="413"/>
                    </a:lnTo>
                    <a:lnTo>
                      <a:pt x="162" y="414"/>
                    </a:lnTo>
                    <a:lnTo>
                      <a:pt x="160" y="414"/>
                    </a:lnTo>
                    <a:lnTo>
                      <a:pt x="157" y="413"/>
                    </a:lnTo>
                    <a:lnTo>
                      <a:pt x="156" y="411"/>
                    </a:lnTo>
                    <a:lnTo>
                      <a:pt x="155" y="410"/>
                    </a:lnTo>
                    <a:lnTo>
                      <a:pt x="152" y="406"/>
                    </a:lnTo>
                    <a:lnTo>
                      <a:pt x="147" y="403"/>
                    </a:lnTo>
                    <a:lnTo>
                      <a:pt x="146" y="401"/>
                    </a:lnTo>
                    <a:lnTo>
                      <a:pt x="142" y="397"/>
                    </a:lnTo>
                    <a:lnTo>
                      <a:pt x="136" y="393"/>
                    </a:lnTo>
                    <a:lnTo>
                      <a:pt x="135" y="392"/>
                    </a:lnTo>
                    <a:lnTo>
                      <a:pt x="135" y="391"/>
                    </a:lnTo>
                    <a:lnTo>
                      <a:pt x="134" y="391"/>
                    </a:lnTo>
                    <a:lnTo>
                      <a:pt x="134" y="392"/>
                    </a:lnTo>
                    <a:lnTo>
                      <a:pt x="134" y="393"/>
                    </a:lnTo>
                    <a:lnTo>
                      <a:pt x="131" y="394"/>
                    </a:lnTo>
                    <a:lnTo>
                      <a:pt x="130" y="394"/>
                    </a:lnTo>
                    <a:lnTo>
                      <a:pt x="129" y="393"/>
                    </a:lnTo>
                    <a:lnTo>
                      <a:pt x="128" y="393"/>
                    </a:lnTo>
                    <a:lnTo>
                      <a:pt x="124" y="392"/>
                    </a:lnTo>
                    <a:lnTo>
                      <a:pt x="121" y="391"/>
                    </a:lnTo>
                    <a:lnTo>
                      <a:pt x="120" y="391"/>
                    </a:lnTo>
                    <a:lnTo>
                      <a:pt x="118" y="390"/>
                    </a:lnTo>
                    <a:lnTo>
                      <a:pt x="117" y="391"/>
                    </a:lnTo>
                    <a:lnTo>
                      <a:pt x="113" y="390"/>
                    </a:lnTo>
                    <a:lnTo>
                      <a:pt x="107" y="390"/>
                    </a:lnTo>
                    <a:lnTo>
                      <a:pt x="96" y="390"/>
                    </a:lnTo>
                    <a:lnTo>
                      <a:pt x="92" y="390"/>
                    </a:lnTo>
                    <a:lnTo>
                      <a:pt x="89" y="389"/>
                    </a:lnTo>
                    <a:lnTo>
                      <a:pt x="86" y="389"/>
                    </a:lnTo>
                    <a:lnTo>
                      <a:pt x="82" y="388"/>
                    </a:lnTo>
                    <a:lnTo>
                      <a:pt x="79" y="387"/>
                    </a:lnTo>
                    <a:lnTo>
                      <a:pt x="77" y="386"/>
                    </a:lnTo>
                    <a:lnTo>
                      <a:pt x="74" y="385"/>
                    </a:lnTo>
                    <a:lnTo>
                      <a:pt x="72" y="384"/>
                    </a:lnTo>
                    <a:lnTo>
                      <a:pt x="70" y="383"/>
                    </a:lnTo>
                    <a:lnTo>
                      <a:pt x="68" y="381"/>
                    </a:lnTo>
                    <a:lnTo>
                      <a:pt x="67" y="381"/>
                    </a:lnTo>
                    <a:lnTo>
                      <a:pt x="66" y="380"/>
                    </a:lnTo>
                    <a:lnTo>
                      <a:pt x="65" y="380"/>
                    </a:lnTo>
                    <a:lnTo>
                      <a:pt x="62" y="380"/>
                    </a:lnTo>
                    <a:lnTo>
                      <a:pt x="60" y="379"/>
                    </a:lnTo>
                    <a:lnTo>
                      <a:pt x="59" y="378"/>
                    </a:lnTo>
                    <a:lnTo>
                      <a:pt x="58" y="378"/>
                    </a:lnTo>
                    <a:lnTo>
                      <a:pt x="57" y="377"/>
                    </a:lnTo>
                    <a:lnTo>
                      <a:pt x="56" y="377"/>
                    </a:lnTo>
                    <a:lnTo>
                      <a:pt x="55" y="376"/>
                    </a:lnTo>
                    <a:lnTo>
                      <a:pt x="54" y="376"/>
                    </a:lnTo>
                    <a:lnTo>
                      <a:pt x="52" y="375"/>
                    </a:lnTo>
                    <a:lnTo>
                      <a:pt x="49" y="374"/>
                    </a:lnTo>
                    <a:lnTo>
                      <a:pt x="48" y="374"/>
                    </a:lnTo>
                    <a:lnTo>
                      <a:pt x="46" y="373"/>
                    </a:lnTo>
                    <a:lnTo>
                      <a:pt x="44" y="372"/>
                    </a:lnTo>
                    <a:lnTo>
                      <a:pt x="43" y="371"/>
                    </a:lnTo>
                    <a:lnTo>
                      <a:pt x="42" y="370"/>
                    </a:lnTo>
                    <a:lnTo>
                      <a:pt x="38" y="367"/>
                    </a:lnTo>
                    <a:lnTo>
                      <a:pt x="38" y="366"/>
                    </a:lnTo>
                    <a:lnTo>
                      <a:pt x="33" y="363"/>
                    </a:lnTo>
                    <a:lnTo>
                      <a:pt x="31" y="361"/>
                    </a:lnTo>
                    <a:lnTo>
                      <a:pt x="30" y="360"/>
                    </a:lnTo>
                    <a:lnTo>
                      <a:pt x="29" y="359"/>
                    </a:lnTo>
                    <a:lnTo>
                      <a:pt x="29" y="358"/>
                    </a:lnTo>
                    <a:lnTo>
                      <a:pt x="28" y="357"/>
                    </a:lnTo>
                    <a:lnTo>
                      <a:pt x="27" y="357"/>
                    </a:lnTo>
                    <a:lnTo>
                      <a:pt x="25" y="352"/>
                    </a:lnTo>
                    <a:lnTo>
                      <a:pt x="23" y="352"/>
                    </a:lnTo>
                    <a:lnTo>
                      <a:pt x="22" y="350"/>
                    </a:lnTo>
                    <a:lnTo>
                      <a:pt x="21" y="349"/>
                    </a:lnTo>
                    <a:lnTo>
                      <a:pt x="20" y="348"/>
                    </a:lnTo>
                    <a:lnTo>
                      <a:pt x="20" y="347"/>
                    </a:lnTo>
                    <a:lnTo>
                      <a:pt x="18" y="346"/>
                    </a:lnTo>
                    <a:lnTo>
                      <a:pt x="17" y="345"/>
                    </a:lnTo>
                    <a:lnTo>
                      <a:pt x="16" y="342"/>
                    </a:lnTo>
                    <a:lnTo>
                      <a:pt x="15" y="341"/>
                    </a:lnTo>
                    <a:lnTo>
                      <a:pt x="14" y="341"/>
                    </a:lnTo>
                    <a:lnTo>
                      <a:pt x="13" y="339"/>
                    </a:lnTo>
                    <a:lnTo>
                      <a:pt x="10" y="337"/>
                    </a:lnTo>
                    <a:lnTo>
                      <a:pt x="9" y="335"/>
                    </a:lnTo>
                    <a:lnTo>
                      <a:pt x="8" y="334"/>
                    </a:lnTo>
                    <a:lnTo>
                      <a:pt x="7" y="333"/>
                    </a:lnTo>
                    <a:lnTo>
                      <a:pt x="6" y="331"/>
                    </a:lnTo>
                    <a:lnTo>
                      <a:pt x="6" y="329"/>
                    </a:lnTo>
                    <a:lnTo>
                      <a:pt x="7" y="331"/>
                    </a:lnTo>
                    <a:lnTo>
                      <a:pt x="8" y="331"/>
                    </a:lnTo>
                    <a:lnTo>
                      <a:pt x="8" y="332"/>
                    </a:lnTo>
                    <a:lnTo>
                      <a:pt x="9" y="331"/>
                    </a:lnTo>
                    <a:lnTo>
                      <a:pt x="9" y="332"/>
                    </a:lnTo>
                    <a:lnTo>
                      <a:pt x="10" y="332"/>
                    </a:lnTo>
                    <a:lnTo>
                      <a:pt x="12" y="332"/>
                    </a:lnTo>
                    <a:lnTo>
                      <a:pt x="12" y="331"/>
                    </a:lnTo>
                    <a:lnTo>
                      <a:pt x="13" y="331"/>
                    </a:lnTo>
                    <a:lnTo>
                      <a:pt x="13" y="332"/>
                    </a:lnTo>
                    <a:lnTo>
                      <a:pt x="14" y="332"/>
                    </a:lnTo>
                    <a:lnTo>
                      <a:pt x="15" y="333"/>
                    </a:lnTo>
                    <a:lnTo>
                      <a:pt x="16" y="333"/>
                    </a:lnTo>
                    <a:lnTo>
                      <a:pt x="17" y="332"/>
                    </a:lnTo>
                    <a:lnTo>
                      <a:pt x="18" y="332"/>
                    </a:lnTo>
                    <a:lnTo>
                      <a:pt x="19" y="332"/>
                    </a:lnTo>
                    <a:lnTo>
                      <a:pt x="20" y="333"/>
                    </a:lnTo>
                    <a:lnTo>
                      <a:pt x="21" y="333"/>
                    </a:lnTo>
                    <a:lnTo>
                      <a:pt x="22" y="333"/>
                    </a:lnTo>
                    <a:lnTo>
                      <a:pt x="25" y="333"/>
                    </a:lnTo>
                    <a:lnTo>
                      <a:pt x="26" y="333"/>
                    </a:lnTo>
                    <a:lnTo>
                      <a:pt x="27" y="333"/>
                    </a:lnTo>
                    <a:lnTo>
                      <a:pt x="27" y="332"/>
                    </a:lnTo>
                    <a:lnTo>
                      <a:pt x="27" y="331"/>
                    </a:lnTo>
                    <a:lnTo>
                      <a:pt x="28" y="331"/>
                    </a:lnTo>
                    <a:lnTo>
                      <a:pt x="29" y="331"/>
                    </a:lnTo>
                    <a:lnTo>
                      <a:pt x="32" y="331"/>
                    </a:lnTo>
                    <a:lnTo>
                      <a:pt x="34" y="331"/>
                    </a:lnTo>
                    <a:lnTo>
                      <a:pt x="35" y="329"/>
                    </a:lnTo>
                    <a:lnTo>
                      <a:pt x="36" y="328"/>
                    </a:lnTo>
                    <a:lnTo>
                      <a:pt x="36" y="327"/>
                    </a:lnTo>
                    <a:lnTo>
                      <a:pt x="38" y="326"/>
                    </a:lnTo>
                    <a:lnTo>
                      <a:pt x="38" y="325"/>
                    </a:lnTo>
                    <a:lnTo>
                      <a:pt x="38" y="324"/>
                    </a:lnTo>
                    <a:lnTo>
                      <a:pt x="38" y="323"/>
                    </a:lnTo>
                    <a:lnTo>
                      <a:pt x="38" y="322"/>
                    </a:lnTo>
                    <a:lnTo>
                      <a:pt x="39" y="322"/>
                    </a:lnTo>
                    <a:lnTo>
                      <a:pt x="41" y="320"/>
                    </a:lnTo>
                    <a:lnTo>
                      <a:pt x="42" y="320"/>
                    </a:lnTo>
                    <a:lnTo>
                      <a:pt x="44" y="319"/>
                    </a:lnTo>
                    <a:lnTo>
                      <a:pt x="44" y="317"/>
                    </a:lnTo>
                    <a:lnTo>
                      <a:pt x="45" y="316"/>
                    </a:lnTo>
                    <a:lnTo>
                      <a:pt x="46" y="315"/>
                    </a:lnTo>
                    <a:lnTo>
                      <a:pt x="46" y="314"/>
                    </a:lnTo>
                    <a:lnTo>
                      <a:pt x="46" y="311"/>
                    </a:lnTo>
                    <a:lnTo>
                      <a:pt x="46" y="309"/>
                    </a:lnTo>
                    <a:lnTo>
                      <a:pt x="46" y="307"/>
                    </a:lnTo>
                    <a:lnTo>
                      <a:pt x="46" y="306"/>
                    </a:lnTo>
                    <a:lnTo>
                      <a:pt x="47" y="304"/>
                    </a:lnTo>
                    <a:lnTo>
                      <a:pt x="48" y="303"/>
                    </a:lnTo>
                    <a:lnTo>
                      <a:pt x="48" y="302"/>
                    </a:lnTo>
                    <a:lnTo>
                      <a:pt x="49" y="300"/>
                    </a:lnTo>
                    <a:lnTo>
                      <a:pt x="49" y="299"/>
                    </a:lnTo>
                    <a:lnTo>
                      <a:pt x="49" y="298"/>
                    </a:lnTo>
                    <a:lnTo>
                      <a:pt x="49" y="296"/>
                    </a:lnTo>
                    <a:lnTo>
                      <a:pt x="52" y="295"/>
                    </a:lnTo>
                    <a:lnTo>
                      <a:pt x="53" y="294"/>
                    </a:lnTo>
                    <a:lnTo>
                      <a:pt x="55" y="294"/>
                    </a:lnTo>
                    <a:lnTo>
                      <a:pt x="56" y="293"/>
                    </a:lnTo>
                    <a:lnTo>
                      <a:pt x="57" y="293"/>
                    </a:lnTo>
                    <a:lnTo>
                      <a:pt x="58" y="293"/>
                    </a:lnTo>
                    <a:lnTo>
                      <a:pt x="58" y="291"/>
                    </a:lnTo>
                    <a:lnTo>
                      <a:pt x="60" y="290"/>
                    </a:lnTo>
                    <a:lnTo>
                      <a:pt x="60" y="289"/>
                    </a:lnTo>
                    <a:lnTo>
                      <a:pt x="61" y="289"/>
                    </a:lnTo>
                    <a:lnTo>
                      <a:pt x="62" y="288"/>
                    </a:lnTo>
                    <a:lnTo>
                      <a:pt x="64" y="288"/>
                    </a:lnTo>
                    <a:lnTo>
                      <a:pt x="68" y="287"/>
                    </a:lnTo>
                    <a:lnTo>
                      <a:pt x="70" y="286"/>
                    </a:lnTo>
                    <a:lnTo>
                      <a:pt x="70" y="287"/>
                    </a:lnTo>
                    <a:lnTo>
                      <a:pt x="69" y="288"/>
                    </a:lnTo>
                    <a:lnTo>
                      <a:pt x="69" y="289"/>
                    </a:lnTo>
                    <a:lnTo>
                      <a:pt x="69" y="290"/>
                    </a:lnTo>
                    <a:lnTo>
                      <a:pt x="69" y="291"/>
                    </a:lnTo>
                    <a:lnTo>
                      <a:pt x="69" y="294"/>
                    </a:lnTo>
                    <a:lnTo>
                      <a:pt x="68" y="295"/>
                    </a:lnTo>
                    <a:lnTo>
                      <a:pt x="67" y="295"/>
                    </a:lnTo>
                    <a:lnTo>
                      <a:pt x="67" y="296"/>
                    </a:lnTo>
                    <a:lnTo>
                      <a:pt x="68" y="296"/>
                    </a:lnTo>
                    <a:lnTo>
                      <a:pt x="68" y="297"/>
                    </a:lnTo>
                    <a:lnTo>
                      <a:pt x="68" y="298"/>
                    </a:lnTo>
                    <a:lnTo>
                      <a:pt x="68" y="299"/>
                    </a:lnTo>
                    <a:lnTo>
                      <a:pt x="68" y="300"/>
                    </a:lnTo>
                    <a:lnTo>
                      <a:pt x="68" y="301"/>
                    </a:lnTo>
                    <a:lnTo>
                      <a:pt x="69" y="301"/>
                    </a:lnTo>
                    <a:lnTo>
                      <a:pt x="70" y="301"/>
                    </a:lnTo>
                    <a:lnTo>
                      <a:pt x="71" y="302"/>
                    </a:lnTo>
                    <a:lnTo>
                      <a:pt x="71" y="303"/>
                    </a:lnTo>
                    <a:lnTo>
                      <a:pt x="72" y="306"/>
                    </a:lnTo>
                    <a:lnTo>
                      <a:pt x="73" y="306"/>
                    </a:lnTo>
                    <a:lnTo>
                      <a:pt x="74" y="308"/>
                    </a:lnTo>
                    <a:lnTo>
                      <a:pt x="75" y="309"/>
                    </a:lnTo>
                    <a:lnTo>
                      <a:pt x="75" y="310"/>
                    </a:lnTo>
                    <a:lnTo>
                      <a:pt x="77" y="311"/>
                    </a:lnTo>
                    <a:lnTo>
                      <a:pt x="77" y="312"/>
                    </a:lnTo>
                    <a:lnTo>
                      <a:pt x="77" y="313"/>
                    </a:lnTo>
                    <a:lnTo>
                      <a:pt x="77" y="314"/>
                    </a:lnTo>
                    <a:lnTo>
                      <a:pt x="78" y="315"/>
                    </a:lnTo>
                    <a:lnTo>
                      <a:pt x="78" y="316"/>
                    </a:lnTo>
                    <a:lnTo>
                      <a:pt x="78" y="317"/>
                    </a:lnTo>
                    <a:lnTo>
                      <a:pt x="79" y="317"/>
                    </a:lnTo>
                    <a:lnTo>
                      <a:pt x="80" y="319"/>
                    </a:lnTo>
                    <a:lnTo>
                      <a:pt x="82" y="320"/>
                    </a:lnTo>
                    <a:lnTo>
                      <a:pt x="83" y="321"/>
                    </a:lnTo>
                    <a:lnTo>
                      <a:pt x="83" y="322"/>
                    </a:lnTo>
                    <a:lnTo>
                      <a:pt x="83" y="323"/>
                    </a:lnTo>
                    <a:lnTo>
                      <a:pt x="83" y="324"/>
                    </a:lnTo>
                    <a:lnTo>
                      <a:pt x="84" y="324"/>
                    </a:lnTo>
                    <a:lnTo>
                      <a:pt x="85" y="326"/>
                    </a:lnTo>
                    <a:lnTo>
                      <a:pt x="86" y="326"/>
                    </a:lnTo>
                    <a:lnTo>
                      <a:pt x="87" y="326"/>
                    </a:lnTo>
                    <a:lnTo>
                      <a:pt x="89" y="325"/>
                    </a:lnTo>
                    <a:lnTo>
                      <a:pt x="90" y="326"/>
                    </a:lnTo>
                    <a:lnTo>
                      <a:pt x="91" y="327"/>
                    </a:lnTo>
                    <a:lnTo>
                      <a:pt x="91" y="329"/>
                    </a:lnTo>
                    <a:lnTo>
                      <a:pt x="92" y="331"/>
                    </a:lnTo>
                    <a:lnTo>
                      <a:pt x="92" y="332"/>
                    </a:lnTo>
                    <a:lnTo>
                      <a:pt x="92" y="333"/>
                    </a:lnTo>
                    <a:lnTo>
                      <a:pt x="93" y="333"/>
                    </a:lnTo>
                    <a:lnTo>
                      <a:pt x="94" y="333"/>
                    </a:lnTo>
                    <a:lnTo>
                      <a:pt x="95" y="333"/>
                    </a:lnTo>
                    <a:lnTo>
                      <a:pt x="96" y="334"/>
                    </a:lnTo>
                    <a:lnTo>
                      <a:pt x="97" y="336"/>
                    </a:lnTo>
                    <a:lnTo>
                      <a:pt x="98" y="336"/>
                    </a:lnTo>
                    <a:lnTo>
                      <a:pt x="99" y="336"/>
                    </a:lnTo>
                    <a:lnTo>
                      <a:pt x="100" y="335"/>
                    </a:lnTo>
                    <a:lnTo>
                      <a:pt x="100" y="334"/>
                    </a:lnTo>
                    <a:lnTo>
                      <a:pt x="99" y="333"/>
                    </a:lnTo>
                    <a:lnTo>
                      <a:pt x="98" y="333"/>
                    </a:lnTo>
                    <a:lnTo>
                      <a:pt x="97" y="331"/>
                    </a:lnTo>
                    <a:lnTo>
                      <a:pt x="97" y="329"/>
                    </a:lnTo>
                    <a:lnTo>
                      <a:pt x="98" y="329"/>
                    </a:lnTo>
                    <a:lnTo>
                      <a:pt x="98" y="331"/>
                    </a:lnTo>
                    <a:lnTo>
                      <a:pt x="99" y="331"/>
                    </a:lnTo>
                    <a:lnTo>
                      <a:pt x="99" y="332"/>
                    </a:lnTo>
                    <a:lnTo>
                      <a:pt x="99" y="331"/>
                    </a:lnTo>
                    <a:lnTo>
                      <a:pt x="99" y="329"/>
                    </a:lnTo>
                    <a:lnTo>
                      <a:pt x="99" y="328"/>
                    </a:lnTo>
                    <a:lnTo>
                      <a:pt x="100" y="327"/>
                    </a:lnTo>
                    <a:lnTo>
                      <a:pt x="102" y="326"/>
                    </a:lnTo>
                    <a:lnTo>
                      <a:pt x="103" y="326"/>
                    </a:lnTo>
                    <a:lnTo>
                      <a:pt x="103" y="325"/>
                    </a:lnTo>
                    <a:lnTo>
                      <a:pt x="104" y="325"/>
                    </a:lnTo>
                    <a:lnTo>
                      <a:pt x="104" y="324"/>
                    </a:lnTo>
                    <a:lnTo>
                      <a:pt x="105" y="324"/>
                    </a:lnTo>
                    <a:lnTo>
                      <a:pt x="106" y="324"/>
                    </a:lnTo>
                    <a:lnTo>
                      <a:pt x="107" y="324"/>
                    </a:lnTo>
                    <a:lnTo>
                      <a:pt x="106" y="324"/>
                    </a:lnTo>
                    <a:lnTo>
                      <a:pt x="106" y="323"/>
                    </a:lnTo>
                    <a:lnTo>
                      <a:pt x="105" y="323"/>
                    </a:lnTo>
                    <a:lnTo>
                      <a:pt x="106" y="322"/>
                    </a:lnTo>
                    <a:lnTo>
                      <a:pt x="107" y="322"/>
                    </a:lnTo>
                    <a:lnTo>
                      <a:pt x="108" y="321"/>
                    </a:lnTo>
                    <a:lnTo>
                      <a:pt x="108" y="320"/>
                    </a:lnTo>
                    <a:lnTo>
                      <a:pt x="109" y="320"/>
                    </a:lnTo>
                    <a:lnTo>
                      <a:pt x="109" y="319"/>
                    </a:lnTo>
                    <a:lnTo>
                      <a:pt x="110" y="320"/>
                    </a:lnTo>
                    <a:lnTo>
                      <a:pt x="112" y="320"/>
                    </a:lnTo>
                    <a:lnTo>
                      <a:pt x="113" y="321"/>
                    </a:lnTo>
                    <a:lnTo>
                      <a:pt x="115" y="322"/>
                    </a:lnTo>
                    <a:lnTo>
                      <a:pt x="116" y="323"/>
                    </a:lnTo>
                    <a:lnTo>
                      <a:pt x="116" y="324"/>
                    </a:lnTo>
                    <a:lnTo>
                      <a:pt x="115" y="325"/>
                    </a:lnTo>
                    <a:lnTo>
                      <a:pt x="113" y="326"/>
                    </a:lnTo>
                    <a:lnTo>
                      <a:pt x="112" y="328"/>
                    </a:lnTo>
                    <a:lnTo>
                      <a:pt x="111" y="331"/>
                    </a:lnTo>
                    <a:lnTo>
                      <a:pt x="111" y="332"/>
                    </a:lnTo>
                    <a:lnTo>
                      <a:pt x="111" y="333"/>
                    </a:lnTo>
                    <a:lnTo>
                      <a:pt x="110" y="335"/>
                    </a:lnTo>
                    <a:lnTo>
                      <a:pt x="110" y="336"/>
                    </a:lnTo>
                    <a:lnTo>
                      <a:pt x="111" y="337"/>
                    </a:lnTo>
                    <a:lnTo>
                      <a:pt x="110" y="338"/>
                    </a:lnTo>
                    <a:lnTo>
                      <a:pt x="110" y="339"/>
                    </a:lnTo>
                    <a:lnTo>
                      <a:pt x="110" y="340"/>
                    </a:lnTo>
                    <a:lnTo>
                      <a:pt x="110" y="341"/>
                    </a:lnTo>
                    <a:lnTo>
                      <a:pt x="111" y="344"/>
                    </a:lnTo>
                    <a:lnTo>
                      <a:pt x="111" y="346"/>
                    </a:lnTo>
                    <a:lnTo>
                      <a:pt x="111" y="347"/>
                    </a:lnTo>
                    <a:lnTo>
                      <a:pt x="109" y="351"/>
                    </a:lnTo>
                    <a:lnTo>
                      <a:pt x="109" y="352"/>
                    </a:lnTo>
                    <a:lnTo>
                      <a:pt x="109" y="353"/>
                    </a:lnTo>
                    <a:lnTo>
                      <a:pt x="108" y="354"/>
                    </a:lnTo>
                    <a:lnTo>
                      <a:pt x="109" y="354"/>
                    </a:lnTo>
                    <a:lnTo>
                      <a:pt x="109" y="355"/>
                    </a:lnTo>
                    <a:lnTo>
                      <a:pt x="108" y="355"/>
                    </a:lnTo>
                    <a:lnTo>
                      <a:pt x="107" y="357"/>
                    </a:lnTo>
                    <a:lnTo>
                      <a:pt x="106" y="357"/>
                    </a:lnTo>
                    <a:lnTo>
                      <a:pt x="105" y="357"/>
                    </a:lnTo>
                    <a:lnTo>
                      <a:pt x="104" y="354"/>
                    </a:lnTo>
                    <a:lnTo>
                      <a:pt x="103" y="355"/>
                    </a:lnTo>
                    <a:lnTo>
                      <a:pt x="103" y="358"/>
                    </a:lnTo>
                    <a:lnTo>
                      <a:pt x="104" y="358"/>
                    </a:lnTo>
                    <a:lnTo>
                      <a:pt x="105" y="358"/>
                    </a:lnTo>
                    <a:lnTo>
                      <a:pt x="106" y="359"/>
                    </a:lnTo>
                    <a:lnTo>
                      <a:pt x="107" y="359"/>
                    </a:lnTo>
                    <a:lnTo>
                      <a:pt x="108" y="359"/>
                    </a:lnTo>
                    <a:lnTo>
                      <a:pt x="109" y="360"/>
                    </a:lnTo>
                    <a:lnTo>
                      <a:pt x="110" y="361"/>
                    </a:lnTo>
                    <a:lnTo>
                      <a:pt x="111" y="361"/>
                    </a:lnTo>
                    <a:lnTo>
                      <a:pt x="112" y="362"/>
                    </a:lnTo>
                    <a:lnTo>
                      <a:pt x="112" y="363"/>
                    </a:lnTo>
                    <a:lnTo>
                      <a:pt x="113" y="365"/>
                    </a:lnTo>
                    <a:lnTo>
                      <a:pt x="115" y="365"/>
                    </a:lnTo>
                    <a:lnTo>
                      <a:pt x="116" y="365"/>
                    </a:lnTo>
                    <a:lnTo>
                      <a:pt x="119" y="366"/>
                    </a:lnTo>
                    <a:lnTo>
                      <a:pt x="120" y="366"/>
                    </a:lnTo>
                    <a:lnTo>
                      <a:pt x="120" y="367"/>
                    </a:lnTo>
                    <a:lnTo>
                      <a:pt x="121" y="368"/>
                    </a:lnTo>
                    <a:lnTo>
                      <a:pt x="120" y="368"/>
                    </a:lnTo>
                    <a:lnTo>
                      <a:pt x="120" y="367"/>
                    </a:lnTo>
                    <a:lnTo>
                      <a:pt x="119" y="367"/>
                    </a:lnTo>
                    <a:lnTo>
                      <a:pt x="118" y="367"/>
                    </a:lnTo>
                    <a:lnTo>
                      <a:pt x="117" y="367"/>
                    </a:lnTo>
                    <a:lnTo>
                      <a:pt x="116" y="367"/>
                    </a:lnTo>
                    <a:lnTo>
                      <a:pt x="115" y="367"/>
                    </a:lnTo>
                    <a:lnTo>
                      <a:pt x="113" y="368"/>
                    </a:lnTo>
                    <a:lnTo>
                      <a:pt x="113" y="370"/>
                    </a:lnTo>
                    <a:lnTo>
                      <a:pt x="112" y="371"/>
                    </a:lnTo>
                    <a:lnTo>
                      <a:pt x="112" y="372"/>
                    </a:lnTo>
                    <a:lnTo>
                      <a:pt x="111" y="373"/>
                    </a:lnTo>
                    <a:lnTo>
                      <a:pt x="111" y="374"/>
                    </a:lnTo>
                    <a:lnTo>
                      <a:pt x="110" y="375"/>
                    </a:lnTo>
                    <a:lnTo>
                      <a:pt x="110" y="376"/>
                    </a:lnTo>
                    <a:lnTo>
                      <a:pt x="110" y="377"/>
                    </a:lnTo>
                    <a:lnTo>
                      <a:pt x="109" y="378"/>
                    </a:lnTo>
                    <a:lnTo>
                      <a:pt x="109" y="379"/>
                    </a:lnTo>
                    <a:lnTo>
                      <a:pt x="109" y="380"/>
                    </a:lnTo>
                    <a:lnTo>
                      <a:pt x="110" y="381"/>
                    </a:lnTo>
                    <a:lnTo>
                      <a:pt x="110" y="383"/>
                    </a:lnTo>
                    <a:lnTo>
                      <a:pt x="111" y="383"/>
                    </a:lnTo>
                    <a:lnTo>
                      <a:pt x="112" y="383"/>
                    </a:lnTo>
                    <a:lnTo>
                      <a:pt x="113" y="383"/>
                    </a:lnTo>
                    <a:lnTo>
                      <a:pt x="115" y="383"/>
                    </a:lnTo>
                    <a:lnTo>
                      <a:pt x="115" y="381"/>
                    </a:lnTo>
                    <a:lnTo>
                      <a:pt x="113" y="381"/>
                    </a:lnTo>
                    <a:lnTo>
                      <a:pt x="112" y="381"/>
                    </a:lnTo>
                    <a:lnTo>
                      <a:pt x="113" y="379"/>
                    </a:lnTo>
                    <a:lnTo>
                      <a:pt x="113" y="378"/>
                    </a:lnTo>
                    <a:lnTo>
                      <a:pt x="115" y="378"/>
                    </a:lnTo>
                    <a:lnTo>
                      <a:pt x="116" y="378"/>
                    </a:lnTo>
                    <a:lnTo>
                      <a:pt x="117" y="378"/>
                    </a:lnTo>
                    <a:lnTo>
                      <a:pt x="119" y="377"/>
                    </a:lnTo>
                    <a:lnTo>
                      <a:pt x="122" y="377"/>
                    </a:lnTo>
                    <a:lnTo>
                      <a:pt x="123" y="377"/>
                    </a:lnTo>
                    <a:lnTo>
                      <a:pt x="124" y="377"/>
                    </a:lnTo>
                    <a:lnTo>
                      <a:pt x="125" y="376"/>
                    </a:lnTo>
                    <a:lnTo>
                      <a:pt x="125" y="375"/>
                    </a:lnTo>
                    <a:lnTo>
                      <a:pt x="125" y="374"/>
                    </a:lnTo>
                    <a:lnTo>
                      <a:pt x="125" y="372"/>
                    </a:lnTo>
                    <a:lnTo>
                      <a:pt x="126" y="371"/>
                    </a:lnTo>
                    <a:lnTo>
                      <a:pt x="128" y="371"/>
                    </a:lnTo>
                    <a:lnTo>
                      <a:pt x="128" y="372"/>
                    </a:lnTo>
                    <a:lnTo>
                      <a:pt x="130" y="372"/>
                    </a:lnTo>
                    <a:lnTo>
                      <a:pt x="131" y="372"/>
                    </a:lnTo>
                    <a:lnTo>
                      <a:pt x="131" y="373"/>
                    </a:lnTo>
                    <a:lnTo>
                      <a:pt x="132" y="373"/>
                    </a:lnTo>
                    <a:lnTo>
                      <a:pt x="132" y="374"/>
                    </a:lnTo>
                    <a:lnTo>
                      <a:pt x="133" y="374"/>
                    </a:lnTo>
                    <a:lnTo>
                      <a:pt x="133" y="375"/>
                    </a:lnTo>
                    <a:lnTo>
                      <a:pt x="134" y="375"/>
                    </a:lnTo>
                    <a:lnTo>
                      <a:pt x="134" y="374"/>
                    </a:lnTo>
                    <a:lnTo>
                      <a:pt x="134" y="373"/>
                    </a:lnTo>
                    <a:lnTo>
                      <a:pt x="135" y="373"/>
                    </a:lnTo>
                    <a:lnTo>
                      <a:pt x="136" y="373"/>
                    </a:lnTo>
                    <a:lnTo>
                      <a:pt x="137" y="373"/>
                    </a:lnTo>
                    <a:lnTo>
                      <a:pt x="138" y="373"/>
                    </a:lnTo>
                    <a:lnTo>
                      <a:pt x="139" y="372"/>
                    </a:lnTo>
                    <a:lnTo>
                      <a:pt x="139" y="371"/>
                    </a:lnTo>
                    <a:lnTo>
                      <a:pt x="141" y="371"/>
                    </a:lnTo>
                    <a:lnTo>
                      <a:pt x="141" y="370"/>
                    </a:lnTo>
                    <a:lnTo>
                      <a:pt x="141" y="368"/>
                    </a:lnTo>
                    <a:lnTo>
                      <a:pt x="142" y="368"/>
                    </a:lnTo>
                    <a:lnTo>
                      <a:pt x="142" y="367"/>
                    </a:lnTo>
                    <a:lnTo>
                      <a:pt x="143" y="367"/>
                    </a:lnTo>
                    <a:lnTo>
                      <a:pt x="143" y="366"/>
                    </a:lnTo>
                    <a:lnTo>
                      <a:pt x="143" y="365"/>
                    </a:lnTo>
                    <a:lnTo>
                      <a:pt x="143" y="366"/>
                    </a:lnTo>
                    <a:lnTo>
                      <a:pt x="143" y="365"/>
                    </a:lnTo>
                    <a:lnTo>
                      <a:pt x="142" y="365"/>
                    </a:lnTo>
                    <a:lnTo>
                      <a:pt x="142" y="364"/>
                    </a:lnTo>
                    <a:lnTo>
                      <a:pt x="141" y="364"/>
                    </a:lnTo>
                    <a:lnTo>
                      <a:pt x="142" y="363"/>
                    </a:lnTo>
                    <a:lnTo>
                      <a:pt x="142" y="361"/>
                    </a:lnTo>
                    <a:lnTo>
                      <a:pt x="142" y="360"/>
                    </a:lnTo>
                    <a:lnTo>
                      <a:pt x="142" y="359"/>
                    </a:lnTo>
                    <a:lnTo>
                      <a:pt x="141" y="358"/>
                    </a:lnTo>
                    <a:lnTo>
                      <a:pt x="141" y="357"/>
                    </a:lnTo>
                    <a:lnTo>
                      <a:pt x="141" y="355"/>
                    </a:lnTo>
                    <a:lnTo>
                      <a:pt x="141" y="354"/>
                    </a:lnTo>
                    <a:lnTo>
                      <a:pt x="138" y="353"/>
                    </a:lnTo>
                    <a:lnTo>
                      <a:pt x="139" y="352"/>
                    </a:lnTo>
                    <a:lnTo>
                      <a:pt x="141" y="351"/>
                    </a:lnTo>
                    <a:lnTo>
                      <a:pt x="139" y="352"/>
                    </a:lnTo>
                    <a:lnTo>
                      <a:pt x="138" y="352"/>
                    </a:lnTo>
                    <a:lnTo>
                      <a:pt x="137" y="352"/>
                    </a:lnTo>
                    <a:lnTo>
                      <a:pt x="137" y="353"/>
                    </a:lnTo>
                    <a:lnTo>
                      <a:pt x="137" y="354"/>
                    </a:lnTo>
                    <a:lnTo>
                      <a:pt x="138" y="355"/>
                    </a:lnTo>
                    <a:lnTo>
                      <a:pt x="137" y="355"/>
                    </a:lnTo>
                    <a:lnTo>
                      <a:pt x="136" y="354"/>
                    </a:lnTo>
                    <a:lnTo>
                      <a:pt x="136" y="353"/>
                    </a:lnTo>
                    <a:lnTo>
                      <a:pt x="135" y="353"/>
                    </a:lnTo>
                    <a:lnTo>
                      <a:pt x="135" y="352"/>
                    </a:lnTo>
                    <a:lnTo>
                      <a:pt x="134" y="351"/>
                    </a:lnTo>
                    <a:lnTo>
                      <a:pt x="134" y="350"/>
                    </a:lnTo>
                    <a:lnTo>
                      <a:pt x="133" y="350"/>
                    </a:lnTo>
                    <a:lnTo>
                      <a:pt x="133" y="349"/>
                    </a:lnTo>
                    <a:lnTo>
                      <a:pt x="134" y="347"/>
                    </a:lnTo>
                    <a:lnTo>
                      <a:pt x="136" y="347"/>
                    </a:lnTo>
                    <a:lnTo>
                      <a:pt x="137" y="347"/>
                    </a:lnTo>
                    <a:lnTo>
                      <a:pt x="138" y="347"/>
                    </a:lnTo>
                    <a:lnTo>
                      <a:pt x="139" y="347"/>
                    </a:lnTo>
                    <a:lnTo>
                      <a:pt x="141" y="347"/>
                    </a:lnTo>
                    <a:lnTo>
                      <a:pt x="142" y="347"/>
                    </a:lnTo>
                    <a:lnTo>
                      <a:pt x="143" y="347"/>
                    </a:lnTo>
                    <a:lnTo>
                      <a:pt x="144" y="346"/>
                    </a:lnTo>
                    <a:lnTo>
                      <a:pt x="145" y="346"/>
                    </a:lnTo>
                    <a:lnTo>
                      <a:pt x="145" y="345"/>
                    </a:lnTo>
                    <a:lnTo>
                      <a:pt x="145" y="344"/>
                    </a:lnTo>
                    <a:lnTo>
                      <a:pt x="145" y="342"/>
                    </a:lnTo>
                    <a:lnTo>
                      <a:pt x="144" y="342"/>
                    </a:lnTo>
                    <a:lnTo>
                      <a:pt x="143" y="342"/>
                    </a:lnTo>
                    <a:lnTo>
                      <a:pt x="141" y="340"/>
                    </a:lnTo>
                    <a:lnTo>
                      <a:pt x="139" y="340"/>
                    </a:lnTo>
                    <a:lnTo>
                      <a:pt x="138" y="339"/>
                    </a:lnTo>
                    <a:lnTo>
                      <a:pt x="139" y="338"/>
                    </a:lnTo>
                    <a:lnTo>
                      <a:pt x="142" y="336"/>
                    </a:lnTo>
                    <a:lnTo>
                      <a:pt x="142" y="335"/>
                    </a:lnTo>
                    <a:lnTo>
                      <a:pt x="141" y="335"/>
                    </a:lnTo>
                    <a:lnTo>
                      <a:pt x="141" y="334"/>
                    </a:lnTo>
                    <a:lnTo>
                      <a:pt x="142" y="334"/>
                    </a:lnTo>
                    <a:lnTo>
                      <a:pt x="142" y="333"/>
                    </a:lnTo>
                    <a:lnTo>
                      <a:pt x="142" y="332"/>
                    </a:lnTo>
                    <a:lnTo>
                      <a:pt x="142" y="331"/>
                    </a:lnTo>
                    <a:lnTo>
                      <a:pt x="141" y="328"/>
                    </a:lnTo>
                    <a:lnTo>
                      <a:pt x="141" y="326"/>
                    </a:lnTo>
                    <a:lnTo>
                      <a:pt x="141" y="324"/>
                    </a:lnTo>
                    <a:lnTo>
                      <a:pt x="139" y="323"/>
                    </a:lnTo>
                    <a:lnTo>
                      <a:pt x="138" y="322"/>
                    </a:lnTo>
                    <a:lnTo>
                      <a:pt x="137" y="322"/>
                    </a:lnTo>
                    <a:lnTo>
                      <a:pt x="137" y="321"/>
                    </a:lnTo>
                    <a:lnTo>
                      <a:pt x="138" y="319"/>
                    </a:lnTo>
                    <a:lnTo>
                      <a:pt x="138" y="316"/>
                    </a:lnTo>
                    <a:lnTo>
                      <a:pt x="137" y="314"/>
                    </a:lnTo>
                    <a:lnTo>
                      <a:pt x="137" y="313"/>
                    </a:lnTo>
                    <a:lnTo>
                      <a:pt x="136" y="312"/>
                    </a:lnTo>
                    <a:lnTo>
                      <a:pt x="136" y="311"/>
                    </a:lnTo>
                    <a:lnTo>
                      <a:pt x="135" y="310"/>
                    </a:lnTo>
                    <a:lnTo>
                      <a:pt x="134" y="309"/>
                    </a:lnTo>
                    <a:lnTo>
                      <a:pt x="133" y="308"/>
                    </a:lnTo>
                    <a:lnTo>
                      <a:pt x="132" y="307"/>
                    </a:lnTo>
                    <a:lnTo>
                      <a:pt x="130" y="307"/>
                    </a:lnTo>
                    <a:lnTo>
                      <a:pt x="128" y="306"/>
                    </a:lnTo>
                    <a:lnTo>
                      <a:pt x="126" y="306"/>
                    </a:lnTo>
                    <a:lnTo>
                      <a:pt x="125" y="306"/>
                    </a:lnTo>
                    <a:lnTo>
                      <a:pt x="123" y="306"/>
                    </a:lnTo>
                    <a:lnTo>
                      <a:pt x="122" y="304"/>
                    </a:lnTo>
                    <a:lnTo>
                      <a:pt x="122" y="302"/>
                    </a:lnTo>
                    <a:lnTo>
                      <a:pt x="122" y="301"/>
                    </a:lnTo>
                    <a:lnTo>
                      <a:pt x="121" y="301"/>
                    </a:lnTo>
                    <a:lnTo>
                      <a:pt x="121" y="300"/>
                    </a:lnTo>
                    <a:lnTo>
                      <a:pt x="122" y="300"/>
                    </a:lnTo>
                    <a:lnTo>
                      <a:pt x="123" y="300"/>
                    </a:lnTo>
                    <a:lnTo>
                      <a:pt x="124" y="300"/>
                    </a:lnTo>
                    <a:lnTo>
                      <a:pt x="125" y="300"/>
                    </a:lnTo>
                    <a:lnTo>
                      <a:pt x="125" y="301"/>
                    </a:lnTo>
                    <a:lnTo>
                      <a:pt x="126" y="301"/>
                    </a:lnTo>
                    <a:lnTo>
                      <a:pt x="126" y="302"/>
                    </a:lnTo>
                    <a:lnTo>
                      <a:pt x="128" y="303"/>
                    </a:lnTo>
                    <a:lnTo>
                      <a:pt x="128" y="302"/>
                    </a:lnTo>
                    <a:lnTo>
                      <a:pt x="126" y="302"/>
                    </a:lnTo>
                    <a:lnTo>
                      <a:pt x="126" y="301"/>
                    </a:lnTo>
                    <a:lnTo>
                      <a:pt x="126" y="300"/>
                    </a:lnTo>
                    <a:lnTo>
                      <a:pt x="125" y="300"/>
                    </a:lnTo>
                    <a:lnTo>
                      <a:pt x="123" y="299"/>
                    </a:lnTo>
                    <a:lnTo>
                      <a:pt x="122" y="299"/>
                    </a:lnTo>
                    <a:lnTo>
                      <a:pt x="121" y="298"/>
                    </a:lnTo>
                    <a:lnTo>
                      <a:pt x="121" y="297"/>
                    </a:lnTo>
                    <a:lnTo>
                      <a:pt x="120" y="297"/>
                    </a:lnTo>
                    <a:lnTo>
                      <a:pt x="120" y="296"/>
                    </a:lnTo>
                    <a:lnTo>
                      <a:pt x="119" y="296"/>
                    </a:lnTo>
                    <a:lnTo>
                      <a:pt x="118" y="295"/>
                    </a:lnTo>
                    <a:lnTo>
                      <a:pt x="117" y="294"/>
                    </a:lnTo>
                    <a:lnTo>
                      <a:pt x="116" y="294"/>
                    </a:lnTo>
                    <a:lnTo>
                      <a:pt x="115" y="293"/>
                    </a:lnTo>
                    <a:lnTo>
                      <a:pt x="113" y="294"/>
                    </a:lnTo>
                    <a:lnTo>
                      <a:pt x="113" y="293"/>
                    </a:lnTo>
                    <a:lnTo>
                      <a:pt x="112" y="293"/>
                    </a:lnTo>
                    <a:lnTo>
                      <a:pt x="111" y="293"/>
                    </a:lnTo>
                    <a:lnTo>
                      <a:pt x="110" y="293"/>
                    </a:lnTo>
                    <a:lnTo>
                      <a:pt x="109" y="293"/>
                    </a:lnTo>
                    <a:lnTo>
                      <a:pt x="108" y="291"/>
                    </a:lnTo>
                    <a:lnTo>
                      <a:pt x="108" y="293"/>
                    </a:lnTo>
                    <a:lnTo>
                      <a:pt x="107" y="293"/>
                    </a:lnTo>
                    <a:lnTo>
                      <a:pt x="106" y="293"/>
                    </a:lnTo>
                    <a:lnTo>
                      <a:pt x="106" y="290"/>
                    </a:lnTo>
                    <a:lnTo>
                      <a:pt x="106" y="289"/>
                    </a:lnTo>
                    <a:lnTo>
                      <a:pt x="102" y="288"/>
                    </a:lnTo>
                    <a:lnTo>
                      <a:pt x="99" y="287"/>
                    </a:lnTo>
                    <a:lnTo>
                      <a:pt x="96" y="287"/>
                    </a:lnTo>
                    <a:lnTo>
                      <a:pt x="95" y="285"/>
                    </a:lnTo>
                    <a:lnTo>
                      <a:pt x="95" y="284"/>
                    </a:lnTo>
                    <a:lnTo>
                      <a:pt x="94" y="284"/>
                    </a:lnTo>
                    <a:lnTo>
                      <a:pt x="93" y="284"/>
                    </a:lnTo>
                    <a:lnTo>
                      <a:pt x="93" y="283"/>
                    </a:lnTo>
                    <a:lnTo>
                      <a:pt x="94" y="281"/>
                    </a:lnTo>
                    <a:lnTo>
                      <a:pt x="94" y="278"/>
                    </a:lnTo>
                    <a:lnTo>
                      <a:pt x="93" y="277"/>
                    </a:lnTo>
                    <a:lnTo>
                      <a:pt x="93" y="276"/>
                    </a:lnTo>
                    <a:lnTo>
                      <a:pt x="93" y="275"/>
                    </a:lnTo>
                    <a:lnTo>
                      <a:pt x="92" y="275"/>
                    </a:lnTo>
                    <a:lnTo>
                      <a:pt x="92" y="273"/>
                    </a:lnTo>
                    <a:lnTo>
                      <a:pt x="91" y="273"/>
                    </a:lnTo>
                    <a:lnTo>
                      <a:pt x="90" y="272"/>
                    </a:lnTo>
                    <a:lnTo>
                      <a:pt x="90" y="271"/>
                    </a:lnTo>
                    <a:lnTo>
                      <a:pt x="89" y="270"/>
                    </a:lnTo>
                    <a:lnTo>
                      <a:pt x="86" y="270"/>
                    </a:lnTo>
                    <a:lnTo>
                      <a:pt x="85" y="270"/>
                    </a:lnTo>
                    <a:lnTo>
                      <a:pt x="84" y="269"/>
                    </a:lnTo>
                    <a:lnTo>
                      <a:pt x="83" y="269"/>
                    </a:lnTo>
                    <a:lnTo>
                      <a:pt x="81" y="269"/>
                    </a:lnTo>
                    <a:lnTo>
                      <a:pt x="80" y="269"/>
                    </a:lnTo>
                    <a:lnTo>
                      <a:pt x="80" y="268"/>
                    </a:lnTo>
                    <a:lnTo>
                      <a:pt x="80" y="267"/>
                    </a:lnTo>
                    <a:lnTo>
                      <a:pt x="80" y="263"/>
                    </a:lnTo>
                    <a:lnTo>
                      <a:pt x="81" y="262"/>
                    </a:lnTo>
                    <a:lnTo>
                      <a:pt x="81" y="261"/>
                    </a:lnTo>
                    <a:lnTo>
                      <a:pt x="82" y="261"/>
                    </a:lnTo>
                    <a:lnTo>
                      <a:pt x="83" y="261"/>
                    </a:lnTo>
                    <a:lnTo>
                      <a:pt x="84" y="262"/>
                    </a:lnTo>
                    <a:lnTo>
                      <a:pt x="84" y="261"/>
                    </a:lnTo>
                    <a:lnTo>
                      <a:pt x="84" y="259"/>
                    </a:lnTo>
                    <a:lnTo>
                      <a:pt x="83" y="258"/>
                    </a:lnTo>
                    <a:lnTo>
                      <a:pt x="83" y="257"/>
                    </a:lnTo>
                    <a:lnTo>
                      <a:pt x="83" y="256"/>
                    </a:lnTo>
                    <a:lnTo>
                      <a:pt x="85" y="256"/>
                    </a:lnTo>
                    <a:lnTo>
                      <a:pt x="85" y="255"/>
                    </a:lnTo>
                    <a:lnTo>
                      <a:pt x="86" y="255"/>
                    </a:lnTo>
                    <a:lnTo>
                      <a:pt x="86" y="254"/>
                    </a:lnTo>
                    <a:lnTo>
                      <a:pt x="85" y="254"/>
                    </a:lnTo>
                    <a:lnTo>
                      <a:pt x="85" y="252"/>
                    </a:lnTo>
                    <a:lnTo>
                      <a:pt x="85" y="251"/>
                    </a:lnTo>
                    <a:lnTo>
                      <a:pt x="85" y="250"/>
                    </a:lnTo>
                    <a:lnTo>
                      <a:pt x="84" y="249"/>
                    </a:lnTo>
                    <a:lnTo>
                      <a:pt x="83" y="247"/>
                    </a:lnTo>
                    <a:lnTo>
                      <a:pt x="83" y="246"/>
                    </a:lnTo>
                    <a:lnTo>
                      <a:pt x="82" y="246"/>
                    </a:lnTo>
                    <a:lnTo>
                      <a:pt x="82" y="245"/>
                    </a:lnTo>
                    <a:lnTo>
                      <a:pt x="82" y="244"/>
                    </a:lnTo>
                    <a:lnTo>
                      <a:pt x="82" y="243"/>
                    </a:lnTo>
                    <a:lnTo>
                      <a:pt x="82" y="242"/>
                    </a:lnTo>
                    <a:lnTo>
                      <a:pt x="81" y="242"/>
                    </a:lnTo>
                    <a:lnTo>
                      <a:pt x="80" y="240"/>
                    </a:lnTo>
                    <a:lnTo>
                      <a:pt x="79" y="240"/>
                    </a:lnTo>
                    <a:lnTo>
                      <a:pt x="78" y="240"/>
                    </a:lnTo>
                    <a:lnTo>
                      <a:pt x="77" y="240"/>
                    </a:lnTo>
                    <a:lnTo>
                      <a:pt x="75" y="240"/>
                    </a:lnTo>
                    <a:lnTo>
                      <a:pt x="74" y="240"/>
                    </a:lnTo>
                    <a:lnTo>
                      <a:pt x="73" y="240"/>
                    </a:lnTo>
                    <a:lnTo>
                      <a:pt x="72" y="240"/>
                    </a:lnTo>
                    <a:lnTo>
                      <a:pt x="71" y="240"/>
                    </a:lnTo>
                    <a:lnTo>
                      <a:pt x="70" y="239"/>
                    </a:lnTo>
                    <a:lnTo>
                      <a:pt x="69" y="239"/>
                    </a:lnTo>
                    <a:lnTo>
                      <a:pt x="69" y="238"/>
                    </a:lnTo>
                    <a:lnTo>
                      <a:pt x="68" y="238"/>
                    </a:lnTo>
                    <a:lnTo>
                      <a:pt x="66" y="237"/>
                    </a:lnTo>
                    <a:lnTo>
                      <a:pt x="65" y="236"/>
                    </a:lnTo>
                    <a:lnTo>
                      <a:pt x="62" y="235"/>
                    </a:lnTo>
                    <a:lnTo>
                      <a:pt x="61" y="235"/>
                    </a:lnTo>
                    <a:lnTo>
                      <a:pt x="60" y="235"/>
                    </a:lnTo>
                    <a:lnTo>
                      <a:pt x="59" y="235"/>
                    </a:lnTo>
                    <a:lnTo>
                      <a:pt x="58" y="235"/>
                    </a:lnTo>
                    <a:lnTo>
                      <a:pt x="57" y="235"/>
                    </a:lnTo>
                    <a:lnTo>
                      <a:pt x="57" y="234"/>
                    </a:lnTo>
                    <a:lnTo>
                      <a:pt x="57" y="233"/>
                    </a:lnTo>
                    <a:lnTo>
                      <a:pt x="57" y="231"/>
                    </a:lnTo>
                    <a:lnTo>
                      <a:pt x="57" y="229"/>
                    </a:lnTo>
                    <a:lnTo>
                      <a:pt x="57" y="226"/>
                    </a:lnTo>
                    <a:lnTo>
                      <a:pt x="57" y="224"/>
                    </a:lnTo>
                    <a:lnTo>
                      <a:pt x="56" y="222"/>
                    </a:lnTo>
                    <a:lnTo>
                      <a:pt x="56" y="221"/>
                    </a:lnTo>
                    <a:lnTo>
                      <a:pt x="55" y="220"/>
                    </a:lnTo>
                    <a:lnTo>
                      <a:pt x="53" y="218"/>
                    </a:lnTo>
                    <a:lnTo>
                      <a:pt x="53" y="217"/>
                    </a:lnTo>
                    <a:lnTo>
                      <a:pt x="54" y="216"/>
                    </a:lnTo>
                    <a:lnTo>
                      <a:pt x="54" y="214"/>
                    </a:lnTo>
                    <a:lnTo>
                      <a:pt x="54" y="213"/>
                    </a:lnTo>
                    <a:lnTo>
                      <a:pt x="53" y="213"/>
                    </a:lnTo>
                    <a:lnTo>
                      <a:pt x="53" y="211"/>
                    </a:lnTo>
                    <a:lnTo>
                      <a:pt x="53" y="210"/>
                    </a:lnTo>
                    <a:lnTo>
                      <a:pt x="52" y="209"/>
                    </a:lnTo>
                    <a:lnTo>
                      <a:pt x="53" y="209"/>
                    </a:lnTo>
                    <a:lnTo>
                      <a:pt x="53" y="208"/>
                    </a:lnTo>
                    <a:lnTo>
                      <a:pt x="54" y="208"/>
                    </a:lnTo>
                    <a:lnTo>
                      <a:pt x="54" y="207"/>
                    </a:lnTo>
                    <a:lnTo>
                      <a:pt x="54" y="206"/>
                    </a:lnTo>
                    <a:lnTo>
                      <a:pt x="54" y="205"/>
                    </a:lnTo>
                    <a:lnTo>
                      <a:pt x="54" y="204"/>
                    </a:lnTo>
                    <a:lnTo>
                      <a:pt x="54" y="203"/>
                    </a:lnTo>
                    <a:lnTo>
                      <a:pt x="53" y="203"/>
                    </a:lnTo>
                    <a:lnTo>
                      <a:pt x="53" y="201"/>
                    </a:lnTo>
                    <a:lnTo>
                      <a:pt x="53" y="200"/>
                    </a:lnTo>
                    <a:lnTo>
                      <a:pt x="53" y="199"/>
                    </a:lnTo>
                    <a:lnTo>
                      <a:pt x="53" y="198"/>
                    </a:lnTo>
                    <a:lnTo>
                      <a:pt x="54" y="198"/>
                    </a:lnTo>
                    <a:lnTo>
                      <a:pt x="54" y="197"/>
                    </a:lnTo>
                    <a:lnTo>
                      <a:pt x="55" y="196"/>
                    </a:lnTo>
                    <a:lnTo>
                      <a:pt x="54" y="196"/>
                    </a:lnTo>
                    <a:lnTo>
                      <a:pt x="53" y="196"/>
                    </a:lnTo>
                    <a:lnTo>
                      <a:pt x="53" y="195"/>
                    </a:lnTo>
                    <a:lnTo>
                      <a:pt x="53" y="194"/>
                    </a:lnTo>
                    <a:lnTo>
                      <a:pt x="52" y="193"/>
                    </a:lnTo>
                    <a:lnTo>
                      <a:pt x="51" y="193"/>
                    </a:lnTo>
                    <a:lnTo>
                      <a:pt x="52" y="192"/>
                    </a:lnTo>
                    <a:lnTo>
                      <a:pt x="52" y="191"/>
                    </a:lnTo>
                    <a:lnTo>
                      <a:pt x="53" y="190"/>
                    </a:lnTo>
                    <a:lnTo>
                      <a:pt x="53" y="188"/>
                    </a:lnTo>
                    <a:lnTo>
                      <a:pt x="53" y="187"/>
                    </a:lnTo>
                    <a:lnTo>
                      <a:pt x="53" y="186"/>
                    </a:lnTo>
                    <a:lnTo>
                      <a:pt x="52" y="186"/>
                    </a:lnTo>
                    <a:lnTo>
                      <a:pt x="52" y="184"/>
                    </a:lnTo>
                    <a:lnTo>
                      <a:pt x="51" y="184"/>
                    </a:lnTo>
                    <a:lnTo>
                      <a:pt x="51" y="182"/>
                    </a:lnTo>
                    <a:lnTo>
                      <a:pt x="49" y="182"/>
                    </a:lnTo>
                    <a:lnTo>
                      <a:pt x="49" y="181"/>
                    </a:lnTo>
                    <a:lnTo>
                      <a:pt x="48" y="180"/>
                    </a:lnTo>
                    <a:lnTo>
                      <a:pt x="48" y="179"/>
                    </a:lnTo>
                    <a:lnTo>
                      <a:pt x="48" y="177"/>
                    </a:lnTo>
                    <a:lnTo>
                      <a:pt x="48" y="175"/>
                    </a:lnTo>
                    <a:lnTo>
                      <a:pt x="48" y="174"/>
                    </a:lnTo>
                    <a:lnTo>
                      <a:pt x="48" y="173"/>
                    </a:lnTo>
                    <a:lnTo>
                      <a:pt x="48" y="171"/>
                    </a:lnTo>
                    <a:lnTo>
                      <a:pt x="49" y="170"/>
                    </a:lnTo>
                    <a:lnTo>
                      <a:pt x="49" y="169"/>
                    </a:lnTo>
                    <a:lnTo>
                      <a:pt x="51" y="168"/>
                    </a:lnTo>
                    <a:lnTo>
                      <a:pt x="52" y="167"/>
                    </a:lnTo>
                    <a:lnTo>
                      <a:pt x="52" y="166"/>
                    </a:lnTo>
                    <a:lnTo>
                      <a:pt x="53" y="166"/>
                    </a:lnTo>
                    <a:lnTo>
                      <a:pt x="54" y="165"/>
                    </a:lnTo>
                    <a:lnTo>
                      <a:pt x="55" y="165"/>
                    </a:lnTo>
                    <a:lnTo>
                      <a:pt x="58" y="165"/>
                    </a:lnTo>
                    <a:lnTo>
                      <a:pt x="60" y="165"/>
                    </a:lnTo>
                    <a:lnTo>
                      <a:pt x="61" y="164"/>
                    </a:lnTo>
                    <a:lnTo>
                      <a:pt x="64" y="164"/>
                    </a:lnTo>
                    <a:lnTo>
                      <a:pt x="65" y="164"/>
                    </a:lnTo>
                    <a:lnTo>
                      <a:pt x="66" y="162"/>
                    </a:lnTo>
                    <a:lnTo>
                      <a:pt x="67" y="162"/>
                    </a:lnTo>
                    <a:lnTo>
                      <a:pt x="68" y="162"/>
                    </a:lnTo>
                    <a:lnTo>
                      <a:pt x="70" y="160"/>
                    </a:lnTo>
                    <a:lnTo>
                      <a:pt x="71" y="160"/>
                    </a:lnTo>
                    <a:lnTo>
                      <a:pt x="71" y="159"/>
                    </a:lnTo>
                    <a:lnTo>
                      <a:pt x="73" y="157"/>
                    </a:lnTo>
                    <a:lnTo>
                      <a:pt x="75" y="156"/>
                    </a:lnTo>
                    <a:lnTo>
                      <a:pt x="75" y="155"/>
                    </a:lnTo>
                    <a:lnTo>
                      <a:pt x="77" y="154"/>
                    </a:lnTo>
                    <a:lnTo>
                      <a:pt x="78" y="154"/>
                    </a:lnTo>
                    <a:lnTo>
                      <a:pt x="78" y="153"/>
                    </a:lnTo>
                    <a:lnTo>
                      <a:pt x="78" y="152"/>
                    </a:lnTo>
                    <a:lnTo>
                      <a:pt x="78" y="150"/>
                    </a:lnTo>
                    <a:lnTo>
                      <a:pt x="77" y="147"/>
                    </a:lnTo>
                    <a:lnTo>
                      <a:pt x="77" y="145"/>
                    </a:lnTo>
                    <a:lnTo>
                      <a:pt x="77" y="144"/>
                    </a:lnTo>
                    <a:lnTo>
                      <a:pt x="77" y="142"/>
                    </a:lnTo>
                    <a:lnTo>
                      <a:pt x="78" y="142"/>
                    </a:lnTo>
                    <a:lnTo>
                      <a:pt x="78" y="141"/>
                    </a:lnTo>
                    <a:lnTo>
                      <a:pt x="79" y="140"/>
                    </a:lnTo>
                    <a:lnTo>
                      <a:pt x="80" y="139"/>
                    </a:lnTo>
                    <a:lnTo>
                      <a:pt x="81" y="136"/>
                    </a:lnTo>
                    <a:lnTo>
                      <a:pt x="82" y="135"/>
                    </a:lnTo>
                    <a:lnTo>
                      <a:pt x="84" y="133"/>
                    </a:lnTo>
                    <a:lnTo>
                      <a:pt x="85" y="132"/>
                    </a:lnTo>
                    <a:lnTo>
                      <a:pt x="87" y="131"/>
                    </a:lnTo>
                    <a:lnTo>
                      <a:pt x="90" y="129"/>
                    </a:lnTo>
                    <a:lnTo>
                      <a:pt x="91" y="128"/>
                    </a:lnTo>
                    <a:lnTo>
                      <a:pt x="92" y="127"/>
                    </a:lnTo>
                    <a:lnTo>
                      <a:pt x="93" y="126"/>
                    </a:lnTo>
                    <a:lnTo>
                      <a:pt x="94" y="126"/>
                    </a:lnTo>
                    <a:lnTo>
                      <a:pt x="96" y="124"/>
                    </a:lnTo>
                    <a:lnTo>
                      <a:pt x="97" y="124"/>
                    </a:lnTo>
                    <a:lnTo>
                      <a:pt x="98" y="123"/>
                    </a:lnTo>
                    <a:lnTo>
                      <a:pt x="99" y="123"/>
                    </a:lnTo>
                    <a:lnTo>
                      <a:pt x="100" y="122"/>
                    </a:lnTo>
                    <a:lnTo>
                      <a:pt x="100" y="121"/>
                    </a:lnTo>
                    <a:lnTo>
                      <a:pt x="102" y="120"/>
                    </a:lnTo>
                    <a:lnTo>
                      <a:pt x="103" y="120"/>
                    </a:lnTo>
                    <a:lnTo>
                      <a:pt x="104" y="119"/>
                    </a:lnTo>
                    <a:lnTo>
                      <a:pt x="105" y="119"/>
                    </a:lnTo>
                    <a:lnTo>
                      <a:pt x="106" y="119"/>
                    </a:lnTo>
                    <a:lnTo>
                      <a:pt x="107" y="119"/>
                    </a:lnTo>
                    <a:lnTo>
                      <a:pt x="108" y="120"/>
                    </a:lnTo>
                    <a:lnTo>
                      <a:pt x="108" y="121"/>
                    </a:lnTo>
                    <a:lnTo>
                      <a:pt x="108" y="122"/>
                    </a:lnTo>
                    <a:lnTo>
                      <a:pt x="108" y="123"/>
                    </a:lnTo>
                    <a:lnTo>
                      <a:pt x="108" y="124"/>
                    </a:lnTo>
                    <a:lnTo>
                      <a:pt x="108" y="127"/>
                    </a:lnTo>
                    <a:lnTo>
                      <a:pt x="109" y="128"/>
                    </a:lnTo>
                    <a:lnTo>
                      <a:pt x="110" y="129"/>
                    </a:lnTo>
                    <a:lnTo>
                      <a:pt x="111" y="130"/>
                    </a:lnTo>
                    <a:lnTo>
                      <a:pt x="112" y="130"/>
                    </a:lnTo>
                    <a:lnTo>
                      <a:pt x="113" y="130"/>
                    </a:lnTo>
                    <a:lnTo>
                      <a:pt x="115" y="131"/>
                    </a:lnTo>
                    <a:lnTo>
                      <a:pt x="116" y="131"/>
                    </a:lnTo>
                    <a:lnTo>
                      <a:pt x="117" y="130"/>
                    </a:lnTo>
                    <a:lnTo>
                      <a:pt x="118" y="129"/>
                    </a:lnTo>
                    <a:lnTo>
                      <a:pt x="119" y="129"/>
                    </a:lnTo>
                    <a:lnTo>
                      <a:pt x="119" y="128"/>
                    </a:lnTo>
                    <a:lnTo>
                      <a:pt x="120" y="127"/>
                    </a:lnTo>
                    <a:lnTo>
                      <a:pt x="120" y="126"/>
                    </a:lnTo>
                    <a:lnTo>
                      <a:pt x="120" y="124"/>
                    </a:lnTo>
                    <a:lnTo>
                      <a:pt x="121" y="123"/>
                    </a:lnTo>
                    <a:lnTo>
                      <a:pt x="122" y="123"/>
                    </a:lnTo>
                    <a:lnTo>
                      <a:pt x="123" y="123"/>
                    </a:lnTo>
                    <a:lnTo>
                      <a:pt x="124" y="123"/>
                    </a:lnTo>
                    <a:lnTo>
                      <a:pt x="126" y="124"/>
                    </a:lnTo>
                    <a:lnTo>
                      <a:pt x="128" y="124"/>
                    </a:lnTo>
                    <a:lnTo>
                      <a:pt x="129" y="124"/>
                    </a:lnTo>
                    <a:lnTo>
                      <a:pt x="130" y="123"/>
                    </a:lnTo>
                    <a:lnTo>
                      <a:pt x="130" y="122"/>
                    </a:lnTo>
                    <a:lnTo>
                      <a:pt x="129" y="120"/>
                    </a:lnTo>
                    <a:lnTo>
                      <a:pt x="130" y="120"/>
                    </a:lnTo>
                    <a:lnTo>
                      <a:pt x="130" y="119"/>
                    </a:lnTo>
                    <a:lnTo>
                      <a:pt x="131" y="119"/>
                    </a:lnTo>
                    <a:lnTo>
                      <a:pt x="133" y="119"/>
                    </a:lnTo>
                    <a:lnTo>
                      <a:pt x="134" y="119"/>
                    </a:lnTo>
                    <a:lnTo>
                      <a:pt x="135" y="120"/>
                    </a:lnTo>
                    <a:lnTo>
                      <a:pt x="136" y="120"/>
                    </a:lnTo>
                    <a:lnTo>
                      <a:pt x="139" y="120"/>
                    </a:lnTo>
                    <a:lnTo>
                      <a:pt x="141" y="120"/>
                    </a:lnTo>
                    <a:lnTo>
                      <a:pt x="142" y="119"/>
                    </a:lnTo>
                    <a:lnTo>
                      <a:pt x="142" y="118"/>
                    </a:lnTo>
                    <a:lnTo>
                      <a:pt x="143" y="116"/>
                    </a:lnTo>
                    <a:lnTo>
                      <a:pt x="143" y="115"/>
                    </a:lnTo>
                    <a:lnTo>
                      <a:pt x="143" y="114"/>
                    </a:lnTo>
                    <a:lnTo>
                      <a:pt x="144" y="113"/>
                    </a:lnTo>
                    <a:lnTo>
                      <a:pt x="145" y="113"/>
                    </a:lnTo>
                    <a:lnTo>
                      <a:pt x="146" y="113"/>
                    </a:lnTo>
                    <a:lnTo>
                      <a:pt x="148" y="113"/>
                    </a:lnTo>
                    <a:lnTo>
                      <a:pt x="149" y="113"/>
                    </a:lnTo>
                    <a:lnTo>
                      <a:pt x="150" y="113"/>
                    </a:lnTo>
                    <a:lnTo>
                      <a:pt x="151" y="113"/>
                    </a:lnTo>
                    <a:lnTo>
                      <a:pt x="152" y="113"/>
                    </a:lnTo>
                    <a:lnTo>
                      <a:pt x="154" y="110"/>
                    </a:lnTo>
                    <a:lnTo>
                      <a:pt x="155" y="109"/>
                    </a:lnTo>
                    <a:lnTo>
                      <a:pt x="156" y="109"/>
                    </a:lnTo>
                    <a:lnTo>
                      <a:pt x="157" y="109"/>
                    </a:lnTo>
                    <a:lnTo>
                      <a:pt x="159" y="110"/>
                    </a:lnTo>
                    <a:lnTo>
                      <a:pt x="160" y="110"/>
                    </a:lnTo>
                    <a:lnTo>
                      <a:pt x="161" y="109"/>
                    </a:lnTo>
                    <a:lnTo>
                      <a:pt x="162" y="109"/>
                    </a:lnTo>
                    <a:lnTo>
                      <a:pt x="163" y="108"/>
                    </a:lnTo>
                    <a:lnTo>
                      <a:pt x="164" y="107"/>
                    </a:lnTo>
                    <a:lnTo>
                      <a:pt x="164" y="106"/>
                    </a:lnTo>
                    <a:lnTo>
                      <a:pt x="178" y="89"/>
                    </a:lnTo>
                    <a:lnTo>
                      <a:pt x="185" y="80"/>
                    </a:lnTo>
                    <a:lnTo>
                      <a:pt x="186" y="78"/>
                    </a:lnTo>
                    <a:lnTo>
                      <a:pt x="187" y="77"/>
                    </a:lnTo>
                    <a:lnTo>
                      <a:pt x="190" y="71"/>
                    </a:lnTo>
                    <a:lnTo>
                      <a:pt x="207" y="50"/>
                    </a:lnTo>
                    <a:lnTo>
                      <a:pt x="211" y="44"/>
                    </a:lnTo>
                    <a:lnTo>
                      <a:pt x="221" y="44"/>
                    </a:lnTo>
                    <a:lnTo>
                      <a:pt x="235" y="44"/>
                    </a:lnTo>
                    <a:lnTo>
                      <a:pt x="268" y="44"/>
                    </a:lnTo>
                    <a:lnTo>
                      <a:pt x="288" y="43"/>
                    </a:lnTo>
                    <a:lnTo>
                      <a:pt x="287" y="23"/>
                    </a:lnTo>
                    <a:lnTo>
                      <a:pt x="291" y="23"/>
                    </a:lnTo>
                    <a:lnTo>
                      <a:pt x="312" y="23"/>
                    </a:lnTo>
                    <a:lnTo>
                      <a:pt x="310" y="18"/>
                    </a:lnTo>
                    <a:lnTo>
                      <a:pt x="310" y="16"/>
                    </a:lnTo>
                    <a:lnTo>
                      <a:pt x="311" y="16"/>
                    </a:lnTo>
                    <a:lnTo>
                      <a:pt x="312" y="13"/>
                    </a:lnTo>
                    <a:lnTo>
                      <a:pt x="314" y="13"/>
                    </a:lnTo>
                    <a:lnTo>
                      <a:pt x="317" y="12"/>
                    </a:lnTo>
                    <a:lnTo>
                      <a:pt x="320" y="10"/>
                    </a:lnTo>
                    <a:lnTo>
                      <a:pt x="320" y="7"/>
                    </a:lnTo>
                    <a:lnTo>
                      <a:pt x="320" y="2"/>
                    </a:lnTo>
                    <a:lnTo>
                      <a:pt x="322" y="1"/>
                    </a:lnTo>
                    <a:lnTo>
                      <a:pt x="323" y="1"/>
                    </a:lnTo>
                    <a:lnTo>
                      <a:pt x="324" y="0"/>
                    </a:lnTo>
                    <a:lnTo>
                      <a:pt x="325" y="0"/>
                    </a:lnTo>
                    <a:lnTo>
                      <a:pt x="326" y="1"/>
                    </a:lnTo>
                    <a:lnTo>
                      <a:pt x="327" y="1"/>
                    </a:lnTo>
                    <a:lnTo>
                      <a:pt x="328" y="1"/>
                    </a:lnTo>
                    <a:lnTo>
                      <a:pt x="330" y="1"/>
                    </a:lnTo>
                    <a:lnTo>
                      <a:pt x="332" y="2"/>
                    </a:lnTo>
                    <a:lnTo>
                      <a:pt x="333" y="3"/>
                    </a:lnTo>
                    <a:lnTo>
                      <a:pt x="335" y="5"/>
                    </a:lnTo>
                    <a:lnTo>
                      <a:pt x="333" y="5"/>
                    </a:lnTo>
                    <a:lnTo>
                      <a:pt x="333" y="11"/>
                    </a:lnTo>
                    <a:lnTo>
                      <a:pt x="335" y="11"/>
                    </a:lnTo>
                    <a:lnTo>
                      <a:pt x="335" y="14"/>
                    </a:lnTo>
                    <a:lnTo>
                      <a:pt x="335" y="17"/>
                    </a:lnTo>
                    <a:lnTo>
                      <a:pt x="335" y="19"/>
                    </a:lnTo>
                    <a:lnTo>
                      <a:pt x="335" y="20"/>
                    </a:lnTo>
                    <a:lnTo>
                      <a:pt x="337" y="23"/>
                    </a:lnTo>
                    <a:lnTo>
                      <a:pt x="339" y="24"/>
                    </a:lnTo>
                    <a:lnTo>
                      <a:pt x="344" y="21"/>
                    </a:lnTo>
                    <a:lnTo>
                      <a:pt x="346" y="24"/>
                    </a:lnTo>
                    <a:lnTo>
                      <a:pt x="344" y="25"/>
                    </a:lnTo>
                    <a:lnTo>
                      <a:pt x="345" y="28"/>
                    </a:lnTo>
                    <a:lnTo>
                      <a:pt x="344" y="29"/>
                    </a:lnTo>
                    <a:lnTo>
                      <a:pt x="345" y="32"/>
                    </a:lnTo>
                    <a:lnTo>
                      <a:pt x="346" y="32"/>
                    </a:lnTo>
                    <a:lnTo>
                      <a:pt x="348" y="33"/>
                    </a:lnTo>
                    <a:lnTo>
                      <a:pt x="349" y="36"/>
                    </a:lnTo>
                    <a:lnTo>
                      <a:pt x="351" y="40"/>
                    </a:lnTo>
                    <a:lnTo>
                      <a:pt x="351" y="41"/>
                    </a:lnTo>
                    <a:lnTo>
                      <a:pt x="352" y="43"/>
                    </a:lnTo>
                    <a:lnTo>
                      <a:pt x="354" y="47"/>
                    </a:lnTo>
                    <a:lnTo>
                      <a:pt x="354" y="49"/>
                    </a:lnTo>
                    <a:lnTo>
                      <a:pt x="354" y="51"/>
                    </a:lnTo>
                    <a:lnTo>
                      <a:pt x="356" y="55"/>
                    </a:lnTo>
                    <a:lnTo>
                      <a:pt x="357" y="57"/>
                    </a:lnTo>
                    <a:lnTo>
                      <a:pt x="357" y="58"/>
                    </a:lnTo>
                    <a:lnTo>
                      <a:pt x="358" y="59"/>
                    </a:lnTo>
                    <a:lnTo>
                      <a:pt x="360" y="60"/>
                    </a:lnTo>
                    <a:lnTo>
                      <a:pt x="362" y="62"/>
                    </a:lnTo>
                    <a:lnTo>
                      <a:pt x="363" y="63"/>
                    </a:lnTo>
                    <a:lnTo>
                      <a:pt x="364" y="64"/>
                    </a:lnTo>
                    <a:lnTo>
                      <a:pt x="365" y="65"/>
                    </a:lnTo>
                    <a:lnTo>
                      <a:pt x="367" y="67"/>
                    </a:lnTo>
                    <a:lnTo>
                      <a:pt x="369" y="69"/>
                    </a:lnTo>
                    <a:lnTo>
                      <a:pt x="369" y="70"/>
                    </a:lnTo>
                    <a:lnTo>
                      <a:pt x="370" y="71"/>
                    </a:lnTo>
                    <a:lnTo>
                      <a:pt x="371" y="71"/>
                    </a:lnTo>
                    <a:lnTo>
                      <a:pt x="373" y="71"/>
                    </a:lnTo>
                    <a:lnTo>
                      <a:pt x="373" y="72"/>
                    </a:lnTo>
                    <a:lnTo>
                      <a:pt x="374" y="72"/>
                    </a:lnTo>
                    <a:lnTo>
                      <a:pt x="375" y="72"/>
                    </a:lnTo>
                    <a:lnTo>
                      <a:pt x="376" y="72"/>
                    </a:lnTo>
                    <a:lnTo>
                      <a:pt x="377" y="72"/>
                    </a:lnTo>
                    <a:lnTo>
                      <a:pt x="379" y="72"/>
                    </a:lnTo>
                    <a:lnTo>
                      <a:pt x="380" y="72"/>
                    </a:lnTo>
                    <a:lnTo>
                      <a:pt x="381" y="72"/>
                    </a:lnTo>
                    <a:lnTo>
                      <a:pt x="382" y="72"/>
                    </a:lnTo>
                    <a:lnTo>
                      <a:pt x="383" y="74"/>
                    </a:lnTo>
                    <a:lnTo>
                      <a:pt x="384" y="75"/>
                    </a:lnTo>
                    <a:lnTo>
                      <a:pt x="388" y="77"/>
                    </a:lnTo>
                    <a:lnTo>
                      <a:pt x="389" y="77"/>
                    </a:lnTo>
                    <a:lnTo>
                      <a:pt x="390" y="78"/>
                    </a:lnTo>
                    <a:lnTo>
                      <a:pt x="391" y="78"/>
                    </a:lnTo>
                    <a:lnTo>
                      <a:pt x="392" y="79"/>
                    </a:lnTo>
                    <a:lnTo>
                      <a:pt x="394" y="80"/>
                    </a:lnTo>
                    <a:lnTo>
                      <a:pt x="395" y="80"/>
                    </a:lnTo>
                    <a:lnTo>
                      <a:pt x="397" y="83"/>
                    </a:lnTo>
                    <a:lnTo>
                      <a:pt x="401" y="88"/>
                    </a:lnTo>
                    <a:lnTo>
                      <a:pt x="402" y="90"/>
                    </a:lnTo>
                    <a:lnTo>
                      <a:pt x="404" y="92"/>
                    </a:lnTo>
                    <a:lnTo>
                      <a:pt x="406" y="94"/>
                    </a:lnTo>
                    <a:lnTo>
                      <a:pt x="407" y="94"/>
                    </a:lnTo>
                    <a:lnTo>
                      <a:pt x="408" y="95"/>
                    </a:lnTo>
                    <a:lnTo>
                      <a:pt x="410" y="97"/>
                    </a:lnTo>
                    <a:lnTo>
                      <a:pt x="412" y="100"/>
                    </a:lnTo>
                    <a:lnTo>
                      <a:pt x="413" y="101"/>
                    </a:lnTo>
                    <a:lnTo>
                      <a:pt x="413" y="102"/>
                    </a:lnTo>
                    <a:lnTo>
                      <a:pt x="416" y="106"/>
                    </a:lnTo>
                    <a:lnTo>
                      <a:pt x="416" y="107"/>
                    </a:lnTo>
                    <a:lnTo>
                      <a:pt x="418" y="109"/>
                    </a:lnTo>
                    <a:lnTo>
                      <a:pt x="418" y="110"/>
                    </a:lnTo>
                    <a:lnTo>
                      <a:pt x="419" y="110"/>
                    </a:lnTo>
                    <a:lnTo>
                      <a:pt x="419" y="113"/>
                    </a:lnTo>
                    <a:lnTo>
                      <a:pt x="420" y="114"/>
                    </a:lnTo>
                    <a:lnTo>
                      <a:pt x="420" y="115"/>
                    </a:lnTo>
                    <a:lnTo>
                      <a:pt x="422" y="117"/>
                    </a:lnTo>
                    <a:lnTo>
                      <a:pt x="423" y="118"/>
                    </a:lnTo>
                    <a:lnTo>
                      <a:pt x="425" y="120"/>
                    </a:lnTo>
                    <a:lnTo>
                      <a:pt x="426" y="121"/>
                    </a:lnTo>
                    <a:lnTo>
                      <a:pt x="427" y="122"/>
                    </a:lnTo>
                    <a:lnTo>
                      <a:pt x="428" y="123"/>
                    </a:lnTo>
                    <a:lnTo>
                      <a:pt x="429" y="123"/>
                    </a:lnTo>
                    <a:lnTo>
                      <a:pt x="430" y="123"/>
                    </a:lnTo>
                    <a:lnTo>
                      <a:pt x="432" y="124"/>
                    </a:lnTo>
                    <a:lnTo>
                      <a:pt x="433" y="124"/>
                    </a:lnTo>
                    <a:lnTo>
                      <a:pt x="434" y="124"/>
                    </a:lnTo>
                    <a:lnTo>
                      <a:pt x="436" y="124"/>
                    </a:lnTo>
                    <a:lnTo>
                      <a:pt x="438" y="124"/>
                    </a:lnTo>
                    <a:lnTo>
                      <a:pt x="441" y="124"/>
                    </a:lnTo>
                    <a:lnTo>
                      <a:pt x="444" y="126"/>
                    </a:lnTo>
                    <a:lnTo>
                      <a:pt x="445" y="126"/>
                    </a:lnTo>
                    <a:lnTo>
                      <a:pt x="446" y="127"/>
                    </a:lnTo>
                    <a:lnTo>
                      <a:pt x="447" y="127"/>
                    </a:lnTo>
                    <a:lnTo>
                      <a:pt x="448" y="128"/>
                    </a:lnTo>
                    <a:lnTo>
                      <a:pt x="448" y="132"/>
                    </a:lnTo>
                    <a:lnTo>
                      <a:pt x="451" y="134"/>
                    </a:lnTo>
                    <a:lnTo>
                      <a:pt x="452" y="136"/>
                    </a:lnTo>
                    <a:lnTo>
                      <a:pt x="454" y="139"/>
                    </a:lnTo>
                    <a:lnTo>
                      <a:pt x="455" y="140"/>
                    </a:lnTo>
                    <a:lnTo>
                      <a:pt x="456" y="141"/>
                    </a:lnTo>
                    <a:lnTo>
                      <a:pt x="456" y="142"/>
                    </a:lnTo>
                    <a:lnTo>
                      <a:pt x="456" y="143"/>
                    </a:lnTo>
                    <a:lnTo>
                      <a:pt x="457" y="143"/>
                    </a:lnTo>
                    <a:lnTo>
                      <a:pt x="457" y="144"/>
                    </a:lnTo>
                    <a:lnTo>
                      <a:pt x="458" y="144"/>
                    </a:lnTo>
                    <a:lnTo>
                      <a:pt x="458" y="145"/>
                    </a:lnTo>
                    <a:lnTo>
                      <a:pt x="462" y="146"/>
                    </a:lnTo>
                    <a:lnTo>
                      <a:pt x="464" y="147"/>
                    </a:lnTo>
                    <a:lnTo>
                      <a:pt x="465" y="148"/>
                    </a:lnTo>
                    <a:lnTo>
                      <a:pt x="466" y="148"/>
                    </a:lnTo>
                    <a:lnTo>
                      <a:pt x="467" y="148"/>
                    </a:lnTo>
                    <a:lnTo>
                      <a:pt x="468" y="149"/>
                    </a:lnTo>
                    <a:lnTo>
                      <a:pt x="471" y="152"/>
                    </a:lnTo>
                    <a:lnTo>
                      <a:pt x="472" y="153"/>
                    </a:lnTo>
                    <a:lnTo>
                      <a:pt x="473" y="154"/>
                    </a:lnTo>
                    <a:lnTo>
                      <a:pt x="475" y="155"/>
                    </a:lnTo>
                    <a:lnTo>
                      <a:pt x="475" y="156"/>
                    </a:lnTo>
                    <a:lnTo>
                      <a:pt x="478" y="166"/>
                    </a:lnTo>
                    <a:lnTo>
                      <a:pt x="479" y="170"/>
                    </a:lnTo>
                    <a:lnTo>
                      <a:pt x="479" y="171"/>
                    </a:lnTo>
                    <a:lnTo>
                      <a:pt x="481" y="171"/>
                    </a:lnTo>
                    <a:lnTo>
                      <a:pt x="484" y="171"/>
                    </a:lnTo>
                    <a:lnTo>
                      <a:pt x="485" y="171"/>
                    </a:lnTo>
                    <a:lnTo>
                      <a:pt x="486" y="171"/>
                    </a:lnTo>
                    <a:lnTo>
                      <a:pt x="488" y="172"/>
                    </a:lnTo>
                    <a:lnTo>
                      <a:pt x="490" y="174"/>
                    </a:lnTo>
                    <a:lnTo>
                      <a:pt x="491" y="175"/>
                    </a:lnTo>
                    <a:lnTo>
                      <a:pt x="492" y="177"/>
                    </a:lnTo>
                    <a:lnTo>
                      <a:pt x="493" y="177"/>
                    </a:lnTo>
                    <a:lnTo>
                      <a:pt x="493" y="178"/>
                    </a:lnTo>
                    <a:lnTo>
                      <a:pt x="494" y="179"/>
                    </a:lnTo>
                    <a:lnTo>
                      <a:pt x="494" y="180"/>
                    </a:lnTo>
                    <a:lnTo>
                      <a:pt x="495" y="182"/>
                    </a:lnTo>
                    <a:lnTo>
                      <a:pt x="495" y="183"/>
                    </a:lnTo>
                    <a:lnTo>
                      <a:pt x="496" y="184"/>
                    </a:lnTo>
                    <a:lnTo>
                      <a:pt x="498" y="185"/>
                    </a:lnTo>
                    <a:lnTo>
                      <a:pt x="498" y="186"/>
                    </a:lnTo>
                    <a:lnTo>
                      <a:pt x="498" y="187"/>
                    </a:lnTo>
                    <a:lnTo>
                      <a:pt x="498" y="188"/>
                    </a:lnTo>
                    <a:lnTo>
                      <a:pt x="497" y="191"/>
                    </a:lnTo>
                    <a:lnTo>
                      <a:pt x="497" y="192"/>
                    </a:lnTo>
                    <a:lnTo>
                      <a:pt x="498" y="192"/>
                    </a:lnTo>
                    <a:lnTo>
                      <a:pt x="500" y="195"/>
                    </a:lnTo>
                    <a:lnTo>
                      <a:pt x="503" y="196"/>
                    </a:lnTo>
                    <a:lnTo>
                      <a:pt x="504" y="196"/>
                    </a:lnTo>
                    <a:lnTo>
                      <a:pt x="505" y="196"/>
                    </a:lnTo>
                    <a:lnTo>
                      <a:pt x="505" y="197"/>
                    </a:lnTo>
                    <a:lnTo>
                      <a:pt x="507" y="199"/>
                    </a:lnTo>
                    <a:lnTo>
                      <a:pt x="507" y="200"/>
                    </a:lnTo>
                    <a:lnTo>
                      <a:pt x="508" y="200"/>
                    </a:lnTo>
                    <a:lnTo>
                      <a:pt x="508" y="201"/>
                    </a:lnTo>
                    <a:lnTo>
                      <a:pt x="510" y="204"/>
                    </a:lnTo>
                    <a:lnTo>
                      <a:pt x="511" y="205"/>
                    </a:lnTo>
                    <a:lnTo>
                      <a:pt x="513" y="206"/>
                    </a:lnTo>
                    <a:lnTo>
                      <a:pt x="515" y="207"/>
                    </a:lnTo>
                    <a:lnTo>
                      <a:pt x="515" y="208"/>
                    </a:lnTo>
                    <a:lnTo>
                      <a:pt x="516" y="208"/>
                    </a:lnTo>
                    <a:lnTo>
                      <a:pt x="517" y="210"/>
                    </a:lnTo>
                    <a:lnTo>
                      <a:pt x="517" y="211"/>
                    </a:lnTo>
                    <a:lnTo>
                      <a:pt x="517" y="212"/>
                    </a:lnTo>
                    <a:lnTo>
                      <a:pt x="518" y="212"/>
                    </a:lnTo>
                    <a:lnTo>
                      <a:pt x="519" y="212"/>
                    </a:lnTo>
                    <a:lnTo>
                      <a:pt x="521" y="212"/>
                    </a:lnTo>
                    <a:lnTo>
                      <a:pt x="522" y="212"/>
                    </a:lnTo>
                    <a:lnTo>
                      <a:pt x="522" y="213"/>
                    </a:lnTo>
                    <a:lnTo>
                      <a:pt x="523" y="214"/>
                    </a:lnTo>
                    <a:lnTo>
                      <a:pt x="523" y="216"/>
                    </a:lnTo>
                    <a:lnTo>
                      <a:pt x="524" y="216"/>
                    </a:lnTo>
                    <a:lnTo>
                      <a:pt x="524" y="217"/>
                    </a:lnTo>
                    <a:lnTo>
                      <a:pt x="524" y="218"/>
                    </a:lnTo>
                    <a:lnTo>
                      <a:pt x="525" y="219"/>
                    </a:lnTo>
                    <a:lnTo>
                      <a:pt x="526" y="219"/>
                    </a:lnTo>
                    <a:lnTo>
                      <a:pt x="529" y="221"/>
                    </a:lnTo>
                    <a:lnTo>
                      <a:pt x="530" y="223"/>
                    </a:lnTo>
                    <a:lnTo>
                      <a:pt x="532" y="223"/>
                    </a:lnTo>
                    <a:lnTo>
                      <a:pt x="533" y="223"/>
                    </a:lnTo>
                    <a:lnTo>
                      <a:pt x="533" y="224"/>
                    </a:lnTo>
                    <a:lnTo>
                      <a:pt x="534" y="225"/>
                    </a:lnTo>
                    <a:lnTo>
                      <a:pt x="535" y="226"/>
                    </a:lnTo>
                    <a:lnTo>
                      <a:pt x="536" y="226"/>
                    </a:lnTo>
                    <a:lnTo>
                      <a:pt x="539" y="229"/>
                    </a:lnTo>
                    <a:lnTo>
                      <a:pt x="541" y="229"/>
                    </a:lnTo>
                    <a:lnTo>
                      <a:pt x="541" y="230"/>
                    </a:lnTo>
                    <a:lnTo>
                      <a:pt x="542" y="231"/>
                    </a:lnTo>
                    <a:lnTo>
                      <a:pt x="542" y="232"/>
                    </a:lnTo>
                    <a:lnTo>
                      <a:pt x="543" y="233"/>
                    </a:lnTo>
                    <a:lnTo>
                      <a:pt x="543" y="234"/>
                    </a:lnTo>
                    <a:lnTo>
                      <a:pt x="543" y="235"/>
                    </a:lnTo>
                    <a:lnTo>
                      <a:pt x="544" y="235"/>
                    </a:lnTo>
                    <a:lnTo>
                      <a:pt x="544" y="236"/>
                    </a:lnTo>
                    <a:lnTo>
                      <a:pt x="545" y="238"/>
                    </a:lnTo>
                    <a:lnTo>
                      <a:pt x="545" y="239"/>
                    </a:lnTo>
                    <a:lnTo>
                      <a:pt x="546" y="240"/>
                    </a:lnTo>
                    <a:lnTo>
                      <a:pt x="546" y="242"/>
                    </a:lnTo>
                    <a:lnTo>
                      <a:pt x="546" y="244"/>
                    </a:lnTo>
                    <a:lnTo>
                      <a:pt x="546" y="245"/>
                    </a:lnTo>
                    <a:lnTo>
                      <a:pt x="547" y="246"/>
                    </a:lnTo>
                    <a:lnTo>
                      <a:pt x="548" y="246"/>
                    </a:lnTo>
                    <a:lnTo>
                      <a:pt x="550" y="248"/>
                    </a:lnTo>
                    <a:lnTo>
                      <a:pt x="550" y="249"/>
                    </a:lnTo>
                    <a:lnTo>
                      <a:pt x="551" y="249"/>
                    </a:lnTo>
                    <a:lnTo>
                      <a:pt x="551" y="250"/>
                    </a:lnTo>
                    <a:lnTo>
                      <a:pt x="551" y="251"/>
                    </a:lnTo>
                    <a:lnTo>
                      <a:pt x="552" y="251"/>
                    </a:lnTo>
                    <a:lnTo>
                      <a:pt x="552" y="252"/>
                    </a:lnTo>
                    <a:lnTo>
                      <a:pt x="552" y="254"/>
                    </a:lnTo>
                    <a:lnTo>
                      <a:pt x="554" y="255"/>
                    </a:lnTo>
                    <a:lnTo>
                      <a:pt x="555" y="256"/>
                    </a:lnTo>
                    <a:lnTo>
                      <a:pt x="556" y="256"/>
                    </a:lnTo>
                    <a:lnTo>
                      <a:pt x="557" y="257"/>
                    </a:lnTo>
                    <a:lnTo>
                      <a:pt x="558" y="258"/>
                    </a:lnTo>
                    <a:lnTo>
                      <a:pt x="559" y="259"/>
                    </a:lnTo>
                    <a:lnTo>
                      <a:pt x="560" y="261"/>
                    </a:lnTo>
                    <a:lnTo>
                      <a:pt x="561" y="262"/>
                    </a:lnTo>
                    <a:lnTo>
                      <a:pt x="562" y="262"/>
                    </a:lnTo>
                    <a:lnTo>
                      <a:pt x="562" y="263"/>
                    </a:lnTo>
                    <a:lnTo>
                      <a:pt x="563" y="264"/>
                    </a:lnTo>
                    <a:lnTo>
                      <a:pt x="564" y="265"/>
                    </a:lnTo>
                    <a:lnTo>
                      <a:pt x="565" y="265"/>
                    </a:lnTo>
                    <a:lnTo>
                      <a:pt x="565" y="267"/>
                    </a:lnTo>
                    <a:lnTo>
                      <a:pt x="567" y="268"/>
                    </a:lnTo>
                    <a:lnTo>
                      <a:pt x="568" y="269"/>
                    </a:lnTo>
                    <a:lnTo>
                      <a:pt x="569" y="270"/>
                    </a:lnTo>
                    <a:lnTo>
                      <a:pt x="570" y="272"/>
                    </a:lnTo>
                    <a:lnTo>
                      <a:pt x="570" y="273"/>
                    </a:lnTo>
                    <a:lnTo>
                      <a:pt x="571" y="273"/>
                    </a:lnTo>
                    <a:lnTo>
                      <a:pt x="572" y="274"/>
                    </a:lnTo>
                    <a:lnTo>
                      <a:pt x="573" y="274"/>
                    </a:lnTo>
                    <a:lnTo>
                      <a:pt x="574" y="275"/>
                    </a:lnTo>
                    <a:lnTo>
                      <a:pt x="575" y="275"/>
                    </a:lnTo>
                    <a:lnTo>
                      <a:pt x="577" y="276"/>
                    </a:lnTo>
                    <a:lnTo>
                      <a:pt x="577" y="277"/>
                    </a:lnTo>
                    <a:lnTo>
                      <a:pt x="580" y="277"/>
                    </a:lnTo>
                    <a:lnTo>
                      <a:pt x="581" y="277"/>
                    </a:lnTo>
                    <a:lnTo>
                      <a:pt x="582" y="278"/>
                    </a:lnTo>
                    <a:lnTo>
                      <a:pt x="582" y="280"/>
                    </a:lnTo>
                    <a:lnTo>
                      <a:pt x="583" y="280"/>
                    </a:lnTo>
                    <a:lnTo>
                      <a:pt x="584" y="281"/>
                    </a:lnTo>
                    <a:lnTo>
                      <a:pt x="585" y="282"/>
                    </a:lnTo>
                    <a:lnTo>
                      <a:pt x="585" y="283"/>
                    </a:lnTo>
                    <a:lnTo>
                      <a:pt x="586" y="284"/>
                    </a:lnTo>
                    <a:lnTo>
                      <a:pt x="587" y="285"/>
                    </a:lnTo>
                    <a:lnTo>
                      <a:pt x="588" y="287"/>
                    </a:lnTo>
                    <a:lnTo>
                      <a:pt x="590" y="288"/>
                    </a:lnTo>
                    <a:lnTo>
                      <a:pt x="590" y="289"/>
                    </a:lnTo>
                    <a:lnTo>
                      <a:pt x="591" y="289"/>
                    </a:lnTo>
                    <a:lnTo>
                      <a:pt x="591" y="290"/>
                    </a:lnTo>
                    <a:lnTo>
                      <a:pt x="591" y="291"/>
                    </a:lnTo>
                    <a:lnTo>
                      <a:pt x="593" y="294"/>
                    </a:lnTo>
                    <a:lnTo>
                      <a:pt x="593" y="295"/>
                    </a:lnTo>
                    <a:lnTo>
                      <a:pt x="593" y="296"/>
                    </a:lnTo>
                    <a:lnTo>
                      <a:pt x="594" y="297"/>
                    </a:lnTo>
                    <a:lnTo>
                      <a:pt x="595" y="300"/>
                    </a:lnTo>
                    <a:lnTo>
                      <a:pt x="595" y="301"/>
                    </a:lnTo>
                    <a:lnTo>
                      <a:pt x="595" y="302"/>
                    </a:lnTo>
                    <a:lnTo>
                      <a:pt x="595" y="303"/>
                    </a:lnTo>
                    <a:lnTo>
                      <a:pt x="594" y="303"/>
                    </a:lnTo>
                    <a:lnTo>
                      <a:pt x="594" y="304"/>
                    </a:lnTo>
                    <a:lnTo>
                      <a:pt x="593" y="306"/>
                    </a:lnTo>
                    <a:lnTo>
                      <a:pt x="593" y="308"/>
                    </a:lnTo>
                    <a:lnTo>
                      <a:pt x="593" y="309"/>
                    </a:lnTo>
                    <a:lnTo>
                      <a:pt x="594" y="310"/>
                    </a:lnTo>
                    <a:lnTo>
                      <a:pt x="594" y="312"/>
                    </a:lnTo>
                    <a:lnTo>
                      <a:pt x="593" y="312"/>
                    </a:lnTo>
                    <a:lnTo>
                      <a:pt x="593" y="313"/>
                    </a:lnTo>
                    <a:lnTo>
                      <a:pt x="593" y="314"/>
                    </a:lnTo>
                    <a:lnTo>
                      <a:pt x="591" y="315"/>
                    </a:lnTo>
                    <a:lnTo>
                      <a:pt x="590" y="317"/>
                    </a:lnTo>
                    <a:lnTo>
                      <a:pt x="590" y="319"/>
                    </a:lnTo>
                    <a:lnTo>
                      <a:pt x="590" y="320"/>
                    </a:lnTo>
                    <a:lnTo>
                      <a:pt x="591" y="321"/>
                    </a:lnTo>
                    <a:lnTo>
                      <a:pt x="591" y="322"/>
                    </a:lnTo>
                    <a:lnTo>
                      <a:pt x="593" y="323"/>
                    </a:lnTo>
                    <a:lnTo>
                      <a:pt x="593" y="324"/>
                    </a:lnTo>
                    <a:lnTo>
                      <a:pt x="593" y="325"/>
                    </a:lnTo>
                    <a:lnTo>
                      <a:pt x="594" y="325"/>
                    </a:lnTo>
                    <a:lnTo>
                      <a:pt x="594" y="326"/>
                    </a:lnTo>
                    <a:lnTo>
                      <a:pt x="595" y="327"/>
                    </a:lnTo>
                    <a:lnTo>
                      <a:pt x="595" y="328"/>
                    </a:lnTo>
                    <a:lnTo>
                      <a:pt x="595" y="329"/>
                    </a:lnTo>
                    <a:lnTo>
                      <a:pt x="596" y="329"/>
                    </a:lnTo>
                    <a:lnTo>
                      <a:pt x="596" y="333"/>
                    </a:lnTo>
                    <a:lnTo>
                      <a:pt x="596" y="334"/>
                    </a:lnTo>
                    <a:lnTo>
                      <a:pt x="596" y="335"/>
                    </a:lnTo>
                    <a:lnTo>
                      <a:pt x="596" y="336"/>
                    </a:lnTo>
                    <a:lnTo>
                      <a:pt x="595" y="337"/>
                    </a:lnTo>
                    <a:lnTo>
                      <a:pt x="594" y="338"/>
                    </a:lnTo>
                    <a:lnTo>
                      <a:pt x="593" y="339"/>
                    </a:lnTo>
                    <a:lnTo>
                      <a:pt x="593" y="341"/>
                    </a:lnTo>
                    <a:lnTo>
                      <a:pt x="593" y="342"/>
                    </a:lnTo>
                    <a:lnTo>
                      <a:pt x="593" y="344"/>
                    </a:lnTo>
                    <a:lnTo>
                      <a:pt x="593" y="345"/>
                    </a:lnTo>
                    <a:lnTo>
                      <a:pt x="593" y="346"/>
                    </a:lnTo>
                    <a:lnTo>
                      <a:pt x="593" y="347"/>
                    </a:lnTo>
                    <a:lnTo>
                      <a:pt x="591" y="347"/>
                    </a:lnTo>
                    <a:lnTo>
                      <a:pt x="591" y="348"/>
                    </a:lnTo>
                    <a:lnTo>
                      <a:pt x="593" y="349"/>
                    </a:lnTo>
                    <a:lnTo>
                      <a:pt x="593" y="350"/>
                    </a:lnTo>
                    <a:lnTo>
                      <a:pt x="591" y="350"/>
                    </a:lnTo>
                    <a:lnTo>
                      <a:pt x="590" y="351"/>
                    </a:lnTo>
                    <a:lnTo>
                      <a:pt x="589" y="352"/>
                    </a:lnTo>
                    <a:lnTo>
                      <a:pt x="588" y="352"/>
                    </a:lnTo>
                    <a:lnTo>
                      <a:pt x="588" y="353"/>
                    </a:lnTo>
                    <a:lnTo>
                      <a:pt x="587" y="354"/>
                    </a:lnTo>
                    <a:lnTo>
                      <a:pt x="587" y="355"/>
                    </a:lnTo>
                    <a:lnTo>
                      <a:pt x="587" y="357"/>
                    </a:lnTo>
                    <a:lnTo>
                      <a:pt x="586" y="359"/>
                    </a:lnTo>
                    <a:lnTo>
                      <a:pt x="585" y="359"/>
                    </a:lnTo>
                    <a:lnTo>
                      <a:pt x="585" y="360"/>
                    </a:lnTo>
                    <a:lnTo>
                      <a:pt x="584" y="360"/>
                    </a:lnTo>
                    <a:lnTo>
                      <a:pt x="584" y="361"/>
                    </a:lnTo>
                    <a:lnTo>
                      <a:pt x="584" y="362"/>
                    </a:lnTo>
                    <a:close/>
                    <a:moveTo>
                      <a:pt x="493" y="483"/>
                    </a:moveTo>
                    <a:lnTo>
                      <a:pt x="493" y="484"/>
                    </a:lnTo>
                    <a:lnTo>
                      <a:pt x="494" y="484"/>
                    </a:lnTo>
                    <a:lnTo>
                      <a:pt x="495" y="484"/>
                    </a:lnTo>
                    <a:lnTo>
                      <a:pt x="496" y="486"/>
                    </a:lnTo>
                    <a:lnTo>
                      <a:pt x="497" y="487"/>
                    </a:lnTo>
                    <a:lnTo>
                      <a:pt x="498" y="487"/>
                    </a:lnTo>
                    <a:lnTo>
                      <a:pt x="496" y="486"/>
                    </a:lnTo>
                    <a:lnTo>
                      <a:pt x="496" y="484"/>
                    </a:lnTo>
                    <a:lnTo>
                      <a:pt x="497" y="486"/>
                    </a:lnTo>
                    <a:lnTo>
                      <a:pt x="498" y="486"/>
                    </a:lnTo>
                    <a:lnTo>
                      <a:pt x="498" y="487"/>
                    </a:lnTo>
                    <a:lnTo>
                      <a:pt x="498" y="486"/>
                    </a:lnTo>
                    <a:lnTo>
                      <a:pt x="498" y="487"/>
                    </a:lnTo>
                    <a:lnTo>
                      <a:pt x="499" y="487"/>
                    </a:lnTo>
                    <a:lnTo>
                      <a:pt x="499" y="488"/>
                    </a:lnTo>
                    <a:lnTo>
                      <a:pt x="500" y="488"/>
                    </a:lnTo>
                    <a:lnTo>
                      <a:pt x="502" y="488"/>
                    </a:lnTo>
                    <a:lnTo>
                      <a:pt x="502" y="489"/>
                    </a:lnTo>
                    <a:lnTo>
                      <a:pt x="503" y="489"/>
                    </a:lnTo>
                    <a:lnTo>
                      <a:pt x="503" y="490"/>
                    </a:lnTo>
                    <a:lnTo>
                      <a:pt x="503" y="489"/>
                    </a:lnTo>
                    <a:lnTo>
                      <a:pt x="504" y="489"/>
                    </a:lnTo>
                    <a:lnTo>
                      <a:pt x="505" y="490"/>
                    </a:lnTo>
                    <a:lnTo>
                      <a:pt x="506" y="491"/>
                    </a:lnTo>
                    <a:lnTo>
                      <a:pt x="507" y="491"/>
                    </a:lnTo>
                    <a:lnTo>
                      <a:pt x="507" y="490"/>
                    </a:lnTo>
                    <a:lnTo>
                      <a:pt x="508" y="491"/>
                    </a:lnTo>
                    <a:lnTo>
                      <a:pt x="508" y="492"/>
                    </a:lnTo>
                    <a:lnTo>
                      <a:pt x="509" y="492"/>
                    </a:lnTo>
                    <a:lnTo>
                      <a:pt x="511" y="492"/>
                    </a:lnTo>
                    <a:lnTo>
                      <a:pt x="512" y="493"/>
                    </a:lnTo>
                    <a:lnTo>
                      <a:pt x="512" y="492"/>
                    </a:lnTo>
                    <a:lnTo>
                      <a:pt x="512" y="493"/>
                    </a:lnTo>
                    <a:lnTo>
                      <a:pt x="513" y="493"/>
                    </a:lnTo>
                    <a:lnTo>
                      <a:pt x="513" y="492"/>
                    </a:lnTo>
                    <a:lnTo>
                      <a:pt x="515" y="492"/>
                    </a:lnTo>
                    <a:lnTo>
                      <a:pt x="516" y="493"/>
                    </a:lnTo>
                    <a:lnTo>
                      <a:pt x="517" y="493"/>
                    </a:lnTo>
                    <a:lnTo>
                      <a:pt x="517" y="494"/>
                    </a:lnTo>
                    <a:lnTo>
                      <a:pt x="519" y="494"/>
                    </a:lnTo>
                    <a:lnTo>
                      <a:pt x="519" y="495"/>
                    </a:lnTo>
                    <a:lnTo>
                      <a:pt x="520" y="494"/>
                    </a:lnTo>
                    <a:lnTo>
                      <a:pt x="521" y="494"/>
                    </a:lnTo>
                    <a:lnTo>
                      <a:pt x="521" y="495"/>
                    </a:lnTo>
                    <a:lnTo>
                      <a:pt x="522" y="497"/>
                    </a:lnTo>
                    <a:lnTo>
                      <a:pt x="522" y="496"/>
                    </a:lnTo>
                    <a:lnTo>
                      <a:pt x="523" y="496"/>
                    </a:lnTo>
                    <a:lnTo>
                      <a:pt x="523" y="497"/>
                    </a:lnTo>
                    <a:lnTo>
                      <a:pt x="525" y="499"/>
                    </a:lnTo>
                    <a:lnTo>
                      <a:pt x="529" y="500"/>
                    </a:lnTo>
                    <a:lnTo>
                      <a:pt x="531" y="500"/>
                    </a:lnTo>
                    <a:lnTo>
                      <a:pt x="532" y="499"/>
                    </a:lnTo>
                    <a:lnTo>
                      <a:pt x="533" y="499"/>
                    </a:lnTo>
                    <a:lnTo>
                      <a:pt x="535" y="499"/>
                    </a:lnTo>
                    <a:lnTo>
                      <a:pt x="535" y="500"/>
                    </a:lnTo>
                    <a:lnTo>
                      <a:pt x="534" y="500"/>
                    </a:lnTo>
                    <a:lnTo>
                      <a:pt x="534" y="501"/>
                    </a:lnTo>
                    <a:lnTo>
                      <a:pt x="532" y="501"/>
                    </a:lnTo>
                    <a:lnTo>
                      <a:pt x="533" y="501"/>
                    </a:lnTo>
                    <a:lnTo>
                      <a:pt x="534" y="501"/>
                    </a:lnTo>
                    <a:lnTo>
                      <a:pt x="535" y="501"/>
                    </a:lnTo>
                    <a:lnTo>
                      <a:pt x="537" y="501"/>
                    </a:lnTo>
                    <a:lnTo>
                      <a:pt x="537" y="502"/>
                    </a:lnTo>
                    <a:lnTo>
                      <a:pt x="537" y="503"/>
                    </a:lnTo>
                    <a:lnTo>
                      <a:pt x="537" y="502"/>
                    </a:lnTo>
                    <a:lnTo>
                      <a:pt x="538" y="501"/>
                    </a:lnTo>
                    <a:lnTo>
                      <a:pt x="538" y="500"/>
                    </a:lnTo>
                    <a:lnTo>
                      <a:pt x="539" y="500"/>
                    </a:lnTo>
                    <a:lnTo>
                      <a:pt x="541" y="500"/>
                    </a:lnTo>
                    <a:lnTo>
                      <a:pt x="543" y="500"/>
                    </a:lnTo>
                    <a:lnTo>
                      <a:pt x="543" y="501"/>
                    </a:lnTo>
                    <a:lnTo>
                      <a:pt x="542" y="501"/>
                    </a:lnTo>
                    <a:lnTo>
                      <a:pt x="539" y="501"/>
                    </a:lnTo>
                    <a:lnTo>
                      <a:pt x="539" y="502"/>
                    </a:lnTo>
                    <a:lnTo>
                      <a:pt x="538" y="503"/>
                    </a:lnTo>
                    <a:lnTo>
                      <a:pt x="538" y="505"/>
                    </a:lnTo>
                    <a:lnTo>
                      <a:pt x="544" y="506"/>
                    </a:lnTo>
                    <a:lnTo>
                      <a:pt x="545" y="505"/>
                    </a:lnTo>
                    <a:lnTo>
                      <a:pt x="545" y="506"/>
                    </a:lnTo>
                    <a:lnTo>
                      <a:pt x="546" y="506"/>
                    </a:lnTo>
                    <a:lnTo>
                      <a:pt x="548" y="506"/>
                    </a:lnTo>
                    <a:lnTo>
                      <a:pt x="550" y="507"/>
                    </a:lnTo>
                    <a:lnTo>
                      <a:pt x="550" y="506"/>
                    </a:lnTo>
                    <a:lnTo>
                      <a:pt x="549" y="505"/>
                    </a:lnTo>
                    <a:lnTo>
                      <a:pt x="550" y="505"/>
                    </a:lnTo>
                    <a:lnTo>
                      <a:pt x="550" y="504"/>
                    </a:lnTo>
                    <a:lnTo>
                      <a:pt x="550" y="503"/>
                    </a:lnTo>
                    <a:lnTo>
                      <a:pt x="549" y="502"/>
                    </a:lnTo>
                    <a:lnTo>
                      <a:pt x="549" y="501"/>
                    </a:lnTo>
                    <a:lnTo>
                      <a:pt x="548" y="500"/>
                    </a:lnTo>
                    <a:lnTo>
                      <a:pt x="549" y="499"/>
                    </a:lnTo>
                    <a:lnTo>
                      <a:pt x="550" y="499"/>
                    </a:lnTo>
                    <a:lnTo>
                      <a:pt x="550" y="500"/>
                    </a:lnTo>
                    <a:lnTo>
                      <a:pt x="551" y="501"/>
                    </a:lnTo>
                    <a:lnTo>
                      <a:pt x="552" y="501"/>
                    </a:lnTo>
                    <a:lnTo>
                      <a:pt x="552" y="503"/>
                    </a:lnTo>
                    <a:lnTo>
                      <a:pt x="554" y="503"/>
                    </a:lnTo>
                    <a:lnTo>
                      <a:pt x="555" y="503"/>
                    </a:lnTo>
                    <a:lnTo>
                      <a:pt x="555" y="504"/>
                    </a:lnTo>
                    <a:lnTo>
                      <a:pt x="556" y="505"/>
                    </a:lnTo>
                    <a:lnTo>
                      <a:pt x="554" y="505"/>
                    </a:lnTo>
                    <a:lnTo>
                      <a:pt x="554" y="506"/>
                    </a:lnTo>
                    <a:lnTo>
                      <a:pt x="552" y="506"/>
                    </a:lnTo>
                    <a:lnTo>
                      <a:pt x="552" y="507"/>
                    </a:lnTo>
                    <a:lnTo>
                      <a:pt x="551" y="507"/>
                    </a:lnTo>
                    <a:lnTo>
                      <a:pt x="555" y="508"/>
                    </a:lnTo>
                    <a:lnTo>
                      <a:pt x="557" y="508"/>
                    </a:lnTo>
                    <a:lnTo>
                      <a:pt x="558" y="508"/>
                    </a:lnTo>
                    <a:lnTo>
                      <a:pt x="559" y="509"/>
                    </a:lnTo>
                    <a:lnTo>
                      <a:pt x="559" y="508"/>
                    </a:lnTo>
                    <a:lnTo>
                      <a:pt x="559" y="507"/>
                    </a:lnTo>
                    <a:lnTo>
                      <a:pt x="560" y="507"/>
                    </a:lnTo>
                    <a:lnTo>
                      <a:pt x="560" y="508"/>
                    </a:lnTo>
                    <a:lnTo>
                      <a:pt x="561" y="508"/>
                    </a:lnTo>
                    <a:lnTo>
                      <a:pt x="561" y="507"/>
                    </a:lnTo>
                    <a:lnTo>
                      <a:pt x="562" y="508"/>
                    </a:lnTo>
                    <a:lnTo>
                      <a:pt x="563" y="508"/>
                    </a:lnTo>
                    <a:lnTo>
                      <a:pt x="564" y="507"/>
                    </a:lnTo>
                    <a:lnTo>
                      <a:pt x="565" y="506"/>
                    </a:lnTo>
                    <a:lnTo>
                      <a:pt x="564" y="506"/>
                    </a:lnTo>
                    <a:lnTo>
                      <a:pt x="564" y="505"/>
                    </a:lnTo>
                    <a:lnTo>
                      <a:pt x="565" y="505"/>
                    </a:lnTo>
                    <a:lnTo>
                      <a:pt x="565" y="504"/>
                    </a:lnTo>
                    <a:lnTo>
                      <a:pt x="567" y="505"/>
                    </a:lnTo>
                    <a:lnTo>
                      <a:pt x="568" y="506"/>
                    </a:lnTo>
                    <a:lnTo>
                      <a:pt x="567" y="507"/>
                    </a:lnTo>
                    <a:lnTo>
                      <a:pt x="565" y="509"/>
                    </a:lnTo>
                    <a:lnTo>
                      <a:pt x="563" y="509"/>
                    </a:lnTo>
                    <a:lnTo>
                      <a:pt x="559" y="509"/>
                    </a:lnTo>
                    <a:lnTo>
                      <a:pt x="556" y="509"/>
                    </a:lnTo>
                    <a:lnTo>
                      <a:pt x="552" y="508"/>
                    </a:lnTo>
                    <a:lnTo>
                      <a:pt x="549" y="508"/>
                    </a:lnTo>
                    <a:lnTo>
                      <a:pt x="547" y="507"/>
                    </a:lnTo>
                    <a:lnTo>
                      <a:pt x="545" y="507"/>
                    </a:lnTo>
                    <a:lnTo>
                      <a:pt x="541" y="506"/>
                    </a:lnTo>
                    <a:lnTo>
                      <a:pt x="537" y="505"/>
                    </a:lnTo>
                    <a:lnTo>
                      <a:pt x="535" y="505"/>
                    </a:lnTo>
                    <a:lnTo>
                      <a:pt x="534" y="504"/>
                    </a:lnTo>
                    <a:lnTo>
                      <a:pt x="531" y="503"/>
                    </a:lnTo>
                    <a:lnTo>
                      <a:pt x="528" y="502"/>
                    </a:lnTo>
                    <a:lnTo>
                      <a:pt x="522" y="500"/>
                    </a:lnTo>
                    <a:lnTo>
                      <a:pt x="521" y="500"/>
                    </a:lnTo>
                    <a:lnTo>
                      <a:pt x="518" y="499"/>
                    </a:lnTo>
                    <a:lnTo>
                      <a:pt x="515" y="497"/>
                    </a:lnTo>
                    <a:lnTo>
                      <a:pt x="510" y="495"/>
                    </a:lnTo>
                    <a:lnTo>
                      <a:pt x="509" y="494"/>
                    </a:lnTo>
                    <a:lnTo>
                      <a:pt x="506" y="493"/>
                    </a:lnTo>
                    <a:lnTo>
                      <a:pt x="499" y="489"/>
                    </a:lnTo>
                    <a:lnTo>
                      <a:pt x="496" y="488"/>
                    </a:lnTo>
                    <a:lnTo>
                      <a:pt x="494" y="486"/>
                    </a:lnTo>
                    <a:lnTo>
                      <a:pt x="492" y="484"/>
                    </a:lnTo>
                    <a:lnTo>
                      <a:pt x="490" y="482"/>
                    </a:lnTo>
                    <a:lnTo>
                      <a:pt x="490" y="481"/>
                    </a:lnTo>
                    <a:lnTo>
                      <a:pt x="491" y="481"/>
                    </a:lnTo>
                    <a:lnTo>
                      <a:pt x="491" y="482"/>
                    </a:lnTo>
                    <a:lnTo>
                      <a:pt x="493" y="483"/>
                    </a:lnTo>
                    <a:close/>
                    <a:moveTo>
                      <a:pt x="432" y="501"/>
                    </a:moveTo>
                    <a:lnTo>
                      <a:pt x="431" y="501"/>
                    </a:lnTo>
                    <a:lnTo>
                      <a:pt x="429" y="502"/>
                    </a:lnTo>
                    <a:lnTo>
                      <a:pt x="428" y="503"/>
                    </a:lnTo>
                    <a:lnTo>
                      <a:pt x="426" y="503"/>
                    </a:lnTo>
                    <a:lnTo>
                      <a:pt x="425" y="504"/>
                    </a:lnTo>
                    <a:lnTo>
                      <a:pt x="423" y="504"/>
                    </a:lnTo>
                    <a:lnTo>
                      <a:pt x="422" y="504"/>
                    </a:lnTo>
                    <a:lnTo>
                      <a:pt x="421" y="504"/>
                    </a:lnTo>
                    <a:lnTo>
                      <a:pt x="420" y="505"/>
                    </a:lnTo>
                    <a:lnTo>
                      <a:pt x="419" y="505"/>
                    </a:lnTo>
                    <a:lnTo>
                      <a:pt x="418" y="505"/>
                    </a:lnTo>
                    <a:lnTo>
                      <a:pt x="417" y="505"/>
                    </a:lnTo>
                    <a:lnTo>
                      <a:pt x="415" y="505"/>
                    </a:lnTo>
                    <a:lnTo>
                      <a:pt x="414" y="505"/>
                    </a:lnTo>
                    <a:lnTo>
                      <a:pt x="412" y="506"/>
                    </a:lnTo>
                    <a:lnTo>
                      <a:pt x="410" y="506"/>
                    </a:lnTo>
                    <a:lnTo>
                      <a:pt x="408" y="506"/>
                    </a:lnTo>
                    <a:lnTo>
                      <a:pt x="407" y="506"/>
                    </a:lnTo>
                    <a:lnTo>
                      <a:pt x="406" y="506"/>
                    </a:lnTo>
                    <a:lnTo>
                      <a:pt x="403" y="507"/>
                    </a:lnTo>
                    <a:lnTo>
                      <a:pt x="401" y="507"/>
                    </a:lnTo>
                    <a:lnTo>
                      <a:pt x="399" y="508"/>
                    </a:lnTo>
                    <a:lnTo>
                      <a:pt x="397" y="508"/>
                    </a:lnTo>
                    <a:lnTo>
                      <a:pt x="395" y="509"/>
                    </a:lnTo>
                    <a:lnTo>
                      <a:pt x="394" y="509"/>
                    </a:lnTo>
                    <a:lnTo>
                      <a:pt x="393" y="511"/>
                    </a:lnTo>
                    <a:lnTo>
                      <a:pt x="392" y="511"/>
                    </a:lnTo>
                    <a:lnTo>
                      <a:pt x="391" y="511"/>
                    </a:lnTo>
                    <a:lnTo>
                      <a:pt x="390" y="512"/>
                    </a:lnTo>
                    <a:lnTo>
                      <a:pt x="389" y="512"/>
                    </a:lnTo>
                    <a:lnTo>
                      <a:pt x="388" y="512"/>
                    </a:lnTo>
                    <a:lnTo>
                      <a:pt x="384" y="513"/>
                    </a:lnTo>
                    <a:lnTo>
                      <a:pt x="383" y="513"/>
                    </a:lnTo>
                    <a:lnTo>
                      <a:pt x="382" y="513"/>
                    </a:lnTo>
                    <a:lnTo>
                      <a:pt x="381" y="513"/>
                    </a:lnTo>
                    <a:lnTo>
                      <a:pt x="380" y="514"/>
                    </a:lnTo>
                    <a:lnTo>
                      <a:pt x="379" y="514"/>
                    </a:lnTo>
                    <a:lnTo>
                      <a:pt x="378" y="514"/>
                    </a:lnTo>
                    <a:lnTo>
                      <a:pt x="377" y="514"/>
                    </a:lnTo>
                    <a:lnTo>
                      <a:pt x="376" y="514"/>
                    </a:lnTo>
                    <a:lnTo>
                      <a:pt x="375" y="515"/>
                    </a:lnTo>
                    <a:lnTo>
                      <a:pt x="374" y="515"/>
                    </a:lnTo>
                    <a:lnTo>
                      <a:pt x="371" y="515"/>
                    </a:lnTo>
                    <a:lnTo>
                      <a:pt x="370" y="515"/>
                    </a:lnTo>
                    <a:lnTo>
                      <a:pt x="369" y="515"/>
                    </a:lnTo>
                    <a:lnTo>
                      <a:pt x="368" y="515"/>
                    </a:lnTo>
                    <a:lnTo>
                      <a:pt x="365" y="515"/>
                    </a:lnTo>
                    <a:lnTo>
                      <a:pt x="364" y="515"/>
                    </a:lnTo>
                    <a:lnTo>
                      <a:pt x="363" y="515"/>
                    </a:lnTo>
                    <a:lnTo>
                      <a:pt x="360" y="515"/>
                    </a:lnTo>
                    <a:lnTo>
                      <a:pt x="358" y="515"/>
                    </a:lnTo>
                    <a:lnTo>
                      <a:pt x="357" y="514"/>
                    </a:lnTo>
                    <a:lnTo>
                      <a:pt x="358" y="514"/>
                    </a:lnTo>
                    <a:lnTo>
                      <a:pt x="360" y="514"/>
                    </a:lnTo>
                    <a:lnTo>
                      <a:pt x="361" y="514"/>
                    </a:lnTo>
                    <a:lnTo>
                      <a:pt x="363" y="514"/>
                    </a:lnTo>
                    <a:lnTo>
                      <a:pt x="364" y="513"/>
                    </a:lnTo>
                    <a:lnTo>
                      <a:pt x="365" y="513"/>
                    </a:lnTo>
                    <a:lnTo>
                      <a:pt x="366" y="512"/>
                    </a:lnTo>
                    <a:lnTo>
                      <a:pt x="366" y="513"/>
                    </a:lnTo>
                    <a:lnTo>
                      <a:pt x="367" y="513"/>
                    </a:lnTo>
                    <a:lnTo>
                      <a:pt x="369" y="513"/>
                    </a:lnTo>
                    <a:lnTo>
                      <a:pt x="370" y="513"/>
                    </a:lnTo>
                    <a:lnTo>
                      <a:pt x="373" y="513"/>
                    </a:lnTo>
                    <a:lnTo>
                      <a:pt x="375" y="513"/>
                    </a:lnTo>
                    <a:lnTo>
                      <a:pt x="375" y="512"/>
                    </a:lnTo>
                    <a:lnTo>
                      <a:pt x="376" y="512"/>
                    </a:lnTo>
                    <a:lnTo>
                      <a:pt x="377" y="511"/>
                    </a:lnTo>
                    <a:lnTo>
                      <a:pt x="377" y="509"/>
                    </a:lnTo>
                    <a:lnTo>
                      <a:pt x="378" y="509"/>
                    </a:lnTo>
                    <a:lnTo>
                      <a:pt x="380" y="509"/>
                    </a:lnTo>
                    <a:lnTo>
                      <a:pt x="381" y="509"/>
                    </a:lnTo>
                    <a:lnTo>
                      <a:pt x="381" y="508"/>
                    </a:lnTo>
                    <a:lnTo>
                      <a:pt x="382" y="508"/>
                    </a:lnTo>
                    <a:lnTo>
                      <a:pt x="383" y="508"/>
                    </a:lnTo>
                    <a:lnTo>
                      <a:pt x="384" y="508"/>
                    </a:lnTo>
                    <a:lnTo>
                      <a:pt x="387" y="508"/>
                    </a:lnTo>
                    <a:lnTo>
                      <a:pt x="387" y="507"/>
                    </a:lnTo>
                    <a:lnTo>
                      <a:pt x="388" y="507"/>
                    </a:lnTo>
                    <a:lnTo>
                      <a:pt x="389" y="507"/>
                    </a:lnTo>
                    <a:lnTo>
                      <a:pt x="390" y="507"/>
                    </a:lnTo>
                    <a:lnTo>
                      <a:pt x="390" y="506"/>
                    </a:lnTo>
                    <a:lnTo>
                      <a:pt x="389" y="505"/>
                    </a:lnTo>
                    <a:lnTo>
                      <a:pt x="389" y="504"/>
                    </a:lnTo>
                    <a:lnTo>
                      <a:pt x="390" y="505"/>
                    </a:lnTo>
                    <a:lnTo>
                      <a:pt x="390" y="504"/>
                    </a:lnTo>
                    <a:lnTo>
                      <a:pt x="391" y="503"/>
                    </a:lnTo>
                    <a:lnTo>
                      <a:pt x="391" y="504"/>
                    </a:lnTo>
                    <a:lnTo>
                      <a:pt x="392" y="504"/>
                    </a:lnTo>
                    <a:lnTo>
                      <a:pt x="392" y="505"/>
                    </a:lnTo>
                    <a:lnTo>
                      <a:pt x="391" y="505"/>
                    </a:lnTo>
                    <a:lnTo>
                      <a:pt x="390" y="506"/>
                    </a:lnTo>
                    <a:lnTo>
                      <a:pt x="390" y="507"/>
                    </a:lnTo>
                    <a:lnTo>
                      <a:pt x="391" y="507"/>
                    </a:lnTo>
                    <a:lnTo>
                      <a:pt x="392" y="507"/>
                    </a:lnTo>
                    <a:lnTo>
                      <a:pt x="394" y="507"/>
                    </a:lnTo>
                    <a:lnTo>
                      <a:pt x="394" y="506"/>
                    </a:lnTo>
                    <a:lnTo>
                      <a:pt x="395" y="507"/>
                    </a:lnTo>
                    <a:lnTo>
                      <a:pt x="396" y="506"/>
                    </a:lnTo>
                    <a:lnTo>
                      <a:pt x="397" y="506"/>
                    </a:lnTo>
                    <a:lnTo>
                      <a:pt x="399" y="505"/>
                    </a:lnTo>
                    <a:lnTo>
                      <a:pt x="399" y="504"/>
                    </a:lnTo>
                    <a:lnTo>
                      <a:pt x="400" y="504"/>
                    </a:lnTo>
                    <a:lnTo>
                      <a:pt x="401" y="504"/>
                    </a:lnTo>
                    <a:lnTo>
                      <a:pt x="404" y="504"/>
                    </a:lnTo>
                    <a:lnTo>
                      <a:pt x="405" y="503"/>
                    </a:lnTo>
                    <a:lnTo>
                      <a:pt x="406" y="503"/>
                    </a:lnTo>
                    <a:lnTo>
                      <a:pt x="408" y="503"/>
                    </a:lnTo>
                    <a:lnTo>
                      <a:pt x="409" y="503"/>
                    </a:lnTo>
                    <a:lnTo>
                      <a:pt x="410" y="503"/>
                    </a:lnTo>
                    <a:lnTo>
                      <a:pt x="416" y="503"/>
                    </a:lnTo>
                    <a:lnTo>
                      <a:pt x="417" y="503"/>
                    </a:lnTo>
                    <a:lnTo>
                      <a:pt x="417" y="502"/>
                    </a:lnTo>
                    <a:lnTo>
                      <a:pt x="416" y="502"/>
                    </a:lnTo>
                    <a:lnTo>
                      <a:pt x="416" y="501"/>
                    </a:lnTo>
                    <a:lnTo>
                      <a:pt x="417" y="501"/>
                    </a:lnTo>
                    <a:lnTo>
                      <a:pt x="417" y="502"/>
                    </a:lnTo>
                    <a:lnTo>
                      <a:pt x="418" y="502"/>
                    </a:lnTo>
                    <a:lnTo>
                      <a:pt x="419" y="502"/>
                    </a:lnTo>
                    <a:lnTo>
                      <a:pt x="420" y="503"/>
                    </a:lnTo>
                    <a:lnTo>
                      <a:pt x="421" y="502"/>
                    </a:lnTo>
                    <a:lnTo>
                      <a:pt x="422" y="502"/>
                    </a:lnTo>
                    <a:lnTo>
                      <a:pt x="423" y="502"/>
                    </a:lnTo>
                    <a:lnTo>
                      <a:pt x="425" y="502"/>
                    </a:lnTo>
                    <a:lnTo>
                      <a:pt x="426" y="502"/>
                    </a:lnTo>
                    <a:lnTo>
                      <a:pt x="426" y="501"/>
                    </a:lnTo>
                    <a:lnTo>
                      <a:pt x="428" y="501"/>
                    </a:lnTo>
                    <a:lnTo>
                      <a:pt x="429" y="501"/>
                    </a:lnTo>
                    <a:lnTo>
                      <a:pt x="430" y="501"/>
                    </a:lnTo>
                    <a:lnTo>
                      <a:pt x="431" y="499"/>
                    </a:lnTo>
                    <a:lnTo>
                      <a:pt x="432" y="499"/>
                    </a:lnTo>
                    <a:lnTo>
                      <a:pt x="432" y="497"/>
                    </a:lnTo>
                    <a:lnTo>
                      <a:pt x="433" y="497"/>
                    </a:lnTo>
                    <a:lnTo>
                      <a:pt x="434" y="496"/>
                    </a:lnTo>
                    <a:lnTo>
                      <a:pt x="435" y="496"/>
                    </a:lnTo>
                    <a:lnTo>
                      <a:pt x="434" y="497"/>
                    </a:lnTo>
                    <a:lnTo>
                      <a:pt x="433" y="499"/>
                    </a:lnTo>
                    <a:lnTo>
                      <a:pt x="432" y="500"/>
                    </a:lnTo>
                    <a:lnTo>
                      <a:pt x="432" y="501"/>
                    </a:lnTo>
                    <a:close/>
                    <a:moveTo>
                      <a:pt x="317" y="486"/>
                    </a:moveTo>
                    <a:lnTo>
                      <a:pt x="318" y="486"/>
                    </a:lnTo>
                    <a:lnTo>
                      <a:pt x="319" y="487"/>
                    </a:lnTo>
                    <a:lnTo>
                      <a:pt x="320" y="487"/>
                    </a:lnTo>
                    <a:lnTo>
                      <a:pt x="322" y="487"/>
                    </a:lnTo>
                    <a:lnTo>
                      <a:pt x="323" y="487"/>
                    </a:lnTo>
                    <a:lnTo>
                      <a:pt x="323" y="486"/>
                    </a:lnTo>
                    <a:lnTo>
                      <a:pt x="324" y="486"/>
                    </a:lnTo>
                    <a:lnTo>
                      <a:pt x="324" y="487"/>
                    </a:lnTo>
                    <a:lnTo>
                      <a:pt x="325" y="487"/>
                    </a:lnTo>
                    <a:lnTo>
                      <a:pt x="325" y="488"/>
                    </a:lnTo>
                    <a:lnTo>
                      <a:pt x="324" y="488"/>
                    </a:lnTo>
                    <a:lnTo>
                      <a:pt x="323" y="488"/>
                    </a:lnTo>
                    <a:lnTo>
                      <a:pt x="323" y="489"/>
                    </a:lnTo>
                    <a:lnTo>
                      <a:pt x="323" y="490"/>
                    </a:lnTo>
                    <a:lnTo>
                      <a:pt x="323" y="491"/>
                    </a:lnTo>
                    <a:lnTo>
                      <a:pt x="322" y="491"/>
                    </a:lnTo>
                    <a:lnTo>
                      <a:pt x="320" y="492"/>
                    </a:lnTo>
                    <a:lnTo>
                      <a:pt x="319" y="492"/>
                    </a:lnTo>
                    <a:lnTo>
                      <a:pt x="318" y="492"/>
                    </a:lnTo>
                    <a:lnTo>
                      <a:pt x="318" y="493"/>
                    </a:lnTo>
                    <a:lnTo>
                      <a:pt x="318" y="492"/>
                    </a:lnTo>
                    <a:lnTo>
                      <a:pt x="317" y="492"/>
                    </a:lnTo>
                    <a:lnTo>
                      <a:pt x="317" y="491"/>
                    </a:lnTo>
                    <a:lnTo>
                      <a:pt x="316" y="491"/>
                    </a:lnTo>
                    <a:lnTo>
                      <a:pt x="315" y="491"/>
                    </a:lnTo>
                    <a:lnTo>
                      <a:pt x="315" y="492"/>
                    </a:lnTo>
                    <a:lnTo>
                      <a:pt x="314" y="492"/>
                    </a:lnTo>
                    <a:lnTo>
                      <a:pt x="314" y="494"/>
                    </a:lnTo>
                    <a:lnTo>
                      <a:pt x="314" y="495"/>
                    </a:lnTo>
                    <a:lnTo>
                      <a:pt x="315" y="495"/>
                    </a:lnTo>
                    <a:lnTo>
                      <a:pt x="315" y="494"/>
                    </a:lnTo>
                    <a:lnTo>
                      <a:pt x="315" y="493"/>
                    </a:lnTo>
                    <a:lnTo>
                      <a:pt x="315" y="492"/>
                    </a:lnTo>
                    <a:lnTo>
                      <a:pt x="316" y="492"/>
                    </a:lnTo>
                    <a:lnTo>
                      <a:pt x="316" y="493"/>
                    </a:lnTo>
                    <a:lnTo>
                      <a:pt x="316" y="494"/>
                    </a:lnTo>
                    <a:lnTo>
                      <a:pt x="316" y="495"/>
                    </a:lnTo>
                    <a:lnTo>
                      <a:pt x="315" y="495"/>
                    </a:lnTo>
                    <a:lnTo>
                      <a:pt x="315" y="496"/>
                    </a:lnTo>
                    <a:lnTo>
                      <a:pt x="316" y="496"/>
                    </a:lnTo>
                    <a:lnTo>
                      <a:pt x="317" y="496"/>
                    </a:lnTo>
                    <a:lnTo>
                      <a:pt x="318" y="496"/>
                    </a:lnTo>
                    <a:lnTo>
                      <a:pt x="318" y="497"/>
                    </a:lnTo>
                    <a:lnTo>
                      <a:pt x="317" y="497"/>
                    </a:lnTo>
                    <a:lnTo>
                      <a:pt x="316" y="499"/>
                    </a:lnTo>
                    <a:lnTo>
                      <a:pt x="316" y="500"/>
                    </a:lnTo>
                    <a:lnTo>
                      <a:pt x="315" y="500"/>
                    </a:lnTo>
                    <a:lnTo>
                      <a:pt x="315" y="501"/>
                    </a:lnTo>
                    <a:lnTo>
                      <a:pt x="314" y="500"/>
                    </a:lnTo>
                    <a:lnTo>
                      <a:pt x="313" y="500"/>
                    </a:lnTo>
                    <a:lnTo>
                      <a:pt x="313" y="499"/>
                    </a:lnTo>
                    <a:lnTo>
                      <a:pt x="312" y="499"/>
                    </a:lnTo>
                    <a:lnTo>
                      <a:pt x="311" y="499"/>
                    </a:lnTo>
                    <a:lnTo>
                      <a:pt x="310" y="497"/>
                    </a:lnTo>
                    <a:lnTo>
                      <a:pt x="309" y="497"/>
                    </a:lnTo>
                    <a:lnTo>
                      <a:pt x="310" y="497"/>
                    </a:lnTo>
                    <a:lnTo>
                      <a:pt x="310" y="496"/>
                    </a:lnTo>
                    <a:lnTo>
                      <a:pt x="309" y="496"/>
                    </a:lnTo>
                    <a:lnTo>
                      <a:pt x="307" y="495"/>
                    </a:lnTo>
                    <a:lnTo>
                      <a:pt x="306" y="495"/>
                    </a:lnTo>
                    <a:lnTo>
                      <a:pt x="305" y="495"/>
                    </a:lnTo>
                    <a:lnTo>
                      <a:pt x="305" y="494"/>
                    </a:lnTo>
                    <a:lnTo>
                      <a:pt x="305" y="493"/>
                    </a:lnTo>
                    <a:lnTo>
                      <a:pt x="306" y="493"/>
                    </a:lnTo>
                    <a:lnTo>
                      <a:pt x="307" y="493"/>
                    </a:lnTo>
                    <a:lnTo>
                      <a:pt x="307" y="492"/>
                    </a:lnTo>
                    <a:lnTo>
                      <a:pt x="307" y="491"/>
                    </a:lnTo>
                    <a:lnTo>
                      <a:pt x="309" y="490"/>
                    </a:lnTo>
                    <a:lnTo>
                      <a:pt x="310" y="490"/>
                    </a:lnTo>
                    <a:lnTo>
                      <a:pt x="310" y="491"/>
                    </a:lnTo>
                    <a:lnTo>
                      <a:pt x="310" y="492"/>
                    </a:lnTo>
                    <a:lnTo>
                      <a:pt x="312" y="492"/>
                    </a:lnTo>
                    <a:lnTo>
                      <a:pt x="312" y="491"/>
                    </a:lnTo>
                    <a:lnTo>
                      <a:pt x="313" y="491"/>
                    </a:lnTo>
                    <a:lnTo>
                      <a:pt x="314" y="490"/>
                    </a:lnTo>
                    <a:lnTo>
                      <a:pt x="315" y="490"/>
                    </a:lnTo>
                    <a:lnTo>
                      <a:pt x="316" y="490"/>
                    </a:lnTo>
                    <a:lnTo>
                      <a:pt x="317" y="490"/>
                    </a:lnTo>
                    <a:lnTo>
                      <a:pt x="316" y="489"/>
                    </a:lnTo>
                    <a:lnTo>
                      <a:pt x="315" y="488"/>
                    </a:lnTo>
                    <a:lnTo>
                      <a:pt x="316" y="488"/>
                    </a:lnTo>
                    <a:lnTo>
                      <a:pt x="315" y="487"/>
                    </a:lnTo>
                    <a:lnTo>
                      <a:pt x="314" y="487"/>
                    </a:lnTo>
                    <a:lnTo>
                      <a:pt x="314" y="486"/>
                    </a:lnTo>
                    <a:lnTo>
                      <a:pt x="313" y="486"/>
                    </a:lnTo>
                    <a:lnTo>
                      <a:pt x="314" y="486"/>
                    </a:lnTo>
                    <a:lnTo>
                      <a:pt x="315" y="486"/>
                    </a:lnTo>
                    <a:lnTo>
                      <a:pt x="316" y="486"/>
                    </a:lnTo>
                    <a:lnTo>
                      <a:pt x="317" y="484"/>
                    </a:lnTo>
                    <a:lnTo>
                      <a:pt x="317" y="486"/>
                    </a:lnTo>
                    <a:close/>
                    <a:moveTo>
                      <a:pt x="331" y="508"/>
                    </a:moveTo>
                    <a:lnTo>
                      <a:pt x="332" y="508"/>
                    </a:lnTo>
                    <a:lnTo>
                      <a:pt x="333" y="508"/>
                    </a:lnTo>
                    <a:lnTo>
                      <a:pt x="335" y="509"/>
                    </a:lnTo>
                    <a:lnTo>
                      <a:pt x="333" y="509"/>
                    </a:lnTo>
                    <a:lnTo>
                      <a:pt x="333" y="511"/>
                    </a:lnTo>
                    <a:lnTo>
                      <a:pt x="332" y="512"/>
                    </a:lnTo>
                    <a:lnTo>
                      <a:pt x="331" y="513"/>
                    </a:lnTo>
                    <a:lnTo>
                      <a:pt x="330" y="513"/>
                    </a:lnTo>
                    <a:lnTo>
                      <a:pt x="329" y="514"/>
                    </a:lnTo>
                    <a:lnTo>
                      <a:pt x="328" y="515"/>
                    </a:lnTo>
                    <a:lnTo>
                      <a:pt x="327" y="515"/>
                    </a:lnTo>
                    <a:lnTo>
                      <a:pt x="326" y="515"/>
                    </a:lnTo>
                    <a:lnTo>
                      <a:pt x="326" y="516"/>
                    </a:lnTo>
                    <a:lnTo>
                      <a:pt x="325" y="516"/>
                    </a:lnTo>
                    <a:lnTo>
                      <a:pt x="324" y="516"/>
                    </a:lnTo>
                    <a:lnTo>
                      <a:pt x="323" y="516"/>
                    </a:lnTo>
                    <a:lnTo>
                      <a:pt x="316" y="516"/>
                    </a:lnTo>
                    <a:lnTo>
                      <a:pt x="315" y="516"/>
                    </a:lnTo>
                    <a:lnTo>
                      <a:pt x="314" y="515"/>
                    </a:lnTo>
                    <a:lnTo>
                      <a:pt x="312" y="515"/>
                    </a:lnTo>
                    <a:lnTo>
                      <a:pt x="311" y="515"/>
                    </a:lnTo>
                    <a:lnTo>
                      <a:pt x="310" y="514"/>
                    </a:lnTo>
                    <a:lnTo>
                      <a:pt x="309" y="512"/>
                    </a:lnTo>
                    <a:lnTo>
                      <a:pt x="307" y="512"/>
                    </a:lnTo>
                    <a:lnTo>
                      <a:pt x="306" y="512"/>
                    </a:lnTo>
                    <a:lnTo>
                      <a:pt x="305" y="512"/>
                    </a:lnTo>
                    <a:lnTo>
                      <a:pt x="304" y="511"/>
                    </a:lnTo>
                    <a:lnTo>
                      <a:pt x="303" y="511"/>
                    </a:lnTo>
                    <a:lnTo>
                      <a:pt x="302" y="509"/>
                    </a:lnTo>
                    <a:lnTo>
                      <a:pt x="301" y="509"/>
                    </a:lnTo>
                    <a:lnTo>
                      <a:pt x="300" y="509"/>
                    </a:lnTo>
                    <a:lnTo>
                      <a:pt x="299" y="509"/>
                    </a:lnTo>
                    <a:lnTo>
                      <a:pt x="299" y="508"/>
                    </a:lnTo>
                    <a:lnTo>
                      <a:pt x="299" y="507"/>
                    </a:lnTo>
                    <a:lnTo>
                      <a:pt x="300" y="508"/>
                    </a:lnTo>
                    <a:lnTo>
                      <a:pt x="301" y="508"/>
                    </a:lnTo>
                    <a:lnTo>
                      <a:pt x="302" y="508"/>
                    </a:lnTo>
                    <a:lnTo>
                      <a:pt x="303" y="508"/>
                    </a:lnTo>
                    <a:lnTo>
                      <a:pt x="304" y="508"/>
                    </a:lnTo>
                    <a:lnTo>
                      <a:pt x="305" y="509"/>
                    </a:lnTo>
                    <a:lnTo>
                      <a:pt x="307" y="511"/>
                    </a:lnTo>
                    <a:lnTo>
                      <a:pt x="309" y="511"/>
                    </a:lnTo>
                    <a:lnTo>
                      <a:pt x="309" y="512"/>
                    </a:lnTo>
                    <a:lnTo>
                      <a:pt x="310" y="512"/>
                    </a:lnTo>
                    <a:lnTo>
                      <a:pt x="311" y="512"/>
                    </a:lnTo>
                    <a:lnTo>
                      <a:pt x="312" y="511"/>
                    </a:lnTo>
                    <a:lnTo>
                      <a:pt x="313" y="511"/>
                    </a:lnTo>
                    <a:lnTo>
                      <a:pt x="314" y="511"/>
                    </a:lnTo>
                    <a:lnTo>
                      <a:pt x="315" y="512"/>
                    </a:lnTo>
                    <a:lnTo>
                      <a:pt x="315" y="513"/>
                    </a:lnTo>
                    <a:lnTo>
                      <a:pt x="315" y="514"/>
                    </a:lnTo>
                    <a:lnTo>
                      <a:pt x="317" y="514"/>
                    </a:lnTo>
                    <a:lnTo>
                      <a:pt x="318" y="513"/>
                    </a:lnTo>
                    <a:lnTo>
                      <a:pt x="320" y="514"/>
                    </a:lnTo>
                    <a:lnTo>
                      <a:pt x="320" y="513"/>
                    </a:lnTo>
                    <a:lnTo>
                      <a:pt x="322" y="513"/>
                    </a:lnTo>
                    <a:lnTo>
                      <a:pt x="323" y="513"/>
                    </a:lnTo>
                    <a:lnTo>
                      <a:pt x="324" y="513"/>
                    </a:lnTo>
                    <a:lnTo>
                      <a:pt x="325" y="513"/>
                    </a:lnTo>
                    <a:lnTo>
                      <a:pt x="326" y="513"/>
                    </a:lnTo>
                    <a:lnTo>
                      <a:pt x="327" y="513"/>
                    </a:lnTo>
                    <a:lnTo>
                      <a:pt x="327" y="512"/>
                    </a:lnTo>
                    <a:lnTo>
                      <a:pt x="327" y="511"/>
                    </a:lnTo>
                    <a:lnTo>
                      <a:pt x="326" y="511"/>
                    </a:lnTo>
                    <a:lnTo>
                      <a:pt x="326" y="509"/>
                    </a:lnTo>
                    <a:lnTo>
                      <a:pt x="327" y="508"/>
                    </a:lnTo>
                    <a:lnTo>
                      <a:pt x="326" y="508"/>
                    </a:lnTo>
                    <a:lnTo>
                      <a:pt x="325" y="508"/>
                    </a:lnTo>
                    <a:lnTo>
                      <a:pt x="324" y="508"/>
                    </a:lnTo>
                    <a:lnTo>
                      <a:pt x="324" y="507"/>
                    </a:lnTo>
                    <a:lnTo>
                      <a:pt x="325" y="507"/>
                    </a:lnTo>
                    <a:lnTo>
                      <a:pt x="326" y="507"/>
                    </a:lnTo>
                    <a:lnTo>
                      <a:pt x="327" y="507"/>
                    </a:lnTo>
                    <a:lnTo>
                      <a:pt x="328" y="507"/>
                    </a:lnTo>
                    <a:lnTo>
                      <a:pt x="329" y="508"/>
                    </a:lnTo>
                    <a:lnTo>
                      <a:pt x="331" y="508"/>
                    </a:lnTo>
                    <a:close/>
                    <a:moveTo>
                      <a:pt x="339" y="469"/>
                    </a:moveTo>
                    <a:lnTo>
                      <a:pt x="340" y="469"/>
                    </a:lnTo>
                    <a:lnTo>
                      <a:pt x="341" y="468"/>
                    </a:lnTo>
                    <a:lnTo>
                      <a:pt x="341" y="469"/>
                    </a:lnTo>
                    <a:lnTo>
                      <a:pt x="340" y="469"/>
                    </a:lnTo>
                    <a:lnTo>
                      <a:pt x="341" y="469"/>
                    </a:lnTo>
                    <a:lnTo>
                      <a:pt x="341" y="470"/>
                    </a:lnTo>
                    <a:lnTo>
                      <a:pt x="340" y="471"/>
                    </a:lnTo>
                    <a:lnTo>
                      <a:pt x="341" y="471"/>
                    </a:lnTo>
                    <a:lnTo>
                      <a:pt x="341" y="473"/>
                    </a:lnTo>
                    <a:lnTo>
                      <a:pt x="341" y="474"/>
                    </a:lnTo>
                    <a:lnTo>
                      <a:pt x="342" y="473"/>
                    </a:lnTo>
                    <a:lnTo>
                      <a:pt x="343" y="473"/>
                    </a:lnTo>
                    <a:lnTo>
                      <a:pt x="343" y="471"/>
                    </a:lnTo>
                    <a:lnTo>
                      <a:pt x="344" y="471"/>
                    </a:lnTo>
                    <a:lnTo>
                      <a:pt x="344" y="473"/>
                    </a:lnTo>
                    <a:lnTo>
                      <a:pt x="343" y="473"/>
                    </a:lnTo>
                    <a:lnTo>
                      <a:pt x="343" y="474"/>
                    </a:lnTo>
                    <a:lnTo>
                      <a:pt x="343" y="475"/>
                    </a:lnTo>
                    <a:lnTo>
                      <a:pt x="342" y="476"/>
                    </a:lnTo>
                    <a:lnTo>
                      <a:pt x="342" y="477"/>
                    </a:lnTo>
                    <a:lnTo>
                      <a:pt x="342" y="478"/>
                    </a:lnTo>
                    <a:lnTo>
                      <a:pt x="342" y="479"/>
                    </a:lnTo>
                    <a:lnTo>
                      <a:pt x="341" y="479"/>
                    </a:lnTo>
                    <a:lnTo>
                      <a:pt x="341" y="480"/>
                    </a:lnTo>
                    <a:lnTo>
                      <a:pt x="341" y="481"/>
                    </a:lnTo>
                    <a:lnTo>
                      <a:pt x="340" y="481"/>
                    </a:lnTo>
                    <a:lnTo>
                      <a:pt x="340" y="480"/>
                    </a:lnTo>
                    <a:lnTo>
                      <a:pt x="339" y="480"/>
                    </a:lnTo>
                    <a:lnTo>
                      <a:pt x="338" y="480"/>
                    </a:lnTo>
                    <a:lnTo>
                      <a:pt x="337" y="480"/>
                    </a:lnTo>
                    <a:lnTo>
                      <a:pt x="337" y="481"/>
                    </a:lnTo>
                    <a:lnTo>
                      <a:pt x="336" y="482"/>
                    </a:lnTo>
                    <a:lnTo>
                      <a:pt x="336" y="483"/>
                    </a:lnTo>
                    <a:lnTo>
                      <a:pt x="336" y="484"/>
                    </a:lnTo>
                    <a:lnTo>
                      <a:pt x="335" y="484"/>
                    </a:lnTo>
                    <a:lnTo>
                      <a:pt x="335" y="483"/>
                    </a:lnTo>
                    <a:lnTo>
                      <a:pt x="335" y="482"/>
                    </a:lnTo>
                    <a:lnTo>
                      <a:pt x="335" y="481"/>
                    </a:lnTo>
                    <a:lnTo>
                      <a:pt x="336" y="480"/>
                    </a:lnTo>
                    <a:lnTo>
                      <a:pt x="337" y="480"/>
                    </a:lnTo>
                    <a:lnTo>
                      <a:pt x="338" y="479"/>
                    </a:lnTo>
                    <a:lnTo>
                      <a:pt x="339" y="479"/>
                    </a:lnTo>
                    <a:lnTo>
                      <a:pt x="341" y="479"/>
                    </a:lnTo>
                    <a:lnTo>
                      <a:pt x="341" y="478"/>
                    </a:lnTo>
                    <a:lnTo>
                      <a:pt x="340" y="478"/>
                    </a:lnTo>
                    <a:lnTo>
                      <a:pt x="339" y="478"/>
                    </a:lnTo>
                    <a:lnTo>
                      <a:pt x="338" y="478"/>
                    </a:lnTo>
                    <a:lnTo>
                      <a:pt x="337" y="479"/>
                    </a:lnTo>
                    <a:lnTo>
                      <a:pt x="337" y="478"/>
                    </a:lnTo>
                    <a:lnTo>
                      <a:pt x="338" y="478"/>
                    </a:lnTo>
                    <a:lnTo>
                      <a:pt x="338" y="477"/>
                    </a:lnTo>
                    <a:lnTo>
                      <a:pt x="338" y="476"/>
                    </a:lnTo>
                    <a:lnTo>
                      <a:pt x="337" y="476"/>
                    </a:lnTo>
                    <a:lnTo>
                      <a:pt x="336" y="476"/>
                    </a:lnTo>
                    <a:lnTo>
                      <a:pt x="336" y="475"/>
                    </a:lnTo>
                    <a:lnTo>
                      <a:pt x="336" y="474"/>
                    </a:lnTo>
                    <a:lnTo>
                      <a:pt x="336" y="475"/>
                    </a:lnTo>
                    <a:lnTo>
                      <a:pt x="337" y="475"/>
                    </a:lnTo>
                    <a:lnTo>
                      <a:pt x="338" y="475"/>
                    </a:lnTo>
                    <a:lnTo>
                      <a:pt x="338" y="474"/>
                    </a:lnTo>
                    <a:lnTo>
                      <a:pt x="339" y="474"/>
                    </a:lnTo>
                    <a:lnTo>
                      <a:pt x="340" y="474"/>
                    </a:lnTo>
                    <a:lnTo>
                      <a:pt x="340" y="473"/>
                    </a:lnTo>
                    <a:lnTo>
                      <a:pt x="340" y="471"/>
                    </a:lnTo>
                    <a:lnTo>
                      <a:pt x="339" y="470"/>
                    </a:lnTo>
                    <a:lnTo>
                      <a:pt x="338" y="470"/>
                    </a:lnTo>
                    <a:lnTo>
                      <a:pt x="337" y="470"/>
                    </a:lnTo>
                    <a:lnTo>
                      <a:pt x="336" y="470"/>
                    </a:lnTo>
                    <a:lnTo>
                      <a:pt x="335" y="470"/>
                    </a:lnTo>
                    <a:lnTo>
                      <a:pt x="335" y="471"/>
                    </a:lnTo>
                    <a:lnTo>
                      <a:pt x="335" y="470"/>
                    </a:lnTo>
                    <a:lnTo>
                      <a:pt x="335" y="469"/>
                    </a:lnTo>
                    <a:lnTo>
                      <a:pt x="336" y="469"/>
                    </a:lnTo>
                    <a:lnTo>
                      <a:pt x="336" y="468"/>
                    </a:lnTo>
                    <a:lnTo>
                      <a:pt x="337" y="468"/>
                    </a:lnTo>
                    <a:lnTo>
                      <a:pt x="337" y="467"/>
                    </a:lnTo>
                    <a:lnTo>
                      <a:pt x="338" y="467"/>
                    </a:lnTo>
                    <a:lnTo>
                      <a:pt x="338" y="468"/>
                    </a:lnTo>
                    <a:lnTo>
                      <a:pt x="339" y="468"/>
                    </a:lnTo>
                    <a:lnTo>
                      <a:pt x="339" y="469"/>
                    </a:lnTo>
                    <a:close/>
                    <a:moveTo>
                      <a:pt x="422" y="400"/>
                    </a:moveTo>
                    <a:lnTo>
                      <a:pt x="423" y="401"/>
                    </a:lnTo>
                    <a:lnTo>
                      <a:pt x="425" y="401"/>
                    </a:lnTo>
                    <a:lnTo>
                      <a:pt x="425" y="404"/>
                    </a:lnTo>
                    <a:lnTo>
                      <a:pt x="423" y="404"/>
                    </a:lnTo>
                    <a:lnTo>
                      <a:pt x="422" y="405"/>
                    </a:lnTo>
                    <a:lnTo>
                      <a:pt x="423" y="406"/>
                    </a:lnTo>
                    <a:lnTo>
                      <a:pt x="423" y="407"/>
                    </a:lnTo>
                    <a:lnTo>
                      <a:pt x="425" y="407"/>
                    </a:lnTo>
                    <a:lnTo>
                      <a:pt x="426" y="409"/>
                    </a:lnTo>
                    <a:lnTo>
                      <a:pt x="426" y="410"/>
                    </a:lnTo>
                    <a:lnTo>
                      <a:pt x="427" y="410"/>
                    </a:lnTo>
                    <a:lnTo>
                      <a:pt x="427" y="411"/>
                    </a:lnTo>
                    <a:lnTo>
                      <a:pt x="426" y="411"/>
                    </a:lnTo>
                    <a:lnTo>
                      <a:pt x="425" y="411"/>
                    </a:lnTo>
                    <a:lnTo>
                      <a:pt x="426" y="412"/>
                    </a:lnTo>
                    <a:lnTo>
                      <a:pt x="427" y="412"/>
                    </a:lnTo>
                    <a:lnTo>
                      <a:pt x="428" y="412"/>
                    </a:lnTo>
                    <a:lnTo>
                      <a:pt x="428" y="411"/>
                    </a:lnTo>
                    <a:lnTo>
                      <a:pt x="429" y="411"/>
                    </a:lnTo>
                    <a:lnTo>
                      <a:pt x="429" y="410"/>
                    </a:lnTo>
                    <a:lnTo>
                      <a:pt x="429" y="409"/>
                    </a:lnTo>
                    <a:lnTo>
                      <a:pt x="430" y="409"/>
                    </a:lnTo>
                    <a:lnTo>
                      <a:pt x="430" y="412"/>
                    </a:lnTo>
                    <a:lnTo>
                      <a:pt x="429" y="413"/>
                    </a:lnTo>
                    <a:lnTo>
                      <a:pt x="430" y="413"/>
                    </a:lnTo>
                    <a:lnTo>
                      <a:pt x="430" y="414"/>
                    </a:lnTo>
                    <a:lnTo>
                      <a:pt x="431" y="414"/>
                    </a:lnTo>
                    <a:lnTo>
                      <a:pt x="431" y="415"/>
                    </a:lnTo>
                    <a:lnTo>
                      <a:pt x="431" y="416"/>
                    </a:lnTo>
                    <a:lnTo>
                      <a:pt x="432" y="417"/>
                    </a:lnTo>
                    <a:lnTo>
                      <a:pt x="431" y="418"/>
                    </a:lnTo>
                    <a:lnTo>
                      <a:pt x="432" y="418"/>
                    </a:lnTo>
                    <a:lnTo>
                      <a:pt x="432" y="419"/>
                    </a:lnTo>
                    <a:lnTo>
                      <a:pt x="431" y="421"/>
                    </a:lnTo>
                    <a:lnTo>
                      <a:pt x="430" y="422"/>
                    </a:lnTo>
                    <a:lnTo>
                      <a:pt x="429" y="422"/>
                    </a:lnTo>
                    <a:lnTo>
                      <a:pt x="429" y="421"/>
                    </a:lnTo>
                    <a:lnTo>
                      <a:pt x="430" y="421"/>
                    </a:lnTo>
                    <a:lnTo>
                      <a:pt x="430" y="419"/>
                    </a:lnTo>
                    <a:lnTo>
                      <a:pt x="430" y="418"/>
                    </a:lnTo>
                    <a:lnTo>
                      <a:pt x="430" y="417"/>
                    </a:lnTo>
                    <a:lnTo>
                      <a:pt x="430" y="416"/>
                    </a:lnTo>
                    <a:lnTo>
                      <a:pt x="429" y="415"/>
                    </a:lnTo>
                    <a:lnTo>
                      <a:pt x="429" y="416"/>
                    </a:lnTo>
                    <a:lnTo>
                      <a:pt x="428" y="415"/>
                    </a:lnTo>
                    <a:lnTo>
                      <a:pt x="427" y="415"/>
                    </a:lnTo>
                    <a:lnTo>
                      <a:pt x="426" y="415"/>
                    </a:lnTo>
                    <a:lnTo>
                      <a:pt x="426" y="414"/>
                    </a:lnTo>
                    <a:lnTo>
                      <a:pt x="425" y="414"/>
                    </a:lnTo>
                    <a:lnTo>
                      <a:pt x="425" y="413"/>
                    </a:lnTo>
                    <a:lnTo>
                      <a:pt x="423" y="412"/>
                    </a:lnTo>
                    <a:lnTo>
                      <a:pt x="423" y="411"/>
                    </a:lnTo>
                    <a:lnTo>
                      <a:pt x="423" y="410"/>
                    </a:lnTo>
                    <a:lnTo>
                      <a:pt x="423" y="409"/>
                    </a:lnTo>
                    <a:lnTo>
                      <a:pt x="423" y="407"/>
                    </a:lnTo>
                    <a:lnTo>
                      <a:pt x="422" y="407"/>
                    </a:lnTo>
                    <a:lnTo>
                      <a:pt x="422" y="406"/>
                    </a:lnTo>
                    <a:lnTo>
                      <a:pt x="421" y="406"/>
                    </a:lnTo>
                    <a:lnTo>
                      <a:pt x="421" y="405"/>
                    </a:lnTo>
                    <a:lnTo>
                      <a:pt x="421" y="404"/>
                    </a:lnTo>
                    <a:lnTo>
                      <a:pt x="421" y="403"/>
                    </a:lnTo>
                    <a:lnTo>
                      <a:pt x="421" y="402"/>
                    </a:lnTo>
                    <a:lnTo>
                      <a:pt x="421" y="401"/>
                    </a:lnTo>
                    <a:lnTo>
                      <a:pt x="422" y="401"/>
                    </a:lnTo>
                    <a:lnTo>
                      <a:pt x="422" y="400"/>
                    </a:lnTo>
                    <a:close/>
                    <a:moveTo>
                      <a:pt x="204" y="412"/>
                    </a:moveTo>
                    <a:lnTo>
                      <a:pt x="206" y="412"/>
                    </a:lnTo>
                    <a:lnTo>
                      <a:pt x="206" y="411"/>
                    </a:lnTo>
                    <a:lnTo>
                      <a:pt x="207" y="412"/>
                    </a:lnTo>
                    <a:lnTo>
                      <a:pt x="208" y="412"/>
                    </a:lnTo>
                    <a:lnTo>
                      <a:pt x="209" y="412"/>
                    </a:lnTo>
                    <a:lnTo>
                      <a:pt x="209" y="413"/>
                    </a:lnTo>
                    <a:lnTo>
                      <a:pt x="209" y="415"/>
                    </a:lnTo>
                    <a:lnTo>
                      <a:pt x="210" y="416"/>
                    </a:lnTo>
                    <a:lnTo>
                      <a:pt x="210" y="417"/>
                    </a:lnTo>
                    <a:lnTo>
                      <a:pt x="209" y="417"/>
                    </a:lnTo>
                    <a:lnTo>
                      <a:pt x="209" y="416"/>
                    </a:lnTo>
                    <a:lnTo>
                      <a:pt x="208" y="417"/>
                    </a:lnTo>
                    <a:lnTo>
                      <a:pt x="208" y="416"/>
                    </a:lnTo>
                    <a:lnTo>
                      <a:pt x="207" y="416"/>
                    </a:lnTo>
                    <a:lnTo>
                      <a:pt x="207" y="417"/>
                    </a:lnTo>
                    <a:lnTo>
                      <a:pt x="206" y="418"/>
                    </a:lnTo>
                    <a:lnTo>
                      <a:pt x="206" y="419"/>
                    </a:lnTo>
                    <a:lnTo>
                      <a:pt x="207" y="421"/>
                    </a:lnTo>
                    <a:lnTo>
                      <a:pt x="206" y="421"/>
                    </a:lnTo>
                    <a:lnTo>
                      <a:pt x="206" y="419"/>
                    </a:lnTo>
                    <a:lnTo>
                      <a:pt x="204" y="419"/>
                    </a:lnTo>
                    <a:lnTo>
                      <a:pt x="203" y="421"/>
                    </a:lnTo>
                    <a:lnTo>
                      <a:pt x="203" y="422"/>
                    </a:lnTo>
                    <a:lnTo>
                      <a:pt x="202" y="422"/>
                    </a:lnTo>
                    <a:lnTo>
                      <a:pt x="202" y="421"/>
                    </a:lnTo>
                    <a:lnTo>
                      <a:pt x="202" y="419"/>
                    </a:lnTo>
                    <a:lnTo>
                      <a:pt x="202" y="418"/>
                    </a:lnTo>
                    <a:lnTo>
                      <a:pt x="201" y="417"/>
                    </a:lnTo>
                    <a:lnTo>
                      <a:pt x="202" y="417"/>
                    </a:lnTo>
                    <a:lnTo>
                      <a:pt x="202" y="416"/>
                    </a:lnTo>
                    <a:lnTo>
                      <a:pt x="202" y="415"/>
                    </a:lnTo>
                    <a:lnTo>
                      <a:pt x="202" y="414"/>
                    </a:lnTo>
                    <a:lnTo>
                      <a:pt x="203" y="414"/>
                    </a:lnTo>
                    <a:lnTo>
                      <a:pt x="203" y="413"/>
                    </a:lnTo>
                    <a:lnTo>
                      <a:pt x="202" y="413"/>
                    </a:lnTo>
                    <a:lnTo>
                      <a:pt x="202" y="412"/>
                    </a:lnTo>
                    <a:lnTo>
                      <a:pt x="203" y="411"/>
                    </a:lnTo>
                    <a:lnTo>
                      <a:pt x="203" y="412"/>
                    </a:lnTo>
                    <a:lnTo>
                      <a:pt x="204" y="412"/>
                    </a:lnTo>
                    <a:close/>
                    <a:moveTo>
                      <a:pt x="260" y="512"/>
                    </a:moveTo>
                    <a:lnTo>
                      <a:pt x="263" y="512"/>
                    </a:lnTo>
                    <a:lnTo>
                      <a:pt x="265" y="512"/>
                    </a:lnTo>
                    <a:lnTo>
                      <a:pt x="265" y="513"/>
                    </a:lnTo>
                    <a:lnTo>
                      <a:pt x="264" y="513"/>
                    </a:lnTo>
                    <a:lnTo>
                      <a:pt x="263" y="513"/>
                    </a:lnTo>
                    <a:lnTo>
                      <a:pt x="262" y="513"/>
                    </a:lnTo>
                    <a:lnTo>
                      <a:pt x="260" y="513"/>
                    </a:lnTo>
                    <a:lnTo>
                      <a:pt x="258" y="512"/>
                    </a:lnTo>
                    <a:lnTo>
                      <a:pt x="257" y="511"/>
                    </a:lnTo>
                    <a:lnTo>
                      <a:pt x="255" y="511"/>
                    </a:lnTo>
                    <a:lnTo>
                      <a:pt x="254" y="509"/>
                    </a:lnTo>
                    <a:lnTo>
                      <a:pt x="253" y="508"/>
                    </a:lnTo>
                    <a:lnTo>
                      <a:pt x="252" y="508"/>
                    </a:lnTo>
                    <a:lnTo>
                      <a:pt x="251" y="507"/>
                    </a:lnTo>
                    <a:lnTo>
                      <a:pt x="250" y="507"/>
                    </a:lnTo>
                    <a:lnTo>
                      <a:pt x="249" y="506"/>
                    </a:lnTo>
                    <a:lnTo>
                      <a:pt x="248" y="505"/>
                    </a:lnTo>
                    <a:lnTo>
                      <a:pt x="247" y="505"/>
                    </a:lnTo>
                    <a:lnTo>
                      <a:pt x="246" y="504"/>
                    </a:lnTo>
                    <a:lnTo>
                      <a:pt x="242" y="502"/>
                    </a:lnTo>
                    <a:lnTo>
                      <a:pt x="241" y="501"/>
                    </a:lnTo>
                    <a:lnTo>
                      <a:pt x="240" y="500"/>
                    </a:lnTo>
                    <a:lnTo>
                      <a:pt x="241" y="500"/>
                    </a:lnTo>
                    <a:lnTo>
                      <a:pt x="242" y="500"/>
                    </a:lnTo>
                    <a:lnTo>
                      <a:pt x="244" y="500"/>
                    </a:lnTo>
                    <a:lnTo>
                      <a:pt x="245" y="501"/>
                    </a:lnTo>
                    <a:lnTo>
                      <a:pt x="246" y="502"/>
                    </a:lnTo>
                    <a:lnTo>
                      <a:pt x="251" y="506"/>
                    </a:lnTo>
                    <a:lnTo>
                      <a:pt x="252" y="506"/>
                    </a:lnTo>
                    <a:lnTo>
                      <a:pt x="253" y="507"/>
                    </a:lnTo>
                    <a:lnTo>
                      <a:pt x="255" y="508"/>
                    </a:lnTo>
                    <a:lnTo>
                      <a:pt x="255" y="509"/>
                    </a:lnTo>
                    <a:lnTo>
                      <a:pt x="257" y="509"/>
                    </a:lnTo>
                    <a:lnTo>
                      <a:pt x="258" y="511"/>
                    </a:lnTo>
                    <a:lnTo>
                      <a:pt x="259" y="511"/>
                    </a:lnTo>
                    <a:lnTo>
                      <a:pt x="260" y="512"/>
                    </a:lnTo>
                    <a:close/>
                    <a:moveTo>
                      <a:pt x="425" y="399"/>
                    </a:moveTo>
                    <a:lnTo>
                      <a:pt x="422" y="399"/>
                    </a:lnTo>
                    <a:lnTo>
                      <a:pt x="422" y="398"/>
                    </a:lnTo>
                    <a:lnTo>
                      <a:pt x="421" y="397"/>
                    </a:lnTo>
                    <a:lnTo>
                      <a:pt x="421" y="396"/>
                    </a:lnTo>
                    <a:lnTo>
                      <a:pt x="421" y="394"/>
                    </a:lnTo>
                    <a:lnTo>
                      <a:pt x="421" y="392"/>
                    </a:lnTo>
                    <a:lnTo>
                      <a:pt x="421" y="391"/>
                    </a:lnTo>
                    <a:lnTo>
                      <a:pt x="421" y="390"/>
                    </a:lnTo>
                    <a:lnTo>
                      <a:pt x="422" y="390"/>
                    </a:lnTo>
                    <a:lnTo>
                      <a:pt x="422" y="391"/>
                    </a:lnTo>
                    <a:lnTo>
                      <a:pt x="423" y="391"/>
                    </a:lnTo>
                    <a:lnTo>
                      <a:pt x="423" y="392"/>
                    </a:lnTo>
                    <a:lnTo>
                      <a:pt x="425" y="392"/>
                    </a:lnTo>
                    <a:lnTo>
                      <a:pt x="425" y="393"/>
                    </a:lnTo>
                    <a:lnTo>
                      <a:pt x="426" y="393"/>
                    </a:lnTo>
                    <a:lnTo>
                      <a:pt x="426" y="394"/>
                    </a:lnTo>
                    <a:lnTo>
                      <a:pt x="427" y="394"/>
                    </a:lnTo>
                    <a:lnTo>
                      <a:pt x="427" y="396"/>
                    </a:lnTo>
                    <a:lnTo>
                      <a:pt x="427" y="397"/>
                    </a:lnTo>
                    <a:lnTo>
                      <a:pt x="426" y="398"/>
                    </a:lnTo>
                    <a:lnTo>
                      <a:pt x="425" y="399"/>
                    </a:lnTo>
                    <a:close/>
                    <a:moveTo>
                      <a:pt x="388" y="454"/>
                    </a:moveTo>
                    <a:lnTo>
                      <a:pt x="389" y="454"/>
                    </a:lnTo>
                    <a:lnTo>
                      <a:pt x="389" y="455"/>
                    </a:lnTo>
                    <a:lnTo>
                      <a:pt x="390" y="455"/>
                    </a:lnTo>
                    <a:lnTo>
                      <a:pt x="391" y="455"/>
                    </a:lnTo>
                    <a:lnTo>
                      <a:pt x="392" y="455"/>
                    </a:lnTo>
                    <a:lnTo>
                      <a:pt x="391" y="456"/>
                    </a:lnTo>
                    <a:lnTo>
                      <a:pt x="391" y="455"/>
                    </a:lnTo>
                    <a:lnTo>
                      <a:pt x="390" y="456"/>
                    </a:lnTo>
                    <a:lnTo>
                      <a:pt x="390" y="457"/>
                    </a:lnTo>
                    <a:lnTo>
                      <a:pt x="390" y="458"/>
                    </a:lnTo>
                    <a:lnTo>
                      <a:pt x="390" y="460"/>
                    </a:lnTo>
                    <a:lnTo>
                      <a:pt x="390" y="461"/>
                    </a:lnTo>
                    <a:lnTo>
                      <a:pt x="391" y="461"/>
                    </a:lnTo>
                    <a:lnTo>
                      <a:pt x="391" y="462"/>
                    </a:lnTo>
                    <a:lnTo>
                      <a:pt x="391" y="463"/>
                    </a:lnTo>
                    <a:lnTo>
                      <a:pt x="391" y="464"/>
                    </a:lnTo>
                    <a:lnTo>
                      <a:pt x="392" y="464"/>
                    </a:lnTo>
                    <a:lnTo>
                      <a:pt x="392" y="463"/>
                    </a:lnTo>
                    <a:lnTo>
                      <a:pt x="393" y="463"/>
                    </a:lnTo>
                    <a:lnTo>
                      <a:pt x="393" y="462"/>
                    </a:lnTo>
                    <a:lnTo>
                      <a:pt x="393" y="463"/>
                    </a:lnTo>
                    <a:lnTo>
                      <a:pt x="392" y="464"/>
                    </a:lnTo>
                    <a:lnTo>
                      <a:pt x="392" y="465"/>
                    </a:lnTo>
                    <a:lnTo>
                      <a:pt x="391" y="465"/>
                    </a:lnTo>
                    <a:lnTo>
                      <a:pt x="390" y="465"/>
                    </a:lnTo>
                    <a:lnTo>
                      <a:pt x="390" y="464"/>
                    </a:lnTo>
                    <a:lnTo>
                      <a:pt x="391" y="464"/>
                    </a:lnTo>
                    <a:lnTo>
                      <a:pt x="390" y="464"/>
                    </a:lnTo>
                    <a:lnTo>
                      <a:pt x="390" y="463"/>
                    </a:lnTo>
                    <a:lnTo>
                      <a:pt x="390" y="462"/>
                    </a:lnTo>
                    <a:lnTo>
                      <a:pt x="390" y="461"/>
                    </a:lnTo>
                    <a:lnTo>
                      <a:pt x="389" y="460"/>
                    </a:lnTo>
                    <a:lnTo>
                      <a:pt x="389" y="458"/>
                    </a:lnTo>
                    <a:lnTo>
                      <a:pt x="388" y="458"/>
                    </a:lnTo>
                    <a:lnTo>
                      <a:pt x="388" y="457"/>
                    </a:lnTo>
                    <a:lnTo>
                      <a:pt x="387" y="457"/>
                    </a:lnTo>
                    <a:lnTo>
                      <a:pt x="387" y="456"/>
                    </a:lnTo>
                    <a:lnTo>
                      <a:pt x="387" y="455"/>
                    </a:lnTo>
                    <a:lnTo>
                      <a:pt x="388" y="455"/>
                    </a:lnTo>
                    <a:lnTo>
                      <a:pt x="388" y="454"/>
                    </a:lnTo>
                    <a:close/>
                    <a:moveTo>
                      <a:pt x="559" y="367"/>
                    </a:moveTo>
                    <a:lnTo>
                      <a:pt x="560" y="367"/>
                    </a:lnTo>
                    <a:lnTo>
                      <a:pt x="560" y="368"/>
                    </a:lnTo>
                    <a:lnTo>
                      <a:pt x="561" y="368"/>
                    </a:lnTo>
                    <a:lnTo>
                      <a:pt x="560" y="370"/>
                    </a:lnTo>
                    <a:lnTo>
                      <a:pt x="559" y="370"/>
                    </a:lnTo>
                    <a:lnTo>
                      <a:pt x="559" y="371"/>
                    </a:lnTo>
                    <a:lnTo>
                      <a:pt x="558" y="371"/>
                    </a:lnTo>
                    <a:lnTo>
                      <a:pt x="557" y="371"/>
                    </a:lnTo>
                    <a:lnTo>
                      <a:pt x="556" y="371"/>
                    </a:lnTo>
                    <a:lnTo>
                      <a:pt x="556" y="370"/>
                    </a:lnTo>
                    <a:lnTo>
                      <a:pt x="556" y="368"/>
                    </a:lnTo>
                    <a:lnTo>
                      <a:pt x="556" y="367"/>
                    </a:lnTo>
                    <a:lnTo>
                      <a:pt x="556" y="366"/>
                    </a:lnTo>
                    <a:lnTo>
                      <a:pt x="556" y="365"/>
                    </a:lnTo>
                    <a:lnTo>
                      <a:pt x="555" y="364"/>
                    </a:lnTo>
                    <a:lnTo>
                      <a:pt x="555" y="363"/>
                    </a:lnTo>
                    <a:lnTo>
                      <a:pt x="555" y="362"/>
                    </a:lnTo>
                    <a:lnTo>
                      <a:pt x="555" y="363"/>
                    </a:lnTo>
                    <a:lnTo>
                      <a:pt x="556" y="364"/>
                    </a:lnTo>
                    <a:lnTo>
                      <a:pt x="556" y="365"/>
                    </a:lnTo>
                    <a:lnTo>
                      <a:pt x="557" y="365"/>
                    </a:lnTo>
                    <a:lnTo>
                      <a:pt x="557" y="366"/>
                    </a:lnTo>
                    <a:lnTo>
                      <a:pt x="558" y="366"/>
                    </a:lnTo>
                    <a:lnTo>
                      <a:pt x="559" y="367"/>
                    </a:lnTo>
                    <a:close/>
                    <a:moveTo>
                      <a:pt x="470" y="378"/>
                    </a:moveTo>
                    <a:lnTo>
                      <a:pt x="471" y="378"/>
                    </a:lnTo>
                    <a:lnTo>
                      <a:pt x="471" y="377"/>
                    </a:lnTo>
                    <a:lnTo>
                      <a:pt x="472" y="377"/>
                    </a:lnTo>
                    <a:lnTo>
                      <a:pt x="471" y="378"/>
                    </a:lnTo>
                    <a:lnTo>
                      <a:pt x="471" y="379"/>
                    </a:lnTo>
                    <a:lnTo>
                      <a:pt x="470" y="379"/>
                    </a:lnTo>
                    <a:lnTo>
                      <a:pt x="470" y="380"/>
                    </a:lnTo>
                    <a:lnTo>
                      <a:pt x="470" y="381"/>
                    </a:lnTo>
                    <a:lnTo>
                      <a:pt x="471" y="381"/>
                    </a:lnTo>
                    <a:lnTo>
                      <a:pt x="473" y="384"/>
                    </a:lnTo>
                    <a:lnTo>
                      <a:pt x="474" y="385"/>
                    </a:lnTo>
                    <a:lnTo>
                      <a:pt x="475" y="385"/>
                    </a:lnTo>
                    <a:lnTo>
                      <a:pt x="475" y="386"/>
                    </a:lnTo>
                    <a:lnTo>
                      <a:pt x="474" y="386"/>
                    </a:lnTo>
                    <a:lnTo>
                      <a:pt x="473" y="385"/>
                    </a:lnTo>
                    <a:lnTo>
                      <a:pt x="473" y="384"/>
                    </a:lnTo>
                    <a:lnTo>
                      <a:pt x="472" y="384"/>
                    </a:lnTo>
                    <a:lnTo>
                      <a:pt x="472" y="383"/>
                    </a:lnTo>
                    <a:lnTo>
                      <a:pt x="471" y="383"/>
                    </a:lnTo>
                    <a:lnTo>
                      <a:pt x="470" y="383"/>
                    </a:lnTo>
                    <a:lnTo>
                      <a:pt x="470" y="381"/>
                    </a:lnTo>
                    <a:lnTo>
                      <a:pt x="469" y="381"/>
                    </a:lnTo>
                    <a:lnTo>
                      <a:pt x="469" y="380"/>
                    </a:lnTo>
                    <a:lnTo>
                      <a:pt x="468" y="380"/>
                    </a:lnTo>
                    <a:lnTo>
                      <a:pt x="468" y="379"/>
                    </a:lnTo>
                    <a:lnTo>
                      <a:pt x="467" y="379"/>
                    </a:lnTo>
                    <a:lnTo>
                      <a:pt x="467" y="378"/>
                    </a:lnTo>
                    <a:lnTo>
                      <a:pt x="467" y="377"/>
                    </a:lnTo>
                    <a:lnTo>
                      <a:pt x="468" y="377"/>
                    </a:lnTo>
                    <a:lnTo>
                      <a:pt x="469" y="378"/>
                    </a:lnTo>
                    <a:lnTo>
                      <a:pt x="470" y="378"/>
                    </a:lnTo>
                    <a:close/>
                    <a:moveTo>
                      <a:pt x="459" y="342"/>
                    </a:moveTo>
                    <a:lnTo>
                      <a:pt x="459" y="344"/>
                    </a:lnTo>
                    <a:lnTo>
                      <a:pt x="459" y="345"/>
                    </a:lnTo>
                    <a:lnTo>
                      <a:pt x="460" y="346"/>
                    </a:lnTo>
                    <a:lnTo>
                      <a:pt x="459" y="346"/>
                    </a:lnTo>
                    <a:lnTo>
                      <a:pt x="459" y="347"/>
                    </a:lnTo>
                    <a:lnTo>
                      <a:pt x="458" y="347"/>
                    </a:lnTo>
                    <a:lnTo>
                      <a:pt x="458" y="348"/>
                    </a:lnTo>
                    <a:lnTo>
                      <a:pt x="457" y="347"/>
                    </a:lnTo>
                    <a:lnTo>
                      <a:pt x="457" y="346"/>
                    </a:lnTo>
                    <a:lnTo>
                      <a:pt x="458" y="346"/>
                    </a:lnTo>
                    <a:lnTo>
                      <a:pt x="458" y="345"/>
                    </a:lnTo>
                    <a:lnTo>
                      <a:pt x="458" y="344"/>
                    </a:lnTo>
                    <a:lnTo>
                      <a:pt x="458" y="342"/>
                    </a:lnTo>
                    <a:lnTo>
                      <a:pt x="458" y="344"/>
                    </a:lnTo>
                    <a:lnTo>
                      <a:pt x="457" y="344"/>
                    </a:lnTo>
                    <a:lnTo>
                      <a:pt x="457" y="342"/>
                    </a:lnTo>
                    <a:lnTo>
                      <a:pt x="457" y="341"/>
                    </a:lnTo>
                    <a:lnTo>
                      <a:pt x="456" y="341"/>
                    </a:lnTo>
                    <a:lnTo>
                      <a:pt x="456" y="340"/>
                    </a:lnTo>
                    <a:lnTo>
                      <a:pt x="457" y="340"/>
                    </a:lnTo>
                    <a:lnTo>
                      <a:pt x="456" y="340"/>
                    </a:lnTo>
                    <a:lnTo>
                      <a:pt x="456" y="339"/>
                    </a:lnTo>
                    <a:lnTo>
                      <a:pt x="457" y="339"/>
                    </a:lnTo>
                    <a:lnTo>
                      <a:pt x="458" y="339"/>
                    </a:lnTo>
                    <a:lnTo>
                      <a:pt x="458" y="340"/>
                    </a:lnTo>
                    <a:lnTo>
                      <a:pt x="458" y="341"/>
                    </a:lnTo>
                    <a:lnTo>
                      <a:pt x="459" y="341"/>
                    </a:lnTo>
                    <a:lnTo>
                      <a:pt x="459" y="342"/>
                    </a:lnTo>
                    <a:close/>
                    <a:moveTo>
                      <a:pt x="324" y="500"/>
                    </a:moveTo>
                    <a:lnTo>
                      <a:pt x="323" y="500"/>
                    </a:lnTo>
                    <a:lnTo>
                      <a:pt x="322" y="500"/>
                    </a:lnTo>
                    <a:lnTo>
                      <a:pt x="322" y="501"/>
                    </a:lnTo>
                    <a:lnTo>
                      <a:pt x="320" y="501"/>
                    </a:lnTo>
                    <a:lnTo>
                      <a:pt x="320" y="500"/>
                    </a:lnTo>
                    <a:lnTo>
                      <a:pt x="322" y="499"/>
                    </a:lnTo>
                    <a:lnTo>
                      <a:pt x="320" y="499"/>
                    </a:lnTo>
                    <a:lnTo>
                      <a:pt x="322" y="496"/>
                    </a:lnTo>
                    <a:lnTo>
                      <a:pt x="322" y="495"/>
                    </a:lnTo>
                    <a:lnTo>
                      <a:pt x="322" y="494"/>
                    </a:lnTo>
                    <a:lnTo>
                      <a:pt x="323" y="494"/>
                    </a:lnTo>
                    <a:lnTo>
                      <a:pt x="323" y="495"/>
                    </a:lnTo>
                    <a:lnTo>
                      <a:pt x="323" y="496"/>
                    </a:lnTo>
                    <a:lnTo>
                      <a:pt x="324" y="496"/>
                    </a:lnTo>
                    <a:lnTo>
                      <a:pt x="324" y="497"/>
                    </a:lnTo>
                    <a:lnTo>
                      <a:pt x="324" y="499"/>
                    </a:lnTo>
                    <a:lnTo>
                      <a:pt x="324" y="500"/>
                    </a:lnTo>
                    <a:close/>
                    <a:moveTo>
                      <a:pt x="309" y="484"/>
                    </a:moveTo>
                    <a:lnTo>
                      <a:pt x="309" y="483"/>
                    </a:lnTo>
                    <a:lnTo>
                      <a:pt x="310" y="483"/>
                    </a:lnTo>
                    <a:lnTo>
                      <a:pt x="310" y="484"/>
                    </a:lnTo>
                    <a:lnTo>
                      <a:pt x="311" y="484"/>
                    </a:lnTo>
                    <a:lnTo>
                      <a:pt x="312" y="484"/>
                    </a:lnTo>
                    <a:lnTo>
                      <a:pt x="311" y="486"/>
                    </a:lnTo>
                    <a:lnTo>
                      <a:pt x="310" y="486"/>
                    </a:lnTo>
                    <a:lnTo>
                      <a:pt x="309" y="486"/>
                    </a:lnTo>
                    <a:lnTo>
                      <a:pt x="307" y="487"/>
                    </a:lnTo>
                    <a:lnTo>
                      <a:pt x="307" y="486"/>
                    </a:lnTo>
                    <a:lnTo>
                      <a:pt x="306" y="486"/>
                    </a:lnTo>
                    <a:lnTo>
                      <a:pt x="306" y="484"/>
                    </a:lnTo>
                    <a:lnTo>
                      <a:pt x="306" y="483"/>
                    </a:lnTo>
                    <a:lnTo>
                      <a:pt x="306" y="482"/>
                    </a:lnTo>
                    <a:lnTo>
                      <a:pt x="306" y="483"/>
                    </a:lnTo>
                    <a:lnTo>
                      <a:pt x="307" y="483"/>
                    </a:lnTo>
                    <a:lnTo>
                      <a:pt x="309" y="484"/>
                    </a:lnTo>
                    <a:close/>
                    <a:moveTo>
                      <a:pt x="193" y="415"/>
                    </a:moveTo>
                    <a:lnTo>
                      <a:pt x="193" y="416"/>
                    </a:lnTo>
                    <a:lnTo>
                      <a:pt x="191" y="415"/>
                    </a:lnTo>
                    <a:lnTo>
                      <a:pt x="190" y="415"/>
                    </a:lnTo>
                    <a:lnTo>
                      <a:pt x="190" y="414"/>
                    </a:lnTo>
                    <a:lnTo>
                      <a:pt x="189" y="414"/>
                    </a:lnTo>
                    <a:lnTo>
                      <a:pt x="189" y="413"/>
                    </a:lnTo>
                    <a:lnTo>
                      <a:pt x="189" y="412"/>
                    </a:lnTo>
                    <a:lnTo>
                      <a:pt x="190" y="412"/>
                    </a:lnTo>
                    <a:lnTo>
                      <a:pt x="190" y="413"/>
                    </a:lnTo>
                    <a:lnTo>
                      <a:pt x="191" y="413"/>
                    </a:lnTo>
                    <a:lnTo>
                      <a:pt x="193" y="414"/>
                    </a:lnTo>
                    <a:lnTo>
                      <a:pt x="193" y="415"/>
                    </a:lnTo>
                    <a:close/>
                    <a:moveTo>
                      <a:pt x="402" y="453"/>
                    </a:moveTo>
                    <a:lnTo>
                      <a:pt x="402" y="454"/>
                    </a:lnTo>
                    <a:lnTo>
                      <a:pt x="401" y="454"/>
                    </a:lnTo>
                    <a:lnTo>
                      <a:pt x="402" y="454"/>
                    </a:lnTo>
                    <a:lnTo>
                      <a:pt x="403" y="454"/>
                    </a:lnTo>
                    <a:lnTo>
                      <a:pt x="403" y="455"/>
                    </a:lnTo>
                    <a:lnTo>
                      <a:pt x="402" y="455"/>
                    </a:lnTo>
                    <a:lnTo>
                      <a:pt x="402" y="456"/>
                    </a:lnTo>
                    <a:lnTo>
                      <a:pt x="402" y="457"/>
                    </a:lnTo>
                    <a:lnTo>
                      <a:pt x="402" y="458"/>
                    </a:lnTo>
                    <a:lnTo>
                      <a:pt x="402" y="460"/>
                    </a:lnTo>
                    <a:lnTo>
                      <a:pt x="402" y="458"/>
                    </a:lnTo>
                    <a:lnTo>
                      <a:pt x="402" y="457"/>
                    </a:lnTo>
                    <a:lnTo>
                      <a:pt x="401" y="457"/>
                    </a:lnTo>
                    <a:lnTo>
                      <a:pt x="401" y="456"/>
                    </a:lnTo>
                    <a:lnTo>
                      <a:pt x="401" y="455"/>
                    </a:lnTo>
                    <a:lnTo>
                      <a:pt x="400" y="455"/>
                    </a:lnTo>
                    <a:lnTo>
                      <a:pt x="400" y="456"/>
                    </a:lnTo>
                    <a:lnTo>
                      <a:pt x="400" y="455"/>
                    </a:lnTo>
                    <a:lnTo>
                      <a:pt x="400" y="454"/>
                    </a:lnTo>
                    <a:lnTo>
                      <a:pt x="400" y="453"/>
                    </a:lnTo>
                    <a:lnTo>
                      <a:pt x="401" y="453"/>
                    </a:lnTo>
                    <a:lnTo>
                      <a:pt x="402" y="453"/>
                    </a:lnTo>
                    <a:close/>
                    <a:moveTo>
                      <a:pt x="491" y="339"/>
                    </a:moveTo>
                    <a:lnTo>
                      <a:pt x="491" y="340"/>
                    </a:lnTo>
                    <a:lnTo>
                      <a:pt x="492" y="340"/>
                    </a:lnTo>
                    <a:lnTo>
                      <a:pt x="492" y="339"/>
                    </a:lnTo>
                    <a:lnTo>
                      <a:pt x="493" y="339"/>
                    </a:lnTo>
                    <a:lnTo>
                      <a:pt x="494" y="339"/>
                    </a:lnTo>
                    <a:lnTo>
                      <a:pt x="494" y="340"/>
                    </a:lnTo>
                    <a:lnTo>
                      <a:pt x="493" y="340"/>
                    </a:lnTo>
                    <a:lnTo>
                      <a:pt x="493" y="339"/>
                    </a:lnTo>
                    <a:lnTo>
                      <a:pt x="492" y="340"/>
                    </a:lnTo>
                    <a:lnTo>
                      <a:pt x="492" y="341"/>
                    </a:lnTo>
                    <a:lnTo>
                      <a:pt x="491" y="341"/>
                    </a:lnTo>
                    <a:lnTo>
                      <a:pt x="491" y="340"/>
                    </a:lnTo>
                    <a:lnTo>
                      <a:pt x="490" y="340"/>
                    </a:lnTo>
                    <a:lnTo>
                      <a:pt x="488" y="340"/>
                    </a:lnTo>
                    <a:lnTo>
                      <a:pt x="487" y="340"/>
                    </a:lnTo>
                    <a:lnTo>
                      <a:pt x="487" y="339"/>
                    </a:lnTo>
                    <a:lnTo>
                      <a:pt x="488" y="339"/>
                    </a:lnTo>
                    <a:lnTo>
                      <a:pt x="488" y="338"/>
                    </a:lnTo>
                    <a:lnTo>
                      <a:pt x="490" y="338"/>
                    </a:lnTo>
                    <a:lnTo>
                      <a:pt x="490" y="337"/>
                    </a:lnTo>
                    <a:lnTo>
                      <a:pt x="490" y="338"/>
                    </a:lnTo>
                    <a:lnTo>
                      <a:pt x="491" y="338"/>
                    </a:lnTo>
                    <a:lnTo>
                      <a:pt x="491" y="339"/>
                    </a:lnTo>
                    <a:close/>
                    <a:moveTo>
                      <a:pt x="480" y="400"/>
                    </a:moveTo>
                    <a:lnTo>
                      <a:pt x="481" y="400"/>
                    </a:lnTo>
                    <a:lnTo>
                      <a:pt x="481" y="401"/>
                    </a:lnTo>
                    <a:lnTo>
                      <a:pt x="482" y="401"/>
                    </a:lnTo>
                    <a:lnTo>
                      <a:pt x="483" y="401"/>
                    </a:lnTo>
                    <a:lnTo>
                      <a:pt x="483" y="402"/>
                    </a:lnTo>
                    <a:lnTo>
                      <a:pt x="482" y="402"/>
                    </a:lnTo>
                    <a:lnTo>
                      <a:pt x="482" y="401"/>
                    </a:lnTo>
                    <a:lnTo>
                      <a:pt x="481" y="401"/>
                    </a:lnTo>
                    <a:lnTo>
                      <a:pt x="480" y="401"/>
                    </a:lnTo>
                    <a:lnTo>
                      <a:pt x="479" y="401"/>
                    </a:lnTo>
                    <a:lnTo>
                      <a:pt x="479" y="400"/>
                    </a:lnTo>
                    <a:lnTo>
                      <a:pt x="478" y="401"/>
                    </a:lnTo>
                    <a:lnTo>
                      <a:pt x="477" y="400"/>
                    </a:lnTo>
                    <a:lnTo>
                      <a:pt x="475" y="400"/>
                    </a:lnTo>
                    <a:lnTo>
                      <a:pt x="474" y="400"/>
                    </a:lnTo>
                    <a:lnTo>
                      <a:pt x="474" y="399"/>
                    </a:lnTo>
                    <a:lnTo>
                      <a:pt x="475" y="399"/>
                    </a:lnTo>
                    <a:lnTo>
                      <a:pt x="475" y="400"/>
                    </a:lnTo>
                    <a:lnTo>
                      <a:pt x="477" y="400"/>
                    </a:lnTo>
                    <a:lnTo>
                      <a:pt x="478" y="400"/>
                    </a:lnTo>
                    <a:lnTo>
                      <a:pt x="478" y="399"/>
                    </a:lnTo>
                    <a:lnTo>
                      <a:pt x="479" y="399"/>
                    </a:lnTo>
                    <a:lnTo>
                      <a:pt x="479" y="400"/>
                    </a:lnTo>
                    <a:lnTo>
                      <a:pt x="480" y="400"/>
                    </a:lnTo>
                    <a:close/>
                    <a:moveTo>
                      <a:pt x="433" y="412"/>
                    </a:moveTo>
                    <a:lnTo>
                      <a:pt x="432" y="412"/>
                    </a:lnTo>
                    <a:lnTo>
                      <a:pt x="432" y="411"/>
                    </a:lnTo>
                    <a:lnTo>
                      <a:pt x="431" y="411"/>
                    </a:lnTo>
                    <a:lnTo>
                      <a:pt x="431" y="410"/>
                    </a:lnTo>
                    <a:lnTo>
                      <a:pt x="431" y="407"/>
                    </a:lnTo>
                    <a:lnTo>
                      <a:pt x="432" y="407"/>
                    </a:lnTo>
                    <a:lnTo>
                      <a:pt x="432" y="409"/>
                    </a:lnTo>
                    <a:lnTo>
                      <a:pt x="433" y="410"/>
                    </a:lnTo>
                    <a:lnTo>
                      <a:pt x="433" y="411"/>
                    </a:lnTo>
                    <a:lnTo>
                      <a:pt x="433" y="412"/>
                    </a:lnTo>
                    <a:close/>
                    <a:moveTo>
                      <a:pt x="452" y="412"/>
                    </a:moveTo>
                    <a:lnTo>
                      <a:pt x="451" y="412"/>
                    </a:lnTo>
                    <a:lnTo>
                      <a:pt x="448" y="410"/>
                    </a:lnTo>
                    <a:lnTo>
                      <a:pt x="448" y="409"/>
                    </a:lnTo>
                    <a:lnTo>
                      <a:pt x="449" y="409"/>
                    </a:lnTo>
                    <a:lnTo>
                      <a:pt x="451" y="409"/>
                    </a:lnTo>
                    <a:lnTo>
                      <a:pt x="451" y="410"/>
                    </a:lnTo>
                    <a:lnTo>
                      <a:pt x="452" y="410"/>
                    </a:lnTo>
                    <a:lnTo>
                      <a:pt x="452" y="411"/>
                    </a:lnTo>
                    <a:lnTo>
                      <a:pt x="452" y="412"/>
                    </a:lnTo>
                    <a:close/>
                    <a:moveTo>
                      <a:pt x="138" y="346"/>
                    </a:moveTo>
                    <a:lnTo>
                      <a:pt x="137" y="346"/>
                    </a:lnTo>
                    <a:lnTo>
                      <a:pt x="136" y="345"/>
                    </a:lnTo>
                    <a:lnTo>
                      <a:pt x="137" y="344"/>
                    </a:lnTo>
                    <a:lnTo>
                      <a:pt x="138" y="342"/>
                    </a:lnTo>
                    <a:lnTo>
                      <a:pt x="138" y="344"/>
                    </a:lnTo>
                    <a:lnTo>
                      <a:pt x="139" y="344"/>
                    </a:lnTo>
                    <a:lnTo>
                      <a:pt x="139" y="345"/>
                    </a:lnTo>
                    <a:lnTo>
                      <a:pt x="138" y="346"/>
                    </a:lnTo>
                    <a:close/>
                    <a:moveTo>
                      <a:pt x="431" y="429"/>
                    </a:moveTo>
                    <a:lnTo>
                      <a:pt x="430" y="429"/>
                    </a:lnTo>
                    <a:lnTo>
                      <a:pt x="430" y="428"/>
                    </a:lnTo>
                    <a:lnTo>
                      <a:pt x="430" y="427"/>
                    </a:lnTo>
                    <a:lnTo>
                      <a:pt x="429" y="426"/>
                    </a:lnTo>
                    <a:lnTo>
                      <a:pt x="429" y="425"/>
                    </a:lnTo>
                    <a:lnTo>
                      <a:pt x="430" y="425"/>
                    </a:lnTo>
                    <a:lnTo>
                      <a:pt x="430" y="426"/>
                    </a:lnTo>
                    <a:lnTo>
                      <a:pt x="431" y="427"/>
                    </a:lnTo>
                    <a:lnTo>
                      <a:pt x="431" y="429"/>
                    </a:lnTo>
                    <a:close/>
                    <a:moveTo>
                      <a:pt x="460" y="338"/>
                    </a:moveTo>
                    <a:lnTo>
                      <a:pt x="460" y="339"/>
                    </a:lnTo>
                    <a:lnTo>
                      <a:pt x="461" y="340"/>
                    </a:lnTo>
                    <a:lnTo>
                      <a:pt x="460" y="340"/>
                    </a:lnTo>
                    <a:lnTo>
                      <a:pt x="459" y="339"/>
                    </a:lnTo>
                    <a:lnTo>
                      <a:pt x="458" y="338"/>
                    </a:lnTo>
                    <a:lnTo>
                      <a:pt x="457" y="338"/>
                    </a:lnTo>
                    <a:lnTo>
                      <a:pt x="456" y="338"/>
                    </a:lnTo>
                    <a:lnTo>
                      <a:pt x="456" y="339"/>
                    </a:lnTo>
                    <a:lnTo>
                      <a:pt x="456" y="338"/>
                    </a:lnTo>
                    <a:lnTo>
                      <a:pt x="456" y="337"/>
                    </a:lnTo>
                    <a:lnTo>
                      <a:pt x="457" y="337"/>
                    </a:lnTo>
                    <a:lnTo>
                      <a:pt x="458" y="337"/>
                    </a:lnTo>
                    <a:lnTo>
                      <a:pt x="459" y="338"/>
                    </a:lnTo>
                    <a:lnTo>
                      <a:pt x="460" y="338"/>
                    </a:lnTo>
                    <a:close/>
                    <a:moveTo>
                      <a:pt x="441" y="397"/>
                    </a:moveTo>
                    <a:lnTo>
                      <a:pt x="440" y="397"/>
                    </a:lnTo>
                    <a:lnTo>
                      <a:pt x="439" y="397"/>
                    </a:lnTo>
                    <a:lnTo>
                      <a:pt x="439" y="398"/>
                    </a:lnTo>
                    <a:lnTo>
                      <a:pt x="439" y="397"/>
                    </a:lnTo>
                    <a:lnTo>
                      <a:pt x="438" y="397"/>
                    </a:lnTo>
                    <a:lnTo>
                      <a:pt x="438" y="396"/>
                    </a:lnTo>
                    <a:lnTo>
                      <a:pt x="436" y="396"/>
                    </a:lnTo>
                    <a:lnTo>
                      <a:pt x="436" y="394"/>
                    </a:lnTo>
                    <a:lnTo>
                      <a:pt x="436" y="393"/>
                    </a:lnTo>
                    <a:lnTo>
                      <a:pt x="435" y="393"/>
                    </a:lnTo>
                    <a:lnTo>
                      <a:pt x="436" y="393"/>
                    </a:lnTo>
                    <a:lnTo>
                      <a:pt x="438" y="394"/>
                    </a:lnTo>
                    <a:lnTo>
                      <a:pt x="438" y="396"/>
                    </a:lnTo>
                    <a:lnTo>
                      <a:pt x="439" y="396"/>
                    </a:lnTo>
                    <a:lnTo>
                      <a:pt x="440" y="396"/>
                    </a:lnTo>
                    <a:lnTo>
                      <a:pt x="441" y="396"/>
                    </a:lnTo>
                    <a:lnTo>
                      <a:pt x="441" y="397"/>
                    </a:lnTo>
                    <a:close/>
                    <a:moveTo>
                      <a:pt x="1" y="319"/>
                    </a:moveTo>
                    <a:lnTo>
                      <a:pt x="0" y="320"/>
                    </a:lnTo>
                    <a:lnTo>
                      <a:pt x="0" y="317"/>
                    </a:lnTo>
                    <a:lnTo>
                      <a:pt x="0" y="316"/>
                    </a:lnTo>
                    <a:lnTo>
                      <a:pt x="0" y="315"/>
                    </a:lnTo>
                    <a:lnTo>
                      <a:pt x="0" y="314"/>
                    </a:lnTo>
                    <a:lnTo>
                      <a:pt x="0" y="315"/>
                    </a:lnTo>
                    <a:lnTo>
                      <a:pt x="1" y="315"/>
                    </a:lnTo>
                    <a:lnTo>
                      <a:pt x="1" y="316"/>
                    </a:lnTo>
                    <a:lnTo>
                      <a:pt x="1" y="317"/>
                    </a:lnTo>
                    <a:lnTo>
                      <a:pt x="1" y="319"/>
                    </a:lnTo>
                    <a:close/>
                    <a:moveTo>
                      <a:pt x="454" y="482"/>
                    </a:moveTo>
                    <a:lnTo>
                      <a:pt x="453" y="482"/>
                    </a:lnTo>
                    <a:lnTo>
                      <a:pt x="452" y="482"/>
                    </a:lnTo>
                    <a:lnTo>
                      <a:pt x="452" y="481"/>
                    </a:lnTo>
                    <a:lnTo>
                      <a:pt x="452" y="480"/>
                    </a:lnTo>
                    <a:lnTo>
                      <a:pt x="453" y="480"/>
                    </a:lnTo>
                    <a:lnTo>
                      <a:pt x="454" y="480"/>
                    </a:lnTo>
                    <a:lnTo>
                      <a:pt x="455" y="480"/>
                    </a:lnTo>
                    <a:lnTo>
                      <a:pt x="455" y="481"/>
                    </a:lnTo>
                    <a:lnTo>
                      <a:pt x="454" y="481"/>
                    </a:lnTo>
                    <a:lnTo>
                      <a:pt x="454" y="482"/>
                    </a:lnTo>
                    <a:close/>
                    <a:moveTo>
                      <a:pt x="343" y="466"/>
                    </a:moveTo>
                    <a:lnTo>
                      <a:pt x="342" y="466"/>
                    </a:lnTo>
                    <a:lnTo>
                      <a:pt x="343" y="466"/>
                    </a:lnTo>
                    <a:lnTo>
                      <a:pt x="343" y="465"/>
                    </a:lnTo>
                    <a:lnTo>
                      <a:pt x="343" y="464"/>
                    </a:lnTo>
                    <a:lnTo>
                      <a:pt x="344" y="464"/>
                    </a:lnTo>
                    <a:lnTo>
                      <a:pt x="345" y="464"/>
                    </a:lnTo>
                    <a:lnTo>
                      <a:pt x="345" y="465"/>
                    </a:lnTo>
                    <a:lnTo>
                      <a:pt x="344" y="465"/>
                    </a:lnTo>
                    <a:lnTo>
                      <a:pt x="344" y="466"/>
                    </a:lnTo>
                    <a:lnTo>
                      <a:pt x="343" y="466"/>
                    </a:lnTo>
                    <a:close/>
                    <a:moveTo>
                      <a:pt x="480" y="332"/>
                    </a:moveTo>
                    <a:lnTo>
                      <a:pt x="481" y="333"/>
                    </a:lnTo>
                    <a:lnTo>
                      <a:pt x="481" y="332"/>
                    </a:lnTo>
                    <a:lnTo>
                      <a:pt x="482" y="332"/>
                    </a:lnTo>
                    <a:lnTo>
                      <a:pt x="482" y="333"/>
                    </a:lnTo>
                    <a:lnTo>
                      <a:pt x="482" y="334"/>
                    </a:lnTo>
                    <a:lnTo>
                      <a:pt x="482" y="333"/>
                    </a:lnTo>
                    <a:lnTo>
                      <a:pt x="481" y="334"/>
                    </a:lnTo>
                    <a:lnTo>
                      <a:pt x="480" y="334"/>
                    </a:lnTo>
                    <a:lnTo>
                      <a:pt x="480" y="333"/>
                    </a:lnTo>
                    <a:lnTo>
                      <a:pt x="479" y="333"/>
                    </a:lnTo>
                    <a:lnTo>
                      <a:pt x="479" y="332"/>
                    </a:lnTo>
                    <a:lnTo>
                      <a:pt x="479" y="331"/>
                    </a:lnTo>
                    <a:lnTo>
                      <a:pt x="478" y="331"/>
                    </a:lnTo>
                    <a:lnTo>
                      <a:pt x="479" y="331"/>
                    </a:lnTo>
                    <a:lnTo>
                      <a:pt x="479" y="332"/>
                    </a:lnTo>
                    <a:lnTo>
                      <a:pt x="480" y="332"/>
                    </a:lnTo>
                    <a:close/>
                    <a:moveTo>
                      <a:pt x="330" y="501"/>
                    </a:moveTo>
                    <a:lnTo>
                      <a:pt x="331" y="501"/>
                    </a:lnTo>
                    <a:lnTo>
                      <a:pt x="331" y="502"/>
                    </a:lnTo>
                    <a:lnTo>
                      <a:pt x="330" y="502"/>
                    </a:lnTo>
                    <a:lnTo>
                      <a:pt x="329" y="501"/>
                    </a:lnTo>
                    <a:lnTo>
                      <a:pt x="328" y="501"/>
                    </a:lnTo>
                    <a:lnTo>
                      <a:pt x="328" y="500"/>
                    </a:lnTo>
                    <a:lnTo>
                      <a:pt x="329" y="500"/>
                    </a:lnTo>
                    <a:lnTo>
                      <a:pt x="329" y="501"/>
                    </a:lnTo>
                    <a:lnTo>
                      <a:pt x="330" y="501"/>
                    </a:lnTo>
                    <a:close/>
                    <a:moveTo>
                      <a:pt x="479" y="380"/>
                    </a:moveTo>
                    <a:lnTo>
                      <a:pt x="480" y="380"/>
                    </a:lnTo>
                    <a:lnTo>
                      <a:pt x="481" y="381"/>
                    </a:lnTo>
                    <a:lnTo>
                      <a:pt x="482" y="381"/>
                    </a:lnTo>
                    <a:lnTo>
                      <a:pt x="483" y="383"/>
                    </a:lnTo>
                    <a:lnTo>
                      <a:pt x="482" y="383"/>
                    </a:lnTo>
                    <a:lnTo>
                      <a:pt x="481" y="383"/>
                    </a:lnTo>
                    <a:lnTo>
                      <a:pt x="481" y="381"/>
                    </a:lnTo>
                    <a:lnTo>
                      <a:pt x="480" y="381"/>
                    </a:lnTo>
                    <a:lnTo>
                      <a:pt x="479" y="381"/>
                    </a:lnTo>
                    <a:lnTo>
                      <a:pt x="478" y="380"/>
                    </a:lnTo>
                    <a:lnTo>
                      <a:pt x="478" y="379"/>
                    </a:lnTo>
                    <a:lnTo>
                      <a:pt x="479" y="379"/>
                    </a:lnTo>
                    <a:lnTo>
                      <a:pt x="479" y="380"/>
                    </a:lnTo>
                    <a:close/>
                    <a:moveTo>
                      <a:pt x="298" y="479"/>
                    </a:moveTo>
                    <a:lnTo>
                      <a:pt x="297" y="479"/>
                    </a:lnTo>
                    <a:lnTo>
                      <a:pt x="296" y="479"/>
                    </a:lnTo>
                    <a:lnTo>
                      <a:pt x="294" y="479"/>
                    </a:lnTo>
                    <a:lnTo>
                      <a:pt x="294" y="478"/>
                    </a:lnTo>
                    <a:lnTo>
                      <a:pt x="294" y="476"/>
                    </a:lnTo>
                    <a:lnTo>
                      <a:pt x="294" y="477"/>
                    </a:lnTo>
                    <a:lnTo>
                      <a:pt x="294" y="478"/>
                    </a:lnTo>
                    <a:lnTo>
                      <a:pt x="296" y="478"/>
                    </a:lnTo>
                    <a:lnTo>
                      <a:pt x="297" y="478"/>
                    </a:lnTo>
                    <a:lnTo>
                      <a:pt x="298" y="478"/>
                    </a:lnTo>
                    <a:lnTo>
                      <a:pt x="298" y="479"/>
                    </a:lnTo>
                    <a:close/>
                    <a:moveTo>
                      <a:pt x="198" y="415"/>
                    </a:moveTo>
                    <a:lnTo>
                      <a:pt x="198" y="414"/>
                    </a:lnTo>
                    <a:lnTo>
                      <a:pt x="198" y="413"/>
                    </a:lnTo>
                    <a:lnTo>
                      <a:pt x="199" y="411"/>
                    </a:lnTo>
                    <a:lnTo>
                      <a:pt x="198" y="411"/>
                    </a:lnTo>
                    <a:lnTo>
                      <a:pt x="199" y="411"/>
                    </a:lnTo>
                    <a:lnTo>
                      <a:pt x="199" y="412"/>
                    </a:lnTo>
                    <a:lnTo>
                      <a:pt x="200" y="412"/>
                    </a:lnTo>
                    <a:lnTo>
                      <a:pt x="200" y="413"/>
                    </a:lnTo>
                    <a:lnTo>
                      <a:pt x="199" y="414"/>
                    </a:lnTo>
                    <a:lnTo>
                      <a:pt x="198" y="415"/>
                    </a:lnTo>
                    <a:close/>
                    <a:moveTo>
                      <a:pt x="417" y="419"/>
                    </a:moveTo>
                    <a:lnTo>
                      <a:pt x="416" y="419"/>
                    </a:lnTo>
                    <a:lnTo>
                      <a:pt x="416" y="418"/>
                    </a:lnTo>
                    <a:lnTo>
                      <a:pt x="417" y="417"/>
                    </a:lnTo>
                    <a:lnTo>
                      <a:pt x="417" y="416"/>
                    </a:lnTo>
                    <a:lnTo>
                      <a:pt x="418" y="415"/>
                    </a:lnTo>
                    <a:lnTo>
                      <a:pt x="418" y="416"/>
                    </a:lnTo>
                    <a:lnTo>
                      <a:pt x="417" y="417"/>
                    </a:lnTo>
                    <a:lnTo>
                      <a:pt x="417" y="418"/>
                    </a:lnTo>
                    <a:lnTo>
                      <a:pt x="417" y="419"/>
                    </a:lnTo>
                    <a:close/>
                    <a:moveTo>
                      <a:pt x="430" y="387"/>
                    </a:moveTo>
                    <a:lnTo>
                      <a:pt x="431" y="387"/>
                    </a:lnTo>
                    <a:lnTo>
                      <a:pt x="431" y="388"/>
                    </a:lnTo>
                    <a:lnTo>
                      <a:pt x="430" y="389"/>
                    </a:lnTo>
                    <a:lnTo>
                      <a:pt x="430" y="388"/>
                    </a:lnTo>
                    <a:lnTo>
                      <a:pt x="429" y="387"/>
                    </a:lnTo>
                    <a:lnTo>
                      <a:pt x="428" y="387"/>
                    </a:lnTo>
                    <a:lnTo>
                      <a:pt x="428" y="386"/>
                    </a:lnTo>
                    <a:lnTo>
                      <a:pt x="429" y="386"/>
                    </a:lnTo>
                    <a:lnTo>
                      <a:pt x="430" y="386"/>
                    </a:lnTo>
                    <a:lnTo>
                      <a:pt x="430" y="387"/>
                    </a:lnTo>
                    <a:close/>
                    <a:moveTo>
                      <a:pt x="496" y="338"/>
                    </a:moveTo>
                    <a:lnTo>
                      <a:pt x="497" y="338"/>
                    </a:lnTo>
                    <a:lnTo>
                      <a:pt x="498" y="338"/>
                    </a:lnTo>
                    <a:lnTo>
                      <a:pt x="498" y="339"/>
                    </a:lnTo>
                    <a:lnTo>
                      <a:pt x="497" y="339"/>
                    </a:lnTo>
                    <a:lnTo>
                      <a:pt x="496" y="339"/>
                    </a:lnTo>
                    <a:lnTo>
                      <a:pt x="495" y="339"/>
                    </a:lnTo>
                    <a:lnTo>
                      <a:pt x="495" y="338"/>
                    </a:lnTo>
                    <a:lnTo>
                      <a:pt x="494" y="338"/>
                    </a:lnTo>
                    <a:lnTo>
                      <a:pt x="495" y="338"/>
                    </a:lnTo>
                    <a:lnTo>
                      <a:pt x="496" y="338"/>
                    </a:lnTo>
                    <a:close/>
                    <a:moveTo>
                      <a:pt x="392" y="448"/>
                    </a:moveTo>
                    <a:lnTo>
                      <a:pt x="393" y="448"/>
                    </a:lnTo>
                    <a:lnTo>
                      <a:pt x="394" y="448"/>
                    </a:lnTo>
                    <a:lnTo>
                      <a:pt x="393" y="449"/>
                    </a:lnTo>
                    <a:lnTo>
                      <a:pt x="393" y="450"/>
                    </a:lnTo>
                    <a:lnTo>
                      <a:pt x="393" y="451"/>
                    </a:lnTo>
                    <a:lnTo>
                      <a:pt x="393" y="452"/>
                    </a:lnTo>
                    <a:lnTo>
                      <a:pt x="392" y="451"/>
                    </a:lnTo>
                    <a:lnTo>
                      <a:pt x="393" y="451"/>
                    </a:lnTo>
                    <a:lnTo>
                      <a:pt x="393" y="450"/>
                    </a:lnTo>
                    <a:lnTo>
                      <a:pt x="393" y="449"/>
                    </a:lnTo>
                    <a:lnTo>
                      <a:pt x="392" y="449"/>
                    </a:lnTo>
                    <a:lnTo>
                      <a:pt x="391" y="449"/>
                    </a:lnTo>
                    <a:lnTo>
                      <a:pt x="391" y="448"/>
                    </a:lnTo>
                    <a:lnTo>
                      <a:pt x="390" y="448"/>
                    </a:lnTo>
                    <a:lnTo>
                      <a:pt x="390" y="447"/>
                    </a:lnTo>
                    <a:lnTo>
                      <a:pt x="391" y="447"/>
                    </a:lnTo>
                    <a:lnTo>
                      <a:pt x="391" y="448"/>
                    </a:lnTo>
                    <a:lnTo>
                      <a:pt x="392" y="448"/>
                    </a:lnTo>
                    <a:close/>
                    <a:moveTo>
                      <a:pt x="395" y="453"/>
                    </a:moveTo>
                    <a:lnTo>
                      <a:pt x="395" y="454"/>
                    </a:lnTo>
                    <a:lnTo>
                      <a:pt x="395" y="453"/>
                    </a:lnTo>
                    <a:lnTo>
                      <a:pt x="396" y="453"/>
                    </a:lnTo>
                    <a:lnTo>
                      <a:pt x="396" y="454"/>
                    </a:lnTo>
                    <a:lnTo>
                      <a:pt x="397" y="454"/>
                    </a:lnTo>
                    <a:lnTo>
                      <a:pt x="396" y="454"/>
                    </a:lnTo>
                    <a:lnTo>
                      <a:pt x="395" y="454"/>
                    </a:lnTo>
                    <a:lnTo>
                      <a:pt x="394" y="454"/>
                    </a:lnTo>
                    <a:lnTo>
                      <a:pt x="394" y="455"/>
                    </a:lnTo>
                    <a:lnTo>
                      <a:pt x="393" y="455"/>
                    </a:lnTo>
                    <a:lnTo>
                      <a:pt x="393" y="454"/>
                    </a:lnTo>
                    <a:lnTo>
                      <a:pt x="394" y="454"/>
                    </a:lnTo>
                    <a:lnTo>
                      <a:pt x="394" y="453"/>
                    </a:lnTo>
                    <a:lnTo>
                      <a:pt x="395" y="453"/>
                    </a:lnTo>
                    <a:close/>
                    <a:moveTo>
                      <a:pt x="207" y="406"/>
                    </a:moveTo>
                    <a:lnTo>
                      <a:pt x="206" y="406"/>
                    </a:lnTo>
                    <a:lnTo>
                      <a:pt x="206" y="407"/>
                    </a:lnTo>
                    <a:lnTo>
                      <a:pt x="204" y="407"/>
                    </a:lnTo>
                    <a:lnTo>
                      <a:pt x="204" y="409"/>
                    </a:lnTo>
                    <a:lnTo>
                      <a:pt x="204" y="410"/>
                    </a:lnTo>
                    <a:lnTo>
                      <a:pt x="203" y="410"/>
                    </a:lnTo>
                    <a:lnTo>
                      <a:pt x="203" y="409"/>
                    </a:lnTo>
                    <a:lnTo>
                      <a:pt x="204" y="409"/>
                    </a:lnTo>
                    <a:lnTo>
                      <a:pt x="204" y="407"/>
                    </a:lnTo>
                    <a:lnTo>
                      <a:pt x="204" y="406"/>
                    </a:lnTo>
                    <a:lnTo>
                      <a:pt x="204" y="405"/>
                    </a:lnTo>
                    <a:lnTo>
                      <a:pt x="204" y="406"/>
                    </a:lnTo>
                    <a:lnTo>
                      <a:pt x="206" y="406"/>
                    </a:lnTo>
                    <a:lnTo>
                      <a:pt x="207" y="406"/>
                    </a:lnTo>
                    <a:close/>
                    <a:moveTo>
                      <a:pt x="447" y="376"/>
                    </a:moveTo>
                    <a:lnTo>
                      <a:pt x="447" y="377"/>
                    </a:lnTo>
                    <a:lnTo>
                      <a:pt x="446" y="377"/>
                    </a:lnTo>
                    <a:lnTo>
                      <a:pt x="445" y="377"/>
                    </a:lnTo>
                    <a:lnTo>
                      <a:pt x="445" y="376"/>
                    </a:lnTo>
                    <a:lnTo>
                      <a:pt x="446" y="376"/>
                    </a:lnTo>
                    <a:lnTo>
                      <a:pt x="446" y="375"/>
                    </a:lnTo>
                    <a:lnTo>
                      <a:pt x="446" y="376"/>
                    </a:lnTo>
                    <a:lnTo>
                      <a:pt x="447" y="376"/>
                    </a:lnTo>
                    <a:close/>
                    <a:moveTo>
                      <a:pt x="333" y="502"/>
                    </a:moveTo>
                    <a:lnTo>
                      <a:pt x="332" y="502"/>
                    </a:lnTo>
                    <a:lnTo>
                      <a:pt x="332" y="501"/>
                    </a:lnTo>
                    <a:lnTo>
                      <a:pt x="333" y="501"/>
                    </a:lnTo>
                    <a:lnTo>
                      <a:pt x="333" y="500"/>
                    </a:lnTo>
                    <a:lnTo>
                      <a:pt x="335" y="499"/>
                    </a:lnTo>
                    <a:lnTo>
                      <a:pt x="335" y="500"/>
                    </a:lnTo>
                    <a:lnTo>
                      <a:pt x="333" y="501"/>
                    </a:lnTo>
                    <a:lnTo>
                      <a:pt x="333" y="502"/>
                    </a:lnTo>
                    <a:close/>
                    <a:moveTo>
                      <a:pt x="236" y="419"/>
                    </a:moveTo>
                    <a:lnTo>
                      <a:pt x="235" y="419"/>
                    </a:lnTo>
                    <a:lnTo>
                      <a:pt x="235" y="418"/>
                    </a:lnTo>
                    <a:lnTo>
                      <a:pt x="236" y="418"/>
                    </a:lnTo>
                    <a:lnTo>
                      <a:pt x="237" y="418"/>
                    </a:lnTo>
                    <a:lnTo>
                      <a:pt x="237" y="419"/>
                    </a:lnTo>
                    <a:lnTo>
                      <a:pt x="236" y="419"/>
                    </a:lnTo>
                    <a:close/>
                    <a:moveTo>
                      <a:pt x="454" y="352"/>
                    </a:moveTo>
                    <a:lnTo>
                      <a:pt x="455" y="352"/>
                    </a:lnTo>
                    <a:lnTo>
                      <a:pt x="454" y="353"/>
                    </a:lnTo>
                    <a:lnTo>
                      <a:pt x="453" y="353"/>
                    </a:lnTo>
                    <a:lnTo>
                      <a:pt x="452" y="353"/>
                    </a:lnTo>
                    <a:lnTo>
                      <a:pt x="452" y="352"/>
                    </a:lnTo>
                    <a:lnTo>
                      <a:pt x="453" y="352"/>
                    </a:lnTo>
                    <a:lnTo>
                      <a:pt x="454" y="352"/>
                    </a:lnTo>
                    <a:close/>
                    <a:moveTo>
                      <a:pt x="390" y="449"/>
                    </a:moveTo>
                    <a:lnTo>
                      <a:pt x="389" y="449"/>
                    </a:lnTo>
                    <a:lnTo>
                      <a:pt x="388" y="449"/>
                    </a:lnTo>
                    <a:lnTo>
                      <a:pt x="388" y="448"/>
                    </a:lnTo>
                    <a:lnTo>
                      <a:pt x="387" y="447"/>
                    </a:lnTo>
                    <a:lnTo>
                      <a:pt x="388" y="447"/>
                    </a:lnTo>
                    <a:lnTo>
                      <a:pt x="388" y="448"/>
                    </a:lnTo>
                    <a:lnTo>
                      <a:pt x="389" y="448"/>
                    </a:lnTo>
                    <a:lnTo>
                      <a:pt x="390" y="449"/>
                    </a:lnTo>
                    <a:close/>
                    <a:moveTo>
                      <a:pt x="420" y="429"/>
                    </a:moveTo>
                    <a:lnTo>
                      <a:pt x="421" y="430"/>
                    </a:lnTo>
                    <a:lnTo>
                      <a:pt x="421" y="431"/>
                    </a:lnTo>
                    <a:lnTo>
                      <a:pt x="420" y="430"/>
                    </a:lnTo>
                    <a:lnTo>
                      <a:pt x="419" y="430"/>
                    </a:lnTo>
                    <a:lnTo>
                      <a:pt x="420" y="430"/>
                    </a:lnTo>
                    <a:lnTo>
                      <a:pt x="419" y="429"/>
                    </a:lnTo>
                    <a:lnTo>
                      <a:pt x="420" y="429"/>
                    </a:lnTo>
                    <a:close/>
                    <a:moveTo>
                      <a:pt x="1" y="314"/>
                    </a:moveTo>
                    <a:lnTo>
                      <a:pt x="3" y="314"/>
                    </a:lnTo>
                    <a:lnTo>
                      <a:pt x="3" y="315"/>
                    </a:lnTo>
                    <a:lnTo>
                      <a:pt x="1" y="315"/>
                    </a:lnTo>
                    <a:lnTo>
                      <a:pt x="1" y="314"/>
                    </a:lnTo>
                    <a:close/>
                    <a:moveTo>
                      <a:pt x="429" y="392"/>
                    </a:moveTo>
                    <a:lnTo>
                      <a:pt x="430" y="392"/>
                    </a:lnTo>
                    <a:lnTo>
                      <a:pt x="430" y="394"/>
                    </a:lnTo>
                    <a:lnTo>
                      <a:pt x="429" y="394"/>
                    </a:lnTo>
                    <a:lnTo>
                      <a:pt x="429" y="392"/>
                    </a:lnTo>
                    <a:close/>
                    <a:moveTo>
                      <a:pt x="490" y="346"/>
                    </a:moveTo>
                    <a:lnTo>
                      <a:pt x="490" y="347"/>
                    </a:lnTo>
                    <a:lnTo>
                      <a:pt x="488" y="347"/>
                    </a:lnTo>
                    <a:lnTo>
                      <a:pt x="487" y="347"/>
                    </a:lnTo>
                    <a:lnTo>
                      <a:pt x="487" y="346"/>
                    </a:lnTo>
                    <a:lnTo>
                      <a:pt x="488" y="346"/>
                    </a:lnTo>
                    <a:lnTo>
                      <a:pt x="490" y="346"/>
                    </a:lnTo>
                    <a:close/>
                    <a:moveTo>
                      <a:pt x="412" y="454"/>
                    </a:moveTo>
                    <a:lnTo>
                      <a:pt x="412" y="453"/>
                    </a:lnTo>
                    <a:lnTo>
                      <a:pt x="412" y="452"/>
                    </a:lnTo>
                    <a:lnTo>
                      <a:pt x="412" y="451"/>
                    </a:lnTo>
                    <a:lnTo>
                      <a:pt x="412" y="452"/>
                    </a:lnTo>
                    <a:lnTo>
                      <a:pt x="412" y="453"/>
                    </a:lnTo>
                    <a:lnTo>
                      <a:pt x="412" y="454"/>
                    </a:lnTo>
                    <a:close/>
                    <a:moveTo>
                      <a:pt x="575" y="386"/>
                    </a:moveTo>
                    <a:lnTo>
                      <a:pt x="576" y="386"/>
                    </a:lnTo>
                    <a:lnTo>
                      <a:pt x="576" y="387"/>
                    </a:lnTo>
                    <a:lnTo>
                      <a:pt x="575" y="387"/>
                    </a:lnTo>
                    <a:lnTo>
                      <a:pt x="575" y="386"/>
                    </a:lnTo>
                    <a:close/>
                    <a:moveTo>
                      <a:pt x="394" y="461"/>
                    </a:moveTo>
                    <a:lnTo>
                      <a:pt x="394" y="463"/>
                    </a:lnTo>
                    <a:lnTo>
                      <a:pt x="394" y="461"/>
                    </a:lnTo>
                    <a:close/>
                    <a:moveTo>
                      <a:pt x="394" y="451"/>
                    </a:moveTo>
                    <a:lnTo>
                      <a:pt x="395" y="451"/>
                    </a:lnTo>
                    <a:lnTo>
                      <a:pt x="395" y="453"/>
                    </a:lnTo>
                    <a:lnTo>
                      <a:pt x="394" y="453"/>
                    </a:lnTo>
                    <a:lnTo>
                      <a:pt x="394" y="451"/>
                    </a:lnTo>
                    <a:close/>
                    <a:moveTo>
                      <a:pt x="4" y="326"/>
                    </a:moveTo>
                    <a:lnTo>
                      <a:pt x="5" y="326"/>
                    </a:lnTo>
                    <a:lnTo>
                      <a:pt x="5" y="327"/>
                    </a:lnTo>
                    <a:lnTo>
                      <a:pt x="4" y="327"/>
                    </a:lnTo>
                    <a:lnTo>
                      <a:pt x="4" y="326"/>
                    </a:lnTo>
                    <a:close/>
                    <a:moveTo>
                      <a:pt x="203" y="410"/>
                    </a:moveTo>
                    <a:lnTo>
                      <a:pt x="204" y="410"/>
                    </a:lnTo>
                    <a:lnTo>
                      <a:pt x="204" y="411"/>
                    </a:lnTo>
                    <a:lnTo>
                      <a:pt x="203" y="411"/>
                    </a:lnTo>
                    <a:lnTo>
                      <a:pt x="203" y="410"/>
                    </a:lnTo>
                    <a:close/>
                    <a:moveTo>
                      <a:pt x="234" y="419"/>
                    </a:moveTo>
                    <a:lnTo>
                      <a:pt x="236" y="419"/>
                    </a:lnTo>
                    <a:lnTo>
                      <a:pt x="236" y="421"/>
                    </a:lnTo>
                    <a:lnTo>
                      <a:pt x="234" y="421"/>
                    </a:lnTo>
                    <a:lnTo>
                      <a:pt x="234" y="419"/>
                    </a:lnTo>
                    <a:close/>
                    <a:moveTo>
                      <a:pt x="392" y="453"/>
                    </a:moveTo>
                    <a:lnTo>
                      <a:pt x="393" y="453"/>
                    </a:lnTo>
                    <a:lnTo>
                      <a:pt x="393" y="455"/>
                    </a:lnTo>
                    <a:lnTo>
                      <a:pt x="392" y="455"/>
                    </a:lnTo>
                    <a:lnTo>
                      <a:pt x="392" y="453"/>
                    </a:lnTo>
                    <a:close/>
                    <a:moveTo>
                      <a:pt x="430" y="423"/>
                    </a:moveTo>
                    <a:lnTo>
                      <a:pt x="430" y="424"/>
                    </a:lnTo>
                    <a:lnTo>
                      <a:pt x="430" y="423"/>
                    </a:lnTo>
                    <a:close/>
                    <a:moveTo>
                      <a:pt x="393" y="447"/>
                    </a:moveTo>
                    <a:lnTo>
                      <a:pt x="395" y="447"/>
                    </a:lnTo>
                    <a:lnTo>
                      <a:pt x="393" y="447"/>
                    </a:lnTo>
                    <a:close/>
                    <a:moveTo>
                      <a:pt x="111" y="316"/>
                    </a:moveTo>
                    <a:lnTo>
                      <a:pt x="112" y="316"/>
                    </a:lnTo>
                    <a:lnTo>
                      <a:pt x="111" y="316"/>
                    </a:lnTo>
                    <a:close/>
                    <a:moveTo>
                      <a:pt x="113" y="316"/>
                    </a:moveTo>
                    <a:lnTo>
                      <a:pt x="115" y="316"/>
                    </a:lnTo>
                    <a:lnTo>
                      <a:pt x="113" y="316"/>
                    </a:lnTo>
                    <a:close/>
                  </a:path>
                </a:pathLst>
              </a:custGeom>
              <a:solidFill>
                <a:srgbClr val="3894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48" name="Freeform 276">
                <a:extLst>
                  <a:ext uri="{FF2B5EF4-FFF2-40B4-BE49-F238E27FC236}">
                    <a16:creationId xmlns:a16="http://schemas.microsoft.com/office/drawing/2014/main" id="{54D3681B-7E79-903E-0AFD-DBBE88A20182}"/>
                  </a:ext>
                </a:extLst>
              </p:cNvPr>
              <p:cNvSpPr>
                <a:spLocks/>
              </p:cNvSpPr>
              <p:nvPr/>
            </p:nvSpPr>
            <p:spPr bwMode="auto">
              <a:xfrm>
                <a:off x="2413001" y="4403725"/>
                <a:ext cx="754063" cy="692150"/>
              </a:xfrm>
              <a:custGeom>
                <a:avLst/>
                <a:gdLst>
                  <a:gd name="T0" fmla="*/ 289 w 475"/>
                  <a:gd name="T1" fmla="*/ 5 h 436"/>
                  <a:gd name="T2" fmla="*/ 300 w 475"/>
                  <a:gd name="T3" fmla="*/ 7 h 436"/>
                  <a:gd name="T4" fmla="*/ 314 w 475"/>
                  <a:gd name="T5" fmla="*/ 9 h 436"/>
                  <a:gd name="T6" fmla="*/ 337 w 475"/>
                  <a:gd name="T7" fmla="*/ 9 h 436"/>
                  <a:gd name="T8" fmla="*/ 387 w 475"/>
                  <a:gd name="T9" fmla="*/ 20 h 436"/>
                  <a:gd name="T10" fmla="*/ 397 w 475"/>
                  <a:gd name="T11" fmla="*/ 23 h 436"/>
                  <a:gd name="T12" fmla="*/ 405 w 475"/>
                  <a:gd name="T13" fmla="*/ 37 h 436"/>
                  <a:gd name="T14" fmla="*/ 414 w 475"/>
                  <a:gd name="T15" fmla="*/ 55 h 436"/>
                  <a:gd name="T16" fmla="*/ 460 w 475"/>
                  <a:gd name="T17" fmla="*/ 113 h 436"/>
                  <a:gd name="T18" fmla="*/ 469 w 475"/>
                  <a:gd name="T19" fmla="*/ 222 h 436"/>
                  <a:gd name="T20" fmla="*/ 429 w 475"/>
                  <a:gd name="T21" fmla="*/ 261 h 436"/>
                  <a:gd name="T22" fmla="*/ 367 w 475"/>
                  <a:gd name="T23" fmla="*/ 297 h 436"/>
                  <a:gd name="T24" fmla="*/ 359 w 475"/>
                  <a:gd name="T25" fmla="*/ 280 h 436"/>
                  <a:gd name="T26" fmla="*/ 349 w 475"/>
                  <a:gd name="T27" fmla="*/ 286 h 436"/>
                  <a:gd name="T28" fmla="*/ 329 w 475"/>
                  <a:gd name="T29" fmla="*/ 296 h 436"/>
                  <a:gd name="T30" fmla="*/ 353 w 475"/>
                  <a:gd name="T31" fmla="*/ 319 h 436"/>
                  <a:gd name="T32" fmla="*/ 389 w 475"/>
                  <a:gd name="T33" fmla="*/ 321 h 436"/>
                  <a:gd name="T34" fmla="*/ 381 w 475"/>
                  <a:gd name="T35" fmla="*/ 368 h 436"/>
                  <a:gd name="T36" fmla="*/ 406 w 475"/>
                  <a:gd name="T37" fmla="*/ 374 h 436"/>
                  <a:gd name="T38" fmla="*/ 434 w 475"/>
                  <a:gd name="T39" fmla="*/ 369 h 436"/>
                  <a:gd name="T40" fmla="*/ 429 w 475"/>
                  <a:gd name="T41" fmla="*/ 376 h 436"/>
                  <a:gd name="T42" fmla="*/ 410 w 475"/>
                  <a:gd name="T43" fmla="*/ 387 h 436"/>
                  <a:gd name="T44" fmla="*/ 421 w 475"/>
                  <a:gd name="T45" fmla="*/ 394 h 436"/>
                  <a:gd name="T46" fmla="*/ 419 w 475"/>
                  <a:gd name="T47" fmla="*/ 399 h 436"/>
                  <a:gd name="T48" fmla="*/ 370 w 475"/>
                  <a:gd name="T49" fmla="*/ 398 h 436"/>
                  <a:gd name="T50" fmla="*/ 312 w 475"/>
                  <a:gd name="T51" fmla="*/ 421 h 436"/>
                  <a:gd name="T52" fmla="*/ 265 w 475"/>
                  <a:gd name="T53" fmla="*/ 435 h 436"/>
                  <a:gd name="T54" fmla="*/ 225 w 475"/>
                  <a:gd name="T55" fmla="*/ 430 h 436"/>
                  <a:gd name="T56" fmla="*/ 186 w 475"/>
                  <a:gd name="T57" fmla="*/ 420 h 436"/>
                  <a:gd name="T58" fmla="*/ 122 w 475"/>
                  <a:gd name="T59" fmla="*/ 408 h 436"/>
                  <a:gd name="T60" fmla="*/ 100 w 475"/>
                  <a:gd name="T61" fmla="*/ 402 h 436"/>
                  <a:gd name="T62" fmla="*/ 97 w 475"/>
                  <a:gd name="T63" fmla="*/ 404 h 436"/>
                  <a:gd name="T64" fmla="*/ 75 w 475"/>
                  <a:gd name="T65" fmla="*/ 387 h 436"/>
                  <a:gd name="T66" fmla="*/ 77 w 475"/>
                  <a:gd name="T67" fmla="*/ 246 h 436"/>
                  <a:gd name="T68" fmla="*/ 76 w 475"/>
                  <a:gd name="T69" fmla="*/ 107 h 436"/>
                  <a:gd name="T70" fmla="*/ 4 w 475"/>
                  <a:gd name="T71" fmla="*/ 77 h 436"/>
                  <a:gd name="T72" fmla="*/ 26 w 475"/>
                  <a:gd name="T73" fmla="*/ 65 h 436"/>
                  <a:gd name="T74" fmla="*/ 42 w 475"/>
                  <a:gd name="T75" fmla="*/ 56 h 436"/>
                  <a:gd name="T76" fmla="*/ 60 w 475"/>
                  <a:gd name="T77" fmla="*/ 56 h 436"/>
                  <a:gd name="T78" fmla="*/ 68 w 475"/>
                  <a:gd name="T79" fmla="*/ 45 h 436"/>
                  <a:gd name="T80" fmla="*/ 76 w 475"/>
                  <a:gd name="T81" fmla="*/ 43 h 436"/>
                  <a:gd name="T82" fmla="*/ 85 w 475"/>
                  <a:gd name="T83" fmla="*/ 37 h 436"/>
                  <a:gd name="T84" fmla="*/ 94 w 475"/>
                  <a:gd name="T85" fmla="*/ 37 h 436"/>
                  <a:gd name="T86" fmla="*/ 104 w 475"/>
                  <a:gd name="T87" fmla="*/ 30 h 436"/>
                  <a:gd name="T88" fmla="*/ 114 w 475"/>
                  <a:gd name="T89" fmla="*/ 25 h 436"/>
                  <a:gd name="T90" fmla="*/ 126 w 475"/>
                  <a:gd name="T91" fmla="*/ 31 h 436"/>
                  <a:gd name="T92" fmla="*/ 129 w 475"/>
                  <a:gd name="T93" fmla="*/ 34 h 436"/>
                  <a:gd name="T94" fmla="*/ 133 w 475"/>
                  <a:gd name="T95" fmla="*/ 42 h 436"/>
                  <a:gd name="T96" fmla="*/ 140 w 475"/>
                  <a:gd name="T97" fmla="*/ 46 h 436"/>
                  <a:gd name="T98" fmla="*/ 148 w 475"/>
                  <a:gd name="T99" fmla="*/ 53 h 436"/>
                  <a:gd name="T100" fmla="*/ 159 w 475"/>
                  <a:gd name="T101" fmla="*/ 59 h 436"/>
                  <a:gd name="T102" fmla="*/ 175 w 475"/>
                  <a:gd name="T103" fmla="*/ 66 h 436"/>
                  <a:gd name="T104" fmla="*/ 194 w 475"/>
                  <a:gd name="T105" fmla="*/ 71 h 436"/>
                  <a:gd name="T106" fmla="*/ 213 w 475"/>
                  <a:gd name="T107" fmla="*/ 63 h 436"/>
                  <a:gd name="T108" fmla="*/ 232 w 475"/>
                  <a:gd name="T109" fmla="*/ 49 h 436"/>
                  <a:gd name="T110" fmla="*/ 244 w 475"/>
                  <a:gd name="T111" fmla="*/ 37 h 436"/>
                  <a:gd name="T112" fmla="*/ 252 w 475"/>
                  <a:gd name="T113" fmla="*/ 25 h 436"/>
                  <a:gd name="T114" fmla="*/ 258 w 475"/>
                  <a:gd name="T115" fmla="*/ 20 h 436"/>
                  <a:gd name="T116" fmla="*/ 269 w 475"/>
                  <a:gd name="T117" fmla="*/ 12 h 436"/>
                  <a:gd name="T118" fmla="*/ 274 w 475"/>
                  <a:gd name="T119" fmla="*/ 4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5" h="436">
                    <a:moveTo>
                      <a:pt x="278" y="1"/>
                    </a:moveTo>
                    <a:lnTo>
                      <a:pt x="278" y="3"/>
                    </a:lnTo>
                    <a:lnTo>
                      <a:pt x="278" y="4"/>
                    </a:lnTo>
                    <a:lnTo>
                      <a:pt x="278" y="5"/>
                    </a:lnTo>
                    <a:lnTo>
                      <a:pt x="279" y="5"/>
                    </a:lnTo>
                    <a:lnTo>
                      <a:pt x="279" y="4"/>
                    </a:lnTo>
                    <a:lnTo>
                      <a:pt x="281" y="5"/>
                    </a:lnTo>
                    <a:lnTo>
                      <a:pt x="281" y="6"/>
                    </a:lnTo>
                    <a:lnTo>
                      <a:pt x="282" y="6"/>
                    </a:lnTo>
                    <a:lnTo>
                      <a:pt x="283" y="6"/>
                    </a:lnTo>
                    <a:lnTo>
                      <a:pt x="284" y="7"/>
                    </a:lnTo>
                    <a:lnTo>
                      <a:pt x="285" y="7"/>
                    </a:lnTo>
                    <a:lnTo>
                      <a:pt x="286" y="7"/>
                    </a:lnTo>
                    <a:lnTo>
                      <a:pt x="286" y="6"/>
                    </a:lnTo>
                    <a:lnTo>
                      <a:pt x="286" y="5"/>
                    </a:lnTo>
                    <a:lnTo>
                      <a:pt x="287" y="5"/>
                    </a:lnTo>
                    <a:lnTo>
                      <a:pt x="288" y="5"/>
                    </a:lnTo>
                    <a:lnTo>
                      <a:pt x="289" y="5"/>
                    </a:lnTo>
                    <a:lnTo>
                      <a:pt x="290" y="5"/>
                    </a:lnTo>
                    <a:lnTo>
                      <a:pt x="291" y="5"/>
                    </a:lnTo>
                    <a:lnTo>
                      <a:pt x="291" y="4"/>
                    </a:lnTo>
                    <a:lnTo>
                      <a:pt x="291" y="5"/>
                    </a:lnTo>
                    <a:lnTo>
                      <a:pt x="292" y="5"/>
                    </a:lnTo>
                    <a:lnTo>
                      <a:pt x="292" y="6"/>
                    </a:lnTo>
                    <a:lnTo>
                      <a:pt x="292" y="7"/>
                    </a:lnTo>
                    <a:lnTo>
                      <a:pt x="294" y="7"/>
                    </a:lnTo>
                    <a:lnTo>
                      <a:pt x="294" y="8"/>
                    </a:lnTo>
                    <a:lnTo>
                      <a:pt x="295" y="7"/>
                    </a:lnTo>
                    <a:lnTo>
                      <a:pt x="296" y="8"/>
                    </a:lnTo>
                    <a:lnTo>
                      <a:pt x="296" y="7"/>
                    </a:lnTo>
                    <a:lnTo>
                      <a:pt x="296" y="8"/>
                    </a:lnTo>
                    <a:lnTo>
                      <a:pt x="297" y="8"/>
                    </a:lnTo>
                    <a:lnTo>
                      <a:pt x="298" y="7"/>
                    </a:lnTo>
                    <a:lnTo>
                      <a:pt x="299" y="8"/>
                    </a:lnTo>
                    <a:lnTo>
                      <a:pt x="299" y="7"/>
                    </a:lnTo>
                    <a:lnTo>
                      <a:pt x="300" y="7"/>
                    </a:lnTo>
                    <a:lnTo>
                      <a:pt x="301" y="7"/>
                    </a:lnTo>
                    <a:lnTo>
                      <a:pt x="301" y="6"/>
                    </a:lnTo>
                    <a:lnTo>
                      <a:pt x="301" y="5"/>
                    </a:lnTo>
                    <a:lnTo>
                      <a:pt x="302" y="5"/>
                    </a:lnTo>
                    <a:lnTo>
                      <a:pt x="303" y="4"/>
                    </a:lnTo>
                    <a:lnTo>
                      <a:pt x="303" y="5"/>
                    </a:lnTo>
                    <a:lnTo>
                      <a:pt x="304" y="5"/>
                    </a:lnTo>
                    <a:lnTo>
                      <a:pt x="305" y="5"/>
                    </a:lnTo>
                    <a:lnTo>
                      <a:pt x="305" y="6"/>
                    </a:lnTo>
                    <a:lnTo>
                      <a:pt x="305" y="7"/>
                    </a:lnTo>
                    <a:lnTo>
                      <a:pt x="308" y="7"/>
                    </a:lnTo>
                    <a:lnTo>
                      <a:pt x="309" y="8"/>
                    </a:lnTo>
                    <a:lnTo>
                      <a:pt x="310" y="8"/>
                    </a:lnTo>
                    <a:lnTo>
                      <a:pt x="311" y="8"/>
                    </a:lnTo>
                    <a:lnTo>
                      <a:pt x="312" y="8"/>
                    </a:lnTo>
                    <a:lnTo>
                      <a:pt x="313" y="8"/>
                    </a:lnTo>
                    <a:lnTo>
                      <a:pt x="313" y="9"/>
                    </a:lnTo>
                    <a:lnTo>
                      <a:pt x="314" y="9"/>
                    </a:lnTo>
                    <a:lnTo>
                      <a:pt x="315" y="9"/>
                    </a:lnTo>
                    <a:lnTo>
                      <a:pt x="315" y="8"/>
                    </a:lnTo>
                    <a:lnTo>
                      <a:pt x="316" y="8"/>
                    </a:lnTo>
                    <a:lnTo>
                      <a:pt x="317" y="8"/>
                    </a:lnTo>
                    <a:lnTo>
                      <a:pt x="318" y="8"/>
                    </a:lnTo>
                    <a:lnTo>
                      <a:pt x="320" y="7"/>
                    </a:lnTo>
                    <a:lnTo>
                      <a:pt x="321" y="7"/>
                    </a:lnTo>
                    <a:lnTo>
                      <a:pt x="322" y="7"/>
                    </a:lnTo>
                    <a:lnTo>
                      <a:pt x="323" y="6"/>
                    </a:lnTo>
                    <a:lnTo>
                      <a:pt x="324" y="6"/>
                    </a:lnTo>
                    <a:lnTo>
                      <a:pt x="324" y="5"/>
                    </a:lnTo>
                    <a:lnTo>
                      <a:pt x="325" y="5"/>
                    </a:lnTo>
                    <a:lnTo>
                      <a:pt x="326" y="6"/>
                    </a:lnTo>
                    <a:lnTo>
                      <a:pt x="327" y="6"/>
                    </a:lnTo>
                    <a:lnTo>
                      <a:pt x="328" y="6"/>
                    </a:lnTo>
                    <a:lnTo>
                      <a:pt x="328" y="5"/>
                    </a:lnTo>
                    <a:lnTo>
                      <a:pt x="335" y="8"/>
                    </a:lnTo>
                    <a:lnTo>
                      <a:pt x="337" y="9"/>
                    </a:lnTo>
                    <a:lnTo>
                      <a:pt x="349" y="14"/>
                    </a:lnTo>
                    <a:lnTo>
                      <a:pt x="352" y="16"/>
                    </a:lnTo>
                    <a:lnTo>
                      <a:pt x="355" y="17"/>
                    </a:lnTo>
                    <a:lnTo>
                      <a:pt x="361" y="19"/>
                    </a:lnTo>
                    <a:lnTo>
                      <a:pt x="362" y="19"/>
                    </a:lnTo>
                    <a:lnTo>
                      <a:pt x="366" y="21"/>
                    </a:lnTo>
                    <a:lnTo>
                      <a:pt x="372" y="23"/>
                    </a:lnTo>
                    <a:lnTo>
                      <a:pt x="374" y="24"/>
                    </a:lnTo>
                    <a:lnTo>
                      <a:pt x="376" y="23"/>
                    </a:lnTo>
                    <a:lnTo>
                      <a:pt x="378" y="22"/>
                    </a:lnTo>
                    <a:lnTo>
                      <a:pt x="379" y="20"/>
                    </a:lnTo>
                    <a:lnTo>
                      <a:pt x="380" y="21"/>
                    </a:lnTo>
                    <a:lnTo>
                      <a:pt x="381" y="21"/>
                    </a:lnTo>
                    <a:lnTo>
                      <a:pt x="382" y="21"/>
                    </a:lnTo>
                    <a:lnTo>
                      <a:pt x="384" y="21"/>
                    </a:lnTo>
                    <a:lnTo>
                      <a:pt x="385" y="21"/>
                    </a:lnTo>
                    <a:lnTo>
                      <a:pt x="386" y="21"/>
                    </a:lnTo>
                    <a:lnTo>
                      <a:pt x="387" y="20"/>
                    </a:lnTo>
                    <a:lnTo>
                      <a:pt x="388" y="19"/>
                    </a:lnTo>
                    <a:lnTo>
                      <a:pt x="389" y="19"/>
                    </a:lnTo>
                    <a:lnTo>
                      <a:pt x="390" y="19"/>
                    </a:lnTo>
                    <a:lnTo>
                      <a:pt x="391" y="19"/>
                    </a:lnTo>
                    <a:lnTo>
                      <a:pt x="392" y="18"/>
                    </a:lnTo>
                    <a:lnTo>
                      <a:pt x="393" y="17"/>
                    </a:lnTo>
                    <a:lnTo>
                      <a:pt x="394" y="17"/>
                    </a:lnTo>
                    <a:lnTo>
                      <a:pt x="395" y="17"/>
                    </a:lnTo>
                    <a:lnTo>
                      <a:pt x="397" y="17"/>
                    </a:lnTo>
                    <a:lnTo>
                      <a:pt x="398" y="16"/>
                    </a:lnTo>
                    <a:lnTo>
                      <a:pt x="399" y="16"/>
                    </a:lnTo>
                    <a:lnTo>
                      <a:pt x="399" y="17"/>
                    </a:lnTo>
                    <a:lnTo>
                      <a:pt x="400" y="17"/>
                    </a:lnTo>
                    <a:lnTo>
                      <a:pt x="400" y="18"/>
                    </a:lnTo>
                    <a:lnTo>
                      <a:pt x="399" y="19"/>
                    </a:lnTo>
                    <a:lnTo>
                      <a:pt x="398" y="21"/>
                    </a:lnTo>
                    <a:lnTo>
                      <a:pt x="397" y="22"/>
                    </a:lnTo>
                    <a:lnTo>
                      <a:pt x="397" y="23"/>
                    </a:lnTo>
                    <a:lnTo>
                      <a:pt x="398" y="24"/>
                    </a:lnTo>
                    <a:lnTo>
                      <a:pt x="398" y="25"/>
                    </a:lnTo>
                    <a:lnTo>
                      <a:pt x="398" y="26"/>
                    </a:lnTo>
                    <a:lnTo>
                      <a:pt x="398" y="27"/>
                    </a:lnTo>
                    <a:lnTo>
                      <a:pt x="399" y="27"/>
                    </a:lnTo>
                    <a:lnTo>
                      <a:pt x="399" y="29"/>
                    </a:lnTo>
                    <a:lnTo>
                      <a:pt x="400" y="30"/>
                    </a:lnTo>
                    <a:lnTo>
                      <a:pt x="401" y="30"/>
                    </a:lnTo>
                    <a:lnTo>
                      <a:pt x="402" y="31"/>
                    </a:lnTo>
                    <a:lnTo>
                      <a:pt x="403" y="31"/>
                    </a:lnTo>
                    <a:lnTo>
                      <a:pt x="403" y="32"/>
                    </a:lnTo>
                    <a:lnTo>
                      <a:pt x="403" y="33"/>
                    </a:lnTo>
                    <a:lnTo>
                      <a:pt x="404" y="33"/>
                    </a:lnTo>
                    <a:lnTo>
                      <a:pt x="404" y="34"/>
                    </a:lnTo>
                    <a:lnTo>
                      <a:pt x="405" y="34"/>
                    </a:lnTo>
                    <a:lnTo>
                      <a:pt x="405" y="35"/>
                    </a:lnTo>
                    <a:lnTo>
                      <a:pt x="405" y="36"/>
                    </a:lnTo>
                    <a:lnTo>
                      <a:pt x="405" y="37"/>
                    </a:lnTo>
                    <a:lnTo>
                      <a:pt x="406" y="38"/>
                    </a:lnTo>
                    <a:lnTo>
                      <a:pt x="406" y="39"/>
                    </a:lnTo>
                    <a:lnTo>
                      <a:pt x="406" y="40"/>
                    </a:lnTo>
                    <a:lnTo>
                      <a:pt x="407" y="42"/>
                    </a:lnTo>
                    <a:lnTo>
                      <a:pt x="407" y="43"/>
                    </a:lnTo>
                    <a:lnTo>
                      <a:pt x="407" y="44"/>
                    </a:lnTo>
                    <a:lnTo>
                      <a:pt x="407" y="45"/>
                    </a:lnTo>
                    <a:lnTo>
                      <a:pt x="408" y="46"/>
                    </a:lnTo>
                    <a:lnTo>
                      <a:pt x="407" y="48"/>
                    </a:lnTo>
                    <a:lnTo>
                      <a:pt x="408" y="49"/>
                    </a:lnTo>
                    <a:lnTo>
                      <a:pt x="410" y="49"/>
                    </a:lnTo>
                    <a:lnTo>
                      <a:pt x="410" y="50"/>
                    </a:lnTo>
                    <a:lnTo>
                      <a:pt x="411" y="50"/>
                    </a:lnTo>
                    <a:lnTo>
                      <a:pt x="411" y="51"/>
                    </a:lnTo>
                    <a:lnTo>
                      <a:pt x="411" y="52"/>
                    </a:lnTo>
                    <a:lnTo>
                      <a:pt x="412" y="53"/>
                    </a:lnTo>
                    <a:lnTo>
                      <a:pt x="413" y="55"/>
                    </a:lnTo>
                    <a:lnTo>
                      <a:pt x="414" y="55"/>
                    </a:lnTo>
                    <a:lnTo>
                      <a:pt x="414" y="56"/>
                    </a:lnTo>
                    <a:lnTo>
                      <a:pt x="415" y="56"/>
                    </a:lnTo>
                    <a:lnTo>
                      <a:pt x="416" y="56"/>
                    </a:lnTo>
                    <a:lnTo>
                      <a:pt x="417" y="56"/>
                    </a:lnTo>
                    <a:lnTo>
                      <a:pt x="424" y="59"/>
                    </a:lnTo>
                    <a:lnTo>
                      <a:pt x="439" y="65"/>
                    </a:lnTo>
                    <a:lnTo>
                      <a:pt x="453" y="71"/>
                    </a:lnTo>
                    <a:lnTo>
                      <a:pt x="456" y="72"/>
                    </a:lnTo>
                    <a:lnTo>
                      <a:pt x="459" y="74"/>
                    </a:lnTo>
                    <a:lnTo>
                      <a:pt x="469" y="78"/>
                    </a:lnTo>
                    <a:lnTo>
                      <a:pt x="471" y="78"/>
                    </a:lnTo>
                    <a:lnTo>
                      <a:pt x="475" y="81"/>
                    </a:lnTo>
                    <a:lnTo>
                      <a:pt x="473" y="82"/>
                    </a:lnTo>
                    <a:lnTo>
                      <a:pt x="472" y="85"/>
                    </a:lnTo>
                    <a:lnTo>
                      <a:pt x="469" y="95"/>
                    </a:lnTo>
                    <a:lnTo>
                      <a:pt x="464" y="113"/>
                    </a:lnTo>
                    <a:lnTo>
                      <a:pt x="462" y="113"/>
                    </a:lnTo>
                    <a:lnTo>
                      <a:pt x="460" y="113"/>
                    </a:lnTo>
                    <a:lnTo>
                      <a:pt x="459" y="114"/>
                    </a:lnTo>
                    <a:lnTo>
                      <a:pt x="458" y="114"/>
                    </a:lnTo>
                    <a:lnTo>
                      <a:pt x="457" y="115"/>
                    </a:lnTo>
                    <a:lnTo>
                      <a:pt x="457" y="116"/>
                    </a:lnTo>
                    <a:lnTo>
                      <a:pt x="456" y="116"/>
                    </a:lnTo>
                    <a:lnTo>
                      <a:pt x="456" y="117"/>
                    </a:lnTo>
                    <a:lnTo>
                      <a:pt x="456" y="121"/>
                    </a:lnTo>
                    <a:lnTo>
                      <a:pt x="456" y="124"/>
                    </a:lnTo>
                    <a:lnTo>
                      <a:pt x="457" y="125"/>
                    </a:lnTo>
                    <a:lnTo>
                      <a:pt x="457" y="126"/>
                    </a:lnTo>
                    <a:lnTo>
                      <a:pt x="457" y="127"/>
                    </a:lnTo>
                    <a:lnTo>
                      <a:pt x="458" y="127"/>
                    </a:lnTo>
                    <a:lnTo>
                      <a:pt x="459" y="136"/>
                    </a:lnTo>
                    <a:lnTo>
                      <a:pt x="459" y="137"/>
                    </a:lnTo>
                    <a:lnTo>
                      <a:pt x="460" y="141"/>
                    </a:lnTo>
                    <a:lnTo>
                      <a:pt x="460" y="143"/>
                    </a:lnTo>
                    <a:lnTo>
                      <a:pt x="462" y="152"/>
                    </a:lnTo>
                    <a:lnTo>
                      <a:pt x="469" y="222"/>
                    </a:lnTo>
                    <a:lnTo>
                      <a:pt x="469" y="224"/>
                    </a:lnTo>
                    <a:lnTo>
                      <a:pt x="467" y="225"/>
                    </a:lnTo>
                    <a:lnTo>
                      <a:pt x="465" y="227"/>
                    </a:lnTo>
                    <a:lnTo>
                      <a:pt x="464" y="228"/>
                    </a:lnTo>
                    <a:lnTo>
                      <a:pt x="462" y="231"/>
                    </a:lnTo>
                    <a:lnTo>
                      <a:pt x="460" y="235"/>
                    </a:lnTo>
                    <a:lnTo>
                      <a:pt x="462" y="237"/>
                    </a:lnTo>
                    <a:lnTo>
                      <a:pt x="464" y="240"/>
                    </a:lnTo>
                    <a:lnTo>
                      <a:pt x="465" y="243"/>
                    </a:lnTo>
                    <a:lnTo>
                      <a:pt x="466" y="245"/>
                    </a:lnTo>
                    <a:lnTo>
                      <a:pt x="466" y="248"/>
                    </a:lnTo>
                    <a:lnTo>
                      <a:pt x="463" y="251"/>
                    </a:lnTo>
                    <a:lnTo>
                      <a:pt x="460" y="251"/>
                    </a:lnTo>
                    <a:lnTo>
                      <a:pt x="452" y="252"/>
                    </a:lnTo>
                    <a:lnTo>
                      <a:pt x="447" y="255"/>
                    </a:lnTo>
                    <a:lnTo>
                      <a:pt x="438" y="258"/>
                    </a:lnTo>
                    <a:lnTo>
                      <a:pt x="434" y="260"/>
                    </a:lnTo>
                    <a:lnTo>
                      <a:pt x="429" y="261"/>
                    </a:lnTo>
                    <a:lnTo>
                      <a:pt x="418" y="266"/>
                    </a:lnTo>
                    <a:lnTo>
                      <a:pt x="405" y="274"/>
                    </a:lnTo>
                    <a:lnTo>
                      <a:pt x="389" y="286"/>
                    </a:lnTo>
                    <a:lnTo>
                      <a:pt x="386" y="288"/>
                    </a:lnTo>
                    <a:lnTo>
                      <a:pt x="385" y="289"/>
                    </a:lnTo>
                    <a:lnTo>
                      <a:pt x="384" y="289"/>
                    </a:lnTo>
                    <a:lnTo>
                      <a:pt x="384" y="290"/>
                    </a:lnTo>
                    <a:lnTo>
                      <a:pt x="382" y="290"/>
                    </a:lnTo>
                    <a:lnTo>
                      <a:pt x="378" y="294"/>
                    </a:lnTo>
                    <a:lnTo>
                      <a:pt x="372" y="300"/>
                    </a:lnTo>
                    <a:lnTo>
                      <a:pt x="366" y="305"/>
                    </a:lnTo>
                    <a:lnTo>
                      <a:pt x="364" y="306"/>
                    </a:lnTo>
                    <a:lnTo>
                      <a:pt x="361" y="307"/>
                    </a:lnTo>
                    <a:lnTo>
                      <a:pt x="361" y="305"/>
                    </a:lnTo>
                    <a:lnTo>
                      <a:pt x="360" y="304"/>
                    </a:lnTo>
                    <a:lnTo>
                      <a:pt x="361" y="301"/>
                    </a:lnTo>
                    <a:lnTo>
                      <a:pt x="365" y="299"/>
                    </a:lnTo>
                    <a:lnTo>
                      <a:pt x="367" y="297"/>
                    </a:lnTo>
                    <a:lnTo>
                      <a:pt x="369" y="295"/>
                    </a:lnTo>
                    <a:lnTo>
                      <a:pt x="370" y="294"/>
                    </a:lnTo>
                    <a:lnTo>
                      <a:pt x="369" y="293"/>
                    </a:lnTo>
                    <a:lnTo>
                      <a:pt x="373" y="292"/>
                    </a:lnTo>
                    <a:lnTo>
                      <a:pt x="376" y="286"/>
                    </a:lnTo>
                    <a:lnTo>
                      <a:pt x="376" y="283"/>
                    </a:lnTo>
                    <a:lnTo>
                      <a:pt x="375" y="278"/>
                    </a:lnTo>
                    <a:lnTo>
                      <a:pt x="374" y="276"/>
                    </a:lnTo>
                    <a:lnTo>
                      <a:pt x="373" y="274"/>
                    </a:lnTo>
                    <a:lnTo>
                      <a:pt x="369" y="270"/>
                    </a:lnTo>
                    <a:lnTo>
                      <a:pt x="366" y="270"/>
                    </a:lnTo>
                    <a:lnTo>
                      <a:pt x="363" y="270"/>
                    </a:lnTo>
                    <a:lnTo>
                      <a:pt x="361" y="274"/>
                    </a:lnTo>
                    <a:lnTo>
                      <a:pt x="361" y="275"/>
                    </a:lnTo>
                    <a:lnTo>
                      <a:pt x="359" y="275"/>
                    </a:lnTo>
                    <a:lnTo>
                      <a:pt x="360" y="277"/>
                    </a:lnTo>
                    <a:lnTo>
                      <a:pt x="361" y="278"/>
                    </a:lnTo>
                    <a:lnTo>
                      <a:pt x="359" y="280"/>
                    </a:lnTo>
                    <a:lnTo>
                      <a:pt x="356" y="281"/>
                    </a:lnTo>
                    <a:lnTo>
                      <a:pt x="356" y="279"/>
                    </a:lnTo>
                    <a:lnTo>
                      <a:pt x="356" y="278"/>
                    </a:lnTo>
                    <a:lnTo>
                      <a:pt x="355" y="277"/>
                    </a:lnTo>
                    <a:lnTo>
                      <a:pt x="353" y="274"/>
                    </a:lnTo>
                    <a:lnTo>
                      <a:pt x="352" y="274"/>
                    </a:lnTo>
                    <a:lnTo>
                      <a:pt x="350" y="274"/>
                    </a:lnTo>
                    <a:lnTo>
                      <a:pt x="349" y="274"/>
                    </a:lnTo>
                    <a:lnTo>
                      <a:pt x="347" y="275"/>
                    </a:lnTo>
                    <a:lnTo>
                      <a:pt x="346" y="276"/>
                    </a:lnTo>
                    <a:lnTo>
                      <a:pt x="344" y="276"/>
                    </a:lnTo>
                    <a:lnTo>
                      <a:pt x="344" y="277"/>
                    </a:lnTo>
                    <a:lnTo>
                      <a:pt x="344" y="278"/>
                    </a:lnTo>
                    <a:lnTo>
                      <a:pt x="344" y="280"/>
                    </a:lnTo>
                    <a:lnTo>
                      <a:pt x="346" y="282"/>
                    </a:lnTo>
                    <a:lnTo>
                      <a:pt x="347" y="284"/>
                    </a:lnTo>
                    <a:lnTo>
                      <a:pt x="348" y="284"/>
                    </a:lnTo>
                    <a:lnTo>
                      <a:pt x="349" y="286"/>
                    </a:lnTo>
                    <a:lnTo>
                      <a:pt x="350" y="286"/>
                    </a:lnTo>
                    <a:lnTo>
                      <a:pt x="350" y="288"/>
                    </a:lnTo>
                    <a:lnTo>
                      <a:pt x="351" y="289"/>
                    </a:lnTo>
                    <a:lnTo>
                      <a:pt x="348" y="290"/>
                    </a:lnTo>
                    <a:lnTo>
                      <a:pt x="343" y="288"/>
                    </a:lnTo>
                    <a:lnTo>
                      <a:pt x="340" y="286"/>
                    </a:lnTo>
                    <a:lnTo>
                      <a:pt x="337" y="284"/>
                    </a:lnTo>
                    <a:lnTo>
                      <a:pt x="334" y="282"/>
                    </a:lnTo>
                    <a:lnTo>
                      <a:pt x="331" y="280"/>
                    </a:lnTo>
                    <a:lnTo>
                      <a:pt x="329" y="280"/>
                    </a:lnTo>
                    <a:lnTo>
                      <a:pt x="327" y="281"/>
                    </a:lnTo>
                    <a:lnTo>
                      <a:pt x="326" y="282"/>
                    </a:lnTo>
                    <a:lnTo>
                      <a:pt x="325" y="286"/>
                    </a:lnTo>
                    <a:lnTo>
                      <a:pt x="325" y="287"/>
                    </a:lnTo>
                    <a:lnTo>
                      <a:pt x="326" y="290"/>
                    </a:lnTo>
                    <a:lnTo>
                      <a:pt x="326" y="292"/>
                    </a:lnTo>
                    <a:lnTo>
                      <a:pt x="328" y="294"/>
                    </a:lnTo>
                    <a:lnTo>
                      <a:pt x="329" y="296"/>
                    </a:lnTo>
                    <a:lnTo>
                      <a:pt x="329" y="300"/>
                    </a:lnTo>
                    <a:lnTo>
                      <a:pt x="330" y="301"/>
                    </a:lnTo>
                    <a:lnTo>
                      <a:pt x="331" y="301"/>
                    </a:lnTo>
                    <a:lnTo>
                      <a:pt x="335" y="303"/>
                    </a:lnTo>
                    <a:lnTo>
                      <a:pt x="335" y="304"/>
                    </a:lnTo>
                    <a:lnTo>
                      <a:pt x="338" y="305"/>
                    </a:lnTo>
                    <a:lnTo>
                      <a:pt x="339" y="306"/>
                    </a:lnTo>
                    <a:lnTo>
                      <a:pt x="339" y="308"/>
                    </a:lnTo>
                    <a:lnTo>
                      <a:pt x="341" y="309"/>
                    </a:lnTo>
                    <a:lnTo>
                      <a:pt x="342" y="312"/>
                    </a:lnTo>
                    <a:lnTo>
                      <a:pt x="344" y="314"/>
                    </a:lnTo>
                    <a:lnTo>
                      <a:pt x="346" y="314"/>
                    </a:lnTo>
                    <a:lnTo>
                      <a:pt x="347" y="316"/>
                    </a:lnTo>
                    <a:lnTo>
                      <a:pt x="348" y="316"/>
                    </a:lnTo>
                    <a:lnTo>
                      <a:pt x="349" y="318"/>
                    </a:lnTo>
                    <a:lnTo>
                      <a:pt x="351" y="318"/>
                    </a:lnTo>
                    <a:lnTo>
                      <a:pt x="352" y="318"/>
                    </a:lnTo>
                    <a:lnTo>
                      <a:pt x="353" y="319"/>
                    </a:lnTo>
                    <a:lnTo>
                      <a:pt x="355" y="319"/>
                    </a:lnTo>
                    <a:lnTo>
                      <a:pt x="357" y="320"/>
                    </a:lnTo>
                    <a:lnTo>
                      <a:pt x="360" y="320"/>
                    </a:lnTo>
                    <a:lnTo>
                      <a:pt x="361" y="321"/>
                    </a:lnTo>
                    <a:lnTo>
                      <a:pt x="361" y="322"/>
                    </a:lnTo>
                    <a:lnTo>
                      <a:pt x="362" y="322"/>
                    </a:lnTo>
                    <a:lnTo>
                      <a:pt x="364" y="320"/>
                    </a:lnTo>
                    <a:lnTo>
                      <a:pt x="366" y="319"/>
                    </a:lnTo>
                    <a:lnTo>
                      <a:pt x="368" y="318"/>
                    </a:lnTo>
                    <a:lnTo>
                      <a:pt x="370" y="318"/>
                    </a:lnTo>
                    <a:lnTo>
                      <a:pt x="373" y="319"/>
                    </a:lnTo>
                    <a:lnTo>
                      <a:pt x="375" y="319"/>
                    </a:lnTo>
                    <a:lnTo>
                      <a:pt x="379" y="319"/>
                    </a:lnTo>
                    <a:lnTo>
                      <a:pt x="385" y="318"/>
                    </a:lnTo>
                    <a:lnTo>
                      <a:pt x="389" y="318"/>
                    </a:lnTo>
                    <a:lnTo>
                      <a:pt x="389" y="319"/>
                    </a:lnTo>
                    <a:lnTo>
                      <a:pt x="389" y="320"/>
                    </a:lnTo>
                    <a:lnTo>
                      <a:pt x="389" y="321"/>
                    </a:lnTo>
                    <a:lnTo>
                      <a:pt x="389" y="323"/>
                    </a:lnTo>
                    <a:lnTo>
                      <a:pt x="386" y="326"/>
                    </a:lnTo>
                    <a:lnTo>
                      <a:pt x="381" y="329"/>
                    </a:lnTo>
                    <a:lnTo>
                      <a:pt x="377" y="333"/>
                    </a:lnTo>
                    <a:lnTo>
                      <a:pt x="374" y="337"/>
                    </a:lnTo>
                    <a:lnTo>
                      <a:pt x="372" y="338"/>
                    </a:lnTo>
                    <a:lnTo>
                      <a:pt x="370" y="338"/>
                    </a:lnTo>
                    <a:lnTo>
                      <a:pt x="369" y="340"/>
                    </a:lnTo>
                    <a:lnTo>
                      <a:pt x="368" y="343"/>
                    </a:lnTo>
                    <a:lnTo>
                      <a:pt x="369" y="346"/>
                    </a:lnTo>
                    <a:lnTo>
                      <a:pt x="374" y="351"/>
                    </a:lnTo>
                    <a:lnTo>
                      <a:pt x="375" y="351"/>
                    </a:lnTo>
                    <a:lnTo>
                      <a:pt x="375" y="356"/>
                    </a:lnTo>
                    <a:lnTo>
                      <a:pt x="375" y="358"/>
                    </a:lnTo>
                    <a:lnTo>
                      <a:pt x="377" y="361"/>
                    </a:lnTo>
                    <a:lnTo>
                      <a:pt x="378" y="365"/>
                    </a:lnTo>
                    <a:lnTo>
                      <a:pt x="379" y="367"/>
                    </a:lnTo>
                    <a:lnTo>
                      <a:pt x="381" y="368"/>
                    </a:lnTo>
                    <a:lnTo>
                      <a:pt x="381" y="370"/>
                    </a:lnTo>
                    <a:lnTo>
                      <a:pt x="384" y="374"/>
                    </a:lnTo>
                    <a:lnTo>
                      <a:pt x="384" y="376"/>
                    </a:lnTo>
                    <a:lnTo>
                      <a:pt x="384" y="377"/>
                    </a:lnTo>
                    <a:lnTo>
                      <a:pt x="386" y="378"/>
                    </a:lnTo>
                    <a:lnTo>
                      <a:pt x="387" y="379"/>
                    </a:lnTo>
                    <a:lnTo>
                      <a:pt x="388" y="380"/>
                    </a:lnTo>
                    <a:lnTo>
                      <a:pt x="389" y="380"/>
                    </a:lnTo>
                    <a:lnTo>
                      <a:pt x="391" y="380"/>
                    </a:lnTo>
                    <a:lnTo>
                      <a:pt x="392" y="380"/>
                    </a:lnTo>
                    <a:lnTo>
                      <a:pt x="391" y="378"/>
                    </a:lnTo>
                    <a:lnTo>
                      <a:pt x="389" y="374"/>
                    </a:lnTo>
                    <a:lnTo>
                      <a:pt x="394" y="376"/>
                    </a:lnTo>
                    <a:lnTo>
                      <a:pt x="397" y="374"/>
                    </a:lnTo>
                    <a:lnTo>
                      <a:pt x="400" y="373"/>
                    </a:lnTo>
                    <a:lnTo>
                      <a:pt x="402" y="372"/>
                    </a:lnTo>
                    <a:lnTo>
                      <a:pt x="403" y="373"/>
                    </a:lnTo>
                    <a:lnTo>
                      <a:pt x="406" y="374"/>
                    </a:lnTo>
                    <a:lnTo>
                      <a:pt x="410" y="374"/>
                    </a:lnTo>
                    <a:lnTo>
                      <a:pt x="414" y="374"/>
                    </a:lnTo>
                    <a:lnTo>
                      <a:pt x="416" y="373"/>
                    </a:lnTo>
                    <a:lnTo>
                      <a:pt x="418" y="373"/>
                    </a:lnTo>
                    <a:lnTo>
                      <a:pt x="419" y="372"/>
                    </a:lnTo>
                    <a:lnTo>
                      <a:pt x="423" y="372"/>
                    </a:lnTo>
                    <a:lnTo>
                      <a:pt x="426" y="370"/>
                    </a:lnTo>
                    <a:lnTo>
                      <a:pt x="426" y="369"/>
                    </a:lnTo>
                    <a:lnTo>
                      <a:pt x="427" y="368"/>
                    </a:lnTo>
                    <a:lnTo>
                      <a:pt x="428" y="368"/>
                    </a:lnTo>
                    <a:lnTo>
                      <a:pt x="428" y="367"/>
                    </a:lnTo>
                    <a:lnTo>
                      <a:pt x="429" y="367"/>
                    </a:lnTo>
                    <a:lnTo>
                      <a:pt x="430" y="367"/>
                    </a:lnTo>
                    <a:lnTo>
                      <a:pt x="431" y="366"/>
                    </a:lnTo>
                    <a:lnTo>
                      <a:pt x="432" y="367"/>
                    </a:lnTo>
                    <a:lnTo>
                      <a:pt x="433" y="367"/>
                    </a:lnTo>
                    <a:lnTo>
                      <a:pt x="434" y="368"/>
                    </a:lnTo>
                    <a:lnTo>
                      <a:pt x="434" y="369"/>
                    </a:lnTo>
                    <a:lnTo>
                      <a:pt x="437" y="371"/>
                    </a:lnTo>
                    <a:lnTo>
                      <a:pt x="438" y="372"/>
                    </a:lnTo>
                    <a:lnTo>
                      <a:pt x="439" y="373"/>
                    </a:lnTo>
                    <a:lnTo>
                      <a:pt x="441" y="374"/>
                    </a:lnTo>
                    <a:lnTo>
                      <a:pt x="441" y="376"/>
                    </a:lnTo>
                    <a:lnTo>
                      <a:pt x="444" y="377"/>
                    </a:lnTo>
                    <a:lnTo>
                      <a:pt x="446" y="378"/>
                    </a:lnTo>
                    <a:lnTo>
                      <a:pt x="447" y="379"/>
                    </a:lnTo>
                    <a:lnTo>
                      <a:pt x="447" y="380"/>
                    </a:lnTo>
                    <a:lnTo>
                      <a:pt x="446" y="380"/>
                    </a:lnTo>
                    <a:lnTo>
                      <a:pt x="445" y="379"/>
                    </a:lnTo>
                    <a:lnTo>
                      <a:pt x="444" y="378"/>
                    </a:lnTo>
                    <a:lnTo>
                      <a:pt x="442" y="378"/>
                    </a:lnTo>
                    <a:lnTo>
                      <a:pt x="439" y="377"/>
                    </a:lnTo>
                    <a:lnTo>
                      <a:pt x="437" y="377"/>
                    </a:lnTo>
                    <a:lnTo>
                      <a:pt x="434" y="376"/>
                    </a:lnTo>
                    <a:lnTo>
                      <a:pt x="431" y="376"/>
                    </a:lnTo>
                    <a:lnTo>
                      <a:pt x="429" y="376"/>
                    </a:lnTo>
                    <a:lnTo>
                      <a:pt x="428" y="376"/>
                    </a:lnTo>
                    <a:lnTo>
                      <a:pt x="428" y="377"/>
                    </a:lnTo>
                    <a:lnTo>
                      <a:pt x="427" y="377"/>
                    </a:lnTo>
                    <a:lnTo>
                      <a:pt x="426" y="377"/>
                    </a:lnTo>
                    <a:lnTo>
                      <a:pt x="425" y="378"/>
                    </a:lnTo>
                    <a:lnTo>
                      <a:pt x="424" y="378"/>
                    </a:lnTo>
                    <a:lnTo>
                      <a:pt x="423" y="379"/>
                    </a:lnTo>
                    <a:lnTo>
                      <a:pt x="421" y="379"/>
                    </a:lnTo>
                    <a:lnTo>
                      <a:pt x="420" y="379"/>
                    </a:lnTo>
                    <a:lnTo>
                      <a:pt x="419" y="380"/>
                    </a:lnTo>
                    <a:lnTo>
                      <a:pt x="419" y="381"/>
                    </a:lnTo>
                    <a:lnTo>
                      <a:pt x="418" y="381"/>
                    </a:lnTo>
                    <a:lnTo>
                      <a:pt x="417" y="381"/>
                    </a:lnTo>
                    <a:lnTo>
                      <a:pt x="417" y="382"/>
                    </a:lnTo>
                    <a:lnTo>
                      <a:pt x="416" y="383"/>
                    </a:lnTo>
                    <a:lnTo>
                      <a:pt x="414" y="384"/>
                    </a:lnTo>
                    <a:lnTo>
                      <a:pt x="412" y="386"/>
                    </a:lnTo>
                    <a:lnTo>
                      <a:pt x="410" y="387"/>
                    </a:lnTo>
                    <a:lnTo>
                      <a:pt x="410" y="389"/>
                    </a:lnTo>
                    <a:lnTo>
                      <a:pt x="408" y="390"/>
                    </a:lnTo>
                    <a:lnTo>
                      <a:pt x="410" y="391"/>
                    </a:lnTo>
                    <a:lnTo>
                      <a:pt x="410" y="392"/>
                    </a:lnTo>
                    <a:lnTo>
                      <a:pt x="410" y="393"/>
                    </a:lnTo>
                    <a:lnTo>
                      <a:pt x="411" y="393"/>
                    </a:lnTo>
                    <a:lnTo>
                      <a:pt x="412" y="393"/>
                    </a:lnTo>
                    <a:lnTo>
                      <a:pt x="412" y="394"/>
                    </a:lnTo>
                    <a:lnTo>
                      <a:pt x="413" y="394"/>
                    </a:lnTo>
                    <a:lnTo>
                      <a:pt x="414" y="393"/>
                    </a:lnTo>
                    <a:lnTo>
                      <a:pt x="415" y="393"/>
                    </a:lnTo>
                    <a:lnTo>
                      <a:pt x="416" y="394"/>
                    </a:lnTo>
                    <a:lnTo>
                      <a:pt x="417" y="394"/>
                    </a:lnTo>
                    <a:lnTo>
                      <a:pt x="418" y="395"/>
                    </a:lnTo>
                    <a:lnTo>
                      <a:pt x="419" y="395"/>
                    </a:lnTo>
                    <a:lnTo>
                      <a:pt x="420" y="395"/>
                    </a:lnTo>
                    <a:lnTo>
                      <a:pt x="421" y="395"/>
                    </a:lnTo>
                    <a:lnTo>
                      <a:pt x="421" y="394"/>
                    </a:lnTo>
                    <a:lnTo>
                      <a:pt x="423" y="394"/>
                    </a:lnTo>
                    <a:lnTo>
                      <a:pt x="424" y="394"/>
                    </a:lnTo>
                    <a:lnTo>
                      <a:pt x="425" y="395"/>
                    </a:lnTo>
                    <a:lnTo>
                      <a:pt x="426" y="395"/>
                    </a:lnTo>
                    <a:lnTo>
                      <a:pt x="427" y="395"/>
                    </a:lnTo>
                    <a:lnTo>
                      <a:pt x="426" y="395"/>
                    </a:lnTo>
                    <a:lnTo>
                      <a:pt x="426" y="396"/>
                    </a:lnTo>
                    <a:lnTo>
                      <a:pt x="427" y="396"/>
                    </a:lnTo>
                    <a:lnTo>
                      <a:pt x="427" y="397"/>
                    </a:lnTo>
                    <a:lnTo>
                      <a:pt x="427" y="398"/>
                    </a:lnTo>
                    <a:lnTo>
                      <a:pt x="426" y="398"/>
                    </a:lnTo>
                    <a:lnTo>
                      <a:pt x="425" y="398"/>
                    </a:lnTo>
                    <a:lnTo>
                      <a:pt x="425" y="399"/>
                    </a:lnTo>
                    <a:lnTo>
                      <a:pt x="424" y="399"/>
                    </a:lnTo>
                    <a:lnTo>
                      <a:pt x="424" y="400"/>
                    </a:lnTo>
                    <a:lnTo>
                      <a:pt x="423" y="399"/>
                    </a:lnTo>
                    <a:lnTo>
                      <a:pt x="420" y="399"/>
                    </a:lnTo>
                    <a:lnTo>
                      <a:pt x="419" y="399"/>
                    </a:lnTo>
                    <a:lnTo>
                      <a:pt x="418" y="399"/>
                    </a:lnTo>
                    <a:lnTo>
                      <a:pt x="418" y="400"/>
                    </a:lnTo>
                    <a:lnTo>
                      <a:pt x="417" y="400"/>
                    </a:lnTo>
                    <a:lnTo>
                      <a:pt x="417" y="399"/>
                    </a:lnTo>
                    <a:lnTo>
                      <a:pt x="415" y="399"/>
                    </a:lnTo>
                    <a:lnTo>
                      <a:pt x="414" y="399"/>
                    </a:lnTo>
                    <a:lnTo>
                      <a:pt x="413" y="398"/>
                    </a:lnTo>
                    <a:lnTo>
                      <a:pt x="412" y="398"/>
                    </a:lnTo>
                    <a:lnTo>
                      <a:pt x="410" y="399"/>
                    </a:lnTo>
                    <a:lnTo>
                      <a:pt x="407" y="399"/>
                    </a:lnTo>
                    <a:lnTo>
                      <a:pt x="404" y="400"/>
                    </a:lnTo>
                    <a:lnTo>
                      <a:pt x="401" y="399"/>
                    </a:lnTo>
                    <a:lnTo>
                      <a:pt x="397" y="399"/>
                    </a:lnTo>
                    <a:lnTo>
                      <a:pt x="395" y="398"/>
                    </a:lnTo>
                    <a:lnTo>
                      <a:pt x="392" y="398"/>
                    </a:lnTo>
                    <a:lnTo>
                      <a:pt x="388" y="397"/>
                    </a:lnTo>
                    <a:lnTo>
                      <a:pt x="373" y="398"/>
                    </a:lnTo>
                    <a:lnTo>
                      <a:pt x="370" y="398"/>
                    </a:lnTo>
                    <a:lnTo>
                      <a:pt x="362" y="398"/>
                    </a:lnTo>
                    <a:lnTo>
                      <a:pt x="357" y="400"/>
                    </a:lnTo>
                    <a:lnTo>
                      <a:pt x="353" y="402"/>
                    </a:lnTo>
                    <a:lnTo>
                      <a:pt x="349" y="403"/>
                    </a:lnTo>
                    <a:lnTo>
                      <a:pt x="342" y="406"/>
                    </a:lnTo>
                    <a:lnTo>
                      <a:pt x="331" y="410"/>
                    </a:lnTo>
                    <a:lnTo>
                      <a:pt x="330" y="410"/>
                    </a:lnTo>
                    <a:lnTo>
                      <a:pt x="329" y="411"/>
                    </a:lnTo>
                    <a:lnTo>
                      <a:pt x="326" y="412"/>
                    </a:lnTo>
                    <a:lnTo>
                      <a:pt x="325" y="413"/>
                    </a:lnTo>
                    <a:lnTo>
                      <a:pt x="323" y="415"/>
                    </a:lnTo>
                    <a:lnTo>
                      <a:pt x="320" y="417"/>
                    </a:lnTo>
                    <a:lnTo>
                      <a:pt x="318" y="418"/>
                    </a:lnTo>
                    <a:lnTo>
                      <a:pt x="317" y="419"/>
                    </a:lnTo>
                    <a:lnTo>
                      <a:pt x="315" y="419"/>
                    </a:lnTo>
                    <a:lnTo>
                      <a:pt x="315" y="420"/>
                    </a:lnTo>
                    <a:lnTo>
                      <a:pt x="314" y="420"/>
                    </a:lnTo>
                    <a:lnTo>
                      <a:pt x="312" y="421"/>
                    </a:lnTo>
                    <a:lnTo>
                      <a:pt x="308" y="424"/>
                    </a:lnTo>
                    <a:lnTo>
                      <a:pt x="304" y="425"/>
                    </a:lnTo>
                    <a:lnTo>
                      <a:pt x="303" y="428"/>
                    </a:lnTo>
                    <a:lnTo>
                      <a:pt x="302" y="428"/>
                    </a:lnTo>
                    <a:lnTo>
                      <a:pt x="300" y="429"/>
                    </a:lnTo>
                    <a:lnTo>
                      <a:pt x="299" y="430"/>
                    </a:lnTo>
                    <a:lnTo>
                      <a:pt x="298" y="430"/>
                    </a:lnTo>
                    <a:lnTo>
                      <a:pt x="297" y="431"/>
                    </a:lnTo>
                    <a:lnTo>
                      <a:pt x="295" y="432"/>
                    </a:lnTo>
                    <a:lnTo>
                      <a:pt x="290" y="433"/>
                    </a:lnTo>
                    <a:lnTo>
                      <a:pt x="285" y="434"/>
                    </a:lnTo>
                    <a:lnTo>
                      <a:pt x="282" y="435"/>
                    </a:lnTo>
                    <a:lnTo>
                      <a:pt x="279" y="435"/>
                    </a:lnTo>
                    <a:lnTo>
                      <a:pt x="276" y="435"/>
                    </a:lnTo>
                    <a:lnTo>
                      <a:pt x="275" y="435"/>
                    </a:lnTo>
                    <a:lnTo>
                      <a:pt x="270" y="435"/>
                    </a:lnTo>
                    <a:lnTo>
                      <a:pt x="268" y="435"/>
                    </a:lnTo>
                    <a:lnTo>
                      <a:pt x="265" y="435"/>
                    </a:lnTo>
                    <a:lnTo>
                      <a:pt x="265" y="433"/>
                    </a:lnTo>
                    <a:lnTo>
                      <a:pt x="264" y="433"/>
                    </a:lnTo>
                    <a:lnTo>
                      <a:pt x="263" y="433"/>
                    </a:lnTo>
                    <a:lnTo>
                      <a:pt x="262" y="434"/>
                    </a:lnTo>
                    <a:lnTo>
                      <a:pt x="258" y="436"/>
                    </a:lnTo>
                    <a:lnTo>
                      <a:pt x="257" y="436"/>
                    </a:lnTo>
                    <a:lnTo>
                      <a:pt x="255" y="436"/>
                    </a:lnTo>
                    <a:lnTo>
                      <a:pt x="252" y="436"/>
                    </a:lnTo>
                    <a:lnTo>
                      <a:pt x="251" y="436"/>
                    </a:lnTo>
                    <a:lnTo>
                      <a:pt x="248" y="435"/>
                    </a:lnTo>
                    <a:lnTo>
                      <a:pt x="247" y="435"/>
                    </a:lnTo>
                    <a:lnTo>
                      <a:pt x="243" y="435"/>
                    </a:lnTo>
                    <a:lnTo>
                      <a:pt x="240" y="434"/>
                    </a:lnTo>
                    <a:lnTo>
                      <a:pt x="236" y="433"/>
                    </a:lnTo>
                    <a:lnTo>
                      <a:pt x="234" y="432"/>
                    </a:lnTo>
                    <a:lnTo>
                      <a:pt x="231" y="431"/>
                    </a:lnTo>
                    <a:lnTo>
                      <a:pt x="228" y="431"/>
                    </a:lnTo>
                    <a:lnTo>
                      <a:pt x="225" y="430"/>
                    </a:lnTo>
                    <a:lnTo>
                      <a:pt x="223" y="430"/>
                    </a:lnTo>
                    <a:lnTo>
                      <a:pt x="219" y="429"/>
                    </a:lnTo>
                    <a:lnTo>
                      <a:pt x="215" y="428"/>
                    </a:lnTo>
                    <a:lnTo>
                      <a:pt x="213" y="428"/>
                    </a:lnTo>
                    <a:lnTo>
                      <a:pt x="210" y="428"/>
                    </a:lnTo>
                    <a:lnTo>
                      <a:pt x="206" y="427"/>
                    </a:lnTo>
                    <a:lnTo>
                      <a:pt x="202" y="427"/>
                    </a:lnTo>
                    <a:lnTo>
                      <a:pt x="201" y="425"/>
                    </a:lnTo>
                    <a:lnTo>
                      <a:pt x="200" y="425"/>
                    </a:lnTo>
                    <a:lnTo>
                      <a:pt x="198" y="425"/>
                    </a:lnTo>
                    <a:lnTo>
                      <a:pt x="196" y="424"/>
                    </a:lnTo>
                    <a:lnTo>
                      <a:pt x="195" y="424"/>
                    </a:lnTo>
                    <a:lnTo>
                      <a:pt x="194" y="422"/>
                    </a:lnTo>
                    <a:lnTo>
                      <a:pt x="193" y="422"/>
                    </a:lnTo>
                    <a:lnTo>
                      <a:pt x="192" y="421"/>
                    </a:lnTo>
                    <a:lnTo>
                      <a:pt x="191" y="421"/>
                    </a:lnTo>
                    <a:lnTo>
                      <a:pt x="188" y="421"/>
                    </a:lnTo>
                    <a:lnTo>
                      <a:pt x="186" y="420"/>
                    </a:lnTo>
                    <a:lnTo>
                      <a:pt x="184" y="420"/>
                    </a:lnTo>
                    <a:lnTo>
                      <a:pt x="181" y="419"/>
                    </a:lnTo>
                    <a:lnTo>
                      <a:pt x="173" y="417"/>
                    </a:lnTo>
                    <a:lnTo>
                      <a:pt x="170" y="417"/>
                    </a:lnTo>
                    <a:lnTo>
                      <a:pt x="168" y="416"/>
                    </a:lnTo>
                    <a:lnTo>
                      <a:pt x="165" y="415"/>
                    </a:lnTo>
                    <a:lnTo>
                      <a:pt x="160" y="415"/>
                    </a:lnTo>
                    <a:lnTo>
                      <a:pt x="158" y="415"/>
                    </a:lnTo>
                    <a:lnTo>
                      <a:pt x="149" y="412"/>
                    </a:lnTo>
                    <a:lnTo>
                      <a:pt x="144" y="412"/>
                    </a:lnTo>
                    <a:lnTo>
                      <a:pt x="137" y="411"/>
                    </a:lnTo>
                    <a:lnTo>
                      <a:pt x="135" y="411"/>
                    </a:lnTo>
                    <a:lnTo>
                      <a:pt x="128" y="409"/>
                    </a:lnTo>
                    <a:lnTo>
                      <a:pt x="124" y="409"/>
                    </a:lnTo>
                    <a:lnTo>
                      <a:pt x="124" y="408"/>
                    </a:lnTo>
                    <a:lnTo>
                      <a:pt x="124" y="407"/>
                    </a:lnTo>
                    <a:lnTo>
                      <a:pt x="123" y="407"/>
                    </a:lnTo>
                    <a:lnTo>
                      <a:pt x="122" y="408"/>
                    </a:lnTo>
                    <a:lnTo>
                      <a:pt x="119" y="408"/>
                    </a:lnTo>
                    <a:lnTo>
                      <a:pt x="118" y="408"/>
                    </a:lnTo>
                    <a:lnTo>
                      <a:pt x="116" y="407"/>
                    </a:lnTo>
                    <a:lnTo>
                      <a:pt x="111" y="406"/>
                    </a:lnTo>
                    <a:lnTo>
                      <a:pt x="111" y="405"/>
                    </a:lnTo>
                    <a:lnTo>
                      <a:pt x="111" y="404"/>
                    </a:lnTo>
                    <a:lnTo>
                      <a:pt x="111" y="403"/>
                    </a:lnTo>
                    <a:lnTo>
                      <a:pt x="110" y="402"/>
                    </a:lnTo>
                    <a:lnTo>
                      <a:pt x="110" y="400"/>
                    </a:lnTo>
                    <a:lnTo>
                      <a:pt x="109" y="400"/>
                    </a:lnTo>
                    <a:lnTo>
                      <a:pt x="109" y="398"/>
                    </a:lnTo>
                    <a:lnTo>
                      <a:pt x="110" y="396"/>
                    </a:lnTo>
                    <a:lnTo>
                      <a:pt x="109" y="396"/>
                    </a:lnTo>
                    <a:lnTo>
                      <a:pt x="108" y="396"/>
                    </a:lnTo>
                    <a:lnTo>
                      <a:pt x="106" y="396"/>
                    </a:lnTo>
                    <a:lnTo>
                      <a:pt x="101" y="398"/>
                    </a:lnTo>
                    <a:lnTo>
                      <a:pt x="100" y="399"/>
                    </a:lnTo>
                    <a:lnTo>
                      <a:pt x="100" y="402"/>
                    </a:lnTo>
                    <a:lnTo>
                      <a:pt x="102" y="403"/>
                    </a:lnTo>
                    <a:lnTo>
                      <a:pt x="102" y="404"/>
                    </a:lnTo>
                    <a:lnTo>
                      <a:pt x="104" y="404"/>
                    </a:lnTo>
                    <a:lnTo>
                      <a:pt x="105" y="404"/>
                    </a:lnTo>
                    <a:lnTo>
                      <a:pt x="107" y="404"/>
                    </a:lnTo>
                    <a:lnTo>
                      <a:pt x="107" y="405"/>
                    </a:lnTo>
                    <a:lnTo>
                      <a:pt x="108" y="405"/>
                    </a:lnTo>
                    <a:lnTo>
                      <a:pt x="109" y="406"/>
                    </a:lnTo>
                    <a:lnTo>
                      <a:pt x="108" y="406"/>
                    </a:lnTo>
                    <a:lnTo>
                      <a:pt x="107" y="406"/>
                    </a:lnTo>
                    <a:lnTo>
                      <a:pt x="106" y="405"/>
                    </a:lnTo>
                    <a:lnTo>
                      <a:pt x="105" y="405"/>
                    </a:lnTo>
                    <a:lnTo>
                      <a:pt x="103" y="405"/>
                    </a:lnTo>
                    <a:lnTo>
                      <a:pt x="102" y="405"/>
                    </a:lnTo>
                    <a:lnTo>
                      <a:pt x="101" y="404"/>
                    </a:lnTo>
                    <a:lnTo>
                      <a:pt x="100" y="404"/>
                    </a:lnTo>
                    <a:lnTo>
                      <a:pt x="98" y="404"/>
                    </a:lnTo>
                    <a:lnTo>
                      <a:pt x="97" y="404"/>
                    </a:lnTo>
                    <a:lnTo>
                      <a:pt x="96" y="404"/>
                    </a:lnTo>
                    <a:lnTo>
                      <a:pt x="94" y="403"/>
                    </a:lnTo>
                    <a:lnTo>
                      <a:pt x="93" y="403"/>
                    </a:lnTo>
                    <a:lnTo>
                      <a:pt x="92" y="403"/>
                    </a:lnTo>
                    <a:lnTo>
                      <a:pt x="90" y="403"/>
                    </a:lnTo>
                    <a:lnTo>
                      <a:pt x="89" y="402"/>
                    </a:lnTo>
                    <a:lnTo>
                      <a:pt x="88" y="402"/>
                    </a:lnTo>
                    <a:lnTo>
                      <a:pt x="86" y="402"/>
                    </a:lnTo>
                    <a:lnTo>
                      <a:pt x="85" y="402"/>
                    </a:lnTo>
                    <a:lnTo>
                      <a:pt x="83" y="402"/>
                    </a:lnTo>
                    <a:lnTo>
                      <a:pt x="82" y="402"/>
                    </a:lnTo>
                    <a:lnTo>
                      <a:pt x="80" y="400"/>
                    </a:lnTo>
                    <a:lnTo>
                      <a:pt x="79" y="400"/>
                    </a:lnTo>
                    <a:lnTo>
                      <a:pt x="78" y="399"/>
                    </a:lnTo>
                    <a:lnTo>
                      <a:pt x="77" y="399"/>
                    </a:lnTo>
                    <a:lnTo>
                      <a:pt x="76" y="399"/>
                    </a:lnTo>
                    <a:lnTo>
                      <a:pt x="75" y="399"/>
                    </a:lnTo>
                    <a:lnTo>
                      <a:pt x="75" y="387"/>
                    </a:lnTo>
                    <a:lnTo>
                      <a:pt x="75" y="383"/>
                    </a:lnTo>
                    <a:lnTo>
                      <a:pt x="76" y="371"/>
                    </a:lnTo>
                    <a:lnTo>
                      <a:pt x="76" y="353"/>
                    </a:lnTo>
                    <a:lnTo>
                      <a:pt x="76" y="340"/>
                    </a:lnTo>
                    <a:lnTo>
                      <a:pt x="76" y="332"/>
                    </a:lnTo>
                    <a:lnTo>
                      <a:pt x="76" y="326"/>
                    </a:lnTo>
                    <a:lnTo>
                      <a:pt x="76" y="307"/>
                    </a:lnTo>
                    <a:lnTo>
                      <a:pt x="76" y="305"/>
                    </a:lnTo>
                    <a:lnTo>
                      <a:pt x="76" y="300"/>
                    </a:lnTo>
                    <a:lnTo>
                      <a:pt x="76" y="299"/>
                    </a:lnTo>
                    <a:lnTo>
                      <a:pt x="76" y="296"/>
                    </a:lnTo>
                    <a:lnTo>
                      <a:pt x="76" y="294"/>
                    </a:lnTo>
                    <a:lnTo>
                      <a:pt x="76" y="290"/>
                    </a:lnTo>
                    <a:lnTo>
                      <a:pt x="76" y="283"/>
                    </a:lnTo>
                    <a:lnTo>
                      <a:pt x="77" y="282"/>
                    </a:lnTo>
                    <a:lnTo>
                      <a:pt x="77" y="270"/>
                    </a:lnTo>
                    <a:lnTo>
                      <a:pt x="77" y="266"/>
                    </a:lnTo>
                    <a:lnTo>
                      <a:pt x="77" y="246"/>
                    </a:lnTo>
                    <a:lnTo>
                      <a:pt x="77" y="241"/>
                    </a:lnTo>
                    <a:lnTo>
                      <a:pt x="77" y="236"/>
                    </a:lnTo>
                    <a:lnTo>
                      <a:pt x="77" y="217"/>
                    </a:lnTo>
                    <a:lnTo>
                      <a:pt x="77" y="197"/>
                    </a:lnTo>
                    <a:lnTo>
                      <a:pt x="77" y="194"/>
                    </a:lnTo>
                    <a:lnTo>
                      <a:pt x="76" y="164"/>
                    </a:lnTo>
                    <a:lnTo>
                      <a:pt x="76" y="163"/>
                    </a:lnTo>
                    <a:lnTo>
                      <a:pt x="76" y="155"/>
                    </a:lnTo>
                    <a:lnTo>
                      <a:pt x="76" y="153"/>
                    </a:lnTo>
                    <a:lnTo>
                      <a:pt x="76" y="143"/>
                    </a:lnTo>
                    <a:lnTo>
                      <a:pt x="76" y="137"/>
                    </a:lnTo>
                    <a:lnTo>
                      <a:pt x="76" y="133"/>
                    </a:lnTo>
                    <a:lnTo>
                      <a:pt x="76" y="130"/>
                    </a:lnTo>
                    <a:lnTo>
                      <a:pt x="76" y="117"/>
                    </a:lnTo>
                    <a:lnTo>
                      <a:pt x="76" y="114"/>
                    </a:lnTo>
                    <a:lnTo>
                      <a:pt x="76" y="110"/>
                    </a:lnTo>
                    <a:lnTo>
                      <a:pt x="76" y="109"/>
                    </a:lnTo>
                    <a:lnTo>
                      <a:pt x="76" y="107"/>
                    </a:lnTo>
                    <a:lnTo>
                      <a:pt x="76" y="104"/>
                    </a:lnTo>
                    <a:lnTo>
                      <a:pt x="76" y="94"/>
                    </a:lnTo>
                    <a:lnTo>
                      <a:pt x="76" y="91"/>
                    </a:lnTo>
                    <a:lnTo>
                      <a:pt x="76" y="89"/>
                    </a:lnTo>
                    <a:lnTo>
                      <a:pt x="76" y="80"/>
                    </a:lnTo>
                    <a:lnTo>
                      <a:pt x="56" y="80"/>
                    </a:lnTo>
                    <a:lnTo>
                      <a:pt x="50" y="80"/>
                    </a:lnTo>
                    <a:lnTo>
                      <a:pt x="41" y="80"/>
                    </a:lnTo>
                    <a:lnTo>
                      <a:pt x="38" y="80"/>
                    </a:lnTo>
                    <a:lnTo>
                      <a:pt x="10" y="80"/>
                    </a:lnTo>
                    <a:lnTo>
                      <a:pt x="3" y="80"/>
                    </a:lnTo>
                    <a:lnTo>
                      <a:pt x="1" y="80"/>
                    </a:lnTo>
                    <a:lnTo>
                      <a:pt x="0" y="80"/>
                    </a:lnTo>
                    <a:lnTo>
                      <a:pt x="1" y="80"/>
                    </a:lnTo>
                    <a:lnTo>
                      <a:pt x="2" y="80"/>
                    </a:lnTo>
                    <a:lnTo>
                      <a:pt x="3" y="80"/>
                    </a:lnTo>
                    <a:lnTo>
                      <a:pt x="3" y="78"/>
                    </a:lnTo>
                    <a:lnTo>
                      <a:pt x="4" y="77"/>
                    </a:lnTo>
                    <a:lnTo>
                      <a:pt x="5" y="76"/>
                    </a:lnTo>
                    <a:lnTo>
                      <a:pt x="7" y="73"/>
                    </a:lnTo>
                    <a:lnTo>
                      <a:pt x="8" y="72"/>
                    </a:lnTo>
                    <a:lnTo>
                      <a:pt x="10" y="72"/>
                    </a:lnTo>
                    <a:lnTo>
                      <a:pt x="11" y="72"/>
                    </a:lnTo>
                    <a:lnTo>
                      <a:pt x="13" y="72"/>
                    </a:lnTo>
                    <a:lnTo>
                      <a:pt x="14" y="72"/>
                    </a:lnTo>
                    <a:lnTo>
                      <a:pt x="15" y="72"/>
                    </a:lnTo>
                    <a:lnTo>
                      <a:pt x="16" y="72"/>
                    </a:lnTo>
                    <a:lnTo>
                      <a:pt x="17" y="71"/>
                    </a:lnTo>
                    <a:lnTo>
                      <a:pt x="19" y="69"/>
                    </a:lnTo>
                    <a:lnTo>
                      <a:pt x="20" y="69"/>
                    </a:lnTo>
                    <a:lnTo>
                      <a:pt x="21" y="69"/>
                    </a:lnTo>
                    <a:lnTo>
                      <a:pt x="23" y="69"/>
                    </a:lnTo>
                    <a:lnTo>
                      <a:pt x="24" y="69"/>
                    </a:lnTo>
                    <a:lnTo>
                      <a:pt x="25" y="69"/>
                    </a:lnTo>
                    <a:lnTo>
                      <a:pt x="26" y="68"/>
                    </a:lnTo>
                    <a:lnTo>
                      <a:pt x="26" y="65"/>
                    </a:lnTo>
                    <a:lnTo>
                      <a:pt x="26" y="64"/>
                    </a:lnTo>
                    <a:lnTo>
                      <a:pt x="26" y="63"/>
                    </a:lnTo>
                    <a:lnTo>
                      <a:pt x="27" y="63"/>
                    </a:lnTo>
                    <a:lnTo>
                      <a:pt x="27" y="62"/>
                    </a:lnTo>
                    <a:lnTo>
                      <a:pt x="28" y="63"/>
                    </a:lnTo>
                    <a:lnTo>
                      <a:pt x="29" y="64"/>
                    </a:lnTo>
                    <a:lnTo>
                      <a:pt x="30" y="64"/>
                    </a:lnTo>
                    <a:lnTo>
                      <a:pt x="31" y="64"/>
                    </a:lnTo>
                    <a:lnTo>
                      <a:pt x="32" y="64"/>
                    </a:lnTo>
                    <a:lnTo>
                      <a:pt x="33" y="64"/>
                    </a:lnTo>
                    <a:lnTo>
                      <a:pt x="33" y="63"/>
                    </a:lnTo>
                    <a:lnTo>
                      <a:pt x="34" y="62"/>
                    </a:lnTo>
                    <a:lnTo>
                      <a:pt x="36" y="61"/>
                    </a:lnTo>
                    <a:lnTo>
                      <a:pt x="37" y="60"/>
                    </a:lnTo>
                    <a:lnTo>
                      <a:pt x="39" y="57"/>
                    </a:lnTo>
                    <a:lnTo>
                      <a:pt x="40" y="57"/>
                    </a:lnTo>
                    <a:lnTo>
                      <a:pt x="41" y="56"/>
                    </a:lnTo>
                    <a:lnTo>
                      <a:pt x="42" y="56"/>
                    </a:lnTo>
                    <a:lnTo>
                      <a:pt x="43" y="57"/>
                    </a:lnTo>
                    <a:lnTo>
                      <a:pt x="45" y="58"/>
                    </a:lnTo>
                    <a:lnTo>
                      <a:pt x="47" y="58"/>
                    </a:lnTo>
                    <a:lnTo>
                      <a:pt x="49" y="57"/>
                    </a:lnTo>
                    <a:lnTo>
                      <a:pt x="51" y="52"/>
                    </a:lnTo>
                    <a:lnTo>
                      <a:pt x="52" y="50"/>
                    </a:lnTo>
                    <a:lnTo>
                      <a:pt x="53" y="50"/>
                    </a:lnTo>
                    <a:lnTo>
                      <a:pt x="53" y="52"/>
                    </a:lnTo>
                    <a:lnTo>
                      <a:pt x="54" y="53"/>
                    </a:lnTo>
                    <a:lnTo>
                      <a:pt x="54" y="55"/>
                    </a:lnTo>
                    <a:lnTo>
                      <a:pt x="55" y="55"/>
                    </a:lnTo>
                    <a:lnTo>
                      <a:pt x="56" y="55"/>
                    </a:lnTo>
                    <a:lnTo>
                      <a:pt x="57" y="53"/>
                    </a:lnTo>
                    <a:lnTo>
                      <a:pt x="58" y="53"/>
                    </a:lnTo>
                    <a:lnTo>
                      <a:pt x="59" y="53"/>
                    </a:lnTo>
                    <a:lnTo>
                      <a:pt x="59" y="55"/>
                    </a:lnTo>
                    <a:lnTo>
                      <a:pt x="60" y="55"/>
                    </a:lnTo>
                    <a:lnTo>
                      <a:pt x="60" y="56"/>
                    </a:lnTo>
                    <a:lnTo>
                      <a:pt x="62" y="56"/>
                    </a:lnTo>
                    <a:lnTo>
                      <a:pt x="63" y="55"/>
                    </a:lnTo>
                    <a:lnTo>
                      <a:pt x="63" y="53"/>
                    </a:lnTo>
                    <a:lnTo>
                      <a:pt x="64" y="52"/>
                    </a:lnTo>
                    <a:lnTo>
                      <a:pt x="65" y="51"/>
                    </a:lnTo>
                    <a:lnTo>
                      <a:pt x="66" y="51"/>
                    </a:lnTo>
                    <a:lnTo>
                      <a:pt x="66" y="50"/>
                    </a:lnTo>
                    <a:lnTo>
                      <a:pt x="67" y="49"/>
                    </a:lnTo>
                    <a:lnTo>
                      <a:pt x="66" y="49"/>
                    </a:lnTo>
                    <a:lnTo>
                      <a:pt x="66" y="48"/>
                    </a:lnTo>
                    <a:lnTo>
                      <a:pt x="65" y="48"/>
                    </a:lnTo>
                    <a:lnTo>
                      <a:pt x="65" y="47"/>
                    </a:lnTo>
                    <a:lnTo>
                      <a:pt x="65" y="46"/>
                    </a:lnTo>
                    <a:lnTo>
                      <a:pt x="66" y="46"/>
                    </a:lnTo>
                    <a:lnTo>
                      <a:pt x="67" y="46"/>
                    </a:lnTo>
                    <a:lnTo>
                      <a:pt x="68" y="47"/>
                    </a:lnTo>
                    <a:lnTo>
                      <a:pt x="69" y="46"/>
                    </a:lnTo>
                    <a:lnTo>
                      <a:pt x="68" y="45"/>
                    </a:lnTo>
                    <a:lnTo>
                      <a:pt x="67" y="45"/>
                    </a:lnTo>
                    <a:lnTo>
                      <a:pt x="67" y="44"/>
                    </a:lnTo>
                    <a:lnTo>
                      <a:pt x="67" y="43"/>
                    </a:lnTo>
                    <a:lnTo>
                      <a:pt x="67" y="42"/>
                    </a:lnTo>
                    <a:lnTo>
                      <a:pt x="68" y="42"/>
                    </a:lnTo>
                    <a:lnTo>
                      <a:pt x="68" y="40"/>
                    </a:lnTo>
                    <a:lnTo>
                      <a:pt x="69" y="40"/>
                    </a:lnTo>
                    <a:lnTo>
                      <a:pt x="69" y="42"/>
                    </a:lnTo>
                    <a:lnTo>
                      <a:pt x="70" y="42"/>
                    </a:lnTo>
                    <a:lnTo>
                      <a:pt x="70" y="43"/>
                    </a:lnTo>
                    <a:lnTo>
                      <a:pt x="71" y="43"/>
                    </a:lnTo>
                    <a:lnTo>
                      <a:pt x="73" y="40"/>
                    </a:lnTo>
                    <a:lnTo>
                      <a:pt x="73" y="42"/>
                    </a:lnTo>
                    <a:lnTo>
                      <a:pt x="73" y="43"/>
                    </a:lnTo>
                    <a:lnTo>
                      <a:pt x="73" y="44"/>
                    </a:lnTo>
                    <a:lnTo>
                      <a:pt x="75" y="44"/>
                    </a:lnTo>
                    <a:lnTo>
                      <a:pt x="76" y="44"/>
                    </a:lnTo>
                    <a:lnTo>
                      <a:pt x="76" y="43"/>
                    </a:lnTo>
                    <a:lnTo>
                      <a:pt x="77" y="42"/>
                    </a:lnTo>
                    <a:lnTo>
                      <a:pt x="77" y="40"/>
                    </a:lnTo>
                    <a:lnTo>
                      <a:pt x="78" y="42"/>
                    </a:lnTo>
                    <a:lnTo>
                      <a:pt x="79" y="42"/>
                    </a:lnTo>
                    <a:lnTo>
                      <a:pt x="79" y="40"/>
                    </a:lnTo>
                    <a:lnTo>
                      <a:pt x="79" y="39"/>
                    </a:lnTo>
                    <a:lnTo>
                      <a:pt x="80" y="40"/>
                    </a:lnTo>
                    <a:lnTo>
                      <a:pt x="80" y="39"/>
                    </a:lnTo>
                    <a:lnTo>
                      <a:pt x="81" y="39"/>
                    </a:lnTo>
                    <a:lnTo>
                      <a:pt x="82" y="38"/>
                    </a:lnTo>
                    <a:lnTo>
                      <a:pt x="82" y="37"/>
                    </a:lnTo>
                    <a:lnTo>
                      <a:pt x="82" y="36"/>
                    </a:lnTo>
                    <a:lnTo>
                      <a:pt x="82" y="37"/>
                    </a:lnTo>
                    <a:lnTo>
                      <a:pt x="83" y="37"/>
                    </a:lnTo>
                    <a:lnTo>
                      <a:pt x="84" y="37"/>
                    </a:lnTo>
                    <a:lnTo>
                      <a:pt x="84" y="36"/>
                    </a:lnTo>
                    <a:lnTo>
                      <a:pt x="85" y="36"/>
                    </a:lnTo>
                    <a:lnTo>
                      <a:pt x="85" y="37"/>
                    </a:lnTo>
                    <a:lnTo>
                      <a:pt x="86" y="37"/>
                    </a:lnTo>
                    <a:lnTo>
                      <a:pt x="88" y="36"/>
                    </a:lnTo>
                    <a:lnTo>
                      <a:pt x="88" y="37"/>
                    </a:lnTo>
                    <a:lnTo>
                      <a:pt x="89" y="37"/>
                    </a:lnTo>
                    <a:lnTo>
                      <a:pt x="89" y="36"/>
                    </a:lnTo>
                    <a:lnTo>
                      <a:pt x="89" y="35"/>
                    </a:lnTo>
                    <a:lnTo>
                      <a:pt x="90" y="36"/>
                    </a:lnTo>
                    <a:lnTo>
                      <a:pt x="89" y="36"/>
                    </a:lnTo>
                    <a:lnTo>
                      <a:pt x="89" y="37"/>
                    </a:lnTo>
                    <a:lnTo>
                      <a:pt x="90" y="37"/>
                    </a:lnTo>
                    <a:lnTo>
                      <a:pt x="90" y="36"/>
                    </a:lnTo>
                    <a:lnTo>
                      <a:pt x="91" y="36"/>
                    </a:lnTo>
                    <a:lnTo>
                      <a:pt x="92" y="36"/>
                    </a:lnTo>
                    <a:lnTo>
                      <a:pt x="92" y="37"/>
                    </a:lnTo>
                    <a:lnTo>
                      <a:pt x="92" y="38"/>
                    </a:lnTo>
                    <a:lnTo>
                      <a:pt x="93" y="38"/>
                    </a:lnTo>
                    <a:lnTo>
                      <a:pt x="93" y="37"/>
                    </a:lnTo>
                    <a:lnTo>
                      <a:pt x="94" y="37"/>
                    </a:lnTo>
                    <a:lnTo>
                      <a:pt x="95" y="37"/>
                    </a:lnTo>
                    <a:lnTo>
                      <a:pt x="96" y="37"/>
                    </a:lnTo>
                    <a:lnTo>
                      <a:pt x="97" y="36"/>
                    </a:lnTo>
                    <a:lnTo>
                      <a:pt x="98" y="36"/>
                    </a:lnTo>
                    <a:lnTo>
                      <a:pt x="98" y="34"/>
                    </a:lnTo>
                    <a:lnTo>
                      <a:pt x="100" y="34"/>
                    </a:lnTo>
                    <a:lnTo>
                      <a:pt x="100" y="35"/>
                    </a:lnTo>
                    <a:lnTo>
                      <a:pt x="101" y="35"/>
                    </a:lnTo>
                    <a:lnTo>
                      <a:pt x="101" y="34"/>
                    </a:lnTo>
                    <a:lnTo>
                      <a:pt x="102" y="33"/>
                    </a:lnTo>
                    <a:lnTo>
                      <a:pt x="102" y="34"/>
                    </a:lnTo>
                    <a:lnTo>
                      <a:pt x="103" y="34"/>
                    </a:lnTo>
                    <a:lnTo>
                      <a:pt x="104" y="33"/>
                    </a:lnTo>
                    <a:lnTo>
                      <a:pt x="105" y="33"/>
                    </a:lnTo>
                    <a:lnTo>
                      <a:pt x="105" y="32"/>
                    </a:lnTo>
                    <a:lnTo>
                      <a:pt x="104" y="32"/>
                    </a:lnTo>
                    <a:lnTo>
                      <a:pt x="104" y="31"/>
                    </a:lnTo>
                    <a:lnTo>
                      <a:pt x="104" y="30"/>
                    </a:lnTo>
                    <a:lnTo>
                      <a:pt x="105" y="29"/>
                    </a:lnTo>
                    <a:lnTo>
                      <a:pt x="105" y="27"/>
                    </a:lnTo>
                    <a:lnTo>
                      <a:pt x="105" y="29"/>
                    </a:lnTo>
                    <a:lnTo>
                      <a:pt x="106" y="29"/>
                    </a:lnTo>
                    <a:lnTo>
                      <a:pt x="106" y="27"/>
                    </a:lnTo>
                    <a:lnTo>
                      <a:pt x="107" y="26"/>
                    </a:lnTo>
                    <a:lnTo>
                      <a:pt x="108" y="27"/>
                    </a:lnTo>
                    <a:lnTo>
                      <a:pt x="109" y="27"/>
                    </a:lnTo>
                    <a:lnTo>
                      <a:pt x="110" y="27"/>
                    </a:lnTo>
                    <a:lnTo>
                      <a:pt x="110" y="26"/>
                    </a:lnTo>
                    <a:lnTo>
                      <a:pt x="109" y="26"/>
                    </a:lnTo>
                    <a:lnTo>
                      <a:pt x="110" y="26"/>
                    </a:lnTo>
                    <a:lnTo>
                      <a:pt x="110" y="25"/>
                    </a:lnTo>
                    <a:lnTo>
                      <a:pt x="110" y="24"/>
                    </a:lnTo>
                    <a:lnTo>
                      <a:pt x="111" y="24"/>
                    </a:lnTo>
                    <a:lnTo>
                      <a:pt x="113" y="25"/>
                    </a:lnTo>
                    <a:lnTo>
                      <a:pt x="114" y="24"/>
                    </a:lnTo>
                    <a:lnTo>
                      <a:pt x="114" y="25"/>
                    </a:lnTo>
                    <a:lnTo>
                      <a:pt x="114" y="26"/>
                    </a:lnTo>
                    <a:lnTo>
                      <a:pt x="114" y="27"/>
                    </a:lnTo>
                    <a:lnTo>
                      <a:pt x="116" y="29"/>
                    </a:lnTo>
                    <a:lnTo>
                      <a:pt x="117" y="30"/>
                    </a:lnTo>
                    <a:lnTo>
                      <a:pt x="118" y="29"/>
                    </a:lnTo>
                    <a:lnTo>
                      <a:pt x="119" y="29"/>
                    </a:lnTo>
                    <a:lnTo>
                      <a:pt x="119" y="30"/>
                    </a:lnTo>
                    <a:lnTo>
                      <a:pt x="120" y="30"/>
                    </a:lnTo>
                    <a:lnTo>
                      <a:pt x="120" y="31"/>
                    </a:lnTo>
                    <a:lnTo>
                      <a:pt x="121" y="31"/>
                    </a:lnTo>
                    <a:lnTo>
                      <a:pt x="122" y="32"/>
                    </a:lnTo>
                    <a:lnTo>
                      <a:pt x="123" y="32"/>
                    </a:lnTo>
                    <a:lnTo>
                      <a:pt x="122" y="31"/>
                    </a:lnTo>
                    <a:lnTo>
                      <a:pt x="123" y="31"/>
                    </a:lnTo>
                    <a:lnTo>
                      <a:pt x="123" y="30"/>
                    </a:lnTo>
                    <a:lnTo>
                      <a:pt x="124" y="30"/>
                    </a:lnTo>
                    <a:lnTo>
                      <a:pt x="126" y="30"/>
                    </a:lnTo>
                    <a:lnTo>
                      <a:pt x="126" y="31"/>
                    </a:lnTo>
                    <a:lnTo>
                      <a:pt x="126" y="32"/>
                    </a:lnTo>
                    <a:lnTo>
                      <a:pt x="124" y="32"/>
                    </a:lnTo>
                    <a:lnTo>
                      <a:pt x="124" y="33"/>
                    </a:lnTo>
                    <a:lnTo>
                      <a:pt x="126" y="33"/>
                    </a:lnTo>
                    <a:lnTo>
                      <a:pt x="126" y="32"/>
                    </a:lnTo>
                    <a:lnTo>
                      <a:pt x="127" y="32"/>
                    </a:lnTo>
                    <a:lnTo>
                      <a:pt x="127" y="33"/>
                    </a:lnTo>
                    <a:lnTo>
                      <a:pt x="128" y="33"/>
                    </a:lnTo>
                    <a:lnTo>
                      <a:pt x="128" y="32"/>
                    </a:lnTo>
                    <a:lnTo>
                      <a:pt x="128" y="31"/>
                    </a:lnTo>
                    <a:lnTo>
                      <a:pt x="129" y="31"/>
                    </a:lnTo>
                    <a:lnTo>
                      <a:pt x="128" y="32"/>
                    </a:lnTo>
                    <a:lnTo>
                      <a:pt x="129" y="32"/>
                    </a:lnTo>
                    <a:lnTo>
                      <a:pt x="130" y="32"/>
                    </a:lnTo>
                    <a:lnTo>
                      <a:pt x="130" y="33"/>
                    </a:lnTo>
                    <a:lnTo>
                      <a:pt x="129" y="34"/>
                    </a:lnTo>
                    <a:lnTo>
                      <a:pt x="129" y="33"/>
                    </a:lnTo>
                    <a:lnTo>
                      <a:pt x="129" y="34"/>
                    </a:lnTo>
                    <a:lnTo>
                      <a:pt x="127" y="34"/>
                    </a:lnTo>
                    <a:lnTo>
                      <a:pt x="127" y="35"/>
                    </a:lnTo>
                    <a:lnTo>
                      <a:pt x="128" y="35"/>
                    </a:lnTo>
                    <a:lnTo>
                      <a:pt x="128" y="36"/>
                    </a:lnTo>
                    <a:lnTo>
                      <a:pt x="129" y="37"/>
                    </a:lnTo>
                    <a:lnTo>
                      <a:pt x="130" y="37"/>
                    </a:lnTo>
                    <a:lnTo>
                      <a:pt x="130" y="38"/>
                    </a:lnTo>
                    <a:lnTo>
                      <a:pt x="130" y="39"/>
                    </a:lnTo>
                    <a:lnTo>
                      <a:pt x="131" y="39"/>
                    </a:lnTo>
                    <a:lnTo>
                      <a:pt x="131" y="38"/>
                    </a:lnTo>
                    <a:lnTo>
                      <a:pt x="132" y="38"/>
                    </a:lnTo>
                    <a:lnTo>
                      <a:pt x="133" y="38"/>
                    </a:lnTo>
                    <a:lnTo>
                      <a:pt x="134" y="38"/>
                    </a:lnTo>
                    <a:lnTo>
                      <a:pt x="133" y="39"/>
                    </a:lnTo>
                    <a:lnTo>
                      <a:pt x="133" y="40"/>
                    </a:lnTo>
                    <a:lnTo>
                      <a:pt x="134" y="40"/>
                    </a:lnTo>
                    <a:lnTo>
                      <a:pt x="134" y="42"/>
                    </a:lnTo>
                    <a:lnTo>
                      <a:pt x="133" y="42"/>
                    </a:lnTo>
                    <a:lnTo>
                      <a:pt x="133" y="43"/>
                    </a:lnTo>
                    <a:lnTo>
                      <a:pt x="134" y="43"/>
                    </a:lnTo>
                    <a:lnTo>
                      <a:pt x="134" y="44"/>
                    </a:lnTo>
                    <a:lnTo>
                      <a:pt x="133" y="44"/>
                    </a:lnTo>
                    <a:lnTo>
                      <a:pt x="133" y="45"/>
                    </a:lnTo>
                    <a:lnTo>
                      <a:pt x="134" y="44"/>
                    </a:lnTo>
                    <a:lnTo>
                      <a:pt x="134" y="45"/>
                    </a:lnTo>
                    <a:lnTo>
                      <a:pt x="135" y="45"/>
                    </a:lnTo>
                    <a:lnTo>
                      <a:pt x="135" y="44"/>
                    </a:lnTo>
                    <a:lnTo>
                      <a:pt x="136" y="45"/>
                    </a:lnTo>
                    <a:lnTo>
                      <a:pt x="136" y="44"/>
                    </a:lnTo>
                    <a:lnTo>
                      <a:pt x="137" y="44"/>
                    </a:lnTo>
                    <a:lnTo>
                      <a:pt x="137" y="45"/>
                    </a:lnTo>
                    <a:lnTo>
                      <a:pt x="136" y="45"/>
                    </a:lnTo>
                    <a:lnTo>
                      <a:pt x="136" y="46"/>
                    </a:lnTo>
                    <a:lnTo>
                      <a:pt x="137" y="46"/>
                    </a:lnTo>
                    <a:lnTo>
                      <a:pt x="139" y="46"/>
                    </a:lnTo>
                    <a:lnTo>
                      <a:pt x="140" y="46"/>
                    </a:lnTo>
                    <a:lnTo>
                      <a:pt x="140" y="47"/>
                    </a:lnTo>
                    <a:lnTo>
                      <a:pt x="139" y="47"/>
                    </a:lnTo>
                    <a:lnTo>
                      <a:pt x="140" y="48"/>
                    </a:lnTo>
                    <a:lnTo>
                      <a:pt x="141" y="48"/>
                    </a:lnTo>
                    <a:lnTo>
                      <a:pt x="142" y="48"/>
                    </a:lnTo>
                    <a:lnTo>
                      <a:pt x="143" y="49"/>
                    </a:lnTo>
                    <a:lnTo>
                      <a:pt x="142" y="50"/>
                    </a:lnTo>
                    <a:lnTo>
                      <a:pt x="142" y="51"/>
                    </a:lnTo>
                    <a:lnTo>
                      <a:pt x="142" y="50"/>
                    </a:lnTo>
                    <a:lnTo>
                      <a:pt x="143" y="50"/>
                    </a:lnTo>
                    <a:lnTo>
                      <a:pt x="144" y="50"/>
                    </a:lnTo>
                    <a:lnTo>
                      <a:pt x="145" y="50"/>
                    </a:lnTo>
                    <a:lnTo>
                      <a:pt x="146" y="51"/>
                    </a:lnTo>
                    <a:lnTo>
                      <a:pt x="147" y="51"/>
                    </a:lnTo>
                    <a:lnTo>
                      <a:pt x="146" y="51"/>
                    </a:lnTo>
                    <a:lnTo>
                      <a:pt x="146" y="52"/>
                    </a:lnTo>
                    <a:lnTo>
                      <a:pt x="147" y="52"/>
                    </a:lnTo>
                    <a:lnTo>
                      <a:pt x="148" y="53"/>
                    </a:lnTo>
                    <a:lnTo>
                      <a:pt x="149" y="53"/>
                    </a:lnTo>
                    <a:lnTo>
                      <a:pt x="149" y="52"/>
                    </a:lnTo>
                    <a:lnTo>
                      <a:pt x="150" y="52"/>
                    </a:lnTo>
                    <a:lnTo>
                      <a:pt x="150" y="53"/>
                    </a:lnTo>
                    <a:lnTo>
                      <a:pt x="150" y="52"/>
                    </a:lnTo>
                    <a:lnTo>
                      <a:pt x="152" y="52"/>
                    </a:lnTo>
                    <a:lnTo>
                      <a:pt x="152" y="53"/>
                    </a:lnTo>
                    <a:lnTo>
                      <a:pt x="152" y="55"/>
                    </a:lnTo>
                    <a:lnTo>
                      <a:pt x="153" y="55"/>
                    </a:lnTo>
                    <a:lnTo>
                      <a:pt x="154" y="56"/>
                    </a:lnTo>
                    <a:lnTo>
                      <a:pt x="155" y="57"/>
                    </a:lnTo>
                    <a:lnTo>
                      <a:pt x="156" y="58"/>
                    </a:lnTo>
                    <a:lnTo>
                      <a:pt x="156" y="59"/>
                    </a:lnTo>
                    <a:lnTo>
                      <a:pt x="156" y="60"/>
                    </a:lnTo>
                    <a:lnTo>
                      <a:pt x="157" y="61"/>
                    </a:lnTo>
                    <a:lnTo>
                      <a:pt x="158" y="61"/>
                    </a:lnTo>
                    <a:lnTo>
                      <a:pt x="159" y="60"/>
                    </a:lnTo>
                    <a:lnTo>
                      <a:pt x="159" y="59"/>
                    </a:lnTo>
                    <a:lnTo>
                      <a:pt x="160" y="59"/>
                    </a:lnTo>
                    <a:lnTo>
                      <a:pt x="160" y="60"/>
                    </a:lnTo>
                    <a:lnTo>
                      <a:pt x="161" y="60"/>
                    </a:lnTo>
                    <a:lnTo>
                      <a:pt x="162" y="60"/>
                    </a:lnTo>
                    <a:lnTo>
                      <a:pt x="163" y="60"/>
                    </a:lnTo>
                    <a:lnTo>
                      <a:pt x="163" y="61"/>
                    </a:lnTo>
                    <a:lnTo>
                      <a:pt x="165" y="62"/>
                    </a:lnTo>
                    <a:lnTo>
                      <a:pt x="166" y="62"/>
                    </a:lnTo>
                    <a:lnTo>
                      <a:pt x="167" y="63"/>
                    </a:lnTo>
                    <a:lnTo>
                      <a:pt x="168" y="63"/>
                    </a:lnTo>
                    <a:lnTo>
                      <a:pt x="169" y="63"/>
                    </a:lnTo>
                    <a:lnTo>
                      <a:pt x="170" y="63"/>
                    </a:lnTo>
                    <a:lnTo>
                      <a:pt x="171" y="63"/>
                    </a:lnTo>
                    <a:lnTo>
                      <a:pt x="172" y="64"/>
                    </a:lnTo>
                    <a:lnTo>
                      <a:pt x="173" y="64"/>
                    </a:lnTo>
                    <a:lnTo>
                      <a:pt x="174" y="64"/>
                    </a:lnTo>
                    <a:lnTo>
                      <a:pt x="175" y="65"/>
                    </a:lnTo>
                    <a:lnTo>
                      <a:pt x="175" y="66"/>
                    </a:lnTo>
                    <a:lnTo>
                      <a:pt x="176" y="66"/>
                    </a:lnTo>
                    <a:lnTo>
                      <a:pt x="178" y="66"/>
                    </a:lnTo>
                    <a:lnTo>
                      <a:pt x="179" y="66"/>
                    </a:lnTo>
                    <a:lnTo>
                      <a:pt x="180" y="66"/>
                    </a:lnTo>
                    <a:lnTo>
                      <a:pt x="180" y="68"/>
                    </a:lnTo>
                    <a:lnTo>
                      <a:pt x="181" y="68"/>
                    </a:lnTo>
                    <a:lnTo>
                      <a:pt x="182" y="68"/>
                    </a:lnTo>
                    <a:lnTo>
                      <a:pt x="183" y="68"/>
                    </a:lnTo>
                    <a:lnTo>
                      <a:pt x="183" y="70"/>
                    </a:lnTo>
                    <a:lnTo>
                      <a:pt x="184" y="70"/>
                    </a:lnTo>
                    <a:lnTo>
                      <a:pt x="184" y="69"/>
                    </a:lnTo>
                    <a:lnTo>
                      <a:pt x="185" y="69"/>
                    </a:lnTo>
                    <a:lnTo>
                      <a:pt x="187" y="69"/>
                    </a:lnTo>
                    <a:lnTo>
                      <a:pt x="189" y="70"/>
                    </a:lnTo>
                    <a:lnTo>
                      <a:pt x="192" y="71"/>
                    </a:lnTo>
                    <a:lnTo>
                      <a:pt x="192" y="72"/>
                    </a:lnTo>
                    <a:lnTo>
                      <a:pt x="193" y="72"/>
                    </a:lnTo>
                    <a:lnTo>
                      <a:pt x="194" y="71"/>
                    </a:lnTo>
                    <a:lnTo>
                      <a:pt x="195" y="70"/>
                    </a:lnTo>
                    <a:lnTo>
                      <a:pt x="196" y="70"/>
                    </a:lnTo>
                    <a:lnTo>
                      <a:pt x="197" y="69"/>
                    </a:lnTo>
                    <a:lnTo>
                      <a:pt x="198" y="69"/>
                    </a:lnTo>
                    <a:lnTo>
                      <a:pt x="199" y="69"/>
                    </a:lnTo>
                    <a:lnTo>
                      <a:pt x="200" y="69"/>
                    </a:lnTo>
                    <a:lnTo>
                      <a:pt x="201" y="69"/>
                    </a:lnTo>
                    <a:lnTo>
                      <a:pt x="202" y="69"/>
                    </a:lnTo>
                    <a:lnTo>
                      <a:pt x="204" y="68"/>
                    </a:lnTo>
                    <a:lnTo>
                      <a:pt x="205" y="68"/>
                    </a:lnTo>
                    <a:lnTo>
                      <a:pt x="206" y="66"/>
                    </a:lnTo>
                    <a:lnTo>
                      <a:pt x="207" y="64"/>
                    </a:lnTo>
                    <a:lnTo>
                      <a:pt x="208" y="64"/>
                    </a:lnTo>
                    <a:lnTo>
                      <a:pt x="208" y="63"/>
                    </a:lnTo>
                    <a:lnTo>
                      <a:pt x="209" y="63"/>
                    </a:lnTo>
                    <a:lnTo>
                      <a:pt x="210" y="64"/>
                    </a:lnTo>
                    <a:lnTo>
                      <a:pt x="211" y="63"/>
                    </a:lnTo>
                    <a:lnTo>
                      <a:pt x="213" y="63"/>
                    </a:lnTo>
                    <a:lnTo>
                      <a:pt x="215" y="63"/>
                    </a:lnTo>
                    <a:lnTo>
                      <a:pt x="218" y="61"/>
                    </a:lnTo>
                    <a:lnTo>
                      <a:pt x="219" y="60"/>
                    </a:lnTo>
                    <a:lnTo>
                      <a:pt x="221" y="59"/>
                    </a:lnTo>
                    <a:lnTo>
                      <a:pt x="222" y="59"/>
                    </a:lnTo>
                    <a:lnTo>
                      <a:pt x="223" y="59"/>
                    </a:lnTo>
                    <a:lnTo>
                      <a:pt x="224" y="58"/>
                    </a:lnTo>
                    <a:lnTo>
                      <a:pt x="224" y="57"/>
                    </a:lnTo>
                    <a:lnTo>
                      <a:pt x="225" y="57"/>
                    </a:lnTo>
                    <a:lnTo>
                      <a:pt x="227" y="56"/>
                    </a:lnTo>
                    <a:lnTo>
                      <a:pt x="228" y="55"/>
                    </a:lnTo>
                    <a:lnTo>
                      <a:pt x="228" y="53"/>
                    </a:lnTo>
                    <a:lnTo>
                      <a:pt x="228" y="52"/>
                    </a:lnTo>
                    <a:lnTo>
                      <a:pt x="230" y="52"/>
                    </a:lnTo>
                    <a:lnTo>
                      <a:pt x="231" y="51"/>
                    </a:lnTo>
                    <a:lnTo>
                      <a:pt x="231" y="50"/>
                    </a:lnTo>
                    <a:lnTo>
                      <a:pt x="232" y="50"/>
                    </a:lnTo>
                    <a:lnTo>
                      <a:pt x="232" y="49"/>
                    </a:lnTo>
                    <a:lnTo>
                      <a:pt x="233" y="49"/>
                    </a:lnTo>
                    <a:lnTo>
                      <a:pt x="234" y="49"/>
                    </a:lnTo>
                    <a:lnTo>
                      <a:pt x="235" y="49"/>
                    </a:lnTo>
                    <a:lnTo>
                      <a:pt x="235" y="48"/>
                    </a:lnTo>
                    <a:lnTo>
                      <a:pt x="236" y="47"/>
                    </a:lnTo>
                    <a:lnTo>
                      <a:pt x="237" y="46"/>
                    </a:lnTo>
                    <a:lnTo>
                      <a:pt x="238" y="46"/>
                    </a:lnTo>
                    <a:lnTo>
                      <a:pt x="239" y="46"/>
                    </a:lnTo>
                    <a:lnTo>
                      <a:pt x="240" y="46"/>
                    </a:lnTo>
                    <a:lnTo>
                      <a:pt x="240" y="45"/>
                    </a:lnTo>
                    <a:lnTo>
                      <a:pt x="240" y="44"/>
                    </a:lnTo>
                    <a:lnTo>
                      <a:pt x="240" y="43"/>
                    </a:lnTo>
                    <a:lnTo>
                      <a:pt x="240" y="42"/>
                    </a:lnTo>
                    <a:lnTo>
                      <a:pt x="240" y="40"/>
                    </a:lnTo>
                    <a:lnTo>
                      <a:pt x="242" y="38"/>
                    </a:lnTo>
                    <a:lnTo>
                      <a:pt x="243" y="38"/>
                    </a:lnTo>
                    <a:lnTo>
                      <a:pt x="244" y="38"/>
                    </a:lnTo>
                    <a:lnTo>
                      <a:pt x="244" y="37"/>
                    </a:lnTo>
                    <a:lnTo>
                      <a:pt x="245" y="37"/>
                    </a:lnTo>
                    <a:lnTo>
                      <a:pt x="245" y="36"/>
                    </a:lnTo>
                    <a:lnTo>
                      <a:pt x="246" y="35"/>
                    </a:lnTo>
                    <a:lnTo>
                      <a:pt x="247" y="35"/>
                    </a:lnTo>
                    <a:lnTo>
                      <a:pt x="247" y="34"/>
                    </a:lnTo>
                    <a:lnTo>
                      <a:pt x="248" y="35"/>
                    </a:lnTo>
                    <a:lnTo>
                      <a:pt x="249" y="34"/>
                    </a:lnTo>
                    <a:lnTo>
                      <a:pt x="249" y="33"/>
                    </a:lnTo>
                    <a:lnTo>
                      <a:pt x="250" y="32"/>
                    </a:lnTo>
                    <a:lnTo>
                      <a:pt x="250" y="31"/>
                    </a:lnTo>
                    <a:lnTo>
                      <a:pt x="249" y="31"/>
                    </a:lnTo>
                    <a:lnTo>
                      <a:pt x="249" y="30"/>
                    </a:lnTo>
                    <a:lnTo>
                      <a:pt x="250" y="30"/>
                    </a:lnTo>
                    <a:lnTo>
                      <a:pt x="250" y="29"/>
                    </a:lnTo>
                    <a:lnTo>
                      <a:pt x="251" y="29"/>
                    </a:lnTo>
                    <a:lnTo>
                      <a:pt x="251" y="27"/>
                    </a:lnTo>
                    <a:lnTo>
                      <a:pt x="252" y="26"/>
                    </a:lnTo>
                    <a:lnTo>
                      <a:pt x="252" y="25"/>
                    </a:lnTo>
                    <a:lnTo>
                      <a:pt x="253" y="25"/>
                    </a:lnTo>
                    <a:lnTo>
                      <a:pt x="255" y="25"/>
                    </a:lnTo>
                    <a:lnTo>
                      <a:pt x="255" y="24"/>
                    </a:lnTo>
                    <a:lnTo>
                      <a:pt x="253" y="24"/>
                    </a:lnTo>
                    <a:lnTo>
                      <a:pt x="253" y="23"/>
                    </a:lnTo>
                    <a:lnTo>
                      <a:pt x="255" y="23"/>
                    </a:lnTo>
                    <a:lnTo>
                      <a:pt x="255" y="22"/>
                    </a:lnTo>
                    <a:lnTo>
                      <a:pt x="253" y="22"/>
                    </a:lnTo>
                    <a:lnTo>
                      <a:pt x="253" y="21"/>
                    </a:lnTo>
                    <a:lnTo>
                      <a:pt x="255" y="21"/>
                    </a:lnTo>
                    <a:lnTo>
                      <a:pt x="255" y="20"/>
                    </a:lnTo>
                    <a:lnTo>
                      <a:pt x="255" y="19"/>
                    </a:lnTo>
                    <a:lnTo>
                      <a:pt x="256" y="19"/>
                    </a:lnTo>
                    <a:lnTo>
                      <a:pt x="256" y="18"/>
                    </a:lnTo>
                    <a:lnTo>
                      <a:pt x="257" y="18"/>
                    </a:lnTo>
                    <a:lnTo>
                      <a:pt x="257" y="19"/>
                    </a:lnTo>
                    <a:lnTo>
                      <a:pt x="257" y="20"/>
                    </a:lnTo>
                    <a:lnTo>
                      <a:pt x="258" y="20"/>
                    </a:lnTo>
                    <a:lnTo>
                      <a:pt x="258" y="19"/>
                    </a:lnTo>
                    <a:lnTo>
                      <a:pt x="258" y="18"/>
                    </a:lnTo>
                    <a:lnTo>
                      <a:pt x="259" y="18"/>
                    </a:lnTo>
                    <a:lnTo>
                      <a:pt x="260" y="18"/>
                    </a:lnTo>
                    <a:lnTo>
                      <a:pt x="260" y="19"/>
                    </a:lnTo>
                    <a:lnTo>
                      <a:pt x="261" y="19"/>
                    </a:lnTo>
                    <a:lnTo>
                      <a:pt x="261" y="18"/>
                    </a:lnTo>
                    <a:lnTo>
                      <a:pt x="261" y="17"/>
                    </a:lnTo>
                    <a:lnTo>
                      <a:pt x="262" y="17"/>
                    </a:lnTo>
                    <a:lnTo>
                      <a:pt x="263" y="17"/>
                    </a:lnTo>
                    <a:lnTo>
                      <a:pt x="263" y="16"/>
                    </a:lnTo>
                    <a:lnTo>
                      <a:pt x="264" y="16"/>
                    </a:lnTo>
                    <a:lnTo>
                      <a:pt x="264" y="14"/>
                    </a:lnTo>
                    <a:lnTo>
                      <a:pt x="265" y="16"/>
                    </a:lnTo>
                    <a:lnTo>
                      <a:pt x="266" y="14"/>
                    </a:lnTo>
                    <a:lnTo>
                      <a:pt x="268" y="14"/>
                    </a:lnTo>
                    <a:lnTo>
                      <a:pt x="269" y="13"/>
                    </a:lnTo>
                    <a:lnTo>
                      <a:pt x="269" y="12"/>
                    </a:lnTo>
                    <a:lnTo>
                      <a:pt x="270" y="12"/>
                    </a:lnTo>
                    <a:lnTo>
                      <a:pt x="271" y="12"/>
                    </a:lnTo>
                    <a:lnTo>
                      <a:pt x="271" y="11"/>
                    </a:lnTo>
                    <a:lnTo>
                      <a:pt x="270" y="11"/>
                    </a:lnTo>
                    <a:lnTo>
                      <a:pt x="270" y="10"/>
                    </a:lnTo>
                    <a:lnTo>
                      <a:pt x="270" y="9"/>
                    </a:lnTo>
                    <a:lnTo>
                      <a:pt x="271" y="9"/>
                    </a:lnTo>
                    <a:lnTo>
                      <a:pt x="271" y="10"/>
                    </a:lnTo>
                    <a:lnTo>
                      <a:pt x="272" y="10"/>
                    </a:lnTo>
                    <a:lnTo>
                      <a:pt x="272" y="9"/>
                    </a:lnTo>
                    <a:lnTo>
                      <a:pt x="272" y="8"/>
                    </a:lnTo>
                    <a:lnTo>
                      <a:pt x="272" y="7"/>
                    </a:lnTo>
                    <a:lnTo>
                      <a:pt x="273" y="7"/>
                    </a:lnTo>
                    <a:lnTo>
                      <a:pt x="273" y="6"/>
                    </a:lnTo>
                    <a:lnTo>
                      <a:pt x="272" y="6"/>
                    </a:lnTo>
                    <a:lnTo>
                      <a:pt x="273" y="6"/>
                    </a:lnTo>
                    <a:lnTo>
                      <a:pt x="274" y="5"/>
                    </a:lnTo>
                    <a:lnTo>
                      <a:pt x="274" y="4"/>
                    </a:lnTo>
                    <a:lnTo>
                      <a:pt x="273" y="4"/>
                    </a:lnTo>
                    <a:lnTo>
                      <a:pt x="273" y="3"/>
                    </a:lnTo>
                    <a:lnTo>
                      <a:pt x="274" y="3"/>
                    </a:lnTo>
                    <a:lnTo>
                      <a:pt x="274" y="4"/>
                    </a:lnTo>
                    <a:lnTo>
                      <a:pt x="275" y="4"/>
                    </a:lnTo>
                    <a:lnTo>
                      <a:pt x="275" y="3"/>
                    </a:lnTo>
                    <a:lnTo>
                      <a:pt x="275" y="1"/>
                    </a:lnTo>
                    <a:lnTo>
                      <a:pt x="275" y="0"/>
                    </a:lnTo>
                    <a:lnTo>
                      <a:pt x="276" y="0"/>
                    </a:lnTo>
                    <a:lnTo>
                      <a:pt x="276" y="1"/>
                    </a:lnTo>
                    <a:lnTo>
                      <a:pt x="276" y="3"/>
                    </a:lnTo>
                    <a:lnTo>
                      <a:pt x="276" y="4"/>
                    </a:lnTo>
                    <a:lnTo>
                      <a:pt x="277" y="4"/>
                    </a:lnTo>
                    <a:lnTo>
                      <a:pt x="277" y="3"/>
                    </a:lnTo>
                    <a:lnTo>
                      <a:pt x="278" y="1"/>
                    </a:lnTo>
                    <a:close/>
                  </a:path>
                </a:pathLst>
              </a:custGeom>
              <a:solidFill>
                <a:srgbClr val="2272C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49" name="Freeform 277">
                <a:extLst>
                  <a:ext uri="{FF2B5EF4-FFF2-40B4-BE49-F238E27FC236}">
                    <a16:creationId xmlns:a16="http://schemas.microsoft.com/office/drawing/2014/main" id="{B0F40942-6DF2-712A-A317-A2DF59C818AB}"/>
                  </a:ext>
                </a:extLst>
              </p:cNvPr>
              <p:cNvSpPr>
                <a:spLocks/>
              </p:cNvSpPr>
              <p:nvPr/>
            </p:nvSpPr>
            <p:spPr bwMode="auto">
              <a:xfrm>
                <a:off x="2854326" y="4143375"/>
                <a:ext cx="368300" cy="388938"/>
              </a:xfrm>
              <a:custGeom>
                <a:avLst/>
                <a:gdLst>
                  <a:gd name="T0" fmla="*/ 194 w 232"/>
                  <a:gd name="T1" fmla="*/ 14 h 245"/>
                  <a:gd name="T2" fmla="*/ 195 w 232"/>
                  <a:gd name="T3" fmla="*/ 37 h 245"/>
                  <a:gd name="T4" fmla="*/ 204 w 232"/>
                  <a:gd name="T5" fmla="*/ 65 h 245"/>
                  <a:gd name="T6" fmla="*/ 194 w 232"/>
                  <a:gd name="T7" fmla="*/ 90 h 245"/>
                  <a:gd name="T8" fmla="*/ 207 w 232"/>
                  <a:gd name="T9" fmla="*/ 101 h 245"/>
                  <a:gd name="T10" fmla="*/ 203 w 232"/>
                  <a:gd name="T11" fmla="*/ 113 h 245"/>
                  <a:gd name="T12" fmla="*/ 187 w 232"/>
                  <a:gd name="T13" fmla="*/ 122 h 245"/>
                  <a:gd name="T14" fmla="*/ 186 w 232"/>
                  <a:gd name="T15" fmla="*/ 130 h 245"/>
                  <a:gd name="T16" fmla="*/ 187 w 232"/>
                  <a:gd name="T17" fmla="*/ 137 h 245"/>
                  <a:gd name="T18" fmla="*/ 192 w 232"/>
                  <a:gd name="T19" fmla="*/ 145 h 245"/>
                  <a:gd name="T20" fmla="*/ 200 w 232"/>
                  <a:gd name="T21" fmla="*/ 143 h 245"/>
                  <a:gd name="T22" fmla="*/ 203 w 232"/>
                  <a:gd name="T23" fmla="*/ 138 h 245"/>
                  <a:gd name="T24" fmla="*/ 213 w 232"/>
                  <a:gd name="T25" fmla="*/ 140 h 245"/>
                  <a:gd name="T26" fmla="*/ 223 w 232"/>
                  <a:gd name="T27" fmla="*/ 137 h 245"/>
                  <a:gd name="T28" fmla="*/ 226 w 232"/>
                  <a:gd name="T29" fmla="*/ 144 h 245"/>
                  <a:gd name="T30" fmla="*/ 230 w 232"/>
                  <a:gd name="T31" fmla="*/ 155 h 245"/>
                  <a:gd name="T32" fmla="*/ 231 w 232"/>
                  <a:gd name="T33" fmla="*/ 161 h 245"/>
                  <a:gd name="T34" fmla="*/ 215 w 232"/>
                  <a:gd name="T35" fmla="*/ 185 h 245"/>
                  <a:gd name="T36" fmla="*/ 197 w 232"/>
                  <a:gd name="T37" fmla="*/ 245 h 245"/>
                  <a:gd name="T38" fmla="*/ 137 w 232"/>
                  <a:gd name="T39" fmla="*/ 220 h 245"/>
                  <a:gd name="T40" fmla="*/ 130 w 232"/>
                  <a:gd name="T41" fmla="*/ 213 h 245"/>
                  <a:gd name="T42" fmla="*/ 127 w 232"/>
                  <a:gd name="T43" fmla="*/ 201 h 245"/>
                  <a:gd name="T44" fmla="*/ 123 w 232"/>
                  <a:gd name="T45" fmla="*/ 194 h 245"/>
                  <a:gd name="T46" fmla="*/ 120 w 232"/>
                  <a:gd name="T47" fmla="*/ 185 h 245"/>
                  <a:gd name="T48" fmla="*/ 115 w 232"/>
                  <a:gd name="T49" fmla="*/ 181 h 245"/>
                  <a:gd name="T50" fmla="*/ 104 w 232"/>
                  <a:gd name="T51" fmla="*/ 185 h 245"/>
                  <a:gd name="T52" fmla="*/ 83 w 232"/>
                  <a:gd name="T53" fmla="*/ 183 h 245"/>
                  <a:gd name="T54" fmla="*/ 47 w 232"/>
                  <a:gd name="T55" fmla="*/ 169 h 245"/>
                  <a:gd name="T56" fmla="*/ 37 w 232"/>
                  <a:gd name="T57" fmla="*/ 172 h 245"/>
                  <a:gd name="T58" fmla="*/ 27 w 232"/>
                  <a:gd name="T59" fmla="*/ 171 h 245"/>
                  <a:gd name="T60" fmla="*/ 22 w 232"/>
                  <a:gd name="T61" fmla="*/ 171 h 245"/>
                  <a:gd name="T62" fmla="*/ 16 w 232"/>
                  <a:gd name="T63" fmla="*/ 171 h 245"/>
                  <a:gd name="T64" fmla="*/ 9 w 232"/>
                  <a:gd name="T65" fmla="*/ 169 h 245"/>
                  <a:gd name="T66" fmla="*/ 1 w 232"/>
                  <a:gd name="T67" fmla="*/ 168 h 245"/>
                  <a:gd name="T68" fmla="*/ 4 w 232"/>
                  <a:gd name="T69" fmla="*/ 168 h 245"/>
                  <a:gd name="T70" fmla="*/ 7 w 232"/>
                  <a:gd name="T71" fmla="*/ 162 h 245"/>
                  <a:gd name="T72" fmla="*/ 11 w 232"/>
                  <a:gd name="T73" fmla="*/ 158 h 245"/>
                  <a:gd name="T74" fmla="*/ 19 w 232"/>
                  <a:gd name="T75" fmla="*/ 151 h 245"/>
                  <a:gd name="T76" fmla="*/ 22 w 232"/>
                  <a:gd name="T77" fmla="*/ 144 h 245"/>
                  <a:gd name="T78" fmla="*/ 23 w 232"/>
                  <a:gd name="T79" fmla="*/ 133 h 245"/>
                  <a:gd name="T80" fmla="*/ 22 w 232"/>
                  <a:gd name="T81" fmla="*/ 125 h 245"/>
                  <a:gd name="T82" fmla="*/ 29 w 232"/>
                  <a:gd name="T83" fmla="*/ 116 h 245"/>
                  <a:gd name="T84" fmla="*/ 37 w 232"/>
                  <a:gd name="T85" fmla="*/ 113 h 245"/>
                  <a:gd name="T86" fmla="*/ 45 w 232"/>
                  <a:gd name="T87" fmla="*/ 111 h 245"/>
                  <a:gd name="T88" fmla="*/ 65 w 232"/>
                  <a:gd name="T89" fmla="*/ 99 h 245"/>
                  <a:gd name="T90" fmla="*/ 87 w 232"/>
                  <a:gd name="T91" fmla="*/ 69 h 245"/>
                  <a:gd name="T92" fmla="*/ 120 w 232"/>
                  <a:gd name="T93" fmla="*/ 36 h 245"/>
                  <a:gd name="T94" fmla="*/ 121 w 232"/>
                  <a:gd name="T95" fmla="*/ 27 h 245"/>
                  <a:gd name="T96" fmla="*/ 123 w 232"/>
                  <a:gd name="T97" fmla="*/ 19 h 245"/>
                  <a:gd name="T98" fmla="*/ 128 w 232"/>
                  <a:gd name="T99" fmla="*/ 10 h 245"/>
                  <a:gd name="T100" fmla="*/ 135 w 232"/>
                  <a:gd name="T101" fmla="*/ 8 h 245"/>
                  <a:gd name="T102" fmla="*/ 140 w 232"/>
                  <a:gd name="T103" fmla="*/ 3 h 245"/>
                  <a:gd name="T104" fmla="*/ 146 w 232"/>
                  <a:gd name="T105" fmla="*/ 3 h 245"/>
                  <a:gd name="T106" fmla="*/ 149 w 232"/>
                  <a:gd name="T107" fmla="*/ 9 h 245"/>
                  <a:gd name="T108" fmla="*/ 156 w 232"/>
                  <a:gd name="T109" fmla="*/ 15 h 245"/>
                  <a:gd name="T110" fmla="*/ 163 w 232"/>
                  <a:gd name="T111" fmla="*/ 10 h 245"/>
                  <a:gd name="T112" fmla="*/ 169 w 232"/>
                  <a:gd name="T113" fmla="*/ 10 h 245"/>
                  <a:gd name="T114" fmla="*/ 176 w 232"/>
                  <a:gd name="T115"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45">
                    <a:moveTo>
                      <a:pt x="181" y="9"/>
                    </a:moveTo>
                    <a:lnTo>
                      <a:pt x="181" y="10"/>
                    </a:lnTo>
                    <a:lnTo>
                      <a:pt x="182" y="10"/>
                    </a:lnTo>
                    <a:lnTo>
                      <a:pt x="184" y="10"/>
                    </a:lnTo>
                    <a:lnTo>
                      <a:pt x="185" y="10"/>
                    </a:lnTo>
                    <a:lnTo>
                      <a:pt x="186" y="10"/>
                    </a:lnTo>
                    <a:lnTo>
                      <a:pt x="187" y="10"/>
                    </a:lnTo>
                    <a:lnTo>
                      <a:pt x="188" y="11"/>
                    </a:lnTo>
                    <a:lnTo>
                      <a:pt x="188" y="13"/>
                    </a:lnTo>
                    <a:lnTo>
                      <a:pt x="194" y="14"/>
                    </a:lnTo>
                    <a:lnTo>
                      <a:pt x="195" y="14"/>
                    </a:lnTo>
                    <a:lnTo>
                      <a:pt x="203" y="16"/>
                    </a:lnTo>
                    <a:lnTo>
                      <a:pt x="204" y="22"/>
                    </a:lnTo>
                    <a:lnTo>
                      <a:pt x="204" y="23"/>
                    </a:lnTo>
                    <a:lnTo>
                      <a:pt x="201" y="26"/>
                    </a:lnTo>
                    <a:lnTo>
                      <a:pt x="202" y="30"/>
                    </a:lnTo>
                    <a:lnTo>
                      <a:pt x="203" y="30"/>
                    </a:lnTo>
                    <a:lnTo>
                      <a:pt x="202" y="34"/>
                    </a:lnTo>
                    <a:lnTo>
                      <a:pt x="197" y="37"/>
                    </a:lnTo>
                    <a:lnTo>
                      <a:pt x="195" y="37"/>
                    </a:lnTo>
                    <a:lnTo>
                      <a:pt x="195" y="40"/>
                    </a:lnTo>
                    <a:lnTo>
                      <a:pt x="195" y="41"/>
                    </a:lnTo>
                    <a:lnTo>
                      <a:pt x="195" y="42"/>
                    </a:lnTo>
                    <a:lnTo>
                      <a:pt x="195" y="43"/>
                    </a:lnTo>
                    <a:lnTo>
                      <a:pt x="197" y="43"/>
                    </a:lnTo>
                    <a:lnTo>
                      <a:pt x="198" y="48"/>
                    </a:lnTo>
                    <a:lnTo>
                      <a:pt x="202" y="52"/>
                    </a:lnTo>
                    <a:lnTo>
                      <a:pt x="202" y="53"/>
                    </a:lnTo>
                    <a:lnTo>
                      <a:pt x="204" y="62"/>
                    </a:lnTo>
                    <a:lnTo>
                      <a:pt x="204" y="65"/>
                    </a:lnTo>
                    <a:lnTo>
                      <a:pt x="205" y="71"/>
                    </a:lnTo>
                    <a:lnTo>
                      <a:pt x="205" y="73"/>
                    </a:lnTo>
                    <a:lnTo>
                      <a:pt x="205" y="74"/>
                    </a:lnTo>
                    <a:lnTo>
                      <a:pt x="204" y="75"/>
                    </a:lnTo>
                    <a:lnTo>
                      <a:pt x="195" y="82"/>
                    </a:lnTo>
                    <a:lnTo>
                      <a:pt x="189" y="85"/>
                    </a:lnTo>
                    <a:lnTo>
                      <a:pt x="189" y="86"/>
                    </a:lnTo>
                    <a:lnTo>
                      <a:pt x="193" y="86"/>
                    </a:lnTo>
                    <a:lnTo>
                      <a:pt x="194" y="87"/>
                    </a:lnTo>
                    <a:lnTo>
                      <a:pt x="194" y="90"/>
                    </a:lnTo>
                    <a:lnTo>
                      <a:pt x="194" y="92"/>
                    </a:lnTo>
                    <a:lnTo>
                      <a:pt x="193" y="94"/>
                    </a:lnTo>
                    <a:lnTo>
                      <a:pt x="197" y="99"/>
                    </a:lnTo>
                    <a:lnTo>
                      <a:pt x="197" y="100"/>
                    </a:lnTo>
                    <a:lnTo>
                      <a:pt x="200" y="103"/>
                    </a:lnTo>
                    <a:lnTo>
                      <a:pt x="203" y="101"/>
                    </a:lnTo>
                    <a:lnTo>
                      <a:pt x="204" y="101"/>
                    </a:lnTo>
                    <a:lnTo>
                      <a:pt x="205" y="101"/>
                    </a:lnTo>
                    <a:lnTo>
                      <a:pt x="206" y="101"/>
                    </a:lnTo>
                    <a:lnTo>
                      <a:pt x="207" y="101"/>
                    </a:lnTo>
                    <a:lnTo>
                      <a:pt x="208" y="103"/>
                    </a:lnTo>
                    <a:lnTo>
                      <a:pt x="210" y="103"/>
                    </a:lnTo>
                    <a:lnTo>
                      <a:pt x="208" y="106"/>
                    </a:lnTo>
                    <a:lnTo>
                      <a:pt x="210" y="107"/>
                    </a:lnTo>
                    <a:lnTo>
                      <a:pt x="208" y="110"/>
                    </a:lnTo>
                    <a:lnTo>
                      <a:pt x="207" y="110"/>
                    </a:lnTo>
                    <a:lnTo>
                      <a:pt x="206" y="109"/>
                    </a:lnTo>
                    <a:lnTo>
                      <a:pt x="205" y="111"/>
                    </a:lnTo>
                    <a:lnTo>
                      <a:pt x="203" y="111"/>
                    </a:lnTo>
                    <a:lnTo>
                      <a:pt x="203" y="113"/>
                    </a:lnTo>
                    <a:lnTo>
                      <a:pt x="202" y="116"/>
                    </a:lnTo>
                    <a:lnTo>
                      <a:pt x="200" y="120"/>
                    </a:lnTo>
                    <a:lnTo>
                      <a:pt x="199" y="120"/>
                    </a:lnTo>
                    <a:lnTo>
                      <a:pt x="197" y="120"/>
                    </a:lnTo>
                    <a:lnTo>
                      <a:pt x="195" y="119"/>
                    </a:lnTo>
                    <a:lnTo>
                      <a:pt x="193" y="120"/>
                    </a:lnTo>
                    <a:lnTo>
                      <a:pt x="191" y="121"/>
                    </a:lnTo>
                    <a:lnTo>
                      <a:pt x="189" y="121"/>
                    </a:lnTo>
                    <a:lnTo>
                      <a:pt x="188" y="122"/>
                    </a:lnTo>
                    <a:lnTo>
                      <a:pt x="187" y="122"/>
                    </a:lnTo>
                    <a:lnTo>
                      <a:pt x="188" y="122"/>
                    </a:lnTo>
                    <a:lnTo>
                      <a:pt x="188" y="123"/>
                    </a:lnTo>
                    <a:lnTo>
                      <a:pt x="189" y="123"/>
                    </a:lnTo>
                    <a:lnTo>
                      <a:pt x="188" y="124"/>
                    </a:lnTo>
                    <a:lnTo>
                      <a:pt x="187" y="124"/>
                    </a:lnTo>
                    <a:lnTo>
                      <a:pt x="187" y="125"/>
                    </a:lnTo>
                    <a:lnTo>
                      <a:pt x="187" y="127"/>
                    </a:lnTo>
                    <a:lnTo>
                      <a:pt x="187" y="129"/>
                    </a:lnTo>
                    <a:lnTo>
                      <a:pt x="187" y="130"/>
                    </a:lnTo>
                    <a:lnTo>
                      <a:pt x="186" y="130"/>
                    </a:lnTo>
                    <a:lnTo>
                      <a:pt x="187" y="131"/>
                    </a:lnTo>
                    <a:lnTo>
                      <a:pt x="187" y="132"/>
                    </a:lnTo>
                    <a:lnTo>
                      <a:pt x="187" y="133"/>
                    </a:lnTo>
                    <a:lnTo>
                      <a:pt x="187" y="134"/>
                    </a:lnTo>
                    <a:lnTo>
                      <a:pt x="188" y="134"/>
                    </a:lnTo>
                    <a:lnTo>
                      <a:pt x="187" y="134"/>
                    </a:lnTo>
                    <a:lnTo>
                      <a:pt x="188" y="135"/>
                    </a:lnTo>
                    <a:lnTo>
                      <a:pt x="187" y="135"/>
                    </a:lnTo>
                    <a:lnTo>
                      <a:pt x="187" y="136"/>
                    </a:lnTo>
                    <a:lnTo>
                      <a:pt x="187" y="137"/>
                    </a:lnTo>
                    <a:lnTo>
                      <a:pt x="187" y="138"/>
                    </a:lnTo>
                    <a:lnTo>
                      <a:pt x="187" y="139"/>
                    </a:lnTo>
                    <a:lnTo>
                      <a:pt x="187" y="140"/>
                    </a:lnTo>
                    <a:lnTo>
                      <a:pt x="187" y="142"/>
                    </a:lnTo>
                    <a:lnTo>
                      <a:pt x="188" y="142"/>
                    </a:lnTo>
                    <a:lnTo>
                      <a:pt x="188" y="143"/>
                    </a:lnTo>
                    <a:lnTo>
                      <a:pt x="189" y="144"/>
                    </a:lnTo>
                    <a:lnTo>
                      <a:pt x="190" y="145"/>
                    </a:lnTo>
                    <a:lnTo>
                      <a:pt x="191" y="145"/>
                    </a:lnTo>
                    <a:lnTo>
                      <a:pt x="192" y="145"/>
                    </a:lnTo>
                    <a:lnTo>
                      <a:pt x="193" y="145"/>
                    </a:lnTo>
                    <a:lnTo>
                      <a:pt x="194" y="145"/>
                    </a:lnTo>
                    <a:lnTo>
                      <a:pt x="195" y="145"/>
                    </a:lnTo>
                    <a:lnTo>
                      <a:pt x="197" y="145"/>
                    </a:lnTo>
                    <a:lnTo>
                      <a:pt x="197" y="146"/>
                    </a:lnTo>
                    <a:lnTo>
                      <a:pt x="198" y="146"/>
                    </a:lnTo>
                    <a:lnTo>
                      <a:pt x="198" y="145"/>
                    </a:lnTo>
                    <a:lnTo>
                      <a:pt x="198" y="144"/>
                    </a:lnTo>
                    <a:lnTo>
                      <a:pt x="199" y="144"/>
                    </a:lnTo>
                    <a:lnTo>
                      <a:pt x="200" y="143"/>
                    </a:lnTo>
                    <a:lnTo>
                      <a:pt x="201" y="143"/>
                    </a:lnTo>
                    <a:lnTo>
                      <a:pt x="202" y="143"/>
                    </a:lnTo>
                    <a:lnTo>
                      <a:pt x="202" y="142"/>
                    </a:lnTo>
                    <a:lnTo>
                      <a:pt x="203" y="142"/>
                    </a:lnTo>
                    <a:lnTo>
                      <a:pt x="202" y="140"/>
                    </a:lnTo>
                    <a:lnTo>
                      <a:pt x="203" y="139"/>
                    </a:lnTo>
                    <a:lnTo>
                      <a:pt x="202" y="139"/>
                    </a:lnTo>
                    <a:lnTo>
                      <a:pt x="202" y="138"/>
                    </a:lnTo>
                    <a:lnTo>
                      <a:pt x="202" y="137"/>
                    </a:lnTo>
                    <a:lnTo>
                      <a:pt x="203" y="138"/>
                    </a:lnTo>
                    <a:lnTo>
                      <a:pt x="204" y="138"/>
                    </a:lnTo>
                    <a:lnTo>
                      <a:pt x="205" y="138"/>
                    </a:lnTo>
                    <a:lnTo>
                      <a:pt x="205" y="139"/>
                    </a:lnTo>
                    <a:lnTo>
                      <a:pt x="206" y="139"/>
                    </a:lnTo>
                    <a:lnTo>
                      <a:pt x="207" y="139"/>
                    </a:lnTo>
                    <a:lnTo>
                      <a:pt x="208" y="139"/>
                    </a:lnTo>
                    <a:lnTo>
                      <a:pt x="208" y="140"/>
                    </a:lnTo>
                    <a:lnTo>
                      <a:pt x="211" y="140"/>
                    </a:lnTo>
                    <a:lnTo>
                      <a:pt x="212" y="140"/>
                    </a:lnTo>
                    <a:lnTo>
                      <a:pt x="213" y="140"/>
                    </a:lnTo>
                    <a:lnTo>
                      <a:pt x="214" y="140"/>
                    </a:lnTo>
                    <a:lnTo>
                      <a:pt x="215" y="140"/>
                    </a:lnTo>
                    <a:lnTo>
                      <a:pt x="216" y="140"/>
                    </a:lnTo>
                    <a:lnTo>
                      <a:pt x="217" y="140"/>
                    </a:lnTo>
                    <a:lnTo>
                      <a:pt x="217" y="139"/>
                    </a:lnTo>
                    <a:lnTo>
                      <a:pt x="218" y="139"/>
                    </a:lnTo>
                    <a:lnTo>
                      <a:pt x="219" y="139"/>
                    </a:lnTo>
                    <a:lnTo>
                      <a:pt x="220" y="138"/>
                    </a:lnTo>
                    <a:lnTo>
                      <a:pt x="221" y="137"/>
                    </a:lnTo>
                    <a:lnTo>
                      <a:pt x="223" y="137"/>
                    </a:lnTo>
                    <a:lnTo>
                      <a:pt x="223" y="138"/>
                    </a:lnTo>
                    <a:lnTo>
                      <a:pt x="224" y="138"/>
                    </a:lnTo>
                    <a:lnTo>
                      <a:pt x="224" y="139"/>
                    </a:lnTo>
                    <a:lnTo>
                      <a:pt x="225" y="139"/>
                    </a:lnTo>
                    <a:lnTo>
                      <a:pt x="225" y="140"/>
                    </a:lnTo>
                    <a:lnTo>
                      <a:pt x="226" y="140"/>
                    </a:lnTo>
                    <a:lnTo>
                      <a:pt x="226" y="142"/>
                    </a:lnTo>
                    <a:lnTo>
                      <a:pt x="225" y="143"/>
                    </a:lnTo>
                    <a:lnTo>
                      <a:pt x="226" y="143"/>
                    </a:lnTo>
                    <a:lnTo>
                      <a:pt x="226" y="144"/>
                    </a:lnTo>
                    <a:lnTo>
                      <a:pt x="227" y="145"/>
                    </a:lnTo>
                    <a:lnTo>
                      <a:pt x="228" y="147"/>
                    </a:lnTo>
                    <a:lnTo>
                      <a:pt x="228" y="148"/>
                    </a:lnTo>
                    <a:lnTo>
                      <a:pt x="229" y="148"/>
                    </a:lnTo>
                    <a:lnTo>
                      <a:pt x="229" y="149"/>
                    </a:lnTo>
                    <a:lnTo>
                      <a:pt x="230" y="150"/>
                    </a:lnTo>
                    <a:lnTo>
                      <a:pt x="231" y="151"/>
                    </a:lnTo>
                    <a:lnTo>
                      <a:pt x="231" y="152"/>
                    </a:lnTo>
                    <a:lnTo>
                      <a:pt x="230" y="153"/>
                    </a:lnTo>
                    <a:lnTo>
                      <a:pt x="230" y="155"/>
                    </a:lnTo>
                    <a:lnTo>
                      <a:pt x="229" y="155"/>
                    </a:lnTo>
                    <a:lnTo>
                      <a:pt x="228" y="155"/>
                    </a:lnTo>
                    <a:lnTo>
                      <a:pt x="228" y="156"/>
                    </a:lnTo>
                    <a:lnTo>
                      <a:pt x="228" y="157"/>
                    </a:lnTo>
                    <a:lnTo>
                      <a:pt x="229" y="158"/>
                    </a:lnTo>
                    <a:lnTo>
                      <a:pt x="229" y="159"/>
                    </a:lnTo>
                    <a:lnTo>
                      <a:pt x="230" y="159"/>
                    </a:lnTo>
                    <a:lnTo>
                      <a:pt x="230" y="160"/>
                    </a:lnTo>
                    <a:lnTo>
                      <a:pt x="230" y="161"/>
                    </a:lnTo>
                    <a:lnTo>
                      <a:pt x="231" y="161"/>
                    </a:lnTo>
                    <a:lnTo>
                      <a:pt x="232" y="160"/>
                    </a:lnTo>
                    <a:lnTo>
                      <a:pt x="232" y="161"/>
                    </a:lnTo>
                    <a:lnTo>
                      <a:pt x="231" y="162"/>
                    </a:lnTo>
                    <a:lnTo>
                      <a:pt x="231" y="163"/>
                    </a:lnTo>
                    <a:lnTo>
                      <a:pt x="230" y="163"/>
                    </a:lnTo>
                    <a:lnTo>
                      <a:pt x="230" y="164"/>
                    </a:lnTo>
                    <a:lnTo>
                      <a:pt x="221" y="175"/>
                    </a:lnTo>
                    <a:lnTo>
                      <a:pt x="219" y="178"/>
                    </a:lnTo>
                    <a:lnTo>
                      <a:pt x="217" y="183"/>
                    </a:lnTo>
                    <a:lnTo>
                      <a:pt x="215" y="185"/>
                    </a:lnTo>
                    <a:lnTo>
                      <a:pt x="211" y="200"/>
                    </a:lnTo>
                    <a:lnTo>
                      <a:pt x="208" y="206"/>
                    </a:lnTo>
                    <a:lnTo>
                      <a:pt x="207" y="209"/>
                    </a:lnTo>
                    <a:lnTo>
                      <a:pt x="207" y="210"/>
                    </a:lnTo>
                    <a:lnTo>
                      <a:pt x="205" y="216"/>
                    </a:lnTo>
                    <a:lnTo>
                      <a:pt x="204" y="219"/>
                    </a:lnTo>
                    <a:lnTo>
                      <a:pt x="201" y="229"/>
                    </a:lnTo>
                    <a:lnTo>
                      <a:pt x="198" y="241"/>
                    </a:lnTo>
                    <a:lnTo>
                      <a:pt x="197" y="244"/>
                    </a:lnTo>
                    <a:lnTo>
                      <a:pt x="197" y="245"/>
                    </a:lnTo>
                    <a:lnTo>
                      <a:pt x="193" y="242"/>
                    </a:lnTo>
                    <a:lnTo>
                      <a:pt x="191" y="242"/>
                    </a:lnTo>
                    <a:lnTo>
                      <a:pt x="181" y="238"/>
                    </a:lnTo>
                    <a:lnTo>
                      <a:pt x="178" y="236"/>
                    </a:lnTo>
                    <a:lnTo>
                      <a:pt x="175" y="235"/>
                    </a:lnTo>
                    <a:lnTo>
                      <a:pt x="161" y="229"/>
                    </a:lnTo>
                    <a:lnTo>
                      <a:pt x="146" y="223"/>
                    </a:lnTo>
                    <a:lnTo>
                      <a:pt x="139" y="220"/>
                    </a:lnTo>
                    <a:lnTo>
                      <a:pt x="138" y="220"/>
                    </a:lnTo>
                    <a:lnTo>
                      <a:pt x="137" y="220"/>
                    </a:lnTo>
                    <a:lnTo>
                      <a:pt x="136" y="220"/>
                    </a:lnTo>
                    <a:lnTo>
                      <a:pt x="136" y="219"/>
                    </a:lnTo>
                    <a:lnTo>
                      <a:pt x="135" y="219"/>
                    </a:lnTo>
                    <a:lnTo>
                      <a:pt x="134" y="217"/>
                    </a:lnTo>
                    <a:lnTo>
                      <a:pt x="133" y="216"/>
                    </a:lnTo>
                    <a:lnTo>
                      <a:pt x="133" y="215"/>
                    </a:lnTo>
                    <a:lnTo>
                      <a:pt x="133" y="214"/>
                    </a:lnTo>
                    <a:lnTo>
                      <a:pt x="132" y="214"/>
                    </a:lnTo>
                    <a:lnTo>
                      <a:pt x="132" y="213"/>
                    </a:lnTo>
                    <a:lnTo>
                      <a:pt x="130" y="213"/>
                    </a:lnTo>
                    <a:lnTo>
                      <a:pt x="129" y="212"/>
                    </a:lnTo>
                    <a:lnTo>
                      <a:pt x="130" y="210"/>
                    </a:lnTo>
                    <a:lnTo>
                      <a:pt x="129" y="209"/>
                    </a:lnTo>
                    <a:lnTo>
                      <a:pt x="129" y="208"/>
                    </a:lnTo>
                    <a:lnTo>
                      <a:pt x="129" y="207"/>
                    </a:lnTo>
                    <a:lnTo>
                      <a:pt x="129" y="206"/>
                    </a:lnTo>
                    <a:lnTo>
                      <a:pt x="128" y="204"/>
                    </a:lnTo>
                    <a:lnTo>
                      <a:pt x="128" y="203"/>
                    </a:lnTo>
                    <a:lnTo>
                      <a:pt x="128" y="202"/>
                    </a:lnTo>
                    <a:lnTo>
                      <a:pt x="127" y="201"/>
                    </a:lnTo>
                    <a:lnTo>
                      <a:pt x="127" y="200"/>
                    </a:lnTo>
                    <a:lnTo>
                      <a:pt x="127" y="199"/>
                    </a:lnTo>
                    <a:lnTo>
                      <a:pt x="127" y="198"/>
                    </a:lnTo>
                    <a:lnTo>
                      <a:pt x="126" y="198"/>
                    </a:lnTo>
                    <a:lnTo>
                      <a:pt x="126" y="197"/>
                    </a:lnTo>
                    <a:lnTo>
                      <a:pt x="125" y="197"/>
                    </a:lnTo>
                    <a:lnTo>
                      <a:pt x="125" y="196"/>
                    </a:lnTo>
                    <a:lnTo>
                      <a:pt x="125" y="195"/>
                    </a:lnTo>
                    <a:lnTo>
                      <a:pt x="124" y="195"/>
                    </a:lnTo>
                    <a:lnTo>
                      <a:pt x="123" y="194"/>
                    </a:lnTo>
                    <a:lnTo>
                      <a:pt x="122" y="194"/>
                    </a:lnTo>
                    <a:lnTo>
                      <a:pt x="121" y="193"/>
                    </a:lnTo>
                    <a:lnTo>
                      <a:pt x="121" y="191"/>
                    </a:lnTo>
                    <a:lnTo>
                      <a:pt x="120" y="191"/>
                    </a:lnTo>
                    <a:lnTo>
                      <a:pt x="120" y="190"/>
                    </a:lnTo>
                    <a:lnTo>
                      <a:pt x="120" y="189"/>
                    </a:lnTo>
                    <a:lnTo>
                      <a:pt x="120" y="188"/>
                    </a:lnTo>
                    <a:lnTo>
                      <a:pt x="119" y="187"/>
                    </a:lnTo>
                    <a:lnTo>
                      <a:pt x="119" y="186"/>
                    </a:lnTo>
                    <a:lnTo>
                      <a:pt x="120" y="185"/>
                    </a:lnTo>
                    <a:lnTo>
                      <a:pt x="121" y="183"/>
                    </a:lnTo>
                    <a:lnTo>
                      <a:pt x="122" y="182"/>
                    </a:lnTo>
                    <a:lnTo>
                      <a:pt x="122" y="181"/>
                    </a:lnTo>
                    <a:lnTo>
                      <a:pt x="121" y="181"/>
                    </a:lnTo>
                    <a:lnTo>
                      <a:pt x="121" y="180"/>
                    </a:lnTo>
                    <a:lnTo>
                      <a:pt x="120" y="180"/>
                    </a:lnTo>
                    <a:lnTo>
                      <a:pt x="119" y="181"/>
                    </a:lnTo>
                    <a:lnTo>
                      <a:pt x="117" y="181"/>
                    </a:lnTo>
                    <a:lnTo>
                      <a:pt x="116" y="181"/>
                    </a:lnTo>
                    <a:lnTo>
                      <a:pt x="115" y="181"/>
                    </a:lnTo>
                    <a:lnTo>
                      <a:pt x="114" y="182"/>
                    </a:lnTo>
                    <a:lnTo>
                      <a:pt x="113" y="183"/>
                    </a:lnTo>
                    <a:lnTo>
                      <a:pt x="112" y="183"/>
                    </a:lnTo>
                    <a:lnTo>
                      <a:pt x="111" y="183"/>
                    </a:lnTo>
                    <a:lnTo>
                      <a:pt x="110" y="183"/>
                    </a:lnTo>
                    <a:lnTo>
                      <a:pt x="109" y="184"/>
                    </a:lnTo>
                    <a:lnTo>
                      <a:pt x="108" y="185"/>
                    </a:lnTo>
                    <a:lnTo>
                      <a:pt x="107" y="185"/>
                    </a:lnTo>
                    <a:lnTo>
                      <a:pt x="106" y="185"/>
                    </a:lnTo>
                    <a:lnTo>
                      <a:pt x="104" y="185"/>
                    </a:lnTo>
                    <a:lnTo>
                      <a:pt x="103" y="185"/>
                    </a:lnTo>
                    <a:lnTo>
                      <a:pt x="102" y="185"/>
                    </a:lnTo>
                    <a:lnTo>
                      <a:pt x="101" y="184"/>
                    </a:lnTo>
                    <a:lnTo>
                      <a:pt x="100" y="186"/>
                    </a:lnTo>
                    <a:lnTo>
                      <a:pt x="98" y="187"/>
                    </a:lnTo>
                    <a:lnTo>
                      <a:pt x="96" y="188"/>
                    </a:lnTo>
                    <a:lnTo>
                      <a:pt x="94" y="187"/>
                    </a:lnTo>
                    <a:lnTo>
                      <a:pt x="88" y="185"/>
                    </a:lnTo>
                    <a:lnTo>
                      <a:pt x="84" y="183"/>
                    </a:lnTo>
                    <a:lnTo>
                      <a:pt x="83" y="183"/>
                    </a:lnTo>
                    <a:lnTo>
                      <a:pt x="77" y="181"/>
                    </a:lnTo>
                    <a:lnTo>
                      <a:pt x="74" y="180"/>
                    </a:lnTo>
                    <a:lnTo>
                      <a:pt x="71" y="178"/>
                    </a:lnTo>
                    <a:lnTo>
                      <a:pt x="59" y="173"/>
                    </a:lnTo>
                    <a:lnTo>
                      <a:pt x="57" y="172"/>
                    </a:lnTo>
                    <a:lnTo>
                      <a:pt x="50" y="169"/>
                    </a:lnTo>
                    <a:lnTo>
                      <a:pt x="50" y="170"/>
                    </a:lnTo>
                    <a:lnTo>
                      <a:pt x="49" y="170"/>
                    </a:lnTo>
                    <a:lnTo>
                      <a:pt x="48" y="170"/>
                    </a:lnTo>
                    <a:lnTo>
                      <a:pt x="47" y="169"/>
                    </a:lnTo>
                    <a:lnTo>
                      <a:pt x="46" y="169"/>
                    </a:lnTo>
                    <a:lnTo>
                      <a:pt x="46" y="170"/>
                    </a:lnTo>
                    <a:lnTo>
                      <a:pt x="45" y="170"/>
                    </a:lnTo>
                    <a:lnTo>
                      <a:pt x="44" y="171"/>
                    </a:lnTo>
                    <a:lnTo>
                      <a:pt x="43" y="171"/>
                    </a:lnTo>
                    <a:lnTo>
                      <a:pt x="42" y="171"/>
                    </a:lnTo>
                    <a:lnTo>
                      <a:pt x="40" y="172"/>
                    </a:lnTo>
                    <a:lnTo>
                      <a:pt x="39" y="172"/>
                    </a:lnTo>
                    <a:lnTo>
                      <a:pt x="38" y="172"/>
                    </a:lnTo>
                    <a:lnTo>
                      <a:pt x="37" y="172"/>
                    </a:lnTo>
                    <a:lnTo>
                      <a:pt x="37" y="173"/>
                    </a:lnTo>
                    <a:lnTo>
                      <a:pt x="36" y="173"/>
                    </a:lnTo>
                    <a:lnTo>
                      <a:pt x="35" y="173"/>
                    </a:lnTo>
                    <a:lnTo>
                      <a:pt x="35" y="172"/>
                    </a:lnTo>
                    <a:lnTo>
                      <a:pt x="34" y="172"/>
                    </a:lnTo>
                    <a:lnTo>
                      <a:pt x="33" y="172"/>
                    </a:lnTo>
                    <a:lnTo>
                      <a:pt x="32" y="172"/>
                    </a:lnTo>
                    <a:lnTo>
                      <a:pt x="31" y="172"/>
                    </a:lnTo>
                    <a:lnTo>
                      <a:pt x="30" y="171"/>
                    </a:lnTo>
                    <a:lnTo>
                      <a:pt x="27" y="171"/>
                    </a:lnTo>
                    <a:lnTo>
                      <a:pt x="27" y="170"/>
                    </a:lnTo>
                    <a:lnTo>
                      <a:pt x="27" y="169"/>
                    </a:lnTo>
                    <a:lnTo>
                      <a:pt x="26" y="169"/>
                    </a:lnTo>
                    <a:lnTo>
                      <a:pt x="25" y="169"/>
                    </a:lnTo>
                    <a:lnTo>
                      <a:pt x="25" y="168"/>
                    </a:lnTo>
                    <a:lnTo>
                      <a:pt x="24" y="169"/>
                    </a:lnTo>
                    <a:lnTo>
                      <a:pt x="23" y="169"/>
                    </a:lnTo>
                    <a:lnTo>
                      <a:pt x="23" y="170"/>
                    </a:lnTo>
                    <a:lnTo>
                      <a:pt x="23" y="171"/>
                    </a:lnTo>
                    <a:lnTo>
                      <a:pt x="22" y="171"/>
                    </a:lnTo>
                    <a:lnTo>
                      <a:pt x="21" y="171"/>
                    </a:lnTo>
                    <a:lnTo>
                      <a:pt x="21" y="172"/>
                    </a:lnTo>
                    <a:lnTo>
                      <a:pt x="20" y="171"/>
                    </a:lnTo>
                    <a:lnTo>
                      <a:pt x="19" y="172"/>
                    </a:lnTo>
                    <a:lnTo>
                      <a:pt x="18" y="172"/>
                    </a:lnTo>
                    <a:lnTo>
                      <a:pt x="18" y="171"/>
                    </a:lnTo>
                    <a:lnTo>
                      <a:pt x="18" y="172"/>
                    </a:lnTo>
                    <a:lnTo>
                      <a:pt x="17" y="171"/>
                    </a:lnTo>
                    <a:lnTo>
                      <a:pt x="16" y="172"/>
                    </a:lnTo>
                    <a:lnTo>
                      <a:pt x="16" y="171"/>
                    </a:lnTo>
                    <a:lnTo>
                      <a:pt x="14" y="171"/>
                    </a:lnTo>
                    <a:lnTo>
                      <a:pt x="14" y="170"/>
                    </a:lnTo>
                    <a:lnTo>
                      <a:pt x="14" y="169"/>
                    </a:lnTo>
                    <a:lnTo>
                      <a:pt x="13" y="169"/>
                    </a:lnTo>
                    <a:lnTo>
                      <a:pt x="13" y="168"/>
                    </a:lnTo>
                    <a:lnTo>
                      <a:pt x="13" y="169"/>
                    </a:lnTo>
                    <a:lnTo>
                      <a:pt x="12" y="169"/>
                    </a:lnTo>
                    <a:lnTo>
                      <a:pt x="11" y="169"/>
                    </a:lnTo>
                    <a:lnTo>
                      <a:pt x="10" y="169"/>
                    </a:lnTo>
                    <a:lnTo>
                      <a:pt x="9" y="169"/>
                    </a:lnTo>
                    <a:lnTo>
                      <a:pt x="8" y="169"/>
                    </a:lnTo>
                    <a:lnTo>
                      <a:pt x="8" y="170"/>
                    </a:lnTo>
                    <a:lnTo>
                      <a:pt x="8" y="171"/>
                    </a:lnTo>
                    <a:lnTo>
                      <a:pt x="7" y="171"/>
                    </a:lnTo>
                    <a:lnTo>
                      <a:pt x="6" y="171"/>
                    </a:lnTo>
                    <a:lnTo>
                      <a:pt x="5" y="170"/>
                    </a:lnTo>
                    <a:lnTo>
                      <a:pt x="4" y="170"/>
                    </a:lnTo>
                    <a:lnTo>
                      <a:pt x="3" y="170"/>
                    </a:lnTo>
                    <a:lnTo>
                      <a:pt x="3" y="169"/>
                    </a:lnTo>
                    <a:lnTo>
                      <a:pt x="1" y="168"/>
                    </a:lnTo>
                    <a:lnTo>
                      <a:pt x="1" y="169"/>
                    </a:lnTo>
                    <a:lnTo>
                      <a:pt x="0" y="169"/>
                    </a:lnTo>
                    <a:lnTo>
                      <a:pt x="0" y="168"/>
                    </a:lnTo>
                    <a:lnTo>
                      <a:pt x="0" y="167"/>
                    </a:lnTo>
                    <a:lnTo>
                      <a:pt x="0" y="165"/>
                    </a:lnTo>
                    <a:lnTo>
                      <a:pt x="1" y="165"/>
                    </a:lnTo>
                    <a:lnTo>
                      <a:pt x="3" y="165"/>
                    </a:lnTo>
                    <a:lnTo>
                      <a:pt x="3" y="167"/>
                    </a:lnTo>
                    <a:lnTo>
                      <a:pt x="3" y="168"/>
                    </a:lnTo>
                    <a:lnTo>
                      <a:pt x="4" y="168"/>
                    </a:lnTo>
                    <a:lnTo>
                      <a:pt x="4" y="167"/>
                    </a:lnTo>
                    <a:lnTo>
                      <a:pt x="5" y="167"/>
                    </a:lnTo>
                    <a:lnTo>
                      <a:pt x="6" y="167"/>
                    </a:lnTo>
                    <a:lnTo>
                      <a:pt x="7" y="167"/>
                    </a:lnTo>
                    <a:lnTo>
                      <a:pt x="6" y="165"/>
                    </a:lnTo>
                    <a:lnTo>
                      <a:pt x="5" y="164"/>
                    </a:lnTo>
                    <a:lnTo>
                      <a:pt x="6" y="164"/>
                    </a:lnTo>
                    <a:lnTo>
                      <a:pt x="7" y="163"/>
                    </a:lnTo>
                    <a:lnTo>
                      <a:pt x="8" y="163"/>
                    </a:lnTo>
                    <a:lnTo>
                      <a:pt x="7" y="162"/>
                    </a:lnTo>
                    <a:lnTo>
                      <a:pt x="8" y="162"/>
                    </a:lnTo>
                    <a:lnTo>
                      <a:pt x="8" y="161"/>
                    </a:lnTo>
                    <a:lnTo>
                      <a:pt x="9" y="161"/>
                    </a:lnTo>
                    <a:lnTo>
                      <a:pt x="9" y="160"/>
                    </a:lnTo>
                    <a:lnTo>
                      <a:pt x="9" y="161"/>
                    </a:lnTo>
                    <a:lnTo>
                      <a:pt x="10" y="161"/>
                    </a:lnTo>
                    <a:lnTo>
                      <a:pt x="10" y="160"/>
                    </a:lnTo>
                    <a:lnTo>
                      <a:pt x="11" y="160"/>
                    </a:lnTo>
                    <a:lnTo>
                      <a:pt x="11" y="159"/>
                    </a:lnTo>
                    <a:lnTo>
                      <a:pt x="11" y="158"/>
                    </a:lnTo>
                    <a:lnTo>
                      <a:pt x="12" y="158"/>
                    </a:lnTo>
                    <a:lnTo>
                      <a:pt x="12" y="157"/>
                    </a:lnTo>
                    <a:lnTo>
                      <a:pt x="13" y="157"/>
                    </a:lnTo>
                    <a:lnTo>
                      <a:pt x="13" y="156"/>
                    </a:lnTo>
                    <a:lnTo>
                      <a:pt x="14" y="155"/>
                    </a:lnTo>
                    <a:lnTo>
                      <a:pt x="14" y="153"/>
                    </a:lnTo>
                    <a:lnTo>
                      <a:pt x="16" y="152"/>
                    </a:lnTo>
                    <a:lnTo>
                      <a:pt x="17" y="152"/>
                    </a:lnTo>
                    <a:lnTo>
                      <a:pt x="18" y="151"/>
                    </a:lnTo>
                    <a:lnTo>
                      <a:pt x="19" y="151"/>
                    </a:lnTo>
                    <a:lnTo>
                      <a:pt x="19" y="150"/>
                    </a:lnTo>
                    <a:lnTo>
                      <a:pt x="20" y="150"/>
                    </a:lnTo>
                    <a:lnTo>
                      <a:pt x="21" y="149"/>
                    </a:lnTo>
                    <a:lnTo>
                      <a:pt x="21" y="148"/>
                    </a:lnTo>
                    <a:lnTo>
                      <a:pt x="20" y="148"/>
                    </a:lnTo>
                    <a:lnTo>
                      <a:pt x="20" y="147"/>
                    </a:lnTo>
                    <a:lnTo>
                      <a:pt x="20" y="146"/>
                    </a:lnTo>
                    <a:lnTo>
                      <a:pt x="21" y="145"/>
                    </a:lnTo>
                    <a:lnTo>
                      <a:pt x="22" y="145"/>
                    </a:lnTo>
                    <a:lnTo>
                      <a:pt x="22" y="144"/>
                    </a:lnTo>
                    <a:lnTo>
                      <a:pt x="22" y="143"/>
                    </a:lnTo>
                    <a:lnTo>
                      <a:pt x="23" y="142"/>
                    </a:lnTo>
                    <a:lnTo>
                      <a:pt x="23" y="140"/>
                    </a:lnTo>
                    <a:lnTo>
                      <a:pt x="23" y="139"/>
                    </a:lnTo>
                    <a:lnTo>
                      <a:pt x="23" y="138"/>
                    </a:lnTo>
                    <a:lnTo>
                      <a:pt x="23" y="137"/>
                    </a:lnTo>
                    <a:lnTo>
                      <a:pt x="22" y="136"/>
                    </a:lnTo>
                    <a:lnTo>
                      <a:pt x="22" y="135"/>
                    </a:lnTo>
                    <a:lnTo>
                      <a:pt x="23" y="134"/>
                    </a:lnTo>
                    <a:lnTo>
                      <a:pt x="23" y="133"/>
                    </a:lnTo>
                    <a:lnTo>
                      <a:pt x="23" y="132"/>
                    </a:lnTo>
                    <a:lnTo>
                      <a:pt x="22" y="131"/>
                    </a:lnTo>
                    <a:lnTo>
                      <a:pt x="22" y="130"/>
                    </a:lnTo>
                    <a:lnTo>
                      <a:pt x="22" y="129"/>
                    </a:lnTo>
                    <a:lnTo>
                      <a:pt x="23" y="129"/>
                    </a:lnTo>
                    <a:lnTo>
                      <a:pt x="23" y="127"/>
                    </a:lnTo>
                    <a:lnTo>
                      <a:pt x="22" y="127"/>
                    </a:lnTo>
                    <a:lnTo>
                      <a:pt x="21" y="126"/>
                    </a:lnTo>
                    <a:lnTo>
                      <a:pt x="21" y="125"/>
                    </a:lnTo>
                    <a:lnTo>
                      <a:pt x="22" y="125"/>
                    </a:lnTo>
                    <a:lnTo>
                      <a:pt x="23" y="124"/>
                    </a:lnTo>
                    <a:lnTo>
                      <a:pt x="23" y="123"/>
                    </a:lnTo>
                    <a:lnTo>
                      <a:pt x="23" y="122"/>
                    </a:lnTo>
                    <a:lnTo>
                      <a:pt x="23" y="121"/>
                    </a:lnTo>
                    <a:lnTo>
                      <a:pt x="23" y="120"/>
                    </a:lnTo>
                    <a:lnTo>
                      <a:pt x="24" y="120"/>
                    </a:lnTo>
                    <a:lnTo>
                      <a:pt x="25" y="119"/>
                    </a:lnTo>
                    <a:lnTo>
                      <a:pt x="26" y="119"/>
                    </a:lnTo>
                    <a:lnTo>
                      <a:pt x="27" y="118"/>
                    </a:lnTo>
                    <a:lnTo>
                      <a:pt x="29" y="116"/>
                    </a:lnTo>
                    <a:lnTo>
                      <a:pt x="30" y="116"/>
                    </a:lnTo>
                    <a:lnTo>
                      <a:pt x="31" y="114"/>
                    </a:lnTo>
                    <a:lnTo>
                      <a:pt x="32" y="114"/>
                    </a:lnTo>
                    <a:lnTo>
                      <a:pt x="32" y="116"/>
                    </a:lnTo>
                    <a:lnTo>
                      <a:pt x="32" y="114"/>
                    </a:lnTo>
                    <a:lnTo>
                      <a:pt x="33" y="114"/>
                    </a:lnTo>
                    <a:lnTo>
                      <a:pt x="34" y="114"/>
                    </a:lnTo>
                    <a:lnTo>
                      <a:pt x="35" y="114"/>
                    </a:lnTo>
                    <a:lnTo>
                      <a:pt x="36" y="113"/>
                    </a:lnTo>
                    <a:lnTo>
                      <a:pt x="37" y="113"/>
                    </a:lnTo>
                    <a:lnTo>
                      <a:pt x="38" y="113"/>
                    </a:lnTo>
                    <a:lnTo>
                      <a:pt x="39" y="113"/>
                    </a:lnTo>
                    <a:lnTo>
                      <a:pt x="39" y="114"/>
                    </a:lnTo>
                    <a:lnTo>
                      <a:pt x="40" y="114"/>
                    </a:lnTo>
                    <a:lnTo>
                      <a:pt x="42" y="113"/>
                    </a:lnTo>
                    <a:lnTo>
                      <a:pt x="43" y="113"/>
                    </a:lnTo>
                    <a:lnTo>
                      <a:pt x="43" y="112"/>
                    </a:lnTo>
                    <a:lnTo>
                      <a:pt x="44" y="112"/>
                    </a:lnTo>
                    <a:lnTo>
                      <a:pt x="44" y="111"/>
                    </a:lnTo>
                    <a:lnTo>
                      <a:pt x="45" y="111"/>
                    </a:lnTo>
                    <a:lnTo>
                      <a:pt x="46" y="110"/>
                    </a:lnTo>
                    <a:lnTo>
                      <a:pt x="46" y="104"/>
                    </a:lnTo>
                    <a:lnTo>
                      <a:pt x="46" y="99"/>
                    </a:lnTo>
                    <a:lnTo>
                      <a:pt x="53" y="99"/>
                    </a:lnTo>
                    <a:lnTo>
                      <a:pt x="56" y="99"/>
                    </a:lnTo>
                    <a:lnTo>
                      <a:pt x="57" y="99"/>
                    </a:lnTo>
                    <a:lnTo>
                      <a:pt x="59" y="99"/>
                    </a:lnTo>
                    <a:lnTo>
                      <a:pt x="61" y="99"/>
                    </a:lnTo>
                    <a:lnTo>
                      <a:pt x="64" y="99"/>
                    </a:lnTo>
                    <a:lnTo>
                      <a:pt x="65" y="99"/>
                    </a:lnTo>
                    <a:lnTo>
                      <a:pt x="66" y="99"/>
                    </a:lnTo>
                    <a:lnTo>
                      <a:pt x="66" y="95"/>
                    </a:lnTo>
                    <a:lnTo>
                      <a:pt x="66" y="90"/>
                    </a:lnTo>
                    <a:lnTo>
                      <a:pt x="66" y="79"/>
                    </a:lnTo>
                    <a:lnTo>
                      <a:pt x="77" y="79"/>
                    </a:lnTo>
                    <a:lnTo>
                      <a:pt x="77" y="75"/>
                    </a:lnTo>
                    <a:lnTo>
                      <a:pt x="77" y="69"/>
                    </a:lnTo>
                    <a:lnTo>
                      <a:pt x="84" y="69"/>
                    </a:lnTo>
                    <a:lnTo>
                      <a:pt x="85" y="69"/>
                    </a:lnTo>
                    <a:lnTo>
                      <a:pt x="87" y="69"/>
                    </a:lnTo>
                    <a:lnTo>
                      <a:pt x="87" y="63"/>
                    </a:lnTo>
                    <a:lnTo>
                      <a:pt x="87" y="58"/>
                    </a:lnTo>
                    <a:lnTo>
                      <a:pt x="100" y="48"/>
                    </a:lnTo>
                    <a:lnTo>
                      <a:pt x="110" y="42"/>
                    </a:lnTo>
                    <a:lnTo>
                      <a:pt x="114" y="39"/>
                    </a:lnTo>
                    <a:lnTo>
                      <a:pt x="115" y="37"/>
                    </a:lnTo>
                    <a:lnTo>
                      <a:pt x="115" y="36"/>
                    </a:lnTo>
                    <a:lnTo>
                      <a:pt x="116" y="36"/>
                    </a:lnTo>
                    <a:lnTo>
                      <a:pt x="119" y="36"/>
                    </a:lnTo>
                    <a:lnTo>
                      <a:pt x="120" y="36"/>
                    </a:lnTo>
                    <a:lnTo>
                      <a:pt x="120" y="35"/>
                    </a:lnTo>
                    <a:lnTo>
                      <a:pt x="120" y="34"/>
                    </a:lnTo>
                    <a:lnTo>
                      <a:pt x="120" y="33"/>
                    </a:lnTo>
                    <a:lnTo>
                      <a:pt x="121" y="32"/>
                    </a:lnTo>
                    <a:lnTo>
                      <a:pt x="122" y="31"/>
                    </a:lnTo>
                    <a:lnTo>
                      <a:pt x="122" y="30"/>
                    </a:lnTo>
                    <a:lnTo>
                      <a:pt x="122" y="29"/>
                    </a:lnTo>
                    <a:lnTo>
                      <a:pt x="122" y="28"/>
                    </a:lnTo>
                    <a:lnTo>
                      <a:pt x="121" y="28"/>
                    </a:lnTo>
                    <a:lnTo>
                      <a:pt x="121" y="27"/>
                    </a:lnTo>
                    <a:lnTo>
                      <a:pt x="122" y="27"/>
                    </a:lnTo>
                    <a:lnTo>
                      <a:pt x="123" y="26"/>
                    </a:lnTo>
                    <a:lnTo>
                      <a:pt x="123" y="24"/>
                    </a:lnTo>
                    <a:lnTo>
                      <a:pt x="123" y="23"/>
                    </a:lnTo>
                    <a:lnTo>
                      <a:pt x="122" y="23"/>
                    </a:lnTo>
                    <a:lnTo>
                      <a:pt x="122" y="22"/>
                    </a:lnTo>
                    <a:lnTo>
                      <a:pt x="122" y="21"/>
                    </a:lnTo>
                    <a:lnTo>
                      <a:pt x="123" y="21"/>
                    </a:lnTo>
                    <a:lnTo>
                      <a:pt x="123" y="20"/>
                    </a:lnTo>
                    <a:lnTo>
                      <a:pt x="123" y="19"/>
                    </a:lnTo>
                    <a:lnTo>
                      <a:pt x="123" y="18"/>
                    </a:lnTo>
                    <a:lnTo>
                      <a:pt x="123" y="17"/>
                    </a:lnTo>
                    <a:lnTo>
                      <a:pt x="123" y="16"/>
                    </a:lnTo>
                    <a:lnTo>
                      <a:pt x="123" y="15"/>
                    </a:lnTo>
                    <a:lnTo>
                      <a:pt x="124" y="15"/>
                    </a:lnTo>
                    <a:lnTo>
                      <a:pt x="126" y="14"/>
                    </a:lnTo>
                    <a:lnTo>
                      <a:pt x="127" y="13"/>
                    </a:lnTo>
                    <a:lnTo>
                      <a:pt x="127" y="11"/>
                    </a:lnTo>
                    <a:lnTo>
                      <a:pt x="128" y="11"/>
                    </a:lnTo>
                    <a:lnTo>
                      <a:pt x="128" y="10"/>
                    </a:lnTo>
                    <a:lnTo>
                      <a:pt x="128" y="11"/>
                    </a:lnTo>
                    <a:lnTo>
                      <a:pt x="129" y="11"/>
                    </a:lnTo>
                    <a:lnTo>
                      <a:pt x="130" y="11"/>
                    </a:lnTo>
                    <a:lnTo>
                      <a:pt x="132" y="11"/>
                    </a:lnTo>
                    <a:lnTo>
                      <a:pt x="132" y="10"/>
                    </a:lnTo>
                    <a:lnTo>
                      <a:pt x="133" y="10"/>
                    </a:lnTo>
                    <a:lnTo>
                      <a:pt x="134" y="10"/>
                    </a:lnTo>
                    <a:lnTo>
                      <a:pt x="134" y="9"/>
                    </a:lnTo>
                    <a:lnTo>
                      <a:pt x="135" y="9"/>
                    </a:lnTo>
                    <a:lnTo>
                      <a:pt x="135" y="8"/>
                    </a:lnTo>
                    <a:lnTo>
                      <a:pt x="136" y="8"/>
                    </a:lnTo>
                    <a:lnTo>
                      <a:pt x="136" y="7"/>
                    </a:lnTo>
                    <a:lnTo>
                      <a:pt x="137" y="7"/>
                    </a:lnTo>
                    <a:lnTo>
                      <a:pt x="137" y="6"/>
                    </a:lnTo>
                    <a:lnTo>
                      <a:pt x="137" y="5"/>
                    </a:lnTo>
                    <a:lnTo>
                      <a:pt x="138" y="5"/>
                    </a:lnTo>
                    <a:lnTo>
                      <a:pt x="138" y="4"/>
                    </a:lnTo>
                    <a:lnTo>
                      <a:pt x="139" y="4"/>
                    </a:lnTo>
                    <a:lnTo>
                      <a:pt x="139" y="3"/>
                    </a:lnTo>
                    <a:lnTo>
                      <a:pt x="140" y="3"/>
                    </a:lnTo>
                    <a:lnTo>
                      <a:pt x="140" y="2"/>
                    </a:lnTo>
                    <a:lnTo>
                      <a:pt x="141" y="2"/>
                    </a:lnTo>
                    <a:lnTo>
                      <a:pt x="142" y="2"/>
                    </a:lnTo>
                    <a:lnTo>
                      <a:pt x="143" y="2"/>
                    </a:lnTo>
                    <a:lnTo>
                      <a:pt x="143" y="1"/>
                    </a:lnTo>
                    <a:lnTo>
                      <a:pt x="145" y="0"/>
                    </a:lnTo>
                    <a:lnTo>
                      <a:pt x="145" y="1"/>
                    </a:lnTo>
                    <a:lnTo>
                      <a:pt x="145" y="2"/>
                    </a:lnTo>
                    <a:lnTo>
                      <a:pt x="146" y="2"/>
                    </a:lnTo>
                    <a:lnTo>
                      <a:pt x="146" y="3"/>
                    </a:lnTo>
                    <a:lnTo>
                      <a:pt x="147" y="3"/>
                    </a:lnTo>
                    <a:lnTo>
                      <a:pt x="148" y="3"/>
                    </a:lnTo>
                    <a:lnTo>
                      <a:pt x="148" y="4"/>
                    </a:lnTo>
                    <a:lnTo>
                      <a:pt x="149" y="4"/>
                    </a:lnTo>
                    <a:lnTo>
                      <a:pt x="149" y="5"/>
                    </a:lnTo>
                    <a:lnTo>
                      <a:pt x="150" y="5"/>
                    </a:lnTo>
                    <a:lnTo>
                      <a:pt x="150" y="6"/>
                    </a:lnTo>
                    <a:lnTo>
                      <a:pt x="149" y="7"/>
                    </a:lnTo>
                    <a:lnTo>
                      <a:pt x="149" y="8"/>
                    </a:lnTo>
                    <a:lnTo>
                      <a:pt x="149" y="9"/>
                    </a:lnTo>
                    <a:lnTo>
                      <a:pt x="150" y="9"/>
                    </a:lnTo>
                    <a:lnTo>
                      <a:pt x="151" y="9"/>
                    </a:lnTo>
                    <a:lnTo>
                      <a:pt x="151" y="10"/>
                    </a:lnTo>
                    <a:lnTo>
                      <a:pt x="151" y="11"/>
                    </a:lnTo>
                    <a:lnTo>
                      <a:pt x="152" y="11"/>
                    </a:lnTo>
                    <a:lnTo>
                      <a:pt x="153" y="13"/>
                    </a:lnTo>
                    <a:lnTo>
                      <a:pt x="153" y="14"/>
                    </a:lnTo>
                    <a:lnTo>
                      <a:pt x="154" y="14"/>
                    </a:lnTo>
                    <a:lnTo>
                      <a:pt x="155" y="15"/>
                    </a:lnTo>
                    <a:lnTo>
                      <a:pt x="156" y="15"/>
                    </a:lnTo>
                    <a:lnTo>
                      <a:pt x="158" y="15"/>
                    </a:lnTo>
                    <a:lnTo>
                      <a:pt x="158" y="16"/>
                    </a:lnTo>
                    <a:lnTo>
                      <a:pt x="159" y="15"/>
                    </a:lnTo>
                    <a:lnTo>
                      <a:pt x="160" y="14"/>
                    </a:lnTo>
                    <a:lnTo>
                      <a:pt x="160" y="13"/>
                    </a:lnTo>
                    <a:lnTo>
                      <a:pt x="160" y="11"/>
                    </a:lnTo>
                    <a:lnTo>
                      <a:pt x="160" y="10"/>
                    </a:lnTo>
                    <a:lnTo>
                      <a:pt x="161" y="10"/>
                    </a:lnTo>
                    <a:lnTo>
                      <a:pt x="162" y="10"/>
                    </a:lnTo>
                    <a:lnTo>
                      <a:pt x="163" y="10"/>
                    </a:lnTo>
                    <a:lnTo>
                      <a:pt x="163" y="9"/>
                    </a:lnTo>
                    <a:lnTo>
                      <a:pt x="164" y="9"/>
                    </a:lnTo>
                    <a:lnTo>
                      <a:pt x="164" y="8"/>
                    </a:lnTo>
                    <a:lnTo>
                      <a:pt x="165" y="7"/>
                    </a:lnTo>
                    <a:lnTo>
                      <a:pt x="167" y="7"/>
                    </a:lnTo>
                    <a:lnTo>
                      <a:pt x="167" y="8"/>
                    </a:lnTo>
                    <a:lnTo>
                      <a:pt x="168" y="8"/>
                    </a:lnTo>
                    <a:lnTo>
                      <a:pt x="168" y="9"/>
                    </a:lnTo>
                    <a:lnTo>
                      <a:pt x="168" y="10"/>
                    </a:lnTo>
                    <a:lnTo>
                      <a:pt x="169" y="10"/>
                    </a:lnTo>
                    <a:lnTo>
                      <a:pt x="169" y="9"/>
                    </a:lnTo>
                    <a:lnTo>
                      <a:pt x="171" y="9"/>
                    </a:lnTo>
                    <a:lnTo>
                      <a:pt x="171" y="10"/>
                    </a:lnTo>
                    <a:lnTo>
                      <a:pt x="172" y="10"/>
                    </a:lnTo>
                    <a:lnTo>
                      <a:pt x="172" y="11"/>
                    </a:lnTo>
                    <a:lnTo>
                      <a:pt x="173" y="11"/>
                    </a:lnTo>
                    <a:lnTo>
                      <a:pt x="174" y="11"/>
                    </a:lnTo>
                    <a:lnTo>
                      <a:pt x="174" y="10"/>
                    </a:lnTo>
                    <a:lnTo>
                      <a:pt x="175" y="9"/>
                    </a:lnTo>
                    <a:lnTo>
                      <a:pt x="176" y="8"/>
                    </a:lnTo>
                    <a:lnTo>
                      <a:pt x="177" y="8"/>
                    </a:lnTo>
                    <a:lnTo>
                      <a:pt x="178" y="8"/>
                    </a:lnTo>
                    <a:lnTo>
                      <a:pt x="179" y="8"/>
                    </a:lnTo>
                    <a:lnTo>
                      <a:pt x="180" y="8"/>
                    </a:lnTo>
                    <a:lnTo>
                      <a:pt x="181" y="9"/>
                    </a:lnTo>
                    <a:close/>
                  </a:path>
                </a:pathLst>
              </a:custGeom>
              <a:solidFill>
                <a:srgbClr val="A6CF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0" name="Freeform 278">
                <a:extLst>
                  <a:ext uri="{FF2B5EF4-FFF2-40B4-BE49-F238E27FC236}">
                    <a16:creationId xmlns:a16="http://schemas.microsoft.com/office/drawing/2014/main" id="{887D76E3-1FF7-9C4A-AF97-2079C0EE45FA}"/>
                  </a:ext>
                </a:extLst>
              </p:cNvPr>
              <p:cNvSpPr>
                <a:spLocks noEditPoints="1"/>
              </p:cNvSpPr>
              <p:nvPr/>
            </p:nvSpPr>
            <p:spPr bwMode="auto">
              <a:xfrm>
                <a:off x="3141663" y="4011613"/>
                <a:ext cx="874713" cy="896938"/>
              </a:xfrm>
              <a:custGeom>
                <a:avLst/>
                <a:gdLst>
                  <a:gd name="T0" fmla="*/ 304 w 551"/>
                  <a:gd name="T1" fmla="*/ 318 h 565"/>
                  <a:gd name="T2" fmla="*/ 295 w 551"/>
                  <a:gd name="T3" fmla="*/ 330 h 565"/>
                  <a:gd name="T4" fmla="*/ 232 w 551"/>
                  <a:gd name="T5" fmla="*/ 308 h 565"/>
                  <a:gd name="T6" fmla="*/ 203 w 551"/>
                  <a:gd name="T7" fmla="*/ 278 h 565"/>
                  <a:gd name="T8" fmla="*/ 192 w 551"/>
                  <a:gd name="T9" fmla="*/ 278 h 565"/>
                  <a:gd name="T10" fmla="*/ 179 w 551"/>
                  <a:gd name="T11" fmla="*/ 270 h 565"/>
                  <a:gd name="T12" fmla="*/ 165 w 551"/>
                  <a:gd name="T13" fmla="*/ 269 h 565"/>
                  <a:gd name="T14" fmla="*/ 147 w 551"/>
                  <a:gd name="T15" fmla="*/ 272 h 565"/>
                  <a:gd name="T16" fmla="*/ 132 w 551"/>
                  <a:gd name="T17" fmla="*/ 291 h 565"/>
                  <a:gd name="T18" fmla="*/ 70 w 551"/>
                  <a:gd name="T19" fmla="*/ 306 h 565"/>
                  <a:gd name="T20" fmla="*/ 40 w 551"/>
                  <a:gd name="T21" fmla="*/ 258 h 565"/>
                  <a:gd name="T22" fmla="*/ 48 w 551"/>
                  <a:gd name="T23" fmla="*/ 238 h 565"/>
                  <a:gd name="T24" fmla="*/ 44 w 551"/>
                  <a:gd name="T25" fmla="*/ 223 h 565"/>
                  <a:gd name="T26" fmla="*/ 31 w 551"/>
                  <a:gd name="T27" fmla="*/ 223 h 565"/>
                  <a:gd name="T28" fmla="*/ 21 w 551"/>
                  <a:gd name="T29" fmla="*/ 225 h 565"/>
                  <a:gd name="T30" fmla="*/ 8 w 551"/>
                  <a:gd name="T31" fmla="*/ 227 h 565"/>
                  <a:gd name="T32" fmla="*/ 6 w 551"/>
                  <a:gd name="T33" fmla="*/ 214 h 565"/>
                  <a:gd name="T34" fmla="*/ 14 w 551"/>
                  <a:gd name="T35" fmla="*/ 202 h 565"/>
                  <a:gd name="T36" fmla="*/ 25 w 551"/>
                  <a:gd name="T37" fmla="*/ 184 h 565"/>
                  <a:gd name="T38" fmla="*/ 24 w 551"/>
                  <a:gd name="T39" fmla="*/ 157 h 565"/>
                  <a:gd name="T40" fmla="*/ 22 w 551"/>
                  <a:gd name="T41" fmla="*/ 113 h 565"/>
                  <a:gd name="T42" fmla="*/ 0 w 551"/>
                  <a:gd name="T43" fmla="*/ 92 h 565"/>
                  <a:gd name="T44" fmla="*/ 5 w 551"/>
                  <a:gd name="T45" fmla="*/ 76 h 565"/>
                  <a:gd name="T46" fmla="*/ 11 w 551"/>
                  <a:gd name="T47" fmla="*/ 63 h 565"/>
                  <a:gd name="T48" fmla="*/ 21 w 551"/>
                  <a:gd name="T49" fmla="*/ 68 h 565"/>
                  <a:gd name="T50" fmla="*/ 34 w 551"/>
                  <a:gd name="T51" fmla="*/ 73 h 565"/>
                  <a:gd name="T52" fmla="*/ 80 w 551"/>
                  <a:gd name="T53" fmla="*/ 61 h 565"/>
                  <a:gd name="T54" fmla="*/ 94 w 551"/>
                  <a:gd name="T55" fmla="*/ 65 h 565"/>
                  <a:gd name="T56" fmla="*/ 107 w 551"/>
                  <a:gd name="T57" fmla="*/ 73 h 565"/>
                  <a:gd name="T58" fmla="*/ 169 w 551"/>
                  <a:gd name="T59" fmla="*/ 47 h 565"/>
                  <a:gd name="T60" fmla="*/ 143 w 551"/>
                  <a:gd name="T61" fmla="*/ 3 h 565"/>
                  <a:gd name="T62" fmla="*/ 216 w 551"/>
                  <a:gd name="T63" fmla="*/ 45 h 565"/>
                  <a:gd name="T64" fmla="*/ 223 w 551"/>
                  <a:gd name="T65" fmla="*/ 75 h 565"/>
                  <a:gd name="T66" fmla="*/ 217 w 551"/>
                  <a:gd name="T67" fmla="*/ 99 h 565"/>
                  <a:gd name="T68" fmla="*/ 222 w 551"/>
                  <a:gd name="T69" fmla="*/ 118 h 565"/>
                  <a:gd name="T70" fmla="*/ 252 w 551"/>
                  <a:gd name="T71" fmla="*/ 176 h 565"/>
                  <a:gd name="T72" fmla="*/ 283 w 551"/>
                  <a:gd name="T73" fmla="*/ 182 h 565"/>
                  <a:gd name="T74" fmla="*/ 315 w 551"/>
                  <a:gd name="T75" fmla="*/ 193 h 565"/>
                  <a:gd name="T76" fmla="*/ 306 w 551"/>
                  <a:gd name="T77" fmla="*/ 207 h 565"/>
                  <a:gd name="T78" fmla="*/ 314 w 551"/>
                  <a:gd name="T79" fmla="*/ 217 h 565"/>
                  <a:gd name="T80" fmla="*/ 318 w 551"/>
                  <a:gd name="T81" fmla="*/ 234 h 565"/>
                  <a:gd name="T82" fmla="*/ 319 w 551"/>
                  <a:gd name="T83" fmla="*/ 255 h 565"/>
                  <a:gd name="T84" fmla="*/ 317 w 551"/>
                  <a:gd name="T85" fmla="*/ 274 h 565"/>
                  <a:gd name="T86" fmla="*/ 372 w 551"/>
                  <a:gd name="T87" fmla="*/ 284 h 565"/>
                  <a:gd name="T88" fmla="*/ 379 w 551"/>
                  <a:gd name="T89" fmla="*/ 297 h 565"/>
                  <a:gd name="T90" fmla="*/ 537 w 551"/>
                  <a:gd name="T91" fmla="*/ 563 h 565"/>
                  <a:gd name="T92" fmla="*/ 459 w 551"/>
                  <a:gd name="T93" fmla="*/ 529 h 565"/>
                  <a:gd name="T94" fmla="*/ 377 w 551"/>
                  <a:gd name="T95" fmla="*/ 510 h 565"/>
                  <a:gd name="T96" fmla="*/ 355 w 551"/>
                  <a:gd name="T97" fmla="*/ 423 h 565"/>
                  <a:gd name="T98" fmla="*/ 424 w 551"/>
                  <a:gd name="T99" fmla="*/ 375 h 565"/>
                  <a:gd name="T100" fmla="*/ 451 w 551"/>
                  <a:gd name="T101" fmla="*/ 383 h 565"/>
                  <a:gd name="T102" fmla="*/ 461 w 551"/>
                  <a:gd name="T103" fmla="*/ 397 h 565"/>
                  <a:gd name="T104" fmla="*/ 466 w 551"/>
                  <a:gd name="T105" fmla="*/ 413 h 565"/>
                  <a:gd name="T106" fmla="*/ 478 w 551"/>
                  <a:gd name="T107" fmla="*/ 434 h 565"/>
                  <a:gd name="T108" fmla="*/ 488 w 551"/>
                  <a:gd name="T109" fmla="*/ 456 h 565"/>
                  <a:gd name="T110" fmla="*/ 520 w 551"/>
                  <a:gd name="T111" fmla="*/ 469 h 565"/>
                  <a:gd name="T112" fmla="*/ 539 w 551"/>
                  <a:gd name="T113" fmla="*/ 477 h 565"/>
                  <a:gd name="T114" fmla="*/ 547 w 551"/>
                  <a:gd name="T115" fmla="*/ 490 h 565"/>
                  <a:gd name="T116" fmla="*/ 547 w 551"/>
                  <a:gd name="T117" fmla="*/ 509 h 565"/>
                  <a:gd name="T118" fmla="*/ 550 w 551"/>
                  <a:gd name="T119" fmla="*/ 523 h 565"/>
                  <a:gd name="T120" fmla="*/ 548 w 551"/>
                  <a:gd name="T121" fmla="*/ 537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1" h="565">
                    <a:moveTo>
                      <a:pt x="380" y="311"/>
                    </a:moveTo>
                    <a:lnTo>
                      <a:pt x="377" y="311"/>
                    </a:lnTo>
                    <a:lnTo>
                      <a:pt x="341" y="312"/>
                    </a:lnTo>
                    <a:lnTo>
                      <a:pt x="336" y="312"/>
                    </a:lnTo>
                    <a:lnTo>
                      <a:pt x="335" y="312"/>
                    </a:lnTo>
                    <a:lnTo>
                      <a:pt x="329" y="312"/>
                    </a:lnTo>
                    <a:lnTo>
                      <a:pt x="328" y="312"/>
                    </a:lnTo>
                    <a:lnTo>
                      <a:pt x="323" y="312"/>
                    </a:lnTo>
                    <a:lnTo>
                      <a:pt x="322" y="312"/>
                    </a:lnTo>
                    <a:lnTo>
                      <a:pt x="310" y="312"/>
                    </a:lnTo>
                    <a:lnTo>
                      <a:pt x="307" y="312"/>
                    </a:lnTo>
                    <a:lnTo>
                      <a:pt x="306" y="312"/>
                    </a:lnTo>
                    <a:lnTo>
                      <a:pt x="306" y="315"/>
                    </a:lnTo>
                    <a:lnTo>
                      <a:pt x="305" y="316"/>
                    </a:lnTo>
                    <a:lnTo>
                      <a:pt x="304" y="317"/>
                    </a:lnTo>
                    <a:lnTo>
                      <a:pt x="304" y="318"/>
                    </a:lnTo>
                    <a:lnTo>
                      <a:pt x="303" y="319"/>
                    </a:lnTo>
                    <a:lnTo>
                      <a:pt x="303" y="320"/>
                    </a:lnTo>
                    <a:lnTo>
                      <a:pt x="303" y="322"/>
                    </a:lnTo>
                    <a:lnTo>
                      <a:pt x="303" y="323"/>
                    </a:lnTo>
                    <a:lnTo>
                      <a:pt x="303" y="324"/>
                    </a:lnTo>
                    <a:lnTo>
                      <a:pt x="302" y="324"/>
                    </a:lnTo>
                    <a:lnTo>
                      <a:pt x="301" y="324"/>
                    </a:lnTo>
                    <a:lnTo>
                      <a:pt x="300" y="324"/>
                    </a:lnTo>
                    <a:lnTo>
                      <a:pt x="298" y="324"/>
                    </a:lnTo>
                    <a:lnTo>
                      <a:pt x="297" y="324"/>
                    </a:lnTo>
                    <a:lnTo>
                      <a:pt x="296" y="325"/>
                    </a:lnTo>
                    <a:lnTo>
                      <a:pt x="295" y="325"/>
                    </a:lnTo>
                    <a:lnTo>
                      <a:pt x="295" y="327"/>
                    </a:lnTo>
                    <a:lnTo>
                      <a:pt x="295" y="328"/>
                    </a:lnTo>
                    <a:lnTo>
                      <a:pt x="295" y="329"/>
                    </a:lnTo>
                    <a:lnTo>
                      <a:pt x="295" y="330"/>
                    </a:lnTo>
                    <a:lnTo>
                      <a:pt x="275" y="330"/>
                    </a:lnTo>
                    <a:lnTo>
                      <a:pt x="272" y="330"/>
                    </a:lnTo>
                    <a:lnTo>
                      <a:pt x="257" y="330"/>
                    </a:lnTo>
                    <a:lnTo>
                      <a:pt x="256" y="330"/>
                    </a:lnTo>
                    <a:lnTo>
                      <a:pt x="238" y="330"/>
                    </a:lnTo>
                    <a:lnTo>
                      <a:pt x="238" y="329"/>
                    </a:lnTo>
                    <a:lnTo>
                      <a:pt x="238" y="328"/>
                    </a:lnTo>
                    <a:lnTo>
                      <a:pt x="237" y="325"/>
                    </a:lnTo>
                    <a:lnTo>
                      <a:pt x="235" y="323"/>
                    </a:lnTo>
                    <a:lnTo>
                      <a:pt x="235" y="322"/>
                    </a:lnTo>
                    <a:lnTo>
                      <a:pt x="233" y="320"/>
                    </a:lnTo>
                    <a:lnTo>
                      <a:pt x="235" y="317"/>
                    </a:lnTo>
                    <a:lnTo>
                      <a:pt x="235" y="315"/>
                    </a:lnTo>
                    <a:lnTo>
                      <a:pt x="235" y="312"/>
                    </a:lnTo>
                    <a:lnTo>
                      <a:pt x="233" y="310"/>
                    </a:lnTo>
                    <a:lnTo>
                      <a:pt x="232" y="308"/>
                    </a:lnTo>
                    <a:lnTo>
                      <a:pt x="231" y="305"/>
                    </a:lnTo>
                    <a:lnTo>
                      <a:pt x="229" y="305"/>
                    </a:lnTo>
                    <a:lnTo>
                      <a:pt x="228" y="305"/>
                    </a:lnTo>
                    <a:lnTo>
                      <a:pt x="226" y="304"/>
                    </a:lnTo>
                    <a:lnTo>
                      <a:pt x="222" y="303"/>
                    </a:lnTo>
                    <a:lnTo>
                      <a:pt x="219" y="303"/>
                    </a:lnTo>
                    <a:lnTo>
                      <a:pt x="214" y="296"/>
                    </a:lnTo>
                    <a:lnTo>
                      <a:pt x="213" y="294"/>
                    </a:lnTo>
                    <a:lnTo>
                      <a:pt x="211" y="291"/>
                    </a:lnTo>
                    <a:lnTo>
                      <a:pt x="209" y="286"/>
                    </a:lnTo>
                    <a:lnTo>
                      <a:pt x="206" y="284"/>
                    </a:lnTo>
                    <a:lnTo>
                      <a:pt x="205" y="283"/>
                    </a:lnTo>
                    <a:lnTo>
                      <a:pt x="204" y="281"/>
                    </a:lnTo>
                    <a:lnTo>
                      <a:pt x="204" y="280"/>
                    </a:lnTo>
                    <a:lnTo>
                      <a:pt x="203" y="279"/>
                    </a:lnTo>
                    <a:lnTo>
                      <a:pt x="203" y="278"/>
                    </a:lnTo>
                    <a:lnTo>
                      <a:pt x="202" y="277"/>
                    </a:lnTo>
                    <a:lnTo>
                      <a:pt x="201" y="276"/>
                    </a:lnTo>
                    <a:lnTo>
                      <a:pt x="200" y="276"/>
                    </a:lnTo>
                    <a:lnTo>
                      <a:pt x="199" y="276"/>
                    </a:lnTo>
                    <a:lnTo>
                      <a:pt x="198" y="276"/>
                    </a:lnTo>
                    <a:lnTo>
                      <a:pt x="198" y="274"/>
                    </a:lnTo>
                    <a:lnTo>
                      <a:pt x="197" y="274"/>
                    </a:lnTo>
                    <a:lnTo>
                      <a:pt x="197" y="273"/>
                    </a:lnTo>
                    <a:lnTo>
                      <a:pt x="196" y="273"/>
                    </a:lnTo>
                    <a:lnTo>
                      <a:pt x="194" y="273"/>
                    </a:lnTo>
                    <a:lnTo>
                      <a:pt x="194" y="274"/>
                    </a:lnTo>
                    <a:lnTo>
                      <a:pt x="193" y="274"/>
                    </a:lnTo>
                    <a:lnTo>
                      <a:pt x="192" y="274"/>
                    </a:lnTo>
                    <a:lnTo>
                      <a:pt x="192" y="276"/>
                    </a:lnTo>
                    <a:lnTo>
                      <a:pt x="192" y="277"/>
                    </a:lnTo>
                    <a:lnTo>
                      <a:pt x="192" y="278"/>
                    </a:lnTo>
                    <a:lnTo>
                      <a:pt x="191" y="278"/>
                    </a:lnTo>
                    <a:lnTo>
                      <a:pt x="191" y="279"/>
                    </a:lnTo>
                    <a:lnTo>
                      <a:pt x="190" y="279"/>
                    </a:lnTo>
                    <a:lnTo>
                      <a:pt x="189" y="279"/>
                    </a:lnTo>
                    <a:lnTo>
                      <a:pt x="189" y="278"/>
                    </a:lnTo>
                    <a:lnTo>
                      <a:pt x="188" y="278"/>
                    </a:lnTo>
                    <a:lnTo>
                      <a:pt x="187" y="277"/>
                    </a:lnTo>
                    <a:lnTo>
                      <a:pt x="187" y="276"/>
                    </a:lnTo>
                    <a:lnTo>
                      <a:pt x="186" y="276"/>
                    </a:lnTo>
                    <a:lnTo>
                      <a:pt x="186" y="273"/>
                    </a:lnTo>
                    <a:lnTo>
                      <a:pt x="185" y="273"/>
                    </a:lnTo>
                    <a:lnTo>
                      <a:pt x="184" y="272"/>
                    </a:lnTo>
                    <a:lnTo>
                      <a:pt x="181" y="272"/>
                    </a:lnTo>
                    <a:lnTo>
                      <a:pt x="180" y="272"/>
                    </a:lnTo>
                    <a:lnTo>
                      <a:pt x="179" y="271"/>
                    </a:lnTo>
                    <a:lnTo>
                      <a:pt x="179" y="270"/>
                    </a:lnTo>
                    <a:lnTo>
                      <a:pt x="179" y="269"/>
                    </a:lnTo>
                    <a:lnTo>
                      <a:pt x="178" y="268"/>
                    </a:lnTo>
                    <a:lnTo>
                      <a:pt x="177" y="268"/>
                    </a:lnTo>
                    <a:lnTo>
                      <a:pt x="176" y="268"/>
                    </a:lnTo>
                    <a:lnTo>
                      <a:pt x="176" y="267"/>
                    </a:lnTo>
                    <a:lnTo>
                      <a:pt x="175" y="268"/>
                    </a:lnTo>
                    <a:lnTo>
                      <a:pt x="174" y="268"/>
                    </a:lnTo>
                    <a:lnTo>
                      <a:pt x="174" y="269"/>
                    </a:lnTo>
                    <a:lnTo>
                      <a:pt x="173" y="269"/>
                    </a:lnTo>
                    <a:lnTo>
                      <a:pt x="173" y="270"/>
                    </a:lnTo>
                    <a:lnTo>
                      <a:pt x="172" y="270"/>
                    </a:lnTo>
                    <a:lnTo>
                      <a:pt x="171" y="270"/>
                    </a:lnTo>
                    <a:lnTo>
                      <a:pt x="169" y="270"/>
                    </a:lnTo>
                    <a:lnTo>
                      <a:pt x="168" y="270"/>
                    </a:lnTo>
                    <a:lnTo>
                      <a:pt x="166" y="269"/>
                    </a:lnTo>
                    <a:lnTo>
                      <a:pt x="165" y="269"/>
                    </a:lnTo>
                    <a:lnTo>
                      <a:pt x="165" y="268"/>
                    </a:lnTo>
                    <a:lnTo>
                      <a:pt x="164" y="268"/>
                    </a:lnTo>
                    <a:lnTo>
                      <a:pt x="163" y="268"/>
                    </a:lnTo>
                    <a:lnTo>
                      <a:pt x="162" y="267"/>
                    </a:lnTo>
                    <a:lnTo>
                      <a:pt x="161" y="267"/>
                    </a:lnTo>
                    <a:lnTo>
                      <a:pt x="160" y="267"/>
                    </a:lnTo>
                    <a:lnTo>
                      <a:pt x="159" y="267"/>
                    </a:lnTo>
                    <a:lnTo>
                      <a:pt x="158" y="267"/>
                    </a:lnTo>
                    <a:lnTo>
                      <a:pt x="156" y="268"/>
                    </a:lnTo>
                    <a:lnTo>
                      <a:pt x="155" y="269"/>
                    </a:lnTo>
                    <a:lnTo>
                      <a:pt x="154" y="269"/>
                    </a:lnTo>
                    <a:lnTo>
                      <a:pt x="153" y="269"/>
                    </a:lnTo>
                    <a:lnTo>
                      <a:pt x="151" y="269"/>
                    </a:lnTo>
                    <a:lnTo>
                      <a:pt x="149" y="270"/>
                    </a:lnTo>
                    <a:lnTo>
                      <a:pt x="148" y="270"/>
                    </a:lnTo>
                    <a:lnTo>
                      <a:pt x="147" y="272"/>
                    </a:lnTo>
                    <a:lnTo>
                      <a:pt x="145" y="273"/>
                    </a:lnTo>
                    <a:lnTo>
                      <a:pt x="143" y="274"/>
                    </a:lnTo>
                    <a:lnTo>
                      <a:pt x="142" y="276"/>
                    </a:lnTo>
                    <a:lnTo>
                      <a:pt x="141" y="276"/>
                    </a:lnTo>
                    <a:lnTo>
                      <a:pt x="140" y="276"/>
                    </a:lnTo>
                    <a:lnTo>
                      <a:pt x="139" y="276"/>
                    </a:lnTo>
                    <a:lnTo>
                      <a:pt x="138" y="277"/>
                    </a:lnTo>
                    <a:lnTo>
                      <a:pt x="137" y="277"/>
                    </a:lnTo>
                    <a:lnTo>
                      <a:pt x="135" y="285"/>
                    </a:lnTo>
                    <a:lnTo>
                      <a:pt x="138" y="284"/>
                    </a:lnTo>
                    <a:lnTo>
                      <a:pt x="139" y="286"/>
                    </a:lnTo>
                    <a:lnTo>
                      <a:pt x="139" y="287"/>
                    </a:lnTo>
                    <a:lnTo>
                      <a:pt x="140" y="289"/>
                    </a:lnTo>
                    <a:lnTo>
                      <a:pt x="134" y="290"/>
                    </a:lnTo>
                    <a:lnTo>
                      <a:pt x="133" y="290"/>
                    </a:lnTo>
                    <a:lnTo>
                      <a:pt x="132" y="291"/>
                    </a:lnTo>
                    <a:lnTo>
                      <a:pt x="129" y="292"/>
                    </a:lnTo>
                    <a:lnTo>
                      <a:pt x="128" y="293"/>
                    </a:lnTo>
                    <a:lnTo>
                      <a:pt x="127" y="294"/>
                    </a:lnTo>
                    <a:lnTo>
                      <a:pt x="126" y="294"/>
                    </a:lnTo>
                    <a:lnTo>
                      <a:pt x="125" y="296"/>
                    </a:lnTo>
                    <a:lnTo>
                      <a:pt x="123" y="297"/>
                    </a:lnTo>
                    <a:lnTo>
                      <a:pt x="122" y="298"/>
                    </a:lnTo>
                    <a:lnTo>
                      <a:pt x="121" y="299"/>
                    </a:lnTo>
                    <a:lnTo>
                      <a:pt x="120" y="299"/>
                    </a:lnTo>
                    <a:lnTo>
                      <a:pt x="120" y="300"/>
                    </a:lnTo>
                    <a:lnTo>
                      <a:pt x="115" y="304"/>
                    </a:lnTo>
                    <a:lnTo>
                      <a:pt x="116" y="306"/>
                    </a:lnTo>
                    <a:lnTo>
                      <a:pt x="108" y="318"/>
                    </a:lnTo>
                    <a:lnTo>
                      <a:pt x="107" y="320"/>
                    </a:lnTo>
                    <a:lnTo>
                      <a:pt x="104" y="322"/>
                    </a:lnTo>
                    <a:lnTo>
                      <a:pt x="70" y="306"/>
                    </a:lnTo>
                    <a:lnTo>
                      <a:pt x="69" y="306"/>
                    </a:lnTo>
                    <a:lnTo>
                      <a:pt x="57" y="312"/>
                    </a:lnTo>
                    <a:lnTo>
                      <a:pt x="50" y="302"/>
                    </a:lnTo>
                    <a:lnTo>
                      <a:pt x="40" y="302"/>
                    </a:lnTo>
                    <a:lnTo>
                      <a:pt x="31" y="302"/>
                    </a:lnTo>
                    <a:lnTo>
                      <a:pt x="25" y="302"/>
                    </a:lnTo>
                    <a:lnTo>
                      <a:pt x="23" y="302"/>
                    </a:lnTo>
                    <a:lnTo>
                      <a:pt x="24" y="299"/>
                    </a:lnTo>
                    <a:lnTo>
                      <a:pt x="26" y="293"/>
                    </a:lnTo>
                    <a:lnTo>
                      <a:pt x="26" y="292"/>
                    </a:lnTo>
                    <a:lnTo>
                      <a:pt x="27" y="289"/>
                    </a:lnTo>
                    <a:lnTo>
                      <a:pt x="30" y="283"/>
                    </a:lnTo>
                    <a:lnTo>
                      <a:pt x="34" y="268"/>
                    </a:lnTo>
                    <a:lnTo>
                      <a:pt x="36" y="266"/>
                    </a:lnTo>
                    <a:lnTo>
                      <a:pt x="38" y="261"/>
                    </a:lnTo>
                    <a:lnTo>
                      <a:pt x="40" y="258"/>
                    </a:lnTo>
                    <a:lnTo>
                      <a:pt x="49" y="247"/>
                    </a:lnTo>
                    <a:lnTo>
                      <a:pt x="49" y="246"/>
                    </a:lnTo>
                    <a:lnTo>
                      <a:pt x="50" y="246"/>
                    </a:lnTo>
                    <a:lnTo>
                      <a:pt x="50" y="245"/>
                    </a:lnTo>
                    <a:lnTo>
                      <a:pt x="51" y="244"/>
                    </a:lnTo>
                    <a:lnTo>
                      <a:pt x="51" y="243"/>
                    </a:lnTo>
                    <a:lnTo>
                      <a:pt x="50" y="244"/>
                    </a:lnTo>
                    <a:lnTo>
                      <a:pt x="49" y="244"/>
                    </a:lnTo>
                    <a:lnTo>
                      <a:pt x="49" y="243"/>
                    </a:lnTo>
                    <a:lnTo>
                      <a:pt x="49" y="242"/>
                    </a:lnTo>
                    <a:lnTo>
                      <a:pt x="48" y="242"/>
                    </a:lnTo>
                    <a:lnTo>
                      <a:pt x="48" y="241"/>
                    </a:lnTo>
                    <a:lnTo>
                      <a:pt x="47" y="240"/>
                    </a:lnTo>
                    <a:lnTo>
                      <a:pt x="47" y="239"/>
                    </a:lnTo>
                    <a:lnTo>
                      <a:pt x="47" y="238"/>
                    </a:lnTo>
                    <a:lnTo>
                      <a:pt x="48" y="238"/>
                    </a:lnTo>
                    <a:lnTo>
                      <a:pt x="49" y="238"/>
                    </a:lnTo>
                    <a:lnTo>
                      <a:pt x="49" y="236"/>
                    </a:lnTo>
                    <a:lnTo>
                      <a:pt x="50" y="235"/>
                    </a:lnTo>
                    <a:lnTo>
                      <a:pt x="50" y="234"/>
                    </a:lnTo>
                    <a:lnTo>
                      <a:pt x="49" y="233"/>
                    </a:lnTo>
                    <a:lnTo>
                      <a:pt x="48" y="232"/>
                    </a:lnTo>
                    <a:lnTo>
                      <a:pt x="48" y="231"/>
                    </a:lnTo>
                    <a:lnTo>
                      <a:pt x="47" y="231"/>
                    </a:lnTo>
                    <a:lnTo>
                      <a:pt x="47" y="230"/>
                    </a:lnTo>
                    <a:lnTo>
                      <a:pt x="46" y="228"/>
                    </a:lnTo>
                    <a:lnTo>
                      <a:pt x="45" y="227"/>
                    </a:lnTo>
                    <a:lnTo>
                      <a:pt x="45" y="226"/>
                    </a:lnTo>
                    <a:lnTo>
                      <a:pt x="44" y="226"/>
                    </a:lnTo>
                    <a:lnTo>
                      <a:pt x="45" y="225"/>
                    </a:lnTo>
                    <a:lnTo>
                      <a:pt x="45" y="223"/>
                    </a:lnTo>
                    <a:lnTo>
                      <a:pt x="44" y="223"/>
                    </a:lnTo>
                    <a:lnTo>
                      <a:pt x="44" y="222"/>
                    </a:lnTo>
                    <a:lnTo>
                      <a:pt x="43" y="222"/>
                    </a:lnTo>
                    <a:lnTo>
                      <a:pt x="43" y="221"/>
                    </a:lnTo>
                    <a:lnTo>
                      <a:pt x="42" y="221"/>
                    </a:lnTo>
                    <a:lnTo>
                      <a:pt x="42" y="220"/>
                    </a:lnTo>
                    <a:lnTo>
                      <a:pt x="40" y="220"/>
                    </a:lnTo>
                    <a:lnTo>
                      <a:pt x="39" y="221"/>
                    </a:lnTo>
                    <a:lnTo>
                      <a:pt x="38" y="222"/>
                    </a:lnTo>
                    <a:lnTo>
                      <a:pt x="37" y="222"/>
                    </a:lnTo>
                    <a:lnTo>
                      <a:pt x="36" y="222"/>
                    </a:lnTo>
                    <a:lnTo>
                      <a:pt x="36" y="223"/>
                    </a:lnTo>
                    <a:lnTo>
                      <a:pt x="35" y="223"/>
                    </a:lnTo>
                    <a:lnTo>
                      <a:pt x="34" y="223"/>
                    </a:lnTo>
                    <a:lnTo>
                      <a:pt x="33" y="223"/>
                    </a:lnTo>
                    <a:lnTo>
                      <a:pt x="32" y="223"/>
                    </a:lnTo>
                    <a:lnTo>
                      <a:pt x="31" y="223"/>
                    </a:lnTo>
                    <a:lnTo>
                      <a:pt x="30" y="223"/>
                    </a:lnTo>
                    <a:lnTo>
                      <a:pt x="27" y="223"/>
                    </a:lnTo>
                    <a:lnTo>
                      <a:pt x="27" y="222"/>
                    </a:lnTo>
                    <a:lnTo>
                      <a:pt x="26" y="222"/>
                    </a:lnTo>
                    <a:lnTo>
                      <a:pt x="25" y="222"/>
                    </a:lnTo>
                    <a:lnTo>
                      <a:pt x="24" y="222"/>
                    </a:lnTo>
                    <a:lnTo>
                      <a:pt x="24" y="221"/>
                    </a:lnTo>
                    <a:lnTo>
                      <a:pt x="23" y="221"/>
                    </a:lnTo>
                    <a:lnTo>
                      <a:pt x="22" y="221"/>
                    </a:lnTo>
                    <a:lnTo>
                      <a:pt x="21" y="220"/>
                    </a:lnTo>
                    <a:lnTo>
                      <a:pt x="21" y="221"/>
                    </a:lnTo>
                    <a:lnTo>
                      <a:pt x="21" y="222"/>
                    </a:lnTo>
                    <a:lnTo>
                      <a:pt x="22" y="222"/>
                    </a:lnTo>
                    <a:lnTo>
                      <a:pt x="21" y="223"/>
                    </a:lnTo>
                    <a:lnTo>
                      <a:pt x="22" y="225"/>
                    </a:lnTo>
                    <a:lnTo>
                      <a:pt x="21" y="225"/>
                    </a:lnTo>
                    <a:lnTo>
                      <a:pt x="21" y="226"/>
                    </a:lnTo>
                    <a:lnTo>
                      <a:pt x="20" y="226"/>
                    </a:lnTo>
                    <a:lnTo>
                      <a:pt x="19" y="226"/>
                    </a:lnTo>
                    <a:lnTo>
                      <a:pt x="18" y="227"/>
                    </a:lnTo>
                    <a:lnTo>
                      <a:pt x="17" y="227"/>
                    </a:lnTo>
                    <a:lnTo>
                      <a:pt x="17" y="228"/>
                    </a:lnTo>
                    <a:lnTo>
                      <a:pt x="17" y="229"/>
                    </a:lnTo>
                    <a:lnTo>
                      <a:pt x="16" y="229"/>
                    </a:lnTo>
                    <a:lnTo>
                      <a:pt x="16" y="228"/>
                    </a:lnTo>
                    <a:lnTo>
                      <a:pt x="14" y="228"/>
                    </a:lnTo>
                    <a:lnTo>
                      <a:pt x="13" y="228"/>
                    </a:lnTo>
                    <a:lnTo>
                      <a:pt x="12" y="228"/>
                    </a:lnTo>
                    <a:lnTo>
                      <a:pt x="11" y="228"/>
                    </a:lnTo>
                    <a:lnTo>
                      <a:pt x="10" y="228"/>
                    </a:lnTo>
                    <a:lnTo>
                      <a:pt x="9" y="228"/>
                    </a:lnTo>
                    <a:lnTo>
                      <a:pt x="8" y="227"/>
                    </a:lnTo>
                    <a:lnTo>
                      <a:pt x="7" y="226"/>
                    </a:lnTo>
                    <a:lnTo>
                      <a:pt x="7" y="225"/>
                    </a:lnTo>
                    <a:lnTo>
                      <a:pt x="6" y="225"/>
                    </a:lnTo>
                    <a:lnTo>
                      <a:pt x="6" y="223"/>
                    </a:lnTo>
                    <a:lnTo>
                      <a:pt x="6" y="222"/>
                    </a:lnTo>
                    <a:lnTo>
                      <a:pt x="6" y="221"/>
                    </a:lnTo>
                    <a:lnTo>
                      <a:pt x="6" y="220"/>
                    </a:lnTo>
                    <a:lnTo>
                      <a:pt x="6" y="219"/>
                    </a:lnTo>
                    <a:lnTo>
                      <a:pt x="6" y="218"/>
                    </a:lnTo>
                    <a:lnTo>
                      <a:pt x="7" y="218"/>
                    </a:lnTo>
                    <a:lnTo>
                      <a:pt x="6" y="217"/>
                    </a:lnTo>
                    <a:lnTo>
                      <a:pt x="7" y="217"/>
                    </a:lnTo>
                    <a:lnTo>
                      <a:pt x="6" y="217"/>
                    </a:lnTo>
                    <a:lnTo>
                      <a:pt x="6" y="216"/>
                    </a:lnTo>
                    <a:lnTo>
                      <a:pt x="6" y="215"/>
                    </a:lnTo>
                    <a:lnTo>
                      <a:pt x="6" y="214"/>
                    </a:lnTo>
                    <a:lnTo>
                      <a:pt x="5" y="213"/>
                    </a:lnTo>
                    <a:lnTo>
                      <a:pt x="6" y="213"/>
                    </a:lnTo>
                    <a:lnTo>
                      <a:pt x="6" y="212"/>
                    </a:lnTo>
                    <a:lnTo>
                      <a:pt x="6" y="210"/>
                    </a:lnTo>
                    <a:lnTo>
                      <a:pt x="6" y="208"/>
                    </a:lnTo>
                    <a:lnTo>
                      <a:pt x="6" y="207"/>
                    </a:lnTo>
                    <a:lnTo>
                      <a:pt x="7" y="207"/>
                    </a:lnTo>
                    <a:lnTo>
                      <a:pt x="8" y="206"/>
                    </a:lnTo>
                    <a:lnTo>
                      <a:pt x="7" y="206"/>
                    </a:lnTo>
                    <a:lnTo>
                      <a:pt x="7" y="205"/>
                    </a:lnTo>
                    <a:lnTo>
                      <a:pt x="6" y="205"/>
                    </a:lnTo>
                    <a:lnTo>
                      <a:pt x="7" y="205"/>
                    </a:lnTo>
                    <a:lnTo>
                      <a:pt x="8" y="204"/>
                    </a:lnTo>
                    <a:lnTo>
                      <a:pt x="10" y="204"/>
                    </a:lnTo>
                    <a:lnTo>
                      <a:pt x="12" y="203"/>
                    </a:lnTo>
                    <a:lnTo>
                      <a:pt x="14" y="202"/>
                    </a:lnTo>
                    <a:lnTo>
                      <a:pt x="16" y="203"/>
                    </a:lnTo>
                    <a:lnTo>
                      <a:pt x="18" y="203"/>
                    </a:lnTo>
                    <a:lnTo>
                      <a:pt x="19" y="203"/>
                    </a:lnTo>
                    <a:lnTo>
                      <a:pt x="21" y="199"/>
                    </a:lnTo>
                    <a:lnTo>
                      <a:pt x="22" y="196"/>
                    </a:lnTo>
                    <a:lnTo>
                      <a:pt x="22" y="194"/>
                    </a:lnTo>
                    <a:lnTo>
                      <a:pt x="24" y="194"/>
                    </a:lnTo>
                    <a:lnTo>
                      <a:pt x="25" y="192"/>
                    </a:lnTo>
                    <a:lnTo>
                      <a:pt x="26" y="193"/>
                    </a:lnTo>
                    <a:lnTo>
                      <a:pt x="27" y="193"/>
                    </a:lnTo>
                    <a:lnTo>
                      <a:pt x="29" y="190"/>
                    </a:lnTo>
                    <a:lnTo>
                      <a:pt x="27" y="189"/>
                    </a:lnTo>
                    <a:lnTo>
                      <a:pt x="29" y="186"/>
                    </a:lnTo>
                    <a:lnTo>
                      <a:pt x="27" y="186"/>
                    </a:lnTo>
                    <a:lnTo>
                      <a:pt x="26" y="184"/>
                    </a:lnTo>
                    <a:lnTo>
                      <a:pt x="25" y="184"/>
                    </a:lnTo>
                    <a:lnTo>
                      <a:pt x="24" y="184"/>
                    </a:lnTo>
                    <a:lnTo>
                      <a:pt x="23" y="184"/>
                    </a:lnTo>
                    <a:lnTo>
                      <a:pt x="22" y="184"/>
                    </a:lnTo>
                    <a:lnTo>
                      <a:pt x="19" y="186"/>
                    </a:lnTo>
                    <a:lnTo>
                      <a:pt x="16" y="183"/>
                    </a:lnTo>
                    <a:lnTo>
                      <a:pt x="16" y="182"/>
                    </a:lnTo>
                    <a:lnTo>
                      <a:pt x="12" y="177"/>
                    </a:lnTo>
                    <a:lnTo>
                      <a:pt x="13" y="175"/>
                    </a:lnTo>
                    <a:lnTo>
                      <a:pt x="13" y="173"/>
                    </a:lnTo>
                    <a:lnTo>
                      <a:pt x="13" y="170"/>
                    </a:lnTo>
                    <a:lnTo>
                      <a:pt x="12" y="169"/>
                    </a:lnTo>
                    <a:lnTo>
                      <a:pt x="8" y="169"/>
                    </a:lnTo>
                    <a:lnTo>
                      <a:pt x="8" y="168"/>
                    </a:lnTo>
                    <a:lnTo>
                      <a:pt x="14" y="165"/>
                    </a:lnTo>
                    <a:lnTo>
                      <a:pt x="23" y="158"/>
                    </a:lnTo>
                    <a:lnTo>
                      <a:pt x="24" y="157"/>
                    </a:lnTo>
                    <a:lnTo>
                      <a:pt x="24" y="156"/>
                    </a:lnTo>
                    <a:lnTo>
                      <a:pt x="24" y="154"/>
                    </a:lnTo>
                    <a:lnTo>
                      <a:pt x="23" y="148"/>
                    </a:lnTo>
                    <a:lnTo>
                      <a:pt x="23" y="145"/>
                    </a:lnTo>
                    <a:lnTo>
                      <a:pt x="21" y="136"/>
                    </a:lnTo>
                    <a:lnTo>
                      <a:pt x="21" y="135"/>
                    </a:lnTo>
                    <a:lnTo>
                      <a:pt x="17" y="131"/>
                    </a:lnTo>
                    <a:lnTo>
                      <a:pt x="16" y="126"/>
                    </a:lnTo>
                    <a:lnTo>
                      <a:pt x="14" y="126"/>
                    </a:lnTo>
                    <a:lnTo>
                      <a:pt x="14" y="125"/>
                    </a:lnTo>
                    <a:lnTo>
                      <a:pt x="14" y="124"/>
                    </a:lnTo>
                    <a:lnTo>
                      <a:pt x="14" y="123"/>
                    </a:lnTo>
                    <a:lnTo>
                      <a:pt x="14" y="120"/>
                    </a:lnTo>
                    <a:lnTo>
                      <a:pt x="16" y="120"/>
                    </a:lnTo>
                    <a:lnTo>
                      <a:pt x="21" y="117"/>
                    </a:lnTo>
                    <a:lnTo>
                      <a:pt x="22" y="113"/>
                    </a:lnTo>
                    <a:lnTo>
                      <a:pt x="21" y="113"/>
                    </a:lnTo>
                    <a:lnTo>
                      <a:pt x="20" y="109"/>
                    </a:lnTo>
                    <a:lnTo>
                      <a:pt x="23" y="106"/>
                    </a:lnTo>
                    <a:lnTo>
                      <a:pt x="23" y="105"/>
                    </a:lnTo>
                    <a:lnTo>
                      <a:pt x="22" y="99"/>
                    </a:lnTo>
                    <a:lnTo>
                      <a:pt x="14" y="97"/>
                    </a:lnTo>
                    <a:lnTo>
                      <a:pt x="13" y="97"/>
                    </a:lnTo>
                    <a:lnTo>
                      <a:pt x="7" y="96"/>
                    </a:lnTo>
                    <a:lnTo>
                      <a:pt x="7" y="94"/>
                    </a:lnTo>
                    <a:lnTo>
                      <a:pt x="6" y="93"/>
                    </a:lnTo>
                    <a:lnTo>
                      <a:pt x="5" y="93"/>
                    </a:lnTo>
                    <a:lnTo>
                      <a:pt x="4" y="93"/>
                    </a:lnTo>
                    <a:lnTo>
                      <a:pt x="3" y="93"/>
                    </a:lnTo>
                    <a:lnTo>
                      <a:pt x="1" y="93"/>
                    </a:lnTo>
                    <a:lnTo>
                      <a:pt x="0" y="93"/>
                    </a:lnTo>
                    <a:lnTo>
                      <a:pt x="0" y="92"/>
                    </a:lnTo>
                    <a:lnTo>
                      <a:pt x="0" y="91"/>
                    </a:lnTo>
                    <a:lnTo>
                      <a:pt x="0" y="90"/>
                    </a:lnTo>
                    <a:lnTo>
                      <a:pt x="1" y="90"/>
                    </a:lnTo>
                    <a:lnTo>
                      <a:pt x="1" y="89"/>
                    </a:lnTo>
                    <a:lnTo>
                      <a:pt x="3" y="88"/>
                    </a:lnTo>
                    <a:lnTo>
                      <a:pt x="3" y="87"/>
                    </a:lnTo>
                    <a:lnTo>
                      <a:pt x="4" y="85"/>
                    </a:lnTo>
                    <a:lnTo>
                      <a:pt x="4" y="84"/>
                    </a:lnTo>
                    <a:lnTo>
                      <a:pt x="5" y="83"/>
                    </a:lnTo>
                    <a:lnTo>
                      <a:pt x="5" y="81"/>
                    </a:lnTo>
                    <a:lnTo>
                      <a:pt x="5" y="80"/>
                    </a:lnTo>
                    <a:lnTo>
                      <a:pt x="4" y="79"/>
                    </a:lnTo>
                    <a:lnTo>
                      <a:pt x="4" y="78"/>
                    </a:lnTo>
                    <a:lnTo>
                      <a:pt x="4" y="77"/>
                    </a:lnTo>
                    <a:lnTo>
                      <a:pt x="5" y="77"/>
                    </a:lnTo>
                    <a:lnTo>
                      <a:pt x="5" y="76"/>
                    </a:lnTo>
                    <a:lnTo>
                      <a:pt x="4" y="76"/>
                    </a:lnTo>
                    <a:lnTo>
                      <a:pt x="4" y="75"/>
                    </a:lnTo>
                    <a:lnTo>
                      <a:pt x="5" y="74"/>
                    </a:lnTo>
                    <a:lnTo>
                      <a:pt x="5" y="73"/>
                    </a:lnTo>
                    <a:lnTo>
                      <a:pt x="5" y="72"/>
                    </a:lnTo>
                    <a:lnTo>
                      <a:pt x="5" y="71"/>
                    </a:lnTo>
                    <a:lnTo>
                      <a:pt x="6" y="69"/>
                    </a:lnTo>
                    <a:lnTo>
                      <a:pt x="6" y="68"/>
                    </a:lnTo>
                    <a:lnTo>
                      <a:pt x="6" y="67"/>
                    </a:lnTo>
                    <a:lnTo>
                      <a:pt x="6" y="66"/>
                    </a:lnTo>
                    <a:lnTo>
                      <a:pt x="7" y="66"/>
                    </a:lnTo>
                    <a:lnTo>
                      <a:pt x="7" y="65"/>
                    </a:lnTo>
                    <a:lnTo>
                      <a:pt x="7" y="64"/>
                    </a:lnTo>
                    <a:lnTo>
                      <a:pt x="8" y="64"/>
                    </a:lnTo>
                    <a:lnTo>
                      <a:pt x="9" y="63"/>
                    </a:lnTo>
                    <a:lnTo>
                      <a:pt x="11" y="63"/>
                    </a:lnTo>
                    <a:lnTo>
                      <a:pt x="12" y="63"/>
                    </a:lnTo>
                    <a:lnTo>
                      <a:pt x="13" y="63"/>
                    </a:lnTo>
                    <a:lnTo>
                      <a:pt x="14" y="63"/>
                    </a:lnTo>
                    <a:lnTo>
                      <a:pt x="14" y="62"/>
                    </a:lnTo>
                    <a:lnTo>
                      <a:pt x="14" y="63"/>
                    </a:lnTo>
                    <a:lnTo>
                      <a:pt x="16" y="63"/>
                    </a:lnTo>
                    <a:lnTo>
                      <a:pt x="16" y="64"/>
                    </a:lnTo>
                    <a:lnTo>
                      <a:pt x="17" y="64"/>
                    </a:lnTo>
                    <a:lnTo>
                      <a:pt x="17" y="65"/>
                    </a:lnTo>
                    <a:lnTo>
                      <a:pt x="18" y="65"/>
                    </a:lnTo>
                    <a:lnTo>
                      <a:pt x="18" y="66"/>
                    </a:lnTo>
                    <a:lnTo>
                      <a:pt x="19" y="66"/>
                    </a:lnTo>
                    <a:lnTo>
                      <a:pt x="20" y="66"/>
                    </a:lnTo>
                    <a:lnTo>
                      <a:pt x="20" y="67"/>
                    </a:lnTo>
                    <a:lnTo>
                      <a:pt x="21" y="67"/>
                    </a:lnTo>
                    <a:lnTo>
                      <a:pt x="21" y="68"/>
                    </a:lnTo>
                    <a:lnTo>
                      <a:pt x="22" y="68"/>
                    </a:lnTo>
                    <a:lnTo>
                      <a:pt x="23" y="69"/>
                    </a:lnTo>
                    <a:lnTo>
                      <a:pt x="24" y="69"/>
                    </a:lnTo>
                    <a:lnTo>
                      <a:pt x="25" y="69"/>
                    </a:lnTo>
                    <a:lnTo>
                      <a:pt x="26" y="71"/>
                    </a:lnTo>
                    <a:lnTo>
                      <a:pt x="27" y="71"/>
                    </a:lnTo>
                    <a:lnTo>
                      <a:pt x="27" y="72"/>
                    </a:lnTo>
                    <a:lnTo>
                      <a:pt x="29" y="72"/>
                    </a:lnTo>
                    <a:lnTo>
                      <a:pt x="29" y="73"/>
                    </a:lnTo>
                    <a:lnTo>
                      <a:pt x="30" y="73"/>
                    </a:lnTo>
                    <a:lnTo>
                      <a:pt x="31" y="73"/>
                    </a:lnTo>
                    <a:lnTo>
                      <a:pt x="32" y="73"/>
                    </a:lnTo>
                    <a:lnTo>
                      <a:pt x="32" y="74"/>
                    </a:lnTo>
                    <a:lnTo>
                      <a:pt x="33" y="74"/>
                    </a:lnTo>
                    <a:lnTo>
                      <a:pt x="33" y="73"/>
                    </a:lnTo>
                    <a:lnTo>
                      <a:pt x="34" y="73"/>
                    </a:lnTo>
                    <a:lnTo>
                      <a:pt x="35" y="72"/>
                    </a:lnTo>
                    <a:lnTo>
                      <a:pt x="36" y="72"/>
                    </a:lnTo>
                    <a:lnTo>
                      <a:pt x="36" y="73"/>
                    </a:lnTo>
                    <a:lnTo>
                      <a:pt x="36" y="72"/>
                    </a:lnTo>
                    <a:lnTo>
                      <a:pt x="37" y="72"/>
                    </a:lnTo>
                    <a:lnTo>
                      <a:pt x="38" y="71"/>
                    </a:lnTo>
                    <a:lnTo>
                      <a:pt x="39" y="71"/>
                    </a:lnTo>
                    <a:lnTo>
                      <a:pt x="71" y="59"/>
                    </a:lnTo>
                    <a:lnTo>
                      <a:pt x="73" y="58"/>
                    </a:lnTo>
                    <a:lnTo>
                      <a:pt x="75" y="60"/>
                    </a:lnTo>
                    <a:lnTo>
                      <a:pt x="76" y="60"/>
                    </a:lnTo>
                    <a:lnTo>
                      <a:pt x="76" y="61"/>
                    </a:lnTo>
                    <a:lnTo>
                      <a:pt x="77" y="61"/>
                    </a:lnTo>
                    <a:lnTo>
                      <a:pt x="77" y="60"/>
                    </a:lnTo>
                    <a:lnTo>
                      <a:pt x="78" y="61"/>
                    </a:lnTo>
                    <a:lnTo>
                      <a:pt x="80" y="61"/>
                    </a:lnTo>
                    <a:lnTo>
                      <a:pt x="81" y="61"/>
                    </a:lnTo>
                    <a:lnTo>
                      <a:pt x="82" y="61"/>
                    </a:lnTo>
                    <a:lnTo>
                      <a:pt x="83" y="61"/>
                    </a:lnTo>
                    <a:lnTo>
                      <a:pt x="84" y="61"/>
                    </a:lnTo>
                    <a:lnTo>
                      <a:pt x="84" y="62"/>
                    </a:lnTo>
                    <a:lnTo>
                      <a:pt x="84" y="63"/>
                    </a:lnTo>
                    <a:lnTo>
                      <a:pt x="85" y="63"/>
                    </a:lnTo>
                    <a:lnTo>
                      <a:pt x="85" y="64"/>
                    </a:lnTo>
                    <a:lnTo>
                      <a:pt x="86" y="65"/>
                    </a:lnTo>
                    <a:lnTo>
                      <a:pt x="87" y="65"/>
                    </a:lnTo>
                    <a:lnTo>
                      <a:pt x="88" y="65"/>
                    </a:lnTo>
                    <a:lnTo>
                      <a:pt x="89" y="65"/>
                    </a:lnTo>
                    <a:lnTo>
                      <a:pt x="90" y="65"/>
                    </a:lnTo>
                    <a:lnTo>
                      <a:pt x="91" y="65"/>
                    </a:lnTo>
                    <a:lnTo>
                      <a:pt x="93" y="65"/>
                    </a:lnTo>
                    <a:lnTo>
                      <a:pt x="94" y="65"/>
                    </a:lnTo>
                    <a:lnTo>
                      <a:pt x="95" y="65"/>
                    </a:lnTo>
                    <a:lnTo>
                      <a:pt x="95" y="66"/>
                    </a:lnTo>
                    <a:lnTo>
                      <a:pt x="96" y="66"/>
                    </a:lnTo>
                    <a:lnTo>
                      <a:pt x="96" y="67"/>
                    </a:lnTo>
                    <a:lnTo>
                      <a:pt x="97" y="67"/>
                    </a:lnTo>
                    <a:lnTo>
                      <a:pt x="98" y="68"/>
                    </a:lnTo>
                    <a:lnTo>
                      <a:pt x="99" y="68"/>
                    </a:lnTo>
                    <a:lnTo>
                      <a:pt x="100" y="68"/>
                    </a:lnTo>
                    <a:lnTo>
                      <a:pt x="101" y="69"/>
                    </a:lnTo>
                    <a:lnTo>
                      <a:pt x="102" y="69"/>
                    </a:lnTo>
                    <a:lnTo>
                      <a:pt x="103" y="69"/>
                    </a:lnTo>
                    <a:lnTo>
                      <a:pt x="104" y="71"/>
                    </a:lnTo>
                    <a:lnTo>
                      <a:pt x="106" y="71"/>
                    </a:lnTo>
                    <a:lnTo>
                      <a:pt x="106" y="72"/>
                    </a:lnTo>
                    <a:lnTo>
                      <a:pt x="107" y="72"/>
                    </a:lnTo>
                    <a:lnTo>
                      <a:pt x="107" y="73"/>
                    </a:lnTo>
                    <a:lnTo>
                      <a:pt x="108" y="74"/>
                    </a:lnTo>
                    <a:lnTo>
                      <a:pt x="137" y="74"/>
                    </a:lnTo>
                    <a:lnTo>
                      <a:pt x="145" y="74"/>
                    </a:lnTo>
                    <a:lnTo>
                      <a:pt x="148" y="74"/>
                    </a:lnTo>
                    <a:lnTo>
                      <a:pt x="162" y="74"/>
                    </a:lnTo>
                    <a:lnTo>
                      <a:pt x="189" y="74"/>
                    </a:lnTo>
                    <a:lnTo>
                      <a:pt x="190" y="74"/>
                    </a:lnTo>
                    <a:lnTo>
                      <a:pt x="190" y="73"/>
                    </a:lnTo>
                    <a:lnTo>
                      <a:pt x="189" y="72"/>
                    </a:lnTo>
                    <a:lnTo>
                      <a:pt x="187" y="71"/>
                    </a:lnTo>
                    <a:lnTo>
                      <a:pt x="184" y="69"/>
                    </a:lnTo>
                    <a:lnTo>
                      <a:pt x="180" y="68"/>
                    </a:lnTo>
                    <a:lnTo>
                      <a:pt x="180" y="67"/>
                    </a:lnTo>
                    <a:lnTo>
                      <a:pt x="178" y="60"/>
                    </a:lnTo>
                    <a:lnTo>
                      <a:pt x="175" y="54"/>
                    </a:lnTo>
                    <a:lnTo>
                      <a:pt x="169" y="47"/>
                    </a:lnTo>
                    <a:lnTo>
                      <a:pt x="167" y="43"/>
                    </a:lnTo>
                    <a:lnTo>
                      <a:pt x="167" y="39"/>
                    </a:lnTo>
                    <a:lnTo>
                      <a:pt x="165" y="35"/>
                    </a:lnTo>
                    <a:lnTo>
                      <a:pt x="163" y="33"/>
                    </a:lnTo>
                    <a:lnTo>
                      <a:pt x="159" y="33"/>
                    </a:lnTo>
                    <a:lnTo>
                      <a:pt x="154" y="34"/>
                    </a:lnTo>
                    <a:lnTo>
                      <a:pt x="153" y="32"/>
                    </a:lnTo>
                    <a:lnTo>
                      <a:pt x="151" y="29"/>
                    </a:lnTo>
                    <a:lnTo>
                      <a:pt x="151" y="23"/>
                    </a:lnTo>
                    <a:lnTo>
                      <a:pt x="150" y="20"/>
                    </a:lnTo>
                    <a:lnTo>
                      <a:pt x="148" y="14"/>
                    </a:lnTo>
                    <a:lnTo>
                      <a:pt x="147" y="14"/>
                    </a:lnTo>
                    <a:lnTo>
                      <a:pt x="146" y="14"/>
                    </a:lnTo>
                    <a:lnTo>
                      <a:pt x="145" y="12"/>
                    </a:lnTo>
                    <a:lnTo>
                      <a:pt x="143" y="9"/>
                    </a:lnTo>
                    <a:lnTo>
                      <a:pt x="143" y="3"/>
                    </a:lnTo>
                    <a:lnTo>
                      <a:pt x="142" y="0"/>
                    </a:lnTo>
                    <a:lnTo>
                      <a:pt x="145" y="0"/>
                    </a:lnTo>
                    <a:lnTo>
                      <a:pt x="177" y="0"/>
                    </a:lnTo>
                    <a:lnTo>
                      <a:pt x="176" y="4"/>
                    </a:lnTo>
                    <a:lnTo>
                      <a:pt x="181" y="12"/>
                    </a:lnTo>
                    <a:lnTo>
                      <a:pt x="184" y="13"/>
                    </a:lnTo>
                    <a:lnTo>
                      <a:pt x="186" y="15"/>
                    </a:lnTo>
                    <a:lnTo>
                      <a:pt x="191" y="16"/>
                    </a:lnTo>
                    <a:lnTo>
                      <a:pt x="192" y="17"/>
                    </a:lnTo>
                    <a:lnTo>
                      <a:pt x="201" y="26"/>
                    </a:lnTo>
                    <a:lnTo>
                      <a:pt x="200" y="26"/>
                    </a:lnTo>
                    <a:lnTo>
                      <a:pt x="210" y="35"/>
                    </a:lnTo>
                    <a:lnTo>
                      <a:pt x="211" y="38"/>
                    </a:lnTo>
                    <a:lnTo>
                      <a:pt x="214" y="39"/>
                    </a:lnTo>
                    <a:lnTo>
                      <a:pt x="214" y="40"/>
                    </a:lnTo>
                    <a:lnTo>
                      <a:pt x="216" y="45"/>
                    </a:lnTo>
                    <a:lnTo>
                      <a:pt x="214" y="49"/>
                    </a:lnTo>
                    <a:lnTo>
                      <a:pt x="217" y="53"/>
                    </a:lnTo>
                    <a:lnTo>
                      <a:pt x="217" y="54"/>
                    </a:lnTo>
                    <a:lnTo>
                      <a:pt x="217" y="55"/>
                    </a:lnTo>
                    <a:lnTo>
                      <a:pt x="218" y="58"/>
                    </a:lnTo>
                    <a:lnTo>
                      <a:pt x="220" y="59"/>
                    </a:lnTo>
                    <a:lnTo>
                      <a:pt x="222" y="60"/>
                    </a:lnTo>
                    <a:lnTo>
                      <a:pt x="220" y="62"/>
                    </a:lnTo>
                    <a:lnTo>
                      <a:pt x="220" y="63"/>
                    </a:lnTo>
                    <a:lnTo>
                      <a:pt x="220" y="65"/>
                    </a:lnTo>
                    <a:lnTo>
                      <a:pt x="222" y="68"/>
                    </a:lnTo>
                    <a:lnTo>
                      <a:pt x="222" y="71"/>
                    </a:lnTo>
                    <a:lnTo>
                      <a:pt x="223" y="72"/>
                    </a:lnTo>
                    <a:lnTo>
                      <a:pt x="223" y="73"/>
                    </a:lnTo>
                    <a:lnTo>
                      <a:pt x="224" y="74"/>
                    </a:lnTo>
                    <a:lnTo>
                      <a:pt x="223" y="75"/>
                    </a:lnTo>
                    <a:lnTo>
                      <a:pt x="223" y="77"/>
                    </a:lnTo>
                    <a:lnTo>
                      <a:pt x="223" y="79"/>
                    </a:lnTo>
                    <a:lnTo>
                      <a:pt x="220" y="81"/>
                    </a:lnTo>
                    <a:lnTo>
                      <a:pt x="222" y="83"/>
                    </a:lnTo>
                    <a:lnTo>
                      <a:pt x="222" y="85"/>
                    </a:lnTo>
                    <a:lnTo>
                      <a:pt x="220" y="86"/>
                    </a:lnTo>
                    <a:lnTo>
                      <a:pt x="218" y="87"/>
                    </a:lnTo>
                    <a:lnTo>
                      <a:pt x="216" y="88"/>
                    </a:lnTo>
                    <a:lnTo>
                      <a:pt x="213" y="89"/>
                    </a:lnTo>
                    <a:lnTo>
                      <a:pt x="212" y="89"/>
                    </a:lnTo>
                    <a:lnTo>
                      <a:pt x="212" y="90"/>
                    </a:lnTo>
                    <a:lnTo>
                      <a:pt x="209" y="94"/>
                    </a:lnTo>
                    <a:lnTo>
                      <a:pt x="211" y="96"/>
                    </a:lnTo>
                    <a:lnTo>
                      <a:pt x="213" y="97"/>
                    </a:lnTo>
                    <a:lnTo>
                      <a:pt x="215" y="98"/>
                    </a:lnTo>
                    <a:lnTo>
                      <a:pt x="217" y="99"/>
                    </a:lnTo>
                    <a:lnTo>
                      <a:pt x="217" y="100"/>
                    </a:lnTo>
                    <a:lnTo>
                      <a:pt x="218" y="100"/>
                    </a:lnTo>
                    <a:lnTo>
                      <a:pt x="223" y="102"/>
                    </a:lnTo>
                    <a:lnTo>
                      <a:pt x="223" y="103"/>
                    </a:lnTo>
                    <a:lnTo>
                      <a:pt x="223" y="104"/>
                    </a:lnTo>
                    <a:lnTo>
                      <a:pt x="222" y="105"/>
                    </a:lnTo>
                    <a:lnTo>
                      <a:pt x="222" y="106"/>
                    </a:lnTo>
                    <a:lnTo>
                      <a:pt x="223" y="107"/>
                    </a:lnTo>
                    <a:lnTo>
                      <a:pt x="223" y="109"/>
                    </a:lnTo>
                    <a:lnTo>
                      <a:pt x="223" y="110"/>
                    </a:lnTo>
                    <a:lnTo>
                      <a:pt x="224" y="111"/>
                    </a:lnTo>
                    <a:lnTo>
                      <a:pt x="224" y="114"/>
                    </a:lnTo>
                    <a:lnTo>
                      <a:pt x="223" y="114"/>
                    </a:lnTo>
                    <a:lnTo>
                      <a:pt x="223" y="116"/>
                    </a:lnTo>
                    <a:lnTo>
                      <a:pt x="223" y="117"/>
                    </a:lnTo>
                    <a:lnTo>
                      <a:pt x="222" y="118"/>
                    </a:lnTo>
                    <a:lnTo>
                      <a:pt x="222" y="119"/>
                    </a:lnTo>
                    <a:lnTo>
                      <a:pt x="223" y="124"/>
                    </a:lnTo>
                    <a:lnTo>
                      <a:pt x="223" y="125"/>
                    </a:lnTo>
                    <a:lnTo>
                      <a:pt x="226" y="133"/>
                    </a:lnTo>
                    <a:lnTo>
                      <a:pt x="227" y="136"/>
                    </a:lnTo>
                    <a:lnTo>
                      <a:pt x="231" y="142"/>
                    </a:lnTo>
                    <a:lnTo>
                      <a:pt x="232" y="143"/>
                    </a:lnTo>
                    <a:lnTo>
                      <a:pt x="236" y="149"/>
                    </a:lnTo>
                    <a:lnTo>
                      <a:pt x="244" y="157"/>
                    </a:lnTo>
                    <a:lnTo>
                      <a:pt x="245" y="160"/>
                    </a:lnTo>
                    <a:lnTo>
                      <a:pt x="245" y="163"/>
                    </a:lnTo>
                    <a:lnTo>
                      <a:pt x="244" y="164"/>
                    </a:lnTo>
                    <a:lnTo>
                      <a:pt x="244" y="166"/>
                    </a:lnTo>
                    <a:lnTo>
                      <a:pt x="244" y="169"/>
                    </a:lnTo>
                    <a:lnTo>
                      <a:pt x="245" y="171"/>
                    </a:lnTo>
                    <a:lnTo>
                      <a:pt x="252" y="176"/>
                    </a:lnTo>
                    <a:lnTo>
                      <a:pt x="253" y="178"/>
                    </a:lnTo>
                    <a:lnTo>
                      <a:pt x="256" y="180"/>
                    </a:lnTo>
                    <a:lnTo>
                      <a:pt x="258" y="181"/>
                    </a:lnTo>
                    <a:lnTo>
                      <a:pt x="262" y="182"/>
                    </a:lnTo>
                    <a:lnTo>
                      <a:pt x="264" y="182"/>
                    </a:lnTo>
                    <a:lnTo>
                      <a:pt x="266" y="182"/>
                    </a:lnTo>
                    <a:lnTo>
                      <a:pt x="269" y="182"/>
                    </a:lnTo>
                    <a:lnTo>
                      <a:pt x="271" y="183"/>
                    </a:lnTo>
                    <a:lnTo>
                      <a:pt x="274" y="183"/>
                    </a:lnTo>
                    <a:lnTo>
                      <a:pt x="275" y="183"/>
                    </a:lnTo>
                    <a:lnTo>
                      <a:pt x="276" y="183"/>
                    </a:lnTo>
                    <a:lnTo>
                      <a:pt x="278" y="183"/>
                    </a:lnTo>
                    <a:lnTo>
                      <a:pt x="279" y="182"/>
                    </a:lnTo>
                    <a:lnTo>
                      <a:pt x="280" y="182"/>
                    </a:lnTo>
                    <a:lnTo>
                      <a:pt x="281" y="182"/>
                    </a:lnTo>
                    <a:lnTo>
                      <a:pt x="283" y="182"/>
                    </a:lnTo>
                    <a:lnTo>
                      <a:pt x="287" y="182"/>
                    </a:lnTo>
                    <a:lnTo>
                      <a:pt x="289" y="182"/>
                    </a:lnTo>
                    <a:lnTo>
                      <a:pt x="291" y="182"/>
                    </a:lnTo>
                    <a:lnTo>
                      <a:pt x="293" y="183"/>
                    </a:lnTo>
                    <a:lnTo>
                      <a:pt x="294" y="183"/>
                    </a:lnTo>
                    <a:lnTo>
                      <a:pt x="300" y="184"/>
                    </a:lnTo>
                    <a:lnTo>
                      <a:pt x="302" y="184"/>
                    </a:lnTo>
                    <a:lnTo>
                      <a:pt x="303" y="186"/>
                    </a:lnTo>
                    <a:lnTo>
                      <a:pt x="304" y="186"/>
                    </a:lnTo>
                    <a:lnTo>
                      <a:pt x="306" y="187"/>
                    </a:lnTo>
                    <a:lnTo>
                      <a:pt x="309" y="188"/>
                    </a:lnTo>
                    <a:lnTo>
                      <a:pt x="311" y="189"/>
                    </a:lnTo>
                    <a:lnTo>
                      <a:pt x="313" y="190"/>
                    </a:lnTo>
                    <a:lnTo>
                      <a:pt x="315" y="191"/>
                    </a:lnTo>
                    <a:lnTo>
                      <a:pt x="315" y="192"/>
                    </a:lnTo>
                    <a:lnTo>
                      <a:pt x="315" y="193"/>
                    </a:lnTo>
                    <a:lnTo>
                      <a:pt x="314" y="194"/>
                    </a:lnTo>
                    <a:lnTo>
                      <a:pt x="313" y="194"/>
                    </a:lnTo>
                    <a:lnTo>
                      <a:pt x="311" y="195"/>
                    </a:lnTo>
                    <a:lnTo>
                      <a:pt x="311" y="196"/>
                    </a:lnTo>
                    <a:lnTo>
                      <a:pt x="310" y="196"/>
                    </a:lnTo>
                    <a:lnTo>
                      <a:pt x="310" y="197"/>
                    </a:lnTo>
                    <a:lnTo>
                      <a:pt x="311" y="199"/>
                    </a:lnTo>
                    <a:lnTo>
                      <a:pt x="310" y="199"/>
                    </a:lnTo>
                    <a:lnTo>
                      <a:pt x="310" y="200"/>
                    </a:lnTo>
                    <a:lnTo>
                      <a:pt x="309" y="201"/>
                    </a:lnTo>
                    <a:lnTo>
                      <a:pt x="308" y="201"/>
                    </a:lnTo>
                    <a:lnTo>
                      <a:pt x="308" y="202"/>
                    </a:lnTo>
                    <a:lnTo>
                      <a:pt x="307" y="204"/>
                    </a:lnTo>
                    <a:lnTo>
                      <a:pt x="307" y="205"/>
                    </a:lnTo>
                    <a:lnTo>
                      <a:pt x="306" y="206"/>
                    </a:lnTo>
                    <a:lnTo>
                      <a:pt x="306" y="207"/>
                    </a:lnTo>
                    <a:lnTo>
                      <a:pt x="306" y="208"/>
                    </a:lnTo>
                    <a:lnTo>
                      <a:pt x="307" y="208"/>
                    </a:lnTo>
                    <a:lnTo>
                      <a:pt x="307" y="209"/>
                    </a:lnTo>
                    <a:lnTo>
                      <a:pt x="306" y="210"/>
                    </a:lnTo>
                    <a:lnTo>
                      <a:pt x="305" y="210"/>
                    </a:lnTo>
                    <a:lnTo>
                      <a:pt x="306" y="210"/>
                    </a:lnTo>
                    <a:lnTo>
                      <a:pt x="306" y="212"/>
                    </a:lnTo>
                    <a:lnTo>
                      <a:pt x="306" y="213"/>
                    </a:lnTo>
                    <a:lnTo>
                      <a:pt x="307" y="213"/>
                    </a:lnTo>
                    <a:lnTo>
                      <a:pt x="307" y="214"/>
                    </a:lnTo>
                    <a:lnTo>
                      <a:pt x="308" y="214"/>
                    </a:lnTo>
                    <a:lnTo>
                      <a:pt x="308" y="215"/>
                    </a:lnTo>
                    <a:lnTo>
                      <a:pt x="310" y="216"/>
                    </a:lnTo>
                    <a:lnTo>
                      <a:pt x="311" y="216"/>
                    </a:lnTo>
                    <a:lnTo>
                      <a:pt x="313" y="217"/>
                    </a:lnTo>
                    <a:lnTo>
                      <a:pt x="314" y="217"/>
                    </a:lnTo>
                    <a:lnTo>
                      <a:pt x="316" y="219"/>
                    </a:lnTo>
                    <a:lnTo>
                      <a:pt x="316" y="220"/>
                    </a:lnTo>
                    <a:lnTo>
                      <a:pt x="317" y="220"/>
                    </a:lnTo>
                    <a:lnTo>
                      <a:pt x="317" y="221"/>
                    </a:lnTo>
                    <a:lnTo>
                      <a:pt x="317" y="222"/>
                    </a:lnTo>
                    <a:lnTo>
                      <a:pt x="317" y="225"/>
                    </a:lnTo>
                    <a:lnTo>
                      <a:pt x="316" y="225"/>
                    </a:lnTo>
                    <a:lnTo>
                      <a:pt x="316" y="226"/>
                    </a:lnTo>
                    <a:lnTo>
                      <a:pt x="317" y="226"/>
                    </a:lnTo>
                    <a:lnTo>
                      <a:pt x="317" y="227"/>
                    </a:lnTo>
                    <a:lnTo>
                      <a:pt x="317" y="229"/>
                    </a:lnTo>
                    <a:lnTo>
                      <a:pt x="318" y="230"/>
                    </a:lnTo>
                    <a:lnTo>
                      <a:pt x="318" y="231"/>
                    </a:lnTo>
                    <a:lnTo>
                      <a:pt x="318" y="232"/>
                    </a:lnTo>
                    <a:lnTo>
                      <a:pt x="318" y="233"/>
                    </a:lnTo>
                    <a:lnTo>
                      <a:pt x="318" y="234"/>
                    </a:lnTo>
                    <a:lnTo>
                      <a:pt x="319" y="234"/>
                    </a:lnTo>
                    <a:lnTo>
                      <a:pt x="319" y="235"/>
                    </a:lnTo>
                    <a:lnTo>
                      <a:pt x="319" y="236"/>
                    </a:lnTo>
                    <a:lnTo>
                      <a:pt x="319" y="238"/>
                    </a:lnTo>
                    <a:lnTo>
                      <a:pt x="319" y="240"/>
                    </a:lnTo>
                    <a:lnTo>
                      <a:pt x="319" y="241"/>
                    </a:lnTo>
                    <a:lnTo>
                      <a:pt x="319" y="247"/>
                    </a:lnTo>
                    <a:lnTo>
                      <a:pt x="319" y="248"/>
                    </a:lnTo>
                    <a:lnTo>
                      <a:pt x="318" y="248"/>
                    </a:lnTo>
                    <a:lnTo>
                      <a:pt x="317" y="250"/>
                    </a:lnTo>
                    <a:lnTo>
                      <a:pt x="317" y="251"/>
                    </a:lnTo>
                    <a:lnTo>
                      <a:pt x="317" y="252"/>
                    </a:lnTo>
                    <a:lnTo>
                      <a:pt x="317" y="253"/>
                    </a:lnTo>
                    <a:lnTo>
                      <a:pt x="317" y="254"/>
                    </a:lnTo>
                    <a:lnTo>
                      <a:pt x="318" y="254"/>
                    </a:lnTo>
                    <a:lnTo>
                      <a:pt x="319" y="255"/>
                    </a:lnTo>
                    <a:lnTo>
                      <a:pt x="320" y="255"/>
                    </a:lnTo>
                    <a:lnTo>
                      <a:pt x="320" y="257"/>
                    </a:lnTo>
                    <a:lnTo>
                      <a:pt x="321" y="258"/>
                    </a:lnTo>
                    <a:lnTo>
                      <a:pt x="322" y="258"/>
                    </a:lnTo>
                    <a:lnTo>
                      <a:pt x="323" y="260"/>
                    </a:lnTo>
                    <a:lnTo>
                      <a:pt x="323" y="261"/>
                    </a:lnTo>
                    <a:lnTo>
                      <a:pt x="322" y="265"/>
                    </a:lnTo>
                    <a:lnTo>
                      <a:pt x="321" y="266"/>
                    </a:lnTo>
                    <a:lnTo>
                      <a:pt x="319" y="268"/>
                    </a:lnTo>
                    <a:lnTo>
                      <a:pt x="319" y="269"/>
                    </a:lnTo>
                    <a:lnTo>
                      <a:pt x="319" y="270"/>
                    </a:lnTo>
                    <a:lnTo>
                      <a:pt x="318" y="270"/>
                    </a:lnTo>
                    <a:lnTo>
                      <a:pt x="317" y="271"/>
                    </a:lnTo>
                    <a:lnTo>
                      <a:pt x="317" y="272"/>
                    </a:lnTo>
                    <a:lnTo>
                      <a:pt x="317" y="273"/>
                    </a:lnTo>
                    <a:lnTo>
                      <a:pt x="317" y="274"/>
                    </a:lnTo>
                    <a:lnTo>
                      <a:pt x="317" y="276"/>
                    </a:lnTo>
                    <a:lnTo>
                      <a:pt x="318" y="276"/>
                    </a:lnTo>
                    <a:lnTo>
                      <a:pt x="318" y="277"/>
                    </a:lnTo>
                    <a:lnTo>
                      <a:pt x="319" y="278"/>
                    </a:lnTo>
                    <a:lnTo>
                      <a:pt x="320" y="278"/>
                    </a:lnTo>
                    <a:lnTo>
                      <a:pt x="320" y="279"/>
                    </a:lnTo>
                    <a:lnTo>
                      <a:pt x="321" y="280"/>
                    </a:lnTo>
                    <a:lnTo>
                      <a:pt x="321" y="281"/>
                    </a:lnTo>
                    <a:lnTo>
                      <a:pt x="368" y="281"/>
                    </a:lnTo>
                    <a:lnTo>
                      <a:pt x="367" y="282"/>
                    </a:lnTo>
                    <a:lnTo>
                      <a:pt x="367" y="283"/>
                    </a:lnTo>
                    <a:lnTo>
                      <a:pt x="368" y="283"/>
                    </a:lnTo>
                    <a:lnTo>
                      <a:pt x="369" y="283"/>
                    </a:lnTo>
                    <a:lnTo>
                      <a:pt x="370" y="283"/>
                    </a:lnTo>
                    <a:lnTo>
                      <a:pt x="370" y="284"/>
                    </a:lnTo>
                    <a:lnTo>
                      <a:pt x="372" y="284"/>
                    </a:lnTo>
                    <a:lnTo>
                      <a:pt x="373" y="285"/>
                    </a:lnTo>
                    <a:lnTo>
                      <a:pt x="374" y="285"/>
                    </a:lnTo>
                    <a:lnTo>
                      <a:pt x="374" y="286"/>
                    </a:lnTo>
                    <a:lnTo>
                      <a:pt x="374" y="287"/>
                    </a:lnTo>
                    <a:lnTo>
                      <a:pt x="374" y="290"/>
                    </a:lnTo>
                    <a:lnTo>
                      <a:pt x="374" y="291"/>
                    </a:lnTo>
                    <a:lnTo>
                      <a:pt x="375" y="291"/>
                    </a:lnTo>
                    <a:lnTo>
                      <a:pt x="375" y="292"/>
                    </a:lnTo>
                    <a:lnTo>
                      <a:pt x="375" y="293"/>
                    </a:lnTo>
                    <a:lnTo>
                      <a:pt x="377" y="293"/>
                    </a:lnTo>
                    <a:lnTo>
                      <a:pt x="377" y="294"/>
                    </a:lnTo>
                    <a:lnTo>
                      <a:pt x="378" y="294"/>
                    </a:lnTo>
                    <a:lnTo>
                      <a:pt x="378" y="295"/>
                    </a:lnTo>
                    <a:lnTo>
                      <a:pt x="378" y="296"/>
                    </a:lnTo>
                    <a:lnTo>
                      <a:pt x="379" y="296"/>
                    </a:lnTo>
                    <a:lnTo>
                      <a:pt x="379" y="297"/>
                    </a:lnTo>
                    <a:lnTo>
                      <a:pt x="379" y="299"/>
                    </a:lnTo>
                    <a:lnTo>
                      <a:pt x="380" y="299"/>
                    </a:lnTo>
                    <a:lnTo>
                      <a:pt x="380" y="300"/>
                    </a:lnTo>
                    <a:lnTo>
                      <a:pt x="380" y="302"/>
                    </a:lnTo>
                    <a:lnTo>
                      <a:pt x="380" y="306"/>
                    </a:lnTo>
                    <a:lnTo>
                      <a:pt x="380" y="307"/>
                    </a:lnTo>
                    <a:lnTo>
                      <a:pt x="379" y="307"/>
                    </a:lnTo>
                    <a:lnTo>
                      <a:pt x="378" y="307"/>
                    </a:lnTo>
                    <a:lnTo>
                      <a:pt x="378" y="308"/>
                    </a:lnTo>
                    <a:lnTo>
                      <a:pt x="378" y="309"/>
                    </a:lnTo>
                    <a:lnTo>
                      <a:pt x="379" y="309"/>
                    </a:lnTo>
                    <a:lnTo>
                      <a:pt x="379" y="310"/>
                    </a:lnTo>
                    <a:lnTo>
                      <a:pt x="380" y="310"/>
                    </a:lnTo>
                    <a:lnTo>
                      <a:pt x="380" y="311"/>
                    </a:lnTo>
                    <a:close/>
                    <a:moveTo>
                      <a:pt x="545" y="565"/>
                    </a:moveTo>
                    <a:lnTo>
                      <a:pt x="537" y="563"/>
                    </a:lnTo>
                    <a:lnTo>
                      <a:pt x="529" y="554"/>
                    </a:lnTo>
                    <a:lnTo>
                      <a:pt x="524" y="548"/>
                    </a:lnTo>
                    <a:lnTo>
                      <a:pt x="508" y="549"/>
                    </a:lnTo>
                    <a:lnTo>
                      <a:pt x="496" y="546"/>
                    </a:lnTo>
                    <a:lnTo>
                      <a:pt x="495" y="546"/>
                    </a:lnTo>
                    <a:lnTo>
                      <a:pt x="495" y="544"/>
                    </a:lnTo>
                    <a:lnTo>
                      <a:pt x="493" y="543"/>
                    </a:lnTo>
                    <a:lnTo>
                      <a:pt x="490" y="541"/>
                    </a:lnTo>
                    <a:lnTo>
                      <a:pt x="486" y="537"/>
                    </a:lnTo>
                    <a:lnTo>
                      <a:pt x="480" y="533"/>
                    </a:lnTo>
                    <a:lnTo>
                      <a:pt x="474" y="529"/>
                    </a:lnTo>
                    <a:lnTo>
                      <a:pt x="471" y="529"/>
                    </a:lnTo>
                    <a:lnTo>
                      <a:pt x="468" y="530"/>
                    </a:lnTo>
                    <a:lnTo>
                      <a:pt x="465" y="530"/>
                    </a:lnTo>
                    <a:lnTo>
                      <a:pt x="462" y="529"/>
                    </a:lnTo>
                    <a:lnTo>
                      <a:pt x="459" y="529"/>
                    </a:lnTo>
                    <a:lnTo>
                      <a:pt x="457" y="528"/>
                    </a:lnTo>
                    <a:lnTo>
                      <a:pt x="453" y="527"/>
                    </a:lnTo>
                    <a:lnTo>
                      <a:pt x="452" y="527"/>
                    </a:lnTo>
                    <a:lnTo>
                      <a:pt x="443" y="525"/>
                    </a:lnTo>
                    <a:lnTo>
                      <a:pt x="442" y="524"/>
                    </a:lnTo>
                    <a:lnTo>
                      <a:pt x="434" y="523"/>
                    </a:lnTo>
                    <a:lnTo>
                      <a:pt x="427" y="521"/>
                    </a:lnTo>
                    <a:lnTo>
                      <a:pt x="423" y="520"/>
                    </a:lnTo>
                    <a:lnTo>
                      <a:pt x="407" y="518"/>
                    </a:lnTo>
                    <a:lnTo>
                      <a:pt x="400" y="518"/>
                    </a:lnTo>
                    <a:lnTo>
                      <a:pt x="396" y="518"/>
                    </a:lnTo>
                    <a:lnTo>
                      <a:pt x="395" y="518"/>
                    </a:lnTo>
                    <a:lnTo>
                      <a:pt x="391" y="518"/>
                    </a:lnTo>
                    <a:lnTo>
                      <a:pt x="390" y="518"/>
                    </a:lnTo>
                    <a:lnTo>
                      <a:pt x="387" y="516"/>
                    </a:lnTo>
                    <a:lnTo>
                      <a:pt x="377" y="510"/>
                    </a:lnTo>
                    <a:lnTo>
                      <a:pt x="375" y="510"/>
                    </a:lnTo>
                    <a:lnTo>
                      <a:pt x="369" y="507"/>
                    </a:lnTo>
                    <a:lnTo>
                      <a:pt x="369" y="505"/>
                    </a:lnTo>
                    <a:lnTo>
                      <a:pt x="373" y="487"/>
                    </a:lnTo>
                    <a:lnTo>
                      <a:pt x="373" y="486"/>
                    </a:lnTo>
                    <a:lnTo>
                      <a:pt x="375" y="477"/>
                    </a:lnTo>
                    <a:lnTo>
                      <a:pt x="377" y="474"/>
                    </a:lnTo>
                    <a:lnTo>
                      <a:pt x="377" y="473"/>
                    </a:lnTo>
                    <a:lnTo>
                      <a:pt x="377" y="471"/>
                    </a:lnTo>
                    <a:lnTo>
                      <a:pt x="377" y="470"/>
                    </a:lnTo>
                    <a:lnTo>
                      <a:pt x="373" y="464"/>
                    </a:lnTo>
                    <a:lnTo>
                      <a:pt x="371" y="462"/>
                    </a:lnTo>
                    <a:lnTo>
                      <a:pt x="365" y="451"/>
                    </a:lnTo>
                    <a:lnTo>
                      <a:pt x="360" y="443"/>
                    </a:lnTo>
                    <a:lnTo>
                      <a:pt x="359" y="441"/>
                    </a:lnTo>
                    <a:lnTo>
                      <a:pt x="355" y="423"/>
                    </a:lnTo>
                    <a:lnTo>
                      <a:pt x="353" y="421"/>
                    </a:lnTo>
                    <a:lnTo>
                      <a:pt x="322" y="395"/>
                    </a:lnTo>
                    <a:lnTo>
                      <a:pt x="320" y="393"/>
                    </a:lnTo>
                    <a:lnTo>
                      <a:pt x="317" y="390"/>
                    </a:lnTo>
                    <a:lnTo>
                      <a:pt x="317" y="384"/>
                    </a:lnTo>
                    <a:lnTo>
                      <a:pt x="320" y="384"/>
                    </a:lnTo>
                    <a:lnTo>
                      <a:pt x="322" y="384"/>
                    </a:lnTo>
                    <a:lnTo>
                      <a:pt x="344" y="382"/>
                    </a:lnTo>
                    <a:lnTo>
                      <a:pt x="346" y="382"/>
                    </a:lnTo>
                    <a:lnTo>
                      <a:pt x="352" y="382"/>
                    </a:lnTo>
                    <a:lnTo>
                      <a:pt x="353" y="382"/>
                    </a:lnTo>
                    <a:lnTo>
                      <a:pt x="377" y="380"/>
                    </a:lnTo>
                    <a:lnTo>
                      <a:pt x="403" y="377"/>
                    </a:lnTo>
                    <a:lnTo>
                      <a:pt x="410" y="376"/>
                    </a:lnTo>
                    <a:lnTo>
                      <a:pt x="419" y="376"/>
                    </a:lnTo>
                    <a:lnTo>
                      <a:pt x="424" y="375"/>
                    </a:lnTo>
                    <a:lnTo>
                      <a:pt x="443" y="374"/>
                    </a:lnTo>
                    <a:lnTo>
                      <a:pt x="444" y="374"/>
                    </a:lnTo>
                    <a:lnTo>
                      <a:pt x="449" y="373"/>
                    </a:lnTo>
                    <a:lnTo>
                      <a:pt x="449" y="374"/>
                    </a:lnTo>
                    <a:lnTo>
                      <a:pt x="450" y="374"/>
                    </a:lnTo>
                    <a:lnTo>
                      <a:pt x="450" y="375"/>
                    </a:lnTo>
                    <a:lnTo>
                      <a:pt x="450" y="376"/>
                    </a:lnTo>
                    <a:lnTo>
                      <a:pt x="451" y="376"/>
                    </a:lnTo>
                    <a:lnTo>
                      <a:pt x="451" y="377"/>
                    </a:lnTo>
                    <a:lnTo>
                      <a:pt x="451" y="379"/>
                    </a:lnTo>
                    <a:lnTo>
                      <a:pt x="451" y="380"/>
                    </a:lnTo>
                    <a:lnTo>
                      <a:pt x="452" y="380"/>
                    </a:lnTo>
                    <a:lnTo>
                      <a:pt x="452" y="381"/>
                    </a:lnTo>
                    <a:lnTo>
                      <a:pt x="452" y="382"/>
                    </a:lnTo>
                    <a:lnTo>
                      <a:pt x="451" y="382"/>
                    </a:lnTo>
                    <a:lnTo>
                      <a:pt x="451" y="383"/>
                    </a:lnTo>
                    <a:lnTo>
                      <a:pt x="452" y="384"/>
                    </a:lnTo>
                    <a:lnTo>
                      <a:pt x="453" y="384"/>
                    </a:lnTo>
                    <a:lnTo>
                      <a:pt x="455" y="384"/>
                    </a:lnTo>
                    <a:lnTo>
                      <a:pt x="456" y="384"/>
                    </a:lnTo>
                    <a:lnTo>
                      <a:pt x="456" y="385"/>
                    </a:lnTo>
                    <a:lnTo>
                      <a:pt x="456" y="386"/>
                    </a:lnTo>
                    <a:lnTo>
                      <a:pt x="455" y="387"/>
                    </a:lnTo>
                    <a:lnTo>
                      <a:pt x="453" y="387"/>
                    </a:lnTo>
                    <a:lnTo>
                      <a:pt x="455" y="388"/>
                    </a:lnTo>
                    <a:lnTo>
                      <a:pt x="456" y="389"/>
                    </a:lnTo>
                    <a:lnTo>
                      <a:pt x="457" y="392"/>
                    </a:lnTo>
                    <a:lnTo>
                      <a:pt x="457" y="393"/>
                    </a:lnTo>
                    <a:lnTo>
                      <a:pt x="458" y="394"/>
                    </a:lnTo>
                    <a:lnTo>
                      <a:pt x="459" y="395"/>
                    </a:lnTo>
                    <a:lnTo>
                      <a:pt x="460" y="397"/>
                    </a:lnTo>
                    <a:lnTo>
                      <a:pt x="461" y="397"/>
                    </a:lnTo>
                    <a:lnTo>
                      <a:pt x="462" y="398"/>
                    </a:lnTo>
                    <a:lnTo>
                      <a:pt x="464" y="399"/>
                    </a:lnTo>
                    <a:lnTo>
                      <a:pt x="465" y="400"/>
                    </a:lnTo>
                    <a:lnTo>
                      <a:pt x="465" y="401"/>
                    </a:lnTo>
                    <a:lnTo>
                      <a:pt x="465" y="402"/>
                    </a:lnTo>
                    <a:lnTo>
                      <a:pt x="465" y="403"/>
                    </a:lnTo>
                    <a:lnTo>
                      <a:pt x="464" y="405"/>
                    </a:lnTo>
                    <a:lnTo>
                      <a:pt x="464" y="406"/>
                    </a:lnTo>
                    <a:lnTo>
                      <a:pt x="463" y="407"/>
                    </a:lnTo>
                    <a:lnTo>
                      <a:pt x="463" y="408"/>
                    </a:lnTo>
                    <a:lnTo>
                      <a:pt x="463" y="409"/>
                    </a:lnTo>
                    <a:lnTo>
                      <a:pt x="463" y="410"/>
                    </a:lnTo>
                    <a:lnTo>
                      <a:pt x="463" y="411"/>
                    </a:lnTo>
                    <a:lnTo>
                      <a:pt x="464" y="412"/>
                    </a:lnTo>
                    <a:lnTo>
                      <a:pt x="465" y="412"/>
                    </a:lnTo>
                    <a:lnTo>
                      <a:pt x="466" y="413"/>
                    </a:lnTo>
                    <a:lnTo>
                      <a:pt x="468" y="414"/>
                    </a:lnTo>
                    <a:lnTo>
                      <a:pt x="468" y="415"/>
                    </a:lnTo>
                    <a:lnTo>
                      <a:pt x="469" y="415"/>
                    </a:lnTo>
                    <a:lnTo>
                      <a:pt x="470" y="417"/>
                    </a:lnTo>
                    <a:lnTo>
                      <a:pt x="471" y="417"/>
                    </a:lnTo>
                    <a:lnTo>
                      <a:pt x="473" y="418"/>
                    </a:lnTo>
                    <a:lnTo>
                      <a:pt x="474" y="418"/>
                    </a:lnTo>
                    <a:lnTo>
                      <a:pt x="475" y="419"/>
                    </a:lnTo>
                    <a:lnTo>
                      <a:pt x="477" y="422"/>
                    </a:lnTo>
                    <a:lnTo>
                      <a:pt x="478" y="424"/>
                    </a:lnTo>
                    <a:lnTo>
                      <a:pt x="478" y="425"/>
                    </a:lnTo>
                    <a:lnTo>
                      <a:pt x="480" y="426"/>
                    </a:lnTo>
                    <a:lnTo>
                      <a:pt x="478" y="428"/>
                    </a:lnTo>
                    <a:lnTo>
                      <a:pt x="478" y="430"/>
                    </a:lnTo>
                    <a:lnTo>
                      <a:pt x="478" y="432"/>
                    </a:lnTo>
                    <a:lnTo>
                      <a:pt x="478" y="434"/>
                    </a:lnTo>
                    <a:lnTo>
                      <a:pt x="480" y="435"/>
                    </a:lnTo>
                    <a:lnTo>
                      <a:pt x="480" y="436"/>
                    </a:lnTo>
                    <a:lnTo>
                      <a:pt x="480" y="437"/>
                    </a:lnTo>
                    <a:lnTo>
                      <a:pt x="480" y="438"/>
                    </a:lnTo>
                    <a:lnTo>
                      <a:pt x="481" y="439"/>
                    </a:lnTo>
                    <a:lnTo>
                      <a:pt x="481" y="440"/>
                    </a:lnTo>
                    <a:lnTo>
                      <a:pt x="482" y="443"/>
                    </a:lnTo>
                    <a:lnTo>
                      <a:pt x="482" y="444"/>
                    </a:lnTo>
                    <a:lnTo>
                      <a:pt x="483" y="447"/>
                    </a:lnTo>
                    <a:lnTo>
                      <a:pt x="483" y="449"/>
                    </a:lnTo>
                    <a:lnTo>
                      <a:pt x="483" y="450"/>
                    </a:lnTo>
                    <a:lnTo>
                      <a:pt x="483" y="451"/>
                    </a:lnTo>
                    <a:lnTo>
                      <a:pt x="484" y="451"/>
                    </a:lnTo>
                    <a:lnTo>
                      <a:pt x="484" y="452"/>
                    </a:lnTo>
                    <a:lnTo>
                      <a:pt x="487" y="454"/>
                    </a:lnTo>
                    <a:lnTo>
                      <a:pt x="488" y="456"/>
                    </a:lnTo>
                    <a:lnTo>
                      <a:pt x="489" y="458"/>
                    </a:lnTo>
                    <a:lnTo>
                      <a:pt x="491" y="460"/>
                    </a:lnTo>
                    <a:lnTo>
                      <a:pt x="493" y="462"/>
                    </a:lnTo>
                    <a:lnTo>
                      <a:pt x="494" y="462"/>
                    </a:lnTo>
                    <a:lnTo>
                      <a:pt x="496" y="462"/>
                    </a:lnTo>
                    <a:lnTo>
                      <a:pt x="498" y="463"/>
                    </a:lnTo>
                    <a:lnTo>
                      <a:pt x="500" y="463"/>
                    </a:lnTo>
                    <a:lnTo>
                      <a:pt x="506" y="464"/>
                    </a:lnTo>
                    <a:lnTo>
                      <a:pt x="509" y="465"/>
                    </a:lnTo>
                    <a:lnTo>
                      <a:pt x="510" y="466"/>
                    </a:lnTo>
                    <a:lnTo>
                      <a:pt x="512" y="467"/>
                    </a:lnTo>
                    <a:lnTo>
                      <a:pt x="514" y="469"/>
                    </a:lnTo>
                    <a:lnTo>
                      <a:pt x="515" y="469"/>
                    </a:lnTo>
                    <a:lnTo>
                      <a:pt x="516" y="469"/>
                    </a:lnTo>
                    <a:lnTo>
                      <a:pt x="519" y="469"/>
                    </a:lnTo>
                    <a:lnTo>
                      <a:pt x="520" y="469"/>
                    </a:lnTo>
                    <a:lnTo>
                      <a:pt x="521" y="469"/>
                    </a:lnTo>
                    <a:lnTo>
                      <a:pt x="522" y="469"/>
                    </a:lnTo>
                    <a:lnTo>
                      <a:pt x="523" y="469"/>
                    </a:lnTo>
                    <a:lnTo>
                      <a:pt x="524" y="469"/>
                    </a:lnTo>
                    <a:lnTo>
                      <a:pt x="525" y="469"/>
                    </a:lnTo>
                    <a:lnTo>
                      <a:pt x="527" y="470"/>
                    </a:lnTo>
                    <a:lnTo>
                      <a:pt x="528" y="471"/>
                    </a:lnTo>
                    <a:lnTo>
                      <a:pt x="529" y="472"/>
                    </a:lnTo>
                    <a:lnTo>
                      <a:pt x="530" y="474"/>
                    </a:lnTo>
                    <a:lnTo>
                      <a:pt x="532" y="475"/>
                    </a:lnTo>
                    <a:lnTo>
                      <a:pt x="533" y="475"/>
                    </a:lnTo>
                    <a:lnTo>
                      <a:pt x="535" y="476"/>
                    </a:lnTo>
                    <a:lnTo>
                      <a:pt x="536" y="476"/>
                    </a:lnTo>
                    <a:lnTo>
                      <a:pt x="537" y="476"/>
                    </a:lnTo>
                    <a:lnTo>
                      <a:pt x="538" y="476"/>
                    </a:lnTo>
                    <a:lnTo>
                      <a:pt x="539" y="477"/>
                    </a:lnTo>
                    <a:lnTo>
                      <a:pt x="539" y="478"/>
                    </a:lnTo>
                    <a:lnTo>
                      <a:pt x="539" y="479"/>
                    </a:lnTo>
                    <a:lnTo>
                      <a:pt x="540" y="479"/>
                    </a:lnTo>
                    <a:lnTo>
                      <a:pt x="540" y="480"/>
                    </a:lnTo>
                    <a:lnTo>
                      <a:pt x="541" y="483"/>
                    </a:lnTo>
                    <a:lnTo>
                      <a:pt x="542" y="483"/>
                    </a:lnTo>
                    <a:lnTo>
                      <a:pt x="543" y="483"/>
                    </a:lnTo>
                    <a:lnTo>
                      <a:pt x="543" y="484"/>
                    </a:lnTo>
                    <a:lnTo>
                      <a:pt x="545" y="484"/>
                    </a:lnTo>
                    <a:lnTo>
                      <a:pt x="545" y="485"/>
                    </a:lnTo>
                    <a:lnTo>
                      <a:pt x="546" y="486"/>
                    </a:lnTo>
                    <a:lnTo>
                      <a:pt x="546" y="487"/>
                    </a:lnTo>
                    <a:lnTo>
                      <a:pt x="547" y="487"/>
                    </a:lnTo>
                    <a:lnTo>
                      <a:pt x="547" y="488"/>
                    </a:lnTo>
                    <a:lnTo>
                      <a:pt x="547" y="489"/>
                    </a:lnTo>
                    <a:lnTo>
                      <a:pt x="547" y="490"/>
                    </a:lnTo>
                    <a:lnTo>
                      <a:pt x="548" y="491"/>
                    </a:lnTo>
                    <a:lnTo>
                      <a:pt x="548" y="492"/>
                    </a:lnTo>
                    <a:lnTo>
                      <a:pt x="549" y="493"/>
                    </a:lnTo>
                    <a:lnTo>
                      <a:pt x="549" y="495"/>
                    </a:lnTo>
                    <a:lnTo>
                      <a:pt x="548" y="495"/>
                    </a:lnTo>
                    <a:lnTo>
                      <a:pt x="548" y="496"/>
                    </a:lnTo>
                    <a:lnTo>
                      <a:pt x="547" y="497"/>
                    </a:lnTo>
                    <a:lnTo>
                      <a:pt x="547" y="498"/>
                    </a:lnTo>
                    <a:lnTo>
                      <a:pt x="547" y="499"/>
                    </a:lnTo>
                    <a:lnTo>
                      <a:pt x="546" y="500"/>
                    </a:lnTo>
                    <a:lnTo>
                      <a:pt x="546" y="501"/>
                    </a:lnTo>
                    <a:lnTo>
                      <a:pt x="546" y="502"/>
                    </a:lnTo>
                    <a:lnTo>
                      <a:pt x="545" y="505"/>
                    </a:lnTo>
                    <a:lnTo>
                      <a:pt x="546" y="507"/>
                    </a:lnTo>
                    <a:lnTo>
                      <a:pt x="546" y="508"/>
                    </a:lnTo>
                    <a:lnTo>
                      <a:pt x="547" y="509"/>
                    </a:lnTo>
                    <a:lnTo>
                      <a:pt x="547" y="510"/>
                    </a:lnTo>
                    <a:lnTo>
                      <a:pt x="546" y="511"/>
                    </a:lnTo>
                    <a:lnTo>
                      <a:pt x="546" y="512"/>
                    </a:lnTo>
                    <a:lnTo>
                      <a:pt x="545" y="512"/>
                    </a:lnTo>
                    <a:lnTo>
                      <a:pt x="545" y="513"/>
                    </a:lnTo>
                    <a:lnTo>
                      <a:pt x="545" y="514"/>
                    </a:lnTo>
                    <a:lnTo>
                      <a:pt x="545" y="515"/>
                    </a:lnTo>
                    <a:lnTo>
                      <a:pt x="546" y="516"/>
                    </a:lnTo>
                    <a:lnTo>
                      <a:pt x="547" y="517"/>
                    </a:lnTo>
                    <a:lnTo>
                      <a:pt x="548" y="518"/>
                    </a:lnTo>
                    <a:lnTo>
                      <a:pt x="548" y="520"/>
                    </a:lnTo>
                    <a:lnTo>
                      <a:pt x="548" y="521"/>
                    </a:lnTo>
                    <a:lnTo>
                      <a:pt x="549" y="521"/>
                    </a:lnTo>
                    <a:lnTo>
                      <a:pt x="549" y="522"/>
                    </a:lnTo>
                    <a:lnTo>
                      <a:pt x="549" y="523"/>
                    </a:lnTo>
                    <a:lnTo>
                      <a:pt x="550" y="523"/>
                    </a:lnTo>
                    <a:lnTo>
                      <a:pt x="550" y="524"/>
                    </a:lnTo>
                    <a:lnTo>
                      <a:pt x="550" y="525"/>
                    </a:lnTo>
                    <a:lnTo>
                      <a:pt x="551" y="525"/>
                    </a:lnTo>
                    <a:lnTo>
                      <a:pt x="551" y="526"/>
                    </a:lnTo>
                    <a:lnTo>
                      <a:pt x="550" y="527"/>
                    </a:lnTo>
                    <a:lnTo>
                      <a:pt x="550" y="528"/>
                    </a:lnTo>
                    <a:lnTo>
                      <a:pt x="550" y="529"/>
                    </a:lnTo>
                    <a:lnTo>
                      <a:pt x="550" y="530"/>
                    </a:lnTo>
                    <a:lnTo>
                      <a:pt x="549" y="530"/>
                    </a:lnTo>
                    <a:lnTo>
                      <a:pt x="549" y="531"/>
                    </a:lnTo>
                    <a:lnTo>
                      <a:pt x="549" y="533"/>
                    </a:lnTo>
                    <a:lnTo>
                      <a:pt x="549" y="534"/>
                    </a:lnTo>
                    <a:lnTo>
                      <a:pt x="549" y="535"/>
                    </a:lnTo>
                    <a:lnTo>
                      <a:pt x="548" y="535"/>
                    </a:lnTo>
                    <a:lnTo>
                      <a:pt x="548" y="536"/>
                    </a:lnTo>
                    <a:lnTo>
                      <a:pt x="548" y="537"/>
                    </a:lnTo>
                    <a:lnTo>
                      <a:pt x="548" y="539"/>
                    </a:lnTo>
                    <a:lnTo>
                      <a:pt x="547" y="539"/>
                    </a:lnTo>
                    <a:lnTo>
                      <a:pt x="546" y="540"/>
                    </a:lnTo>
                    <a:lnTo>
                      <a:pt x="545" y="540"/>
                    </a:lnTo>
                    <a:lnTo>
                      <a:pt x="543" y="539"/>
                    </a:lnTo>
                    <a:lnTo>
                      <a:pt x="542" y="539"/>
                    </a:lnTo>
                    <a:lnTo>
                      <a:pt x="541" y="540"/>
                    </a:lnTo>
                    <a:lnTo>
                      <a:pt x="540" y="541"/>
                    </a:lnTo>
                    <a:lnTo>
                      <a:pt x="545" y="565"/>
                    </a:lnTo>
                    <a:close/>
                  </a:path>
                </a:pathLst>
              </a:custGeom>
              <a:solidFill>
                <a:srgbClr val="ACD2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1" name="Freeform 279">
                <a:extLst>
                  <a:ext uri="{FF2B5EF4-FFF2-40B4-BE49-F238E27FC236}">
                    <a16:creationId xmlns:a16="http://schemas.microsoft.com/office/drawing/2014/main" id="{13E5483B-76BD-7844-B4FA-818EF036839E}"/>
                  </a:ext>
                </a:extLst>
              </p:cNvPr>
              <p:cNvSpPr>
                <a:spLocks noEditPoints="1"/>
              </p:cNvSpPr>
              <p:nvPr/>
            </p:nvSpPr>
            <p:spPr bwMode="auto">
              <a:xfrm>
                <a:off x="3098801" y="4435475"/>
                <a:ext cx="788988" cy="725488"/>
              </a:xfrm>
              <a:custGeom>
                <a:avLst/>
                <a:gdLst>
                  <a:gd name="T0" fmla="*/ 422 w 497"/>
                  <a:gd name="T1" fmla="*/ 43 h 457"/>
                  <a:gd name="T2" fmla="*/ 476 w 497"/>
                  <a:gd name="T3" fmla="*/ 58 h 457"/>
                  <a:gd name="T4" fmla="*/ 497 w 497"/>
                  <a:gd name="T5" fmla="*/ 60 h 457"/>
                  <a:gd name="T6" fmla="*/ 475 w 497"/>
                  <a:gd name="T7" fmla="*/ 86 h 457"/>
                  <a:gd name="T8" fmla="*/ 446 w 497"/>
                  <a:gd name="T9" fmla="*/ 109 h 457"/>
                  <a:gd name="T10" fmla="*/ 320 w 497"/>
                  <a:gd name="T11" fmla="*/ 119 h 457"/>
                  <a:gd name="T12" fmla="*/ 219 w 497"/>
                  <a:gd name="T13" fmla="*/ 166 h 457"/>
                  <a:gd name="T14" fmla="*/ 108 w 497"/>
                  <a:gd name="T15" fmla="*/ 268 h 457"/>
                  <a:gd name="T16" fmla="*/ 101 w 497"/>
                  <a:gd name="T17" fmla="*/ 254 h 457"/>
                  <a:gd name="T18" fmla="*/ 111 w 497"/>
                  <a:gd name="T19" fmla="*/ 237 h 457"/>
                  <a:gd name="T20" fmla="*/ 113 w 497"/>
                  <a:gd name="T21" fmla="*/ 238 h 457"/>
                  <a:gd name="T22" fmla="*/ 124 w 497"/>
                  <a:gd name="T23" fmla="*/ 244 h 457"/>
                  <a:gd name="T24" fmla="*/ 128 w 497"/>
                  <a:gd name="T25" fmla="*/ 237 h 457"/>
                  <a:gd name="T26" fmla="*/ 127 w 497"/>
                  <a:gd name="T27" fmla="*/ 220 h 457"/>
                  <a:gd name="T28" fmla="*/ 120 w 497"/>
                  <a:gd name="T29" fmla="*/ 208 h 457"/>
                  <a:gd name="T30" fmla="*/ 102 w 497"/>
                  <a:gd name="T31" fmla="*/ 207 h 457"/>
                  <a:gd name="T32" fmla="*/ 82 w 497"/>
                  <a:gd name="T33" fmla="*/ 204 h 457"/>
                  <a:gd name="T34" fmla="*/ 65 w 497"/>
                  <a:gd name="T35" fmla="*/ 212 h 457"/>
                  <a:gd name="T36" fmla="*/ 44 w 497"/>
                  <a:gd name="T37" fmla="*/ 209 h 457"/>
                  <a:gd name="T38" fmla="*/ 25 w 497"/>
                  <a:gd name="T39" fmla="*/ 105 h 457"/>
                  <a:gd name="T40" fmla="*/ 47 w 497"/>
                  <a:gd name="T41" fmla="*/ 45 h 457"/>
                  <a:gd name="T42" fmla="*/ 150 w 497"/>
                  <a:gd name="T43" fmla="*/ 30 h 457"/>
                  <a:gd name="T44" fmla="*/ 168 w 497"/>
                  <a:gd name="T45" fmla="*/ 9 h 457"/>
                  <a:gd name="T46" fmla="*/ 191 w 497"/>
                  <a:gd name="T47" fmla="*/ 1 h 457"/>
                  <a:gd name="T48" fmla="*/ 206 w 497"/>
                  <a:gd name="T49" fmla="*/ 3 h 457"/>
                  <a:gd name="T50" fmla="*/ 219 w 497"/>
                  <a:gd name="T51" fmla="*/ 9 h 457"/>
                  <a:gd name="T52" fmla="*/ 232 w 497"/>
                  <a:gd name="T53" fmla="*/ 16 h 457"/>
                  <a:gd name="T54" fmla="*/ 262 w 497"/>
                  <a:gd name="T55" fmla="*/ 55 h 457"/>
                  <a:gd name="T56" fmla="*/ 327 w 497"/>
                  <a:gd name="T57" fmla="*/ 57 h 457"/>
                  <a:gd name="T58" fmla="*/ 356 w 497"/>
                  <a:gd name="T59" fmla="*/ 45 h 457"/>
                  <a:gd name="T60" fmla="*/ 87 w 497"/>
                  <a:gd name="T61" fmla="*/ 348 h 457"/>
                  <a:gd name="T62" fmla="*/ 98 w 497"/>
                  <a:gd name="T63" fmla="*/ 349 h 457"/>
                  <a:gd name="T64" fmla="*/ 112 w 497"/>
                  <a:gd name="T65" fmla="*/ 352 h 457"/>
                  <a:gd name="T66" fmla="*/ 116 w 497"/>
                  <a:gd name="T67" fmla="*/ 353 h 457"/>
                  <a:gd name="T68" fmla="*/ 129 w 497"/>
                  <a:gd name="T69" fmla="*/ 366 h 457"/>
                  <a:gd name="T70" fmla="*/ 139 w 497"/>
                  <a:gd name="T71" fmla="*/ 373 h 457"/>
                  <a:gd name="T72" fmla="*/ 150 w 497"/>
                  <a:gd name="T73" fmla="*/ 375 h 457"/>
                  <a:gd name="T74" fmla="*/ 159 w 497"/>
                  <a:gd name="T75" fmla="*/ 391 h 457"/>
                  <a:gd name="T76" fmla="*/ 170 w 497"/>
                  <a:gd name="T77" fmla="*/ 387 h 457"/>
                  <a:gd name="T78" fmla="*/ 182 w 497"/>
                  <a:gd name="T79" fmla="*/ 386 h 457"/>
                  <a:gd name="T80" fmla="*/ 187 w 497"/>
                  <a:gd name="T81" fmla="*/ 397 h 457"/>
                  <a:gd name="T82" fmla="*/ 200 w 497"/>
                  <a:gd name="T83" fmla="*/ 391 h 457"/>
                  <a:gd name="T84" fmla="*/ 191 w 497"/>
                  <a:gd name="T85" fmla="*/ 404 h 457"/>
                  <a:gd name="T86" fmla="*/ 167 w 497"/>
                  <a:gd name="T87" fmla="*/ 420 h 457"/>
                  <a:gd name="T88" fmla="*/ 159 w 497"/>
                  <a:gd name="T89" fmla="*/ 437 h 457"/>
                  <a:gd name="T90" fmla="*/ 149 w 497"/>
                  <a:gd name="T91" fmla="*/ 451 h 457"/>
                  <a:gd name="T92" fmla="*/ 130 w 497"/>
                  <a:gd name="T93" fmla="*/ 455 h 457"/>
                  <a:gd name="T94" fmla="*/ 113 w 497"/>
                  <a:gd name="T95" fmla="*/ 452 h 457"/>
                  <a:gd name="T96" fmla="*/ 103 w 497"/>
                  <a:gd name="T97" fmla="*/ 436 h 457"/>
                  <a:gd name="T98" fmla="*/ 88 w 497"/>
                  <a:gd name="T99" fmla="*/ 433 h 457"/>
                  <a:gd name="T100" fmla="*/ 69 w 497"/>
                  <a:gd name="T101" fmla="*/ 424 h 457"/>
                  <a:gd name="T102" fmla="*/ 53 w 497"/>
                  <a:gd name="T103" fmla="*/ 415 h 457"/>
                  <a:gd name="T104" fmla="*/ 38 w 497"/>
                  <a:gd name="T105" fmla="*/ 409 h 457"/>
                  <a:gd name="T106" fmla="*/ 12 w 497"/>
                  <a:gd name="T107" fmla="*/ 397 h 457"/>
                  <a:gd name="T108" fmla="*/ 7 w 497"/>
                  <a:gd name="T109" fmla="*/ 386 h 457"/>
                  <a:gd name="T110" fmla="*/ 10 w 497"/>
                  <a:gd name="T111" fmla="*/ 377 h 457"/>
                  <a:gd name="T112" fmla="*/ 28 w 497"/>
                  <a:gd name="T113" fmla="*/ 361 h 457"/>
                  <a:gd name="T114" fmla="*/ 32 w 497"/>
                  <a:gd name="T115" fmla="*/ 362 h 457"/>
                  <a:gd name="T116" fmla="*/ 46 w 497"/>
                  <a:gd name="T117" fmla="*/ 362 h 457"/>
                  <a:gd name="T118" fmla="*/ 63 w 497"/>
                  <a:gd name="T119" fmla="*/ 358 h 457"/>
                  <a:gd name="T120" fmla="*/ 65 w 497"/>
                  <a:gd name="T121" fmla="*/ 345 h 457"/>
                  <a:gd name="T122" fmla="*/ 128 w 497"/>
                  <a:gd name="T123" fmla="*/ 456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7" h="457">
                    <a:moveTo>
                      <a:pt x="407" y="44"/>
                    </a:moveTo>
                    <a:lnTo>
                      <a:pt x="407" y="45"/>
                    </a:lnTo>
                    <a:lnTo>
                      <a:pt x="408" y="46"/>
                    </a:lnTo>
                    <a:lnTo>
                      <a:pt x="408" y="48"/>
                    </a:lnTo>
                    <a:lnTo>
                      <a:pt x="409" y="48"/>
                    </a:lnTo>
                    <a:lnTo>
                      <a:pt x="410" y="46"/>
                    </a:lnTo>
                    <a:lnTo>
                      <a:pt x="411" y="46"/>
                    </a:lnTo>
                    <a:lnTo>
                      <a:pt x="412" y="46"/>
                    </a:lnTo>
                    <a:lnTo>
                      <a:pt x="413" y="46"/>
                    </a:lnTo>
                    <a:lnTo>
                      <a:pt x="413" y="45"/>
                    </a:lnTo>
                    <a:lnTo>
                      <a:pt x="414" y="45"/>
                    </a:lnTo>
                    <a:lnTo>
                      <a:pt x="415" y="44"/>
                    </a:lnTo>
                    <a:lnTo>
                      <a:pt x="415" y="43"/>
                    </a:lnTo>
                    <a:lnTo>
                      <a:pt x="417" y="43"/>
                    </a:lnTo>
                    <a:lnTo>
                      <a:pt x="418" y="43"/>
                    </a:lnTo>
                    <a:lnTo>
                      <a:pt x="419" y="43"/>
                    </a:lnTo>
                    <a:lnTo>
                      <a:pt x="420" y="43"/>
                    </a:lnTo>
                    <a:lnTo>
                      <a:pt x="422" y="43"/>
                    </a:lnTo>
                    <a:lnTo>
                      <a:pt x="424" y="43"/>
                    </a:lnTo>
                    <a:lnTo>
                      <a:pt x="425" y="43"/>
                    </a:lnTo>
                    <a:lnTo>
                      <a:pt x="426" y="44"/>
                    </a:lnTo>
                    <a:lnTo>
                      <a:pt x="427" y="44"/>
                    </a:lnTo>
                    <a:lnTo>
                      <a:pt x="463" y="44"/>
                    </a:lnTo>
                    <a:lnTo>
                      <a:pt x="464" y="44"/>
                    </a:lnTo>
                    <a:lnTo>
                      <a:pt x="467" y="44"/>
                    </a:lnTo>
                    <a:lnTo>
                      <a:pt x="469" y="45"/>
                    </a:lnTo>
                    <a:lnTo>
                      <a:pt x="470" y="46"/>
                    </a:lnTo>
                    <a:lnTo>
                      <a:pt x="471" y="48"/>
                    </a:lnTo>
                    <a:lnTo>
                      <a:pt x="471" y="49"/>
                    </a:lnTo>
                    <a:lnTo>
                      <a:pt x="471" y="51"/>
                    </a:lnTo>
                    <a:lnTo>
                      <a:pt x="472" y="51"/>
                    </a:lnTo>
                    <a:lnTo>
                      <a:pt x="472" y="52"/>
                    </a:lnTo>
                    <a:lnTo>
                      <a:pt x="473" y="53"/>
                    </a:lnTo>
                    <a:lnTo>
                      <a:pt x="473" y="54"/>
                    </a:lnTo>
                    <a:lnTo>
                      <a:pt x="474" y="56"/>
                    </a:lnTo>
                    <a:lnTo>
                      <a:pt x="476" y="58"/>
                    </a:lnTo>
                    <a:lnTo>
                      <a:pt x="477" y="58"/>
                    </a:lnTo>
                    <a:lnTo>
                      <a:pt x="479" y="62"/>
                    </a:lnTo>
                    <a:lnTo>
                      <a:pt x="483" y="64"/>
                    </a:lnTo>
                    <a:lnTo>
                      <a:pt x="485" y="65"/>
                    </a:lnTo>
                    <a:lnTo>
                      <a:pt x="485" y="66"/>
                    </a:lnTo>
                    <a:lnTo>
                      <a:pt x="486" y="65"/>
                    </a:lnTo>
                    <a:lnTo>
                      <a:pt x="487" y="65"/>
                    </a:lnTo>
                    <a:lnTo>
                      <a:pt x="487" y="64"/>
                    </a:lnTo>
                    <a:lnTo>
                      <a:pt x="487" y="63"/>
                    </a:lnTo>
                    <a:lnTo>
                      <a:pt x="489" y="60"/>
                    </a:lnTo>
                    <a:lnTo>
                      <a:pt x="489" y="58"/>
                    </a:lnTo>
                    <a:lnTo>
                      <a:pt x="490" y="57"/>
                    </a:lnTo>
                    <a:lnTo>
                      <a:pt x="492" y="56"/>
                    </a:lnTo>
                    <a:lnTo>
                      <a:pt x="493" y="56"/>
                    </a:lnTo>
                    <a:lnTo>
                      <a:pt x="495" y="56"/>
                    </a:lnTo>
                    <a:lnTo>
                      <a:pt x="496" y="57"/>
                    </a:lnTo>
                    <a:lnTo>
                      <a:pt x="497" y="58"/>
                    </a:lnTo>
                    <a:lnTo>
                      <a:pt x="497" y="60"/>
                    </a:lnTo>
                    <a:lnTo>
                      <a:pt x="497" y="64"/>
                    </a:lnTo>
                    <a:lnTo>
                      <a:pt x="497" y="65"/>
                    </a:lnTo>
                    <a:lnTo>
                      <a:pt x="497" y="66"/>
                    </a:lnTo>
                    <a:lnTo>
                      <a:pt x="496" y="67"/>
                    </a:lnTo>
                    <a:lnTo>
                      <a:pt x="496" y="68"/>
                    </a:lnTo>
                    <a:lnTo>
                      <a:pt x="495" y="70"/>
                    </a:lnTo>
                    <a:lnTo>
                      <a:pt x="493" y="73"/>
                    </a:lnTo>
                    <a:lnTo>
                      <a:pt x="492" y="76"/>
                    </a:lnTo>
                    <a:lnTo>
                      <a:pt x="491" y="78"/>
                    </a:lnTo>
                    <a:lnTo>
                      <a:pt x="490" y="81"/>
                    </a:lnTo>
                    <a:lnTo>
                      <a:pt x="489" y="84"/>
                    </a:lnTo>
                    <a:lnTo>
                      <a:pt x="488" y="86"/>
                    </a:lnTo>
                    <a:lnTo>
                      <a:pt x="487" y="87"/>
                    </a:lnTo>
                    <a:lnTo>
                      <a:pt x="483" y="87"/>
                    </a:lnTo>
                    <a:lnTo>
                      <a:pt x="480" y="86"/>
                    </a:lnTo>
                    <a:lnTo>
                      <a:pt x="477" y="86"/>
                    </a:lnTo>
                    <a:lnTo>
                      <a:pt x="476" y="86"/>
                    </a:lnTo>
                    <a:lnTo>
                      <a:pt x="475" y="86"/>
                    </a:lnTo>
                    <a:lnTo>
                      <a:pt x="474" y="86"/>
                    </a:lnTo>
                    <a:lnTo>
                      <a:pt x="474" y="87"/>
                    </a:lnTo>
                    <a:lnTo>
                      <a:pt x="474" y="96"/>
                    </a:lnTo>
                    <a:lnTo>
                      <a:pt x="474" y="97"/>
                    </a:lnTo>
                    <a:lnTo>
                      <a:pt x="475" y="99"/>
                    </a:lnTo>
                    <a:lnTo>
                      <a:pt x="475" y="100"/>
                    </a:lnTo>
                    <a:lnTo>
                      <a:pt x="475" y="101"/>
                    </a:lnTo>
                    <a:lnTo>
                      <a:pt x="475" y="102"/>
                    </a:lnTo>
                    <a:lnTo>
                      <a:pt x="476" y="102"/>
                    </a:lnTo>
                    <a:lnTo>
                      <a:pt x="476" y="103"/>
                    </a:lnTo>
                    <a:lnTo>
                      <a:pt x="476" y="104"/>
                    </a:lnTo>
                    <a:lnTo>
                      <a:pt x="476" y="105"/>
                    </a:lnTo>
                    <a:lnTo>
                      <a:pt x="477" y="106"/>
                    </a:lnTo>
                    <a:lnTo>
                      <a:pt x="476" y="106"/>
                    </a:lnTo>
                    <a:lnTo>
                      <a:pt x="471" y="107"/>
                    </a:lnTo>
                    <a:lnTo>
                      <a:pt x="470" y="107"/>
                    </a:lnTo>
                    <a:lnTo>
                      <a:pt x="451" y="108"/>
                    </a:lnTo>
                    <a:lnTo>
                      <a:pt x="446" y="109"/>
                    </a:lnTo>
                    <a:lnTo>
                      <a:pt x="437" y="109"/>
                    </a:lnTo>
                    <a:lnTo>
                      <a:pt x="430" y="110"/>
                    </a:lnTo>
                    <a:lnTo>
                      <a:pt x="404" y="113"/>
                    </a:lnTo>
                    <a:lnTo>
                      <a:pt x="380" y="115"/>
                    </a:lnTo>
                    <a:lnTo>
                      <a:pt x="379" y="115"/>
                    </a:lnTo>
                    <a:lnTo>
                      <a:pt x="373" y="115"/>
                    </a:lnTo>
                    <a:lnTo>
                      <a:pt x="371" y="115"/>
                    </a:lnTo>
                    <a:lnTo>
                      <a:pt x="349" y="117"/>
                    </a:lnTo>
                    <a:lnTo>
                      <a:pt x="347" y="117"/>
                    </a:lnTo>
                    <a:lnTo>
                      <a:pt x="344" y="117"/>
                    </a:lnTo>
                    <a:lnTo>
                      <a:pt x="335" y="118"/>
                    </a:lnTo>
                    <a:lnTo>
                      <a:pt x="334" y="118"/>
                    </a:lnTo>
                    <a:lnTo>
                      <a:pt x="331" y="118"/>
                    </a:lnTo>
                    <a:lnTo>
                      <a:pt x="327" y="118"/>
                    </a:lnTo>
                    <a:lnTo>
                      <a:pt x="323" y="119"/>
                    </a:lnTo>
                    <a:lnTo>
                      <a:pt x="322" y="119"/>
                    </a:lnTo>
                    <a:lnTo>
                      <a:pt x="321" y="119"/>
                    </a:lnTo>
                    <a:lnTo>
                      <a:pt x="320" y="119"/>
                    </a:lnTo>
                    <a:lnTo>
                      <a:pt x="315" y="119"/>
                    </a:lnTo>
                    <a:lnTo>
                      <a:pt x="314" y="119"/>
                    </a:lnTo>
                    <a:lnTo>
                      <a:pt x="295" y="121"/>
                    </a:lnTo>
                    <a:lnTo>
                      <a:pt x="254" y="125"/>
                    </a:lnTo>
                    <a:lnTo>
                      <a:pt x="251" y="125"/>
                    </a:lnTo>
                    <a:lnTo>
                      <a:pt x="250" y="126"/>
                    </a:lnTo>
                    <a:lnTo>
                      <a:pt x="245" y="131"/>
                    </a:lnTo>
                    <a:lnTo>
                      <a:pt x="243" y="135"/>
                    </a:lnTo>
                    <a:lnTo>
                      <a:pt x="234" y="146"/>
                    </a:lnTo>
                    <a:lnTo>
                      <a:pt x="232" y="148"/>
                    </a:lnTo>
                    <a:lnTo>
                      <a:pt x="231" y="150"/>
                    </a:lnTo>
                    <a:lnTo>
                      <a:pt x="231" y="151"/>
                    </a:lnTo>
                    <a:lnTo>
                      <a:pt x="230" y="152"/>
                    </a:lnTo>
                    <a:lnTo>
                      <a:pt x="229" y="153"/>
                    </a:lnTo>
                    <a:lnTo>
                      <a:pt x="228" y="155"/>
                    </a:lnTo>
                    <a:lnTo>
                      <a:pt x="226" y="157"/>
                    </a:lnTo>
                    <a:lnTo>
                      <a:pt x="221" y="164"/>
                    </a:lnTo>
                    <a:lnTo>
                      <a:pt x="219" y="166"/>
                    </a:lnTo>
                    <a:lnTo>
                      <a:pt x="213" y="174"/>
                    </a:lnTo>
                    <a:lnTo>
                      <a:pt x="212" y="176"/>
                    </a:lnTo>
                    <a:lnTo>
                      <a:pt x="209" y="179"/>
                    </a:lnTo>
                    <a:lnTo>
                      <a:pt x="201" y="191"/>
                    </a:lnTo>
                    <a:lnTo>
                      <a:pt x="198" y="195"/>
                    </a:lnTo>
                    <a:lnTo>
                      <a:pt x="174" y="216"/>
                    </a:lnTo>
                    <a:lnTo>
                      <a:pt x="153" y="233"/>
                    </a:lnTo>
                    <a:lnTo>
                      <a:pt x="142" y="242"/>
                    </a:lnTo>
                    <a:lnTo>
                      <a:pt x="118" y="262"/>
                    </a:lnTo>
                    <a:lnTo>
                      <a:pt x="114" y="267"/>
                    </a:lnTo>
                    <a:lnTo>
                      <a:pt x="111" y="270"/>
                    </a:lnTo>
                    <a:lnTo>
                      <a:pt x="110" y="271"/>
                    </a:lnTo>
                    <a:lnTo>
                      <a:pt x="109" y="270"/>
                    </a:lnTo>
                    <a:lnTo>
                      <a:pt x="109" y="269"/>
                    </a:lnTo>
                    <a:lnTo>
                      <a:pt x="110" y="269"/>
                    </a:lnTo>
                    <a:lnTo>
                      <a:pt x="110" y="268"/>
                    </a:lnTo>
                    <a:lnTo>
                      <a:pt x="109" y="268"/>
                    </a:lnTo>
                    <a:lnTo>
                      <a:pt x="108" y="268"/>
                    </a:lnTo>
                    <a:lnTo>
                      <a:pt x="107" y="267"/>
                    </a:lnTo>
                    <a:lnTo>
                      <a:pt x="107" y="264"/>
                    </a:lnTo>
                    <a:lnTo>
                      <a:pt x="104" y="264"/>
                    </a:lnTo>
                    <a:lnTo>
                      <a:pt x="104" y="266"/>
                    </a:lnTo>
                    <a:lnTo>
                      <a:pt x="103" y="266"/>
                    </a:lnTo>
                    <a:lnTo>
                      <a:pt x="102" y="266"/>
                    </a:lnTo>
                    <a:lnTo>
                      <a:pt x="99" y="264"/>
                    </a:lnTo>
                    <a:lnTo>
                      <a:pt x="96" y="264"/>
                    </a:lnTo>
                    <a:lnTo>
                      <a:pt x="95" y="262"/>
                    </a:lnTo>
                    <a:lnTo>
                      <a:pt x="94" y="259"/>
                    </a:lnTo>
                    <a:lnTo>
                      <a:pt x="95" y="258"/>
                    </a:lnTo>
                    <a:lnTo>
                      <a:pt x="96" y="257"/>
                    </a:lnTo>
                    <a:lnTo>
                      <a:pt x="97" y="257"/>
                    </a:lnTo>
                    <a:lnTo>
                      <a:pt x="99" y="256"/>
                    </a:lnTo>
                    <a:lnTo>
                      <a:pt x="99" y="255"/>
                    </a:lnTo>
                    <a:lnTo>
                      <a:pt x="100" y="255"/>
                    </a:lnTo>
                    <a:lnTo>
                      <a:pt x="101" y="255"/>
                    </a:lnTo>
                    <a:lnTo>
                      <a:pt x="101" y="254"/>
                    </a:lnTo>
                    <a:lnTo>
                      <a:pt x="100" y="253"/>
                    </a:lnTo>
                    <a:lnTo>
                      <a:pt x="101" y="251"/>
                    </a:lnTo>
                    <a:lnTo>
                      <a:pt x="101" y="250"/>
                    </a:lnTo>
                    <a:lnTo>
                      <a:pt x="101" y="249"/>
                    </a:lnTo>
                    <a:lnTo>
                      <a:pt x="102" y="248"/>
                    </a:lnTo>
                    <a:lnTo>
                      <a:pt x="103" y="247"/>
                    </a:lnTo>
                    <a:lnTo>
                      <a:pt x="104" y="247"/>
                    </a:lnTo>
                    <a:lnTo>
                      <a:pt x="105" y="246"/>
                    </a:lnTo>
                    <a:lnTo>
                      <a:pt x="107" y="245"/>
                    </a:lnTo>
                    <a:lnTo>
                      <a:pt x="108" y="244"/>
                    </a:lnTo>
                    <a:lnTo>
                      <a:pt x="108" y="243"/>
                    </a:lnTo>
                    <a:lnTo>
                      <a:pt x="109" y="242"/>
                    </a:lnTo>
                    <a:lnTo>
                      <a:pt x="110" y="241"/>
                    </a:lnTo>
                    <a:lnTo>
                      <a:pt x="110" y="240"/>
                    </a:lnTo>
                    <a:lnTo>
                      <a:pt x="111" y="240"/>
                    </a:lnTo>
                    <a:lnTo>
                      <a:pt x="111" y="238"/>
                    </a:lnTo>
                    <a:lnTo>
                      <a:pt x="110" y="237"/>
                    </a:lnTo>
                    <a:lnTo>
                      <a:pt x="111" y="237"/>
                    </a:lnTo>
                    <a:lnTo>
                      <a:pt x="111" y="236"/>
                    </a:lnTo>
                    <a:lnTo>
                      <a:pt x="111" y="235"/>
                    </a:lnTo>
                    <a:lnTo>
                      <a:pt x="111" y="234"/>
                    </a:lnTo>
                    <a:lnTo>
                      <a:pt x="111" y="233"/>
                    </a:lnTo>
                    <a:lnTo>
                      <a:pt x="112" y="233"/>
                    </a:lnTo>
                    <a:lnTo>
                      <a:pt x="112" y="232"/>
                    </a:lnTo>
                    <a:lnTo>
                      <a:pt x="111" y="232"/>
                    </a:lnTo>
                    <a:lnTo>
                      <a:pt x="112" y="231"/>
                    </a:lnTo>
                    <a:lnTo>
                      <a:pt x="112" y="232"/>
                    </a:lnTo>
                    <a:lnTo>
                      <a:pt x="112" y="233"/>
                    </a:lnTo>
                    <a:lnTo>
                      <a:pt x="113" y="233"/>
                    </a:lnTo>
                    <a:lnTo>
                      <a:pt x="112" y="234"/>
                    </a:lnTo>
                    <a:lnTo>
                      <a:pt x="113" y="235"/>
                    </a:lnTo>
                    <a:lnTo>
                      <a:pt x="112" y="235"/>
                    </a:lnTo>
                    <a:lnTo>
                      <a:pt x="112" y="236"/>
                    </a:lnTo>
                    <a:lnTo>
                      <a:pt x="112" y="237"/>
                    </a:lnTo>
                    <a:lnTo>
                      <a:pt x="113" y="237"/>
                    </a:lnTo>
                    <a:lnTo>
                      <a:pt x="113" y="238"/>
                    </a:lnTo>
                    <a:lnTo>
                      <a:pt x="113" y="240"/>
                    </a:lnTo>
                    <a:lnTo>
                      <a:pt x="114" y="240"/>
                    </a:lnTo>
                    <a:lnTo>
                      <a:pt x="114" y="241"/>
                    </a:lnTo>
                    <a:lnTo>
                      <a:pt x="114" y="242"/>
                    </a:lnTo>
                    <a:lnTo>
                      <a:pt x="115" y="242"/>
                    </a:lnTo>
                    <a:lnTo>
                      <a:pt x="116" y="243"/>
                    </a:lnTo>
                    <a:lnTo>
                      <a:pt x="117" y="243"/>
                    </a:lnTo>
                    <a:lnTo>
                      <a:pt x="118" y="243"/>
                    </a:lnTo>
                    <a:lnTo>
                      <a:pt x="118" y="245"/>
                    </a:lnTo>
                    <a:lnTo>
                      <a:pt x="118" y="246"/>
                    </a:lnTo>
                    <a:lnTo>
                      <a:pt x="120" y="246"/>
                    </a:lnTo>
                    <a:lnTo>
                      <a:pt x="120" y="247"/>
                    </a:lnTo>
                    <a:lnTo>
                      <a:pt x="121" y="247"/>
                    </a:lnTo>
                    <a:lnTo>
                      <a:pt x="121" y="246"/>
                    </a:lnTo>
                    <a:lnTo>
                      <a:pt x="121" y="245"/>
                    </a:lnTo>
                    <a:lnTo>
                      <a:pt x="122" y="245"/>
                    </a:lnTo>
                    <a:lnTo>
                      <a:pt x="123" y="244"/>
                    </a:lnTo>
                    <a:lnTo>
                      <a:pt x="124" y="244"/>
                    </a:lnTo>
                    <a:lnTo>
                      <a:pt x="124" y="243"/>
                    </a:lnTo>
                    <a:lnTo>
                      <a:pt x="125" y="243"/>
                    </a:lnTo>
                    <a:lnTo>
                      <a:pt x="125" y="244"/>
                    </a:lnTo>
                    <a:lnTo>
                      <a:pt x="126" y="244"/>
                    </a:lnTo>
                    <a:lnTo>
                      <a:pt x="127" y="244"/>
                    </a:lnTo>
                    <a:lnTo>
                      <a:pt x="126" y="244"/>
                    </a:lnTo>
                    <a:lnTo>
                      <a:pt x="126" y="243"/>
                    </a:lnTo>
                    <a:lnTo>
                      <a:pt x="127" y="243"/>
                    </a:lnTo>
                    <a:lnTo>
                      <a:pt x="127" y="242"/>
                    </a:lnTo>
                    <a:lnTo>
                      <a:pt x="128" y="242"/>
                    </a:lnTo>
                    <a:lnTo>
                      <a:pt x="127" y="242"/>
                    </a:lnTo>
                    <a:lnTo>
                      <a:pt x="127" y="241"/>
                    </a:lnTo>
                    <a:lnTo>
                      <a:pt x="127" y="240"/>
                    </a:lnTo>
                    <a:lnTo>
                      <a:pt x="128" y="240"/>
                    </a:lnTo>
                    <a:lnTo>
                      <a:pt x="127" y="240"/>
                    </a:lnTo>
                    <a:lnTo>
                      <a:pt x="127" y="238"/>
                    </a:lnTo>
                    <a:lnTo>
                      <a:pt x="127" y="237"/>
                    </a:lnTo>
                    <a:lnTo>
                      <a:pt x="128" y="237"/>
                    </a:lnTo>
                    <a:lnTo>
                      <a:pt x="128" y="236"/>
                    </a:lnTo>
                    <a:lnTo>
                      <a:pt x="129" y="236"/>
                    </a:lnTo>
                    <a:lnTo>
                      <a:pt x="128" y="236"/>
                    </a:lnTo>
                    <a:lnTo>
                      <a:pt x="128" y="235"/>
                    </a:lnTo>
                    <a:lnTo>
                      <a:pt x="128" y="234"/>
                    </a:lnTo>
                    <a:lnTo>
                      <a:pt x="128" y="233"/>
                    </a:lnTo>
                    <a:lnTo>
                      <a:pt x="129" y="233"/>
                    </a:lnTo>
                    <a:lnTo>
                      <a:pt x="129" y="232"/>
                    </a:lnTo>
                    <a:lnTo>
                      <a:pt x="129" y="231"/>
                    </a:lnTo>
                    <a:lnTo>
                      <a:pt x="129" y="230"/>
                    </a:lnTo>
                    <a:lnTo>
                      <a:pt x="129" y="229"/>
                    </a:lnTo>
                    <a:lnTo>
                      <a:pt x="129" y="228"/>
                    </a:lnTo>
                    <a:lnTo>
                      <a:pt x="129" y="226"/>
                    </a:lnTo>
                    <a:lnTo>
                      <a:pt x="129" y="224"/>
                    </a:lnTo>
                    <a:lnTo>
                      <a:pt x="127" y="223"/>
                    </a:lnTo>
                    <a:lnTo>
                      <a:pt x="127" y="222"/>
                    </a:lnTo>
                    <a:lnTo>
                      <a:pt x="127" y="221"/>
                    </a:lnTo>
                    <a:lnTo>
                      <a:pt x="127" y="220"/>
                    </a:lnTo>
                    <a:lnTo>
                      <a:pt x="127" y="219"/>
                    </a:lnTo>
                    <a:lnTo>
                      <a:pt x="127" y="218"/>
                    </a:lnTo>
                    <a:lnTo>
                      <a:pt x="127" y="217"/>
                    </a:lnTo>
                    <a:lnTo>
                      <a:pt x="126" y="216"/>
                    </a:lnTo>
                    <a:lnTo>
                      <a:pt x="125" y="213"/>
                    </a:lnTo>
                    <a:lnTo>
                      <a:pt x="124" y="212"/>
                    </a:lnTo>
                    <a:lnTo>
                      <a:pt x="124" y="211"/>
                    </a:lnTo>
                    <a:lnTo>
                      <a:pt x="125" y="211"/>
                    </a:lnTo>
                    <a:lnTo>
                      <a:pt x="125" y="210"/>
                    </a:lnTo>
                    <a:lnTo>
                      <a:pt x="125" y="209"/>
                    </a:lnTo>
                    <a:lnTo>
                      <a:pt x="125" y="207"/>
                    </a:lnTo>
                    <a:lnTo>
                      <a:pt x="126" y="207"/>
                    </a:lnTo>
                    <a:lnTo>
                      <a:pt x="126" y="206"/>
                    </a:lnTo>
                    <a:lnTo>
                      <a:pt x="125" y="206"/>
                    </a:lnTo>
                    <a:lnTo>
                      <a:pt x="124" y="207"/>
                    </a:lnTo>
                    <a:lnTo>
                      <a:pt x="122" y="207"/>
                    </a:lnTo>
                    <a:lnTo>
                      <a:pt x="121" y="208"/>
                    </a:lnTo>
                    <a:lnTo>
                      <a:pt x="120" y="208"/>
                    </a:lnTo>
                    <a:lnTo>
                      <a:pt x="118" y="208"/>
                    </a:lnTo>
                    <a:lnTo>
                      <a:pt x="117" y="208"/>
                    </a:lnTo>
                    <a:lnTo>
                      <a:pt x="117" y="207"/>
                    </a:lnTo>
                    <a:lnTo>
                      <a:pt x="116" y="207"/>
                    </a:lnTo>
                    <a:lnTo>
                      <a:pt x="115" y="207"/>
                    </a:lnTo>
                    <a:lnTo>
                      <a:pt x="114" y="207"/>
                    </a:lnTo>
                    <a:lnTo>
                      <a:pt x="113" y="207"/>
                    </a:lnTo>
                    <a:lnTo>
                      <a:pt x="112" y="207"/>
                    </a:lnTo>
                    <a:lnTo>
                      <a:pt x="111" y="208"/>
                    </a:lnTo>
                    <a:lnTo>
                      <a:pt x="110" y="208"/>
                    </a:lnTo>
                    <a:lnTo>
                      <a:pt x="109" y="209"/>
                    </a:lnTo>
                    <a:lnTo>
                      <a:pt x="108" y="209"/>
                    </a:lnTo>
                    <a:lnTo>
                      <a:pt x="107" y="209"/>
                    </a:lnTo>
                    <a:lnTo>
                      <a:pt x="105" y="209"/>
                    </a:lnTo>
                    <a:lnTo>
                      <a:pt x="104" y="209"/>
                    </a:lnTo>
                    <a:lnTo>
                      <a:pt x="103" y="208"/>
                    </a:lnTo>
                    <a:lnTo>
                      <a:pt x="102" y="208"/>
                    </a:lnTo>
                    <a:lnTo>
                      <a:pt x="102" y="207"/>
                    </a:lnTo>
                    <a:lnTo>
                      <a:pt x="101" y="207"/>
                    </a:lnTo>
                    <a:lnTo>
                      <a:pt x="100" y="207"/>
                    </a:lnTo>
                    <a:lnTo>
                      <a:pt x="100" y="206"/>
                    </a:lnTo>
                    <a:lnTo>
                      <a:pt x="99" y="206"/>
                    </a:lnTo>
                    <a:lnTo>
                      <a:pt x="98" y="205"/>
                    </a:lnTo>
                    <a:lnTo>
                      <a:pt x="97" y="205"/>
                    </a:lnTo>
                    <a:lnTo>
                      <a:pt x="96" y="204"/>
                    </a:lnTo>
                    <a:lnTo>
                      <a:pt x="95" y="204"/>
                    </a:lnTo>
                    <a:lnTo>
                      <a:pt x="95" y="203"/>
                    </a:lnTo>
                    <a:lnTo>
                      <a:pt x="92" y="203"/>
                    </a:lnTo>
                    <a:lnTo>
                      <a:pt x="91" y="203"/>
                    </a:lnTo>
                    <a:lnTo>
                      <a:pt x="90" y="202"/>
                    </a:lnTo>
                    <a:lnTo>
                      <a:pt x="89" y="202"/>
                    </a:lnTo>
                    <a:lnTo>
                      <a:pt x="88" y="202"/>
                    </a:lnTo>
                    <a:lnTo>
                      <a:pt x="86" y="203"/>
                    </a:lnTo>
                    <a:lnTo>
                      <a:pt x="85" y="203"/>
                    </a:lnTo>
                    <a:lnTo>
                      <a:pt x="84" y="203"/>
                    </a:lnTo>
                    <a:lnTo>
                      <a:pt x="82" y="204"/>
                    </a:lnTo>
                    <a:lnTo>
                      <a:pt x="79" y="205"/>
                    </a:lnTo>
                    <a:lnTo>
                      <a:pt x="77" y="205"/>
                    </a:lnTo>
                    <a:lnTo>
                      <a:pt x="76" y="206"/>
                    </a:lnTo>
                    <a:lnTo>
                      <a:pt x="77" y="206"/>
                    </a:lnTo>
                    <a:lnTo>
                      <a:pt x="76" y="207"/>
                    </a:lnTo>
                    <a:lnTo>
                      <a:pt x="76" y="208"/>
                    </a:lnTo>
                    <a:lnTo>
                      <a:pt x="76" y="209"/>
                    </a:lnTo>
                    <a:lnTo>
                      <a:pt x="76" y="210"/>
                    </a:lnTo>
                    <a:lnTo>
                      <a:pt x="75" y="210"/>
                    </a:lnTo>
                    <a:lnTo>
                      <a:pt x="74" y="212"/>
                    </a:lnTo>
                    <a:lnTo>
                      <a:pt x="73" y="213"/>
                    </a:lnTo>
                    <a:lnTo>
                      <a:pt x="72" y="215"/>
                    </a:lnTo>
                    <a:lnTo>
                      <a:pt x="71" y="213"/>
                    </a:lnTo>
                    <a:lnTo>
                      <a:pt x="71" y="212"/>
                    </a:lnTo>
                    <a:lnTo>
                      <a:pt x="70" y="212"/>
                    </a:lnTo>
                    <a:lnTo>
                      <a:pt x="67" y="212"/>
                    </a:lnTo>
                    <a:lnTo>
                      <a:pt x="66" y="212"/>
                    </a:lnTo>
                    <a:lnTo>
                      <a:pt x="65" y="212"/>
                    </a:lnTo>
                    <a:lnTo>
                      <a:pt x="64" y="212"/>
                    </a:lnTo>
                    <a:lnTo>
                      <a:pt x="63" y="212"/>
                    </a:lnTo>
                    <a:lnTo>
                      <a:pt x="62" y="212"/>
                    </a:lnTo>
                    <a:lnTo>
                      <a:pt x="62" y="213"/>
                    </a:lnTo>
                    <a:lnTo>
                      <a:pt x="62" y="215"/>
                    </a:lnTo>
                    <a:lnTo>
                      <a:pt x="61" y="215"/>
                    </a:lnTo>
                    <a:lnTo>
                      <a:pt x="60" y="215"/>
                    </a:lnTo>
                    <a:lnTo>
                      <a:pt x="59" y="216"/>
                    </a:lnTo>
                    <a:lnTo>
                      <a:pt x="58" y="216"/>
                    </a:lnTo>
                    <a:lnTo>
                      <a:pt x="58" y="215"/>
                    </a:lnTo>
                    <a:lnTo>
                      <a:pt x="57" y="215"/>
                    </a:lnTo>
                    <a:lnTo>
                      <a:pt x="56" y="215"/>
                    </a:lnTo>
                    <a:lnTo>
                      <a:pt x="53" y="212"/>
                    </a:lnTo>
                    <a:lnTo>
                      <a:pt x="52" y="211"/>
                    </a:lnTo>
                    <a:lnTo>
                      <a:pt x="50" y="210"/>
                    </a:lnTo>
                    <a:lnTo>
                      <a:pt x="47" y="210"/>
                    </a:lnTo>
                    <a:lnTo>
                      <a:pt x="45" y="209"/>
                    </a:lnTo>
                    <a:lnTo>
                      <a:pt x="44" y="209"/>
                    </a:lnTo>
                    <a:lnTo>
                      <a:pt x="44" y="208"/>
                    </a:lnTo>
                    <a:lnTo>
                      <a:pt x="43" y="207"/>
                    </a:lnTo>
                    <a:lnTo>
                      <a:pt x="41" y="206"/>
                    </a:lnTo>
                    <a:lnTo>
                      <a:pt x="40" y="205"/>
                    </a:lnTo>
                    <a:lnTo>
                      <a:pt x="41" y="203"/>
                    </a:lnTo>
                    <a:lnTo>
                      <a:pt x="39" y="203"/>
                    </a:lnTo>
                    <a:lnTo>
                      <a:pt x="38" y="204"/>
                    </a:lnTo>
                    <a:lnTo>
                      <a:pt x="37" y="204"/>
                    </a:lnTo>
                    <a:lnTo>
                      <a:pt x="37" y="202"/>
                    </a:lnTo>
                    <a:lnTo>
                      <a:pt x="30" y="132"/>
                    </a:lnTo>
                    <a:lnTo>
                      <a:pt x="28" y="123"/>
                    </a:lnTo>
                    <a:lnTo>
                      <a:pt x="28" y="121"/>
                    </a:lnTo>
                    <a:lnTo>
                      <a:pt x="27" y="117"/>
                    </a:lnTo>
                    <a:lnTo>
                      <a:pt x="27" y="116"/>
                    </a:lnTo>
                    <a:lnTo>
                      <a:pt x="26" y="107"/>
                    </a:lnTo>
                    <a:lnTo>
                      <a:pt x="25" y="107"/>
                    </a:lnTo>
                    <a:lnTo>
                      <a:pt x="25" y="106"/>
                    </a:lnTo>
                    <a:lnTo>
                      <a:pt x="25" y="105"/>
                    </a:lnTo>
                    <a:lnTo>
                      <a:pt x="24" y="104"/>
                    </a:lnTo>
                    <a:lnTo>
                      <a:pt x="24" y="101"/>
                    </a:lnTo>
                    <a:lnTo>
                      <a:pt x="24" y="97"/>
                    </a:lnTo>
                    <a:lnTo>
                      <a:pt x="24" y="96"/>
                    </a:lnTo>
                    <a:lnTo>
                      <a:pt x="25" y="96"/>
                    </a:lnTo>
                    <a:lnTo>
                      <a:pt x="25" y="95"/>
                    </a:lnTo>
                    <a:lnTo>
                      <a:pt x="26" y="94"/>
                    </a:lnTo>
                    <a:lnTo>
                      <a:pt x="27" y="94"/>
                    </a:lnTo>
                    <a:lnTo>
                      <a:pt x="28" y="93"/>
                    </a:lnTo>
                    <a:lnTo>
                      <a:pt x="30" y="93"/>
                    </a:lnTo>
                    <a:lnTo>
                      <a:pt x="32" y="93"/>
                    </a:lnTo>
                    <a:lnTo>
                      <a:pt x="37" y="75"/>
                    </a:lnTo>
                    <a:lnTo>
                      <a:pt x="40" y="65"/>
                    </a:lnTo>
                    <a:lnTo>
                      <a:pt x="41" y="62"/>
                    </a:lnTo>
                    <a:lnTo>
                      <a:pt x="43" y="61"/>
                    </a:lnTo>
                    <a:lnTo>
                      <a:pt x="43" y="60"/>
                    </a:lnTo>
                    <a:lnTo>
                      <a:pt x="44" y="57"/>
                    </a:lnTo>
                    <a:lnTo>
                      <a:pt x="47" y="45"/>
                    </a:lnTo>
                    <a:lnTo>
                      <a:pt x="50" y="35"/>
                    </a:lnTo>
                    <a:lnTo>
                      <a:pt x="52" y="35"/>
                    </a:lnTo>
                    <a:lnTo>
                      <a:pt x="58" y="35"/>
                    </a:lnTo>
                    <a:lnTo>
                      <a:pt x="67" y="35"/>
                    </a:lnTo>
                    <a:lnTo>
                      <a:pt x="77" y="35"/>
                    </a:lnTo>
                    <a:lnTo>
                      <a:pt x="84" y="45"/>
                    </a:lnTo>
                    <a:lnTo>
                      <a:pt x="96" y="39"/>
                    </a:lnTo>
                    <a:lnTo>
                      <a:pt x="97" y="39"/>
                    </a:lnTo>
                    <a:lnTo>
                      <a:pt x="131" y="55"/>
                    </a:lnTo>
                    <a:lnTo>
                      <a:pt x="134" y="53"/>
                    </a:lnTo>
                    <a:lnTo>
                      <a:pt x="135" y="51"/>
                    </a:lnTo>
                    <a:lnTo>
                      <a:pt x="143" y="39"/>
                    </a:lnTo>
                    <a:lnTo>
                      <a:pt x="142" y="37"/>
                    </a:lnTo>
                    <a:lnTo>
                      <a:pt x="147" y="33"/>
                    </a:lnTo>
                    <a:lnTo>
                      <a:pt x="147" y="32"/>
                    </a:lnTo>
                    <a:lnTo>
                      <a:pt x="148" y="32"/>
                    </a:lnTo>
                    <a:lnTo>
                      <a:pt x="149" y="31"/>
                    </a:lnTo>
                    <a:lnTo>
                      <a:pt x="150" y="30"/>
                    </a:lnTo>
                    <a:lnTo>
                      <a:pt x="152" y="29"/>
                    </a:lnTo>
                    <a:lnTo>
                      <a:pt x="153" y="27"/>
                    </a:lnTo>
                    <a:lnTo>
                      <a:pt x="154" y="27"/>
                    </a:lnTo>
                    <a:lnTo>
                      <a:pt x="155" y="26"/>
                    </a:lnTo>
                    <a:lnTo>
                      <a:pt x="156" y="25"/>
                    </a:lnTo>
                    <a:lnTo>
                      <a:pt x="159" y="24"/>
                    </a:lnTo>
                    <a:lnTo>
                      <a:pt x="160" y="23"/>
                    </a:lnTo>
                    <a:lnTo>
                      <a:pt x="161" y="23"/>
                    </a:lnTo>
                    <a:lnTo>
                      <a:pt x="167" y="22"/>
                    </a:lnTo>
                    <a:lnTo>
                      <a:pt x="166" y="20"/>
                    </a:lnTo>
                    <a:lnTo>
                      <a:pt x="166" y="19"/>
                    </a:lnTo>
                    <a:lnTo>
                      <a:pt x="165" y="17"/>
                    </a:lnTo>
                    <a:lnTo>
                      <a:pt x="162" y="18"/>
                    </a:lnTo>
                    <a:lnTo>
                      <a:pt x="164" y="10"/>
                    </a:lnTo>
                    <a:lnTo>
                      <a:pt x="165" y="10"/>
                    </a:lnTo>
                    <a:lnTo>
                      <a:pt x="166" y="9"/>
                    </a:lnTo>
                    <a:lnTo>
                      <a:pt x="167" y="9"/>
                    </a:lnTo>
                    <a:lnTo>
                      <a:pt x="168" y="9"/>
                    </a:lnTo>
                    <a:lnTo>
                      <a:pt x="169" y="9"/>
                    </a:lnTo>
                    <a:lnTo>
                      <a:pt x="170" y="7"/>
                    </a:lnTo>
                    <a:lnTo>
                      <a:pt x="172" y="6"/>
                    </a:lnTo>
                    <a:lnTo>
                      <a:pt x="174" y="5"/>
                    </a:lnTo>
                    <a:lnTo>
                      <a:pt x="175" y="3"/>
                    </a:lnTo>
                    <a:lnTo>
                      <a:pt x="176" y="3"/>
                    </a:lnTo>
                    <a:lnTo>
                      <a:pt x="178" y="2"/>
                    </a:lnTo>
                    <a:lnTo>
                      <a:pt x="180" y="2"/>
                    </a:lnTo>
                    <a:lnTo>
                      <a:pt x="181" y="2"/>
                    </a:lnTo>
                    <a:lnTo>
                      <a:pt x="182" y="2"/>
                    </a:lnTo>
                    <a:lnTo>
                      <a:pt x="183" y="1"/>
                    </a:lnTo>
                    <a:lnTo>
                      <a:pt x="185" y="0"/>
                    </a:lnTo>
                    <a:lnTo>
                      <a:pt x="186" y="0"/>
                    </a:lnTo>
                    <a:lnTo>
                      <a:pt x="187" y="0"/>
                    </a:lnTo>
                    <a:lnTo>
                      <a:pt x="188" y="0"/>
                    </a:lnTo>
                    <a:lnTo>
                      <a:pt x="189" y="0"/>
                    </a:lnTo>
                    <a:lnTo>
                      <a:pt x="190" y="1"/>
                    </a:lnTo>
                    <a:lnTo>
                      <a:pt x="191" y="1"/>
                    </a:lnTo>
                    <a:lnTo>
                      <a:pt x="192" y="1"/>
                    </a:lnTo>
                    <a:lnTo>
                      <a:pt x="192" y="2"/>
                    </a:lnTo>
                    <a:lnTo>
                      <a:pt x="193" y="2"/>
                    </a:lnTo>
                    <a:lnTo>
                      <a:pt x="195" y="3"/>
                    </a:lnTo>
                    <a:lnTo>
                      <a:pt x="196" y="3"/>
                    </a:lnTo>
                    <a:lnTo>
                      <a:pt x="198" y="3"/>
                    </a:lnTo>
                    <a:lnTo>
                      <a:pt x="199" y="3"/>
                    </a:lnTo>
                    <a:lnTo>
                      <a:pt x="200" y="3"/>
                    </a:lnTo>
                    <a:lnTo>
                      <a:pt x="200" y="2"/>
                    </a:lnTo>
                    <a:lnTo>
                      <a:pt x="201" y="2"/>
                    </a:lnTo>
                    <a:lnTo>
                      <a:pt x="201" y="1"/>
                    </a:lnTo>
                    <a:lnTo>
                      <a:pt x="202" y="1"/>
                    </a:lnTo>
                    <a:lnTo>
                      <a:pt x="203" y="0"/>
                    </a:lnTo>
                    <a:lnTo>
                      <a:pt x="203" y="1"/>
                    </a:lnTo>
                    <a:lnTo>
                      <a:pt x="204" y="1"/>
                    </a:lnTo>
                    <a:lnTo>
                      <a:pt x="205" y="1"/>
                    </a:lnTo>
                    <a:lnTo>
                      <a:pt x="206" y="2"/>
                    </a:lnTo>
                    <a:lnTo>
                      <a:pt x="206" y="3"/>
                    </a:lnTo>
                    <a:lnTo>
                      <a:pt x="206" y="4"/>
                    </a:lnTo>
                    <a:lnTo>
                      <a:pt x="207" y="5"/>
                    </a:lnTo>
                    <a:lnTo>
                      <a:pt x="208" y="5"/>
                    </a:lnTo>
                    <a:lnTo>
                      <a:pt x="211" y="5"/>
                    </a:lnTo>
                    <a:lnTo>
                      <a:pt x="212" y="6"/>
                    </a:lnTo>
                    <a:lnTo>
                      <a:pt x="213" y="6"/>
                    </a:lnTo>
                    <a:lnTo>
                      <a:pt x="213" y="9"/>
                    </a:lnTo>
                    <a:lnTo>
                      <a:pt x="214" y="9"/>
                    </a:lnTo>
                    <a:lnTo>
                      <a:pt x="214" y="10"/>
                    </a:lnTo>
                    <a:lnTo>
                      <a:pt x="215" y="11"/>
                    </a:lnTo>
                    <a:lnTo>
                      <a:pt x="216" y="11"/>
                    </a:lnTo>
                    <a:lnTo>
                      <a:pt x="216" y="12"/>
                    </a:lnTo>
                    <a:lnTo>
                      <a:pt x="217" y="12"/>
                    </a:lnTo>
                    <a:lnTo>
                      <a:pt x="218" y="12"/>
                    </a:lnTo>
                    <a:lnTo>
                      <a:pt x="218" y="11"/>
                    </a:lnTo>
                    <a:lnTo>
                      <a:pt x="219" y="11"/>
                    </a:lnTo>
                    <a:lnTo>
                      <a:pt x="219" y="10"/>
                    </a:lnTo>
                    <a:lnTo>
                      <a:pt x="219" y="9"/>
                    </a:lnTo>
                    <a:lnTo>
                      <a:pt x="219" y="7"/>
                    </a:lnTo>
                    <a:lnTo>
                      <a:pt x="220" y="7"/>
                    </a:lnTo>
                    <a:lnTo>
                      <a:pt x="221" y="7"/>
                    </a:lnTo>
                    <a:lnTo>
                      <a:pt x="221" y="6"/>
                    </a:lnTo>
                    <a:lnTo>
                      <a:pt x="223" y="6"/>
                    </a:lnTo>
                    <a:lnTo>
                      <a:pt x="224" y="6"/>
                    </a:lnTo>
                    <a:lnTo>
                      <a:pt x="224" y="7"/>
                    </a:lnTo>
                    <a:lnTo>
                      <a:pt x="225" y="7"/>
                    </a:lnTo>
                    <a:lnTo>
                      <a:pt x="225" y="9"/>
                    </a:lnTo>
                    <a:lnTo>
                      <a:pt x="226" y="9"/>
                    </a:lnTo>
                    <a:lnTo>
                      <a:pt x="227" y="9"/>
                    </a:lnTo>
                    <a:lnTo>
                      <a:pt x="228" y="9"/>
                    </a:lnTo>
                    <a:lnTo>
                      <a:pt x="229" y="10"/>
                    </a:lnTo>
                    <a:lnTo>
                      <a:pt x="230" y="11"/>
                    </a:lnTo>
                    <a:lnTo>
                      <a:pt x="230" y="12"/>
                    </a:lnTo>
                    <a:lnTo>
                      <a:pt x="231" y="13"/>
                    </a:lnTo>
                    <a:lnTo>
                      <a:pt x="231" y="14"/>
                    </a:lnTo>
                    <a:lnTo>
                      <a:pt x="232" y="16"/>
                    </a:lnTo>
                    <a:lnTo>
                      <a:pt x="233" y="17"/>
                    </a:lnTo>
                    <a:lnTo>
                      <a:pt x="236" y="19"/>
                    </a:lnTo>
                    <a:lnTo>
                      <a:pt x="238" y="24"/>
                    </a:lnTo>
                    <a:lnTo>
                      <a:pt x="240" y="27"/>
                    </a:lnTo>
                    <a:lnTo>
                      <a:pt x="241" y="29"/>
                    </a:lnTo>
                    <a:lnTo>
                      <a:pt x="246" y="36"/>
                    </a:lnTo>
                    <a:lnTo>
                      <a:pt x="249" y="36"/>
                    </a:lnTo>
                    <a:lnTo>
                      <a:pt x="253" y="37"/>
                    </a:lnTo>
                    <a:lnTo>
                      <a:pt x="255" y="38"/>
                    </a:lnTo>
                    <a:lnTo>
                      <a:pt x="256" y="38"/>
                    </a:lnTo>
                    <a:lnTo>
                      <a:pt x="258" y="38"/>
                    </a:lnTo>
                    <a:lnTo>
                      <a:pt x="259" y="41"/>
                    </a:lnTo>
                    <a:lnTo>
                      <a:pt x="260" y="43"/>
                    </a:lnTo>
                    <a:lnTo>
                      <a:pt x="262" y="45"/>
                    </a:lnTo>
                    <a:lnTo>
                      <a:pt x="262" y="48"/>
                    </a:lnTo>
                    <a:lnTo>
                      <a:pt x="262" y="50"/>
                    </a:lnTo>
                    <a:lnTo>
                      <a:pt x="260" y="53"/>
                    </a:lnTo>
                    <a:lnTo>
                      <a:pt x="262" y="55"/>
                    </a:lnTo>
                    <a:lnTo>
                      <a:pt x="262" y="56"/>
                    </a:lnTo>
                    <a:lnTo>
                      <a:pt x="264" y="58"/>
                    </a:lnTo>
                    <a:lnTo>
                      <a:pt x="265" y="61"/>
                    </a:lnTo>
                    <a:lnTo>
                      <a:pt x="265" y="62"/>
                    </a:lnTo>
                    <a:lnTo>
                      <a:pt x="265" y="63"/>
                    </a:lnTo>
                    <a:lnTo>
                      <a:pt x="283" y="63"/>
                    </a:lnTo>
                    <a:lnTo>
                      <a:pt x="284" y="63"/>
                    </a:lnTo>
                    <a:lnTo>
                      <a:pt x="299" y="63"/>
                    </a:lnTo>
                    <a:lnTo>
                      <a:pt x="302" y="63"/>
                    </a:lnTo>
                    <a:lnTo>
                      <a:pt x="322" y="63"/>
                    </a:lnTo>
                    <a:lnTo>
                      <a:pt x="322" y="62"/>
                    </a:lnTo>
                    <a:lnTo>
                      <a:pt x="322" y="61"/>
                    </a:lnTo>
                    <a:lnTo>
                      <a:pt x="322" y="60"/>
                    </a:lnTo>
                    <a:lnTo>
                      <a:pt x="322" y="58"/>
                    </a:lnTo>
                    <a:lnTo>
                      <a:pt x="323" y="58"/>
                    </a:lnTo>
                    <a:lnTo>
                      <a:pt x="324" y="57"/>
                    </a:lnTo>
                    <a:lnTo>
                      <a:pt x="325" y="57"/>
                    </a:lnTo>
                    <a:lnTo>
                      <a:pt x="327" y="57"/>
                    </a:lnTo>
                    <a:lnTo>
                      <a:pt x="328" y="57"/>
                    </a:lnTo>
                    <a:lnTo>
                      <a:pt x="329" y="57"/>
                    </a:lnTo>
                    <a:lnTo>
                      <a:pt x="330" y="57"/>
                    </a:lnTo>
                    <a:lnTo>
                      <a:pt x="330" y="56"/>
                    </a:lnTo>
                    <a:lnTo>
                      <a:pt x="330" y="55"/>
                    </a:lnTo>
                    <a:lnTo>
                      <a:pt x="330" y="53"/>
                    </a:lnTo>
                    <a:lnTo>
                      <a:pt x="330" y="52"/>
                    </a:lnTo>
                    <a:lnTo>
                      <a:pt x="331" y="51"/>
                    </a:lnTo>
                    <a:lnTo>
                      <a:pt x="331" y="50"/>
                    </a:lnTo>
                    <a:lnTo>
                      <a:pt x="332" y="49"/>
                    </a:lnTo>
                    <a:lnTo>
                      <a:pt x="333" y="48"/>
                    </a:lnTo>
                    <a:lnTo>
                      <a:pt x="333" y="45"/>
                    </a:lnTo>
                    <a:lnTo>
                      <a:pt x="334" y="45"/>
                    </a:lnTo>
                    <a:lnTo>
                      <a:pt x="337" y="45"/>
                    </a:lnTo>
                    <a:lnTo>
                      <a:pt x="349" y="45"/>
                    </a:lnTo>
                    <a:lnTo>
                      <a:pt x="350" y="45"/>
                    </a:lnTo>
                    <a:lnTo>
                      <a:pt x="355" y="45"/>
                    </a:lnTo>
                    <a:lnTo>
                      <a:pt x="356" y="45"/>
                    </a:lnTo>
                    <a:lnTo>
                      <a:pt x="362" y="45"/>
                    </a:lnTo>
                    <a:lnTo>
                      <a:pt x="363" y="45"/>
                    </a:lnTo>
                    <a:lnTo>
                      <a:pt x="368" y="45"/>
                    </a:lnTo>
                    <a:lnTo>
                      <a:pt x="404" y="44"/>
                    </a:lnTo>
                    <a:lnTo>
                      <a:pt x="407" y="44"/>
                    </a:lnTo>
                    <a:close/>
                    <a:moveTo>
                      <a:pt x="82" y="343"/>
                    </a:moveTo>
                    <a:lnTo>
                      <a:pt x="80" y="343"/>
                    </a:lnTo>
                    <a:lnTo>
                      <a:pt x="80" y="344"/>
                    </a:lnTo>
                    <a:lnTo>
                      <a:pt x="82" y="343"/>
                    </a:lnTo>
                    <a:lnTo>
                      <a:pt x="82" y="344"/>
                    </a:lnTo>
                    <a:lnTo>
                      <a:pt x="82" y="345"/>
                    </a:lnTo>
                    <a:lnTo>
                      <a:pt x="83" y="345"/>
                    </a:lnTo>
                    <a:lnTo>
                      <a:pt x="83" y="346"/>
                    </a:lnTo>
                    <a:lnTo>
                      <a:pt x="84" y="346"/>
                    </a:lnTo>
                    <a:lnTo>
                      <a:pt x="84" y="347"/>
                    </a:lnTo>
                    <a:lnTo>
                      <a:pt x="85" y="347"/>
                    </a:lnTo>
                    <a:lnTo>
                      <a:pt x="87" y="347"/>
                    </a:lnTo>
                    <a:lnTo>
                      <a:pt x="87" y="348"/>
                    </a:lnTo>
                    <a:lnTo>
                      <a:pt x="86" y="348"/>
                    </a:lnTo>
                    <a:lnTo>
                      <a:pt x="86" y="349"/>
                    </a:lnTo>
                    <a:lnTo>
                      <a:pt x="87" y="349"/>
                    </a:lnTo>
                    <a:lnTo>
                      <a:pt x="88" y="349"/>
                    </a:lnTo>
                    <a:lnTo>
                      <a:pt x="89" y="349"/>
                    </a:lnTo>
                    <a:lnTo>
                      <a:pt x="90" y="348"/>
                    </a:lnTo>
                    <a:lnTo>
                      <a:pt x="91" y="349"/>
                    </a:lnTo>
                    <a:lnTo>
                      <a:pt x="92" y="349"/>
                    </a:lnTo>
                    <a:lnTo>
                      <a:pt x="94" y="349"/>
                    </a:lnTo>
                    <a:lnTo>
                      <a:pt x="95" y="348"/>
                    </a:lnTo>
                    <a:lnTo>
                      <a:pt x="95" y="349"/>
                    </a:lnTo>
                    <a:lnTo>
                      <a:pt x="95" y="350"/>
                    </a:lnTo>
                    <a:lnTo>
                      <a:pt x="96" y="351"/>
                    </a:lnTo>
                    <a:lnTo>
                      <a:pt x="96" y="350"/>
                    </a:lnTo>
                    <a:lnTo>
                      <a:pt x="97" y="350"/>
                    </a:lnTo>
                    <a:lnTo>
                      <a:pt x="97" y="349"/>
                    </a:lnTo>
                    <a:lnTo>
                      <a:pt x="98" y="348"/>
                    </a:lnTo>
                    <a:lnTo>
                      <a:pt x="98" y="349"/>
                    </a:lnTo>
                    <a:lnTo>
                      <a:pt x="99" y="349"/>
                    </a:lnTo>
                    <a:lnTo>
                      <a:pt x="99" y="348"/>
                    </a:lnTo>
                    <a:lnTo>
                      <a:pt x="100" y="348"/>
                    </a:lnTo>
                    <a:lnTo>
                      <a:pt x="101" y="348"/>
                    </a:lnTo>
                    <a:lnTo>
                      <a:pt x="101" y="349"/>
                    </a:lnTo>
                    <a:lnTo>
                      <a:pt x="101" y="348"/>
                    </a:lnTo>
                    <a:lnTo>
                      <a:pt x="102" y="347"/>
                    </a:lnTo>
                    <a:lnTo>
                      <a:pt x="103" y="348"/>
                    </a:lnTo>
                    <a:lnTo>
                      <a:pt x="103" y="349"/>
                    </a:lnTo>
                    <a:lnTo>
                      <a:pt x="104" y="350"/>
                    </a:lnTo>
                    <a:lnTo>
                      <a:pt x="107" y="351"/>
                    </a:lnTo>
                    <a:lnTo>
                      <a:pt x="108" y="352"/>
                    </a:lnTo>
                    <a:lnTo>
                      <a:pt x="109" y="352"/>
                    </a:lnTo>
                    <a:lnTo>
                      <a:pt x="110" y="351"/>
                    </a:lnTo>
                    <a:lnTo>
                      <a:pt x="111" y="351"/>
                    </a:lnTo>
                    <a:lnTo>
                      <a:pt x="112" y="352"/>
                    </a:lnTo>
                    <a:lnTo>
                      <a:pt x="112" y="353"/>
                    </a:lnTo>
                    <a:lnTo>
                      <a:pt x="112" y="352"/>
                    </a:lnTo>
                    <a:lnTo>
                      <a:pt x="112" y="351"/>
                    </a:lnTo>
                    <a:lnTo>
                      <a:pt x="113" y="351"/>
                    </a:lnTo>
                    <a:lnTo>
                      <a:pt x="113" y="350"/>
                    </a:lnTo>
                    <a:lnTo>
                      <a:pt x="113" y="349"/>
                    </a:lnTo>
                    <a:lnTo>
                      <a:pt x="114" y="349"/>
                    </a:lnTo>
                    <a:lnTo>
                      <a:pt x="114" y="348"/>
                    </a:lnTo>
                    <a:lnTo>
                      <a:pt x="113" y="348"/>
                    </a:lnTo>
                    <a:lnTo>
                      <a:pt x="112" y="347"/>
                    </a:lnTo>
                    <a:lnTo>
                      <a:pt x="113" y="347"/>
                    </a:lnTo>
                    <a:lnTo>
                      <a:pt x="113" y="348"/>
                    </a:lnTo>
                    <a:lnTo>
                      <a:pt x="114" y="348"/>
                    </a:lnTo>
                    <a:lnTo>
                      <a:pt x="115" y="348"/>
                    </a:lnTo>
                    <a:lnTo>
                      <a:pt x="116" y="348"/>
                    </a:lnTo>
                    <a:lnTo>
                      <a:pt x="117" y="348"/>
                    </a:lnTo>
                    <a:lnTo>
                      <a:pt x="117" y="349"/>
                    </a:lnTo>
                    <a:lnTo>
                      <a:pt x="117" y="350"/>
                    </a:lnTo>
                    <a:lnTo>
                      <a:pt x="117" y="352"/>
                    </a:lnTo>
                    <a:lnTo>
                      <a:pt x="116" y="353"/>
                    </a:lnTo>
                    <a:lnTo>
                      <a:pt x="117" y="356"/>
                    </a:lnTo>
                    <a:lnTo>
                      <a:pt x="117" y="357"/>
                    </a:lnTo>
                    <a:lnTo>
                      <a:pt x="120" y="358"/>
                    </a:lnTo>
                    <a:lnTo>
                      <a:pt x="121" y="360"/>
                    </a:lnTo>
                    <a:lnTo>
                      <a:pt x="122" y="360"/>
                    </a:lnTo>
                    <a:lnTo>
                      <a:pt x="123" y="360"/>
                    </a:lnTo>
                    <a:lnTo>
                      <a:pt x="124" y="360"/>
                    </a:lnTo>
                    <a:lnTo>
                      <a:pt x="125" y="362"/>
                    </a:lnTo>
                    <a:lnTo>
                      <a:pt x="126" y="363"/>
                    </a:lnTo>
                    <a:lnTo>
                      <a:pt x="126" y="364"/>
                    </a:lnTo>
                    <a:lnTo>
                      <a:pt x="127" y="364"/>
                    </a:lnTo>
                    <a:lnTo>
                      <a:pt x="128" y="365"/>
                    </a:lnTo>
                    <a:lnTo>
                      <a:pt x="128" y="366"/>
                    </a:lnTo>
                    <a:lnTo>
                      <a:pt x="127" y="366"/>
                    </a:lnTo>
                    <a:lnTo>
                      <a:pt x="127" y="367"/>
                    </a:lnTo>
                    <a:lnTo>
                      <a:pt x="128" y="367"/>
                    </a:lnTo>
                    <a:lnTo>
                      <a:pt x="128" y="366"/>
                    </a:lnTo>
                    <a:lnTo>
                      <a:pt x="129" y="366"/>
                    </a:lnTo>
                    <a:lnTo>
                      <a:pt x="129" y="365"/>
                    </a:lnTo>
                    <a:lnTo>
                      <a:pt x="130" y="365"/>
                    </a:lnTo>
                    <a:lnTo>
                      <a:pt x="130" y="366"/>
                    </a:lnTo>
                    <a:lnTo>
                      <a:pt x="131" y="367"/>
                    </a:lnTo>
                    <a:lnTo>
                      <a:pt x="133" y="367"/>
                    </a:lnTo>
                    <a:lnTo>
                      <a:pt x="133" y="366"/>
                    </a:lnTo>
                    <a:lnTo>
                      <a:pt x="134" y="366"/>
                    </a:lnTo>
                    <a:lnTo>
                      <a:pt x="134" y="367"/>
                    </a:lnTo>
                    <a:lnTo>
                      <a:pt x="135" y="367"/>
                    </a:lnTo>
                    <a:lnTo>
                      <a:pt x="136" y="367"/>
                    </a:lnTo>
                    <a:lnTo>
                      <a:pt x="137" y="367"/>
                    </a:lnTo>
                    <a:lnTo>
                      <a:pt x="137" y="369"/>
                    </a:lnTo>
                    <a:lnTo>
                      <a:pt x="138" y="369"/>
                    </a:lnTo>
                    <a:lnTo>
                      <a:pt x="139" y="369"/>
                    </a:lnTo>
                    <a:lnTo>
                      <a:pt x="139" y="370"/>
                    </a:lnTo>
                    <a:lnTo>
                      <a:pt x="139" y="371"/>
                    </a:lnTo>
                    <a:lnTo>
                      <a:pt x="138" y="372"/>
                    </a:lnTo>
                    <a:lnTo>
                      <a:pt x="139" y="373"/>
                    </a:lnTo>
                    <a:lnTo>
                      <a:pt x="139" y="374"/>
                    </a:lnTo>
                    <a:lnTo>
                      <a:pt x="140" y="374"/>
                    </a:lnTo>
                    <a:lnTo>
                      <a:pt x="140" y="375"/>
                    </a:lnTo>
                    <a:lnTo>
                      <a:pt x="140" y="376"/>
                    </a:lnTo>
                    <a:lnTo>
                      <a:pt x="140" y="377"/>
                    </a:lnTo>
                    <a:lnTo>
                      <a:pt x="140" y="378"/>
                    </a:lnTo>
                    <a:lnTo>
                      <a:pt x="141" y="378"/>
                    </a:lnTo>
                    <a:lnTo>
                      <a:pt x="142" y="378"/>
                    </a:lnTo>
                    <a:lnTo>
                      <a:pt x="142" y="377"/>
                    </a:lnTo>
                    <a:lnTo>
                      <a:pt x="141" y="377"/>
                    </a:lnTo>
                    <a:lnTo>
                      <a:pt x="141" y="376"/>
                    </a:lnTo>
                    <a:lnTo>
                      <a:pt x="143" y="376"/>
                    </a:lnTo>
                    <a:lnTo>
                      <a:pt x="146" y="377"/>
                    </a:lnTo>
                    <a:lnTo>
                      <a:pt x="147" y="376"/>
                    </a:lnTo>
                    <a:lnTo>
                      <a:pt x="147" y="375"/>
                    </a:lnTo>
                    <a:lnTo>
                      <a:pt x="148" y="375"/>
                    </a:lnTo>
                    <a:lnTo>
                      <a:pt x="149" y="375"/>
                    </a:lnTo>
                    <a:lnTo>
                      <a:pt x="150" y="375"/>
                    </a:lnTo>
                    <a:lnTo>
                      <a:pt x="150" y="374"/>
                    </a:lnTo>
                    <a:lnTo>
                      <a:pt x="151" y="374"/>
                    </a:lnTo>
                    <a:lnTo>
                      <a:pt x="152" y="373"/>
                    </a:lnTo>
                    <a:lnTo>
                      <a:pt x="153" y="374"/>
                    </a:lnTo>
                    <a:lnTo>
                      <a:pt x="153" y="375"/>
                    </a:lnTo>
                    <a:lnTo>
                      <a:pt x="155" y="376"/>
                    </a:lnTo>
                    <a:lnTo>
                      <a:pt x="156" y="377"/>
                    </a:lnTo>
                    <a:lnTo>
                      <a:pt x="157" y="377"/>
                    </a:lnTo>
                    <a:lnTo>
                      <a:pt x="159" y="377"/>
                    </a:lnTo>
                    <a:lnTo>
                      <a:pt x="159" y="378"/>
                    </a:lnTo>
                    <a:lnTo>
                      <a:pt x="157" y="379"/>
                    </a:lnTo>
                    <a:lnTo>
                      <a:pt x="157" y="380"/>
                    </a:lnTo>
                    <a:lnTo>
                      <a:pt x="157" y="382"/>
                    </a:lnTo>
                    <a:lnTo>
                      <a:pt x="156" y="384"/>
                    </a:lnTo>
                    <a:lnTo>
                      <a:pt x="157" y="386"/>
                    </a:lnTo>
                    <a:lnTo>
                      <a:pt x="157" y="387"/>
                    </a:lnTo>
                    <a:lnTo>
                      <a:pt x="157" y="390"/>
                    </a:lnTo>
                    <a:lnTo>
                      <a:pt x="159" y="391"/>
                    </a:lnTo>
                    <a:lnTo>
                      <a:pt x="161" y="392"/>
                    </a:lnTo>
                    <a:lnTo>
                      <a:pt x="162" y="391"/>
                    </a:lnTo>
                    <a:lnTo>
                      <a:pt x="163" y="391"/>
                    </a:lnTo>
                    <a:lnTo>
                      <a:pt x="163" y="390"/>
                    </a:lnTo>
                    <a:lnTo>
                      <a:pt x="163" y="389"/>
                    </a:lnTo>
                    <a:lnTo>
                      <a:pt x="162" y="388"/>
                    </a:lnTo>
                    <a:lnTo>
                      <a:pt x="162" y="387"/>
                    </a:lnTo>
                    <a:lnTo>
                      <a:pt x="163" y="387"/>
                    </a:lnTo>
                    <a:lnTo>
                      <a:pt x="164" y="387"/>
                    </a:lnTo>
                    <a:lnTo>
                      <a:pt x="164" y="386"/>
                    </a:lnTo>
                    <a:lnTo>
                      <a:pt x="165" y="386"/>
                    </a:lnTo>
                    <a:lnTo>
                      <a:pt x="166" y="386"/>
                    </a:lnTo>
                    <a:lnTo>
                      <a:pt x="167" y="387"/>
                    </a:lnTo>
                    <a:lnTo>
                      <a:pt x="167" y="388"/>
                    </a:lnTo>
                    <a:lnTo>
                      <a:pt x="168" y="388"/>
                    </a:lnTo>
                    <a:lnTo>
                      <a:pt x="168" y="387"/>
                    </a:lnTo>
                    <a:lnTo>
                      <a:pt x="169" y="387"/>
                    </a:lnTo>
                    <a:lnTo>
                      <a:pt x="170" y="387"/>
                    </a:lnTo>
                    <a:lnTo>
                      <a:pt x="172" y="386"/>
                    </a:lnTo>
                    <a:lnTo>
                      <a:pt x="173" y="386"/>
                    </a:lnTo>
                    <a:lnTo>
                      <a:pt x="173" y="387"/>
                    </a:lnTo>
                    <a:lnTo>
                      <a:pt x="174" y="387"/>
                    </a:lnTo>
                    <a:lnTo>
                      <a:pt x="175" y="387"/>
                    </a:lnTo>
                    <a:lnTo>
                      <a:pt x="176" y="387"/>
                    </a:lnTo>
                    <a:lnTo>
                      <a:pt x="177" y="387"/>
                    </a:lnTo>
                    <a:lnTo>
                      <a:pt x="178" y="387"/>
                    </a:lnTo>
                    <a:lnTo>
                      <a:pt x="179" y="386"/>
                    </a:lnTo>
                    <a:lnTo>
                      <a:pt x="180" y="386"/>
                    </a:lnTo>
                    <a:lnTo>
                      <a:pt x="181" y="385"/>
                    </a:lnTo>
                    <a:lnTo>
                      <a:pt x="182" y="384"/>
                    </a:lnTo>
                    <a:lnTo>
                      <a:pt x="183" y="383"/>
                    </a:lnTo>
                    <a:lnTo>
                      <a:pt x="183" y="382"/>
                    </a:lnTo>
                    <a:lnTo>
                      <a:pt x="183" y="380"/>
                    </a:lnTo>
                    <a:lnTo>
                      <a:pt x="183" y="383"/>
                    </a:lnTo>
                    <a:lnTo>
                      <a:pt x="182" y="384"/>
                    </a:lnTo>
                    <a:lnTo>
                      <a:pt x="182" y="386"/>
                    </a:lnTo>
                    <a:lnTo>
                      <a:pt x="181" y="387"/>
                    </a:lnTo>
                    <a:lnTo>
                      <a:pt x="181" y="388"/>
                    </a:lnTo>
                    <a:lnTo>
                      <a:pt x="180" y="389"/>
                    </a:lnTo>
                    <a:lnTo>
                      <a:pt x="181" y="389"/>
                    </a:lnTo>
                    <a:lnTo>
                      <a:pt x="180" y="391"/>
                    </a:lnTo>
                    <a:lnTo>
                      <a:pt x="181" y="392"/>
                    </a:lnTo>
                    <a:lnTo>
                      <a:pt x="181" y="393"/>
                    </a:lnTo>
                    <a:lnTo>
                      <a:pt x="181" y="395"/>
                    </a:lnTo>
                    <a:lnTo>
                      <a:pt x="180" y="395"/>
                    </a:lnTo>
                    <a:lnTo>
                      <a:pt x="182" y="395"/>
                    </a:lnTo>
                    <a:lnTo>
                      <a:pt x="182" y="396"/>
                    </a:lnTo>
                    <a:lnTo>
                      <a:pt x="182" y="397"/>
                    </a:lnTo>
                    <a:lnTo>
                      <a:pt x="183" y="397"/>
                    </a:lnTo>
                    <a:lnTo>
                      <a:pt x="183" y="396"/>
                    </a:lnTo>
                    <a:lnTo>
                      <a:pt x="185" y="395"/>
                    </a:lnTo>
                    <a:lnTo>
                      <a:pt x="186" y="396"/>
                    </a:lnTo>
                    <a:lnTo>
                      <a:pt x="187" y="396"/>
                    </a:lnTo>
                    <a:lnTo>
                      <a:pt x="187" y="397"/>
                    </a:lnTo>
                    <a:lnTo>
                      <a:pt x="188" y="397"/>
                    </a:lnTo>
                    <a:lnTo>
                      <a:pt x="188" y="396"/>
                    </a:lnTo>
                    <a:lnTo>
                      <a:pt x="188" y="395"/>
                    </a:lnTo>
                    <a:lnTo>
                      <a:pt x="189" y="395"/>
                    </a:lnTo>
                    <a:lnTo>
                      <a:pt x="190" y="393"/>
                    </a:lnTo>
                    <a:lnTo>
                      <a:pt x="191" y="393"/>
                    </a:lnTo>
                    <a:lnTo>
                      <a:pt x="191" y="395"/>
                    </a:lnTo>
                    <a:lnTo>
                      <a:pt x="192" y="395"/>
                    </a:lnTo>
                    <a:lnTo>
                      <a:pt x="194" y="395"/>
                    </a:lnTo>
                    <a:lnTo>
                      <a:pt x="195" y="395"/>
                    </a:lnTo>
                    <a:lnTo>
                      <a:pt x="195" y="393"/>
                    </a:lnTo>
                    <a:lnTo>
                      <a:pt x="194" y="392"/>
                    </a:lnTo>
                    <a:lnTo>
                      <a:pt x="195" y="392"/>
                    </a:lnTo>
                    <a:lnTo>
                      <a:pt x="195" y="391"/>
                    </a:lnTo>
                    <a:lnTo>
                      <a:pt x="196" y="391"/>
                    </a:lnTo>
                    <a:lnTo>
                      <a:pt x="198" y="391"/>
                    </a:lnTo>
                    <a:lnTo>
                      <a:pt x="199" y="390"/>
                    </a:lnTo>
                    <a:lnTo>
                      <a:pt x="200" y="391"/>
                    </a:lnTo>
                    <a:lnTo>
                      <a:pt x="200" y="390"/>
                    </a:lnTo>
                    <a:lnTo>
                      <a:pt x="200" y="389"/>
                    </a:lnTo>
                    <a:lnTo>
                      <a:pt x="201" y="389"/>
                    </a:lnTo>
                    <a:lnTo>
                      <a:pt x="201" y="391"/>
                    </a:lnTo>
                    <a:lnTo>
                      <a:pt x="199" y="391"/>
                    </a:lnTo>
                    <a:lnTo>
                      <a:pt x="199" y="392"/>
                    </a:lnTo>
                    <a:lnTo>
                      <a:pt x="198" y="392"/>
                    </a:lnTo>
                    <a:lnTo>
                      <a:pt x="198" y="393"/>
                    </a:lnTo>
                    <a:lnTo>
                      <a:pt x="199" y="395"/>
                    </a:lnTo>
                    <a:lnTo>
                      <a:pt x="199" y="396"/>
                    </a:lnTo>
                    <a:lnTo>
                      <a:pt x="198" y="397"/>
                    </a:lnTo>
                    <a:lnTo>
                      <a:pt x="196" y="397"/>
                    </a:lnTo>
                    <a:lnTo>
                      <a:pt x="196" y="398"/>
                    </a:lnTo>
                    <a:lnTo>
                      <a:pt x="195" y="398"/>
                    </a:lnTo>
                    <a:lnTo>
                      <a:pt x="196" y="399"/>
                    </a:lnTo>
                    <a:lnTo>
                      <a:pt x="196" y="400"/>
                    </a:lnTo>
                    <a:lnTo>
                      <a:pt x="191" y="403"/>
                    </a:lnTo>
                    <a:lnTo>
                      <a:pt x="191" y="404"/>
                    </a:lnTo>
                    <a:lnTo>
                      <a:pt x="188" y="407"/>
                    </a:lnTo>
                    <a:lnTo>
                      <a:pt x="186" y="408"/>
                    </a:lnTo>
                    <a:lnTo>
                      <a:pt x="185" y="409"/>
                    </a:lnTo>
                    <a:lnTo>
                      <a:pt x="183" y="410"/>
                    </a:lnTo>
                    <a:lnTo>
                      <a:pt x="182" y="411"/>
                    </a:lnTo>
                    <a:lnTo>
                      <a:pt x="181" y="411"/>
                    </a:lnTo>
                    <a:lnTo>
                      <a:pt x="179" y="412"/>
                    </a:lnTo>
                    <a:lnTo>
                      <a:pt x="178" y="412"/>
                    </a:lnTo>
                    <a:lnTo>
                      <a:pt x="177" y="413"/>
                    </a:lnTo>
                    <a:lnTo>
                      <a:pt x="176" y="413"/>
                    </a:lnTo>
                    <a:lnTo>
                      <a:pt x="175" y="413"/>
                    </a:lnTo>
                    <a:lnTo>
                      <a:pt x="174" y="414"/>
                    </a:lnTo>
                    <a:lnTo>
                      <a:pt x="173" y="414"/>
                    </a:lnTo>
                    <a:lnTo>
                      <a:pt x="172" y="415"/>
                    </a:lnTo>
                    <a:lnTo>
                      <a:pt x="170" y="417"/>
                    </a:lnTo>
                    <a:lnTo>
                      <a:pt x="169" y="418"/>
                    </a:lnTo>
                    <a:lnTo>
                      <a:pt x="168" y="420"/>
                    </a:lnTo>
                    <a:lnTo>
                      <a:pt x="167" y="420"/>
                    </a:lnTo>
                    <a:lnTo>
                      <a:pt x="166" y="420"/>
                    </a:lnTo>
                    <a:lnTo>
                      <a:pt x="166" y="418"/>
                    </a:lnTo>
                    <a:lnTo>
                      <a:pt x="165" y="418"/>
                    </a:lnTo>
                    <a:lnTo>
                      <a:pt x="164" y="418"/>
                    </a:lnTo>
                    <a:lnTo>
                      <a:pt x="164" y="420"/>
                    </a:lnTo>
                    <a:lnTo>
                      <a:pt x="164" y="421"/>
                    </a:lnTo>
                    <a:lnTo>
                      <a:pt x="165" y="422"/>
                    </a:lnTo>
                    <a:lnTo>
                      <a:pt x="164" y="423"/>
                    </a:lnTo>
                    <a:lnTo>
                      <a:pt x="163" y="424"/>
                    </a:lnTo>
                    <a:lnTo>
                      <a:pt x="163" y="426"/>
                    </a:lnTo>
                    <a:lnTo>
                      <a:pt x="162" y="427"/>
                    </a:lnTo>
                    <a:lnTo>
                      <a:pt x="161" y="428"/>
                    </a:lnTo>
                    <a:lnTo>
                      <a:pt x="161" y="430"/>
                    </a:lnTo>
                    <a:lnTo>
                      <a:pt x="161" y="431"/>
                    </a:lnTo>
                    <a:lnTo>
                      <a:pt x="160" y="433"/>
                    </a:lnTo>
                    <a:lnTo>
                      <a:pt x="159" y="435"/>
                    </a:lnTo>
                    <a:lnTo>
                      <a:pt x="159" y="436"/>
                    </a:lnTo>
                    <a:lnTo>
                      <a:pt x="159" y="437"/>
                    </a:lnTo>
                    <a:lnTo>
                      <a:pt x="159" y="439"/>
                    </a:lnTo>
                    <a:lnTo>
                      <a:pt x="160" y="441"/>
                    </a:lnTo>
                    <a:lnTo>
                      <a:pt x="161" y="442"/>
                    </a:lnTo>
                    <a:lnTo>
                      <a:pt x="161" y="443"/>
                    </a:lnTo>
                    <a:lnTo>
                      <a:pt x="161" y="444"/>
                    </a:lnTo>
                    <a:lnTo>
                      <a:pt x="162" y="446"/>
                    </a:lnTo>
                    <a:lnTo>
                      <a:pt x="163" y="446"/>
                    </a:lnTo>
                    <a:lnTo>
                      <a:pt x="162" y="447"/>
                    </a:lnTo>
                    <a:lnTo>
                      <a:pt x="161" y="447"/>
                    </a:lnTo>
                    <a:lnTo>
                      <a:pt x="160" y="447"/>
                    </a:lnTo>
                    <a:lnTo>
                      <a:pt x="160" y="448"/>
                    </a:lnTo>
                    <a:lnTo>
                      <a:pt x="159" y="448"/>
                    </a:lnTo>
                    <a:lnTo>
                      <a:pt x="157" y="449"/>
                    </a:lnTo>
                    <a:lnTo>
                      <a:pt x="155" y="450"/>
                    </a:lnTo>
                    <a:lnTo>
                      <a:pt x="153" y="451"/>
                    </a:lnTo>
                    <a:lnTo>
                      <a:pt x="152" y="451"/>
                    </a:lnTo>
                    <a:lnTo>
                      <a:pt x="150" y="451"/>
                    </a:lnTo>
                    <a:lnTo>
                      <a:pt x="149" y="451"/>
                    </a:lnTo>
                    <a:lnTo>
                      <a:pt x="148" y="451"/>
                    </a:lnTo>
                    <a:lnTo>
                      <a:pt x="147" y="451"/>
                    </a:lnTo>
                    <a:lnTo>
                      <a:pt x="147" y="450"/>
                    </a:lnTo>
                    <a:lnTo>
                      <a:pt x="146" y="449"/>
                    </a:lnTo>
                    <a:lnTo>
                      <a:pt x="144" y="449"/>
                    </a:lnTo>
                    <a:lnTo>
                      <a:pt x="143" y="448"/>
                    </a:lnTo>
                    <a:lnTo>
                      <a:pt x="142" y="448"/>
                    </a:lnTo>
                    <a:lnTo>
                      <a:pt x="141" y="448"/>
                    </a:lnTo>
                    <a:lnTo>
                      <a:pt x="139" y="448"/>
                    </a:lnTo>
                    <a:lnTo>
                      <a:pt x="138" y="449"/>
                    </a:lnTo>
                    <a:lnTo>
                      <a:pt x="137" y="450"/>
                    </a:lnTo>
                    <a:lnTo>
                      <a:pt x="136" y="450"/>
                    </a:lnTo>
                    <a:lnTo>
                      <a:pt x="135" y="450"/>
                    </a:lnTo>
                    <a:lnTo>
                      <a:pt x="134" y="451"/>
                    </a:lnTo>
                    <a:lnTo>
                      <a:pt x="133" y="452"/>
                    </a:lnTo>
                    <a:lnTo>
                      <a:pt x="131" y="453"/>
                    </a:lnTo>
                    <a:lnTo>
                      <a:pt x="131" y="455"/>
                    </a:lnTo>
                    <a:lnTo>
                      <a:pt x="130" y="455"/>
                    </a:lnTo>
                    <a:lnTo>
                      <a:pt x="130" y="454"/>
                    </a:lnTo>
                    <a:lnTo>
                      <a:pt x="129" y="454"/>
                    </a:lnTo>
                    <a:lnTo>
                      <a:pt x="129" y="453"/>
                    </a:lnTo>
                    <a:lnTo>
                      <a:pt x="128" y="453"/>
                    </a:lnTo>
                    <a:lnTo>
                      <a:pt x="129" y="455"/>
                    </a:lnTo>
                    <a:lnTo>
                      <a:pt x="128" y="455"/>
                    </a:lnTo>
                    <a:lnTo>
                      <a:pt x="127" y="455"/>
                    </a:lnTo>
                    <a:lnTo>
                      <a:pt x="126" y="455"/>
                    </a:lnTo>
                    <a:lnTo>
                      <a:pt x="126" y="454"/>
                    </a:lnTo>
                    <a:lnTo>
                      <a:pt x="125" y="454"/>
                    </a:lnTo>
                    <a:lnTo>
                      <a:pt x="124" y="454"/>
                    </a:lnTo>
                    <a:lnTo>
                      <a:pt x="124" y="453"/>
                    </a:lnTo>
                    <a:lnTo>
                      <a:pt x="122" y="453"/>
                    </a:lnTo>
                    <a:lnTo>
                      <a:pt x="121" y="453"/>
                    </a:lnTo>
                    <a:lnTo>
                      <a:pt x="118" y="453"/>
                    </a:lnTo>
                    <a:lnTo>
                      <a:pt x="117" y="454"/>
                    </a:lnTo>
                    <a:lnTo>
                      <a:pt x="114" y="453"/>
                    </a:lnTo>
                    <a:lnTo>
                      <a:pt x="113" y="452"/>
                    </a:lnTo>
                    <a:lnTo>
                      <a:pt x="113" y="451"/>
                    </a:lnTo>
                    <a:lnTo>
                      <a:pt x="113" y="450"/>
                    </a:lnTo>
                    <a:lnTo>
                      <a:pt x="112" y="449"/>
                    </a:lnTo>
                    <a:lnTo>
                      <a:pt x="113" y="448"/>
                    </a:lnTo>
                    <a:lnTo>
                      <a:pt x="112" y="447"/>
                    </a:lnTo>
                    <a:lnTo>
                      <a:pt x="112" y="446"/>
                    </a:lnTo>
                    <a:lnTo>
                      <a:pt x="111" y="446"/>
                    </a:lnTo>
                    <a:lnTo>
                      <a:pt x="111" y="443"/>
                    </a:lnTo>
                    <a:lnTo>
                      <a:pt x="111" y="442"/>
                    </a:lnTo>
                    <a:lnTo>
                      <a:pt x="110" y="442"/>
                    </a:lnTo>
                    <a:lnTo>
                      <a:pt x="110" y="441"/>
                    </a:lnTo>
                    <a:lnTo>
                      <a:pt x="109" y="440"/>
                    </a:lnTo>
                    <a:lnTo>
                      <a:pt x="109" y="439"/>
                    </a:lnTo>
                    <a:lnTo>
                      <a:pt x="108" y="438"/>
                    </a:lnTo>
                    <a:lnTo>
                      <a:pt x="107" y="438"/>
                    </a:lnTo>
                    <a:lnTo>
                      <a:pt x="105" y="437"/>
                    </a:lnTo>
                    <a:lnTo>
                      <a:pt x="104" y="437"/>
                    </a:lnTo>
                    <a:lnTo>
                      <a:pt x="103" y="436"/>
                    </a:lnTo>
                    <a:lnTo>
                      <a:pt x="101" y="436"/>
                    </a:lnTo>
                    <a:lnTo>
                      <a:pt x="101" y="437"/>
                    </a:lnTo>
                    <a:lnTo>
                      <a:pt x="100" y="437"/>
                    </a:lnTo>
                    <a:lnTo>
                      <a:pt x="100" y="436"/>
                    </a:lnTo>
                    <a:lnTo>
                      <a:pt x="99" y="436"/>
                    </a:lnTo>
                    <a:lnTo>
                      <a:pt x="97" y="436"/>
                    </a:lnTo>
                    <a:lnTo>
                      <a:pt x="96" y="436"/>
                    </a:lnTo>
                    <a:lnTo>
                      <a:pt x="95" y="437"/>
                    </a:lnTo>
                    <a:lnTo>
                      <a:pt x="94" y="437"/>
                    </a:lnTo>
                    <a:lnTo>
                      <a:pt x="94" y="438"/>
                    </a:lnTo>
                    <a:lnTo>
                      <a:pt x="92" y="438"/>
                    </a:lnTo>
                    <a:lnTo>
                      <a:pt x="91" y="438"/>
                    </a:lnTo>
                    <a:lnTo>
                      <a:pt x="91" y="437"/>
                    </a:lnTo>
                    <a:lnTo>
                      <a:pt x="90" y="436"/>
                    </a:lnTo>
                    <a:lnTo>
                      <a:pt x="89" y="435"/>
                    </a:lnTo>
                    <a:lnTo>
                      <a:pt x="89" y="434"/>
                    </a:lnTo>
                    <a:lnTo>
                      <a:pt x="88" y="434"/>
                    </a:lnTo>
                    <a:lnTo>
                      <a:pt x="88" y="433"/>
                    </a:lnTo>
                    <a:lnTo>
                      <a:pt x="86" y="433"/>
                    </a:lnTo>
                    <a:lnTo>
                      <a:pt x="86" y="431"/>
                    </a:lnTo>
                    <a:lnTo>
                      <a:pt x="85" y="431"/>
                    </a:lnTo>
                    <a:lnTo>
                      <a:pt x="84" y="431"/>
                    </a:lnTo>
                    <a:lnTo>
                      <a:pt x="84" y="430"/>
                    </a:lnTo>
                    <a:lnTo>
                      <a:pt x="83" y="429"/>
                    </a:lnTo>
                    <a:lnTo>
                      <a:pt x="82" y="429"/>
                    </a:lnTo>
                    <a:lnTo>
                      <a:pt x="82" y="428"/>
                    </a:lnTo>
                    <a:lnTo>
                      <a:pt x="80" y="428"/>
                    </a:lnTo>
                    <a:lnTo>
                      <a:pt x="78" y="426"/>
                    </a:lnTo>
                    <a:lnTo>
                      <a:pt x="77" y="426"/>
                    </a:lnTo>
                    <a:lnTo>
                      <a:pt x="76" y="426"/>
                    </a:lnTo>
                    <a:lnTo>
                      <a:pt x="74" y="426"/>
                    </a:lnTo>
                    <a:lnTo>
                      <a:pt x="73" y="426"/>
                    </a:lnTo>
                    <a:lnTo>
                      <a:pt x="72" y="426"/>
                    </a:lnTo>
                    <a:lnTo>
                      <a:pt x="71" y="425"/>
                    </a:lnTo>
                    <a:lnTo>
                      <a:pt x="70" y="424"/>
                    </a:lnTo>
                    <a:lnTo>
                      <a:pt x="69" y="424"/>
                    </a:lnTo>
                    <a:lnTo>
                      <a:pt x="67" y="423"/>
                    </a:lnTo>
                    <a:lnTo>
                      <a:pt x="66" y="423"/>
                    </a:lnTo>
                    <a:lnTo>
                      <a:pt x="65" y="423"/>
                    </a:lnTo>
                    <a:lnTo>
                      <a:pt x="64" y="423"/>
                    </a:lnTo>
                    <a:lnTo>
                      <a:pt x="63" y="422"/>
                    </a:lnTo>
                    <a:lnTo>
                      <a:pt x="62" y="422"/>
                    </a:lnTo>
                    <a:lnTo>
                      <a:pt x="62" y="421"/>
                    </a:lnTo>
                    <a:lnTo>
                      <a:pt x="61" y="420"/>
                    </a:lnTo>
                    <a:lnTo>
                      <a:pt x="61" y="418"/>
                    </a:lnTo>
                    <a:lnTo>
                      <a:pt x="60" y="418"/>
                    </a:lnTo>
                    <a:lnTo>
                      <a:pt x="59" y="418"/>
                    </a:lnTo>
                    <a:lnTo>
                      <a:pt x="58" y="418"/>
                    </a:lnTo>
                    <a:lnTo>
                      <a:pt x="57" y="418"/>
                    </a:lnTo>
                    <a:lnTo>
                      <a:pt x="57" y="417"/>
                    </a:lnTo>
                    <a:lnTo>
                      <a:pt x="57" y="416"/>
                    </a:lnTo>
                    <a:lnTo>
                      <a:pt x="56" y="416"/>
                    </a:lnTo>
                    <a:lnTo>
                      <a:pt x="54" y="415"/>
                    </a:lnTo>
                    <a:lnTo>
                      <a:pt x="53" y="415"/>
                    </a:lnTo>
                    <a:lnTo>
                      <a:pt x="52" y="415"/>
                    </a:lnTo>
                    <a:lnTo>
                      <a:pt x="52" y="414"/>
                    </a:lnTo>
                    <a:lnTo>
                      <a:pt x="51" y="414"/>
                    </a:lnTo>
                    <a:lnTo>
                      <a:pt x="49" y="413"/>
                    </a:lnTo>
                    <a:lnTo>
                      <a:pt x="48" y="412"/>
                    </a:lnTo>
                    <a:lnTo>
                      <a:pt x="47" y="412"/>
                    </a:lnTo>
                    <a:lnTo>
                      <a:pt x="46" y="413"/>
                    </a:lnTo>
                    <a:lnTo>
                      <a:pt x="45" y="413"/>
                    </a:lnTo>
                    <a:lnTo>
                      <a:pt x="44" y="413"/>
                    </a:lnTo>
                    <a:lnTo>
                      <a:pt x="44" y="414"/>
                    </a:lnTo>
                    <a:lnTo>
                      <a:pt x="43" y="414"/>
                    </a:lnTo>
                    <a:lnTo>
                      <a:pt x="41" y="414"/>
                    </a:lnTo>
                    <a:lnTo>
                      <a:pt x="41" y="413"/>
                    </a:lnTo>
                    <a:lnTo>
                      <a:pt x="40" y="413"/>
                    </a:lnTo>
                    <a:lnTo>
                      <a:pt x="39" y="412"/>
                    </a:lnTo>
                    <a:lnTo>
                      <a:pt x="39" y="411"/>
                    </a:lnTo>
                    <a:lnTo>
                      <a:pt x="38" y="410"/>
                    </a:lnTo>
                    <a:lnTo>
                      <a:pt x="38" y="409"/>
                    </a:lnTo>
                    <a:lnTo>
                      <a:pt x="36" y="408"/>
                    </a:lnTo>
                    <a:lnTo>
                      <a:pt x="33" y="407"/>
                    </a:lnTo>
                    <a:lnTo>
                      <a:pt x="32" y="407"/>
                    </a:lnTo>
                    <a:lnTo>
                      <a:pt x="31" y="407"/>
                    </a:lnTo>
                    <a:lnTo>
                      <a:pt x="31" y="405"/>
                    </a:lnTo>
                    <a:lnTo>
                      <a:pt x="30" y="405"/>
                    </a:lnTo>
                    <a:lnTo>
                      <a:pt x="28" y="404"/>
                    </a:lnTo>
                    <a:lnTo>
                      <a:pt x="25" y="403"/>
                    </a:lnTo>
                    <a:lnTo>
                      <a:pt x="24" y="402"/>
                    </a:lnTo>
                    <a:lnTo>
                      <a:pt x="23" y="402"/>
                    </a:lnTo>
                    <a:lnTo>
                      <a:pt x="22" y="402"/>
                    </a:lnTo>
                    <a:lnTo>
                      <a:pt x="20" y="401"/>
                    </a:lnTo>
                    <a:lnTo>
                      <a:pt x="19" y="400"/>
                    </a:lnTo>
                    <a:lnTo>
                      <a:pt x="18" y="400"/>
                    </a:lnTo>
                    <a:lnTo>
                      <a:pt x="17" y="399"/>
                    </a:lnTo>
                    <a:lnTo>
                      <a:pt x="14" y="398"/>
                    </a:lnTo>
                    <a:lnTo>
                      <a:pt x="13" y="397"/>
                    </a:lnTo>
                    <a:lnTo>
                      <a:pt x="12" y="397"/>
                    </a:lnTo>
                    <a:lnTo>
                      <a:pt x="11" y="396"/>
                    </a:lnTo>
                    <a:lnTo>
                      <a:pt x="10" y="395"/>
                    </a:lnTo>
                    <a:lnTo>
                      <a:pt x="8" y="393"/>
                    </a:lnTo>
                    <a:lnTo>
                      <a:pt x="5" y="392"/>
                    </a:lnTo>
                    <a:lnTo>
                      <a:pt x="4" y="390"/>
                    </a:lnTo>
                    <a:lnTo>
                      <a:pt x="1" y="388"/>
                    </a:lnTo>
                    <a:lnTo>
                      <a:pt x="1" y="387"/>
                    </a:lnTo>
                    <a:lnTo>
                      <a:pt x="0" y="385"/>
                    </a:lnTo>
                    <a:lnTo>
                      <a:pt x="0" y="384"/>
                    </a:lnTo>
                    <a:lnTo>
                      <a:pt x="1" y="385"/>
                    </a:lnTo>
                    <a:lnTo>
                      <a:pt x="2" y="386"/>
                    </a:lnTo>
                    <a:lnTo>
                      <a:pt x="4" y="386"/>
                    </a:lnTo>
                    <a:lnTo>
                      <a:pt x="4" y="387"/>
                    </a:lnTo>
                    <a:lnTo>
                      <a:pt x="5" y="387"/>
                    </a:lnTo>
                    <a:lnTo>
                      <a:pt x="6" y="386"/>
                    </a:lnTo>
                    <a:lnTo>
                      <a:pt x="6" y="387"/>
                    </a:lnTo>
                    <a:lnTo>
                      <a:pt x="7" y="387"/>
                    </a:lnTo>
                    <a:lnTo>
                      <a:pt x="7" y="386"/>
                    </a:lnTo>
                    <a:lnTo>
                      <a:pt x="8" y="386"/>
                    </a:lnTo>
                    <a:lnTo>
                      <a:pt x="9" y="386"/>
                    </a:lnTo>
                    <a:lnTo>
                      <a:pt x="9" y="385"/>
                    </a:lnTo>
                    <a:lnTo>
                      <a:pt x="8" y="385"/>
                    </a:lnTo>
                    <a:lnTo>
                      <a:pt x="9" y="384"/>
                    </a:lnTo>
                    <a:lnTo>
                      <a:pt x="9" y="385"/>
                    </a:lnTo>
                    <a:lnTo>
                      <a:pt x="10" y="385"/>
                    </a:lnTo>
                    <a:lnTo>
                      <a:pt x="10" y="384"/>
                    </a:lnTo>
                    <a:lnTo>
                      <a:pt x="10" y="383"/>
                    </a:lnTo>
                    <a:lnTo>
                      <a:pt x="10" y="382"/>
                    </a:lnTo>
                    <a:lnTo>
                      <a:pt x="11" y="382"/>
                    </a:lnTo>
                    <a:lnTo>
                      <a:pt x="10" y="382"/>
                    </a:lnTo>
                    <a:lnTo>
                      <a:pt x="10" y="380"/>
                    </a:lnTo>
                    <a:lnTo>
                      <a:pt x="10" y="379"/>
                    </a:lnTo>
                    <a:lnTo>
                      <a:pt x="9" y="378"/>
                    </a:lnTo>
                    <a:lnTo>
                      <a:pt x="10" y="378"/>
                    </a:lnTo>
                    <a:lnTo>
                      <a:pt x="11" y="378"/>
                    </a:lnTo>
                    <a:lnTo>
                      <a:pt x="10" y="377"/>
                    </a:lnTo>
                    <a:lnTo>
                      <a:pt x="9" y="377"/>
                    </a:lnTo>
                    <a:lnTo>
                      <a:pt x="9" y="376"/>
                    </a:lnTo>
                    <a:lnTo>
                      <a:pt x="10" y="375"/>
                    </a:lnTo>
                    <a:lnTo>
                      <a:pt x="11" y="375"/>
                    </a:lnTo>
                    <a:lnTo>
                      <a:pt x="13" y="375"/>
                    </a:lnTo>
                    <a:lnTo>
                      <a:pt x="15" y="374"/>
                    </a:lnTo>
                    <a:lnTo>
                      <a:pt x="17" y="371"/>
                    </a:lnTo>
                    <a:lnTo>
                      <a:pt x="17" y="369"/>
                    </a:lnTo>
                    <a:lnTo>
                      <a:pt x="18" y="367"/>
                    </a:lnTo>
                    <a:lnTo>
                      <a:pt x="18" y="366"/>
                    </a:lnTo>
                    <a:lnTo>
                      <a:pt x="20" y="365"/>
                    </a:lnTo>
                    <a:lnTo>
                      <a:pt x="22" y="364"/>
                    </a:lnTo>
                    <a:lnTo>
                      <a:pt x="24" y="362"/>
                    </a:lnTo>
                    <a:lnTo>
                      <a:pt x="25" y="362"/>
                    </a:lnTo>
                    <a:lnTo>
                      <a:pt x="26" y="361"/>
                    </a:lnTo>
                    <a:lnTo>
                      <a:pt x="27" y="360"/>
                    </a:lnTo>
                    <a:lnTo>
                      <a:pt x="27" y="361"/>
                    </a:lnTo>
                    <a:lnTo>
                      <a:pt x="28" y="361"/>
                    </a:lnTo>
                    <a:lnTo>
                      <a:pt x="27" y="361"/>
                    </a:lnTo>
                    <a:lnTo>
                      <a:pt x="27" y="362"/>
                    </a:lnTo>
                    <a:lnTo>
                      <a:pt x="28" y="362"/>
                    </a:lnTo>
                    <a:lnTo>
                      <a:pt x="28" y="363"/>
                    </a:lnTo>
                    <a:lnTo>
                      <a:pt x="30" y="363"/>
                    </a:lnTo>
                    <a:lnTo>
                      <a:pt x="30" y="364"/>
                    </a:lnTo>
                    <a:lnTo>
                      <a:pt x="30" y="365"/>
                    </a:lnTo>
                    <a:lnTo>
                      <a:pt x="30" y="366"/>
                    </a:lnTo>
                    <a:lnTo>
                      <a:pt x="31" y="366"/>
                    </a:lnTo>
                    <a:lnTo>
                      <a:pt x="31" y="367"/>
                    </a:lnTo>
                    <a:lnTo>
                      <a:pt x="32" y="367"/>
                    </a:lnTo>
                    <a:lnTo>
                      <a:pt x="33" y="367"/>
                    </a:lnTo>
                    <a:lnTo>
                      <a:pt x="33" y="366"/>
                    </a:lnTo>
                    <a:lnTo>
                      <a:pt x="33" y="365"/>
                    </a:lnTo>
                    <a:lnTo>
                      <a:pt x="32" y="365"/>
                    </a:lnTo>
                    <a:lnTo>
                      <a:pt x="32" y="364"/>
                    </a:lnTo>
                    <a:lnTo>
                      <a:pt x="32" y="363"/>
                    </a:lnTo>
                    <a:lnTo>
                      <a:pt x="32" y="362"/>
                    </a:lnTo>
                    <a:lnTo>
                      <a:pt x="31" y="362"/>
                    </a:lnTo>
                    <a:lnTo>
                      <a:pt x="31" y="363"/>
                    </a:lnTo>
                    <a:lnTo>
                      <a:pt x="31" y="362"/>
                    </a:lnTo>
                    <a:lnTo>
                      <a:pt x="31" y="361"/>
                    </a:lnTo>
                    <a:lnTo>
                      <a:pt x="31" y="360"/>
                    </a:lnTo>
                    <a:lnTo>
                      <a:pt x="31" y="359"/>
                    </a:lnTo>
                    <a:lnTo>
                      <a:pt x="32" y="359"/>
                    </a:lnTo>
                    <a:lnTo>
                      <a:pt x="34" y="360"/>
                    </a:lnTo>
                    <a:lnTo>
                      <a:pt x="35" y="360"/>
                    </a:lnTo>
                    <a:lnTo>
                      <a:pt x="36" y="361"/>
                    </a:lnTo>
                    <a:lnTo>
                      <a:pt x="38" y="362"/>
                    </a:lnTo>
                    <a:lnTo>
                      <a:pt x="39" y="362"/>
                    </a:lnTo>
                    <a:lnTo>
                      <a:pt x="39" y="363"/>
                    </a:lnTo>
                    <a:lnTo>
                      <a:pt x="40" y="363"/>
                    </a:lnTo>
                    <a:lnTo>
                      <a:pt x="43" y="363"/>
                    </a:lnTo>
                    <a:lnTo>
                      <a:pt x="44" y="362"/>
                    </a:lnTo>
                    <a:lnTo>
                      <a:pt x="45" y="362"/>
                    </a:lnTo>
                    <a:lnTo>
                      <a:pt x="46" y="362"/>
                    </a:lnTo>
                    <a:lnTo>
                      <a:pt x="46" y="363"/>
                    </a:lnTo>
                    <a:lnTo>
                      <a:pt x="47" y="363"/>
                    </a:lnTo>
                    <a:lnTo>
                      <a:pt x="47" y="362"/>
                    </a:lnTo>
                    <a:lnTo>
                      <a:pt x="48" y="362"/>
                    </a:lnTo>
                    <a:lnTo>
                      <a:pt x="49" y="362"/>
                    </a:lnTo>
                    <a:lnTo>
                      <a:pt x="49" y="363"/>
                    </a:lnTo>
                    <a:lnTo>
                      <a:pt x="50" y="362"/>
                    </a:lnTo>
                    <a:lnTo>
                      <a:pt x="50" y="363"/>
                    </a:lnTo>
                    <a:lnTo>
                      <a:pt x="51" y="363"/>
                    </a:lnTo>
                    <a:lnTo>
                      <a:pt x="52" y="362"/>
                    </a:lnTo>
                    <a:lnTo>
                      <a:pt x="54" y="362"/>
                    </a:lnTo>
                    <a:lnTo>
                      <a:pt x="56" y="362"/>
                    </a:lnTo>
                    <a:lnTo>
                      <a:pt x="58" y="362"/>
                    </a:lnTo>
                    <a:lnTo>
                      <a:pt x="59" y="362"/>
                    </a:lnTo>
                    <a:lnTo>
                      <a:pt x="59" y="361"/>
                    </a:lnTo>
                    <a:lnTo>
                      <a:pt x="61" y="360"/>
                    </a:lnTo>
                    <a:lnTo>
                      <a:pt x="62" y="359"/>
                    </a:lnTo>
                    <a:lnTo>
                      <a:pt x="63" y="358"/>
                    </a:lnTo>
                    <a:lnTo>
                      <a:pt x="64" y="356"/>
                    </a:lnTo>
                    <a:lnTo>
                      <a:pt x="65" y="354"/>
                    </a:lnTo>
                    <a:lnTo>
                      <a:pt x="66" y="354"/>
                    </a:lnTo>
                    <a:lnTo>
                      <a:pt x="66" y="353"/>
                    </a:lnTo>
                    <a:lnTo>
                      <a:pt x="67" y="353"/>
                    </a:lnTo>
                    <a:lnTo>
                      <a:pt x="67" y="352"/>
                    </a:lnTo>
                    <a:lnTo>
                      <a:pt x="66" y="352"/>
                    </a:lnTo>
                    <a:lnTo>
                      <a:pt x="65" y="351"/>
                    </a:lnTo>
                    <a:lnTo>
                      <a:pt x="65" y="350"/>
                    </a:lnTo>
                    <a:lnTo>
                      <a:pt x="66" y="349"/>
                    </a:lnTo>
                    <a:lnTo>
                      <a:pt x="66" y="348"/>
                    </a:lnTo>
                    <a:lnTo>
                      <a:pt x="65" y="348"/>
                    </a:lnTo>
                    <a:lnTo>
                      <a:pt x="65" y="347"/>
                    </a:lnTo>
                    <a:lnTo>
                      <a:pt x="65" y="346"/>
                    </a:lnTo>
                    <a:lnTo>
                      <a:pt x="64" y="346"/>
                    </a:lnTo>
                    <a:lnTo>
                      <a:pt x="64" y="345"/>
                    </a:lnTo>
                    <a:lnTo>
                      <a:pt x="64" y="344"/>
                    </a:lnTo>
                    <a:lnTo>
                      <a:pt x="65" y="345"/>
                    </a:lnTo>
                    <a:lnTo>
                      <a:pt x="66" y="346"/>
                    </a:lnTo>
                    <a:lnTo>
                      <a:pt x="67" y="346"/>
                    </a:lnTo>
                    <a:lnTo>
                      <a:pt x="71" y="346"/>
                    </a:lnTo>
                    <a:lnTo>
                      <a:pt x="72" y="347"/>
                    </a:lnTo>
                    <a:lnTo>
                      <a:pt x="72" y="348"/>
                    </a:lnTo>
                    <a:lnTo>
                      <a:pt x="72" y="347"/>
                    </a:lnTo>
                    <a:lnTo>
                      <a:pt x="73" y="347"/>
                    </a:lnTo>
                    <a:lnTo>
                      <a:pt x="74" y="346"/>
                    </a:lnTo>
                    <a:lnTo>
                      <a:pt x="74" y="345"/>
                    </a:lnTo>
                    <a:lnTo>
                      <a:pt x="75" y="344"/>
                    </a:lnTo>
                    <a:lnTo>
                      <a:pt x="77" y="344"/>
                    </a:lnTo>
                    <a:lnTo>
                      <a:pt x="79" y="343"/>
                    </a:lnTo>
                    <a:lnTo>
                      <a:pt x="80" y="341"/>
                    </a:lnTo>
                    <a:lnTo>
                      <a:pt x="82" y="341"/>
                    </a:lnTo>
                    <a:lnTo>
                      <a:pt x="82" y="343"/>
                    </a:lnTo>
                    <a:close/>
                    <a:moveTo>
                      <a:pt x="130" y="457"/>
                    </a:moveTo>
                    <a:lnTo>
                      <a:pt x="129" y="457"/>
                    </a:lnTo>
                    <a:lnTo>
                      <a:pt x="128" y="456"/>
                    </a:lnTo>
                    <a:lnTo>
                      <a:pt x="128" y="455"/>
                    </a:lnTo>
                    <a:lnTo>
                      <a:pt x="130" y="455"/>
                    </a:lnTo>
                    <a:lnTo>
                      <a:pt x="130" y="456"/>
                    </a:lnTo>
                    <a:lnTo>
                      <a:pt x="130" y="457"/>
                    </a:lnTo>
                    <a:close/>
                    <a:moveTo>
                      <a:pt x="266" y="433"/>
                    </a:moveTo>
                    <a:lnTo>
                      <a:pt x="265" y="433"/>
                    </a:lnTo>
                    <a:lnTo>
                      <a:pt x="266" y="433"/>
                    </a:lnTo>
                    <a:lnTo>
                      <a:pt x="267" y="433"/>
                    </a:lnTo>
                    <a:lnTo>
                      <a:pt x="267" y="431"/>
                    </a:lnTo>
                    <a:lnTo>
                      <a:pt x="268" y="431"/>
                    </a:lnTo>
                    <a:lnTo>
                      <a:pt x="267" y="433"/>
                    </a:lnTo>
                    <a:lnTo>
                      <a:pt x="266" y="433"/>
                    </a:lnTo>
                    <a:close/>
                  </a:path>
                </a:pathLst>
              </a:custGeom>
              <a:solidFill>
                <a:srgbClr val="B1D5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2" name="Freeform 280">
                <a:extLst>
                  <a:ext uri="{FF2B5EF4-FFF2-40B4-BE49-F238E27FC236}">
                    <a16:creationId xmlns:a16="http://schemas.microsoft.com/office/drawing/2014/main" id="{804454AD-1B37-C43F-A62E-61C47BED1991}"/>
                  </a:ext>
                </a:extLst>
              </p:cNvPr>
              <p:cNvSpPr>
                <a:spLocks noEditPoints="1"/>
              </p:cNvSpPr>
              <p:nvPr/>
            </p:nvSpPr>
            <p:spPr bwMode="auto">
              <a:xfrm>
                <a:off x="3248026" y="4621213"/>
                <a:ext cx="774700" cy="638175"/>
              </a:xfrm>
              <a:custGeom>
                <a:avLst/>
                <a:gdLst>
                  <a:gd name="T0" fmla="*/ 484 w 488"/>
                  <a:gd name="T1" fmla="*/ 226 h 402"/>
                  <a:gd name="T2" fmla="*/ 465 w 488"/>
                  <a:gd name="T3" fmla="*/ 246 h 402"/>
                  <a:gd name="T4" fmla="*/ 436 w 488"/>
                  <a:gd name="T5" fmla="*/ 256 h 402"/>
                  <a:gd name="T6" fmla="*/ 408 w 488"/>
                  <a:gd name="T7" fmla="*/ 259 h 402"/>
                  <a:gd name="T8" fmla="*/ 382 w 488"/>
                  <a:gd name="T9" fmla="*/ 291 h 402"/>
                  <a:gd name="T10" fmla="*/ 373 w 488"/>
                  <a:gd name="T11" fmla="*/ 319 h 402"/>
                  <a:gd name="T12" fmla="*/ 354 w 488"/>
                  <a:gd name="T13" fmla="*/ 337 h 402"/>
                  <a:gd name="T14" fmla="*/ 336 w 488"/>
                  <a:gd name="T15" fmla="*/ 331 h 402"/>
                  <a:gd name="T16" fmla="*/ 326 w 488"/>
                  <a:gd name="T17" fmla="*/ 318 h 402"/>
                  <a:gd name="T18" fmla="*/ 295 w 488"/>
                  <a:gd name="T19" fmla="*/ 312 h 402"/>
                  <a:gd name="T20" fmla="*/ 290 w 488"/>
                  <a:gd name="T21" fmla="*/ 318 h 402"/>
                  <a:gd name="T22" fmla="*/ 285 w 488"/>
                  <a:gd name="T23" fmla="*/ 323 h 402"/>
                  <a:gd name="T24" fmla="*/ 275 w 488"/>
                  <a:gd name="T25" fmla="*/ 305 h 402"/>
                  <a:gd name="T26" fmla="*/ 250 w 488"/>
                  <a:gd name="T27" fmla="*/ 300 h 402"/>
                  <a:gd name="T28" fmla="*/ 263 w 488"/>
                  <a:gd name="T29" fmla="*/ 296 h 402"/>
                  <a:gd name="T30" fmla="*/ 230 w 488"/>
                  <a:gd name="T31" fmla="*/ 297 h 402"/>
                  <a:gd name="T32" fmla="*/ 217 w 488"/>
                  <a:gd name="T33" fmla="*/ 284 h 402"/>
                  <a:gd name="T34" fmla="*/ 208 w 488"/>
                  <a:gd name="T35" fmla="*/ 254 h 402"/>
                  <a:gd name="T36" fmla="*/ 191 w 488"/>
                  <a:gd name="T37" fmla="*/ 223 h 402"/>
                  <a:gd name="T38" fmla="*/ 148 w 488"/>
                  <a:gd name="T39" fmla="*/ 223 h 402"/>
                  <a:gd name="T40" fmla="*/ 158 w 488"/>
                  <a:gd name="T41" fmla="*/ 191 h 402"/>
                  <a:gd name="T42" fmla="*/ 164 w 488"/>
                  <a:gd name="T43" fmla="*/ 144 h 402"/>
                  <a:gd name="T44" fmla="*/ 122 w 488"/>
                  <a:gd name="T45" fmla="*/ 149 h 402"/>
                  <a:gd name="T46" fmla="*/ 91 w 488"/>
                  <a:gd name="T47" fmla="*/ 147 h 402"/>
                  <a:gd name="T48" fmla="*/ 47 w 488"/>
                  <a:gd name="T49" fmla="*/ 157 h 402"/>
                  <a:gd name="T50" fmla="*/ 22 w 488"/>
                  <a:gd name="T51" fmla="*/ 172 h 402"/>
                  <a:gd name="T52" fmla="*/ 16 w 488"/>
                  <a:gd name="T53" fmla="*/ 176 h 402"/>
                  <a:gd name="T54" fmla="*/ 0 w 488"/>
                  <a:gd name="T55" fmla="*/ 172 h 402"/>
                  <a:gd name="T56" fmla="*/ 20 w 488"/>
                  <a:gd name="T57" fmla="*/ 150 h 402"/>
                  <a:gd name="T58" fmla="*/ 227 w 488"/>
                  <a:gd name="T59" fmla="*/ 2 h 402"/>
                  <a:gd name="T60" fmla="*/ 320 w 488"/>
                  <a:gd name="T61" fmla="*/ 132 h 402"/>
                  <a:gd name="T62" fmla="*/ 457 w 488"/>
                  <a:gd name="T63" fmla="*/ 164 h 402"/>
                  <a:gd name="T64" fmla="*/ 337 w 488"/>
                  <a:gd name="T65" fmla="*/ 358 h 402"/>
                  <a:gd name="T66" fmla="*/ 327 w 488"/>
                  <a:gd name="T67" fmla="*/ 374 h 402"/>
                  <a:gd name="T68" fmla="*/ 325 w 488"/>
                  <a:gd name="T69" fmla="*/ 358 h 402"/>
                  <a:gd name="T70" fmla="*/ 333 w 488"/>
                  <a:gd name="T71" fmla="*/ 350 h 402"/>
                  <a:gd name="T72" fmla="*/ 362 w 488"/>
                  <a:gd name="T73" fmla="*/ 348 h 402"/>
                  <a:gd name="T74" fmla="*/ 380 w 488"/>
                  <a:gd name="T75" fmla="*/ 366 h 402"/>
                  <a:gd name="T76" fmla="*/ 375 w 488"/>
                  <a:gd name="T77" fmla="*/ 369 h 402"/>
                  <a:gd name="T78" fmla="*/ 372 w 488"/>
                  <a:gd name="T79" fmla="*/ 385 h 402"/>
                  <a:gd name="T80" fmla="*/ 367 w 488"/>
                  <a:gd name="T81" fmla="*/ 352 h 402"/>
                  <a:gd name="T82" fmla="*/ 350 w 488"/>
                  <a:gd name="T83" fmla="*/ 386 h 402"/>
                  <a:gd name="T84" fmla="*/ 344 w 488"/>
                  <a:gd name="T85" fmla="*/ 381 h 402"/>
                  <a:gd name="T86" fmla="*/ 337 w 488"/>
                  <a:gd name="T87" fmla="*/ 389 h 402"/>
                  <a:gd name="T88" fmla="*/ 333 w 488"/>
                  <a:gd name="T89" fmla="*/ 385 h 402"/>
                  <a:gd name="T90" fmla="*/ 365 w 488"/>
                  <a:gd name="T91" fmla="*/ 369 h 402"/>
                  <a:gd name="T92" fmla="*/ 359 w 488"/>
                  <a:gd name="T93" fmla="*/ 383 h 402"/>
                  <a:gd name="T94" fmla="*/ 358 w 488"/>
                  <a:gd name="T95" fmla="*/ 365 h 402"/>
                  <a:gd name="T96" fmla="*/ 352 w 488"/>
                  <a:gd name="T97" fmla="*/ 364 h 402"/>
                  <a:gd name="T98" fmla="*/ 350 w 488"/>
                  <a:gd name="T99" fmla="*/ 343 h 402"/>
                  <a:gd name="T100" fmla="*/ 271 w 488"/>
                  <a:gd name="T101" fmla="*/ 319 h 402"/>
                  <a:gd name="T102" fmla="*/ 266 w 488"/>
                  <a:gd name="T103" fmla="*/ 313 h 402"/>
                  <a:gd name="T104" fmla="*/ 254 w 488"/>
                  <a:gd name="T105" fmla="*/ 311 h 402"/>
                  <a:gd name="T106" fmla="*/ 259 w 488"/>
                  <a:gd name="T107" fmla="*/ 308 h 402"/>
                  <a:gd name="T108" fmla="*/ 274 w 488"/>
                  <a:gd name="T109" fmla="*/ 296 h 402"/>
                  <a:gd name="T110" fmla="*/ 271 w 488"/>
                  <a:gd name="T111" fmla="*/ 298 h 402"/>
                  <a:gd name="T112" fmla="*/ 260 w 488"/>
                  <a:gd name="T113" fmla="*/ 319 h 402"/>
                  <a:gd name="T114" fmla="*/ 261 w 488"/>
                  <a:gd name="T115" fmla="*/ 312 h 402"/>
                  <a:gd name="T116" fmla="*/ 275 w 488"/>
                  <a:gd name="T117" fmla="*/ 318 h 402"/>
                  <a:gd name="T118" fmla="*/ 342 w 488"/>
                  <a:gd name="T119" fmla="*/ 369 h 402"/>
                  <a:gd name="T120" fmla="*/ 250 w 488"/>
                  <a:gd name="T121" fmla="*/ 314 h 402"/>
                  <a:gd name="T122" fmla="*/ 248 w 488"/>
                  <a:gd name="T123" fmla="*/ 316 h 402"/>
                  <a:gd name="T124" fmla="*/ 273 w 488"/>
                  <a:gd name="T125" fmla="*/ 32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8" h="402">
                    <a:moveTo>
                      <a:pt x="478" y="181"/>
                    </a:moveTo>
                    <a:lnTo>
                      <a:pt x="478" y="182"/>
                    </a:lnTo>
                    <a:lnTo>
                      <a:pt x="479" y="182"/>
                    </a:lnTo>
                    <a:lnTo>
                      <a:pt x="479" y="183"/>
                    </a:lnTo>
                    <a:lnTo>
                      <a:pt x="480" y="183"/>
                    </a:lnTo>
                    <a:lnTo>
                      <a:pt x="481" y="183"/>
                    </a:lnTo>
                    <a:lnTo>
                      <a:pt x="481" y="184"/>
                    </a:lnTo>
                    <a:lnTo>
                      <a:pt x="481" y="185"/>
                    </a:lnTo>
                    <a:lnTo>
                      <a:pt x="480" y="186"/>
                    </a:lnTo>
                    <a:lnTo>
                      <a:pt x="479" y="186"/>
                    </a:lnTo>
                    <a:lnTo>
                      <a:pt x="479" y="188"/>
                    </a:lnTo>
                    <a:lnTo>
                      <a:pt x="479" y="190"/>
                    </a:lnTo>
                    <a:lnTo>
                      <a:pt x="478" y="191"/>
                    </a:lnTo>
                    <a:lnTo>
                      <a:pt x="479" y="194"/>
                    </a:lnTo>
                    <a:lnTo>
                      <a:pt x="479" y="197"/>
                    </a:lnTo>
                    <a:lnTo>
                      <a:pt x="479" y="202"/>
                    </a:lnTo>
                    <a:lnTo>
                      <a:pt x="478" y="208"/>
                    </a:lnTo>
                    <a:lnTo>
                      <a:pt x="478" y="210"/>
                    </a:lnTo>
                    <a:lnTo>
                      <a:pt x="478" y="211"/>
                    </a:lnTo>
                    <a:lnTo>
                      <a:pt x="476" y="214"/>
                    </a:lnTo>
                    <a:lnTo>
                      <a:pt x="475" y="218"/>
                    </a:lnTo>
                    <a:lnTo>
                      <a:pt x="474" y="219"/>
                    </a:lnTo>
                    <a:lnTo>
                      <a:pt x="474" y="220"/>
                    </a:lnTo>
                    <a:lnTo>
                      <a:pt x="474" y="221"/>
                    </a:lnTo>
                    <a:lnTo>
                      <a:pt x="475" y="222"/>
                    </a:lnTo>
                    <a:lnTo>
                      <a:pt x="481" y="223"/>
                    </a:lnTo>
                    <a:lnTo>
                      <a:pt x="482" y="223"/>
                    </a:lnTo>
                    <a:lnTo>
                      <a:pt x="483" y="224"/>
                    </a:lnTo>
                    <a:lnTo>
                      <a:pt x="484" y="226"/>
                    </a:lnTo>
                    <a:lnTo>
                      <a:pt x="485" y="226"/>
                    </a:lnTo>
                    <a:lnTo>
                      <a:pt x="486" y="227"/>
                    </a:lnTo>
                    <a:lnTo>
                      <a:pt x="487" y="228"/>
                    </a:lnTo>
                    <a:lnTo>
                      <a:pt x="487" y="230"/>
                    </a:lnTo>
                    <a:lnTo>
                      <a:pt x="488" y="231"/>
                    </a:lnTo>
                    <a:lnTo>
                      <a:pt x="488" y="233"/>
                    </a:lnTo>
                    <a:lnTo>
                      <a:pt x="487" y="234"/>
                    </a:lnTo>
                    <a:lnTo>
                      <a:pt x="486" y="235"/>
                    </a:lnTo>
                    <a:lnTo>
                      <a:pt x="485" y="235"/>
                    </a:lnTo>
                    <a:lnTo>
                      <a:pt x="484" y="236"/>
                    </a:lnTo>
                    <a:lnTo>
                      <a:pt x="483" y="236"/>
                    </a:lnTo>
                    <a:lnTo>
                      <a:pt x="481" y="235"/>
                    </a:lnTo>
                    <a:lnTo>
                      <a:pt x="480" y="235"/>
                    </a:lnTo>
                    <a:lnTo>
                      <a:pt x="479" y="235"/>
                    </a:lnTo>
                    <a:lnTo>
                      <a:pt x="478" y="236"/>
                    </a:lnTo>
                    <a:lnTo>
                      <a:pt x="476" y="239"/>
                    </a:lnTo>
                    <a:lnTo>
                      <a:pt x="475" y="239"/>
                    </a:lnTo>
                    <a:lnTo>
                      <a:pt x="474" y="239"/>
                    </a:lnTo>
                    <a:lnTo>
                      <a:pt x="473" y="239"/>
                    </a:lnTo>
                    <a:lnTo>
                      <a:pt x="472" y="239"/>
                    </a:lnTo>
                    <a:lnTo>
                      <a:pt x="470" y="239"/>
                    </a:lnTo>
                    <a:lnTo>
                      <a:pt x="469" y="239"/>
                    </a:lnTo>
                    <a:lnTo>
                      <a:pt x="468" y="239"/>
                    </a:lnTo>
                    <a:lnTo>
                      <a:pt x="467" y="240"/>
                    </a:lnTo>
                    <a:lnTo>
                      <a:pt x="467" y="241"/>
                    </a:lnTo>
                    <a:lnTo>
                      <a:pt x="467" y="242"/>
                    </a:lnTo>
                    <a:lnTo>
                      <a:pt x="466" y="244"/>
                    </a:lnTo>
                    <a:lnTo>
                      <a:pt x="466" y="245"/>
                    </a:lnTo>
                    <a:lnTo>
                      <a:pt x="465" y="246"/>
                    </a:lnTo>
                    <a:lnTo>
                      <a:pt x="463" y="246"/>
                    </a:lnTo>
                    <a:lnTo>
                      <a:pt x="460" y="246"/>
                    </a:lnTo>
                    <a:lnTo>
                      <a:pt x="459" y="246"/>
                    </a:lnTo>
                    <a:lnTo>
                      <a:pt x="458" y="245"/>
                    </a:lnTo>
                    <a:lnTo>
                      <a:pt x="457" y="245"/>
                    </a:lnTo>
                    <a:lnTo>
                      <a:pt x="455" y="245"/>
                    </a:lnTo>
                    <a:lnTo>
                      <a:pt x="454" y="245"/>
                    </a:lnTo>
                    <a:lnTo>
                      <a:pt x="454" y="246"/>
                    </a:lnTo>
                    <a:lnTo>
                      <a:pt x="453" y="246"/>
                    </a:lnTo>
                    <a:lnTo>
                      <a:pt x="454" y="248"/>
                    </a:lnTo>
                    <a:lnTo>
                      <a:pt x="454" y="249"/>
                    </a:lnTo>
                    <a:lnTo>
                      <a:pt x="453" y="250"/>
                    </a:lnTo>
                    <a:lnTo>
                      <a:pt x="452" y="250"/>
                    </a:lnTo>
                    <a:lnTo>
                      <a:pt x="450" y="250"/>
                    </a:lnTo>
                    <a:lnTo>
                      <a:pt x="448" y="249"/>
                    </a:lnTo>
                    <a:lnTo>
                      <a:pt x="447" y="249"/>
                    </a:lnTo>
                    <a:lnTo>
                      <a:pt x="446" y="249"/>
                    </a:lnTo>
                    <a:lnTo>
                      <a:pt x="445" y="249"/>
                    </a:lnTo>
                    <a:lnTo>
                      <a:pt x="444" y="250"/>
                    </a:lnTo>
                    <a:lnTo>
                      <a:pt x="444" y="252"/>
                    </a:lnTo>
                    <a:lnTo>
                      <a:pt x="444" y="253"/>
                    </a:lnTo>
                    <a:lnTo>
                      <a:pt x="443" y="254"/>
                    </a:lnTo>
                    <a:lnTo>
                      <a:pt x="443" y="255"/>
                    </a:lnTo>
                    <a:lnTo>
                      <a:pt x="442" y="255"/>
                    </a:lnTo>
                    <a:lnTo>
                      <a:pt x="441" y="256"/>
                    </a:lnTo>
                    <a:lnTo>
                      <a:pt x="440" y="257"/>
                    </a:lnTo>
                    <a:lnTo>
                      <a:pt x="439" y="257"/>
                    </a:lnTo>
                    <a:lnTo>
                      <a:pt x="437" y="256"/>
                    </a:lnTo>
                    <a:lnTo>
                      <a:pt x="436" y="256"/>
                    </a:lnTo>
                    <a:lnTo>
                      <a:pt x="435" y="256"/>
                    </a:lnTo>
                    <a:lnTo>
                      <a:pt x="434" y="255"/>
                    </a:lnTo>
                    <a:lnTo>
                      <a:pt x="433" y="254"/>
                    </a:lnTo>
                    <a:lnTo>
                      <a:pt x="432" y="253"/>
                    </a:lnTo>
                    <a:lnTo>
                      <a:pt x="432" y="250"/>
                    </a:lnTo>
                    <a:lnTo>
                      <a:pt x="432" y="249"/>
                    </a:lnTo>
                    <a:lnTo>
                      <a:pt x="432" y="248"/>
                    </a:lnTo>
                    <a:lnTo>
                      <a:pt x="432" y="247"/>
                    </a:lnTo>
                    <a:lnTo>
                      <a:pt x="432" y="246"/>
                    </a:lnTo>
                    <a:lnTo>
                      <a:pt x="431" y="245"/>
                    </a:lnTo>
                    <a:lnTo>
                      <a:pt x="430" y="245"/>
                    </a:lnTo>
                    <a:lnTo>
                      <a:pt x="429" y="245"/>
                    </a:lnTo>
                    <a:lnTo>
                      <a:pt x="428" y="245"/>
                    </a:lnTo>
                    <a:lnTo>
                      <a:pt x="427" y="246"/>
                    </a:lnTo>
                    <a:lnTo>
                      <a:pt x="426" y="246"/>
                    </a:lnTo>
                    <a:lnTo>
                      <a:pt x="424" y="247"/>
                    </a:lnTo>
                    <a:lnTo>
                      <a:pt x="424" y="248"/>
                    </a:lnTo>
                    <a:lnTo>
                      <a:pt x="423" y="249"/>
                    </a:lnTo>
                    <a:lnTo>
                      <a:pt x="422" y="249"/>
                    </a:lnTo>
                    <a:lnTo>
                      <a:pt x="421" y="250"/>
                    </a:lnTo>
                    <a:lnTo>
                      <a:pt x="420" y="250"/>
                    </a:lnTo>
                    <a:lnTo>
                      <a:pt x="418" y="252"/>
                    </a:lnTo>
                    <a:lnTo>
                      <a:pt x="417" y="252"/>
                    </a:lnTo>
                    <a:lnTo>
                      <a:pt x="416" y="253"/>
                    </a:lnTo>
                    <a:lnTo>
                      <a:pt x="415" y="254"/>
                    </a:lnTo>
                    <a:lnTo>
                      <a:pt x="414" y="255"/>
                    </a:lnTo>
                    <a:lnTo>
                      <a:pt x="411" y="257"/>
                    </a:lnTo>
                    <a:lnTo>
                      <a:pt x="409" y="258"/>
                    </a:lnTo>
                    <a:lnTo>
                      <a:pt x="408" y="259"/>
                    </a:lnTo>
                    <a:lnTo>
                      <a:pt x="406" y="261"/>
                    </a:lnTo>
                    <a:lnTo>
                      <a:pt x="405" y="262"/>
                    </a:lnTo>
                    <a:lnTo>
                      <a:pt x="404" y="265"/>
                    </a:lnTo>
                    <a:lnTo>
                      <a:pt x="403" y="266"/>
                    </a:lnTo>
                    <a:lnTo>
                      <a:pt x="402" y="267"/>
                    </a:lnTo>
                    <a:lnTo>
                      <a:pt x="402" y="268"/>
                    </a:lnTo>
                    <a:lnTo>
                      <a:pt x="401" y="268"/>
                    </a:lnTo>
                    <a:lnTo>
                      <a:pt x="401" y="270"/>
                    </a:lnTo>
                    <a:lnTo>
                      <a:pt x="401" y="271"/>
                    </a:lnTo>
                    <a:lnTo>
                      <a:pt x="401" y="273"/>
                    </a:lnTo>
                    <a:lnTo>
                      <a:pt x="402" y="276"/>
                    </a:lnTo>
                    <a:lnTo>
                      <a:pt x="402" y="278"/>
                    </a:lnTo>
                    <a:lnTo>
                      <a:pt x="402" y="279"/>
                    </a:lnTo>
                    <a:lnTo>
                      <a:pt x="402" y="280"/>
                    </a:lnTo>
                    <a:lnTo>
                      <a:pt x="401" y="280"/>
                    </a:lnTo>
                    <a:lnTo>
                      <a:pt x="399" y="281"/>
                    </a:lnTo>
                    <a:lnTo>
                      <a:pt x="399" y="282"/>
                    </a:lnTo>
                    <a:lnTo>
                      <a:pt x="397" y="283"/>
                    </a:lnTo>
                    <a:lnTo>
                      <a:pt x="395" y="285"/>
                    </a:lnTo>
                    <a:lnTo>
                      <a:pt x="395" y="286"/>
                    </a:lnTo>
                    <a:lnTo>
                      <a:pt x="394" y="286"/>
                    </a:lnTo>
                    <a:lnTo>
                      <a:pt x="392" y="288"/>
                    </a:lnTo>
                    <a:lnTo>
                      <a:pt x="391" y="288"/>
                    </a:lnTo>
                    <a:lnTo>
                      <a:pt x="390" y="288"/>
                    </a:lnTo>
                    <a:lnTo>
                      <a:pt x="389" y="290"/>
                    </a:lnTo>
                    <a:lnTo>
                      <a:pt x="388" y="290"/>
                    </a:lnTo>
                    <a:lnTo>
                      <a:pt x="385" y="290"/>
                    </a:lnTo>
                    <a:lnTo>
                      <a:pt x="384" y="291"/>
                    </a:lnTo>
                    <a:lnTo>
                      <a:pt x="382" y="291"/>
                    </a:lnTo>
                    <a:lnTo>
                      <a:pt x="379" y="291"/>
                    </a:lnTo>
                    <a:lnTo>
                      <a:pt x="378" y="291"/>
                    </a:lnTo>
                    <a:lnTo>
                      <a:pt x="377" y="292"/>
                    </a:lnTo>
                    <a:lnTo>
                      <a:pt x="376" y="292"/>
                    </a:lnTo>
                    <a:lnTo>
                      <a:pt x="376" y="293"/>
                    </a:lnTo>
                    <a:lnTo>
                      <a:pt x="375" y="294"/>
                    </a:lnTo>
                    <a:lnTo>
                      <a:pt x="373" y="295"/>
                    </a:lnTo>
                    <a:lnTo>
                      <a:pt x="373" y="296"/>
                    </a:lnTo>
                    <a:lnTo>
                      <a:pt x="372" y="297"/>
                    </a:lnTo>
                    <a:lnTo>
                      <a:pt x="372" y="299"/>
                    </a:lnTo>
                    <a:lnTo>
                      <a:pt x="372" y="300"/>
                    </a:lnTo>
                    <a:lnTo>
                      <a:pt x="372" y="301"/>
                    </a:lnTo>
                    <a:lnTo>
                      <a:pt x="372" y="303"/>
                    </a:lnTo>
                    <a:lnTo>
                      <a:pt x="372" y="305"/>
                    </a:lnTo>
                    <a:lnTo>
                      <a:pt x="372" y="306"/>
                    </a:lnTo>
                    <a:lnTo>
                      <a:pt x="373" y="307"/>
                    </a:lnTo>
                    <a:lnTo>
                      <a:pt x="373" y="308"/>
                    </a:lnTo>
                    <a:lnTo>
                      <a:pt x="375" y="308"/>
                    </a:lnTo>
                    <a:lnTo>
                      <a:pt x="375" y="310"/>
                    </a:lnTo>
                    <a:lnTo>
                      <a:pt x="376" y="310"/>
                    </a:lnTo>
                    <a:lnTo>
                      <a:pt x="376" y="312"/>
                    </a:lnTo>
                    <a:lnTo>
                      <a:pt x="377" y="312"/>
                    </a:lnTo>
                    <a:lnTo>
                      <a:pt x="377" y="313"/>
                    </a:lnTo>
                    <a:lnTo>
                      <a:pt x="377" y="314"/>
                    </a:lnTo>
                    <a:lnTo>
                      <a:pt x="377" y="316"/>
                    </a:lnTo>
                    <a:lnTo>
                      <a:pt x="376" y="317"/>
                    </a:lnTo>
                    <a:lnTo>
                      <a:pt x="376" y="318"/>
                    </a:lnTo>
                    <a:lnTo>
                      <a:pt x="375" y="319"/>
                    </a:lnTo>
                    <a:lnTo>
                      <a:pt x="373" y="319"/>
                    </a:lnTo>
                    <a:lnTo>
                      <a:pt x="372" y="320"/>
                    </a:lnTo>
                    <a:lnTo>
                      <a:pt x="372" y="321"/>
                    </a:lnTo>
                    <a:lnTo>
                      <a:pt x="371" y="322"/>
                    </a:lnTo>
                    <a:lnTo>
                      <a:pt x="370" y="322"/>
                    </a:lnTo>
                    <a:lnTo>
                      <a:pt x="369" y="323"/>
                    </a:lnTo>
                    <a:lnTo>
                      <a:pt x="369" y="324"/>
                    </a:lnTo>
                    <a:lnTo>
                      <a:pt x="368" y="324"/>
                    </a:lnTo>
                    <a:lnTo>
                      <a:pt x="368" y="325"/>
                    </a:lnTo>
                    <a:lnTo>
                      <a:pt x="368" y="326"/>
                    </a:lnTo>
                    <a:lnTo>
                      <a:pt x="368" y="327"/>
                    </a:lnTo>
                    <a:lnTo>
                      <a:pt x="367" y="327"/>
                    </a:lnTo>
                    <a:lnTo>
                      <a:pt x="367" y="329"/>
                    </a:lnTo>
                    <a:lnTo>
                      <a:pt x="367" y="330"/>
                    </a:lnTo>
                    <a:lnTo>
                      <a:pt x="367" y="331"/>
                    </a:lnTo>
                    <a:lnTo>
                      <a:pt x="366" y="333"/>
                    </a:lnTo>
                    <a:lnTo>
                      <a:pt x="366" y="334"/>
                    </a:lnTo>
                    <a:lnTo>
                      <a:pt x="365" y="335"/>
                    </a:lnTo>
                    <a:lnTo>
                      <a:pt x="364" y="335"/>
                    </a:lnTo>
                    <a:lnTo>
                      <a:pt x="364" y="336"/>
                    </a:lnTo>
                    <a:lnTo>
                      <a:pt x="363" y="336"/>
                    </a:lnTo>
                    <a:lnTo>
                      <a:pt x="363" y="337"/>
                    </a:lnTo>
                    <a:lnTo>
                      <a:pt x="362" y="337"/>
                    </a:lnTo>
                    <a:lnTo>
                      <a:pt x="360" y="337"/>
                    </a:lnTo>
                    <a:lnTo>
                      <a:pt x="358" y="338"/>
                    </a:lnTo>
                    <a:lnTo>
                      <a:pt x="357" y="338"/>
                    </a:lnTo>
                    <a:lnTo>
                      <a:pt x="357" y="337"/>
                    </a:lnTo>
                    <a:lnTo>
                      <a:pt x="356" y="337"/>
                    </a:lnTo>
                    <a:lnTo>
                      <a:pt x="355" y="337"/>
                    </a:lnTo>
                    <a:lnTo>
                      <a:pt x="354" y="337"/>
                    </a:lnTo>
                    <a:lnTo>
                      <a:pt x="353" y="336"/>
                    </a:lnTo>
                    <a:lnTo>
                      <a:pt x="352" y="336"/>
                    </a:lnTo>
                    <a:lnTo>
                      <a:pt x="351" y="335"/>
                    </a:lnTo>
                    <a:lnTo>
                      <a:pt x="350" y="335"/>
                    </a:lnTo>
                    <a:lnTo>
                      <a:pt x="349" y="335"/>
                    </a:lnTo>
                    <a:lnTo>
                      <a:pt x="347" y="335"/>
                    </a:lnTo>
                    <a:lnTo>
                      <a:pt x="346" y="334"/>
                    </a:lnTo>
                    <a:lnTo>
                      <a:pt x="346" y="333"/>
                    </a:lnTo>
                    <a:lnTo>
                      <a:pt x="346" y="332"/>
                    </a:lnTo>
                    <a:lnTo>
                      <a:pt x="347" y="332"/>
                    </a:lnTo>
                    <a:lnTo>
                      <a:pt x="347" y="331"/>
                    </a:lnTo>
                    <a:lnTo>
                      <a:pt x="347" y="330"/>
                    </a:lnTo>
                    <a:lnTo>
                      <a:pt x="347" y="329"/>
                    </a:lnTo>
                    <a:lnTo>
                      <a:pt x="346" y="330"/>
                    </a:lnTo>
                    <a:lnTo>
                      <a:pt x="346" y="331"/>
                    </a:lnTo>
                    <a:lnTo>
                      <a:pt x="345" y="332"/>
                    </a:lnTo>
                    <a:lnTo>
                      <a:pt x="344" y="332"/>
                    </a:lnTo>
                    <a:lnTo>
                      <a:pt x="343" y="333"/>
                    </a:lnTo>
                    <a:lnTo>
                      <a:pt x="342" y="333"/>
                    </a:lnTo>
                    <a:lnTo>
                      <a:pt x="341" y="333"/>
                    </a:lnTo>
                    <a:lnTo>
                      <a:pt x="340" y="333"/>
                    </a:lnTo>
                    <a:lnTo>
                      <a:pt x="339" y="334"/>
                    </a:lnTo>
                    <a:lnTo>
                      <a:pt x="338" y="334"/>
                    </a:lnTo>
                    <a:lnTo>
                      <a:pt x="338" y="333"/>
                    </a:lnTo>
                    <a:lnTo>
                      <a:pt x="337" y="333"/>
                    </a:lnTo>
                    <a:lnTo>
                      <a:pt x="336" y="333"/>
                    </a:lnTo>
                    <a:lnTo>
                      <a:pt x="334" y="332"/>
                    </a:lnTo>
                    <a:lnTo>
                      <a:pt x="334" y="331"/>
                    </a:lnTo>
                    <a:lnTo>
                      <a:pt x="336" y="331"/>
                    </a:lnTo>
                    <a:lnTo>
                      <a:pt x="337" y="331"/>
                    </a:lnTo>
                    <a:lnTo>
                      <a:pt x="338" y="331"/>
                    </a:lnTo>
                    <a:lnTo>
                      <a:pt x="339" y="331"/>
                    </a:lnTo>
                    <a:lnTo>
                      <a:pt x="340" y="331"/>
                    </a:lnTo>
                    <a:lnTo>
                      <a:pt x="341" y="330"/>
                    </a:lnTo>
                    <a:lnTo>
                      <a:pt x="341" y="329"/>
                    </a:lnTo>
                    <a:lnTo>
                      <a:pt x="340" y="329"/>
                    </a:lnTo>
                    <a:lnTo>
                      <a:pt x="338" y="329"/>
                    </a:lnTo>
                    <a:lnTo>
                      <a:pt x="337" y="329"/>
                    </a:lnTo>
                    <a:lnTo>
                      <a:pt x="336" y="329"/>
                    </a:lnTo>
                    <a:lnTo>
                      <a:pt x="334" y="329"/>
                    </a:lnTo>
                    <a:lnTo>
                      <a:pt x="332" y="329"/>
                    </a:lnTo>
                    <a:lnTo>
                      <a:pt x="331" y="329"/>
                    </a:lnTo>
                    <a:lnTo>
                      <a:pt x="330" y="327"/>
                    </a:lnTo>
                    <a:lnTo>
                      <a:pt x="328" y="326"/>
                    </a:lnTo>
                    <a:lnTo>
                      <a:pt x="326" y="325"/>
                    </a:lnTo>
                    <a:lnTo>
                      <a:pt x="326" y="324"/>
                    </a:lnTo>
                    <a:lnTo>
                      <a:pt x="325" y="324"/>
                    </a:lnTo>
                    <a:lnTo>
                      <a:pt x="326" y="323"/>
                    </a:lnTo>
                    <a:lnTo>
                      <a:pt x="326" y="322"/>
                    </a:lnTo>
                    <a:lnTo>
                      <a:pt x="326" y="323"/>
                    </a:lnTo>
                    <a:lnTo>
                      <a:pt x="327" y="323"/>
                    </a:lnTo>
                    <a:lnTo>
                      <a:pt x="328" y="323"/>
                    </a:lnTo>
                    <a:lnTo>
                      <a:pt x="328" y="322"/>
                    </a:lnTo>
                    <a:lnTo>
                      <a:pt x="328" y="321"/>
                    </a:lnTo>
                    <a:lnTo>
                      <a:pt x="328" y="320"/>
                    </a:lnTo>
                    <a:lnTo>
                      <a:pt x="327" y="319"/>
                    </a:lnTo>
                    <a:lnTo>
                      <a:pt x="327" y="318"/>
                    </a:lnTo>
                    <a:lnTo>
                      <a:pt x="326" y="318"/>
                    </a:lnTo>
                    <a:lnTo>
                      <a:pt x="326" y="317"/>
                    </a:lnTo>
                    <a:lnTo>
                      <a:pt x="326" y="316"/>
                    </a:lnTo>
                    <a:lnTo>
                      <a:pt x="325" y="316"/>
                    </a:lnTo>
                    <a:lnTo>
                      <a:pt x="325" y="314"/>
                    </a:lnTo>
                    <a:lnTo>
                      <a:pt x="324" y="313"/>
                    </a:lnTo>
                    <a:lnTo>
                      <a:pt x="324" y="312"/>
                    </a:lnTo>
                    <a:lnTo>
                      <a:pt x="321" y="311"/>
                    </a:lnTo>
                    <a:lnTo>
                      <a:pt x="320" y="311"/>
                    </a:lnTo>
                    <a:lnTo>
                      <a:pt x="321" y="310"/>
                    </a:lnTo>
                    <a:lnTo>
                      <a:pt x="320" y="310"/>
                    </a:lnTo>
                    <a:lnTo>
                      <a:pt x="319" y="310"/>
                    </a:lnTo>
                    <a:lnTo>
                      <a:pt x="318" y="311"/>
                    </a:lnTo>
                    <a:lnTo>
                      <a:pt x="317" y="312"/>
                    </a:lnTo>
                    <a:lnTo>
                      <a:pt x="316" y="312"/>
                    </a:lnTo>
                    <a:lnTo>
                      <a:pt x="315" y="312"/>
                    </a:lnTo>
                    <a:lnTo>
                      <a:pt x="314" y="312"/>
                    </a:lnTo>
                    <a:lnTo>
                      <a:pt x="312" y="311"/>
                    </a:lnTo>
                    <a:lnTo>
                      <a:pt x="311" y="311"/>
                    </a:lnTo>
                    <a:lnTo>
                      <a:pt x="310" y="311"/>
                    </a:lnTo>
                    <a:lnTo>
                      <a:pt x="307" y="311"/>
                    </a:lnTo>
                    <a:lnTo>
                      <a:pt x="306" y="311"/>
                    </a:lnTo>
                    <a:lnTo>
                      <a:pt x="305" y="311"/>
                    </a:lnTo>
                    <a:lnTo>
                      <a:pt x="302" y="311"/>
                    </a:lnTo>
                    <a:lnTo>
                      <a:pt x="301" y="312"/>
                    </a:lnTo>
                    <a:lnTo>
                      <a:pt x="300" y="312"/>
                    </a:lnTo>
                    <a:lnTo>
                      <a:pt x="299" y="312"/>
                    </a:lnTo>
                    <a:lnTo>
                      <a:pt x="298" y="312"/>
                    </a:lnTo>
                    <a:lnTo>
                      <a:pt x="297" y="312"/>
                    </a:lnTo>
                    <a:lnTo>
                      <a:pt x="295" y="312"/>
                    </a:lnTo>
                    <a:lnTo>
                      <a:pt x="294" y="312"/>
                    </a:lnTo>
                    <a:lnTo>
                      <a:pt x="293" y="313"/>
                    </a:lnTo>
                    <a:lnTo>
                      <a:pt x="292" y="313"/>
                    </a:lnTo>
                    <a:lnTo>
                      <a:pt x="291" y="313"/>
                    </a:lnTo>
                    <a:lnTo>
                      <a:pt x="289" y="312"/>
                    </a:lnTo>
                    <a:lnTo>
                      <a:pt x="288" y="312"/>
                    </a:lnTo>
                    <a:lnTo>
                      <a:pt x="286" y="312"/>
                    </a:lnTo>
                    <a:lnTo>
                      <a:pt x="285" y="312"/>
                    </a:lnTo>
                    <a:lnTo>
                      <a:pt x="282" y="311"/>
                    </a:lnTo>
                    <a:lnTo>
                      <a:pt x="280" y="310"/>
                    </a:lnTo>
                    <a:lnTo>
                      <a:pt x="280" y="311"/>
                    </a:lnTo>
                    <a:lnTo>
                      <a:pt x="281" y="311"/>
                    </a:lnTo>
                    <a:lnTo>
                      <a:pt x="282" y="311"/>
                    </a:lnTo>
                    <a:lnTo>
                      <a:pt x="282" y="312"/>
                    </a:lnTo>
                    <a:lnTo>
                      <a:pt x="281" y="312"/>
                    </a:lnTo>
                    <a:lnTo>
                      <a:pt x="280" y="312"/>
                    </a:lnTo>
                    <a:lnTo>
                      <a:pt x="282" y="313"/>
                    </a:lnTo>
                    <a:lnTo>
                      <a:pt x="284" y="313"/>
                    </a:lnTo>
                    <a:lnTo>
                      <a:pt x="285" y="313"/>
                    </a:lnTo>
                    <a:lnTo>
                      <a:pt x="286" y="313"/>
                    </a:lnTo>
                    <a:lnTo>
                      <a:pt x="286" y="314"/>
                    </a:lnTo>
                    <a:lnTo>
                      <a:pt x="287" y="314"/>
                    </a:lnTo>
                    <a:lnTo>
                      <a:pt x="288" y="314"/>
                    </a:lnTo>
                    <a:lnTo>
                      <a:pt x="291" y="314"/>
                    </a:lnTo>
                    <a:lnTo>
                      <a:pt x="290" y="314"/>
                    </a:lnTo>
                    <a:lnTo>
                      <a:pt x="288" y="314"/>
                    </a:lnTo>
                    <a:lnTo>
                      <a:pt x="289" y="316"/>
                    </a:lnTo>
                    <a:lnTo>
                      <a:pt x="289" y="317"/>
                    </a:lnTo>
                    <a:lnTo>
                      <a:pt x="290" y="318"/>
                    </a:lnTo>
                    <a:lnTo>
                      <a:pt x="291" y="318"/>
                    </a:lnTo>
                    <a:lnTo>
                      <a:pt x="292" y="318"/>
                    </a:lnTo>
                    <a:lnTo>
                      <a:pt x="293" y="318"/>
                    </a:lnTo>
                    <a:lnTo>
                      <a:pt x="294" y="319"/>
                    </a:lnTo>
                    <a:lnTo>
                      <a:pt x="293" y="319"/>
                    </a:lnTo>
                    <a:lnTo>
                      <a:pt x="293" y="320"/>
                    </a:lnTo>
                    <a:lnTo>
                      <a:pt x="293" y="321"/>
                    </a:lnTo>
                    <a:lnTo>
                      <a:pt x="292" y="320"/>
                    </a:lnTo>
                    <a:lnTo>
                      <a:pt x="291" y="320"/>
                    </a:lnTo>
                    <a:lnTo>
                      <a:pt x="289" y="319"/>
                    </a:lnTo>
                    <a:lnTo>
                      <a:pt x="288" y="319"/>
                    </a:lnTo>
                    <a:lnTo>
                      <a:pt x="287" y="319"/>
                    </a:lnTo>
                    <a:lnTo>
                      <a:pt x="286" y="319"/>
                    </a:lnTo>
                    <a:lnTo>
                      <a:pt x="285" y="319"/>
                    </a:lnTo>
                    <a:lnTo>
                      <a:pt x="284" y="319"/>
                    </a:lnTo>
                    <a:lnTo>
                      <a:pt x="284" y="320"/>
                    </a:lnTo>
                    <a:lnTo>
                      <a:pt x="285" y="320"/>
                    </a:lnTo>
                    <a:lnTo>
                      <a:pt x="286" y="320"/>
                    </a:lnTo>
                    <a:lnTo>
                      <a:pt x="286" y="321"/>
                    </a:lnTo>
                    <a:lnTo>
                      <a:pt x="287" y="321"/>
                    </a:lnTo>
                    <a:lnTo>
                      <a:pt x="289" y="321"/>
                    </a:lnTo>
                    <a:lnTo>
                      <a:pt x="289" y="322"/>
                    </a:lnTo>
                    <a:lnTo>
                      <a:pt x="290" y="322"/>
                    </a:lnTo>
                    <a:lnTo>
                      <a:pt x="289" y="323"/>
                    </a:lnTo>
                    <a:lnTo>
                      <a:pt x="289" y="322"/>
                    </a:lnTo>
                    <a:lnTo>
                      <a:pt x="287" y="322"/>
                    </a:lnTo>
                    <a:lnTo>
                      <a:pt x="286" y="322"/>
                    </a:lnTo>
                    <a:lnTo>
                      <a:pt x="286" y="323"/>
                    </a:lnTo>
                    <a:lnTo>
                      <a:pt x="285" y="323"/>
                    </a:lnTo>
                    <a:lnTo>
                      <a:pt x="285" y="322"/>
                    </a:lnTo>
                    <a:lnTo>
                      <a:pt x="284" y="322"/>
                    </a:lnTo>
                    <a:lnTo>
                      <a:pt x="284" y="323"/>
                    </a:lnTo>
                    <a:lnTo>
                      <a:pt x="285" y="324"/>
                    </a:lnTo>
                    <a:lnTo>
                      <a:pt x="284" y="324"/>
                    </a:lnTo>
                    <a:lnTo>
                      <a:pt x="284" y="323"/>
                    </a:lnTo>
                    <a:lnTo>
                      <a:pt x="284" y="322"/>
                    </a:lnTo>
                    <a:lnTo>
                      <a:pt x="284" y="321"/>
                    </a:lnTo>
                    <a:lnTo>
                      <a:pt x="282" y="321"/>
                    </a:lnTo>
                    <a:lnTo>
                      <a:pt x="282" y="320"/>
                    </a:lnTo>
                    <a:lnTo>
                      <a:pt x="282" y="319"/>
                    </a:lnTo>
                    <a:lnTo>
                      <a:pt x="282" y="318"/>
                    </a:lnTo>
                    <a:lnTo>
                      <a:pt x="281" y="318"/>
                    </a:lnTo>
                    <a:lnTo>
                      <a:pt x="281" y="317"/>
                    </a:lnTo>
                    <a:lnTo>
                      <a:pt x="280" y="317"/>
                    </a:lnTo>
                    <a:lnTo>
                      <a:pt x="280" y="316"/>
                    </a:lnTo>
                    <a:lnTo>
                      <a:pt x="280" y="314"/>
                    </a:lnTo>
                    <a:lnTo>
                      <a:pt x="279" y="314"/>
                    </a:lnTo>
                    <a:lnTo>
                      <a:pt x="279" y="313"/>
                    </a:lnTo>
                    <a:lnTo>
                      <a:pt x="280" y="313"/>
                    </a:lnTo>
                    <a:lnTo>
                      <a:pt x="280" y="312"/>
                    </a:lnTo>
                    <a:lnTo>
                      <a:pt x="279" y="312"/>
                    </a:lnTo>
                    <a:lnTo>
                      <a:pt x="278" y="311"/>
                    </a:lnTo>
                    <a:lnTo>
                      <a:pt x="277" y="309"/>
                    </a:lnTo>
                    <a:lnTo>
                      <a:pt x="276" y="308"/>
                    </a:lnTo>
                    <a:lnTo>
                      <a:pt x="276" y="307"/>
                    </a:lnTo>
                    <a:lnTo>
                      <a:pt x="275" y="307"/>
                    </a:lnTo>
                    <a:lnTo>
                      <a:pt x="275" y="306"/>
                    </a:lnTo>
                    <a:lnTo>
                      <a:pt x="275" y="305"/>
                    </a:lnTo>
                    <a:lnTo>
                      <a:pt x="275" y="303"/>
                    </a:lnTo>
                    <a:lnTo>
                      <a:pt x="276" y="301"/>
                    </a:lnTo>
                    <a:lnTo>
                      <a:pt x="276" y="300"/>
                    </a:lnTo>
                    <a:lnTo>
                      <a:pt x="276" y="299"/>
                    </a:lnTo>
                    <a:lnTo>
                      <a:pt x="276" y="298"/>
                    </a:lnTo>
                    <a:lnTo>
                      <a:pt x="276" y="295"/>
                    </a:lnTo>
                    <a:lnTo>
                      <a:pt x="278" y="292"/>
                    </a:lnTo>
                    <a:lnTo>
                      <a:pt x="277" y="288"/>
                    </a:lnTo>
                    <a:lnTo>
                      <a:pt x="275" y="292"/>
                    </a:lnTo>
                    <a:lnTo>
                      <a:pt x="273" y="293"/>
                    </a:lnTo>
                    <a:lnTo>
                      <a:pt x="269" y="294"/>
                    </a:lnTo>
                    <a:lnTo>
                      <a:pt x="267" y="295"/>
                    </a:lnTo>
                    <a:lnTo>
                      <a:pt x="265" y="296"/>
                    </a:lnTo>
                    <a:lnTo>
                      <a:pt x="264" y="297"/>
                    </a:lnTo>
                    <a:lnTo>
                      <a:pt x="263" y="297"/>
                    </a:lnTo>
                    <a:lnTo>
                      <a:pt x="262" y="297"/>
                    </a:lnTo>
                    <a:lnTo>
                      <a:pt x="262" y="298"/>
                    </a:lnTo>
                    <a:lnTo>
                      <a:pt x="261" y="298"/>
                    </a:lnTo>
                    <a:lnTo>
                      <a:pt x="260" y="298"/>
                    </a:lnTo>
                    <a:lnTo>
                      <a:pt x="259" y="298"/>
                    </a:lnTo>
                    <a:lnTo>
                      <a:pt x="257" y="298"/>
                    </a:lnTo>
                    <a:lnTo>
                      <a:pt x="257" y="299"/>
                    </a:lnTo>
                    <a:lnTo>
                      <a:pt x="256" y="299"/>
                    </a:lnTo>
                    <a:lnTo>
                      <a:pt x="255" y="299"/>
                    </a:lnTo>
                    <a:lnTo>
                      <a:pt x="254" y="299"/>
                    </a:lnTo>
                    <a:lnTo>
                      <a:pt x="253" y="299"/>
                    </a:lnTo>
                    <a:lnTo>
                      <a:pt x="253" y="300"/>
                    </a:lnTo>
                    <a:lnTo>
                      <a:pt x="252" y="300"/>
                    </a:lnTo>
                    <a:lnTo>
                      <a:pt x="250" y="300"/>
                    </a:lnTo>
                    <a:lnTo>
                      <a:pt x="249" y="300"/>
                    </a:lnTo>
                    <a:lnTo>
                      <a:pt x="250" y="300"/>
                    </a:lnTo>
                    <a:lnTo>
                      <a:pt x="251" y="300"/>
                    </a:lnTo>
                    <a:lnTo>
                      <a:pt x="252" y="300"/>
                    </a:lnTo>
                    <a:lnTo>
                      <a:pt x="252" y="299"/>
                    </a:lnTo>
                    <a:lnTo>
                      <a:pt x="252" y="298"/>
                    </a:lnTo>
                    <a:lnTo>
                      <a:pt x="251" y="297"/>
                    </a:lnTo>
                    <a:lnTo>
                      <a:pt x="251" y="296"/>
                    </a:lnTo>
                    <a:lnTo>
                      <a:pt x="248" y="296"/>
                    </a:lnTo>
                    <a:lnTo>
                      <a:pt x="249" y="296"/>
                    </a:lnTo>
                    <a:lnTo>
                      <a:pt x="250" y="296"/>
                    </a:lnTo>
                    <a:lnTo>
                      <a:pt x="250" y="295"/>
                    </a:lnTo>
                    <a:lnTo>
                      <a:pt x="252" y="295"/>
                    </a:lnTo>
                    <a:lnTo>
                      <a:pt x="252" y="296"/>
                    </a:lnTo>
                    <a:lnTo>
                      <a:pt x="253" y="297"/>
                    </a:lnTo>
                    <a:lnTo>
                      <a:pt x="254" y="298"/>
                    </a:lnTo>
                    <a:lnTo>
                      <a:pt x="255" y="298"/>
                    </a:lnTo>
                    <a:lnTo>
                      <a:pt x="256" y="298"/>
                    </a:lnTo>
                    <a:lnTo>
                      <a:pt x="256" y="297"/>
                    </a:lnTo>
                    <a:lnTo>
                      <a:pt x="256" y="296"/>
                    </a:lnTo>
                    <a:lnTo>
                      <a:pt x="257" y="296"/>
                    </a:lnTo>
                    <a:lnTo>
                      <a:pt x="257" y="295"/>
                    </a:lnTo>
                    <a:lnTo>
                      <a:pt x="257" y="296"/>
                    </a:lnTo>
                    <a:lnTo>
                      <a:pt x="259" y="297"/>
                    </a:lnTo>
                    <a:lnTo>
                      <a:pt x="260" y="297"/>
                    </a:lnTo>
                    <a:lnTo>
                      <a:pt x="260" y="296"/>
                    </a:lnTo>
                    <a:lnTo>
                      <a:pt x="261" y="296"/>
                    </a:lnTo>
                    <a:lnTo>
                      <a:pt x="262" y="296"/>
                    </a:lnTo>
                    <a:lnTo>
                      <a:pt x="263" y="296"/>
                    </a:lnTo>
                    <a:lnTo>
                      <a:pt x="263" y="295"/>
                    </a:lnTo>
                    <a:lnTo>
                      <a:pt x="262" y="295"/>
                    </a:lnTo>
                    <a:lnTo>
                      <a:pt x="262" y="294"/>
                    </a:lnTo>
                    <a:lnTo>
                      <a:pt x="261" y="294"/>
                    </a:lnTo>
                    <a:lnTo>
                      <a:pt x="260" y="294"/>
                    </a:lnTo>
                    <a:lnTo>
                      <a:pt x="260" y="293"/>
                    </a:lnTo>
                    <a:lnTo>
                      <a:pt x="260" y="292"/>
                    </a:lnTo>
                    <a:lnTo>
                      <a:pt x="259" y="292"/>
                    </a:lnTo>
                    <a:lnTo>
                      <a:pt x="256" y="292"/>
                    </a:lnTo>
                    <a:lnTo>
                      <a:pt x="254" y="292"/>
                    </a:lnTo>
                    <a:lnTo>
                      <a:pt x="253" y="292"/>
                    </a:lnTo>
                    <a:lnTo>
                      <a:pt x="255" y="291"/>
                    </a:lnTo>
                    <a:lnTo>
                      <a:pt x="256" y="291"/>
                    </a:lnTo>
                    <a:lnTo>
                      <a:pt x="255" y="291"/>
                    </a:lnTo>
                    <a:lnTo>
                      <a:pt x="253" y="291"/>
                    </a:lnTo>
                    <a:lnTo>
                      <a:pt x="252" y="291"/>
                    </a:lnTo>
                    <a:lnTo>
                      <a:pt x="252" y="290"/>
                    </a:lnTo>
                    <a:lnTo>
                      <a:pt x="251" y="290"/>
                    </a:lnTo>
                    <a:lnTo>
                      <a:pt x="251" y="291"/>
                    </a:lnTo>
                    <a:lnTo>
                      <a:pt x="250" y="291"/>
                    </a:lnTo>
                    <a:lnTo>
                      <a:pt x="248" y="292"/>
                    </a:lnTo>
                    <a:lnTo>
                      <a:pt x="246" y="292"/>
                    </a:lnTo>
                    <a:lnTo>
                      <a:pt x="244" y="293"/>
                    </a:lnTo>
                    <a:lnTo>
                      <a:pt x="243" y="293"/>
                    </a:lnTo>
                    <a:lnTo>
                      <a:pt x="241" y="294"/>
                    </a:lnTo>
                    <a:lnTo>
                      <a:pt x="238" y="294"/>
                    </a:lnTo>
                    <a:lnTo>
                      <a:pt x="235" y="294"/>
                    </a:lnTo>
                    <a:lnTo>
                      <a:pt x="233" y="295"/>
                    </a:lnTo>
                    <a:lnTo>
                      <a:pt x="230" y="297"/>
                    </a:lnTo>
                    <a:lnTo>
                      <a:pt x="228" y="298"/>
                    </a:lnTo>
                    <a:lnTo>
                      <a:pt x="226" y="298"/>
                    </a:lnTo>
                    <a:lnTo>
                      <a:pt x="225" y="299"/>
                    </a:lnTo>
                    <a:lnTo>
                      <a:pt x="223" y="300"/>
                    </a:lnTo>
                    <a:lnTo>
                      <a:pt x="221" y="301"/>
                    </a:lnTo>
                    <a:lnTo>
                      <a:pt x="220" y="301"/>
                    </a:lnTo>
                    <a:lnTo>
                      <a:pt x="217" y="300"/>
                    </a:lnTo>
                    <a:lnTo>
                      <a:pt x="216" y="301"/>
                    </a:lnTo>
                    <a:lnTo>
                      <a:pt x="214" y="301"/>
                    </a:lnTo>
                    <a:lnTo>
                      <a:pt x="213" y="301"/>
                    </a:lnTo>
                    <a:lnTo>
                      <a:pt x="209" y="304"/>
                    </a:lnTo>
                    <a:lnTo>
                      <a:pt x="207" y="304"/>
                    </a:lnTo>
                    <a:lnTo>
                      <a:pt x="208" y="304"/>
                    </a:lnTo>
                    <a:lnTo>
                      <a:pt x="208" y="303"/>
                    </a:lnTo>
                    <a:lnTo>
                      <a:pt x="209" y="301"/>
                    </a:lnTo>
                    <a:lnTo>
                      <a:pt x="210" y="301"/>
                    </a:lnTo>
                    <a:lnTo>
                      <a:pt x="211" y="300"/>
                    </a:lnTo>
                    <a:lnTo>
                      <a:pt x="211" y="299"/>
                    </a:lnTo>
                    <a:lnTo>
                      <a:pt x="212" y="298"/>
                    </a:lnTo>
                    <a:lnTo>
                      <a:pt x="213" y="296"/>
                    </a:lnTo>
                    <a:lnTo>
                      <a:pt x="214" y="295"/>
                    </a:lnTo>
                    <a:lnTo>
                      <a:pt x="215" y="294"/>
                    </a:lnTo>
                    <a:lnTo>
                      <a:pt x="216" y="292"/>
                    </a:lnTo>
                    <a:lnTo>
                      <a:pt x="217" y="291"/>
                    </a:lnTo>
                    <a:lnTo>
                      <a:pt x="217" y="290"/>
                    </a:lnTo>
                    <a:lnTo>
                      <a:pt x="217" y="288"/>
                    </a:lnTo>
                    <a:lnTo>
                      <a:pt x="217" y="286"/>
                    </a:lnTo>
                    <a:lnTo>
                      <a:pt x="217" y="285"/>
                    </a:lnTo>
                    <a:lnTo>
                      <a:pt x="217" y="284"/>
                    </a:lnTo>
                    <a:lnTo>
                      <a:pt x="217" y="285"/>
                    </a:lnTo>
                    <a:lnTo>
                      <a:pt x="216" y="285"/>
                    </a:lnTo>
                    <a:lnTo>
                      <a:pt x="216" y="284"/>
                    </a:lnTo>
                    <a:lnTo>
                      <a:pt x="216" y="283"/>
                    </a:lnTo>
                    <a:lnTo>
                      <a:pt x="216" y="282"/>
                    </a:lnTo>
                    <a:lnTo>
                      <a:pt x="215" y="281"/>
                    </a:lnTo>
                    <a:lnTo>
                      <a:pt x="214" y="280"/>
                    </a:lnTo>
                    <a:lnTo>
                      <a:pt x="213" y="279"/>
                    </a:lnTo>
                    <a:lnTo>
                      <a:pt x="212" y="278"/>
                    </a:lnTo>
                    <a:lnTo>
                      <a:pt x="211" y="278"/>
                    </a:lnTo>
                    <a:lnTo>
                      <a:pt x="211" y="276"/>
                    </a:lnTo>
                    <a:lnTo>
                      <a:pt x="211" y="275"/>
                    </a:lnTo>
                    <a:lnTo>
                      <a:pt x="210" y="273"/>
                    </a:lnTo>
                    <a:lnTo>
                      <a:pt x="209" y="273"/>
                    </a:lnTo>
                    <a:lnTo>
                      <a:pt x="210" y="271"/>
                    </a:lnTo>
                    <a:lnTo>
                      <a:pt x="210" y="270"/>
                    </a:lnTo>
                    <a:lnTo>
                      <a:pt x="209" y="270"/>
                    </a:lnTo>
                    <a:lnTo>
                      <a:pt x="210" y="269"/>
                    </a:lnTo>
                    <a:lnTo>
                      <a:pt x="210" y="267"/>
                    </a:lnTo>
                    <a:lnTo>
                      <a:pt x="210" y="266"/>
                    </a:lnTo>
                    <a:lnTo>
                      <a:pt x="211" y="265"/>
                    </a:lnTo>
                    <a:lnTo>
                      <a:pt x="211" y="263"/>
                    </a:lnTo>
                    <a:lnTo>
                      <a:pt x="211" y="262"/>
                    </a:lnTo>
                    <a:lnTo>
                      <a:pt x="211" y="260"/>
                    </a:lnTo>
                    <a:lnTo>
                      <a:pt x="210" y="259"/>
                    </a:lnTo>
                    <a:lnTo>
                      <a:pt x="209" y="257"/>
                    </a:lnTo>
                    <a:lnTo>
                      <a:pt x="209" y="256"/>
                    </a:lnTo>
                    <a:lnTo>
                      <a:pt x="209" y="255"/>
                    </a:lnTo>
                    <a:lnTo>
                      <a:pt x="208" y="254"/>
                    </a:lnTo>
                    <a:lnTo>
                      <a:pt x="208" y="253"/>
                    </a:lnTo>
                    <a:lnTo>
                      <a:pt x="207" y="250"/>
                    </a:lnTo>
                    <a:lnTo>
                      <a:pt x="207" y="249"/>
                    </a:lnTo>
                    <a:lnTo>
                      <a:pt x="205" y="249"/>
                    </a:lnTo>
                    <a:lnTo>
                      <a:pt x="205" y="248"/>
                    </a:lnTo>
                    <a:lnTo>
                      <a:pt x="205" y="247"/>
                    </a:lnTo>
                    <a:lnTo>
                      <a:pt x="204" y="245"/>
                    </a:lnTo>
                    <a:lnTo>
                      <a:pt x="204" y="244"/>
                    </a:lnTo>
                    <a:lnTo>
                      <a:pt x="204" y="242"/>
                    </a:lnTo>
                    <a:lnTo>
                      <a:pt x="204" y="241"/>
                    </a:lnTo>
                    <a:lnTo>
                      <a:pt x="203" y="240"/>
                    </a:lnTo>
                    <a:lnTo>
                      <a:pt x="203" y="237"/>
                    </a:lnTo>
                    <a:lnTo>
                      <a:pt x="203" y="236"/>
                    </a:lnTo>
                    <a:lnTo>
                      <a:pt x="202" y="234"/>
                    </a:lnTo>
                    <a:lnTo>
                      <a:pt x="202" y="233"/>
                    </a:lnTo>
                    <a:lnTo>
                      <a:pt x="202" y="232"/>
                    </a:lnTo>
                    <a:lnTo>
                      <a:pt x="201" y="231"/>
                    </a:lnTo>
                    <a:lnTo>
                      <a:pt x="201" y="228"/>
                    </a:lnTo>
                    <a:lnTo>
                      <a:pt x="200" y="228"/>
                    </a:lnTo>
                    <a:lnTo>
                      <a:pt x="199" y="227"/>
                    </a:lnTo>
                    <a:lnTo>
                      <a:pt x="198" y="224"/>
                    </a:lnTo>
                    <a:lnTo>
                      <a:pt x="197" y="224"/>
                    </a:lnTo>
                    <a:lnTo>
                      <a:pt x="196" y="223"/>
                    </a:lnTo>
                    <a:lnTo>
                      <a:pt x="195" y="223"/>
                    </a:lnTo>
                    <a:lnTo>
                      <a:pt x="194" y="223"/>
                    </a:lnTo>
                    <a:lnTo>
                      <a:pt x="194" y="224"/>
                    </a:lnTo>
                    <a:lnTo>
                      <a:pt x="192" y="224"/>
                    </a:lnTo>
                    <a:lnTo>
                      <a:pt x="191" y="224"/>
                    </a:lnTo>
                    <a:lnTo>
                      <a:pt x="191" y="223"/>
                    </a:lnTo>
                    <a:lnTo>
                      <a:pt x="190" y="223"/>
                    </a:lnTo>
                    <a:lnTo>
                      <a:pt x="189" y="223"/>
                    </a:lnTo>
                    <a:lnTo>
                      <a:pt x="186" y="223"/>
                    </a:lnTo>
                    <a:lnTo>
                      <a:pt x="185" y="223"/>
                    </a:lnTo>
                    <a:lnTo>
                      <a:pt x="184" y="224"/>
                    </a:lnTo>
                    <a:lnTo>
                      <a:pt x="183" y="224"/>
                    </a:lnTo>
                    <a:lnTo>
                      <a:pt x="182" y="224"/>
                    </a:lnTo>
                    <a:lnTo>
                      <a:pt x="181" y="224"/>
                    </a:lnTo>
                    <a:lnTo>
                      <a:pt x="179" y="224"/>
                    </a:lnTo>
                    <a:lnTo>
                      <a:pt x="177" y="226"/>
                    </a:lnTo>
                    <a:lnTo>
                      <a:pt x="176" y="226"/>
                    </a:lnTo>
                    <a:lnTo>
                      <a:pt x="176" y="227"/>
                    </a:lnTo>
                    <a:lnTo>
                      <a:pt x="175" y="227"/>
                    </a:lnTo>
                    <a:lnTo>
                      <a:pt x="174" y="228"/>
                    </a:lnTo>
                    <a:lnTo>
                      <a:pt x="173" y="228"/>
                    </a:lnTo>
                    <a:lnTo>
                      <a:pt x="171" y="228"/>
                    </a:lnTo>
                    <a:lnTo>
                      <a:pt x="165" y="230"/>
                    </a:lnTo>
                    <a:lnTo>
                      <a:pt x="163" y="230"/>
                    </a:lnTo>
                    <a:lnTo>
                      <a:pt x="160" y="231"/>
                    </a:lnTo>
                    <a:lnTo>
                      <a:pt x="155" y="231"/>
                    </a:lnTo>
                    <a:lnTo>
                      <a:pt x="152" y="230"/>
                    </a:lnTo>
                    <a:lnTo>
                      <a:pt x="150" y="229"/>
                    </a:lnTo>
                    <a:lnTo>
                      <a:pt x="148" y="229"/>
                    </a:lnTo>
                    <a:lnTo>
                      <a:pt x="146" y="229"/>
                    </a:lnTo>
                    <a:lnTo>
                      <a:pt x="145" y="229"/>
                    </a:lnTo>
                    <a:lnTo>
                      <a:pt x="143" y="227"/>
                    </a:lnTo>
                    <a:lnTo>
                      <a:pt x="144" y="226"/>
                    </a:lnTo>
                    <a:lnTo>
                      <a:pt x="146" y="224"/>
                    </a:lnTo>
                    <a:lnTo>
                      <a:pt x="148" y="223"/>
                    </a:lnTo>
                    <a:lnTo>
                      <a:pt x="149" y="222"/>
                    </a:lnTo>
                    <a:lnTo>
                      <a:pt x="150" y="223"/>
                    </a:lnTo>
                    <a:lnTo>
                      <a:pt x="150" y="221"/>
                    </a:lnTo>
                    <a:lnTo>
                      <a:pt x="150" y="220"/>
                    </a:lnTo>
                    <a:lnTo>
                      <a:pt x="149" y="219"/>
                    </a:lnTo>
                    <a:lnTo>
                      <a:pt x="149" y="218"/>
                    </a:lnTo>
                    <a:lnTo>
                      <a:pt x="150" y="217"/>
                    </a:lnTo>
                    <a:lnTo>
                      <a:pt x="150" y="216"/>
                    </a:lnTo>
                    <a:lnTo>
                      <a:pt x="151" y="215"/>
                    </a:lnTo>
                    <a:lnTo>
                      <a:pt x="153" y="216"/>
                    </a:lnTo>
                    <a:lnTo>
                      <a:pt x="153" y="215"/>
                    </a:lnTo>
                    <a:lnTo>
                      <a:pt x="152" y="215"/>
                    </a:lnTo>
                    <a:lnTo>
                      <a:pt x="152" y="214"/>
                    </a:lnTo>
                    <a:lnTo>
                      <a:pt x="153" y="213"/>
                    </a:lnTo>
                    <a:lnTo>
                      <a:pt x="155" y="213"/>
                    </a:lnTo>
                    <a:lnTo>
                      <a:pt x="155" y="210"/>
                    </a:lnTo>
                    <a:lnTo>
                      <a:pt x="155" y="209"/>
                    </a:lnTo>
                    <a:lnTo>
                      <a:pt x="155" y="208"/>
                    </a:lnTo>
                    <a:lnTo>
                      <a:pt x="156" y="207"/>
                    </a:lnTo>
                    <a:lnTo>
                      <a:pt x="156" y="205"/>
                    </a:lnTo>
                    <a:lnTo>
                      <a:pt x="156" y="204"/>
                    </a:lnTo>
                    <a:lnTo>
                      <a:pt x="157" y="202"/>
                    </a:lnTo>
                    <a:lnTo>
                      <a:pt x="158" y="201"/>
                    </a:lnTo>
                    <a:lnTo>
                      <a:pt x="157" y="200"/>
                    </a:lnTo>
                    <a:lnTo>
                      <a:pt x="157" y="198"/>
                    </a:lnTo>
                    <a:lnTo>
                      <a:pt x="157" y="196"/>
                    </a:lnTo>
                    <a:lnTo>
                      <a:pt x="156" y="195"/>
                    </a:lnTo>
                    <a:lnTo>
                      <a:pt x="156" y="193"/>
                    </a:lnTo>
                    <a:lnTo>
                      <a:pt x="158" y="191"/>
                    </a:lnTo>
                    <a:lnTo>
                      <a:pt x="158" y="190"/>
                    </a:lnTo>
                    <a:lnTo>
                      <a:pt x="158" y="189"/>
                    </a:lnTo>
                    <a:lnTo>
                      <a:pt x="158" y="188"/>
                    </a:lnTo>
                    <a:lnTo>
                      <a:pt x="158" y="185"/>
                    </a:lnTo>
                    <a:lnTo>
                      <a:pt x="158" y="184"/>
                    </a:lnTo>
                    <a:lnTo>
                      <a:pt x="158" y="182"/>
                    </a:lnTo>
                    <a:lnTo>
                      <a:pt x="158" y="180"/>
                    </a:lnTo>
                    <a:lnTo>
                      <a:pt x="159" y="178"/>
                    </a:lnTo>
                    <a:lnTo>
                      <a:pt x="161" y="176"/>
                    </a:lnTo>
                    <a:lnTo>
                      <a:pt x="160" y="175"/>
                    </a:lnTo>
                    <a:lnTo>
                      <a:pt x="161" y="173"/>
                    </a:lnTo>
                    <a:lnTo>
                      <a:pt x="161" y="172"/>
                    </a:lnTo>
                    <a:lnTo>
                      <a:pt x="161" y="171"/>
                    </a:lnTo>
                    <a:lnTo>
                      <a:pt x="161" y="167"/>
                    </a:lnTo>
                    <a:lnTo>
                      <a:pt x="160" y="164"/>
                    </a:lnTo>
                    <a:lnTo>
                      <a:pt x="160" y="162"/>
                    </a:lnTo>
                    <a:lnTo>
                      <a:pt x="159" y="159"/>
                    </a:lnTo>
                    <a:lnTo>
                      <a:pt x="159" y="156"/>
                    </a:lnTo>
                    <a:lnTo>
                      <a:pt x="159" y="154"/>
                    </a:lnTo>
                    <a:lnTo>
                      <a:pt x="160" y="154"/>
                    </a:lnTo>
                    <a:lnTo>
                      <a:pt x="161" y="153"/>
                    </a:lnTo>
                    <a:lnTo>
                      <a:pt x="162" y="153"/>
                    </a:lnTo>
                    <a:lnTo>
                      <a:pt x="162" y="152"/>
                    </a:lnTo>
                    <a:lnTo>
                      <a:pt x="162" y="151"/>
                    </a:lnTo>
                    <a:lnTo>
                      <a:pt x="162" y="150"/>
                    </a:lnTo>
                    <a:lnTo>
                      <a:pt x="162" y="147"/>
                    </a:lnTo>
                    <a:lnTo>
                      <a:pt x="162" y="146"/>
                    </a:lnTo>
                    <a:lnTo>
                      <a:pt x="163" y="145"/>
                    </a:lnTo>
                    <a:lnTo>
                      <a:pt x="164" y="144"/>
                    </a:lnTo>
                    <a:lnTo>
                      <a:pt x="164" y="143"/>
                    </a:lnTo>
                    <a:lnTo>
                      <a:pt x="164" y="142"/>
                    </a:lnTo>
                    <a:lnTo>
                      <a:pt x="164" y="141"/>
                    </a:lnTo>
                    <a:lnTo>
                      <a:pt x="163" y="140"/>
                    </a:lnTo>
                    <a:lnTo>
                      <a:pt x="162" y="139"/>
                    </a:lnTo>
                    <a:lnTo>
                      <a:pt x="161" y="139"/>
                    </a:lnTo>
                    <a:lnTo>
                      <a:pt x="160" y="139"/>
                    </a:lnTo>
                    <a:lnTo>
                      <a:pt x="159" y="140"/>
                    </a:lnTo>
                    <a:lnTo>
                      <a:pt x="159" y="141"/>
                    </a:lnTo>
                    <a:lnTo>
                      <a:pt x="160" y="142"/>
                    </a:lnTo>
                    <a:lnTo>
                      <a:pt x="159" y="143"/>
                    </a:lnTo>
                    <a:lnTo>
                      <a:pt x="158" y="145"/>
                    </a:lnTo>
                    <a:lnTo>
                      <a:pt x="157" y="147"/>
                    </a:lnTo>
                    <a:lnTo>
                      <a:pt x="156" y="149"/>
                    </a:lnTo>
                    <a:lnTo>
                      <a:pt x="155" y="150"/>
                    </a:lnTo>
                    <a:lnTo>
                      <a:pt x="152" y="150"/>
                    </a:lnTo>
                    <a:lnTo>
                      <a:pt x="151" y="150"/>
                    </a:lnTo>
                    <a:lnTo>
                      <a:pt x="149" y="151"/>
                    </a:lnTo>
                    <a:lnTo>
                      <a:pt x="148" y="150"/>
                    </a:lnTo>
                    <a:lnTo>
                      <a:pt x="146" y="150"/>
                    </a:lnTo>
                    <a:lnTo>
                      <a:pt x="143" y="150"/>
                    </a:lnTo>
                    <a:lnTo>
                      <a:pt x="142" y="150"/>
                    </a:lnTo>
                    <a:lnTo>
                      <a:pt x="139" y="149"/>
                    </a:lnTo>
                    <a:lnTo>
                      <a:pt x="136" y="149"/>
                    </a:lnTo>
                    <a:lnTo>
                      <a:pt x="135" y="149"/>
                    </a:lnTo>
                    <a:lnTo>
                      <a:pt x="131" y="147"/>
                    </a:lnTo>
                    <a:lnTo>
                      <a:pt x="126" y="149"/>
                    </a:lnTo>
                    <a:lnTo>
                      <a:pt x="125" y="149"/>
                    </a:lnTo>
                    <a:lnTo>
                      <a:pt x="122" y="149"/>
                    </a:lnTo>
                    <a:lnTo>
                      <a:pt x="120" y="150"/>
                    </a:lnTo>
                    <a:lnTo>
                      <a:pt x="119" y="150"/>
                    </a:lnTo>
                    <a:lnTo>
                      <a:pt x="118" y="150"/>
                    </a:lnTo>
                    <a:lnTo>
                      <a:pt x="117" y="151"/>
                    </a:lnTo>
                    <a:lnTo>
                      <a:pt x="115" y="151"/>
                    </a:lnTo>
                    <a:lnTo>
                      <a:pt x="114" y="151"/>
                    </a:lnTo>
                    <a:lnTo>
                      <a:pt x="114" y="150"/>
                    </a:lnTo>
                    <a:lnTo>
                      <a:pt x="113" y="150"/>
                    </a:lnTo>
                    <a:lnTo>
                      <a:pt x="113" y="151"/>
                    </a:lnTo>
                    <a:lnTo>
                      <a:pt x="111" y="151"/>
                    </a:lnTo>
                    <a:lnTo>
                      <a:pt x="109" y="152"/>
                    </a:lnTo>
                    <a:lnTo>
                      <a:pt x="108" y="152"/>
                    </a:lnTo>
                    <a:lnTo>
                      <a:pt x="107" y="152"/>
                    </a:lnTo>
                    <a:lnTo>
                      <a:pt x="107" y="153"/>
                    </a:lnTo>
                    <a:lnTo>
                      <a:pt x="106" y="153"/>
                    </a:lnTo>
                    <a:lnTo>
                      <a:pt x="105" y="153"/>
                    </a:lnTo>
                    <a:lnTo>
                      <a:pt x="104" y="154"/>
                    </a:lnTo>
                    <a:lnTo>
                      <a:pt x="102" y="154"/>
                    </a:lnTo>
                    <a:lnTo>
                      <a:pt x="102" y="155"/>
                    </a:lnTo>
                    <a:lnTo>
                      <a:pt x="101" y="155"/>
                    </a:lnTo>
                    <a:lnTo>
                      <a:pt x="100" y="154"/>
                    </a:lnTo>
                    <a:lnTo>
                      <a:pt x="99" y="153"/>
                    </a:lnTo>
                    <a:lnTo>
                      <a:pt x="98" y="153"/>
                    </a:lnTo>
                    <a:lnTo>
                      <a:pt x="97" y="152"/>
                    </a:lnTo>
                    <a:lnTo>
                      <a:pt x="95" y="151"/>
                    </a:lnTo>
                    <a:lnTo>
                      <a:pt x="95" y="150"/>
                    </a:lnTo>
                    <a:lnTo>
                      <a:pt x="93" y="149"/>
                    </a:lnTo>
                    <a:lnTo>
                      <a:pt x="92" y="147"/>
                    </a:lnTo>
                    <a:lnTo>
                      <a:pt x="91" y="147"/>
                    </a:lnTo>
                    <a:lnTo>
                      <a:pt x="89" y="147"/>
                    </a:lnTo>
                    <a:lnTo>
                      <a:pt x="89" y="146"/>
                    </a:lnTo>
                    <a:lnTo>
                      <a:pt x="88" y="146"/>
                    </a:lnTo>
                    <a:lnTo>
                      <a:pt x="87" y="145"/>
                    </a:lnTo>
                    <a:lnTo>
                      <a:pt x="86" y="145"/>
                    </a:lnTo>
                    <a:lnTo>
                      <a:pt x="86" y="146"/>
                    </a:lnTo>
                    <a:lnTo>
                      <a:pt x="86" y="145"/>
                    </a:lnTo>
                    <a:lnTo>
                      <a:pt x="85" y="145"/>
                    </a:lnTo>
                    <a:lnTo>
                      <a:pt x="83" y="145"/>
                    </a:lnTo>
                    <a:lnTo>
                      <a:pt x="82" y="145"/>
                    </a:lnTo>
                    <a:lnTo>
                      <a:pt x="80" y="145"/>
                    </a:lnTo>
                    <a:lnTo>
                      <a:pt x="78" y="146"/>
                    </a:lnTo>
                    <a:lnTo>
                      <a:pt x="75" y="146"/>
                    </a:lnTo>
                    <a:lnTo>
                      <a:pt x="73" y="146"/>
                    </a:lnTo>
                    <a:lnTo>
                      <a:pt x="72" y="147"/>
                    </a:lnTo>
                    <a:lnTo>
                      <a:pt x="67" y="149"/>
                    </a:lnTo>
                    <a:lnTo>
                      <a:pt x="66" y="149"/>
                    </a:lnTo>
                    <a:lnTo>
                      <a:pt x="65" y="150"/>
                    </a:lnTo>
                    <a:lnTo>
                      <a:pt x="61" y="151"/>
                    </a:lnTo>
                    <a:lnTo>
                      <a:pt x="60" y="151"/>
                    </a:lnTo>
                    <a:lnTo>
                      <a:pt x="59" y="151"/>
                    </a:lnTo>
                    <a:lnTo>
                      <a:pt x="58" y="152"/>
                    </a:lnTo>
                    <a:lnTo>
                      <a:pt x="57" y="153"/>
                    </a:lnTo>
                    <a:lnTo>
                      <a:pt x="55" y="154"/>
                    </a:lnTo>
                    <a:lnTo>
                      <a:pt x="54" y="155"/>
                    </a:lnTo>
                    <a:lnTo>
                      <a:pt x="52" y="155"/>
                    </a:lnTo>
                    <a:lnTo>
                      <a:pt x="50" y="156"/>
                    </a:lnTo>
                    <a:lnTo>
                      <a:pt x="49" y="156"/>
                    </a:lnTo>
                    <a:lnTo>
                      <a:pt x="47" y="157"/>
                    </a:lnTo>
                    <a:lnTo>
                      <a:pt x="46" y="157"/>
                    </a:lnTo>
                    <a:lnTo>
                      <a:pt x="45" y="158"/>
                    </a:lnTo>
                    <a:lnTo>
                      <a:pt x="43" y="160"/>
                    </a:lnTo>
                    <a:lnTo>
                      <a:pt x="41" y="160"/>
                    </a:lnTo>
                    <a:lnTo>
                      <a:pt x="41" y="162"/>
                    </a:lnTo>
                    <a:lnTo>
                      <a:pt x="40" y="162"/>
                    </a:lnTo>
                    <a:lnTo>
                      <a:pt x="39" y="163"/>
                    </a:lnTo>
                    <a:lnTo>
                      <a:pt x="37" y="163"/>
                    </a:lnTo>
                    <a:lnTo>
                      <a:pt x="36" y="163"/>
                    </a:lnTo>
                    <a:lnTo>
                      <a:pt x="36" y="162"/>
                    </a:lnTo>
                    <a:lnTo>
                      <a:pt x="37" y="162"/>
                    </a:lnTo>
                    <a:lnTo>
                      <a:pt x="36" y="162"/>
                    </a:lnTo>
                    <a:lnTo>
                      <a:pt x="35" y="163"/>
                    </a:lnTo>
                    <a:lnTo>
                      <a:pt x="35" y="164"/>
                    </a:lnTo>
                    <a:lnTo>
                      <a:pt x="34" y="165"/>
                    </a:lnTo>
                    <a:lnTo>
                      <a:pt x="33" y="165"/>
                    </a:lnTo>
                    <a:lnTo>
                      <a:pt x="32" y="166"/>
                    </a:lnTo>
                    <a:lnTo>
                      <a:pt x="31" y="166"/>
                    </a:lnTo>
                    <a:lnTo>
                      <a:pt x="30" y="166"/>
                    </a:lnTo>
                    <a:lnTo>
                      <a:pt x="29" y="166"/>
                    </a:lnTo>
                    <a:lnTo>
                      <a:pt x="28" y="167"/>
                    </a:lnTo>
                    <a:lnTo>
                      <a:pt x="27" y="169"/>
                    </a:lnTo>
                    <a:lnTo>
                      <a:pt x="26" y="169"/>
                    </a:lnTo>
                    <a:lnTo>
                      <a:pt x="26" y="170"/>
                    </a:lnTo>
                    <a:lnTo>
                      <a:pt x="24" y="170"/>
                    </a:lnTo>
                    <a:lnTo>
                      <a:pt x="24" y="171"/>
                    </a:lnTo>
                    <a:lnTo>
                      <a:pt x="23" y="171"/>
                    </a:lnTo>
                    <a:lnTo>
                      <a:pt x="23" y="172"/>
                    </a:lnTo>
                    <a:lnTo>
                      <a:pt x="22" y="172"/>
                    </a:lnTo>
                    <a:lnTo>
                      <a:pt x="21" y="172"/>
                    </a:lnTo>
                    <a:lnTo>
                      <a:pt x="21" y="171"/>
                    </a:lnTo>
                    <a:lnTo>
                      <a:pt x="21" y="172"/>
                    </a:lnTo>
                    <a:lnTo>
                      <a:pt x="20" y="172"/>
                    </a:lnTo>
                    <a:lnTo>
                      <a:pt x="21" y="173"/>
                    </a:lnTo>
                    <a:lnTo>
                      <a:pt x="20" y="173"/>
                    </a:lnTo>
                    <a:lnTo>
                      <a:pt x="20" y="175"/>
                    </a:lnTo>
                    <a:lnTo>
                      <a:pt x="19" y="175"/>
                    </a:lnTo>
                    <a:lnTo>
                      <a:pt x="19" y="173"/>
                    </a:lnTo>
                    <a:lnTo>
                      <a:pt x="19" y="171"/>
                    </a:lnTo>
                    <a:lnTo>
                      <a:pt x="20" y="171"/>
                    </a:lnTo>
                    <a:lnTo>
                      <a:pt x="22" y="171"/>
                    </a:lnTo>
                    <a:lnTo>
                      <a:pt x="23" y="171"/>
                    </a:lnTo>
                    <a:lnTo>
                      <a:pt x="23" y="170"/>
                    </a:lnTo>
                    <a:lnTo>
                      <a:pt x="22" y="170"/>
                    </a:lnTo>
                    <a:lnTo>
                      <a:pt x="22" y="169"/>
                    </a:lnTo>
                    <a:lnTo>
                      <a:pt x="22" y="168"/>
                    </a:lnTo>
                    <a:lnTo>
                      <a:pt x="21" y="168"/>
                    </a:lnTo>
                    <a:lnTo>
                      <a:pt x="20" y="168"/>
                    </a:lnTo>
                    <a:lnTo>
                      <a:pt x="19" y="169"/>
                    </a:lnTo>
                    <a:lnTo>
                      <a:pt x="18" y="170"/>
                    </a:lnTo>
                    <a:lnTo>
                      <a:pt x="17" y="170"/>
                    </a:lnTo>
                    <a:lnTo>
                      <a:pt x="17" y="171"/>
                    </a:lnTo>
                    <a:lnTo>
                      <a:pt x="16" y="172"/>
                    </a:lnTo>
                    <a:lnTo>
                      <a:pt x="16" y="173"/>
                    </a:lnTo>
                    <a:lnTo>
                      <a:pt x="16" y="175"/>
                    </a:lnTo>
                    <a:lnTo>
                      <a:pt x="17" y="175"/>
                    </a:lnTo>
                    <a:lnTo>
                      <a:pt x="17" y="176"/>
                    </a:lnTo>
                    <a:lnTo>
                      <a:pt x="16" y="176"/>
                    </a:lnTo>
                    <a:lnTo>
                      <a:pt x="15" y="177"/>
                    </a:lnTo>
                    <a:lnTo>
                      <a:pt x="14" y="177"/>
                    </a:lnTo>
                    <a:lnTo>
                      <a:pt x="13" y="176"/>
                    </a:lnTo>
                    <a:lnTo>
                      <a:pt x="13" y="175"/>
                    </a:lnTo>
                    <a:lnTo>
                      <a:pt x="11" y="173"/>
                    </a:lnTo>
                    <a:lnTo>
                      <a:pt x="13" y="171"/>
                    </a:lnTo>
                    <a:lnTo>
                      <a:pt x="11" y="172"/>
                    </a:lnTo>
                    <a:lnTo>
                      <a:pt x="9" y="172"/>
                    </a:lnTo>
                    <a:lnTo>
                      <a:pt x="9" y="173"/>
                    </a:lnTo>
                    <a:lnTo>
                      <a:pt x="8" y="173"/>
                    </a:lnTo>
                    <a:lnTo>
                      <a:pt x="7" y="172"/>
                    </a:lnTo>
                    <a:lnTo>
                      <a:pt x="6" y="172"/>
                    </a:lnTo>
                    <a:lnTo>
                      <a:pt x="5" y="171"/>
                    </a:lnTo>
                    <a:lnTo>
                      <a:pt x="4" y="171"/>
                    </a:lnTo>
                    <a:lnTo>
                      <a:pt x="3" y="171"/>
                    </a:lnTo>
                    <a:lnTo>
                      <a:pt x="4" y="172"/>
                    </a:lnTo>
                    <a:lnTo>
                      <a:pt x="3" y="172"/>
                    </a:lnTo>
                    <a:lnTo>
                      <a:pt x="3" y="173"/>
                    </a:lnTo>
                    <a:lnTo>
                      <a:pt x="2" y="173"/>
                    </a:lnTo>
                    <a:lnTo>
                      <a:pt x="1" y="173"/>
                    </a:lnTo>
                    <a:lnTo>
                      <a:pt x="0" y="173"/>
                    </a:lnTo>
                    <a:lnTo>
                      <a:pt x="0" y="172"/>
                    </a:lnTo>
                    <a:lnTo>
                      <a:pt x="1" y="173"/>
                    </a:lnTo>
                    <a:lnTo>
                      <a:pt x="2" y="173"/>
                    </a:lnTo>
                    <a:lnTo>
                      <a:pt x="1" y="173"/>
                    </a:lnTo>
                    <a:lnTo>
                      <a:pt x="1" y="172"/>
                    </a:lnTo>
                    <a:lnTo>
                      <a:pt x="0" y="172"/>
                    </a:lnTo>
                    <a:lnTo>
                      <a:pt x="1" y="172"/>
                    </a:lnTo>
                    <a:lnTo>
                      <a:pt x="0" y="172"/>
                    </a:lnTo>
                    <a:lnTo>
                      <a:pt x="0" y="171"/>
                    </a:lnTo>
                    <a:lnTo>
                      <a:pt x="1" y="171"/>
                    </a:lnTo>
                    <a:lnTo>
                      <a:pt x="0" y="171"/>
                    </a:lnTo>
                    <a:lnTo>
                      <a:pt x="1" y="170"/>
                    </a:lnTo>
                    <a:lnTo>
                      <a:pt x="2" y="169"/>
                    </a:lnTo>
                    <a:lnTo>
                      <a:pt x="3" y="169"/>
                    </a:lnTo>
                    <a:lnTo>
                      <a:pt x="5" y="168"/>
                    </a:lnTo>
                    <a:lnTo>
                      <a:pt x="5" y="167"/>
                    </a:lnTo>
                    <a:lnTo>
                      <a:pt x="6" y="167"/>
                    </a:lnTo>
                    <a:lnTo>
                      <a:pt x="7" y="167"/>
                    </a:lnTo>
                    <a:lnTo>
                      <a:pt x="8" y="167"/>
                    </a:lnTo>
                    <a:lnTo>
                      <a:pt x="9" y="165"/>
                    </a:lnTo>
                    <a:lnTo>
                      <a:pt x="10" y="164"/>
                    </a:lnTo>
                    <a:lnTo>
                      <a:pt x="11" y="163"/>
                    </a:lnTo>
                    <a:lnTo>
                      <a:pt x="13" y="162"/>
                    </a:lnTo>
                    <a:lnTo>
                      <a:pt x="14" y="162"/>
                    </a:lnTo>
                    <a:lnTo>
                      <a:pt x="15" y="160"/>
                    </a:lnTo>
                    <a:lnTo>
                      <a:pt x="16" y="160"/>
                    </a:lnTo>
                    <a:lnTo>
                      <a:pt x="17" y="160"/>
                    </a:lnTo>
                    <a:lnTo>
                      <a:pt x="17" y="159"/>
                    </a:lnTo>
                    <a:lnTo>
                      <a:pt x="16" y="158"/>
                    </a:lnTo>
                    <a:lnTo>
                      <a:pt x="16" y="157"/>
                    </a:lnTo>
                    <a:lnTo>
                      <a:pt x="15" y="157"/>
                    </a:lnTo>
                    <a:lnTo>
                      <a:pt x="16" y="157"/>
                    </a:lnTo>
                    <a:lnTo>
                      <a:pt x="16" y="156"/>
                    </a:lnTo>
                    <a:lnTo>
                      <a:pt x="16" y="155"/>
                    </a:lnTo>
                    <a:lnTo>
                      <a:pt x="16" y="154"/>
                    </a:lnTo>
                    <a:lnTo>
                      <a:pt x="17" y="153"/>
                    </a:lnTo>
                    <a:lnTo>
                      <a:pt x="20" y="150"/>
                    </a:lnTo>
                    <a:lnTo>
                      <a:pt x="24" y="145"/>
                    </a:lnTo>
                    <a:lnTo>
                      <a:pt x="48" y="125"/>
                    </a:lnTo>
                    <a:lnTo>
                      <a:pt x="59" y="116"/>
                    </a:lnTo>
                    <a:lnTo>
                      <a:pt x="80" y="99"/>
                    </a:lnTo>
                    <a:lnTo>
                      <a:pt x="104" y="78"/>
                    </a:lnTo>
                    <a:lnTo>
                      <a:pt x="107" y="74"/>
                    </a:lnTo>
                    <a:lnTo>
                      <a:pt x="115" y="62"/>
                    </a:lnTo>
                    <a:lnTo>
                      <a:pt x="118" y="59"/>
                    </a:lnTo>
                    <a:lnTo>
                      <a:pt x="119" y="57"/>
                    </a:lnTo>
                    <a:lnTo>
                      <a:pt x="125" y="49"/>
                    </a:lnTo>
                    <a:lnTo>
                      <a:pt x="127" y="47"/>
                    </a:lnTo>
                    <a:lnTo>
                      <a:pt x="132" y="40"/>
                    </a:lnTo>
                    <a:lnTo>
                      <a:pt x="134" y="38"/>
                    </a:lnTo>
                    <a:lnTo>
                      <a:pt x="135" y="36"/>
                    </a:lnTo>
                    <a:lnTo>
                      <a:pt x="136" y="35"/>
                    </a:lnTo>
                    <a:lnTo>
                      <a:pt x="137" y="34"/>
                    </a:lnTo>
                    <a:lnTo>
                      <a:pt x="137" y="33"/>
                    </a:lnTo>
                    <a:lnTo>
                      <a:pt x="138" y="31"/>
                    </a:lnTo>
                    <a:lnTo>
                      <a:pt x="140" y="29"/>
                    </a:lnTo>
                    <a:lnTo>
                      <a:pt x="149" y="18"/>
                    </a:lnTo>
                    <a:lnTo>
                      <a:pt x="151" y="14"/>
                    </a:lnTo>
                    <a:lnTo>
                      <a:pt x="156" y="9"/>
                    </a:lnTo>
                    <a:lnTo>
                      <a:pt x="157" y="8"/>
                    </a:lnTo>
                    <a:lnTo>
                      <a:pt x="160" y="8"/>
                    </a:lnTo>
                    <a:lnTo>
                      <a:pt x="201" y="4"/>
                    </a:lnTo>
                    <a:lnTo>
                      <a:pt x="220" y="2"/>
                    </a:lnTo>
                    <a:lnTo>
                      <a:pt x="221" y="2"/>
                    </a:lnTo>
                    <a:lnTo>
                      <a:pt x="226" y="2"/>
                    </a:lnTo>
                    <a:lnTo>
                      <a:pt x="227" y="2"/>
                    </a:lnTo>
                    <a:lnTo>
                      <a:pt x="228" y="2"/>
                    </a:lnTo>
                    <a:lnTo>
                      <a:pt x="229" y="2"/>
                    </a:lnTo>
                    <a:lnTo>
                      <a:pt x="233" y="1"/>
                    </a:lnTo>
                    <a:lnTo>
                      <a:pt x="237" y="1"/>
                    </a:lnTo>
                    <a:lnTo>
                      <a:pt x="240" y="1"/>
                    </a:lnTo>
                    <a:lnTo>
                      <a:pt x="241" y="1"/>
                    </a:lnTo>
                    <a:lnTo>
                      <a:pt x="250" y="0"/>
                    </a:lnTo>
                    <a:lnTo>
                      <a:pt x="250" y="6"/>
                    </a:lnTo>
                    <a:lnTo>
                      <a:pt x="253" y="9"/>
                    </a:lnTo>
                    <a:lnTo>
                      <a:pt x="255" y="11"/>
                    </a:lnTo>
                    <a:lnTo>
                      <a:pt x="286" y="37"/>
                    </a:lnTo>
                    <a:lnTo>
                      <a:pt x="288" y="39"/>
                    </a:lnTo>
                    <a:lnTo>
                      <a:pt x="292" y="57"/>
                    </a:lnTo>
                    <a:lnTo>
                      <a:pt x="293" y="59"/>
                    </a:lnTo>
                    <a:lnTo>
                      <a:pt x="298" y="67"/>
                    </a:lnTo>
                    <a:lnTo>
                      <a:pt x="304" y="78"/>
                    </a:lnTo>
                    <a:lnTo>
                      <a:pt x="306" y="80"/>
                    </a:lnTo>
                    <a:lnTo>
                      <a:pt x="310" y="86"/>
                    </a:lnTo>
                    <a:lnTo>
                      <a:pt x="310" y="87"/>
                    </a:lnTo>
                    <a:lnTo>
                      <a:pt x="310" y="89"/>
                    </a:lnTo>
                    <a:lnTo>
                      <a:pt x="310" y="90"/>
                    </a:lnTo>
                    <a:lnTo>
                      <a:pt x="308" y="93"/>
                    </a:lnTo>
                    <a:lnTo>
                      <a:pt x="306" y="102"/>
                    </a:lnTo>
                    <a:lnTo>
                      <a:pt x="306" y="103"/>
                    </a:lnTo>
                    <a:lnTo>
                      <a:pt x="302" y="121"/>
                    </a:lnTo>
                    <a:lnTo>
                      <a:pt x="302" y="123"/>
                    </a:lnTo>
                    <a:lnTo>
                      <a:pt x="308" y="126"/>
                    </a:lnTo>
                    <a:lnTo>
                      <a:pt x="310" y="126"/>
                    </a:lnTo>
                    <a:lnTo>
                      <a:pt x="320" y="132"/>
                    </a:lnTo>
                    <a:lnTo>
                      <a:pt x="323" y="134"/>
                    </a:lnTo>
                    <a:lnTo>
                      <a:pt x="324" y="134"/>
                    </a:lnTo>
                    <a:lnTo>
                      <a:pt x="328" y="134"/>
                    </a:lnTo>
                    <a:lnTo>
                      <a:pt x="329" y="134"/>
                    </a:lnTo>
                    <a:lnTo>
                      <a:pt x="333" y="134"/>
                    </a:lnTo>
                    <a:lnTo>
                      <a:pt x="340" y="134"/>
                    </a:lnTo>
                    <a:lnTo>
                      <a:pt x="356" y="136"/>
                    </a:lnTo>
                    <a:lnTo>
                      <a:pt x="360" y="137"/>
                    </a:lnTo>
                    <a:lnTo>
                      <a:pt x="367" y="139"/>
                    </a:lnTo>
                    <a:lnTo>
                      <a:pt x="375" y="140"/>
                    </a:lnTo>
                    <a:lnTo>
                      <a:pt x="376" y="141"/>
                    </a:lnTo>
                    <a:lnTo>
                      <a:pt x="385" y="143"/>
                    </a:lnTo>
                    <a:lnTo>
                      <a:pt x="386" y="143"/>
                    </a:lnTo>
                    <a:lnTo>
                      <a:pt x="390" y="144"/>
                    </a:lnTo>
                    <a:lnTo>
                      <a:pt x="392" y="145"/>
                    </a:lnTo>
                    <a:lnTo>
                      <a:pt x="395" y="145"/>
                    </a:lnTo>
                    <a:lnTo>
                      <a:pt x="398" y="146"/>
                    </a:lnTo>
                    <a:lnTo>
                      <a:pt x="401" y="146"/>
                    </a:lnTo>
                    <a:lnTo>
                      <a:pt x="404" y="145"/>
                    </a:lnTo>
                    <a:lnTo>
                      <a:pt x="407" y="145"/>
                    </a:lnTo>
                    <a:lnTo>
                      <a:pt x="413" y="149"/>
                    </a:lnTo>
                    <a:lnTo>
                      <a:pt x="419" y="153"/>
                    </a:lnTo>
                    <a:lnTo>
                      <a:pt x="423" y="157"/>
                    </a:lnTo>
                    <a:lnTo>
                      <a:pt x="426" y="159"/>
                    </a:lnTo>
                    <a:lnTo>
                      <a:pt x="428" y="160"/>
                    </a:lnTo>
                    <a:lnTo>
                      <a:pt x="428" y="162"/>
                    </a:lnTo>
                    <a:lnTo>
                      <a:pt x="429" y="162"/>
                    </a:lnTo>
                    <a:lnTo>
                      <a:pt x="441" y="165"/>
                    </a:lnTo>
                    <a:lnTo>
                      <a:pt x="457" y="164"/>
                    </a:lnTo>
                    <a:lnTo>
                      <a:pt x="462" y="170"/>
                    </a:lnTo>
                    <a:lnTo>
                      <a:pt x="470" y="179"/>
                    </a:lnTo>
                    <a:lnTo>
                      <a:pt x="478" y="181"/>
                    </a:lnTo>
                    <a:close/>
                    <a:moveTo>
                      <a:pt x="360" y="350"/>
                    </a:moveTo>
                    <a:lnTo>
                      <a:pt x="360" y="351"/>
                    </a:lnTo>
                    <a:lnTo>
                      <a:pt x="359" y="351"/>
                    </a:lnTo>
                    <a:lnTo>
                      <a:pt x="359" y="352"/>
                    </a:lnTo>
                    <a:lnTo>
                      <a:pt x="358" y="352"/>
                    </a:lnTo>
                    <a:lnTo>
                      <a:pt x="357" y="352"/>
                    </a:lnTo>
                    <a:lnTo>
                      <a:pt x="356" y="353"/>
                    </a:lnTo>
                    <a:lnTo>
                      <a:pt x="355" y="355"/>
                    </a:lnTo>
                    <a:lnTo>
                      <a:pt x="354" y="355"/>
                    </a:lnTo>
                    <a:lnTo>
                      <a:pt x="354" y="356"/>
                    </a:lnTo>
                    <a:lnTo>
                      <a:pt x="353" y="356"/>
                    </a:lnTo>
                    <a:lnTo>
                      <a:pt x="352" y="356"/>
                    </a:lnTo>
                    <a:lnTo>
                      <a:pt x="352" y="357"/>
                    </a:lnTo>
                    <a:lnTo>
                      <a:pt x="351" y="357"/>
                    </a:lnTo>
                    <a:lnTo>
                      <a:pt x="350" y="357"/>
                    </a:lnTo>
                    <a:lnTo>
                      <a:pt x="349" y="358"/>
                    </a:lnTo>
                    <a:lnTo>
                      <a:pt x="347" y="358"/>
                    </a:lnTo>
                    <a:lnTo>
                      <a:pt x="346" y="358"/>
                    </a:lnTo>
                    <a:lnTo>
                      <a:pt x="345" y="359"/>
                    </a:lnTo>
                    <a:lnTo>
                      <a:pt x="344" y="359"/>
                    </a:lnTo>
                    <a:lnTo>
                      <a:pt x="343" y="359"/>
                    </a:lnTo>
                    <a:lnTo>
                      <a:pt x="342" y="359"/>
                    </a:lnTo>
                    <a:lnTo>
                      <a:pt x="341" y="359"/>
                    </a:lnTo>
                    <a:lnTo>
                      <a:pt x="340" y="359"/>
                    </a:lnTo>
                    <a:lnTo>
                      <a:pt x="339" y="358"/>
                    </a:lnTo>
                    <a:lnTo>
                      <a:pt x="337" y="358"/>
                    </a:lnTo>
                    <a:lnTo>
                      <a:pt x="337" y="359"/>
                    </a:lnTo>
                    <a:lnTo>
                      <a:pt x="337" y="360"/>
                    </a:lnTo>
                    <a:lnTo>
                      <a:pt x="338" y="361"/>
                    </a:lnTo>
                    <a:lnTo>
                      <a:pt x="337" y="362"/>
                    </a:lnTo>
                    <a:lnTo>
                      <a:pt x="337" y="363"/>
                    </a:lnTo>
                    <a:lnTo>
                      <a:pt x="336" y="363"/>
                    </a:lnTo>
                    <a:lnTo>
                      <a:pt x="334" y="363"/>
                    </a:lnTo>
                    <a:lnTo>
                      <a:pt x="336" y="364"/>
                    </a:lnTo>
                    <a:lnTo>
                      <a:pt x="336" y="365"/>
                    </a:lnTo>
                    <a:lnTo>
                      <a:pt x="336" y="366"/>
                    </a:lnTo>
                    <a:lnTo>
                      <a:pt x="336" y="368"/>
                    </a:lnTo>
                    <a:lnTo>
                      <a:pt x="334" y="368"/>
                    </a:lnTo>
                    <a:lnTo>
                      <a:pt x="334" y="369"/>
                    </a:lnTo>
                    <a:lnTo>
                      <a:pt x="334" y="370"/>
                    </a:lnTo>
                    <a:lnTo>
                      <a:pt x="333" y="370"/>
                    </a:lnTo>
                    <a:lnTo>
                      <a:pt x="333" y="371"/>
                    </a:lnTo>
                    <a:lnTo>
                      <a:pt x="332" y="371"/>
                    </a:lnTo>
                    <a:lnTo>
                      <a:pt x="331" y="371"/>
                    </a:lnTo>
                    <a:lnTo>
                      <a:pt x="330" y="371"/>
                    </a:lnTo>
                    <a:lnTo>
                      <a:pt x="330" y="372"/>
                    </a:lnTo>
                    <a:lnTo>
                      <a:pt x="330" y="373"/>
                    </a:lnTo>
                    <a:lnTo>
                      <a:pt x="330" y="374"/>
                    </a:lnTo>
                    <a:lnTo>
                      <a:pt x="330" y="375"/>
                    </a:lnTo>
                    <a:lnTo>
                      <a:pt x="329" y="375"/>
                    </a:lnTo>
                    <a:lnTo>
                      <a:pt x="329" y="376"/>
                    </a:lnTo>
                    <a:lnTo>
                      <a:pt x="328" y="376"/>
                    </a:lnTo>
                    <a:lnTo>
                      <a:pt x="327" y="376"/>
                    </a:lnTo>
                    <a:lnTo>
                      <a:pt x="327" y="375"/>
                    </a:lnTo>
                    <a:lnTo>
                      <a:pt x="327" y="374"/>
                    </a:lnTo>
                    <a:lnTo>
                      <a:pt x="327" y="373"/>
                    </a:lnTo>
                    <a:lnTo>
                      <a:pt x="328" y="373"/>
                    </a:lnTo>
                    <a:lnTo>
                      <a:pt x="329" y="373"/>
                    </a:lnTo>
                    <a:lnTo>
                      <a:pt x="329" y="372"/>
                    </a:lnTo>
                    <a:lnTo>
                      <a:pt x="328" y="371"/>
                    </a:lnTo>
                    <a:lnTo>
                      <a:pt x="329" y="370"/>
                    </a:lnTo>
                    <a:lnTo>
                      <a:pt x="330" y="369"/>
                    </a:lnTo>
                    <a:lnTo>
                      <a:pt x="330" y="368"/>
                    </a:lnTo>
                    <a:lnTo>
                      <a:pt x="330" y="366"/>
                    </a:lnTo>
                    <a:lnTo>
                      <a:pt x="329" y="366"/>
                    </a:lnTo>
                    <a:lnTo>
                      <a:pt x="328" y="366"/>
                    </a:lnTo>
                    <a:lnTo>
                      <a:pt x="327" y="366"/>
                    </a:lnTo>
                    <a:lnTo>
                      <a:pt x="326" y="368"/>
                    </a:lnTo>
                    <a:lnTo>
                      <a:pt x="323" y="368"/>
                    </a:lnTo>
                    <a:lnTo>
                      <a:pt x="323" y="366"/>
                    </a:lnTo>
                    <a:lnTo>
                      <a:pt x="321" y="366"/>
                    </a:lnTo>
                    <a:lnTo>
                      <a:pt x="323" y="365"/>
                    </a:lnTo>
                    <a:lnTo>
                      <a:pt x="324" y="364"/>
                    </a:lnTo>
                    <a:lnTo>
                      <a:pt x="325" y="364"/>
                    </a:lnTo>
                    <a:lnTo>
                      <a:pt x="326" y="364"/>
                    </a:lnTo>
                    <a:lnTo>
                      <a:pt x="326" y="363"/>
                    </a:lnTo>
                    <a:lnTo>
                      <a:pt x="327" y="363"/>
                    </a:lnTo>
                    <a:lnTo>
                      <a:pt x="328" y="362"/>
                    </a:lnTo>
                    <a:lnTo>
                      <a:pt x="328" y="361"/>
                    </a:lnTo>
                    <a:lnTo>
                      <a:pt x="327" y="361"/>
                    </a:lnTo>
                    <a:lnTo>
                      <a:pt x="327" y="360"/>
                    </a:lnTo>
                    <a:lnTo>
                      <a:pt x="326" y="360"/>
                    </a:lnTo>
                    <a:lnTo>
                      <a:pt x="325" y="359"/>
                    </a:lnTo>
                    <a:lnTo>
                      <a:pt x="325" y="358"/>
                    </a:lnTo>
                    <a:lnTo>
                      <a:pt x="326" y="358"/>
                    </a:lnTo>
                    <a:lnTo>
                      <a:pt x="327" y="358"/>
                    </a:lnTo>
                    <a:lnTo>
                      <a:pt x="327" y="357"/>
                    </a:lnTo>
                    <a:lnTo>
                      <a:pt x="327" y="356"/>
                    </a:lnTo>
                    <a:lnTo>
                      <a:pt x="326" y="356"/>
                    </a:lnTo>
                    <a:lnTo>
                      <a:pt x="326" y="355"/>
                    </a:lnTo>
                    <a:lnTo>
                      <a:pt x="325" y="355"/>
                    </a:lnTo>
                    <a:lnTo>
                      <a:pt x="324" y="353"/>
                    </a:lnTo>
                    <a:lnTo>
                      <a:pt x="325" y="353"/>
                    </a:lnTo>
                    <a:lnTo>
                      <a:pt x="326" y="353"/>
                    </a:lnTo>
                    <a:lnTo>
                      <a:pt x="327" y="353"/>
                    </a:lnTo>
                    <a:lnTo>
                      <a:pt x="328" y="353"/>
                    </a:lnTo>
                    <a:lnTo>
                      <a:pt x="329" y="355"/>
                    </a:lnTo>
                    <a:lnTo>
                      <a:pt x="329" y="353"/>
                    </a:lnTo>
                    <a:lnTo>
                      <a:pt x="330" y="352"/>
                    </a:lnTo>
                    <a:lnTo>
                      <a:pt x="329" y="352"/>
                    </a:lnTo>
                    <a:lnTo>
                      <a:pt x="329" y="351"/>
                    </a:lnTo>
                    <a:lnTo>
                      <a:pt x="330" y="351"/>
                    </a:lnTo>
                    <a:lnTo>
                      <a:pt x="331" y="350"/>
                    </a:lnTo>
                    <a:lnTo>
                      <a:pt x="330" y="349"/>
                    </a:lnTo>
                    <a:lnTo>
                      <a:pt x="331" y="349"/>
                    </a:lnTo>
                    <a:lnTo>
                      <a:pt x="332" y="349"/>
                    </a:lnTo>
                    <a:lnTo>
                      <a:pt x="333" y="349"/>
                    </a:lnTo>
                    <a:lnTo>
                      <a:pt x="332" y="350"/>
                    </a:lnTo>
                    <a:lnTo>
                      <a:pt x="332" y="351"/>
                    </a:lnTo>
                    <a:lnTo>
                      <a:pt x="333" y="351"/>
                    </a:lnTo>
                    <a:lnTo>
                      <a:pt x="334" y="351"/>
                    </a:lnTo>
                    <a:lnTo>
                      <a:pt x="334" y="350"/>
                    </a:lnTo>
                    <a:lnTo>
                      <a:pt x="333" y="350"/>
                    </a:lnTo>
                    <a:lnTo>
                      <a:pt x="334" y="349"/>
                    </a:lnTo>
                    <a:lnTo>
                      <a:pt x="336" y="348"/>
                    </a:lnTo>
                    <a:lnTo>
                      <a:pt x="337" y="348"/>
                    </a:lnTo>
                    <a:lnTo>
                      <a:pt x="338" y="348"/>
                    </a:lnTo>
                    <a:lnTo>
                      <a:pt x="338" y="349"/>
                    </a:lnTo>
                    <a:lnTo>
                      <a:pt x="339" y="349"/>
                    </a:lnTo>
                    <a:lnTo>
                      <a:pt x="339" y="350"/>
                    </a:lnTo>
                    <a:lnTo>
                      <a:pt x="340" y="350"/>
                    </a:lnTo>
                    <a:lnTo>
                      <a:pt x="341" y="350"/>
                    </a:lnTo>
                    <a:lnTo>
                      <a:pt x="341" y="349"/>
                    </a:lnTo>
                    <a:lnTo>
                      <a:pt x="340" y="349"/>
                    </a:lnTo>
                    <a:lnTo>
                      <a:pt x="339" y="348"/>
                    </a:lnTo>
                    <a:lnTo>
                      <a:pt x="339" y="347"/>
                    </a:lnTo>
                    <a:lnTo>
                      <a:pt x="347" y="345"/>
                    </a:lnTo>
                    <a:lnTo>
                      <a:pt x="360" y="340"/>
                    </a:lnTo>
                    <a:lnTo>
                      <a:pt x="365" y="338"/>
                    </a:lnTo>
                    <a:lnTo>
                      <a:pt x="366" y="337"/>
                    </a:lnTo>
                    <a:lnTo>
                      <a:pt x="366" y="338"/>
                    </a:lnTo>
                    <a:lnTo>
                      <a:pt x="366" y="339"/>
                    </a:lnTo>
                    <a:lnTo>
                      <a:pt x="366" y="340"/>
                    </a:lnTo>
                    <a:lnTo>
                      <a:pt x="365" y="340"/>
                    </a:lnTo>
                    <a:lnTo>
                      <a:pt x="365" y="342"/>
                    </a:lnTo>
                    <a:lnTo>
                      <a:pt x="364" y="343"/>
                    </a:lnTo>
                    <a:lnTo>
                      <a:pt x="364" y="344"/>
                    </a:lnTo>
                    <a:lnTo>
                      <a:pt x="363" y="344"/>
                    </a:lnTo>
                    <a:lnTo>
                      <a:pt x="363" y="345"/>
                    </a:lnTo>
                    <a:lnTo>
                      <a:pt x="362" y="346"/>
                    </a:lnTo>
                    <a:lnTo>
                      <a:pt x="362" y="347"/>
                    </a:lnTo>
                    <a:lnTo>
                      <a:pt x="362" y="348"/>
                    </a:lnTo>
                    <a:lnTo>
                      <a:pt x="362" y="349"/>
                    </a:lnTo>
                    <a:lnTo>
                      <a:pt x="360" y="350"/>
                    </a:lnTo>
                    <a:close/>
                    <a:moveTo>
                      <a:pt x="375" y="346"/>
                    </a:moveTo>
                    <a:lnTo>
                      <a:pt x="376" y="347"/>
                    </a:lnTo>
                    <a:lnTo>
                      <a:pt x="377" y="348"/>
                    </a:lnTo>
                    <a:lnTo>
                      <a:pt x="377" y="349"/>
                    </a:lnTo>
                    <a:lnTo>
                      <a:pt x="377" y="350"/>
                    </a:lnTo>
                    <a:lnTo>
                      <a:pt x="378" y="351"/>
                    </a:lnTo>
                    <a:lnTo>
                      <a:pt x="378" y="352"/>
                    </a:lnTo>
                    <a:lnTo>
                      <a:pt x="378" y="356"/>
                    </a:lnTo>
                    <a:lnTo>
                      <a:pt x="378" y="357"/>
                    </a:lnTo>
                    <a:lnTo>
                      <a:pt x="377" y="356"/>
                    </a:lnTo>
                    <a:lnTo>
                      <a:pt x="377" y="355"/>
                    </a:lnTo>
                    <a:lnTo>
                      <a:pt x="376" y="355"/>
                    </a:lnTo>
                    <a:lnTo>
                      <a:pt x="375" y="355"/>
                    </a:lnTo>
                    <a:lnTo>
                      <a:pt x="375" y="356"/>
                    </a:lnTo>
                    <a:lnTo>
                      <a:pt x="376" y="356"/>
                    </a:lnTo>
                    <a:lnTo>
                      <a:pt x="376" y="357"/>
                    </a:lnTo>
                    <a:lnTo>
                      <a:pt x="377" y="357"/>
                    </a:lnTo>
                    <a:lnTo>
                      <a:pt x="377" y="358"/>
                    </a:lnTo>
                    <a:lnTo>
                      <a:pt x="378" y="359"/>
                    </a:lnTo>
                    <a:lnTo>
                      <a:pt x="378" y="360"/>
                    </a:lnTo>
                    <a:lnTo>
                      <a:pt x="379" y="362"/>
                    </a:lnTo>
                    <a:lnTo>
                      <a:pt x="380" y="363"/>
                    </a:lnTo>
                    <a:lnTo>
                      <a:pt x="380" y="364"/>
                    </a:lnTo>
                    <a:lnTo>
                      <a:pt x="381" y="364"/>
                    </a:lnTo>
                    <a:lnTo>
                      <a:pt x="381" y="365"/>
                    </a:lnTo>
                    <a:lnTo>
                      <a:pt x="381" y="366"/>
                    </a:lnTo>
                    <a:lnTo>
                      <a:pt x="380" y="366"/>
                    </a:lnTo>
                    <a:lnTo>
                      <a:pt x="380" y="365"/>
                    </a:lnTo>
                    <a:lnTo>
                      <a:pt x="380" y="364"/>
                    </a:lnTo>
                    <a:lnTo>
                      <a:pt x="379" y="363"/>
                    </a:lnTo>
                    <a:lnTo>
                      <a:pt x="378" y="362"/>
                    </a:lnTo>
                    <a:lnTo>
                      <a:pt x="377" y="360"/>
                    </a:lnTo>
                    <a:lnTo>
                      <a:pt x="376" y="360"/>
                    </a:lnTo>
                    <a:lnTo>
                      <a:pt x="376" y="359"/>
                    </a:lnTo>
                    <a:lnTo>
                      <a:pt x="375" y="359"/>
                    </a:lnTo>
                    <a:lnTo>
                      <a:pt x="373" y="359"/>
                    </a:lnTo>
                    <a:lnTo>
                      <a:pt x="373" y="360"/>
                    </a:lnTo>
                    <a:lnTo>
                      <a:pt x="375" y="360"/>
                    </a:lnTo>
                    <a:lnTo>
                      <a:pt x="376" y="361"/>
                    </a:lnTo>
                    <a:lnTo>
                      <a:pt x="376" y="362"/>
                    </a:lnTo>
                    <a:lnTo>
                      <a:pt x="377" y="362"/>
                    </a:lnTo>
                    <a:lnTo>
                      <a:pt x="377" y="363"/>
                    </a:lnTo>
                    <a:lnTo>
                      <a:pt x="377" y="364"/>
                    </a:lnTo>
                    <a:lnTo>
                      <a:pt x="376" y="364"/>
                    </a:lnTo>
                    <a:lnTo>
                      <a:pt x="375" y="364"/>
                    </a:lnTo>
                    <a:lnTo>
                      <a:pt x="373" y="363"/>
                    </a:lnTo>
                    <a:lnTo>
                      <a:pt x="372" y="363"/>
                    </a:lnTo>
                    <a:lnTo>
                      <a:pt x="372" y="362"/>
                    </a:lnTo>
                    <a:lnTo>
                      <a:pt x="371" y="362"/>
                    </a:lnTo>
                    <a:lnTo>
                      <a:pt x="371" y="363"/>
                    </a:lnTo>
                    <a:lnTo>
                      <a:pt x="371" y="364"/>
                    </a:lnTo>
                    <a:lnTo>
                      <a:pt x="372" y="365"/>
                    </a:lnTo>
                    <a:lnTo>
                      <a:pt x="376" y="366"/>
                    </a:lnTo>
                    <a:lnTo>
                      <a:pt x="376" y="368"/>
                    </a:lnTo>
                    <a:lnTo>
                      <a:pt x="375" y="368"/>
                    </a:lnTo>
                    <a:lnTo>
                      <a:pt x="375" y="369"/>
                    </a:lnTo>
                    <a:lnTo>
                      <a:pt x="375" y="370"/>
                    </a:lnTo>
                    <a:lnTo>
                      <a:pt x="375" y="371"/>
                    </a:lnTo>
                    <a:lnTo>
                      <a:pt x="376" y="371"/>
                    </a:lnTo>
                    <a:lnTo>
                      <a:pt x="377" y="371"/>
                    </a:lnTo>
                    <a:lnTo>
                      <a:pt x="378" y="371"/>
                    </a:lnTo>
                    <a:lnTo>
                      <a:pt x="379" y="371"/>
                    </a:lnTo>
                    <a:lnTo>
                      <a:pt x="380" y="372"/>
                    </a:lnTo>
                    <a:lnTo>
                      <a:pt x="381" y="372"/>
                    </a:lnTo>
                    <a:lnTo>
                      <a:pt x="383" y="373"/>
                    </a:lnTo>
                    <a:lnTo>
                      <a:pt x="382" y="373"/>
                    </a:lnTo>
                    <a:lnTo>
                      <a:pt x="381" y="373"/>
                    </a:lnTo>
                    <a:lnTo>
                      <a:pt x="378" y="372"/>
                    </a:lnTo>
                    <a:lnTo>
                      <a:pt x="376" y="373"/>
                    </a:lnTo>
                    <a:lnTo>
                      <a:pt x="375" y="373"/>
                    </a:lnTo>
                    <a:lnTo>
                      <a:pt x="375" y="372"/>
                    </a:lnTo>
                    <a:lnTo>
                      <a:pt x="373" y="372"/>
                    </a:lnTo>
                    <a:lnTo>
                      <a:pt x="372" y="373"/>
                    </a:lnTo>
                    <a:lnTo>
                      <a:pt x="372" y="375"/>
                    </a:lnTo>
                    <a:lnTo>
                      <a:pt x="371" y="376"/>
                    </a:lnTo>
                    <a:lnTo>
                      <a:pt x="371" y="377"/>
                    </a:lnTo>
                    <a:lnTo>
                      <a:pt x="371" y="378"/>
                    </a:lnTo>
                    <a:lnTo>
                      <a:pt x="371" y="380"/>
                    </a:lnTo>
                    <a:lnTo>
                      <a:pt x="372" y="380"/>
                    </a:lnTo>
                    <a:lnTo>
                      <a:pt x="371" y="381"/>
                    </a:lnTo>
                    <a:lnTo>
                      <a:pt x="371" y="382"/>
                    </a:lnTo>
                    <a:lnTo>
                      <a:pt x="371" y="383"/>
                    </a:lnTo>
                    <a:lnTo>
                      <a:pt x="372" y="383"/>
                    </a:lnTo>
                    <a:lnTo>
                      <a:pt x="372" y="384"/>
                    </a:lnTo>
                    <a:lnTo>
                      <a:pt x="372" y="385"/>
                    </a:lnTo>
                    <a:lnTo>
                      <a:pt x="371" y="385"/>
                    </a:lnTo>
                    <a:lnTo>
                      <a:pt x="369" y="385"/>
                    </a:lnTo>
                    <a:lnTo>
                      <a:pt x="369" y="384"/>
                    </a:lnTo>
                    <a:lnTo>
                      <a:pt x="368" y="384"/>
                    </a:lnTo>
                    <a:lnTo>
                      <a:pt x="368" y="383"/>
                    </a:lnTo>
                    <a:lnTo>
                      <a:pt x="367" y="383"/>
                    </a:lnTo>
                    <a:lnTo>
                      <a:pt x="366" y="383"/>
                    </a:lnTo>
                    <a:lnTo>
                      <a:pt x="366" y="382"/>
                    </a:lnTo>
                    <a:lnTo>
                      <a:pt x="366" y="381"/>
                    </a:lnTo>
                    <a:lnTo>
                      <a:pt x="367" y="378"/>
                    </a:lnTo>
                    <a:lnTo>
                      <a:pt x="367" y="377"/>
                    </a:lnTo>
                    <a:lnTo>
                      <a:pt x="367" y="375"/>
                    </a:lnTo>
                    <a:lnTo>
                      <a:pt x="367" y="374"/>
                    </a:lnTo>
                    <a:lnTo>
                      <a:pt x="367" y="373"/>
                    </a:lnTo>
                    <a:lnTo>
                      <a:pt x="367" y="372"/>
                    </a:lnTo>
                    <a:lnTo>
                      <a:pt x="367" y="371"/>
                    </a:lnTo>
                    <a:lnTo>
                      <a:pt x="366" y="369"/>
                    </a:lnTo>
                    <a:lnTo>
                      <a:pt x="366" y="368"/>
                    </a:lnTo>
                    <a:lnTo>
                      <a:pt x="366" y="364"/>
                    </a:lnTo>
                    <a:lnTo>
                      <a:pt x="365" y="363"/>
                    </a:lnTo>
                    <a:lnTo>
                      <a:pt x="365" y="362"/>
                    </a:lnTo>
                    <a:lnTo>
                      <a:pt x="365" y="361"/>
                    </a:lnTo>
                    <a:lnTo>
                      <a:pt x="365" y="360"/>
                    </a:lnTo>
                    <a:lnTo>
                      <a:pt x="366" y="358"/>
                    </a:lnTo>
                    <a:lnTo>
                      <a:pt x="366" y="357"/>
                    </a:lnTo>
                    <a:lnTo>
                      <a:pt x="366" y="356"/>
                    </a:lnTo>
                    <a:lnTo>
                      <a:pt x="366" y="355"/>
                    </a:lnTo>
                    <a:lnTo>
                      <a:pt x="367" y="353"/>
                    </a:lnTo>
                    <a:lnTo>
                      <a:pt x="367" y="352"/>
                    </a:lnTo>
                    <a:lnTo>
                      <a:pt x="368" y="351"/>
                    </a:lnTo>
                    <a:lnTo>
                      <a:pt x="368" y="350"/>
                    </a:lnTo>
                    <a:lnTo>
                      <a:pt x="369" y="348"/>
                    </a:lnTo>
                    <a:lnTo>
                      <a:pt x="369" y="347"/>
                    </a:lnTo>
                    <a:lnTo>
                      <a:pt x="370" y="347"/>
                    </a:lnTo>
                    <a:lnTo>
                      <a:pt x="370" y="346"/>
                    </a:lnTo>
                    <a:lnTo>
                      <a:pt x="371" y="346"/>
                    </a:lnTo>
                    <a:lnTo>
                      <a:pt x="372" y="346"/>
                    </a:lnTo>
                    <a:lnTo>
                      <a:pt x="372" y="345"/>
                    </a:lnTo>
                    <a:lnTo>
                      <a:pt x="372" y="344"/>
                    </a:lnTo>
                    <a:lnTo>
                      <a:pt x="373" y="344"/>
                    </a:lnTo>
                    <a:lnTo>
                      <a:pt x="375" y="345"/>
                    </a:lnTo>
                    <a:lnTo>
                      <a:pt x="375" y="346"/>
                    </a:lnTo>
                    <a:close/>
                    <a:moveTo>
                      <a:pt x="346" y="371"/>
                    </a:moveTo>
                    <a:lnTo>
                      <a:pt x="346" y="372"/>
                    </a:lnTo>
                    <a:lnTo>
                      <a:pt x="347" y="373"/>
                    </a:lnTo>
                    <a:lnTo>
                      <a:pt x="347" y="374"/>
                    </a:lnTo>
                    <a:lnTo>
                      <a:pt x="349" y="375"/>
                    </a:lnTo>
                    <a:lnTo>
                      <a:pt x="350" y="377"/>
                    </a:lnTo>
                    <a:lnTo>
                      <a:pt x="350" y="380"/>
                    </a:lnTo>
                    <a:lnTo>
                      <a:pt x="349" y="380"/>
                    </a:lnTo>
                    <a:lnTo>
                      <a:pt x="347" y="381"/>
                    </a:lnTo>
                    <a:lnTo>
                      <a:pt x="347" y="382"/>
                    </a:lnTo>
                    <a:lnTo>
                      <a:pt x="349" y="382"/>
                    </a:lnTo>
                    <a:lnTo>
                      <a:pt x="349" y="383"/>
                    </a:lnTo>
                    <a:lnTo>
                      <a:pt x="350" y="383"/>
                    </a:lnTo>
                    <a:lnTo>
                      <a:pt x="350" y="384"/>
                    </a:lnTo>
                    <a:lnTo>
                      <a:pt x="350" y="385"/>
                    </a:lnTo>
                    <a:lnTo>
                      <a:pt x="350" y="386"/>
                    </a:lnTo>
                    <a:lnTo>
                      <a:pt x="350" y="387"/>
                    </a:lnTo>
                    <a:lnTo>
                      <a:pt x="350" y="388"/>
                    </a:lnTo>
                    <a:lnTo>
                      <a:pt x="350" y="389"/>
                    </a:lnTo>
                    <a:lnTo>
                      <a:pt x="350" y="390"/>
                    </a:lnTo>
                    <a:lnTo>
                      <a:pt x="350" y="391"/>
                    </a:lnTo>
                    <a:lnTo>
                      <a:pt x="350" y="393"/>
                    </a:lnTo>
                    <a:lnTo>
                      <a:pt x="349" y="394"/>
                    </a:lnTo>
                    <a:lnTo>
                      <a:pt x="349" y="395"/>
                    </a:lnTo>
                    <a:lnTo>
                      <a:pt x="349" y="396"/>
                    </a:lnTo>
                    <a:lnTo>
                      <a:pt x="347" y="397"/>
                    </a:lnTo>
                    <a:lnTo>
                      <a:pt x="346" y="397"/>
                    </a:lnTo>
                    <a:lnTo>
                      <a:pt x="346" y="396"/>
                    </a:lnTo>
                    <a:lnTo>
                      <a:pt x="345" y="396"/>
                    </a:lnTo>
                    <a:lnTo>
                      <a:pt x="346" y="395"/>
                    </a:lnTo>
                    <a:lnTo>
                      <a:pt x="347" y="394"/>
                    </a:lnTo>
                    <a:lnTo>
                      <a:pt x="347" y="393"/>
                    </a:lnTo>
                    <a:lnTo>
                      <a:pt x="347" y="391"/>
                    </a:lnTo>
                    <a:lnTo>
                      <a:pt x="349" y="391"/>
                    </a:lnTo>
                    <a:lnTo>
                      <a:pt x="349" y="390"/>
                    </a:lnTo>
                    <a:lnTo>
                      <a:pt x="349" y="389"/>
                    </a:lnTo>
                    <a:lnTo>
                      <a:pt x="349" y="388"/>
                    </a:lnTo>
                    <a:lnTo>
                      <a:pt x="347" y="387"/>
                    </a:lnTo>
                    <a:lnTo>
                      <a:pt x="347" y="386"/>
                    </a:lnTo>
                    <a:lnTo>
                      <a:pt x="346" y="386"/>
                    </a:lnTo>
                    <a:lnTo>
                      <a:pt x="345" y="384"/>
                    </a:lnTo>
                    <a:lnTo>
                      <a:pt x="345" y="383"/>
                    </a:lnTo>
                    <a:lnTo>
                      <a:pt x="345" y="382"/>
                    </a:lnTo>
                    <a:lnTo>
                      <a:pt x="345" y="381"/>
                    </a:lnTo>
                    <a:lnTo>
                      <a:pt x="344" y="381"/>
                    </a:lnTo>
                    <a:lnTo>
                      <a:pt x="344" y="383"/>
                    </a:lnTo>
                    <a:lnTo>
                      <a:pt x="344" y="384"/>
                    </a:lnTo>
                    <a:lnTo>
                      <a:pt x="343" y="384"/>
                    </a:lnTo>
                    <a:lnTo>
                      <a:pt x="343" y="383"/>
                    </a:lnTo>
                    <a:lnTo>
                      <a:pt x="343" y="381"/>
                    </a:lnTo>
                    <a:lnTo>
                      <a:pt x="343" y="380"/>
                    </a:lnTo>
                    <a:lnTo>
                      <a:pt x="342" y="380"/>
                    </a:lnTo>
                    <a:lnTo>
                      <a:pt x="342" y="381"/>
                    </a:lnTo>
                    <a:lnTo>
                      <a:pt x="341" y="381"/>
                    </a:lnTo>
                    <a:lnTo>
                      <a:pt x="341" y="382"/>
                    </a:lnTo>
                    <a:lnTo>
                      <a:pt x="341" y="383"/>
                    </a:lnTo>
                    <a:lnTo>
                      <a:pt x="340" y="384"/>
                    </a:lnTo>
                    <a:lnTo>
                      <a:pt x="339" y="384"/>
                    </a:lnTo>
                    <a:lnTo>
                      <a:pt x="339" y="383"/>
                    </a:lnTo>
                    <a:lnTo>
                      <a:pt x="338" y="384"/>
                    </a:lnTo>
                    <a:lnTo>
                      <a:pt x="338" y="385"/>
                    </a:lnTo>
                    <a:lnTo>
                      <a:pt x="339" y="385"/>
                    </a:lnTo>
                    <a:lnTo>
                      <a:pt x="338" y="386"/>
                    </a:lnTo>
                    <a:lnTo>
                      <a:pt x="338" y="388"/>
                    </a:lnTo>
                    <a:lnTo>
                      <a:pt x="339" y="388"/>
                    </a:lnTo>
                    <a:lnTo>
                      <a:pt x="339" y="389"/>
                    </a:lnTo>
                    <a:lnTo>
                      <a:pt x="339" y="390"/>
                    </a:lnTo>
                    <a:lnTo>
                      <a:pt x="339" y="393"/>
                    </a:lnTo>
                    <a:lnTo>
                      <a:pt x="339" y="394"/>
                    </a:lnTo>
                    <a:lnTo>
                      <a:pt x="338" y="394"/>
                    </a:lnTo>
                    <a:lnTo>
                      <a:pt x="338" y="393"/>
                    </a:lnTo>
                    <a:lnTo>
                      <a:pt x="338" y="391"/>
                    </a:lnTo>
                    <a:lnTo>
                      <a:pt x="337" y="390"/>
                    </a:lnTo>
                    <a:lnTo>
                      <a:pt x="337" y="389"/>
                    </a:lnTo>
                    <a:lnTo>
                      <a:pt x="337" y="388"/>
                    </a:lnTo>
                    <a:lnTo>
                      <a:pt x="337" y="387"/>
                    </a:lnTo>
                    <a:lnTo>
                      <a:pt x="337" y="386"/>
                    </a:lnTo>
                    <a:lnTo>
                      <a:pt x="337" y="385"/>
                    </a:lnTo>
                    <a:lnTo>
                      <a:pt x="336" y="384"/>
                    </a:lnTo>
                    <a:lnTo>
                      <a:pt x="336" y="383"/>
                    </a:lnTo>
                    <a:lnTo>
                      <a:pt x="336" y="382"/>
                    </a:lnTo>
                    <a:lnTo>
                      <a:pt x="334" y="382"/>
                    </a:lnTo>
                    <a:lnTo>
                      <a:pt x="333" y="383"/>
                    </a:lnTo>
                    <a:lnTo>
                      <a:pt x="333" y="384"/>
                    </a:lnTo>
                    <a:lnTo>
                      <a:pt x="334" y="385"/>
                    </a:lnTo>
                    <a:lnTo>
                      <a:pt x="334" y="386"/>
                    </a:lnTo>
                    <a:lnTo>
                      <a:pt x="334" y="388"/>
                    </a:lnTo>
                    <a:lnTo>
                      <a:pt x="334" y="389"/>
                    </a:lnTo>
                    <a:lnTo>
                      <a:pt x="334" y="390"/>
                    </a:lnTo>
                    <a:lnTo>
                      <a:pt x="334" y="391"/>
                    </a:lnTo>
                    <a:lnTo>
                      <a:pt x="334" y="395"/>
                    </a:lnTo>
                    <a:lnTo>
                      <a:pt x="334" y="396"/>
                    </a:lnTo>
                    <a:lnTo>
                      <a:pt x="334" y="397"/>
                    </a:lnTo>
                    <a:lnTo>
                      <a:pt x="334" y="396"/>
                    </a:lnTo>
                    <a:lnTo>
                      <a:pt x="334" y="394"/>
                    </a:lnTo>
                    <a:lnTo>
                      <a:pt x="333" y="393"/>
                    </a:lnTo>
                    <a:lnTo>
                      <a:pt x="333" y="391"/>
                    </a:lnTo>
                    <a:lnTo>
                      <a:pt x="333" y="390"/>
                    </a:lnTo>
                    <a:lnTo>
                      <a:pt x="333" y="389"/>
                    </a:lnTo>
                    <a:lnTo>
                      <a:pt x="333" y="387"/>
                    </a:lnTo>
                    <a:lnTo>
                      <a:pt x="332" y="386"/>
                    </a:lnTo>
                    <a:lnTo>
                      <a:pt x="332" y="385"/>
                    </a:lnTo>
                    <a:lnTo>
                      <a:pt x="333" y="385"/>
                    </a:lnTo>
                    <a:lnTo>
                      <a:pt x="333" y="383"/>
                    </a:lnTo>
                    <a:lnTo>
                      <a:pt x="332" y="382"/>
                    </a:lnTo>
                    <a:lnTo>
                      <a:pt x="333" y="381"/>
                    </a:lnTo>
                    <a:lnTo>
                      <a:pt x="334" y="381"/>
                    </a:lnTo>
                    <a:lnTo>
                      <a:pt x="334" y="380"/>
                    </a:lnTo>
                    <a:lnTo>
                      <a:pt x="334" y="378"/>
                    </a:lnTo>
                    <a:lnTo>
                      <a:pt x="336" y="377"/>
                    </a:lnTo>
                    <a:lnTo>
                      <a:pt x="336" y="376"/>
                    </a:lnTo>
                    <a:lnTo>
                      <a:pt x="337" y="376"/>
                    </a:lnTo>
                    <a:lnTo>
                      <a:pt x="338" y="376"/>
                    </a:lnTo>
                    <a:lnTo>
                      <a:pt x="338" y="375"/>
                    </a:lnTo>
                    <a:lnTo>
                      <a:pt x="339" y="375"/>
                    </a:lnTo>
                    <a:lnTo>
                      <a:pt x="339" y="374"/>
                    </a:lnTo>
                    <a:lnTo>
                      <a:pt x="340" y="374"/>
                    </a:lnTo>
                    <a:lnTo>
                      <a:pt x="341" y="374"/>
                    </a:lnTo>
                    <a:lnTo>
                      <a:pt x="342" y="374"/>
                    </a:lnTo>
                    <a:lnTo>
                      <a:pt x="342" y="373"/>
                    </a:lnTo>
                    <a:lnTo>
                      <a:pt x="343" y="373"/>
                    </a:lnTo>
                    <a:lnTo>
                      <a:pt x="343" y="372"/>
                    </a:lnTo>
                    <a:lnTo>
                      <a:pt x="344" y="372"/>
                    </a:lnTo>
                    <a:lnTo>
                      <a:pt x="345" y="371"/>
                    </a:lnTo>
                    <a:lnTo>
                      <a:pt x="346" y="371"/>
                    </a:lnTo>
                    <a:close/>
                    <a:moveTo>
                      <a:pt x="363" y="360"/>
                    </a:moveTo>
                    <a:lnTo>
                      <a:pt x="364" y="362"/>
                    </a:lnTo>
                    <a:lnTo>
                      <a:pt x="364" y="363"/>
                    </a:lnTo>
                    <a:lnTo>
                      <a:pt x="364" y="364"/>
                    </a:lnTo>
                    <a:lnTo>
                      <a:pt x="364" y="368"/>
                    </a:lnTo>
                    <a:lnTo>
                      <a:pt x="364" y="369"/>
                    </a:lnTo>
                    <a:lnTo>
                      <a:pt x="365" y="369"/>
                    </a:lnTo>
                    <a:lnTo>
                      <a:pt x="365" y="370"/>
                    </a:lnTo>
                    <a:lnTo>
                      <a:pt x="365" y="371"/>
                    </a:lnTo>
                    <a:lnTo>
                      <a:pt x="365" y="372"/>
                    </a:lnTo>
                    <a:lnTo>
                      <a:pt x="366" y="373"/>
                    </a:lnTo>
                    <a:lnTo>
                      <a:pt x="366" y="374"/>
                    </a:lnTo>
                    <a:lnTo>
                      <a:pt x="366" y="375"/>
                    </a:lnTo>
                    <a:lnTo>
                      <a:pt x="366" y="377"/>
                    </a:lnTo>
                    <a:lnTo>
                      <a:pt x="366" y="380"/>
                    </a:lnTo>
                    <a:lnTo>
                      <a:pt x="365" y="381"/>
                    </a:lnTo>
                    <a:lnTo>
                      <a:pt x="365" y="382"/>
                    </a:lnTo>
                    <a:lnTo>
                      <a:pt x="365" y="381"/>
                    </a:lnTo>
                    <a:lnTo>
                      <a:pt x="365" y="380"/>
                    </a:lnTo>
                    <a:lnTo>
                      <a:pt x="365" y="376"/>
                    </a:lnTo>
                    <a:lnTo>
                      <a:pt x="365" y="375"/>
                    </a:lnTo>
                    <a:lnTo>
                      <a:pt x="365" y="376"/>
                    </a:lnTo>
                    <a:lnTo>
                      <a:pt x="364" y="377"/>
                    </a:lnTo>
                    <a:lnTo>
                      <a:pt x="364" y="378"/>
                    </a:lnTo>
                    <a:lnTo>
                      <a:pt x="363" y="378"/>
                    </a:lnTo>
                    <a:lnTo>
                      <a:pt x="363" y="380"/>
                    </a:lnTo>
                    <a:lnTo>
                      <a:pt x="363" y="381"/>
                    </a:lnTo>
                    <a:lnTo>
                      <a:pt x="362" y="382"/>
                    </a:lnTo>
                    <a:lnTo>
                      <a:pt x="360" y="382"/>
                    </a:lnTo>
                    <a:lnTo>
                      <a:pt x="360" y="383"/>
                    </a:lnTo>
                    <a:lnTo>
                      <a:pt x="360" y="384"/>
                    </a:lnTo>
                    <a:lnTo>
                      <a:pt x="359" y="385"/>
                    </a:lnTo>
                    <a:lnTo>
                      <a:pt x="358" y="385"/>
                    </a:lnTo>
                    <a:lnTo>
                      <a:pt x="358" y="384"/>
                    </a:lnTo>
                    <a:lnTo>
                      <a:pt x="358" y="383"/>
                    </a:lnTo>
                    <a:lnTo>
                      <a:pt x="359" y="383"/>
                    </a:lnTo>
                    <a:lnTo>
                      <a:pt x="359" y="382"/>
                    </a:lnTo>
                    <a:lnTo>
                      <a:pt x="359" y="381"/>
                    </a:lnTo>
                    <a:lnTo>
                      <a:pt x="359" y="380"/>
                    </a:lnTo>
                    <a:lnTo>
                      <a:pt x="360" y="380"/>
                    </a:lnTo>
                    <a:lnTo>
                      <a:pt x="360" y="378"/>
                    </a:lnTo>
                    <a:lnTo>
                      <a:pt x="362" y="378"/>
                    </a:lnTo>
                    <a:lnTo>
                      <a:pt x="362" y="377"/>
                    </a:lnTo>
                    <a:lnTo>
                      <a:pt x="362" y="376"/>
                    </a:lnTo>
                    <a:lnTo>
                      <a:pt x="363" y="375"/>
                    </a:lnTo>
                    <a:lnTo>
                      <a:pt x="363" y="374"/>
                    </a:lnTo>
                    <a:lnTo>
                      <a:pt x="364" y="374"/>
                    </a:lnTo>
                    <a:lnTo>
                      <a:pt x="364" y="373"/>
                    </a:lnTo>
                    <a:lnTo>
                      <a:pt x="364" y="372"/>
                    </a:lnTo>
                    <a:lnTo>
                      <a:pt x="363" y="372"/>
                    </a:lnTo>
                    <a:lnTo>
                      <a:pt x="363" y="373"/>
                    </a:lnTo>
                    <a:lnTo>
                      <a:pt x="362" y="373"/>
                    </a:lnTo>
                    <a:lnTo>
                      <a:pt x="360" y="374"/>
                    </a:lnTo>
                    <a:lnTo>
                      <a:pt x="359" y="373"/>
                    </a:lnTo>
                    <a:lnTo>
                      <a:pt x="358" y="373"/>
                    </a:lnTo>
                    <a:lnTo>
                      <a:pt x="359" y="372"/>
                    </a:lnTo>
                    <a:lnTo>
                      <a:pt x="360" y="371"/>
                    </a:lnTo>
                    <a:lnTo>
                      <a:pt x="362" y="370"/>
                    </a:lnTo>
                    <a:lnTo>
                      <a:pt x="362" y="369"/>
                    </a:lnTo>
                    <a:lnTo>
                      <a:pt x="362" y="368"/>
                    </a:lnTo>
                    <a:lnTo>
                      <a:pt x="360" y="368"/>
                    </a:lnTo>
                    <a:lnTo>
                      <a:pt x="359" y="368"/>
                    </a:lnTo>
                    <a:lnTo>
                      <a:pt x="359" y="365"/>
                    </a:lnTo>
                    <a:lnTo>
                      <a:pt x="358" y="364"/>
                    </a:lnTo>
                    <a:lnTo>
                      <a:pt x="358" y="365"/>
                    </a:lnTo>
                    <a:lnTo>
                      <a:pt x="357" y="365"/>
                    </a:lnTo>
                    <a:lnTo>
                      <a:pt x="357" y="366"/>
                    </a:lnTo>
                    <a:lnTo>
                      <a:pt x="355" y="366"/>
                    </a:lnTo>
                    <a:lnTo>
                      <a:pt x="354" y="365"/>
                    </a:lnTo>
                    <a:lnTo>
                      <a:pt x="353" y="368"/>
                    </a:lnTo>
                    <a:lnTo>
                      <a:pt x="353" y="369"/>
                    </a:lnTo>
                    <a:lnTo>
                      <a:pt x="354" y="369"/>
                    </a:lnTo>
                    <a:lnTo>
                      <a:pt x="354" y="370"/>
                    </a:lnTo>
                    <a:lnTo>
                      <a:pt x="353" y="370"/>
                    </a:lnTo>
                    <a:lnTo>
                      <a:pt x="353" y="371"/>
                    </a:lnTo>
                    <a:lnTo>
                      <a:pt x="352" y="371"/>
                    </a:lnTo>
                    <a:lnTo>
                      <a:pt x="351" y="372"/>
                    </a:lnTo>
                    <a:lnTo>
                      <a:pt x="351" y="373"/>
                    </a:lnTo>
                    <a:lnTo>
                      <a:pt x="351" y="374"/>
                    </a:lnTo>
                    <a:lnTo>
                      <a:pt x="351" y="375"/>
                    </a:lnTo>
                    <a:lnTo>
                      <a:pt x="352" y="376"/>
                    </a:lnTo>
                    <a:lnTo>
                      <a:pt x="352" y="377"/>
                    </a:lnTo>
                    <a:lnTo>
                      <a:pt x="351" y="377"/>
                    </a:lnTo>
                    <a:lnTo>
                      <a:pt x="351" y="376"/>
                    </a:lnTo>
                    <a:lnTo>
                      <a:pt x="350" y="374"/>
                    </a:lnTo>
                    <a:lnTo>
                      <a:pt x="349" y="373"/>
                    </a:lnTo>
                    <a:lnTo>
                      <a:pt x="349" y="372"/>
                    </a:lnTo>
                    <a:lnTo>
                      <a:pt x="349" y="371"/>
                    </a:lnTo>
                    <a:lnTo>
                      <a:pt x="347" y="371"/>
                    </a:lnTo>
                    <a:lnTo>
                      <a:pt x="349" y="370"/>
                    </a:lnTo>
                    <a:lnTo>
                      <a:pt x="349" y="369"/>
                    </a:lnTo>
                    <a:lnTo>
                      <a:pt x="350" y="368"/>
                    </a:lnTo>
                    <a:lnTo>
                      <a:pt x="351" y="365"/>
                    </a:lnTo>
                    <a:lnTo>
                      <a:pt x="352" y="364"/>
                    </a:lnTo>
                    <a:lnTo>
                      <a:pt x="352" y="363"/>
                    </a:lnTo>
                    <a:lnTo>
                      <a:pt x="353" y="363"/>
                    </a:lnTo>
                    <a:lnTo>
                      <a:pt x="354" y="363"/>
                    </a:lnTo>
                    <a:lnTo>
                      <a:pt x="355" y="363"/>
                    </a:lnTo>
                    <a:lnTo>
                      <a:pt x="355" y="362"/>
                    </a:lnTo>
                    <a:lnTo>
                      <a:pt x="355" y="361"/>
                    </a:lnTo>
                    <a:lnTo>
                      <a:pt x="356" y="361"/>
                    </a:lnTo>
                    <a:lnTo>
                      <a:pt x="357" y="361"/>
                    </a:lnTo>
                    <a:lnTo>
                      <a:pt x="357" y="360"/>
                    </a:lnTo>
                    <a:lnTo>
                      <a:pt x="358" y="360"/>
                    </a:lnTo>
                    <a:lnTo>
                      <a:pt x="358" y="359"/>
                    </a:lnTo>
                    <a:lnTo>
                      <a:pt x="359" y="359"/>
                    </a:lnTo>
                    <a:lnTo>
                      <a:pt x="359" y="358"/>
                    </a:lnTo>
                    <a:lnTo>
                      <a:pt x="360" y="358"/>
                    </a:lnTo>
                    <a:lnTo>
                      <a:pt x="362" y="359"/>
                    </a:lnTo>
                    <a:lnTo>
                      <a:pt x="363" y="360"/>
                    </a:lnTo>
                    <a:close/>
                    <a:moveTo>
                      <a:pt x="347" y="339"/>
                    </a:moveTo>
                    <a:lnTo>
                      <a:pt x="349" y="339"/>
                    </a:lnTo>
                    <a:lnTo>
                      <a:pt x="350" y="339"/>
                    </a:lnTo>
                    <a:lnTo>
                      <a:pt x="353" y="339"/>
                    </a:lnTo>
                    <a:lnTo>
                      <a:pt x="354" y="340"/>
                    </a:lnTo>
                    <a:lnTo>
                      <a:pt x="355" y="340"/>
                    </a:lnTo>
                    <a:lnTo>
                      <a:pt x="356" y="340"/>
                    </a:lnTo>
                    <a:lnTo>
                      <a:pt x="355" y="340"/>
                    </a:lnTo>
                    <a:lnTo>
                      <a:pt x="355" y="342"/>
                    </a:lnTo>
                    <a:lnTo>
                      <a:pt x="354" y="342"/>
                    </a:lnTo>
                    <a:lnTo>
                      <a:pt x="353" y="342"/>
                    </a:lnTo>
                    <a:lnTo>
                      <a:pt x="351" y="343"/>
                    </a:lnTo>
                    <a:lnTo>
                      <a:pt x="350" y="343"/>
                    </a:lnTo>
                    <a:lnTo>
                      <a:pt x="349" y="343"/>
                    </a:lnTo>
                    <a:lnTo>
                      <a:pt x="347" y="344"/>
                    </a:lnTo>
                    <a:lnTo>
                      <a:pt x="346" y="344"/>
                    </a:lnTo>
                    <a:lnTo>
                      <a:pt x="345" y="344"/>
                    </a:lnTo>
                    <a:lnTo>
                      <a:pt x="344" y="345"/>
                    </a:lnTo>
                    <a:lnTo>
                      <a:pt x="343" y="345"/>
                    </a:lnTo>
                    <a:lnTo>
                      <a:pt x="342" y="345"/>
                    </a:lnTo>
                    <a:lnTo>
                      <a:pt x="341" y="345"/>
                    </a:lnTo>
                    <a:lnTo>
                      <a:pt x="340" y="346"/>
                    </a:lnTo>
                    <a:lnTo>
                      <a:pt x="339" y="346"/>
                    </a:lnTo>
                    <a:lnTo>
                      <a:pt x="338" y="346"/>
                    </a:lnTo>
                    <a:lnTo>
                      <a:pt x="337" y="346"/>
                    </a:lnTo>
                    <a:lnTo>
                      <a:pt x="337" y="345"/>
                    </a:lnTo>
                    <a:lnTo>
                      <a:pt x="337" y="344"/>
                    </a:lnTo>
                    <a:lnTo>
                      <a:pt x="338" y="343"/>
                    </a:lnTo>
                    <a:lnTo>
                      <a:pt x="337" y="342"/>
                    </a:lnTo>
                    <a:lnTo>
                      <a:pt x="338" y="342"/>
                    </a:lnTo>
                    <a:lnTo>
                      <a:pt x="339" y="342"/>
                    </a:lnTo>
                    <a:lnTo>
                      <a:pt x="340" y="342"/>
                    </a:lnTo>
                    <a:lnTo>
                      <a:pt x="339" y="342"/>
                    </a:lnTo>
                    <a:lnTo>
                      <a:pt x="340" y="340"/>
                    </a:lnTo>
                    <a:lnTo>
                      <a:pt x="341" y="339"/>
                    </a:lnTo>
                    <a:lnTo>
                      <a:pt x="344" y="339"/>
                    </a:lnTo>
                    <a:lnTo>
                      <a:pt x="346" y="339"/>
                    </a:lnTo>
                    <a:lnTo>
                      <a:pt x="347" y="339"/>
                    </a:lnTo>
                    <a:close/>
                    <a:moveTo>
                      <a:pt x="272" y="314"/>
                    </a:moveTo>
                    <a:lnTo>
                      <a:pt x="272" y="317"/>
                    </a:lnTo>
                    <a:lnTo>
                      <a:pt x="271" y="318"/>
                    </a:lnTo>
                    <a:lnTo>
                      <a:pt x="271" y="319"/>
                    </a:lnTo>
                    <a:lnTo>
                      <a:pt x="271" y="320"/>
                    </a:lnTo>
                    <a:lnTo>
                      <a:pt x="271" y="321"/>
                    </a:lnTo>
                    <a:lnTo>
                      <a:pt x="269" y="321"/>
                    </a:lnTo>
                    <a:lnTo>
                      <a:pt x="269" y="322"/>
                    </a:lnTo>
                    <a:lnTo>
                      <a:pt x="269" y="323"/>
                    </a:lnTo>
                    <a:lnTo>
                      <a:pt x="268" y="323"/>
                    </a:lnTo>
                    <a:lnTo>
                      <a:pt x="268" y="322"/>
                    </a:lnTo>
                    <a:lnTo>
                      <a:pt x="268" y="321"/>
                    </a:lnTo>
                    <a:lnTo>
                      <a:pt x="268" y="320"/>
                    </a:lnTo>
                    <a:lnTo>
                      <a:pt x="269" y="319"/>
                    </a:lnTo>
                    <a:lnTo>
                      <a:pt x="269" y="318"/>
                    </a:lnTo>
                    <a:lnTo>
                      <a:pt x="269" y="317"/>
                    </a:lnTo>
                    <a:lnTo>
                      <a:pt x="268" y="317"/>
                    </a:lnTo>
                    <a:lnTo>
                      <a:pt x="267" y="317"/>
                    </a:lnTo>
                    <a:lnTo>
                      <a:pt x="267" y="318"/>
                    </a:lnTo>
                    <a:lnTo>
                      <a:pt x="267" y="319"/>
                    </a:lnTo>
                    <a:lnTo>
                      <a:pt x="267" y="320"/>
                    </a:lnTo>
                    <a:lnTo>
                      <a:pt x="267" y="321"/>
                    </a:lnTo>
                    <a:lnTo>
                      <a:pt x="267" y="322"/>
                    </a:lnTo>
                    <a:lnTo>
                      <a:pt x="266" y="322"/>
                    </a:lnTo>
                    <a:lnTo>
                      <a:pt x="265" y="322"/>
                    </a:lnTo>
                    <a:lnTo>
                      <a:pt x="265" y="321"/>
                    </a:lnTo>
                    <a:lnTo>
                      <a:pt x="265" y="319"/>
                    </a:lnTo>
                    <a:lnTo>
                      <a:pt x="265" y="318"/>
                    </a:lnTo>
                    <a:lnTo>
                      <a:pt x="265" y="317"/>
                    </a:lnTo>
                    <a:lnTo>
                      <a:pt x="265" y="316"/>
                    </a:lnTo>
                    <a:lnTo>
                      <a:pt x="266" y="316"/>
                    </a:lnTo>
                    <a:lnTo>
                      <a:pt x="266" y="314"/>
                    </a:lnTo>
                    <a:lnTo>
                      <a:pt x="266" y="313"/>
                    </a:lnTo>
                    <a:lnTo>
                      <a:pt x="267" y="313"/>
                    </a:lnTo>
                    <a:lnTo>
                      <a:pt x="267" y="312"/>
                    </a:lnTo>
                    <a:lnTo>
                      <a:pt x="268" y="311"/>
                    </a:lnTo>
                    <a:lnTo>
                      <a:pt x="269" y="310"/>
                    </a:lnTo>
                    <a:lnTo>
                      <a:pt x="271" y="310"/>
                    </a:lnTo>
                    <a:lnTo>
                      <a:pt x="271" y="311"/>
                    </a:lnTo>
                    <a:lnTo>
                      <a:pt x="271" y="312"/>
                    </a:lnTo>
                    <a:lnTo>
                      <a:pt x="272" y="313"/>
                    </a:lnTo>
                    <a:lnTo>
                      <a:pt x="272" y="314"/>
                    </a:lnTo>
                    <a:close/>
                    <a:moveTo>
                      <a:pt x="260" y="301"/>
                    </a:moveTo>
                    <a:lnTo>
                      <a:pt x="261" y="303"/>
                    </a:lnTo>
                    <a:lnTo>
                      <a:pt x="261" y="304"/>
                    </a:lnTo>
                    <a:lnTo>
                      <a:pt x="262" y="304"/>
                    </a:lnTo>
                    <a:lnTo>
                      <a:pt x="262" y="305"/>
                    </a:lnTo>
                    <a:lnTo>
                      <a:pt x="263" y="305"/>
                    </a:lnTo>
                    <a:lnTo>
                      <a:pt x="263" y="306"/>
                    </a:lnTo>
                    <a:lnTo>
                      <a:pt x="264" y="306"/>
                    </a:lnTo>
                    <a:lnTo>
                      <a:pt x="265" y="306"/>
                    </a:lnTo>
                    <a:lnTo>
                      <a:pt x="265" y="307"/>
                    </a:lnTo>
                    <a:lnTo>
                      <a:pt x="264" y="308"/>
                    </a:lnTo>
                    <a:lnTo>
                      <a:pt x="263" y="309"/>
                    </a:lnTo>
                    <a:lnTo>
                      <a:pt x="262" y="309"/>
                    </a:lnTo>
                    <a:lnTo>
                      <a:pt x="262" y="310"/>
                    </a:lnTo>
                    <a:lnTo>
                      <a:pt x="261" y="310"/>
                    </a:lnTo>
                    <a:lnTo>
                      <a:pt x="260" y="310"/>
                    </a:lnTo>
                    <a:lnTo>
                      <a:pt x="260" y="311"/>
                    </a:lnTo>
                    <a:lnTo>
                      <a:pt x="259" y="311"/>
                    </a:lnTo>
                    <a:lnTo>
                      <a:pt x="257" y="311"/>
                    </a:lnTo>
                    <a:lnTo>
                      <a:pt x="254" y="311"/>
                    </a:lnTo>
                    <a:lnTo>
                      <a:pt x="254" y="310"/>
                    </a:lnTo>
                    <a:lnTo>
                      <a:pt x="253" y="310"/>
                    </a:lnTo>
                    <a:lnTo>
                      <a:pt x="253" y="309"/>
                    </a:lnTo>
                    <a:lnTo>
                      <a:pt x="252" y="309"/>
                    </a:lnTo>
                    <a:lnTo>
                      <a:pt x="251" y="309"/>
                    </a:lnTo>
                    <a:lnTo>
                      <a:pt x="250" y="309"/>
                    </a:lnTo>
                    <a:lnTo>
                      <a:pt x="251" y="309"/>
                    </a:lnTo>
                    <a:lnTo>
                      <a:pt x="252" y="309"/>
                    </a:lnTo>
                    <a:lnTo>
                      <a:pt x="252" y="308"/>
                    </a:lnTo>
                    <a:lnTo>
                      <a:pt x="251" y="308"/>
                    </a:lnTo>
                    <a:lnTo>
                      <a:pt x="252" y="308"/>
                    </a:lnTo>
                    <a:lnTo>
                      <a:pt x="253" y="309"/>
                    </a:lnTo>
                    <a:lnTo>
                      <a:pt x="254" y="309"/>
                    </a:lnTo>
                    <a:lnTo>
                      <a:pt x="254" y="310"/>
                    </a:lnTo>
                    <a:lnTo>
                      <a:pt x="256" y="310"/>
                    </a:lnTo>
                    <a:lnTo>
                      <a:pt x="257" y="310"/>
                    </a:lnTo>
                    <a:lnTo>
                      <a:pt x="257" y="309"/>
                    </a:lnTo>
                    <a:lnTo>
                      <a:pt x="257" y="310"/>
                    </a:lnTo>
                    <a:lnTo>
                      <a:pt x="256" y="309"/>
                    </a:lnTo>
                    <a:lnTo>
                      <a:pt x="257" y="309"/>
                    </a:lnTo>
                    <a:lnTo>
                      <a:pt x="257" y="308"/>
                    </a:lnTo>
                    <a:lnTo>
                      <a:pt x="259" y="308"/>
                    </a:lnTo>
                    <a:lnTo>
                      <a:pt x="259" y="309"/>
                    </a:lnTo>
                    <a:lnTo>
                      <a:pt x="260" y="309"/>
                    </a:lnTo>
                    <a:lnTo>
                      <a:pt x="261" y="309"/>
                    </a:lnTo>
                    <a:lnTo>
                      <a:pt x="261" y="308"/>
                    </a:lnTo>
                    <a:lnTo>
                      <a:pt x="260" y="309"/>
                    </a:lnTo>
                    <a:lnTo>
                      <a:pt x="260" y="308"/>
                    </a:lnTo>
                    <a:lnTo>
                      <a:pt x="259" y="308"/>
                    </a:lnTo>
                    <a:lnTo>
                      <a:pt x="259" y="307"/>
                    </a:lnTo>
                    <a:lnTo>
                      <a:pt x="260" y="307"/>
                    </a:lnTo>
                    <a:lnTo>
                      <a:pt x="261" y="307"/>
                    </a:lnTo>
                    <a:lnTo>
                      <a:pt x="261" y="306"/>
                    </a:lnTo>
                    <a:lnTo>
                      <a:pt x="260" y="306"/>
                    </a:lnTo>
                    <a:lnTo>
                      <a:pt x="259" y="306"/>
                    </a:lnTo>
                    <a:lnTo>
                      <a:pt x="257" y="306"/>
                    </a:lnTo>
                    <a:lnTo>
                      <a:pt x="259" y="306"/>
                    </a:lnTo>
                    <a:lnTo>
                      <a:pt x="260" y="306"/>
                    </a:lnTo>
                    <a:lnTo>
                      <a:pt x="260" y="305"/>
                    </a:lnTo>
                    <a:lnTo>
                      <a:pt x="259" y="305"/>
                    </a:lnTo>
                    <a:lnTo>
                      <a:pt x="257" y="304"/>
                    </a:lnTo>
                    <a:lnTo>
                      <a:pt x="256" y="304"/>
                    </a:lnTo>
                    <a:lnTo>
                      <a:pt x="255" y="304"/>
                    </a:lnTo>
                    <a:lnTo>
                      <a:pt x="254" y="304"/>
                    </a:lnTo>
                    <a:lnTo>
                      <a:pt x="254" y="303"/>
                    </a:lnTo>
                    <a:lnTo>
                      <a:pt x="256" y="303"/>
                    </a:lnTo>
                    <a:lnTo>
                      <a:pt x="257" y="303"/>
                    </a:lnTo>
                    <a:lnTo>
                      <a:pt x="259" y="304"/>
                    </a:lnTo>
                    <a:lnTo>
                      <a:pt x="260" y="304"/>
                    </a:lnTo>
                    <a:lnTo>
                      <a:pt x="261" y="304"/>
                    </a:lnTo>
                    <a:lnTo>
                      <a:pt x="261" y="303"/>
                    </a:lnTo>
                    <a:lnTo>
                      <a:pt x="260" y="303"/>
                    </a:lnTo>
                    <a:lnTo>
                      <a:pt x="259" y="303"/>
                    </a:lnTo>
                    <a:lnTo>
                      <a:pt x="257" y="303"/>
                    </a:lnTo>
                    <a:lnTo>
                      <a:pt x="257" y="301"/>
                    </a:lnTo>
                    <a:lnTo>
                      <a:pt x="259" y="301"/>
                    </a:lnTo>
                    <a:lnTo>
                      <a:pt x="260" y="301"/>
                    </a:lnTo>
                    <a:close/>
                    <a:moveTo>
                      <a:pt x="274" y="296"/>
                    </a:moveTo>
                    <a:lnTo>
                      <a:pt x="274" y="297"/>
                    </a:lnTo>
                    <a:lnTo>
                      <a:pt x="273" y="298"/>
                    </a:lnTo>
                    <a:lnTo>
                      <a:pt x="273" y="300"/>
                    </a:lnTo>
                    <a:lnTo>
                      <a:pt x="272" y="300"/>
                    </a:lnTo>
                    <a:lnTo>
                      <a:pt x="271" y="303"/>
                    </a:lnTo>
                    <a:lnTo>
                      <a:pt x="269" y="303"/>
                    </a:lnTo>
                    <a:lnTo>
                      <a:pt x="268" y="304"/>
                    </a:lnTo>
                    <a:lnTo>
                      <a:pt x="267" y="304"/>
                    </a:lnTo>
                    <a:lnTo>
                      <a:pt x="267" y="305"/>
                    </a:lnTo>
                    <a:lnTo>
                      <a:pt x="266" y="305"/>
                    </a:lnTo>
                    <a:lnTo>
                      <a:pt x="265" y="305"/>
                    </a:lnTo>
                    <a:lnTo>
                      <a:pt x="264" y="305"/>
                    </a:lnTo>
                    <a:lnTo>
                      <a:pt x="263" y="305"/>
                    </a:lnTo>
                    <a:lnTo>
                      <a:pt x="263" y="304"/>
                    </a:lnTo>
                    <a:lnTo>
                      <a:pt x="262" y="304"/>
                    </a:lnTo>
                    <a:lnTo>
                      <a:pt x="262" y="303"/>
                    </a:lnTo>
                    <a:lnTo>
                      <a:pt x="262" y="304"/>
                    </a:lnTo>
                    <a:lnTo>
                      <a:pt x="263" y="304"/>
                    </a:lnTo>
                    <a:lnTo>
                      <a:pt x="264" y="304"/>
                    </a:lnTo>
                    <a:lnTo>
                      <a:pt x="265" y="304"/>
                    </a:lnTo>
                    <a:lnTo>
                      <a:pt x="266" y="304"/>
                    </a:lnTo>
                    <a:lnTo>
                      <a:pt x="266" y="303"/>
                    </a:lnTo>
                    <a:lnTo>
                      <a:pt x="267" y="303"/>
                    </a:lnTo>
                    <a:lnTo>
                      <a:pt x="268" y="303"/>
                    </a:lnTo>
                    <a:lnTo>
                      <a:pt x="268" y="301"/>
                    </a:lnTo>
                    <a:lnTo>
                      <a:pt x="268" y="300"/>
                    </a:lnTo>
                    <a:lnTo>
                      <a:pt x="269" y="300"/>
                    </a:lnTo>
                    <a:lnTo>
                      <a:pt x="269" y="298"/>
                    </a:lnTo>
                    <a:lnTo>
                      <a:pt x="271" y="298"/>
                    </a:lnTo>
                    <a:lnTo>
                      <a:pt x="271" y="297"/>
                    </a:lnTo>
                    <a:lnTo>
                      <a:pt x="271" y="296"/>
                    </a:lnTo>
                    <a:lnTo>
                      <a:pt x="269" y="296"/>
                    </a:lnTo>
                    <a:lnTo>
                      <a:pt x="269" y="297"/>
                    </a:lnTo>
                    <a:lnTo>
                      <a:pt x="268" y="297"/>
                    </a:lnTo>
                    <a:lnTo>
                      <a:pt x="267" y="297"/>
                    </a:lnTo>
                    <a:lnTo>
                      <a:pt x="266" y="297"/>
                    </a:lnTo>
                    <a:lnTo>
                      <a:pt x="266" y="298"/>
                    </a:lnTo>
                    <a:lnTo>
                      <a:pt x="265" y="298"/>
                    </a:lnTo>
                    <a:lnTo>
                      <a:pt x="265" y="299"/>
                    </a:lnTo>
                    <a:lnTo>
                      <a:pt x="264" y="299"/>
                    </a:lnTo>
                    <a:lnTo>
                      <a:pt x="266" y="297"/>
                    </a:lnTo>
                    <a:lnTo>
                      <a:pt x="268" y="296"/>
                    </a:lnTo>
                    <a:lnTo>
                      <a:pt x="269" y="296"/>
                    </a:lnTo>
                    <a:lnTo>
                      <a:pt x="271" y="296"/>
                    </a:lnTo>
                    <a:lnTo>
                      <a:pt x="272" y="295"/>
                    </a:lnTo>
                    <a:lnTo>
                      <a:pt x="273" y="295"/>
                    </a:lnTo>
                    <a:lnTo>
                      <a:pt x="274" y="296"/>
                    </a:lnTo>
                    <a:close/>
                    <a:moveTo>
                      <a:pt x="262" y="313"/>
                    </a:moveTo>
                    <a:lnTo>
                      <a:pt x="262" y="314"/>
                    </a:lnTo>
                    <a:lnTo>
                      <a:pt x="262" y="316"/>
                    </a:lnTo>
                    <a:lnTo>
                      <a:pt x="261" y="317"/>
                    </a:lnTo>
                    <a:lnTo>
                      <a:pt x="261" y="318"/>
                    </a:lnTo>
                    <a:lnTo>
                      <a:pt x="260" y="319"/>
                    </a:lnTo>
                    <a:lnTo>
                      <a:pt x="259" y="320"/>
                    </a:lnTo>
                    <a:lnTo>
                      <a:pt x="257" y="321"/>
                    </a:lnTo>
                    <a:lnTo>
                      <a:pt x="259" y="320"/>
                    </a:lnTo>
                    <a:lnTo>
                      <a:pt x="259" y="319"/>
                    </a:lnTo>
                    <a:lnTo>
                      <a:pt x="260" y="319"/>
                    </a:lnTo>
                    <a:lnTo>
                      <a:pt x="260" y="318"/>
                    </a:lnTo>
                    <a:lnTo>
                      <a:pt x="260" y="317"/>
                    </a:lnTo>
                    <a:lnTo>
                      <a:pt x="261" y="316"/>
                    </a:lnTo>
                    <a:lnTo>
                      <a:pt x="261" y="314"/>
                    </a:lnTo>
                    <a:lnTo>
                      <a:pt x="260" y="313"/>
                    </a:lnTo>
                    <a:lnTo>
                      <a:pt x="260" y="314"/>
                    </a:lnTo>
                    <a:lnTo>
                      <a:pt x="259" y="314"/>
                    </a:lnTo>
                    <a:lnTo>
                      <a:pt x="259" y="316"/>
                    </a:lnTo>
                    <a:lnTo>
                      <a:pt x="257" y="316"/>
                    </a:lnTo>
                    <a:lnTo>
                      <a:pt x="256" y="316"/>
                    </a:lnTo>
                    <a:lnTo>
                      <a:pt x="256" y="314"/>
                    </a:lnTo>
                    <a:lnTo>
                      <a:pt x="255" y="316"/>
                    </a:lnTo>
                    <a:lnTo>
                      <a:pt x="254" y="316"/>
                    </a:lnTo>
                    <a:lnTo>
                      <a:pt x="253" y="316"/>
                    </a:lnTo>
                    <a:lnTo>
                      <a:pt x="252" y="317"/>
                    </a:lnTo>
                    <a:lnTo>
                      <a:pt x="251" y="317"/>
                    </a:lnTo>
                    <a:lnTo>
                      <a:pt x="252" y="317"/>
                    </a:lnTo>
                    <a:lnTo>
                      <a:pt x="252" y="316"/>
                    </a:lnTo>
                    <a:lnTo>
                      <a:pt x="253" y="316"/>
                    </a:lnTo>
                    <a:lnTo>
                      <a:pt x="253" y="314"/>
                    </a:lnTo>
                    <a:lnTo>
                      <a:pt x="254" y="314"/>
                    </a:lnTo>
                    <a:lnTo>
                      <a:pt x="255" y="314"/>
                    </a:lnTo>
                    <a:lnTo>
                      <a:pt x="256" y="314"/>
                    </a:lnTo>
                    <a:lnTo>
                      <a:pt x="256" y="313"/>
                    </a:lnTo>
                    <a:lnTo>
                      <a:pt x="257" y="313"/>
                    </a:lnTo>
                    <a:lnTo>
                      <a:pt x="259" y="313"/>
                    </a:lnTo>
                    <a:lnTo>
                      <a:pt x="259" y="312"/>
                    </a:lnTo>
                    <a:lnTo>
                      <a:pt x="260" y="312"/>
                    </a:lnTo>
                    <a:lnTo>
                      <a:pt x="261" y="312"/>
                    </a:lnTo>
                    <a:lnTo>
                      <a:pt x="262" y="312"/>
                    </a:lnTo>
                    <a:lnTo>
                      <a:pt x="262" y="311"/>
                    </a:lnTo>
                    <a:lnTo>
                      <a:pt x="263" y="311"/>
                    </a:lnTo>
                    <a:lnTo>
                      <a:pt x="263" y="312"/>
                    </a:lnTo>
                    <a:lnTo>
                      <a:pt x="263" y="313"/>
                    </a:lnTo>
                    <a:lnTo>
                      <a:pt x="262" y="313"/>
                    </a:lnTo>
                    <a:close/>
                    <a:moveTo>
                      <a:pt x="277" y="314"/>
                    </a:moveTo>
                    <a:lnTo>
                      <a:pt x="277" y="316"/>
                    </a:lnTo>
                    <a:lnTo>
                      <a:pt x="278" y="317"/>
                    </a:lnTo>
                    <a:lnTo>
                      <a:pt x="278" y="318"/>
                    </a:lnTo>
                    <a:lnTo>
                      <a:pt x="279" y="319"/>
                    </a:lnTo>
                    <a:lnTo>
                      <a:pt x="280" y="321"/>
                    </a:lnTo>
                    <a:lnTo>
                      <a:pt x="280" y="322"/>
                    </a:lnTo>
                    <a:lnTo>
                      <a:pt x="280" y="321"/>
                    </a:lnTo>
                    <a:lnTo>
                      <a:pt x="279" y="321"/>
                    </a:lnTo>
                    <a:lnTo>
                      <a:pt x="279" y="320"/>
                    </a:lnTo>
                    <a:lnTo>
                      <a:pt x="278" y="320"/>
                    </a:lnTo>
                    <a:lnTo>
                      <a:pt x="278" y="319"/>
                    </a:lnTo>
                    <a:lnTo>
                      <a:pt x="278" y="318"/>
                    </a:lnTo>
                    <a:lnTo>
                      <a:pt x="278" y="317"/>
                    </a:lnTo>
                    <a:lnTo>
                      <a:pt x="277" y="317"/>
                    </a:lnTo>
                    <a:lnTo>
                      <a:pt x="277" y="316"/>
                    </a:lnTo>
                    <a:lnTo>
                      <a:pt x="276" y="316"/>
                    </a:lnTo>
                    <a:lnTo>
                      <a:pt x="276" y="314"/>
                    </a:lnTo>
                    <a:lnTo>
                      <a:pt x="275" y="314"/>
                    </a:lnTo>
                    <a:lnTo>
                      <a:pt x="275" y="316"/>
                    </a:lnTo>
                    <a:lnTo>
                      <a:pt x="274" y="316"/>
                    </a:lnTo>
                    <a:lnTo>
                      <a:pt x="274" y="317"/>
                    </a:lnTo>
                    <a:lnTo>
                      <a:pt x="275" y="318"/>
                    </a:lnTo>
                    <a:lnTo>
                      <a:pt x="276" y="319"/>
                    </a:lnTo>
                    <a:lnTo>
                      <a:pt x="276" y="320"/>
                    </a:lnTo>
                    <a:lnTo>
                      <a:pt x="276" y="321"/>
                    </a:lnTo>
                    <a:lnTo>
                      <a:pt x="277" y="321"/>
                    </a:lnTo>
                    <a:lnTo>
                      <a:pt x="277" y="322"/>
                    </a:lnTo>
                    <a:lnTo>
                      <a:pt x="277" y="323"/>
                    </a:lnTo>
                    <a:lnTo>
                      <a:pt x="277" y="322"/>
                    </a:lnTo>
                    <a:lnTo>
                      <a:pt x="276" y="322"/>
                    </a:lnTo>
                    <a:lnTo>
                      <a:pt x="275" y="321"/>
                    </a:lnTo>
                    <a:lnTo>
                      <a:pt x="275" y="320"/>
                    </a:lnTo>
                    <a:lnTo>
                      <a:pt x="275" y="319"/>
                    </a:lnTo>
                    <a:lnTo>
                      <a:pt x="274" y="319"/>
                    </a:lnTo>
                    <a:lnTo>
                      <a:pt x="274" y="317"/>
                    </a:lnTo>
                    <a:lnTo>
                      <a:pt x="274" y="312"/>
                    </a:lnTo>
                    <a:lnTo>
                      <a:pt x="274" y="311"/>
                    </a:lnTo>
                    <a:lnTo>
                      <a:pt x="275" y="311"/>
                    </a:lnTo>
                    <a:lnTo>
                      <a:pt x="276" y="313"/>
                    </a:lnTo>
                    <a:lnTo>
                      <a:pt x="277" y="314"/>
                    </a:lnTo>
                    <a:close/>
                    <a:moveTo>
                      <a:pt x="345" y="365"/>
                    </a:moveTo>
                    <a:lnTo>
                      <a:pt x="345" y="366"/>
                    </a:lnTo>
                    <a:lnTo>
                      <a:pt x="345" y="368"/>
                    </a:lnTo>
                    <a:lnTo>
                      <a:pt x="345" y="369"/>
                    </a:lnTo>
                    <a:lnTo>
                      <a:pt x="344" y="370"/>
                    </a:lnTo>
                    <a:lnTo>
                      <a:pt x="343" y="370"/>
                    </a:lnTo>
                    <a:lnTo>
                      <a:pt x="343" y="369"/>
                    </a:lnTo>
                    <a:lnTo>
                      <a:pt x="343" y="368"/>
                    </a:lnTo>
                    <a:lnTo>
                      <a:pt x="342" y="366"/>
                    </a:lnTo>
                    <a:lnTo>
                      <a:pt x="342" y="368"/>
                    </a:lnTo>
                    <a:lnTo>
                      <a:pt x="342" y="369"/>
                    </a:lnTo>
                    <a:lnTo>
                      <a:pt x="341" y="370"/>
                    </a:lnTo>
                    <a:lnTo>
                      <a:pt x="340" y="370"/>
                    </a:lnTo>
                    <a:lnTo>
                      <a:pt x="340" y="369"/>
                    </a:lnTo>
                    <a:lnTo>
                      <a:pt x="340" y="368"/>
                    </a:lnTo>
                    <a:lnTo>
                      <a:pt x="341" y="366"/>
                    </a:lnTo>
                    <a:lnTo>
                      <a:pt x="342" y="365"/>
                    </a:lnTo>
                    <a:lnTo>
                      <a:pt x="343" y="365"/>
                    </a:lnTo>
                    <a:lnTo>
                      <a:pt x="344" y="365"/>
                    </a:lnTo>
                    <a:lnTo>
                      <a:pt x="345" y="365"/>
                    </a:lnTo>
                    <a:close/>
                    <a:moveTo>
                      <a:pt x="248" y="310"/>
                    </a:moveTo>
                    <a:lnTo>
                      <a:pt x="249" y="310"/>
                    </a:lnTo>
                    <a:lnTo>
                      <a:pt x="251" y="310"/>
                    </a:lnTo>
                    <a:lnTo>
                      <a:pt x="252" y="310"/>
                    </a:lnTo>
                    <a:lnTo>
                      <a:pt x="253" y="310"/>
                    </a:lnTo>
                    <a:lnTo>
                      <a:pt x="253" y="311"/>
                    </a:lnTo>
                    <a:lnTo>
                      <a:pt x="254" y="311"/>
                    </a:lnTo>
                    <a:lnTo>
                      <a:pt x="259" y="311"/>
                    </a:lnTo>
                    <a:lnTo>
                      <a:pt x="257" y="312"/>
                    </a:lnTo>
                    <a:lnTo>
                      <a:pt x="256" y="312"/>
                    </a:lnTo>
                    <a:lnTo>
                      <a:pt x="255" y="312"/>
                    </a:lnTo>
                    <a:lnTo>
                      <a:pt x="255" y="313"/>
                    </a:lnTo>
                    <a:lnTo>
                      <a:pt x="254" y="313"/>
                    </a:lnTo>
                    <a:lnTo>
                      <a:pt x="253" y="313"/>
                    </a:lnTo>
                    <a:lnTo>
                      <a:pt x="252" y="314"/>
                    </a:lnTo>
                    <a:lnTo>
                      <a:pt x="251" y="314"/>
                    </a:lnTo>
                    <a:lnTo>
                      <a:pt x="251" y="316"/>
                    </a:lnTo>
                    <a:lnTo>
                      <a:pt x="250" y="314"/>
                    </a:lnTo>
                    <a:lnTo>
                      <a:pt x="249" y="314"/>
                    </a:lnTo>
                    <a:lnTo>
                      <a:pt x="250" y="314"/>
                    </a:lnTo>
                    <a:lnTo>
                      <a:pt x="251" y="314"/>
                    </a:lnTo>
                    <a:lnTo>
                      <a:pt x="251" y="313"/>
                    </a:lnTo>
                    <a:lnTo>
                      <a:pt x="252" y="313"/>
                    </a:lnTo>
                    <a:lnTo>
                      <a:pt x="252" y="312"/>
                    </a:lnTo>
                    <a:lnTo>
                      <a:pt x="251" y="313"/>
                    </a:lnTo>
                    <a:lnTo>
                      <a:pt x="251" y="312"/>
                    </a:lnTo>
                    <a:lnTo>
                      <a:pt x="252" y="312"/>
                    </a:lnTo>
                    <a:lnTo>
                      <a:pt x="252" y="311"/>
                    </a:lnTo>
                    <a:lnTo>
                      <a:pt x="253" y="311"/>
                    </a:lnTo>
                    <a:lnTo>
                      <a:pt x="252" y="311"/>
                    </a:lnTo>
                    <a:lnTo>
                      <a:pt x="252" y="310"/>
                    </a:lnTo>
                    <a:lnTo>
                      <a:pt x="250" y="310"/>
                    </a:lnTo>
                    <a:lnTo>
                      <a:pt x="249" y="310"/>
                    </a:lnTo>
                    <a:lnTo>
                      <a:pt x="248" y="310"/>
                    </a:lnTo>
                    <a:lnTo>
                      <a:pt x="248" y="309"/>
                    </a:lnTo>
                    <a:lnTo>
                      <a:pt x="247" y="309"/>
                    </a:lnTo>
                    <a:lnTo>
                      <a:pt x="248" y="309"/>
                    </a:lnTo>
                    <a:lnTo>
                      <a:pt x="248" y="310"/>
                    </a:lnTo>
                    <a:close/>
                    <a:moveTo>
                      <a:pt x="246" y="319"/>
                    </a:moveTo>
                    <a:lnTo>
                      <a:pt x="246" y="320"/>
                    </a:lnTo>
                    <a:lnTo>
                      <a:pt x="244" y="320"/>
                    </a:lnTo>
                    <a:lnTo>
                      <a:pt x="244" y="319"/>
                    </a:lnTo>
                    <a:lnTo>
                      <a:pt x="247" y="319"/>
                    </a:lnTo>
                    <a:lnTo>
                      <a:pt x="248" y="318"/>
                    </a:lnTo>
                    <a:lnTo>
                      <a:pt x="249" y="317"/>
                    </a:lnTo>
                    <a:lnTo>
                      <a:pt x="248" y="317"/>
                    </a:lnTo>
                    <a:lnTo>
                      <a:pt x="248" y="316"/>
                    </a:lnTo>
                    <a:lnTo>
                      <a:pt x="249" y="316"/>
                    </a:lnTo>
                    <a:lnTo>
                      <a:pt x="248" y="316"/>
                    </a:lnTo>
                    <a:lnTo>
                      <a:pt x="248" y="314"/>
                    </a:lnTo>
                    <a:lnTo>
                      <a:pt x="247" y="314"/>
                    </a:lnTo>
                    <a:lnTo>
                      <a:pt x="247" y="313"/>
                    </a:lnTo>
                    <a:lnTo>
                      <a:pt x="246" y="313"/>
                    </a:lnTo>
                    <a:lnTo>
                      <a:pt x="244" y="313"/>
                    </a:lnTo>
                    <a:lnTo>
                      <a:pt x="244" y="312"/>
                    </a:lnTo>
                    <a:lnTo>
                      <a:pt x="246" y="312"/>
                    </a:lnTo>
                    <a:lnTo>
                      <a:pt x="247" y="312"/>
                    </a:lnTo>
                    <a:lnTo>
                      <a:pt x="247" y="313"/>
                    </a:lnTo>
                    <a:lnTo>
                      <a:pt x="248" y="313"/>
                    </a:lnTo>
                    <a:lnTo>
                      <a:pt x="248" y="314"/>
                    </a:lnTo>
                    <a:lnTo>
                      <a:pt x="249" y="314"/>
                    </a:lnTo>
                    <a:lnTo>
                      <a:pt x="250" y="316"/>
                    </a:lnTo>
                    <a:lnTo>
                      <a:pt x="251" y="316"/>
                    </a:lnTo>
                    <a:lnTo>
                      <a:pt x="250" y="317"/>
                    </a:lnTo>
                    <a:lnTo>
                      <a:pt x="249" y="318"/>
                    </a:lnTo>
                    <a:lnTo>
                      <a:pt x="248" y="319"/>
                    </a:lnTo>
                    <a:lnTo>
                      <a:pt x="247" y="319"/>
                    </a:lnTo>
                    <a:lnTo>
                      <a:pt x="246" y="319"/>
                    </a:lnTo>
                    <a:close/>
                    <a:moveTo>
                      <a:pt x="274" y="320"/>
                    </a:moveTo>
                    <a:lnTo>
                      <a:pt x="274" y="321"/>
                    </a:lnTo>
                    <a:lnTo>
                      <a:pt x="274" y="322"/>
                    </a:lnTo>
                    <a:lnTo>
                      <a:pt x="275" y="323"/>
                    </a:lnTo>
                    <a:lnTo>
                      <a:pt x="276" y="324"/>
                    </a:lnTo>
                    <a:lnTo>
                      <a:pt x="275" y="324"/>
                    </a:lnTo>
                    <a:lnTo>
                      <a:pt x="275" y="323"/>
                    </a:lnTo>
                    <a:lnTo>
                      <a:pt x="274" y="323"/>
                    </a:lnTo>
                    <a:lnTo>
                      <a:pt x="274" y="322"/>
                    </a:lnTo>
                    <a:lnTo>
                      <a:pt x="273" y="321"/>
                    </a:lnTo>
                    <a:lnTo>
                      <a:pt x="272" y="323"/>
                    </a:lnTo>
                    <a:lnTo>
                      <a:pt x="272" y="324"/>
                    </a:lnTo>
                    <a:lnTo>
                      <a:pt x="272" y="323"/>
                    </a:lnTo>
                    <a:lnTo>
                      <a:pt x="272" y="322"/>
                    </a:lnTo>
                    <a:lnTo>
                      <a:pt x="272" y="321"/>
                    </a:lnTo>
                    <a:lnTo>
                      <a:pt x="273" y="320"/>
                    </a:lnTo>
                    <a:lnTo>
                      <a:pt x="273" y="319"/>
                    </a:lnTo>
                    <a:lnTo>
                      <a:pt x="274" y="320"/>
                    </a:lnTo>
                    <a:close/>
                    <a:moveTo>
                      <a:pt x="310" y="397"/>
                    </a:moveTo>
                    <a:lnTo>
                      <a:pt x="308" y="397"/>
                    </a:lnTo>
                    <a:lnTo>
                      <a:pt x="307" y="397"/>
                    </a:lnTo>
                    <a:lnTo>
                      <a:pt x="306" y="396"/>
                    </a:lnTo>
                    <a:lnTo>
                      <a:pt x="306" y="395"/>
                    </a:lnTo>
                    <a:lnTo>
                      <a:pt x="307" y="395"/>
                    </a:lnTo>
                    <a:lnTo>
                      <a:pt x="308" y="395"/>
                    </a:lnTo>
                    <a:lnTo>
                      <a:pt x="308" y="396"/>
                    </a:lnTo>
                    <a:lnTo>
                      <a:pt x="310" y="396"/>
                    </a:lnTo>
                    <a:lnTo>
                      <a:pt x="310" y="397"/>
                    </a:lnTo>
                    <a:close/>
                    <a:moveTo>
                      <a:pt x="305" y="401"/>
                    </a:moveTo>
                    <a:lnTo>
                      <a:pt x="306" y="401"/>
                    </a:lnTo>
                    <a:lnTo>
                      <a:pt x="306" y="402"/>
                    </a:lnTo>
                    <a:lnTo>
                      <a:pt x="305" y="402"/>
                    </a:lnTo>
                    <a:lnTo>
                      <a:pt x="305" y="401"/>
                    </a:lnTo>
                    <a:close/>
                    <a:moveTo>
                      <a:pt x="311" y="390"/>
                    </a:moveTo>
                    <a:lnTo>
                      <a:pt x="313" y="390"/>
                    </a:lnTo>
                    <a:lnTo>
                      <a:pt x="313" y="393"/>
                    </a:lnTo>
                    <a:lnTo>
                      <a:pt x="311" y="393"/>
                    </a:lnTo>
                    <a:lnTo>
                      <a:pt x="311" y="390"/>
                    </a:lnTo>
                    <a:close/>
                  </a:path>
                </a:pathLst>
              </a:custGeom>
              <a:solidFill>
                <a:srgbClr val="91C4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3" name="Freeform 281">
                <a:extLst>
                  <a:ext uri="{FF2B5EF4-FFF2-40B4-BE49-F238E27FC236}">
                    <a16:creationId xmlns:a16="http://schemas.microsoft.com/office/drawing/2014/main" id="{48AF6AD1-0B3F-DA17-BB26-8334384084F5}"/>
                  </a:ext>
                </a:extLst>
              </p:cNvPr>
              <p:cNvSpPr>
                <a:spLocks/>
              </p:cNvSpPr>
              <p:nvPr/>
            </p:nvSpPr>
            <p:spPr bwMode="auto">
              <a:xfrm>
                <a:off x="3851276" y="4479925"/>
                <a:ext cx="363538" cy="511175"/>
              </a:xfrm>
              <a:custGeom>
                <a:avLst/>
                <a:gdLst>
                  <a:gd name="T0" fmla="*/ 181 w 229"/>
                  <a:gd name="T1" fmla="*/ 33 h 322"/>
                  <a:gd name="T2" fmla="*/ 195 w 229"/>
                  <a:gd name="T3" fmla="*/ 74 h 322"/>
                  <a:gd name="T4" fmla="*/ 212 w 229"/>
                  <a:gd name="T5" fmla="*/ 104 h 322"/>
                  <a:gd name="T6" fmla="*/ 229 w 229"/>
                  <a:gd name="T7" fmla="*/ 122 h 322"/>
                  <a:gd name="T8" fmla="*/ 205 w 229"/>
                  <a:gd name="T9" fmla="*/ 176 h 322"/>
                  <a:gd name="T10" fmla="*/ 177 w 229"/>
                  <a:gd name="T11" fmla="*/ 229 h 322"/>
                  <a:gd name="T12" fmla="*/ 131 w 229"/>
                  <a:gd name="T13" fmla="*/ 292 h 322"/>
                  <a:gd name="T14" fmla="*/ 108 w 229"/>
                  <a:gd name="T15" fmla="*/ 322 h 322"/>
                  <a:gd name="T16" fmla="*/ 105 w 229"/>
                  <a:gd name="T17" fmla="*/ 315 h 322"/>
                  <a:gd name="T18" fmla="*/ 95 w 229"/>
                  <a:gd name="T19" fmla="*/ 311 h 322"/>
                  <a:gd name="T20" fmla="*/ 96 w 229"/>
                  <a:gd name="T21" fmla="*/ 303 h 322"/>
                  <a:gd name="T22" fmla="*/ 99 w 229"/>
                  <a:gd name="T23" fmla="*/ 286 h 322"/>
                  <a:gd name="T24" fmla="*/ 99 w 229"/>
                  <a:gd name="T25" fmla="*/ 275 h 322"/>
                  <a:gd name="T26" fmla="*/ 100 w 229"/>
                  <a:gd name="T27" fmla="*/ 272 h 322"/>
                  <a:gd name="T28" fmla="*/ 93 w 229"/>
                  <a:gd name="T29" fmla="*/ 246 h 322"/>
                  <a:gd name="T30" fmla="*/ 99 w 229"/>
                  <a:gd name="T31" fmla="*/ 245 h 322"/>
                  <a:gd name="T32" fmla="*/ 101 w 229"/>
                  <a:gd name="T33" fmla="*/ 240 h 322"/>
                  <a:gd name="T34" fmla="*/ 102 w 229"/>
                  <a:gd name="T35" fmla="*/ 235 h 322"/>
                  <a:gd name="T36" fmla="*/ 104 w 229"/>
                  <a:gd name="T37" fmla="*/ 231 h 322"/>
                  <a:gd name="T38" fmla="*/ 102 w 229"/>
                  <a:gd name="T39" fmla="*/ 228 h 322"/>
                  <a:gd name="T40" fmla="*/ 101 w 229"/>
                  <a:gd name="T41" fmla="*/ 223 h 322"/>
                  <a:gd name="T42" fmla="*/ 98 w 229"/>
                  <a:gd name="T43" fmla="*/ 218 h 322"/>
                  <a:gd name="T44" fmla="*/ 100 w 229"/>
                  <a:gd name="T45" fmla="*/ 214 h 322"/>
                  <a:gd name="T46" fmla="*/ 99 w 229"/>
                  <a:gd name="T47" fmla="*/ 206 h 322"/>
                  <a:gd name="T48" fmla="*/ 101 w 229"/>
                  <a:gd name="T49" fmla="*/ 201 h 322"/>
                  <a:gd name="T50" fmla="*/ 101 w 229"/>
                  <a:gd name="T51" fmla="*/ 196 h 322"/>
                  <a:gd name="T52" fmla="*/ 99 w 229"/>
                  <a:gd name="T53" fmla="*/ 192 h 322"/>
                  <a:gd name="T54" fmla="*/ 96 w 229"/>
                  <a:gd name="T55" fmla="*/ 188 h 322"/>
                  <a:gd name="T56" fmla="*/ 92 w 229"/>
                  <a:gd name="T57" fmla="*/ 184 h 322"/>
                  <a:gd name="T58" fmla="*/ 89 w 229"/>
                  <a:gd name="T59" fmla="*/ 181 h 322"/>
                  <a:gd name="T60" fmla="*/ 82 w 229"/>
                  <a:gd name="T61" fmla="*/ 177 h 322"/>
                  <a:gd name="T62" fmla="*/ 76 w 229"/>
                  <a:gd name="T63" fmla="*/ 174 h 322"/>
                  <a:gd name="T64" fmla="*/ 69 w 229"/>
                  <a:gd name="T65" fmla="*/ 174 h 322"/>
                  <a:gd name="T66" fmla="*/ 62 w 229"/>
                  <a:gd name="T67" fmla="*/ 170 h 322"/>
                  <a:gd name="T68" fmla="*/ 47 w 229"/>
                  <a:gd name="T69" fmla="*/ 167 h 322"/>
                  <a:gd name="T70" fmla="*/ 40 w 229"/>
                  <a:gd name="T71" fmla="*/ 159 h 322"/>
                  <a:gd name="T72" fmla="*/ 36 w 229"/>
                  <a:gd name="T73" fmla="*/ 154 h 322"/>
                  <a:gd name="T74" fmla="*/ 34 w 229"/>
                  <a:gd name="T75" fmla="*/ 144 h 322"/>
                  <a:gd name="T76" fmla="*/ 31 w 229"/>
                  <a:gd name="T77" fmla="*/ 139 h 322"/>
                  <a:gd name="T78" fmla="*/ 31 w 229"/>
                  <a:gd name="T79" fmla="*/ 130 h 322"/>
                  <a:gd name="T80" fmla="*/ 26 w 229"/>
                  <a:gd name="T81" fmla="*/ 123 h 322"/>
                  <a:gd name="T82" fmla="*/ 21 w 229"/>
                  <a:gd name="T83" fmla="*/ 119 h 322"/>
                  <a:gd name="T84" fmla="*/ 16 w 229"/>
                  <a:gd name="T85" fmla="*/ 115 h 322"/>
                  <a:gd name="T86" fmla="*/ 17 w 229"/>
                  <a:gd name="T87" fmla="*/ 110 h 322"/>
                  <a:gd name="T88" fmla="*/ 17 w 229"/>
                  <a:gd name="T89" fmla="*/ 104 h 322"/>
                  <a:gd name="T90" fmla="*/ 11 w 229"/>
                  <a:gd name="T91" fmla="*/ 99 h 322"/>
                  <a:gd name="T92" fmla="*/ 6 w 229"/>
                  <a:gd name="T93" fmla="*/ 92 h 322"/>
                  <a:gd name="T94" fmla="*/ 8 w 229"/>
                  <a:gd name="T95" fmla="*/ 89 h 322"/>
                  <a:gd name="T96" fmla="*/ 5 w 229"/>
                  <a:gd name="T97" fmla="*/ 87 h 322"/>
                  <a:gd name="T98" fmla="*/ 4 w 229"/>
                  <a:gd name="T99" fmla="*/ 82 h 322"/>
                  <a:gd name="T100" fmla="*/ 2 w 229"/>
                  <a:gd name="T101" fmla="*/ 79 h 322"/>
                  <a:gd name="T102" fmla="*/ 2 w 229"/>
                  <a:gd name="T103" fmla="*/ 75 h 322"/>
                  <a:gd name="T104" fmla="*/ 1 w 229"/>
                  <a:gd name="T105" fmla="*/ 71 h 322"/>
                  <a:gd name="T106" fmla="*/ 1 w 229"/>
                  <a:gd name="T107" fmla="*/ 58 h 322"/>
                  <a:gd name="T108" fmla="*/ 13 w 229"/>
                  <a:gd name="T109" fmla="*/ 59 h 322"/>
                  <a:gd name="T110" fmla="*/ 18 w 229"/>
                  <a:gd name="T111" fmla="*/ 48 h 322"/>
                  <a:gd name="T112" fmla="*/ 94 w 229"/>
                  <a:gd name="T113" fmla="*/ 14 h 322"/>
                  <a:gd name="T114" fmla="*/ 115 w 229"/>
                  <a:gd name="T115" fmla="*/ 2 h 322"/>
                  <a:gd name="T116" fmla="*/ 127 w 229"/>
                  <a:gd name="T117" fmla="*/ 7 h 322"/>
                  <a:gd name="T118" fmla="*/ 143 w 229"/>
                  <a:gd name="T119" fmla="*/ 5 h 322"/>
                  <a:gd name="T120" fmla="*/ 168 w 229"/>
                  <a:gd name="T121" fmla="*/ 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 h="322">
                    <a:moveTo>
                      <a:pt x="181" y="11"/>
                    </a:moveTo>
                    <a:lnTo>
                      <a:pt x="181" y="15"/>
                    </a:lnTo>
                    <a:lnTo>
                      <a:pt x="181" y="17"/>
                    </a:lnTo>
                    <a:lnTo>
                      <a:pt x="181" y="23"/>
                    </a:lnTo>
                    <a:lnTo>
                      <a:pt x="181" y="33"/>
                    </a:lnTo>
                    <a:lnTo>
                      <a:pt x="183" y="33"/>
                    </a:lnTo>
                    <a:lnTo>
                      <a:pt x="183" y="53"/>
                    </a:lnTo>
                    <a:lnTo>
                      <a:pt x="183" y="74"/>
                    </a:lnTo>
                    <a:lnTo>
                      <a:pt x="191" y="74"/>
                    </a:lnTo>
                    <a:lnTo>
                      <a:pt x="195" y="74"/>
                    </a:lnTo>
                    <a:lnTo>
                      <a:pt x="204" y="74"/>
                    </a:lnTo>
                    <a:lnTo>
                      <a:pt x="204" y="85"/>
                    </a:lnTo>
                    <a:lnTo>
                      <a:pt x="204" y="89"/>
                    </a:lnTo>
                    <a:lnTo>
                      <a:pt x="204" y="104"/>
                    </a:lnTo>
                    <a:lnTo>
                      <a:pt x="212" y="104"/>
                    </a:lnTo>
                    <a:lnTo>
                      <a:pt x="223" y="104"/>
                    </a:lnTo>
                    <a:lnTo>
                      <a:pt x="228" y="104"/>
                    </a:lnTo>
                    <a:lnTo>
                      <a:pt x="229" y="104"/>
                    </a:lnTo>
                    <a:lnTo>
                      <a:pt x="229" y="112"/>
                    </a:lnTo>
                    <a:lnTo>
                      <a:pt x="229" y="122"/>
                    </a:lnTo>
                    <a:lnTo>
                      <a:pt x="229" y="125"/>
                    </a:lnTo>
                    <a:lnTo>
                      <a:pt x="229" y="144"/>
                    </a:lnTo>
                    <a:lnTo>
                      <a:pt x="214" y="145"/>
                    </a:lnTo>
                    <a:lnTo>
                      <a:pt x="209" y="161"/>
                    </a:lnTo>
                    <a:lnTo>
                      <a:pt x="205" y="176"/>
                    </a:lnTo>
                    <a:lnTo>
                      <a:pt x="205" y="178"/>
                    </a:lnTo>
                    <a:lnTo>
                      <a:pt x="205" y="179"/>
                    </a:lnTo>
                    <a:lnTo>
                      <a:pt x="195" y="196"/>
                    </a:lnTo>
                    <a:lnTo>
                      <a:pt x="191" y="205"/>
                    </a:lnTo>
                    <a:lnTo>
                      <a:pt x="177" y="229"/>
                    </a:lnTo>
                    <a:lnTo>
                      <a:pt x="170" y="239"/>
                    </a:lnTo>
                    <a:lnTo>
                      <a:pt x="155" y="259"/>
                    </a:lnTo>
                    <a:lnTo>
                      <a:pt x="151" y="265"/>
                    </a:lnTo>
                    <a:lnTo>
                      <a:pt x="134" y="286"/>
                    </a:lnTo>
                    <a:lnTo>
                      <a:pt x="131" y="292"/>
                    </a:lnTo>
                    <a:lnTo>
                      <a:pt x="130" y="293"/>
                    </a:lnTo>
                    <a:lnTo>
                      <a:pt x="129" y="295"/>
                    </a:lnTo>
                    <a:lnTo>
                      <a:pt x="122" y="304"/>
                    </a:lnTo>
                    <a:lnTo>
                      <a:pt x="108" y="321"/>
                    </a:lnTo>
                    <a:lnTo>
                      <a:pt x="108" y="322"/>
                    </a:lnTo>
                    <a:lnTo>
                      <a:pt x="108" y="320"/>
                    </a:lnTo>
                    <a:lnTo>
                      <a:pt x="107" y="319"/>
                    </a:lnTo>
                    <a:lnTo>
                      <a:pt x="107" y="317"/>
                    </a:lnTo>
                    <a:lnTo>
                      <a:pt x="106" y="316"/>
                    </a:lnTo>
                    <a:lnTo>
                      <a:pt x="105" y="315"/>
                    </a:lnTo>
                    <a:lnTo>
                      <a:pt x="104" y="315"/>
                    </a:lnTo>
                    <a:lnTo>
                      <a:pt x="103" y="313"/>
                    </a:lnTo>
                    <a:lnTo>
                      <a:pt x="102" y="312"/>
                    </a:lnTo>
                    <a:lnTo>
                      <a:pt x="101" y="312"/>
                    </a:lnTo>
                    <a:lnTo>
                      <a:pt x="95" y="311"/>
                    </a:lnTo>
                    <a:lnTo>
                      <a:pt x="94" y="310"/>
                    </a:lnTo>
                    <a:lnTo>
                      <a:pt x="94" y="309"/>
                    </a:lnTo>
                    <a:lnTo>
                      <a:pt x="94" y="308"/>
                    </a:lnTo>
                    <a:lnTo>
                      <a:pt x="95" y="307"/>
                    </a:lnTo>
                    <a:lnTo>
                      <a:pt x="96" y="303"/>
                    </a:lnTo>
                    <a:lnTo>
                      <a:pt x="98" y="300"/>
                    </a:lnTo>
                    <a:lnTo>
                      <a:pt x="98" y="299"/>
                    </a:lnTo>
                    <a:lnTo>
                      <a:pt x="98" y="297"/>
                    </a:lnTo>
                    <a:lnTo>
                      <a:pt x="99" y="291"/>
                    </a:lnTo>
                    <a:lnTo>
                      <a:pt x="99" y="286"/>
                    </a:lnTo>
                    <a:lnTo>
                      <a:pt x="99" y="283"/>
                    </a:lnTo>
                    <a:lnTo>
                      <a:pt x="98" y="280"/>
                    </a:lnTo>
                    <a:lnTo>
                      <a:pt x="99" y="279"/>
                    </a:lnTo>
                    <a:lnTo>
                      <a:pt x="99" y="277"/>
                    </a:lnTo>
                    <a:lnTo>
                      <a:pt x="99" y="275"/>
                    </a:lnTo>
                    <a:lnTo>
                      <a:pt x="100" y="275"/>
                    </a:lnTo>
                    <a:lnTo>
                      <a:pt x="101" y="274"/>
                    </a:lnTo>
                    <a:lnTo>
                      <a:pt x="101" y="273"/>
                    </a:lnTo>
                    <a:lnTo>
                      <a:pt x="101" y="272"/>
                    </a:lnTo>
                    <a:lnTo>
                      <a:pt x="100" y="272"/>
                    </a:lnTo>
                    <a:lnTo>
                      <a:pt x="99" y="272"/>
                    </a:lnTo>
                    <a:lnTo>
                      <a:pt x="99" y="271"/>
                    </a:lnTo>
                    <a:lnTo>
                      <a:pt x="98" y="271"/>
                    </a:lnTo>
                    <a:lnTo>
                      <a:pt x="98" y="270"/>
                    </a:lnTo>
                    <a:lnTo>
                      <a:pt x="93" y="246"/>
                    </a:lnTo>
                    <a:lnTo>
                      <a:pt x="94" y="245"/>
                    </a:lnTo>
                    <a:lnTo>
                      <a:pt x="95" y="244"/>
                    </a:lnTo>
                    <a:lnTo>
                      <a:pt x="96" y="244"/>
                    </a:lnTo>
                    <a:lnTo>
                      <a:pt x="98" y="245"/>
                    </a:lnTo>
                    <a:lnTo>
                      <a:pt x="99" y="245"/>
                    </a:lnTo>
                    <a:lnTo>
                      <a:pt x="100" y="244"/>
                    </a:lnTo>
                    <a:lnTo>
                      <a:pt x="101" y="244"/>
                    </a:lnTo>
                    <a:lnTo>
                      <a:pt x="101" y="242"/>
                    </a:lnTo>
                    <a:lnTo>
                      <a:pt x="101" y="241"/>
                    </a:lnTo>
                    <a:lnTo>
                      <a:pt x="101" y="240"/>
                    </a:lnTo>
                    <a:lnTo>
                      <a:pt x="102" y="240"/>
                    </a:lnTo>
                    <a:lnTo>
                      <a:pt x="102" y="239"/>
                    </a:lnTo>
                    <a:lnTo>
                      <a:pt x="102" y="238"/>
                    </a:lnTo>
                    <a:lnTo>
                      <a:pt x="102" y="236"/>
                    </a:lnTo>
                    <a:lnTo>
                      <a:pt x="102" y="235"/>
                    </a:lnTo>
                    <a:lnTo>
                      <a:pt x="103" y="235"/>
                    </a:lnTo>
                    <a:lnTo>
                      <a:pt x="103" y="234"/>
                    </a:lnTo>
                    <a:lnTo>
                      <a:pt x="103" y="233"/>
                    </a:lnTo>
                    <a:lnTo>
                      <a:pt x="103" y="232"/>
                    </a:lnTo>
                    <a:lnTo>
                      <a:pt x="104" y="231"/>
                    </a:lnTo>
                    <a:lnTo>
                      <a:pt x="104" y="230"/>
                    </a:lnTo>
                    <a:lnTo>
                      <a:pt x="103" y="230"/>
                    </a:lnTo>
                    <a:lnTo>
                      <a:pt x="103" y="229"/>
                    </a:lnTo>
                    <a:lnTo>
                      <a:pt x="103" y="228"/>
                    </a:lnTo>
                    <a:lnTo>
                      <a:pt x="102" y="228"/>
                    </a:lnTo>
                    <a:lnTo>
                      <a:pt x="102" y="227"/>
                    </a:lnTo>
                    <a:lnTo>
                      <a:pt x="102" y="226"/>
                    </a:lnTo>
                    <a:lnTo>
                      <a:pt x="101" y="226"/>
                    </a:lnTo>
                    <a:lnTo>
                      <a:pt x="101" y="225"/>
                    </a:lnTo>
                    <a:lnTo>
                      <a:pt x="101" y="223"/>
                    </a:lnTo>
                    <a:lnTo>
                      <a:pt x="100" y="222"/>
                    </a:lnTo>
                    <a:lnTo>
                      <a:pt x="99" y="221"/>
                    </a:lnTo>
                    <a:lnTo>
                      <a:pt x="98" y="220"/>
                    </a:lnTo>
                    <a:lnTo>
                      <a:pt x="98" y="219"/>
                    </a:lnTo>
                    <a:lnTo>
                      <a:pt x="98" y="218"/>
                    </a:lnTo>
                    <a:lnTo>
                      <a:pt x="98" y="217"/>
                    </a:lnTo>
                    <a:lnTo>
                      <a:pt x="99" y="217"/>
                    </a:lnTo>
                    <a:lnTo>
                      <a:pt x="99" y="216"/>
                    </a:lnTo>
                    <a:lnTo>
                      <a:pt x="100" y="215"/>
                    </a:lnTo>
                    <a:lnTo>
                      <a:pt x="100" y="214"/>
                    </a:lnTo>
                    <a:lnTo>
                      <a:pt x="99" y="213"/>
                    </a:lnTo>
                    <a:lnTo>
                      <a:pt x="99" y="212"/>
                    </a:lnTo>
                    <a:lnTo>
                      <a:pt x="98" y="210"/>
                    </a:lnTo>
                    <a:lnTo>
                      <a:pt x="99" y="207"/>
                    </a:lnTo>
                    <a:lnTo>
                      <a:pt x="99" y="206"/>
                    </a:lnTo>
                    <a:lnTo>
                      <a:pt x="99" y="205"/>
                    </a:lnTo>
                    <a:lnTo>
                      <a:pt x="100" y="204"/>
                    </a:lnTo>
                    <a:lnTo>
                      <a:pt x="100" y="203"/>
                    </a:lnTo>
                    <a:lnTo>
                      <a:pt x="100" y="202"/>
                    </a:lnTo>
                    <a:lnTo>
                      <a:pt x="101" y="201"/>
                    </a:lnTo>
                    <a:lnTo>
                      <a:pt x="101" y="200"/>
                    </a:lnTo>
                    <a:lnTo>
                      <a:pt x="102" y="200"/>
                    </a:lnTo>
                    <a:lnTo>
                      <a:pt x="102" y="198"/>
                    </a:lnTo>
                    <a:lnTo>
                      <a:pt x="101" y="197"/>
                    </a:lnTo>
                    <a:lnTo>
                      <a:pt x="101" y="196"/>
                    </a:lnTo>
                    <a:lnTo>
                      <a:pt x="100" y="195"/>
                    </a:lnTo>
                    <a:lnTo>
                      <a:pt x="100" y="194"/>
                    </a:lnTo>
                    <a:lnTo>
                      <a:pt x="100" y="193"/>
                    </a:lnTo>
                    <a:lnTo>
                      <a:pt x="100" y="192"/>
                    </a:lnTo>
                    <a:lnTo>
                      <a:pt x="99" y="192"/>
                    </a:lnTo>
                    <a:lnTo>
                      <a:pt x="99" y="191"/>
                    </a:lnTo>
                    <a:lnTo>
                      <a:pt x="98" y="190"/>
                    </a:lnTo>
                    <a:lnTo>
                      <a:pt x="98" y="189"/>
                    </a:lnTo>
                    <a:lnTo>
                      <a:pt x="96" y="189"/>
                    </a:lnTo>
                    <a:lnTo>
                      <a:pt x="96" y="188"/>
                    </a:lnTo>
                    <a:lnTo>
                      <a:pt x="95" y="188"/>
                    </a:lnTo>
                    <a:lnTo>
                      <a:pt x="94" y="188"/>
                    </a:lnTo>
                    <a:lnTo>
                      <a:pt x="93" y="185"/>
                    </a:lnTo>
                    <a:lnTo>
                      <a:pt x="93" y="184"/>
                    </a:lnTo>
                    <a:lnTo>
                      <a:pt x="92" y="184"/>
                    </a:lnTo>
                    <a:lnTo>
                      <a:pt x="92" y="183"/>
                    </a:lnTo>
                    <a:lnTo>
                      <a:pt x="92" y="182"/>
                    </a:lnTo>
                    <a:lnTo>
                      <a:pt x="91" y="181"/>
                    </a:lnTo>
                    <a:lnTo>
                      <a:pt x="90" y="181"/>
                    </a:lnTo>
                    <a:lnTo>
                      <a:pt x="89" y="181"/>
                    </a:lnTo>
                    <a:lnTo>
                      <a:pt x="88" y="181"/>
                    </a:lnTo>
                    <a:lnTo>
                      <a:pt x="86" y="180"/>
                    </a:lnTo>
                    <a:lnTo>
                      <a:pt x="85" y="180"/>
                    </a:lnTo>
                    <a:lnTo>
                      <a:pt x="83" y="179"/>
                    </a:lnTo>
                    <a:lnTo>
                      <a:pt x="82" y="177"/>
                    </a:lnTo>
                    <a:lnTo>
                      <a:pt x="81" y="176"/>
                    </a:lnTo>
                    <a:lnTo>
                      <a:pt x="80" y="175"/>
                    </a:lnTo>
                    <a:lnTo>
                      <a:pt x="78" y="174"/>
                    </a:lnTo>
                    <a:lnTo>
                      <a:pt x="77" y="174"/>
                    </a:lnTo>
                    <a:lnTo>
                      <a:pt x="76" y="174"/>
                    </a:lnTo>
                    <a:lnTo>
                      <a:pt x="75" y="174"/>
                    </a:lnTo>
                    <a:lnTo>
                      <a:pt x="74" y="174"/>
                    </a:lnTo>
                    <a:lnTo>
                      <a:pt x="73" y="174"/>
                    </a:lnTo>
                    <a:lnTo>
                      <a:pt x="72" y="174"/>
                    </a:lnTo>
                    <a:lnTo>
                      <a:pt x="69" y="174"/>
                    </a:lnTo>
                    <a:lnTo>
                      <a:pt x="68" y="174"/>
                    </a:lnTo>
                    <a:lnTo>
                      <a:pt x="67" y="174"/>
                    </a:lnTo>
                    <a:lnTo>
                      <a:pt x="65" y="172"/>
                    </a:lnTo>
                    <a:lnTo>
                      <a:pt x="63" y="171"/>
                    </a:lnTo>
                    <a:lnTo>
                      <a:pt x="62" y="170"/>
                    </a:lnTo>
                    <a:lnTo>
                      <a:pt x="59" y="169"/>
                    </a:lnTo>
                    <a:lnTo>
                      <a:pt x="53" y="168"/>
                    </a:lnTo>
                    <a:lnTo>
                      <a:pt x="51" y="168"/>
                    </a:lnTo>
                    <a:lnTo>
                      <a:pt x="49" y="167"/>
                    </a:lnTo>
                    <a:lnTo>
                      <a:pt x="47" y="167"/>
                    </a:lnTo>
                    <a:lnTo>
                      <a:pt x="46" y="167"/>
                    </a:lnTo>
                    <a:lnTo>
                      <a:pt x="44" y="165"/>
                    </a:lnTo>
                    <a:lnTo>
                      <a:pt x="42" y="163"/>
                    </a:lnTo>
                    <a:lnTo>
                      <a:pt x="41" y="161"/>
                    </a:lnTo>
                    <a:lnTo>
                      <a:pt x="40" y="159"/>
                    </a:lnTo>
                    <a:lnTo>
                      <a:pt x="37" y="157"/>
                    </a:lnTo>
                    <a:lnTo>
                      <a:pt x="37" y="156"/>
                    </a:lnTo>
                    <a:lnTo>
                      <a:pt x="36" y="156"/>
                    </a:lnTo>
                    <a:lnTo>
                      <a:pt x="36" y="155"/>
                    </a:lnTo>
                    <a:lnTo>
                      <a:pt x="36" y="154"/>
                    </a:lnTo>
                    <a:lnTo>
                      <a:pt x="36" y="152"/>
                    </a:lnTo>
                    <a:lnTo>
                      <a:pt x="35" y="149"/>
                    </a:lnTo>
                    <a:lnTo>
                      <a:pt x="35" y="148"/>
                    </a:lnTo>
                    <a:lnTo>
                      <a:pt x="34" y="145"/>
                    </a:lnTo>
                    <a:lnTo>
                      <a:pt x="34" y="144"/>
                    </a:lnTo>
                    <a:lnTo>
                      <a:pt x="33" y="143"/>
                    </a:lnTo>
                    <a:lnTo>
                      <a:pt x="33" y="142"/>
                    </a:lnTo>
                    <a:lnTo>
                      <a:pt x="33" y="141"/>
                    </a:lnTo>
                    <a:lnTo>
                      <a:pt x="33" y="140"/>
                    </a:lnTo>
                    <a:lnTo>
                      <a:pt x="31" y="139"/>
                    </a:lnTo>
                    <a:lnTo>
                      <a:pt x="31" y="137"/>
                    </a:lnTo>
                    <a:lnTo>
                      <a:pt x="31" y="135"/>
                    </a:lnTo>
                    <a:lnTo>
                      <a:pt x="31" y="133"/>
                    </a:lnTo>
                    <a:lnTo>
                      <a:pt x="33" y="131"/>
                    </a:lnTo>
                    <a:lnTo>
                      <a:pt x="31" y="130"/>
                    </a:lnTo>
                    <a:lnTo>
                      <a:pt x="31" y="129"/>
                    </a:lnTo>
                    <a:lnTo>
                      <a:pt x="30" y="127"/>
                    </a:lnTo>
                    <a:lnTo>
                      <a:pt x="28" y="124"/>
                    </a:lnTo>
                    <a:lnTo>
                      <a:pt x="27" y="123"/>
                    </a:lnTo>
                    <a:lnTo>
                      <a:pt x="26" y="123"/>
                    </a:lnTo>
                    <a:lnTo>
                      <a:pt x="24" y="122"/>
                    </a:lnTo>
                    <a:lnTo>
                      <a:pt x="23" y="122"/>
                    </a:lnTo>
                    <a:lnTo>
                      <a:pt x="22" y="120"/>
                    </a:lnTo>
                    <a:lnTo>
                      <a:pt x="21" y="120"/>
                    </a:lnTo>
                    <a:lnTo>
                      <a:pt x="21" y="119"/>
                    </a:lnTo>
                    <a:lnTo>
                      <a:pt x="19" y="118"/>
                    </a:lnTo>
                    <a:lnTo>
                      <a:pt x="18" y="117"/>
                    </a:lnTo>
                    <a:lnTo>
                      <a:pt x="17" y="117"/>
                    </a:lnTo>
                    <a:lnTo>
                      <a:pt x="16" y="116"/>
                    </a:lnTo>
                    <a:lnTo>
                      <a:pt x="16" y="115"/>
                    </a:lnTo>
                    <a:lnTo>
                      <a:pt x="16" y="114"/>
                    </a:lnTo>
                    <a:lnTo>
                      <a:pt x="16" y="113"/>
                    </a:lnTo>
                    <a:lnTo>
                      <a:pt x="16" y="112"/>
                    </a:lnTo>
                    <a:lnTo>
                      <a:pt x="17" y="111"/>
                    </a:lnTo>
                    <a:lnTo>
                      <a:pt x="17" y="110"/>
                    </a:lnTo>
                    <a:lnTo>
                      <a:pt x="18" y="108"/>
                    </a:lnTo>
                    <a:lnTo>
                      <a:pt x="18" y="107"/>
                    </a:lnTo>
                    <a:lnTo>
                      <a:pt x="18" y="106"/>
                    </a:lnTo>
                    <a:lnTo>
                      <a:pt x="18" y="105"/>
                    </a:lnTo>
                    <a:lnTo>
                      <a:pt x="17" y="104"/>
                    </a:lnTo>
                    <a:lnTo>
                      <a:pt x="15" y="103"/>
                    </a:lnTo>
                    <a:lnTo>
                      <a:pt x="14" y="102"/>
                    </a:lnTo>
                    <a:lnTo>
                      <a:pt x="13" y="102"/>
                    </a:lnTo>
                    <a:lnTo>
                      <a:pt x="12" y="100"/>
                    </a:lnTo>
                    <a:lnTo>
                      <a:pt x="11" y="99"/>
                    </a:lnTo>
                    <a:lnTo>
                      <a:pt x="10" y="98"/>
                    </a:lnTo>
                    <a:lnTo>
                      <a:pt x="10" y="97"/>
                    </a:lnTo>
                    <a:lnTo>
                      <a:pt x="9" y="94"/>
                    </a:lnTo>
                    <a:lnTo>
                      <a:pt x="8" y="93"/>
                    </a:lnTo>
                    <a:lnTo>
                      <a:pt x="6" y="92"/>
                    </a:lnTo>
                    <a:lnTo>
                      <a:pt x="8" y="92"/>
                    </a:lnTo>
                    <a:lnTo>
                      <a:pt x="9" y="91"/>
                    </a:lnTo>
                    <a:lnTo>
                      <a:pt x="9" y="90"/>
                    </a:lnTo>
                    <a:lnTo>
                      <a:pt x="9" y="89"/>
                    </a:lnTo>
                    <a:lnTo>
                      <a:pt x="8" y="89"/>
                    </a:lnTo>
                    <a:lnTo>
                      <a:pt x="6" y="89"/>
                    </a:lnTo>
                    <a:lnTo>
                      <a:pt x="5" y="89"/>
                    </a:lnTo>
                    <a:lnTo>
                      <a:pt x="4" y="88"/>
                    </a:lnTo>
                    <a:lnTo>
                      <a:pt x="4" y="87"/>
                    </a:lnTo>
                    <a:lnTo>
                      <a:pt x="5" y="87"/>
                    </a:lnTo>
                    <a:lnTo>
                      <a:pt x="5" y="86"/>
                    </a:lnTo>
                    <a:lnTo>
                      <a:pt x="5" y="85"/>
                    </a:lnTo>
                    <a:lnTo>
                      <a:pt x="4" y="85"/>
                    </a:lnTo>
                    <a:lnTo>
                      <a:pt x="4" y="84"/>
                    </a:lnTo>
                    <a:lnTo>
                      <a:pt x="4" y="82"/>
                    </a:lnTo>
                    <a:lnTo>
                      <a:pt x="4" y="81"/>
                    </a:lnTo>
                    <a:lnTo>
                      <a:pt x="3" y="81"/>
                    </a:lnTo>
                    <a:lnTo>
                      <a:pt x="3" y="80"/>
                    </a:lnTo>
                    <a:lnTo>
                      <a:pt x="3" y="79"/>
                    </a:lnTo>
                    <a:lnTo>
                      <a:pt x="2" y="79"/>
                    </a:lnTo>
                    <a:lnTo>
                      <a:pt x="2" y="78"/>
                    </a:lnTo>
                    <a:lnTo>
                      <a:pt x="3" y="78"/>
                    </a:lnTo>
                    <a:lnTo>
                      <a:pt x="2" y="77"/>
                    </a:lnTo>
                    <a:lnTo>
                      <a:pt x="2" y="76"/>
                    </a:lnTo>
                    <a:lnTo>
                      <a:pt x="2" y="75"/>
                    </a:lnTo>
                    <a:lnTo>
                      <a:pt x="2" y="74"/>
                    </a:lnTo>
                    <a:lnTo>
                      <a:pt x="1" y="74"/>
                    </a:lnTo>
                    <a:lnTo>
                      <a:pt x="1" y="73"/>
                    </a:lnTo>
                    <a:lnTo>
                      <a:pt x="1" y="72"/>
                    </a:lnTo>
                    <a:lnTo>
                      <a:pt x="1" y="71"/>
                    </a:lnTo>
                    <a:lnTo>
                      <a:pt x="0" y="69"/>
                    </a:lnTo>
                    <a:lnTo>
                      <a:pt x="0" y="68"/>
                    </a:lnTo>
                    <a:lnTo>
                      <a:pt x="0" y="59"/>
                    </a:lnTo>
                    <a:lnTo>
                      <a:pt x="0" y="58"/>
                    </a:lnTo>
                    <a:lnTo>
                      <a:pt x="1" y="58"/>
                    </a:lnTo>
                    <a:lnTo>
                      <a:pt x="2" y="58"/>
                    </a:lnTo>
                    <a:lnTo>
                      <a:pt x="3" y="58"/>
                    </a:lnTo>
                    <a:lnTo>
                      <a:pt x="6" y="58"/>
                    </a:lnTo>
                    <a:lnTo>
                      <a:pt x="9" y="59"/>
                    </a:lnTo>
                    <a:lnTo>
                      <a:pt x="13" y="59"/>
                    </a:lnTo>
                    <a:lnTo>
                      <a:pt x="14" y="58"/>
                    </a:lnTo>
                    <a:lnTo>
                      <a:pt x="15" y="56"/>
                    </a:lnTo>
                    <a:lnTo>
                      <a:pt x="16" y="53"/>
                    </a:lnTo>
                    <a:lnTo>
                      <a:pt x="17" y="50"/>
                    </a:lnTo>
                    <a:lnTo>
                      <a:pt x="18" y="48"/>
                    </a:lnTo>
                    <a:lnTo>
                      <a:pt x="19" y="45"/>
                    </a:lnTo>
                    <a:lnTo>
                      <a:pt x="21" y="42"/>
                    </a:lnTo>
                    <a:lnTo>
                      <a:pt x="22" y="40"/>
                    </a:lnTo>
                    <a:lnTo>
                      <a:pt x="61" y="26"/>
                    </a:lnTo>
                    <a:lnTo>
                      <a:pt x="94" y="14"/>
                    </a:lnTo>
                    <a:lnTo>
                      <a:pt x="104" y="14"/>
                    </a:lnTo>
                    <a:lnTo>
                      <a:pt x="104" y="4"/>
                    </a:lnTo>
                    <a:lnTo>
                      <a:pt x="111" y="3"/>
                    </a:lnTo>
                    <a:lnTo>
                      <a:pt x="113" y="0"/>
                    </a:lnTo>
                    <a:lnTo>
                      <a:pt x="115" y="2"/>
                    </a:lnTo>
                    <a:lnTo>
                      <a:pt x="116" y="2"/>
                    </a:lnTo>
                    <a:lnTo>
                      <a:pt x="118" y="4"/>
                    </a:lnTo>
                    <a:lnTo>
                      <a:pt x="121" y="7"/>
                    </a:lnTo>
                    <a:lnTo>
                      <a:pt x="125" y="9"/>
                    </a:lnTo>
                    <a:lnTo>
                      <a:pt x="127" y="7"/>
                    </a:lnTo>
                    <a:lnTo>
                      <a:pt x="128" y="8"/>
                    </a:lnTo>
                    <a:lnTo>
                      <a:pt x="131" y="7"/>
                    </a:lnTo>
                    <a:lnTo>
                      <a:pt x="142" y="4"/>
                    </a:lnTo>
                    <a:lnTo>
                      <a:pt x="143" y="4"/>
                    </a:lnTo>
                    <a:lnTo>
                      <a:pt x="143" y="5"/>
                    </a:lnTo>
                    <a:lnTo>
                      <a:pt x="155" y="2"/>
                    </a:lnTo>
                    <a:lnTo>
                      <a:pt x="158" y="5"/>
                    </a:lnTo>
                    <a:lnTo>
                      <a:pt x="159" y="7"/>
                    </a:lnTo>
                    <a:lnTo>
                      <a:pt x="165" y="10"/>
                    </a:lnTo>
                    <a:lnTo>
                      <a:pt x="168" y="12"/>
                    </a:lnTo>
                    <a:lnTo>
                      <a:pt x="170" y="12"/>
                    </a:lnTo>
                    <a:lnTo>
                      <a:pt x="176" y="12"/>
                    </a:lnTo>
                    <a:lnTo>
                      <a:pt x="180" y="12"/>
                    </a:lnTo>
                    <a:lnTo>
                      <a:pt x="181" y="11"/>
                    </a:lnTo>
                    <a:close/>
                  </a:path>
                </a:pathLst>
              </a:custGeom>
              <a:solidFill>
                <a:srgbClr val="0E498E"/>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4" name="Freeform 282">
                <a:extLst>
                  <a:ext uri="{FF2B5EF4-FFF2-40B4-BE49-F238E27FC236}">
                    <a16:creationId xmlns:a16="http://schemas.microsoft.com/office/drawing/2014/main" id="{2732739A-A4D0-3281-2C24-92368A9FE2B4}"/>
                  </a:ext>
                </a:extLst>
              </p:cNvPr>
              <p:cNvSpPr>
                <a:spLocks noEditPoints="1"/>
              </p:cNvSpPr>
              <p:nvPr/>
            </p:nvSpPr>
            <p:spPr bwMode="auto">
              <a:xfrm>
                <a:off x="4802188" y="4516438"/>
                <a:ext cx="365125" cy="987425"/>
              </a:xfrm>
              <a:custGeom>
                <a:avLst/>
                <a:gdLst>
                  <a:gd name="T0" fmla="*/ 165 w 230"/>
                  <a:gd name="T1" fmla="*/ 107 h 622"/>
                  <a:gd name="T2" fmla="*/ 128 w 230"/>
                  <a:gd name="T3" fmla="*/ 173 h 622"/>
                  <a:gd name="T4" fmla="*/ 168 w 230"/>
                  <a:gd name="T5" fmla="*/ 292 h 622"/>
                  <a:gd name="T6" fmla="*/ 180 w 230"/>
                  <a:gd name="T7" fmla="*/ 335 h 622"/>
                  <a:gd name="T8" fmla="*/ 180 w 230"/>
                  <a:gd name="T9" fmla="*/ 413 h 622"/>
                  <a:gd name="T10" fmla="*/ 158 w 230"/>
                  <a:gd name="T11" fmla="*/ 390 h 622"/>
                  <a:gd name="T12" fmla="*/ 127 w 230"/>
                  <a:gd name="T13" fmla="*/ 377 h 622"/>
                  <a:gd name="T14" fmla="*/ 114 w 230"/>
                  <a:gd name="T15" fmla="*/ 362 h 622"/>
                  <a:gd name="T16" fmla="*/ 94 w 230"/>
                  <a:gd name="T17" fmla="*/ 333 h 622"/>
                  <a:gd name="T18" fmla="*/ 99 w 230"/>
                  <a:gd name="T19" fmla="*/ 275 h 622"/>
                  <a:gd name="T20" fmla="*/ 86 w 230"/>
                  <a:gd name="T21" fmla="*/ 262 h 622"/>
                  <a:gd name="T22" fmla="*/ 48 w 230"/>
                  <a:gd name="T23" fmla="*/ 254 h 622"/>
                  <a:gd name="T24" fmla="*/ 9 w 230"/>
                  <a:gd name="T25" fmla="*/ 104 h 622"/>
                  <a:gd name="T26" fmla="*/ 26 w 230"/>
                  <a:gd name="T27" fmla="*/ 6 h 622"/>
                  <a:gd name="T28" fmla="*/ 94 w 230"/>
                  <a:gd name="T29" fmla="*/ 19 h 622"/>
                  <a:gd name="T30" fmla="*/ 139 w 230"/>
                  <a:gd name="T31" fmla="*/ 401 h 622"/>
                  <a:gd name="T32" fmla="*/ 116 w 230"/>
                  <a:gd name="T33" fmla="*/ 408 h 622"/>
                  <a:gd name="T34" fmla="*/ 120 w 230"/>
                  <a:gd name="T35" fmla="*/ 386 h 622"/>
                  <a:gd name="T36" fmla="*/ 78 w 230"/>
                  <a:gd name="T37" fmla="*/ 362 h 622"/>
                  <a:gd name="T38" fmla="*/ 75 w 230"/>
                  <a:gd name="T39" fmla="*/ 342 h 622"/>
                  <a:gd name="T40" fmla="*/ 176 w 230"/>
                  <a:gd name="T41" fmla="*/ 577 h 622"/>
                  <a:gd name="T42" fmla="*/ 160 w 230"/>
                  <a:gd name="T43" fmla="*/ 582 h 622"/>
                  <a:gd name="T44" fmla="*/ 175 w 230"/>
                  <a:gd name="T45" fmla="*/ 570 h 622"/>
                  <a:gd name="T46" fmla="*/ 200 w 230"/>
                  <a:gd name="T47" fmla="*/ 553 h 622"/>
                  <a:gd name="T48" fmla="*/ 163 w 230"/>
                  <a:gd name="T49" fmla="*/ 418 h 622"/>
                  <a:gd name="T50" fmla="*/ 175 w 230"/>
                  <a:gd name="T51" fmla="*/ 431 h 622"/>
                  <a:gd name="T52" fmla="*/ 167 w 230"/>
                  <a:gd name="T53" fmla="*/ 435 h 622"/>
                  <a:gd name="T54" fmla="*/ 161 w 230"/>
                  <a:gd name="T55" fmla="*/ 427 h 622"/>
                  <a:gd name="T56" fmla="*/ 135 w 230"/>
                  <a:gd name="T57" fmla="*/ 411 h 622"/>
                  <a:gd name="T58" fmla="*/ 88 w 230"/>
                  <a:gd name="T59" fmla="*/ 311 h 622"/>
                  <a:gd name="T60" fmla="*/ 83 w 230"/>
                  <a:gd name="T61" fmla="*/ 289 h 622"/>
                  <a:gd name="T62" fmla="*/ 132 w 230"/>
                  <a:gd name="T63" fmla="*/ 596 h 622"/>
                  <a:gd name="T64" fmla="*/ 135 w 230"/>
                  <a:gd name="T65" fmla="*/ 601 h 622"/>
                  <a:gd name="T66" fmla="*/ 146 w 230"/>
                  <a:gd name="T67" fmla="*/ 396 h 622"/>
                  <a:gd name="T68" fmla="*/ 144 w 230"/>
                  <a:gd name="T69" fmla="*/ 403 h 622"/>
                  <a:gd name="T70" fmla="*/ 206 w 230"/>
                  <a:gd name="T71" fmla="*/ 543 h 622"/>
                  <a:gd name="T72" fmla="*/ 166 w 230"/>
                  <a:gd name="T73" fmla="*/ 490 h 622"/>
                  <a:gd name="T74" fmla="*/ 170 w 230"/>
                  <a:gd name="T75" fmla="*/ 480 h 622"/>
                  <a:gd name="T76" fmla="*/ 190 w 230"/>
                  <a:gd name="T77" fmla="*/ 554 h 622"/>
                  <a:gd name="T78" fmla="*/ 149 w 230"/>
                  <a:gd name="T79" fmla="*/ 431 h 622"/>
                  <a:gd name="T80" fmla="*/ 177 w 230"/>
                  <a:gd name="T81" fmla="*/ 416 h 622"/>
                  <a:gd name="T82" fmla="*/ 189 w 230"/>
                  <a:gd name="T83" fmla="*/ 524 h 622"/>
                  <a:gd name="T84" fmla="*/ 179 w 230"/>
                  <a:gd name="T85" fmla="*/ 430 h 622"/>
                  <a:gd name="T86" fmla="*/ 165 w 230"/>
                  <a:gd name="T87" fmla="*/ 570 h 622"/>
                  <a:gd name="T88" fmla="*/ 128 w 230"/>
                  <a:gd name="T89" fmla="*/ 403 h 622"/>
                  <a:gd name="T90" fmla="*/ 140 w 230"/>
                  <a:gd name="T91" fmla="*/ 599 h 622"/>
                  <a:gd name="T92" fmla="*/ 192 w 230"/>
                  <a:gd name="T93" fmla="*/ 547 h 622"/>
                  <a:gd name="T94" fmla="*/ 176 w 230"/>
                  <a:gd name="T95" fmla="*/ 495 h 622"/>
                  <a:gd name="T96" fmla="*/ 181 w 230"/>
                  <a:gd name="T97" fmla="*/ 495 h 622"/>
                  <a:gd name="T98" fmla="*/ 184 w 230"/>
                  <a:gd name="T99" fmla="*/ 519 h 622"/>
                  <a:gd name="T100" fmla="*/ 165 w 230"/>
                  <a:gd name="T101" fmla="*/ 469 h 622"/>
                  <a:gd name="T102" fmla="*/ 167 w 230"/>
                  <a:gd name="T103" fmla="*/ 439 h 622"/>
                  <a:gd name="T104" fmla="*/ 158 w 230"/>
                  <a:gd name="T105" fmla="*/ 492 h 622"/>
                  <a:gd name="T106" fmla="*/ 155 w 230"/>
                  <a:gd name="T107" fmla="*/ 473 h 622"/>
                  <a:gd name="T108" fmla="*/ 72 w 230"/>
                  <a:gd name="T109" fmla="*/ 362 h 622"/>
                  <a:gd name="T110" fmla="*/ 144 w 230"/>
                  <a:gd name="T111" fmla="*/ 584 h 622"/>
                  <a:gd name="T112" fmla="*/ 188 w 230"/>
                  <a:gd name="T113" fmla="*/ 518 h 622"/>
                  <a:gd name="T114" fmla="*/ 87 w 230"/>
                  <a:gd name="T115" fmla="*/ 272 h 622"/>
                  <a:gd name="T116" fmla="*/ 83 w 230"/>
                  <a:gd name="T117" fmla="*/ 269 h 622"/>
                  <a:gd name="T118" fmla="*/ 172 w 230"/>
                  <a:gd name="T119" fmla="*/ 399 h 622"/>
                  <a:gd name="T120" fmla="*/ 172 w 230"/>
                  <a:gd name="T121" fmla="*/ 565 h 622"/>
                  <a:gd name="T122" fmla="*/ 180 w 230"/>
                  <a:gd name="T123" fmla="*/ 490 h 622"/>
                  <a:gd name="T124" fmla="*/ 180 w 230"/>
                  <a:gd name="T125" fmla="*/ 492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 h="622">
                    <a:moveTo>
                      <a:pt x="98" y="22"/>
                    </a:moveTo>
                    <a:lnTo>
                      <a:pt x="97" y="36"/>
                    </a:lnTo>
                    <a:lnTo>
                      <a:pt x="97" y="38"/>
                    </a:lnTo>
                    <a:lnTo>
                      <a:pt x="96" y="43"/>
                    </a:lnTo>
                    <a:lnTo>
                      <a:pt x="96" y="44"/>
                    </a:lnTo>
                    <a:lnTo>
                      <a:pt x="96" y="45"/>
                    </a:lnTo>
                    <a:lnTo>
                      <a:pt x="96" y="50"/>
                    </a:lnTo>
                    <a:lnTo>
                      <a:pt x="96" y="52"/>
                    </a:lnTo>
                    <a:lnTo>
                      <a:pt x="96" y="53"/>
                    </a:lnTo>
                    <a:lnTo>
                      <a:pt x="96" y="54"/>
                    </a:lnTo>
                    <a:lnTo>
                      <a:pt x="95" y="55"/>
                    </a:lnTo>
                    <a:lnTo>
                      <a:pt x="95" y="56"/>
                    </a:lnTo>
                    <a:lnTo>
                      <a:pt x="94" y="58"/>
                    </a:lnTo>
                    <a:lnTo>
                      <a:pt x="93" y="61"/>
                    </a:lnTo>
                    <a:lnTo>
                      <a:pt x="91" y="61"/>
                    </a:lnTo>
                    <a:lnTo>
                      <a:pt x="88" y="68"/>
                    </a:lnTo>
                    <a:lnTo>
                      <a:pt x="88" y="69"/>
                    </a:lnTo>
                    <a:lnTo>
                      <a:pt x="86" y="72"/>
                    </a:lnTo>
                    <a:lnTo>
                      <a:pt x="87" y="79"/>
                    </a:lnTo>
                    <a:lnTo>
                      <a:pt x="87" y="89"/>
                    </a:lnTo>
                    <a:lnTo>
                      <a:pt x="87" y="93"/>
                    </a:lnTo>
                    <a:lnTo>
                      <a:pt x="90" y="96"/>
                    </a:lnTo>
                    <a:lnTo>
                      <a:pt x="94" y="99"/>
                    </a:lnTo>
                    <a:lnTo>
                      <a:pt x="95" y="99"/>
                    </a:lnTo>
                    <a:lnTo>
                      <a:pt x="100" y="100"/>
                    </a:lnTo>
                    <a:lnTo>
                      <a:pt x="110" y="99"/>
                    </a:lnTo>
                    <a:lnTo>
                      <a:pt x="114" y="97"/>
                    </a:lnTo>
                    <a:lnTo>
                      <a:pt x="116" y="97"/>
                    </a:lnTo>
                    <a:lnTo>
                      <a:pt x="119" y="96"/>
                    </a:lnTo>
                    <a:lnTo>
                      <a:pt x="120" y="95"/>
                    </a:lnTo>
                    <a:lnTo>
                      <a:pt x="127" y="92"/>
                    </a:lnTo>
                    <a:lnTo>
                      <a:pt x="128" y="92"/>
                    </a:lnTo>
                    <a:lnTo>
                      <a:pt x="131" y="91"/>
                    </a:lnTo>
                    <a:lnTo>
                      <a:pt x="133" y="88"/>
                    </a:lnTo>
                    <a:lnTo>
                      <a:pt x="134" y="88"/>
                    </a:lnTo>
                    <a:lnTo>
                      <a:pt x="136" y="84"/>
                    </a:lnTo>
                    <a:lnTo>
                      <a:pt x="136" y="79"/>
                    </a:lnTo>
                    <a:lnTo>
                      <a:pt x="137" y="79"/>
                    </a:lnTo>
                    <a:lnTo>
                      <a:pt x="136" y="74"/>
                    </a:lnTo>
                    <a:lnTo>
                      <a:pt x="139" y="77"/>
                    </a:lnTo>
                    <a:lnTo>
                      <a:pt x="139" y="78"/>
                    </a:lnTo>
                    <a:lnTo>
                      <a:pt x="140" y="78"/>
                    </a:lnTo>
                    <a:lnTo>
                      <a:pt x="140" y="79"/>
                    </a:lnTo>
                    <a:lnTo>
                      <a:pt x="141" y="79"/>
                    </a:lnTo>
                    <a:lnTo>
                      <a:pt x="141" y="80"/>
                    </a:lnTo>
                    <a:lnTo>
                      <a:pt x="142" y="81"/>
                    </a:lnTo>
                    <a:lnTo>
                      <a:pt x="144" y="82"/>
                    </a:lnTo>
                    <a:lnTo>
                      <a:pt x="145" y="83"/>
                    </a:lnTo>
                    <a:lnTo>
                      <a:pt x="146" y="84"/>
                    </a:lnTo>
                    <a:lnTo>
                      <a:pt x="148" y="87"/>
                    </a:lnTo>
                    <a:lnTo>
                      <a:pt x="150" y="89"/>
                    </a:lnTo>
                    <a:lnTo>
                      <a:pt x="161" y="101"/>
                    </a:lnTo>
                    <a:lnTo>
                      <a:pt x="162" y="103"/>
                    </a:lnTo>
                    <a:lnTo>
                      <a:pt x="163" y="104"/>
                    </a:lnTo>
                    <a:lnTo>
                      <a:pt x="164" y="104"/>
                    </a:lnTo>
                    <a:lnTo>
                      <a:pt x="165" y="107"/>
                    </a:lnTo>
                    <a:lnTo>
                      <a:pt x="167" y="108"/>
                    </a:lnTo>
                    <a:lnTo>
                      <a:pt x="167" y="109"/>
                    </a:lnTo>
                    <a:lnTo>
                      <a:pt x="166" y="112"/>
                    </a:lnTo>
                    <a:lnTo>
                      <a:pt x="164" y="116"/>
                    </a:lnTo>
                    <a:lnTo>
                      <a:pt x="163" y="119"/>
                    </a:lnTo>
                    <a:lnTo>
                      <a:pt x="162" y="119"/>
                    </a:lnTo>
                    <a:lnTo>
                      <a:pt x="161" y="121"/>
                    </a:lnTo>
                    <a:lnTo>
                      <a:pt x="161" y="123"/>
                    </a:lnTo>
                    <a:lnTo>
                      <a:pt x="160" y="123"/>
                    </a:lnTo>
                    <a:lnTo>
                      <a:pt x="160" y="126"/>
                    </a:lnTo>
                    <a:lnTo>
                      <a:pt x="159" y="127"/>
                    </a:lnTo>
                    <a:lnTo>
                      <a:pt x="158" y="129"/>
                    </a:lnTo>
                    <a:lnTo>
                      <a:pt x="158" y="130"/>
                    </a:lnTo>
                    <a:lnTo>
                      <a:pt x="158" y="131"/>
                    </a:lnTo>
                    <a:lnTo>
                      <a:pt x="158" y="132"/>
                    </a:lnTo>
                    <a:lnTo>
                      <a:pt x="158" y="133"/>
                    </a:lnTo>
                    <a:lnTo>
                      <a:pt x="157" y="134"/>
                    </a:lnTo>
                    <a:lnTo>
                      <a:pt x="157" y="136"/>
                    </a:lnTo>
                    <a:lnTo>
                      <a:pt x="157" y="138"/>
                    </a:lnTo>
                    <a:lnTo>
                      <a:pt x="155" y="139"/>
                    </a:lnTo>
                    <a:lnTo>
                      <a:pt x="153" y="141"/>
                    </a:lnTo>
                    <a:lnTo>
                      <a:pt x="152" y="142"/>
                    </a:lnTo>
                    <a:lnTo>
                      <a:pt x="151" y="143"/>
                    </a:lnTo>
                    <a:lnTo>
                      <a:pt x="149" y="144"/>
                    </a:lnTo>
                    <a:lnTo>
                      <a:pt x="148" y="144"/>
                    </a:lnTo>
                    <a:lnTo>
                      <a:pt x="147" y="144"/>
                    </a:lnTo>
                    <a:lnTo>
                      <a:pt x="147" y="145"/>
                    </a:lnTo>
                    <a:lnTo>
                      <a:pt x="146" y="146"/>
                    </a:lnTo>
                    <a:lnTo>
                      <a:pt x="145" y="147"/>
                    </a:lnTo>
                    <a:lnTo>
                      <a:pt x="141" y="148"/>
                    </a:lnTo>
                    <a:lnTo>
                      <a:pt x="140" y="149"/>
                    </a:lnTo>
                    <a:lnTo>
                      <a:pt x="139" y="149"/>
                    </a:lnTo>
                    <a:lnTo>
                      <a:pt x="138" y="151"/>
                    </a:lnTo>
                    <a:lnTo>
                      <a:pt x="137" y="151"/>
                    </a:lnTo>
                    <a:lnTo>
                      <a:pt x="136" y="151"/>
                    </a:lnTo>
                    <a:lnTo>
                      <a:pt x="136" y="152"/>
                    </a:lnTo>
                    <a:lnTo>
                      <a:pt x="135" y="152"/>
                    </a:lnTo>
                    <a:lnTo>
                      <a:pt x="135" y="153"/>
                    </a:lnTo>
                    <a:lnTo>
                      <a:pt x="134" y="153"/>
                    </a:lnTo>
                    <a:lnTo>
                      <a:pt x="133" y="153"/>
                    </a:lnTo>
                    <a:lnTo>
                      <a:pt x="132" y="154"/>
                    </a:lnTo>
                    <a:lnTo>
                      <a:pt x="132" y="155"/>
                    </a:lnTo>
                    <a:lnTo>
                      <a:pt x="131" y="155"/>
                    </a:lnTo>
                    <a:lnTo>
                      <a:pt x="131" y="156"/>
                    </a:lnTo>
                    <a:lnTo>
                      <a:pt x="129" y="156"/>
                    </a:lnTo>
                    <a:lnTo>
                      <a:pt x="129" y="157"/>
                    </a:lnTo>
                    <a:lnTo>
                      <a:pt x="131" y="158"/>
                    </a:lnTo>
                    <a:lnTo>
                      <a:pt x="131" y="159"/>
                    </a:lnTo>
                    <a:lnTo>
                      <a:pt x="131" y="160"/>
                    </a:lnTo>
                    <a:lnTo>
                      <a:pt x="129" y="162"/>
                    </a:lnTo>
                    <a:lnTo>
                      <a:pt x="129" y="165"/>
                    </a:lnTo>
                    <a:lnTo>
                      <a:pt x="128" y="169"/>
                    </a:lnTo>
                    <a:lnTo>
                      <a:pt x="128" y="170"/>
                    </a:lnTo>
                    <a:lnTo>
                      <a:pt x="128" y="171"/>
                    </a:lnTo>
                    <a:lnTo>
                      <a:pt x="128" y="172"/>
                    </a:lnTo>
                    <a:lnTo>
                      <a:pt x="128" y="173"/>
                    </a:lnTo>
                    <a:lnTo>
                      <a:pt x="129" y="174"/>
                    </a:lnTo>
                    <a:lnTo>
                      <a:pt x="131" y="175"/>
                    </a:lnTo>
                    <a:lnTo>
                      <a:pt x="131" y="177"/>
                    </a:lnTo>
                    <a:lnTo>
                      <a:pt x="131" y="178"/>
                    </a:lnTo>
                    <a:lnTo>
                      <a:pt x="132" y="182"/>
                    </a:lnTo>
                    <a:lnTo>
                      <a:pt x="133" y="183"/>
                    </a:lnTo>
                    <a:lnTo>
                      <a:pt x="133" y="184"/>
                    </a:lnTo>
                    <a:lnTo>
                      <a:pt x="133" y="185"/>
                    </a:lnTo>
                    <a:lnTo>
                      <a:pt x="134" y="186"/>
                    </a:lnTo>
                    <a:lnTo>
                      <a:pt x="135" y="186"/>
                    </a:lnTo>
                    <a:lnTo>
                      <a:pt x="135" y="187"/>
                    </a:lnTo>
                    <a:lnTo>
                      <a:pt x="135" y="189"/>
                    </a:lnTo>
                    <a:lnTo>
                      <a:pt x="134" y="189"/>
                    </a:lnTo>
                    <a:lnTo>
                      <a:pt x="131" y="192"/>
                    </a:lnTo>
                    <a:lnTo>
                      <a:pt x="129" y="193"/>
                    </a:lnTo>
                    <a:lnTo>
                      <a:pt x="128" y="194"/>
                    </a:lnTo>
                    <a:lnTo>
                      <a:pt x="127" y="195"/>
                    </a:lnTo>
                    <a:lnTo>
                      <a:pt x="127" y="196"/>
                    </a:lnTo>
                    <a:lnTo>
                      <a:pt x="126" y="196"/>
                    </a:lnTo>
                    <a:lnTo>
                      <a:pt x="126" y="197"/>
                    </a:lnTo>
                    <a:lnTo>
                      <a:pt x="128" y="203"/>
                    </a:lnTo>
                    <a:lnTo>
                      <a:pt x="132" y="209"/>
                    </a:lnTo>
                    <a:lnTo>
                      <a:pt x="132" y="211"/>
                    </a:lnTo>
                    <a:lnTo>
                      <a:pt x="132" y="212"/>
                    </a:lnTo>
                    <a:lnTo>
                      <a:pt x="132" y="217"/>
                    </a:lnTo>
                    <a:lnTo>
                      <a:pt x="131" y="218"/>
                    </a:lnTo>
                    <a:lnTo>
                      <a:pt x="131" y="219"/>
                    </a:lnTo>
                    <a:lnTo>
                      <a:pt x="131" y="220"/>
                    </a:lnTo>
                    <a:lnTo>
                      <a:pt x="134" y="225"/>
                    </a:lnTo>
                    <a:lnTo>
                      <a:pt x="138" y="231"/>
                    </a:lnTo>
                    <a:lnTo>
                      <a:pt x="139" y="232"/>
                    </a:lnTo>
                    <a:lnTo>
                      <a:pt x="142" y="236"/>
                    </a:lnTo>
                    <a:lnTo>
                      <a:pt x="144" y="236"/>
                    </a:lnTo>
                    <a:lnTo>
                      <a:pt x="146" y="239"/>
                    </a:lnTo>
                    <a:lnTo>
                      <a:pt x="146" y="241"/>
                    </a:lnTo>
                    <a:lnTo>
                      <a:pt x="147" y="242"/>
                    </a:lnTo>
                    <a:lnTo>
                      <a:pt x="148" y="243"/>
                    </a:lnTo>
                    <a:lnTo>
                      <a:pt x="148" y="244"/>
                    </a:lnTo>
                    <a:lnTo>
                      <a:pt x="149" y="247"/>
                    </a:lnTo>
                    <a:lnTo>
                      <a:pt x="151" y="252"/>
                    </a:lnTo>
                    <a:lnTo>
                      <a:pt x="152" y="254"/>
                    </a:lnTo>
                    <a:lnTo>
                      <a:pt x="153" y="255"/>
                    </a:lnTo>
                    <a:lnTo>
                      <a:pt x="154" y="256"/>
                    </a:lnTo>
                    <a:lnTo>
                      <a:pt x="154" y="257"/>
                    </a:lnTo>
                    <a:lnTo>
                      <a:pt x="155" y="257"/>
                    </a:lnTo>
                    <a:lnTo>
                      <a:pt x="160" y="262"/>
                    </a:lnTo>
                    <a:lnTo>
                      <a:pt x="162" y="266"/>
                    </a:lnTo>
                    <a:lnTo>
                      <a:pt x="164" y="273"/>
                    </a:lnTo>
                    <a:lnTo>
                      <a:pt x="165" y="276"/>
                    </a:lnTo>
                    <a:lnTo>
                      <a:pt x="165" y="277"/>
                    </a:lnTo>
                    <a:lnTo>
                      <a:pt x="166" y="280"/>
                    </a:lnTo>
                    <a:lnTo>
                      <a:pt x="166" y="281"/>
                    </a:lnTo>
                    <a:lnTo>
                      <a:pt x="166" y="284"/>
                    </a:lnTo>
                    <a:lnTo>
                      <a:pt x="167" y="287"/>
                    </a:lnTo>
                    <a:lnTo>
                      <a:pt x="168" y="289"/>
                    </a:lnTo>
                    <a:lnTo>
                      <a:pt x="168" y="292"/>
                    </a:lnTo>
                    <a:lnTo>
                      <a:pt x="170" y="296"/>
                    </a:lnTo>
                    <a:lnTo>
                      <a:pt x="171" y="299"/>
                    </a:lnTo>
                    <a:lnTo>
                      <a:pt x="171" y="300"/>
                    </a:lnTo>
                    <a:lnTo>
                      <a:pt x="171" y="301"/>
                    </a:lnTo>
                    <a:lnTo>
                      <a:pt x="172" y="302"/>
                    </a:lnTo>
                    <a:lnTo>
                      <a:pt x="173" y="301"/>
                    </a:lnTo>
                    <a:lnTo>
                      <a:pt x="174" y="301"/>
                    </a:lnTo>
                    <a:lnTo>
                      <a:pt x="174" y="302"/>
                    </a:lnTo>
                    <a:lnTo>
                      <a:pt x="175" y="302"/>
                    </a:lnTo>
                    <a:lnTo>
                      <a:pt x="176" y="302"/>
                    </a:lnTo>
                    <a:lnTo>
                      <a:pt x="177" y="302"/>
                    </a:lnTo>
                    <a:lnTo>
                      <a:pt x="178" y="301"/>
                    </a:lnTo>
                    <a:lnTo>
                      <a:pt x="178" y="302"/>
                    </a:lnTo>
                    <a:lnTo>
                      <a:pt x="179" y="302"/>
                    </a:lnTo>
                    <a:lnTo>
                      <a:pt x="180" y="303"/>
                    </a:lnTo>
                    <a:lnTo>
                      <a:pt x="181" y="305"/>
                    </a:lnTo>
                    <a:lnTo>
                      <a:pt x="181" y="306"/>
                    </a:lnTo>
                    <a:lnTo>
                      <a:pt x="181" y="307"/>
                    </a:lnTo>
                    <a:lnTo>
                      <a:pt x="180" y="307"/>
                    </a:lnTo>
                    <a:lnTo>
                      <a:pt x="179" y="307"/>
                    </a:lnTo>
                    <a:lnTo>
                      <a:pt x="179" y="308"/>
                    </a:lnTo>
                    <a:lnTo>
                      <a:pt x="180" y="309"/>
                    </a:lnTo>
                    <a:lnTo>
                      <a:pt x="180" y="310"/>
                    </a:lnTo>
                    <a:lnTo>
                      <a:pt x="181" y="311"/>
                    </a:lnTo>
                    <a:lnTo>
                      <a:pt x="183" y="311"/>
                    </a:lnTo>
                    <a:lnTo>
                      <a:pt x="184" y="311"/>
                    </a:lnTo>
                    <a:lnTo>
                      <a:pt x="184" y="312"/>
                    </a:lnTo>
                    <a:lnTo>
                      <a:pt x="185" y="312"/>
                    </a:lnTo>
                    <a:lnTo>
                      <a:pt x="184" y="313"/>
                    </a:lnTo>
                    <a:lnTo>
                      <a:pt x="184" y="314"/>
                    </a:lnTo>
                    <a:lnTo>
                      <a:pt x="183" y="315"/>
                    </a:lnTo>
                    <a:lnTo>
                      <a:pt x="183" y="316"/>
                    </a:lnTo>
                    <a:lnTo>
                      <a:pt x="183" y="318"/>
                    </a:lnTo>
                    <a:lnTo>
                      <a:pt x="184" y="319"/>
                    </a:lnTo>
                    <a:lnTo>
                      <a:pt x="185" y="320"/>
                    </a:lnTo>
                    <a:lnTo>
                      <a:pt x="184" y="321"/>
                    </a:lnTo>
                    <a:lnTo>
                      <a:pt x="184" y="322"/>
                    </a:lnTo>
                    <a:lnTo>
                      <a:pt x="184" y="323"/>
                    </a:lnTo>
                    <a:lnTo>
                      <a:pt x="184" y="324"/>
                    </a:lnTo>
                    <a:lnTo>
                      <a:pt x="184" y="325"/>
                    </a:lnTo>
                    <a:lnTo>
                      <a:pt x="184" y="326"/>
                    </a:lnTo>
                    <a:lnTo>
                      <a:pt x="185" y="326"/>
                    </a:lnTo>
                    <a:lnTo>
                      <a:pt x="186" y="326"/>
                    </a:lnTo>
                    <a:lnTo>
                      <a:pt x="186" y="325"/>
                    </a:lnTo>
                    <a:lnTo>
                      <a:pt x="187" y="325"/>
                    </a:lnTo>
                    <a:lnTo>
                      <a:pt x="187" y="326"/>
                    </a:lnTo>
                    <a:lnTo>
                      <a:pt x="186" y="327"/>
                    </a:lnTo>
                    <a:lnTo>
                      <a:pt x="185" y="327"/>
                    </a:lnTo>
                    <a:lnTo>
                      <a:pt x="184" y="328"/>
                    </a:lnTo>
                    <a:lnTo>
                      <a:pt x="184" y="329"/>
                    </a:lnTo>
                    <a:lnTo>
                      <a:pt x="184" y="331"/>
                    </a:lnTo>
                    <a:lnTo>
                      <a:pt x="184" y="332"/>
                    </a:lnTo>
                    <a:lnTo>
                      <a:pt x="184" y="333"/>
                    </a:lnTo>
                    <a:lnTo>
                      <a:pt x="183" y="333"/>
                    </a:lnTo>
                    <a:lnTo>
                      <a:pt x="181" y="334"/>
                    </a:lnTo>
                    <a:lnTo>
                      <a:pt x="180" y="335"/>
                    </a:lnTo>
                    <a:lnTo>
                      <a:pt x="180" y="336"/>
                    </a:lnTo>
                    <a:lnTo>
                      <a:pt x="181" y="336"/>
                    </a:lnTo>
                    <a:lnTo>
                      <a:pt x="181" y="337"/>
                    </a:lnTo>
                    <a:lnTo>
                      <a:pt x="183" y="337"/>
                    </a:lnTo>
                    <a:lnTo>
                      <a:pt x="183" y="338"/>
                    </a:lnTo>
                    <a:lnTo>
                      <a:pt x="183" y="339"/>
                    </a:lnTo>
                    <a:lnTo>
                      <a:pt x="183" y="340"/>
                    </a:lnTo>
                    <a:lnTo>
                      <a:pt x="183" y="341"/>
                    </a:lnTo>
                    <a:lnTo>
                      <a:pt x="181" y="341"/>
                    </a:lnTo>
                    <a:lnTo>
                      <a:pt x="180" y="342"/>
                    </a:lnTo>
                    <a:lnTo>
                      <a:pt x="179" y="344"/>
                    </a:lnTo>
                    <a:lnTo>
                      <a:pt x="179" y="345"/>
                    </a:lnTo>
                    <a:lnTo>
                      <a:pt x="179" y="346"/>
                    </a:lnTo>
                    <a:lnTo>
                      <a:pt x="179" y="348"/>
                    </a:lnTo>
                    <a:lnTo>
                      <a:pt x="179" y="353"/>
                    </a:lnTo>
                    <a:lnTo>
                      <a:pt x="179" y="354"/>
                    </a:lnTo>
                    <a:lnTo>
                      <a:pt x="180" y="356"/>
                    </a:lnTo>
                    <a:lnTo>
                      <a:pt x="180" y="357"/>
                    </a:lnTo>
                    <a:lnTo>
                      <a:pt x="180" y="358"/>
                    </a:lnTo>
                    <a:lnTo>
                      <a:pt x="180" y="359"/>
                    </a:lnTo>
                    <a:lnTo>
                      <a:pt x="181" y="360"/>
                    </a:lnTo>
                    <a:lnTo>
                      <a:pt x="181" y="361"/>
                    </a:lnTo>
                    <a:lnTo>
                      <a:pt x="180" y="361"/>
                    </a:lnTo>
                    <a:lnTo>
                      <a:pt x="180" y="362"/>
                    </a:lnTo>
                    <a:lnTo>
                      <a:pt x="181" y="362"/>
                    </a:lnTo>
                    <a:lnTo>
                      <a:pt x="181" y="363"/>
                    </a:lnTo>
                    <a:lnTo>
                      <a:pt x="183" y="363"/>
                    </a:lnTo>
                    <a:lnTo>
                      <a:pt x="184" y="362"/>
                    </a:lnTo>
                    <a:lnTo>
                      <a:pt x="184" y="361"/>
                    </a:lnTo>
                    <a:lnTo>
                      <a:pt x="185" y="361"/>
                    </a:lnTo>
                    <a:lnTo>
                      <a:pt x="185" y="362"/>
                    </a:lnTo>
                    <a:lnTo>
                      <a:pt x="185" y="363"/>
                    </a:lnTo>
                    <a:lnTo>
                      <a:pt x="185" y="364"/>
                    </a:lnTo>
                    <a:lnTo>
                      <a:pt x="185" y="365"/>
                    </a:lnTo>
                    <a:lnTo>
                      <a:pt x="185" y="367"/>
                    </a:lnTo>
                    <a:lnTo>
                      <a:pt x="185" y="369"/>
                    </a:lnTo>
                    <a:lnTo>
                      <a:pt x="185" y="371"/>
                    </a:lnTo>
                    <a:lnTo>
                      <a:pt x="185" y="373"/>
                    </a:lnTo>
                    <a:lnTo>
                      <a:pt x="185" y="374"/>
                    </a:lnTo>
                    <a:lnTo>
                      <a:pt x="185" y="375"/>
                    </a:lnTo>
                    <a:lnTo>
                      <a:pt x="185" y="384"/>
                    </a:lnTo>
                    <a:lnTo>
                      <a:pt x="185" y="385"/>
                    </a:lnTo>
                    <a:lnTo>
                      <a:pt x="185" y="389"/>
                    </a:lnTo>
                    <a:lnTo>
                      <a:pt x="185" y="390"/>
                    </a:lnTo>
                    <a:lnTo>
                      <a:pt x="185" y="398"/>
                    </a:lnTo>
                    <a:lnTo>
                      <a:pt x="186" y="398"/>
                    </a:lnTo>
                    <a:lnTo>
                      <a:pt x="186" y="404"/>
                    </a:lnTo>
                    <a:lnTo>
                      <a:pt x="186" y="405"/>
                    </a:lnTo>
                    <a:lnTo>
                      <a:pt x="186" y="408"/>
                    </a:lnTo>
                    <a:lnTo>
                      <a:pt x="186" y="416"/>
                    </a:lnTo>
                    <a:lnTo>
                      <a:pt x="185" y="417"/>
                    </a:lnTo>
                    <a:lnTo>
                      <a:pt x="184" y="417"/>
                    </a:lnTo>
                    <a:lnTo>
                      <a:pt x="184" y="416"/>
                    </a:lnTo>
                    <a:lnTo>
                      <a:pt x="181" y="415"/>
                    </a:lnTo>
                    <a:lnTo>
                      <a:pt x="180" y="414"/>
                    </a:lnTo>
                    <a:lnTo>
                      <a:pt x="180" y="413"/>
                    </a:lnTo>
                    <a:lnTo>
                      <a:pt x="180" y="411"/>
                    </a:lnTo>
                    <a:lnTo>
                      <a:pt x="179" y="410"/>
                    </a:lnTo>
                    <a:lnTo>
                      <a:pt x="179" y="409"/>
                    </a:lnTo>
                    <a:lnTo>
                      <a:pt x="179" y="408"/>
                    </a:lnTo>
                    <a:lnTo>
                      <a:pt x="179" y="406"/>
                    </a:lnTo>
                    <a:lnTo>
                      <a:pt x="178" y="406"/>
                    </a:lnTo>
                    <a:lnTo>
                      <a:pt x="178" y="405"/>
                    </a:lnTo>
                    <a:lnTo>
                      <a:pt x="179" y="405"/>
                    </a:lnTo>
                    <a:lnTo>
                      <a:pt x="179" y="404"/>
                    </a:lnTo>
                    <a:lnTo>
                      <a:pt x="179" y="403"/>
                    </a:lnTo>
                    <a:lnTo>
                      <a:pt x="178" y="403"/>
                    </a:lnTo>
                    <a:lnTo>
                      <a:pt x="178" y="404"/>
                    </a:lnTo>
                    <a:lnTo>
                      <a:pt x="177" y="404"/>
                    </a:lnTo>
                    <a:lnTo>
                      <a:pt x="177" y="403"/>
                    </a:lnTo>
                    <a:lnTo>
                      <a:pt x="177" y="402"/>
                    </a:lnTo>
                    <a:lnTo>
                      <a:pt x="177" y="401"/>
                    </a:lnTo>
                    <a:lnTo>
                      <a:pt x="176" y="401"/>
                    </a:lnTo>
                    <a:lnTo>
                      <a:pt x="176" y="400"/>
                    </a:lnTo>
                    <a:lnTo>
                      <a:pt x="175" y="400"/>
                    </a:lnTo>
                    <a:lnTo>
                      <a:pt x="175" y="399"/>
                    </a:lnTo>
                    <a:lnTo>
                      <a:pt x="174" y="399"/>
                    </a:lnTo>
                    <a:lnTo>
                      <a:pt x="174" y="398"/>
                    </a:lnTo>
                    <a:lnTo>
                      <a:pt x="174" y="399"/>
                    </a:lnTo>
                    <a:lnTo>
                      <a:pt x="173" y="399"/>
                    </a:lnTo>
                    <a:lnTo>
                      <a:pt x="172" y="399"/>
                    </a:lnTo>
                    <a:lnTo>
                      <a:pt x="171" y="399"/>
                    </a:lnTo>
                    <a:lnTo>
                      <a:pt x="171" y="400"/>
                    </a:lnTo>
                    <a:lnTo>
                      <a:pt x="170" y="400"/>
                    </a:lnTo>
                    <a:lnTo>
                      <a:pt x="168" y="401"/>
                    </a:lnTo>
                    <a:lnTo>
                      <a:pt x="167" y="401"/>
                    </a:lnTo>
                    <a:lnTo>
                      <a:pt x="167" y="400"/>
                    </a:lnTo>
                    <a:lnTo>
                      <a:pt x="166" y="400"/>
                    </a:lnTo>
                    <a:lnTo>
                      <a:pt x="166" y="399"/>
                    </a:lnTo>
                    <a:lnTo>
                      <a:pt x="166" y="398"/>
                    </a:lnTo>
                    <a:lnTo>
                      <a:pt x="166" y="397"/>
                    </a:lnTo>
                    <a:lnTo>
                      <a:pt x="165" y="397"/>
                    </a:lnTo>
                    <a:lnTo>
                      <a:pt x="165" y="396"/>
                    </a:lnTo>
                    <a:lnTo>
                      <a:pt x="165" y="393"/>
                    </a:lnTo>
                    <a:lnTo>
                      <a:pt x="164" y="392"/>
                    </a:lnTo>
                    <a:lnTo>
                      <a:pt x="164" y="391"/>
                    </a:lnTo>
                    <a:lnTo>
                      <a:pt x="165" y="391"/>
                    </a:lnTo>
                    <a:lnTo>
                      <a:pt x="165" y="390"/>
                    </a:lnTo>
                    <a:lnTo>
                      <a:pt x="164" y="391"/>
                    </a:lnTo>
                    <a:lnTo>
                      <a:pt x="163" y="391"/>
                    </a:lnTo>
                    <a:lnTo>
                      <a:pt x="163" y="390"/>
                    </a:lnTo>
                    <a:lnTo>
                      <a:pt x="163" y="389"/>
                    </a:lnTo>
                    <a:lnTo>
                      <a:pt x="162" y="389"/>
                    </a:lnTo>
                    <a:lnTo>
                      <a:pt x="160" y="388"/>
                    </a:lnTo>
                    <a:lnTo>
                      <a:pt x="159" y="388"/>
                    </a:lnTo>
                    <a:lnTo>
                      <a:pt x="159" y="389"/>
                    </a:lnTo>
                    <a:lnTo>
                      <a:pt x="160" y="390"/>
                    </a:lnTo>
                    <a:lnTo>
                      <a:pt x="160" y="391"/>
                    </a:lnTo>
                    <a:lnTo>
                      <a:pt x="159" y="392"/>
                    </a:lnTo>
                    <a:lnTo>
                      <a:pt x="158" y="392"/>
                    </a:lnTo>
                    <a:lnTo>
                      <a:pt x="158" y="391"/>
                    </a:lnTo>
                    <a:lnTo>
                      <a:pt x="158" y="390"/>
                    </a:lnTo>
                    <a:lnTo>
                      <a:pt x="157" y="390"/>
                    </a:lnTo>
                    <a:lnTo>
                      <a:pt x="157" y="391"/>
                    </a:lnTo>
                    <a:lnTo>
                      <a:pt x="158" y="391"/>
                    </a:lnTo>
                    <a:lnTo>
                      <a:pt x="158" y="392"/>
                    </a:lnTo>
                    <a:lnTo>
                      <a:pt x="157" y="392"/>
                    </a:lnTo>
                    <a:lnTo>
                      <a:pt x="157" y="391"/>
                    </a:lnTo>
                    <a:lnTo>
                      <a:pt x="157" y="392"/>
                    </a:lnTo>
                    <a:lnTo>
                      <a:pt x="155" y="391"/>
                    </a:lnTo>
                    <a:lnTo>
                      <a:pt x="155" y="392"/>
                    </a:lnTo>
                    <a:lnTo>
                      <a:pt x="155" y="391"/>
                    </a:lnTo>
                    <a:lnTo>
                      <a:pt x="154" y="391"/>
                    </a:lnTo>
                    <a:lnTo>
                      <a:pt x="152" y="391"/>
                    </a:lnTo>
                    <a:lnTo>
                      <a:pt x="151" y="391"/>
                    </a:lnTo>
                    <a:lnTo>
                      <a:pt x="150" y="392"/>
                    </a:lnTo>
                    <a:lnTo>
                      <a:pt x="149" y="392"/>
                    </a:lnTo>
                    <a:lnTo>
                      <a:pt x="150" y="392"/>
                    </a:lnTo>
                    <a:lnTo>
                      <a:pt x="150" y="393"/>
                    </a:lnTo>
                    <a:lnTo>
                      <a:pt x="149" y="393"/>
                    </a:lnTo>
                    <a:lnTo>
                      <a:pt x="149" y="392"/>
                    </a:lnTo>
                    <a:lnTo>
                      <a:pt x="149" y="391"/>
                    </a:lnTo>
                    <a:lnTo>
                      <a:pt x="149" y="390"/>
                    </a:lnTo>
                    <a:lnTo>
                      <a:pt x="148" y="391"/>
                    </a:lnTo>
                    <a:lnTo>
                      <a:pt x="147" y="391"/>
                    </a:lnTo>
                    <a:lnTo>
                      <a:pt x="147" y="392"/>
                    </a:lnTo>
                    <a:lnTo>
                      <a:pt x="148" y="392"/>
                    </a:lnTo>
                    <a:lnTo>
                      <a:pt x="149" y="392"/>
                    </a:lnTo>
                    <a:lnTo>
                      <a:pt x="148" y="392"/>
                    </a:lnTo>
                    <a:lnTo>
                      <a:pt x="147" y="392"/>
                    </a:lnTo>
                    <a:lnTo>
                      <a:pt x="146" y="392"/>
                    </a:lnTo>
                    <a:lnTo>
                      <a:pt x="146" y="391"/>
                    </a:lnTo>
                    <a:lnTo>
                      <a:pt x="147" y="391"/>
                    </a:lnTo>
                    <a:lnTo>
                      <a:pt x="147" y="390"/>
                    </a:lnTo>
                    <a:lnTo>
                      <a:pt x="146" y="390"/>
                    </a:lnTo>
                    <a:lnTo>
                      <a:pt x="146" y="389"/>
                    </a:lnTo>
                    <a:lnTo>
                      <a:pt x="146" y="388"/>
                    </a:lnTo>
                    <a:lnTo>
                      <a:pt x="146" y="387"/>
                    </a:lnTo>
                    <a:lnTo>
                      <a:pt x="145" y="387"/>
                    </a:lnTo>
                    <a:lnTo>
                      <a:pt x="145" y="386"/>
                    </a:lnTo>
                    <a:lnTo>
                      <a:pt x="145" y="385"/>
                    </a:lnTo>
                    <a:lnTo>
                      <a:pt x="144" y="385"/>
                    </a:lnTo>
                    <a:lnTo>
                      <a:pt x="142" y="385"/>
                    </a:lnTo>
                    <a:lnTo>
                      <a:pt x="141" y="385"/>
                    </a:lnTo>
                    <a:lnTo>
                      <a:pt x="140" y="385"/>
                    </a:lnTo>
                    <a:lnTo>
                      <a:pt x="139" y="385"/>
                    </a:lnTo>
                    <a:lnTo>
                      <a:pt x="139" y="384"/>
                    </a:lnTo>
                    <a:lnTo>
                      <a:pt x="138" y="384"/>
                    </a:lnTo>
                    <a:lnTo>
                      <a:pt x="138" y="383"/>
                    </a:lnTo>
                    <a:lnTo>
                      <a:pt x="137" y="382"/>
                    </a:lnTo>
                    <a:lnTo>
                      <a:pt x="136" y="382"/>
                    </a:lnTo>
                    <a:lnTo>
                      <a:pt x="135" y="382"/>
                    </a:lnTo>
                    <a:lnTo>
                      <a:pt x="134" y="382"/>
                    </a:lnTo>
                    <a:lnTo>
                      <a:pt x="132" y="382"/>
                    </a:lnTo>
                    <a:lnTo>
                      <a:pt x="131" y="382"/>
                    </a:lnTo>
                    <a:lnTo>
                      <a:pt x="129" y="380"/>
                    </a:lnTo>
                    <a:lnTo>
                      <a:pt x="128" y="378"/>
                    </a:lnTo>
                    <a:lnTo>
                      <a:pt x="127" y="377"/>
                    </a:lnTo>
                    <a:lnTo>
                      <a:pt x="126" y="376"/>
                    </a:lnTo>
                    <a:lnTo>
                      <a:pt x="125" y="375"/>
                    </a:lnTo>
                    <a:lnTo>
                      <a:pt x="125" y="374"/>
                    </a:lnTo>
                    <a:lnTo>
                      <a:pt x="125" y="373"/>
                    </a:lnTo>
                    <a:lnTo>
                      <a:pt x="124" y="373"/>
                    </a:lnTo>
                    <a:lnTo>
                      <a:pt x="123" y="373"/>
                    </a:lnTo>
                    <a:lnTo>
                      <a:pt x="123" y="372"/>
                    </a:lnTo>
                    <a:lnTo>
                      <a:pt x="123" y="371"/>
                    </a:lnTo>
                    <a:lnTo>
                      <a:pt x="123" y="370"/>
                    </a:lnTo>
                    <a:lnTo>
                      <a:pt x="124" y="370"/>
                    </a:lnTo>
                    <a:lnTo>
                      <a:pt x="124" y="369"/>
                    </a:lnTo>
                    <a:lnTo>
                      <a:pt x="124" y="367"/>
                    </a:lnTo>
                    <a:lnTo>
                      <a:pt x="125" y="367"/>
                    </a:lnTo>
                    <a:lnTo>
                      <a:pt x="125" y="366"/>
                    </a:lnTo>
                    <a:lnTo>
                      <a:pt x="126" y="366"/>
                    </a:lnTo>
                    <a:lnTo>
                      <a:pt x="127" y="365"/>
                    </a:lnTo>
                    <a:lnTo>
                      <a:pt x="128" y="365"/>
                    </a:lnTo>
                    <a:lnTo>
                      <a:pt x="129" y="365"/>
                    </a:lnTo>
                    <a:lnTo>
                      <a:pt x="129" y="366"/>
                    </a:lnTo>
                    <a:lnTo>
                      <a:pt x="129" y="367"/>
                    </a:lnTo>
                    <a:lnTo>
                      <a:pt x="131" y="367"/>
                    </a:lnTo>
                    <a:lnTo>
                      <a:pt x="132" y="367"/>
                    </a:lnTo>
                    <a:lnTo>
                      <a:pt x="134" y="367"/>
                    </a:lnTo>
                    <a:lnTo>
                      <a:pt x="135" y="367"/>
                    </a:lnTo>
                    <a:lnTo>
                      <a:pt x="136" y="367"/>
                    </a:lnTo>
                    <a:lnTo>
                      <a:pt x="136" y="366"/>
                    </a:lnTo>
                    <a:lnTo>
                      <a:pt x="137" y="366"/>
                    </a:lnTo>
                    <a:lnTo>
                      <a:pt x="137" y="365"/>
                    </a:lnTo>
                    <a:lnTo>
                      <a:pt x="136" y="365"/>
                    </a:lnTo>
                    <a:lnTo>
                      <a:pt x="135" y="365"/>
                    </a:lnTo>
                    <a:lnTo>
                      <a:pt x="134" y="365"/>
                    </a:lnTo>
                    <a:lnTo>
                      <a:pt x="133" y="365"/>
                    </a:lnTo>
                    <a:lnTo>
                      <a:pt x="132" y="365"/>
                    </a:lnTo>
                    <a:lnTo>
                      <a:pt x="132" y="364"/>
                    </a:lnTo>
                    <a:lnTo>
                      <a:pt x="131" y="363"/>
                    </a:lnTo>
                    <a:lnTo>
                      <a:pt x="131" y="362"/>
                    </a:lnTo>
                    <a:lnTo>
                      <a:pt x="129" y="361"/>
                    </a:lnTo>
                    <a:lnTo>
                      <a:pt x="127" y="361"/>
                    </a:lnTo>
                    <a:lnTo>
                      <a:pt x="126" y="362"/>
                    </a:lnTo>
                    <a:lnTo>
                      <a:pt x="126" y="363"/>
                    </a:lnTo>
                    <a:lnTo>
                      <a:pt x="125" y="363"/>
                    </a:lnTo>
                    <a:lnTo>
                      <a:pt x="125" y="364"/>
                    </a:lnTo>
                    <a:lnTo>
                      <a:pt x="124" y="364"/>
                    </a:lnTo>
                    <a:lnTo>
                      <a:pt x="124" y="363"/>
                    </a:lnTo>
                    <a:lnTo>
                      <a:pt x="124" y="361"/>
                    </a:lnTo>
                    <a:lnTo>
                      <a:pt x="123" y="360"/>
                    </a:lnTo>
                    <a:lnTo>
                      <a:pt x="122" y="360"/>
                    </a:lnTo>
                    <a:lnTo>
                      <a:pt x="121" y="360"/>
                    </a:lnTo>
                    <a:lnTo>
                      <a:pt x="120" y="360"/>
                    </a:lnTo>
                    <a:lnTo>
                      <a:pt x="119" y="360"/>
                    </a:lnTo>
                    <a:lnTo>
                      <a:pt x="119" y="361"/>
                    </a:lnTo>
                    <a:lnTo>
                      <a:pt x="117" y="362"/>
                    </a:lnTo>
                    <a:lnTo>
                      <a:pt x="116" y="362"/>
                    </a:lnTo>
                    <a:lnTo>
                      <a:pt x="115" y="363"/>
                    </a:lnTo>
                    <a:lnTo>
                      <a:pt x="114" y="363"/>
                    </a:lnTo>
                    <a:lnTo>
                      <a:pt x="114" y="362"/>
                    </a:lnTo>
                    <a:lnTo>
                      <a:pt x="114" y="361"/>
                    </a:lnTo>
                    <a:lnTo>
                      <a:pt x="113" y="362"/>
                    </a:lnTo>
                    <a:lnTo>
                      <a:pt x="112" y="363"/>
                    </a:lnTo>
                    <a:lnTo>
                      <a:pt x="113" y="364"/>
                    </a:lnTo>
                    <a:lnTo>
                      <a:pt x="112" y="364"/>
                    </a:lnTo>
                    <a:lnTo>
                      <a:pt x="111" y="364"/>
                    </a:lnTo>
                    <a:lnTo>
                      <a:pt x="110" y="364"/>
                    </a:lnTo>
                    <a:lnTo>
                      <a:pt x="109" y="364"/>
                    </a:lnTo>
                    <a:lnTo>
                      <a:pt x="108" y="365"/>
                    </a:lnTo>
                    <a:lnTo>
                      <a:pt x="107" y="365"/>
                    </a:lnTo>
                    <a:lnTo>
                      <a:pt x="107" y="364"/>
                    </a:lnTo>
                    <a:lnTo>
                      <a:pt x="107" y="363"/>
                    </a:lnTo>
                    <a:lnTo>
                      <a:pt x="106" y="363"/>
                    </a:lnTo>
                    <a:lnTo>
                      <a:pt x="104" y="362"/>
                    </a:lnTo>
                    <a:lnTo>
                      <a:pt x="104" y="361"/>
                    </a:lnTo>
                    <a:lnTo>
                      <a:pt x="103" y="361"/>
                    </a:lnTo>
                    <a:lnTo>
                      <a:pt x="103" y="360"/>
                    </a:lnTo>
                    <a:lnTo>
                      <a:pt x="102" y="360"/>
                    </a:lnTo>
                    <a:lnTo>
                      <a:pt x="101" y="359"/>
                    </a:lnTo>
                    <a:lnTo>
                      <a:pt x="100" y="359"/>
                    </a:lnTo>
                    <a:lnTo>
                      <a:pt x="99" y="359"/>
                    </a:lnTo>
                    <a:lnTo>
                      <a:pt x="98" y="358"/>
                    </a:lnTo>
                    <a:lnTo>
                      <a:pt x="98" y="357"/>
                    </a:lnTo>
                    <a:lnTo>
                      <a:pt x="98" y="356"/>
                    </a:lnTo>
                    <a:lnTo>
                      <a:pt x="98" y="354"/>
                    </a:lnTo>
                    <a:lnTo>
                      <a:pt x="99" y="354"/>
                    </a:lnTo>
                    <a:lnTo>
                      <a:pt x="98" y="354"/>
                    </a:lnTo>
                    <a:lnTo>
                      <a:pt x="98" y="353"/>
                    </a:lnTo>
                    <a:lnTo>
                      <a:pt x="97" y="353"/>
                    </a:lnTo>
                    <a:lnTo>
                      <a:pt x="96" y="352"/>
                    </a:lnTo>
                    <a:lnTo>
                      <a:pt x="96" y="351"/>
                    </a:lnTo>
                    <a:lnTo>
                      <a:pt x="95" y="351"/>
                    </a:lnTo>
                    <a:lnTo>
                      <a:pt x="94" y="351"/>
                    </a:lnTo>
                    <a:lnTo>
                      <a:pt x="93" y="351"/>
                    </a:lnTo>
                    <a:lnTo>
                      <a:pt x="91" y="351"/>
                    </a:lnTo>
                    <a:lnTo>
                      <a:pt x="90" y="350"/>
                    </a:lnTo>
                    <a:lnTo>
                      <a:pt x="90" y="349"/>
                    </a:lnTo>
                    <a:lnTo>
                      <a:pt x="90" y="348"/>
                    </a:lnTo>
                    <a:lnTo>
                      <a:pt x="90" y="347"/>
                    </a:lnTo>
                    <a:lnTo>
                      <a:pt x="90" y="346"/>
                    </a:lnTo>
                    <a:lnTo>
                      <a:pt x="90" y="345"/>
                    </a:lnTo>
                    <a:lnTo>
                      <a:pt x="89" y="345"/>
                    </a:lnTo>
                    <a:lnTo>
                      <a:pt x="89" y="342"/>
                    </a:lnTo>
                    <a:lnTo>
                      <a:pt x="89" y="341"/>
                    </a:lnTo>
                    <a:lnTo>
                      <a:pt x="89" y="340"/>
                    </a:lnTo>
                    <a:lnTo>
                      <a:pt x="89" y="339"/>
                    </a:lnTo>
                    <a:lnTo>
                      <a:pt x="89" y="338"/>
                    </a:lnTo>
                    <a:lnTo>
                      <a:pt x="89" y="337"/>
                    </a:lnTo>
                    <a:lnTo>
                      <a:pt x="89" y="336"/>
                    </a:lnTo>
                    <a:lnTo>
                      <a:pt x="90" y="336"/>
                    </a:lnTo>
                    <a:lnTo>
                      <a:pt x="91" y="336"/>
                    </a:lnTo>
                    <a:lnTo>
                      <a:pt x="91" y="335"/>
                    </a:lnTo>
                    <a:lnTo>
                      <a:pt x="91" y="334"/>
                    </a:lnTo>
                    <a:lnTo>
                      <a:pt x="93" y="334"/>
                    </a:lnTo>
                    <a:lnTo>
                      <a:pt x="94" y="334"/>
                    </a:lnTo>
                    <a:lnTo>
                      <a:pt x="94" y="333"/>
                    </a:lnTo>
                    <a:lnTo>
                      <a:pt x="94" y="332"/>
                    </a:lnTo>
                    <a:lnTo>
                      <a:pt x="94" y="331"/>
                    </a:lnTo>
                    <a:lnTo>
                      <a:pt x="95" y="331"/>
                    </a:lnTo>
                    <a:lnTo>
                      <a:pt x="95" y="329"/>
                    </a:lnTo>
                    <a:lnTo>
                      <a:pt x="96" y="329"/>
                    </a:lnTo>
                    <a:lnTo>
                      <a:pt x="97" y="329"/>
                    </a:lnTo>
                    <a:lnTo>
                      <a:pt x="98" y="329"/>
                    </a:lnTo>
                    <a:lnTo>
                      <a:pt x="98" y="328"/>
                    </a:lnTo>
                    <a:lnTo>
                      <a:pt x="98" y="327"/>
                    </a:lnTo>
                    <a:lnTo>
                      <a:pt x="98" y="326"/>
                    </a:lnTo>
                    <a:lnTo>
                      <a:pt x="98" y="325"/>
                    </a:lnTo>
                    <a:lnTo>
                      <a:pt x="99" y="324"/>
                    </a:lnTo>
                    <a:lnTo>
                      <a:pt x="100" y="323"/>
                    </a:lnTo>
                    <a:lnTo>
                      <a:pt x="101" y="324"/>
                    </a:lnTo>
                    <a:lnTo>
                      <a:pt x="101" y="323"/>
                    </a:lnTo>
                    <a:lnTo>
                      <a:pt x="101" y="322"/>
                    </a:lnTo>
                    <a:lnTo>
                      <a:pt x="101" y="321"/>
                    </a:lnTo>
                    <a:lnTo>
                      <a:pt x="102" y="320"/>
                    </a:lnTo>
                    <a:lnTo>
                      <a:pt x="102" y="319"/>
                    </a:lnTo>
                    <a:lnTo>
                      <a:pt x="103" y="316"/>
                    </a:lnTo>
                    <a:lnTo>
                      <a:pt x="102" y="316"/>
                    </a:lnTo>
                    <a:lnTo>
                      <a:pt x="103" y="315"/>
                    </a:lnTo>
                    <a:lnTo>
                      <a:pt x="103" y="314"/>
                    </a:lnTo>
                    <a:lnTo>
                      <a:pt x="103" y="313"/>
                    </a:lnTo>
                    <a:lnTo>
                      <a:pt x="104" y="311"/>
                    </a:lnTo>
                    <a:lnTo>
                      <a:pt x="103" y="311"/>
                    </a:lnTo>
                    <a:lnTo>
                      <a:pt x="103" y="310"/>
                    </a:lnTo>
                    <a:lnTo>
                      <a:pt x="103" y="309"/>
                    </a:lnTo>
                    <a:lnTo>
                      <a:pt x="103" y="306"/>
                    </a:lnTo>
                    <a:lnTo>
                      <a:pt x="102" y="305"/>
                    </a:lnTo>
                    <a:lnTo>
                      <a:pt x="102" y="303"/>
                    </a:lnTo>
                    <a:lnTo>
                      <a:pt x="101" y="303"/>
                    </a:lnTo>
                    <a:lnTo>
                      <a:pt x="101" y="302"/>
                    </a:lnTo>
                    <a:lnTo>
                      <a:pt x="102" y="301"/>
                    </a:lnTo>
                    <a:lnTo>
                      <a:pt x="103" y="300"/>
                    </a:lnTo>
                    <a:lnTo>
                      <a:pt x="103" y="299"/>
                    </a:lnTo>
                    <a:lnTo>
                      <a:pt x="104" y="298"/>
                    </a:lnTo>
                    <a:lnTo>
                      <a:pt x="104" y="297"/>
                    </a:lnTo>
                    <a:lnTo>
                      <a:pt x="103" y="296"/>
                    </a:lnTo>
                    <a:lnTo>
                      <a:pt x="103" y="295"/>
                    </a:lnTo>
                    <a:lnTo>
                      <a:pt x="103" y="294"/>
                    </a:lnTo>
                    <a:lnTo>
                      <a:pt x="103" y="293"/>
                    </a:lnTo>
                    <a:lnTo>
                      <a:pt x="104" y="292"/>
                    </a:lnTo>
                    <a:lnTo>
                      <a:pt x="103" y="289"/>
                    </a:lnTo>
                    <a:lnTo>
                      <a:pt x="103" y="288"/>
                    </a:lnTo>
                    <a:lnTo>
                      <a:pt x="103" y="286"/>
                    </a:lnTo>
                    <a:lnTo>
                      <a:pt x="103" y="285"/>
                    </a:lnTo>
                    <a:lnTo>
                      <a:pt x="103" y="284"/>
                    </a:lnTo>
                    <a:lnTo>
                      <a:pt x="102" y="284"/>
                    </a:lnTo>
                    <a:lnTo>
                      <a:pt x="101" y="282"/>
                    </a:lnTo>
                    <a:lnTo>
                      <a:pt x="101" y="281"/>
                    </a:lnTo>
                    <a:lnTo>
                      <a:pt x="100" y="280"/>
                    </a:lnTo>
                    <a:lnTo>
                      <a:pt x="100" y="279"/>
                    </a:lnTo>
                    <a:lnTo>
                      <a:pt x="100" y="277"/>
                    </a:lnTo>
                    <a:lnTo>
                      <a:pt x="100" y="276"/>
                    </a:lnTo>
                    <a:lnTo>
                      <a:pt x="99" y="275"/>
                    </a:lnTo>
                    <a:lnTo>
                      <a:pt x="99" y="274"/>
                    </a:lnTo>
                    <a:lnTo>
                      <a:pt x="98" y="274"/>
                    </a:lnTo>
                    <a:lnTo>
                      <a:pt x="97" y="273"/>
                    </a:lnTo>
                    <a:lnTo>
                      <a:pt x="97" y="272"/>
                    </a:lnTo>
                    <a:lnTo>
                      <a:pt x="98" y="271"/>
                    </a:lnTo>
                    <a:lnTo>
                      <a:pt x="99" y="271"/>
                    </a:lnTo>
                    <a:lnTo>
                      <a:pt x="101" y="271"/>
                    </a:lnTo>
                    <a:lnTo>
                      <a:pt x="101" y="272"/>
                    </a:lnTo>
                    <a:lnTo>
                      <a:pt x="102" y="271"/>
                    </a:lnTo>
                    <a:lnTo>
                      <a:pt x="103" y="270"/>
                    </a:lnTo>
                    <a:lnTo>
                      <a:pt x="102" y="270"/>
                    </a:lnTo>
                    <a:lnTo>
                      <a:pt x="101" y="270"/>
                    </a:lnTo>
                    <a:lnTo>
                      <a:pt x="101" y="269"/>
                    </a:lnTo>
                    <a:lnTo>
                      <a:pt x="100" y="269"/>
                    </a:lnTo>
                    <a:lnTo>
                      <a:pt x="100" y="268"/>
                    </a:lnTo>
                    <a:lnTo>
                      <a:pt x="99" y="268"/>
                    </a:lnTo>
                    <a:lnTo>
                      <a:pt x="98" y="268"/>
                    </a:lnTo>
                    <a:lnTo>
                      <a:pt x="97" y="267"/>
                    </a:lnTo>
                    <a:lnTo>
                      <a:pt x="96" y="267"/>
                    </a:lnTo>
                    <a:lnTo>
                      <a:pt x="95" y="267"/>
                    </a:lnTo>
                    <a:lnTo>
                      <a:pt x="94" y="267"/>
                    </a:lnTo>
                    <a:lnTo>
                      <a:pt x="93" y="267"/>
                    </a:lnTo>
                    <a:lnTo>
                      <a:pt x="93" y="268"/>
                    </a:lnTo>
                    <a:lnTo>
                      <a:pt x="91" y="268"/>
                    </a:lnTo>
                    <a:lnTo>
                      <a:pt x="91" y="269"/>
                    </a:lnTo>
                    <a:lnTo>
                      <a:pt x="91" y="270"/>
                    </a:lnTo>
                    <a:lnTo>
                      <a:pt x="90" y="271"/>
                    </a:lnTo>
                    <a:lnTo>
                      <a:pt x="89" y="271"/>
                    </a:lnTo>
                    <a:lnTo>
                      <a:pt x="89" y="272"/>
                    </a:lnTo>
                    <a:lnTo>
                      <a:pt x="88" y="271"/>
                    </a:lnTo>
                    <a:lnTo>
                      <a:pt x="88" y="270"/>
                    </a:lnTo>
                    <a:lnTo>
                      <a:pt x="88" y="269"/>
                    </a:lnTo>
                    <a:lnTo>
                      <a:pt x="88" y="268"/>
                    </a:lnTo>
                    <a:lnTo>
                      <a:pt x="87" y="268"/>
                    </a:lnTo>
                    <a:lnTo>
                      <a:pt x="87" y="267"/>
                    </a:lnTo>
                    <a:lnTo>
                      <a:pt x="88" y="267"/>
                    </a:lnTo>
                    <a:lnTo>
                      <a:pt x="89" y="267"/>
                    </a:lnTo>
                    <a:lnTo>
                      <a:pt x="89" y="266"/>
                    </a:lnTo>
                    <a:lnTo>
                      <a:pt x="90" y="266"/>
                    </a:lnTo>
                    <a:lnTo>
                      <a:pt x="91" y="266"/>
                    </a:lnTo>
                    <a:lnTo>
                      <a:pt x="93" y="264"/>
                    </a:lnTo>
                    <a:lnTo>
                      <a:pt x="91" y="264"/>
                    </a:lnTo>
                    <a:lnTo>
                      <a:pt x="91" y="263"/>
                    </a:lnTo>
                    <a:lnTo>
                      <a:pt x="91" y="262"/>
                    </a:lnTo>
                    <a:lnTo>
                      <a:pt x="93" y="262"/>
                    </a:lnTo>
                    <a:lnTo>
                      <a:pt x="94" y="262"/>
                    </a:lnTo>
                    <a:lnTo>
                      <a:pt x="94" y="261"/>
                    </a:lnTo>
                    <a:lnTo>
                      <a:pt x="93" y="261"/>
                    </a:lnTo>
                    <a:lnTo>
                      <a:pt x="91" y="261"/>
                    </a:lnTo>
                    <a:lnTo>
                      <a:pt x="90" y="261"/>
                    </a:lnTo>
                    <a:lnTo>
                      <a:pt x="89" y="261"/>
                    </a:lnTo>
                    <a:lnTo>
                      <a:pt x="89" y="262"/>
                    </a:lnTo>
                    <a:lnTo>
                      <a:pt x="88" y="261"/>
                    </a:lnTo>
                    <a:lnTo>
                      <a:pt x="88" y="262"/>
                    </a:lnTo>
                    <a:lnTo>
                      <a:pt x="87" y="262"/>
                    </a:lnTo>
                    <a:lnTo>
                      <a:pt x="86" y="262"/>
                    </a:lnTo>
                    <a:lnTo>
                      <a:pt x="85" y="262"/>
                    </a:lnTo>
                    <a:lnTo>
                      <a:pt x="85" y="263"/>
                    </a:lnTo>
                    <a:lnTo>
                      <a:pt x="84" y="263"/>
                    </a:lnTo>
                    <a:lnTo>
                      <a:pt x="84" y="264"/>
                    </a:lnTo>
                    <a:lnTo>
                      <a:pt x="83" y="266"/>
                    </a:lnTo>
                    <a:lnTo>
                      <a:pt x="83" y="267"/>
                    </a:lnTo>
                    <a:lnTo>
                      <a:pt x="82" y="267"/>
                    </a:lnTo>
                    <a:lnTo>
                      <a:pt x="83" y="267"/>
                    </a:lnTo>
                    <a:lnTo>
                      <a:pt x="83" y="266"/>
                    </a:lnTo>
                    <a:lnTo>
                      <a:pt x="83" y="264"/>
                    </a:lnTo>
                    <a:lnTo>
                      <a:pt x="83" y="263"/>
                    </a:lnTo>
                    <a:lnTo>
                      <a:pt x="83" y="262"/>
                    </a:lnTo>
                    <a:lnTo>
                      <a:pt x="83" y="261"/>
                    </a:lnTo>
                    <a:lnTo>
                      <a:pt x="83" y="260"/>
                    </a:lnTo>
                    <a:lnTo>
                      <a:pt x="83" y="259"/>
                    </a:lnTo>
                    <a:lnTo>
                      <a:pt x="83" y="258"/>
                    </a:lnTo>
                    <a:lnTo>
                      <a:pt x="82" y="258"/>
                    </a:lnTo>
                    <a:lnTo>
                      <a:pt x="81" y="258"/>
                    </a:lnTo>
                    <a:lnTo>
                      <a:pt x="80" y="258"/>
                    </a:lnTo>
                    <a:lnTo>
                      <a:pt x="78" y="257"/>
                    </a:lnTo>
                    <a:lnTo>
                      <a:pt x="77" y="257"/>
                    </a:lnTo>
                    <a:lnTo>
                      <a:pt x="76" y="257"/>
                    </a:lnTo>
                    <a:lnTo>
                      <a:pt x="76" y="256"/>
                    </a:lnTo>
                    <a:lnTo>
                      <a:pt x="75" y="257"/>
                    </a:lnTo>
                    <a:lnTo>
                      <a:pt x="74" y="257"/>
                    </a:lnTo>
                    <a:lnTo>
                      <a:pt x="71" y="257"/>
                    </a:lnTo>
                    <a:lnTo>
                      <a:pt x="71" y="256"/>
                    </a:lnTo>
                    <a:lnTo>
                      <a:pt x="70" y="256"/>
                    </a:lnTo>
                    <a:lnTo>
                      <a:pt x="69" y="256"/>
                    </a:lnTo>
                    <a:lnTo>
                      <a:pt x="68" y="256"/>
                    </a:lnTo>
                    <a:lnTo>
                      <a:pt x="67" y="256"/>
                    </a:lnTo>
                    <a:lnTo>
                      <a:pt x="65" y="257"/>
                    </a:lnTo>
                    <a:lnTo>
                      <a:pt x="64" y="258"/>
                    </a:lnTo>
                    <a:lnTo>
                      <a:pt x="63" y="258"/>
                    </a:lnTo>
                    <a:lnTo>
                      <a:pt x="63" y="259"/>
                    </a:lnTo>
                    <a:lnTo>
                      <a:pt x="62" y="259"/>
                    </a:lnTo>
                    <a:lnTo>
                      <a:pt x="61" y="260"/>
                    </a:lnTo>
                    <a:lnTo>
                      <a:pt x="60" y="260"/>
                    </a:lnTo>
                    <a:lnTo>
                      <a:pt x="60" y="261"/>
                    </a:lnTo>
                    <a:lnTo>
                      <a:pt x="59" y="261"/>
                    </a:lnTo>
                    <a:lnTo>
                      <a:pt x="59" y="260"/>
                    </a:lnTo>
                    <a:lnTo>
                      <a:pt x="58" y="260"/>
                    </a:lnTo>
                    <a:lnTo>
                      <a:pt x="57" y="260"/>
                    </a:lnTo>
                    <a:lnTo>
                      <a:pt x="56" y="259"/>
                    </a:lnTo>
                    <a:lnTo>
                      <a:pt x="56" y="258"/>
                    </a:lnTo>
                    <a:lnTo>
                      <a:pt x="55" y="258"/>
                    </a:lnTo>
                    <a:lnTo>
                      <a:pt x="55" y="257"/>
                    </a:lnTo>
                    <a:lnTo>
                      <a:pt x="54" y="256"/>
                    </a:lnTo>
                    <a:lnTo>
                      <a:pt x="54" y="255"/>
                    </a:lnTo>
                    <a:lnTo>
                      <a:pt x="54" y="254"/>
                    </a:lnTo>
                    <a:lnTo>
                      <a:pt x="52" y="254"/>
                    </a:lnTo>
                    <a:lnTo>
                      <a:pt x="51" y="255"/>
                    </a:lnTo>
                    <a:lnTo>
                      <a:pt x="50" y="255"/>
                    </a:lnTo>
                    <a:lnTo>
                      <a:pt x="49" y="255"/>
                    </a:lnTo>
                    <a:lnTo>
                      <a:pt x="48" y="255"/>
                    </a:lnTo>
                    <a:lnTo>
                      <a:pt x="48" y="254"/>
                    </a:lnTo>
                    <a:lnTo>
                      <a:pt x="48" y="252"/>
                    </a:lnTo>
                    <a:lnTo>
                      <a:pt x="34" y="252"/>
                    </a:lnTo>
                    <a:lnTo>
                      <a:pt x="32" y="252"/>
                    </a:lnTo>
                    <a:lnTo>
                      <a:pt x="43" y="225"/>
                    </a:lnTo>
                    <a:lnTo>
                      <a:pt x="48" y="211"/>
                    </a:lnTo>
                    <a:lnTo>
                      <a:pt x="62" y="181"/>
                    </a:lnTo>
                    <a:lnTo>
                      <a:pt x="67" y="173"/>
                    </a:lnTo>
                    <a:lnTo>
                      <a:pt x="68" y="173"/>
                    </a:lnTo>
                    <a:lnTo>
                      <a:pt x="68" y="172"/>
                    </a:lnTo>
                    <a:lnTo>
                      <a:pt x="69" y="172"/>
                    </a:lnTo>
                    <a:lnTo>
                      <a:pt x="69" y="171"/>
                    </a:lnTo>
                    <a:lnTo>
                      <a:pt x="68" y="168"/>
                    </a:lnTo>
                    <a:lnTo>
                      <a:pt x="68" y="167"/>
                    </a:lnTo>
                    <a:lnTo>
                      <a:pt x="69" y="166"/>
                    </a:lnTo>
                    <a:lnTo>
                      <a:pt x="69" y="165"/>
                    </a:lnTo>
                    <a:lnTo>
                      <a:pt x="70" y="165"/>
                    </a:lnTo>
                    <a:lnTo>
                      <a:pt x="70" y="164"/>
                    </a:lnTo>
                    <a:lnTo>
                      <a:pt x="70" y="162"/>
                    </a:lnTo>
                    <a:lnTo>
                      <a:pt x="69" y="162"/>
                    </a:lnTo>
                    <a:lnTo>
                      <a:pt x="68" y="161"/>
                    </a:lnTo>
                    <a:lnTo>
                      <a:pt x="67" y="159"/>
                    </a:lnTo>
                    <a:lnTo>
                      <a:pt x="67" y="158"/>
                    </a:lnTo>
                    <a:lnTo>
                      <a:pt x="65" y="157"/>
                    </a:lnTo>
                    <a:lnTo>
                      <a:pt x="64" y="157"/>
                    </a:lnTo>
                    <a:lnTo>
                      <a:pt x="60" y="157"/>
                    </a:lnTo>
                    <a:lnTo>
                      <a:pt x="25" y="133"/>
                    </a:lnTo>
                    <a:lnTo>
                      <a:pt x="24" y="129"/>
                    </a:lnTo>
                    <a:lnTo>
                      <a:pt x="24" y="128"/>
                    </a:lnTo>
                    <a:lnTo>
                      <a:pt x="25" y="127"/>
                    </a:lnTo>
                    <a:lnTo>
                      <a:pt x="25" y="126"/>
                    </a:lnTo>
                    <a:lnTo>
                      <a:pt x="24" y="126"/>
                    </a:lnTo>
                    <a:lnTo>
                      <a:pt x="23" y="125"/>
                    </a:lnTo>
                    <a:lnTo>
                      <a:pt x="23" y="123"/>
                    </a:lnTo>
                    <a:lnTo>
                      <a:pt x="23" y="122"/>
                    </a:lnTo>
                    <a:lnTo>
                      <a:pt x="23" y="121"/>
                    </a:lnTo>
                    <a:lnTo>
                      <a:pt x="23" y="120"/>
                    </a:lnTo>
                    <a:lnTo>
                      <a:pt x="23" y="119"/>
                    </a:lnTo>
                    <a:lnTo>
                      <a:pt x="21" y="118"/>
                    </a:lnTo>
                    <a:lnTo>
                      <a:pt x="20" y="117"/>
                    </a:lnTo>
                    <a:lnTo>
                      <a:pt x="19" y="116"/>
                    </a:lnTo>
                    <a:lnTo>
                      <a:pt x="19" y="115"/>
                    </a:lnTo>
                    <a:lnTo>
                      <a:pt x="18" y="115"/>
                    </a:lnTo>
                    <a:lnTo>
                      <a:pt x="17" y="114"/>
                    </a:lnTo>
                    <a:lnTo>
                      <a:pt x="16" y="113"/>
                    </a:lnTo>
                    <a:lnTo>
                      <a:pt x="16" y="110"/>
                    </a:lnTo>
                    <a:lnTo>
                      <a:pt x="15" y="110"/>
                    </a:lnTo>
                    <a:lnTo>
                      <a:pt x="15" y="109"/>
                    </a:lnTo>
                    <a:lnTo>
                      <a:pt x="13" y="108"/>
                    </a:lnTo>
                    <a:lnTo>
                      <a:pt x="13" y="107"/>
                    </a:lnTo>
                    <a:lnTo>
                      <a:pt x="12" y="107"/>
                    </a:lnTo>
                    <a:lnTo>
                      <a:pt x="11" y="107"/>
                    </a:lnTo>
                    <a:lnTo>
                      <a:pt x="10" y="107"/>
                    </a:lnTo>
                    <a:lnTo>
                      <a:pt x="10" y="106"/>
                    </a:lnTo>
                    <a:lnTo>
                      <a:pt x="10" y="105"/>
                    </a:lnTo>
                    <a:lnTo>
                      <a:pt x="9" y="105"/>
                    </a:lnTo>
                    <a:lnTo>
                      <a:pt x="9" y="104"/>
                    </a:lnTo>
                    <a:lnTo>
                      <a:pt x="9" y="103"/>
                    </a:lnTo>
                    <a:lnTo>
                      <a:pt x="8" y="103"/>
                    </a:lnTo>
                    <a:lnTo>
                      <a:pt x="8" y="102"/>
                    </a:lnTo>
                    <a:lnTo>
                      <a:pt x="7" y="101"/>
                    </a:lnTo>
                    <a:lnTo>
                      <a:pt x="7" y="100"/>
                    </a:lnTo>
                    <a:lnTo>
                      <a:pt x="7" y="97"/>
                    </a:lnTo>
                    <a:lnTo>
                      <a:pt x="6" y="97"/>
                    </a:lnTo>
                    <a:lnTo>
                      <a:pt x="6" y="96"/>
                    </a:lnTo>
                    <a:lnTo>
                      <a:pt x="5" y="91"/>
                    </a:lnTo>
                    <a:lnTo>
                      <a:pt x="5" y="90"/>
                    </a:lnTo>
                    <a:lnTo>
                      <a:pt x="5" y="88"/>
                    </a:lnTo>
                    <a:lnTo>
                      <a:pt x="4" y="78"/>
                    </a:lnTo>
                    <a:lnTo>
                      <a:pt x="4" y="77"/>
                    </a:lnTo>
                    <a:lnTo>
                      <a:pt x="2" y="63"/>
                    </a:lnTo>
                    <a:lnTo>
                      <a:pt x="2" y="62"/>
                    </a:lnTo>
                    <a:lnTo>
                      <a:pt x="0" y="58"/>
                    </a:lnTo>
                    <a:lnTo>
                      <a:pt x="0" y="55"/>
                    </a:lnTo>
                    <a:lnTo>
                      <a:pt x="0" y="54"/>
                    </a:lnTo>
                    <a:lnTo>
                      <a:pt x="0" y="52"/>
                    </a:lnTo>
                    <a:lnTo>
                      <a:pt x="0" y="50"/>
                    </a:lnTo>
                    <a:lnTo>
                      <a:pt x="0" y="43"/>
                    </a:lnTo>
                    <a:lnTo>
                      <a:pt x="0" y="41"/>
                    </a:lnTo>
                    <a:lnTo>
                      <a:pt x="0" y="40"/>
                    </a:lnTo>
                    <a:lnTo>
                      <a:pt x="0" y="36"/>
                    </a:lnTo>
                    <a:lnTo>
                      <a:pt x="0" y="33"/>
                    </a:lnTo>
                    <a:lnTo>
                      <a:pt x="0" y="32"/>
                    </a:lnTo>
                    <a:lnTo>
                      <a:pt x="0" y="31"/>
                    </a:lnTo>
                    <a:lnTo>
                      <a:pt x="0" y="30"/>
                    </a:lnTo>
                    <a:lnTo>
                      <a:pt x="0" y="26"/>
                    </a:lnTo>
                    <a:lnTo>
                      <a:pt x="0" y="19"/>
                    </a:lnTo>
                    <a:lnTo>
                      <a:pt x="0" y="5"/>
                    </a:lnTo>
                    <a:lnTo>
                      <a:pt x="2" y="1"/>
                    </a:lnTo>
                    <a:lnTo>
                      <a:pt x="3" y="0"/>
                    </a:lnTo>
                    <a:lnTo>
                      <a:pt x="7" y="1"/>
                    </a:lnTo>
                    <a:lnTo>
                      <a:pt x="9" y="2"/>
                    </a:lnTo>
                    <a:lnTo>
                      <a:pt x="10" y="1"/>
                    </a:lnTo>
                    <a:lnTo>
                      <a:pt x="13" y="1"/>
                    </a:lnTo>
                    <a:lnTo>
                      <a:pt x="19" y="3"/>
                    </a:lnTo>
                    <a:lnTo>
                      <a:pt x="21" y="6"/>
                    </a:lnTo>
                    <a:lnTo>
                      <a:pt x="22" y="6"/>
                    </a:lnTo>
                    <a:lnTo>
                      <a:pt x="22" y="7"/>
                    </a:lnTo>
                    <a:lnTo>
                      <a:pt x="22" y="6"/>
                    </a:lnTo>
                    <a:lnTo>
                      <a:pt x="23" y="3"/>
                    </a:lnTo>
                    <a:lnTo>
                      <a:pt x="23" y="4"/>
                    </a:lnTo>
                    <a:lnTo>
                      <a:pt x="24" y="4"/>
                    </a:lnTo>
                    <a:lnTo>
                      <a:pt x="23" y="4"/>
                    </a:lnTo>
                    <a:lnTo>
                      <a:pt x="23" y="5"/>
                    </a:lnTo>
                    <a:lnTo>
                      <a:pt x="23" y="6"/>
                    </a:lnTo>
                    <a:lnTo>
                      <a:pt x="23" y="5"/>
                    </a:lnTo>
                    <a:lnTo>
                      <a:pt x="24" y="4"/>
                    </a:lnTo>
                    <a:lnTo>
                      <a:pt x="24" y="5"/>
                    </a:lnTo>
                    <a:lnTo>
                      <a:pt x="25" y="5"/>
                    </a:lnTo>
                    <a:lnTo>
                      <a:pt x="26" y="4"/>
                    </a:lnTo>
                    <a:lnTo>
                      <a:pt x="28" y="4"/>
                    </a:lnTo>
                    <a:lnTo>
                      <a:pt x="26" y="5"/>
                    </a:lnTo>
                    <a:lnTo>
                      <a:pt x="26" y="6"/>
                    </a:lnTo>
                    <a:lnTo>
                      <a:pt x="26" y="5"/>
                    </a:lnTo>
                    <a:lnTo>
                      <a:pt x="28" y="5"/>
                    </a:lnTo>
                    <a:lnTo>
                      <a:pt x="28" y="6"/>
                    </a:lnTo>
                    <a:lnTo>
                      <a:pt x="28" y="5"/>
                    </a:lnTo>
                    <a:lnTo>
                      <a:pt x="29" y="5"/>
                    </a:lnTo>
                    <a:lnTo>
                      <a:pt x="28" y="5"/>
                    </a:lnTo>
                    <a:lnTo>
                      <a:pt x="28" y="6"/>
                    </a:lnTo>
                    <a:lnTo>
                      <a:pt x="28" y="7"/>
                    </a:lnTo>
                    <a:lnTo>
                      <a:pt x="29" y="7"/>
                    </a:lnTo>
                    <a:lnTo>
                      <a:pt x="30" y="7"/>
                    </a:lnTo>
                    <a:lnTo>
                      <a:pt x="34" y="10"/>
                    </a:lnTo>
                    <a:lnTo>
                      <a:pt x="36" y="12"/>
                    </a:lnTo>
                    <a:lnTo>
                      <a:pt x="37" y="11"/>
                    </a:lnTo>
                    <a:lnTo>
                      <a:pt x="37" y="12"/>
                    </a:lnTo>
                    <a:lnTo>
                      <a:pt x="38" y="12"/>
                    </a:lnTo>
                    <a:lnTo>
                      <a:pt x="39" y="13"/>
                    </a:lnTo>
                    <a:lnTo>
                      <a:pt x="43" y="14"/>
                    </a:lnTo>
                    <a:lnTo>
                      <a:pt x="48" y="15"/>
                    </a:lnTo>
                    <a:lnTo>
                      <a:pt x="55" y="17"/>
                    </a:lnTo>
                    <a:lnTo>
                      <a:pt x="56" y="17"/>
                    </a:lnTo>
                    <a:lnTo>
                      <a:pt x="59" y="18"/>
                    </a:lnTo>
                    <a:lnTo>
                      <a:pt x="60" y="19"/>
                    </a:lnTo>
                    <a:lnTo>
                      <a:pt x="61" y="19"/>
                    </a:lnTo>
                    <a:lnTo>
                      <a:pt x="62" y="19"/>
                    </a:lnTo>
                    <a:lnTo>
                      <a:pt x="64" y="19"/>
                    </a:lnTo>
                    <a:lnTo>
                      <a:pt x="65" y="19"/>
                    </a:lnTo>
                    <a:lnTo>
                      <a:pt x="67" y="19"/>
                    </a:lnTo>
                    <a:lnTo>
                      <a:pt x="69" y="20"/>
                    </a:lnTo>
                    <a:lnTo>
                      <a:pt x="72" y="20"/>
                    </a:lnTo>
                    <a:lnTo>
                      <a:pt x="73" y="20"/>
                    </a:lnTo>
                    <a:lnTo>
                      <a:pt x="74" y="20"/>
                    </a:lnTo>
                    <a:lnTo>
                      <a:pt x="75" y="20"/>
                    </a:lnTo>
                    <a:lnTo>
                      <a:pt x="76" y="20"/>
                    </a:lnTo>
                    <a:lnTo>
                      <a:pt x="77" y="20"/>
                    </a:lnTo>
                    <a:lnTo>
                      <a:pt x="77" y="19"/>
                    </a:lnTo>
                    <a:lnTo>
                      <a:pt x="78" y="20"/>
                    </a:lnTo>
                    <a:lnTo>
                      <a:pt x="78" y="22"/>
                    </a:lnTo>
                    <a:lnTo>
                      <a:pt x="80" y="22"/>
                    </a:lnTo>
                    <a:lnTo>
                      <a:pt x="82" y="22"/>
                    </a:lnTo>
                    <a:lnTo>
                      <a:pt x="83" y="22"/>
                    </a:lnTo>
                    <a:lnTo>
                      <a:pt x="83" y="20"/>
                    </a:lnTo>
                    <a:lnTo>
                      <a:pt x="83" y="22"/>
                    </a:lnTo>
                    <a:lnTo>
                      <a:pt x="84" y="22"/>
                    </a:lnTo>
                    <a:lnTo>
                      <a:pt x="84" y="20"/>
                    </a:lnTo>
                    <a:lnTo>
                      <a:pt x="84" y="19"/>
                    </a:lnTo>
                    <a:lnTo>
                      <a:pt x="85" y="19"/>
                    </a:lnTo>
                    <a:lnTo>
                      <a:pt x="85" y="20"/>
                    </a:lnTo>
                    <a:lnTo>
                      <a:pt x="84" y="20"/>
                    </a:lnTo>
                    <a:lnTo>
                      <a:pt x="85" y="20"/>
                    </a:lnTo>
                    <a:lnTo>
                      <a:pt x="85" y="19"/>
                    </a:lnTo>
                    <a:lnTo>
                      <a:pt x="85" y="20"/>
                    </a:lnTo>
                    <a:lnTo>
                      <a:pt x="86" y="22"/>
                    </a:lnTo>
                    <a:lnTo>
                      <a:pt x="89" y="22"/>
                    </a:lnTo>
                    <a:lnTo>
                      <a:pt x="94" y="22"/>
                    </a:lnTo>
                    <a:lnTo>
                      <a:pt x="94" y="20"/>
                    </a:lnTo>
                    <a:lnTo>
                      <a:pt x="94" y="19"/>
                    </a:lnTo>
                    <a:lnTo>
                      <a:pt x="95" y="19"/>
                    </a:lnTo>
                    <a:lnTo>
                      <a:pt x="95" y="18"/>
                    </a:lnTo>
                    <a:lnTo>
                      <a:pt x="97" y="18"/>
                    </a:lnTo>
                    <a:lnTo>
                      <a:pt x="96" y="18"/>
                    </a:lnTo>
                    <a:lnTo>
                      <a:pt x="96" y="19"/>
                    </a:lnTo>
                    <a:lnTo>
                      <a:pt x="96" y="20"/>
                    </a:lnTo>
                    <a:lnTo>
                      <a:pt x="97" y="20"/>
                    </a:lnTo>
                    <a:lnTo>
                      <a:pt x="97" y="19"/>
                    </a:lnTo>
                    <a:lnTo>
                      <a:pt x="97" y="18"/>
                    </a:lnTo>
                    <a:lnTo>
                      <a:pt x="97" y="19"/>
                    </a:lnTo>
                    <a:lnTo>
                      <a:pt x="97" y="18"/>
                    </a:lnTo>
                    <a:lnTo>
                      <a:pt x="98" y="18"/>
                    </a:lnTo>
                    <a:lnTo>
                      <a:pt x="98" y="22"/>
                    </a:lnTo>
                    <a:close/>
                    <a:moveTo>
                      <a:pt x="126" y="385"/>
                    </a:moveTo>
                    <a:lnTo>
                      <a:pt x="127" y="386"/>
                    </a:lnTo>
                    <a:lnTo>
                      <a:pt x="127" y="387"/>
                    </a:lnTo>
                    <a:lnTo>
                      <a:pt x="128" y="387"/>
                    </a:lnTo>
                    <a:lnTo>
                      <a:pt x="129" y="387"/>
                    </a:lnTo>
                    <a:lnTo>
                      <a:pt x="131" y="388"/>
                    </a:lnTo>
                    <a:lnTo>
                      <a:pt x="132" y="388"/>
                    </a:lnTo>
                    <a:lnTo>
                      <a:pt x="133" y="388"/>
                    </a:lnTo>
                    <a:lnTo>
                      <a:pt x="134" y="387"/>
                    </a:lnTo>
                    <a:lnTo>
                      <a:pt x="134" y="388"/>
                    </a:lnTo>
                    <a:lnTo>
                      <a:pt x="134" y="387"/>
                    </a:lnTo>
                    <a:lnTo>
                      <a:pt x="134" y="386"/>
                    </a:lnTo>
                    <a:lnTo>
                      <a:pt x="135" y="386"/>
                    </a:lnTo>
                    <a:lnTo>
                      <a:pt x="134" y="385"/>
                    </a:lnTo>
                    <a:lnTo>
                      <a:pt x="135" y="385"/>
                    </a:lnTo>
                    <a:lnTo>
                      <a:pt x="136" y="385"/>
                    </a:lnTo>
                    <a:lnTo>
                      <a:pt x="136" y="386"/>
                    </a:lnTo>
                    <a:lnTo>
                      <a:pt x="136" y="387"/>
                    </a:lnTo>
                    <a:lnTo>
                      <a:pt x="137" y="387"/>
                    </a:lnTo>
                    <a:lnTo>
                      <a:pt x="137" y="386"/>
                    </a:lnTo>
                    <a:lnTo>
                      <a:pt x="138" y="386"/>
                    </a:lnTo>
                    <a:lnTo>
                      <a:pt x="138" y="387"/>
                    </a:lnTo>
                    <a:lnTo>
                      <a:pt x="137" y="387"/>
                    </a:lnTo>
                    <a:lnTo>
                      <a:pt x="138" y="387"/>
                    </a:lnTo>
                    <a:lnTo>
                      <a:pt x="138" y="388"/>
                    </a:lnTo>
                    <a:lnTo>
                      <a:pt x="138" y="389"/>
                    </a:lnTo>
                    <a:lnTo>
                      <a:pt x="139" y="389"/>
                    </a:lnTo>
                    <a:lnTo>
                      <a:pt x="139" y="390"/>
                    </a:lnTo>
                    <a:lnTo>
                      <a:pt x="138" y="390"/>
                    </a:lnTo>
                    <a:lnTo>
                      <a:pt x="137" y="390"/>
                    </a:lnTo>
                    <a:lnTo>
                      <a:pt x="137" y="391"/>
                    </a:lnTo>
                    <a:lnTo>
                      <a:pt x="137" y="392"/>
                    </a:lnTo>
                    <a:lnTo>
                      <a:pt x="138" y="392"/>
                    </a:lnTo>
                    <a:lnTo>
                      <a:pt x="138" y="393"/>
                    </a:lnTo>
                    <a:lnTo>
                      <a:pt x="137" y="393"/>
                    </a:lnTo>
                    <a:lnTo>
                      <a:pt x="136" y="396"/>
                    </a:lnTo>
                    <a:lnTo>
                      <a:pt x="135" y="397"/>
                    </a:lnTo>
                    <a:lnTo>
                      <a:pt x="136" y="398"/>
                    </a:lnTo>
                    <a:lnTo>
                      <a:pt x="136" y="399"/>
                    </a:lnTo>
                    <a:lnTo>
                      <a:pt x="137" y="400"/>
                    </a:lnTo>
                    <a:lnTo>
                      <a:pt x="138" y="400"/>
                    </a:lnTo>
                    <a:lnTo>
                      <a:pt x="138" y="401"/>
                    </a:lnTo>
                    <a:lnTo>
                      <a:pt x="139" y="401"/>
                    </a:lnTo>
                    <a:lnTo>
                      <a:pt x="140" y="402"/>
                    </a:lnTo>
                    <a:lnTo>
                      <a:pt x="141" y="402"/>
                    </a:lnTo>
                    <a:lnTo>
                      <a:pt x="142" y="402"/>
                    </a:lnTo>
                    <a:lnTo>
                      <a:pt x="142" y="403"/>
                    </a:lnTo>
                    <a:lnTo>
                      <a:pt x="144" y="404"/>
                    </a:lnTo>
                    <a:lnTo>
                      <a:pt x="141" y="405"/>
                    </a:lnTo>
                    <a:lnTo>
                      <a:pt x="138" y="405"/>
                    </a:lnTo>
                    <a:lnTo>
                      <a:pt x="138" y="404"/>
                    </a:lnTo>
                    <a:lnTo>
                      <a:pt x="138" y="403"/>
                    </a:lnTo>
                    <a:lnTo>
                      <a:pt x="138" y="402"/>
                    </a:lnTo>
                    <a:lnTo>
                      <a:pt x="137" y="402"/>
                    </a:lnTo>
                    <a:lnTo>
                      <a:pt x="137" y="401"/>
                    </a:lnTo>
                    <a:lnTo>
                      <a:pt x="136" y="401"/>
                    </a:lnTo>
                    <a:lnTo>
                      <a:pt x="136" y="400"/>
                    </a:lnTo>
                    <a:lnTo>
                      <a:pt x="135" y="400"/>
                    </a:lnTo>
                    <a:lnTo>
                      <a:pt x="135" y="399"/>
                    </a:lnTo>
                    <a:lnTo>
                      <a:pt x="135" y="398"/>
                    </a:lnTo>
                    <a:lnTo>
                      <a:pt x="135" y="397"/>
                    </a:lnTo>
                    <a:lnTo>
                      <a:pt x="134" y="397"/>
                    </a:lnTo>
                    <a:lnTo>
                      <a:pt x="133" y="397"/>
                    </a:lnTo>
                    <a:lnTo>
                      <a:pt x="133" y="396"/>
                    </a:lnTo>
                    <a:lnTo>
                      <a:pt x="132" y="396"/>
                    </a:lnTo>
                    <a:lnTo>
                      <a:pt x="131" y="395"/>
                    </a:lnTo>
                    <a:lnTo>
                      <a:pt x="129" y="395"/>
                    </a:lnTo>
                    <a:lnTo>
                      <a:pt x="128" y="396"/>
                    </a:lnTo>
                    <a:lnTo>
                      <a:pt x="127" y="395"/>
                    </a:lnTo>
                    <a:lnTo>
                      <a:pt x="126" y="393"/>
                    </a:lnTo>
                    <a:lnTo>
                      <a:pt x="125" y="393"/>
                    </a:lnTo>
                    <a:lnTo>
                      <a:pt x="125" y="392"/>
                    </a:lnTo>
                    <a:lnTo>
                      <a:pt x="123" y="392"/>
                    </a:lnTo>
                    <a:lnTo>
                      <a:pt x="121" y="392"/>
                    </a:lnTo>
                    <a:lnTo>
                      <a:pt x="119" y="392"/>
                    </a:lnTo>
                    <a:lnTo>
                      <a:pt x="117" y="392"/>
                    </a:lnTo>
                    <a:lnTo>
                      <a:pt x="117" y="393"/>
                    </a:lnTo>
                    <a:lnTo>
                      <a:pt x="116" y="395"/>
                    </a:lnTo>
                    <a:lnTo>
                      <a:pt x="116" y="396"/>
                    </a:lnTo>
                    <a:lnTo>
                      <a:pt x="117" y="396"/>
                    </a:lnTo>
                    <a:lnTo>
                      <a:pt x="117" y="397"/>
                    </a:lnTo>
                    <a:lnTo>
                      <a:pt x="119" y="397"/>
                    </a:lnTo>
                    <a:lnTo>
                      <a:pt x="119" y="398"/>
                    </a:lnTo>
                    <a:lnTo>
                      <a:pt x="120" y="398"/>
                    </a:lnTo>
                    <a:lnTo>
                      <a:pt x="120" y="399"/>
                    </a:lnTo>
                    <a:lnTo>
                      <a:pt x="121" y="399"/>
                    </a:lnTo>
                    <a:lnTo>
                      <a:pt x="121" y="400"/>
                    </a:lnTo>
                    <a:lnTo>
                      <a:pt x="121" y="401"/>
                    </a:lnTo>
                    <a:lnTo>
                      <a:pt x="121" y="402"/>
                    </a:lnTo>
                    <a:lnTo>
                      <a:pt x="122" y="402"/>
                    </a:lnTo>
                    <a:lnTo>
                      <a:pt x="122" y="403"/>
                    </a:lnTo>
                    <a:lnTo>
                      <a:pt x="122" y="404"/>
                    </a:lnTo>
                    <a:lnTo>
                      <a:pt x="121" y="404"/>
                    </a:lnTo>
                    <a:lnTo>
                      <a:pt x="120" y="405"/>
                    </a:lnTo>
                    <a:lnTo>
                      <a:pt x="119" y="405"/>
                    </a:lnTo>
                    <a:lnTo>
                      <a:pt x="119" y="406"/>
                    </a:lnTo>
                    <a:lnTo>
                      <a:pt x="117" y="406"/>
                    </a:lnTo>
                    <a:lnTo>
                      <a:pt x="117" y="408"/>
                    </a:lnTo>
                    <a:lnTo>
                      <a:pt x="116" y="408"/>
                    </a:lnTo>
                    <a:lnTo>
                      <a:pt x="116" y="409"/>
                    </a:lnTo>
                    <a:lnTo>
                      <a:pt x="116" y="410"/>
                    </a:lnTo>
                    <a:lnTo>
                      <a:pt x="115" y="410"/>
                    </a:lnTo>
                    <a:lnTo>
                      <a:pt x="114" y="410"/>
                    </a:lnTo>
                    <a:lnTo>
                      <a:pt x="113" y="411"/>
                    </a:lnTo>
                    <a:lnTo>
                      <a:pt x="112" y="411"/>
                    </a:lnTo>
                    <a:lnTo>
                      <a:pt x="112" y="410"/>
                    </a:lnTo>
                    <a:lnTo>
                      <a:pt x="113" y="410"/>
                    </a:lnTo>
                    <a:lnTo>
                      <a:pt x="113" y="409"/>
                    </a:lnTo>
                    <a:lnTo>
                      <a:pt x="114" y="406"/>
                    </a:lnTo>
                    <a:lnTo>
                      <a:pt x="113" y="405"/>
                    </a:lnTo>
                    <a:lnTo>
                      <a:pt x="113" y="404"/>
                    </a:lnTo>
                    <a:lnTo>
                      <a:pt x="113" y="403"/>
                    </a:lnTo>
                    <a:lnTo>
                      <a:pt x="113" y="402"/>
                    </a:lnTo>
                    <a:lnTo>
                      <a:pt x="113" y="401"/>
                    </a:lnTo>
                    <a:lnTo>
                      <a:pt x="113" y="400"/>
                    </a:lnTo>
                    <a:lnTo>
                      <a:pt x="113" y="399"/>
                    </a:lnTo>
                    <a:lnTo>
                      <a:pt x="112" y="399"/>
                    </a:lnTo>
                    <a:lnTo>
                      <a:pt x="111" y="399"/>
                    </a:lnTo>
                    <a:lnTo>
                      <a:pt x="111" y="398"/>
                    </a:lnTo>
                    <a:lnTo>
                      <a:pt x="111" y="395"/>
                    </a:lnTo>
                    <a:lnTo>
                      <a:pt x="110" y="395"/>
                    </a:lnTo>
                    <a:lnTo>
                      <a:pt x="110" y="393"/>
                    </a:lnTo>
                    <a:lnTo>
                      <a:pt x="109" y="393"/>
                    </a:lnTo>
                    <a:lnTo>
                      <a:pt x="108" y="393"/>
                    </a:lnTo>
                    <a:lnTo>
                      <a:pt x="104" y="392"/>
                    </a:lnTo>
                    <a:lnTo>
                      <a:pt x="101" y="392"/>
                    </a:lnTo>
                    <a:lnTo>
                      <a:pt x="101" y="393"/>
                    </a:lnTo>
                    <a:lnTo>
                      <a:pt x="100" y="393"/>
                    </a:lnTo>
                    <a:lnTo>
                      <a:pt x="100" y="392"/>
                    </a:lnTo>
                    <a:lnTo>
                      <a:pt x="99" y="392"/>
                    </a:lnTo>
                    <a:lnTo>
                      <a:pt x="100" y="392"/>
                    </a:lnTo>
                    <a:lnTo>
                      <a:pt x="100" y="391"/>
                    </a:lnTo>
                    <a:lnTo>
                      <a:pt x="100" y="390"/>
                    </a:lnTo>
                    <a:lnTo>
                      <a:pt x="101" y="390"/>
                    </a:lnTo>
                    <a:lnTo>
                      <a:pt x="101" y="389"/>
                    </a:lnTo>
                    <a:lnTo>
                      <a:pt x="101" y="388"/>
                    </a:lnTo>
                    <a:lnTo>
                      <a:pt x="102" y="388"/>
                    </a:lnTo>
                    <a:lnTo>
                      <a:pt x="103" y="388"/>
                    </a:lnTo>
                    <a:lnTo>
                      <a:pt x="103" y="387"/>
                    </a:lnTo>
                    <a:lnTo>
                      <a:pt x="104" y="386"/>
                    </a:lnTo>
                    <a:lnTo>
                      <a:pt x="106" y="386"/>
                    </a:lnTo>
                    <a:lnTo>
                      <a:pt x="107" y="386"/>
                    </a:lnTo>
                    <a:lnTo>
                      <a:pt x="108" y="386"/>
                    </a:lnTo>
                    <a:lnTo>
                      <a:pt x="109" y="386"/>
                    </a:lnTo>
                    <a:lnTo>
                      <a:pt x="109" y="385"/>
                    </a:lnTo>
                    <a:lnTo>
                      <a:pt x="110" y="385"/>
                    </a:lnTo>
                    <a:lnTo>
                      <a:pt x="110" y="384"/>
                    </a:lnTo>
                    <a:lnTo>
                      <a:pt x="112" y="385"/>
                    </a:lnTo>
                    <a:lnTo>
                      <a:pt x="113" y="385"/>
                    </a:lnTo>
                    <a:lnTo>
                      <a:pt x="113" y="384"/>
                    </a:lnTo>
                    <a:lnTo>
                      <a:pt x="114" y="384"/>
                    </a:lnTo>
                    <a:lnTo>
                      <a:pt x="115" y="385"/>
                    </a:lnTo>
                    <a:lnTo>
                      <a:pt x="117" y="386"/>
                    </a:lnTo>
                    <a:lnTo>
                      <a:pt x="119" y="386"/>
                    </a:lnTo>
                    <a:lnTo>
                      <a:pt x="120" y="386"/>
                    </a:lnTo>
                    <a:lnTo>
                      <a:pt x="121" y="385"/>
                    </a:lnTo>
                    <a:lnTo>
                      <a:pt x="122" y="385"/>
                    </a:lnTo>
                    <a:lnTo>
                      <a:pt x="122" y="384"/>
                    </a:lnTo>
                    <a:lnTo>
                      <a:pt x="122" y="383"/>
                    </a:lnTo>
                    <a:lnTo>
                      <a:pt x="123" y="383"/>
                    </a:lnTo>
                    <a:lnTo>
                      <a:pt x="123" y="382"/>
                    </a:lnTo>
                    <a:lnTo>
                      <a:pt x="123" y="380"/>
                    </a:lnTo>
                    <a:lnTo>
                      <a:pt x="123" y="379"/>
                    </a:lnTo>
                    <a:lnTo>
                      <a:pt x="124" y="379"/>
                    </a:lnTo>
                    <a:lnTo>
                      <a:pt x="124" y="378"/>
                    </a:lnTo>
                    <a:lnTo>
                      <a:pt x="125" y="379"/>
                    </a:lnTo>
                    <a:lnTo>
                      <a:pt x="125" y="380"/>
                    </a:lnTo>
                    <a:lnTo>
                      <a:pt x="126" y="382"/>
                    </a:lnTo>
                    <a:lnTo>
                      <a:pt x="126" y="383"/>
                    </a:lnTo>
                    <a:lnTo>
                      <a:pt x="126" y="384"/>
                    </a:lnTo>
                    <a:lnTo>
                      <a:pt x="126" y="385"/>
                    </a:lnTo>
                    <a:close/>
                    <a:moveTo>
                      <a:pt x="83" y="334"/>
                    </a:moveTo>
                    <a:lnTo>
                      <a:pt x="83" y="335"/>
                    </a:lnTo>
                    <a:lnTo>
                      <a:pt x="84" y="335"/>
                    </a:lnTo>
                    <a:lnTo>
                      <a:pt x="84" y="334"/>
                    </a:lnTo>
                    <a:lnTo>
                      <a:pt x="84" y="335"/>
                    </a:lnTo>
                    <a:lnTo>
                      <a:pt x="85" y="336"/>
                    </a:lnTo>
                    <a:lnTo>
                      <a:pt x="86" y="336"/>
                    </a:lnTo>
                    <a:lnTo>
                      <a:pt x="87" y="337"/>
                    </a:lnTo>
                    <a:lnTo>
                      <a:pt x="88" y="337"/>
                    </a:lnTo>
                    <a:lnTo>
                      <a:pt x="88" y="338"/>
                    </a:lnTo>
                    <a:lnTo>
                      <a:pt x="88" y="339"/>
                    </a:lnTo>
                    <a:lnTo>
                      <a:pt x="88" y="340"/>
                    </a:lnTo>
                    <a:lnTo>
                      <a:pt x="88" y="341"/>
                    </a:lnTo>
                    <a:lnTo>
                      <a:pt x="88" y="342"/>
                    </a:lnTo>
                    <a:lnTo>
                      <a:pt x="89" y="344"/>
                    </a:lnTo>
                    <a:lnTo>
                      <a:pt x="89" y="345"/>
                    </a:lnTo>
                    <a:lnTo>
                      <a:pt x="89" y="346"/>
                    </a:lnTo>
                    <a:lnTo>
                      <a:pt x="89" y="347"/>
                    </a:lnTo>
                    <a:lnTo>
                      <a:pt x="89" y="348"/>
                    </a:lnTo>
                    <a:lnTo>
                      <a:pt x="89" y="350"/>
                    </a:lnTo>
                    <a:lnTo>
                      <a:pt x="90" y="350"/>
                    </a:lnTo>
                    <a:lnTo>
                      <a:pt x="89" y="351"/>
                    </a:lnTo>
                    <a:lnTo>
                      <a:pt x="89" y="352"/>
                    </a:lnTo>
                    <a:lnTo>
                      <a:pt x="88" y="352"/>
                    </a:lnTo>
                    <a:lnTo>
                      <a:pt x="87" y="354"/>
                    </a:lnTo>
                    <a:lnTo>
                      <a:pt x="86" y="356"/>
                    </a:lnTo>
                    <a:lnTo>
                      <a:pt x="86" y="357"/>
                    </a:lnTo>
                    <a:lnTo>
                      <a:pt x="85" y="358"/>
                    </a:lnTo>
                    <a:lnTo>
                      <a:pt x="85" y="359"/>
                    </a:lnTo>
                    <a:lnTo>
                      <a:pt x="84" y="359"/>
                    </a:lnTo>
                    <a:lnTo>
                      <a:pt x="84" y="360"/>
                    </a:lnTo>
                    <a:lnTo>
                      <a:pt x="83" y="361"/>
                    </a:lnTo>
                    <a:lnTo>
                      <a:pt x="83" y="362"/>
                    </a:lnTo>
                    <a:lnTo>
                      <a:pt x="82" y="362"/>
                    </a:lnTo>
                    <a:lnTo>
                      <a:pt x="82" y="363"/>
                    </a:lnTo>
                    <a:lnTo>
                      <a:pt x="81" y="364"/>
                    </a:lnTo>
                    <a:lnTo>
                      <a:pt x="81" y="363"/>
                    </a:lnTo>
                    <a:lnTo>
                      <a:pt x="81" y="362"/>
                    </a:lnTo>
                    <a:lnTo>
                      <a:pt x="80" y="362"/>
                    </a:lnTo>
                    <a:lnTo>
                      <a:pt x="78" y="362"/>
                    </a:lnTo>
                    <a:lnTo>
                      <a:pt x="77" y="362"/>
                    </a:lnTo>
                    <a:lnTo>
                      <a:pt x="76" y="362"/>
                    </a:lnTo>
                    <a:lnTo>
                      <a:pt x="76" y="361"/>
                    </a:lnTo>
                    <a:lnTo>
                      <a:pt x="77" y="361"/>
                    </a:lnTo>
                    <a:lnTo>
                      <a:pt x="78" y="361"/>
                    </a:lnTo>
                    <a:lnTo>
                      <a:pt x="78" y="360"/>
                    </a:lnTo>
                    <a:lnTo>
                      <a:pt x="77" y="360"/>
                    </a:lnTo>
                    <a:lnTo>
                      <a:pt x="77" y="361"/>
                    </a:lnTo>
                    <a:lnTo>
                      <a:pt x="76" y="361"/>
                    </a:lnTo>
                    <a:lnTo>
                      <a:pt x="76" y="360"/>
                    </a:lnTo>
                    <a:lnTo>
                      <a:pt x="76" y="358"/>
                    </a:lnTo>
                    <a:lnTo>
                      <a:pt x="77" y="358"/>
                    </a:lnTo>
                    <a:lnTo>
                      <a:pt x="77" y="357"/>
                    </a:lnTo>
                    <a:lnTo>
                      <a:pt x="77" y="356"/>
                    </a:lnTo>
                    <a:lnTo>
                      <a:pt x="77" y="354"/>
                    </a:lnTo>
                    <a:lnTo>
                      <a:pt x="77" y="353"/>
                    </a:lnTo>
                    <a:lnTo>
                      <a:pt x="77" y="354"/>
                    </a:lnTo>
                    <a:lnTo>
                      <a:pt x="76" y="354"/>
                    </a:lnTo>
                    <a:lnTo>
                      <a:pt x="76" y="353"/>
                    </a:lnTo>
                    <a:lnTo>
                      <a:pt x="76" y="352"/>
                    </a:lnTo>
                    <a:lnTo>
                      <a:pt x="75" y="352"/>
                    </a:lnTo>
                    <a:lnTo>
                      <a:pt x="76" y="354"/>
                    </a:lnTo>
                    <a:lnTo>
                      <a:pt x="75" y="354"/>
                    </a:lnTo>
                    <a:lnTo>
                      <a:pt x="75" y="353"/>
                    </a:lnTo>
                    <a:lnTo>
                      <a:pt x="75" y="352"/>
                    </a:lnTo>
                    <a:lnTo>
                      <a:pt x="75" y="351"/>
                    </a:lnTo>
                    <a:lnTo>
                      <a:pt x="74" y="351"/>
                    </a:lnTo>
                    <a:lnTo>
                      <a:pt x="74" y="350"/>
                    </a:lnTo>
                    <a:lnTo>
                      <a:pt x="73" y="350"/>
                    </a:lnTo>
                    <a:lnTo>
                      <a:pt x="72" y="350"/>
                    </a:lnTo>
                    <a:lnTo>
                      <a:pt x="72" y="349"/>
                    </a:lnTo>
                    <a:lnTo>
                      <a:pt x="71" y="349"/>
                    </a:lnTo>
                    <a:lnTo>
                      <a:pt x="70" y="349"/>
                    </a:lnTo>
                    <a:lnTo>
                      <a:pt x="69" y="348"/>
                    </a:lnTo>
                    <a:lnTo>
                      <a:pt x="69" y="347"/>
                    </a:lnTo>
                    <a:lnTo>
                      <a:pt x="69" y="346"/>
                    </a:lnTo>
                    <a:lnTo>
                      <a:pt x="68" y="346"/>
                    </a:lnTo>
                    <a:lnTo>
                      <a:pt x="67" y="346"/>
                    </a:lnTo>
                    <a:lnTo>
                      <a:pt x="65" y="346"/>
                    </a:lnTo>
                    <a:lnTo>
                      <a:pt x="64" y="346"/>
                    </a:lnTo>
                    <a:lnTo>
                      <a:pt x="65" y="346"/>
                    </a:lnTo>
                    <a:lnTo>
                      <a:pt x="65" y="345"/>
                    </a:lnTo>
                    <a:lnTo>
                      <a:pt x="65" y="344"/>
                    </a:lnTo>
                    <a:lnTo>
                      <a:pt x="67" y="342"/>
                    </a:lnTo>
                    <a:lnTo>
                      <a:pt x="67" y="341"/>
                    </a:lnTo>
                    <a:lnTo>
                      <a:pt x="68" y="341"/>
                    </a:lnTo>
                    <a:lnTo>
                      <a:pt x="69" y="342"/>
                    </a:lnTo>
                    <a:lnTo>
                      <a:pt x="70" y="342"/>
                    </a:lnTo>
                    <a:lnTo>
                      <a:pt x="71" y="342"/>
                    </a:lnTo>
                    <a:lnTo>
                      <a:pt x="71" y="341"/>
                    </a:lnTo>
                    <a:lnTo>
                      <a:pt x="72" y="342"/>
                    </a:lnTo>
                    <a:lnTo>
                      <a:pt x="72" y="341"/>
                    </a:lnTo>
                    <a:lnTo>
                      <a:pt x="73" y="341"/>
                    </a:lnTo>
                    <a:lnTo>
                      <a:pt x="73" y="342"/>
                    </a:lnTo>
                    <a:lnTo>
                      <a:pt x="74" y="342"/>
                    </a:lnTo>
                    <a:lnTo>
                      <a:pt x="75" y="342"/>
                    </a:lnTo>
                    <a:lnTo>
                      <a:pt x="75" y="341"/>
                    </a:lnTo>
                    <a:lnTo>
                      <a:pt x="76" y="341"/>
                    </a:lnTo>
                    <a:lnTo>
                      <a:pt x="76" y="340"/>
                    </a:lnTo>
                    <a:lnTo>
                      <a:pt x="77" y="340"/>
                    </a:lnTo>
                    <a:lnTo>
                      <a:pt x="77" y="339"/>
                    </a:lnTo>
                    <a:lnTo>
                      <a:pt x="76" y="338"/>
                    </a:lnTo>
                    <a:lnTo>
                      <a:pt x="76" y="337"/>
                    </a:lnTo>
                    <a:lnTo>
                      <a:pt x="76" y="336"/>
                    </a:lnTo>
                    <a:lnTo>
                      <a:pt x="76" y="335"/>
                    </a:lnTo>
                    <a:lnTo>
                      <a:pt x="76" y="334"/>
                    </a:lnTo>
                    <a:lnTo>
                      <a:pt x="76" y="333"/>
                    </a:lnTo>
                    <a:lnTo>
                      <a:pt x="77" y="333"/>
                    </a:lnTo>
                    <a:lnTo>
                      <a:pt x="78" y="333"/>
                    </a:lnTo>
                    <a:lnTo>
                      <a:pt x="77" y="333"/>
                    </a:lnTo>
                    <a:lnTo>
                      <a:pt x="78" y="334"/>
                    </a:lnTo>
                    <a:lnTo>
                      <a:pt x="78" y="333"/>
                    </a:lnTo>
                    <a:lnTo>
                      <a:pt x="80" y="333"/>
                    </a:lnTo>
                    <a:lnTo>
                      <a:pt x="81" y="333"/>
                    </a:lnTo>
                    <a:lnTo>
                      <a:pt x="81" y="332"/>
                    </a:lnTo>
                    <a:lnTo>
                      <a:pt x="82" y="332"/>
                    </a:lnTo>
                    <a:lnTo>
                      <a:pt x="83" y="331"/>
                    </a:lnTo>
                    <a:lnTo>
                      <a:pt x="83" y="332"/>
                    </a:lnTo>
                    <a:lnTo>
                      <a:pt x="83" y="333"/>
                    </a:lnTo>
                    <a:lnTo>
                      <a:pt x="83" y="334"/>
                    </a:lnTo>
                    <a:close/>
                    <a:moveTo>
                      <a:pt x="201" y="550"/>
                    </a:moveTo>
                    <a:lnTo>
                      <a:pt x="202" y="551"/>
                    </a:lnTo>
                    <a:lnTo>
                      <a:pt x="203" y="552"/>
                    </a:lnTo>
                    <a:lnTo>
                      <a:pt x="203" y="553"/>
                    </a:lnTo>
                    <a:lnTo>
                      <a:pt x="203" y="554"/>
                    </a:lnTo>
                    <a:lnTo>
                      <a:pt x="203" y="555"/>
                    </a:lnTo>
                    <a:lnTo>
                      <a:pt x="203" y="556"/>
                    </a:lnTo>
                    <a:lnTo>
                      <a:pt x="202" y="557"/>
                    </a:lnTo>
                    <a:lnTo>
                      <a:pt x="201" y="558"/>
                    </a:lnTo>
                    <a:lnTo>
                      <a:pt x="201" y="559"/>
                    </a:lnTo>
                    <a:lnTo>
                      <a:pt x="201" y="560"/>
                    </a:lnTo>
                    <a:lnTo>
                      <a:pt x="200" y="560"/>
                    </a:lnTo>
                    <a:lnTo>
                      <a:pt x="200" y="562"/>
                    </a:lnTo>
                    <a:lnTo>
                      <a:pt x="199" y="562"/>
                    </a:lnTo>
                    <a:lnTo>
                      <a:pt x="198" y="563"/>
                    </a:lnTo>
                    <a:lnTo>
                      <a:pt x="196" y="564"/>
                    </a:lnTo>
                    <a:lnTo>
                      <a:pt x="193" y="565"/>
                    </a:lnTo>
                    <a:lnTo>
                      <a:pt x="192" y="566"/>
                    </a:lnTo>
                    <a:lnTo>
                      <a:pt x="191" y="567"/>
                    </a:lnTo>
                    <a:lnTo>
                      <a:pt x="190" y="567"/>
                    </a:lnTo>
                    <a:lnTo>
                      <a:pt x="189" y="567"/>
                    </a:lnTo>
                    <a:lnTo>
                      <a:pt x="188" y="568"/>
                    </a:lnTo>
                    <a:lnTo>
                      <a:pt x="187" y="569"/>
                    </a:lnTo>
                    <a:lnTo>
                      <a:pt x="185" y="570"/>
                    </a:lnTo>
                    <a:lnTo>
                      <a:pt x="184" y="571"/>
                    </a:lnTo>
                    <a:lnTo>
                      <a:pt x="183" y="571"/>
                    </a:lnTo>
                    <a:lnTo>
                      <a:pt x="181" y="572"/>
                    </a:lnTo>
                    <a:lnTo>
                      <a:pt x="179" y="573"/>
                    </a:lnTo>
                    <a:lnTo>
                      <a:pt x="179" y="575"/>
                    </a:lnTo>
                    <a:lnTo>
                      <a:pt x="178" y="575"/>
                    </a:lnTo>
                    <a:lnTo>
                      <a:pt x="178" y="576"/>
                    </a:lnTo>
                    <a:lnTo>
                      <a:pt x="176" y="577"/>
                    </a:lnTo>
                    <a:lnTo>
                      <a:pt x="175" y="577"/>
                    </a:lnTo>
                    <a:lnTo>
                      <a:pt x="174" y="578"/>
                    </a:lnTo>
                    <a:lnTo>
                      <a:pt x="173" y="579"/>
                    </a:lnTo>
                    <a:lnTo>
                      <a:pt x="171" y="580"/>
                    </a:lnTo>
                    <a:lnTo>
                      <a:pt x="168" y="581"/>
                    </a:lnTo>
                    <a:lnTo>
                      <a:pt x="165" y="583"/>
                    </a:lnTo>
                    <a:lnTo>
                      <a:pt x="160" y="588"/>
                    </a:lnTo>
                    <a:lnTo>
                      <a:pt x="155" y="591"/>
                    </a:lnTo>
                    <a:lnTo>
                      <a:pt x="152" y="593"/>
                    </a:lnTo>
                    <a:lnTo>
                      <a:pt x="151" y="595"/>
                    </a:lnTo>
                    <a:lnTo>
                      <a:pt x="147" y="599"/>
                    </a:lnTo>
                    <a:lnTo>
                      <a:pt x="146" y="599"/>
                    </a:lnTo>
                    <a:lnTo>
                      <a:pt x="146" y="598"/>
                    </a:lnTo>
                    <a:lnTo>
                      <a:pt x="145" y="598"/>
                    </a:lnTo>
                    <a:lnTo>
                      <a:pt x="145" y="597"/>
                    </a:lnTo>
                    <a:lnTo>
                      <a:pt x="146" y="596"/>
                    </a:lnTo>
                    <a:lnTo>
                      <a:pt x="147" y="596"/>
                    </a:lnTo>
                    <a:lnTo>
                      <a:pt x="148" y="595"/>
                    </a:lnTo>
                    <a:lnTo>
                      <a:pt x="149" y="595"/>
                    </a:lnTo>
                    <a:lnTo>
                      <a:pt x="149" y="594"/>
                    </a:lnTo>
                    <a:lnTo>
                      <a:pt x="149" y="593"/>
                    </a:lnTo>
                    <a:lnTo>
                      <a:pt x="150" y="594"/>
                    </a:lnTo>
                    <a:lnTo>
                      <a:pt x="150" y="593"/>
                    </a:lnTo>
                    <a:lnTo>
                      <a:pt x="151" y="593"/>
                    </a:lnTo>
                    <a:lnTo>
                      <a:pt x="150" y="593"/>
                    </a:lnTo>
                    <a:lnTo>
                      <a:pt x="150" y="592"/>
                    </a:lnTo>
                    <a:lnTo>
                      <a:pt x="151" y="593"/>
                    </a:lnTo>
                    <a:lnTo>
                      <a:pt x="150" y="592"/>
                    </a:lnTo>
                    <a:lnTo>
                      <a:pt x="151" y="593"/>
                    </a:lnTo>
                    <a:lnTo>
                      <a:pt x="151" y="592"/>
                    </a:lnTo>
                    <a:lnTo>
                      <a:pt x="150" y="592"/>
                    </a:lnTo>
                    <a:lnTo>
                      <a:pt x="151" y="592"/>
                    </a:lnTo>
                    <a:lnTo>
                      <a:pt x="151" y="591"/>
                    </a:lnTo>
                    <a:lnTo>
                      <a:pt x="152" y="591"/>
                    </a:lnTo>
                    <a:lnTo>
                      <a:pt x="152" y="590"/>
                    </a:lnTo>
                    <a:lnTo>
                      <a:pt x="152" y="591"/>
                    </a:lnTo>
                    <a:lnTo>
                      <a:pt x="153" y="590"/>
                    </a:lnTo>
                    <a:lnTo>
                      <a:pt x="154" y="589"/>
                    </a:lnTo>
                    <a:lnTo>
                      <a:pt x="153" y="589"/>
                    </a:lnTo>
                    <a:lnTo>
                      <a:pt x="154" y="589"/>
                    </a:lnTo>
                    <a:lnTo>
                      <a:pt x="154" y="588"/>
                    </a:lnTo>
                    <a:lnTo>
                      <a:pt x="155" y="588"/>
                    </a:lnTo>
                    <a:lnTo>
                      <a:pt x="155" y="586"/>
                    </a:lnTo>
                    <a:lnTo>
                      <a:pt x="157" y="586"/>
                    </a:lnTo>
                    <a:lnTo>
                      <a:pt x="155" y="586"/>
                    </a:lnTo>
                    <a:lnTo>
                      <a:pt x="157" y="586"/>
                    </a:lnTo>
                    <a:lnTo>
                      <a:pt x="157" y="585"/>
                    </a:lnTo>
                    <a:lnTo>
                      <a:pt x="158" y="585"/>
                    </a:lnTo>
                    <a:lnTo>
                      <a:pt x="158" y="584"/>
                    </a:lnTo>
                    <a:lnTo>
                      <a:pt x="159" y="584"/>
                    </a:lnTo>
                    <a:lnTo>
                      <a:pt x="159" y="583"/>
                    </a:lnTo>
                    <a:lnTo>
                      <a:pt x="159" y="582"/>
                    </a:lnTo>
                    <a:lnTo>
                      <a:pt x="160" y="582"/>
                    </a:lnTo>
                    <a:lnTo>
                      <a:pt x="159" y="582"/>
                    </a:lnTo>
                    <a:lnTo>
                      <a:pt x="159" y="581"/>
                    </a:lnTo>
                    <a:lnTo>
                      <a:pt x="160" y="582"/>
                    </a:lnTo>
                    <a:lnTo>
                      <a:pt x="159" y="582"/>
                    </a:lnTo>
                    <a:lnTo>
                      <a:pt x="160" y="582"/>
                    </a:lnTo>
                    <a:lnTo>
                      <a:pt x="160" y="581"/>
                    </a:lnTo>
                    <a:lnTo>
                      <a:pt x="160" y="582"/>
                    </a:lnTo>
                    <a:lnTo>
                      <a:pt x="160" y="581"/>
                    </a:lnTo>
                    <a:lnTo>
                      <a:pt x="160" y="580"/>
                    </a:lnTo>
                    <a:lnTo>
                      <a:pt x="160" y="581"/>
                    </a:lnTo>
                    <a:lnTo>
                      <a:pt x="161" y="580"/>
                    </a:lnTo>
                    <a:lnTo>
                      <a:pt x="162" y="580"/>
                    </a:lnTo>
                    <a:lnTo>
                      <a:pt x="162" y="579"/>
                    </a:lnTo>
                    <a:lnTo>
                      <a:pt x="161" y="579"/>
                    </a:lnTo>
                    <a:lnTo>
                      <a:pt x="162" y="579"/>
                    </a:lnTo>
                    <a:lnTo>
                      <a:pt x="161" y="579"/>
                    </a:lnTo>
                    <a:lnTo>
                      <a:pt x="162" y="579"/>
                    </a:lnTo>
                    <a:lnTo>
                      <a:pt x="163" y="580"/>
                    </a:lnTo>
                    <a:lnTo>
                      <a:pt x="162" y="579"/>
                    </a:lnTo>
                    <a:lnTo>
                      <a:pt x="162" y="578"/>
                    </a:lnTo>
                    <a:lnTo>
                      <a:pt x="162" y="577"/>
                    </a:lnTo>
                    <a:lnTo>
                      <a:pt x="162" y="578"/>
                    </a:lnTo>
                    <a:lnTo>
                      <a:pt x="163" y="577"/>
                    </a:lnTo>
                    <a:lnTo>
                      <a:pt x="164" y="577"/>
                    </a:lnTo>
                    <a:lnTo>
                      <a:pt x="164" y="578"/>
                    </a:lnTo>
                    <a:lnTo>
                      <a:pt x="164" y="579"/>
                    </a:lnTo>
                    <a:lnTo>
                      <a:pt x="164" y="578"/>
                    </a:lnTo>
                    <a:lnTo>
                      <a:pt x="164" y="577"/>
                    </a:lnTo>
                    <a:lnTo>
                      <a:pt x="165" y="577"/>
                    </a:lnTo>
                    <a:lnTo>
                      <a:pt x="164" y="577"/>
                    </a:lnTo>
                    <a:lnTo>
                      <a:pt x="165" y="577"/>
                    </a:lnTo>
                    <a:lnTo>
                      <a:pt x="165" y="576"/>
                    </a:lnTo>
                    <a:lnTo>
                      <a:pt x="166" y="576"/>
                    </a:lnTo>
                    <a:lnTo>
                      <a:pt x="167" y="576"/>
                    </a:lnTo>
                    <a:lnTo>
                      <a:pt x="167" y="575"/>
                    </a:lnTo>
                    <a:lnTo>
                      <a:pt x="168" y="575"/>
                    </a:lnTo>
                    <a:lnTo>
                      <a:pt x="168" y="576"/>
                    </a:lnTo>
                    <a:lnTo>
                      <a:pt x="170" y="576"/>
                    </a:lnTo>
                    <a:lnTo>
                      <a:pt x="168" y="576"/>
                    </a:lnTo>
                    <a:lnTo>
                      <a:pt x="168" y="575"/>
                    </a:lnTo>
                    <a:lnTo>
                      <a:pt x="168" y="576"/>
                    </a:lnTo>
                    <a:lnTo>
                      <a:pt x="168" y="575"/>
                    </a:lnTo>
                    <a:lnTo>
                      <a:pt x="170" y="575"/>
                    </a:lnTo>
                    <a:lnTo>
                      <a:pt x="168" y="575"/>
                    </a:lnTo>
                    <a:lnTo>
                      <a:pt x="168" y="573"/>
                    </a:lnTo>
                    <a:lnTo>
                      <a:pt x="168" y="575"/>
                    </a:lnTo>
                    <a:lnTo>
                      <a:pt x="168" y="573"/>
                    </a:lnTo>
                    <a:lnTo>
                      <a:pt x="168" y="572"/>
                    </a:lnTo>
                    <a:lnTo>
                      <a:pt x="170" y="572"/>
                    </a:lnTo>
                    <a:lnTo>
                      <a:pt x="170" y="571"/>
                    </a:lnTo>
                    <a:lnTo>
                      <a:pt x="171" y="571"/>
                    </a:lnTo>
                    <a:lnTo>
                      <a:pt x="172" y="571"/>
                    </a:lnTo>
                    <a:lnTo>
                      <a:pt x="173" y="571"/>
                    </a:lnTo>
                    <a:lnTo>
                      <a:pt x="173" y="570"/>
                    </a:lnTo>
                    <a:lnTo>
                      <a:pt x="173" y="571"/>
                    </a:lnTo>
                    <a:lnTo>
                      <a:pt x="173" y="570"/>
                    </a:lnTo>
                    <a:lnTo>
                      <a:pt x="174" y="571"/>
                    </a:lnTo>
                    <a:lnTo>
                      <a:pt x="174" y="570"/>
                    </a:lnTo>
                    <a:lnTo>
                      <a:pt x="175" y="570"/>
                    </a:lnTo>
                    <a:lnTo>
                      <a:pt x="176" y="570"/>
                    </a:lnTo>
                    <a:lnTo>
                      <a:pt x="176" y="569"/>
                    </a:lnTo>
                    <a:lnTo>
                      <a:pt x="177" y="569"/>
                    </a:lnTo>
                    <a:lnTo>
                      <a:pt x="178" y="569"/>
                    </a:lnTo>
                    <a:lnTo>
                      <a:pt x="177" y="568"/>
                    </a:lnTo>
                    <a:lnTo>
                      <a:pt x="178" y="568"/>
                    </a:lnTo>
                    <a:lnTo>
                      <a:pt x="178" y="569"/>
                    </a:lnTo>
                    <a:lnTo>
                      <a:pt x="178" y="568"/>
                    </a:lnTo>
                    <a:lnTo>
                      <a:pt x="179" y="568"/>
                    </a:lnTo>
                    <a:lnTo>
                      <a:pt x="179" y="567"/>
                    </a:lnTo>
                    <a:lnTo>
                      <a:pt x="180" y="567"/>
                    </a:lnTo>
                    <a:lnTo>
                      <a:pt x="180" y="566"/>
                    </a:lnTo>
                    <a:lnTo>
                      <a:pt x="181" y="566"/>
                    </a:lnTo>
                    <a:lnTo>
                      <a:pt x="183" y="566"/>
                    </a:lnTo>
                    <a:lnTo>
                      <a:pt x="183" y="565"/>
                    </a:lnTo>
                    <a:lnTo>
                      <a:pt x="184" y="565"/>
                    </a:lnTo>
                    <a:lnTo>
                      <a:pt x="184" y="564"/>
                    </a:lnTo>
                    <a:lnTo>
                      <a:pt x="185" y="564"/>
                    </a:lnTo>
                    <a:lnTo>
                      <a:pt x="186" y="563"/>
                    </a:lnTo>
                    <a:lnTo>
                      <a:pt x="186" y="562"/>
                    </a:lnTo>
                    <a:lnTo>
                      <a:pt x="187" y="562"/>
                    </a:lnTo>
                    <a:lnTo>
                      <a:pt x="187" y="563"/>
                    </a:lnTo>
                    <a:lnTo>
                      <a:pt x="187" y="562"/>
                    </a:lnTo>
                    <a:lnTo>
                      <a:pt x="190" y="560"/>
                    </a:lnTo>
                    <a:lnTo>
                      <a:pt x="191" y="562"/>
                    </a:lnTo>
                    <a:lnTo>
                      <a:pt x="192" y="560"/>
                    </a:lnTo>
                    <a:lnTo>
                      <a:pt x="191" y="560"/>
                    </a:lnTo>
                    <a:lnTo>
                      <a:pt x="192" y="558"/>
                    </a:lnTo>
                    <a:lnTo>
                      <a:pt x="193" y="558"/>
                    </a:lnTo>
                    <a:lnTo>
                      <a:pt x="193" y="557"/>
                    </a:lnTo>
                    <a:lnTo>
                      <a:pt x="193" y="558"/>
                    </a:lnTo>
                    <a:lnTo>
                      <a:pt x="193" y="557"/>
                    </a:lnTo>
                    <a:lnTo>
                      <a:pt x="194" y="556"/>
                    </a:lnTo>
                    <a:lnTo>
                      <a:pt x="194" y="555"/>
                    </a:lnTo>
                    <a:lnTo>
                      <a:pt x="196" y="555"/>
                    </a:lnTo>
                    <a:lnTo>
                      <a:pt x="194" y="555"/>
                    </a:lnTo>
                    <a:lnTo>
                      <a:pt x="196" y="555"/>
                    </a:lnTo>
                    <a:lnTo>
                      <a:pt x="197" y="554"/>
                    </a:lnTo>
                    <a:lnTo>
                      <a:pt x="198" y="554"/>
                    </a:lnTo>
                    <a:lnTo>
                      <a:pt x="197" y="554"/>
                    </a:lnTo>
                    <a:lnTo>
                      <a:pt x="198" y="554"/>
                    </a:lnTo>
                    <a:lnTo>
                      <a:pt x="198" y="555"/>
                    </a:lnTo>
                    <a:lnTo>
                      <a:pt x="198" y="556"/>
                    </a:lnTo>
                    <a:lnTo>
                      <a:pt x="198" y="555"/>
                    </a:lnTo>
                    <a:lnTo>
                      <a:pt x="199" y="555"/>
                    </a:lnTo>
                    <a:lnTo>
                      <a:pt x="198" y="556"/>
                    </a:lnTo>
                    <a:lnTo>
                      <a:pt x="199" y="555"/>
                    </a:lnTo>
                    <a:lnTo>
                      <a:pt x="198" y="555"/>
                    </a:lnTo>
                    <a:lnTo>
                      <a:pt x="198" y="554"/>
                    </a:lnTo>
                    <a:lnTo>
                      <a:pt x="199" y="554"/>
                    </a:lnTo>
                    <a:lnTo>
                      <a:pt x="198" y="554"/>
                    </a:lnTo>
                    <a:lnTo>
                      <a:pt x="198" y="553"/>
                    </a:lnTo>
                    <a:lnTo>
                      <a:pt x="198" y="552"/>
                    </a:lnTo>
                    <a:lnTo>
                      <a:pt x="199" y="552"/>
                    </a:lnTo>
                    <a:lnTo>
                      <a:pt x="200" y="552"/>
                    </a:lnTo>
                    <a:lnTo>
                      <a:pt x="200" y="553"/>
                    </a:lnTo>
                    <a:lnTo>
                      <a:pt x="201" y="552"/>
                    </a:lnTo>
                    <a:lnTo>
                      <a:pt x="202" y="553"/>
                    </a:lnTo>
                    <a:lnTo>
                      <a:pt x="202" y="552"/>
                    </a:lnTo>
                    <a:lnTo>
                      <a:pt x="202" y="551"/>
                    </a:lnTo>
                    <a:lnTo>
                      <a:pt x="201" y="551"/>
                    </a:lnTo>
                    <a:lnTo>
                      <a:pt x="200" y="551"/>
                    </a:lnTo>
                    <a:lnTo>
                      <a:pt x="199" y="551"/>
                    </a:lnTo>
                    <a:lnTo>
                      <a:pt x="199" y="550"/>
                    </a:lnTo>
                    <a:lnTo>
                      <a:pt x="200" y="550"/>
                    </a:lnTo>
                    <a:lnTo>
                      <a:pt x="201" y="550"/>
                    </a:lnTo>
                    <a:close/>
                    <a:moveTo>
                      <a:pt x="136" y="405"/>
                    </a:moveTo>
                    <a:lnTo>
                      <a:pt x="137" y="406"/>
                    </a:lnTo>
                    <a:lnTo>
                      <a:pt x="138" y="406"/>
                    </a:lnTo>
                    <a:lnTo>
                      <a:pt x="138" y="408"/>
                    </a:lnTo>
                    <a:lnTo>
                      <a:pt x="138" y="406"/>
                    </a:lnTo>
                    <a:lnTo>
                      <a:pt x="139" y="406"/>
                    </a:lnTo>
                    <a:lnTo>
                      <a:pt x="140" y="408"/>
                    </a:lnTo>
                    <a:lnTo>
                      <a:pt x="141" y="408"/>
                    </a:lnTo>
                    <a:lnTo>
                      <a:pt x="142" y="408"/>
                    </a:lnTo>
                    <a:lnTo>
                      <a:pt x="142" y="406"/>
                    </a:lnTo>
                    <a:lnTo>
                      <a:pt x="144" y="406"/>
                    </a:lnTo>
                    <a:lnTo>
                      <a:pt x="145" y="406"/>
                    </a:lnTo>
                    <a:lnTo>
                      <a:pt x="146" y="406"/>
                    </a:lnTo>
                    <a:lnTo>
                      <a:pt x="147" y="406"/>
                    </a:lnTo>
                    <a:lnTo>
                      <a:pt x="148" y="406"/>
                    </a:lnTo>
                    <a:lnTo>
                      <a:pt x="149" y="405"/>
                    </a:lnTo>
                    <a:lnTo>
                      <a:pt x="149" y="406"/>
                    </a:lnTo>
                    <a:lnTo>
                      <a:pt x="150" y="406"/>
                    </a:lnTo>
                    <a:lnTo>
                      <a:pt x="150" y="408"/>
                    </a:lnTo>
                    <a:lnTo>
                      <a:pt x="151" y="408"/>
                    </a:lnTo>
                    <a:lnTo>
                      <a:pt x="152" y="408"/>
                    </a:lnTo>
                    <a:lnTo>
                      <a:pt x="152" y="409"/>
                    </a:lnTo>
                    <a:lnTo>
                      <a:pt x="154" y="410"/>
                    </a:lnTo>
                    <a:lnTo>
                      <a:pt x="155" y="410"/>
                    </a:lnTo>
                    <a:lnTo>
                      <a:pt x="157" y="409"/>
                    </a:lnTo>
                    <a:lnTo>
                      <a:pt x="155" y="409"/>
                    </a:lnTo>
                    <a:lnTo>
                      <a:pt x="157" y="409"/>
                    </a:lnTo>
                    <a:lnTo>
                      <a:pt x="157" y="408"/>
                    </a:lnTo>
                    <a:lnTo>
                      <a:pt x="158" y="408"/>
                    </a:lnTo>
                    <a:lnTo>
                      <a:pt x="158" y="409"/>
                    </a:lnTo>
                    <a:lnTo>
                      <a:pt x="157" y="409"/>
                    </a:lnTo>
                    <a:lnTo>
                      <a:pt x="158" y="409"/>
                    </a:lnTo>
                    <a:lnTo>
                      <a:pt x="158" y="410"/>
                    </a:lnTo>
                    <a:lnTo>
                      <a:pt x="158" y="411"/>
                    </a:lnTo>
                    <a:lnTo>
                      <a:pt x="158" y="412"/>
                    </a:lnTo>
                    <a:lnTo>
                      <a:pt x="157" y="412"/>
                    </a:lnTo>
                    <a:lnTo>
                      <a:pt x="158" y="412"/>
                    </a:lnTo>
                    <a:lnTo>
                      <a:pt x="158" y="413"/>
                    </a:lnTo>
                    <a:lnTo>
                      <a:pt x="159" y="413"/>
                    </a:lnTo>
                    <a:lnTo>
                      <a:pt x="160" y="414"/>
                    </a:lnTo>
                    <a:lnTo>
                      <a:pt x="161" y="414"/>
                    </a:lnTo>
                    <a:lnTo>
                      <a:pt x="161" y="415"/>
                    </a:lnTo>
                    <a:lnTo>
                      <a:pt x="162" y="415"/>
                    </a:lnTo>
                    <a:lnTo>
                      <a:pt x="162" y="416"/>
                    </a:lnTo>
                    <a:lnTo>
                      <a:pt x="162" y="417"/>
                    </a:lnTo>
                    <a:lnTo>
                      <a:pt x="163" y="418"/>
                    </a:lnTo>
                    <a:lnTo>
                      <a:pt x="163" y="419"/>
                    </a:lnTo>
                    <a:lnTo>
                      <a:pt x="163" y="421"/>
                    </a:lnTo>
                    <a:lnTo>
                      <a:pt x="164" y="421"/>
                    </a:lnTo>
                    <a:lnTo>
                      <a:pt x="164" y="422"/>
                    </a:lnTo>
                    <a:lnTo>
                      <a:pt x="164" y="423"/>
                    </a:lnTo>
                    <a:lnTo>
                      <a:pt x="165" y="423"/>
                    </a:lnTo>
                    <a:lnTo>
                      <a:pt x="166" y="423"/>
                    </a:lnTo>
                    <a:lnTo>
                      <a:pt x="166" y="422"/>
                    </a:lnTo>
                    <a:lnTo>
                      <a:pt x="166" y="421"/>
                    </a:lnTo>
                    <a:lnTo>
                      <a:pt x="165" y="419"/>
                    </a:lnTo>
                    <a:lnTo>
                      <a:pt x="167" y="419"/>
                    </a:lnTo>
                    <a:lnTo>
                      <a:pt x="168" y="419"/>
                    </a:lnTo>
                    <a:lnTo>
                      <a:pt x="170" y="418"/>
                    </a:lnTo>
                    <a:lnTo>
                      <a:pt x="171" y="417"/>
                    </a:lnTo>
                    <a:lnTo>
                      <a:pt x="172" y="417"/>
                    </a:lnTo>
                    <a:lnTo>
                      <a:pt x="172" y="416"/>
                    </a:lnTo>
                    <a:lnTo>
                      <a:pt x="172" y="415"/>
                    </a:lnTo>
                    <a:lnTo>
                      <a:pt x="173" y="416"/>
                    </a:lnTo>
                    <a:lnTo>
                      <a:pt x="173" y="417"/>
                    </a:lnTo>
                    <a:lnTo>
                      <a:pt x="172" y="418"/>
                    </a:lnTo>
                    <a:lnTo>
                      <a:pt x="172" y="419"/>
                    </a:lnTo>
                    <a:lnTo>
                      <a:pt x="171" y="421"/>
                    </a:lnTo>
                    <a:lnTo>
                      <a:pt x="170" y="422"/>
                    </a:lnTo>
                    <a:lnTo>
                      <a:pt x="170" y="423"/>
                    </a:lnTo>
                    <a:lnTo>
                      <a:pt x="170" y="424"/>
                    </a:lnTo>
                    <a:lnTo>
                      <a:pt x="171" y="424"/>
                    </a:lnTo>
                    <a:lnTo>
                      <a:pt x="171" y="425"/>
                    </a:lnTo>
                    <a:lnTo>
                      <a:pt x="171" y="426"/>
                    </a:lnTo>
                    <a:lnTo>
                      <a:pt x="172" y="428"/>
                    </a:lnTo>
                    <a:lnTo>
                      <a:pt x="171" y="428"/>
                    </a:lnTo>
                    <a:lnTo>
                      <a:pt x="171" y="429"/>
                    </a:lnTo>
                    <a:lnTo>
                      <a:pt x="172" y="429"/>
                    </a:lnTo>
                    <a:lnTo>
                      <a:pt x="172" y="430"/>
                    </a:lnTo>
                    <a:lnTo>
                      <a:pt x="173" y="431"/>
                    </a:lnTo>
                    <a:lnTo>
                      <a:pt x="174" y="431"/>
                    </a:lnTo>
                    <a:lnTo>
                      <a:pt x="174" y="430"/>
                    </a:lnTo>
                    <a:lnTo>
                      <a:pt x="174" y="429"/>
                    </a:lnTo>
                    <a:lnTo>
                      <a:pt x="173" y="429"/>
                    </a:lnTo>
                    <a:lnTo>
                      <a:pt x="173" y="428"/>
                    </a:lnTo>
                    <a:lnTo>
                      <a:pt x="174" y="427"/>
                    </a:lnTo>
                    <a:lnTo>
                      <a:pt x="173" y="425"/>
                    </a:lnTo>
                    <a:lnTo>
                      <a:pt x="173" y="424"/>
                    </a:lnTo>
                    <a:lnTo>
                      <a:pt x="172" y="423"/>
                    </a:lnTo>
                    <a:lnTo>
                      <a:pt x="171" y="422"/>
                    </a:lnTo>
                    <a:lnTo>
                      <a:pt x="172" y="422"/>
                    </a:lnTo>
                    <a:lnTo>
                      <a:pt x="173" y="422"/>
                    </a:lnTo>
                    <a:lnTo>
                      <a:pt x="173" y="419"/>
                    </a:lnTo>
                    <a:lnTo>
                      <a:pt x="173" y="421"/>
                    </a:lnTo>
                    <a:lnTo>
                      <a:pt x="173" y="422"/>
                    </a:lnTo>
                    <a:lnTo>
                      <a:pt x="173" y="423"/>
                    </a:lnTo>
                    <a:lnTo>
                      <a:pt x="174" y="426"/>
                    </a:lnTo>
                    <a:lnTo>
                      <a:pt x="174" y="427"/>
                    </a:lnTo>
                    <a:lnTo>
                      <a:pt x="174" y="428"/>
                    </a:lnTo>
                    <a:lnTo>
                      <a:pt x="175" y="429"/>
                    </a:lnTo>
                    <a:lnTo>
                      <a:pt x="175" y="430"/>
                    </a:lnTo>
                    <a:lnTo>
                      <a:pt x="175" y="431"/>
                    </a:lnTo>
                    <a:lnTo>
                      <a:pt x="175" y="434"/>
                    </a:lnTo>
                    <a:lnTo>
                      <a:pt x="175" y="435"/>
                    </a:lnTo>
                    <a:lnTo>
                      <a:pt x="175" y="436"/>
                    </a:lnTo>
                    <a:lnTo>
                      <a:pt x="175" y="437"/>
                    </a:lnTo>
                    <a:lnTo>
                      <a:pt x="176" y="439"/>
                    </a:lnTo>
                    <a:lnTo>
                      <a:pt x="176" y="440"/>
                    </a:lnTo>
                    <a:lnTo>
                      <a:pt x="176" y="441"/>
                    </a:lnTo>
                    <a:lnTo>
                      <a:pt x="175" y="441"/>
                    </a:lnTo>
                    <a:lnTo>
                      <a:pt x="175" y="440"/>
                    </a:lnTo>
                    <a:lnTo>
                      <a:pt x="174" y="440"/>
                    </a:lnTo>
                    <a:lnTo>
                      <a:pt x="174" y="441"/>
                    </a:lnTo>
                    <a:lnTo>
                      <a:pt x="173" y="441"/>
                    </a:lnTo>
                    <a:lnTo>
                      <a:pt x="173" y="442"/>
                    </a:lnTo>
                    <a:lnTo>
                      <a:pt x="173" y="443"/>
                    </a:lnTo>
                    <a:lnTo>
                      <a:pt x="172" y="444"/>
                    </a:lnTo>
                    <a:lnTo>
                      <a:pt x="172" y="443"/>
                    </a:lnTo>
                    <a:lnTo>
                      <a:pt x="171" y="443"/>
                    </a:lnTo>
                    <a:lnTo>
                      <a:pt x="171" y="442"/>
                    </a:lnTo>
                    <a:lnTo>
                      <a:pt x="171" y="441"/>
                    </a:lnTo>
                    <a:lnTo>
                      <a:pt x="172" y="441"/>
                    </a:lnTo>
                    <a:lnTo>
                      <a:pt x="173" y="441"/>
                    </a:lnTo>
                    <a:lnTo>
                      <a:pt x="173" y="440"/>
                    </a:lnTo>
                    <a:lnTo>
                      <a:pt x="174" y="440"/>
                    </a:lnTo>
                    <a:lnTo>
                      <a:pt x="174" y="439"/>
                    </a:lnTo>
                    <a:lnTo>
                      <a:pt x="174" y="440"/>
                    </a:lnTo>
                    <a:lnTo>
                      <a:pt x="173" y="440"/>
                    </a:lnTo>
                    <a:lnTo>
                      <a:pt x="173" y="439"/>
                    </a:lnTo>
                    <a:lnTo>
                      <a:pt x="173" y="440"/>
                    </a:lnTo>
                    <a:lnTo>
                      <a:pt x="172" y="440"/>
                    </a:lnTo>
                    <a:lnTo>
                      <a:pt x="172" y="439"/>
                    </a:lnTo>
                    <a:lnTo>
                      <a:pt x="172" y="438"/>
                    </a:lnTo>
                    <a:lnTo>
                      <a:pt x="173" y="438"/>
                    </a:lnTo>
                    <a:lnTo>
                      <a:pt x="174" y="438"/>
                    </a:lnTo>
                    <a:lnTo>
                      <a:pt x="175" y="438"/>
                    </a:lnTo>
                    <a:lnTo>
                      <a:pt x="175" y="437"/>
                    </a:lnTo>
                    <a:lnTo>
                      <a:pt x="175" y="435"/>
                    </a:lnTo>
                    <a:lnTo>
                      <a:pt x="174" y="434"/>
                    </a:lnTo>
                    <a:lnTo>
                      <a:pt x="174" y="432"/>
                    </a:lnTo>
                    <a:lnTo>
                      <a:pt x="173" y="432"/>
                    </a:lnTo>
                    <a:lnTo>
                      <a:pt x="172" y="434"/>
                    </a:lnTo>
                    <a:lnTo>
                      <a:pt x="172" y="435"/>
                    </a:lnTo>
                    <a:lnTo>
                      <a:pt x="171" y="435"/>
                    </a:lnTo>
                    <a:lnTo>
                      <a:pt x="171" y="436"/>
                    </a:lnTo>
                    <a:lnTo>
                      <a:pt x="172" y="436"/>
                    </a:lnTo>
                    <a:lnTo>
                      <a:pt x="172" y="437"/>
                    </a:lnTo>
                    <a:lnTo>
                      <a:pt x="171" y="437"/>
                    </a:lnTo>
                    <a:lnTo>
                      <a:pt x="170" y="437"/>
                    </a:lnTo>
                    <a:lnTo>
                      <a:pt x="170" y="436"/>
                    </a:lnTo>
                    <a:lnTo>
                      <a:pt x="170" y="435"/>
                    </a:lnTo>
                    <a:lnTo>
                      <a:pt x="170" y="434"/>
                    </a:lnTo>
                    <a:lnTo>
                      <a:pt x="170" y="435"/>
                    </a:lnTo>
                    <a:lnTo>
                      <a:pt x="170" y="436"/>
                    </a:lnTo>
                    <a:lnTo>
                      <a:pt x="168" y="435"/>
                    </a:lnTo>
                    <a:lnTo>
                      <a:pt x="168" y="436"/>
                    </a:lnTo>
                    <a:lnTo>
                      <a:pt x="168" y="435"/>
                    </a:lnTo>
                    <a:lnTo>
                      <a:pt x="167" y="435"/>
                    </a:lnTo>
                    <a:lnTo>
                      <a:pt x="167" y="434"/>
                    </a:lnTo>
                    <a:lnTo>
                      <a:pt x="168" y="434"/>
                    </a:lnTo>
                    <a:lnTo>
                      <a:pt x="168" y="435"/>
                    </a:lnTo>
                    <a:lnTo>
                      <a:pt x="168" y="434"/>
                    </a:lnTo>
                    <a:lnTo>
                      <a:pt x="170" y="434"/>
                    </a:lnTo>
                    <a:lnTo>
                      <a:pt x="171" y="432"/>
                    </a:lnTo>
                    <a:lnTo>
                      <a:pt x="171" y="434"/>
                    </a:lnTo>
                    <a:lnTo>
                      <a:pt x="172" y="434"/>
                    </a:lnTo>
                    <a:lnTo>
                      <a:pt x="171" y="434"/>
                    </a:lnTo>
                    <a:lnTo>
                      <a:pt x="172" y="432"/>
                    </a:lnTo>
                    <a:lnTo>
                      <a:pt x="173" y="432"/>
                    </a:lnTo>
                    <a:lnTo>
                      <a:pt x="172" y="432"/>
                    </a:lnTo>
                    <a:lnTo>
                      <a:pt x="172" y="431"/>
                    </a:lnTo>
                    <a:lnTo>
                      <a:pt x="172" y="432"/>
                    </a:lnTo>
                    <a:lnTo>
                      <a:pt x="171" y="432"/>
                    </a:lnTo>
                    <a:lnTo>
                      <a:pt x="171" y="431"/>
                    </a:lnTo>
                    <a:lnTo>
                      <a:pt x="170" y="431"/>
                    </a:lnTo>
                    <a:lnTo>
                      <a:pt x="171" y="431"/>
                    </a:lnTo>
                    <a:lnTo>
                      <a:pt x="172" y="431"/>
                    </a:lnTo>
                    <a:lnTo>
                      <a:pt x="172" y="430"/>
                    </a:lnTo>
                    <a:lnTo>
                      <a:pt x="171" y="430"/>
                    </a:lnTo>
                    <a:lnTo>
                      <a:pt x="170" y="430"/>
                    </a:lnTo>
                    <a:lnTo>
                      <a:pt x="168" y="430"/>
                    </a:lnTo>
                    <a:lnTo>
                      <a:pt x="170" y="430"/>
                    </a:lnTo>
                    <a:lnTo>
                      <a:pt x="170" y="429"/>
                    </a:lnTo>
                    <a:lnTo>
                      <a:pt x="171" y="429"/>
                    </a:lnTo>
                    <a:lnTo>
                      <a:pt x="171" y="430"/>
                    </a:lnTo>
                    <a:lnTo>
                      <a:pt x="171" y="429"/>
                    </a:lnTo>
                    <a:lnTo>
                      <a:pt x="171" y="428"/>
                    </a:lnTo>
                    <a:lnTo>
                      <a:pt x="171" y="427"/>
                    </a:lnTo>
                    <a:lnTo>
                      <a:pt x="170" y="427"/>
                    </a:lnTo>
                    <a:lnTo>
                      <a:pt x="171" y="427"/>
                    </a:lnTo>
                    <a:lnTo>
                      <a:pt x="171" y="428"/>
                    </a:lnTo>
                    <a:lnTo>
                      <a:pt x="170" y="428"/>
                    </a:lnTo>
                    <a:lnTo>
                      <a:pt x="168" y="429"/>
                    </a:lnTo>
                    <a:lnTo>
                      <a:pt x="167" y="429"/>
                    </a:lnTo>
                    <a:lnTo>
                      <a:pt x="167" y="428"/>
                    </a:lnTo>
                    <a:lnTo>
                      <a:pt x="168" y="428"/>
                    </a:lnTo>
                    <a:lnTo>
                      <a:pt x="170" y="428"/>
                    </a:lnTo>
                    <a:lnTo>
                      <a:pt x="168" y="427"/>
                    </a:lnTo>
                    <a:lnTo>
                      <a:pt x="168" y="428"/>
                    </a:lnTo>
                    <a:lnTo>
                      <a:pt x="167" y="427"/>
                    </a:lnTo>
                    <a:lnTo>
                      <a:pt x="166" y="427"/>
                    </a:lnTo>
                    <a:lnTo>
                      <a:pt x="166" y="426"/>
                    </a:lnTo>
                    <a:lnTo>
                      <a:pt x="166" y="427"/>
                    </a:lnTo>
                    <a:lnTo>
                      <a:pt x="165" y="427"/>
                    </a:lnTo>
                    <a:lnTo>
                      <a:pt x="164" y="427"/>
                    </a:lnTo>
                    <a:lnTo>
                      <a:pt x="165" y="428"/>
                    </a:lnTo>
                    <a:lnTo>
                      <a:pt x="164" y="428"/>
                    </a:lnTo>
                    <a:lnTo>
                      <a:pt x="164" y="429"/>
                    </a:lnTo>
                    <a:lnTo>
                      <a:pt x="164" y="428"/>
                    </a:lnTo>
                    <a:lnTo>
                      <a:pt x="163" y="428"/>
                    </a:lnTo>
                    <a:lnTo>
                      <a:pt x="162" y="427"/>
                    </a:lnTo>
                    <a:lnTo>
                      <a:pt x="162" y="428"/>
                    </a:lnTo>
                    <a:lnTo>
                      <a:pt x="161" y="428"/>
                    </a:lnTo>
                    <a:lnTo>
                      <a:pt x="161" y="427"/>
                    </a:lnTo>
                    <a:lnTo>
                      <a:pt x="160" y="427"/>
                    </a:lnTo>
                    <a:lnTo>
                      <a:pt x="160" y="428"/>
                    </a:lnTo>
                    <a:lnTo>
                      <a:pt x="159" y="428"/>
                    </a:lnTo>
                    <a:lnTo>
                      <a:pt x="159" y="427"/>
                    </a:lnTo>
                    <a:lnTo>
                      <a:pt x="160" y="427"/>
                    </a:lnTo>
                    <a:lnTo>
                      <a:pt x="161" y="427"/>
                    </a:lnTo>
                    <a:lnTo>
                      <a:pt x="162" y="427"/>
                    </a:lnTo>
                    <a:lnTo>
                      <a:pt x="162" y="426"/>
                    </a:lnTo>
                    <a:lnTo>
                      <a:pt x="162" y="427"/>
                    </a:lnTo>
                    <a:lnTo>
                      <a:pt x="163" y="427"/>
                    </a:lnTo>
                    <a:lnTo>
                      <a:pt x="163" y="426"/>
                    </a:lnTo>
                    <a:lnTo>
                      <a:pt x="162" y="426"/>
                    </a:lnTo>
                    <a:lnTo>
                      <a:pt x="162" y="425"/>
                    </a:lnTo>
                    <a:lnTo>
                      <a:pt x="162" y="426"/>
                    </a:lnTo>
                    <a:lnTo>
                      <a:pt x="162" y="425"/>
                    </a:lnTo>
                    <a:lnTo>
                      <a:pt x="162" y="424"/>
                    </a:lnTo>
                    <a:lnTo>
                      <a:pt x="160" y="422"/>
                    </a:lnTo>
                    <a:lnTo>
                      <a:pt x="160" y="421"/>
                    </a:lnTo>
                    <a:lnTo>
                      <a:pt x="160" y="419"/>
                    </a:lnTo>
                    <a:lnTo>
                      <a:pt x="160" y="418"/>
                    </a:lnTo>
                    <a:lnTo>
                      <a:pt x="160" y="417"/>
                    </a:lnTo>
                    <a:lnTo>
                      <a:pt x="159" y="417"/>
                    </a:lnTo>
                    <a:lnTo>
                      <a:pt x="158" y="415"/>
                    </a:lnTo>
                    <a:lnTo>
                      <a:pt x="155" y="414"/>
                    </a:lnTo>
                    <a:lnTo>
                      <a:pt x="154" y="413"/>
                    </a:lnTo>
                    <a:lnTo>
                      <a:pt x="153" y="413"/>
                    </a:lnTo>
                    <a:lnTo>
                      <a:pt x="152" y="413"/>
                    </a:lnTo>
                    <a:lnTo>
                      <a:pt x="151" y="412"/>
                    </a:lnTo>
                    <a:lnTo>
                      <a:pt x="150" y="412"/>
                    </a:lnTo>
                    <a:lnTo>
                      <a:pt x="150" y="413"/>
                    </a:lnTo>
                    <a:lnTo>
                      <a:pt x="150" y="412"/>
                    </a:lnTo>
                    <a:lnTo>
                      <a:pt x="150" y="413"/>
                    </a:lnTo>
                    <a:lnTo>
                      <a:pt x="149" y="413"/>
                    </a:lnTo>
                    <a:lnTo>
                      <a:pt x="149" y="412"/>
                    </a:lnTo>
                    <a:lnTo>
                      <a:pt x="148" y="412"/>
                    </a:lnTo>
                    <a:lnTo>
                      <a:pt x="149" y="412"/>
                    </a:lnTo>
                    <a:lnTo>
                      <a:pt x="149" y="413"/>
                    </a:lnTo>
                    <a:lnTo>
                      <a:pt x="149" y="412"/>
                    </a:lnTo>
                    <a:lnTo>
                      <a:pt x="148" y="412"/>
                    </a:lnTo>
                    <a:lnTo>
                      <a:pt x="147" y="412"/>
                    </a:lnTo>
                    <a:lnTo>
                      <a:pt x="146" y="412"/>
                    </a:lnTo>
                    <a:lnTo>
                      <a:pt x="145" y="412"/>
                    </a:lnTo>
                    <a:lnTo>
                      <a:pt x="145" y="413"/>
                    </a:lnTo>
                    <a:lnTo>
                      <a:pt x="144" y="413"/>
                    </a:lnTo>
                    <a:lnTo>
                      <a:pt x="144" y="414"/>
                    </a:lnTo>
                    <a:lnTo>
                      <a:pt x="142" y="414"/>
                    </a:lnTo>
                    <a:lnTo>
                      <a:pt x="141" y="414"/>
                    </a:lnTo>
                    <a:lnTo>
                      <a:pt x="140" y="414"/>
                    </a:lnTo>
                    <a:lnTo>
                      <a:pt x="139" y="414"/>
                    </a:lnTo>
                    <a:lnTo>
                      <a:pt x="138" y="414"/>
                    </a:lnTo>
                    <a:lnTo>
                      <a:pt x="137" y="414"/>
                    </a:lnTo>
                    <a:lnTo>
                      <a:pt x="137" y="413"/>
                    </a:lnTo>
                    <a:lnTo>
                      <a:pt x="137" y="412"/>
                    </a:lnTo>
                    <a:lnTo>
                      <a:pt x="136" y="412"/>
                    </a:lnTo>
                    <a:lnTo>
                      <a:pt x="136" y="411"/>
                    </a:lnTo>
                    <a:lnTo>
                      <a:pt x="135" y="411"/>
                    </a:lnTo>
                    <a:lnTo>
                      <a:pt x="134" y="411"/>
                    </a:lnTo>
                    <a:lnTo>
                      <a:pt x="134" y="410"/>
                    </a:lnTo>
                    <a:lnTo>
                      <a:pt x="134" y="409"/>
                    </a:lnTo>
                    <a:lnTo>
                      <a:pt x="134" y="410"/>
                    </a:lnTo>
                    <a:lnTo>
                      <a:pt x="133" y="410"/>
                    </a:lnTo>
                    <a:lnTo>
                      <a:pt x="133" y="409"/>
                    </a:lnTo>
                    <a:lnTo>
                      <a:pt x="133" y="408"/>
                    </a:lnTo>
                    <a:lnTo>
                      <a:pt x="133" y="406"/>
                    </a:lnTo>
                    <a:lnTo>
                      <a:pt x="134" y="406"/>
                    </a:lnTo>
                    <a:lnTo>
                      <a:pt x="135" y="406"/>
                    </a:lnTo>
                    <a:lnTo>
                      <a:pt x="134" y="406"/>
                    </a:lnTo>
                    <a:lnTo>
                      <a:pt x="135" y="406"/>
                    </a:lnTo>
                    <a:lnTo>
                      <a:pt x="135" y="405"/>
                    </a:lnTo>
                    <a:lnTo>
                      <a:pt x="136" y="405"/>
                    </a:lnTo>
                    <a:close/>
                    <a:moveTo>
                      <a:pt x="87" y="279"/>
                    </a:moveTo>
                    <a:lnTo>
                      <a:pt x="87" y="280"/>
                    </a:lnTo>
                    <a:lnTo>
                      <a:pt x="88" y="280"/>
                    </a:lnTo>
                    <a:lnTo>
                      <a:pt x="89" y="280"/>
                    </a:lnTo>
                    <a:lnTo>
                      <a:pt x="90" y="281"/>
                    </a:lnTo>
                    <a:lnTo>
                      <a:pt x="90" y="282"/>
                    </a:lnTo>
                    <a:lnTo>
                      <a:pt x="91" y="282"/>
                    </a:lnTo>
                    <a:lnTo>
                      <a:pt x="91" y="283"/>
                    </a:lnTo>
                    <a:lnTo>
                      <a:pt x="93" y="283"/>
                    </a:lnTo>
                    <a:lnTo>
                      <a:pt x="93" y="284"/>
                    </a:lnTo>
                    <a:lnTo>
                      <a:pt x="91" y="284"/>
                    </a:lnTo>
                    <a:lnTo>
                      <a:pt x="91" y="285"/>
                    </a:lnTo>
                    <a:lnTo>
                      <a:pt x="91" y="286"/>
                    </a:lnTo>
                    <a:lnTo>
                      <a:pt x="91" y="287"/>
                    </a:lnTo>
                    <a:lnTo>
                      <a:pt x="90" y="287"/>
                    </a:lnTo>
                    <a:lnTo>
                      <a:pt x="90" y="288"/>
                    </a:lnTo>
                    <a:lnTo>
                      <a:pt x="90" y="289"/>
                    </a:lnTo>
                    <a:lnTo>
                      <a:pt x="90" y="290"/>
                    </a:lnTo>
                    <a:lnTo>
                      <a:pt x="91" y="292"/>
                    </a:lnTo>
                    <a:lnTo>
                      <a:pt x="91" y="293"/>
                    </a:lnTo>
                    <a:lnTo>
                      <a:pt x="90" y="294"/>
                    </a:lnTo>
                    <a:lnTo>
                      <a:pt x="89" y="294"/>
                    </a:lnTo>
                    <a:lnTo>
                      <a:pt x="89" y="295"/>
                    </a:lnTo>
                    <a:lnTo>
                      <a:pt x="89" y="296"/>
                    </a:lnTo>
                    <a:lnTo>
                      <a:pt x="88" y="297"/>
                    </a:lnTo>
                    <a:lnTo>
                      <a:pt x="88" y="296"/>
                    </a:lnTo>
                    <a:lnTo>
                      <a:pt x="87" y="296"/>
                    </a:lnTo>
                    <a:lnTo>
                      <a:pt x="87" y="297"/>
                    </a:lnTo>
                    <a:lnTo>
                      <a:pt x="86" y="297"/>
                    </a:lnTo>
                    <a:lnTo>
                      <a:pt x="85" y="298"/>
                    </a:lnTo>
                    <a:lnTo>
                      <a:pt x="84" y="299"/>
                    </a:lnTo>
                    <a:lnTo>
                      <a:pt x="84" y="301"/>
                    </a:lnTo>
                    <a:lnTo>
                      <a:pt x="85" y="301"/>
                    </a:lnTo>
                    <a:lnTo>
                      <a:pt x="85" y="302"/>
                    </a:lnTo>
                    <a:lnTo>
                      <a:pt x="84" y="303"/>
                    </a:lnTo>
                    <a:lnTo>
                      <a:pt x="84" y="305"/>
                    </a:lnTo>
                    <a:lnTo>
                      <a:pt x="84" y="306"/>
                    </a:lnTo>
                    <a:lnTo>
                      <a:pt x="85" y="308"/>
                    </a:lnTo>
                    <a:lnTo>
                      <a:pt x="86" y="310"/>
                    </a:lnTo>
                    <a:lnTo>
                      <a:pt x="87" y="310"/>
                    </a:lnTo>
                    <a:lnTo>
                      <a:pt x="87" y="311"/>
                    </a:lnTo>
                    <a:lnTo>
                      <a:pt x="88" y="311"/>
                    </a:lnTo>
                    <a:lnTo>
                      <a:pt x="88" y="310"/>
                    </a:lnTo>
                    <a:lnTo>
                      <a:pt x="88" y="309"/>
                    </a:lnTo>
                    <a:lnTo>
                      <a:pt x="89" y="309"/>
                    </a:lnTo>
                    <a:lnTo>
                      <a:pt x="90" y="309"/>
                    </a:lnTo>
                    <a:lnTo>
                      <a:pt x="90" y="310"/>
                    </a:lnTo>
                    <a:lnTo>
                      <a:pt x="90" y="311"/>
                    </a:lnTo>
                    <a:lnTo>
                      <a:pt x="90" y="312"/>
                    </a:lnTo>
                    <a:lnTo>
                      <a:pt x="90" y="313"/>
                    </a:lnTo>
                    <a:lnTo>
                      <a:pt x="90" y="314"/>
                    </a:lnTo>
                    <a:lnTo>
                      <a:pt x="88" y="315"/>
                    </a:lnTo>
                    <a:lnTo>
                      <a:pt x="87" y="316"/>
                    </a:lnTo>
                    <a:lnTo>
                      <a:pt x="87" y="318"/>
                    </a:lnTo>
                    <a:lnTo>
                      <a:pt x="86" y="319"/>
                    </a:lnTo>
                    <a:lnTo>
                      <a:pt x="86" y="320"/>
                    </a:lnTo>
                    <a:lnTo>
                      <a:pt x="86" y="321"/>
                    </a:lnTo>
                    <a:lnTo>
                      <a:pt x="86" y="322"/>
                    </a:lnTo>
                    <a:lnTo>
                      <a:pt x="85" y="325"/>
                    </a:lnTo>
                    <a:lnTo>
                      <a:pt x="84" y="327"/>
                    </a:lnTo>
                    <a:lnTo>
                      <a:pt x="83" y="327"/>
                    </a:lnTo>
                    <a:lnTo>
                      <a:pt x="83" y="326"/>
                    </a:lnTo>
                    <a:lnTo>
                      <a:pt x="84" y="323"/>
                    </a:lnTo>
                    <a:lnTo>
                      <a:pt x="85" y="322"/>
                    </a:lnTo>
                    <a:lnTo>
                      <a:pt x="85" y="321"/>
                    </a:lnTo>
                    <a:lnTo>
                      <a:pt x="85" y="320"/>
                    </a:lnTo>
                    <a:lnTo>
                      <a:pt x="85" y="319"/>
                    </a:lnTo>
                    <a:lnTo>
                      <a:pt x="84" y="319"/>
                    </a:lnTo>
                    <a:lnTo>
                      <a:pt x="84" y="318"/>
                    </a:lnTo>
                    <a:lnTo>
                      <a:pt x="83" y="318"/>
                    </a:lnTo>
                    <a:lnTo>
                      <a:pt x="83" y="316"/>
                    </a:lnTo>
                    <a:lnTo>
                      <a:pt x="83" y="315"/>
                    </a:lnTo>
                    <a:lnTo>
                      <a:pt x="83" y="314"/>
                    </a:lnTo>
                    <a:lnTo>
                      <a:pt x="84" y="313"/>
                    </a:lnTo>
                    <a:lnTo>
                      <a:pt x="84" y="312"/>
                    </a:lnTo>
                    <a:lnTo>
                      <a:pt x="84" y="311"/>
                    </a:lnTo>
                    <a:lnTo>
                      <a:pt x="83" y="311"/>
                    </a:lnTo>
                    <a:lnTo>
                      <a:pt x="83" y="310"/>
                    </a:lnTo>
                    <a:lnTo>
                      <a:pt x="82" y="310"/>
                    </a:lnTo>
                    <a:lnTo>
                      <a:pt x="81" y="310"/>
                    </a:lnTo>
                    <a:lnTo>
                      <a:pt x="81" y="309"/>
                    </a:lnTo>
                    <a:lnTo>
                      <a:pt x="82" y="308"/>
                    </a:lnTo>
                    <a:lnTo>
                      <a:pt x="81" y="307"/>
                    </a:lnTo>
                    <a:lnTo>
                      <a:pt x="80" y="306"/>
                    </a:lnTo>
                    <a:lnTo>
                      <a:pt x="80" y="305"/>
                    </a:lnTo>
                    <a:lnTo>
                      <a:pt x="81" y="303"/>
                    </a:lnTo>
                    <a:lnTo>
                      <a:pt x="81" y="302"/>
                    </a:lnTo>
                    <a:lnTo>
                      <a:pt x="81" y="301"/>
                    </a:lnTo>
                    <a:lnTo>
                      <a:pt x="81" y="300"/>
                    </a:lnTo>
                    <a:lnTo>
                      <a:pt x="81" y="298"/>
                    </a:lnTo>
                    <a:lnTo>
                      <a:pt x="82" y="298"/>
                    </a:lnTo>
                    <a:lnTo>
                      <a:pt x="82" y="297"/>
                    </a:lnTo>
                    <a:lnTo>
                      <a:pt x="81" y="296"/>
                    </a:lnTo>
                    <a:lnTo>
                      <a:pt x="81" y="295"/>
                    </a:lnTo>
                    <a:lnTo>
                      <a:pt x="81" y="294"/>
                    </a:lnTo>
                    <a:lnTo>
                      <a:pt x="82" y="292"/>
                    </a:lnTo>
                    <a:lnTo>
                      <a:pt x="83" y="290"/>
                    </a:lnTo>
                    <a:lnTo>
                      <a:pt x="83" y="289"/>
                    </a:lnTo>
                    <a:lnTo>
                      <a:pt x="82" y="288"/>
                    </a:lnTo>
                    <a:lnTo>
                      <a:pt x="82" y="287"/>
                    </a:lnTo>
                    <a:lnTo>
                      <a:pt x="82" y="286"/>
                    </a:lnTo>
                    <a:lnTo>
                      <a:pt x="82" y="285"/>
                    </a:lnTo>
                    <a:lnTo>
                      <a:pt x="82" y="284"/>
                    </a:lnTo>
                    <a:lnTo>
                      <a:pt x="82" y="283"/>
                    </a:lnTo>
                    <a:lnTo>
                      <a:pt x="82" y="282"/>
                    </a:lnTo>
                    <a:lnTo>
                      <a:pt x="83" y="282"/>
                    </a:lnTo>
                    <a:lnTo>
                      <a:pt x="83" y="281"/>
                    </a:lnTo>
                    <a:lnTo>
                      <a:pt x="83" y="280"/>
                    </a:lnTo>
                    <a:lnTo>
                      <a:pt x="83" y="279"/>
                    </a:lnTo>
                    <a:lnTo>
                      <a:pt x="84" y="279"/>
                    </a:lnTo>
                    <a:lnTo>
                      <a:pt x="85" y="279"/>
                    </a:lnTo>
                    <a:lnTo>
                      <a:pt x="86" y="279"/>
                    </a:lnTo>
                    <a:lnTo>
                      <a:pt x="87" y="279"/>
                    </a:lnTo>
                    <a:close/>
                    <a:moveTo>
                      <a:pt x="117" y="622"/>
                    </a:moveTo>
                    <a:lnTo>
                      <a:pt x="117" y="621"/>
                    </a:lnTo>
                    <a:lnTo>
                      <a:pt x="119" y="620"/>
                    </a:lnTo>
                    <a:lnTo>
                      <a:pt x="119" y="619"/>
                    </a:lnTo>
                    <a:lnTo>
                      <a:pt x="119" y="618"/>
                    </a:lnTo>
                    <a:lnTo>
                      <a:pt x="120" y="618"/>
                    </a:lnTo>
                    <a:lnTo>
                      <a:pt x="120" y="617"/>
                    </a:lnTo>
                    <a:lnTo>
                      <a:pt x="119" y="617"/>
                    </a:lnTo>
                    <a:lnTo>
                      <a:pt x="120" y="616"/>
                    </a:lnTo>
                    <a:lnTo>
                      <a:pt x="119" y="616"/>
                    </a:lnTo>
                    <a:lnTo>
                      <a:pt x="119" y="615"/>
                    </a:lnTo>
                    <a:lnTo>
                      <a:pt x="119" y="614"/>
                    </a:lnTo>
                    <a:lnTo>
                      <a:pt x="117" y="613"/>
                    </a:lnTo>
                    <a:lnTo>
                      <a:pt x="116" y="613"/>
                    </a:lnTo>
                    <a:lnTo>
                      <a:pt x="116" y="611"/>
                    </a:lnTo>
                    <a:lnTo>
                      <a:pt x="117" y="611"/>
                    </a:lnTo>
                    <a:lnTo>
                      <a:pt x="120" y="610"/>
                    </a:lnTo>
                    <a:lnTo>
                      <a:pt x="120" y="609"/>
                    </a:lnTo>
                    <a:lnTo>
                      <a:pt x="121" y="609"/>
                    </a:lnTo>
                    <a:lnTo>
                      <a:pt x="120" y="609"/>
                    </a:lnTo>
                    <a:lnTo>
                      <a:pt x="120" y="608"/>
                    </a:lnTo>
                    <a:lnTo>
                      <a:pt x="121" y="608"/>
                    </a:lnTo>
                    <a:lnTo>
                      <a:pt x="120" y="607"/>
                    </a:lnTo>
                    <a:lnTo>
                      <a:pt x="121" y="607"/>
                    </a:lnTo>
                    <a:lnTo>
                      <a:pt x="121" y="606"/>
                    </a:lnTo>
                    <a:lnTo>
                      <a:pt x="122" y="606"/>
                    </a:lnTo>
                    <a:lnTo>
                      <a:pt x="122" y="605"/>
                    </a:lnTo>
                    <a:lnTo>
                      <a:pt x="123" y="604"/>
                    </a:lnTo>
                    <a:lnTo>
                      <a:pt x="124" y="603"/>
                    </a:lnTo>
                    <a:lnTo>
                      <a:pt x="125" y="603"/>
                    </a:lnTo>
                    <a:lnTo>
                      <a:pt x="125" y="602"/>
                    </a:lnTo>
                    <a:lnTo>
                      <a:pt x="126" y="602"/>
                    </a:lnTo>
                    <a:lnTo>
                      <a:pt x="127" y="602"/>
                    </a:lnTo>
                    <a:lnTo>
                      <a:pt x="127" y="601"/>
                    </a:lnTo>
                    <a:lnTo>
                      <a:pt x="128" y="601"/>
                    </a:lnTo>
                    <a:lnTo>
                      <a:pt x="128" y="599"/>
                    </a:lnTo>
                    <a:lnTo>
                      <a:pt x="128" y="598"/>
                    </a:lnTo>
                    <a:lnTo>
                      <a:pt x="129" y="598"/>
                    </a:lnTo>
                    <a:lnTo>
                      <a:pt x="129" y="597"/>
                    </a:lnTo>
                    <a:lnTo>
                      <a:pt x="131" y="597"/>
                    </a:lnTo>
                    <a:lnTo>
                      <a:pt x="132" y="596"/>
                    </a:lnTo>
                    <a:lnTo>
                      <a:pt x="133" y="596"/>
                    </a:lnTo>
                    <a:lnTo>
                      <a:pt x="134" y="596"/>
                    </a:lnTo>
                    <a:lnTo>
                      <a:pt x="134" y="595"/>
                    </a:lnTo>
                    <a:lnTo>
                      <a:pt x="134" y="594"/>
                    </a:lnTo>
                    <a:lnTo>
                      <a:pt x="135" y="594"/>
                    </a:lnTo>
                    <a:lnTo>
                      <a:pt x="136" y="594"/>
                    </a:lnTo>
                    <a:lnTo>
                      <a:pt x="135" y="594"/>
                    </a:lnTo>
                    <a:lnTo>
                      <a:pt x="136" y="594"/>
                    </a:lnTo>
                    <a:lnTo>
                      <a:pt x="136" y="593"/>
                    </a:lnTo>
                    <a:lnTo>
                      <a:pt x="135" y="593"/>
                    </a:lnTo>
                    <a:lnTo>
                      <a:pt x="136" y="593"/>
                    </a:lnTo>
                    <a:lnTo>
                      <a:pt x="137" y="593"/>
                    </a:lnTo>
                    <a:lnTo>
                      <a:pt x="138" y="593"/>
                    </a:lnTo>
                    <a:lnTo>
                      <a:pt x="138" y="592"/>
                    </a:lnTo>
                    <a:lnTo>
                      <a:pt x="138" y="593"/>
                    </a:lnTo>
                    <a:lnTo>
                      <a:pt x="139" y="593"/>
                    </a:lnTo>
                    <a:lnTo>
                      <a:pt x="139" y="592"/>
                    </a:lnTo>
                    <a:lnTo>
                      <a:pt x="139" y="591"/>
                    </a:lnTo>
                    <a:lnTo>
                      <a:pt x="140" y="591"/>
                    </a:lnTo>
                    <a:lnTo>
                      <a:pt x="139" y="591"/>
                    </a:lnTo>
                    <a:lnTo>
                      <a:pt x="140" y="591"/>
                    </a:lnTo>
                    <a:lnTo>
                      <a:pt x="140" y="590"/>
                    </a:lnTo>
                    <a:lnTo>
                      <a:pt x="139" y="590"/>
                    </a:lnTo>
                    <a:lnTo>
                      <a:pt x="140" y="590"/>
                    </a:lnTo>
                    <a:lnTo>
                      <a:pt x="140" y="591"/>
                    </a:lnTo>
                    <a:lnTo>
                      <a:pt x="140" y="590"/>
                    </a:lnTo>
                    <a:lnTo>
                      <a:pt x="141" y="591"/>
                    </a:lnTo>
                    <a:lnTo>
                      <a:pt x="140" y="590"/>
                    </a:lnTo>
                    <a:lnTo>
                      <a:pt x="141" y="590"/>
                    </a:lnTo>
                    <a:lnTo>
                      <a:pt x="141" y="589"/>
                    </a:lnTo>
                    <a:lnTo>
                      <a:pt x="142" y="589"/>
                    </a:lnTo>
                    <a:lnTo>
                      <a:pt x="141" y="589"/>
                    </a:lnTo>
                    <a:lnTo>
                      <a:pt x="141" y="588"/>
                    </a:lnTo>
                    <a:lnTo>
                      <a:pt x="142" y="588"/>
                    </a:lnTo>
                    <a:lnTo>
                      <a:pt x="141" y="588"/>
                    </a:lnTo>
                    <a:lnTo>
                      <a:pt x="141" y="589"/>
                    </a:lnTo>
                    <a:lnTo>
                      <a:pt x="142" y="589"/>
                    </a:lnTo>
                    <a:lnTo>
                      <a:pt x="141" y="589"/>
                    </a:lnTo>
                    <a:lnTo>
                      <a:pt x="142" y="588"/>
                    </a:lnTo>
                    <a:lnTo>
                      <a:pt x="142" y="589"/>
                    </a:lnTo>
                    <a:lnTo>
                      <a:pt x="142" y="590"/>
                    </a:lnTo>
                    <a:lnTo>
                      <a:pt x="142" y="591"/>
                    </a:lnTo>
                    <a:lnTo>
                      <a:pt x="141" y="591"/>
                    </a:lnTo>
                    <a:lnTo>
                      <a:pt x="141" y="592"/>
                    </a:lnTo>
                    <a:lnTo>
                      <a:pt x="140" y="593"/>
                    </a:lnTo>
                    <a:lnTo>
                      <a:pt x="139" y="594"/>
                    </a:lnTo>
                    <a:lnTo>
                      <a:pt x="139" y="595"/>
                    </a:lnTo>
                    <a:lnTo>
                      <a:pt x="138" y="595"/>
                    </a:lnTo>
                    <a:lnTo>
                      <a:pt x="138" y="596"/>
                    </a:lnTo>
                    <a:lnTo>
                      <a:pt x="138" y="595"/>
                    </a:lnTo>
                    <a:lnTo>
                      <a:pt x="137" y="596"/>
                    </a:lnTo>
                    <a:lnTo>
                      <a:pt x="137" y="597"/>
                    </a:lnTo>
                    <a:lnTo>
                      <a:pt x="136" y="597"/>
                    </a:lnTo>
                    <a:lnTo>
                      <a:pt x="136" y="598"/>
                    </a:lnTo>
                    <a:lnTo>
                      <a:pt x="136" y="599"/>
                    </a:lnTo>
                    <a:lnTo>
                      <a:pt x="135" y="601"/>
                    </a:lnTo>
                    <a:lnTo>
                      <a:pt x="135" y="602"/>
                    </a:lnTo>
                    <a:lnTo>
                      <a:pt x="135" y="601"/>
                    </a:lnTo>
                    <a:lnTo>
                      <a:pt x="134" y="601"/>
                    </a:lnTo>
                    <a:lnTo>
                      <a:pt x="134" y="602"/>
                    </a:lnTo>
                    <a:lnTo>
                      <a:pt x="135" y="602"/>
                    </a:lnTo>
                    <a:lnTo>
                      <a:pt x="134" y="602"/>
                    </a:lnTo>
                    <a:lnTo>
                      <a:pt x="134" y="603"/>
                    </a:lnTo>
                    <a:lnTo>
                      <a:pt x="134" y="604"/>
                    </a:lnTo>
                    <a:lnTo>
                      <a:pt x="133" y="604"/>
                    </a:lnTo>
                    <a:lnTo>
                      <a:pt x="133" y="605"/>
                    </a:lnTo>
                    <a:lnTo>
                      <a:pt x="133" y="606"/>
                    </a:lnTo>
                    <a:lnTo>
                      <a:pt x="132" y="606"/>
                    </a:lnTo>
                    <a:lnTo>
                      <a:pt x="132" y="607"/>
                    </a:lnTo>
                    <a:lnTo>
                      <a:pt x="131" y="607"/>
                    </a:lnTo>
                    <a:lnTo>
                      <a:pt x="132" y="607"/>
                    </a:lnTo>
                    <a:lnTo>
                      <a:pt x="132" y="608"/>
                    </a:lnTo>
                    <a:lnTo>
                      <a:pt x="131" y="608"/>
                    </a:lnTo>
                    <a:lnTo>
                      <a:pt x="131" y="609"/>
                    </a:lnTo>
                    <a:lnTo>
                      <a:pt x="129" y="609"/>
                    </a:lnTo>
                    <a:lnTo>
                      <a:pt x="131" y="609"/>
                    </a:lnTo>
                    <a:lnTo>
                      <a:pt x="129" y="609"/>
                    </a:lnTo>
                    <a:lnTo>
                      <a:pt x="129" y="610"/>
                    </a:lnTo>
                    <a:lnTo>
                      <a:pt x="128" y="611"/>
                    </a:lnTo>
                    <a:lnTo>
                      <a:pt x="128" y="610"/>
                    </a:lnTo>
                    <a:lnTo>
                      <a:pt x="128" y="611"/>
                    </a:lnTo>
                    <a:lnTo>
                      <a:pt x="129" y="611"/>
                    </a:lnTo>
                    <a:lnTo>
                      <a:pt x="129" y="610"/>
                    </a:lnTo>
                    <a:lnTo>
                      <a:pt x="129" y="611"/>
                    </a:lnTo>
                    <a:lnTo>
                      <a:pt x="128" y="611"/>
                    </a:lnTo>
                    <a:lnTo>
                      <a:pt x="128" y="613"/>
                    </a:lnTo>
                    <a:lnTo>
                      <a:pt x="127" y="613"/>
                    </a:lnTo>
                    <a:lnTo>
                      <a:pt x="126" y="615"/>
                    </a:lnTo>
                    <a:lnTo>
                      <a:pt x="127" y="615"/>
                    </a:lnTo>
                    <a:lnTo>
                      <a:pt x="127" y="616"/>
                    </a:lnTo>
                    <a:lnTo>
                      <a:pt x="126" y="616"/>
                    </a:lnTo>
                    <a:lnTo>
                      <a:pt x="126" y="617"/>
                    </a:lnTo>
                    <a:lnTo>
                      <a:pt x="125" y="617"/>
                    </a:lnTo>
                    <a:lnTo>
                      <a:pt x="124" y="617"/>
                    </a:lnTo>
                    <a:lnTo>
                      <a:pt x="124" y="618"/>
                    </a:lnTo>
                    <a:lnTo>
                      <a:pt x="123" y="618"/>
                    </a:lnTo>
                    <a:lnTo>
                      <a:pt x="123" y="619"/>
                    </a:lnTo>
                    <a:lnTo>
                      <a:pt x="121" y="620"/>
                    </a:lnTo>
                    <a:lnTo>
                      <a:pt x="120" y="620"/>
                    </a:lnTo>
                    <a:lnTo>
                      <a:pt x="120" y="619"/>
                    </a:lnTo>
                    <a:lnTo>
                      <a:pt x="120" y="620"/>
                    </a:lnTo>
                    <a:lnTo>
                      <a:pt x="120" y="621"/>
                    </a:lnTo>
                    <a:lnTo>
                      <a:pt x="119" y="621"/>
                    </a:lnTo>
                    <a:lnTo>
                      <a:pt x="119" y="622"/>
                    </a:lnTo>
                    <a:lnTo>
                      <a:pt x="117" y="622"/>
                    </a:lnTo>
                    <a:close/>
                    <a:moveTo>
                      <a:pt x="141" y="392"/>
                    </a:moveTo>
                    <a:lnTo>
                      <a:pt x="141" y="393"/>
                    </a:lnTo>
                    <a:lnTo>
                      <a:pt x="142" y="392"/>
                    </a:lnTo>
                    <a:lnTo>
                      <a:pt x="142" y="393"/>
                    </a:lnTo>
                    <a:lnTo>
                      <a:pt x="144" y="393"/>
                    </a:lnTo>
                    <a:lnTo>
                      <a:pt x="145" y="395"/>
                    </a:lnTo>
                    <a:lnTo>
                      <a:pt x="146" y="396"/>
                    </a:lnTo>
                    <a:lnTo>
                      <a:pt x="147" y="396"/>
                    </a:lnTo>
                    <a:lnTo>
                      <a:pt x="147" y="397"/>
                    </a:lnTo>
                    <a:lnTo>
                      <a:pt x="148" y="397"/>
                    </a:lnTo>
                    <a:lnTo>
                      <a:pt x="148" y="398"/>
                    </a:lnTo>
                    <a:lnTo>
                      <a:pt x="150" y="398"/>
                    </a:lnTo>
                    <a:lnTo>
                      <a:pt x="151" y="398"/>
                    </a:lnTo>
                    <a:lnTo>
                      <a:pt x="152" y="397"/>
                    </a:lnTo>
                    <a:lnTo>
                      <a:pt x="153" y="397"/>
                    </a:lnTo>
                    <a:lnTo>
                      <a:pt x="153" y="396"/>
                    </a:lnTo>
                    <a:lnTo>
                      <a:pt x="154" y="396"/>
                    </a:lnTo>
                    <a:lnTo>
                      <a:pt x="155" y="396"/>
                    </a:lnTo>
                    <a:lnTo>
                      <a:pt x="155" y="397"/>
                    </a:lnTo>
                    <a:lnTo>
                      <a:pt x="157" y="397"/>
                    </a:lnTo>
                    <a:lnTo>
                      <a:pt x="158" y="397"/>
                    </a:lnTo>
                    <a:lnTo>
                      <a:pt x="159" y="397"/>
                    </a:lnTo>
                    <a:lnTo>
                      <a:pt x="160" y="397"/>
                    </a:lnTo>
                    <a:lnTo>
                      <a:pt x="160" y="398"/>
                    </a:lnTo>
                    <a:lnTo>
                      <a:pt x="161" y="398"/>
                    </a:lnTo>
                    <a:lnTo>
                      <a:pt x="161" y="399"/>
                    </a:lnTo>
                    <a:lnTo>
                      <a:pt x="161" y="400"/>
                    </a:lnTo>
                    <a:lnTo>
                      <a:pt x="162" y="401"/>
                    </a:lnTo>
                    <a:lnTo>
                      <a:pt x="162" y="402"/>
                    </a:lnTo>
                    <a:lnTo>
                      <a:pt x="163" y="402"/>
                    </a:lnTo>
                    <a:lnTo>
                      <a:pt x="163" y="403"/>
                    </a:lnTo>
                    <a:lnTo>
                      <a:pt x="162" y="402"/>
                    </a:lnTo>
                    <a:lnTo>
                      <a:pt x="162" y="403"/>
                    </a:lnTo>
                    <a:lnTo>
                      <a:pt x="161" y="403"/>
                    </a:lnTo>
                    <a:lnTo>
                      <a:pt x="161" y="402"/>
                    </a:lnTo>
                    <a:lnTo>
                      <a:pt x="160" y="402"/>
                    </a:lnTo>
                    <a:lnTo>
                      <a:pt x="160" y="403"/>
                    </a:lnTo>
                    <a:lnTo>
                      <a:pt x="161" y="403"/>
                    </a:lnTo>
                    <a:lnTo>
                      <a:pt x="160" y="403"/>
                    </a:lnTo>
                    <a:lnTo>
                      <a:pt x="160" y="404"/>
                    </a:lnTo>
                    <a:lnTo>
                      <a:pt x="161" y="404"/>
                    </a:lnTo>
                    <a:lnTo>
                      <a:pt x="162" y="404"/>
                    </a:lnTo>
                    <a:lnTo>
                      <a:pt x="162" y="405"/>
                    </a:lnTo>
                    <a:lnTo>
                      <a:pt x="161" y="405"/>
                    </a:lnTo>
                    <a:lnTo>
                      <a:pt x="160" y="405"/>
                    </a:lnTo>
                    <a:lnTo>
                      <a:pt x="159" y="405"/>
                    </a:lnTo>
                    <a:lnTo>
                      <a:pt x="158" y="404"/>
                    </a:lnTo>
                    <a:lnTo>
                      <a:pt x="157" y="405"/>
                    </a:lnTo>
                    <a:lnTo>
                      <a:pt x="157" y="404"/>
                    </a:lnTo>
                    <a:lnTo>
                      <a:pt x="155" y="404"/>
                    </a:lnTo>
                    <a:lnTo>
                      <a:pt x="154" y="404"/>
                    </a:lnTo>
                    <a:lnTo>
                      <a:pt x="154" y="405"/>
                    </a:lnTo>
                    <a:lnTo>
                      <a:pt x="153" y="405"/>
                    </a:lnTo>
                    <a:lnTo>
                      <a:pt x="153" y="404"/>
                    </a:lnTo>
                    <a:lnTo>
                      <a:pt x="152" y="404"/>
                    </a:lnTo>
                    <a:lnTo>
                      <a:pt x="151" y="404"/>
                    </a:lnTo>
                    <a:lnTo>
                      <a:pt x="150" y="404"/>
                    </a:lnTo>
                    <a:lnTo>
                      <a:pt x="149" y="404"/>
                    </a:lnTo>
                    <a:lnTo>
                      <a:pt x="148" y="404"/>
                    </a:lnTo>
                    <a:lnTo>
                      <a:pt x="147" y="404"/>
                    </a:lnTo>
                    <a:lnTo>
                      <a:pt x="146" y="404"/>
                    </a:lnTo>
                    <a:lnTo>
                      <a:pt x="145" y="404"/>
                    </a:lnTo>
                    <a:lnTo>
                      <a:pt x="144" y="403"/>
                    </a:lnTo>
                    <a:lnTo>
                      <a:pt x="145" y="403"/>
                    </a:lnTo>
                    <a:lnTo>
                      <a:pt x="146" y="403"/>
                    </a:lnTo>
                    <a:lnTo>
                      <a:pt x="145" y="402"/>
                    </a:lnTo>
                    <a:lnTo>
                      <a:pt x="145" y="403"/>
                    </a:lnTo>
                    <a:lnTo>
                      <a:pt x="145" y="402"/>
                    </a:lnTo>
                    <a:lnTo>
                      <a:pt x="145" y="401"/>
                    </a:lnTo>
                    <a:lnTo>
                      <a:pt x="146" y="401"/>
                    </a:lnTo>
                    <a:lnTo>
                      <a:pt x="146" y="400"/>
                    </a:lnTo>
                    <a:lnTo>
                      <a:pt x="147" y="400"/>
                    </a:lnTo>
                    <a:lnTo>
                      <a:pt x="147" y="401"/>
                    </a:lnTo>
                    <a:lnTo>
                      <a:pt x="147" y="400"/>
                    </a:lnTo>
                    <a:lnTo>
                      <a:pt x="146" y="399"/>
                    </a:lnTo>
                    <a:lnTo>
                      <a:pt x="146" y="398"/>
                    </a:lnTo>
                    <a:lnTo>
                      <a:pt x="145" y="398"/>
                    </a:lnTo>
                    <a:lnTo>
                      <a:pt x="144" y="398"/>
                    </a:lnTo>
                    <a:lnTo>
                      <a:pt x="144" y="397"/>
                    </a:lnTo>
                    <a:lnTo>
                      <a:pt x="142" y="397"/>
                    </a:lnTo>
                    <a:lnTo>
                      <a:pt x="142" y="396"/>
                    </a:lnTo>
                    <a:lnTo>
                      <a:pt x="141" y="396"/>
                    </a:lnTo>
                    <a:lnTo>
                      <a:pt x="141" y="395"/>
                    </a:lnTo>
                    <a:lnTo>
                      <a:pt x="141" y="393"/>
                    </a:lnTo>
                    <a:lnTo>
                      <a:pt x="140" y="392"/>
                    </a:lnTo>
                    <a:lnTo>
                      <a:pt x="140" y="391"/>
                    </a:lnTo>
                    <a:lnTo>
                      <a:pt x="141" y="392"/>
                    </a:lnTo>
                    <a:close/>
                    <a:moveTo>
                      <a:pt x="229" y="531"/>
                    </a:moveTo>
                    <a:lnTo>
                      <a:pt x="230" y="531"/>
                    </a:lnTo>
                    <a:lnTo>
                      <a:pt x="230" y="532"/>
                    </a:lnTo>
                    <a:lnTo>
                      <a:pt x="229" y="533"/>
                    </a:lnTo>
                    <a:lnTo>
                      <a:pt x="228" y="534"/>
                    </a:lnTo>
                    <a:lnTo>
                      <a:pt x="227" y="536"/>
                    </a:lnTo>
                    <a:lnTo>
                      <a:pt x="226" y="536"/>
                    </a:lnTo>
                    <a:lnTo>
                      <a:pt x="225" y="537"/>
                    </a:lnTo>
                    <a:lnTo>
                      <a:pt x="224" y="538"/>
                    </a:lnTo>
                    <a:lnTo>
                      <a:pt x="223" y="539"/>
                    </a:lnTo>
                    <a:lnTo>
                      <a:pt x="222" y="539"/>
                    </a:lnTo>
                    <a:lnTo>
                      <a:pt x="218" y="541"/>
                    </a:lnTo>
                    <a:lnTo>
                      <a:pt x="215" y="543"/>
                    </a:lnTo>
                    <a:lnTo>
                      <a:pt x="214" y="543"/>
                    </a:lnTo>
                    <a:lnTo>
                      <a:pt x="212" y="544"/>
                    </a:lnTo>
                    <a:lnTo>
                      <a:pt x="211" y="545"/>
                    </a:lnTo>
                    <a:lnTo>
                      <a:pt x="209" y="547"/>
                    </a:lnTo>
                    <a:lnTo>
                      <a:pt x="207" y="549"/>
                    </a:lnTo>
                    <a:lnTo>
                      <a:pt x="206" y="549"/>
                    </a:lnTo>
                    <a:lnTo>
                      <a:pt x="205" y="549"/>
                    </a:lnTo>
                    <a:lnTo>
                      <a:pt x="205" y="547"/>
                    </a:lnTo>
                    <a:lnTo>
                      <a:pt x="204" y="547"/>
                    </a:lnTo>
                    <a:lnTo>
                      <a:pt x="204" y="546"/>
                    </a:lnTo>
                    <a:lnTo>
                      <a:pt x="204" y="545"/>
                    </a:lnTo>
                    <a:lnTo>
                      <a:pt x="203" y="545"/>
                    </a:lnTo>
                    <a:lnTo>
                      <a:pt x="203" y="544"/>
                    </a:lnTo>
                    <a:lnTo>
                      <a:pt x="204" y="545"/>
                    </a:lnTo>
                    <a:lnTo>
                      <a:pt x="205" y="545"/>
                    </a:lnTo>
                    <a:lnTo>
                      <a:pt x="205" y="546"/>
                    </a:lnTo>
                    <a:lnTo>
                      <a:pt x="206" y="545"/>
                    </a:lnTo>
                    <a:lnTo>
                      <a:pt x="206" y="544"/>
                    </a:lnTo>
                    <a:lnTo>
                      <a:pt x="206" y="543"/>
                    </a:lnTo>
                    <a:lnTo>
                      <a:pt x="207" y="544"/>
                    </a:lnTo>
                    <a:lnTo>
                      <a:pt x="207" y="546"/>
                    </a:lnTo>
                    <a:lnTo>
                      <a:pt x="207" y="545"/>
                    </a:lnTo>
                    <a:lnTo>
                      <a:pt x="207" y="544"/>
                    </a:lnTo>
                    <a:lnTo>
                      <a:pt x="207" y="545"/>
                    </a:lnTo>
                    <a:lnTo>
                      <a:pt x="207" y="544"/>
                    </a:lnTo>
                    <a:lnTo>
                      <a:pt x="207" y="543"/>
                    </a:lnTo>
                    <a:lnTo>
                      <a:pt x="206" y="542"/>
                    </a:lnTo>
                    <a:lnTo>
                      <a:pt x="207" y="543"/>
                    </a:lnTo>
                    <a:lnTo>
                      <a:pt x="209" y="543"/>
                    </a:lnTo>
                    <a:lnTo>
                      <a:pt x="210" y="542"/>
                    </a:lnTo>
                    <a:lnTo>
                      <a:pt x="211" y="542"/>
                    </a:lnTo>
                    <a:lnTo>
                      <a:pt x="210" y="542"/>
                    </a:lnTo>
                    <a:lnTo>
                      <a:pt x="211" y="541"/>
                    </a:lnTo>
                    <a:lnTo>
                      <a:pt x="212" y="541"/>
                    </a:lnTo>
                    <a:lnTo>
                      <a:pt x="213" y="541"/>
                    </a:lnTo>
                    <a:lnTo>
                      <a:pt x="214" y="541"/>
                    </a:lnTo>
                    <a:lnTo>
                      <a:pt x="214" y="540"/>
                    </a:lnTo>
                    <a:lnTo>
                      <a:pt x="215" y="540"/>
                    </a:lnTo>
                    <a:lnTo>
                      <a:pt x="216" y="540"/>
                    </a:lnTo>
                    <a:lnTo>
                      <a:pt x="216" y="539"/>
                    </a:lnTo>
                    <a:lnTo>
                      <a:pt x="217" y="539"/>
                    </a:lnTo>
                    <a:lnTo>
                      <a:pt x="216" y="539"/>
                    </a:lnTo>
                    <a:lnTo>
                      <a:pt x="215" y="540"/>
                    </a:lnTo>
                    <a:lnTo>
                      <a:pt x="214" y="540"/>
                    </a:lnTo>
                    <a:lnTo>
                      <a:pt x="212" y="541"/>
                    </a:lnTo>
                    <a:lnTo>
                      <a:pt x="211" y="541"/>
                    </a:lnTo>
                    <a:lnTo>
                      <a:pt x="210" y="541"/>
                    </a:lnTo>
                    <a:lnTo>
                      <a:pt x="211" y="541"/>
                    </a:lnTo>
                    <a:lnTo>
                      <a:pt x="211" y="540"/>
                    </a:lnTo>
                    <a:lnTo>
                      <a:pt x="212" y="540"/>
                    </a:lnTo>
                    <a:lnTo>
                      <a:pt x="212" y="539"/>
                    </a:lnTo>
                    <a:lnTo>
                      <a:pt x="212" y="538"/>
                    </a:lnTo>
                    <a:lnTo>
                      <a:pt x="213" y="538"/>
                    </a:lnTo>
                    <a:lnTo>
                      <a:pt x="214" y="538"/>
                    </a:lnTo>
                    <a:lnTo>
                      <a:pt x="215" y="538"/>
                    </a:lnTo>
                    <a:lnTo>
                      <a:pt x="216" y="538"/>
                    </a:lnTo>
                    <a:lnTo>
                      <a:pt x="217" y="538"/>
                    </a:lnTo>
                    <a:lnTo>
                      <a:pt x="217" y="537"/>
                    </a:lnTo>
                    <a:lnTo>
                      <a:pt x="218" y="537"/>
                    </a:lnTo>
                    <a:lnTo>
                      <a:pt x="219" y="536"/>
                    </a:lnTo>
                    <a:lnTo>
                      <a:pt x="220" y="536"/>
                    </a:lnTo>
                    <a:lnTo>
                      <a:pt x="222" y="534"/>
                    </a:lnTo>
                    <a:lnTo>
                      <a:pt x="223" y="534"/>
                    </a:lnTo>
                    <a:lnTo>
                      <a:pt x="224" y="533"/>
                    </a:lnTo>
                    <a:lnTo>
                      <a:pt x="227" y="532"/>
                    </a:lnTo>
                    <a:lnTo>
                      <a:pt x="227" y="531"/>
                    </a:lnTo>
                    <a:lnTo>
                      <a:pt x="228" y="531"/>
                    </a:lnTo>
                    <a:lnTo>
                      <a:pt x="229" y="531"/>
                    </a:lnTo>
                    <a:close/>
                    <a:moveTo>
                      <a:pt x="168" y="483"/>
                    </a:moveTo>
                    <a:lnTo>
                      <a:pt x="168" y="485"/>
                    </a:lnTo>
                    <a:lnTo>
                      <a:pt x="167" y="485"/>
                    </a:lnTo>
                    <a:lnTo>
                      <a:pt x="166" y="486"/>
                    </a:lnTo>
                    <a:lnTo>
                      <a:pt x="166" y="487"/>
                    </a:lnTo>
                    <a:lnTo>
                      <a:pt x="166" y="489"/>
                    </a:lnTo>
                    <a:lnTo>
                      <a:pt x="166" y="490"/>
                    </a:lnTo>
                    <a:lnTo>
                      <a:pt x="167" y="492"/>
                    </a:lnTo>
                    <a:lnTo>
                      <a:pt x="168" y="493"/>
                    </a:lnTo>
                    <a:lnTo>
                      <a:pt x="170" y="493"/>
                    </a:lnTo>
                    <a:lnTo>
                      <a:pt x="171" y="494"/>
                    </a:lnTo>
                    <a:lnTo>
                      <a:pt x="172" y="494"/>
                    </a:lnTo>
                    <a:lnTo>
                      <a:pt x="171" y="494"/>
                    </a:lnTo>
                    <a:lnTo>
                      <a:pt x="172" y="494"/>
                    </a:lnTo>
                    <a:lnTo>
                      <a:pt x="173" y="494"/>
                    </a:lnTo>
                    <a:lnTo>
                      <a:pt x="173" y="495"/>
                    </a:lnTo>
                    <a:lnTo>
                      <a:pt x="172" y="495"/>
                    </a:lnTo>
                    <a:lnTo>
                      <a:pt x="173" y="496"/>
                    </a:lnTo>
                    <a:lnTo>
                      <a:pt x="173" y="495"/>
                    </a:lnTo>
                    <a:lnTo>
                      <a:pt x="173" y="496"/>
                    </a:lnTo>
                    <a:lnTo>
                      <a:pt x="173" y="495"/>
                    </a:lnTo>
                    <a:lnTo>
                      <a:pt x="174" y="495"/>
                    </a:lnTo>
                    <a:lnTo>
                      <a:pt x="174" y="494"/>
                    </a:lnTo>
                    <a:lnTo>
                      <a:pt x="175" y="494"/>
                    </a:lnTo>
                    <a:lnTo>
                      <a:pt x="176" y="494"/>
                    </a:lnTo>
                    <a:lnTo>
                      <a:pt x="176" y="493"/>
                    </a:lnTo>
                    <a:lnTo>
                      <a:pt x="177" y="493"/>
                    </a:lnTo>
                    <a:lnTo>
                      <a:pt x="177" y="492"/>
                    </a:lnTo>
                    <a:lnTo>
                      <a:pt x="178" y="492"/>
                    </a:lnTo>
                    <a:lnTo>
                      <a:pt x="172" y="496"/>
                    </a:lnTo>
                    <a:lnTo>
                      <a:pt x="171" y="498"/>
                    </a:lnTo>
                    <a:lnTo>
                      <a:pt x="170" y="498"/>
                    </a:lnTo>
                    <a:lnTo>
                      <a:pt x="168" y="499"/>
                    </a:lnTo>
                    <a:lnTo>
                      <a:pt x="167" y="499"/>
                    </a:lnTo>
                    <a:lnTo>
                      <a:pt x="167" y="498"/>
                    </a:lnTo>
                    <a:lnTo>
                      <a:pt x="166" y="498"/>
                    </a:lnTo>
                    <a:lnTo>
                      <a:pt x="166" y="496"/>
                    </a:lnTo>
                    <a:lnTo>
                      <a:pt x="165" y="496"/>
                    </a:lnTo>
                    <a:lnTo>
                      <a:pt x="165" y="495"/>
                    </a:lnTo>
                    <a:lnTo>
                      <a:pt x="165" y="494"/>
                    </a:lnTo>
                    <a:lnTo>
                      <a:pt x="164" y="494"/>
                    </a:lnTo>
                    <a:lnTo>
                      <a:pt x="164" y="493"/>
                    </a:lnTo>
                    <a:lnTo>
                      <a:pt x="165" y="493"/>
                    </a:lnTo>
                    <a:lnTo>
                      <a:pt x="165" y="494"/>
                    </a:lnTo>
                    <a:lnTo>
                      <a:pt x="166" y="494"/>
                    </a:lnTo>
                    <a:lnTo>
                      <a:pt x="166" y="493"/>
                    </a:lnTo>
                    <a:lnTo>
                      <a:pt x="166" y="492"/>
                    </a:lnTo>
                    <a:lnTo>
                      <a:pt x="166" y="491"/>
                    </a:lnTo>
                    <a:lnTo>
                      <a:pt x="166" y="492"/>
                    </a:lnTo>
                    <a:lnTo>
                      <a:pt x="166" y="491"/>
                    </a:lnTo>
                    <a:lnTo>
                      <a:pt x="166" y="490"/>
                    </a:lnTo>
                    <a:lnTo>
                      <a:pt x="165" y="489"/>
                    </a:lnTo>
                    <a:lnTo>
                      <a:pt x="165" y="488"/>
                    </a:lnTo>
                    <a:lnTo>
                      <a:pt x="165" y="487"/>
                    </a:lnTo>
                    <a:lnTo>
                      <a:pt x="165" y="486"/>
                    </a:lnTo>
                    <a:lnTo>
                      <a:pt x="166" y="486"/>
                    </a:lnTo>
                    <a:lnTo>
                      <a:pt x="166" y="485"/>
                    </a:lnTo>
                    <a:lnTo>
                      <a:pt x="166" y="483"/>
                    </a:lnTo>
                    <a:lnTo>
                      <a:pt x="167" y="483"/>
                    </a:lnTo>
                    <a:lnTo>
                      <a:pt x="167" y="482"/>
                    </a:lnTo>
                    <a:lnTo>
                      <a:pt x="167" y="481"/>
                    </a:lnTo>
                    <a:lnTo>
                      <a:pt x="168" y="480"/>
                    </a:lnTo>
                    <a:lnTo>
                      <a:pt x="170" y="480"/>
                    </a:lnTo>
                    <a:lnTo>
                      <a:pt x="168" y="480"/>
                    </a:lnTo>
                    <a:lnTo>
                      <a:pt x="167" y="481"/>
                    </a:lnTo>
                    <a:lnTo>
                      <a:pt x="167" y="482"/>
                    </a:lnTo>
                    <a:lnTo>
                      <a:pt x="167" y="483"/>
                    </a:lnTo>
                    <a:lnTo>
                      <a:pt x="168" y="483"/>
                    </a:lnTo>
                    <a:close/>
                    <a:moveTo>
                      <a:pt x="191" y="554"/>
                    </a:moveTo>
                    <a:lnTo>
                      <a:pt x="192" y="554"/>
                    </a:lnTo>
                    <a:lnTo>
                      <a:pt x="193" y="554"/>
                    </a:lnTo>
                    <a:lnTo>
                      <a:pt x="193" y="555"/>
                    </a:lnTo>
                    <a:lnTo>
                      <a:pt x="194" y="555"/>
                    </a:lnTo>
                    <a:lnTo>
                      <a:pt x="193" y="555"/>
                    </a:lnTo>
                    <a:lnTo>
                      <a:pt x="193" y="556"/>
                    </a:lnTo>
                    <a:lnTo>
                      <a:pt x="192" y="557"/>
                    </a:lnTo>
                    <a:lnTo>
                      <a:pt x="191" y="558"/>
                    </a:lnTo>
                    <a:lnTo>
                      <a:pt x="190" y="559"/>
                    </a:lnTo>
                    <a:lnTo>
                      <a:pt x="189" y="559"/>
                    </a:lnTo>
                    <a:lnTo>
                      <a:pt x="187" y="559"/>
                    </a:lnTo>
                    <a:lnTo>
                      <a:pt x="186" y="559"/>
                    </a:lnTo>
                    <a:lnTo>
                      <a:pt x="186" y="560"/>
                    </a:lnTo>
                    <a:lnTo>
                      <a:pt x="185" y="560"/>
                    </a:lnTo>
                    <a:lnTo>
                      <a:pt x="184" y="562"/>
                    </a:lnTo>
                    <a:lnTo>
                      <a:pt x="183" y="562"/>
                    </a:lnTo>
                    <a:lnTo>
                      <a:pt x="184" y="560"/>
                    </a:lnTo>
                    <a:lnTo>
                      <a:pt x="184" y="559"/>
                    </a:lnTo>
                    <a:lnTo>
                      <a:pt x="183" y="559"/>
                    </a:lnTo>
                    <a:lnTo>
                      <a:pt x="183" y="558"/>
                    </a:lnTo>
                    <a:lnTo>
                      <a:pt x="184" y="558"/>
                    </a:lnTo>
                    <a:lnTo>
                      <a:pt x="183" y="558"/>
                    </a:lnTo>
                    <a:lnTo>
                      <a:pt x="181" y="558"/>
                    </a:lnTo>
                    <a:lnTo>
                      <a:pt x="181" y="557"/>
                    </a:lnTo>
                    <a:lnTo>
                      <a:pt x="183" y="557"/>
                    </a:lnTo>
                    <a:lnTo>
                      <a:pt x="183" y="558"/>
                    </a:lnTo>
                    <a:lnTo>
                      <a:pt x="184" y="558"/>
                    </a:lnTo>
                    <a:lnTo>
                      <a:pt x="184" y="557"/>
                    </a:lnTo>
                    <a:lnTo>
                      <a:pt x="183" y="557"/>
                    </a:lnTo>
                    <a:lnTo>
                      <a:pt x="184" y="557"/>
                    </a:lnTo>
                    <a:lnTo>
                      <a:pt x="183" y="557"/>
                    </a:lnTo>
                    <a:lnTo>
                      <a:pt x="184" y="557"/>
                    </a:lnTo>
                    <a:lnTo>
                      <a:pt x="185" y="557"/>
                    </a:lnTo>
                    <a:lnTo>
                      <a:pt x="186" y="558"/>
                    </a:lnTo>
                    <a:lnTo>
                      <a:pt x="187" y="558"/>
                    </a:lnTo>
                    <a:lnTo>
                      <a:pt x="187" y="559"/>
                    </a:lnTo>
                    <a:lnTo>
                      <a:pt x="187" y="558"/>
                    </a:lnTo>
                    <a:lnTo>
                      <a:pt x="188" y="558"/>
                    </a:lnTo>
                    <a:lnTo>
                      <a:pt x="189" y="558"/>
                    </a:lnTo>
                    <a:lnTo>
                      <a:pt x="189" y="557"/>
                    </a:lnTo>
                    <a:lnTo>
                      <a:pt x="189" y="556"/>
                    </a:lnTo>
                    <a:lnTo>
                      <a:pt x="189" y="555"/>
                    </a:lnTo>
                    <a:lnTo>
                      <a:pt x="189" y="554"/>
                    </a:lnTo>
                    <a:lnTo>
                      <a:pt x="189" y="555"/>
                    </a:lnTo>
                    <a:lnTo>
                      <a:pt x="189" y="556"/>
                    </a:lnTo>
                    <a:lnTo>
                      <a:pt x="190" y="556"/>
                    </a:lnTo>
                    <a:lnTo>
                      <a:pt x="190" y="555"/>
                    </a:lnTo>
                    <a:lnTo>
                      <a:pt x="190" y="556"/>
                    </a:lnTo>
                    <a:lnTo>
                      <a:pt x="190" y="555"/>
                    </a:lnTo>
                    <a:lnTo>
                      <a:pt x="190" y="554"/>
                    </a:lnTo>
                    <a:lnTo>
                      <a:pt x="191" y="554"/>
                    </a:lnTo>
                    <a:close/>
                    <a:moveTo>
                      <a:pt x="154" y="422"/>
                    </a:moveTo>
                    <a:lnTo>
                      <a:pt x="155" y="422"/>
                    </a:lnTo>
                    <a:lnTo>
                      <a:pt x="155" y="423"/>
                    </a:lnTo>
                    <a:lnTo>
                      <a:pt x="157" y="423"/>
                    </a:lnTo>
                    <a:lnTo>
                      <a:pt x="157" y="424"/>
                    </a:lnTo>
                    <a:lnTo>
                      <a:pt x="157" y="423"/>
                    </a:lnTo>
                    <a:lnTo>
                      <a:pt x="155" y="423"/>
                    </a:lnTo>
                    <a:lnTo>
                      <a:pt x="154" y="423"/>
                    </a:lnTo>
                    <a:lnTo>
                      <a:pt x="153" y="423"/>
                    </a:lnTo>
                    <a:lnTo>
                      <a:pt x="153" y="424"/>
                    </a:lnTo>
                    <a:lnTo>
                      <a:pt x="153" y="425"/>
                    </a:lnTo>
                    <a:lnTo>
                      <a:pt x="153" y="426"/>
                    </a:lnTo>
                    <a:lnTo>
                      <a:pt x="152" y="426"/>
                    </a:lnTo>
                    <a:lnTo>
                      <a:pt x="152" y="425"/>
                    </a:lnTo>
                    <a:lnTo>
                      <a:pt x="152" y="426"/>
                    </a:lnTo>
                    <a:lnTo>
                      <a:pt x="152" y="427"/>
                    </a:lnTo>
                    <a:lnTo>
                      <a:pt x="152" y="426"/>
                    </a:lnTo>
                    <a:lnTo>
                      <a:pt x="152" y="427"/>
                    </a:lnTo>
                    <a:lnTo>
                      <a:pt x="151" y="427"/>
                    </a:lnTo>
                    <a:lnTo>
                      <a:pt x="150" y="427"/>
                    </a:lnTo>
                    <a:lnTo>
                      <a:pt x="151" y="428"/>
                    </a:lnTo>
                    <a:lnTo>
                      <a:pt x="150" y="428"/>
                    </a:lnTo>
                    <a:lnTo>
                      <a:pt x="150" y="429"/>
                    </a:lnTo>
                    <a:lnTo>
                      <a:pt x="149" y="429"/>
                    </a:lnTo>
                    <a:lnTo>
                      <a:pt x="150" y="429"/>
                    </a:lnTo>
                    <a:lnTo>
                      <a:pt x="151" y="429"/>
                    </a:lnTo>
                    <a:lnTo>
                      <a:pt x="152" y="429"/>
                    </a:lnTo>
                    <a:lnTo>
                      <a:pt x="152" y="428"/>
                    </a:lnTo>
                    <a:lnTo>
                      <a:pt x="152" y="429"/>
                    </a:lnTo>
                    <a:lnTo>
                      <a:pt x="152" y="428"/>
                    </a:lnTo>
                    <a:lnTo>
                      <a:pt x="151" y="428"/>
                    </a:lnTo>
                    <a:lnTo>
                      <a:pt x="152" y="428"/>
                    </a:lnTo>
                    <a:lnTo>
                      <a:pt x="152" y="427"/>
                    </a:lnTo>
                    <a:lnTo>
                      <a:pt x="152" y="428"/>
                    </a:lnTo>
                    <a:lnTo>
                      <a:pt x="153" y="428"/>
                    </a:lnTo>
                    <a:lnTo>
                      <a:pt x="153" y="427"/>
                    </a:lnTo>
                    <a:lnTo>
                      <a:pt x="153" y="428"/>
                    </a:lnTo>
                    <a:lnTo>
                      <a:pt x="154" y="428"/>
                    </a:lnTo>
                    <a:lnTo>
                      <a:pt x="155" y="428"/>
                    </a:lnTo>
                    <a:lnTo>
                      <a:pt x="155" y="429"/>
                    </a:lnTo>
                    <a:lnTo>
                      <a:pt x="154" y="429"/>
                    </a:lnTo>
                    <a:lnTo>
                      <a:pt x="153" y="430"/>
                    </a:lnTo>
                    <a:lnTo>
                      <a:pt x="153" y="431"/>
                    </a:lnTo>
                    <a:lnTo>
                      <a:pt x="152" y="431"/>
                    </a:lnTo>
                    <a:lnTo>
                      <a:pt x="153" y="432"/>
                    </a:lnTo>
                    <a:lnTo>
                      <a:pt x="153" y="434"/>
                    </a:lnTo>
                    <a:lnTo>
                      <a:pt x="154" y="434"/>
                    </a:lnTo>
                    <a:lnTo>
                      <a:pt x="154" y="435"/>
                    </a:lnTo>
                    <a:lnTo>
                      <a:pt x="153" y="435"/>
                    </a:lnTo>
                    <a:lnTo>
                      <a:pt x="153" y="434"/>
                    </a:lnTo>
                    <a:lnTo>
                      <a:pt x="152" y="434"/>
                    </a:lnTo>
                    <a:lnTo>
                      <a:pt x="152" y="432"/>
                    </a:lnTo>
                    <a:lnTo>
                      <a:pt x="151" y="432"/>
                    </a:lnTo>
                    <a:lnTo>
                      <a:pt x="150" y="432"/>
                    </a:lnTo>
                    <a:lnTo>
                      <a:pt x="149" y="431"/>
                    </a:lnTo>
                    <a:lnTo>
                      <a:pt x="149" y="430"/>
                    </a:lnTo>
                    <a:lnTo>
                      <a:pt x="149" y="429"/>
                    </a:lnTo>
                    <a:lnTo>
                      <a:pt x="149" y="428"/>
                    </a:lnTo>
                    <a:lnTo>
                      <a:pt x="149" y="427"/>
                    </a:lnTo>
                    <a:lnTo>
                      <a:pt x="150" y="427"/>
                    </a:lnTo>
                    <a:lnTo>
                      <a:pt x="150" y="426"/>
                    </a:lnTo>
                    <a:lnTo>
                      <a:pt x="151" y="426"/>
                    </a:lnTo>
                    <a:lnTo>
                      <a:pt x="151" y="425"/>
                    </a:lnTo>
                    <a:lnTo>
                      <a:pt x="152" y="425"/>
                    </a:lnTo>
                    <a:lnTo>
                      <a:pt x="152" y="424"/>
                    </a:lnTo>
                    <a:lnTo>
                      <a:pt x="152" y="423"/>
                    </a:lnTo>
                    <a:lnTo>
                      <a:pt x="151" y="423"/>
                    </a:lnTo>
                    <a:lnTo>
                      <a:pt x="152" y="423"/>
                    </a:lnTo>
                    <a:lnTo>
                      <a:pt x="151" y="423"/>
                    </a:lnTo>
                    <a:lnTo>
                      <a:pt x="151" y="422"/>
                    </a:lnTo>
                    <a:lnTo>
                      <a:pt x="152" y="422"/>
                    </a:lnTo>
                    <a:lnTo>
                      <a:pt x="153" y="422"/>
                    </a:lnTo>
                    <a:lnTo>
                      <a:pt x="153" y="423"/>
                    </a:lnTo>
                    <a:lnTo>
                      <a:pt x="154" y="422"/>
                    </a:lnTo>
                    <a:close/>
                    <a:moveTo>
                      <a:pt x="179" y="421"/>
                    </a:moveTo>
                    <a:lnTo>
                      <a:pt x="179" y="422"/>
                    </a:lnTo>
                    <a:lnTo>
                      <a:pt x="178" y="422"/>
                    </a:lnTo>
                    <a:lnTo>
                      <a:pt x="177" y="423"/>
                    </a:lnTo>
                    <a:lnTo>
                      <a:pt x="177" y="424"/>
                    </a:lnTo>
                    <a:lnTo>
                      <a:pt x="177" y="425"/>
                    </a:lnTo>
                    <a:lnTo>
                      <a:pt x="177" y="426"/>
                    </a:lnTo>
                    <a:lnTo>
                      <a:pt x="176" y="427"/>
                    </a:lnTo>
                    <a:lnTo>
                      <a:pt x="175" y="428"/>
                    </a:lnTo>
                    <a:lnTo>
                      <a:pt x="175" y="429"/>
                    </a:lnTo>
                    <a:lnTo>
                      <a:pt x="175" y="428"/>
                    </a:lnTo>
                    <a:lnTo>
                      <a:pt x="175" y="427"/>
                    </a:lnTo>
                    <a:lnTo>
                      <a:pt x="175" y="425"/>
                    </a:lnTo>
                    <a:lnTo>
                      <a:pt x="175" y="424"/>
                    </a:lnTo>
                    <a:lnTo>
                      <a:pt x="174" y="424"/>
                    </a:lnTo>
                    <a:lnTo>
                      <a:pt x="174" y="423"/>
                    </a:lnTo>
                    <a:lnTo>
                      <a:pt x="174" y="422"/>
                    </a:lnTo>
                    <a:lnTo>
                      <a:pt x="174" y="421"/>
                    </a:lnTo>
                    <a:lnTo>
                      <a:pt x="174" y="418"/>
                    </a:lnTo>
                    <a:lnTo>
                      <a:pt x="174" y="417"/>
                    </a:lnTo>
                    <a:lnTo>
                      <a:pt x="173" y="417"/>
                    </a:lnTo>
                    <a:lnTo>
                      <a:pt x="173" y="416"/>
                    </a:lnTo>
                    <a:lnTo>
                      <a:pt x="174" y="416"/>
                    </a:lnTo>
                    <a:lnTo>
                      <a:pt x="174" y="417"/>
                    </a:lnTo>
                    <a:lnTo>
                      <a:pt x="175" y="416"/>
                    </a:lnTo>
                    <a:lnTo>
                      <a:pt x="175" y="417"/>
                    </a:lnTo>
                    <a:lnTo>
                      <a:pt x="175" y="418"/>
                    </a:lnTo>
                    <a:lnTo>
                      <a:pt x="175" y="419"/>
                    </a:lnTo>
                    <a:lnTo>
                      <a:pt x="174" y="419"/>
                    </a:lnTo>
                    <a:lnTo>
                      <a:pt x="174" y="418"/>
                    </a:lnTo>
                    <a:lnTo>
                      <a:pt x="174" y="419"/>
                    </a:lnTo>
                    <a:lnTo>
                      <a:pt x="174" y="421"/>
                    </a:lnTo>
                    <a:lnTo>
                      <a:pt x="177" y="419"/>
                    </a:lnTo>
                    <a:lnTo>
                      <a:pt x="177" y="418"/>
                    </a:lnTo>
                    <a:lnTo>
                      <a:pt x="177" y="417"/>
                    </a:lnTo>
                    <a:lnTo>
                      <a:pt x="176" y="416"/>
                    </a:lnTo>
                    <a:lnTo>
                      <a:pt x="177" y="416"/>
                    </a:lnTo>
                    <a:lnTo>
                      <a:pt x="178" y="417"/>
                    </a:lnTo>
                    <a:lnTo>
                      <a:pt x="178" y="418"/>
                    </a:lnTo>
                    <a:lnTo>
                      <a:pt x="179" y="418"/>
                    </a:lnTo>
                    <a:lnTo>
                      <a:pt x="179" y="419"/>
                    </a:lnTo>
                    <a:lnTo>
                      <a:pt x="179" y="421"/>
                    </a:lnTo>
                    <a:close/>
                    <a:moveTo>
                      <a:pt x="178" y="442"/>
                    </a:moveTo>
                    <a:lnTo>
                      <a:pt x="178" y="443"/>
                    </a:lnTo>
                    <a:lnTo>
                      <a:pt x="179" y="443"/>
                    </a:lnTo>
                    <a:lnTo>
                      <a:pt x="180" y="443"/>
                    </a:lnTo>
                    <a:lnTo>
                      <a:pt x="180" y="444"/>
                    </a:lnTo>
                    <a:lnTo>
                      <a:pt x="181" y="444"/>
                    </a:lnTo>
                    <a:lnTo>
                      <a:pt x="183" y="444"/>
                    </a:lnTo>
                    <a:lnTo>
                      <a:pt x="183" y="443"/>
                    </a:lnTo>
                    <a:lnTo>
                      <a:pt x="183" y="444"/>
                    </a:lnTo>
                    <a:lnTo>
                      <a:pt x="184" y="444"/>
                    </a:lnTo>
                    <a:lnTo>
                      <a:pt x="185" y="444"/>
                    </a:lnTo>
                    <a:lnTo>
                      <a:pt x="184" y="444"/>
                    </a:lnTo>
                    <a:lnTo>
                      <a:pt x="184" y="446"/>
                    </a:lnTo>
                    <a:lnTo>
                      <a:pt x="183" y="446"/>
                    </a:lnTo>
                    <a:lnTo>
                      <a:pt x="183" y="447"/>
                    </a:lnTo>
                    <a:lnTo>
                      <a:pt x="183" y="448"/>
                    </a:lnTo>
                    <a:lnTo>
                      <a:pt x="181" y="448"/>
                    </a:lnTo>
                    <a:lnTo>
                      <a:pt x="181" y="449"/>
                    </a:lnTo>
                    <a:lnTo>
                      <a:pt x="180" y="450"/>
                    </a:lnTo>
                    <a:lnTo>
                      <a:pt x="180" y="451"/>
                    </a:lnTo>
                    <a:lnTo>
                      <a:pt x="180" y="452"/>
                    </a:lnTo>
                    <a:lnTo>
                      <a:pt x="180" y="453"/>
                    </a:lnTo>
                    <a:lnTo>
                      <a:pt x="179" y="453"/>
                    </a:lnTo>
                    <a:lnTo>
                      <a:pt x="179" y="454"/>
                    </a:lnTo>
                    <a:lnTo>
                      <a:pt x="179" y="453"/>
                    </a:lnTo>
                    <a:lnTo>
                      <a:pt x="178" y="453"/>
                    </a:lnTo>
                    <a:lnTo>
                      <a:pt x="178" y="452"/>
                    </a:lnTo>
                    <a:lnTo>
                      <a:pt x="178" y="451"/>
                    </a:lnTo>
                    <a:lnTo>
                      <a:pt x="178" y="450"/>
                    </a:lnTo>
                    <a:lnTo>
                      <a:pt x="178" y="449"/>
                    </a:lnTo>
                    <a:lnTo>
                      <a:pt x="178" y="448"/>
                    </a:lnTo>
                    <a:lnTo>
                      <a:pt x="178" y="447"/>
                    </a:lnTo>
                    <a:lnTo>
                      <a:pt x="178" y="446"/>
                    </a:lnTo>
                    <a:lnTo>
                      <a:pt x="178" y="444"/>
                    </a:lnTo>
                    <a:lnTo>
                      <a:pt x="177" y="443"/>
                    </a:lnTo>
                    <a:lnTo>
                      <a:pt x="177" y="442"/>
                    </a:lnTo>
                    <a:lnTo>
                      <a:pt x="178" y="442"/>
                    </a:lnTo>
                    <a:close/>
                    <a:moveTo>
                      <a:pt x="190" y="518"/>
                    </a:moveTo>
                    <a:lnTo>
                      <a:pt x="190" y="519"/>
                    </a:lnTo>
                    <a:lnTo>
                      <a:pt x="190" y="520"/>
                    </a:lnTo>
                    <a:lnTo>
                      <a:pt x="191" y="520"/>
                    </a:lnTo>
                    <a:lnTo>
                      <a:pt x="191" y="521"/>
                    </a:lnTo>
                    <a:lnTo>
                      <a:pt x="191" y="523"/>
                    </a:lnTo>
                    <a:lnTo>
                      <a:pt x="190" y="523"/>
                    </a:lnTo>
                    <a:lnTo>
                      <a:pt x="190" y="524"/>
                    </a:lnTo>
                    <a:lnTo>
                      <a:pt x="190" y="523"/>
                    </a:lnTo>
                    <a:lnTo>
                      <a:pt x="189" y="523"/>
                    </a:lnTo>
                    <a:lnTo>
                      <a:pt x="189" y="524"/>
                    </a:lnTo>
                    <a:lnTo>
                      <a:pt x="190" y="525"/>
                    </a:lnTo>
                    <a:lnTo>
                      <a:pt x="189" y="525"/>
                    </a:lnTo>
                    <a:lnTo>
                      <a:pt x="189" y="524"/>
                    </a:lnTo>
                    <a:lnTo>
                      <a:pt x="189" y="525"/>
                    </a:lnTo>
                    <a:lnTo>
                      <a:pt x="188" y="525"/>
                    </a:lnTo>
                    <a:lnTo>
                      <a:pt x="188" y="526"/>
                    </a:lnTo>
                    <a:lnTo>
                      <a:pt x="189" y="526"/>
                    </a:lnTo>
                    <a:lnTo>
                      <a:pt x="189" y="525"/>
                    </a:lnTo>
                    <a:lnTo>
                      <a:pt x="190" y="525"/>
                    </a:lnTo>
                    <a:lnTo>
                      <a:pt x="190" y="526"/>
                    </a:lnTo>
                    <a:lnTo>
                      <a:pt x="190" y="527"/>
                    </a:lnTo>
                    <a:lnTo>
                      <a:pt x="189" y="527"/>
                    </a:lnTo>
                    <a:lnTo>
                      <a:pt x="189" y="528"/>
                    </a:lnTo>
                    <a:lnTo>
                      <a:pt x="188" y="528"/>
                    </a:lnTo>
                    <a:lnTo>
                      <a:pt x="187" y="527"/>
                    </a:lnTo>
                    <a:lnTo>
                      <a:pt x="187" y="528"/>
                    </a:lnTo>
                    <a:lnTo>
                      <a:pt x="187" y="527"/>
                    </a:lnTo>
                    <a:lnTo>
                      <a:pt x="186" y="527"/>
                    </a:lnTo>
                    <a:lnTo>
                      <a:pt x="186" y="526"/>
                    </a:lnTo>
                    <a:lnTo>
                      <a:pt x="187" y="526"/>
                    </a:lnTo>
                    <a:lnTo>
                      <a:pt x="186" y="526"/>
                    </a:lnTo>
                    <a:lnTo>
                      <a:pt x="186" y="525"/>
                    </a:lnTo>
                    <a:lnTo>
                      <a:pt x="185" y="525"/>
                    </a:lnTo>
                    <a:lnTo>
                      <a:pt x="186" y="525"/>
                    </a:lnTo>
                    <a:lnTo>
                      <a:pt x="186" y="524"/>
                    </a:lnTo>
                    <a:lnTo>
                      <a:pt x="186" y="523"/>
                    </a:lnTo>
                    <a:lnTo>
                      <a:pt x="186" y="524"/>
                    </a:lnTo>
                    <a:lnTo>
                      <a:pt x="187" y="524"/>
                    </a:lnTo>
                    <a:lnTo>
                      <a:pt x="188" y="523"/>
                    </a:lnTo>
                    <a:lnTo>
                      <a:pt x="188" y="524"/>
                    </a:lnTo>
                    <a:lnTo>
                      <a:pt x="187" y="524"/>
                    </a:lnTo>
                    <a:lnTo>
                      <a:pt x="188" y="524"/>
                    </a:lnTo>
                    <a:lnTo>
                      <a:pt x="188" y="523"/>
                    </a:lnTo>
                    <a:lnTo>
                      <a:pt x="188" y="521"/>
                    </a:lnTo>
                    <a:lnTo>
                      <a:pt x="187" y="521"/>
                    </a:lnTo>
                    <a:lnTo>
                      <a:pt x="188" y="521"/>
                    </a:lnTo>
                    <a:lnTo>
                      <a:pt x="188" y="520"/>
                    </a:lnTo>
                    <a:lnTo>
                      <a:pt x="187" y="520"/>
                    </a:lnTo>
                    <a:lnTo>
                      <a:pt x="187" y="519"/>
                    </a:lnTo>
                    <a:lnTo>
                      <a:pt x="188" y="520"/>
                    </a:lnTo>
                    <a:lnTo>
                      <a:pt x="188" y="519"/>
                    </a:lnTo>
                    <a:lnTo>
                      <a:pt x="188" y="520"/>
                    </a:lnTo>
                    <a:lnTo>
                      <a:pt x="188" y="521"/>
                    </a:lnTo>
                    <a:lnTo>
                      <a:pt x="188" y="520"/>
                    </a:lnTo>
                    <a:lnTo>
                      <a:pt x="188" y="519"/>
                    </a:lnTo>
                    <a:lnTo>
                      <a:pt x="189" y="519"/>
                    </a:lnTo>
                    <a:lnTo>
                      <a:pt x="188" y="526"/>
                    </a:lnTo>
                    <a:lnTo>
                      <a:pt x="189" y="519"/>
                    </a:lnTo>
                    <a:lnTo>
                      <a:pt x="190" y="519"/>
                    </a:lnTo>
                    <a:lnTo>
                      <a:pt x="189" y="519"/>
                    </a:lnTo>
                    <a:lnTo>
                      <a:pt x="189" y="518"/>
                    </a:lnTo>
                    <a:lnTo>
                      <a:pt x="190" y="518"/>
                    </a:lnTo>
                    <a:lnTo>
                      <a:pt x="189" y="518"/>
                    </a:lnTo>
                    <a:lnTo>
                      <a:pt x="189" y="517"/>
                    </a:lnTo>
                    <a:lnTo>
                      <a:pt x="189" y="516"/>
                    </a:lnTo>
                    <a:lnTo>
                      <a:pt x="190" y="516"/>
                    </a:lnTo>
                    <a:lnTo>
                      <a:pt x="190" y="518"/>
                    </a:lnTo>
                    <a:close/>
                    <a:moveTo>
                      <a:pt x="179" y="429"/>
                    </a:moveTo>
                    <a:lnTo>
                      <a:pt x="179" y="430"/>
                    </a:lnTo>
                    <a:lnTo>
                      <a:pt x="179" y="431"/>
                    </a:lnTo>
                    <a:lnTo>
                      <a:pt x="180" y="431"/>
                    </a:lnTo>
                    <a:lnTo>
                      <a:pt x="181" y="431"/>
                    </a:lnTo>
                    <a:lnTo>
                      <a:pt x="180" y="432"/>
                    </a:lnTo>
                    <a:lnTo>
                      <a:pt x="179" y="432"/>
                    </a:lnTo>
                    <a:lnTo>
                      <a:pt x="179" y="434"/>
                    </a:lnTo>
                    <a:lnTo>
                      <a:pt x="178" y="434"/>
                    </a:lnTo>
                    <a:lnTo>
                      <a:pt x="178" y="435"/>
                    </a:lnTo>
                    <a:lnTo>
                      <a:pt x="178" y="436"/>
                    </a:lnTo>
                    <a:lnTo>
                      <a:pt x="178" y="437"/>
                    </a:lnTo>
                    <a:lnTo>
                      <a:pt x="178" y="438"/>
                    </a:lnTo>
                    <a:lnTo>
                      <a:pt x="178" y="439"/>
                    </a:lnTo>
                    <a:lnTo>
                      <a:pt x="178" y="438"/>
                    </a:lnTo>
                    <a:lnTo>
                      <a:pt x="177" y="438"/>
                    </a:lnTo>
                    <a:lnTo>
                      <a:pt x="177" y="439"/>
                    </a:lnTo>
                    <a:lnTo>
                      <a:pt x="178" y="439"/>
                    </a:lnTo>
                    <a:lnTo>
                      <a:pt x="178" y="440"/>
                    </a:lnTo>
                    <a:lnTo>
                      <a:pt x="177" y="440"/>
                    </a:lnTo>
                    <a:lnTo>
                      <a:pt x="177" y="439"/>
                    </a:lnTo>
                    <a:lnTo>
                      <a:pt x="176" y="439"/>
                    </a:lnTo>
                    <a:lnTo>
                      <a:pt x="176" y="438"/>
                    </a:lnTo>
                    <a:lnTo>
                      <a:pt x="176" y="437"/>
                    </a:lnTo>
                    <a:lnTo>
                      <a:pt x="176" y="436"/>
                    </a:lnTo>
                    <a:lnTo>
                      <a:pt x="176" y="435"/>
                    </a:lnTo>
                    <a:lnTo>
                      <a:pt x="176" y="432"/>
                    </a:lnTo>
                    <a:lnTo>
                      <a:pt x="175" y="432"/>
                    </a:lnTo>
                    <a:lnTo>
                      <a:pt x="176" y="431"/>
                    </a:lnTo>
                    <a:lnTo>
                      <a:pt x="175" y="431"/>
                    </a:lnTo>
                    <a:lnTo>
                      <a:pt x="175" y="430"/>
                    </a:lnTo>
                    <a:lnTo>
                      <a:pt x="176" y="431"/>
                    </a:lnTo>
                    <a:lnTo>
                      <a:pt x="177" y="431"/>
                    </a:lnTo>
                    <a:lnTo>
                      <a:pt x="178" y="430"/>
                    </a:lnTo>
                    <a:lnTo>
                      <a:pt x="177" y="430"/>
                    </a:lnTo>
                    <a:lnTo>
                      <a:pt x="177" y="431"/>
                    </a:lnTo>
                    <a:lnTo>
                      <a:pt x="177" y="430"/>
                    </a:lnTo>
                    <a:lnTo>
                      <a:pt x="177" y="429"/>
                    </a:lnTo>
                    <a:lnTo>
                      <a:pt x="178" y="429"/>
                    </a:lnTo>
                    <a:lnTo>
                      <a:pt x="178" y="428"/>
                    </a:lnTo>
                    <a:lnTo>
                      <a:pt x="179" y="428"/>
                    </a:lnTo>
                    <a:lnTo>
                      <a:pt x="179" y="429"/>
                    </a:lnTo>
                    <a:close/>
                    <a:moveTo>
                      <a:pt x="163" y="564"/>
                    </a:moveTo>
                    <a:lnTo>
                      <a:pt x="164" y="564"/>
                    </a:lnTo>
                    <a:lnTo>
                      <a:pt x="164" y="565"/>
                    </a:lnTo>
                    <a:lnTo>
                      <a:pt x="165" y="565"/>
                    </a:lnTo>
                    <a:lnTo>
                      <a:pt x="164" y="565"/>
                    </a:lnTo>
                    <a:lnTo>
                      <a:pt x="165" y="566"/>
                    </a:lnTo>
                    <a:lnTo>
                      <a:pt x="165" y="567"/>
                    </a:lnTo>
                    <a:lnTo>
                      <a:pt x="165" y="568"/>
                    </a:lnTo>
                    <a:lnTo>
                      <a:pt x="165" y="569"/>
                    </a:lnTo>
                    <a:lnTo>
                      <a:pt x="166" y="569"/>
                    </a:lnTo>
                    <a:lnTo>
                      <a:pt x="166" y="570"/>
                    </a:lnTo>
                    <a:lnTo>
                      <a:pt x="167" y="570"/>
                    </a:lnTo>
                    <a:lnTo>
                      <a:pt x="166" y="570"/>
                    </a:lnTo>
                    <a:lnTo>
                      <a:pt x="165" y="570"/>
                    </a:lnTo>
                    <a:lnTo>
                      <a:pt x="165" y="571"/>
                    </a:lnTo>
                    <a:lnTo>
                      <a:pt x="165" y="570"/>
                    </a:lnTo>
                    <a:lnTo>
                      <a:pt x="164" y="570"/>
                    </a:lnTo>
                    <a:lnTo>
                      <a:pt x="165" y="570"/>
                    </a:lnTo>
                    <a:lnTo>
                      <a:pt x="164" y="569"/>
                    </a:lnTo>
                    <a:lnTo>
                      <a:pt x="165" y="569"/>
                    </a:lnTo>
                    <a:lnTo>
                      <a:pt x="164" y="569"/>
                    </a:lnTo>
                    <a:lnTo>
                      <a:pt x="163" y="570"/>
                    </a:lnTo>
                    <a:lnTo>
                      <a:pt x="162" y="570"/>
                    </a:lnTo>
                    <a:lnTo>
                      <a:pt x="162" y="569"/>
                    </a:lnTo>
                    <a:lnTo>
                      <a:pt x="163" y="569"/>
                    </a:lnTo>
                    <a:lnTo>
                      <a:pt x="162" y="569"/>
                    </a:lnTo>
                    <a:lnTo>
                      <a:pt x="163" y="569"/>
                    </a:lnTo>
                    <a:lnTo>
                      <a:pt x="163" y="568"/>
                    </a:lnTo>
                    <a:lnTo>
                      <a:pt x="162" y="568"/>
                    </a:lnTo>
                    <a:lnTo>
                      <a:pt x="162" y="569"/>
                    </a:lnTo>
                    <a:lnTo>
                      <a:pt x="161" y="569"/>
                    </a:lnTo>
                    <a:lnTo>
                      <a:pt x="160" y="570"/>
                    </a:lnTo>
                    <a:lnTo>
                      <a:pt x="160" y="571"/>
                    </a:lnTo>
                    <a:lnTo>
                      <a:pt x="159" y="571"/>
                    </a:lnTo>
                    <a:lnTo>
                      <a:pt x="158" y="571"/>
                    </a:lnTo>
                    <a:lnTo>
                      <a:pt x="158" y="570"/>
                    </a:lnTo>
                    <a:lnTo>
                      <a:pt x="157" y="570"/>
                    </a:lnTo>
                    <a:lnTo>
                      <a:pt x="158" y="570"/>
                    </a:lnTo>
                    <a:lnTo>
                      <a:pt x="159" y="570"/>
                    </a:lnTo>
                    <a:lnTo>
                      <a:pt x="158" y="570"/>
                    </a:lnTo>
                    <a:lnTo>
                      <a:pt x="159" y="570"/>
                    </a:lnTo>
                    <a:lnTo>
                      <a:pt x="159" y="569"/>
                    </a:lnTo>
                    <a:lnTo>
                      <a:pt x="160" y="569"/>
                    </a:lnTo>
                    <a:lnTo>
                      <a:pt x="159" y="569"/>
                    </a:lnTo>
                    <a:lnTo>
                      <a:pt x="160" y="568"/>
                    </a:lnTo>
                    <a:lnTo>
                      <a:pt x="159" y="568"/>
                    </a:lnTo>
                    <a:lnTo>
                      <a:pt x="160" y="568"/>
                    </a:lnTo>
                    <a:lnTo>
                      <a:pt x="160" y="569"/>
                    </a:lnTo>
                    <a:lnTo>
                      <a:pt x="160" y="568"/>
                    </a:lnTo>
                    <a:lnTo>
                      <a:pt x="161" y="567"/>
                    </a:lnTo>
                    <a:lnTo>
                      <a:pt x="161" y="566"/>
                    </a:lnTo>
                    <a:lnTo>
                      <a:pt x="162" y="566"/>
                    </a:lnTo>
                    <a:lnTo>
                      <a:pt x="162" y="565"/>
                    </a:lnTo>
                    <a:lnTo>
                      <a:pt x="163" y="565"/>
                    </a:lnTo>
                    <a:lnTo>
                      <a:pt x="163" y="566"/>
                    </a:lnTo>
                    <a:lnTo>
                      <a:pt x="164" y="566"/>
                    </a:lnTo>
                    <a:lnTo>
                      <a:pt x="164" y="565"/>
                    </a:lnTo>
                    <a:lnTo>
                      <a:pt x="164" y="564"/>
                    </a:lnTo>
                    <a:lnTo>
                      <a:pt x="163" y="564"/>
                    </a:lnTo>
                    <a:lnTo>
                      <a:pt x="162" y="564"/>
                    </a:lnTo>
                    <a:lnTo>
                      <a:pt x="163" y="564"/>
                    </a:lnTo>
                    <a:close/>
                    <a:moveTo>
                      <a:pt x="134" y="401"/>
                    </a:moveTo>
                    <a:lnTo>
                      <a:pt x="135" y="402"/>
                    </a:lnTo>
                    <a:lnTo>
                      <a:pt x="134" y="402"/>
                    </a:lnTo>
                    <a:lnTo>
                      <a:pt x="134" y="403"/>
                    </a:lnTo>
                    <a:lnTo>
                      <a:pt x="134" y="402"/>
                    </a:lnTo>
                    <a:lnTo>
                      <a:pt x="133" y="402"/>
                    </a:lnTo>
                    <a:lnTo>
                      <a:pt x="133" y="401"/>
                    </a:lnTo>
                    <a:lnTo>
                      <a:pt x="132" y="401"/>
                    </a:lnTo>
                    <a:lnTo>
                      <a:pt x="129" y="402"/>
                    </a:lnTo>
                    <a:lnTo>
                      <a:pt x="128" y="402"/>
                    </a:lnTo>
                    <a:lnTo>
                      <a:pt x="128" y="403"/>
                    </a:lnTo>
                    <a:lnTo>
                      <a:pt x="128" y="404"/>
                    </a:lnTo>
                    <a:lnTo>
                      <a:pt x="128" y="405"/>
                    </a:lnTo>
                    <a:lnTo>
                      <a:pt x="127" y="405"/>
                    </a:lnTo>
                    <a:lnTo>
                      <a:pt x="125" y="405"/>
                    </a:lnTo>
                    <a:lnTo>
                      <a:pt x="125" y="404"/>
                    </a:lnTo>
                    <a:lnTo>
                      <a:pt x="124" y="404"/>
                    </a:lnTo>
                    <a:lnTo>
                      <a:pt x="125" y="404"/>
                    </a:lnTo>
                    <a:lnTo>
                      <a:pt x="125" y="403"/>
                    </a:lnTo>
                    <a:lnTo>
                      <a:pt x="126" y="403"/>
                    </a:lnTo>
                    <a:lnTo>
                      <a:pt x="127" y="403"/>
                    </a:lnTo>
                    <a:lnTo>
                      <a:pt x="128" y="402"/>
                    </a:lnTo>
                    <a:lnTo>
                      <a:pt x="128" y="401"/>
                    </a:lnTo>
                    <a:lnTo>
                      <a:pt x="128" y="400"/>
                    </a:lnTo>
                    <a:lnTo>
                      <a:pt x="129" y="400"/>
                    </a:lnTo>
                    <a:lnTo>
                      <a:pt x="131" y="399"/>
                    </a:lnTo>
                    <a:lnTo>
                      <a:pt x="131" y="398"/>
                    </a:lnTo>
                    <a:lnTo>
                      <a:pt x="131" y="397"/>
                    </a:lnTo>
                    <a:lnTo>
                      <a:pt x="132" y="397"/>
                    </a:lnTo>
                    <a:lnTo>
                      <a:pt x="133" y="397"/>
                    </a:lnTo>
                    <a:lnTo>
                      <a:pt x="133" y="398"/>
                    </a:lnTo>
                    <a:lnTo>
                      <a:pt x="134" y="398"/>
                    </a:lnTo>
                    <a:lnTo>
                      <a:pt x="133" y="398"/>
                    </a:lnTo>
                    <a:lnTo>
                      <a:pt x="133" y="399"/>
                    </a:lnTo>
                    <a:lnTo>
                      <a:pt x="133" y="400"/>
                    </a:lnTo>
                    <a:lnTo>
                      <a:pt x="134" y="400"/>
                    </a:lnTo>
                    <a:lnTo>
                      <a:pt x="134" y="401"/>
                    </a:lnTo>
                    <a:close/>
                    <a:moveTo>
                      <a:pt x="119" y="364"/>
                    </a:moveTo>
                    <a:lnTo>
                      <a:pt x="117" y="365"/>
                    </a:lnTo>
                    <a:lnTo>
                      <a:pt x="117" y="366"/>
                    </a:lnTo>
                    <a:lnTo>
                      <a:pt x="117" y="367"/>
                    </a:lnTo>
                    <a:lnTo>
                      <a:pt x="119" y="367"/>
                    </a:lnTo>
                    <a:lnTo>
                      <a:pt x="120" y="367"/>
                    </a:lnTo>
                    <a:lnTo>
                      <a:pt x="121" y="367"/>
                    </a:lnTo>
                    <a:lnTo>
                      <a:pt x="121" y="369"/>
                    </a:lnTo>
                    <a:lnTo>
                      <a:pt x="120" y="369"/>
                    </a:lnTo>
                    <a:lnTo>
                      <a:pt x="121" y="369"/>
                    </a:lnTo>
                    <a:lnTo>
                      <a:pt x="120" y="370"/>
                    </a:lnTo>
                    <a:lnTo>
                      <a:pt x="119" y="370"/>
                    </a:lnTo>
                    <a:lnTo>
                      <a:pt x="119" y="371"/>
                    </a:lnTo>
                    <a:lnTo>
                      <a:pt x="117" y="371"/>
                    </a:lnTo>
                    <a:lnTo>
                      <a:pt x="116" y="371"/>
                    </a:lnTo>
                    <a:lnTo>
                      <a:pt x="116" y="370"/>
                    </a:lnTo>
                    <a:lnTo>
                      <a:pt x="116" y="369"/>
                    </a:lnTo>
                    <a:lnTo>
                      <a:pt x="116" y="367"/>
                    </a:lnTo>
                    <a:lnTo>
                      <a:pt x="115" y="367"/>
                    </a:lnTo>
                    <a:lnTo>
                      <a:pt x="114" y="367"/>
                    </a:lnTo>
                    <a:lnTo>
                      <a:pt x="114" y="366"/>
                    </a:lnTo>
                    <a:lnTo>
                      <a:pt x="114" y="365"/>
                    </a:lnTo>
                    <a:lnTo>
                      <a:pt x="115" y="365"/>
                    </a:lnTo>
                    <a:lnTo>
                      <a:pt x="115" y="364"/>
                    </a:lnTo>
                    <a:lnTo>
                      <a:pt x="116" y="364"/>
                    </a:lnTo>
                    <a:lnTo>
                      <a:pt x="117" y="363"/>
                    </a:lnTo>
                    <a:lnTo>
                      <a:pt x="117" y="364"/>
                    </a:lnTo>
                    <a:lnTo>
                      <a:pt x="119" y="364"/>
                    </a:lnTo>
                    <a:close/>
                    <a:moveTo>
                      <a:pt x="140" y="597"/>
                    </a:moveTo>
                    <a:lnTo>
                      <a:pt x="140" y="599"/>
                    </a:lnTo>
                    <a:lnTo>
                      <a:pt x="141" y="601"/>
                    </a:lnTo>
                    <a:lnTo>
                      <a:pt x="141" y="602"/>
                    </a:lnTo>
                    <a:lnTo>
                      <a:pt x="142" y="602"/>
                    </a:lnTo>
                    <a:lnTo>
                      <a:pt x="142" y="603"/>
                    </a:lnTo>
                    <a:lnTo>
                      <a:pt x="142" y="604"/>
                    </a:lnTo>
                    <a:lnTo>
                      <a:pt x="142" y="605"/>
                    </a:lnTo>
                    <a:lnTo>
                      <a:pt x="141" y="606"/>
                    </a:lnTo>
                    <a:lnTo>
                      <a:pt x="140" y="606"/>
                    </a:lnTo>
                    <a:lnTo>
                      <a:pt x="140" y="607"/>
                    </a:lnTo>
                    <a:lnTo>
                      <a:pt x="139" y="607"/>
                    </a:lnTo>
                    <a:lnTo>
                      <a:pt x="137" y="609"/>
                    </a:lnTo>
                    <a:lnTo>
                      <a:pt x="136" y="610"/>
                    </a:lnTo>
                    <a:lnTo>
                      <a:pt x="133" y="611"/>
                    </a:lnTo>
                    <a:lnTo>
                      <a:pt x="134" y="611"/>
                    </a:lnTo>
                    <a:lnTo>
                      <a:pt x="134" y="610"/>
                    </a:lnTo>
                    <a:lnTo>
                      <a:pt x="135" y="610"/>
                    </a:lnTo>
                    <a:lnTo>
                      <a:pt x="135" y="609"/>
                    </a:lnTo>
                    <a:lnTo>
                      <a:pt x="135" y="608"/>
                    </a:lnTo>
                    <a:lnTo>
                      <a:pt x="136" y="608"/>
                    </a:lnTo>
                    <a:lnTo>
                      <a:pt x="136" y="609"/>
                    </a:lnTo>
                    <a:lnTo>
                      <a:pt x="136" y="608"/>
                    </a:lnTo>
                    <a:lnTo>
                      <a:pt x="137" y="608"/>
                    </a:lnTo>
                    <a:lnTo>
                      <a:pt x="137" y="607"/>
                    </a:lnTo>
                    <a:lnTo>
                      <a:pt x="138" y="606"/>
                    </a:lnTo>
                    <a:lnTo>
                      <a:pt x="138" y="607"/>
                    </a:lnTo>
                    <a:lnTo>
                      <a:pt x="138" y="606"/>
                    </a:lnTo>
                    <a:lnTo>
                      <a:pt x="139" y="606"/>
                    </a:lnTo>
                    <a:lnTo>
                      <a:pt x="139" y="607"/>
                    </a:lnTo>
                    <a:lnTo>
                      <a:pt x="139" y="606"/>
                    </a:lnTo>
                    <a:lnTo>
                      <a:pt x="139" y="607"/>
                    </a:lnTo>
                    <a:lnTo>
                      <a:pt x="140" y="606"/>
                    </a:lnTo>
                    <a:lnTo>
                      <a:pt x="141" y="606"/>
                    </a:lnTo>
                    <a:lnTo>
                      <a:pt x="141" y="605"/>
                    </a:lnTo>
                    <a:lnTo>
                      <a:pt x="141" y="604"/>
                    </a:lnTo>
                    <a:lnTo>
                      <a:pt x="142" y="604"/>
                    </a:lnTo>
                    <a:lnTo>
                      <a:pt x="142" y="603"/>
                    </a:lnTo>
                    <a:lnTo>
                      <a:pt x="141" y="603"/>
                    </a:lnTo>
                    <a:lnTo>
                      <a:pt x="141" y="602"/>
                    </a:lnTo>
                    <a:lnTo>
                      <a:pt x="141" y="601"/>
                    </a:lnTo>
                    <a:lnTo>
                      <a:pt x="140" y="601"/>
                    </a:lnTo>
                    <a:lnTo>
                      <a:pt x="140" y="599"/>
                    </a:lnTo>
                    <a:lnTo>
                      <a:pt x="139" y="599"/>
                    </a:lnTo>
                    <a:lnTo>
                      <a:pt x="138" y="599"/>
                    </a:lnTo>
                    <a:lnTo>
                      <a:pt x="138" y="598"/>
                    </a:lnTo>
                    <a:lnTo>
                      <a:pt x="138" y="597"/>
                    </a:lnTo>
                    <a:lnTo>
                      <a:pt x="138" y="598"/>
                    </a:lnTo>
                    <a:lnTo>
                      <a:pt x="138" y="597"/>
                    </a:lnTo>
                    <a:lnTo>
                      <a:pt x="139" y="597"/>
                    </a:lnTo>
                    <a:lnTo>
                      <a:pt x="139" y="596"/>
                    </a:lnTo>
                    <a:lnTo>
                      <a:pt x="140" y="596"/>
                    </a:lnTo>
                    <a:lnTo>
                      <a:pt x="140" y="597"/>
                    </a:lnTo>
                    <a:close/>
                    <a:moveTo>
                      <a:pt x="193" y="544"/>
                    </a:moveTo>
                    <a:lnTo>
                      <a:pt x="192" y="545"/>
                    </a:lnTo>
                    <a:lnTo>
                      <a:pt x="193" y="545"/>
                    </a:lnTo>
                    <a:lnTo>
                      <a:pt x="193" y="546"/>
                    </a:lnTo>
                    <a:lnTo>
                      <a:pt x="192" y="547"/>
                    </a:lnTo>
                    <a:lnTo>
                      <a:pt x="192" y="549"/>
                    </a:lnTo>
                    <a:lnTo>
                      <a:pt x="191" y="549"/>
                    </a:lnTo>
                    <a:lnTo>
                      <a:pt x="191" y="547"/>
                    </a:lnTo>
                    <a:lnTo>
                      <a:pt x="190" y="547"/>
                    </a:lnTo>
                    <a:lnTo>
                      <a:pt x="190" y="546"/>
                    </a:lnTo>
                    <a:lnTo>
                      <a:pt x="191" y="546"/>
                    </a:lnTo>
                    <a:lnTo>
                      <a:pt x="191" y="545"/>
                    </a:lnTo>
                    <a:lnTo>
                      <a:pt x="190" y="545"/>
                    </a:lnTo>
                    <a:lnTo>
                      <a:pt x="189" y="544"/>
                    </a:lnTo>
                    <a:lnTo>
                      <a:pt x="188" y="544"/>
                    </a:lnTo>
                    <a:lnTo>
                      <a:pt x="189" y="544"/>
                    </a:lnTo>
                    <a:lnTo>
                      <a:pt x="189" y="545"/>
                    </a:lnTo>
                    <a:lnTo>
                      <a:pt x="188" y="545"/>
                    </a:lnTo>
                    <a:lnTo>
                      <a:pt x="187" y="545"/>
                    </a:lnTo>
                    <a:lnTo>
                      <a:pt x="186" y="545"/>
                    </a:lnTo>
                    <a:lnTo>
                      <a:pt x="186" y="544"/>
                    </a:lnTo>
                    <a:lnTo>
                      <a:pt x="185" y="544"/>
                    </a:lnTo>
                    <a:lnTo>
                      <a:pt x="186" y="544"/>
                    </a:lnTo>
                    <a:lnTo>
                      <a:pt x="187" y="544"/>
                    </a:lnTo>
                    <a:lnTo>
                      <a:pt x="188" y="544"/>
                    </a:lnTo>
                    <a:lnTo>
                      <a:pt x="189" y="544"/>
                    </a:lnTo>
                    <a:lnTo>
                      <a:pt x="189" y="543"/>
                    </a:lnTo>
                    <a:lnTo>
                      <a:pt x="190" y="543"/>
                    </a:lnTo>
                    <a:lnTo>
                      <a:pt x="190" y="542"/>
                    </a:lnTo>
                    <a:lnTo>
                      <a:pt x="191" y="542"/>
                    </a:lnTo>
                    <a:lnTo>
                      <a:pt x="191" y="543"/>
                    </a:lnTo>
                    <a:lnTo>
                      <a:pt x="192" y="543"/>
                    </a:lnTo>
                    <a:lnTo>
                      <a:pt x="192" y="544"/>
                    </a:lnTo>
                    <a:lnTo>
                      <a:pt x="193" y="544"/>
                    </a:lnTo>
                    <a:close/>
                    <a:moveTo>
                      <a:pt x="181" y="492"/>
                    </a:moveTo>
                    <a:lnTo>
                      <a:pt x="181" y="493"/>
                    </a:lnTo>
                    <a:lnTo>
                      <a:pt x="181" y="494"/>
                    </a:lnTo>
                    <a:lnTo>
                      <a:pt x="181" y="495"/>
                    </a:lnTo>
                    <a:lnTo>
                      <a:pt x="180" y="495"/>
                    </a:lnTo>
                    <a:lnTo>
                      <a:pt x="180" y="494"/>
                    </a:lnTo>
                    <a:lnTo>
                      <a:pt x="180" y="493"/>
                    </a:lnTo>
                    <a:lnTo>
                      <a:pt x="179" y="493"/>
                    </a:lnTo>
                    <a:lnTo>
                      <a:pt x="178" y="493"/>
                    </a:lnTo>
                    <a:lnTo>
                      <a:pt x="177" y="494"/>
                    </a:lnTo>
                    <a:lnTo>
                      <a:pt x="177" y="495"/>
                    </a:lnTo>
                    <a:lnTo>
                      <a:pt x="177" y="496"/>
                    </a:lnTo>
                    <a:lnTo>
                      <a:pt x="178" y="496"/>
                    </a:lnTo>
                    <a:lnTo>
                      <a:pt x="178" y="498"/>
                    </a:lnTo>
                    <a:lnTo>
                      <a:pt x="179" y="498"/>
                    </a:lnTo>
                    <a:lnTo>
                      <a:pt x="179" y="499"/>
                    </a:lnTo>
                    <a:lnTo>
                      <a:pt x="178" y="498"/>
                    </a:lnTo>
                    <a:lnTo>
                      <a:pt x="177" y="498"/>
                    </a:lnTo>
                    <a:lnTo>
                      <a:pt x="176" y="498"/>
                    </a:lnTo>
                    <a:lnTo>
                      <a:pt x="176" y="499"/>
                    </a:lnTo>
                    <a:lnTo>
                      <a:pt x="175" y="499"/>
                    </a:lnTo>
                    <a:lnTo>
                      <a:pt x="175" y="500"/>
                    </a:lnTo>
                    <a:lnTo>
                      <a:pt x="175" y="499"/>
                    </a:lnTo>
                    <a:lnTo>
                      <a:pt x="174" y="499"/>
                    </a:lnTo>
                    <a:lnTo>
                      <a:pt x="174" y="498"/>
                    </a:lnTo>
                    <a:lnTo>
                      <a:pt x="175" y="496"/>
                    </a:lnTo>
                    <a:lnTo>
                      <a:pt x="176" y="495"/>
                    </a:lnTo>
                    <a:lnTo>
                      <a:pt x="176" y="494"/>
                    </a:lnTo>
                    <a:lnTo>
                      <a:pt x="180" y="491"/>
                    </a:lnTo>
                    <a:lnTo>
                      <a:pt x="181" y="492"/>
                    </a:lnTo>
                    <a:close/>
                    <a:moveTo>
                      <a:pt x="154" y="488"/>
                    </a:moveTo>
                    <a:lnTo>
                      <a:pt x="154" y="489"/>
                    </a:lnTo>
                    <a:lnTo>
                      <a:pt x="155" y="489"/>
                    </a:lnTo>
                    <a:lnTo>
                      <a:pt x="157" y="489"/>
                    </a:lnTo>
                    <a:lnTo>
                      <a:pt x="157" y="490"/>
                    </a:lnTo>
                    <a:lnTo>
                      <a:pt x="157" y="491"/>
                    </a:lnTo>
                    <a:lnTo>
                      <a:pt x="158" y="491"/>
                    </a:lnTo>
                    <a:lnTo>
                      <a:pt x="158" y="492"/>
                    </a:lnTo>
                    <a:lnTo>
                      <a:pt x="157" y="492"/>
                    </a:lnTo>
                    <a:lnTo>
                      <a:pt x="157" y="491"/>
                    </a:lnTo>
                    <a:lnTo>
                      <a:pt x="157" y="490"/>
                    </a:lnTo>
                    <a:lnTo>
                      <a:pt x="157" y="491"/>
                    </a:lnTo>
                    <a:lnTo>
                      <a:pt x="157" y="492"/>
                    </a:lnTo>
                    <a:lnTo>
                      <a:pt x="155" y="492"/>
                    </a:lnTo>
                    <a:lnTo>
                      <a:pt x="155" y="493"/>
                    </a:lnTo>
                    <a:lnTo>
                      <a:pt x="154" y="493"/>
                    </a:lnTo>
                    <a:lnTo>
                      <a:pt x="154" y="492"/>
                    </a:lnTo>
                    <a:lnTo>
                      <a:pt x="153" y="492"/>
                    </a:lnTo>
                    <a:lnTo>
                      <a:pt x="153" y="491"/>
                    </a:lnTo>
                    <a:lnTo>
                      <a:pt x="153" y="490"/>
                    </a:lnTo>
                    <a:lnTo>
                      <a:pt x="152" y="490"/>
                    </a:lnTo>
                    <a:lnTo>
                      <a:pt x="152" y="489"/>
                    </a:lnTo>
                    <a:lnTo>
                      <a:pt x="153" y="489"/>
                    </a:lnTo>
                    <a:lnTo>
                      <a:pt x="153" y="488"/>
                    </a:lnTo>
                    <a:lnTo>
                      <a:pt x="154" y="488"/>
                    </a:lnTo>
                    <a:lnTo>
                      <a:pt x="153" y="488"/>
                    </a:lnTo>
                    <a:lnTo>
                      <a:pt x="154" y="488"/>
                    </a:lnTo>
                    <a:lnTo>
                      <a:pt x="154" y="487"/>
                    </a:lnTo>
                    <a:lnTo>
                      <a:pt x="154" y="488"/>
                    </a:lnTo>
                    <a:close/>
                    <a:moveTo>
                      <a:pt x="183" y="491"/>
                    </a:moveTo>
                    <a:lnTo>
                      <a:pt x="184" y="491"/>
                    </a:lnTo>
                    <a:lnTo>
                      <a:pt x="185" y="491"/>
                    </a:lnTo>
                    <a:lnTo>
                      <a:pt x="186" y="491"/>
                    </a:lnTo>
                    <a:lnTo>
                      <a:pt x="187" y="491"/>
                    </a:lnTo>
                    <a:lnTo>
                      <a:pt x="187" y="492"/>
                    </a:lnTo>
                    <a:lnTo>
                      <a:pt x="186" y="492"/>
                    </a:lnTo>
                    <a:lnTo>
                      <a:pt x="185" y="492"/>
                    </a:lnTo>
                    <a:lnTo>
                      <a:pt x="185" y="493"/>
                    </a:lnTo>
                    <a:lnTo>
                      <a:pt x="185" y="494"/>
                    </a:lnTo>
                    <a:lnTo>
                      <a:pt x="185" y="495"/>
                    </a:lnTo>
                    <a:lnTo>
                      <a:pt x="185" y="496"/>
                    </a:lnTo>
                    <a:lnTo>
                      <a:pt x="184" y="496"/>
                    </a:lnTo>
                    <a:lnTo>
                      <a:pt x="184" y="495"/>
                    </a:lnTo>
                    <a:lnTo>
                      <a:pt x="184" y="496"/>
                    </a:lnTo>
                    <a:lnTo>
                      <a:pt x="185" y="496"/>
                    </a:lnTo>
                    <a:lnTo>
                      <a:pt x="185" y="495"/>
                    </a:lnTo>
                    <a:lnTo>
                      <a:pt x="184" y="495"/>
                    </a:lnTo>
                    <a:lnTo>
                      <a:pt x="183" y="495"/>
                    </a:lnTo>
                    <a:lnTo>
                      <a:pt x="183" y="494"/>
                    </a:lnTo>
                    <a:lnTo>
                      <a:pt x="183" y="495"/>
                    </a:lnTo>
                    <a:lnTo>
                      <a:pt x="183" y="496"/>
                    </a:lnTo>
                    <a:lnTo>
                      <a:pt x="181" y="496"/>
                    </a:lnTo>
                    <a:lnTo>
                      <a:pt x="181" y="495"/>
                    </a:lnTo>
                    <a:lnTo>
                      <a:pt x="181" y="494"/>
                    </a:lnTo>
                    <a:lnTo>
                      <a:pt x="183" y="494"/>
                    </a:lnTo>
                    <a:lnTo>
                      <a:pt x="181" y="493"/>
                    </a:lnTo>
                    <a:lnTo>
                      <a:pt x="183" y="493"/>
                    </a:lnTo>
                    <a:lnTo>
                      <a:pt x="183" y="492"/>
                    </a:lnTo>
                    <a:lnTo>
                      <a:pt x="181" y="492"/>
                    </a:lnTo>
                    <a:lnTo>
                      <a:pt x="183" y="491"/>
                    </a:lnTo>
                    <a:close/>
                    <a:moveTo>
                      <a:pt x="158" y="552"/>
                    </a:moveTo>
                    <a:lnTo>
                      <a:pt x="159" y="552"/>
                    </a:lnTo>
                    <a:lnTo>
                      <a:pt x="159" y="553"/>
                    </a:lnTo>
                    <a:lnTo>
                      <a:pt x="160" y="553"/>
                    </a:lnTo>
                    <a:lnTo>
                      <a:pt x="159" y="553"/>
                    </a:lnTo>
                    <a:lnTo>
                      <a:pt x="159" y="554"/>
                    </a:lnTo>
                    <a:lnTo>
                      <a:pt x="160" y="554"/>
                    </a:lnTo>
                    <a:lnTo>
                      <a:pt x="159" y="554"/>
                    </a:lnTo>
                    <a:lnTo>
                      <a:pt x="159" y="555"/>
                    </a:lnTo>
                    <a:lnTo>
                      <a:pt x="158" y="556"/>
                    </a:lnTo>
                    <a:lnTo>
                      <a:pt x="158" y="555"/>
                    </a:lnTo>
                    <a:lnTo>
                      <a:pt x="157" y="555"/>
                    </a:lnTo>
                    <a:lnTo>
                      <a:pt x="157" y="556"/>
                    </a:lnTo>
                    <a:lnTo>
                      <a:pt x="155" y="557"/>
                    </a:lnTo>
                    <a:lnTo>
                      <a:pt x="155" y="556"/>
                    </a:lnTo>
                    <a:lnTo>
                      <a:pt x="155" y="555"/>
                    </a:lnTo>
                    <a:lnTo>
                      <a:pt x="154" y="555"/>
                    </a:lnTo>
                    <a:lnTo>
                      <a:pt x="155" y="555"/>
                    </a:lnTo>
                    <a:lnTo>
                      <a:pt x="155" y="554"/>
                    </a:lnTo>
                    <a:lnTo>
                      <a:pt x="157" y="554"/>
                    </a:lnTo>
                    <a:lnTo>
                      <a:pt x="158" y="554"/>
                    </a:lnTo>
                    <a:lnTo>
                      <a:pt x="157" y="553"/>
                    </a:lnTo>
                    <a:lnTo>
                      <a:pt x="157" y="554"/>
                    </a:lnTo>
                    <a:lnTo>
                      <a:pt x="155" y="554"/>
                    </a:lnTo>
                    <a:lnTo>
                      <a:pt x="154" y="554"/>
                    </a:lnTo>
                    <a:lnTo>
                      <a:pt x="155" y="553"/>
                    </a:lnTo>
                    <a:lnTo>
                      <a:pt x="157" y="553"/>
                    </a:lnTo>
                    <a:lnTo>
                      <a:pt x="157" y="552"/>
                    </a:lnTo>
                    <a:lnTo>
                      <a:pt x="158" y="553"/>
                    </a:lnTo>
                    <a:lnTo>
                      <a:pt x="158" y="552"/>
                    </a:lnTo>
                    <a:close/>
                    <a:moveTo>
                      <a:pt x="185" y="517"/>
                    </a:moveTo>
                    <a:lnTo>
                      <a:pt x="186" y="517"/>
                    </a:lnTo>
                    <a:lnTo>
                      <a:pt x="186" y="518"/>
                    </a:lnTo>
                    <a:lnTo>
                      <a:pt x="186" y="519"/>
                    </a:lnTo>
                    <a:lnTo>
                      <a:pt x="186" y="520"/>
                    </a:lnTo>
                    <a:lnTo>
                      <a:pt x="186" y="521"/>
                    </a:lnTo>
                    <a:lnTo>
                      <a:pt x="185" y="521"/>
                    </a:lnTo>
                    <a:lnTo>
                      <a:pt x="185" y="523"/>
                    </a:lnTo>
                    <a:lnTo>
                      <a:pt x="186" y="523"/>
                    </a:lnTo>
                    <a:lnTo>
                      <a:pt x="186" y="524"/>
                    </a:lnTo>
                    <a:lnTo>
                      <a:pt x="185" y="525"/>
                    </a:lnTo>
                    <a:lnTo>
                      <a:pt x="185" y="524"/>
                    </a:lnTo>
                    <a:lnTo>
                      <a:pt x="185" y="525"/>
                    </a:lnTo>
                    <a:lnTo>
                      <a:pt x="184" y="524"/>
                    </a:lnTo>
                    <a:lnTo>
                      <a:pt x="184" y="523"/>
                    </a:lnTo>
                    <a:lnTo>
                      <a:pt x="183" y="521"/>
                    </a:lnTo>
                    <a:lnTo>
                      <a:pt x="183" y="520"/>
                    </a:lnTo>
                    <a:lnTo>
                      <a:pt x="183" y="519"/>
                    </a:lnTo>
                    <a:lnTo>
                      <a:pt x="184" y="519"/>
                    </a:lnTo>
                    <a:lnTo>
                      <a:pt x="184" y="520"/>
                    </a:lnTo>
                    <a:lnTo>
                      <a:pt x="185" y="520"/>
                    </a:lnTo>
                    <a:lnTo>
                      <a:pt x="185" y="521"/>
                    </a:lnTo>
                    <a:lnTo>
                      <a:pt x="185" y="520"/>
                    </a:lnTo>
                    <a:lnTo>
                      <a:pt x="185" y="519"/>
                    </a:lnTo>
                    <a:lnTo>
                      <a:pt x="186" y="519"/>
                    </a:lnTo>
                    <a:lnTo>
                      <a:pt x="185" y="519"/>
                    </a:lnTo>
                    <a:lnTo>
                      <a:pt x="186" y="519"/>
                    </a:lnTo>
                    <a:lnTo>
                      <a:pt x="185" y="519"/>
                    </a:lnTo>
                    <a:lnTo>
                      <a:pt x="186" y="519"/>
                    </a:lnTo>
                    <a:lnTo>
                      <a:pt x="185" y="518"/>
                    </a:lnTo>
                    <a:lnTo>
                      <a:pt x="186" y="518"/>
                    </a:lnTo>
                    <a:lnTo>
                      <a:pt x="185" y="518"/>
                    </a:lnTo>
                    <a:lnTo>
                      <a:pt x="184" y="517"/>
                    </a:lnTo>
                    <a:lnTo>
                      <a:pt x="184" y="516"/>
                    </a:lnTo>
                    <a:lnTo>
                      <a:pt x="185" y="516"/>
                    </a:lnTo>
                    <a:lnTo>
                      <a:pt x="184" y="517"/>
                    </a:lnTo>
                    <a:lnTo>
                      <a:pt x="185" y="517"/>
                    </a:lnTo>
                    <a:close/>
                    <a:moveTo>
                      <a:pt x="84" y="373"/>
                    </a:moveTo>
                    <a:lnTo>
                      <a:pt x="85" y="373"/>
                    </a:lnTo>
                    <a:lnTo>
                      <a:pt x="87" y="372"/>
                    </a:lnTo>
                    <a:lnTo>
                      <a:pt x="87" y="373"/>
                    </a:lnTo>
                    <a:lnTo>
                      <a:pt x="87" y="374"/>
                    </a:lnTo>
                    <a:lnTo>
                      <a:pt x="86" y="374"/>
                    </a:lnTo>
                    <a:lnTo>
                      <a:pt x="86" y="373"/>
                    </a:lnTo>
                    <a:lnTo>
                      <a:pt x="85" y="374"/>
                    </a:lnTo>
                    <a:lnTo>
                      <a:pt x="84" y="374"/>
                    </a:lnTo>
                    <a:lnTo>
                      <a:pt x="83" y="374"/>
                    </a:lnTo>
                    <a:lnTo>
                      <a:pt x="83" y="375"/>
                    </a:lnTo>
                    <a:lnTo>
                      <a:pt x="82" y="375"/>
                    </a:lnTo>
                    <a:lnTo>
                      <a:pt x="81" y="375"/>
                    </a:lnTo>
                    <a:lnTo>
                      <a:pt x="81" y="374"/>
                    </a:lnTo>
                    <a:lnTo>
                      <a:pt x="81" y="373"/>
                    </a:lnTo>
                    <a:lnTo>
                      <a:pt x="82" y="372"/>
                    </a:lnTo>
                    <a:lnTo>
                      <a:pt x="82" y="371"/>
                    </a:lnTo>
                    <a:lnTo>
                      <a:pt x="83" y="371"/>
                    </a:lnTo>
                    <a:lnTo>
                      <a:pt x="83" y="372"/>
                    </a:lnTo>
                    <a:lnTo>
                      <a:pt x="84" y="372"/>
                    </a:lnTo>
                    <a:lnTo>
                      <a:pt x="84" y="373"/>
                    </a:lnTo>
                    <a:close/>
                    <a:moveTo>
                      <a:pt x="164" y="463"/>
                    </a:moveTo>
                    <a:lnTo>
                      <a:pt x="164" y="464"/>
                    </a:lnTo>
                    <a:lnTo>
                      <a:pt x="165" y="464"/>
                    </a:lnTo>
                    <a:lnTo>
                      <a:pt x="165" y="465"/>
                    </a:lnTo>
                    <a:lnTo>
                      <a:pt x="166" y="465"/>
                    </a:lnTo>
                    <a:lnTo>
                      <a:pt x="166" y="466"/>
                    </a:lnTo>
                    <a:lnTo>
                      <a:pt x="167" y="466"/>
                    </a:lnTo>
                    <a:lnTo>
                      <a:pt x="167" y="465"/>
                    </a:lnTo>
                    <a:lnTo>
                      <a:pt x="168" y="465"/>
                    </a:lnTo>
                    <a:lnTo>
                      <a:pt x="167" y="466"/>
                    </a:lnTo>
                    <a:lnTo>
                      <a:pt x="168" y="466"/>
                    </a:lnTo>
                    <a:lnTo>
                      <a:pt x="168" y="467"/>
                    </a:lnTo>
                    <a:lnTo>
                      <a:pt x="167" y="467"/>
                    </a:lnTo>
                    <a:lnTo>
                      <a:pt x="166" y="467"/>
                    </a:lnTo>
                    <a:lnTo>
                      <a:pt x="166" y="468"/>
                    </a:lnTo>
                    <a:lnTo>
                      <a:pt x="166" y="469"/>
                    </a:lnTo>
                    <a:lnTo>
                      <a:pt x="165" y="469"/>
                    </a:lnTo>
                    <a:lnTo>
                      <a:pt x="165" y="468"/>
                    </a:lnTo>
                    <a:lnTo>
                      <a:pt x="165" y="467"/>
                    </a:lnTo>
                    <a:lnTo>
                      <a:pt x="165" y="466"/>
                    </a:lnTo>
                    <a:lnTo>
                      <a:pt x="164" y="465"/>
                    </a:lnTo>
                    <a:lnTo>
                      <a:pt x="163" y="465"/>
                    </a:lnTo>
                    <a:lnTo>
                      <a:pt x="162" y="464"/>
                    </a:lnTo>
                    <a:lnTo>
                      <a:pt x="163" y="464"/>
                    </a:lnTo>
                    <a:lnTo>
                      <a:pt x="164" y="463"/>
                    </a:lnTo>
                    <a:lnTo>
                      <a:pt x="164" y="464"/>
                    </a:lnTo>
                    <a:lnTo>
                      <a:pt x="164" y="463"/>
                    </a:lnTo>
                    <a:close/>
                    <a:moveTo>
                      <a:pt x="166" y="459"/>
                    </a:moveTo>
                    <a:lnTo>
                      <a:pt x="166" y="460"/>
                    </a:lnTo>
                    <a:lnTo>
                      <a:pt x="165" y="460"/>
                    </a:lnTo>
                    <a:lnTo>
                      <a:pt x="166" y="460"/>
                    </a:lnTo>
                    <a:lnTo>
                      <a:pt x="166" y="461"/>
                    </a:lnTo>
                    <a:lnTo>
                      <a:pt x="166" y="460"/>
                    </a:lnTo>
                    <a:lnTo>
                      <a:pt x="166" y="461"/>
                    </a:lnTo>
                    <a:lnTo>
                      <a:pt x="167" y="461"/>
                    </a:lnTo>
                    <a:lnTo>
                      <a:pt x="167" y="462"/>
                    </a:lnTo>
                    <a:lnTo>
                      <a:pt x="166" y="462"/>
                    </a:lnTo>
                    <a:lnTo>
                      <a:pt x="165" y="461"/>
                    </a:lnTo>
                    <a:lnTo>
                      <a:pt x="164" y="461"/>
                    </a:lnTo>
                    <a:lnTo>
                      <a:pt x="163" y="461"/>
                    </a:lnTo>
                    <a:lnTo>
                      <a:pt x="163" y="462"/>
                    </a:lnTo>
                    <a:lnTo>
                      <a:pt x="163" y="461"/>
                    </a:lnTo>
                    <a:lnTo>
                      <a:pt x="162" y="461"/>
                    </a:lnTo>
                    <a:lnTo>
                      <a:pt x="161" y="461"/>
                    </a:lnTo>
                    <a:lnTo>
                      <a:pt x="160" y="461"/>
                    </a:lnTo>
                    <a:lnTo>
                      <a:pt x="161" y="461"/>
                    </a:lnTo>
                    <a:lnTo>
                      <a:pt x="162" y="461"/>
                    </a:lnTo>
                    <a:lnTo>
                      <a:pt x="162" y="460"/>
                    </a:lnTo>
                    <a:lnTo>
                      <a:pt x="163" y="460"/>
                    </a:lnTo>
                    <a:lnTo>
                      <a:pt x="163" y="459"/>
                    </a:lnTo>
                    <a:lnTo>
                      <a:pt x="164" y="460"/>
                    </a:lnTo>
                    <a:lnTo>
                      <a:pt x="165" y="460"/>
                    </a:lnTo>
                    <a:lnTo>
                      <a:pt x="165" y="459"/>
                    </a:lnTo>
                    <a:lnTo>
                      <a:pt x="165" y="457"/>
                    </a:lnTo>
                    <a:lnTo>
                      <a:pt x="166" y="457"/>
                    </a:lnTo>
                    <a:lnTo>
                      <a:pt x="166" y="456"/>
                    </a:lnTo>
                    <a:lnTo>
                      <a:pt x="166" y="455"/>
                    </a:lnTo>
                    <a:lnTo>
                      <a:pt x="167" y="455"/>
                    </a:lnTo>
                    <a:lnTo>
                      <a:pt x="167" y="456"/>
                    </a:lnTo>
                    <a:lnTo>
                      <a:pt x="166" y="456"/>
                    </a:lnTo>
                    <a:lnTo>
                      <a:pt x="166" y="457"/>
                    </a:lnTo>
                    <a:lnTo>
                      <a:pt x="167" y="457"/>
                    </a:lnTo>
                    <a:lnTo>
                      <a:pt x="166" y="457"/>
                    </a:lnTo>
                    <a:lnTo>
                      <a:pt x="167" y="459"/>
                    </a:lnTo>
                    <a:lnTo>
                      <a:pt x="166" y="459"/>
                    </a:lnTo>
                    <a:close/>
                    <a:moveTo>
                      <a:pt x="165" y="437"/>
                    </a:moveTo>
                    <a:lnTo>
                      <a:pt x="166" y="437"/>
                    </a:lnTo>
                    <a:lnTo>
                      <a:pt x="166" y="438"/>
                    </a:lnTo>
                    <a:lnTo>
                      <a:pt x="167" y="438"/>
                    </a:lnTo>
                    <a:lnTo>
                      <a:pt x="166" y="438"/>
                    </a:lnTo>
                    <a:lnTo>
                      <a:pt x="166" y="437"/>
                    </a:lnTo>
                    <a:lnTo>
                      <a:pt x="167" y="438"/>
                    </a:lnTo>
                    <a:lnTo>
                      <a:pt x="167" y="439"/>
                    </a:lnTo>
                    <a:lnTo>
                      <a:pt x="168" y="439"/>
                    </a:lnTo>
                    <a:lnTo>
                      <a:pt x="168" y="440"/>
                    </a:lnTo>
                    <a:lnTo>
                      <a:pt x="167" y="440"/>
                    </a:lnTo>
                    <a:lnTo>
                      <a:pt x="167" y="441"/>
                    </a:lnTo>
                    <a:lnTo>
                      <a:pt x="166" y="441"/>
                    </a:lnTo>
                    <a:lnTo>
                      <a:pt x="166" y="440"/>
                    </a:lnTo>
                    <a:lnTo>
                      <a:pt x="165" y="440"/>
                    </a:lnTo>
                    <a:lnTo>
                      <a:pt x="166" y="440"/>
                    </a:lnTo>
                    <a:lnTo>
                      <a:pt x="165" y="440"/>
                    </a:lnTo>
                    <a:lnTo>
                      <a:pt x="164" y="440"/>
                    </a:lnTo>
                    <a:lnTo>
                      <a:pt x="164" y="439"/>
                    </a:lnTo>
                    <a:lnTo>
                      <a:pt x="164" y="438"/>
                    </a:lnTo>
                    <a:lnTo>
                      <a:pt x="164" y="439"/>
                    </a:lnTo>
                    <a:lnTo>
                      <a:pt x="165" y="438"/>
                    </a:lnTo>
                    <a:lnTo>
                      <a:pt x="165" y="439"/>
                    </a:lnTo>
                    <a:lnTo>
                      <a:pt x="165" y="438"/>
                    </a:lnTo>
                    <a:lnTo>
                      <a:pt x="165" y="437"/>
                    </a:lnTo>
                    <a:close/>
                    <a:moveTo>
                      <a:pt x="190" y="540"/>
                    </a:moveTo>
                    <a:lnTo>
                      <a:pt x="189" y="540"/>
                    </a:lnTo>
                    <a:lnTo>
                      <a:pt x="190" y="541"/>
                    </a:lnTo>
                    <a:lnTo>
                      <a:pt x="191" y="541"/>
                    </a:lnTo>
                    <a:lnTo>
                      <a:pt x="190" y="541"/>
                    </a:lnTo>
                    <a:lnTo>
                      <a:pt x="190" y="542"/>
                    </a:lnTo>
                    <a:lnTo>
                      <a:pt x="189" y="542"/>
                    </a:lnTo>
                    <a:lnTo>
                      <a:pt x="189" y="543"/>
                    </a:lnTo>
                    <a:lnTo>
                      <a:pt x="188" y="543"/>
                    </a:lnTo>
                    <a:lnTo>
                      <a:pt x="187" y="543"/>
                    </a:lnTo>
                    <a:lnTo>
                      <a:pt x="187" y="544"/>
                    </a:lnTo>
                    <a:lnTo>
                      <a:pt x="186" y="544"/>
                    </a:lnTo>
                    <a:lnTo>
                      <a:pt x="186" y="543"/>
                    </a:lnTo>
                    <a:lnTo>
                      <a:pt x="186" y="542"/>
                    </a:lnTo>
                    <a:lnTo>
                      <a:pt x="187" y="542"/>
                    </a:lnTo>
                    <a:lnTo>
                      <a:pt x="188" y="542"/>
                    </a:lnTo>
                    <a:lnTo>
                      <a:pt x="187" y="542"/>
                    </a:lnTo>
                    <a:lnTo>
                      <a:pt x="187" y="541"/>
                    </a:lnTo>
                    <a:lnTo>
                      <a:pt x="188" y="541"/>
                    </a:lnTo>
                    <a:lnTo>
                      <a:pt x="188" y="540"/>
                    </a:lnTo>
                    <a:lnTo>
                      <a:pt x="189" y="540"/>
                    </a:lnTo>
                    <a:lnTo>
                      <a:pt x="190" y="539"/>
                    </a:lnTo>
                    <a:lnTo>
                      <a:pt x="190" y="540"/>
                    </a:lnTo>
                    <a:close/>
                    <a:moveTo>
                      <a:pt x="163" y="492"/>
                    </a:moveTo>
                    <a:lnTo>
                      <a:pt x="163" y="493"/>
                    </a:lnTo>
                    <a:lnTo>
                      <a:pt x="164" y="493"/>
                    </a:lnTo>
                    <a:lnTo>
                      <a:pt x="163" y="493"/>
                    </a:lnTo>
                    <a:lnTo>
                      <a:pt x="162" y="493"/>
                    </a:lnTo>
                    <a:lnTo>
                      <a:pt x="161" y="493"/>
                    </a:lnTo>
                    <a:lnTo>
                      <a:pt x="160" y="493"/>
                    </a:lnTo>
                    <a:lnTo>
                      <a:pt x="160" y="494"/>
                    </a:lnTo>
                    <a:lnTo>
                      <a:pt x="160" y="495"/>
                    </a:lnTo>
                    <a:lnTo>
                      <a:pt x="160" y="494"/>
                    </a:lnTo>
                    <a:lnTo>
                      <a:pt x="159" y="494"/>
                    </a:lnTo>
                    <a:lnTo>
                      <a:pt x="158" y="494"/>
                    </a:lnTo>
                    <a:lnTo>
                      <a:pt x="157" y="494"/>
                    </a:lnTo>
                    <a:lnTo>
                      <a:pt x="157" y="493"/>
                    </a:lnTo>
                    <a:lnTo>
                      <a:pt x="157" y="492"/>
                    </a:lnTo>
                    <a:lnTo>
                      <a:pt x="158" y="492"/>
                    </a:lnTo>
                    <a:lnTo>
                      <a:pt x="158" y="493"/>
                    </a:lnTo>
                    <a:lnTo>
                      <a:pt x="158" y="492"/>
                    </a:lnTo>
                    <a:lnTo>
                      <a:pt x="158" y="493"/>
                    </a:lnTo>
                    <a:lnTo>
                      <a:pt x="159" y="493"/>
                    </a:lnTo>
                    <a:lnTo>
                      <a:pt x="160" y="493"/>
                    </a:lnTo>
                    <a:lnTo>
                      <a:pt x="160" y="492"/>
                    </a:lnTo>
                    <a:lnTo>
                      <a:pt x="161" y="492"/>
                    </a:lnTo>
                    <a:lnTo>
                      <a:pt x="161" y="491"/>
                    </a:lnTo>
                    <a:lnTo>
                      <a:pt x="162" y="491"/>
                    </a:lnTo>
                    <a:lnTo>
                      <a:pt x="163" y="491"/>
                    </a:lnTo>
                    <a:lnTo>
                      <a:pt x="163" y="492"/>
                    </a:lnTo>
                    <a:close/>
                    <a:moveTo>
                      <a:pt x="181" y="557"/>
                    </a:moveTo>
                    <a:lnTo>
                      <a:pt x="180" y="557"/>
                    </a:lnTo>
                    <a:lnTo>
                      <a:pt x="180" y="558"/>
                    </a:lnTo>
                    <a:lnTo>
                      <a:pt x="179" y="558"/>
                    </a:lnTo>
                    <a:lnTo>
                      <a:pt x="179" y="559"/>
                    </a:lnTo>
                    <a:lnTo>
                      <a:pt x="178" y="560"/>
                    </a:lnTo>
                    <a:lnTo>
                      <a:pt x="177" y="562"/>
                    </a:lnTo>
                    <a:lnTo>
                      <a:pt x="177" y="563"/>
                    </a:lnTo>
                    <a:lnTo>
                      <a:pt x="176" y="563"/>
                    </a:lnTo>
                    <a:lnTo>
                      <a:pt x="177" y="562"/>
                    </a:lnTo>
                    <a:lnTo>
                      <a:pt x="176" y="562"/>
                    </a:lnTo>
                    <a:lnTo>
                      <a:pt x="177" y="562"/>
                    </a:lnTo>
                    <a:lnTo>
                      <a:pt x="177" y="560"/>
                    </a:lnTo>
                    <a:lnTo>
                      <a:pt x="177" y="562"/>
                    </a:lnTo>
                    <a:lnTo>
                      <a:pt x="177" y="560"/>
                    </a:lnTo>
                    <a:lnTo>
                      <a:pt x="178" y="560"/>
                    </a:lnTo>
                    <a:lnTo>
                      <a:pt x="178" y="559"/>
                    </a:lnTo>
                    <a:lnTo>
                      <a:pt x="177" y="560"/>
                    </a:lnTo>
                    <a:lnTo>
                      <a:pt x="177" y="559"/>
                    </a:lnTo>
                    <a:lnTo>
                      <a:pt x="178" y="558"/>
                    </a:lnTo>
                    <a:lnTo>
                      <a:pt x="178" y="557"/>
                    </a:lnTo>
                    <a:lnTo>
                      <a:pt x="179" y="557"/>
                    </a:lnTo>
                    <a:lnTo>
                      <a:pt x="179" y="556"/>
                    </a:lnTo>
                    <a:lnTo>
                      <a:pt x="179" y="557"/>
                    </a:lnTo>
                    <a:lnTo>
                      <a:pt x="180" y="557"/>
                    </a:lnTo>
                    <a:lnTo>
                      <a:pt x="180" y="556"/>
                    </a:lnTo>
                    <a:lnTo>
                      <a:pt x="181" y="556"/>
                    </a:lnTo>
                    <a:lnTo>
                      <a:pt x="181" y="557"/>
                    </a:lnTo>
                    <a:close/>
                    <a:moveTo>
                      <a:pt x="157" y="472"/>
                    </a:moveTo>
                    <a:lnTo>
                      <a:pt x="159" y="472"/>
                    </a:lnTo>
                    <a:lnTo>
                      <a:pt x="160" y="472"/>
                    </a:lnTo>
                    <a:lnTo>
                      <a:pt x="160" y="473"/>
                    </a:lnTo>
                    <a:lnTo>
                      <a:pt x="161" y="473"/>
                    </a:lnTo>
                    <a:lnTo>
                      <a:pt x="162" y="473"/>
                    </a:lnTo>
                    <a:lnTo>
                      <a:pt x="162" y="474"/>
                    </a:lnTo>
                    <a:lnTo>
                      <a:pt x="163" y="474"/>
                    </a:lnTo>
                    <a:lnTo>
                      <a:pt x="163" y="475"/>
                    </a:lnTo>
                    <a:lnTo>
                      <a:pt x="162" y="475"/>
                    </a:lnTo>
                    <a:lnTo>
                      <a:pt x="161" y="475"/>
                    </a:lnTo>
                    <a:lnTo>
                      <a:pt x="161" y="474"/>
                    </a:lnTo>
                    <a:lnTo>
                      <a:pt x="160" y="473"/>
                    </a:lnTo>
                    <a:lnTo>
                      <a:pt x="159" y="473"/>
                    </a:lnTo>
                    <a:lnTo>
                      <a:pt x="158" y="473"/>
                    </a:lnTo>
                    <a:lnTo>
                      <a:pt x="157" y="473"/>
                    </a:lnTo>
                    <a:lnTo>
                      <a:pt x="155" y="473"/>
                    </a:lnTo>
                    <a:lnTo>
                      <a:pt x="155" y="472"/>
                    </a:lnTo>
                    <a:lnTo>
                      <a:pt x="155" y="473"/>
                    </a:lnTo>
                    <a:lnTo>
                      <a:pt x="157" y="473"/>
                    </a:lnTo>
                    <a:lnTo>
                      <a:pt x="158" y="473"/>
                    </a:lnTo>
                    <a:lnTo>
                      <a:pt x="157" y="473"/>
                    </a:lnTo>
                    <a:lnTo>
                      <a:pt x="159" y="472"/>
                    </a:lnTo>
                    <a:lnTo>
                      <a:pt x="158" y="472"/>
                    </a:lnTo>
                    <a:lnTo>
                      <a:pt x="157" y="472"/>
                    </a:lnTo>
                    <a:lnTo>
                      <a:pt x="157" y="473"/>
                    </a:lnTo>
                    <a:lnTo>
                      <a:pt x="157" y="472"/>
                    </a:lnTo>
                    <a:lnTo>
                      <a:pt x="155" y="472"/>
                    </a:lnTo>
                    <a:lnTo>
                      <a:pt x="157" y="472"/>
                    </a:lnTo>
                    <a:close/>
                    <a:moveTo>
                      <a:pt x="174" y="498"/>
                    </a:moveTo>
                    <a:lnTo>
                      <a:pt x="174" y="499"/>
                    </a:lnTo>
                    <a:lnTo>
                      <a:pt x="174" y="500"/>
                    </a:lnTo>
                    <a:lnTo>
                      <a:pt x="175" y="500"/>
                    </a:lnTo>
                    <a:lnTo>
                      <a:pt x="174" y="500"/>
                    </a:lnTo>
                    <a:lnTo>
                      <a:pt x="173" y="500"/>
                    </a:lnTo>
                    <a:lnTo>
                      <a:pt x="173" y="499"/>
                    </a:lnTo>
                    <a:lnTo>
                      <a:pt x="172" y="499"/>
                    </a:lnTo>
                    <a:lnTo>
                      <a:pt x="171" y="498"/>
                    </a:lnTo>
                    <a:lnTo>
                      <a:pt x="172" y="498"/>
                    </a:lnTo>
                    <a:lnTo>
                      <a:pt x="176" y="494"/>
                    </a:lnTo>
                    <a:lnTo>
                      <a:pt x="176" y="495"/>
                    </a:lnTo>
                    <a:lnTo>
                      <a:pt x="175" y="495"/>
                    </a:lnTo>
                    <a:lnTo>
                      <a:pt x="175" y="496"/>
                    </a:lnTo>
                    <a:lnTo>
                      <a:pt x="174" y="496"/>
                    </a:lnTo>
                    <a:lnTo>
                      <a:pt x="174" y="498"/>
                    </a:lnTo>
                    <a:close/>
                    <a:moveTo>
                      <a:pt x="189" y="515"/>
                    </a:moveTo>
                    <a:lnTo>
                      <a:pt x="189" y="516"/>
                    </a:lnTo>
                    <a:lnTo>
                      <a:pt x="189" y="518"/>
                    </a:lnTo>
                    <a:lnTo>
                      <a:pt x="188" y="518"/>
                    </a:lnTo>
                    <a:lnTo>
                      <a:pt x="188" y="517"/>
                    </a:lnTo>
                    <a:lnTo>
                      <a:pt x="187" y="517"/>
                    </a:lnTo>
                    <a:lnTo>
                      <a:pt x="187" y="516"/>
                    </a:lnTo>
                    <a:lnTo>
                      <a:pt x="186" y="516"/>
                    </a:lnTo>
                    <a:lnTo>
                      <a:pt x="186" y="515"/>
                    </a:lnTo>
                    <a:lnTo>
                      <a:pt x="186" y="514"/>
                    </a:lnTo>
                    <a:lnTo>
                      <a:pt x="189" y="515"/>
                    </a:lnTo>
                    <a:close/>
                    <a:moveTo>
                      <a:pt x="176" y="481"/>
                    </a:moveTo>
                    <a:lnTo>
                      <a:pt x="176" y="482"/>
                    </a:lnTo>
                    <a:lnTo>
                      <a:pt x="175" y="482"/>
                    </a:lnTo>
                    <a:lnTo>
                      <a:pt x="174" y="482"/>
                    </a:lnTo>
                    <a:lnTo>
                      <a:pt x="173" y="481"/>
                    </a:lnTo>
                    <a:lnTo>
                      <a:pt x="173" y="480"/>
                    </a:lnTo>
                    <a:lnTo>
                      <a:pt x="173" y="479"/>
                    </a:lnTo>
                    <a:lnTo>
                      <a:pt x="174" y="479"/>
                    </a:lnTo>
                    <a:lnTo>
                      <a:pt x="175" y="479"/>
                    </a:lnTo>
                    <a:lnTo>
                      <a:pt x="175" y="480"/>
                    </a:lnTo>
                    <a:lnTo>
                      <a:pt x="176" y="481"/>
                    </a:lnTo>
                    <a:close/>
                    <a:moveTo>
                      <a:pt x="75" y="360"/>
                    </a:moveTo>
                    <a:lnTo>
                      <a:pt x="75" y="361"/>
                    </a:lnTo>
                    <a:lnTo>
                      <a:pt x="74" y="361"/>
                    </a:lnTo>
                    <a:lnTo>
                      <a:pt x="74" y="362"/>
                    </a:lnTo>
                    <a:lnTo>
                      <a:pt x="73" y="362"/>
                    </a:lnTo>
                    <a:lnTo>
                      <a:pt x="72" y="362"/>
                    </a:lnTo>
                    <a:lnTo>
                      <a:pt x="72" y="361"/>
                    </a:lnTo>
                    <a:lnTo>
                      <a:pt x="73" y="361"/>
                    </a:lnTo>
                    <a:lnTo>
                      <a:pt x="73" y="360"/>
                    </a:lnTo>
                    <a:lnTo>
                      <a:pt x="74" y="360"/>
                    </a:lnTo>
                    <a:lnTo>
                      <a:pt x="75" y="360"/>
                    </a:lnTo>
                    <a:lnTo>
                      <a:pt x="75" y="359"/>
                    </a:lnTo>
                    <a:lnTo>
                      <a:pt x="75" y="358"/>
                    </a:lnTo>
                    <a:lnTo>
                      <a:pt x="76" y="358"/>
                    </a:lnTo>
                    <a:lnTo>
                      <a:pt x="76" y="359"/>
                    </a:lnTo>
                    <a:lnTo>
                      <a:pt x="75" y="360"/>
                    </a:lnTo>
                    <a:close/>
                    <a:moveTo>
                      <a:pt x="170" y="455"/>
                    </a:moveTo>
                    <a:lnTo>
                      <a:pt x="171" y="455"/>
                    </a:lnTo>
                    <a:lnTo>
                      <a:pt x="171" y="456"/>
                    </a:lnTo>
                    <a:lnTo>
                      <a:pt x="170" y="456"/>
                    </a:lnTo>
                    <a:lnTo>
                      <a:pt x="170" y="457"/>
                    </a:lnTo>
                    <a:lnTo>
                      <a:pt x="170" y="459"/>
                    </a:lnTo>
                    <a:lnTo>
                      <a:pt x="170" y="460"/>
                    </a:lnTo>
                    <a:lnTo>
                      <a:pt x="168" y="460"/>
                    </a:lnTo>
                    <a:lnTo>
                      <a:pt x="168" y="461"/>
                    </a:lnTo>
                    <a:lnTo>
                      <a:pt x="168" y="462"/>
                    </a:lnTo>
                    <a:lnTo>
                      <a:pt x="168" y="461"/>
                    </a:lnTo>
                    <a:lnTo>
                      <a:pt x="167" y="460"/>
                    </a:lnTo>
                    <a:lnTo>
                      <a:pt x="168" y="460"/>
                    </a:lnTo>
                    <a:lnTo>
                      <a:pt x="168" y="459"/>
                    </a:lnTo>
                    <a:lnTo>
                      <a:pt x="170" y="459"/>
                    </a:lnTo>
                    <a:lnTo>
                      <a:pt x="168" y="459"/>
                    </a:lnTo>
                    <a:lnTo>
                      <a:pt x="170" y="457"/>
                    </a:lnTo>
                    <a:lnTo>
                      <a:pt x="168" y="457"/>
                    </a:lnTo>
                    <a:lnTo>
                      <a:pt x="168" y="456"/>
                    </a:lnTo>
                    <a:lnTo>
                      <a:pt x="170" y="456"/>
                    </a:lnTo>
                    <a:lnTo>
                      <a:pt x="170" y="455"/>
                    </a:lnTo>
                    <a:close/>
                    <a:moveTo>
                      <a:pt x="198" y="525"/>
                    </a:moveTo>
                    <a:lnTo>
                      <a:pt x="198" y="526"/>
                    </a:lnTo>
                    <a:lnTo>
                      <a:pt x="199" y="526"/>
                    </a:lnTo>
                    <a:lnTo>
                      <a:pt x="199" y="527"/>
                    </a:lnTo>
                    <a:lnTo>
                      <a:pt x="198" y="527"/>
                    </a:lnTo>
                    <a:lnTo>
                      <a:pt x="196" y="527"/>
                    </a:lnTo>
                    <a:lnTo>
                      <a:pt x="196" y="526"/>
                    </a:lnTo>
                    <a:lnTo>
                      <a:pt x="196" y="525"/>
                    </a:lnTo>
                    <a:lnTo>
                      <a:pt x="197" y="525"/>
                    </a:lnTo>
                    <a:lnTo>
                      <a:pt x="197" y="524"/>
                    </a:lnTo>
                    <a:lnTo>
                      <a:pt x="197" y="525"/>
                    </a:lnTo>
                    <a:lnTo>
                      <a:pt x="198" y="525"/>
                    </a:lnTo>
                    <a:close/>
                    <a:moveTo>
                      <a:pt x="146" y="582"/>
                    </a:moveTo>
                    <a:lnTo>
                      <a:pt x="146" y="583"/>
                    </a:lnTo>
                    <a:lnTo>
                      <a:pt x="146" y="584"/>
                    </a:lnTo>
                    <a:lnTo>
                      <a:pt x="145" y="584"/>
                    </a:lnTo>
                    <a:lnTo>
                      <a:pt x="145" y="585"/>
                    </a:lnTo>
                    <a:lnTo>
                      <a:pt x="144" y="585"/>
                    </a:lnTo>
                    <a:lnTo>
                      <a:pt x="144" y="586"/>
                    </a:lnTo>
                    <a:lnTo>
                      <a:pt x="142" y="586"/>
                    </a:lnTo>
                    <a:lnTo>
                      <a:pt x="142" y="585"/>
                    </a:lnTo>
                    <a:lnTo>
                      <a:pt x="144" y="585"/>
                    </a:lnTo>
                    <a:lnTo>
                      <a:pt x="142" y="585"/>
                    </a:lnTo>
                    <a:lnTo>
                      <a:pt x="144" y="585"/>
                    </a:lnTo>
                    <a:lnTo>
                      <a:pt x="144" y="584"/>
                    </a:lnTo>
                    <a:lnTo>
                      <a:pt x="144" y="583"/>
                    </a:lnTo>
                    <a:lnTo>
                      <a:pt x="145" y="583"/>
                    </a:lnTo>
                    <a:lnTo>
                      <a:pt x="144" y="583"/>
                    </a:lnTo>
                    <a:lnTo>
                      <a:pt x="145" y="583"/>
                    </a:lnTo>
                    <a:lnTo>
                      <a:pt x="145" y="582"/>
                    </a:lnTo>
                    <a:lnTo>
                      <a:pt x="145" y="583"/>
                    </a:lnTo>
                    <a:lnTo>
                      <a:pt x="146" y="583"/>
                    </a:lnTo>
                    <a:lnTo>
                      <a:pt x="146" y="582"/>
                    </a:lnTo>
                    <a:lnTo>
                      <a:pt x="145" y="582"/>
                    </a:lnTo>
                    <a:lnTo>
                      <a:pt x="145" y="583"/>
                    </a:lnTo>
                    <a:lnTo>
                      <a:pt x="144" y="583"/>
                    </a:lnTo>
                    <a:lnTo>
                      <a:pt x="144" y="582"/>
                    </a:lnTo>
                    <a:lnTo>
                      <a:pt x="145" y="582"/>
                    </a:lnTo>
                    <a:lnTo>
                      <a:pt x="146" y="582"/>
                    </a:lnTo>
                    <a:lnTo>
                      <a:pt x="146" y="581"/>
                    </a:lnTo>
                    <a:lnTo>
                      <a:pt x="146" y="582"/>
                    </a:lnTo>
                    <a:close/>
                    <a:moveTo>
                      <a:pt x="88" y="266"/>
                    </a:moveTo>
                    <a:lnTo>
                      <a:pt x="87" y="267"/>
                    </a:lnTo>
                    <a:lnTo>
                      <a:pt x="87" y="268"/>
                    </a:lnTo>
                    <a:lnTo>
                      <a:pt x="86" y="268"/>
                    </a:lnTo>
                    <a:lnTo>
                      <a:pt x="86" y="269"/>
                    </a:lnTo>
                    <a:lnTo>
                      <a:pt x="86" y="268"/>
                    </a:lnTo>
                    <a:lnTo>
                      <a:pt x="86" y="267"/>
                    </a:lnTo>
                    <a:lnTo>
                      <a:pt x="85" y="267"/>
                    </a:lnTo>
                    <a:lnTo>
                      <a:pt x="84" y="267"/>
                    </a:lnTo>
                    <a:lnTo>
                      <a:pt x="85" y="267"/>
                    </a:lnTo>
                    <a:lnTo>
                      <a:pt x="85" y="266"/>
                    </a:lnTo>
                    <a:lnTo>
                      <a:pt x="86" y="267"/>
                    </a:lnTo>
                    <a:lnTo>
                      <a:pt x="86" y="266"/>
                    </a:lnTo>
                    <a:lnTo>
                      <a:pt x="87" y="266"/>
                    </a:lnTo>
                    <a:lnTo>
                      <a:pt x="88" y="266"/>
                    </a:lnTo>
                    <a:lnTo>
                      <a:pt x="88" y="264"/>
                    </a:lnTo>
                    <a:lnTo>
                      <a:pt x="89" y="264"/>
                    </a:lnTo>
                    <a:lnTo>
                      <a:pt x="89" y="266"/>
                    </a:lnTo>
                    <a:lnTo>
                      <a:pt x="88" y="266"/>
                    </a:lnTo>
                    <a:close/>
                    <a:moveTo>
                      <a:pt x="145" y="416"/>
                    </a:moveTo>
                    <a:lnTo>
                      <a:pt x="146" y="416"/>
                    </a:lnTo>
                    <a:lnTo>
                      <a:pt x="146" y="417"/>
                    </a:lnTo>
                    <a:lnTo>
                      <a:pt x="146" y="418"/>
                    </a:lnTo>
                    <a:lnTo>
                      <a:pt x="146" y="419"/>
                    </a:lnTo>
                    <a:lnTo>
                      <a:pt x="146" y="418"/>
                    </a:lnTo>
                    <a:lnTo>
                      <a:pt x="145" y="418"/>
                    </a:lnTo>
                    <a:lnTo>
                      <a:pt x="145" y="417"/>
                    </a:lnTo>
                    <a:lnTo>
                      <a:pt x="144" y="418"/>
                    </a:lnTo>
                    <a:lnTo>
                      <a:pt x="144" y="417"/>
                    </a:lnTo>
                    <a:lnTo>
                      <a:pt x="145" y="417"/>
                    </a:lnTo>
                    <a:lnTo>
                      <a:pt x="144" y="417"/>
                    </a:lnTo>
                    <a:lnTo>
                      <a:pt x="145" y="416"/>
                    </a:lnTo>
                    <a:lnTo>
                      <a:pt x="144" y="416"/>
                    </a:lnTo>
                    <a:lnTo>
                      <a:pt x="145" y="416"/>
                    </a:lnTo>
                    <a:lnTo>
                      <a:pt x="144" y="415"/>
                    </a:lnTo>
                    <a:lnTo>
                      <a:pt x="145" y="415"/>
                    </a:lnTo>
                    <a:lnTo>
                      <a:pt x="145" y="414"/>
                    </a:lnTo>
                    <a:lnTo>
                      <a:pt x="145" y="415"/>
                    </a:lnTo>
                    <a:lnTo>
                      <a:pt x="145" y="416"/>
                    </a:lnTo>
                    <a:close/>
                    <a:moveTo>
                      <a:pt x="188" y="518"/>
                    </a:moveTo>
                    <a:lnTo>
                      <a:pt x="188" y="519"/>
                    </a:lnTo>
                    <a:lnTo>
                      <a:pt x="187" y="519"/>
                    </a:lnTo>
                    <a:lnTo>
                      <a:pt x="187" y="520"/>
                    </a:lnTo>
                    <a:lnTo>
                      <a:pt x="186" y="520"/>
                    </a:lnTo>
                    <a:lnTo>
                      <a:pt x="186" y="517"/>
                    </a:lnTo>
                    <a:lnTo>
                      <a:pt x="187" y="517"/>
                    </a:lnTo>
                    <a:lnTo>
                      <a:pt x="187" y="518"/>
                    </a:lnTo>
                    <a:lnTo>
                      <a:pt x="188" y="518"/>
                    </a:lnTo>
                    <a:close/>
                    <a:moveTo>
                      <a:pt x="163" y="452"/>
                    </a:moveTo>
                    <a:lnTo>
                      <a:pt x="163" y="453"/>
                    </a:lnTo>
                    <a:lnTo>
                      <a:pt x="164" y="453"/>
                    </a:lnTo>
                    <a:lnTo>
                      <a:pt x="164" y="454"/>
                    </a:lnTo>
                    <a:lnTo>
                      <a:pt x="164" y="453"/>
                    </a:lnTo>
                    <a:lnTo>
                      <a:pt x="165" y="453"/>
                    </a:lnTo>
                    <a:lnTo>
                      <a:pt x="165" y="454"/>
                    </a:lnTo>
                    <a:lnTo>
                      <a:pt x="164" y="455"/>
                    </a:lnTo>
                    <a:lnTo>
                      <a:pt x="164" y="454"/>
                    </a:lnTo>
                    <a:lnTo>
                      <a:pt x="163" y="454"/>
                    </a:lnTo>
                    <a:lnTo>
                      <a:pt x="163" y="453"/>
                    </a:lnTo>
                    <a:lnTo>
                      <a:pt x="162" y="453"/>
                    </a:lnTo>
                    <a:lnTo>
                      <a:pt x="161" y="453"/>
                    </a:lnTo>
                    <a:lnTo>
                      <a:pt x="160" y="453"/>
                    </a:lnTo>
                    <a:lnTo>
                      <a:pt x="161" y="453"/>
                    </a:lnTo>
                    <a:lnTo>
                      <a:pt x="162" y="453"/>
                    </a:lnTo>
                    <a:lnTo>
                      <a:pt x="162" y="452"/>
                    </a:lnTo>
                    <a:lnTo>
                      <a:pt x="163" y="452"/>
                    </a:lnTo>
                    <a:close/>
                    <a:moveTo>
                      <a:pt x="153" y="492"/>
                    </a:moveTo>
                    <a:lnTo>
                      <a:pt x="153" y="493"/>
                    </a:lnTo>
                    <a:lnTo>
                      <a:pt x="152" y="493"/>
                    </a:lnTo>
                    <a:lnTo>
                      <a:pt x="152" y="492"/>
                    </a:lnTo>
                    <a:lnTo>
                      <a:pt x="151" y="492"/>
                    </a:lnTo>
                    <a:lnTo>
                      <a:pt x="151" y="493"/>
                    </a:lnTo>
                    <a:lnTo>
                      <a:pt x="151" y="492"/>
                    </a:lnTo>
                    <a:lnTo>
                      <a:pt x="152" y="492"/>
                    </a:lnTo>
                    <a:lnTo>
                      <a:pt x="152" y="491"/>
                    </a:lnTo>
                    <a:lnTo>
                      <a:pt x="152" y="490"/>
                    </a:lnTo>
                    <a:lnTo>
                      <a:pt x="153" y="491"/>
                    </a:lnTo>
                    <a:lnTo>
                      <a:pt x="153" y="492"/>
                    </a:lnTo>
                    <a:close/>
                    <a:moveTo>
                      <a:pt x="177" y="451"/>
                    </a:moveTo>
                    <a:lnTo>
                      <a:pt x="177" y="452"/>
                    </a:lnTo>
                    <a:lnTo>
                      <a:pt x="177" y="453"/>
                    </a:lnTo>
                    <a:lnTo>
                      <a:pt x="177" y="454"/>
                    </a:lnTo>
                    <a:lnTo>
                      <a:pt x="176" y="454"/>
                    </a:lnTo>
                    <a:lnTo>
                      <a:pt x="176" y="453"/>
                    </a:lnTo>
                    <a:lnTo>
                      <a:pt x="177" y="453"/>
                    </a:lnTo>
                    <a:lnTo>
                      <a:pt x="177" y="452"/>
                    </a:lnTo>
                    <a:lnTo>
                      <a:pt x="177" y="453"/>
                    </a:lnTo>
                    <a:lnTo>
                      <a:pt x="177" y="452"/>
                    </a:lnTo>
                    <a:lnTo>
                      <a:pt x="176" y="452"/>
                    </a:lnTo>
                    <a:lnTo>
                      <a:pt x="177" y="451"/>
                    </a:lnTo>
                    <a:close/>
                    <a:moveTo>
                      <a:pt x="87" y="273"/>
                    </a:moveTo>
                    <a:lnTo>
                      <a:pt x="86" y="273"/>
                    </a:lnTo>
                    <a:lnTo>
                      <a:pt x="85" y="273"/>
                    </a:lnTo>
                    <a:lnTo>
                      <a:pt x="85" y="272"/>
                    </a:lnTo>
                    <a:lnTo>
                      <a:pt x="86" y="272"/>
                    </a:lnTo>
                    <a:lnTo>
                      <a:pt x="87" y="272"/>
                    </a:lnTo>
                    <a:lnTo>
                      <a:pt x="87" y="273"/>
                    </a:lnTo>
                    <a:close/>
                    <a:moveTo>
                      <a:pt x="76" y="356"/>
                    </a:moveTo>
                    <a:lnTo>
                      <a:pt x="76" y="357"/>
                    </a:lnTo>
                    <a:lnTo>
                      <a:pt x="76" y="358"/>
                    </a:lnTo>
                    <a:lnTo>
                      <a:pt x="75" y="357"/>
                    </a:lnTo>
                    <a:lnTo>
                      <a:pt x="74" y="357"/>
                    </a:lnTo>
                    <a:lnTo>
                      <a:pt x="75" y="357"/>
                    </a:lnTo>
                    <a:lnTo>
                      <a:pt x="75" y="356"/>
                    </a:lnTo>
                    <a:lnTo>
                      <a:pt x="76" y="356"/>
                    </a:lnTo>
                    <a:close/>
                    <a:moveTo>
                      <a:pt x="166" y="473"/>
                    </a:moveTo>
                    <a:lnTo>
                      <a:pt x="165" y="474"/>
                    </a:lnTo>
                    <a:lnTo>
                      <a:pt x="164" y="474"/>
                    </a:lnTo>
                    <a:lnTo>
                      <a:pt x="164" y="473"/>
                    </a:lnTo>
                    <a:lnTo>
                      <a:pt x="163" y="473"/>
                    </a:lnTo>
                    <a:lnTo>
                      <a:pt x="164" y="473"/>
                    </a:lnTo>
                    <a:lnTo>
                      <a:pt x="165" y="473"/>
                    </a:lnTo>
                    <a:lnTo>
                      <a:pt x="165" y="472"/>
                    </a:lnTo>
                    <a:lnTo>
                      <a:pt x="166" y="472"/>
                    </a:lnTo>
                    <a:lnTo>
                      <a:pt x="165" y="472"/>
                    </a:lnTo>
                    <a:lnTo>
                      <a:pt x="166" y="473"/>
                    </a:lnTo>
                    <a:close/>
                    <a:moveTo>
                      <a:pt x="88" y="279"/>
                    </a:moveTo>
                    <a:lnTo>
                      <a:pt x="88" y="277"/>
                    </a:lnTo>
                    <a:lnTo>
                      <a:pt x="87" y="276"/>
                    </a:lnTo>
                    <a:lnTo>
                      <a:pt x="88" y="276"/>
                    </a:lnTo>
                    <a:lnTo>
                      <a:pt x="89" y="276"/>
                    </a:lnTo>
                    <a:lnTo>
                      <a:pt x="88" y="277"/>
                    </a:lnTo>
                    <a:lnTo>
                      <a:pt x="88" y="279"/>
                    </a:lnTo>
                    <a:close/>
                    <a:moveTo>
                      <a:pt x="129" y="615"/>
                    </a:moveTo>
                    <a:lnTo>
                      <a:pt x="128" y="614"/>
                    </a:lnTo>
                    <a:lnTo>
                      <a:pt x="129" y="614"/>
                    </a:lnTo>
                    <a:lnTo>
                      <a:pt x="129" y="613"/>
                    </a:lnTo>
                    <a:lnTo>
                      <a:pt x="129" y="611"/>
                    </a:lnTo>
                    <a:lnTo>
                      <a:pt x="131" y="610"/>
                    </a:lnTo>
                    <a:lnTo>
                      <a:pt x="131" y="611"/>
                    </a:lnTo>
                    <a:lnTo>
                      <a:pt x="131" y="613"/>
                    </a:lnTo>
                    <a:lnTo>
                      <a:pt x="129" y="613"/>
                    </a:lnTo>
                    <a:lnTo>
                      <a:pt x="131" y="613"/>
                    </a:lnTo>
                    <a:lnTo>
                      <a:pt x="131" y="614"/>
                    </a:lnTo>
                    <a:lnTo>
                      <a:pt x="129" y="615"/>
                    </a:lnTo>
                    <a:close/>
                    <a:moveTo>
                      <a:pt x="184" y="518"/>
                    </a:moveTo>
                    <a:lnTo>
                      <a:pt x="183" y="518"/>
                    </a:lnTo>
                    <a:lnTo>
                      <a:pt x="183" y="517"/>
                    </a:lnTo>
                    <a:lnTo>
                      <a:pt x="183" y="516"/>
                    </a:lnTo>
                    <a:lnTo>
                      <a:pt x="184" y="516"/>
                    </a:lnTo>
                    <a:lnTo>
                      <a:pt x="184" y="517"/>
                    </a:lnTo>
                    <a:lnTo>
                      <a:pt x="184" y="518"/>
                    </a:lnTo>
                    <a:close/>
                    <a:moveTo>
                      <a:pt x="83" y="269"/>
                    </a:moveTo>
                    <a:lnTo>
                      <a:pt x="82" y="269"/>
                    </a:lnTo>
                    <a:lnTo>
                      <a:pt x="81" y="269"/>
                    </a:lnTo>
                    <a:lnTo>
                      <a:pt x="82" y="269"/>
                    </a:lnTo>
                    <a:lnTo>
                      <a:pt x="82" y="268"/>
                    </a:lnTo>
                    <a:lnTo>
                      <a:pt x="83" y="267"/>
                    </a:lnTo>
                    <a:lnTo>
                      <a:pt x="83" y="268"/>
                    </a:lnTo>
                    <a:lnTo>
                      <a:pt x="82" y="268"/>
                    </a:lnTo>
                    <a:lnTo>
                      <a:pt x="83" y="268"/>
                    </a:lnTo>
                    <a:lnTo>
                      <a:pt x="83" y="269"/>
                    </a:lnTo>
                    <a:close/>
                    <a:moveTo>
                      <a:pt x="157" y="462"/>
                    </a:moveTo>
                    <a:lnTo>
                      <a:pt x="158" y="462"/>
                    </a:lnTo>
                    <a:lnTo>
                      <a:pt x="158" y="463"/>
                    </a:lnTo>
                    <a:lnTo>
                      <a:pt x="157" y="463"/>
                    </a:lnTo>
                    <a:lnTo>
                      <a:pt x="157" y="462"/>
                    </a:lnTo>
                    <a:close/>
                    <a:moveTo>
                      <a:pt x="175" y="565"/>
                    </a:moveTo>
                    <a:lnTo>
                      <a:pt x="175" y="564"/>
                    </a:lnTo>
                    <a:lnTo>
                      <a:pt x="176" y="564"/>
                    </a:lnTo>
                    <a:lnTo>
                      <a:pt x="177" y="563"/>
                    </a:lnTo>
                    <a:lnTo>
                      <a:pt x="176" y="564"/>
                    </a:lnTo>
                    <a:lnTo>
                      <a:pt x="176" y="565"/>
                    </a:lnTo>
                    <a:lnTo>
                      <a:pt x="175" y="565"/>
                    </a:lnTo>
                    <a:close/>
                    <a:moveTo>
                      <a:pt x="161" y="390"/>
                    </a:moveTo>
                    <a:lnTo>
                      <a:pt x="162" y="390"/>
                    </a:lnTo>
                    <a:lnTo>
                      <a:pt x="161" y="390"/>
                    </a:lnTo>
                    <a:lnTo>
                      <a:pt x="162" y="390"/>
                    </a:lnTo>
                    <a:lnTo>
                      <a:pt x="162" y="391"/>
                    </a:lnTo>
                    <a:lnTo>
                      <a:pt x="161" y="391"/>
                    </a:lnTo>
                    <a:lnTo>
                      <a:pt x="161" y="392"/>
                    </a:lnTo>
                    <a:lnTo>
                      <a:pt x="162" y="392"/>
                    </a:lnTo>
                    <a:lnTo>
                      <a:pt x="161" y="391"/>
                    </a:lnTo>
                    <a:lnTo>
                      <a:pt x="161" y="390"/>
                    </a:lnTo>
                    <a:lnTo>
                      <a:pt x="160" y="390"/>
                    </a:lnTo>
                    <a:lnTo>
                      <a:pt x="161" y="390"/>
                    </a:lnTo>
                    <a:close/>
                    <a:moveTo>
                      <a:pt x="189" y="436"/>
                    </a:moveTo>
                    <a:lnTo>
                      <a:pt x="189" y="437"/>
                    </a:lnTo>
                    <a:lnTo>
                      <a:pt x="188" y="437"/>
                    </a:lnTo>
                    <a:lnTo>
                      <a:pt x="187" y="437"/>
                    </a:lnTo>
                    <a:lnTo>
                      <a:pt x="187" y="436"/>
                    </a:lnTo>
                    <a:lnTo>
                      <a:pt x="188" y="437"/>
                    </a:lnTo>
                    <a:lnTo>
                      <a:pt x="188" y="436"/>
                    </a:lnTo>
                    <a:lnTo>
                      <a:pt x="189" y="436"/>
                    </a:lnTo>
                    <a:close/>
                    <a:moveTo>
                      <a:pt x="148" y="427"/>
                    </a:moveTo>
                    <a:lnTo>
                      <a:pt x="149" y="427"/>
                    </a:lnTo>
                    <a:lnTo>
                      <a:pt x="149" y="429"/>
                    </a:lnTo>
                    <a:lnTo>
                      <a:pt x="148" y="429"/>
                    </a:lnTo>
                    <a:lnTo>
                      <a:pt x="148" y="427"/>
                    </a:lnTo>
                    <a:close/>
                    <a:moveTo>
                      <a:pt x="128" y="409"/>
                    </a:moveTo>
                    <a:lnTo>
                      <a:pt x="128" y="410"/>
                    </a:lnTo>
                    <a:lnTo>
                      <a:pt x="128" y="411"/>
                    </a:lnTo>
                    <a:lnTo>
                      <a:pt x="127" y="411"/>
                    </a:lnTo>
                    <a:lnTo>
                      <a:pt x="128" y="411"/>
                    </a:lnTo>
                    <a:lnTo>
                      <a:pt x="128" y="410"/>
                    </a:lnTo>
                    <a:lnTo>
                      <a:pt x="127" y="410"/>
                    </a:lnTo>
                    <a:lnTo>
                      <a:pt x="128" y="410"/>
                    </a:lnTo>
                    <a:lnTo>
                      <a:pt x="128" y="409"/>
                    </a:lnTo>
                    <a:close/>
                    <a:moveTo>
                      <a:pt x="181" y="514"/>
                    </a:moveTo>
                    <a:lnTo>
                      <a:pt x="183" y="514"/>
                    </a:lnTo>
                    <a:lnTo>
                      <a:pt x="183" y="516"/>
                    </a:lnTo>
                    <a:lnTo>
                      <a:pt x="181" y="516"/>
                    </a:lnTo>
                    <a:lnTo>
                      <a:pt x="181" y="514"/>
                    </a:lnTo>
                    <a:close/>
                    <a:moveTo>
                      <a:pt x="173" y="399"/>
                    </a:moveTo>
                    <a:lnTo>
                      <a:pt x="173" y="400"/>
                    </a:lnTo>
                    <a:lnTo>
                      <a:pt x="172" y="400"/>
                    </a:lnTo>
                    <a:lnTo>
                      <a:pt x="171" y="400"/>
                    </a:lnTo>
                    <a:lnTo>
                      <a:pt x="172" y="399"/>
                    </a:lnTo>
                    <a:lnTo>
                      <a:pt x="173" y="399"/>
                    </a:lnTo>
                    <a:close/>
                    <a:moveTo>
                      <a:pt x="180" y="498"/>
                    </a:moveTo>
                    <a:lnTo>
                      <a:pt x="180" y="499"/>
                    </a:lnTo>
                    <a:lnTo>
                      <a:pt x="180" y="498"/>
                    </a:lnTo>
                    <a:lnTo>
                      <a:pt x="180" y="496"/>
                    </a:lnTo>
                    <a:lnTo>
                      <a:pt x="180" y="498"/>
                    </a:lnTo>
                    <a:close/>
                    <a:moveTo>
                      <a:pt x="183" y="498"/>
                    </a:moveTo>
                    <a:lnTo>
                      <a:pt x="183" y="499"/>
                    </a:lnTo>
                    <a:lnTo>
                      <a:pt x="183" y="500"/>
                    </a:lnTo>
                    <a:lnTo>
                      <a:pt x="181" y="500"/>
                    </a:lnTo>
                    <a:lnTo>
                      <a:pt x="181" y="499"/>
                    </a:lnTo>
                    <a:lnTo>
                      <a:pt x="181" y="498"/>
                    </a:lnTo>
                    <a:lnTo>
                      <a:pt x="183" y="498"/>
                    </a:lnTo>
                    <a:lnTo>
                      <a:pt x="181" y="498"/>
                    </a:lnTo>
                    <a:lnTo>
                      <a:pt x="183" y="498"/>
                    </a:lnTo>
                    <a:close/>
                    <a:moveTo>
                      <a:pt x="80" y="363"/>
                    </a:moveTo>
                    <a:lnTo>
                      <a:pt x="80" y="364"/>
                    </a:lnTo>
                    <a:lnTo>
                      <a:pt x="78" y="363"/>
                    </a:lnTo>
                    <a:lnTo>
                      <a:pt x="77" y="363"/>
                    </a:lnTo>
                    <a:lnTo>
                      <a:pt x="78" y="363"/>
                    </a:lnTo>
                    <a:lnTo>
                      <a:pt x="80" y="363"/>
                    </a:lnTo>
                    <a:close/>
                    <a:moveTo>
                      <a:pt x="172" y="480"/>
                    </a:moveTo>
                    <a:lnTo>
                      <a:pt x="172" y="481"/>
                    </a:lnTo>
                    <a:lnTo>
                      <a:pt x="173" y="481"/>
                    </a:lnTo>
                    <a:lnTo>
                      <a:pt x="172" y="481"/>
                    </a:lnTo>
                    <a:lnTo>
                      <a:pt x="172" y="480"/>
                    </a:lnTo>
                    <a:lnTo>
                      <a:pt x="172" y="479"/>
                    </a:lnTo>
                    <a:lnTo>
                      <a:pt x="172" y="480"/>
                    </a:lnTo>
                    <a:lnTo>
                      <a:pt x="172" y="479"/>
                    </a:lnTo>
                    <a:lnTo>
                      <a:pt x="173" y="479"/>
                    </a:lnTo>
                    <a:lnTo>
                      <a:pt x="173" y="480"/>
                    </a:lnTo>
                    <a:lnTo>
                      <a:pt x="172" y="480"/>
                    </a:lnTo>
                    <a:close/>
                    <a:moveTo>
                      <a:pt x="165" y="570"/>
                    </a:moveTo>
                    <a:lnTo>
                      <a:pt x="167" y="570"/>
                    </a:lnTo>
                    <a:lnTo>
                      <a:pt x="167" y="572"/>
                    </a:lnTo>
                    <a:lnTo>
                      <a:pt x="165" y="572"/>
                    </a:lnTo>
                    <a:lnTo>
                      <a:pt x="165" y="570"/>
                    </a:lnTo>
                    <a:close/>
                    <a:moveTo>
                      <a:pt x="164" y="435"/>
                    </a:moveTo>
                    <a:lnTo>
                      <a:pt x="164" y="436"/>
                    </a:lnTo>
                    <a:lnTo>
                      <a:pt x="163" y="436"/>
                    </a:lnTo>
                    <a:lnTo>
                      <a:pt x="162" y="436"/>
                    </a:lnTo>
                    <a:lnTo>
                      <a:pt x="162" y="437"/>
                    </a:lnTo>
                    <a:lnTo>
                      <a:pt x="161" y="437"/>
                    </a:lnTo>
                    <a:lnTo>
                      <a:pt x="162" y="437"/>
                    </a:lnTo>
                    <a:lnTo>
                      <a:pt x="162" y="436"/>
                    </a:lnTo>
                    <a:lnTo>
                      <a:pt x="163" y="436"/>
                    </a:lnTo>
                    <a:lnTo>
                      <a:pt x="163" y="435"/>
                    </a:lnTo>
                    <a:lnTo>
                      <a:pt x="164" y="435"/>
                    </a:lnTo>
                    <a:close/>
                    <a:moveTo>
                      <a:pt x="173" y="566"/>
                    </a:moveTo>
                    <a:lnTo>
                      <a:pt x="174" y="565"/>
                    </a:lnTo>
                    <a:lnTo>
                      <a:pt x="174" y="566"/>
                    </a:lnTo>
                    <a:lnTo>
                      <a:pt x="173" y="566"/>
                    </a:lnTo>
                    <a:lnTo>
                      <a:pt x="172" y="566"/>
                    </a:lnTo>
                    <a:lnTo>
                      <a:pt x="172" y="567"/>
                    </a:lnTo>
                    <a:lnTo>
                      <a:pt x="172" y="566"/>
                    </a:lnTo>
                    <a:lnTo>
                      <a:pt x="172" y="565"/>
                    </a:lnTo>
                    <a:lnTo>
                      <a:pt x="173" y="565"/>
                    </a:lnTo>
                    <a:lnTo>
                      <a:pt x="173" y="566"/>
                    </a:lnTo>
                    <a:close/>
                    <a:moveTo>
                      <a:pt x="155" y="564"/>
                    </a:moveTo>
                    <a:lnTo>
                      <a:pt x="157" y="564"/>
                    </a:lnTo>
                    <a:lnTo>
                      <a:pt x="157" y="565"/>
                    </a:lnTo>
                    <a:lnTo>
                      <a:pt x="155" y="565"/>
                    </a:lnTo>
                    <a:lnTo>
                      <a:pt x="155" y="564"/>
                    </a:lnTo>
                    <a:lnTo>
                      <a:pt x="155" y="563"/>
                    </a:lnTo>
                    <a:lnTo>
                      <a:pt x="155" y="562"/>
                    </a:lnTo>
                    <a:lnTo>
                      <a:pt x="157" y="562"/>
                    </a:lnTo>
                    <a:lnTo>
                      <a:pt x="157" y="563"/>
                    </a:lnTo>
                    <a:lnTo>
                      <a:pt x="155" y="564"/>
                    </a:lnTo>
                    <a:close/>
                    <a:moveTo>
                      <a:pt x="181" y="427"/>
                    </a:moveTo>
                    <a:lnTo>
                      <a:pt x="183" y="427"/>
                    </a:lnTo>
                    <a:lnTo>
                      <a:pt x="183" y="429"/>
                    </a:lnTo>
                    <a:lnTo>
                      <a:pt x="181" y="429"/>
                    </a:lnTo>
                    <a:lnTo>
                      <a:pt x="181" y="427"/>
                    </a:lnTo>
                    <a:close/>
                    <a:moveTo>
                      <a:pt x="158" y="461"/>
                    </a:moveTo>
                    <a:lnTo>
                      <a:pt x="159" y="461"/>
                    </a:lnTo>
                    <a:lnTo>
                      <a:pt x="159" y="463"/>
                    </a:lnTo>
                    <a:lnTo>
                      <a:pt x="158" y="463"/>
                    </a:lnTo>
                    <a:lnTo>
                      <a:pt x="158" y="461"/>
                    </a:lnTo>
                    <a:close/>
                    <a:moveTo>
                      <a:pt x="134" y="414"/>
                    </a:moveTo>
                    <a:lnTo>
                      <a:pt x="135" y="414"/>
                    </a:lnTo>
                    <a:lnTo>
                      <a:pt x="135" y="415"/>
                    </a:lnTo>
                    <a:lnTo>
                      <a:pt x="134" y="415"/>
                    </a:lnTo>
                    <a:lnTo>
                      <a:pt x="134" y="414"/>
                    </a:lnTo>
                    <a:close/>
                    <a:moveTo>
                      <a:pt x="185" y="541"/>
                    </a:moveTo>
                    <a:lnTo>
                      <a:pt x="186" y="541"/>
                    </a:lnTo>
                    <a:lnTo>
                      <a:pt x="186" y="542"/>
                    </a:lnTo>
                    <a:lnTo>
                      <a:pt x="185" y="542"/>
                    </a:lnTo>
                    <a:lnTo>
                      <a:pt x="185" y="541"/>
                    </a:lnTo>
                    <a:close/>
                    <a:moveTo>
                      <a:pt x="129" y="413"/>
                    </a:moveTo>
                    <a:lnTo>
                      <a:pt x="131" y="413"/>
                    </a:lnTo>
                    <a:lnTo>
                      <a:pt x="132" y="413"/>
                    </a:lnTo>
                    <a:lnTo>
                      <a:pt x="132" y="414"/>
                    </a:lnTo>
                    <a:lnTo>
                      <a:pt x="131" y="414"/>
                    </a:lnTo>
                    <a:lnTo>
                      <a:pt x="131" y="413"/>
                    </a:lnTo>
                    <a:lnTo>
                      <a:pt x="129" y="413"/>
                    </a:lnTo>
                    <a:close/>
                    <a:moveTo>
                      <a:pt x="196" y="553"/>
                    </a:moveTo>
                    <a:lnTo>
                      <a:pt x="197" y="553"/>
                    </a:lnTo>
                    <a:lnTo>
                      <a:pt x="197" y="554"/>
                    </a:lnTo>
                    <a:lnTo>
                      <a:pt x="196" y="554"/>
                    </a:lnTo>
                    <a:lnTo>
                      <a:pt x="196" y="553"/>
                    </a:lnTo>
                    <a:close/>
                    <a:moveTo>
                      <a:pt x="164" y="452"/>
                    </a:moveTo>
                    <a:lnTo>
                      <a:pt x="165" y="452"/>
                    </a:lnTo>
                    <a:lnTo>
                      <a:pt x="165" y="453"/>
                    </a:lnTo>
                    <a:lnTo>
                      <a:pt x="164" y="453"/>
                    </a:lnTo>
                    <a:lnTo>
                      <a:pt x="164" y="452"/>
                    </a:lnTo>
                    <a:close/>
                    <a:moveTo>
                      <a:pt x="138" y="390"/>
                    </a:moveTo>
                    <a:lnTo>
                      <a:pt x="140" y="390"/>
                    </a:lnTo>
                    <a:lnTo>
                      <a:pt x="140" y="392"/>
                    </a:lnTo>
                    <a:lnTo>
                      <a:pt x="138" y="392"/>
                    </a:lnTo>
                    <a:lnTo>
                      <a:pt x="138" y="390"/>
                    </a:lnTo>
                    <a:close/>
                    <a:moveTo>
                      <a:pt x="180" y="488"/>
                    </a:moveTo>
                    <a:lnTo>
                      <a:pt x="180" y="490"/>
                    </a:lnTo>
                    <a:lnTo>
                      <a:pt x="180" y="488"/>
                    </a:lnTo>
                    <a:close/>
                    <a:moveTo>
                      <a:pt x="181" y="523"/>
                    </a:moveTo>
                    <a:lnTo>
                      <a:pt x="183" y="523"/>
                    </a:lnTo>
                    <a:lnTo>
                      <a:pt x="183" y="524"/>
                    </a:lnTo>
                    <a:lnTo>
                      <a:pt x="181" y="524"/>
                    </a:lnTo>
                    <a:lnTo>
                      <a:pt x="181" y="523"/>
                    </a:lnTo>
                    <a:close/>
                    <a:moveTo>
                      <a:pt x="133" y="413"/>
                    </a:moveTo>
                    <a:lnTo>
                      <a:pt x="134" y="413"/>
                    </a:lnTo>
                    <a:lnTo>
                      <a:pt x="134" y="414"/>
                    </a:lnTo>
                    <a:lnTo>
                      <a:pt x="133" y="414"/>
                    </a:lnTo>
                    <a:lnTo>
                      <a:pt x="133" y="413"/>
                    </a:lnTo>
                    <a:close/>
                    <a:moveTo>
                      <a:pt x="155" y="473"/>
                    </a:moveTo>
                    <a:lnTo>
                      <a:pt x="157" y="473"/>
                    </a:lnTo>
                    <a:lnTo>
                      <a:pt x="157" y="475"/>
                    </a:lnTo>
                    <a:lnTo>
                      <a:pt x="155" y="475"/>
                    </a:lnTo>
                    <a:lnTo>
                      <a:pt x="155" y="473"/>
                    </a:lnTo>
                    <a:close/>
                    <a:moveTo>
                      <a:pt x="170" y="479"/>
                    </a:moveTo>
                    <a:lnTo>
                      <a:pt x="171" y="479"/>
                    </a:lnTo>
                    <a:lnTo>
                      <a:pt x="171" y="480"/>
                    </a:lnTo>
                    <a:lnTo>
                      <a:pt x="170" y="480"/>
                    </a:lnTo>
                    <a:lnTo>
                      <a:pt x="170" y="479"/>
                    </a:lnTo>
                    <a:close/>
                    <a:moveTo>
                      <a:pt x="151" y="491"/>
                    </a:moveTo>
                    <a:lnTo>
                      <a:pt x="152" y="491"/>
                    </a:lnTo>
                    <a:lnTo>
                      <a:pt x="152" y="492"/>
                    </a:lnTo>
                    <a:lnTo>
                      <a:pt x="151" y="492"/>
                    </a:lnTo>
                    <a:lnTo>
                      <a:pt x="151" y="491"/>
                    </a:lnTo>
                    <a:close/>
                    <a:moveTo>
                      <a:pt x="191" y="541"/>
                    </a:moveTo>
                    <a:lnTo>
                      <a:pt x="192" y="541"/>
                    </a:lnTo>
                    <a:lnTo>
                      <a:pt x="192" y="542"/>
                    </a:lnTo>
                    <a:lnTo>
                      <a:pt x="191" y="542"/>
                    </a:lnTo>
                    <a:lnTo>
                      <a:pt x="191" y="541"/>
                    </a:lnTo>
                    <a:close/>
                    <a:moveTo>
                      <a:pt x="157" y="461"/>
                    </a:moveTo>
                    <a:lnTo>
                      <a:pt x="158" y="461"/>
                    </a:lnTo>
                    <a:lnTo>
                      <a:pt x="157" y="461"/>
                    </a:lnTo>
                    <a:close/>
                    <a:moveTo>
                      <a:pt x="171" y="477"/>
                    </a:moveTo>
                    <a:lnTo>
                      <a:pt x="172" y="477"/>
                    </a:lnTo>
                    <a:lnTo>
                      <a:pt x="172" y="478"/>
                    </a:lnTo>
                    <a:lnTo>
                      <a:pt x="171" y="478"/>
                    </a:lnTo>
                    <a:lnTo>
                      <a:pt x="171" y="477"/>
                    </a:lnTo>
                    <a:close/>
                    <a:moveTo>
                      <a:pt x="165" y="431"/>
                    </a:moveTo>
                    <a:lnTo>
                      <a:pt x="166" y="431"/>
                    </a:lnTo>
                    <a:lnTo>
                      <a:pt x="166" y="432"/>
                    </a:lnTo>
                    <a:lnTo>
                      <a:pt x="165" y="432"/>
                    </a:lnTo>
                    <a:lnTo>
                      <a:pt x="165" y="431"/>
                    </a:lnTo>
                    <a:close/>
                    <a:moveTo>
                      <a:pt x="159" y="566"/>
                    </a:moveTo>
                    <a:lnTo>
                      <a:pt x="160" y="566"/>
                    </a:lnTo>
                    <a:lnTo>
                      <a:pt x="159" y="566"/>
                    </a:lnTo>
                    <a:close/>
                    <a:moveTo>
                      <a:pt x="147" y="580"/>
                    </a:moveTo>
                    <a:lnTo>
                      <a:pt x="148" y="580"/>
                    </a:lnTo>
                    <a:lnTo>
                      <a:pt x="147" y="580"/>
                    </a:lnTo>
                    <a:close/>
                    <a:moveTo>
                      <a:pt x="188" y="514"/>
                    </a:moveTo>
                    <a:lnTo>
                      <a:pt x="188" y="515"/>
                    </a:lnTo>
                    <a:lnTo>
                      <a:pt x="188" y="514"/>
                    </a:lnTo>
                    <a:close/>
                    <a:moveTo>
                      <a:pt x="179" y="491"/>
                    </a:moveTo>
                    <a:lnTo>
                      <a:pt x="180" y="491"/>
                    </a:lnTo>
                    <a:lnTo>
                      <a:pt x="180" y="492"/>
                    </a:lnTo>
                    <a:lnTo>
                      <a:pt x="179" y="492"/>
                    </a:lnTo>
                    <a:lnTo>
                      <a:pt x="179" y="491"/>
                    </a:lnTo>
                    <a:close/>
                    <a:moveTo>
                      <a:pt x="189" y="524"/>
                    </a:moveTo>
                    <a:lnTo>
                      <a:pt x="190" y="524"/>
                    </a:lnTo>
                    <a:lnTo>
                      <a:pt x="190" y="525"/>
                    </a:lnTo>
                    <a:lnTo>
                      <a:pt x="189" y="525"/>
                    </a:lnTo>
                    <a:lnTo>
                      <a:pt x="189" y="524"/>
                    </a:lnTo>
                    <a:close/>
                    <a:moveTo>
                      <a:pt x="157" y="565"/>
                    </a:moveTo>
                    <a:lnTo>
                      <a:pt x="157" y="566"/>
                    </a:lnTo>
                    <a:lnTo>
                      <a:pt x="157" y="565"/>
                    </a:lnTo>
                    <a:close/>
                    <a:moveTo>
                      <a:pt x="184" y="541"/>
                    </a:moveTo>
                    <a:lnTo>
                      <a:pt x="185" y="541"/>
                    </a:lnTo>
                    <a:lnTo>
                      <a:pt x="185" y="542"/>
                    </a:lnTo>
                    <a:lnTo>
                      <a:pt x="184" y="542"/>
                    </a:lnTo>
                    <a:lnTo>
                      <a:pt x="184" y="541"/>
                    </a:lnTo>
                    <a:close/>
                    <a:moveTo>
                      <a:pt x="167" y="452"/>
                    </a:moveTo>
                    <a:lnTo>
                      <a:pt x="167" y="453"/>
                    </a:lnTo>
                    <a:lnTo>
                      <a:pt x="167" y="452"/>
                    </a:lnTo>
                    <a:close/>
                    <a:moveTo>
                      <a:pt x="158" y="424"/>
                    </a:moveTo>
                    <a:lnTo>
                      <a:pt x="159" y="424"/>
                    </a:lnTo>
                    <a:lnTo>
                      <a:pt x="159" y="425"/>
                    </a:lnTo>
                    <a:lnTo>
                      <a:pt x="158" y="425"/>
                    </a:lnTo>
                    <a:lnTo>
                      <a:pt x="158" y="424"/>
                    </a:lnTo>
                    <a:close/>
                    <a:moveTo>
                      <a:pt x="166" y="431"/>
                    </a:moveTo>
                    <a:lnTo>
                      <a:pt x="167" y="431"/>
                    </a:lnTo>
                    <a:lnTo>
                      <a:pt x="166" y="431"/>
                    </a:lnTo>
                    <a:close/>
                    <a:moveTo>
                      <a:pt x="186" y="513"/>
                    </a:moveTo>
                    <a:lnTo>
                      <a:pt x="187" y="513"/>
                    </a:lnTo>
                    <a:lnTo>
                      <a:pt x="187" y="514"/>
                    </a:lnTo>
                    <a:lnTo>
                      <a:pt x="186" y="514"/>
                    </a:lnTo>
                    <a:lnTo>
                      <a:pt x="186" y="513"/>
                    </a:lnTo>
                    <a:close/>
                    <a:moveTo>
                      <a:pt x="133" y="594"/>
                    </a:moveTo>
                    <a:lnTo>
                      <a:pt x="134" y="594"/>
                    </a:lnTo>
                    <a:lnTo>
                      <a:pt x="134" y="595"/>
                    </a:lnTo>
                    <a:lnTo>
                      <a:pt x="133" y="595"/>
                    </a:lnTo>
                    <a:lnTo>
                      <a:pt x="133" y="594"/>
                    </a:lnTo>
                    <a:close/>
                    <a:moveTo>
                      <a:pt x="159" y="454"/>
                    </a:moveTo>
                    <a:lnTo>
                      <a:pt x="159" y="455"/>
                    </a:lnTo>
                    <a:lnTo>
                      <a:pt x="159" y="454"/>
                    </a:lnTo>
                    <a:close/>
                    <a:moveTo>
                      <a:pt x="175" y="501"/>
                    </a:moveTo>
                    <a:lnTo>
                      <a:pt x="176" y="501"/>
                    </a:lnTo>
                    <a:lnTo>
                      <a:pt x="176" y="502"/>
                    </a:lnTo>
                    <a:lnTo>
                      <a:pt x="175" y="502"/>
                    </a:lnTo>
                    <a:lnTo>
                      <a:pt x="175" y="501"/>
                    </a:lnTo>
                    <a:close/>
                    <a:moveTo>
                      <a:pt x="134" y="593"/>
                    </a:moveTo>
                    <a:lnTo>
                      <a:pt x="134" y="594"/>
                    </a:lnTo>
                    <a:lnTo>
                      <a:pt x="134" y="593"/>
                    </a:lnTo>
                    <a:close/>
                    <a:moveTo>
                      <a:pt x="172" y="440"/>
                    </a:moveTo>
                    <a:lnTo>
                      <a:pt x="172" y="441"/>
                    </a:lnTo>
                    <a:lnTo>
                      <a:pt x="172" y="440"/>
                    </a:lnTo>
                    <a:close/>
                  </a:path>
                </a:pathLst>
              </a:custGeom>
              <a:solidFill>
                <a:srgbClr val="9CC9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5" name="Freeform 283">
                <a:extLst>
                  <a:ext uri="{FF2B5EF4-FFF2-40B4-BE49-F238E27FC236}">
                    <a16:creationId xmlns:a16="http://schemas.microsoft.com/office/drawing/2014/main" id="{04E58015-31F2-9012-8086-DF98C5F8CBAD}"/>
                  </a:ext>
                </a:extLst>
              </p:cNvPr>
              <p:cNvSpPr>
                <a:spLocks/>
              </p:cNvSpPr>
              <p:nvPr/>
            </p:nvSpPr>
            <p:spPr bwMode="auto">
              <a:xfrm>
                <a:off x="4541838" y="4481513"/>
                <a:ext cx="371475" cy="434975"/>
              </a:xfrm>
              <a:custGeom>
                <a:avLst/>
                <a:gdLst>
                  <a:gd name="T0" fmla="*/ 164 w 234"/>
                  <a:gd name="T1" fmla="*/ 54 h 274"/>
                  <a:gd name="T2" fmla="*/ 164 w 234"/>
                  <a:gd name="T3" fmla="*/ 74 h 274"/>
                  <a:gd name="T4" fmla="*/ 168 w 234"/>
                  <a:gd name="T5" fmla="*/ 100 h 274"/>
                  <a:gd name="T6" fmla="*/ 171 w 234"/>
                  <a:gd name="T7" fmla="*/ 122 h 274"/>
                  <a:gd name="T8" fmla="*/ 174 w 234"/>
                  <a:gd name="T9" fmla="*/ 127 h 274"/>
                  <a:gd name="T10" fmla="*/ 179 w 234"/>
                  <a:gd name="T11" fmla="*/ 131 h 274"/>
                  <a:gd name="T12" fmla="*/ 183 w 234"/>
                  <a:gd name="T13" fmla="*/ 138 h 274"/>
                  <a:gd name="T14" fmla="*/ 187 w 234"/>
                  <a:gd name="T15" fmla="*/ 145 h 274"/>
                  <a:gd name="T16" fmla="*/ 189 w 234"/>
                  <a:gd name="T17" fmla="*/ 155 h 274"/>
                  <a:gd name="T18" fmla="*/ 233 w 234"/>
                  <a:gd name="T19" fmla="*/ 184 h 274"/>
                  <a:gd name="T20" fmla="*/ 232 w 234"/>
                  <a:gd name="T21" fmla="*/ 190 h 274"/>
                  <a:gd name="T22" fmla="*/ 212 w 234"/>
                  <a:gd name="T23" fmla="*/ 233 h 274"/>
                  <a:gd name="T24" fmla="*/ 124 w 234"/>
                  <a:gd name="T25" fmla="*/ 273 h 274"/>
                  <a:gd name="T26" fmla="*/ 119 w 234"/>
                  <a:gd name="T27" fmla="*/ 270 h 274"/>
                  <a:gd name="T28" fmla="*/ 115 w 234"/>
                  <a:gd name="T29" fmla="*/ 261 h 274"/>
                  <a:gd name="T30" fmla="*/ 115 w 234"/>
                  <a:gd name="T31" fmla="*/ 254 h 274"/>
                  <a:gd name="T32" fmla="*/ 113 w 234"/>
                  <a:gd name="T33" fmla="*/ 247 h 274"/>
                  <a:gd name="T34" fmla="*/ 113 w 234"/>
                  <a:gd name="T35" fmla="*/ 240 h 274"/>
                  <a:gd name="T36" fmla="*/ 108 w 234"/>
                  <a:gd name="T37" fmla="*/ 233 h 274"/>
                  <a:gd name="T38" fmla="*/ 107 w 234"/>
                  <a:gd name="T39" fmla="*/ 225 h 274"/>
                  <a:gd name="T40" fmla="*/ 99 w 234"/>
                  <a:gd name="T41" fmla="*/ 222 h 274"/>
                  <a:gd name="T42" fmla="*/ 92 w 234"/>
                  <a:gd name="T43" fmla="*/ 219 h 274"/>
                  <a:gd name="T44" fmla="*/ 84 w 234"/>
                  <a:gd name="T45" fmla="*/ 218 h 274"/>
                  <a:gd name="T46" fmla="*/ 77 w 234"/>
                  <a:gd name="T47" fmla="*/ 215 h 274"/>
                  <a:gd name="T48" fmla="*/ 70 w 234"/>
                  <a:gd name="T49" fmla="*/ 213 h 274"/>
                  <a:gd name="T50" fmla="*/ 64 w 234"/>
                  <a:gd name="T51" fmla="*/ 206 h 274"/>
                  <a:gd name="T52" fmla="*/ 56 w 234"/>
                  <a:gd name="T53" fmla="*/ 202 h 274"/>
                  <a:gd name="T54" fmla="*/ 48 w 234"/>
                  <a:gd name="T55" fmla="*/ 195 h 274"/>
                  <a:gd name="T56" fmla="*/ 44 w 234"/>
                  <a:gd name="T57" fmla="*/ 189 h 274"/>
                  <a:gd name="T58" fmla="*/ 44 w 234"/>
                  <a:gd name="T59" fmla="*/ 179 h 274"/>
                  <a:gd name="T60" fmla="*/ 42 w 234"/>
                  <a:gd name="T61" fmla="*/ 169 h 274"/>
                  <a:gd name="T62" fmla="*/ 40 w 234"/>
                  <a:gd name="T63" fmla="*/ 162 h 274"/>
                  <a:gd name="T64" fmla="*/ 37 w 234"/>
                  <a:gd name="T65" fmla="*/ 157 h 274"/>
                  <a:gd name="T66" fmla="*/ 32 w 234"/>
                  <a:gd name="T67" fmla="*/ 153 h 274"/>
                  <a:gd name="T68" fmla="*/ 27 w 234"/>
                  <a:gd name="T69" fmla="*/ 153 h 274"/>
                  <a:gd name="T70" fmla="*/ 18 w 234"/>
                  <a:gd name="T71" fmla="*/ 150 h 274"/>
                  <a:gd name="T72" fmla="*/ 9 w 234"/>
                  <a:gd name="T73" fmla="*/ 136 h 274"/>
                  <a:gd name="T74" fmla="*/ 8 w 234"/>
                  <a:gd name="T75" fmla="*/ 118 h 274"/>
                  <a:gd name="T76" fmla="*/ 8 w 234"/>
                  <a:gd name="T77" fmla="*/ 113 h 274"/>
                  <a:gd name="T78" fmla="*/ 5 w 234"/>
                  <a:gd name="T79" fmla="*/ 102 h 274"/>
                  <a:gd name="T80" fmla="*/ 4 w 234"/>
                  <a:gd name="T81" fmla="*/ 80 h 274"/>
                  <a:gd name="T82" fmla="*/ 0 w 234"/>
                  <a:gd name="T83" fmla="*/ 58 h 274"/>
                  <a:gd name="T84" fmla="*/ 8 w 234"/>
                  <a:gd name="T85" fmla="*/ 45 h 274"/>
                  <a:gd name="T86" fmla="*/ 48 w 234"/>
                  <a:gd name="T87" fmla="*/ 35 h 274"/>
                  <a:gd name="T88" fmla="*/ 78 w 234"/>
                  <a:gd name="T89" fmla="*/ 12 h 274"/>
                  <a:gd name="T90" fmla="*/ 90 w 234"/>
                  <a:gd name="T91" fmla="*/ 2 h 274"/>
                  <a:gd name="T92" fmla="*/ 97 w 234"/>
                  <a:gd name="T93" fmla="*/ 10 h 274"/>
                  <a:gd name="T94" fmla="*/ 106 w 234"/>
                  <a:gd name="T95" fmla="*/ 15 h 274"/>
                  <a:gd name="T96" fmla="*/ 108 w 234"/>
                  <a:gd name="T97" fmla="*/ 15 h 274"/>
                  <a:gd name="T98" fmla="*/ 112 w 234"/>
                  <a:gd name="T99" fmla="*/ 16 h 274"/>
                  <a:gd name="T100" fmla="*/ 122 w 234"/>
                  <a:gd name="T101" fmla="*/ 19 h 274"/>
                  <a:gd name="T102" fmla="*/ 136 w 234"/>
                  <a:gd name="T103" fmla="*/ 20 h 274"/>
                  <a:gd name="T104" fmla="*/ 141 w 234"/>
                  <a:gd name="T105" fmla="*/ 17 h 274"/>
                  <a:gd name="T106" fmla="*/ 147 w 234"/>
                  <a:gd name="T107" fmla="*/ 20 h 274"/>
                  <a:gd name="T108" fmla="*/ 153 w 234"/>
                  <a:gd name="T109" fmla="*/ 20 h 274"/>
                  <a:gd name="T110" fmla="*/ 158 w 234"/>
                  <a:gd name="T111" fmla="*/ 22 h 274"/>
                  <a:gd name="T112" fmla="*/ 162 w 234"/>
                  <a:gd name="T113" fmla="*/ 2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4" h="274">
                    <a:moveTo>
                      <a:pt x="166" y="23"/>
                    </a:moveTo>
                    <a:lnTo>
                      <a:pt x="164" y="27"/>
                    </a:lnTo>
                    <a:lnTo>
                      <a:pt x="164" y="41"/>
                    </a:lnTo>
                    <a:lnTo>
                      <a:pt x="164" y="48"/>
                    </a:lnTo>
                    <a:lnTo>
                      <a:pt x="164" y="52"/>
                    </a:lnTo>
                    <a:lnTo>
                      <a:pt x="164" y="53"/>
                    </a:lnTo>
                    <a:lnTo>
                      <a:pt x="164" y="54"/>
                    </a:lnTo>
                    <a:lnTo>
                      <a:pt x="164" y="55"/>
                    </a:lnTo>
                    <a:lnTo>
                      <a:pt x="164" y="58"/>
                    </a:lnTo>
                    <a:lnTo>
                      <a:pt x="164" y="62"/>
                    </a:lnTo>
                    <a:lnTo>
                      <a:pt x="164" y="63"/>
                    </a:lnTo>
                    <a:lnTo>
                      <a:pt x="164" y="65"/>
                    </a:lnTo>
                    <a:lnTo>
                      <a:pt x="164" y="72"/>
                    </a:lnTo>
                    <a:lnTo>
                      <a:pt x="164" y="74"/>
                    </a:lnTo>
                    <a:lnTo>
                      <a:pt x="164" y="76"/>
                    </a:lnTo>
                    <a:lnTo>
                      <a:pt x="164" y="77"/>
                    </a:lnTo>
                    <a:lnTo>
                      <a:pt x="164" y="80"/>
                    </a:lnTo>
                    <a:lnTo>
                      <a:pt x="166" y="84"/>
                    </a:lnTo>
                    <a:lnTo>
                      <a:pt x="166" y="85"/>
                    </a:lnTo>
                    <a:lnTo>
                      <a:pt x="168" y="99"/>
                    </a:lnTo>
                    <a:lnTo>
                      <a:pt x="168" y="100"/>
                    </a:lnTo>
                    <a:lnTo>
                      <a:pt x="169" y="110"/>
                    </a:lnTo>
                    <a:lnTo>
                      <a:pt x="169" y="112"/>
                    </a:lnTo>
                    <a:lnTo>
                      <a:pt x="169" y="113"/>
                    </a:lnTo>
                    <a:lnTo>
                      <a:pt x="170" y="118"/>
                    </a:lnTo>
                    <a:lnTo>
                      <a:pt x="170" y="119"/>
                    </a:lnTo>
                    <a:lnTo>
                      <a:pt x="171" y="119"/>
                    </a:lnTo>
                    <a:lnTo>
                      <a:pt x="171" y="122"/>
                    </a:lnTo>
                    <a:lnTo>
                      <a:pt x="171" y="123"/>
                    </a:lnTo>
                    <a:lnTo>
                      <a:pt x="172" y="124"/>
                    </a:lnTo>
                    <a:lnTo>
                      <a:pt x="172" y="125"/>
                    </a:lnTo>
                    <a:lnTo>
                      <a:pt x="173" y="125"/>
                    </a:lnTo>
                    <a:lnTo>
                      <a:pt x="173" y="126"/>
                    </a:lnTo>
                    <a:lnTo>
                      <a:pt x="173" y="127"/>
                    </a:lnTo>
                    <a:lnTo>
                      <a:pt x="174" y="127"/>
                    </a:lnTo>
                    <a:lnTo>
                      <a:pt x="174" y="128"/>
                    </a:lnTo>
                    <a:lnTo>
                      <a:pt x="174" y="129"/>
                    </a:lnTo>
                    <a:lnTo>
                      <a:pt x="175" y="129"/>
                    </a:lnTo>
                    <a:lnTo>
                      <a:pt x="176" y="129"/>
                    </a:lnTo>
                    <a:lnTo>
                      <a:pt x="177" y="129"/>
                    </a:lnTo>
                    <a:lnTo>
                      <a:pt x="177" y="130"/>
                    </a:lnTo>
                    <a:lnTo>
                      <a:pt x="179" y="131"/>
                    </a:lnTo>
                    <a:lnTo>
                      <a:pt x="179" y="132"/>
                    </a:lnTo>
                    <a:lnTo>
                      <a:pt x="180" y="132"/>
                    </a:lnTo>
                    <a:lnTo>
                      <a:pt x="180" y="135"/>
                    </a:lnTo>
                    <a:lnTo>
                      <a:pt x="181" y="136"/>
                    </a:lnTo>
                    <a:lnTo>
                      <a:pt x="182" y="137"/>
                    </a:lnTo>
                    <a:lnTo>
                      <a:pt x="183" y="137"/>
                    </a:lnTo>
                    <a:lnTo>
                      <a:pt x="183" y="138"/>
                    </a:lnTo>
                    <a:lnTo>
                      <a:pt x="184" y="139"/>
                    </a:lnTo>
                    <a:lnTo>
                      <a:pt x="185" y="140"/>
                    </a:lnTo>
                    <a:lnTo>
                      <a:pt x="187" y="141"/>
                    </a:lnTo>
                    <a:lnTo>
                      <a:pt x="187" y="142"/>
                    </a:lnTo>
                    <a:lnTo>
                      <a:pt x="187" y="143"/>
                    </a:lnTo>
                    <a:lnTo>
                      <a:pt x="187" y="144"/>
                    </a:lnTo>
                    <a:lnTo>
                      <a:pt x="187" y="145"/>
                    </a:lnTo>
                    <a:lnTo>
                      <a:pt x="187" y="147"/>
                    </a:lnTo>
                    <a:lnTo>
                      <a:pt x="188" y="148"/>
                    </a:lnTo>
                    <a:lnTo>
                      <a:pt x="189" y="148"/>
                    </a:lnTo>
                    <a:lnTo>
                      <a:pt x="189" y="149"/>
                    </a:lnTo>
                    <a:lnTo>
                      <a:pt x="188" y="150"/>
                    </a:lnTo>
                    <a:lnTo>
                      <a:pt x="188" y="151"/>
                    </a:lnTo>
                    <a:lnTo>
                      <a:pt x="189" y="155"/>
                    </a:lnTo>
                    <a:lnTo>
                      <a:pt x="224" y="179"/>
                    </a:lnTo>
                    <a:lnTo>
                      <a:pt x="228" y="179"/>
                    </a:lnTo>
                    <a:lnTo>
                      <a:pt x="229" y="179"/>
                    </a:lnTo>
                    <a:lnTo>
                      <a:pt x="231" y="180"/>
                    </a:lnTo>
                    <a:lnTo>
                      <a:pt x="231" y="181"/>
                    </a:lnTo>
                    <a:lnTo>
                      <a:pt x="232" y="183"/>
                    </a:lnTo>
                    <a:lnTo>
                      <a:pt x="233" y="184"/>
                    </a:lnTo>
                    <a:lnTo>
                      <a:pt x="234" y="184"/>
                    </a:lnTo>
                    <a:lnTo>
                      <a:pt x="234" y="186"/>
                    </a:lnTo>
                    <a:lnTo>
                      <a:pt x="234" y="187"/>
                    </a:lnTo>
                    <a:lnTo>
                      <a:pt x="233" y="187"/>
                    </a:lnTo>
                    <a:lnTo>
                      <a:pt x="233" y="188"/>
                    </a:lnTo>
                    <a:lnTo>
                      <a:pt x="232" y="189"/>
                    </a:lnTo>
                    <a:lnTo>
                      <a:pt x="232" y="190"/>
                    </a:lnTo>
                    <a:lnTo>
                      <a:pt x="233" y="193"/>
                    </a:lnTo>
                    <a:lnTo>
                      <a:pt x="233" y="194"/>
                    </a:lnTo>
                    <a:lnTo>
                      <a:pt x="232" y="194"/>
                    </a:lnTo>
                    <a:lnTo>
                      <a:pt x="232" y="195"/>
                    </a:lnTo>
                    <a:lnTo>
                      <a:pt x="231" y="195"/>
                    </a:lnTo>
                    <a:lnTo>
                      <a:pt x="226" y="203"/>
                    </a:lnTo>
                    <a:lnTo>
                      <a:pt x="212" y="233"/>
                    </a:lnTo>
                    <a:lnTo>
                      <a:pt x="207" y="247"/>
                    </a:lnTo>
                    <a:lnTo>
                      <a:pt x="196" y="274"/>
                    </a:lnTo>
                    <a:lnTo>
                      <a:pt x="149" y="274"/>
                    </a:lnTo>
                    <a:lnTo>
                      <a:pt x="144" y="274"/>
                    </a:lnTo>
                    <a:lnTo>
                      <a:pt x="142" y="274"/>
                    </a:lnTo>
                    <a:lnTo>
                      <a:pt x="128" y="274"/>
                    </a:lnTo>
                    <a:lnTo>
                      <a:pt x="124" y="273"/>
                    </a:lnTo>
                    <a:lnTo>
                      <a:pt x="123" y="273"/>
                    </a:lnTo>
                    <a:lnTo>
                      <a:pt x="122" y="272"/>
                    </a:lnTo>
                    <a:lnTo>
                      <a:pt x="121" y="272"/>
                    </a:lnTo>
                    <a:lnTo>
                      <a:pt x="120" y="272"/>
                    </a:lnTo>
                    <a:lnTo>
                      <a:pt x="120" y="271"/>
                    </a:lnTo>
                    <a:lnTo>
                      <a:pt x="119" y="271"/>
                    </a:lnTo>
                    <a:lnTo>
                      <a:pt x="119" y="270"/>
                    </a:lnTo>
                    <a:lnTo>
                      <a:pt x="118" y="269"/>
                    </a:lnTo>
                    <a:lnTo>
                      <a:pt x="117" y="268"/>
                    </a:lnTo>
                    <a:lnTo>
                      <a:pt x="117" y="267"/>
                    </a:lnTo>
                    <a:lnTo>
                      <a:pt x="116" y="266"/>
                    </a:lnTo>
                    <a:lnTo>
                      <a:pt x="115" y="265"/>
                    </a:lnTo>
                    <a:lnTo>
                      <a:pt x="115" y="263"/>
                    </a:lnTo>
                    <a:lnTo>
                      <a:pt x="115" y="261"/>
                    </a:lnTo>
                    <a:lnTo>
                      <a:pt x="115" y="260"/>
                    </a:lnTo>
                    <a:lnTo>
                      <a:pt x="115" y="259"/>
                    </a:lnTo>
                    <a:lnTo>
                      <a:pt x="115" y="258"/>
                    </a:lnTo>
                    <a:lnTo>
                      <a:pt x="116" y="258"/>
                    </a:lnTo>
                    <a:lnTo>
                      <a:pt x="116" y="257"/>
                    </a:lnTo>
                    <a:lnTo>
                      <a:pt x="116" y="256"/>
                    </a:lnTo>
                    <a:lnTo>
                      <a:pt x="115" y="254"/>
                    </a:lnTo>
                    <a:lnTo>
                      <a:pt x="116" y="253"/>
                    </a:lnTo>
                    <a:lnTo>
                      <a:pt x="116" y="252"/>
                    </a:lnTo>
                    <a:lnTo>
                      <a:pt x="116" y="251"/>
                    </a:lnTo>
                    <a:lnTo>
                      <a:pt x="115" y="251"/>
                    </a:lnTo>
                    <a:lnTo>
                      <a:pt x="115" y="250"/>
                    </a:lnTo>
                    <a:lnTo>
                      <a:pt x="113" y="248"/>
                    </a:lnTo>
                    <a:lnTo>
                      <a:pt x="113" y="247"/>
                    </a:lnTo>
                    <a:lnTo>
                      <a:pt x="113" y="246"/>
                    </a:lnTo>
                    <a:lnTo>
                      <a:pt x="115" y="245"/>
                    </a:lnTo>
                    <a:lnTo>
                      <a:pt x="115" y="244"/>
                    </a:lnTo>
                    <a:lnTo>
                      <a:pt x="115" y="243"/>
                    </a:lnTo>
                    <a:lnTo>
                      <a:pt x="115" y="242"/>
                    </a:lnTo>
                    <a:lnTo>
                      <a:pt x="115" y="241"/>
                    </a:lnTo>
                    <a:lnTo>
                      <a:pt x="113" y="240"/>
                    </a:lnTo>
                    <a:lnTo>
                      <a:pt x="111" y="239"/>
                    </a:lnTo>
                    <a:lnTo>
                      <a:pt x="110" y="238"/>
                    </a:lnTo>
                    <a:lnTo>
                      <a:pt x="109" y="238"/>
                    </a:lnTo>
                    <a:lnTo>
                      <a:pt x="109" y="237"/>
                    </a:lnTo>
                    <a:lnTo>
                      <a:pt x="108" y="235"/>
                    </a:lnTo>
                    <a:lnTo>
                      <a:pt x="108" y="234"/>
                    </a:lnTo>
                    <a:lnTo>
                      <a:pt x="108" y="233"/>
                    </a:lnTo>
                    <a:lnTo>
                      <a:pt x="108" y="231"/>
                    </a:lnTo>
                    <a:lnTo>
                      <a:pt x="108" y="230"/>
                    </a:lnTo>
                    <a:lnTo>
                      <a:pt x="108" y="229"/>
                    </a:lnTo>
                    <a:lnTo>
                      <a:pt x="108" y="228"/>
                    </a:lnTo>
                    <a:lnTo>
                      <a:pt x="108" y="227"/>
                    </a:lnTo>
                    <a:lnTo>
                      <a:pt x="107" y="226"/>
                    </a:lnTo>
                    <a:lnTo>
                      <a:pt x="107" y="225"/>
                    </a:lnTo>
                    <a:lnTo>
                      <a:pt x="105" y="225"/>
                    </a:lnTo>
                    <a:lnTo>
                      <a:pt x="105" y="224"/>
                    </a:lnTo>
                    <a:lnTo>
                      <a:pt x="104" y="224"/>
                    </a:lnTo>
                    <a:lnTo>
                      <a:pt x="103" y="224"/>
                    </a:lnTo>
                    <a:lnTo>
                      <a:pt x="102" y="224"/>
                    </a:lnTo>
                    <a:lnTo>
                      <a:pt x="100" y="222"/>
                    </a:lnTo>
                    <a:lnTo>
                      <a:pt x="99" y="222"/>
                    </a:lnTo>
                    <a:lnTo>
                      <a:pt x="98" y="222"/>
                    </a:lnTo>
                    <a:lnTo>
                      <a:pt x="97" y="221"/>
                    </a:lnTo>
                    <a:lnTo>
                      <a:pt x="96" y="221"/>
                    </a:lnTo>
                    <a:lnTo>
                      <a:pt x="95" y="221"/>
                    </a:lnTo>
                    <a:lnTo>
                      <a:pt x="94" y="220"/>
                    </a:lnTo>
                    <a:lnTo>
                      <a:pt x="93" y="219"/>
                    </a:lnTo>
                    <a:lnTo>
                      <a:pt x="92" y="219"/>
                    </a:lnTo>
                    <a:lnTo>
                      <a:pt x="91" y="218"/>
                    </a:lnTo>
                    <a:lnTo>
                      <a:pt x="90" y="218"/>
                    </a:lnTo>
                    <a:lnTo>
                      <a:pt x="89" y="217"/>
                    </a:lnTo>
                    <a:lnTo>
                      <a:pt x="87" y="217"/>
                    </a:lnTo>
                    <a:lnTo>
                      <a:pt x="86" y="217"/>
                    </a:lnTo>
                    <a:lnTo>
                      <a:pt x="85" y="218"/>
                    </a:lnTo>
                    <a:lnTo>
                      <a:pt x="84" y="218"/>
                    </a:lnTo>
                    <a:lnTo>
                      <a:pt x="83" y="217"/>
                    </a:lnTo>
                    <a:lnTo>
                      <a:pt x="82" y="217"/>
                    </a:lnTo>
                    <a:lnTo>
                      <a:pt x="81" y="217"/>
                    </a:lnTo>
                    <a:lnTo>
                      <a:pt x="81" y="216"/>
                    </a:lnTo>
                    <a:lnTo>
                      <a:pt x="79" y="216"/>
                    </a:lnTo>
                    <a:lnTo>
                      <a:pt x="78" y="215"/>
                    </a:lnTo>
                    <a:lnTo>
                      <a:pt x="77" y="215"/>
                    </a:lnTo>
                    <a:lnTo>
                      <a:pt x="76" y="216"/>
                    </a:lnTo>
                    <a:lnTo>
                      <a:pt x="74" y="216"/>
                    </a:lnTo>
                    <a:lnTo>
                      <a:pt x="73" y="216"/>
                    </a:lnTo>
                    <a:lnTo>
                      <a:pt x="72" y="215"/>
                    </a:lnTo>
                    <a:lnTo>
                      <a:pt x="71" y="214"/>
                    </a:lnTo>
                    <a:lnTo>
                      <a:pt x="70" y="214"/>
                    </a:lnTo>
                    <a:lnTo>
                      <a:pt x="70" y="213"/>
                    </a:lnTo>
                    <a:lnTo>
                      <a:pt x="69" y="213"/>
                    </a:lnTo>
                    <a:lnTo>
                      <a:pt x="68" y="212"/>
                    </a:lnTo>
                    <a:lnTo>
                      <a:pt x="68" y="211"/>
                    </a:lnTo>
                    <a:lnTo>
                      <a:pt x="66" y="209"/>
                    </a:lnTo>
                    <a:lnTo>
                      <a:pt x="66" y="208"/>
                    </a:lnTo>
                    <a:lnTo>
                      <a:pt x="65" y="207"/>
                    </a:lnTo>
                    <a:lnTo>
                      <a:pt x="64" y="206"/>
                    </a:lnTo>
                    <a:lnTo>
                      <a:pt x="63" y="205"/>
                    </a:lnTo>
                    <a:lnTo>
                      <a:pt x="61" y="205"/>
                    </a:lnTo>
                    <a:lnTo>
                      <a:pt x="60" y="204"/>
                    </a:lnTo>
                    <a:lnTo>
                      <a:pt x="59" y="204"/>
                    </a:lnTo>
                    <a:lnTo>
                      <a:pt x="58" y="204"/>
                    </a:lnTo>
                    <a:lnTo>
                      <a:pt x="58" y="203"/>
                    </a:lnTo>
                    <a:lnTo>
                      <a:pt x="56" y="202"/>
                    </a:lnTo>
                    <a:lnTo>
                      <a:pt x="55" y="201"/>
                    </a:lnTo>
                    <a:lnTo>
                      <a:pt x="54" y="200"/>
                    </a:lnTo>
                    <a:lnTo>
                      <a:pt x="53" y="199"/>
                    </a:lnTo>
                    <a:lnTo>
                      <a:pt x="53" y="197"/>
                    </a:lnTo>
                    <a:lnTo>
                      <a:pt x="51" y="196"/>
                    </a:lnTo>
                    <a:lnTo>
                      <a:pt x="50" y="196"/>
                    </a:lnTo>
                    <a:lnTo>
                      <a:pt x="48" y="195"/>
                    </a:lnTo>
                    <a:lnTo>
                      <a:pt x="48" y="194"/>
                    </a:lnTo>
                    <a:lnTo>
                      <a:pt x="47" y="193"/>
                    </a:lnTo>
                    <a:lnTo>
                      <a:pt x="47" y="192"/>
                    </a:lnTo>
                    <a:lnTo>
                      <a:pt x="47" y="191"/>
                    </a:lnTo>
                    <a:lnTo>
                      <a:pt x="46" y="191"/>
                    </a:lnTo>
                    <a:lnTo>
                      <a:pt x="45" y="190"/>
                    </a:lnTo>
                    <a:lnTo>
                      <a:pt x="44" y="189"/>
                    </a:lnTo>
                    <a:lnTo>
                      <a:pt x="44" y="187"/>
                    </a:lnTo>
                    <a:lnTo>
                      <a:pt x="44" y="184"/>
                    </a:lnTo>
                    <a:lnTo>
                      <a:pt x="44" y="183"/>
                    </a:lnTo>
                    <a:lnTo>
                      <a:pt x="44" y="182"/>
                    </a:lnTo>
                    <a:lnTo>
                      <a:pt x="44" y="181"/>
                    </a:lnTo>
                    <a:lnTo>
                      <a:pt x="44" y="180"/>
                    </a:lnTo>
                    <a:lnTo>
                      <a:pt x="44" y="179"/>
                    </a:lnTo>
                    <a:lnTo>
                      <a:pt x="44" y="178"/>
                    </a:lnTo>
                    <a:lnTo>
                      <a:pt x="44" y="176"/>
                    </a:lnTo>
                    <a:lnTo>
                      <a:pt x="43" y="174"/>
                    </a:lnTo>
                    <a:lnTo>
                      <a:pt x="43" y="173"/>
                    </a:lnTo>
                    <a:lnTo>
                      <a:pt x="42" y="171"/>
                    </a:lnTo>
                    <a:lnTo>
                      <a:pt x="42" y="170"/>
                    </a:lnTo>
                    <a:lnTo>
                      <a:pt x="42" y="169"/>
                    </a:lnTo>
                    <a:lnTo>
                      <a:pt x="43" y="168"/>
                    </a:lnTo>
                    <a:lnTo>
                      <a:pt x="43" y="167"/>
                    </a:lnTo>
                    <a:lnTo>
                      <a:pt x="43" y="166"/>
                    </a:lnTo>
                    <a:lnTo>
                      <a:pt x="42" y="165"/>
                    </a:lnTo>
                    <a:lnTo>
                      <a:pt x="41" y="164"/>
                    </a:lnTo>
                    <a:lnTo>
                      <a:pt x="40" y="163"/>
                    </a:lnTo>
                    <a:lnTo>
                      <a:pt x="40" y="162"/>
                    </a:lnTo>
                    <a:lnTo>
                      <a:pt x="39" y="162"/>
                    </a:lnTo>
                    <a:lnTo>
                      <a:pt x="39" y="161"/>
                    </a:lnTo>
                    <a:lnTo>
                      <a:pt x="38" y="161"/>
                    </a:lnTo>
                    <a:lnTo>
                      <a:pt x="38" y="160"/>
                    </a:lnTo>
                    <a:lnTo>
                      <a:pt x="38" y="158"/>
                    </a:lnTo>
                    <a:lnTo>
                      <a:pt x="38" y="157"/>
                    </a:lnTo>
                    <a:lnTo>
                      <a:pt x="37" y="157"/>
                    </a:lnTo>
                    <a:lnTo>
                      <a:pt x="37" y="156"/>
                    </a:lnTo>
                    <a:lnTo>
                      <a:pt x="35" y="156"/>
                    </a:lnTo>
                    <a:lnTo>
                      <a:pt x="34" y="156"/>
                    </a:lnTo>
                    <a:lnTo>
                      <a:pt x="33" y="155"/>
                    </a:lnTo>
                    <a:lnTo>
                      <a:pt x="33" y="154"/>
                    </a:lnTo>
                    <a:lnTo>
                      <a:pt x="32" y="154"/>
                    </a:lnTo>
                    <a:lnTo>
                      <a:pt x="32" y="153"/>
                    </a:lnTo>
                    <a:lnTo>
                      <a:pt x="31" y="153"/>
                    </a:lnTo>
                    <a:lnTo>
                      <a:pt x="30" y="153"/>
                    </a:lnTo>
                    <a:lnTo>
                      <a:pt x="30" y="152"/>
                    </a:lnTo>
                    <a:lnTo>
                      <a:pt x="29" y="152"/>
                    </a:lnTo>
                    <a:lnTo>
                      <a:pt x="28" y="152"/>
                    </a:lnTo>
                    <a:lnTo>
                      <a:pt x="28" y="153"/>
                    </a:lnTo>
                    <a:lnTo>
                      <a:pt x="27" y="153"/>
                    </a:lnTo>
                    <a:lnTo>
                      <a:pt x="26" y="153"/>
                    </a:lnTo>
                    <a:lnTo>
                      <a:pt x="25" y="154"/>
                    </a:lnTo>
                    <a:lnTo>
                      <a:pt x="24" y="154"/>
                    </a:lnTo>
                    <a:lnTo>
                      <a:pt x="21" y="154"/>
                    </a:lnTo>
                    <a:lnTo>
                      <a:pt x="20" y="153"/>
                    </a:lnTo>
                    <a:lnTo>
                      <a:pt x="20" y="152"/>
                    </a:lnTo>
                    <a:lnTo>
                      <a:pt x="18" y="150"/>
                    </a:lnTo>
                    <a:lnTo>
                      <a:pt x="17" y="149"/>
                    </a:lnTo>
                    <a:lnTo>
                      <a:pt x="16" y="148"/>
                    </a:lnTo>
                    <a:lnTo>
                      <a:pt x="15" y="145"/>
                    </a:lnTo>
                    <a:lnTo>
                      <a:pt x="12" y="139"/>
                    </a:lnTo>
                    <a:lnTo>
                      <a:pt x="12" y="138"/>
                    </a:lnTo>
                    <a:lnTo>
                      <a:pt x="11" y="137"/>
                    </a:lnTo>
                    <a:lnTo>
                      <a:pt x="9" y="136"/>
                    </a:lnTo>
                    <a:lnTo>
                      <a:pt x="8" y="136"/>
                    </a:lnTo>
                    <a:lnTo>
                      <a:pt x="7" y="136"/>
                    </a:lnTo>
                    <a:lnTo>
                      <a:pt x="4" y="134"/>
                    </a:lnTo>
                    <a:lnTo>
                      <a:pt x="6" y="129"/>
                    </a:lnTo>
                    <a:lnTo>
                      <a:pt x="8" y="121"/>
                    </a:lnTo>
                    <a:lnTo>
                      <a:pt x="8" y="119"/>
                    </a:lnTo>
                    <a:lnTo>
                      <a:pt x="8" y="118"/>
                    </a:lnTo>
                    <a:lnTo>
                      <a:pt x="8" y="117"/>
                    </a:lnTo>
                    <a:lnTo>
                      <a:pt x="8" y="118"/>
                    </a:lnTo>
                    <a:lnTo>
                      <a:pt x="8" y="117"/>
                    </a:lnTo>
                    <a:lnTo>
                      <a:pt x="8" y="116"/>
                    </a:lnTo>
                    <a:lnTo>
                      <a:pt x="8" y="115"/>
                    </a:lnTo>
                    <a:lnTo>
                      <a:pt x="8" y="114"/>
                    </a:lnTo>
                    <a:lnTo>
                      <a:pt x="8" y="113"/>
                    </a:lnTo>
                    <a:lnTo>
                      <a:pt x="8" y="112"/>
                    </a:lnTo>
                    <a:lnTo>
                      <a:pt x="8" y="110"/>
                    </a:lnTo>
                    <a:lnTo>
                      <a:pt x="8" y="109"/>
                    </a:lnTo>
                    <a:lnTo>
                      <a:pt x="7" y="106"/>
                    </a:lnTo>
                    <a:lnTo>
                      <a:pt x="6" y="104"/>
                    </a:lnTo>
                    <a:lnTo>
                      <a:pt x="6" y="103"/>
                    </a:lnTo>
                    <a:lnTo>
                      <a:pt x="5" y="102"/>
                    </a:lnTo>
                    <a:lnTo>
                      <a:pt x="4" y="100"/>
                    </a:lnTo>
                    <a:lnTo>
                      <a:pt x="5" y="90"/>
                    </a:lnTo>
                    <a:lnTo>
                      <a:pt x="4" y="87"/>
                    </a:lnTo>
                    <a:lnTo>
                      <a:pt x="4" y="85"/>
                    </a:lnTo>
                    <a:lnTo>
                      <a:pt x="4" y="83"/>
                    </a:lnTo>
                    <a:lnTo>
                      <a:pt x="4" y="81"/>
                    </a:lnTo>
                    <a:lnTo>
                      <a:pt x="4" y="80"/>
                    </a:lnTo>
                    <a:lnTo>
                      <a:pt x="4" y="79"/>
                    </a:lnTo>
                    <a:lnTo>
                      <a:pt x="4" y="72"/>
                    </a:lnTo>
                    <a:lnTo>
                      <a:pt x="4" y="71"/>
                    </a:lnTo>
                    <a:lnTo>
                      <a:pt x="4" y="68"/>
                    </a:lnTo>
                    <a:lnTo>
                      <a:pt x="0" y="68"/>
                    </a:lnTo>
                    <a:lnTo>
                      <a:pt x="0" y="63"/>
                    </a:lnTo>
                    <a:lnTo>
                      <a:pt x="0" y="58"/>
                    </a:lnTo>
                    <a:lnTo>
                      <a:pt x="0" y="55"/>
                    </a:lnTo>
                    <a:lnTo>
                      <a:pt x="6" y="55"/>
                    </a:lnTo>
                    <a:lnTo>
                      <a:pt x="6" y="52"/>
                    </a:lnTo>
                    <a:lnTo>
                      <a:pt x="6" y="48"/>
                    </a:lnTo>
                    <a:lnTo>
                      <a:pt x="6" y="46"/>
                    </a:lnTo>
                    <a:lnTo>
                      <a:pt x="7" y="45"/>
                    </a:lnTo>
                    <a:lnTo>
                      <a:pt x="8" y="45"/>
                    </a:lnTo>
                    <a:lnTo>
                      <a:pt x="28" y="38"/>
                    </a:lnTo>
                    <a:lnTo>
                      <a:pt x="33" y="36"/>
                    </a:lnTo>
                    <a:lnTo>
                      <a:pt x="41" y="37"/>
                    </a:lnTo>
                    <a:lnTo>
                      <a:pt x="42" y="37"/>
                    </a:lnTo>
                    <a:lnTo>
                      <a:pt x="43" y="37"/>
                    </a:lnTo>
                    <a:lnTo>
                      <a:pt x="45" y="36"/>
                    </a:lnTo>
                    <a:lnTo>
                      <a:pt x="48" y="35"/>
                    </a:lnTo>
                    <a:lnTo>
                      <a:pt x="50" y="35"/>
                    </a:lnTo>
                    <a:lnTo>
                      <a:pt x="51" y="35"/>
                    </a:lnTo>
                    <a:lnTo>
                      <a:pt x="56" y="34"/>
                    </a:lnTo>
                    <a:lnTo>
                      <a:pt x="61" y="34"/>
                    </a:lnTo>
                    <a:lnTo>
                      <a:pt x="64" y="31"/>
                    </a:lnTo>
                    <a:lnTo>
                      <a:pt x="66" y="28"/>
                    </a:lnTo>
                    <a:lnTo>
                      <a:pt x="78" y="12"/>
                    </a:lnTo>
                    <a:lnTo>
                      <a:pt x="83" y="4"/>
                    </a:lnTo>
                    <a:lnTo>
                      <a:pt x="85" y="1"/>
                    </a:lnTo>
                    <a:lnTo>
                      <a:pt x="86" y="0"/>
                    </a:lnTo>
                    <a:lnTo>
                      <a:pt x="87" y="1"/>
                    </a:lnTo>
                    <a:lnTo>
                      <a:pt x="87" y="2"/>
                    </a:lnTo>
                    <a:lnTo>
                      <a:pt x="89" y="2"/>
                    </a:lnTo>
                    <a:lnTo>
                      <a:pt x="90" y="2"/>
                    </a:lnTo>
                    <a:lnTo>
                      <a:pt x="90" y="3"/>
                    </a:lnTo>
                    <a:lnTo>
                      <a:pt x="91" y="3"/>
                    </a:lnTo>
                    <a:lnTo>
                      <a:pt x="92" y="4"/>
                    </a:lnTo>
                    <a:lnTo>
                      <a:pt x="92" y="6"/>
                    </a:lnTo>
                    <a:lnTo>
                      <a:pt x="93" y="7"/>
                    </a:lnTo>
                    <a:lnTo>
                      <a:pt x="95" y="9"/>
                    </a:lnTo>
                    <a:lnTo>
                      <a:pt x="97" y="10"/>
                    </a:lnTo>
                    <a:lnTo>
                      <a:pt x="98" y="11"/>
                    </a:lnTo>
                    <a:lnTo>
                      <a:pt x="99" y="11"/>
                    </a:lnTo>
                    <a:lnTo>
                      <a:pt x="100" y="12"/>
                    </a:lnTo>
                    <a:lnTo>
                      <a:pt x="102" y="13"/>
                    </a:lnTo>
                    <a:lnTo>
                      <a:pt x="104" y="14"/>
                    </a:lnTo>
                    <a:lnTo>
                      <a:pt x="105" y="15"/>
                    </a:lnTo>
                    <a:lnTo>
                      <a:pt x="106" y="15"/>
                    </a:lnTo>
                    <a:lnTo>
                      <a:pt x="103" y="13"/>
                    </a:lnTo>
                    <a:lnTo>
                      <a:pt x="104" y="13"/>
                    </a:lnTo>
                    <a:lnTo>
                      <a:pt x="104" y="14"/>
                    </a:lnTo>
                    <a:lnTo>
                      <a:pt x="105" y="14"/>
                    </a:lnTo>
                    <a:lnTo>
                      <a:pt x="106" y="14"/>
                    </a:lnTo>
                    <a:lnTo>
                      <a:pt x="107" y="15"/>
                    </a:lnTo>
                    <a:lnTo>
                      <a:pt x="108" y="15"/>
                    </a:lnTo>
                    <a:lnTo>
                      <a:pt x="108" y="16"/>
                    </a:lnTo>
                    <a:lnTo>
                      <a:pt x="109" y="16"/>
                    </a:lnTo>
                    <a:lnTo>
                      <a:pt x="110" y="16"/>
                    </a:lnTo>
                    <a:lnTo>
                      <a:pt x="110" y="17"/>
                    </a:lnTo>
                    <a:lnTo>
                      <a:pt x="110" y="16"/>
                    </a:lnTo>
                    <a:lnTo>
                      <a:pt x="111" y="16"/>
                    </a:lnTo>
                    <a:lnTo>
                      <a:pt x="112" y="16"/>
                    </a:lnTo>
                    <a:lnTo>
                      <a:pt x="113" y="16"/>
                    </a:lnTo>
                    <a:lnTo>
                      <a:pt x="115" y="16"/>
                    </a:lnTo>
                    <a:lnTo>
                      <a:pt x="116" y="17"/>
                    </a:lnTo>
                    <a:lnTo>
                      <a:pt x="117" y="17"/>
                    </a:lnTo>
                    <a:lnTo>
                      <a:pt x="118" y="17"/>
                    </a:lnTo>
                    <a:lnTo>
                      <a:pt x="119" y="17"/>
                    </a:lnTo>
                    <a:lnTo>
                      <a:pt x="122" y="19"/>
                    </a:lnTo>
                    <a:lnTo>
                      <a:pt x="123" y="19"/>
                    </a:lnTo>
                    <a:lnTo>
                      <a:pt x="124" y="19"/>
                    </a:lnTo>
                    <a:lnTo>
                      <a:pt x="125" y="19"/>
                    </a:lnTo>
                    <a:lnTo>
                      <a:pt x="133" y="20"/>
                    </a:lnTo>
                    <a:lnTo>
                      <a:pt x="134" y="20"/>
                    </a:lnTo>
                    <a:lnTo>
                      <a:pt x="135" y="20"/>
                    </a:lnTo>
                    <a:lnTo>
                      <a:pt x="136" y="20"/>
                    </a:lnTo>
                    <a:lnTo>
                      <a:pt x="136" y="21"/>
                    </a:lnTo>
                    <a:lnTo>
                      <a:pt x="136" y="20"/>
                    </a:lnTo>
                    <a:lnTo>
                      <a:pt x="136" y="19"/>
                    </a:lnTo>
                    <a:lnTo>
                      <a:pt x="137" y="19"/>
                    </a:lnTo>
                    <a:lnTo>
                      <a:pt x="138" y="19"/>
                    </a:lnTo>
                    <a:lnTo>
                      <a:pt x="139" y="19"/>
                    </a:lnTo>
                    <a:lnTo>
                      <a:pt x="141" y="17"/>
                    </a:lnTo>
                    <a:lnTo>
                      <a:pt x="142" y="17"/>
                    </a:lnTo>
                    <a:lnTo>
                      <a:pt x="143" y="17"/>
                    </a:lnTo>
                    <a:lnTo>
                      <a:pt x="144" y="17"/>
                    </a:lnTo>
                    <a:lnTo>
                      <a:pt x="145" y="19"/>
                    </a:lnTo>
                    <a:lnTo>
                      <a:pt x="146" y="19"/>
                    </a:lnTo>
                    <a:lnTo>
                      <a:pt x="147" y="19"/>
                    </a:lnTo>
                    <a:lnTo>
                      <a:pt x="147" y="20"/>
                    </a:lnTo>
                    <a:lnTo>
                      <a:pt x="148" y="20"/>
                    </a:lnTo>
                    <a:lnTo>
                      <a:pt x="149" y="19"/>
                    </a:lnTo>
                    <a:lnTo>
                      <a:pt x="149" y="20"/>
                    </a:lnTo>
                    <a:lnTo>
                      <a:pt x="149" y="19"/>
                    </a:lnTo>
                    <a:lnTo>
                      <a:pt x="150" y="19"/>
                    </a:lnTo>
                    <a:lnTo>
                      <a:pt x="151" y="20"/>
                    </a:lnTo>
                    <a:lnTo>
                      <a:pt x="153" y="20"/>
                    </a:lnTo>
                    <a:lnTo>
                      <a:pt x="154" y="20"/>
                    </a:lnTo>
                    <a:lnTo>
                      <a:pt x="155" y="20"/>
                    </a:lnTo>
                    <a:lnTo>
                      <a:pt x="155" y="21"/>
                    </a:lnTo>
                    <a:lnTo>
                      <a:pt x="156" y="21"/>
                    </a:lnTo>
                    <a:lnTo>
                      <a:pt x="157" y="21"/>
                    </a:lnTo>
                    <a:lnTo>
                      <a:pt x="158" y="21"/>
                    </a:lnTo>
                    <a:lnTo>
                      <a:pt x="158" y="22"/>
                    </a:lnTo>
                    <a:lnTo>
                      <a:pt x="159" y="22"/>
                    </a:lnTo>
                    <a:lnTo>
                      <a:pt x="160" y="22"/>
                    </a:lnTo>
                    <a:lnTo>
                      <a:pt x="160" y="23"/>
                    </a:lnTo>
                    <a:lnTo>
                      <a:pt x="161" y="23"/>
                    </a:lnTo>
                    <a:lnTo>
                      <a:pt x="161" y="22"/>
                    </a:lnTo>
                    <a:lnTo>
                      <a:pt x="162" y="23"/>
                    </a:lnTo>
                    <a:lnTo>
                      <a:pt x="162" y="22"/>
                    </a:lnTo>
                    <a:lnTo>
                      <a:pt x="162" y="23"/>
                    </a:lnTo>
                    <a:lnTo>
                      <a:pt x="163" y="23"/>
                    </a:lnTo>
                    <a:lnTo>
                      <a:pt x="163" y="24"/>
                    </a:lnTo>
                    <a:lnTo>
                      <a:pt x="164" y="24"/>
                    </a:lnTo>
                    <a:lnTo>
                      <a:pt x="164" y="23"/>
                    </a:lnTo>
                    <a:lnTo>
                      <a:pt x="166" y="23"/>
                    </a:lnTo>
                    <a:close/>
                  </a:path>
                </a:pathLst>
              </a:custGeom>
              <a:solidFill>
                <a:srgbClr val="62AA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6" name="Freeform 284">
                <a:extLst>
                  <a:ext uri="{FF2B5EF4-FFF2-40B4-BE49-F238E27FC236}">
                    <a16:creationId xmlns:a16="http://schemas.microsoft.com/office/drawing/2014/main" id="{7211F85F-DBBD-C477-6130-DB6C2B854989}"/>
                  </a:ext>
                </a:extLst>
              </p:cNvPr>
              <p:cNvSpPr>
                <a:spLocks/>
              </p:cNvSpPr>
              <p:nvPr/>
            </p:nvSpPr>
            <p:spPr bwMode="auto">
              <a:xfrm>
                <a:off x="4405313" y="4235450"/>
                <a:ext cx="369888" cy="468313"/>
              </a:xfrm>
              <a:custGeom>
                <a:avLst/>
                <a:gdLst>
                  <a:gd name="T0" fmla="*/ 233 w 233"/>
                  <a:gd name="T1" fmla="*/ 5 h 295"/>
                  <a:gd name="T2" fmla="*/ 229 w 233"/>
                  <a:gd name="T3" fmla="*/ 9 h 295"/>
                  <a:gd name="T4" fmla="*/ 227 w 233"/>
                  <a:gd name="T5" fmla="*/ 10 h 295"/>
                  <a:gd name="T6" fmla="*/ 224 w 233"/>
                  <a:gd name="T7" fmla="*/ 13 h 295"/>
                  <a:gd name="T8" fmla="*/ 221 w 233"/>
                  <a:gd name="T9" fmla="*/ 17 h 295"/>
                  <a:gd name="T10" fmla="*/ 219 w 233"/>
                  <a:gd name="T11" fmla="*/ 21 h 295"/>
                  <a:gd name="T12" fmla="*/ 216 w 233"/>
                  <a:gd name="T13" fmla="*/ 25 h 295"/>
                  <a:gd name="T14" fmla="*/ 215 w 233"/>
                  <a:gd name="T15" fmla="*/ 27 h 295"/>
                  <a:gd name="T16" fmla="*/ 215 w 233"/>
                  <a:gd name="T17" fmla="*/ 30 h 295"/>
                  <a:gd name="T18" fmla="*/ 203 w 233"/>
                  <a:gd name="T19" fmla="*/ 42 h 295"/>
                  <a:gd name="T20" fmla="*/ 189 w 233"/>
                  <a:gd name="T21" fmla="*/ 49 h 295"/>
                  <a:gd name="T22" fmla="*/ 176 w 233"/>
                  <a:gd name="T23" fmla="*/ 58 h 295"/>
                  <a:gd name="T24" fmla="*/ 163 w 233"/>
                  <a:gd name="T25" fmla="*/ 77 h 295"/>
                  <a:gd name="T26" fmla="*/ 157 w 233"/>
                  <a:gd name="T27" fmla="*/ 116 h 295"/>
                  <a:gd name="T28" fmla="*/ 163 w 233"/>
                  <a:gd name="T29" fmla="*/ 136 h 295"/>
                  <a:gd name="T30" fmla="*/ 163 w 233"/>
                  <a:gd name="T31" fmla="*/ 139 h 295"/>
                  <a:gd name="T32" fmla="*/ 164 w 233"/>
                  <a:gd name="T33" fmla="*/ 139 h 295"/>
                  <a:gd name="T34" fmla="*/ 167 w 233"/>
                  <a:gd name="T35" fmla="*/ 146 h 295"/>
                  <a:gd name="T36" fmla="*/ 172 w 233"/>
                  <a:gd name="T37" fmla="*/ 154 h 295"/>
                  <a:gd name="T38" fmla="*/ 147 w 233"/>
                  <a:gd name="T39" fmla="*/ 189 h 295"/>
                  <a:gd name="T40" fmla="*/ 128 w 233"/>
                  <a:gd name="T41" fmla="*/ 192 h 295"/>
                  <a:gd name="T42" fmla="*/ 92 w 233"/>
                  <a:gd name="T43" fmla="*/ 203 h 295"/>
                  <a:gd name="T44" fmla="*/ 90 w 233"/>
                  <a:gd name="T45" fmla="*/ 223 h 295"/>
                  <a:gd name="T46" fmla="*/ 90 w 233"/>
                  <a:gd name="T47" fmla="*/ 240 h 295"/>
                  <a:gd name="T48" fmla="*/ 93 w 233"/>
                  <a:gd name="T49" fmla="*/ 261 h 295"/>
                  <a:gd name="T50" fmla="*/ 94 w 233"/>
                  <a:gd name="T51" fmla="*/ 271 h 295"/>
                  <a:gd name="T52" fmla="*/ 92 w 233"/>
                  <a:gd name="T53" fmla="*/ 284 h 295"/>
                  <a:gd name="T54" fmla="*/ 57 w 233"/>
                  <a:gd name="T55" fmla="*/ 289 h 295"/>
                  <a:gd name="T56" fmla="*/ 51 w 233"/>
                  <a:gd name="T57" fmla="*/ 294 h 295"/>
                  <a:gd name="T58" fmla="*/ 48 w 233"/>
                  <a:gd name="T59" fmla="*/ 291 h 295"/>
                  <a:gd name="T60" fmla="*/ 42 w 233"/>
                  <a:gd name="T61" fmla="*/ 289 h 295"/>
                  <a:gd name="T62" fmla="*/ 36 w 233"/>
                  <a:gd name="T63" fmla="*/ 286 h 295"/>
                  <a:gd name="T64" fmla="*/ 30 w 233"/>
                  <a:gd name="T65" fmla="*/ 289 h 295"/>
                  <a:gd name="T66" fmla="*/ 27 w 233"/>
                  <a:gd name="T67" fmla="*/ 289 h 295"/>
                  <a:gd name="T68" fmla="*/ 21 w 233"/>
                  <a:gd name="T69" fmla="*/ 290 h 295"/>
                  <a:gd name="T70" fmla="*/ 14 w 233"/>
                  <a:gd name="T71" fmla="*/ 270 h 295"/>
                  <a:gd name="T72" fmla="*/ 10 w 233"/>
                  <a:gd name="T73" fmla="*/ 246 h 295"/>
                  <a:gd name="T74" fmla="*/ 9 w 233"/>
                  <a:gd name="T75" fmla="*/ 221 h 295"/>
                  <a:gd name="T76" fmla="*/ 9 w 233"/>
                  <a:gd name="T77" fmla="*/ 213 h 295"/>
                  <a:gd name="T78" fmla="*/ 9 w 233"/>
                  <a:gd name="T79" fmla="*/ 182 h 295"/>
                  <a:gd name="T80" fmla="*/ 16 w 233"/>
                  <a:gd name="T81" fmla="*/ 169 h 295"/>
                  <a:gd name="T82" fmla="*/ 14 w 233"/>
                  <a:gd name="T83" fmla="*/ 159 h 295"/>
                  <a:gd name="T84" fmla="*/ 34 w 233"/>
                  <a:gd name="T85" fmla="*/ 62 h 295"/>
                  <a:gd name="T86" fmla="*/ 44 w 233"/>
                  <a:gd name="T87" fmla="*/ 58 h 295"/>
                  <a:gd name="T88" fmla="*/ 49 w 233"/>
                  <a:gd name="T89" fmla="*/ 60 h 295"/>
                  <a:gd name="T90" fmla="*/ 56 w 233"/>
                  <a:gd name="T91" fmla="*/ 60 h 295"/>
                  <a:gd name="T92" fmla="*/ 68 w 233"/>
                  <a:gd name="T93" fmla="*/ 74 h 295"/>
                  <a:gd name="T94" fmla="*/ 85 w 233"/>
                  <a:gd name="T95" fmla="*/ 73 h 295"/>
                  <a:gd name="T96" fmla="*/ 102 w 233"/>
                  <a:gd name="T97" fmla="*/ 56 h 295"/>
                  <a:gd name="T98" fmla="*/ 120 w 233"/>
                  <a:gd name="T99" fmla="*/ 28 h 295"/>
                  <a:gd name="T100" fmla="*/ 150 w 233"/>
                  <a:gd name="T101" fmla="*/ 16 h 295"/>
                  <a:gd name="T102" fmla="*/ 171 w 233"/>
                  <a:gd name="T103" fmla="*/ 13 h 295"/>
                  <a:gd name="T104" fmla="*/ 182 w 233"/>
                  <a:gd name="T105" fmla="*/ 10 h 295"/>
                  <a:gd name="T106" fmla="*/ 190 w 233"/>
                  <a:gd name="T107" fmla="*/ 11 h 295"/>
                  <a:gd name="T108" fmla="*/ 197 w 233"/>
                  <a:gd name="T109" fmla="*/ 8 h 295"/>
                  <a:gd name="T110" fmla="*/ 210 w 233"/>
                  <a:gd name="T111" fmla="*/ 2 h 295"/>
                  <a:gd name="T112" fmla="*/ 224 w 233"/>
                  <a:gd name="T113"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3" h="295">
                    <a:moveTo>
                      <a:pt x="232" y="3"/>
                    </a:moveTo>
                    <a:lnTo>
                      <a:pt x="231" y="4"/>
                    </a:lnTo>
                    <a:lnTo>
                      <a:pt x="232" y="4"/>
                    </a:lnTo>
                    <a:lnTo>
                      <a:pt x="232" y="5"/>
                    </a:lnTo>
                    <a:lnTo>
                      <a:pt x="233" y="5"/>
                    </a:lnTo>
                    <a:lnTo>
                      <a:pt x="233" y="7"/>
                    </a:lnTo>
                    <a:lnTo>
                      <a:pt x="233" y="5"/>
                    </a:lnTo>
                    <a:lnTo>
                      <a:pt x="233" y="7"/>
                    </a:lnTo>
                    <a:lnTo>
                      <a:pt x="232" y="7"/>
                    </a:lnTo>
                    <a:lnTo>
                      <a:pt x="231" y="7"/>
                    </a:lnTo>
                    <a:lnTo>
                      <a:pt x="230" y="7"/>
                    </a:lnTo>
                    <a:lnTo>
                      <a:pt x="230" y="8"/>
                    </a:lnTo>
                    <a:lnTo>
                      <a:pt x="229" y="8"/>
                    </a:lnTo>
                    <a:lnTo>
                      <a:pt x="229" y="9"/>
                    </a:lnTo>
                    <a:lnTo>
                      <a:pt x="228" y="9"/>
                    </a:lnTo>
                    <a:lnTo>
                      <a:pt x="229" y="9"/>
                    </a:lnTo>
                    <a:lnTo>
                      <a:pt x="228" y="9"/>
                    </a:lnTo>
                    <a:lnTo>
                      <a:pt x="229" y="9"/>
                    </a:lnTo>
                    <a:lnTo>
                      <a:pt x="228" y="9"/>
                    </a:lnTo>
                    <a:lnTo>
                      <a:pt x="228" y="10"/>
                    </a:lnTo>
                    <a:lnTo>
                      <a:pt x="227" y="10"/>
                    </a:lnTo>
                    <a:lnTo>
                      <a:pt x="227" y="11"/>
                    </a:lnTo>
                    <a:lnTo>
                      <a:pt x="225" y="11"/>
                    </a:lnTo>
                    <a:lnTo>
                      <a:pt x="225" y="12"/>
                    </a:lnTo>
                    <a:lnTo>
                      <a:pt x="225" y="11"/>
                    </a:lnTo>
                    <a:lnTo>
                      <a:pt x="225" y="12"/>
                    </a:lnTo>
                    <a:lnTo>
                      <a:pt x="224" y="12"/>
                    </a:lnTo>
                    <a:lnTo>
                      <a:pt x="224" y="13"/>
                    </a:lnTo>
                    <a:lnTo>
                      <a:pt x="223" y="13"/>
                    </a:lnTo>
                    <a:lnTo>
                      <a:pt x="223" y="14"/>
                    </a:lnTo>
                    <a:lnTo>
                      <a:pt x="223" y="15"/>
                    </a:lnTo>
                    <a:lnTo>
                      <a:pt x="222" y="15"/>
                    </a:lnTo>
                    <a:lnTo>
                      <a:pt x="222" y="16"/>
                    </a:lnTo>
                    <a:lnTo>
                      <a:pt x="221" y="16"/>
                    </a:lnTo>
                    <a:lnTo>
                      <a:pt x="221" y="17"/>
                    </a:lnTo>
                    <a:lnTo>
                      <a:pt x="221" y="19"/>
                    </a:lnTo>
                    <a:lnTo>
                      <a:pt x="220" y="19"/>
                    </a:lnTo>
                    <a:lnTo>
                      <a:pt x="220" y="20"/>
                    </a:lnTo>
                    <a:lnTo>
                      <a:pt x="220" y="19"/>
                    </a:lnTo>
                    <a:lnTo>
                      <a:pt x="220" y="20"/>
                    </a:lnTo>
                    <a:lnTo>
                      <a:pt x="219" y="20"/>
                    </a:lnTo>
                    <a:lnTo>
                      <a:pt x="219" y="21"/>
                    </a:lnTo>
                    <a:lnTo>
                      <a:pt x="218" y="22"/>
                    </a:lnTo>
                    <a:lnTo>
                      <a:pt x="218" y="23"/>
                    </a:lnTo>
                    <a:lnTo>
                      <a:pt x="217" y="23"/>
                    </a:lnTo>
                    <a:lnTo>
                      <a:pt x="218" y="24"/>
                    </a:lnTo>
                    <a:lnTo>
                      <a:pt x="217" y="24"/>
                    </a:lnTo>
                    <a:lnTo>
                      <a:pt x="217" y="25"/>
                    </a:lnTo>
                    <a:lnTo>
                      <a:pt x="216" y="25"/>
                    </a:lnTo>
                    <a:lnTo>
                      <a:pt x="217" y="25"/>
                    </a:lnTo>
                    <a:lnTo>
                      <a:pt x="216" y="25"/>
                    </a:lnTo>
                    <a:lnTo>
                      <a:pt x="216" y="26"/>
                    </a:lnTo>
                    <a:lnTo>
                      <a:pt x="217" y="26"/>
                    </a:lnTo>
                    <a:lnTo>
                      <a:pt x="216" y="26"/>
                    </a:lnTo>
                    <a:lnTo>
                      <a:pt x="216" y="27"/>
                    </a:lnTo>
                    <a:lnTo>
                      <a:pt x="215" y="27"/>
                    </a:lnTo>
                    <a:lnTo>
                      <a:pt x="215" y="28"/>
                    </a:lnTo>
                    <a:lnTo>
                      <a:pt x="215" y="29"/>
                    </a:lnTo>
                    <a:lnTo>
                      <a:pt x="214" y="29"/>
                    </a:lnTo>
                    <a:lnTo>
                      <a:pt x="215" y="29"/>
                    </a:lnTo>
                    <a:lnTo>
                      <a:pt x="214" y="29"/>
                    </a:lnTo>
                    <a:lnTo>
                      <a:pt x="215" y="29"/>
                    </a:lnTo>
                    <a:lnTo>
                      <a:pt x="215" y="30"/>
                    </a:lnTo>
                    <a:lnTo>
                      <a:pt x="214" y="30"/>
                    </a:lnTo>
                    <a:lnTo>
                      <a:pt x="214" y="32"/>
                    </a:lnTo>
                    <a:lnTo>
                      <a:pt x="212" y="33"/>
                    </a:lnTo>
                    <a:lnTo>
                      <a:pt x="210" y="33"/>
                    </a:lnTo>
                    <a:lnTo>
                      <a:pt x="208" y="35"/>
                    </a:lnTo>
                    <a:lnTo>
                      <a:pt x="208" y="37"/>
                    </a:lnTo>
                    <a:lnTo>
                      <a:pt x="203" y="42"/>
                    </a:lnTo>
                    <a:lnTo>
                      <a:pt x="201" y="42"/>
                    </a:lnTo>
                    <a:lnTo>
                      <a:pt x="199" y="42"/>
                    </a:lnTo>
                    <a:lnTo>
                      <a:pt x="197" y="43"/>
                    </a:lnTo>
                    <a:lnTo>
                      <a:pt x="195" y="45"/>
                    </a:lnTo>
                    <a:lnTo>
                      <a:pt x="194" y="47"/>
                    </a:lnTo>
                    <a:lnTo>
                      <a:pt x="192" y="49"/>
                    </a:lnTo>
                    <a:lnTo>
                      <a:pt x="189" y="49"/>
                    </a:lnTo>
                    <a:lnTo>
                      <a:pt x="188" y="50"/>
                    </a:lnTo>
                    <a:lnTo>
                      <a:pt x="186" y="51"/>
                    </a:lnTo>
                    <a:lnTo>
                      <a:pt x="184" y="52"/>
                    </a:lnTo>
                    <a:lnTo>
                      <a:pt x="182" y="54"/>
                    </a:lnTo>
                    <a:lnTo>
                      <a:pt x="180" y="54"/>
                    </a:lnTo>
                    <a:lnTo>
                      <a:pt x="178" y="55"/>
                    </a:lnTo>
                    <a:lnTo>
                      <a:pt x="176" y="58"/>
                    </a:lnTo>
                    <a:lnTo>
                      <a:pt x="175" y="58"/>
                    </a:lnTo>
                    <a:lnTo>
                      <a:pt x="173" y="59"/>
                    </a:lnTo>
                    <a:lnTo>
                      <a:pt x="172" y="60"/>
                    </a:lnTo>
                    <a:lnTo>
                      <a:pt x="171" y="63"/>
                    </a:lnTo>
                    <a:lnTo>
                      <a:pt x="169" y="66"/>
                    </a:lnTo>
                    <a:lnTo>
                      <a:pt x="166" y="71"/>
                    </a:lnTo>
                    <a:lnTo>
                      <a:pt x="163" y="77"/>
                    </a:lnTo>
                    <a:lnTo>
                      <a:pt x="159" y="85"/>
                    </a:lnTo>
                    <a:lnTo>
                      <a:pt x="158" y="93"/>
                    </a:lnTo>
                    <a:lnTo>
                      <a:pt x="156" y="101"/>
                    </a:lnTo>
                    <a:lnTo>
                      <a:pt x="157" y="102"/>
                    </a:lnTo>
                    <a:lnTo>
                      <a:pt x="156" y="106"/>
                    </a:lnTo>
                    <a:lnTo>
                      <a:pt x="156" y="113"/>
                    </a:lnTo>
                    <a:lnTo>
                      <a:pt x="157" y="116"/>
                    </a:lnTo>
                    <a:lnTo>
                      <a:pt x="157" y="120"/>
                    </a:lnTo>
                    <a:lnTo>
                      <a:pt x="158" y="125"/>
                    </a:lnTo>
                    <a:lnTo>
                      <a:pt x="159" y="128"/>
                    </a:lnTo>
                    <a:lnTo>
                      <a:pt x="160" y="133"/>
                    </a:lnTo>
                    <a:lnTo>
                      <a:pt x="162" y="135"/>
                    </a:lnTo>
                    <a:lnTo>
                      <a:pt x="163" y="135"/>
                    </a:lnTo>
                    <a:lnTo>
                      <a:pt x="163" y="136"/>
                    </a:lnTo>
                    <a:lnTo>
                      <a:pt x="163" y="137"/>
                    </a:lnTo>
                    <a:lnTo>
                      <a:pt x="164" y="137"/>
                    </a:lnTo>
                    <a:lnTo>
                      <a:pt x="163" y="137"/>
                    </a:lnTo>
                    <a:lnTo>
                      <a:pt x="164" y="137"/>
                    </a:lnTo>
                    <a:lnTo>
                      <a:pt x="164" y="138"/>
                    </a:lnTo>
                    <a:lnTo>
                      <a:pt x="163" y="138"/>
                    </a:lnTo>
                    <a:lnTo>
                      <a:pt x="163" y="139"/>
                    </a:lnTo>
                    <a:lnTo>
                      <a:pt x="164" y="139"/>
                    </a:lnTo>
                    <a:lnTo>
                      <a:pt x="163" y="139"/>
                    </a:lnTo>
                    <a:lnTo>
                      <a:pt x="164" y="139"/>
                    </a:lnTo>
                    <a:lnTo>
                      <a:pt x="163" y="139"/>
                    </a:lnTo>
                    <a:lnTo>
                      <a:pt x="164" y="139"/>
                    </a:lnTo>
                    <a:lnTo>
                      <a:pt x="163" y="139"/>
                    </a:lnTo>
                    <a:lnTo>
                      <a:pt x="164" y="139"/>
                    </a:lnTo>
                    <a:lnTo>
                      <a:pt x="164" y="140"/>
                    </a:lnTo>
                    <a:lnTo>
                      <a:pt x="165" y="141"/>
                    </a:lnTo>
                    <a:lnTo>
                      <a:pt x="165" y="142"/>
                    </a:lnTo>
                    <a:lnTo>
                      <a:pt x="165" y="143"/>
                    </a:lnTo>
                    <a:lnTo>
                      <a:pt x="166" y="144"/>
                    </a:lnTo>
                    <a:lnTo>
                      <a:pt x="166" y="145"/>
                    </a:lnTo>
                    <a:lnTo>
                      <a:pt x="167" y="146"/>
                    </a:lnTo>
                    <a:lnTo>
                      <a:pt x="167" y="148"/>
                    </a:lnTo>
                    <a:lnTo>
                      <a:pt x="168" y="149"/>
                    </a:lnTo>
                    <a:lnTo>
                      <a:pt x="168" y="150"/>
                    </a:lnTo>
                    <a:lnTo>
                      <a:pt x="169" y="151"/>
                    </a:lnTo>
                    <a:lnTo>
                      <a:pt x="170" y="152"/>
                    </a:lnTo>
                    <a:lnTo>
                      <a:pt x="170" y="153"/>
                    </a:lnTo>
                    <a:lnTo>
                      <a:pt x="172" y="154"/>
                    </a:lnTo>
                    <a:lnTo>
                      <a:pt x="172" y="155"/>
                    </a:lnTo>
                    <a:lnTo>
                      <a:pt x="171" y="156"/>
                    </a:lnTo>
                    <a:lnTo>
                      <a:pt x="169" y="159"/>
                    </a:lnTo>
                    <a:lnTo>
                      <a:pt x="164" y="167"/>
                    </a:lnTo>
                    <a:lnTo>
                      <a:pt x="152" y="183"/>
                    </a:lnTo>
                    <a:lnTo>
                      <a:pt x="150" y="186"/>
                    </a:lnTo>
                    <a:lnTo>
                      <a:pt x="147" y="189"/>
                    </a:lnTo>
                    <a:lnTo>
                      <a:pt x="142" y="189"/>
                    </a:lnTo>
                    <a:lnTo>
                      <a:pt x="137" y="190"/>
                    </a:lnTo>
                    <a:lnTo>
                      <a:pt x="136" y="190"/>
                    </a:lnTo>
                    <a:lnTo>
                      <a:pt x="134" y="190"/>
                    </a:lnTo>
                    <a:lnTo>
                      <a:pt x="131" y="191"/>
                    </a:lnTo>
                    <a:lnTo>
                      <a:pt x="129" y="192"/>
                    </a:lnTo>
                    <a:lnTo>
                      <a:pt x="128" y="192"/>
                    </a:lnTo>
                    <a:lnTo>
                      <a:pt x="127" y="192"/>
                    </a:lnTo>
                    <a:lnTo>
                      <a:pt x="119" y="191"/>
                    </a:lnTo>
                    <a:lnTo>
                      <a:pt x="114" y="193"/>
                    </a:lnTo>
                    <a:lnTo>
                      <a:pt x="94" y="200"/>
                    </a:lnTo>
                    <a:lnTo>
                      <a:pt x="93" y="200"/>
                    </a:lnTo>
                    <a:lnTo>
                      <a:pt x="92" y="201"/>
                    </a:lnTo>
                    <a:lnTo>
                      <a:pt x="92" y="203"/>
                    </a:lnTo>
                    <a:lnTo>
                      <a:pt x="92" y="207"/>
                    </a:lnTo>
                    <a:lnTo>
                      <a:pt x="92" y="210"/>
                    </a:lnTo>
                    <a:lnTo>
                      <a:pt x="86" y="210"/>
                    </a:lnTo>
                    <a:lnTo>
                      <a:pt x="86" y="213"/>
                    </a:lnTo>
                    <a:lnTo>
                      <a:pt x="86" y="218"/>
                    </a:lnTo>
                    <a:lnTo>
                      <a:pt x="86" y="223"/>
                    </a:lnTo>
                    <a:lnTo>
                      <a:pt x="90" y="223"/>
                    </a:lnTo>
                    <a:lnTo>
                      <a:pt x="90" y="226"/>
                    </a:lnTo>
                    <a:lnTo>
                      <a:pt x="90" y="227"/>
                    </a:lnTo>
                    <a:lnTo>
                      <a:pt x="90" y="234"/>
                    </a:lnTo>
                    <a:lnTo>
                      <a:pt x="90" y="235"/>
                    </a:lnTo>
                    <a:lnTo>
                      <a:pt x="90" y="236"/>
                    </a:lnTo>
                    <a:lnTo>
                      <a:pt x="90" y="238"/>
                    </a:lnTo>
                    <a:lnTo>
                      <a:pt x="90" y="240"/>
                    </a:lnTo>
                    <a:lnTo>
                      <a:pt x="90" y="242"/>
                    </a:lnTo>
                    <a:lnTo>
                      <a:pt x="91" y="245"/>
                    </a:lnTo>
                    <a:lnTo>
                      <a:pt x="90" y="255"/>
                    </a:lnTo>
                    <a:lnTo>
                      <a:pt x="91" y="257"/>
                    </a:lnTo>
                    <a:lnTo>
                      <a:pt x="92" y="258"/>
                    </a:lnTo>
                    <a:lnTo>
                      <a:pt x="92" y="259"/>
                    </a:lnTo>
                    <a:lnTo>
                      <a:pt x="93" y="261"/>
                    </a:lnTo>
                    <a:lnTo>
                      <a:pt x="94" y="264"/>
                    </a:lnTo>
                    <a:lnTo>
                      <a:pt x="94" y="265"/>
                    </a:lnTo>
                    <a:lnTo>
                      <a:pt x="94" y="267"/>
                    </a:lnTo>
                    <a:lnTo>
                      <a:pt x="94" y="268"/>
                    </a:lnTo>
                    <a:lnTo>
                      <a:pt x="94" y="269"/>
                    </a:lnTo>
                    <a:lnTo>
                      <a:pt x="94" y="270"/>
                    </a:lnTo>
                    <a:lnTo>
                      <a:pt x="94" y="271"/>
                    </a:lnTo>
                    <a:lnTo>
                      <a:pt x="94" y="272"/>
                    </a:lnTo>
                    <a:lnTo>
                      <a:pt x="94" y="273"/>
                    </a:lnTo>
                    <a:lnTo>
                      <a:pt x="94" y="272"/>
                    </a:lnTo>
                    <a:lnTo>
                      <a:pt x="94" y="273"/>
                    </a:lnTo>
                    <a:lnTo>
                      <a:pt x="94" y="274"/>
                    </a:lnTo>
                    <a:lnTo>
                      <a:pt x="94" y="276"/>
                    </a:lnTo>
                    <a:lnTo>
                      <a:pt x="92" y="284"/>
                    </a:lnTo>
                    <a:lnTo>
                      <a:pt x="90" y="289"/>
                    </a:lnTo>
                    <a:lnTo>
                      <a:pt x="89" y="289"/>
                    </a:lnTo>
                    <a:lnTo>
                      <a:pt x="88" y="289"/>
                    </a:lnTo>
                    <a:lnTo>
                      <a:pt x="83" y="287"/>
                    </a:lnTo>
                    <a:lnTo>
                      <a:pt x="67" y="287"/>
                    </a:lnTo>
                    <a:lnTo>
                      <a:pt x="59" y="287"/>
                    </a:lnTo>
                    <a:lnTo>
                      <a:pt x="57" y="289"/>
                    </a:lnTo>
                    <a:lnTo>
                      <a:pt x="56" y="289"/>
                    </a:lnTo>
                    <a:lnTo>
                      <a:pt x="56" y="290"/>
                    </a:lnTo>
                    <a:lnTo>
                      <a:pt x="55" y="290"/>
                    </a:lnTo>
                    <a:lnTo>
                      <a:pt x="54" y="292"/>
                    </a:lnTo>
                    <a:lnTo>
                      <a:pt x="53" y="293"/>
                    </a:lnTo>
                    <a:lnTo>
                      <a:pt x="52" y="294"/>
                    </a:lnTo>
                    <a:lnTo>
                      <a:pt x="51" y="294"/>
                    </a:lnTo>
                    <a:lnTo>
                      <a:pt x="50" y="295"/>
                    </a:lnTo>
                    <a:lnTo>
                      <a:pt x="49" y="295"/>
                    </a:lnTo>
                    <a:lnTo>
                      <a:pt x="48" y="295"/>
                    </a:lnTo>
                    <a:lnTo>
                      <a:pt x="48" y="294"/>
                    </a:lnTo>
                    <a:lnTo>
                      <a:pt x="48" y="293"/>
                    </a:lnTo>
                    <a:lnTo>
                      <a:pt x="48" y="292"/>
                    </a:lnTo>
                    <a:lnTo>
                      <a:pt x="48" y="291"/>
                    </a:lnTo>
                    <a:lnTo>
                      <a:pt x="48" y="290"/>
                    </a:lnTo>
                    <a:lnTo>
                      <a:pt x="47" y="290"/>
                    </a:lnTo>
                    <a:lnTo>
                      <a:pt x="46" y="290"/>
                    </a:lnTo>
                    <a:lnTo>
                      <a:pt x="44" y="290"/>
                    </a:lnTo>
                    <a:lnTo>
                      <a:pt x="43" y="290"/>
                    </a:lnTo>
                    <a:lnTo>
                      <a:pt x="43" y="289"/>
                    </a:lnTo>
                    <a:lnTo>
                      <a:pt x="42" y="289"/>
                    </a:lnTo>
                    <a:lnTo>
                      <a:pt x="41" y="289"/>
                    </a:lnTo>
                    <a:lnTo>
                      <a:pt x="40" y="287"/>
                    </a:lnTo>
                    <a:lnTo>
                      <a:pt x="39" y="287"/>
                    </a:lnTo>
                    <a:lnTo>
                      <a:pt x="39" y="286"/>
                    </a:lnTo>
                    <a:lnTo>
                      <a:pt x="38" y="286"/>
                    </a:lnTo>
                    <a:lnTo>
                      <a:pt x="37" y="286"/>
                    </a:lnTo>
                    <a:lnTo>
                      <a:pt x="36" y="286"/>
                    </a:lnTo>
                    <a:lnTo>
                      <a:pt x="35" y="286"/>
                    </a:lnTo>
                    <a:lnTo>
                      <a:pt x="34" y="286"/>
                    </a:lnTo>
                    <a:lnTo>
                      <a:pt x="33" y="286"/>
                    </a:lnTo>
                    <a:lnTo>
                      <a:pt x="33" y="287"/>
                    </a:lnTo>
                    <a:lnTo>
                      <a:pt x="31" y="287"/>
                    </a:lnTo>
                    <a:lnTo>
                      <a:pt x="30" y="287"/>
                    </a:lnTo>
                    <a:lnTo>
                      <a:pt x="30" y="289"/>
                    </a:lnTo>
                    <a:lnTo>
                      <a:pt x="29" y="289"/>
                    </a:lnTo>
                    <a:lnTo>
                      <a:pt x="29" y="287"/>
                    </a:lnTo>
                    <a:lnTo>
                      <a:pt x="28" y="287"/>
                    </a:lnTo>
                    <a:lnTo>
                      <a:pt x="27" y="287"/>
                    </a:lnTo>
                    <a:lnTo>
                      <a:pt x="27" y="289"/>
                    </a:lnTo>
                    <a:lnTo>
                      <a:pt x="27" y="287"/>
                    </a:lnTo>
                    <a:lnTo>
                      <a:pt x="27" y="289"/>
                    </a:lnTo>
                    <a:lnTo>
                      <a:pt x="26" y="289"/>
                    </a:lnTo>
                    <a:lnTo>
                      <a:pt x="25" y="289"/>
                    </a:lnTo>
                    <a:lnTo>
                      <a:pt x="24" y="289"/>
                    </a:lnTo>
                    <a:lnTo>
                      <a:pt x="23" y="289"/>
                    </a:lnTo>
                    <a:lnTo>
                      <a:pt x="23" y="290"/>
                    </a:lnTo>
                    <a:lnTo>
                      <a:pt x="22" y="290"/>
                    </a:lnTo>
                    <a:lnTo>
                      <a:pt x="21" y="290"/>
                    </a:lnTo>
                    <a:lnTo>
                      <a:pt x="21" y="291"/>
                    </a:lnTo>
                    <a:lnTo>
                      <a:pt x="21" y="290"/>
                    </a:lnTo>
                    <a:lnTo>
                      <a:pt x="21" y="291"/>
                    </a:lnTo>
                    <a:lnTo>
                      <a:pt x="15" y="279"/>
                    </a:lnTo>
                    <a:lnTo>
                      <a:pt x="15" y="278"/>
                    </a:lnTo>
                    <a:lnTo>
                      <a:pt x="15" y="274"/>
                    </a:lnTo>
                    <a:lnTo>
                      <a:pt x="14" y="270"/>
                    </a:lnTo>
                    <a:lnTo>
                      <a:pt x="14" y="268"/>
                    </a:lnTo>
                    <a:lnTo>
                      <a:pt x="14" y="267"/>
                    </a:lnTo>
                    <a:lnTo>
                      <a:pt x="14" y="262"/>
                    </a:lnTo>
                    <a:lnTo>
                      <a:pt x="14" y="253"/>
                    </a:lnTo>
                    <a:lnTo>
                      <a:pt x="14" y="252"/>
                    </a:lnTo>
                    <a:lnTo>
                      <a:pt x="14" y="246"/>
                    </a:lnTo>
                    <a:lnTo>
                      <a:pt x="10" y="246"/>
                    </a:lnTo>
                    <a:lnTo>
                      <a:pt x="9" y="246"/>
                    </a:lnTo>
                    <a:lnTo>
                      <a:pt x="9" y="245"/>
                    </a:lnTo>
                    <a:lnTo>
                      <a:pt x="9" y="236"/>
                    </a:lnTo>
                    <a:lnTo>
                      <a:pt x="14" y="236"/>
                    </a:lnTo>
                    <a:lnTo>
                      <a:pt x="14" y="226"/>
                    </a:lnTo>
                    <a:lnTo>
                      <a:pt x="9" y="226"/>
                    </a:lnTo>
                    <a:lnTo>
                      <a:pt x="9" y="221"/>
                    </a:lnTo>
                    <a:lnTo>
                      <a:pt x="8" y="221"/>
                    </a:lnTo>
                    <a:lnTo>
                      <a:pt x="8" y="220"/>
                    </a:lnTo>
                    <a:lnTo>
                      <a:pt x="9" y="219"/>
                    </a:lnTo>
                    <a:lnTo>
                      <a:pt x="11" y="218"/>
                    </a:lnTo>
                    <a:lnTo>
                      <a:pt x="11" y="217"/>
                    </a:lnTo>
                    <a:lnTo>
                      <a:pt x="10" y="215"/>
                    </a:lnTo>
                    <a:lnTo>
                      <a:pt x="9" y="213"/>
                    </a:lnTo>
                    <a:lnTo>
                      <a:pt x="5" y="202"/>
                    </a:lnTo>
                    <a:lnTo>
                      <a:pt x="1" y="190"/>
                    </a:lnTo>
                    <a:lnTo>
                      <a:pt x="1" y="189"/>
                    </a:lnTo>
                    <a:lnTo>
                      <a:pt x="0" y="187"/>
                    </a:lnTo>
                    <a:lnTo>
                      <a:pt x="1" y="187"/>
                    </a:lnTo>
                    <a:lnTo>
                      <a:pt x="3" y="186"/>
                    </a:lnTo>
                    <a:lnTo>
                      <a:pt x="9" y="182"/>
                    </a:lnTo>
                    <a:lnTo>
                      <a:pt x="11" y="181"/>
                    </a:lnTo>
                    <a:lnTo>
                      <a:pt x="12" y="180"/>
                    </a:lnTo>
                    <a:lnTo>
                      <a:pt x="17" y="177"/>
                    </a:lnTo>
                    <a:lnTo>
                      <a:pt x="17" y="175"/>
                    </a:lnTo>
                    <a:lnTo>
                      <a:pt x="16" y="172"/>
                    </a:lnTo>
                    <a:lnTo>
                      <a:pt x="16" y="171"/>
                    </a:lnTo>
                    <a:lnTo>
                      <a:pt x="16" y="169"/>
                    </a:lnTo>
                    <a:lnTo>
                      <a:pt x="15" y="167"/>
                    </a:lnTo>
                    <a:lnTo>
                      <a:pt x="15" y="166"/>
                    </a:lnTo>
                    <a:lnTo>
                      <a:pt x="15" y="165"/>
                    </a:lnTo>
                    <a:lnTo>
                      <a:pt x="14" y="163"/>
                    </a:lnTo>
                    <a:lnTo>
                      <a:pt x="14" y="162"/>
                    </a:lnTo>
                    <a:lnTo>
                      <a:pt x="14" y="161"/>
                    </a:lnTo>
                    <a:lnTo>
                      <a:pt x="14" y="159"/>
                    </a:lnTo>
                    <a:lnTo>
                      <a:pt x="11" y="145"/>
                    </a:lnTo>
                    <a:lnTo>
                      <a:pt x="22" y="144"/>
                    </a:lnTo>
                    <a:lnTo>
                      <a:pt x="24" y="129"/>
                    </a:lnTo>
                    <a:lnTo>
                      <a:pt x="24" y="127"/>
                    </a:lnTo>
                    <a:lnTo>
                      <a:pt x="28" y="101"/>
                    </a:lnTo>
                    <a:lnTo>
                      <a:pt x="29" y="94"/>
                    </a:lnTo>
                    <a:lnTo>
                      <a:pt x="34" y="62"/>
                    </a:lnTo>
                    <a:lnTo>
                      <a:pt x="35" y="56"/>
                    </a:lnTo>
                    <a:lnTo>
                      <a:pt x="35" y="55"/>
                    </a:lnTo>
                    <a:lnTo>
                      <a:pt x="39" y="56"/>
                    </a:lnTo>
                    <a:lnTo>
                      <a:pt x="40" y="56"/>
                    </a:lnTo>
                    <a:lnTo>
                      <a:pt x="43" y="56"/>
                    </a:lnTo>
                    <a:lnTo>
                      <a:pt x="44" y="56"/>
                    </a:lnTo>
                    <a:lnTo>
                      <a:pt x="44" y="58"/>
                    </a:lnTo>
                    <a:lnTo>
                      <a:pt x="46" y="59"/>
                    </a:lnTo>
                    <a:lnTo>
                      <a:pt x="46" y="60"/>
                    </a:lnTo>
                    <a:lnTo>
                      <a:pt x="47" y="60"/>
                    </a:lnTo>
                    <a:lnTo>
                      <a:pt x="47" y="61"/>
                    </a:lnTo>
                    <a:lnTo>
                      <a:pt x="48" y="61"/>
                    </a:lnTo>
                    <a:lnTo>
                      <a:pt x="49" y="61"/>
                    </a:lnTo>
                    <a:lnTo>
                      <a:pt x="49" y="60"/>
                    </a:lnTo>
                    <a:lnTo>
                      <a:pt x="50" y="60"/>
                    </a:lnTo>
                    <a:lnTo>
                      <a:pt x="51" y="59"/>
                    </a:lnTo>
                    <a:lnTo>
                      <a:pt x="52" y="59"/>
                    </a:lnTo>
                    <a:lnTo>
                      <a:pt x="53" y="59"/>
                    </a:lnTo>
                    <a:lnTo>
                      <a:pt x="54" y="59"/>
                    </a:lnTo>
                    <a:lnTo>
                      <a:pt x="55" y="59"/>
                    </a:lnTo>
                    <a:lnTo>
                      <a:pt x="56" y="60"/>
                    </a:lnTo>
                    <a:lnTo>
                      <a:pt x="57" y="61"/>
                    </a:lnTo>
                    <a:lnTo>
                      <a:pt x="59" y="64"/>
                    </a:lnTo>
                    <a:lnTo>
                      <a:pt x="60" y="65"/>
                    </a:lnTo>
                    <a:lnTo>
                      <a:pt x="63" y="69"/>
                    </a:lnTo>
                    <a:lnTo>
                      <a:pt x="65" y="71"/>
                    </a:lnTo>
                    <a:lnTo>
                      <a:pt x="66" y="72"/>
                    </a:lnTo>
                    <a:lnTo>
                      <a:pt x="68" y="74"/>
                    </a:lnTo>
                    <a:lnTo>
                      <a:pt x="72" y="75"/>
                    </a:lnTo>
                    <a:lnTo>
                      <a:pt x="73" y="75"/>
                    </a:lnTo>
                    <a:lnTo>
                      <a:pt x="75" y="75"/>
                    </a:lnTo>
                    <a:lnTo>
                      <a:pt x="77" y="75"/>
                    </a:lnTo>
                    <a:lnTo>
                      <a:pt x="80" y="75"/>
                    </a:lnTo>
                    <a:lnTo>
                      <a:pt x="82" y="74"/>
                    </a:lnTo>
                    <a:lnTo>
                      <a:pt x="85" y="73"/>
                    </a:lnTo>
                    <a:lnTo>
                      <a:pt x="87" y="72"/>
                    </a:lnTo>
                    <a:lnTo>
                      <a:pt x="90" y="71"/>
                    </a:lnTo>
                    <a:lnTo>
                      <a:pt x="92" y="68"/>
                    </a:lnTo>
                    <a:lnTo>
                      <a:pt x="95" y="66"/>
                    </a:lnTo>
                    <a:lnTo>
                      <a:pt x="98" y="63"/>
                    </a:lnTo>
                    <a:lnTo>
                      <a:pt x="100" y="60"/>
                    </a:lnTo>
                    <a:lnTo>
                      <a:pt x="102" y="56"/>
                    </a:lnTo>
                    <a:lnTo>
                      <a:pt x="106" y="49"/>
                    </a:lnTo>
                    <a:lnTo>
                      <a:pt x="115" y="34"/>
                    </a:lnTo>
                    <a:lnTo>
                      <a:pt x="116" y="33"/>
                    </a:lnTo>
                    <a:lnTo>
                      <a:pt x="116" y="32"/>
                    </a:lnTo>
                    <a:lnTo>
                      <a:pt x="117" y="32"/>
                    </a:lnTo>
                    <a:lnTo>
                      <a:pt x="118" y="30"/>
                    </a:lnTo>
                    <a:lnTo>
                      <a:pt x="120" y="28"/>
                    </a:lnTo>
                    <a:lnTo>
                      <a:pt x="123" y="27"/>
                    </a:lnTo>
                    <a:lnTo>
                      <a:pt x="127" y="25"/>
                    </a:lnTo>
                    <a:lnTo>
                      <a:pt x="131" y="23"/>
                    </a:lnTo>
                    <a:lnTo>
                      <a:pt x="134" y="22"/>
                    </a:lnTo>
                    <a:lnTo>
                      <a:pt x="140" y="20"/>
                    </a:lnTo>
                    <a:lnTo>
                      <a:pt x="144" y="19"/>
                    </a:lnTo>
                    <a:lnTo>
                      <a:pt x="150" y="16"/>
                    </a:lnTo>
                    <a:lnTo>
                      <a:pt x="155" y="16"/>
                    </a:lnTo>
                    <a:lnTo>
                      <a:pt x="158" y="15"/>
                    </a:lnTo>
                    <a:lnTo>
                      <a:pt x="162" y="15"/>
                    </a:lnTo>
                    <a:lnTo>
                      <a:pt x="166" y="14"/>
                    </a:lnTo>
                    <a:lnTo>
                      <a:pt x="169" y="13"/>
                    </a:lnTo>
                    <a:lnTo>
                      <a:pt x="170" y="13"/>
                    </a:lnTo>
                    <a:lnTo>
                      <a:pt x="171" y="13"/>
                    </a:lnTo>
                    <a:lnTo>
                      <a:pt x="175" y="11"/>
                    </a:lnTo>
                    <a:lnTo>
                      <a:pt x="177" y="10"/>
                    </a:lnTo>
                    <a:lnTo>
                      <a:pt x="178" y="10"/>
                    </a:lnTo>
                    <a:lnTo>
                      <a:pt x="179" y="10"/>
                    </a:lnTo>
                    <a:lnTo>
                      <a:pt x="180" y="10"/>
                    </a:lnTo>
                    <a:lnTo>
                      <a:pt x="181" y="10"/>
                    </a:lnTo>
                    <a:lnTo>
                      <a:pt x="182" y="10"/>
                    </a:lnTo>
                    <a:lnTo>
                      <a:pt x="183" y="10"/>
                    </a:lnTo>
                    <a:lnTo>
                      <a:pt x="184" y="10"/>
                    </a:lnTo>
                    <a:lnTo>
                      <a:pt x="185" y="9"/>
                    </a:lnTo>
                    <a:lnTo>
                      <a:pt x="186" y="9"/>
                    </a:lnTo>
                    <a:lnTo>
                      <a:pt x="188" y="10"/>
                    </a:lnTo>
                    <a:lnTo>
                      <a:pt x="189" y="10"/>
                    </a:lnTo>
                    <a:lnTo>
                      <a:pt x="190" y="11"/>
                    </a:lnTo>
                    <a:lnTo>
                      <a:pt x="191" y="11"/>
                    </a:lnTo>
                    <a:lnTo>
                      <a:pt x="192" y="11"/>
                    </a:lnTo>
                    <a:lnTo>
                      <a:pt x="193" y="12"/>
                    </a:lnTo>
                    <a:lnTo>
                      <a:pt x="194" y="11"/>
                    </a:lnTo>
                    <a:lnTo>
                      <a:pt x="195" y="11"/>
                    </a:lnTo>
                    <a:lnTo>
                      <a:pt x="196" y="10"/>
                    </a:lnTo>
                    <a:lnTo>
                      <a:pt x="197" y="8"/>
                    </a:lnTo>
                    <a:lnTo>
                      <a:pt x="199" y="7"/>
                    </a:lnTo>
                    <a:lnTo>
                      <a:pt x="203" y="4"/>
                    </a:lnTo>
                    <a:lnTo>
                      <a:pt x="206" y="3"/>
                    </a:lnTo>
                    <a:lnTo>
                      <a:pt x="207" y="2"/>
                    </a:lnTo>
                    <a:lnTo>
                      <a:pt x="208" y="2"/>
                    </a:lnTo>
                    <a:lnTo>
                      <a:pt x="209" y="1"/>
                    </a:lnTo>
                    <a:lnTo>
                      <a:pt x="210" y="2"/>
                    </a:lnTo>
                    <a:lnTo>
                      <a:pt x="211" y="2"/>
                    </a:lnTo>
                    <a:lnTo>
                      <a:pt x="214" y="3"/>
                    </a:lnTo>
                    <a:lnTo>
                      <a:pt x="216" y="3"/>
                    </a:lnTo>
                    <a:lnTo>
                      <a:pt x="218" y="3"/>
                    </a:lnTo>
                    <a:lnTo>
                      <a:pt x="221" y="2"/>
                    </a:lnTo>
                    <a:lnTo>
                      <a:pt x="224" y="1"/>
                    </a:lnTo>
                    <a:lnTo>
                      <a:pt x="224" y="0"/>
                    </a:lnTo>
                    <a:lnTo>
                      <a:pt x="225" y="0"/>
                    </a:lnTo>
                    <a:lnTo>
                      <a:pt x="227" y="1"/>
                    </a:lnTo>
                    <a:lnTo>
                      <a:pt x="229" y="2"/>
                    </a:lnTo>
                    <a:lnTo>
                      <a:pt x="231" y="3"/>
                    </a:lnTo>
                    <a:lnTo>
                      <a:pt x="232" y="3"/>
                    </a:lnTo>
                    <a:close/>
                  </a:path>
                </a:pathLst>
              </a:custGeom>
              <a:solidFill>
                <a:srgbClr val="72B3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7" name="Freeform 285">
                <a:extLst>
                  <a:ext uri="{FF2B5EF4-FFF2-40B4-BE49-F238E27FC236}">
                    <a16:creationId xmlns:a16="http://schemas.microsoft.com/office/drawing/2014/main" id="{438204BE-71AC-A35F-F21F-B185AD7069CB}"/>
                  </a:ext>
                </a:extLst>
              </p:cNvPr>
              <p:cNvSpPr>
                <a:spLocks/>
              </p:cNvSpPr>
              <p:nvPr/>
            </p:nvSpPr>
            <p:spPr bwMode="auto">
              <a:xfrm>
                <a:off x="3998913" y="4181475"/>
                <a:ext cx="461963" cy="320675"/>
              </a:xfrm>
              <a:custGeom>
                <a:avLst/>
                <a:gdLst>
                  <a:gd name="T0" fmla="*/ 137 w 291"/>
                  <a:gd name="T1" fmla="*/ 2 h 202"/>
                  <a:gd name="T2" fmla="*/ 140 w 291"/>
                  <a:gd name="T3" fmla="*/ 3 h 202"/>
                  <a:gd name="T4" fmla="*/ 147 w 291"/>
                  <a:gd name="T5" fmla="*/ 4 h 202"/>
                  <a:gd name="T6" fmla="*/ 153 w 291"/>
                  <a:gd name="T7" fmla="*/ 5 h 202"/>
                  <a:gd name="T8" fmla="*/ 156 w 291"/>
                  <a:gd name="T9" fmla="*/ 11 h 202"/>
                  <a:gd name="T10" fmla="*/ 165 w 291"/>
                  <a:gd name="T11" fmla="*/ 16 h 202"/>
                  <a:gd name="T12" fmla="*/ 165 w 291"/>
                  <a:gd name="T13" fmla="*/ 21 h 202"/>
                  <a:gd name="T14" fmla="*/ 170 w 291"/>
                  <a:gd name="T15" fmla="*/ 24 h 202"/>
                  <a:gd name="T16" fmla="*/ 174 w 291"/>
                  <a:gd name="T17" fmla="*/ 33 h 202"/>
                  <a:gd name="T18" fmla="*/ 174 w 291"/>
                  <a:gd name="T19" fmla="*/ 38 h 202"/>
                  <a:gd name="T20" fmla="*/ 179 w 291"/>
                  <a:gd name="T21" fmla="*/ 41 h 202"/>
                  <a:gd name="T22" fmla="*/ 181 w 291"/>
                  <a:gd name="T23" fmla="*/ 50 h 202"/>
                  <a:gd name="T24" fmla="*/ 188 w 291"/>
                  <a:gd name="T25" fmla="*/ 48 h 202"/>
                  <a:gd name="T26" fmla="*/ 191 w 291"/>
                  <a:gd name="T27" fmla="*/ 47 h 202"/>
                  <a:gd name="T28" fmla="*/ 197 w 291"/>
                  <a:gd name="T29" fmla="*/ 50 h 202"/>
                  <a:gd name="T30" fmla="*/ 194 w 291"/>
                  <a:gd name="T31" fmla="*/ 57 h 202"/>
                  <a:gd name="T32" fmla="*/ 196 w 291"/>
                  <a:gd name="T33" fmla="*/ 64 h 202"/>
                  <a:gd name="T34" fmla="*/ 203 w 291"/>
                  <a:gd name="T35" fmla="*/ 68 h 202"/>
                  <a:gd name="T36" fmla="*/ 204 w 291"/>
                  <a:gd name="T37" fmla="*/ 73 h 202"/>
                  <a:gd name="T38" fmla="*/ 211 w 291"/>
                  <a:gd name="T39" fmla="*/ 76 h 202"/>
                  <a:gd name="T40" fmla="*/ 216 w 291"/>
                  <a:gd name="T41" fmla="*/ 75 h 202"/>
                  <a:gd name="T42" fmla="*/ 220 w 291"/>
                  <a:gd name="T43" fmla="*/ 79 h 202"/>
                  <a:gd name="T44" fmla="*/ 224 w 291"/>
                  <a:gd name="T45" fmla="*/ 83 h 202"/>
                  <a:gd name="T46" fmla="*/ 228 w 291"/>
                  <a:gd name="T47" fmla="*/ 88 h 202"/>
                  <a:gd name="T48" fmla="*/ 228 w 291"/>
                  <a:gd name="T49" fmla="*/ 94 h 202"/>
                  <a:gd name="T50" fmla="*/ 232 w 291"/>
                  <a:gd name="T51" fmla="*/ 97 h 202"/>
                  <a:gd name="T52" fmla="*/ 235 w 291"/>
                  <a:gd name="T53" fmla="*/ 105 h 202"/>
                  <a:gd name="T54" fmla="*/ 239 w 291"/>
                  <a:gd name="T55" fmla="*/ 112 h 202"/>
                  <a:gd name="T56" fmla="*/ 244 w 291"/>
                  <a:gd name="T57" fmla="*/ 114 h 202"/>
                  <a:gd name="T58" fmla="*/ 250 w 291"/>
                  <a:gd name="T59" fmla="*/ 121 h 202"/>
                  <a:gd name="T60" fmla="*/ 257 w 291"/>
                  <a:gd name="T61" fmla="*/ 120 h 202"/>
                  <a:gd name="T62" fmla="*/ 263 w 291"/>
                  <a:gd name="T63" fmla="*/ 111 h 202"/>
                  <a:gd name="T64" fmla="*/ 266 w 291"/>
                  <a:gd name="T65" fmla="*/ 106 h 202"/>
                  <a:gd name="T66" fmla="*/ 265 w 291"/>
                  <a:gd name="T67" fmla="*/ 96 h 202"/>
                  <a:gd name="T68" fmla="*/ 272 w 291"/>
                  <a:gd name="T69" fmla="*/ 95 h 202"/>
                  <a:gd name="T70" fmla="*/ 281 w 291"/>
                  <a:gd name="T71" fmla="*/ 82 h 202"/>
                  <a:gd name="T72" fmla="*/ 290 w 291"/>
                  <a:gd name="T73" fmla="*/ 89 h 202"/>
                  <a:gd name="T74" fmla="*/ 219 w 291"/>
                  <a:gd name="T75" fmla="*/ 144 h 202"/>
                  <a:gd name="T76" fmla="*/ 140 w 291"/>
                  <a:gd name="T77" fmla="*/ 161 h 202"/>
                  <a:gd name="T78" fmla="*/ 115 w 291"/>
                  <a:gd name="T79" fmla="*/ 172 h 202"/>
                  <a:gd name="T80" fmla="*/ 95 w 291"/>
                  <a:gd name="T81" fmla="*/ 195 h 202"/>
                  <a:gd name="T82" fmla="*/ 65 w 291"/>
                  <a:gd name="T83" fmla="*/ 193 h 202"/>
                  <a:gd name="T84" fmla="*/ 32 w 291"/>
                  <a:gd name="T85" fmla="*/ 197 h 202"/>
                  <a:gd name="T86" fmla="*/ 11 w 291"/>
                  <a:gd name="T87" fmla="*/ 202 h 202"/>
                  <a:gd name="T88" fmla="*/ 11 w 291"/>
                  <a:gd name="T89" fmla="*/ 163 h 202"/>
                  <a:gd name="T90" fmla="*/ 27 w 291"/>
                  <a:gd name="T91" fmla="*/ 103 h 202"/>
                  <a:gd name="T92" fmla="*/ 41 w 291"/>
                  <a:gd name="T93" fmla="*/ 57 h 202"/>
                  <a:gd name="T94" fmla="*/ 54 w 291"/>
                  <a:gd name="T95" fmla="*/ 17 h 202"/>
                  <a:gd name="T96" fmla="*/ 57 w 291"/>
                  <a:gd name="T97" fmla="*/ 10 h 202"/>
                  <a:gd name="T98" fmla="*/ 63 w 291"/>
                  <a:gd name="T99" fmla="*/ 8 h 202"/>
                  <a:gd name="T100" fmla="*/ 70 w 291"/>
                  <a:gd name="T101" fmla="*/ 4 h 202"/>
                  <a:gd name="T102" fmla="*/ 77 w 291"/>
                  <a:gd name="T103" fmla="*/ 3 h 202"/>
                  <a:gd name="T104" fmla="*/ 84 w 291"/>
                  <a:gd name="T105" fmla="*/ 2 h 202"/>
                  <a:gd name="T106" fmla="*/ 90 w 291"/>
                  <a:gd name="T107" fmla="*/ 2 h 202"/>
                  <a:gd name="T108" fmla="*/ 98 w 291"/>
                  <a:gd name="T109" fmla="*/ 2 h 202"/>
                  <a:gd name="T110" fmla="*/ 100 w 291"/>
                  <a:gd name="T111" fmla="*/ 5 h 202"/>
                  <a:gd name="T112" fmla="*/ 109 w 291"/>
                  <a:gd name="T113" fmla="*/ 4 h 202"/>
                  <a:gd name="T114" fmla="*/ 115 w 291"/>
                  <a:gd name="T115" fmla="*/ 2 h 202"/>
                  <a:gd name="T116" fmla="*/ 122 w 291"/>
                  <a:gd name="T117" fmla="*/ 5 h 202"/>
                  <a:gd name="T118" fmla="*/ 128 w 291"/>
                  <a:gd name="T119" fmla="*/ 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202">
                    <a:moveTo>
                      <a:pt x="132" y="2"/>
                    </a:moveTo>
                    <a:lnTo>
                      <a:pt x="132" y="3"/>
                    </a:lnTo>
                    <a:lnTo>
                      <a:pt x="134" y="3"/>
                    </a:lnTo>
                    <a:lnTo>
                      <a:pt x="135" y="2"/>
                    </a:lnTo>
                    <a:lnTo>
                      <a:pt x="135" y="0"/>
                    </a:lnTo>
                    <a:lnTo>
                      <a:pt x="136" y="0"/>
                    </a:lnTo>
                    <a:lnTo>
                      <a:pt x="136" y="2"/>
                    </a:lnTo>
                    <a:lnTo>
                      <a:pt x="137" y="2"/>
                    </a:lnTo>
                    <a:lnTo>
                      <a:pt x="137" y="3"/>
                    </a:lnTo>
                    <a:lnTo>
                      <a:pt x="137" y="4"/>
                    </a:lnTo>
                    <a:lnTo>
                      <a:pt x="138" y="4"/>
                    </a:lnTo>
                    <a:lnTo>
                      <a:pt x="138" y="3"/>
                    </a:lnTo>
                    <a:lnTo>
                      <a:pt x="138" y="2"/>
                    </a:lnTo>
                    <a:lnTo>
                      <a:pt x="139" y="2"/>
                    </a:lnTo>
                    <a:lnTo>
                      <a:pt x="139" y="3"/>
                    </a:lnTo>
                    <a:lnTo>
                      <a:pt x="140" y="3"/>
                    </a:lnTo>
                    <a:lnTo>
                      <a:pt x="141" y="3"/>
                    </a:lnTo>
                    <a:lnTo>
                      <a:pt x="142" y="3"/>
                    </a:lnTo>
                    <a:lnTo>
                      <a:pt x="143" y="2"/>
                    </a:lnTo>
                    <a:lnTo>
                      <a:pt x="144" y="2"/>
                    </a:lnTo>
                    <a:lnTo>
                      <a:pt x="144" y="3"/>
                    </a:lnTo>
                    <a:lnTo>
                      <a:pt x="144" y="4"/>
                    </a:lnTo>
                    <a:lnTo>
                      <a:pt x="145" y="4"/>
                    </a:lnTo>
                    <a:lnTo>
                      <a:pt x="147" y="4"/>
                    </a:lnTo>
                    <a:lnTo>
                      <a:pt x="148" y="4"/>
                    </a:lnTo>
                    <a:lnTo>
                      <a:pt x="148" y="5"/>
                    </a:lnTo>
                    <a:lnTo>
                      <a:pt x="149" y="5"/>
                    </a:lnTo>
                    <a:lnTo>
                      <a:pt x="150" y="5"/>
                    </a:lnTo>
                    <a:lnTo>
                      <a:pt x="151" y="4"/>
                    </a:lnTo>
                    <a:lnTo>
                      <a:pt x="152" y="3"/>
                    </a:lnTo>
                    <a:lnTo>
                      <a:pt x="153" y="4"/>
                    </a:lnTo>
                    <a:lnTo>
                      <a:pt x="153" y="5"/>
                    </a:lnTo>
                    <a:lnTo>
                      <a:pt x="152" y="5"/>
                    </a:lnTo>
                    <a:lnTo>
                      <a:pt x="152" y="6"/>
                    </a:lnTo>
                    <a:lnTo>
                      <a:pt x="152" y="7"/>
                    </a:lnTo>
                    <a:lnTo>
                      <a:pt x="153" y="7"/>
                    </a:lnTo>
                    <a:lnTo>
                      <a:pt x="154" y="9"/>
                    </a:lnTo>
                    <a:lnTo>
                      <a:pt x="155" y="9"/>
                    </a:lnTo>
                    <a:lnTo>
                      <a:pt x="156" y="10"/>
                    </a:lnTo>
                    <a:lnTo>
                      <a:pt x="156" y="11"/>
                    </a:lnTo>
                    <a:lnTo>
                      <a:pt x="157" y="12"/>
                    </a:lnTo>
                    <a:lnTo>
                      <a:pt x="158" y="13"/>
                    </a:lnTo>
                    <a:lnTo>
                      <a:pt x="160" y="13"/>
                    </a:lnTo>
                    <a:lnTo>
                      <a:pt x="161" y="13"/>
                    </a:lnTo>
                    <a:lnTo>
                      <a:pt x="162" y="13"/>
                    </a:lnTo>
                    <a:lnTo>
                      <a:pt x="163" y="15"/>
                    </a:lnTo>
                    <a:lnTo>
                      <a:pt x="164" y="15"/>
                    </a:lnTo>
                    <a:lnTo>
                      <a:pt x="165" y="16"/>
                    </a:lnTo>
                    <a:lnTo>
                      <a:pt x="166" y="16"/>
                    </a:lnTo>
                    <a:lnTo>
                      <a:pt x="166" y="17"/>
                    </a:lnTo>
                    <a:lnTo>
                      <a:pt x="165" y="17"/>
                    </a:lnTo>
                    <a:lnTo>
                      <a:pt x="164" y="17"/>
                    </a:lnTo>
                    <a:lnTo>
                      <a:pt x="164" y="18"/>
                    </a:lnTo>
                    <a:lnTo>
                      <a:pt x="164" y="19"/>
                    </a:lnTo>
                    <a:lnTo>
                      <a:pt x="164" y="20"/>
                    </a:lnTo>
                    <a:lnTo>
                      <a:pt x="165" y="21"/>
                    </a:lnTo>
                    <a:lnTo>
                      <a:pt x="166" y="21"/>
                    </a:lnTo>
                    <a:lnTo>
                      <a:pt x="167" y="21"/>
                    </a:lnTo>
                    <a:lnTo>
                      <a:pt x="169" y="21"/>
                    </a:lnTo>
                    <a:lnTo>
                      <a:pt x="170" y="21"/>
                    </a:lnTo>
                    <a:lnTo>
                      <a:pt x="170" y="22"/>
                    </a:lnTo>
                    <a:lnTo>
                      <a:pt x="170" y="23"/>
                    </a:lnTo>
                    <a:lnTo>
                      <a:pt x="169" y="24"/>
                    </a:lnTo>
                    <a:lnTo>
                      <a:pt x="170" y="24"/>
                    </a:lnTo>
                    <a:lnTo>
                      <a:pt x="170" y="25"/>
                    </a:lnTo>
                    <a:lnTo>
                      <a:pt x="171" y="26"/>
                    </a:lnTo>
                    <a:lnTo>
                      <a:pt x="171" y="28"/>
                    </a:lnTo>
                    <a:lnTo>
                      <a:pt x="171" y="29"/>
                    </a:lnTo>
                    <a:lnTo>
                      <a:pt x="173" y="30"/>
                    </a:lnTo>
                    <a:lnTo>
                      <a:pt x="173" y="31"/>
                    </a:lnTo>
                    <a:lnTo>
                      <a:pt x="173" y="32"/>
                    </a:lnTo>
                    <a:lnTo>
                      <a:pt x="174" y="33"/>
                    </a:lnTo>
                    <a:lnTo>
                      <a:pt x="175" y="33"/>
                    </a:lnTo>
                    <a:lnTo>
                      <a:pt x="175" y="34"/>
                    </a:lnTo>
                    <a:lnTo>
                      <a:pt x="174" y="34"/>
                    </a:lnTo>
                    <a:lnTo>
                      <a:pt x="173" y="34"/>
                    </a:lnTo>
                    <a:lnTo>
                      <a:pt x="173" y="35"/>
                    </a:lnTo>
                    <a:lnTo>
                      <a:pt x="173" y="36"/>
                    </a:lnTo>
                    <a:lnTo>
                      <a:pt x="173" y="38"/>
                    </a:lnTo>
                    <a:lnTo>
                      <a:pt x="174" y="38"/>
                    </a:lnTo>
                    <a:lnTo>
                      <a:pt x="175" y="39"/>
                    </a:lnTo>
                    <a:lnTo>
                      <a:pt x="176" y="39"/>
                    </a:lnTo>
                    <a:lnTo>
                      <a:pt x="177" y="39"/>
                    </a:lnTo>
                    <a:lnTo>
                      <a:pt x="178" y="39"/>
                    </a:lnTo>
                    <a:lnTo>
                      <a:pt x="179" y="39"/>
                    </a:lnTo>
                    <a:lnTo>
                      <a:pt x="180" y="39"/>
                    </a:lnTo>
                    <a:lnTo>
                      <a:pt x="180" y="41"/>
                    </a:lnTo>
                    <a:lnTo>
                      <a:pt x="179" y="41"/>
                    </a:lnTo>
                    <a:lnTo>
                      <a:pt x="179" y="42"/>
                    </a:lnTo>
                    <a:lnTo>
                      <a:pt x="178" y="42"/>
                    </a:lnTo>
                    <a:lnTo>
                      <a:pt x="178" y="43"/>
                    </a:lnTo>
                    <a:lnTo>
                      <a:pt x="179" y="45"/>
                    </a:lnTo>
                    <a:lnTo>
                      <a:pt x="180" y="46"/>
                    </a:lnTo>
                    <a:lnTo>
                      <a:pt x="180" y="48"/>
                    </a:lnTo>
                    <a:lnTo>
                      <a:pt x="181" y="49"/>
                    </a:lnTo>
                    <a:lnTo>
                      <a:pt x="181" y="50"/>
                    </a:lnTo>
                    <a:lnTo>
                      <a:pt x="181" y="51"/>
                    </a:lnTo>
                    <a:lnTo>
                      <a:pt x="182" y="51"/>
                    </a:lnTo>
                    <a:lnTo>
                      <a:pt x="183" y="51"/>
                    </a:lnTo>
                    <a:lnTo>
                      <a:pt x="183" y="50"/>
                    </a:lnTo>
                    <a:lnTo>
                      <a:pt x="184" y="50"/>
                    </a:lnTo>
                    <a:lnTo>
                      <a:pt x="184" y="49"/>
                    </a:lnTo>
                    <a:lnTo>
                      <a:pt x="186" y="49"/>
                    </a:lnTo>
                    <a:lnTo>
                      <a:pt x="188" y="48"/>
                    </a:lnTo>
                    <a:lnTo>
                      <a:pt x="189" y="48"/>
                    </a:lnTo>
                    <a:lnTo>
                      <a:pt x="190" y="48"/>
                    </a:lnTo>
                    <a:lnTo>
                      <a:pt x="190" y="47"/>
                    </a:lnTo>
                    <a:lnTo>
                      <a:pt x="189" y="46"/>
                    </a:lnTo>
                    <a:lnTo>
                      <a:pt x="189" y="45"/>
                    </a:lnTo>
                    <a:lnTo>
                      <a:pt x="190" y="45"/>
                    </a:lnTo>
                    <a:lnTo>
                      <a:pt x="191" y="46"/>
                    </a:lnTo>
                    <a:lnTo>
                      <a:pt x="191" y="47"/>
                    </a:lnTo>
                    <a:lnTo>
                      <a:pt x="192" y="47"/>
                    </a:lnTo>
                    <a:lnTo>
                      <a:pt x="193" y="47"/>
                    </a:lnTo>
                    <a:lnTo>
                      <a:pt x="194" y="47"/>
                    </a:lnTo>
                    <a:lnTo>
                      <a:pt x="195" y="47"/>
                    </a:lnTo>
                    <a:lnTo>
                      <a:pt x="196" y="47"/>
                    </a:lnTo>
                    <a:lnTo>
                      <a:pt x="197" y="48"/>
                    </a:lnTo>
                    <a:lnTo>
                      <a:pt x="197" y="49"/>
                    </a:lnTo>
                    <a:lnTo>
                      <a:pt x="197" y="50"/>
                    </a:lnTo>
                    <a:lnTo>
                      <a:pt x="199" y="50"/>
                    </a:lnTo>
                    <a:lnTo>
                      <a:pt x="199" y="51"/>
                    </a:lnTo>
                    <a:lnTo>
                      <a:pt x="200" y="51"/>
                    </a:lnTo>
                    <a:lnTo>
                      <a:pt x="199" y="51"/>
                    </a:lnTo>
                    <a:lnTo>
                      <a:pt x="197" y="53"/>
                    </a:lnTo>
                    <a:lnTo>
                      <a:pt x="196" y="54"/>
                    </a:lnTo>
                    <a:lnTo>
                      <a:pt x="195" y="56"/>
                    </a:lnTo>
                    <a:lnTo>
                      <a:pt x="194" y="57"/>
                    </a:lnTo>
                    <a:lnTo>
                      <a:pt x="193" y="58"/>
                    </a:lnTo>
                    <a:lnTo>
                      <a:pt x="193" y="59"/>
                    </a:lnTo>
                    <a:lnTo>
                      <a:pt x="194" y="60"/>
                    </a:lnTo>
                    <a:lnTo>
                      <a:pt x="194" y="61"/>
                    </a:lnTo>
                    <a:lnTo>
                      <a:pt x="195" y="62"/>
                    </a:lnTo>
                    <a:lnTo>
                      <a:pt x="195" y="63"/>
                    </a:lnTo>
                    <a:lnTo>
                      <a:pt x="196" y="63"/>
                    </a:lnTo>
                    <a:lnTo>
                      <a:pt x="196" y="64"/>
                    </a:lnTo>
                    <a:lnTo>
                      <a:pt x="197" y="66"/>
                    </a:lnTo>
                    <a:lnTo>
                      <a:pt x="199" y="66"/>
                    </a:lnTo>
                    <a:lnTo>
                      <a:pt x="200" y="66"/>
                    </a:lnTo>
                    <a:lnTo>
                      <a:pt x="200" y="67"/>
                    </a:lnTo>
                    <a:lnTo>
                      <a:pt x="201" y="67"/>
                    </a:lnTo>
                    <a:lnTo>
                      <a:pt x="202" y="67"/>
                    </a:lnTo>
                    <a:lnTo>
                      <a:pt x="202" y="68"/>
                    </a:lnTo>
                    <a:lnTo>
                      <a:pt x="203" y="68"/>
                    </a:lnTo>
                    <a:lnTo>
                      <a:pt x="204" y="68"/>
                    </a:lnTo>
                    <a:lnTo>
                      <a:pt x="204" y="69"/>
                    </a:lnTo>
                    <a:lnTo>
                      <a:pt x="204" y="70"/>
                    </a:lnTo>
                    <a:lnTo>
                      <a:pt x="203" y="70"/>
                    </a:lnTo>
                    <a:lnTo>
                      <a:pt x="203" y="71"/>
                    </a:lnTo>
                    <a:lnTo>
                      <a:pt x="204" y="71"/>
                    </a:lnTo>
                    <a:lnTo>
                      <a:pt x="204" y="72"/>
                    </a:lnTo>
                    <a:lnTo>
                      <a:pt x="204" y="73"/>
                    </a:lnTo>
                    <a:lnTo>
                      <a:pt x="205" y="73"/>
                    </a:lnTo>
                    <a:lnTo>
                      <a:pt x="206" y="73"/>
                    </a:lnTo>
                    <a:lnTo>
                      <a:pt x="206" y="74"/>
                    </a:lnTo>
                    <a:lnTo>
                      <a:pt x="207" y="75"/>
                    </a:lnTo>
                    <a:lnTo>
                      <a:pt x="208" y="75"/>
                    </a:lnTo>
                    <a:lnTo>
                      <a:pt x="208" y="76"/>
                    </a:lnTo>
                    <a:lnTo>
                      <a:pt x="209" y="76"/>
                    </a:lnTo>
                    <a:lnTo>
                      <a:pt x="211" y="76"/>
                    </a:lnTo>
                    <a:lnTo>
                      <a:pt x="212" y="77"/>
                    </a:lnTo>
                    <a:lnTo>
                      <a:pt x="212" y="76"/>
                    </a:lnTo>
                    <a:lnTo>
                      <a:pt x="213" y="76"/>
                    </a:lnTo>
                    <a:lnTo>
                      <a:pt x="214" y="76"/>
                    </a:lnTo>
                    <a:lnTo>
                      <a:pt x="214" y="75"/>
                    </a:lnTo>
                    <a:lnTo>
                      <a:pt x="215" y="75"/>
                    </a:lnTo>
                    <a:lnTo>
                      <a:pt x="216" y="76"/>
                    </a:lnTo>
                    <a:lnTo>
                      <a:pt x="216" y="75"/>
                    </a:lnTo>
                    <a:lnTo>
                      <a:pt x="217" y="75"/>
                    </a:lnTo>
                    <a:lnTo>
                      <a:pt x="217" y="76"/>
                    </a:lnTo>
                    <a:lnTo>
                      <a:pt x="217" y="75"/>
                    </a:lnTo>
                    <a:lnTo>
                      <a:pt x="218" y="75"/>
                    </a:lnTo>
                    <a:lnTo>
                      <a:pt x="219" y="75"/>
                    </a:lnTo>
                    <a:lnTo>
                      <a:pt x="219" y="76"/>
                    </a:lnTo>
                    <a:lnTo>
                      <a:pt x="220" y="77"/>
                    </a:lnTo>
                    <a:lnTo>
                      <a:pt x="220" y="79"/>
                    </a:lnTo>
                    <a:lnTo>
                      <a:pt x="221" y="79"/>
                    </a:lnTo>
                    <a:lnTo>
                      <a:pt x="222" y="80"/>
                    </a:lnTo>
                    <a:lnTo>
                      <a:pt x="224" y="80"/>
                    </a:lnTo>
                    <a:lnTo>
                      <a:pt x="224" y="79"/>
                    </a:lnTo>
                    <a:lnTo>
                      <a:pt x="224" y="80"/>
                    </a:lnTo>
                    <a:lnTo>
                      <a:pt x="224" y="81"/>
                    </a:lnTo>
                    <a:lnTo>
                      <a:pt x="224" y="82"/>
                    </a:lnTo>
                    <a:lnTo>
                      <a:pt x="224" y="83"/>
                    </a:lnTo>
                    <a:lnTo>
                      <a:pt x="225" y="84"/>
                    </a:lnTo>
                    <a:lnTo>
                      <a:pt x="225" y="85"/>
                    </a:lnTo>
                    <a:lnTo>
                      <a:pt x="226" y="85"/>
                    </a:lnTo>
                    <a:lnTo>
                      <a:pt x="226" y="86"/>
                    </a:lnTo>
                    <a:lnTo>
                      <a:pt x="227" y="87"/>
                    </a:lnTo>
                    <a:lnTo>
                      <a:pt x="228" y="87"/>
                    </a:lnTo>
                    <a:lnTo>
                      <a:pt x="229" y="87"/>
                    </a:lnTo>
                    <a:lnTo>
                      <a:pt x="228" y="88"/>
                    </a:lnTo>
                    <a:lnTo>
                      <a:pt x="229" y="88"/>
                    </a:lnTo>
                    <a:lnTo>
                      <a:pt x="230" y="89"/>
                    </a:lnTo>
                    <a:lnTo>
                      <a:pt x="230" y="90"/>
                    </a:lnTo>
                    <a:lnTo>
                      <a:pt x="230" y="92"/>
                    </a:lnTo>
                    <a:lnTo>
                      <a:pt x="230" y="93"/>
                    </a:lnTo>
                    <a:lnTo>
                      <a:pt x="230" y="94"/>
                    </a:lnTo>
                    <a:lnTo>
                      <a:pt x="229" y="94"/>
                    </a:lnTo>
                    <a:lnTo>
                      <a:pt x="228" y="94"/>
                    </a:lnTo>
                    <a:lnTo>
                      <a:pt x="228" y="95"/>
                    </a:lnTo>
                    <a:lnTo>
                      <a:pt x="228" y="96"/>
                    </a:lnTo>
                    <a:lnTo>
                      <a:pt x="229" y="97"/>
                    </a:lnTo>
                    <a:lnTo>
                      <a:pt x="230" y="97"/>
                    </a:lnTo>
                    <a:lnTo>
                      <a:pt x="230" y="96"/>
                    </a:lnTo>
                    <a:lnTo>
                      <a:pt x="231" y="96"/>
                    </a:lnTo>
                    <a:lnTo>
                      <a:pt x="232" y="96"/>
                    </a:lnTo>
                    <a:lnTo>
                      <a:pt x="232" y="97"/>
                    </a:lnTo>
                    <a:lnTo>
                      <a:pt x="233" y="97"/>
                    </a:lnTo>
                    <a:lnTo>
                      <a:pt x="234" y="98"/>
                    </a:lnTo>
                    <a:lnTo>
                      <a:pt x="234" y="99"/>
                    </a:lnTo>
                    <a:lnTo>
                      <a:pt x="235" y="100"/>
                    </a:lnTo>
                    <a:lnTo>
                      <a:pt x="235" y="101"/>
                    </a:lnTo>
                    <a:lnTo>
                      <a:pt x="235" y="102"/>
                    </a:lnTo>
                    <a:lnTo>
                      <a:pt x="235" y="103"/>
                    </a:lnTo>
                    <a:lnTo>
                      <a:pt x="235" y="105"/>
                    </a:lnTo>
                    <a:lnTo>
                      <a:pt x="237" y="105"/>
                    </a:lnTo>
                    <a:lnTo>
                      <a:pt x="238" y="106"/>
                    </a:lnTo>
                    <a:lnTo>
                      <a:pt x="238" y="107"/>
                    </a:lnTo>
                    <a:lnTo>
                      <a:pt x="238" y="108"/>
                    </a:lnTo>
                    <a:lnTo>
                      <a:pt x="238" y="109"/>
                    </a:lnTo>
                    <a:lnTo>
                      <a:pt x="238" y="110"/>
                    </a:lnTo>
                    <a:lnTo>
                      <a:pt x="238" y="112"/>
                    </a:lnTo>
                    <a:lnTo>
                      <a:pt x="239" y="112"/>
                    </a:lnTo>
                    <a:lnTo>
                      <a:pt x="239" y="113"/>
                    </a:lnTo>
                    <a:lnTo>
                      <a:pt x="240" y="113"/>
                    </a:lnTo>
                    <a:lnTo>
                      <a:pt x="240" y="114"/>
                    </a:lnTo>
                    <a:lnTo>
                      <a:pt x="241" y="114"/>
                    </a:lnTo>
                    <a:lnTo>
                      <a:pt x="242" y="115"/>
                    </a:lnTo>
                    <a:lnTo>
                      <a:pt x="243" y="115"/>
                    </a:lnTo>
                    <a:lnTo>
                      <a:pt x="244" y="115"/>
                    </a:lnTo>
                    <a:lnTo>
                      <a:pt x="244" y="114"/>
                    </a:lnTo>
                    <a:lnTo>
                      <a:pt x="245" y="114"/>
                    </a:lnTo>
                    <a:lnTo>
                      <a:pt x="246" y="114"/>
                    </a:lnTo>
                    <a:lnTo>
                      <a:pt x="247" y="114"/>
                    </a:lnTo>
                    <a:lnTo>
                      <a:pt x="248" y="116"/>
                    </a:lnTo>
                    <a:lnTo>
                      <a:pt x="248" y="118"/>
                    </a:lnTo>
                    <a:lnTo>
                      <a:pt x="248" y="119"/>
                    </a:lnTo>
                    <a:lnTo>
                      <a:pt x="250" y="120"/>
                    </a:lnTo>
                    <a:lnTo>
                      <a:pt x="250" y="121"/>
                    </a:lnTo>
                    <a:lnTo>
                      <a:pt x="250" y="122"/>
                    </a:lnTo>
                    <a:lnTo>
                      <a:pt x="251" y="122"/>
                    </a:lnTo>
                    <a:lnTo>
                      <a:pt x="252" y="122"/>
                    </a:lnTo>
                    <a:lnTo>
                      <a:pt x="253" y="122"/>
                    </a:lnTo>
                    <a:lnTo>
                      <a:pt x="254" y="122"/>
                    </a:lnTo>
                    <a:lnTo>
                      <a:pt x="255" y="122"/>
                    </a:lnTo>
                    <a:lnTo>
                      <a:pt x="256" y="121"/>
                    </a:lnTo>
                    <a:lnTo>
                      <a:pt x="257" y="120"/>
                    </a:lnTo>
                    <a:lnTo>
                      <a:pt x="258" y="119"/>
                    </a:lnTo>
                    <a:lnTo>
                      <a:pt x="259" y="118"/>
                    </a:lnTo>
                    <a:lnTo>
                      <a:pt x="259" y="116"/>
                    </a:lnTo>
                    <a:lnTo>
                      <a:pt x="260" y="115"/>
                    </a:lnTo>
                    <a:lnTo>
                      <a:pt x="260" y="113"/>
                    </a:lnTo>
                    <a:lnTo>
                      <a:pt x="260" y="112"/>
                    </a:lnTo>
                    <a:lnTo>
                      <a:pt x="261" y="111"/>
                    </a:lnTo>
                    <a:lnTo>
                      <a:pt x="263" y="111"/>
                    </a:lnTo>
                    <a:lnTo>
                      <a:pt x="264" y="110"/>
                    </a:lnTo>
                    <a:lnTo>
                      <a:pt x="264" y="109"/>
                    </a:lnTo>
                    <a:lnTo>
                      <a:pt x="263" y="109"/>
                    </a:lnTo>
                    <a:lnTo>
                      <a:pt x="264" y="108"/>
                    </a:lnTo>
                    <a:lnTo>
                      <a:pt x="264" y="107"/>
                    </a:lnTo>
                    <a:lnTo>
                      <a:pt x="265" y="107"/>
                    </a:lnTo>
                    <a:lnTo>
                      <a:pt x="266" y="107"/>
                    </a:lnTo>
                    <a:lnTo>
                      <a:pt x="266" y="106"/>
                    </a:lnTo>
                    <a:lnTo>
                      <a:pt x="266" y="105"/>
                    </a:lnTo>
                    <a:lnTo>
                      <a:pt x="265" y="103"/>
                    </a:lnTo>
                    <a:lnTo>
                      <a:pt x="264" y="102"/>
                    </a:lnTo>
                    <a:lnTo>
                      <a:pt x="263" y="101"/>
                    </a:lnTo>
                    <a:lnTo>
                      <a:pt x="263" y="100"/>
                    </a:lnTo>
                    <a:lnTo>
                      <a:pt x="263" y="99"/>
                    </a:lnTo>
                    <a:lnTo>
                      <a:pt x="263" y="98"/>
                    </a:lnTo>
                    <a:lnTo>
                      <a:pt x="265" y="96"/>
                    </a:lnTo>
                    <a:lnTo>
                      <a:pt x="267" y="95"/>
                    </a:lnTo>
                    <a:lnTo>
                      <a:pt x="268" y="94"/>
                    </a:lnTo>
                    <a:lnTo>
                      <a:pt x="269" y="94"/>
                    </a:lnTo>
                    <a:lnTo>
                      <a:pt x="270" y="94"/>
                    </a:lnTo>
                    <a:lnTo>
                      <a:pt x="271" y="96"/>
                    </a:lnTo>
                    <a:lnTo>
                      <a:pt x="272" y="96"/>
                    </a:lnTo>
                    <a:lnTo>
                      <a:pt x="273" y="95"/>
                    </a:lnTo>
                    <a:lnTo>
                      <a:pt x="272" y="95"/>
                    </a:lnTo>
                    <a:lnTo>
                      <a:pt x="272" y="94"/>
                    </a:lnTo>
                    <a:lnTo>
                      <a:pt x="272" y="93"/>
                    </a:lnTo>
                    <a:lnTo>
                      <a:pt x="271" y="92"/>
                    </a:lnTo>
                    <a:lnTo>
                      <a:pt x="272" y="90"/>
                    </a:lnTo>
                    <a:lnTo>
                      <a:pt x="273" y="86"/>
                    </a:lnTo>
                    <a:lnTo>
                      <a:pt x="274" y="86"/>
                    </a:lnTo>
                    <a:lnTo>
                      <a:pt x="278" y="85"/>
                    </a:lnTo>
                    <a:lnTo>
                      <a:pt x="281" y="82"/>
                    </a:lnTo>
                    <a:lnTo>
                      <a:pt x="282" y="82"/>
                    </a:lnTo>
                    <a:lnTo>
                      <a:pt x="284" y="84"/>
                    </a:lnTo>
                    <a:lnTo>
                      <a:pt x="286" y="85"/>
                    </a:lnTo>
                    <a:lnTo>
                      <a:pt x="287" y="85"/>
                    </a:lnTo>
                    <a:lnTo>
                      <a:pt x="289" y="85"/>
                    </a:lnTo>
                    <a:lnTo>
                      <a:pt x="290" y="87"/>
                    </a:lnTo>
                    <a:lnTo>
                      <a:pt x="290" y="88"/>
                    </a:lnTo>
                    <a:lnTo>
                      <a:pt x="290" y="89"/>
                    </a:lnTo>
                    <a:lnTo>
                      <a:pt x="291" y="89"/>
                    </a:lnTo>
                    <a:lnTo>
                      <a:pt x="291" y="90"/>
                    </a:lnTo>
                    <a:lnTo>
                      <a:pt x="290" y="96"/>
                    </a:lnTo>
                    <a:lnTo>
                      <a:pt x="285" y="128"/>
                    </a:lnTo>
                    <a:lnTo>
                      <a:pt x="245" y="137"/>
                    </a:lnTo>
                    <a:lnTo>
                      <a:pt x="244" y="137"/>
                    </a:lnTo>
                    <a:lnTo>
                      <a:pt x="232" y="140"/>
                    </a:lnTo>
                    <a:lnTo>
                      <a:pt x="219" y="144"/>
                    </a:lnTo>
                    <a:lnTo>
                      <a:pt x="213" y="145"/>
                    </a:lnTo>
                    <a:lnTo>
                      <a:pt x="196" y="148"/>
                    </a:lnTo>
                    <a:lnTo>
                      <a:pt x="195" y="149"/>
                    </a:lnTo>
                    <a:lnTo>
                      <a:pt x="157" y="158"/>
                    </a:lnTo>
                    <a:lnTo>
                      <a:pt x="153" y="159"/>
                    </a:lnTo>
                    <a:lnTo>
                      <a:pt x="149" y="160"/>
                    </a:lnTo>
                    <a:lnTo>
                      <a:pt x="145" y="160"/>
                    </a:lnTo>
                    <a:lnTo>
                      <a:pt x="140" y="161"/>
                    </a:lnTo>
                    <a:lnTo>
                      <a:pt x="138" y="162"/>
                    </a:lnTo>
                    <a:lnTo>
                      <a:pt x="134" y="163"/>
                    </a:lnTo>
                    <a:lnTo>
                      <a:pt x="126" y="164"/>
                    </a:lnTo>
                    <a:lnTo>
                      <a:pt x="119" y="165"/>
                    </a:lnTo>
                    <a:lnTo>
                      <a:pt x="117" y="166"/>
                    </a:lnTo>
                    <a:lnTo>
                      <a:pt x="118" y="170"/>
                    </a:lnTo>
                    <a:lnTo>
                      <a:pt x="116" y="171"/>
                    </a:lnTo>
                    <a:lnTo>
                      <a:pt x="115" y="172"/>
                    </a:lnTo>
                    <a:lnTo>
                      <a:pt x="105" y="179"/>
                    </a:lnTo>
                    <a:lnTo>
                      <a:pt x="105" y="180"/>
                    </a:lnTo>
                    <a:lnTo>
                      <a:pt x="105" y="182"/>
                    </a:lnTo>
                    <a:lnTo>
                      <a:pt x="105" y="183"/>
                    </a:lnTo>
                    <a:lnTo>
                      <a:pt x="104" y="183"/>
                    </a:lnTo>
                    <a:lnTo>
                      <a:pt x="104" y="184"/>
                    </a:lnTo>
                    <a:lnTo>
                      <a:pt x="105" y="186"/>
                    </a:lnTo>
                    <a:lnTo>
                      <a:pt x="95" y="195"/>
                    </a:lnTo>
                    <a:lnTo>
                      <a:pt x="88" y="199"/>
                    </a:lnTo>
                    <a:lnTo>
                      <a:pt x="87" y="200"/>
                    </a:lnTo>
                    <a:lnTo>
                      <a:pt x="83" y="200"/>
                    </a:lnTo>
                    <a:lnTo>
                      <a:pt x="77" y="200"/>
                    </a:lnTo>
                    <a:lnTo>
                      <a:pt x="75" y="200"/>
                    </a:lnTo>
                    <a:lnTo>
                      <a:pt x="72" y="198"/>
                    </a:lnTo>
                    <a:lnTo>
                      <a:pt x="66" y="195"/>
                    </a:lnTo>
                    <a:lnTo>
                      <a:pt x="65" y="193"/>
                    </a:lnTo>
                    <a:lnTo>
                      <a:pt x="62" y="190"/>
                    </a:lnTo>
                    <a:lnTo>
                      <a:pt x="50" y="193"/>
                    </a:lnTo>
                    <a:lnTo>
                      <a:pt x="50" y="192"/>
                    </a:lnTo>
                    <a:lnTo>
                      <a:pt x="49" y="192"/>
                    </a:lnTo>
                    <a:lnTo>
                      <a:pt x="38" y="195"/>
                    </a:lnTo>
                    <a:lnTo>
                      <a:pt x="35" y="196"/>
                    </a:lnTo>
                    <a:lnTo>
                      <a:pt x="34" y="195"/>
                    </a:lnTo>
                    <a:lnTo>
                      <a:pt x="32" y="197"/>
                    </a:lnTo>
                    <a:lnTo>
                      <a:pt x="28" y="195"/>
                    </a:lnTo>
                    <a:lnTo>
                      <a:pt x="25" y="192"/>
                    </a:lnTo>
                    <a:lnTo>
                      <a:pt x="23" y="190"/>
                    </a:lnTo>
                    <a:lnTo>
                      <a:pt x="22" y="190"/>
                    </a:lnTo>
                    <a:lnTo>
                      <a:pt x="20" y="188"/>
                    </a:lnTo>
                    <a:lnTo>
                      <a:pt x="18" y="191"/>
                    </a:lnTo>
                    <a:lnTo>
                      <a:pt x="11" y="192"/>
                    </a:lnTo>
                    <a:lnTo>
                      <a:pt x="11" y="202"/>
                    </a:lnTo>
                    <a:lnTo>
                      <a:pt x="1" y="202"/>
                    </a:lnTo>
                    <a:lnTo>
                      <a:pt x="0" y="189"/>
                    </a:lnTo>
                    <a:lnTo>
                      <a:pt x="0" y="179"/>
                    </a:lnTo>
                    <a:lnTo>
                      <a:pt x="0" y="170"/>
                    </a:lnTo>
                    <a:lnTo>
                      <a:pt x="11" y="170"/>
                    </a:lnTo>
                    <a:lnTo>
                      <a:pt x="11" y="169"/>
                    </a:lnTo>
                    <a:lnTo>
                      <a:pt x="11" y="166"/>
                    </a:lnTo>
                    <a:lnTo>
                      <a:pt x="11" y="163"/>
                    </a:lnTo>
                    <a:lnTo>
                      <a:pt x="11" y="151"/>
                    </a:lnTo>
                    <a:lnTo>
                      <a:pt x="11" y="150"/>
                    </a:lnTo>
                    <a:lnTo>
                      <a:pt x="11" y="137"/>
                    </a:lnTo>
                    <a:lnTo>
                      <a:pt x="18" y="133"/>
                    </a:lnTo>
                    <a:lnTo>
                      <a:pt x="19" y="132"/>
                    </a:lnTo>
                    <a:lnTo>
                      <a:pt x="21" y="133"/>
                    </a:lnTo>
                    <a:lnTo>
                      <a:pt x="23" y="118"/>
                    </a:lnTo>
                    <a:lnTo>
                      <a:pt x="27" y="103"/>
                    </a:lnTo>
                    <a:lnTo>
                      <a:pt x="29" y="98"/>
                    </a:lnTo>
                    <a:lnTo>
                      <a:pt x="29" y="96"/>
                    </a:lnTo>
                    <a:lnTo>
                      <a:pt x="31" y="93"/>
                    </a:lnTo>
                    <a:lnTo>
                      <a:pt x="36" y="75"/>
                    </a:lnTo>
                    <a:lnTo>
                      <a:pt x="38" y="69"/>
                    </a:lnTo>
                    <a:lnTo>
                      <a:pt x="38" y="68"/>
                    </a:lnTo>
                    <a:lnTo>
                      <a:pt x="40" y="61"/>
                    </a:lnTo>
                    <a:lnTo>
                      <a:pt x="41" y="57"/>
                    </a:lnTo>
                    <a:lnTo>
                      <a:pt x="47" y="43"/>
                    </a:lnTo>
                    <a:lnTo>
                      <a:pt x="52" y="24"/>
                    </a:lnTo>
                    <a:lnTo>
                      <a:pt x="54" y="21"/>
                    </a:lnTo>
                    <a:lnTo>
                      <a:pt x="53" y="20"/>
                    </a:lnTo>
                    <a:lnTo>
                      <a:pt x="53" y="19"/>
                    </a:lnTo>
                    <a:lnTo>
                      <a:pt x="53" y="18"/>
                    </a:lnTo>
                    <a:lnTo>
                      <a:pt x="54" y="18"/>
                    </a:lnTo>
                    <a:lnTo>
                      <a:pt x="54" y="17"/>
                    </a:lnTo>
                    <a:lnTo>
                      <a:pt x="55" y="15"/>
                    </a:lnTo>
                    <a:lnTo>
                      <a:pt x="55" y="13"/>
                    </a:lnTo>
                    <a:lnTo>
                      <a:pt x="57" y="13"/>
                    </a:lnTo>
                    <a:lnTo>
                      <a:pt x="57" y="12"/>
                    </a:lnTo>
                    <a:lnTo>
                      <a:pt x="58" y="12"/>
                    </a:lnTo>
                    <a:lnTo>
                      <a:pt x="58" y="11"/>
                    </a:lnTo>
                    <a:lnTo>
                      <a:pt x="57" y="11"/>
                    </a:lnTo>
                    <a:lnTo>
                      <a:pt x="57" y="10"/>
                    </a:lnTo>
                    <a:lnTo>
                      <a:pt x="57" y="9"/>
                    </a:lnTo>
                    <a:lnTo>
                      <a:pt x="58" y="9"/>
                    </a:lnTo>
                    <a:lnTo>
                      <a:pt x="58" y="8"/>
                    </a:lnTo>
                    <a:lnTo>
                      <a:pt x="59" y="8"/>
                    </a:lnTo>
                    <a:lnTo>
                      <a:pt x="60" y="8"/>
                    </a:lnTo>
                    <a:lnTo>
                      <a:pt x="61" y="7"/>
                    </a:lnTo>
                    <a:lnTo>
                      <a:pt x="62" y="7"/>
                    </a:lnTo>
                    <a:lnTo>
                      <a:pt x="63" y="8"/>
                    </a:lnTo>
                    <a:lnTo>
                      <a:pt x="64" y="8"/>
                    </a:lnTo>
                    <a:lnTo>
                      <a:pt x="65" y="8"/>
                    </a:lnTo>
                    <a:lnTo>
                      <a:pt x="65" y="7"/>
                    </a:lnTo>
                    <a:lnTo>
                      <a:pt x="66" y="7"/>
                    </a:lnTo>
                    <a:lnTo>
                      <a:pt x="66" y="6"/>
                    </a:lnTo>
                    <a:lnTo>
                      <a:pt x="67" y="5"/>
                    </a:lnTo>
                    <a:lnTo>
                      <a:pt x="68" y="4"/>
                    </a:lnTo>
                    <a:lnTo>
                      <a:pt x="70" y="4"/>
                    </a:lnTo>
                    <a:lnTo>
                      <a:pt x="71" y="4"/>
                    </a:lnTo>
                    <a:lnTo>
                      <a:pt x="72" y="4"/>
                    </a:lnTo>
                    <a:lnTo>
                      <a:pt x="73" y="3"/>
                    </a:lnTo>
                    <a:lnTo>
                      <a:pt x="74" y="2"/>
                    </a:lnTo>
                    <a:lnTo>
                      <a:pt x="75" y="2"/>
                    </a:lnTo>
                    <a:lnTo>
                      <a:pt x="75" y="3"/>
                    </a:lnTo>
                    <a:lnTo>
                      <a:pt x="76" y="3"/>
                    </a:lnTo>
                    <a:lnTo>
                      <a:pt x="77" y="3"/>
                    </a:lnTo>
                    <a:lnTo>
                      <a:pt x="79" y="3"/>
                    </a:lnTo>
                    <a:lnTo>
                      <a:pt x="80" y="3"/>
                    </a:lnTo>
                    <a:lnTo>
                      <a:pt x="80" y="2"/>
                    </a:lnTo>
                    <a:lnTo>
                      <a:pt x="80" y="0"/>
                    </a:lnTo>
                    <a:lnTo>
                      <a:pt x="82" y="0"/>
                    </a:lnTo>
                    <a:lnTo>
                      <a:pt x="83" y="0"/>
                    </a:lnTo>
                    <a:lnTo>
                      <a:pt x="84" y="0"/>
                    </a:lnTo>
                    <a:lnTo>
                      <a:pt x="84" y="2"/>
                    </a:lnTo>
                    <a:lnTo>
                      <a:pt x="85" y="2"/>
                    </a:lnTo>
                    <a:lnTo>
                      <a:pt x="86" y="2"/>
                    </a:lnTo>
                    <a:lnTo>
                      <a:pt x="86" y="0"/>
                    </a:lnTo>
                    <a:lnTo>
                      <a:pt x="87" y="0"/>
                    </a:lnTo>
                    <a:lnTo>
                      <a:pt x="88" y="0"/>
                    </a:lnTo>
                    <a:lnTo>
                      <a:pt x="88" y="2"/>
                    </a:lnTo>
                    <a:lnTo>
                      <a:pt x="89" y="2"/>
                    </a:lnTo>
                    <a:lnTo>
                      <a:pt x="90" y="2"/>
                    </a:lnTo>
                    <a:lnTo>
                      <a:pt x="91" y="2"/>
                    </a:lnTo>
                    <a:lnTo>
                      <a:pt x="92" y="2"/>
                    </a:lnTo>
                    <a:lnTo>
                      <a:pt x="93" y="2"/>
                    </a:lnTo>
                    <a:lnTo>
                      <a:pt x="95" y="2"/>
                    </a:lnTo>
                    <a:lnTo>
                      <a:pt x="96" y="2"/>
                    </a:lnTo>
                    <a:lnTo>
                      <a:pt x="96" y="3"/>
                    </a:lnTo>
                    <a:lnTo>
                      <a:pt x="97" y="2"/>
                    </a:lnTo>
                    <a:lnTo>
                      <a:pt x="98" y="2"/>
                    </a:lnTo>
                    <a:lnTo>
                      <a:pt x="98" y="3"/>
                    </a:lnTo>
                    <a:lnTo>
                      <a:pt x="97" y="3"/>
                    </a:lnTo>
                    <a:lnTo>
                      <a:pt x="97" y="4"/>
                    </a:lnTo>
                    <a:lnTo>
                      <a:pt x="98" y="4"/>
                    </a:lnTo>
                    <a:lnTo>
                      <a:pt x="99" y="3"/>
                    </a:lnTo>
                    <a:lnTo>
                      <a:pt x="99" y="4"/>
                    </a:lnTo>
                    <a:lnTo>
                      <a:pt x="100" y="4"/>
                    </a:lnTo>
                    <a:lnTo>
                      <a:pt x="100" y="5"/>
                    </a:lnTo>
                    <a:lnTo>
                      <a:pt x="101" y="5"/>
                    </a:lnTo>
                    <a:lnTo>
                      <a:pt x="102" y="5"/>
                    </a:lnTo>
                    <a:lnTo>
                      <a:pt x="103" y="5"/>
                    </a:lnTo>
                    <a:lnTo>
                      <a:pt x="104" y="5"/>
                    </a:lnTo>
                    <a:lnTo>
                      <a:pt x="105" y="4"/>
                    </a:lnTo>
                    <a:lnTo>
                      <a:pt x="106" y="5"/>
                    </a:lnTo>
                    <a:lnTo>
                      <a:pt x="108" y="4"/>
                    </a:lnTo>
                    <a:lnTo>
                      <a:pt x="109" y="4"/>
                    </a:lnTo>
                    <a:lnTo>
                      <a:pt x="109" y="5"/>
                    </a:lnTo>
                    <a:lnTo>
                      <a:pt x="110" y="5"/>
                    </a:lnTo>
                    <a:lnTo>
                      <a:pt x="110" y="4"/>
                    </a:lnTo>
                    <a:lnTo>
                      <a:pt x="110" y="3"/>
                    </a:lnTo>
                    <a:lnTo>
                      <a:pt x="111" y="3"/>
                    </a:lnTo>
                    <a:lnTo>
                      <a:pt x="112" y="3"/>
                    </a:lnTo>
                    <a:lnTo>
                      <a:pt x="113" y="2"/>
                    </a:lnTo>
                    <a:lnTo>
                      <a:pt x="115" y="2"/>
                    </a:lnTo>
                    <a:lnTo>
                      <a:pt x="116" y="3"/>
                    </a:lnTo>
                    <a:lnTo>
                      <a:pt x="116" y="4"/>
                    </a:lnTo>
                    <a:lnTo>
                      <a:pt x="116" y="5"/>
                    </a:lnTo>
                    <a:lnTo>
                      <a:pt x="117" y="5"/>
                    </a:lnTo>
                    <a:lnTo>
                      <a:pt x="118" y="5"/>
                    </a:lnTo>
                    <a:lnTo>
                      <a:pt x="119" y="5"/>
                    </a:lnTo>
                    <a:lnTo>
                      <a:pt x="121" y="6"/>
                    </a:lnTo>
                    <a:lnTo>
                      <a:pt x="122" y="5"/>
                    </a:lnTo>
                    <a:lnTo>
                      <a:pt x="123" y="4"/>
                    </a:lnTo>
                    <a:lnTo>
                      <a:pt x="124" y="4"/>
                    </a:lnTo>
                    <a:lnTo>
                      <a:pt x="124" y="5"/>
                    </a:lnTo>
                    <a:lnTo>
                      <a:pt x="125" y="5"/>
                    </a:lnTo>
                    <a:lnTo>
                      <a:pt x="125" y="4"/>
                    </a:lnTo>
                    <a:lnTo>
                      <a:pt x="126" y="4"/>
                    </a:lnTo>
                    <a:lnTo>
                      <a:pt x="127" y="4"/>
                    </a:lnTo>
                    <a:lnTo>
                      <a:pt x="128" y="3"/>
                    </a:lnTo>
                    <a:lnTo>
                      <a:pt x="129" y="3"/>
                    </a:lnTo>
                    <a:lnTo>
                      <a:pt x="129" y="2"/>
                    </a:lnTo>
                    <a:lnTo>
                      <a:pt x="130" y="2"/>
                    </a:lnTo>
                    <a:lnTo>
                      <a:pt x="131" y="2"/>
                    </a:lnTo>
                    <a:lnTo>
                      <a:pt x="132" y="2"/>
                    </a:lnTo>
                    <a:close/>
                  </a:path>
                </a:pathLst>
              </a:custGeom>
              <a:solidFill>
                <a:srgbClr val="82BB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8" name="Freeform 286">
                <a:extLst>
                  <a:ext uri="{FF2B5EF4-FFF2-40B4-BE49-F238E27FC236}">
                    <a16:creationId xmlns:a16="http://schemas.microsoft.com/office/drawing/2014/main" id="{6B30FF0A-BB9D-B397-4AFE-DC04F4EDB7D5}"/>
                  </a:ext>
                </a:extLst>
              </p:cNvPr>
              <p:cNvSpPr>
                <a:spLocks/>
              </p:cNvSpPr>
              <p:nvPr/>
            </p:nvSpPr>
            <p:spPr bwMode="auto">
              <a:xfrm>
                <a:off x="4138613" y="4384675"/>
                <a:ext cx="312738" cy="312738"/>
              </a:xfrm>
              <a:custGeom>
                <a:avLst/>
                <a:gdLst>
                  <a:gd name="T0" fmla="*/ 186 w 197"/>
                  <a:gd name="T1" fmla="*/ 196 h 197"/>
                  <a:gd name="T2" fmla="*/ 184 w 197"/>
                  <a:gd name="T3" fmla="*/ 196 h 197"/>
                  <a:gd name="T4" fmla="*/ 183 w 197"/>
                  <a:gd name="T5" fmla="*/ 195 h 197"/>
                  <a:gd name="T6" fmla="*/ 181 w 197"/>
                  <a:gd name="T7" fmla="*/ 197 h 197"/>
                  <a:gd name="T8" fmla="*/ 178 w 197"/>
                  <a:gd name="T9" fmla="*/ 196 h 197"/>
                  <a:gd name="T10" fmla="*/ 175 w 197"/>
                  <a:gd name="T11" fmla="*/ 193 h 197"/>
                  <a:gd name="T12" fmla="*/ 173 w 197"/>
                  <a:gd name="T13" fmla="*/ 193 h 197"/>
                  <a:gd name="T14" fmla="*/ 171 w 197"/>
                  <a:gd name="T15" fmla="*/ 191 h 197"/>
                  <a:gd name="T16" fmla="*/ 169 w 197"/>
                  <a:gd name="T17" fmla="*/ 189 h 197"/>
                  <a:gd name="T18" fmla="*/ 168 w 197"/>
                  <a:gd name="T19" fmla="*/ 187 h 197"/>
                  <a:gd name="T20" fmla="*/ 165 w 197"/>
                  <a:gd name="T21" fmla="*/ 187 h 197"/>
                  <a:gd name="T22" fmla="*/ 163 w 197"/>
                  <a:gd name="T23" fmla="*/ 188 h 197"/>
                  <a:gd name="T24" fmla="*/ 160 w 197"/>
                  <a:gd name="T25" fmla="*/ 186 h 197"/>
                  <a:gd name="T26" fmla="*/ 158 w 197"/>
                  <a:gd name="T27" fmla="*/ 188 h 197"/>
                  <a:gd name="T28" fmla="*/ 155 w 197"/>
                  <a:gd name="T29" fmla="*/ 188 h 197"/>
                  <a:gd name="T30" fmla="*/ 156 w 197"/>
                  <a:gd name="T31" fmla="*/ 191 h 197"/>
                  <a:gd name="T32" fmla="*/ 152 w 197"/>
                  <a:gd name="T33" fmla="*/ 191 h 197"/>
                  <a:gd name="T34" fmla="*/ 151 w 197"/>
                  <a:gd name="T35" fmla="*/ 188 h 197"/>
                  <a:gd name="T36" fmla="*/ 149 w 197"/>
                  <a:gd name="T37" fmla="*/ 186 h 197"/>
                  <a:gd name="T38" fmla="*/ 146 w 197"/>
                  <a:gd name="T39" fmla="*/ 184 h 197"/>
                  <a:gd name="T40" fmla="*/ 143 w 197"/>
                  <a:gd name="T41" fmla="*/ 185 h 197"/>
                  <a:gd name="T42" fmla="*/ 143 w 197"/>
                  <a:gd name="T43" fmla="*/ 183 h 197"/>
                  <a:gd name="T44" fmla="*/ 143 w 197"/>
                  <a:gd name="T45" fmla="*/ 180 h 197"/>
                  <a:gd name="T46" fmla="*/ 140 w 197"/>
                  <a:gd name="T47" fmla="*/ 182 h 197"/>
                  <a:gd name="T48" fmla="*/ 136 w 197"/>
                  <a:gd name="T49" fmla="*/ 180 h 197"/>
                  <a:gd name="T50" fmla="*/ 131 w 197"/>
                  <a:gd name="T51" fmla="*/ 179 h 197"/>
                  <a:gd name="T52" fmla="*/ 127 w 197"/>
                  <a:gd name="T53" fmla="*/ 178 h 197"/>
                  <a:gd name="T54" fmla="*/ 121 w 197"/>
                  <a:gd name="T55" fmla="*/ 176 h 197"/>
                  <a:gd name="T56" fmla="*/ 115 w 197"/>
                  <a:gd name="T57" fmla="*/ 174 h 197"/>
                  <a:gd name="T58" fmla="*/ 103 w 197"/>
                  <a:gd name="T59" fmla="*/ 184 h 197"/>
                  <a:gd name="T60" fmla="*/ 48 w 197"/>
                  <a:gd name="T61" fmla="*/ 172 h 197"/>
                  <a:gd name="T62" fmla="*/ 31 w 197"/>
                  <a:gd name="T63" fmla="*/ 164 h 197"/>
                  <a:gd name="T64" fmla="*/ 23 w 197"/>
                  <a:gd name="T65" fmla="*/ 134 h 197"/>
                  <a:gd name="T66" fmla="*/ 2 w 197"/>
                  <a:gd name="T67" fmla="*/ 113 h 197"/>
                  <a:gd name="T68" fmla="*/ 0 w 197"/>
                  <a:gd name="T69" fmla="*/ 77 h 197"/>
                  <a:gd name="T70" fmla="*/ 17 w 197"/>
                  <a:gd name="T71" fmla="*/ 58 h 197"/>
                  <a:gd name="T72" fmla="*/ 17 w 197"/>
                  <a:gd name="T73" fmla="*/ 54 h 197"/>
                  <a:gd name="T74" fmla="*/ 28 w 197"/>
                  <a:gd name="T75" fmla="*/ 43 h 197"/>
                  <a:gd name="T76" fmla="*/ 38 w 197"/>
                  <a:gd name="T77" fmla="*/ 36 h 197"/>
                  <a:gd name="T78" fmla="*/ 57 w 197"/>
                  <a:gd name="T79" fmla="*/ 32 h 197"/>
                  <a:gd name="T80" fmla="*/ 107 w 197"/>
                  <a:gd name="T81" fmla="*/ 21 h 197"/>
                  <a:gd name="T82" fmla="*/ 144 w 197"/>
                  <a:gd name="T83" fmla="*/ 12 h 197"/>
                  <a:gd name="T84" fmla="*/ 196 w 197"/>
                  <a:gd name="T85" fmla="*/ 7 h 197"/>
                  <a:gd name="T86" fmla="*/ 179 w 197"/>
                  <a:gd name="T87" fmla="*/ 51 h 197"/>
                  <a:gd name="T88" fmla="*/ 182 w 197"/>
                  <a:gd name="T89" fmla="*/ 69 h 197"/>
                  <a:gd name="T90" fmla="*/ 184 w 197"/>
                  <a:gd name="T91" fmla="*/ 75 h 197"/>
                  <a:gd name="T92" fmla="*/ 185 w 197"/>
                  <a:gd name="T93" fmla="*/ 83 h 197"/>
                  <a:gd name="T94" fmla="*/ 171 w 197"/>
                  <a:gd name="T95" fmla="*/ 92 h 197"/>
                  <a:gd name="T96" fmla="*/ 169 w 197"/>
                  <a:gd name="T97" fmla="*/ 96 h 197"/>
                  <a:gd name="T98" fmla="*/ 179 w 197"/>
                  <a:gd name="T99" fmla="*/ 123 h 197"/>
                  <a:gd name="T100" fmla="*/ 176 w 197"/>
                  <a:gd name="T101" fmla="*/ 127 h 197"/>
                  <a:gd name="T102" fmla="*/ 182 w 197"/>
                  <a:gd name="T103" fmla="*/ 142 h 197"/>
                  <a:gd name="T104" fmla="*/ 178 w 197"/>
                  <a:gd name="T105" fmla="*/ 152 h 197"/>
                  <a:gd name="T106" fmla="*/ 182 w 197"/>
                  <a:gd name="T107" fmla="*/ 168 h 197"/>
                  <a:gd name="T108" fmla="*/ 183 w 197"/>
                  <a:gd name="T109" fmla="*/ 18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 h="197">
                    <a:moveTo>
                      <a:pt x="189" y="197"/>
                    </a:moveTo>
                    <a:lnTo>
                      <a:pt x="188" y="197"/>
                    </a:lnTo>
                    <a:lnTo>
                      <a:pt x="186" y="197"/>
                    </a:lnTo>
                    <a:lnTo>
                      <a:pt x="186" y="196"/>
                    </a:lnTo>
                    <a:lnTo>
                      <a:pt x="185" y="196"/>
                    </a:lnTo>
                    <a:lnTo>
                      <a:pt x="185" y="195"/>
                    </a:lnTo>
                    <a:lnTo>
                      <a:pt x="185" y="196"/>
                    </a:lnTo>
                    <a:lnTo>
                      <a:pt x="184" y="196"/>
                    </a:lnTo>
                    <a:lnTo>
                      <a:pt x="183" y="196"/>
                    </a:lnTo>
                    <a:lnTo>
                      <a:pt x="182" y="196"/>
                    </a:lnTo>
                    <a:lnTo>
                      <a:pt x="183" y="196"/>
                    </a:lnTo>
                    <a:lnTo>
                      <a:pt x="183" y="195"/>
                    </a:lnTo>
                    <a:lnTo>
                      <a:pt x="182" y="195"/>
                    </a:lnTo>
                    <a:lnTo>
                      <a:pt x="182" y="196"/>
                    </a:lnTo>
                    <a:lnTo>
                      <a:pt x="181" y="196"/>
                    </a:lnTo>
                    <a:lnTo>
                      <a:pt x="181" y="197"/>
                    </a:lnTo>
                    <a:lnTo>
                      <a:pt x="180" y="197"/>
                    </a:lnTo>
                    <a:lnTo>
                      <a:pt x="180" y="196"/>
                    </a:lnTo>
                    <a:lnTo>
                      <a:pt x="179" y="196"/>
                    </a:lnTo>
                    <a:lnTo>
                      <a:pt x="178" y="196"/>
                    </a:lnTo>
                    <a:lnTo>
                      <a:pt x="178" y="195"/>
                    </a:lnTo>
                    <a:lnTo>
                      <a:pt x="177" y="193"/>
                    </a:lnTo>
                    <a:lnTo>
                      <a:pt x="176" y="193"/>
                    </a:lnTo>
                    <a:lnTo>
                      <a:pt x="175" y="193"/>
                    </a:lnTo>
                    <a:lnTo>
                      <a:pt x="175" y="195"/>
                    </a:lnTo>
                    <a:lnTo>
                      <a:pt x="175" y="193"/>
                    </a:lnTo>
                    <a:lnTo>
                      <a:pt x="173" y="195"/>
                    </a:lnTo>
                    <a:lnTo>
                      <a:pt x="173" y="193"/>
                    </a:lnTo>
                    <a:lnTo>
                      <a:pt x="173" y="192"/>
                    </a:lnTo>
                    <a:lnTo>
                      <a:pt x="172" y="192"/>
                    </a:lnTo>
                    <a:lnTo>
                      <a:pt x="172" y="191"/>
                    </a:lnTo>
                    <a:lnTo>
                      <a:pt x="171" y="191"/>
                    </a:lnTo>
                    <a:lnTo>
                      <a:pt x="171" y="190"/>
                    </a:lnTo>
                    <a:lnTo>
                      <a:pt x="170" y="190"/>
                    </a:lnTo>
                    <a:lnTo>
                      <a:pt x="169" y="190"/>
                    </a:lnTo>
                    <a:lnTo>
                      <a:pt x="169" y="189"/>
                    </a:lnTo>
                    <a:lnTo>
                      <a:pt x="168" y="189"/>
                    </a:lnTo>
                    <a:lnTo>
                      <a:pt x="168" y="188"/>
                    </a:lnTo>
                    <a:lnTo>
                      <a:pt x="169" y="187"/>
                    </a:lnTo>
                    <a:lnTo>
                      <a:pt x="168" y="187"/>
                    </a:lnTo>
                    <a:lnTo>
                      <a:pt x="168" y="186"/>
                    </a:lnTo>
                    <a:lnTo>
                      <a:pt x="167" y="186"/>
                    </a:lnTo>
                    <a:lnTo>
                      <a:pt x="166" y="186"/>
                    </a:lnTo>
                    <a:lnTo>
                      <a:pt x="165" y="187"/>
                    </a:lnTo>
                    <a:lnTo>
                      <a:pt x="164" y="188"/>
                    </a:lnTo>
                    <a:lnTo>
                      <a:pt x="164" y="189"/>
                    </a:lnTo>
                    <a:lnTo>
                      <a:pt x="163" y="189"/>
                    </a:lnTo>
                    <a:lnTo>
                      <a:pt x="163" y="188"/>
                    </a:lnTo>
                    <a:lnTo>
                      <a:pt x="163" y="187"/>
                    </a:lnTo>
                    <a:lnTo>
                      <a:pt x="162" y="187"/>
                    </a:lnTo>
                    <a:lnTo>
                      <a:pt x="162" y="186"/>
                    </a:lnTo>
                    <a:lnTo>
                      <a:pt x="160" y="186"/>
                    </a:lnTo>
                    <a:lnTo>
                      <a:pt x="160" y="187"/>
                    </a:lnTo>
                    <a:lnTo>
                      <a:pt x="159" y="187"/>
                    </a:lnTo>
                    <a:lnTo>
                      <a:pt x="158" y="187"/>
                    </a:lnTo>
                    <a:lnTo>
                      <a:pt x="158" y="188"/>
                    </a:lnTo>
                    <a:lnTo>
                      <a:pt x="157" y="188"/>
                    </a:lnTo>
                    <a:lnTo>
                      <a:pt x="156" y="187"/>
                    </a:lnTo>
                    <a:lnTo>
                      <a:pt x="156" y="188"/>
                    </a:lnTo>
                    <a:lnTo>
                      <a:pt x="155" y="188"/>
                    </a:lnTo>
                    <a:lnTo>
                      <a:pt x="155" y="189"/>
                    </a:lnTo>
                    <a:lnTo>
                      <a:pt x="155" y="190"/>
                    </a:lnTo>
                    <a:lnTo>
                      <a:pt x="156" y="190"/>
                    </a:lnTo>
                    <a:lnTo>
                      <a:pt x="156" y="191"/>
                    </a:lnTo>
                    <a:lnTo>
                      <a:pt x="155" y="191"/>
                    </a:lnTo>
                    <a:lnTo>
                      <a:pt x="154" y="191"/>
                    </a:lnTo>
                    <a:lnTo>
                      <a:pt x="153" y="191"/>
                    </a:lnTo>
                    <a:lnTo>
                      <a:pt x="152" y="191"/>
                    </a:lnTo>
                    <a:lnTo>
                      <a:pt x="151" y="191"/>
                    </a:lnTo>
                    <a:lnTo>
                      <a:pt x="151" y="190"/>
                    </a:lnTo>
                    <a:lnTo>
                      <a:pt x="151" y="189"/>
                    </a:lnTo>
                    <a:lnTo>
                      <a:pt x="151" y="188"/>
                    </a:lnTo>
                    <a:lnTo>
                      <a:pt x="151" y="187"/>
                    </a:lnTo>
                    <a:lnTo>
                      <a:pt x="150" y="187"/>
                    </a:lnTo>
                    <a:lnTo>
                      <a:pt x="150" y="186"/>
                    </a:lnTo>
                    <a:lnTo>
                      <a:pt x="149" y="186"/>
                    </a:lnTo>
                    <a:lnTo>
                      <a:pt x="149" y="185"/>
                    </a:lnTo>
                    <a:lnTo>
                      <a:pt x="147" y="185"/>
                    </a:lnTo>
                    <a:lnTo>
                      <a:pt x="147" y="184"/>
                    </a:lnTo>
                    <a:lnTo>
                      <a:pt x="146" y="184"/>
                    </a:lnTo>
                    <a:lnTo>
                      <a:pt x="146" y="185"/>
                    </a:lnTo>
                    <a:lnTo>
                      <a:pt x="145" y="185"/>
                    </a:lnTo>
                    <a:lnTo>
                      <a:pt x="144" y="185"/>
                    </a:lnTo>
                    <a:lnTo>
                      <a:pt x="143" y="185"/>
                    </a:lnTo>
                    <a:lnTo>
                      <a:pt x="144" y="185"/>
                    </a:lnTo>
                    <a:lnTo>
                      <a:pt x="143" y="185"/>
                    </a:lnTo>
                    <a:lnTo>
                      <a:pt x="143" y="184"/>
                    </a:lnTo>
                    <a:lnTo>
                      <a:pt x="143" y="183"/>
                    </a:lnTo>
                    <a:lnTo>
                      <a:pt x="143" y="182"/>
                    </a:lnTo>
                    <a:lnTo>
                      <a:pt x="144" y="182"/>
                    </a:lnTo>
                    <a:lnTo>
                      <a:pt x="143" y="182"/>
                    </a:lnTo>
                    <a:lnTo>
                      <a:pt x="143" y="180"/>
                    </a:lnTo>
                    <a:lnTo>
                      <a:pt x="143" y="182"/>
                    </a:lnTo>
                    <a:lnTo>
                      <a:pt x="142" y="182"/>
                    </a:lnTo>
                    <a:lnTo>
                      <a:pt x="141" y="182"/>
                    </a:lnTo>
                    <a:lnTo>
                      <a:pt x="140" y="182"/>
                    </a:lnTo>
                    <a:lnTo>
                      <a:pt x="139" y="182"/>
                    </a:lnTo>
                    <a:lnTo>
                      <a:pt x="138" y="182"/>
                    </a:lnTo>
                    <a:lnTo>
                      <a:pt x="137" y="180"/>
                    </a:lnTo>
                    <a:lnTo>
                      <a:pt x="136" y="180"/>
                    </a:lnTo>
                    <a:lnTo>
                      <a:pt x="134" y="180"/>
                    </a:lnTo>
                    <a:lnTo>
                      <a:pt x="132" y="180"/>
                    </a:lnTo>
                    <a:lnTo>
                      <a:pt x="131" y="180"/>
                    </a:lnTo>
                    <a:lnTo>
                      <a:pt x="131" y="179"/>
                    </a:lnTo>
                    <a:lnTo>
                      <a:pt x="130" y="179"/>
                    </a:lnTo>
                    <a:lnTo>
                      <a:pt x="129" y="179"/>
                    </a:lnTo>
                    <a:lnTo>
                      <a:pt x="128" y="178"/>
                    </a:lnTo>
                    <a:lnTo>
                      <a:pt x="127" y="178"/>
                    </a:lnTo>
                    <a:lnTo>
                      <a:pt x="125" y="178"/>
                    </a:lnTo>
                    <a:lnTo>
                      <a:pt x="124" y="178"/>
                    </a:lnTo>
                    <a:lnTo>
                      <a:pt x="123" y="177"/>
                    </a:lnTo>
                    <a:lnTo>
                      <a:pt x="121" y="176"/>
                    </a:lnTo>
                    <a:lnTo>
                      <a:pt x="119" y="176"/>
                    </a:lnTo>
                    <a:lnTo>
                      <a:pt x="117" y="175"/>
                    </a:lnTo>
                    <a:lnTo>
                      <a:pt x="116" y="175"/>
                    </a:lnTo>
                    <a:lnTo>
                      <a:pt x="115" y="174"/>
                    </a:lnTo>
                    <a:lnTo>
                      <a:pt x="114" y="173"/>
                    </a:lnTo>
                    <a:lnTo>
                      <a:pt x="108" y="174"/>
                    </a:lnTo>
                    <a:lnTo>
                      <a:pt x="109" y="184"/>
                    </a:lnTo>
                    <a:lnTo>
                      <a:pt x="103" y="184"/>
                    </a:lnTo>
                    <a:lnTo>
                      <a:pt x="54" y="185"/>
                    </a:lnTo>
                    <a:lnTo>
                      <a:pt x="48" y="185"/>
                    </a:lnTo>
                    <a:lnTo>
                      <a:pt x="48" y="182"/>
                    </a:lnTo>
                    <a:lnTo>
                      <a:pt x="48" y="172"/>
                    </a:lnTo>
                    <a:lnTo>
                      <a:pt x="48" y="164"/>
                    </a:lnTo>
                    <a:lnTo>
                      <a:pt x="47" y="164"/>
                    </a:lnTo>
                    <a:lnTo>
                      <a:pt x="42" y="164"/>
                    </a:lnTo>
                    <a:lnTo>
                      <a:pt x="31" y="164"/>
                    </a:lnTo>
                    <a:lnTo>
                      <a:pt x="23" y="164"/>
                    </a:lnTo>
                    <a:lnTo>
                      <a:pt x="23" y="149"/>
                    </a:lnTo>
                    <a:lnTo>
                      <a:pt x="23" y="145"/>
                    </a:lnTo>
                    <a:lnTo>
                      <a:pt x="23" y="134"/>
                    </a:lnTo>
                    <a:lnTo>
                      <a:pt x="14" y="134"/>
                    </a:lnTo>
                    <a:lnTo>
                      <a:pt x="10" y="134"/>
                    </a:lnTo>
                    <a:lnTo>
                      <a:pt x="2" y="134"/>
                    </a:lnTo>
                    <a:lnTo>
                      <a:pt x="2" y="113"/>
                    </a:lnTo>
                    <a:lnTo>
                      <a:pt x="2" y="93"/>
                    </a:lnTo>
                    <a:lnTo>
                      <a:pt x="0" y="93"/>
                    </a:lnTo>
                    <a:lnTo>
                      <a:pt x="0" y="83"/>
                    </a:lnTo>
                    <a:lnTo>
                      <a:pt x="0" y="77"/>
                    </a:lnTo>
                    <a:lnTo>
                      <a:pt x="0" y="75"/>
                    </a:lnTo>
                    <a:lnTo>
                      <a:pt x="0" y="71"/>
                    </a:lnTo>
                    <a:lnTo>
                      <a:pt x="7" y="67"/>
                    </a:lnTo>
                    <a:lnTo>
                      <a:pt x="17" y="58"/>
                    </a:lnTo>
                    <a:lnTo>
                      <a:pt x="16" y="56"/>
                    </a:lnTo>
                    <a:lnTo>
                      <a:pt x="16" y="55"/>
                    </a:lnTo>
                    <a:lnTo>
                      <a:pt x="17" y="55"/>
                    </a:lnTo>
                    <a:lnTo>
                      <a:pt x="17" y="54"/>
                    </a:lnTo>
                    <a:lnTo>
                      <a:pt x="17" y="52"/>
                    </a:lnTo>
                    <a:lnTo>
                      <a:pt x="17" y="51"/>
                    </a:lnTo>
                    <a:lnTo>
                      <a:pt x="27" y="44"/>
                    </a:lnTo>
                    <a:lnTo>
                      <a:pt x="28" y="43"/>
                    </a:lnTo>
                    <a:lnTo>
                      <a:pt x="30" y="42"/>
                    </a:lnTo>
                    <a:lnTo>
                      <a:pt x="29" y="38"/>
                    </a:lnTo>
                    <a:lnTo>
                      <a:pt x="31" y="37"/>
                    </a:lnTo>
                    <a:lnTo>
                      <a:pt x="38" y="36"/>
                    </a:lnTo>
                    <a:lnTo>
                      <a:pt x="46" y="35"/>
                    </a:lnTo>
                    <a:lnTo>
                      <a:pt x="50" y="34"/>
                    </a:lnTo>
                    <a:lnTo>
                      <a:pt x="52" y="33"/>
                    </a:lnTo>
                    <a:lnTo>
                      <a:pt x="57" y="32"/>
                    </a:lnTo>
                    <a:lnTo>
                      <a:pt x="61" y="32"/>
                    </a:lnTo>
                    <a:lnTo>
                      <a:pt x="65" y="31"/>
                    </a:lnTo>
                    <a:lnTo>
                      <a:pt x="69" y="30"/>
                    </a:lnTo>
                    <a:lnTo>
                      <a:pt x="107" y="21"/>
                    </a:lnTo>
                    <a:lnTo>
                      <a:pt x="108" y="20"/>
                    </a:lnTo>
                    <a:lnTo>
                      <a:pt x="125" y="17"/>
                    </a:lnTo>
                    <a:lnTo>
                      <a:pt x="131" y="16"/>
                    </a:lnTo>
                    <a:lnTo>
                      <a:pt x="144" y="12"/>
                    </a:lnTo>
                    <a:lnTo>
                      <a:pt x="156" y="9"/>
                    </a:lnTo>
                    <a:lnTo>
                      <a:pt x="157" y="9"/>
                    </a:lnTo>
                    <a:lnTo>
                      <a:pt x="197" y="0"/>
                    </a:lnTo>
                    <a:lnTo>
                      <a:pt x="196" y="7"/>
                    </a:lnTo>
                    <a:lnTo>
                      <a:pt x="192" y="33"/>
                    </a:lnTo>
                    <a:lnTo>
                      <a:pt x="192" y="35"/>
                    </a:lnTo>
                    <a:lnTo>
                      <a:pt x="190" y="50"/>
                    </a:lnTo>
                    <a:lnTo>
                      <a:pt x="179" y="51"/>
                    </a:lnTo>
                    <a:lnTo>
                      <a:pt x="182" y="65"/>
                    </a:lnTo>
                    <a:lnTo>
                      <a:pt x="182" y="67"/>
                    </a:lnTo>
                    <a:lnTo>
                      <a:pt x="182" y="68"/>
                    </a:lnTo>
                    <a:lnTo>
                      <a:pt x="182" y="69"/>
                    </a:lnTo>
                    <a:lnTo>
                      <a:pt x="183" y="71"/>
                    </a:lnTo>
                    <a:lnTo>
                      <a:pt x="183" y="72"/>
                    </a:lnTo>
                    <a:lnTo>
                      <a:pt x="183" y="73"/>
                    </a:lnTo>
                    <a:lnTo>
                      <a:pt x="184" y="75"/>
                    </a:lnTo>
                    <a:lnTo>
                      <a:pt x="184" y="77"/>
                    </a:lnTo>
                    <a:lnTo>
                      <a:pt x="184" y="78"/>
                    </a:lnTo>
                    <a:lnTo>
                      <a:pt x="185" y="81"/>
                    </a:lnTo>
                    <a:lnTo>
                      <a:pt x="185" y="83"/>
                    </a:lnTo>
                    <a:lnTo>
                      <a:pt x="180" y="86"/>
                    </a:lnTo>
                    <a:lnTo>
                      <a:pt x="179" y="87"/>
                    </a:lnTo>
                    <a:lnTo>
                      <a:pt x="177" y="88"/>
                    </a:lnTo>
                    <a:lnTo>
                      <a:pt x="171" y="92"/>
                    </a:lnTo>
                    <a:lnTo>
                      <a:pt x="169" y="93"/>
                    </a:lnTo>
                    <a:lnTo>
                      <a:pt x="168" y="93"/>
                    </a:lnTo>
                    <a:lnTo>
                      <a:pt x="169" y="95"/>
                    </a:lnTo>
                    <a:lnTo>
                      <a:pt x="169" y="96"/>
                    </a:lnTo>
                    <a:lnTo>
                      <a:pt x="173" y="108"/>
                    </a:lnTo>
                    <a:lnTo>
                      <a:pt x="177" y="119"/>
                    </a:lnTo>
                    <a:lnTo>
                      <a:pt x="178" y="121"/>
                    </a:lnTo>
                    <a:lnTo>
                      <a:pt x="179" y="123"/>
                    </a:lnTo>
                    <a:lnTo>
                      <a:pt x="179" y="124"/>
                    </a:lnTo>
                    <a:lnTo>
                      <a:pt x="177" y="125"/>
                    </a:lnTo>
                    <a:lnTo>
                      <a:pt x="176" y="126"/>
                    </a:lnTo>
                    <a:lnTo>
                      <a:pt x="176" y="127"/>
                    </a:lnTo>
                    <a:lnTo>
                      <a:pt x="177" y="127"/>
                    </a:lnTo>
                    <a:lnTo>
                      <a:pt x="177" y="132"/>
                    </a:lnTo>
                    <a:lnTo>
                      <a:pt x="182" y="132"/>
                    </a:lnTo>
                    <a:lnTo>
                      <a:pt x="182" y="142"/>
                    </a:lnTo>
                    <a:lnTo>
                      <a:pt x="177" y="142"/>
                    </a:lnTo>
                    <a:lnTo>
                      <a:pt x="177" y="151"/>
                    </a:lnTo>
                    <a:lnTo>
                      <a:pt x="177" y="152"/>
                    </a:lnTo>
                    <a:lnTo>
                      <a:pt x="178" y="152"/>
                    </a:lnTo>
                    <a:lnTo>
                      <a:pt x="182" y="152"/>
                    </a:lnTo>
                    <a:lnTo>
                      <a:pt x="182" y="158"/>
                    </a:lnTo>
                    <a:lnTo>
                      <a:pt x="182" y="159"/>
                    </a:lnTo>
                    <a:lnTo>
                      <a:pt x="182" y="168"/>
                    </a:lnTo>
                    <a:lnTo>
                      <a:pt x="182" y="173"/>
                    </a:lnTo>
                    <a:lnTo>
                      <a:pt x="182" y="174"/>
                    </a:lnTo>
                    <a:lnTo>
                      <a:pt x="182" y="176"/>
                    </a:lnTo>
                    <a:lnTo>
                      <a:pt x="183" y="180"/>
                    </a:lnTo>
                    <a:lnTo>
                      <a:pt x="183" y="184"/>
                    </a:lnTo>
                    <a:lnTo>
                      <a:pt x="183" y="185"/>
                    </a:lnTo>
                    <a:lnTo>
                      <a:pt x="189" y="197"/>
                    </a:lnTo>
                    <a:close/>
                  </a:path>
                </a:pathLst>
              </a:custGeom>
              <a:solidFill>
                <a:srgbClr val="8CC1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59" name="Freeform 287">
                <a:extLst>
                  <a:ext uri="{FF2B5EF4-FFF2-40B4-BE49-F238E27FC236}">
                    <a16:creationId xmlns:a16="http://schemas.microsoft.com/office/drawing/2014/main" id="{0C6FF5F7-4975-F69D-6743-C143BAADE7E9}"/>
                  </a:ext>
                </a:extLst>
              </p:cNvPr>
              <p:cNvSpPr>
                <a:spLocks/>
              </p:cNvSpPr>
              <p:nvPr/>
            </p:nvSpPr>
            <p:spPr bwMode="auto">
              <a:xfrm>
                <a:off x="3421063" y="4011613"/>
                <a:ext cx="663575" cy="531813"/>
              </a:xfrm>
              <a:custGeom>
                <a:avLst/>
                <a:gdLst>
                  <a:gd name="T0" fmla="*/ 179 w 418"/>
                  <a:gd name="T1" fmla="*/ 50 h 335"/>
                  <a:gd name="T2" fmla="*/ 231 w 418"/>
                  <a:gd name="T3" fmla="*/ 107 h 335"/>
                  <a:gd name="T4" fmla="*/ 282 w 418"/>
                  <a:gd name="T5" fmla="*/ 125 h 335"/>
                  <a:gd name="T6" fmla="*/ 340 w 418"/>
                  <a:gd name="T7" fmla="*/ 124 h 335"/>
                  <a:gd name="T8" fmla="*/ 346 w 418"/>
                  <a:gd name="T9" fmla="*/ 129 h 335"/>
                  <a:gd name="T10" fmla="*/ 352 w 418"/>
                  <a:gd name="T11" fmla="*/ 131 h 335"/>
                  <a:gd name="T12" fmla="*/ 360 w 418"/>
                  <a:gd name="T13" fmla="*/ 130 h 335"/>
                  <a:gd name="T14" fmla="*/ 366 w 418"/>
                  <a:gd name="T15" fmla="*/ 128 h 335"/>
                  <a:gd name="T16" fmla="*/ 373 w 418"/>
                  <a:gd name="T17" fmla="*/ 126 h 335"/>
                  <a:gd name="T18" fmla="*/ 383 w 418"/>
                  <a:gd name="T19" fmla="*/ 127 h 335"/>
                  <a:gd name="T20" fmla="*/ 391 w 418"/>
                  <a:gd name="T21" fmla="*/ 128 h 335"/>
                  <a:gd name="T22" fmla="*/ 397 w 418"/>
                  <a:gd name="T23" fmla="*/ 130 h 335"/>
                  <a:gd name="T24" fmla="*/ 405 w 418"/>
                  <a:gd name="T25" fmla="*/ 130 h 335"/>
                  <a:gd name="T26" fmla="*/ 415 w 418"/>
                  <a:gd name="T27" fmla="*/ 127 h 335"/>
                  <a:gd name="T28" fmla="*/ 404 w 418"/>
                  <a:gd name="T29" fmla="*/ 168 h 335"/>
                  <a:gd name="T30" fmla="*/ 387 w 418"/>
                  <a:gd name="T31" fmla="*/ 225 h 335"/>
                  <a:gd name="T32" fmla="*/ 375 w 418"/>
                  <a:gd name="T33" fmla="*/ 273 h 335"/>
                  <a:gd name="T34" fmla="*/ 293 w 418"/>
                  <a:gd name="T35" fmla="*/ 335 h 335"/>
                  <a:gd name="T36" fmla="*/ 292 w 418"/>
                  <a:gd name="T37" fmla="*/ 323 h 335"/>
                  <a:gd name="T38" fmla="*/ 284 w 418"/>
                  <a:gd name="T39" fmla="*/ 332 h 335"/>
                  <a:gd name="T40" fmla="*/ 271 w 418"/>
                  <a:gd name="T41" fmla="*/ 323 h 335"/>
                  <a:gd name="T42" fmla="*/ 267 w 418"/>
                  <a:gd name="T43" fmla="*/ 313 h 335"/>
                  <a:gd name="T44" fmla="*/ 221 w 418"/>
                  <a:gd name="T45" fmla="*/ 310 h 335"/>
                  <a:gd name="T46" fmla="*/ 211 w 418"/>
                  <a:gd name="T47" fmla="*/ 312 h 335"/>
                  <a:gd name="T48" fmla="*/ 205 w 418"/>
                  <a:gd name="T49" fmla="*/ 313 h 335"/>
                  <a:gd name="T50" fmla="*/ 202 w 418"/>
                  <a:gd name="T51" fmla="*/ 307 h 335"/>
                  <a:gd name="T52" fmla="*/ 203 w 418"/>
                  <a:gd name="T53" fmla="*/ 297 h 335"/>
                  <a:gd name="T54" fmla="*/ 199 w 418"/>
                  <a:gd name="T55" fmla="*/ 292 h 335"/>
                  <a:gd name="T56" fmla="*/ 196 w 418"/>
                  <a:gd name="T57" fmla="*/ 284 h 335"/>
                  <a:gd name="T58" fmla="*/ 145 w 418"/>
                  <a:gd name="T59" fmla="*/ 281 h 335"/>
                  <a:gd name="T60" fmla="*/ 141 w 418"/>
                  <a:gd name="T61" fmla="*/ 274 h 335"/>
                  <a:gd name="T62" fmla="*/ 145 w 418"/>
                  <a:gd name="T63" fmla="*/ 266 h 335"/>
                  <a:gd name="T64" fmla="*/ 143 w 418"/>
                  <a:gd name="T65" fmla="*/ 255 h 335"/>
                  <a:gd name="T66" fmla="*/ 143 w 418"/>
                  <a:gd name="T67" fmla="*/ 248 h 335"/>
                  <a:gd name="T68" fmla="*/ 142 w 418"/>
                  <a:gd name="T69" fmla="*/ 234 h 335"/>
                  <a:gd name="T70" fmla="*/ 140 w 418"/>
                  <a:gd name="T71" fmla="*/ 226 h 335"/>
                  <a:gd name="T72" fmla="*/ 138 w 418"/>
                  <a:gd name="T73" fmla="*/ 217 h 335"/>
                  <a:gd name="T74" fmla="*/ 130 w 418"/>
                  <a:gd name="T75" fmla="*/ 213 h 335"/>
                  <a:gd name="T76" fmla="*/ 130 w 418"/>
                  <a:gd name="T77" fmla="*/ 207 h 335"/>
                  <a:gd name="T78" fmla="*/ 134 w 418"/>
                  <a:gd name="T79" fmla="*/ 199 h 335"/>
                  <a:gd name="T80" fmla="*/ 139 w 418"/>
                  <a:gd name="T81" fmla="*/ 193 h 335"/>
                  <a:gd name="T82" fmla="*/ 127 w 418"/>
                  <a:gd name="T83" fmla="*/ 186 h 335"/>
                  <a:gd name="T84" fmla="*/ 107 w 418"/>
                  <a:gd name="T85" fmla="*/ 182 h 335"/>
                  <a:gd name="T86" fmla="*/ 95 w 418"/>
                  <a:gd name="T87" fmla="*/ 183 h 335"/>
                  <a:gd name="T88" fmla="*/ 76 w 418"/>
                  <a:gd name="T89" fmla="*/ 176 h 335"/>
                  <a:gd name="T90" fmla="*/ 60 w 418"/>
                  <a:gd name="T91" fmla="*/ 149 h 335"/>
                  <a:gd name="T92" fmla="*/ 46 w 418"/>
                  <a:gd name="T93" fmla="*/ 118 h 335"/>
                  <a:gd name="T94" fmla="*/ 47 w 418"/>
                  <a:gd name="T95" fmla="*/ 107 h 335"/>
                  <a:gd name="T96" fmla="*/ 41 w 418"/>
                  <a:gd name="T97" fmla="*/ 99 h 335"/>
                  <a:gd name="T98" fmla="*/ 40 w 418"/>
                  <a:gd name="T99" fmla="*/ 88 h 335"/>
                  <a:gd name="T100" fmla="*/ 47 w 418"/>
                  <a:gd name="T101" fmla="*/ 75 h 335"/>
                  <a:gd name="T102" fmla="*/ 44 w 418"/>
                  <a:gd name="T103" fmla="*/ 62 h 335"/>
                  <a:gd name="T104" fmla="*/ 40 w 418"/>
                  <a:gd name="T105" fmla="*/ 45 h 335"/>
                  <a:gd name="T106" fmla="*/ 15 w 418"/>
                  <a:gd name="T107" fmla="*/ 16 h 335"/>
                  <a:gd name="T108" fmla="*/ 73 w 418"/>
                  <a:gd name="T109" fmla="*/ 11 h 335"/>
                  <a:gd name="T110" fmla="*/ 120 w 418"/>
                  <a:gd name="T111" fmla="*/ 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8" h="335">
                    <a:moveTo>
                      <a:pt x="132" y="1"/>
                    </a:moveTo>
                    <a:lnTo>
                      <a:pt x="145" y="16"/>
                    </a:lnTo>
                    <a:lnTo>
                      <a:pt x="148" y="20"/>
                    </a:lnTo>
                    <a:lnTo>
                      <a:pt x="152" y="16"/>
                    </a:lnTo>
                    <a:lnTo>
                      <a:pt x="153" y="17"/>
                    </a:lnTo>
                    <a:lnTo>
                      <a:pt x="177" y="48"/>
                    </a:lnTo>
                    <a:lnTo>
                      <a:pt x="177" y="47"/>
                    </a:lnTo>
                    <a:lnTo>
                      <a:pt x="179" y="50"/>
                    </a:lnTo>
                    <a:lnTo>
                      <a:pt x="180" y="51"/>
                    </a:lnTo>
                    <a:lnTo>
                      <a:pt x="188" y="63"/>
                    </a:lnTo>
                    <a:lnTo>
                      <a:pt x="188" y="73"/>
                    </a:lnTo>
                    <a:lnTo>
                      <a:pt x="201" y="79"/>
                    </a:lnTo>
                    <a:lnTo>
                      <a:pt x="208" y="81"/>
                    </a:lnTo>
                    <a:lnTo>
                      <a:pt x="212" y="87"/>
                    </a:lnTo>
                    <a:lnTo>
                      <a:pt x="223" y="103"/>
                    </a:lnTo>
                    <a:lnTo>
                      <a:pt x="231" y="107"/>
                    </a:lnTo>
                    <a:lnTo>
                      <a:pt x="234" y="110"/>
                    </a:lnTo>
                    <a:lnTo>
                      <a:pt x="238" y="125"/>
                    </a:lnTo>
                    <a:lnTo>
                      <a:pt x="262" y="125"/>
                    </a:lnTo>
                    <a:lnTo>
                      <a:pt x="266" y="125"/>
                    </a:lnTo>
                    <a:lnTo>
                      <a:pt x="268" y="125"/>
                    </a:lnTo>
                    <a:lnTo>
                      <a:pt x="275" y="125"/>
                    </a:lnTo>
                    <a:lnTo>
                      <a:pt x="280" y="125"/>
                    </a:lnTo>
                    <a:lnTo>
                      <a:pt x="282" y="125"/>
                    </a:lnTo>
                    <a:lnTo>
                      <a:pt x="287" y="124"/>
                    </a:lnTo>
                    <a:lnTo>
                      <a:pt x="288" y="124"/>
                    </a:lnTo>
                    <a:lnTo>
                      <a:pt x="290" y="124"/>
                    </a:lnTo>
                    <a:lnTo>
                      <a:pt x="292" y="124"/>
                    </a:lnTo>
                    <a:lnTo>
                      <a:pt x="294" y="124"/>
                    </a:lnTo>
                    <a:lnTo>
                      <a:pt x="295" y="124"/>
                    </a:lnTo>
                    <a:lnTo>
                      <a:pt x="307" y="124"/>
                    </a:lnTo>
                    <a:lnTo>
                      <a:pt x="340" y="124"/>
                    </a:lnTo>
                    <a:lnTo>
                      <a:pt x="343" y="124"/>
                    </a:lnTo>
                    <a:lnTo>
                      <a:pt x="343" y="125"/>
                    </a:lnTo>
                    <a:lnTo>
                      <a:pt x="343" y="126"/>
                    </a:lnTo>
                    <a:lnTo>
                      <a:pt x="343" y="127"/>
                    </a:lnTo>
                    <a:lnTo>
                      <a:pt x="344" y="127"/>
                    </a:lnTo>
                    <a:lnTo>
                      <a:pt x="345" y="128"/>
                    </a:lnTo>
                    <a:lnTo>
                      <a:pt x="346" y="128"/>
                    </a:lnTo>
                    <a:lnTo>
                      <a:pt x="346" y="129"/>
                    </a:lnTo>
                    <a:lnTo>
                      <a:pt x="346" y="130"/>
                    </a:lnTo>
                    <a:lnTo>
                      <a:pt x="347" y="130"/>
                    </a:lnTo>
                    <a:lnTo>
                      <a:pt x="348" y="131"/>
                    </a:lnTo>
                    <a:lnTo>
                      <a:pt x="349" y="131"/>
                    </a:lnTo>
                    <a:lnTo>
                      <a:pt x="350" y="131"/>
                    </a:lnTo>
                    <a:lnTo>
                      <a:pt x="351" y="130"/>
                    </a:lnTo>
                    <a:lnTo>
                      <a:pt x="351" y="131"/>
                    </a:lnTo>
                    <a:lnTo>
                      <a:pt x="352" y="131"/>
                    </a:lnTo>
                    <a:lnTo>
                      <a:pt x="353" y="131"/>
                    </a:lnTo>
                    <a:lnTo>
                      <a:pt x="354" y="131"/>
                    </a:lnTo>
                    <a:lnTo>
                      <a:pt x="356" y="131"/>
                    </a:lnTo>
                    <a:lnTo>
                      <a:pt x="357" y="131"/>
                    </a:lnTo>
                    <a:lnTo>
                      <a:pt x="358" y="132"/>
                    </a:lnTo>
                    <a:lnTo>
                      <a:pt x="359" y="131"/>
                    </a:lnTo>
                    <a:lnTo>
                      <a:pt x="360" y="131"/>
                    </a:lnTo>
                    <a:lnTo>
                      <a:pt x="360" y="130"/>
                    </a:lnTo>
                    <a:lnTo>
                      <a:pt x="361" y="130"/>
                    </a:lnTo>
                    <a:lnTo>
                      <a:pt x="362" y="130"/>
                    </a:lnTo>
                    <a:lnTo>
                      <a:pt x="363" y="129"/>
                    </a:lnTo>
                    <a:lnTo>
                      <a:pt x="363" y="130"/>
                    </a:lnTo>
                    <a:lnTo>
                      <a:pt x="363" y="129"/>
                    </a:lnTo>
                    <a:lnTo>
                      <a:pt x="364" y="129"/>
                    </a:lnTo>
                    <a:lnTo>
                      <a:pt x="365" y="128"/>
                    </a:lnTo>
                    <a:lnTo>
                      <a:pt x="366" y="128"/>
                    </a:lnTo>
                    <a:lnTo>
                      <a:pt x="367" y="128"/>
                    </a:lnTo>
                    <a:lnTo>
                      <a:pt x="367" y="127"/>
                    </a:lnTo>
                    <a:lnTo>
                      <a:pt x="369" y="127"/>
                    </a:lnTo>
                    <a:lnTo>
                      <a:pt x="370" y="127"/>
                    </a:lnTo>
                    <a:lnTo>
                      <a:pt x="371" y="127"/>
                    </a:lnTo>
                    <a:lnTo>
                      <a:pt x="372" y="127"/>
                    </a:lnTo>
                    <a:lnTo>
                      <a:pt x="372" y="126"/>
                    </a:lnTo>
                    <a:lnTo>
                      <a:pt x="373" y="126"/>
                    </a:lnTo>
                    <a:lnTo>
                      <a:pt x="374" y="127"/>
                    </a:lnTo>
                    <a:lnTo>
                      <a:pt x="375" y="127"/>
                    </a:lnTo>
                    <a:lnTo>
                      <a:pt x="377" y="127"/>
                    </a:lnTo>
                    <a:lnTo>
                      <a:pt x="378" y="127"/>
                    </a:lnTo>
                    <a:lnTo>
                      <a:pt x="379" y="127"/>
                    </a:lnTo>
                    <a:lnTo>
                      <a:pt x="380" y="127"/>
                    </a:lnTo>
                    <a:lnTo>
                      <a:pt x="382" y="127"/>
                    </a:lnTo>
                    <a:lnTo>
                      <a:pt x="383" y="127"/>
                    </a:lnTo>
                    <a:lnTo>
                      <a:pt x="384" y="127"/>
                    </a:lnTo>
                    <a:lnTo>
                      <a:pt x="386" y="127"/>
                    </a:lnTo>
                    <a:lnTo>
                      <a:pt x="387" y="127"/>
                    </a:lnTo>
                    <a:lnTo>
                      <a:pt x="388" y="127"/>
                    </a:lnTo>
                    <a:lnTo>
                      <a:pt x="389" y="127"/>
                    </a:lnTo>
                    <a:lnTo>
                      <a:pt x="390" y="128"/>
                    </a:lnTo>
                    <a:lnTo>
                      <a:pt x="391" y="127"/>
                    </a:lnTo>
                    <a:lnTo>
                      <a:pt x="391" y="128"/>
                    </a:lnTo>
                    <a:lnTo>
                      <a:pt x="392" y="128"/>
                    </a:lnTo>
                    <a:lnTo>
                      <a:pt x="393" y="128"/>
                    </a:lnTo>
                    <a:lnTo>
                      <a:pt x="393" y="129"/>
                    </a:lnTo>
                    <a:lnTo>
                      <a:pt x="395" y="128"/>
                    </a:lnTo>
                    <a:lnTo>
                      <a:pt x="396" y="128"/>
                    </a:lnTo>
                    <a:lnTo>
                      <a:pt x="397" y="128"/>
                    </a:lnTo>
                    <a:lnTo>
                      <a:pt x="397" y="129"/>
                    </a:lnTo>
                    <a:lnTo>
                      <a:pt x="397" y="130"/>
                    </a:lnTo>
                    <a:lnTo>
                      <a:pt x="398" y="129"/>
                    </a:lnTo>
                    <a:lnTo>
                      <a:pt x="399" y="129"/>
                    </a:lnTo>
                    <a:lnTo>
                      <a:pt x="400" y="129"/>
                    </a:lnTo>
                    <a:lnTo>
                      <a:pt x="401" y="129"/>
                    </a:lnTo>
                    <a:lnTo>
                      <a:pt x="402" y="130"/>
                    </a:lnTo>
                    <a:lnTo>
                      <a:pt x="403" y="130"/>
                    </a:lnTo>
                    <a:lnTo>
                      <a:pt x="404" y="130"/>
                    </a:lnTo>
                    <a:lnTo>
                      <a:pt x="405" y="130"/>
                    </a:lnTo>
                    <a:lnTo>
                      <a:pt x="406" y="130"/>
                    </a:lnTo>
                    <a:lnTo>
                      <a:pt x="408" y="130"/>
                    </a:lnTo>
                    <a:lnTo>
                      <a:pt x="410" y="130"/>
                    </a:lnTo>
                    <a:lnTo>
                      <a:pt x="412" y="129"/>
                    </a:lnTo>
                    <a:lnTo>
                      <a:pt x="413" y="129"/>
                    </a:lnTo>
                    <a:lnTo>
                      <a:pt x="413" y="128"/>
                    </a:lnTo>
                    <a:lnTo>
                      <a:pt x="414" y="128"/>
                    </a:lnTo>
                    <a:lnTo>
                      <a:pt x="415" y="127"/>
                    </a:lnTo>
                    <a:lnTo>
                      <a:pt x="416" y="126"/>
                    </a:lnTo>
                    <a:lnTo>
                      <a:pt x="417" y="126"/>
                    </a:lnTo>
                    <a:lnTo>
                      <a:pt x="417" y="127"/>
                    </a:lnTo>
                    <a:lnTo>
                      <a:pt x="418" y="128"/>
                    </a:lnTo>
                    <a:lnTo>
                      <a:pt x="416" y="131"/>
                    </a:lnTo>
                    <a:lnTo>
                      <a:pt x="411" y="150"/>
                    </a:lnTo>
                    <a:lnTo>
                      <a:pt x="405" y="164"/>
                    </a:lnTo>
                    <a:lnTo>
                      <a:pt x="404" y="168"/>
                    </a:lnTo>
                    <a:lnTo>
                      <a:pt x="402" y="175"/>
                    </a:lnTo>
                    <a:lnTo>
                      <a:pt x="402" y="176"/>
                    </a:lnTo>
                    <a:lnTo>
                      <a:pt x="400" y="182"/>
                    </a:lnTo>
                    <a:lnTo>
                      <a:pt x="395" y="200"/>
                    </a:lnTo>
                    <a:lnTo>
                      <a:pt x="393" y="203"/>
                    </a:lnTo>
                    <a:lnTo>
                      <a:pt x="393" y="205"/>
                    </a:lnTo>
                    <a:lnTo>
                      <a:pt x="391" y="210"/>
                    </a:lnTo>
                    <a:lnTo>
                      <a:pt x="387" y="225"/>
                    </a:lnTo>
                    <a:lnTo>
                      <a:pt x="385" y="240"/>
                    </a:lnTo>
                    <a:lnTo>
                      <a:pt x="383" y="239"/>
                    </a:lnTo>
                    <a:lnTo>
                      <a:pt x="382" y="240"/>
                    </a:lnTo>
                    <a:lnTo>
                      <a:pt x="375" y="244"/>
                    </a:lnTo>
                    <a:lnTo>
                      <a:pt x="375" y="257"/>
                    </a:lnTo>
                    <a:lnTo>
                      <a:pt x="375" y="258"/>
                    </a:lnTo>
                    <a:lnTo>
                      <a:pt x="375" y="270"/>
                    </a:lnTo>
                    <a:lnTo>
                      <a:pt x="375" y="273"/>
                    </a:lnTo>
                    <a:lnTo>
                      <a:pt x="375" y="276"/>
                    </a:lnTo>
                    <a:lnTo>
                      <a:pt x="375" y="277"/>
                    </a:lnTo>
                    <a:lnTo>
                      <a:pt x="364" y="277"/>
                    </a:lnTo>
                    <a:lnTo>
                      <a:pt x="364" y="286"/>
                    </a:lnTo>
                    <a:lnTo>
                      <a:pt x="364" y="296"/>
                    </a:lnTo>
                    <a:lnTo>
                      <a:pt x="365" y="309"/>
                    </a:lnTo>
                    <a:lnTo>
                      <a:pt x="332" y="321"/>
                    </a:lnTo>
                    <a:lnTo>
                      <a:pt x="293" y="335"/>
                    </a:lnTo>
                    <a:lnTo>
                      <a:pt x="293" y="334"/>
                    </a:lnTo>
                    <a:lnTo>
                      <a:pt x="294" y="333"/>
                    </a:lnTo>
                    <a:lnTo>
                      <a:pt x="294" y="332"/>
                    </a:lnTo>
                    <a:lnTo>
                      <a:pt x="294" y="331"/>
                    </a:lnTo>
                    <a:lnTo>
                      <a:pt x="294" y="327"/>
                    </a:lnTo>
                    <a:lnTo>
                      <a:pt x="294" y="325"/>
                    </a:lnTo>
                    <a:lnTo>
                      <a:pt x="293" y="324"/>
                    </a:lnTo>
                    <a:lnTo>
                      <a:pt x="292" y="323"/>
                    </a:lnTo>
                    <a:lnTo>
                      <a:pt x="290" y="323"/>
                    </a:lnTo>
                    <a:lnTo>
                      <a:pt x="289" y="323"/>
                    </a:lnTo>
                    <a:lnTo>
                      <a:pt x="287" y="324"/>
                    </a:lnTo>
                    <a:lnTo>
                      <a:pt x="286" y="325"/>
                    </a:lnTo>
                    <a:lnTo>
                      <a:pt x="286" y="327"/>
                    </a:lnTo>
                    <a:lnTo>
                      <a:pt x="284" y="330"/>
                    </a:lnTo>
                    <a:lnTo>
                      <a:pt x="284" y="331"/>
                    </a:lnTo>
                    <a:lnTo>
                      <a:pt x="284" y="332"/>
                    </a:lnTo>
                    <a:lnTo>
                      <a:pt x="283" y="332"/>
                    </a:lnTo>
                    <a:lnTo>
                      <a:pt x="282" y="333"/>
                    </a:lnTo>
                    <a:lnTo>
                      <a:pt x="282" y="332"/>
                    </a:lnTo>
                    <a:lnTo>
                      <a:pt x="280" y="331"/>
                    </a:lnTo>
                    <a:lnTo>
                      <a:pt x="276" y="329"/>
                    </a:lnTo>
                    <a:lnTo>
                      <a:pt x="274" y="325"/>
                    </a:lnTo>
                    <a:lnTo>
                      <a:pt x="273" y="325"/>
                    </a:lnTo>
                    <a:lnTo>
                      <a:pt x="271" y="323"/>
                    </a:lnTo>
                    <a:lnTo>
                      <a:pt x="270" y="321"/>
                    </a:lnTo>
                    <a:lnTo>
                      <a:pt x="270" y="320"/>
                    </a:lnTo>
                    <a:lnTo>
                      <a:pt x="269" y="319"/>
                    </a:lnTo>
                    <a:lnTo>
                      <a:pt x="269" y="318"/>
                    </a:lnTo>
                    <a:lnTo>
                      <a:pt x="268" y="318"/>
                    </a:lnTo>
                    <a:lnTo>
                      <a:pt x="268" y="316"/>
                    </a:lnTo>
                    <a:lnTo>
                      <a:pt x="268" y="315"/>
                    </a:lnTo>
                    <a:lnTo>
                      <a:pt x="267" y="313"/>
                    </a:lnTo>
                    <a:lnTo>
                      <a:pt x="266" y="312"/>
                    </a:lnTo>
                    <a:lnTo>
                      <a:pt x="264" y="311"/>
                    </a:lnTo>
                    <a:lnTo>
                      <a:pt x="261" y="311"/>
                    </a:lnTo>
                    <a:lnTo>
                      <a:pt x="260" y="311"/>
                    </a:lnTo>
                    <a:lnTo>
                      <a:pt x="224" y="311"/>
                    </a:lnTo>
                    <a:lnTo>
                      <a:pt x="223" y="311"/>
                    </a:lnTo>
                    <a:lnTo>
                      <a:pt x="222" y="310"/>
                    </a:lnTo>
                    <a:lnTo>
                      <a:pt x="221" y="310"/>
                    </a:lnTo>
                    <a:lnTo>
                      <a:pt x="219" y="310"/>
                    </a:lnTo>
                    <a:lnTo>
                      <a:pt x="217" y="310"/>
                    </a:lnTo>
                    <a:lnTo>
                      <a:pt x="216" y="310"/>
                    </a:lnTo>
                    <a:lnTo>
                      <a:pt x="215" y="310"/>
                    </a:lnTo>
                    <a:lnTo>
                      <a:pt x="214" y="310"/>
                    </a:lnTo>
                    <a:lnTo>
                      <a:pt x="212" y="310"/>
                    </a:lnTo>
                    <a:lnTo>
                      <a:pt x="212" y="311"/>
                    </a:lnTo>
                    <a:lnTo>
                      <a:pt x="211" y="312"/>
                    </a:lnTo>
                    <a:lnTo>
                      <a:pt x="210" y="312"/>
                    </a:lnTo>
                    <a:lnTo>
                      <a:pt x="210" y="313"/>
                    </a:lnTo>
                    <a:lnTo>
                      <a:pt x="209" y="313"/>
                    </a:lnTo>
                    <a:lnTo>
                      <a:pt x="208" y="313"/>
                    </a:lnTo>
                    <a:lnTo>
                      <a:pt x="207" y="313"/>
                    </a:lnTo>
                    <a:lnTo>
                      <a:pt x="206" y="315"/>
                    </a:lnTo>
                    <a:lnTo>
                      <a:pt x="205" y="315"/>
                    </a:lnTo>
                    <a:lnTo>
                      <a:pt x="205" y="313"/>
                    </a:lnTo>
                    <a:lnTo>
                      <a:pt x="204" y="312"/>
                    </a:lnTo>
                    <a:lnTo>
                      <a:pt x="204" y="311"/>
                    </a:lnTo>
                    <a:lnTo>
                      <a:pt x="204" y="310"/>
                    </a:lnTo>
                    <a:lnTo>
                      <a:pt x="203" y="310"/>
                    </a:lnTo>
                    <a:lnTo>
                      <a:pt x="203" y="309"/>
                    </a:lnTo>
                    <a:lnTo>
                      <a:pt x="202" y="309"/>
                    </a:lnTo>
                    <a:lnTo>
                      <a:pt x="202" y="308"/>
                    </a:lnTo>
                    <a:lnTo>
                      <a:pt x="202" y="307"/>
                    </a:lnTo>
                    <a:lnTo>
                      <a:pt x="203" y="307"/>
                    </a:lnTo>
                    <a:lnTo>
                      <a:pt x="204" y="307"/>
                    </a:lnTo>
                    <a:lnTo>
                      <a:pt x="204" y="306"/>
                    </a:lnTo>
                    <a:lnTo>
                      <a:pt x="204" y="302"/>
                    </a:lnTo>
                    <a:lnTo>
                      <a:pt x="204" y="300"/>
                    </a:lnTo>
                    <a:lnTo>
                      <a:pt x="204" y="299"/>
                    </a:lnTo>
                    <a:lnTo>
                      <a:pt x="203" y="299"/>
                    </a:lnTo>
                    <a:lnTo>
                      <a:pt x="203" y="297"/>
                    </a:lnTo>
                    <a:lnTo>
                      <a:pt x="203" y="296"/>
                    </a:lnTo>
                    <a:lnTo>
                      <a:pt x="202" y="296"/>
                    </a:lnTo>
                    <a:lnTo>
                      <a:pt x="202" y="295"/>
                    </a:lnTo>
                    <a:lnTo>
                      <a:pt x="202" y="294"/>
                    </a:lnTo>
                    <a:lnTo>
                      <a:pt x="201" y="294"/>
                    </a:lnTo>
                    <a:lnTo>
                      <a:pt x="201" y="293"/>
                    </a:lnTo>
                    <a:lnTo>
                      <a:pt x="199" y="293"/>
                    </a:lnTo>
                    <a:lnTo>
                      <a:pt x="199" y="292"/>
                    </a:lnTo>
                    <a:lnTo>
                      <a:pt x="199" y="291"/>
                    </a:lnTo>
                    <a:lnTo>
                      <a:pt x="198" y="291"/>
                    </a:lnTo>
                    <a:lnTo>
                      <a:pt x="198" y="290"/>
                    </a:lnTo>
                    <a:lnTo>
                      <a:pt x="198" y="287"/>
                    </a:lnTo>
                    <a:lnTo>
                      <a:pt x="198" y="286"/>
                    </a:lnTo>
                    <a:lnTo>
                      <a:pt x="198" y="285"/>
                    </a:lnTo>
                    <a:lnTo>
                      <a:pt x="197" y="285"/>
                    </a:lnTo>
                    <a:lnTo>
                      <a:pt x="196" y="284"/>
                    </a:lnTo>
                    <a:lnTo>
                      <a:pt x="194" y="284"/>
                    </a:lnTo>
                    <a:lnTo>
                      <a:pt x="194" y="283"/>
                    </a:lnTo>
                    <a:lnTo>
                      <a:pt x="193" y="283"/>
                    </a:lnTo>
                    <a:lnTo>
                      <a:pt x="192" y="283"/>
                    </a:lnTo>
                    <a:lnTo>
                      <a:pt x="191" y="283"/>
                    </a:lnTo>
                    <a:lnTo>
                      <a:pt x="191" y="282"/>
                    </a:lnTo>
                    <a:lnTo>
                      <a:pt x="192" y="281"/>
                    </a:lnTo>
                    <a:lnTo>
                      <a:pt x="145" y="281"/>
                    </a:lnTo>
                    <a:lnTo>
                      <a:pt x="145" y="280"/>
                    </a:lnTo>
                    <a:lnTo>
                      <a:pt x="144" y="279"/>
                    </a:lnTo>
                    <a:lnTo>
                      <a:pt x="144" y="278"/>
                    </a:lnTo>
                    <a:lnTo>
                      <a:pt x="143" y="278"/>
                    </a:lnTo>
                    <a:lnTo>
                      <a:pt x="142" y="277"/>
                    </a:lnTo>
                    <a:lnTo>
                      <a:pt x="142" y="276"/>
                    </a:lnTo>
                    <a:lnTo>
                      <a:pt x="141" y="276"/>
                    </a:lnTo>
                    <a:lnTo>
                      <a:pt x="141" y="274"/>
                    </a:lnTo>
                    <a:lnTo>
                      <a:pt x="141" y="273"/>
                    </a:lnTo>
                    <a:lnTo>
                      <a:pt x="141" y="272"/>
                    </a:lnTo>
                    <a:lnTo>
                      <a:pt x="141" y="271"/>
                    </a:lnTo>
                    <a:lnTo>
                      <a:pt x="142" y="270"/>
                    </a:lnTo>
                    <a:lnTo>
                      <a:pt x="143" y="270"/>
                    </a:lnTo>
                    <a:lnTo>
                      <a:pt x="143" y="269"/>
                    </a:lnTo>
                    <a:lnTo>
                      <a:pt x="143" y="268"/>
                    </a:lnTo>
                    <a:lnTo>
                      <a:pt x="145" y="266"/>
                    </a:lnTo>
                    <a:lnTo>
                      <a:pt x="146" y="265"/>
                    </a:lnTo>
                    <a:lnTo>
                      <a:pt x="147" y="261"/>
                    </a:lnTo>
                    <a:lnTo>
                      <a:pt x="147" y="260"/>
                    </a:lnTo>
                    <a:lnTo>
                      <a:pt x="146" y="258"/>
                    </a:lnTo>
                    <a:lnTo>
                      <a:pt x="145" y="258"/>
                    </a:lnTo>
                    <a:lnTo>
                      <a:pt x="144" y="257"/>
                    </a:lnTo>
                    <a:lnTo>
                      <a:pt x="144" y="255"/>
                    </a:lnTo>
                    <a:lnTo>
                      <a:pt x="143" y="255"/>
                    </a:lnTo>
                    <a:lnTo>
                      <a:pt x="142" y="254"/>
                    </a:lnTo>
                    <a:lnTo>
                      <a:pt x="141" y="254"/>
                    </a:lnTo>
                    <a:lnTo>
                      <a:pt x="141" y="253"/>
                    </a:lnTo>
                    <a:lnTo>
                      <a:pt x="141" y="252"/>
                    </a:lnTo>
                    <a:lnTo>
                      <a:pt x="141" y="251"/>
                    </a:lnTo>
                    <a:lnTo>
                      <a:pt x="141" y="250"/>
                    </a:lnTo>
                    <a:lnTo>
                      <a:pt x="142" y="248"/>
                    </a:lnTo>
                    <a:lnTo>
                      <a:pt x="143" y="248"/>
                    </a:lnTo>
                    <a:lnTo>
                      <a:pt x="143" y="247"/>
                    </a:lnTo>
                    <a:lnTo>
                      <a:pt x="143" y="241"/>
                    </a:lnTo>
                    <a:lnTo>
                      <a:pt x="143" y="240"/>
                    </a:lnTo>
                    <a:lnTo>
                      <a:pt x="143" y="238"/>
                    </a:lnTo>
                    <a:lnTo>
                      <a:pt x="143" y="236"/>
                    </a:lnTo>
                    <a:lnTo>
                      <a:pt x="143" y="235"/>
                    </a:lnTo>
                    <a:lnTo>
                      <a:pt x="143" y="234"/>
                    </a:lnTo>
                    <a:lnTo>
                      <a:pt x="142" y="234"/>
                    </a:lnTo>
                    <a:lnTo>
                      <a:pt x="142" y="233"/>
                    </a:lnTo>
                    <a:lnTo>
                      <a:pt x="142" y="232"/>
                    </a:lnTo>
                    <a:lnTo>
                      <a:pt x="142" y="231"/>
                    </a:lnTo>
                    <a:lnTo>
                      <a:pt x="142" y="230"/>
                    </a:lnTo>
                    <a:lnTo>
                      <a:pt x="141" y="229"/>
                    </a:lnTo>
                    <a:lnTo>
                      <a:pt x="141" y="227"/>
                    </a:lnTo>
                    <a:lnTo>
                      <a:pt x="141" y="226"/>
                    </a:lnTo>
                    <a:lnTo>
                      <a:pt x="140" y="226"/>
                    </a:lnTo>
                    <a:lnTo>
                      <a:pt x="140" y="225"/>
                    </a:lnTo>
                    <a:lnTo>
                      <a:pt x="141" y="225"/>
                    </a:lnTo>
                    <a:lnTo>
                      <a:pt x="141" y="222"/>
                    </a:lnTo>
                    <a:lnTo>
                      <a:pt x="141" y="221"/>
                    </a:lnTo>
                    <a:lnTo>
                      <a:pt x="141" y="220"/>
                    </a:lnTo>
                    <a:lnTo>
                      <a:pt x="140" y="220"/>
                    </a:lnTo>
                    <a:lnTo>
                      <a:pt x="140" y="219"/>
                    </a:lnTo>
                    <a:lnTo>
                      <a:pt x="138" y="217"/>
                    </a:lnTo>
                    <a:lnTo>
                      <a:pt x="137" y="217"/>
                    </a:lnTo>
                    <a:lnTo>
                      <a:pt x="135" y="216"/>
                    </a:lnTo>
                    <a:lnTo>
                      <a:pt x="134" y="216"/>
                    </a:lnTo>
                    <a:lnTo>
                      <a:pt x="132" y="215"/>
                    </a:lnTo>
                    <a:lnTo>
                      <a:pt x="132" y="214"/>
                    </a:lnTo>
                    <a:lnTo>
                      <a:pt x="131" y="214"/>
                    </a:lnTo>
                    <a:lnTo>
                      <a:pt x="131" y="213"/>
                    </a:lnTo>
                    <a:lnTo>
                      <a:pt x="130" y="213"/>
                    </a:lnTo>
                    <a:lnTo>
                      <a:pt x="130" y="212"/>
                    </a:lnTo>
                    <a:lnTo>
                      <a:pt x="130" y="210"/>
                    </a:lnTo>
                    <a:lnTo>
                      <a:pt x="129" y="210"/>
                    </a:lnTo>
                    <a:lnTo>
                      <a:pt x="130" y="210"/>
                    </a:lnTo>
                    <a:lnTo>
                      <a:pt x="131" y="209"/>
                    </a:lnTo>
                    <a:lnTo>
                      <a:pt x="131" y="208"/>
                    </a:lnTo>
                    <a:lnTo>
                      <a:pt x="130" y="208"/>
                    </a:lnTo>
                    <a:lnTo>
                      <a:pt x="130" y="207"/>
                    </a:lnTo>
                    <a:lnTo>
                      <a:pt x="130" y="206"/>
                    </a:lnTo>
                    <a:lnTo>
                      <a:pt x="131" y="205"/>
                    </a:lnTo>
                    <a:lnTo>
                      <a:pt x="131" y="204"/>
                    </a:lnTo>
                    <a:lnTo>
                      <a:pt x="132" y="202"/>
                    </a:lnTo>
                    <a:lnTo>
                      <a:pt x="132" y="201"/>
                    </a:lnTo>
                    <a:lnTo>
                      <a:pt x="133" y="201"/>
                    </a:lnTo>
                    <a:lnTo>
                      <a:pt x="134" y="200"/>
                    </a:lnTo>
                    <a:lnTo>
                      <a:pt x="134" y="199"/>
                    </a:lnTo>
                    <a:lnTo>
                      <a:pt x="135" y="199"/>
                    </a:lnTo>
                    <a:lnTo>
                      <a:pt x="134" y="197"/>
                    </a:lnTo>
                    <a:lnTo>
                      <a:pt x="134" y="196"/>
                    </a:lnTo>
                    <a:lnTo>
                      <a:pt x="135" y="196"/>
                    </a:lnTo>
                    <a:lnTo>
                      <a:pt x="135" y="195"/>
                    </a:lnTo>
                    <a:lnTo>
                      <a:pt x="137" y="194"/>
                    </a:lnTo>
                    <a:lnTo>
                      <a:pt x="138" y="194"/>
                    </a:lnTo>
                    <a:lnTo>
                      <a:pt x="139" y="193"/>
                    </a:lnTo>
                    <a:lnTo>
                      <a:pt x="139" y="192"/>
                    </a:lnTo>
                    <a:lnTo>
                      <a:pt x="139" y="191"/>
                    </a:lnTo>
                    <a:lnTo>
                      <a:pt x="137" y="190"/>
                    </a:lnTo>
                    <a:lnTo>
                      <a:pt x="135" y="189"/>
                    </a:lnTo>
                    <a:lnTo>
                      <a:pt x="133" y="188"/>
                    </a:lnTo>
                    <a:lnTo>
                      <a:pt x="130" y="187"/>
                    </a:lnTo>
                    <a:lnTo>
                      <a:pt x="128" y="186"/>
                    </a:lnTo>
                    <a:lnTo>
                      <a:pt x="127" y="186"/>
                    </a:lnTo>
                    <a:lnTo>
                      <a:pt x="126" y="184"/>
                    </a:lnTo>
                    <a:lnTo>
                      <a:pt x="124" y="184"/>
                    </a:lnTo>
                    <a:lnTo>
                      <a:pt x="118" y="183"/>
                    </a:lnTo>
                    <a:lnTo>
                      <a:pt x="117" y="183"/>
                    </a:lnTo>
                    <a:lnTo>
                      <a:pt x="115" y="182"/>
                    </a:lnTo>
                    <a:lnTo>
                      <a:pt x="113" y="182"/>
                    </a:lnTo>
                    <a:lnTo>
                      <a:pt x="111" y="182"/>
                    </a:lnTo>
                    <a:lnTo>
                      <a:pt x="107" y="182"/>
                    </a:lnTo>
                    <a:lnTo>
                      <a:pt x="105" y="182"/>
                    </a:lnTo>
                    <a:lnTo>
                      <a:pt x="104" y="182"/>
                    </a:lnTo>
                    <a:lnTo>
                      <a:pt x="103" y="182"/>
                    </a:lnTo>
                    <a:lnTo>
                      <a:pt x="102" y="183"/>
                    </a:lnTo>
                    <a:lnTo>
                      <a:pt x="100" y="183"/>
                    </a:lnTo>
                    <a:lnTo>
                      <a:pt x="99" y="183"/>
                    </a:lnTo>
                    <a:lnTo>
                      <a:pt x="98" y="183"/>
                    </a:lnTo>
                    <a:lnTo>
                      <a:pt x="95" y="183"/>
                    </a:lnTo>
                    <a:lnTo>
                      <a:pt x="93" y="182"/>
                    </a:lnTo>
                    <a:lnTo>
                      <a:pt x="90" y="182"/>
                    </a:lnTo>
                    <a:lnTo>
                      <a:pt x="88" y="182"/>
                    </a:lnTo>
                    <a:lnTo>
                      <a:pt x="86" y="182"/>
                    </a:lnTo>
                    <a:lnTo>
                      <a:pt x="82" y="181"/>
                    </a:lnTo>
                    <a:lnTo>
                      <a:pt x="80" y="180"/>
                    </a:lnTo>
                    <a:lnTo>
                      <a:pt x="77" y="178"/>
                    </a:lnTo>
                    <a:lnTo>
                      <a:pt x="76" y="176"/>
                    </a:lnTo>
                    <a:lnTo>
                      <a:pt x="69" y="171"/>
                    </a:lnTo>
                    <a:lnTo>
                      <a:pt x="68" y="169"/>
                    </a:lnTo>
                    <a:lnTo>
                      <a:pt x="68" y="166"/>
                    </a:lnTo>
                    <a:lnTo>
                      <a:pt x="68" y="164"/>
                    </a:lnTo>
                    <a:lnTo>
                      <a:pt x="69" y="163"/>
                    </a:lnTo>
                    <a:lnTo>
                      <a:pt x="69" y="160"/>
                    </a:lnTo>
                    <a:lnTo>
                      <a:pt x="68" y="157"/>
                    </a:lnTo>
                    <a:lnTo>
                      <a:pt x="60" y="149"/>
                    </a:lnTo>
                    <a:lnTo>
                      <a:pt x="56" y="143"/>
                    </a:lnTo>
                    <a:lnTo>
                      <a:pt x="55" y="142"/>
                    </a:lnTo>
                    <a:lnTo>
                      <a:pt x="51" y="136"/>
                    </a:lnTo>
                    <a:lnTo>
                      <a:pt x="50" y="133"/>
                    </a:lnTo>
                    <a:lnTo>
                      <a:pt x="47" y="125"/>
                    </a:lnTo>
                    <a:lnTo>
                      <a:pt x="47" y="124"/>
                    </a:lnTo>
                    <a:lnTo>
                      <a:pt x="46" y="119"/>
                    </a:lnTo>
                    <a:lnTo>
                      <a:pt x="46" y="118"/>
                    </a:lnTo>
                    <a:lnTo>
                      <a:pt x="47" y="117"/>
                    </a:lnTo>
                    <a:lnTo>
                      <a:pt x="47" y="116"/>
                    </a:lnTo>
                    <a:lnTo>
                      <a:pt x="47" y="114"/>
                    </a:lnTo>
                    <a:lnTo>
                      <a:pt x="48" y="114"/>
                    </a:lnTo>
                    <a:lnTo>
                      <a:pt x="48" y="111"/>
                    </a:lnTo>
                    <a:lnTo>
                      <a:pt x="47" y="110"/>
                    </a:lnTo>
                    <a:lnTo>
                      <a:pt x="47" y="109"/>
                    </a:lnTo>
                    <a:lnTo>
                      <a:pt x="47" y="107"/>
                    </a:lnTo>
                    <a:lnTo>
                      <a:pt x="46" y="106"/>
                    </a:lnTo>
                    <a:lnTo>
                      <a:pt x="46" y="105"/>
                    </a:lnTo>
                    <a:lnTo>
                      <a:pt x="47" y="104"/>
                    </a:lnTo>
                    <a:lnTo>
                      <a:pt x="47" y="103"/>
                    </a:lnTo>
                    <a:lnTo>
                      <a:pt x="47" y="102"/>
                    </a:lnTo>
                    <a:lnTo>
                      <a:pt x="42" y="100"/>
                    </a:lnTo>
                    <a:lnTo>
                      <a:pt x="41" y="100"/>
                    </a:lnTo>
                    <a:lnTo>
                      <a:pt x="41" y="99"/>
                    </a:lnTo>
                    <a:lnTo>
                      <a:pt x="39" y="98"/>
                    </a:lnTo>
                    <a:lnTo>
                      <a:pt x="37" y="97"/>
                    </a:lnTo>
                    <a:lnTo>
                      <a:pt x="35" y="96"/>
                    </a:lnTo>
                    <a:lnTo>
                      <a:pt x="33" y="94"/>
                    </a:lnTo>
                    <a:lnTo>
                      <a:pt x="36" y="90"/>
                    </a:lnTo>
                    <a:lnTo>
                      <a:pt x="36" y="89"/>
                    </a:lnTo>
                    <a:lnTo>
                      <a:pt x="37" y="89"/>
                    </a:lnTo>
                    <a:lnTo>
                      <a:pt x="40" y="88"/>
                    </a:lnTo>
                    <a:lnTo>
                      <a:pt x="42" y="87"/>
                    </a:lnTo>
                    <a:lnTo>
                      <a:pt x="44" y="86"/>
                    </a:lnTo>
                    <a:lnTo>
                      <a:pt x="46" y="85"/>
                    </a:lnTo>
                    <a:lnTo>
                      <a:pt x="46" y="83"/>
                    </a:lnTo>
                    <a:lnTo>
                      <a:pt x="44" y="81"/>
                    </a:lnTo>
                    <a:lnTo>
                      <a:pt x="47" y="79"/>
                    </a:lnTo>
                    <a:lnTo>
                      <a:pt x="47" y="77"/>
                    </a:lnTo>
                    <a:lnTo>
                      <a:pt x="47" y="75"/>
                    </a:lnTo>
                    <a:lnTo>
                      <a:pt x="48" y="74"/>
                    </a:lnTo>
                    <a:lnTo>
                      <a:pt x="47" y="73"/>
                    </a:lnTo>
                    <a:lnTo>
                      <a:pt x="47" y="72"/>
                    </a:lnTo>
                    <a:lnTo>
                      <a:pt x="46" y="71"/>
                    </a:lnTo>
                    <a:lnTo>
                      <a:pt x="46" y="68"/>
                    </a:lnTo>
                    <a:lnTo>
                      <a:pt x="44" y="65"/>
                    </a:lnTo>
                    <a:lnTo>
                      <a:pt x="44" y="63"/>
                    </a:lnTo>
                    <a:lnTo>
                      <a:pt x="44" y="62"/>
                    </a:lnTo>
                    <a:lnTo>
                      <a:pt x="46" y="60"/>
                    </a:lnTo>
                    <a:lnTo>
                      <a:pt x="44" y="59"/>
                    </a:lnTo>
                    <a:lnTo>
                      <a:pt x="42" y="58"/>
                    </a:lnTo>
                    <a:lnTo>
                      <a:pt x="41" y="55"/>
                    </a:lnTo>
                    <a:lnTo>
                      <a:pt x="41" y="54"/>
                    </a:lnTo>
                    <a:lnTo>
                      <a:pt x="41" y="53"/>
                    </a:lnTo>
                    <a:lnTo>
                      <a:pt x="38" y="49"/>
                    </a:lnTo>
                    <a:lnTo>
                      <a:pt x="40" y="45"/>
                    </a:lnTo>
                    <a:lnTo>
                      <a:pt x="38" y="40"/>
                    </a:lnTo>
                    <a:lnTo>
                      <a:pt x="38" y="39"/>
                    </a:lnTo>
                    <a:lnTo>
                      <a:pt x="35" y="38"/>
                    </a:lnTo>
                    <a:lnTo>
                      <a:pt x="34" y="35"/>
                    </a:lnTo>
                    <a:lnTo>
                      <a:pt x="24" y="26"/>
                    </a:lnTo>
                    <a:lnTo>
                      <a:pt x="25" y="26"/>
                    </a:lnTo>
                    <a:lnTo>
                      <a:pt x="16" y="17"/>
                    </a:lnTo>
                    <a:lnTo>
                      <a:pt x="15" y="16"/>
                    </a:lnTo>
                    <a:lnTo>
                      <a:pt x="10" y="15"/>
                    </a:lnTo>
                    <a:lnTo>
                      <a:pt x="8" y="13"/>
                    </a:lnTo>
                    <a:lnTo>
                      <a:pt x="5" y="12"/>
                    </a:lnTo>
                    <a:lnTo>
                      <a:pt x="0" y="4"/>
                    </a:lnTo>
                    <a:lnTo>
                      <a:pt x="1" y="0"/>
                    </a:lnTo>
                    <a:lnTo>
                      <a:pt x="47" y="1"/>
                    </a:lnTo>
                    <a:lnTo>
                      <a:pt x="73" y="1"/>
                    </a:lnTo>
                    <a:lnTo>
                      <a:pt x="73" y="11"/>
                    </a:lnTo>
                    <a:lnTo>
                      <a:pt x="80" y="11"/>
                    </a:lnTo>
                    <a:lnTo>
                      <a:pt x="89" y="11"/>
                    </a:lnTo>
                    <a:lnTo>
                      <a:pt x="88" y="7"/>
                    </a:lnTo>
                    <a:lnTo>
                      <a:pt x="104" y="2"/>
                    </a:lnTo>
                    <a:lnTo>
                      <a:pt x="107" y="1"/>
                    </a:lnTo>
                    <a:lnTo>
                      <a:pt x="113" y="1"/>
                    </a:lnTo>
                    <a:lnTo>
                      <a:pt x="114" y="1"/>
                    </a:lnTo>
                    <a:lnTo>
                      <a:pt x="120" y="1"/>
                    </a:lnTo>
                    <a:lnTo>
                      <a:pt x="124" y="1"/>
                    </a:lnTo>
                    <a:lnTo>
                      <a:pt x="124" y="0"/>
                    </a:lnTo>
                    <a:lnTo>
                      <a:pt x="124" y="1"/>
                    </a:lnTo>
                    <a:lnTo>
                      <a:pt x="132" y="1"/>
                    </a:lnTo>
                    <a:close/>
                  </a:path>
                </a:pathLst>
              </a:custGeom>
              <a:solidFill>
                <a:srgbClr val="287EE3"/>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0" name="Freeform 288">
                <a:extLst>
                  <a:ext uri="{FF2B5EF4-FFF2-40B4-BE49-F238E27FC236}">
                    <a16:creationId xmlns:a16="http://schemas.microsoft.com/office/drawing/2014/main" id="{7D939799-D678-D460-0B00-991222532765}"/>
                  </a:ext>
                </a:extLst>
              </p:cNvPr>
              <p:cNvSpPr>
                <a:spLocks/>
              </p:cNvSpPr>
              <p:nvPr/>
            </p:nvSpPr>
            <p:spPr bwMode="auto">
              <a:xfrm>
                <a:off x="3630613" y="3830638"/>
                <a:ext cx="334963" cy="379413"/>
              </a:xfrm>
              <a:custGeom>
                <a:avLst/>
                <a:gdLst>
                  <a:gd name="T0" fmla="*/ 163 w 211"/>
                  <a:gd name="T1" fmla="*/ 238 h 239"/>
                  <a:gd name="T2" fmla="*/ 156 w 211"/>
                  <a:gd name="T3" fmla="*/ 238 h 239"/>
                  <a:gd name="T4" fmla="*/ 143 w 211"/>
                  <a:gd name="T5" fmla="*/ 239 h 239"/>
                  <a:gd name="T6" fmla="*/ 106 w 211"/>
                  <a:gd name="T7" fmla="*/ 239 h 239"/>
                  <a:gd name="T8" fmla="*/ 80 w 211"/>
                  <a:gd name="T9" fmla="*/ 201 h 239"/>
                  <a:gd name="T10" fmla="*/ 56 w 211"/>
                  <a:gd name="T11" fmla="*/ 177 h 239"/>
                  <a:gd name="T12" fmla="*/ 45 w 211"/>
                  <a:gd name="T13" fmla="*/ 162 h 239"/>
                  <a:gd name="T14" fmla="*/ 13 w 211"/>
                  <a:gd name="T15" fmla="*/ 130 h 239"/>
                  <a:gd name="T16" fmla="*/ 2 w 211"/>
                  <a:gd name="T17" fmla="*/ 109 h 239"/>
                  <a:gd name="T18" fmla="*/ 9 w 211"/>
                  <a:gd name="T19" fmla="*/ 105 h 239"/>
                  <a:gd name="T20" fmla="*/ 27 w 211"/>
                  <a:gd name="T21" fmla="*/ 104 h 239"/>
                  <a:gd name="T22" fmla="*/ 44 w 211"/>
                  <a:gd name="T23" fmla="*/ 95 h 239"/>
                  <a:gd name="T24" fmla="*/ 44 w 211"/>
                  <a:gd name="T25" fmla="*/ 84 h 239"/>
                  <a:gd name="T26" fmla="*/ 48 w 211"/>
                  <a:gd name="T27" fmla="*/ 80 h 239"/>
                  <a:gd name="T28" fmla="*/ 49 w 211"/>
                  <a:gd name="T29" fmla="*/ 76 h 239"/>
                  <a:gd name="T30" fmla="*/ 50 w 211"/>
                  <a:gd name="T31" fmla="*/ 72 h 239"/>
                  <a:gd name="T32" fmla="*/ 52 w 211"/>
                  <a:gd name="T33" fmla="*/ 69 h 239"/>
                  <a:gd name="T34" fmla="*/ 53 w 211"/>
                  <a:gd name="T35" fmla="*/ 64 h 239"/>
                  <a:gd name="T36" fmla="*/ 61 w 211"/>
                  <a:gd name="T37" fmla="*/ 64 h 239"/>
                  <a:gd name="T38" fmla="*/ 78 w 211"/>
                  <a:gd name="T39" fmla="*/ 46 h 239"/>
                  <a:gd name="T40" fmla="*/ 90 w 211"/>
                  <a:gd name="T41" fmla="*/ 33 h 239"/>
                  <a:gd name="T42" fmla="*/ 103 w 211"/>
                  <a:gd name="T43" fmla="*/ 15 h 239"/>
                  <a:gd name="T44" fmla="*/ 96 w 211"/>
                  <a:gd name="T45" fmla="*/ 3 h 239"/>
                  <a:gd name="T46" fmla="*/ 98 w 211"/>
                  <a:gd name="T47" fmla="*/ 1 h 239"/>
                  <a:gd name="T48" fmla="*/ 113 w 211"/>
                  <a:gd name="T49" fmla="*/ 5 h 239"/>
                  <a:gd name="T50" fmla="*/ 115 w 211"/>
                  <a:gd name="T51" fmla="*/ 7 h 239"/>
                  <a:gd name="T52" fmla="*/ 118 w 211"/>
                  <a:gd name="T53" fmla="*/ 14 h 239"/>
                  <a:gd name="T54" fmla="*/ 118 w 211"/>
                  <a:gd name="T55" fmla="*/ 21 h 239"/>
                  <a:gd name="T56" fmla="*/ 116 w 211"/>
                  <a:gd name="T57" fmla="*/ 25 h 239"/>
                  <a:gd name="T58" fmla="*/ 114 w 211"/>
                  <a:gd name="T59" fmla="*/ 31 h 239"/>
                  <a:gd name="T60" fmla="*/ 111 w 211"/>
                  <a:gd name="T61" fmla="*/ 35 h 239"/>
                  <a:gd name="T62" fmla="*/ 105 w 211"/>
                  <a:gd name="T63" fmla="*/ 44 h 239"/>
                  <a:gd name="T64" fmla="*/ 104 w 211"/>
                  <a:gd name="T65" fmla="*/ 52 h 239"/>
                  <a:gd name="T66" fmla="*/ 106 w 211"/>
                  <a:gd name="T67" fmla="*/ 59 h 239"/>
                  <a:gd name="T68" fmla="*/ 111 w 211"/>
                  <a:gd name="T69" fmla="*/ 61 h 239"/>
                  <a:gd name="T70" fmla="*/ 119 w 211"/>
                  <a:gd name="T71" fmla="*/ 61 h 239"/>
                  <a:gd name="T72" fmla="*/ 126 w 211"/>
                  <a:gd name="T73" fmla="*/ 61 h 239"/>
                  <a:gd name="T74" fmla="*/ 140 w 211"/>
                  <a:gd name="T75" fmla="*/ 64 h 239"/>
                  <a:gd name="T76" fmla="*/ 147 w 211"/>
                  <a:gd name="T77" fmla="*/ 71 h 239"/>
                  <a:gd name="T78" fmla="*/ 149 w 211"/>
                  <a:gd name="T79" fmla="*/ 75 h 239"/>
                  <a:gd name="T80" fmla="*/ 149 w 211"/>
                  <a:gd name="T81" fmla="*/ 80 h 239"/>
                  <a:gd name="T82" fmla="*/ 148 w 211"/>
                  <a:gd name="T83" fmla="*/ 86 h 239"/>
                  <a:gd name="T84" fmla="*/ 142 w 211"/>
                  <a:gd name="T85" fmla="*/ 90 h 239"/>
                  <a:gd name="T86" fmla="*/ 129 w 211"/>
                  <a:gd name="T87" fmla="*/ 98 h 239"/>
                  <a:gd name="T88" fmla="*/ 124 w 211"/>
                  <a:gd name="T89" fmla="*/ 103 h 239"/>
                  <a:gd name="T90" fmla="*/ 125 w 211"/>
                  <a:gd name="T91" fmla="*/ 109 h 239"/>
                  <a:gd name="T92" fmla="*/ 134 w 211"/>
                  <a:gd name="T93" fmla="*/ 110 h 239"/>
                  <a:gd name="T94" fmla="*/ 144 w 211"/>
                  <a:gd name="T95" fmla="*/ 107 h 239"/>
                  <a:gd name="T96" fmla="*/ 175 w 211"/>
                  <a:gd name="T97" fmla="*/ 100 h 239"/>
                  <a:gd name="T98" fmla="*/ 177 w 211"/>
                  <a:gd name="T99" fmla="*/ 135 h 239"/>
                  <a:gd name="T100" fmla="*/ 178 w 211"/>
                  <a:gd name="T101" fmla="*/ 155 h 239"/>
                  <a:gd name="T102" fmla="*/ 176 w 211"/>
                  <a:gd name="T103" fmla="*/ 170 h 239"/>
                  <a:gd name="T104" fmla="*/ 166 w 211"/>
                  <a:gd name="T105" fmla="*/ 188 h 239"/>
                  <a:gd name="T106" fmla="*/ 157 w 211"/>
                  <a:gd name="T107" fmla="*/ 198 h 239"/>
                  <a:gd name="T108" fmla="*/ 150 w 211"/>
                  <a:gd name="T109" fmla="*/ 214 h 239"/>
                  <a:gd name="T110" fmla="*/ 162 w 211"/>
                  <a:gd name="T111" fmla="*/ 226 h 239"/>
                  <a:gd name="T112" fmla="*/ 183 w 211"/>
                  <a:gd name="T113" fmla="*/ 221 h 239"/>
                  <a:gd name="T114" fmla="*/ 203 w 211"/>
                  <a:gd name="T115" fmla="*/ 227 h 239"/>
                  <a:gd name="T116" fmla="*/ 211 w 211"/>
                  <a:gd name="T117" fmla="*/ 23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239">
                    <a:moveTo>
                      <a:pt x="211" y="238"/>
                    </a:moveTo>
                    <a:lnTo>
                      <a:pt x="208" y="238"/>
                    </a:lnTo>
                    <a:lnTo>
                      <a:pt x="175" y="238"/>
                    </a:lnTo>
                    <a:lnTo>
                      <a:pt x="163" y="238"/>
                    </a:lnTo>
                    <a:lnTo>
                      <a:pt x="162" y="238"/>
                    </a:lnTo>
                    <a:lnTo>
                      <a:pt x="160" y="238"/>
                    </a:lnTo>
                    <a:lnTo>
                      <a:pt x="158" y="238"/>
                    </a:lnTo>
                    <a:lnTo>
                      <a:pt x="156" y="238"/>
                    </a:lnTo>
                    <a:lnTo>
                      <a:pt x="155" y="238"/>
                    </a:lnTo>
                    <a:lnTo>
                      <a:pt x="150" y="239"/>
                    </a:lnTo>
                    <a:lnTo>
                      <a:pt x="148" y="239"/>
                    </a:lnTo>
                    <a:lnTo>
                      <a:pt x="143" y="239"/>
                    </a:lnTo>
                    <a:lnTo>
                      <a:pt x="136" y="239"/>
                    </a:lnTo>
                    <a:lnTo>
                      <a:pt x="134" y="239"/>
                    </a:lnTo>
                    <a:lnTo>
                      <a:pt x="130" y="239"/>
                    </a:lnTo>
                    <a:lnTo>
                      <a:pt x="106" y="239"/>
                    </a:lnTo>
                    <a:lnTo>
                      <a:pt x="102" y="224"/>
                    </a:lnTo>
                    <a:lnTo>
                      <a:pt x="99" y="221"/>
                    </a:lnTo>
                    <a:lnTo>
                      <a:pt x="91" y="217"/>
                    </a:lnTo>
                    <a:lnTo>
                      <a:pt x="80" y="201"/>
                    </a:lnTo>
                    <a:lnTo>
                      <a:pt x="76" y="195"/>
                    </a:lnTo>
                    <a:lnTo>
                      <a:pt x="69" y="193"/>
                    </a:lnTo>
                    <a:lnTo>
                      <a:pt x="56" y="187"/>
                    </a:lnTo>
                    <a:lnTo>
                      <a:pt x="56" y="177"/>
                    </a:lnTo>
                    <a:lnTo>
                      <a:pt x="48" y="165"/>
                    </a:lnTo>
                    <a:lnTo>
                      <a:pt x="47" y="164"/>
                    </a:lnTo>
                    <a:lnTo>
                      <a:pt x="45" y="161"/>
                    </a:lnTo>
                    <a:lnTo>
                      <a:pt x="45" y="162"/>
                    </a:lnTo>
                    <a:lnTo>
                      <a:pt x="21" y="131"/>
                    </a:lnTo>
                    <a:lnTo>
                      <a:pt x="20" y="130"/>
                    </a:lnTo>
                    <a:lnTo>
                      <a:pt x="16" y="134"/>
                    </a:lnTo>
                    <a:lnTo>
                      <a:pt x="13" y="130"/>
                    </a:lnTo>
                    <a:lnTo>
                      <a:pt x="0" y="115"/>
                    </a:lnTo>
                    <a:lnTo>
                      <a:pt x="2" y="115"/>
                    </a:lnTo>
                    <a:lnTo>
                      <a:pt x="2" y="113"/>
                    </a:lnTo>
                    <a:lnTo>
                      <a:pt x="2" y="109"/>
                    </a:lnTo>
                    <a:lnTo>
                      <a:pt x="2" y="107"/>
                    </a:lnTo>
                    <a:lnTo>
                      <a:pt x="2" y="105"/>
                    </a:lnTo>
                    <a:lnTo>
                      <a:pt x="6" y="105"/>
                    </a:lnTo>
                    <a:lnTo>
                      <a:pt x="9" y="105"/>
                    </a:lnTo>
                    <a:lnTo>
                      <a:pt x="12" y="105"/>
                    </a:lnTo>
                    <a:lnTo>
                      <a:pt x="16" y="104"/>
                    </a:lnTo>
                    <a:lnTo>
                      <a:pt x="25" y="104"/>
                    </a:lnTo>
                    <a:lnTo>
                      <a:pt x="27" y="104"/>
                    </a:lnTo>
                    <a:lnTo>
                      <a:pt x="44" y="104"/>
                    </a:lnTo>
                    <a:lnTo>
                      <a:pt x="44" y="102"/>
                    </a:lnTo>
                    <a:lnTo>
                      <a:pt x="44" y="100"/>
                    </a:lnTo>
                    <a:lnTo>
                      <a:pt x="44" y="95"/>
                    </a:lnTo>
                    <a:lnTo>
                      <a:pt x="44" y="91"/>
                    </a:lnTo>
                    <a:lnTo>
                      <a:pt x="44" y="88"/>
                    </a:lnTo>
                    <a:lnTo>
                      <a:pt x="44" y="87"/>
                    </a:lnTo>
                    <a:lnTo>
                      <a:pt x="44" y="84"/>
                    </a:lnTo>
                    <a:lnTo>
                      <a:pt x="48" y="84"/>
                    </a:lnTo>
                    <a:lnTo>
                      <a:pt x="48" y="83"/>
                    </a:lnTo>
                    <a:lnTo>
                      <a:pt x="48" y="82"/>
                    </a:lnTo>
                    <a:lnTo>
                      <a:pt x="48" y="80"/>
                    </a:lnTo>
                    <a:lnTo>
                      <a:pt x="48" y="79"/>
                    </a:lnTo>
                    <a:lnTo>
                      <a:pt x="49" y="78"/>
                    </a:lnTo>
                    <a:lnTo>
                      <a:pt x="49" y="77"/>
                    </a:lnTo>
                    <a:lnTo>
                      <a:pt x="49" y="76"/>
                    </a:lnTo>
                    <a:lnTo>
                      <a:pt x="49" y="75"/>
                    </a:lnTo>
                    <a:lnTo>
                      <a:pt x="49" y="74"/>
                    </a:lnTo>
                    <a:lnTo>
                      <a:pt x="50" y="73"/>
                    </a:lnTo>
                    <a:lnTo>
                      <a:pt x="50" y="72"/>
                    </a:lnTo>
                    <a:lnTo>
                      <a:pt x="51" y="72"/>
                    </a:lnTo>
                    <a:lnTo>
                      <a:pt x="51" y="71"/>
                    </a:lnTo>
                    <a:lnTo>
                      <a:pt x="51" y="70"/>
                    </a:lnTo>
                    <a:lnTo>
                      <a:pt x="52" y="69"/>
                    </a:lnTo>
                    <a:lnTo>
                      <a:pt x="52" y="67"/>
                    </a:lnTo>
                    <a:lnTo>
                      <a:pt x="52" y="65"/>
                    </a:lnTo>
                    <a:lnTo>
                      <a:pt x="53" y="65"/>
                    </a:lnTo>
                    <a:lnTo>
                      <a:pt x="53" y="64"/>
                    </a:lnTo>
                    <a:lnTo>
                      <a:pt x="54" y="63"/>
                    </a:lnTo>
                    <a:lnTo>
                      <a:pt x="54" y="64"/>
                    </a:lnTo>
                    <a:lnTo>
                      <a:pt x="60" y="63"/>
                    </a:lnTo>
                    <a:lnTo>
                      <a:pt x="61" y="64"/>
                    </a:lnTo>
                    <a:lnTo>
                      <a:pt x="74" y="63"/>
                    </a:lnTo>
                    <a:lnTo>
                      <a:pt x="74" y="52"/>
                    </a:lnTo>
                    <a:lnTo>
                      <a:pt x="74" y="50"/>
                    </a:lnTo>
                    <a:lnTo>
                      <a:pt x="78" y="46"/>
                    </a:lnTo>
                    <a:lnTo>
                      <a:pt x="80" y="43"/>
                    </a:lnTo>
                    <a:lnTo>
                      <a:pt x="84" y="39"/>
                    </a:lnTo>
                    <a:lnTo>
                      <a:pt x="88" y="35"/>
                    </a:lnTo>
                    <a:lnTo>
                      <a:pt x="90" y="33"/>
                    </a:lnTo>
                    <a:lnTo>
                      <a:pt x="92" y="31"/>
                    </a:lnTo>
                    <a:lnTo>
                      <a:pt x="102" y="19"/>
                    </a:lnTo>
                    <a:lnTo>
                      <a:pt x="102" y="18"/>
                    </a:lnTo>
                    <a:lnTo>
                      <a:pt x="103" y="15"/>
                    </a:lnTo>
                    <a:lnTo>
                      <a:pt x="108" y="8"/>
                    </a:lnTo>
                    <a:lnTo>
                      <a:pt x="109" y="6"/>
                    </a:lnTo>
                    <a:lnTo>
                      <a:pt x="97" y="3"/>
                    </a:lnTo>
                    <a:lnTo>
                      <a:pt x="96" y="3"/>
                    </a:lnTo>
                    <a:lnTo>
                      <a:pt x="93" y="3"/>
                    </a:lnTo>
                    <a:lnTo>
                      <a:pt x="93" y="2"/>
                    </a:lnTo>
                    <a:lnTo>
                      <a:pt x="96" y="0"/>
                    </a:lnTo>
                    <a:lnTo>
                      <a:pt x="98" y="1"/>
                    </a:lnTo>
                    <a:lnTo>
                      <a:pt x="100" y="1"/>
                    </a:lnTo>
                    <a:lnTo>
                      <a:pt x="109" y="3"/>
                    </a:lnTo>
                    <a:lnTo>
                      <a:pt x="111" y="3"/>
                    </a:lnTo>
                    <a:lnTo>
                      <a:pt x="113" y="5"/>
                    </a:lnTo>
                    <a:lnTo>
                      <a:pt x="114" y="5"/>
                    </a:lnTo>
                    <a:lnTo>
                      <a:pt x="114" y="6"/>
                    </a:lnTo>
                    <a:lnTo>
                      <a:pt x="115" y="6"/>
                    </a:lnTo>
                    <a:lnTo>
                      <a:pt x="115" y="7"/>
                    </a:lnTo>
                    <a:lnTo>
                      <a:pt x="116" y="8"/>
                    </a:lnTo>
                    <a:lnTo>
                      <a:pt x="117" y="11"/>
                    </a:lnTo>
                    <a:lnTo>
                      <a:pt x="118" y="13"/>
                    </a:lnTo>
                    <a:lnTo>
                      <a:pt x="118" y="14"/>
                    </a:lnTo>
                    <a:lnTo>
                      <a:pt x="118" y="15"/>
                    </a:lnTo>
                    <a:lnTo>
                      <a:pt x="118" y="18"/>
                    </a:lnTo>
                    <a:lnTo>
                      <a:pt x="118" y="19"/>
                    </a:lnTo>
                    <a:lnTo>
                      <a:pt x="118" y="21"/>
                    </a:lnTo>
                    <a:lnTo>
                      <a:pt x="118" y="22"/>
                    </a:lnTo>
                    <a:lnTo>
                      <a:pt x="117" y="23"/>
                    </a:lnTo>
                    <a:lnTo>
                      <a:pt x="117" y="24"/>
                    </a:lnTo>
                    <a:lnTo>
                      <a:pt x="116" y="25"/>
                    </a:lnTo>
                    <a:lnTo>
                      <a:pt x="115" y="27"/>
                    </a:lnTo>
                    <a:lnTo>
                      <a:pt x="115" y="28"/>
                    </a:lnTo>
                    <a:lnTo>
                      <a:pt x="114" y="30"/>
                    </a:lnTo>
                    <a:lnTo>
                      <a:pt x="114" y="31"/>
                    </a:lnTo>
                    <a:lnTo>
                      <a:pt x="113" y="32"/>
                    </a:lnTo>
                    <a:lnTo>
                      <a:pt x="112" y="33"/>
                    </a:lnTo>
                    <a:lnTo>
                      <a:pt x="112" y="34"/>
                    </a:lnTo>
                    <a:lnTo>
                      <a:pt x="111" y="35"/>
                    </a:lnTo>
                    <a:lnTo>
                      <a:pt x="106" y="39"/>
                    </a:lnTo>
                    <a:lnTo>
                      <a:pt x="106" y="40"/>
                    </a:lnTo>
                    <a:lnTo>
                      <a:pt x="105" y="41"/>
                    </a:lnTo>
                    <a:lnTo>
                      <a:pt x="105" y="44"/>
                    </a:lnTo>
                    <a:lnTo>
                      <a:pt x="104" y="46"/>
                    </a:lnTo>
                    <a:lnTo>
                      <a:pt x="104" y="49"/>
                    </a:lnTo>
                    <a:lnTo>
                      <a:pt x="104" y="50"/>
                    </a:lnTo>
                    <a:lnTo>
                      <a:pt x="104" y="52"/>
                    </a:lnTo>
                    <a:lnTo>
                      <a:pt x="104" y="53"/>
                    </a:lnTo>
                    <a:lnTo>
                      <a:pt x="104" y="54"/>
                    </a:lnTo>
                    <a:lnTo>
                      <a:pt x="105" y="57"/>
                    </a:lnTo>
                    <a:lnTo>
                      <a:pt x="106" y="59"/>
                    </a:lnTo>
                    <a:lnTo>
                      <a:pt x="108" y="59"/>
                    </a:lnTo>
                    <a:lnTo>
                      <a:pt x="108" y="60"/>
                    </a:lnTo>
                    <a:lnTo>
                      <a:pt x="109" y="60"/>
                    </a:lnTo>
                    <a:lnTo>
                      <a:pt x="111" y="61"/>
                    </a:lnTo>
                    <a:lnTo>
                      <a:pt x="112" y="61"/>
                    </a:lnTo>
                    <a:lnTo>
                      <a:pt x="116" y="61"/>
                    </a:lnTo>
                    <a:lnTo>
                      <a:pt x="117" y="61"/>
                    </a:lnTo>
                    <a:lnTo>
                      <a:pt x="119" y="61"/>
                    </a:lnTo>
                    <a:lnTo>
                      <a:pt x="121" y="61"/>
                    </a:lnTo>
                    <a:lnTo>
                      <a:pt x="122" y="61"/>
                    </a:lnTo>
                    <a:lnTo>
                      <a:pt x="124" y="61"/>
                    </a:lnTo>
                    <a:lnTo>
                      <a:pt x="126" y="61"/>
                    </a:lnTo>
                    <a:lnTo>
                      <a:pt x="135" y="61"/>
                    </a:lnTo>
                    <a:lnTo>
                      <a:pt x="136" y="61"/>
                    </a:lnTo>
                    <a:lnTo>
                      <a:pt x="138" y="62"/>
                    </a:lnTo>
                    <a:lnTo>
                      <a:pt x="140" y="64"/>
                    </a:lnTo>
                    <a:lnTo>
                      <a:pt x="142" y="65"/>
                    </a:lnTo>
                    <a:lnTo>
                      <a:pt x="144" y="67"/>
                    </a:lnTo>
                    <a:lnTo>
                      <a:pt x="145" y="70"/>
                    </a:lnTo>
                    <a:lnTo>
                      <a:pt x="147" y="71"/>
                    </a:lnTo>
                    <a:lnTo>
                      <a:pt x="148" y="72"/>
                    </a:lnTo>
                    <a:lnTo>
                      <a:pt x="148" y="73"/>
                    </a:lnTo>
                    <a:lnTo>
                      <a:pt x="149" y="74"/>
                    </a:lnTo>
                    <a:lnTo>
                      <a:pt x="149" y="75"/>
                    </a:lnTo>
                    <a:lnTo>
                      <a:pt x="149" y="76"/>
                    </a:lnTo>
                    <a:lnTo>
                      <a:pt x="149" y="77"/>
                    </a:lnTo>
                    <a:lnTo>
                      <a:pt x="150" y="78"/>
                    </a:lnTo>
                    <a:lnTo>
                      <a:pt x="149" y="80"/>
                    </a:lnTo>
                    <a:lnTo>
                      <a:pt x="149" y="82"/>
                    </a:lnTo>
                    <a:lnTo>
                      <a:pt x="149" y="83"/>
                    </a:lnTo>
                    <a:lnTo>
                      <a:pt x="149" y="84"/>
                    </a:lnTo>
                    <a:lnTo>
                      <a:pt x="148" y="86"/>
                    </a:lnTo>
                    <a:lnTo>
                      <a:pt x="147" y="86"/>
                    </a:lnTo>
                    <a:lnTo>
                      <a:pt x="144" y="88"/>
                    </a:lnTo>
                    <a:lnTo>
                      <a:pt x="143" y="89"/>
                    </a:lnTo>
                    <a:lnTo>
                      <a:pt x="142" y="90"/>
                    </a:lnTo>
                    <a:lnTo>
                      <a:pt x="139" y="91"/>
                    </a:lnTo>
                    <a:lnTo>
                      <a:pt x="138" y="92"/>
                    </a:lnTo>
                    <a:lnTo>
                      <a:pt x="135" y="93"/>
                    </a:lnTo>
                    <a:lnTo>
                      <a:pt x="129" y="98"/>
                    </a:lnTo>
                    <a:lnTo>
                      <a:pt x="126" y="100"/>
                    </a:lnTo>
                    <a:lnTo>
                      <a:pt x="125" y="100"/>
                    </a:lnTo>
                    <a:lnTo>
                      <a:pt x="124" y="102"/>
                    </a:lnTo>
                    <a:lnTo>
                      <a:pt x="124" y="103"/>
                    </a:lnTo>
                    <a:lnTo>
                      <a:pt x="124" y="104"/>
                    </a:lnTo>
                    <a:lnTo>
                      <a:pt x="124" y="105"/>
                    </a:lnTo>
                    <a:lnTo>
                      <a:pt x="125" y="108"/>
                    </a:lnTo>
                    <a:lnTo>
                      <a:pt x="125" y="109"/>
                    </a:lnTo>
                    <a:lnTo>
                      <a:pt x="127" y="109"/>
                    </a:lnTo>
                    <a:lnTo>
                      <a:pt x="128" y="110"/>
                    </a:lnTo>
                    <a:lnTo>
                      <a:pt x="130" y="110"/>
                    </a:lnTo>
                    <a:lnTo>
                      <a:pt x="134" y="110"/>
                    </a:lnTo>
                    <a:lnTo>
                      <a:pt x="137" y="109"/>
                    </a:lnTo>
                    <a:lnTo>
                      <a:pt x="140" y="108"/>
                    </a:lnTo>
                    <a:lnTo>
                      <a:pt x="142" y="107"/>
                    </a:lnTo>
                    <a:lnTo>
                      <a:pt x="144" y="107"/>
                    </a:lnTo>
                    <a:lnTo>
                      <a:pt x="165" y="98"/>
                    </a:lnTo>
                    <a:lnTo>
                      <a:pt x="169" y="97"/>
                    </a:lnTo>
                    <a:lnTo>
                      <a:pt x="173" y="99"/>
                    </a:lnTo>
                    <a:lnTo>
                      <a:pt x="175" y="100"/>
                    </a:lnTo>
                    <a:lnTo>
                      <a:pt x="176" y="103"/>
                    </a:lnTo>
                    <a:lnTo>
                      <a:pt x="177" y="108"/>
                    </a:lnTo>
                    <a:lnTo>
                      <a:pt x="177" y="130"/>
                    </a:lnTo>
                    <a:lnTo>
                      <a:pt x="177" y="135"/>
                    </a:lnTo>
                    <a:lnTo>
                      <a:pt x="177" y="137"/>
                    </a:lnTo>
                    <a:lnTo>
                      <a:pt x="177" y="138"/>
                    </a:lnTo>
                    <a:lnTo>
                      <a:pt x="178" y="142"/>
                    </a:lnTo>
                    <a:lnTo>
                      <a:pt x="178" y="155"/>
                    </a:lnTo>
                    <a:lnTo>
                      <a:pt x="178" y="156"/>
                    </a:lnTo>
                    <a:lnTo>
                      <a:pt x="178" y="160"/>
                    </a:lnTo>
                    <a:lnTo>
                      <a:pt x="176" y="169"/>
                    </a:lnTo>
                    <a:lnTo>
                      <a:pt x="176" y="170"/>
                    </a:lnTo>
                    <a:lnTo>
                      <a:pt x="172" y="178"/>
                    </a:lnTo>
                    <a:lnTo>
                      <a:pt x="170" y="181"/>
                    </a:lnTo>
                    <a:lnTo>
                      <a:pt x="167" y="186"/>
                    </a:lnTo>
                    <a:lnTo>
                      <a:pt x="166" y="188"/>
                    </a:lnTo>
                    <a:lnTo>
                      <a:pt x="164" y="190"/>
                    </a:lnTo>
                    <a:lnTo>
                      <a:pt x="163" y="192"/>
                    </a:lnTo>
                    <a:lnTo>
                      <a:pt x="158" y="197"/>
                    </a:lnTo>
                    <a:lnTo>
                      <a:pt x="157" y="198"/>
                    </a:lnTo>
                    <a:lnTo>
                      <a:pt x="154" y="201"/>
                    </a:lnTo>
                    <a:lnTo>
                      <a:pt x="152" y="206"/>
                    </a:lnTo>
                    <a:lnTo>
                      <a:pt x="151" y="211"/>
                    </a:lnTo>
                    <a:lnTo>
                      <a:pt x="150" y="214"/>
                    </a:lnTo>
                    <a:lnTo>
                      <a:pt x="151" y="218"/>
                    </a:lnTo>
                    <a:lnTo>
                      <a:pt x="153" y="224"/>
                    </a:lnTo>
                    <a:lnTo>
                      <a:pt x="156" y="226"/>
                    </a:lnTo>
                    <a:lnTo>
                      <a:pt x="162" y="226"/>
                    </a:lnTo>
                    <a:lnTo>
                      <a:pt x="167" y="225"/>
                    </a:lnTo>
                    <a:lnTo>
                      <a:pt x="173" y="223"/>
                    </a:lnTo>
                    <a:lnTo>
                      <a:pt x="179" y="221"/>
                    </a:lnTo>
                    <a:lnTo>
                      <a:pt x="183" y="221"/>
                    </a:lnTo>
                    <a:lnTo>
                      <a:pt x="188" y="223"/>
                    </a:lnTo>
                    <a:lnTo>
                      <a:pt x="193" y="224"/>
                    </a:lnTo>
                    <a:lnTo>
                      <a:pt x="199" y="226"/>
                    </a:lnTo>
                    <a:lnTo>
                      <a:pt x="203" y="227"/>
                    </a:lnTo>
                    <a:lnTo>
                      <a:pt x="205" y="228"/>
                    </a:lnTo>
                    <a:lnTo>
                      <a:pt x="209" y="232"/>
                    </a:lnTo>
                    <a:lnTo>
                      <a:pt x="211" y="237"/>
                    </a:lnTo>
                    <a:lnTo>
                      <a:pt x="211" y="238"/>
                    </a:lnTo>
                    <a:close/>
                  </a:path>
                </a:pathLst>
              </a:custGeom>
              <a:solidFill>
                <a:srgbClr val="489C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1" name="Freeform 289">
                <a:extLst>
                  <a:ext uri="{FF2B5EF4-FFF2-40B4-BE49-F238E27FC236}">
                    <a16:creationId xmlns:a16="http://schemas.microsoft.com/office/drawing/2014/main" id="{9443C413-3040-3C6D-1957-2367735C820A}"/>
                  </a:ext>
                </a:extLst>
              </p:cNvPr>
              <p:cNvSpPr>
                <a:spLocks/>
              </p:cNvSpPr>
              <p:nvPr/>
            </p:nvSpPr>
            <p:spPr bwMode="auto">
              <a:xfrm>
                <a:off x="3795713" y="3762375"/>
                <a:ext cx="458788" cy="458788"/>
              </a:xfrm>
              <a:custGeom>
                <a:avLst/>
                <a:gdLst>
                  <a:gd name="T0" fmla="*/ 241 w 289"/>
                  <a:gd name="T1" fmla="*/ 58 h 289"/>
                  <a:gd name="T2" fmla="*/ 232 w 289"/>
                  <a:gd name="T3" fmla="*/ 67 h 289"/>
                  <a:gd name="T4" fmla="*/ 233 w 289"/>
                  <a:gd name="T5" fmla="*/ 74 h 289"/>
                  <a:gd name="T6" fmla="*/ 228 w 289"/>
                  <a:gd name="T7" fmla="*/ 78 h 289"/>
                  <a:gd name="T8" fmla="*/ 218 w 289"/>
                  <a:gd name="T9" fmla="*/ 81 h 289"/>
                  <a:gd name="T10" fmla="*/ 216 w 289"/>
                  <a:gd name="T11" fmla="*/ 87 h 289"/>
                  <a:gd name="T12" fmla="*/ 211 w 289"/>
                  <a:gd name="T13" fmla="*/ 90 h 289"/>
                  <a:gd name="T14" fmla="*/ 206 w 289"/>
                  <a:gd name="T15" fmla="*/ 94 h 289"/>
                  <a:gd name="T16" fmla="*/ 202 w 289"/>
                  <a:gd name="T17" fmla="*/ 103 h 289"/>
                  <a:gd name="T18" fmla="*/ 211 w 289"/>
                  <a:gd name="T19" fmla="*/ 109 h 289"/>
                  <a:gd name="T20" fmla="*/ 208 w 289"/>
                  <a:gd name="T21" fmla="*/ 122 h 289"/>
                  <a:gd name="T22" fmla="*/ 206 w 289"/>
                  <a:gd name="T23" fmla="*/ 131 h 289"/>
                  <a:gd name="T24" fmla="*/ 205 w 289"/>
                  <a:gd name="T25" fmla="*/ 139 h 289"/>
                  <a:gd name="T26" fmla="*/ 212 w 289"/>
                  <a:gd name="T27" fmla="*/ 148 h 289"/>
                  <a:gd name="T28" fmla="*/ 212 w 289"/>
                  <a:gd name="T29" fmla="*/ 159 h 289"/>
                  <a:gd name="T30" fmla="*/ 210 w 289"/>
                  <a:gd name="T31" fmla="*/ 169 h 289"/>
                  <a:gd name="T32" fmla="*/ 208 w 289"/>
                  <a:gd name="T33" fmla="*/ 179 h 289"/>
                  <a:gd name="T34" fmla="*/ 202 w 289"/>
                  <a:gd name="T35" fmla="*/ 191 h 289"/>
                  <a:gd name="T36" fmla="*/ 210 w 289"/>
                  <a:gd name="T37" fmla="*/ 199 h 289"/>
                  <a:gd name="T38" fmla="*/ 207 w 289"/>
                  <a:gd name="T39" fmla="*/ 212 h 289"/>
                  <a:gd name="T40" fmla="*/ 218 w 289"/>
                  <a:gd name="T41" fmla="*/ 220 h 289"/>
                  <a:gd name="T42" fmla="*/ 211 w 289"/>
                  <a:gd name="T43" fmla="*/ 228 h 289"/>
                  <a:gd name="T44" fmla="*/ 221 w 289"/>
                  <a:gd name="T45" fmla="*/ 234 h 289"/>
                  <a:gd name="T46" fmla="*/ 227 w 289"/>
                  <a:gd name="T47" fmla="*/ 237 h 289"/>
                  <a:gd name="T48" fmla="*/ 233 w 289"/>
                  <a:gd name="T49" fmla="*/ 246 h 289"/>
                  <a:gd name="T50" fmla="*/ 234 w 289"/>
                  <a:gd name="T51" fmla="*/ 251 h 289"/>
                  <a:gd name="T52" fmla="*/ 245 w 289"/>
                  <a:gd name="T53" fmla="*/ 255 h 289"/>
                  <a:gd name="T54" fmla="*/ 250 w 289"/>
                  <a:gd name="T55" fmla="*/ 257 h 289"/>
                  <a:gd name="T56" fmla="*/ 259 w 289"/>
                  <a:gd name="T57" fmla="*/ 264 h 289"/>
                  <a:gd name="T58" fmla="*/ 250 w 289"/>
                  <a:gd name="T59" fmla="*/ 269 h 289"/>
                  <a:gd name="T60" fmla="*/ 238 w 289"/>
                  <a:gd name="T61" fmla="*/ 269 h 289"/>
                  <a:gd name="T62" fmla="*/ 226 w 289"/>
                  <a:gd name="T63" fmla="*/ 268 h 289"/>
                  <a:gd name="T64" fmla="*/ 216 w 289"/>
                  <a:gd name="T65" fmla="*/ 266 h 289"/>
                  <a:gd name="T66" fmla="*/ 205 w 289"/>
                  <a:gd name="T67" fmla="*/ 267 h 289"/>
                  <a:gd name="T68" fmla="*/ 193 w 289"/>
                  <a:gd name="T69" fmla="*/ 272 h 289"/>
                  <a:gd name="T70" fmla="*/ 185 w 289"/>
                  <a:gd name="T71" fmla="*/ 276 h 289"/>
                  <a:gd name="T72" fmla="*/ 174 w 289"/>
                  <a:gd name="T73" fmla="*/ 287 h 289"/>
                  <a:gd name="T74" fmla="*/ 160 w 289"/>
                  <a:gd name="T75" fmla="*/ 285 h 289"/>
                  <a:gd name="T76" fmla="*/ 146 w 289"/>
                  <a:gd name="T77" fmla="*/ 284 h 289"/>
                  <a:gd name="T78" fmla="*/ 131 w 289"/>
                  <a:gd name="T79" fmla="*/ 285 h 289"/>
                  <a:gd name="T80" fmla="*/ 120 w 289"/>
                  <a:gd name="T81" fmla="*/ 288 h 289"/>
                  <a:gd name="T82" fmla="*/ 108 w 289"/>
                  <a:gd name="T83" fmla="*/ 284 h 289"/>
                  <a:gd name="T84" fmla="*/ 69 w 289"/>
                  <a:gd name="T85" fmla="*/ 266 h 289"/>
                  <a:gd name="T86" fmla="*/ 62 w 289"/>
                  <a:gd name="T87" fmla="*/ 231 h 289"/>
                  <a:gd name="T88" fmla="*/ 73 w 289"/>
                  <a:gd name="T89" fmla="*/ 151 h 289"/>
                  <a:gd name="T90" fmla="*/ 21 w 289"/>
                  <a:gd name="T91" fmla="*/ 152 h 289"/>
                  <a:gd name="T92" fmla="*/ 40 w 289"/>
                  <a:gd name="T93" fmla="*/ 131 h 289"/>
                  <a:gd name="T94" fmla="*/ 43 w 289"/>
                  <a:gd name="T95" fmla="*/ 114 h 289"/>
                  <a:gd name="T96" fmla="*/ 12 w 289"/>
                  <a:gd name="T97" fmla="*/ 104 h 289"/>
                  <a:gd name="T98" fmla="*/ 1 w 289"/>
                  <a:gd name="T99" fmla="*/ 87 h 289"/>
                  <a:gd name="T100" fmla="*/ 13 w 289"/>
                  <a:gd name="T101" fmla="*/ 66 h 289"/>
                  <a:gd name="T102" fmla="*/ 14 w 289"/>
                  <a:gd name="T103" fmla="*/ 45 h 289"/>
                  <a:gd name="T104" fmla="*/ 31 w 289"/>
                  <a:gd name="T105" fmla="*/ 16 h 289"/>
                  <a:gd name="T106" fmla="*/ 91 w 289"/>
                  <a:gd name="T107" fmla="*/ 7 h 289"/>
                  <a:gd name="T108" fmla="*/ 177 w 289"/>
                  <a:gd name="T109" fmla="*/ 4 h 289"/>
                  <a:gd name="T110" fmla="*/ 262 w 289"/>
                  <a:gd name="T111" fmla="*/ 1 h 289"/>
                  <a:gd name="T112" fmla="*/ 289 w 289"/>
                  <a:gd name="T113" fmla="*/ 7 h 289"/>
                  <a:gd name="T114" fmla="*/ 284 w 289"/>
                  <a:gd name="T115" fmla="*/ 13 h 289"/>
                  <a:gd name="T116" fmla="*/ 278 w 289"/>
                  <a:gd name="T117" fmla="*/ 19 h 289"/>
                  <a:gd name="T118" fmla="*/ 269 w 289"/>
                  <a:gd name="T119" fmla="*/ 24 h 289"/>
                  <a:gd name="T120" fmla="*/ 262 w 289"/>
                  <a:gd name="T121" fmla="*/ 32 h 289"/>
                  <a:gd name="T122" fmla="*/ 257 w 289"/>
                  <a:gd name="T123" fmla="*/ 39 h 289"/>
                  <a:gd name="T124" fmla="*/ 254 w 289"/>
                  <a:gd name="T125" fmla="*/ 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289">
                    <a:moveTo>
                      <a:pt x="249" y="50"/>
                    </a:moveTo>
                    <a:lnTo>
                      <a:pt x="249" y="51"/>
                    </a:lnTo>
                    <a:lnTo>
                      <a:pt x="249" y="52"/>
                    </a:lnTo>
                    <a:lnTo>
                      <a:pt x="247" y="52"/>
                    </a:lnTo>
                    <a:lnTo>
                      <a:pt x="246" y="51"/>
                    </a:lnTo>
                    <a:lnTo>
                      <a:pt x="245" y="51"/>
                    </a:lnTo>
                    <a:lnTo>
                      <a:pt x="245" y="52"/>
                    </a:lnTo>
                    <a:lnTo>
                      <a:pt x="244" y="53"/>
                    </a:lnTo>
                    <a:lnTo>
                      <a:pt x="244" y="54"/>
                    </a:lnTo>
                    <a:lnTo>
                      <a:pt x="244" y="55"/>
                    </a:lnTo>
                    <a:lnTo>
                      <a:pt x="244" y="56"/>
                    </a:lnTo>
                    <a:lnTo>
                      <a:pt x="244" y="57"/>
                    </a:lnTo>
                    <a:lnTo>
                      <a:pt x="242" y="58"/>
                    </a:lnTo>
                    <a:lnTo>
                      <a:pt x="241" y="58"/>
                    </a:lnTo>
                    <a:lnTo>
                      <a:pt x="241" y="57"/>
                    </a:lnTo>
                    <a:lnTo>
                      <a:pt x="240" y="57"/>
                    </a:lnTo>
                    <a:lnTo>
                      <a:pt x="239" y="57"/>
                    </a:lnTo>
                    <a:lnTo>
                      <a:pt x="238" y="58"/>
                    </a:lnTo>
                    <a:lnTo>
                      <a:pt x="238" y="60"/>
                    </a:lnTo>
                    <a:lnTo>
                      <a:pt x="237" y="61"/>
                    </a:lnTo>
                    <a:lnTo>
                      <a:pt x="237" y="62"/>
                    </a:lnTo>
                    <a:lnTo>
                      <a:pt x="236" y="63"/>
                    </a:lnTo>
                    <a:lnTo>
                      <a:pt x="234" y="63"/>
                    </a:lnTo>
                    <a:lnTo>
                      <a:pt x="234" y="64"/>
                    </a:lnTo>
                    <a:lnTo>
                      <a:pt x="233" y="65"/>
                    </a:lnTo>
                    <a:lnTo>
                      <a:pt x="233" y="66"/>
                    </a:lnTo>
                    <a:lnTo>
                      <a:pt x="232" y="66"/>
                    </a:lnTo>
                    <a:lnTo>
                      <a:pt x="232" y="67"/>
                    </a:lnTo>
                    <a:lnTo>
                      <a:pt x="232" y="68"/>
                    </a:lnTo>
                    <a:lnTo>
                      <a:pt x="231" y="68"/>
                    </a:lnTo>
                    <a:lnTo>
                      <a:pt x="230" y="69"/>
                    </a:lnTo>
                    <a:lnTo>
                      <a:pt x="230" y="70"/>
                    </a:lnTo>
                    <a:lnTo>
                      <a:pt x="230" y="71"/>
                    </a:lnTo>
                    <a:lnTo>
                      <a:pt x="231" y="71"/>
                    </a:lnTo>
                    <a:lnTo>
                      <a:pt x="232" y="71"/>
                    </a:lnTo>
                    <a:lnTo>
                      <a:pt x="233" y="70"/>
                    </a:lnTo>
                    <a:lnTo>
                      <a:pt x="233" y="69"/>
                    </a:lnTo>
                    <a:lnTo>
                      <a:pt x="234" y="70"/>
                    </a:lnTo>
                    <a:lnTo>
                      <a:pt x="236" y="71"/>
                    </a:lnTo>
                    <a:lnTo>
                      <a:pt x="234" y="73"/>
                    </a:lnTo>
                    <a:lnTo>
                      <a:pt x="233" y="73"/>
                    </a:lnTo>
                    <a:lnTo>
                      <a:pt x="233" y="74"/>
                    </a:lnTo>
                    <a:lnTo>
                      <a:pt x="233" y="75"/>
                    </a:lnTo>
                    <a:lnTo>
                      <a:pt x="234" y="75"/>
                    </a:lnTo>
                    <a:lnTo>
                      <a:pt x="234" y="76"/>
                    </a:lnTo>
                    <a:lnTo>
                      <a:pt x="233" y="76"/>
                    </a:lnTo>
                    <a:lnTo>
                      <a:pt x="233" y="75"/>
                    </a:lnTo>
                    <a:lnTo>
                      <a:pt x="232" y="75"/>
                    </a:lnTo>
                    <a:lnTo>
                      <a:pt x="232" y="76"/>
                    </a:lnTo>
                    <a:lnTo>
                      <a:pt x="231" y="76"/>
                    </a:lnTo>
                    <a:lnTo>
                      <a:pt x="231" y="77"/>
                    </a:lnTo>
                    <a:lnTo>
                      <a:pt x="231" y="78"/>
                    </a:lnTo>
                    <a:lnTo>
                      <a:pt x="230" y="78"/>
                    </a:lnTo>
                    <a:lnTo>
                      <a:pt x="229" y="79"/>
                    </a:lnTo>
                    <a:lnTo>
                      <a:pt x="228" y="79"/>
                    </a:lnTo>
                    <a:lnTo>
                      <a:pt x="228" y="78"/>
                    </a:lnTo>
                    <a:lnTo>
                      <a:pt x="227" y="78"/>
                    </a:lnTo>
                    <a:lnTo>
                      <a:pt x="226" y="78"/>
                    </a:lnTo>
                    <a:lnTo>
                      <a:pt x="226" y="79"/>
                    </a:lnTo>
                    <a:lnTo>
                      <a:pt x="226" y="80"/>
                    </a:lnTo>
                    <a:lnTo>
                      <a:pt x="226" y="81"/>
                    </a:lnTo>
                    <a:lnTo>
                      <a:pt x="225" y="81"/>
                    </a:lnTo>
                    <a:lnTo>
                      <a:pt x="224" y="81"/>
                    </a:lnTo>
                    <a:lnTo>
                      <a:pt x="223" y="81"/>
                    </a:lnTo>
                    <a:lnTo>
                      <a:pt x="221" y="81"/>
                    </a:lnTo>
                    <a:lnTo>
                      <a:pt x="220" y="81"/>
                    </a:lnTo>
                    <a:lnTo>
                      <a:pt x="219" y="81"/>
                    </a:lnTo>
                    <a:lnTo>
                      <a:pt x="219" y="80"/>
                    </a:lnTo>
                    <a:lnTo>
                      <a:pt x="218" y="80"/>
                    </a:lnTo>
                    <a:lnTo>
                      <a:pt x="218" y="81"/>
                    </a:lnTo>
                    <a:lnTo>
                      <a:pt x="218" y="82"/>
                    </a:lnTo>
                    <a:lnTo>
                      <a:pt x="219" y="83"/>
                    </a:lnTo>
                    <a:lnTo>
                      <a:pt x="220" y="83"/>
                    </a:lnTo>
                    <a:lnTo>
                      <a:pt x="220" y="84"/>
                    </a:lnTo>
                    <a:lnTo>
                      <a:pt x="219" y="86"/>
                    </a:lnTo>
                    <a:lnTo>
                      <a:pt x="218" y="86"/>
                    </a:lnTo>
                    <a:lnTo>
                      <a:pt x="217" y="86"/>
                    </a:lnTo>
                    <a:lnTo>
                      <a:pt x="217" y="84"/>
                    </a:lnTo>
                    <a:lnTo>
                      <a:pt x="218" y="84"/>
                    </a:lnTo>
                    <a:lnTo>
                      <a:pt x="217" y="83"/>
                    </a:lnTo>
                    <a:lnTo>
                      <a:pt x="217" y="84"/>
                    </a:lnTo>
                    <a:lnTo>
                      <a:pt x="216" y="84"/>
                    </a:lnTo>
                    <a:lnTo>
                      <a:pt x="216" y="86"/>
                    </a:lnTo>
                    <a:lnTo>
                      <a:pt x="216" y="87"/>
                    </a:lnTo>
                    <a:lnTo>
                      <a:pt x="216" y="88"/>
                    </a:lnTo>
                    <a:lnTo>
                      <a:pt x="216" y="89"/>
                    </a:lnTo>
                    <a:lnTo>
                      <a:pt x="215" y="89"/>
                    </a:lnTo>
                    <a:lnTo>
                      <a:pt x="214" y="89"/>
                    </a:lnTo>
                    <a:lnTo>
                      <a:pt x="214" y="88"/>
                    </a:lnTo>
                    <a:lnTo>
                      <a:pt x="215" y="88"/>
                    </a:lnTo>
                    <a:lnTo>
                      <a:pt x="215" y="87"/>
                    </a:lnTo>
                    <a:lnTo>
                      <a:pt x="214" y="87"/>
                    </a:lnTo>
                    <a:lnTo>
                      <a:pt x="213" y="87"/>
                    </a:lnTo>
                    <a:lnTo>
                      <a:pt x="212" y="87"/>
                    </a:lnTo>
                    <a:lnTo>
                      <a:pt x="211" y="87"/>
                    </a:lnTo>
                    <a:lnTo>
                      <a:pt x="211" y="88"/>
                    </a:lnTo>
                    <a:lnTo>
                      <a:pt x="211" y="89"/>
                    </a:lnTo>
                    <a:lnTo>
                      <a:pt x="211" y="90"/>
                    </a:lnTo>
                    <a:lnTo>
                      <a:pt x="210" y="90"/>
                    </a:lnTo>
                    <a:lnTo>
                      <a:pt x="208" y="90"/>
                    </a:lnTo>
                    <a:lnTo>
                      <a:pt x="208" y="89"/>
                    </a:lnTo>
                    <a:lnTo>
                      <a:pt x="207" y="89"/>
                    </a:lnTo>
                    <a:lnTo>
                      <a:pt x="207" y="90"/>
                    </a:lnTo>
                    <a:lnTo>
                      <a:pt x="207" y="91"/>
                    </a:lnTo>
                    <a:lnTo>
                      <a:pt x="207" y="92"/>
                    </a:lnTo>
                    <a:lnTo>
                      <a:pt x="206" y="92"/>
                    </a:lnTo>
                    <a:lnTo>
                      <a:pt x="206" y="91"/>
                    </a:lnTo>
                    <a:lnTo>
                      <a:pt x="205" y="91"/>
                    </a:lnTo>
                    <a:lnTo>
                      <a:pt x="205" y="92"/>
                    </a:lnTo>
                    <a:lnTo>
                      <a:pt x="206" y="92"/>
                    </a:lnTo>
                    <a:lnTo>
                      <a:pt x="206" y="93"/>
                    </a:lnTo>
                    <a:lnTo>
                      <a:pt x="206" y="94"/>
                    </a:lnTo>
                    <a:lnTo>
                      <a:pt x="206" y="95"/>
                    </a:lnTo>
                    <a:lnTo>
                      <a:pt x="205" y="95"/>
                    </a:lnTo>
                    <a:lnTo>
                      <a:pt x="204" y="95"/>
                    </a:lnTo>
                    <a:lnTo>
                      <a:pt x="203" y="95"/>
                    </a:lnTo>
                    <a:lnTo>
                      <a:pt x="202" y="96"/>
                    </a:lnTo>
                    <a:lnTo>
                      <a:pt x="203" y="96"/>
                    </a:lnTo>
                    <a:lnTo>
                      <a:pt x="203" y="97"/>
                    </a:lnTo>
                    <a:lnTo>
                      <a:pt x="203" y="99"/>
                    </a:lnTo>
                    <a:lnTo>
                      <a:pt x="204" y="99"/>
                    </a:lnTo>
                    <a:lnTo>
                      <a:pt x="204" y="100"/>
                    </a:lnTo>
                    <a:lnTo>
                      <a:pt x="203" y="101"/>
                    </a:lnTo>
                    <a:lnTo>
                      <a:pt x="202" y="101"/>
                    </a:lnTo>
                    <a:lnTo>
                      <a:pt x="202" y="102"/>
                    </a:lnTo>
                    <a:lnTo>
                      <a:pt x="202" y="103"/>
                    </a:lnTo>
                    <a:lnTo>
                      <a:pt x="201" y="104"/>
                    </a:lnTo>
                    <a:lnTo>
                      <a:pt x="201" y="105"/>
                    </a:lnTo>
                    <a:lnTo>
                      <a:pt x="202" y="105"/>
                    </a:lnTo>
                    <a:lnTo>
                      <a:pt x="203" y="105"/>
                    </a:lnTo>
                    <a:lnTo>
                      <a:pt x="204" y="105"/>
                    </a:lnTo>
                    <a:lnTo>
                      <a:pt x="205" y="105"/>
                    </a:lnTo>
                    <a:lnTo>
                      <a:pt x="205" y="106"/>
                    </a:lnTo>
                    <a:lnTo>
                      <a:pt x="205" y="107"/>
                    </a:lnTo>
                    <a:lnTo>
                      <a:pt x="207" y="107"/>
                    </a:lnTo>
                    <a:lnTo>
                      <a:pt x="208" y="107"/>
                    </a:lnTo>
                    <a:lnTo>
                      <a:pt x="208" y="108"/>
                    </a:lnTo>
                    <a:lnTo>
                      <a:pt x="208" y="109"/>
                    </a:lnTo>
                    <a:lnTo>
                      <a:pt x="210" y="109"/>
                    </a:lnTo>
                    <a:lnTo>
                      <a:pt x="211" y="109"/>
                    </a:lnTo>
                    <a:lnTo>
                      <a:pt x="211" y="110"/>
                    </a:lnTo>
                    <a:lnTo>
                      <a:pt x="212" y="110"/>
                    </a:lnTo>
                    <a:lnTo>
                      <a:pt x="212" y="112"/>
                    </a:lnTo>
                    <a:lnTo>
                      <a:pt x="211" y="112"/>
                    </a:lnTo>
                    <a:lnTo>
                      <a:pt x="211" y="113"/>
                    </a:lnTo>
                    <a:lnTo>
                      <a:pt x="211" y="114"/>
                    </a:lnTo>
                    <a:lnTo>
                      <a:pt x="211" y="115"/>
                    </a:lnTo>
                    <a:lnTo>
                      <a:pt x="211" y="116"/>
                    </a:lnTo>
                    <a:lnTo>
                      <a:pt x="211" y="117"/>
                    </a:lnTo>
                    <a:lnTo>
                      <a:pt x="211" y="119"/>
                    </a:lnTo>
                    <a:lnTo>
                      <a:pt x="211" y="120"/>
                    </a:lnTo>
                    <a:lnTo>
                      <a:pt x="210" y="121"/>
                    </a:lnTo>
                    <a:lnTo>
                      <a:pt x="208" y="121"/>
                    </a:lnTo>
                    <a:lnTo>
                      <a:pt x="208" y="122"/>
                    </a:lnTo>
                    <a:lnTo>
                      <a:pt x="208" y="123"/>
                    </a:lnTo>
                    <a:lnTo>
                      <a:pt x="210" y="125"/>
                    </a:lnTo>
                    <a:lnTo>
                      <a:pt x="211" y="125"/>
                    </a:lnTo>
                    <a:lnTo>
                      <a:pt x="211" y="126"/>
                    </a:lnTo>
                    <a:lnTo>
                      <a:pt x="211" y="127"/>
                    </a:lnTo>
                    <a:lnTo>
                      <a:pt x="210" y="127"/>
                    </a:lnTo>
                    <a:lnTo>
                      <a:pt x="210" y="128"/>
                    </a:lnTo>
                    <a:lnTo>
                      <a:pt x="208" y="128"/>
                    </a:lnTo>
                    <a:lnTo>
                      <a:pt x="207" y="129"/>
                    </a:lnTo>
                    <a:lnTo>
                      <a:pt x="206" y="129"/>
                    </a:lnTo>
                    <a:lnTo>
                      <a:pt x="205" y="129"/>
                    </a:lnTo>
                    <a:lnTo>
                      <a:pt x="205" y="130"/>
                    </a:lnTo>
                    <a:lnTo>
                      <a:pt x="205" y="131"/>
                    </a:lnTo>
                    <a:lnTo>
                      <a:pt x="206" y="131"/>
                    </a:lnTo>
                    <a:lnTo>
                      <a:pt x="205" y="132"/>
                    </a:lnTo>
                    <a:lnTo>
                      <a:pt x="204" y="132"/>
                    </a:lnTo>
                    <a:lnTo>
                      <a:pt x="204" y="133"/>
                    </a:lnTo>
                    <a:lnTo>
                      <a:pt x="203" y="133"/>
                    </a:lnTo>
                    <a:lnTo>
                      <a:pt x="203" y="134"/>
                    </a:lnTo>
                    <a:lnTo>
                      <a:pt x="204" y="134"/>
                    </a:lnTo>
                    <a:lnTo>
                      <a:pt x="205" y="134"/>
                    </a:lnTo>
                    <a:lnTo>
                      <a:pt x="206" y="134"/>
                    </a:lnTo>
                    <a:lnTo>
                      <a:pt x="206" y="135"/>
                    </a:lnTo>
                    <a:lnTo>
                      <a:pt x="207" y="136"/>
                    </a:lnTo>
                    <a:lnTo>
                      <a:pt x="207" y="138"/>
                    </a:lnTo>
                    <a:lnTo>
                      <a:pt x="207" y="139"/>
                    </a:lnTo>
                    <a:lnTo>
                      <a:pt x="206" y="139"/>
                    </a:lnTo>
                    <a:lnTo>
                      <a:pt x="205" y="139"/>
                    </a:lnTo>
                    <a:lnTo>
                      <a:pt x="205" y="140"/>
                    </a:lnTo>
                    <a:lnTo>
                      <a:pt x="204" y="140"/>
                    </a:lnTo>
                    <a:lnTo>
                      <a:pt x="205" y="140"/>
                    </a:lnTo>
                    <a:lnTo>
                      <a:pt x="207" y="141"/>
                    </a:lnTo>
                    <a:lnTo>
                      <a:pt x="207" y="142"/>
                    </a:lnTo>
                    <a:lnTo>
                      <a:pt x="205" y="143"/>
                    </a:lnTo>
                    <a:lnTo>
                      <a:pt x="206" y="143"/>
                    </a:lnTo>
                    <a:lnTo>
                      <a:pt x="206" y="144"/>
                    </a:lnTo>
                    <a:lnTo>
                      <a:pt x="207" y="145"/>
                    </a:lnTo>
                    <a:lnTo>
                      <a:pt x="208" y="145"/>
                    </a:lnTo>
                    <a:lnTo>
                      <a:pt x="210" y="146"/>
                    </a:lnTo>
                    <a:lnTo>
                      <a:pt x="211" y="147"/>
                    </a:lnTo>
                    <a:lnTo>
                      <a:pt x="212" y="147"/>
                    </a:lnTo>
                    <a:lnTo>
                      <a:pt x="212" y="148"/>
                    </a:lnTo>
                    <a:lnTo>
                      <a:pt x="212" y="150"/>
                    </a:lnTo>
                    <a:lnTo>
                      <a:pt x="212" y="151"/>
                    </a:lnTo>
                    <a:lnTo>
                      <a:pt x="213" y="152"/>
                    </a:lnTo>
                    <a:lnTo>
                      <a:pt x="214" y="153"/>
                    </a:lnTo>
                    <a:lnTo>
                      <a:pt x="213" y="153"/>
                    </a:lnTo>
                    <a:lnTo>
                      <a:pt x="212" y="154"/>
                    </a:lnTo>
                    <a:lnTo>
                      <a:pt x="210" y="155"/>
                    </a:lnTo>
                    <a:lnTo>
                      <a:pt x="208" y="156"/>
                    </a:lnTo>
                    <a:lnTo>
                      <a:pt x="208" y="157"/>
                    </a:lnTo>
                    <a:lnTo>
                      <a:pt x="210" y="158"/>
                    </a:lnTo>
                    <a:lnTo>
                      <a:pt x="211" y="157"/>
                    </a:lnTo>
                    <a:lnTo>
                      <a:pt x="212" y="157"/>
                    </a:lnTo>
                    <a:lnTo>
                      <a:pt x="212" y="158"/>
                    </a:lnTo>
                    <a:lnTo>
                      <a:pt x="212" y="159"/>
                    </a:lnTo>
                    <a:lnTo>
                      <a:pt x="213" y="160"/>
                    </a:lnTo>
                    <a:lnTo>
                      <a:pt x="212" y="161"/>
                    </a:lnTo>
                    <a:lnTo>
                      <a:pt x="211" y="161"/>
                    </a:lnTo>
                    <a:lnTo>
                      <a:pt x="211" y="163"/>
                    </a:lnTo>
                    <a:lnTo>
                      <a:pt x="211" y="164"/>
                    </a:lnTo>
                    <a:lnTo>
                      <a:pt x="211" y="165"/>
                    </a:lnTo>
                    <a:lnTo>
                      <a:pt x="211" y="166"/>
                    </a:lnTo>
                    <a:lnTo>
                      <a:pt x="212" y="166"/>
                    </a:lnTo>
                    <a:lnTo>
                      <a:pt x="211" y="166"/>
                    </a:lnTo>
                    <a:lnTo>
                      <a:pt x="210" y="167"/>
                    </a:lnTo>
                    <a:lnTo>
                      <a:pt x="208" y="167"/>
                    </a:lnTo>
                    <a:lnTo>
                      <a:pt x="208" y="168"/>
                    </a:lnTo>
                    <a:lnTo>
                      <a:pt x="210" y="168"/>
                    </a:lnTo>
                    <a:lnTo>
                      <a:pt x="210" y="169"/>
                    </a:lnTo>
                    <a:lnTo>
                      <a:pt x="208" y="169"/>
                    </a:lnTo>
                    <a:lnTo>
                      <a:pt x="208" y="170"/>
                    </a:lnTo>
                    <a:lnTo>
                      <a:pt x="207" y="170"/>
                    </a:lnTo>
                    <a:lnTo>
                      <a:pt x="206" y="170"/>
                    </a:lnTo>
                    <a:lnTo>
                      <a:pt x="207" y="171"/>
                    </a:lnTo>
                    <a:lnTo>
                      <a:pt x="207" y="172"/>
                    </a:lnTo>
                    <a:lnTo>
                      <a:pt x="208" y="172"/>
                    </a:lnTo>
                    <a:lnTo>
                      <a:pt x="210" y="173"/>
                    </a:lnTo>
                    <a:lnTo>
                      <a:pt x="208" y="174"/>
                    </a:lnTo>
                    <a:lnTo>
                      <a:pt x="210" y="176"/>
                    </a:lnTo>
                    <a:lnTo>
                      <a:pt x="210" y="177"/>
                    </a:lnTo>
                    <a:lnTo>
                      <a:pt x="210" y="178"/>
                    </a:lnTo>
                    <a:lnTo>
                      <a:pt x="208" y="178"/>
                    </a:lnTo>
                    <a:lnTo>
                      <a:pt x="208" y="179"/>
                    </a:lnTo>
                    <a:lnTo>
                      <a:pt x="207" y="179"/>
                    </a:lnTo>
                    <a:lnTo>
                      <a:pt x="206" y="179"/>
                    </a:lnTo>
                    <a:lnTo>
                      <a:pt x="205" y="179"/>
                    </a:lnTo>
                    <a:lnTo>
                      <a:pt x="205" y="180"/>
                    </a:lnTo>
                    <a:lnTo>
                      <a:pt x="204" y="179"/>
                    </a:lnTo>
                    <a:lnTo>
                      <a:pt x="203" y="179"/>
                    </a:lnTo>
                    <a:lnTo>
                      <a:pt x="202" y="179"/>
                    </a:lnTo>
                    <a:lnTo>
                      <a:pt x="202" y="180"/>
                    </a:lnTo>
                    <a:lnTo>
                      <a:pt x="201" y="180"/>
                    </a:lnTo>
                    <a:lnTo>
                      <a:pt x="200" y="181"/>
                    </a:lnTo>
                    <a:lnTo>
                      <a:pt x="199" y="182"/>
                    </a:lnTo>
                    <a:lnTo>
                      <a:pt x="201" y="187"/>
                    </a:lnTo>
                    <a:lnTo>
                      <a:pt x="205" y="190"/>
                    </a:lnTo>
                    <a:lnTo>
                      <a:pt x="202" y="191"/>
                    </a:lnTo>
                    <a:lnTo>
                      <a:pt x="203" y="193"/>
                    </a:lnTo>
                    <a:lnTo>
                      <a:pt x="203" y="194"/>
                    </a:lnTo>
                    <a:lnTo>
                      <a:pt x="203" y="195"/>
                    </a:lnTo>
                    <a:lnTo>
                      <a:pt x="204" y="195"/>
                    </a:lnTo>
                    <a:lnTo>
                      <a:pt x="205" y="196"/>
                    </a:lnTo>
                    <a:lnTo>
                      <a:pt x="205" y="197"/>
                    </a:lnTo>
                    <a:lnTo>
                      <a:pt x="206" y="198"/>
                    </a:lnTo>
                    <a:lnTo>
                      <a:pt x="207" y="198"/>
                    </a:lnTo>
                    <a:lnTo>
                      <a:pt x="207" y="199"/>
                    </a:lnTo>
                    <a:lnTo>
                      <a:pt x="208" y="199"/>
                    </a:lnTo>
                    <a:lnTo>
                      <a:pt x="210" y="198"/>
                    </a:lnTo>
                    <a:lnTo>
                      <a:pt x="211" y="198"/>
                    </a:lnTo>
                    <a:lnTo>
                      <a:pt x="211" y="199"/>
                    </a:lnTo>
                    <a:lnTo>
                      <a:pt x="210" y="199"/>
                    </a:lnTo>
                    <a:lnTo>
                      <a:pt x="210" y="200"/>
                    </a:lnTo>
                    <a:lnTo>
                      <a:pt x="208" y="202"/>
                    </a:lnTo>
                    <a:lnTo>
                      <a:pt x="207" y="203"/>
                    </a:lnTo>
                    <a:lnTo>
                      <a:pt x="206" y="203"/>
                    </a:lnTo>
                    <a:lnTo>
                      <a:pt x="205" y="204"/>
                    </a:lnTo>
                    <a:lnTo>
                      <a:pt x="205" y="205"/>
                    </a:lnTo>
                    <a:lnTo>
                      <a:pt x="206" y="206"/>
                    </a:lnTo>
                    <a:lnTo>
                      <a:pt x="206" y="207"/>
                    </a:lnTo>
                    <a:lnTo>
                      <a:pt x="205" y="207"/>
                    </a:lnTo>
                    <a:lnTo>
                      <a:pt x="205" y="208"/>
                    </a:lnTo>
                    <a:lnTo>
                      <a:pt x="204" y="209"/>
                    </a:lnTo>
                    <a:lnTo>
                      <a:pt x="205" y="210"/>
                    </a:lnTo>
                    <a:lnTo>
                      <a:pt x="206" y="211"/>
                    </a:lnTo>
                    <a:lnTo>
                      <a:pt x="207" y="212"/>
                    </a:lnTo>
                    <a:lnTo>
                      <a:pt x="208" y="212"/>
                    </a:lnTo>
                    <a:lnTo>
                      <a:pt x="210" y="212"/>
                    </a:lnTo>
                    <a:lnTo>
                      <a:pt x="211" y="212"/>
                    </a:lnTo>
                    <a:lnTo>
                      <a:pt x="212" y="212"/>
                    </a:lnTo>
                    <a:lnTo>
                      <a:pt x="213" y="212"/>
                    </a:lnTo>
                    <a:lnTo>
                      <a:pt x="214" y="213"/>
                    </a:lnTo>
                    <a:lnTo>
                      <a:pt x="215" y="213"/>
                    </a:lnTo>
                    <a:lnTo>
                      <a:pt x="216" y="213"/>
                    </a:lnTo>
                    <a:lnTo>
                      <a:pt x="215" y="216"/>
                    </a:lnTo>
                    <a:lnTo>
                      <a:pt x="215" y="217"/>
                    </a:lnTo>
                    <a:lnTo>
                      <a:pt x="216" y="217"/>
                    </a:lnTo>
                    <a:lnTo>
                      <a:pt x="216" y="218"/>
                    </a:lnTo>
                    <a:lnTo>
                      <a:pt x="217" y="219"/>
                    </a:lnTo>
                    <a:lnTo>
                      <a:pt x="218" y="220"/>
                    </a:lnTo>
                    <a:lnTo>
                      <a:pt x="219" y="221"/>
                    </a:lnTo>
                    <a:lnTo>
                      <a:pt x="219" y="222"/>
                    </a:lnTo>
                    <a:lnTo>
                      <a:pt x="219" y="223"/>
                    </a:lnTo>
                    <a:lnTo>
                      <a:pt x="218" y="224"/>
                    </a:lnTo>
                    <a:lnTo>
                      <a:pt x="217" y="224"/>
                    </a:lnTo>
                    <a:lnTo>
                      <a:pt x="216" y="224"/>
                    </a:lnTo>
                    <a:lnTo>
                      <a:pt x="215" y="224"/>
                    </a:lnTo>
                    <a:lnTo>
                      <a:pt x="214" y="223"/>
                    </a:lnTo>
                    <a:lnTo>
                      <a:pt x="213" y="223"/>
                    </a:lnTo>
                    <a:lnTo>
                      <a:pt x="212" y="223"/>
                    </a:lnTo>
                    <a:lnTo>
                      <a:pt x="212" y="224"/>
                    </a:lnTo>
                    <a:lnTo>
                      <a:pt x="211" y="225"/>
                    </a:lnTo>
                    <a:lnTo>
                      <a:pt x="211" y="226"/>
                    </a:lnTo>
                    <a:lnTo>
                      <a:pt x="211" y="228"/>
                    </a:lnTo>
                    <a:lnTo>
                      <a:pt x="211" y="229"/>
                    </a:lnTo>
                    <a:lnTo>
                      <a:pt x="212" y="230"/>
                    </a:lnTo>
                    <a:lnTo>
                      <a:pt x="213" y="232"/>
                    </a:lnTo>
                    <a:lnTo>
                      <a:pt x="213" y="233"/>
                    </a:lnTo>
                    <a:lnTo>
                      <a:pt x="213" y="234"/>
                    </a:lnTo>
                    <a:lnTo>
                      <a:pt x="214" y="235"/>
                    </a:lnTo>
                    <a:lnTo>
                      <a:pt x="214" y="234"/>
                    </a:lnTo>
                    <a:lnTo>
                      <a:pt x="215" y="234"/>
                    </a:lnTo>
                    <a:lnTo>
                      <a:pt x="216" y="234"/>
                    </a:lnTo>
                    <a:lnTo>
                      <a:pt x="217" y="235"/>
                    </a:lnTo>
                    <a:lnTo>
                      <a:pt x="218" y="235"/>
                    </a:lnTo>
                    <a:lnTo>
                      <a:pt x="219" y="235"/>
                    </a:lnTo>
                    <a:lnTo>
                      <a:pt x="220" y="234"/>
                    </a:lnTo>
                    <a:lnTo>
                      <a:pt x="221" y="234"/>
                    </a:lnTo>
                    <a:lnTo>
                      <a:pt x="223" y="233"/>
                    </a:lnTo>
                    <a:lnTo>
                      <a:pt x="224" y="232"/>
                    </a:lnTo>
                    <a:lnTo>
                      <a:pt x="225" y="231"/>
                    </a:lnTo>
                    <a:lnTo>
                      <a:pt x="226" y="231"/>
                    </a:lnTo>
                    <a:lnTo>
                      <a:pt x="227" y="231"/>
                    </a:lnTo>
                    <a:lnTo>
                      <a:pt x="227" y="232"/>
                    </a:lnTo>
                    <a:lnTo>
                      <a:pt x="228" y="233"/>
                    </a:lnTo>
                    <a:lnTo>
                      <a:pt x="229" y="233"/>
                    </a:lnTo>
                    <a:lnTo>
                      <a:pt x="229" y="234"/>
                    </a:lnTo>
                    <a:lnTo>
                      <a:pt x="228" y="235"/>
                    </a:lnTo>
                    <a:lnTo>
                      <a:pt x="228" y="236"/>
                    </a:lnTo>
                    <a:lnTo>
                      <a:pt x="227" y="237"/>
                    </a:lnTo>
                    <a:lnTo>
                      <a:pt x="226" y="237"/>
                    </a:lnTo>
                    <a:lnTo>
                      <a:pt x="227" y="237"/>
                    </a:lnTo>
                    <a:lnTo>
                      <a:pt x="227" y="238"/>
                    </a:lnTo>
                    <a:lnTo>
                      <a:pt x="228" y="238"/>
                    </a:lnTo>
                    <a:lnTo>
                      <a:pt x="228" y="240"/>
                    </a:lnTo>
                    <a:lnTo>
                      <a:pt x="227" y="241"/>
                    </a:lnTo>
                    <a:lnTo>
                      <a:pt x="227" y="242"/>
                    </a:lnTo>
                    <a:lnTo>
                      <a:pt x="228" y="242"/>
                    </a:lnTo>
                    <a:lnTo>
                      <a:pt x="228" y="243"/>
                    </a:lnTo>
                    <a:lnTo>
                      <a:pt x="228" y="244"/>
                    </a:lnTo>
                    <a:lnTo>
                      <a:pt x="229" y="244"/>
                    </a:lnTo>
                    <a:lnTo>
                      <a:pt x="229" y="245"/>
                    </a:lnTo>
                    <a:lnTo>
                      <a:pt x="230" y="245"/>
                    </a:lnTo>
                    <a:lnTo>
                      <a:pt x="232" y="245"/>
                    </a:lnTo>
                    <a:lnTo>
                      <a:pt x="232" y="246"/>
                    </a:lnTo>
                    <a:lnTo>
                      <a:pt x="233" y="246"/>
                    </a:lnTo>
                    <a:lnTo>
                      <a:pt x="234" y="246"/>
                    </a:lnTo>
                    <a:lnTo>
                      <a:pt x="236" y="246"/>
                    </a:lnTo>
                    <a:lnTo>
                      <a:pt x="236" y="247"/>
                    </a:lnTo>
                    <a:lnTo>
                      <a:pt x="236" y="248"/>
                    </a:lnTo>
                    <a:lnTo>
                      <a:pt x="234" y="249"/>
                    </a:lnTo>
                    <a:lnTo>
                      <a:pt x="233" y="250"/>
                    </a:lnTo>
                    <a:lnTo>
                      <a:pt x="232" y="250"/>
                    </a:lnTo>
                    <a:lnTo>
                      <a:pt x="232" y="251"/>
                    </a:lnTo>
                    <a:lnTo>
                      <a:pt x="232" y="253"/>
                    </a:lnTo>
                    <a:lnTo>
                      <a:pt x="233" y="253"/>
                    </a:lnTo>
                    <a:lnTo>
                      <a:pt x="233" y="251"/>
                    </a:lnTo>
                    <a:lnTo>
                      <a:pt x="234" y="251"/>
                    </a:lnTo>
                    <a:lnTo>
                      <a:pt x="234" y="250"/>
                    </a:lnTo>
                    <a:lnTo>
                      <a:pt x="234" y="251"/>
                    </a:lnTo>
                    <a:lnTo>
                      <a:pt x="236" y="251"/>
                    </a:lnTo>
                    <a:lnTo>
                      <a:pt x="236" y="253"/>
                    </a:lnTo>
                    <a:lnTo>
                      <a:pt x="237" y="254"/>
                    </a:lnTo>
                    <a:lnTo>
                      <a:pt x="238" y="254"/>
                    </a:lnTo>
                    <a:lnTo>
                      <a:pt x="238" y="253"/>
                    </a:lnTo>
                    <a:lnTo>
                      <a:pt x="239" y="253"/>
                    </a:lnTo>
                    <a:lnTo>
                      <a:pt x="241" y="251"/>
                    </a:lnTo>
                    <a:lnTo>
                      <a:pt x="242" y="251"/>
                    </a:lnTo>
                    <a:lnTo>
                      <a:pt x="243" y="251"/>
                    </a:lnTo>
                    <a:lnTo>
                      <a:pt x="244" y="251"/>
                    </a:lnTo>
                    <a:lnTo>
                      <a:pt x="244" y="253"/>
                    </a:lnTo>
                    <a:lnTo>
                      <a:pt x="244" y="254"/>
                    </a:lnTo>
                    <a:lnTo>
                      <a:pt x="245" y="254"/>
                    </a:lnTo>
                    <a:lnTo>
                      <a:pt x="245" y="255"/>
                    </a:lnTo>
                    <a:lnTo>
                      <a:pt x="245" y="256"/>
                    </a:lnTo>
                    <a:lnTo>
                      <a:pt x="246" y="256"/>
                    </a:lnTo>
                    <a:lnTo>
                      <a:pt x="247" y="256"/>
                    </a:lnTo>
                    <a:lnTo>
                      <a:pt x="249" y="256"/>
                    </a:lnTo>
                    <a:lnTo>
                      <a:pt x="249" y="255"/>
                    </a:lnTo>
                    <a:lnTo>
                      <a:pt x="250" y="255"/>
                    </a:lnTo>
                    <a:lnTo>
                      <a:pt x="251" y="255"/>
                    </a:lnTo>
                    <a:lnTo>
                      <a:pt x="252" y="255"/>
                    </a:lnTo>
                    <a:lnTo>
                      <a:pt x="253" y="255"/>
                    </a:lnTo>
                    <a:lnTo>
                      <a:pt x="253" y="256"/>
                    </a:lnTo>
                    <a:lnTo>
                      <a:pt x="253" y="257"/>
                    </a:lnTo>
                    <a:lnTo>
                      <a:pt x="252" y="257"/>
                    </a:lnTo>
                    <a:lnTo>
                      <a:pt x="251" y="257"/>
                    </a:lnTo>
                    <a:lnTo>
                      <a:pt x="250" y="257"/>
                    </a:lnTo>
                    <a:lnTo>
                      <a:pt x="250" y="258"/>
                    </a:lnTo>
                    <a:lnTo>
                      <a:pt x="251" y="258"/>
                    </a:lnTo>
                    <a:lnTo>
                      <a:pt x="251" y="259"/>
                    </a:lnTo>
                    <a:lnTo>
                      <a:pt x="252" y="259"/>
                    </a:lnTo>
                    <a:lnTo>
                      <a:pt x="253" y="258"/>
                    </a:lnTo>
                    <a:lnTo>
                      <a:pt x="254" y="259"/>
                    </a:lnTo>
                    <a:lnTo>
                      <a:pt x="255" y="261"/>
                    </a:lnTo>
                    <a:lnTo>
                      <a:pt x="255" y="262"/>
                    </a:lnTo>
                    <a:lnTo>
                      <a:pt x="255" y="263"/>
                    </a:lnTo>
                    <a:lnTo>
                      <a:pt x="255" y="264"/>
                    </a:lnTo>
                    <a:lnTo>
                      <a:pt x="256" y="263"/>
                    </a:lnTo>
                    <a:lnTo>
                      <a:pt x="257" y="263"/>
                    </a:lnTo>
                    <a:lnTo>
                      <a:pt x="258" y="264"/>
                    </a:lnTo>
                    <a:lnTo>
                      <a:pt x="259" y="264"/>
                    </a:lnTo>
                    <a:lnTo>
                      <a:pt x="260" y="266"/>
                    </a:lnTo>
                    <a:lnTo>
                      <a:pt x="259" y="266"/>
                    </a:lnTo>
                    <a:lnTo>
                      <a:pt x="258" y="266"/>
                    </a:lnTo>
                    <a:lnTo>
                      <a:pt x="257" y="266"/>
                    </a:lnTo>
                    <a:lnTo>
                      <a:pt x="257" y="267"/>
                    </a:lnTo>
                    <a:lnTo>
                      <a:pt x="256" y="267"/>
                    </a:lnTo>
                    <a:lnTo>
                      <a:pt x="255" y="268"/>
                    </a:lnTo>
                    <a:lnTo>
                      <a:pt x="254" y="268"/>
                    </a:lnTo>
                    <a:lnTo>
                      <a:pt x="253" y="268"/>
                    </a:lnTo>
                    <a:lnTo>
                      <a:pt x="253" y="269"/>
                    </a:lnTo>
                    <a:lnTo>
                      <a:pt x="252" y="269"/>
                    </a:lnTo>
                    <a:lnTo>
                      <a:pt x="252" y="268"/>
                    </a:lnTo>
                    <a:lnTo>
                      <a:pt x="251" y="268"/>
                    </a:lnTo>
                    <a:lnTo>
                      <a:pt x="250" y="269"/>
                    </a:lnTo>
                    <a:lnTo>
                      <a:pt x="249" y="270"/>
                    </a:lnTo>
                    <a:lnTo>
                      <a:pt x="247" y="269"/>
                    </a:lnTo>
                    <a:lnTo>
                      <a:pt x="246" y="269"/>
                    </a:lnTo>
                    <a:lnTo>
                      <a:pt x="245" y="269"/>
                    </a:lnTo>
                    <a:lnTo>
                      <a:pt x="244" y="269"/>
                    </a:lnTo>
                    <a:lnTo>
                      <a:pt x="244" y="268"/>
                    </a:lnTo>
                    <a:lnTo>
                      <a:pt x="244" y="267"/>
                    </a:lnTo>
                    <a:lnTo>
                      <a:pt x="243" y="266"/>
                    </a:lnTo>
                    <a:lnTo>
                      <a:pt x="241" y="266"/>
                    </a:lnTo>
                    <a:lnTo>
                      <a:pt x="240" y="267"/>
                    </a:lnTo>
                    <a:lnTo>
                      <a:pt x="239" y="267"/>
                    </a:lnTo>
                    <a:lnTo>
                      <a:pt x="238" y="267"/>
                    </a:lnTo>
                    <a:lnTo>
                      <a:pt x="238" y="268"/>
                    </a:lnTo>
                    <a:lnTo>
                      <a:pt x="238" y="269"/>
                    </a:lnTo>
                    <a:lnTo>
                      <a:pt x="237" y="269"/>
                    </a:lnTo>
                    <a:lnTo>
                      <a:pt x="237" y="268"/>
                    </a:lnTo>
                    <a:lnTo>
                      <a:pt x="236" y="268"/>
                    </a:lnTo>
                    <a:lnTo>
                      <a:pt x="234" y="269"/>
                    </a:lnTo>
                    <a:lnTo>
                      <a:pt x="233" y="268"/>
                    </a:lnTo>
                    <a:lnTo>
                      <a:pt x="232" y="269"/>
                    </a:lnTo>
                    <a:lnTo>
                      <a:pt x="231" y="269"/>
                    </a:lnTo>
                    <a:lnTo>
                      <a:pt x="230" y="269"/>
                    </a:lnTo>
                    <a:lnTo>
                      <a:pt x="229" y="269"/>
                    </a:lnTo>
                    <a:lnTo>
                      <a:pt x="228" y="269"/>
                    </a:lnTo>
                    <a:lnTo>
                      <a:pt x="228" y="268"/>
                    </a:lnTo>
                    <a:lnTo>
                      <a:pt x="227" y="268"/>
                    </a:lnTo>
                    <a:lnTo>
                      <a:pt x="227" y="267"/>
                    </a:lnTo>
                    <a:lnTo>
                      <a:pt x="226" y="268"/>
                    </a:lnTo>
                    <a:lnTo>
                      <a:pt x="225" y="268"/>
                    </a:lnTo>
                    <a:lnTo>
                      <a:pt x="225" y="267"/>
                    </a:lnTo>
                    <a:lnTo>
                      <a:pt x="226" y="267"/>
                    </a:lnTo>
                    <a:lnTo>
                      <a:pt x="226" y="266"/>
                    </a:lnTo>
                    <a:lnTo>
                      <a:pt x="225" y="266"/>
                    </a:lnTo>
                    <a:lnTo>
                      <a:pt x="224" y="267"/>
                    </a:lnTo>
                    <a:lnTo>
                      <a:pt x="224" y="266"/>
                    </a:lnTo>
                    <a:lnTo>
                      <a:pt x="223" y="266"/>
                    </a:lnTo>
                    <a:lnTo>
                      <a:pt x="221" y="266"/>
                    </a:lnTo>
                    <a:lnTo>
                      <a:pt x="220" y="266"/>
                    </a:lnTo>
                    <a:lnTo>
                      <a:pt x="219" y="266"/>
                    </a:lnTo>
                    <a:lnTo>
                      <a:pt x="218" y="266"/>
                    </a:lnTo>
                    <a:lnTo>
                      <a:pt x="217" y="266"/>
                    </a:lnTo>
                    <a:lnTo>
                      <a:pt x="216" y="266"/>
                    </a:lnTo>
                    <a:lnTo>
                      <a:pt x="216" y="264"/>
                    </a:lnTo>
                    <a:lnTo>
                      <a:pt x="215" y="264"/>
                    </a:lnTo>
                    <a:lnTo>
                      <a:pt x="214" y="264"/>
                    </a:lnTo>
                    <a:lnTo>
                      <a:pt x="214" y="266"/>
                    </a:lnTo>
                    <a:lnTo>
                      <a:pt x="213" y="266"/>
                    </a:lnTo>
                    <a:lnTo>
                      <a:pt x="212" y="266"/>
                    </a:lnTo>
                    <a:lnTo>
                      <a:pt x="212" y="264"/>
                    </a:lnTo>
                    <a:lnTo>
                      <a:pt x="211" y="264"/>
                    </a:lnTo>
                    <a:lnTo>
                      <a:pt x="210" y="264"/>
                    </a:lnTo>
                    <a:lnTo>
                      <a:pt x="208" y="264"/>
                    </a:lnTo>
                    <a:lnTo>
                      <a:pt x="208" y="266"/>
                    </a:lnTo>
                    <a:lnTo>
                      <a:pt x="208" y="267"/>
                    </a:lnTo>
                    <a:lnTo>
                      <a:pt x="207" y="267"/>
                    </a:lnTo>
                    <a:lnTo>
                      <a:pt x="205" y="267"/>
                    </a:lnTo>
                    <a:lnTo>
                      <a:pt x="204" y="267"/>
                    </a:lnTo>
                    <a:lnTo>
                      <a:pt x="203" y="267"/>
                    </a:lnTo>
                    <a:lnTo>
                      <a:pt x="203" y="266"/>
                    </a:lnTo>
                    <a:lnTo>
                      <a:pt x="202" y="266"/>
                    </a:lnTo>
                    <a:lnTo>
                      <a:pt x="201" y="267"/>
                    </a:lnTo>
                    <a:lnTo>
                      <a:pt x="200" y="268"/>
                    </a:lnTo>
                    <a:lnTo>
                      <a:pt x="199" y="268"/>
                    </a:lnTo>
                    <a:lnTo>
                      <a:pt x="198" y="268"/>
                    </a:lnTo>
                    <a:lnTo>
                      <a:pt x="196" y="268"/>
                    </a:lnTo>
                    <a:lnTo>
                      <a:pt x="195" y="269"/>
                    </a:lnTo>
                    <a:lnTo>
                      <a:pt x="194" y="270"/>
                    </a:lnTo>
                    <a:lnTo>
                      <a:pt x="194" y="271"/>
                    </a:lnTo>
                    <a:lnTo>
                      <a:pt x="193" y="271"/>
                    </a:lnTo>
                    <a:lnTo>
                      <a:pt x="193" y="272"/>
                    </a:lnTo>
                    <a:lnTo>
                      <a:pt x="192" y="272"/>
                    </a:lnTo>
                    <a:lnTo>
                      <a:pt x="191" y="272"/>
                    </a:lnTo>
                    <a:lnTo>
                      <a:pt x="190" y="271"/>
                    </a:lnTo>
                    <a:lnTo>
                      <a:pt x="189" y="271"/>
                    </a:lnTo>
                    <a:lnTo>
                      <a:pt x="188" y="272"/>
                    </a:lnTo>
                    <a:lnTo>
                      <a:pt x="187" y="272"/>
                    </a:lnTo>
                    <a:lnTo>
                      <a:pt x="186" y="272"/>
                    </a:lnTo>
                    <a:lnTo>
                      <a:pt x="186" y="273"/>
                    </a:lnTo>
                    <a:lnTo>
                      <a:pt x="185" y="273"/>
                    </a:lnTo>
                    <a:lnTo>
                      <a:pt x="185" y="274"/>
                    </a:lnTo>
                    <a:lnTo>
                      <a:pt x="185" y="275"/>
                    </a:lnTo>
                    <a:lnTo>
                      <a:pt x="186" y="275"/>
                    </a:lnTo>
                    <a:lnTo>
                      <a:pt x="186" y="276"/>
                    </a:lnTo>
                    <a:lnTo>
                      <a:pt x="185" y="276"/>
                    </a:lnTo>
                    <a:lnTo>
                      <a:pt x="185" y="277"/>
                    </a:lnTo>
                    <a:lnTo>
                      <a:pt x="183" y="277"/>
                    </a:lnTo>
                    <a:lnTo>
                      <a:pt x="183" y="279"/>
                    </a:lnTo>
                    <a:lnTo>
                      <a:pt x="182" y="281"/>
                    </a:lnTo>
                    <a:lnTo>
                      <a:pt x="182" y="282"/>
                    </a:lnTo>
                    <a:lnTo>
                      <a:pt x="181" y="282"/>
                    </a:lnTo>
                    <a:lnTo>
                      <a:pt x="181" y="283"/>
                    </a:lnTo>
                    <a:lnTo>
                      <a:pt x="180" y="283"/>
                    </a:lnTo>
                    <a:lnTo>
                      <a:pt x="179" y="284"/>
                    </a:lnTo>
                    <a:lnTo>
                      <a:pt x="178" y="285"/>
                    </a:lnTo>
                    <a:lnTo>
                      <a:pt x="177" y="285"/>
                    </a:lnTo>
                    <a:lnTo>
                      <a:pt x="177" y="286"/>
                    </a:lnTo>
                    <a:lnTo>
                      <a:pt x="176" y="286"/>
                    </a:lnTo>
                    <a:lnTo>
                      <a:pt x="174" y="287"/>
                    </a:lnTo>
                    <a:lnTo>
                      <a:pt x="172" y="287"/>
                    </a:lnTo>
                    <a:lnTo>
                      <a:pt x="170" y="287"/>
                    </a:lnTo>
                    <a:lnTo>
                      <a:pt x="169" y="287"/>
                    </a:lnTo>
                    <a:lnTo>
                      <a:pt x="168" y="287"/>
                    </a:lnTo>
                    <a:lnTo>
                      <a:pt x="167" y="287"/>
                    </a:lnTo>
                    <a:lnTo>
                      <a:pt x="166" y="287"/>
                    </a:lnTo>
                    <a:lnTo>
                      <a:pt x="165" y="286"/>
                    </a:lnTo>
                    <a:lnTo>
                      <a:pt x="164" y="286"/>
                    </a:lnTo>
                    <a:lnTo>
                      <a:pt x="163" y="286"/>
                    </a:lnTo>
                    <a:lnTo>
                      <a:pt x="162" y="286"/>
                    </a:lnTo>
                    <a:lnTo>
                      <a:pt x="161" y="287"/>
                    </a:lnTo>
                    <a:lnTo>
                      <a:pt x="161" y="286"/>
                    </a:lnTo>
                    <a:lnTo>
                      <a:pt x="161" y="285"/>
                    </a:lnTo>
                    <a:lnTo>
                      <a:pt x="160" y="285"/>
                    </a:lnTo>
                    <a:lnTo>
                      <a:pt x="159" y="285"/>
                    </a:lnTo>
                    <a:lnTo>
                      <a:pt x="157" y="286"/>
                    </a:lnTo>
                    <a:lnTo>
                      <a:pt x="157" y="285"/>
                    </a:lnTo>
                    <a:lnTo>
                      <a:pt x="156" y="285"/>
                    </a:lnTo>
                    <a:lnTo>
                      <a:pt x="155" y="285"/>
                    </a:lnTo>
                    <a:lnTo>
                      <a:pt x="155" y="284"/>
                    </a:lnTo>
                    <a:lnTo>
                      <a:pt x="154" y="285"/>
                    </a:lnTo>
                    <a:lnTo>
                      <a:pt x="153" y="284"/>
                    </a:lnTo>
                    <a:lnTo>
                      <a:pt x="152" y="284"/>
                    </a:lnTo>
                    <a:lnTo>
                      <a:pt x="151" y="284"/>
                    </a:lnTo>
                    <a:lnTo>
                      <a:pt x="150" y="284"/>
                    </a:lnTo>
                    <a:lnTo>
                      <a:pt x="148" y="284"/>
                    </a:lnTo>
                    <a:lnTo>
                      <a:pt x="147" y="284"/>
                    </a:lnTo>
                    <a:lnTo>
                      <a:pt x="146" y="284"/>
                    </a:lnTo>
                    <a:lnTo>
                      <a:pt x="144" y="284"/>
                    </a:lnTo>
                    <a:lnTo>
                      <a:pt x="143" y="284"/>
                    </a:lnTo>
                    <a:lnTo>
                      <a:pt x="142" y="284"/>
                    </a:lnTo>
                    <a:lnTo>
                      <a:pt x="141" y="284"/>
                    </a:lnTo>
                    <a:lnTo>
                      <a:pt x="139" y="284"/>
                    </a:lnTo>
                    <a:lnTo>
                      <a:pt x="138" y="284"/>
                    </a:lnTo>
                    <a:lnTo>
                      <a:pt x="137" y="283"/>
                    </a:lnTo>
                    <a:lnTo>
                      <a:pt x="136" y="283"/>
                    </a:lnTo>
                    <a:lnTo>
                      <a:pt x="136" y="284"/>
                    </a:lnTo>
                    <a:lnTo>
                      <a:pt x="135" y="284"/>
                    </a:lnTo>
                    <a:lnTo>
                      <a:pt x="134" y="284"/>
                    </a:lnTo>
                    <a:lnTo>
                      <a:pt x="133" y="284"/>
                    </a:lnTo>
                    <a:lnTo>
                      <a:pt x="131" y="284"/>
                    </a:lnTo>
                    <a:lnTo>
                      <a:pt x="131" y="285"/>
                    </a:lnTo>
                    <a:lnTo>
                      <a:pt x="130" y="285"/>
                    </a:lnTo>
                    <a:lnTo>
                      <a:pt x="129" y="285"/>
                    </a:lnTo>
                    <a:lnTo>
                      <a:pt x="128" y="286"/>
                    </a:lnTo>
                    <a:lnTo>
                      <a:pt x="127" y="286"/>
                    </a:lnTo>
                    <a:lnTo>
                      <a:pt x="127" y="287"/>
                    </a:lnTo>
                    <a:lnTo>
                      <a:pt x="127" y="286"/>
                    </a:lnTo>
                    <a:lnTo>
                      <a:pt x="126" y="287"/>
                    </a:lnTo>
                    <a:lnTo>
                      <a:pt x="125" y="287"/>
                    </a:lnTo>
                    <a:lnTo>
                      <a:pt x="124" y="287"/>
                    </a:lnTo>
                    <a:lnTo>
                      <a:pt x="124" y="288"/>
                    </a:lnTo>
                    <a:lnTo>
                      <a:pt x="123" y="288"/>
                    </a:lnTo>
                    <a:lnTo>
                      <a:pt x="122" y="289"/>
                    </a:lnTo>
                    <a:lnTo>
                      <a:pt x="121" y="288"/>
                    </a:lnTo>
                    <a:lnTo>
                      <a:pt x="120" y="288"/>
                    </a:lnTo>
                    <a:lnTo>
                      <a:pt x="118" y="288"/>
                    </a:lnTo>
                    <a:lnTo>
                      <a:pt x="117" y="288"/>
                    </a:lnTo>
                    <a:lnTo>
                      <a:pt x="116" y="288"/>
                    </a:lnTo>
                    <a:lnTo>
                      <a:pt x="115" y="288"/>
                    </a:lnTo>
                    <a:lnTo>
                      <a:pt x="115" y="287"/>
                    </a:lnTo>
                    <a:lnTo>
                      <a:pt x="114" y="288"/>
                    </a:lnTo>
                    <a:lnTo>
                      <a:pt x="113" y="288"/>
                    </a:lnTo>
                    <a:lnTo>
                      <a:pt x="112" y="288"/>
                    </a:lnTo>
                    <a:lnTo>
                      <a:pt x="111" y="287"/>
                    </a:lnTo>
                    <a:lnTo>
                      <a:pt x="110" y="287"/>
                    </a:lnTo>
                    <a:lnTo>
                      <a:pt x="110" y="286"/>
                    </a:lnTo>
                    <a:lnTo>
                      <a:pt x="110" y="285"/>
                    </a:lnTo>
                    <a:lnTo>
                      <a:pt x="109" y="285"/>
                    </a:lnTo>
                    <a:lnTo>
                      <a:pt x="108" y="284"/>
                    </a:lnTo>
                    <a:lnTo>
                      <a:pt x="107" y="284"/>
                    </a:lnTo>
                    <a:lnTo>
                      <a:pt x="107" y="283"/>
                    </a:lnTo>
                    <a:lnTo>
                      <a:pt x="107" y="282"/>
                    </a:lnTo>
                    <a:lnTo>
                      <a:pt x="107" y="281"/>
                    </a:lnTo>
                    <a:lnTo>
                      <a:pt x="107" y="280"/>
                    </a:lnTo>
                    <a:lnTo>
                      <a:pt x="105" y="275"/>
                    </a:lnTo>
                    <a:lnTo>
                      <a:pt x="101" y="271"/>
                    </a:lnTo>
                    <a:lnTo>
                      <a:pt x="99" y="270"/>
                    </a:lnTo>
                    <a:lnTo>
                      <a:pt x="95" y="269"/>
                    </a:lnTo>
                    <a:lnTo>
                      <a:pt x="89" y="267"/>
                    </a:lnTo>
                    <a:lnTo>
                      <a:pt x="84" y="266"/>
                    </a:lnTo>
                    <a:lnTo>
                      <a:pt x="79" y="264"/>
                    </a:lnTo>
                    <a:lnTo>
                      <a:pt x="75" y="264"/>
                    </a:lnTo>
                    <a:lnTo>
                      <a:pt x="69" y="266"/>
                    </a:lnTo>
                    <a:lnTo>
                      <a:pt x="63" y="268"/>
                    </a:lnTo>
                    <a:lnTo>
                      <a:pt x="58" y="269"/>
                    </a:lnTo>
                    <a:lnTo>
                      <a:pt x="52" y="269"/>
                    </a:lnTo>
                    <a:lnTo>
                      <a:pt x="49" y="267"/>
                    </a:lnTo>
                    <a:lnTo>
                      <a:pt x="47" y="261"/>
                    </a:lnTo>
                    <a:lnTo>
                      <a:pt x="46" y="257"/>
                    </a:lnTo>
                    <a:lnTo>
                      <a:pt x="47" y="254"/>
                    </a:lnTo>
                    <a:lnTo>
                      <a:pt x="48" y="249"/>
                    </a:lnTo>
                    <a:lnTo>
                      <a:pt x="50" y="244"/>
                    </a:lnTo>
                    <a:lnTo>
                      <a:pt x="53" y="241"/>
                    </a:lnTo>
                    <a:lnTo>
                      <a:pt x="54" y="240"/>
                    </a:lnTo>
                    <a:lnTo>
                      <a:pt x="59" y="235"/>
                    </a:lnTo>
                    <a:lnTo>
                      <a:pt x="60" y="233"/>
                    </a:lnTo>
                    <a:lnTo>
                      <a:pt x="62" y="231"/>
                    </a:lnTo>
                    <a:lnTo>
                      <a:pt x="63" y="229"/>
                    </a:lnTo>
                    <a:lnTo>
                      <a:pt x="66" y="224"/>
                    </a:lnTo>
                    <a:lnTo>
                      <a:pt x="68" y="221"/>
                    </a:lnTo>
                    <a:lnTo>
                      <a:pt x="72" y="213"/>
                    </a:lnTo>
                    <a:lnTo>
                      <a:pt x="72" y="212"/>
                    </a:lnTo>
                    <a:lnTo>
                      <a:pt x="74" y="203"/>
                    </a:lnTo>
                    <a:lnTo>
                      <a:pt x="74" y="199"/>
                    </a:lnTo>
                    <a:lnTo>
                      <a:pt x="74" y="198"/>
                    </a:lnTo>
                    <a:lnTo>
                      <a:pt x="74" y="185"/>
                    </a:lnTo>
                    <a:lnTo>
                      <a:pt x="73" y="181"/>
                    </a:lnTo>
                    <a:lnTo>
                      <a:pt x="73" y="180"/>
                    </a:lnTo>
                    <a:lnTo>
                      <a:pt x="73" y="178"/>
                    </a:lnTo>
                    <a:lnTo>
                      <a:pt x="73" y="173"/>
                    </a:lnTo>
                    <a:lnTo>
                      <a:pt x="73" y="151"/>
                    </a:lnTo>
                    <a:lnTo>
                      <a:pt x="72" y="146"/>
                    </a:lnTo>
                    <a:lnTo>
                      <a:pt x="71" y="143"/>
                    </a:lnTo>
                    <a:lnTo>
                      <a:pt x="69" y="142"/>
                    </a:lnTo>
                    <a:lnTo>
                      <a:pt x="65" y="140"/>
                    </a:lnTo>
                    <a:lnTo>
                      <a:pt x="61" y="141"/>
                    </a:lnTo>
                    <a:lnTo>
                      <a:pt x="40" y="150"/>
                    </a:lnTo>
                    <a:lnTo>
                      <a:pt x="38" y="150"/>
                    </a:lnTo>
                    <a:lnTo>
                      <a:pt x="36" y="151"/>
                    </a:lnTo>
                    <a:lnTo>
                      <a:pt x="33" y="152"/>
                    </a:lnTo>
                    <a:lnTo>
                      <a:pt x="30" y="153"/>
                    </a:lnTo>
                    <a:lnTo>
                      <a:pt x="26" y="153"/>
                    </a:lnTo>
                    <a:lnTo>
                      <a:pt x="24" y="153"/>
                    </a:lnTo>
                    <a:lnTo>
                      <a:pt x="23" y="152"/>
                    </a:lnTo>
                    <a:lnTo>
                      <a:pt x="21" y="152"/>
                    </a:lnTo>
                    <a:lnTo>
                      <a:pt x="21" y="151"/>
                    </a:lnTo>
                    <a:lnTo>
                      <a:pt x="20" y="148"/>
                    </a:lnTo>
                    <a:lnTo>
                      <a:pt x="20" y="147"/>
                    </a:lnTo>
                    <a:lnTo>
                      <a:pt x="20" y="146"/>
                    </a:lnTo>
                    <a:lnTo>
                      <a:pt x="20" y="145"/>
                    </a:lnTo>
                    <a:lnTo>
                      <a:pt x="21" y="143"/>
                    </a:lnTo>
                    <a:lnTo>
                      <a:pt x="22" y="143"/>
                    </a:lnTo>
                    <a:lnTo>
                      <a:pt x="25" y="141"/>
                    </a:lnTo>
                    <a:lnTo>
                      <a:pt x="31" y="136"/>
                    </a:lnTo>
                    <a:lnTo>
                      <a:pt x="34" y="135"/>
                    </a:lnTo>
                    <a:lnTo>
                      <a:pt x="35" y="134"/>
                    </a:lnTo>
                    <a:lnTo>
                      <a:pt x="38" y="133"/>
                    </a:lnTo>
                    <a:lnTo>
                      <a:pt x="39" y="132"/>
                    </a:lnTo>
                    <a:lnTo>
                      <a:pt x="40" y="131"/>
                    </a:lnTo>
                    <a:lnTo>
                      <a:pt x="43" y="129"/>
                    </a:lnTo>
                    <a:lnTo>
                      <a:pt x="44" y="129"/>
                    </a:lnTo>
                    <a:lnTo>
                      <a:pt x="45" y="127"/>
                    </a:lnTo>
                    <a:lnTo>
                      <a:pt x="45" y="126"/>
                    </a:lnTo>
                    <a:lnTo>
                      <a:pt x="45" y="125"/>
                    </a:lnTo>
                    <a:lnTo>
                      <a:pt x="45" y="123"/>
                    </a:lnTo>
                    <a:lnTo>
                      <a:pt x="46" y="121"/>
                    </a:lnTo>
                    <a:lnTo>
                      <a:pt x="45" y="120"/>
                    </a:lnTo>
                    <a:lnTo>
                      <a:pt x="45" y="119"/>
                    </a:lnTo>
                    <a:lnTo>
                      <a:pt x="45" y="118"/>
                    </a:lnTo>
                    <a:lnTo>
                      <a:pt x="45" y="117"/>
                    </a:lnTo>
                    <a:lnTo>
                      <a:pt x="44" y="116"/>
                    </a:lnTo>
                    <a:lnTo>
                      <a:pt x="44" y="115"/>
                    </a:lnTo>
                    <a:lnTo>
                      <a:pt x="43" y="114"/>
                    </a:lnTo>
                    <a:lnTo>
                      <a:pt x="41" y="113"/>
                    </a:lnTo>
                    <a:lnTo>
                      <a:pt x="40" y="110"/>
                    </a:lnTo>
                    <a:lnTo>
                      <a:pt x="38" y="108"/>
                    </a:lnTo>
                    <a:lnTo>
                      <a:pt x="36" y="107"/>
                    </a:lnTo>
                    <a:lnTo>
                      <a:pt x="34" y="105"/>
                    </a:lnTo>
                    <a:lnTo>
                      <a:pt x="32" y="104"/>
                    </a:lnTo>
                    <a:lnTo>
                      <a:pt x="31" y="104"/>
                    </a:lnTo>
                    <a:lnTo>
                      <a:pt x="22" y="104"/>
                    </a:lnTo>
                    <a:lnTo>
                      <a:pt x="20" y="104"/>
                    </a:lnTo>
                    <a:lnTo>
                      <a:pt x="18" y="104"/>
                    </a:lnTo>
                    <a:lnTo>
                      <a:pt x="17" y="104"/>
                    </a:lnTo>
                    <a:lnTo>
                      <a:pt x="15" y="104"/>
                    </a:lnTo>
                    <a:lnTo>
                      <a:pt x="13" y="104"/>
                    </a:lnTo>
                    <a:lnTo>
                      <a:pt x="12" y="104"/>
                    </a:lnTo>
                    <a:lnTo>
                      <a:pt x="8" y="104"/>
                    </a:lnTo>
                    <a:lnTo>
                      <a:pt x="7" y="104"/>
                    </a:lnTo>
                    <a:lnTo>
                      <a:pt x="5" y="103"/>
                    </a:lnTo>
                    <a:lnTo>
                      <a:pt x="4" y="103"/>
                    </a:lnTo>
                    <a:lnTo>
                      <a:pt x="4" y="102"/>
                    </a:lnTo>
                    <a:lnTo>
                      <a:pt x="2" y="102"/>
                    </a:lnTo>
                    <a:lnTo>
                      <a:pt x="1" y="100"/>
                    </a:lnTo>
                    <a:lnTo>
                      <a:pt x="0" y="97"/>
                    </a:lnTo>
                    <a:lnTo>
                      <a:pt x="0" y="96"/>
                    </a:lnTo>
                    <a:lnTo>
                      <a:pt x="0" y="95"/>
                    </a:lnTo>
                    <a:lnTo>
                      <a:pt x="0" y="93"/>
                    </a:lnTo>
                    <a:lnTo>
                      <a:pt x="0" y="92"/>
                    </a:lnTo>
                    <a:lnTo>
                      <a:pt x="0" y="89"/>
                    </a:lnTo>
                    <a:lnTo>
                      <a:pt x="1" y="87"/>
                    </a:lnTo>
                    <a:lnTo>
                      <a:pt x="1" y="84"/>
                    </a:lnTo>
                    <a:lnTo>
                      <a:pt x="2" y="83"/>
                    </a:lnTo>
                    <a:lnTo>
                      <a:pt x="2" y="82"/>
                    </a:lnTo>
                    <a:lnTo>
                      <a:pt x="7" y="78"/>
                    </a:lnTo>
                    <a:lnTo>
                      <a:pt x="8" y="77"/>
                    </a:lnTo>
                    <a:lnTo>
                      <a:pt x="8" y="76"/>
                    </a:lnTo>
                    <a:lnTo>
                      <a:pt x="9" y="75"/>
                    </a:lnTo>
                    <a:lnTo>
                      <a:pt x="10" y="74"/>
                    </a:lnTo>
                    <a:lnTo>
                      <a:pt x="10" y="73"/>
                    </a:lnTo>
                    <a:lnTo>
                      <a:pt x="11" y="71"/>
                    </a:lnTo>
                    <a:lnTo>
                      <a:pt x="11" y="70"/>
                    </a:lnTo>
                    <a:lnTo>
                      <a:pt x="12" y="68"/>
                    </a:lnTo>
                    <a:lnTo>
                      <a:pt x="13" y="67"/>
                    </a:lnTo>
                    <a:lnTo>
                      <a:pt x="13" y="66"/>
                    </a:lnTo>
                    <a:lnTo>
                      <a:pt x="14" y="65"/>
                    </a:lnTo>
                    <a:lnTo>
                      <a:pt x="14" y="64"/>
                    </a:lnTo>
                    <a:lnTo>
                      <a:pt x="14" y="62"/>
                    </a:lnTo>
                    <a:lnTo>
                      <a:pt x="14" y="61"/>
                    </a:lnTo>
                    <a:lnTo>
                      <a:pt x="14" y="58"/>
                    </a:lnTo>
                    <a:lnTo>
                      <a:pt x="14" y="57"/>
                    </a:lnTo>
                    <a:lnTo>
                      <a:pt x="14" y="56"/>
                    </a:lnTo>
                    <a:lnTo>
                      <a:pt x="13" y="54"/>
                    </a:lnTo>
                    <a:lnTo>
                      <a:pt x="12" y="51"/>
                    </a:lnTo>
                    <a:lnTo>
                      <a:pt x="11" y="50"/>
                    </a:lnTo>
                    <a:lnTo>
                      <a:pt x="12" y="49"/>
                    </a:lnTo>
                    <a:lnTo>
                      <a:pt x="12" y="48"/>
                    </a:lnTo>
                    <a:lnTo>
                      <a:pt x="13" y="48"/>
                    </a:lnTo>
                    <a:lnTo>
                      <a:pt x="14" y="45"/>
                    </a:lnTo>
                    <a:lnTo>
                      <a:pt x="14" y="44"/>
                    </a:lnTo>
                    <a:lnTo>
                      <a:pt x="14" y="43"/>
                    </a:lnTo>
                    <a:lnTo>
                      <a:pt x="14" y="40"/>
                    </a:lnTo>
                    <a:lnTo>
                      <a:pt x="15" y="39"/>
                    </a:lnTo>
                    <a:lnTo>
                      <a:pt x="17" y="37"/>
                    </a:lnTo>
                    <a:lnTo>
                      <a:pt x="17" y="29"/>
                    </a:lnTo>
                    <a:lnTo>
                      <a:pt x="28" y="27"/>
                    </a:lnTo>
                    <a:lnTo>
                      <a:pt x="30" y="24"/>
                    </a:lnTo>
                    <a:lnTo>
                      <a:pt x="30" y="22"/>
                    </a:lnTo>
                    <a:lnTo>
                      <a:pt x="30" y="20"/>
                    </a:lnTo>
                    <a:lnTo>
                      <a:pt x="30" y="19"/>
                    </a:lnTo>
                    <a:lnTo>
                      <a:pt x="31" y="18"/>
                    </a:lnTo>
                    <a:lnTo>
                      <a:pt x="30" y="17"/>
                    </a:lnTo>
                    <a:lnTo>
                      <a:pt x="31" y="16"/>
                    </a:lnTo>
                    <a:lnTo>
                      <a:pt x="32" y="15"/>
                    </a:lnTo>
                    <a:lnTo>
                      <a:pt x="32" y="14"/>
                    </a:lnTo>
                    <a:lnTo>
                      <a:pt x="33" y="14"/>
                    </a:lnTo>
                    <a:lnTo>
                      <a:pt x="34" y="13"/>
                    </a:lnTo>
                    <a:lnTo>
                      <a:pt x="36" y="12"/>
                    </a:lnTo>
                    <a:lnTo>
                      <a:pt x="37" y="11"/>
                    </a:lnTo>
                    <a:lnTo>
                      <a:pt x="38" y="10"/>
                    </a:lnTo>
                    <a:lnTo>
                      <a:pt x="40" y="10"/>
                    </a:lnTo>
                    <a:lnTo>
                      <a:pt x="46" y="10"/>
                    </a:lnTo>
                    <a:lnTo>
                      <a:pt x="61" y="9"/>
                    </a:lnTo>
                    <a:lnTo>
                      <a:pt x="63" y="9"/>
                    </a:lnTo>
                    <a:lnTo>
                      <a:pt x="81" y="9"/>
                    </a:lnTo>
                    <a:lnTo>
                      <a:pt x="90" y="7"/>
                    </a:lnTo>
                    <a:lnTo>
                      <a:pt x="91" y="7"/>
                    </a:lnTo>
                    <a:lnTo>
                      <a:pt x="100" y="7"/>
                    </a:lnTo>
                    <a:lnTo>
                      <a:pt x="101" y="7"/>
                    </a:lnTo>
                    <a:lnTo>
                      <a:pt x="102" y="7"/>
                    </a:lnTo>
                    <a:lnTo>
                      <a:pt x="105" y="7"/>
                    </a:lnTo>
                    <a:lnTo>
                      <a:pt x="109" y="7"/>
                    </a:lnTo>
                    <a:lnTo>
                      <a:pt x="122" y="6"/>
                    </a:lnTo>
                    <a:lnTo>
                      <a:pt x="131" y="6"/>
                    </a:lnTo>
                    <a:lnTo>
                      <a:pt x="134" y="6"/>
                    </a:lnTo>
                    <a:lnTo>
                      <a:pt x="136" y="5"/>
                    </a:lnTo>
                    <a:lnTo>
                      <a:pt x="139" y="5"/>
                    </a:lnTo>
                    <a:lnTo>
                      <a:pt x="146" y="5"/>
                    </a:lnTo>
                    <a:lnTo>
                      <a:pt x="161" y="4"/>
                    </a:lnTo>
                    <a:lnTo>
                      <a:pt x="168" y="4"/>
                    </a:lnTo>
                    <a:lnTo>
                      <a:pt x="177" y="4"/>
                    </a:lnTo>
                    <a:lnTo>
                      <a:pt x="178" y="4"/>
                    </a:lnTo>
                    <a:lnTo>
                      <a:pt x="179" y="4"/>
                    </a:lnTo>
                    <a:lnTo>
                      <a:pt x="193" y="3"/>
                    </a:lnTo>
                    <a:lnTo>
                      <a:pt x="205" y="3"/>
                    </a:lnTo>
                    <a:lnTo>
                      <a:pt x="213" y="2"/>
                    </a:lnTo>
                    <a:lnTo>
                      <a:pt x="218" y="2"/>
                    </a:lnTo>
                    <a:lnTo>
                      <a:pt x="224" y="2"/>
                    </a:lnTo>
                    <a:lnTo>
                      <a:pt x="228" y="2"/>
                    </a:lnTo>
                    <a:lnTo>
                      <a:pt x="233" y="2"/>
                    </a:lnTo>
                    <a:lnTo>
                      <a:pt x="238" y="2"/>
                    </a:lnTo>
                    <a:lnTo>
                      <a:pt x="241" y="1"/>
                    </a:lnTo>
                    <a:lnTo>
                      <a:pt x="244" y="1"/>
                    </a:lnTo>
                    <a:lnTo>
                      <a:pt x="254" y="1"/>
                    </a:lnTo>
                    <a:lnTo>
                      <a:pt x="262" y="1"/>
                    </a:lnTo>
                    <a:lnTo>
                      <a:pt x="270" y="1"/>
                    </a:lnTo>
                    <a:lnTo>
                      <a:pt x="286" y="0"/>
                    </a:lnTo>
                    <a:lnTo>
                      <a:pt x="286" y="1"/>
                    </a:lnTo>
                    <a:lnTo>
                      <a:pt x="286" y="2"/>
                    </a:lnTo>
                    <a:lnTo>
                      <a:pt x="288" y="2"/>
                    </a:lnTo>
                    <a:lnTo>
                      <a:pt x="288" y="3"/>
                    </a:lnTo>
                    <a:lnTo>
                      <a:pt x="286" y="3"/>
                    </a:lnTo>
                    <a:lnTo>
                      <a:pt x="286" y="4"/>
                    </a:lnTo>
                    <a:lnTo>
                      <a:pt x="288" y="4"/>
                    </a:lnTo>
                    <a:lnTo>
                      <a:pt x="289" y="4"/>
                    </a:lnTo>
                    <a:lnTo>
                      <a:pt x="289" y="5"/>
                    </a:lnTo>
                    <a:lnTo>
                      <a:pt x="289" y="6"/>
                    </a:lnTo>
                    <a:lnTo>
                      <a:pt x="288" y="6"/>
                    </a:lnTo>
                    <a:lnTo>
                      <a:pt x="289" y="7"/>
                    </a:lnTo>
                    <a:lnTo>
                      <a:pt x="289" y="9"/>
                    </a:lnTo>
                    <a:lnTo>
                      <a:pt x="288" y="9"/>
                    </a:lnTo>
                    <a:lnTo>
                      <a:pt x="286" y="10"/>
                    </a:lnTo>
                    <a:lnTo>
                      <a:pt x="286" y="11"/>
                    </a:lnTo>
                    <a:lnTo>
                      <a:pt x="286" y="10"/>
                    </a:lnTo>
                    <a:lnTo>
                      <a:pt x="285" y="10"/>
                    </a:lnTo>
                    <a:lnTo>
                      <a:pt x="284" y="10"/>
                    </a:lnTo>
                    <a:lnTo>
                      <a:pt x="284" y="11"/>
                    </a:lnTo>
                    <a:lnTo>
                      <a:pt x="284" y="12"/>
                    </a:lnTo>
                    <a:lnTo>
                      <a:pt x="283" y="12"/>
                    </a:lnTo>
                    <a:lnTo>
                      <a:pt x="283" y="13"/>
                    </a:lnTo>
                    <a:lnTo>
                      <a:pt x="284" y="13"/>
                    </a:lnTo>
                    <a:lnTo>
                      <a:pt x="285" y="13"/>
                    </a:lnTo>
                    <a:lnTo>
                      <a:pt x="284" y="13"/>
                    </a:lnTo>
                    <a:lnTo>
                      <a:pt x="284" y="14"/>
                    </a:lnTo>
                    <a:lnTo>
                      <a:pt x="284" y="15"/>
                    </a:lnTo>
                    <a:lnTo>
                      <a:pt x="283" y="15"/>
                    </a:lnTo>
                    <a:lnTo>
                      <a:pt x="283" y="16"/>
                    </a:lnTo>
                    <a:lnTo>
                      <a:pt x="283" y="17"/>
                    </a:lnTo>
                    <a:lnTo>
                      <a:pt x="282" y="16"/>
                    </a:lnTo>
                    <a:lnTo>
                      <a:pt x="281" y="17"/>
                    </a:lnTo>
                    <a:lnTo>
                      <a:pt x="281" y="16"/>
                    </a:lnTo>
                    <a:lnTo>
                      <a:pt x="280" y="16"/>
                    </a:lnTo>
                    <a:lnTo>
                      <a:pt x="279" y="16"/>
                    </a:lnTo>
                    <a:lnTo>
                      <a:pt x="279" y="17"/>
                    </a:lnTo>
                    <a:lnTo>
                      <a:pt x="280" y="18"/>
                    </a:lnTo>
                    <a:lnTo>
                      <a:pt x="279" y="19"/>
                    </a:lnTo>
                    <a:lnTo>
                      <a:pt x="278" y="19"/>
                    </a:lnTo>
                    <a:lnTo>
                      <a:pt x="277" y="18"/>
                    </a:lnTo>
                    <a:lnTo>
                      <a:pt x="276" y="18"/>
                    </a:lnTo>
                    <a:lnTo>
                      <a:pt x="275" y="18"/>
                    </a:lnTo>
                    <a:lnTo>
                      <a:pt x="275" y="19"/>
                    </a:lnTo>
                    <a:lnTo>
                      <a:pt x="273" y="19"/>
                    </a:lnTo>
                    <a:lnTo>
                      <a:pt x="273" y="18"/>
                    </a:lnTo>
                    <a:lnTo>
                      <a:pt x="272" y="18"/>
                    </a:lnTo>
                    <a:lnTo>
                      <a:pt x="272" y="19"/>
                    </a:lnTo>
                    <a:lnTo>
                      <a:pt x="273" y="20"/>
                    </a:lnTo>
                    <a:lnTo>
                      <a:pt x="273" y="22"/>
                    </a:lnTo>
                    <a:lnTo>
                      <a:pt x="272" y="23"/>
                    </a:lnTo>
                    <a:lnTo>
                      <a:pt x="270" y="23"/>
                    </a:lnTo>
                    <a:lnTo>
                      <a:pt x="269" y="23"/>
                    </a:lnTo>
                    <a:lnTo>
                      <a:pt x="269" y="24"/>
                    </a:lnTo>
                    <a:lnTo>
                      <a:pt x="269" y="25"/>
                    </a:lnTo>
                    <a:lnTo>
                      <a:pt x="268" y="26"/>
                    </a:lnTo>
                    <a:lnTo>
                      <a:pt x="268" y="27"/>
                    </a:lnTo>
                    <a:lnTo>
                      <a:pt x="269" y="27"/>
                    </a:lnTo>
                    <a:lnTo>
                      <a:pt x="269" y="28"/>
                    </a:lnTo>
                    <a:lnTo>
                      <a:pt x="268" y="28"/>
                    </a:lnTo>
                    <a:lnTo>
                      <a:pt x="267" y="28"/>
                    </a:lnTo>
                    <a:lnTo>
                      <a:pt x="267" y="29"/>
                    </a:lnTo>
                    <a:lnTo>
                      <a:pt x="266" y="29"/>
                    </a:lnTo>
                    <a:lnTo>
                      <a:pt x="265" y="29"/>
                    </a:lnTo>
                    <a:lnTo>
                      <a:pt x="264" y="30"/>
                    </a:lnTo>
                    <a:lnTo>
                      <a:pt x="264" y="31"/>
                    </a:lnTo>
                    <a:lnTo>
                      <a:pt x="263" y="32"/>
                    </a:lnTo>
                    <a:lnTo>
                      <a:pt x="262" y="32"/>
                    </a:lnTo>
                    <a:lnTo>
                      <a:pt x="260" y="32"/>
                    </a:lnTo>
                    <a:lnTo>
                      <a:pt x="260" y="33"/>
                    </a:lnTo>
                    <a:lnTo>
                      <a:pt x="262" y="33"/>
                    </a:lnTo>
                    <a:lnTo>
                      <a:pt x="262" y="35"/>
                    </a:lnTo>
                    <a:lnTo>
                      <a:pt x="259" y="33"/>
                    </a:lnTo>
                    <a:lnTo>
                      <a:pt x="259" y="35"/>
                    </a:lnTo>
                    <a:lnTo>
                      <a:pt x="258" y="35"/>
                    </a:lnTo>
                    <a:lnTo>
                      <a:pt x="258" y="36"/>
                    </a:lnTo>
                    <a:lnTo>
                      <a:pt x="257" y="36"/>
                    </a:lnTo>
                    <a:lnTo>
                      <a:pt x="257" y="37"/>
                    </a:lnTo>
                    <a:lnTo>
                      <a:pt x="258" y="37"/>
                    </a:lnTo>
                    <a:lnTo>
                      <a:pt x="258" y="38"/>
                    </a:lnTo>
                    <a:lnTo>
                      <a:pt x="258" y="39"/>
                    </a:lnTo>
                    <a:lnTo>
                      <a:pt x="257" y="39"/>
                    </a:lnTo>
                    <a:lnTo>
                      <a:pt x="255" y="38"/>
                    </a:lnTo>
                    <a:lnTo>
                      <a:pt x="254" y="38"/>
                    </a:lnTo>
                    <a:lnTo>
                      <a:pt x="254" y="39"/>
                    </a:lnTo>
                    <a:lnTo>
                      <a:pt x="255" y="40"/>
                    </a:lnTo>
                    <a:lnTo>
                      <a:pt x="255" y="41"/>
                    </a:lnTo>
                    <a:lnTo>
                      <a:pt x="254" y="42"/>
                    </a:lnTo>
                    <a:lnTo>
                      <a:pt x="253" y="42"/>
                    </a:lnTo>
                    <a:lnTo>
                      <a:pt x="253" y="43"/>
                    </a:lnTo>
                    <a:lnTo>
                      <a:pt x="254" y="43"/>
                    </a:lnTo>
                    <a:lnTo>
                      <a:pt x="254" y="42"/>
                    </a:lnTo>
                    <a:lnTo>
                      <a:pt x="255" y="43"/>
                    </a:lnTo>
                    <a:lnTo>
                      <a:pt x="255" y="44"/>
                    </a:lnTo>
                    <a:lnTo>
                      <a:pt x="254" y="44"/>
                    </a:lnTo>
                    <a:lnTo>
                      <a:pt x="254" y="45"/>
                    </a:lnTo>
                    <a:lnTo>
                      <a:pt x="253" y="45"/>
                    </a:lnTo>
                    <a:lnTo>
                      <a:pt x="252" y="45"/>
                    </a:lnTo>
                    <a:lnTo>
                      <a:pt x="251" y="45"/>
                    </a:lnTo>
                    <a:lnTo>
                      <a:pt x="251" y="44"/>
                    </a:lnTo>
                    <a:lnTo>
                      <a:pt x="250" y="44"/>
                    </a:lnTo>
                    <a:lnTo>
                      <a:pt x="250" y="45"/>
                    </a:lnTo>
                    <a:lnTo>
                      <a:pt x="249" y="46"/>
                    </a:lnTo>
                    <a:lnTo>
                      <a:pt x="249" y="48"/>
                    </a:lnTo>
                    <a:lnTo>
                      <a:pt x="247" y="48"/>
                    </a:lnTo>
                    <a:lnTo>
                      <a:pt x="247" y="49"/>
                    </a:lnTo>
                    <a:lnTo>
                      <a:pt x="249" y="49"/>
                    </a:lnTo>
                    <a:lnTo>
                      <a:pt x="249" y="50"/>
                    </a:lnTo>
                    <a:close/>
                  </a:path>
                </a:pathLst>
              </a:custGeom>
              <a:solidFill>
                <a:srgbClr val="4D9F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2" name="Freeform 290">
                <a:extLst>
                  <a:ext uri="{FF2B5EF4-FFF2-40B4-BE49-F238E27FC236}">
                    <a16:creationId xmlns:a16="http://schemas.microsoft.com/office/drawing/2014/main" id="{3CDD570A-64C6-A42A-9A68-61BA4A7B71B9}"/>
                  </a:ext>
                </a:extLst>
              </p:cNvPr>
              <p:cNvSpPr>
                <a:spLocks/>
              </p:cNvSpPr>
              <p:nvPr/>
            </p:nvSpPr>
            <p:spPr bwMode="auto">
              <a:xfrm>
                <a:off x="4111626" y="3840163"/>
                <a:ext cx="574675" cy="534988"/>
              </a:xfrm>
              <a:custGeom>
                <a:avLst/>
                <a:gdLst>
                  <a:gd name="T0" fmla="*/ 260 w 362"/>
                  <a:gd name="T1" fmla="*/ 107 h 337"/>
                  <a:gd name="T2" fmla="*/ 267 w 362"/>
                  <a:gd name="T3" fmla="*/ 123 h 337"/>
                  <a:gd name="T4" fmla="*/ 268 w 362"/>
                  <a:gd name="T5" fmla="*/ 136 h 337"/>
                  <a:gd name="T6" fmla="*/ 270 w 362"/>
                  <a:gd name="T7" fmla="*/ 148 h 337"/>
                  <a:gd name="T8" fmla="*/ 275 w 362"/>
                  <a:gd name="T9" fmla="*/ 158 h 337"/>
                  <a:gd name="T10" fmla="*/ 286 w 362"/>
                  <a:gd name="T11" fmla="*/ 164 h 337"/>
                  <a:gd name="T12" fmla="*/ 288 w 362"/>
                  <a:gd name="T13" fmla="*/ 170 h 337"/>
                  <a:gd name="T14" fmla="*/ 295 w 362"/>
                  <a:gd name="T15" fmla="*/ 182 h 337"/>
                  <a:gd name="T16" fmla="*/ 300 w 362"/>
                  <a:gd name="T17" fmla="*/ 197 h 337"/>
                  <a:gd name="T18" fmla="*/ 306 w 362"/>
                  <a:gd name="T19" fmla="*/ 208 h 337"/>
                  <a:gd name="T20" fmla="*/ 317 w 362"/>
                  <a:gd name="T21" fmla="*/ 218 h 337"/>
                  <a:gd name="T22" fmla="*/ 355 w 362"/>
                  <a:gd name="T23" fmla="*/ 262 h 337"/>
                  <a:gd name="T24" fmla="*/ 301 w 362"/>
                  <a:gd name="T25" fmla="*/ 281 h 337"/>
                  <a:gd name="T26" fmla="*/ 258 w 362"/>
                  <a:gd name="T27" fmla="*/ 324 h 337"/>
                  <a:gd name="T28" fmla="*/ 234 w 362"/>
                  <a:gd name="T29" fmla="*/ 309 h 337"/>
                  <a:gd name="T30" fmla="*/ 218 w 362"/>
                  <a:gd name="T31" fmla="*/ 300 h 337"/>
                  <a:gd name="T32" fmla="*/ 200 w 362"/>
                  <a:gd name="T33" fmla="*/ 311 h 337"/>
                  <a:gd name="T34" fmla="*/ 193 w 362"/>
                  <a:gd name="T35" fmla="*/ 322 h 337"/>
                  <a:gd name="T36" fmla="*/ 183 w 362"/>
                  <a:gd name="T37" fmla="*/ 337 h 337"/>
                  <a:gd name="T38" fmla="*/ 171 w 362"/>
                  <a:gd name="T39" fmla="*/ 330 h 337"/>
                  <a:gd name="T40" fmla="*/ 164 w 362"/>
                  <a:gd name="T41" fmla="*/ 316 h 337"/>
                  <a:gd name="T42" fmla="*/ 159 w 362"/>
                  <a:gd name="T43" fmla="*/ 308 h 337"/>
                  <a:gd name="T44" fmla="*/ 153 w 362"/>
                  <a:gd name="T45" fmla="*/ 295 h 337"/>
                  <a:gd name="T46" fmla="*/ 143 w 362"/>
                  <a:gd name="T47" fmla="*/ 290 h 337"/>
                  <a:gd name="T48" fmla="*/ 132 w 362"/>
                  <a:gd name="T49" fmla="*/ 286 h 337"/>
                  <a:gd name="T50" fmla="*/ 124 w 362"/>
                  <a:gd name="T51" fmla="*/ 277 h 337"/>
                  <a:gd name="T52" fmla="*/ 125 w 362"/>
                  <a:gd name="T53" fmla="*/ 262 h 337"/>
                  <a:gd name="T54" fmla="*/ 113 w 362"/>
                  <a:gd name="T55" fmla="*/ 265 h 337"/>
                  <a:gd name="T56" fmla="*/ 108 w 362"/>
                  <a:gd name="T57" fmla="*/ 254 h 337"/>
                  <a:gd name="T58" fmla="*/ 102 w 362"/>
                  <a:gd name="T59" fmla="*/ 245 h 337"/>
                  <a:gd name="T60" fmla="*/ 93 w 362"/>
                  <a:gd name="T61" fmla="*/ 233 h 337"/>
                  <a:gd name="T62" fmla="*/ 83 w 362"/>
                  <a:gd name="T63" fmla="*/ 224 h 337"/>
                  <a:gd name="T64" fmla="*/ 73 w 362"/>
                  <a:gd name="T65" fmla="*/ 218 h 337"/>
                  <a:gd name="T66" fmla="*/ 64 w 362"/>
                  <a:gd name="T67" fmla="*/ 215 h 337"/>
                  <a:gd name="T68" fmla="*/ 52 w 362"/>
                  <a:gd name="T69" fmla="*/ 210 h 337"/>
                  <a:gd name="T70" fmla="*/ 46 w 362"/>
                  <a:gd name="T71" fmla="*/ 207 h 337"/>
                  <a:gd name="T72" fmla="*/ 35 w 362"/>
                  <a:gd name="T73" fmla="*/ 201 h 337"/>
                  <a:gd name="T74" fmla="*/ 31 w 362"/>
                  <a:gd name="T75" fmla="*/ 196 h 337"/>
                  <a:gd name="T76" fmla="*/ 30 w 362"/>
                  <a:gd name="T77" fmla="*/ 185 h 337"/>
                  <a:gd name="T78" fmla="*/ 15 w 362"/>
                  <a:gd name="T79" fmla="*/ 185 h 337"/>
                  <a:gd name="T80" fmla="*/ 18 w 362"/>
                  <a:gd name="T81" fmla="*/ 175 h 337"/>
                  <a:gd name="T82" fmla="*/ 12 w 362"/>
                  <a:gd name="T83" fmla="*/ 163 h 337"/>
                  <a:gd name="T84" fmla="*/ 11 w 362"/>
                  <a:gd name="T85" fmla="*/ 151 h 337"/>
                  <a:gd name="T86" fmla="*/ 6 w 362"/>
                  <a:gd name="T87" fmla="*/ 141 h 337"/>
                  <a:gd name="T88" fmla="*/ 11 w 362"/>
                  <a:gd name="T89" fmla="*/ 128 h 337"/>
                  <a:gd name="T90" fmla="*/ 12 w 362"/>
                  <a:gd name="T91" fmla="*/ 117 h 337"/>
                  <a:gd name="T92" fmla="*/ 11 w 362"/>
                  <a:gd name="T93" fmla="*/ 106 h 337"/>
                  <a:gd name="T94" fmla="*/ 8 w 362"/>
                  <a:gd name="T95" fmla="*/ 93 h 337"/>
                  <a:gd name="T96" fmla="*/ 5 w 362"/>
                  <a:gd name="T97" fmla="*/ 84 h 337"/>
                  <a:gd name="T98" fmla="*/ 9 w 362"/>
                  <a:gd name="T99" fmla="*/ 74 h 337"/>
                  <a:gd name="T100" fmla="*/ 11 w 362"/>
                  <a:gd name="T101" fmla="*/ 60 h 337"/>
                  <a:gd name="T102" fmla="*/ 4 w 362"/>
                  <a:gd name="T103" fmla="*/ 52 h 337"/>
                  <a:gd name="T104" fmla="*/ 7 w 362"/>
                  <a:gd name="T105" fmla="*/ 42 h 337"/>
                  <a:gd name="T106" fmla="*/ 16 w 362"/>
                  <a:gd name="T107" fmla="*/ 38 h 337"/>
                  <a:gd name="T108" fmla="*/ 20 w 362"/>
                  <a:gd name="T109" fmla="*/ 37 h 337"/>
                  <a:gd name="T110" fmla="*/ 27 w 362"/>
                  <a:gd name="T111" fmla="*/ 30 h 337"/>
                  <a:gd name="T112" fmla="*/ 34 w 362"/>
                  <a:gd name="T113" fmla="*/ 26 h 337"/>
                  <a:gd name="T114" fmla="*/ 33 w 362"/>
                  <a:gd name="T115" fmla="*/ 17 h 337"/>
                  <a:gd name="T116" fmla="*/ 45 w 362"/>
                  <a:gd name="T117" fmla="*/ 7 h 337"/>
                  <a:gd name="T118" fmla="*/ 86 w 362"/>
                  <a:gd name="T119" fmla="*/ 1 h 337"/>
                  <a:gd name="T120" fmla="*/ 260 w 362"/>
                  <a:gd name="T12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2" h="337">
                    <a:moveTo>
                      <a:pt x="260" y="0"/>
                    </a:moveTo>
                    <a:lnTo>
                      <a:pt x="260" y="18"/>
                    </a:lnTo>
                    <a:lnTo>
                      <a:pt x="260" y="27"/>
                    </a:lnTo>
                    <a:lnTo>
                      <a:pt x="260" y="44"/>
                    </a:lnTo>
                    <a:lnTo>
                      <a:pt x="260" y="46"/>
                    </a:lnTo>
                    <a:lnTo>
                      <a:pt x="260" y="52"/>
                    </a:lnTo>
                    <a:lnTo>
                      <a:pt x="260" y="60"/>
                    </a:lnTo>
                    <a:lnTo>
                      <a:pt x="260" y="68"/>
                    </a:lnTo>
                    <a:lnTo>
                      <a:pt x="260" y="78"/>
                    </a:lnTo>
                    <a:lnTo>
                      <a:pt x="260" y="84"/>
                    </a:lnTo>
                    <a:lnTo>
                      <a:pt x="260" y="85"/>
                    </a:lnTo>
                    <a:lnTo>
                      <a:pt x="260" y="89"/>
                    </a:lnTo>
                    <a:lnTo>
                      <a:pt x="260" y="90"/>
                    </a:lnTo>
                    <a:lnTo>
                      <a:pt x="260" y="98"/>
                    </a:lnTo>
                    <a:lnTo>
                      <a:pt x="260" y="104"/>
                    </a:lnTo>
                    <a:lnTo>
                      <a:pt x="260" y="107"/>
                    </a:lnTo>
                    <a:lnTo>
                      <a:pt x="260" y="111"/>
                    </a:lnTo>
                    <a:lnTo>
                      <a:pt x="260" y="116"/>
                    </a:lnTo>
                    <a:lnTo>
                      <a:pt x="261" y="116"/>
                    </a:lnTo>
                    <a:lnTo>
                      <a:pt x="262" y="117"/>
                    </a:lnTo>
                    <a:lnTo>
                      <a:pt x="262" y="118"/>
                    </a:lnTo>
                    <a:lnTo>
                      <a:pt x="263" y="118"/>
                    </a:lnTo>
                    <a:lnTo>
                      <a:pt x="264" y="118"/>
                    </a:lnTo>
                    <a:lnTo>
                      <a:pt x="265" y="118"/>
                    </a:lnTo>
                    <a:lnTo>
                      <a:pt x="266" y="118"/>
                    </a:lnTo>
                    <a:lnTo>
                      <a:pt x="266" y="119"/>
                    </a:lnTo>
                    <a:lnTo>
                      <a:pt x="265" y="120"/>
                    </a:lnTo>
                    <a:lnTo>
                      <a:pt x="265" y="121"/>
                    </a:lnTo>
                    <a:lnTo>
                      <a:pt x="265" y="122"/>
                    </a:lnTo>
                    <a:lnTo>
                      <a:pt x="265" y="123"/>
                    </a:lnTo>
                    <a:lnTo>
                      <a:pt x="266" y="123"/>
                    </a:lnTo>
                    <a:lnTo>
                      <a:pt x="267" y="123"/>
                    </a:lnTo>
                    <a:lnTo>
                      <a:pt x="267" y="124"/>
                    </a:lnTo>
                    <a:lnTo>
                      <a:pt x="268" y="124"/>
                    </a:lnTo>
                    <a:lnTo>
                      <a:pt x="268" y="125"/>
                    </a:lnTo>
                    <a:lnTo>
                      <a:pt x="267" y="127"/>
                    </a:lnTo>
                    <a:lnTo>
                      <a:pt x="268" y="127"/>
                    </a:lnTo>
                    <a:lnTo>
                      <a:pt x="268" y="128"/>
                    </a:lnTo>
                    <a:lnTo>
                      <a:pt x="270" y="129"/>
                    </a:lnTo>
                    <a:lnTo>
                      <a:pt x="271" y="130"/>
                    </a:lnTo>
                    <a:lnTo>
                      <a:pt x="270" y="130"/>
                    </a:lnTo>
                    <a:lnTo>
                      <a:pt x="270" y="131"/>
                    </a:lnTo>
                    <a:lnTo>
                      <a:pt x="270" y="132"/>
                    </a:lnTo>
                    <a:lnTo>
                      <a:pt x="270" y="133"/>
                    </a:lnTo>
                    <a:lnTo>
                      <a:pt x="268" y="133"/>
                    </a:lnTo>
                    <a:lnTo>
                      <a:pt x="268" y="134"/>
                    </a:lnTo>
                    <a:lnTo>
                      <a:pt x="268" y="135"/>
                    </a:lnTo>
                    <a:lnTo>
                      <a:pt x="268" y="136"/>
                    </a:lnTo>
                    <a:lnTo>
                      <a:pt x="270" y="137"/>
                    </a:lnTo>
                    <a:lnTo>
                      <a:pt x="268" y="137"/>
                    </a:lnTo>
                    <a:lnTo>
                      <a:pt x="270" y="137"/>
                    </a:lnTo>
                    <a:lnTo>
                      <a:pt x="270" y="138"/>
                    </a:lnTo>
                    <a:lnTo>
                      <a:pt x="270" y="140"/>
                    </a:lnTo>
                    <a:lnTo>
                      <a:pt x="271" y="140"/>
                    </a:lnTo>
                    <a:lnTo>
                      <a:pt x="271" y="141"/>
                    </a:lnTo>
                    <a:lnTo>
                      <a:pt x="271" y="142"/>
                    </a:lnTo>
                    <a:lnTo>
                      <a:pt x="272" y="143"/>
                    </a:lnTo>
                    <a:lnTo>
                      <a:pt x="273" y="143"/>
                    </a:lnTo>
                    <a:lnTo>
                      <a:pt x="273" y="144"/>
                    </a:lnTo>
                    <a:lnTo>
                      <a:pt x="272" y="145"/>
                    </a:lnTo>
                    <a:lnTo>
                      <a:pt x="272" y="146"/>
                    </a:lnTo>
                    <a:lnTo>
                      <a:pt x="271" y="146"/>
                    </a:lnTo>
                    <a:lnTo>
                      <a:pt x="270" y="147"/>
                    </a:lnTo>
                    <a:lnTo>
                      <a:pt x="270" y="148"/>
                    </a:lnTo>
                    <a:lnTo>
                      <a:pt x="271" y="148"/>
                    </a:lnTo>
                    <a:lnTo>
                      <a:pt x="271" y="149"/>
                    </a:lnTo>
                    <a:lnTo>
                      <a:pt x="272" y="149"/>
                    </a:lnTo>
                    <a:lnTo>
                      <a:pt x="272" y="150"/>
                    </a:lnTo>
                    <a:lnTo>
                      <a:pt x="273" y="150"/>
                    </a:lnTo>
                    <a:lnTo>
                      <a:pt x="273" y="151"/>
                    </a:lnTo>
                    <a:lnTo>
                      <a:pt x="273" y="153"/>
                    </a:lnTo>
                    <a:lnTo>
                      <a:pt x="273" y="154"/>
                    </a:lnTo>
                    <a:lnTo>
                      <a:pt x="273" y="155"/>
                    </a:lnTo>
                    <a:lnTo>
                      <a:pt x="272" y="155"/>
                    </a:lnTo>
                    <a:lnTo>
                      <a:pt x="272" y="156"/>
                    </a:lnTo>
                    <a:lnTo>
                      <a:pt x="273" y="156"/>
                    </a:lnTo>
                    <a:lnTo>
                      <a:pt x="273" y="157"/>
                    </a:lnTo>
                    <a:lnTo>
                      <a:pt x="274" y="157"/>
                    </a:lnTo>
                    <a:lnTo>
                      <a:pt x="275" y="157"/>
                    </a:lnTo>
                    <a:lnTo>
                      <a:pt x="275" y="158"/>
                    </a:lnTo>
                    <a:lnTo>
                      <a:pt x="276" y="159"/>
                    </a:lnTo>
                    <a:lnTo>
                      <a:pt x="277" y="159"/>
                    </a:lnTo>
                    <a:lnTo>
                      <a:pt x="278" y="159"/>
                    </a:lnTo>
                    <a:lnTo>
                      <a:pt x="278" y="160"/>
                    </a:lnTo>
                    <a:lnTo>
                      <a:pt x="279" y="161"/>
                    </a:lnTo>
                    <a:lnTo>
                      <a:pt x="279" y="162"/>
                    </a:lnTo>
                    <a:lnTo>
                      <a:pt x="279" y="163"/>
                    </a:lnTo>
                    <a:lnTo>
                      <a:pt x="280" y="163"/>
                    </a:lnTo>
                    <a:lnTo>
                      <a:pt x="280" y="162"/>
                    </a:lnTo>
                    <a:lnTo>
                      <a:pt x="280" y="163"/>
                    </a:lnTo>
                    <a:lnTo>
                      <a:pt x="280" y="164"/>
                    </a:lnTo>
                    <a:lnTo>
                      <a:pt x="282" y="164"/>
                    </a:lnTo>
                    <a:lnTo>
                      <a:pt x="283" y="164"/>
                    </a:lnTo>
                    <a:lnTo>
                      <a:pt x="284" y="164"/>
                    </a:lnTo>
                    <a:lnTo>
                      <a:pt x="285" y="164"/>
                    </a:lnTo>
                    <a:lnTo>
                      <a:pt x="286" y="164"/>
                    </a:lnTo>
                    <a:lnTo>
                      <a:pt x="286" y="166"/>
                    </a:lnTo>
                    <a:lnTo>
                      <a:pt x="287" y="166"/>
                    </a:lnTo>
                    <a:lnTo>
                      <a:pt x="287" y="167"/>
                    </a:lnTo>
                    <a:lnTo>
                      <a:pt x="286" y="167"/>
                    </a:lnTo>
                    <a:lnTo>
                      <a:pt x="287" y="167"/>
                    </a:lnTo>
                    <a:lnTo>
                      <a:pt x="287" y="168"/>
                    </a:lnTo>
                    <a:lnTo>
                      <a:pt x="288" y="168"/>
                    </a:lnTo>
                    <a:lnTo>
                      <a:pt x="288" y="167"/>
                    </a:lnTo>
                    <a:lnTo>
                      <a:pt x="289" y="167"/>
                    </a:lnTo>
                    <a:lnTo>
                      <a:pt x="289" y="168"/>
                    </a:lnTo>
                    <a:lnTo>
                      <a:pt x="289" y="169"/>
                    </a:lnTo>
                    <a:lnTo>
                      <a:pt x="289" y="170"/>
                    </a:lnTo>
                    <a:lnTo>
                      <a:pt x="288" y="170"/>
                    </a:lnTo>
                    <a:lnTo>
                      <a:pt x="288" y="169"/>
                    </a:lnTo>
                    <a:lnTo>
                      <a:pt x="287" y="170"/>
                    </a:lnTo>
                    <a:lnTo>
                      <a:pt x="288" y="170"/>
                    </a:lnTo>
                    <a:lnTo>
                      <a:pt x="288" y="171"/>
                    </a:lnTo>
                    <a:lnTo>
                      <a:pt x="289" y="171"/>
                    </a:lnTo>
                    <a:lnTo>
                      <a:pt x="290" y="171"/>
                    </a:lnTo>
                    <a:lnTo>
                      <a:pt x="291" y="172"/>
                    </a:lnTo>
                    <a:lnTo>
                      <a:pt x="291" y="173"/>
                    </a:lnTo>
                    <a:lnTo>
                      <a:pt x="292" y="173"/>
                    </a:lnTo>
                    <a:lnTo>
                      <a:pt x="292" y="174"/>
                    </a:lnTo>
                    <a:lnTo>
                      <a:pt x="291" y="174"/>
                    </a:lnTo>
                    <a:lnTo>
                      <a:pt x="291" y="175"/>
                    </a:lnTo>
                    <a:lnTo>
                      <a:pt x="292" y="175"/>
                    </a:lnTo>
                    <a:lnTo>
                      <a:pt x="292" y="176"/>
                    </a:lnTo>
                    <a:lnTo>
                      <a:pt x="292" y="179"/>
                    </a:lnTo>
                    <a:lnTo>
                      <a:pt x="293" y="180"/>
                    </a:lnTo>
                    <a:lnTo>
                      <a:pt x="293" y="181"/>
                    </a:lnTo>
                    <a:lnTo>
                      <a:pt x="295" y="181"/>
                    </a:lnTo>
                    <a:lnTo>
                      <a:pt x="295" y="182"/>
                    </a:lnTo>
                    <a:lnTo>
                      <a:pt x="293" y="182"/>
                    </a:lnTo>
                    <a:lnTo>
                      <a:pt x="292" y="182"/>
                    </a:lnTo>
                    <a:lnTo>
                      <a:pt x="291" y="183"/>
                    </a:lnTo>
                    <a:lnTo>
                      <a:pt x="291" y="184"/>
                    </a:lnTo>
                    <a:lnTo>
                      <a:pt x="295" y="186"/>
                    </a:lnTo>
                    <a:lnTo>
                      <a:pt x="296" y="186"/>
                    </a:lnTo>
                    <a:lnTo>
                      <a:pt x="297" y="186"/>
                    </a:lnTo>
                    <a:lnTo>
                      <a:pt x="298" y="186"/>
                    </a:lnTo>
                    <a:lnTo>
                      <a:pt x="298" y="185"/>
                    </a:lnTo>
                    <a:lnTo>
                      <a:pt x="299" y="186"/>
                    </a:lnTo>
                    <a:lnTo>
                      <a:pt x="300" y="189"/>
                    </a:lnTo>
                    <a:lnTo>
                      <a:pt x="300" y="191"/>
                    </a:lnTo>
                    <a:lnTo>
                      <a:pt x="300" y="193"/>
                    </a:lnTo>
                    <a:lnTo>
                      <a:pt x="301" y="195"/>
                    </a:lnTo>
                    <a:lnTo>
                      <a:pt x="301" y="196"/>
                    </a:lnTo>
                    <a:lnTo>
                      <a:pt x="300" y="197"/>
                    </a:lnTo>
                    <a:lnTo>
                      <a:pt x="299" y="198"/>
                    </a:lnTo>
                    <a:lnTo>
                      <a:pt x="298" y="199"/>
                    </a:lnTo>
                    <a:lnTo>
                      <a:pt x="298" y="200"/>
                    </a:lnTo>
                    <a:lnTo>
                      <a:pt x="299" y="200"/>
                    </a:lnTo>
                    <a:lnTo>
                      <a:pt x="299" y="201"/>
                    </a:lnTo>
                    <a:lnTo>
                      <a:pt x="299" y="202"/>
                    </a:lnTo>
                    <a:lnTo>
                      <a:pt x="299" y="204"/>
                    </a:lnTo>
                    <a:lnTo>
                      <a:pt x="299" y="205"/>
                    </a:lnTo>
                    <a:lnTo>
                      <a:pt x="300" y="205"/>
                    </a:lnTo>
                    <a:lnTo>
                      <a:pt x="304" y="202"/>
                    </a:lnTo>
                    <a:lnTo>
                      <a:pt x="304" y="201"/>
                    </a:lnTo>
                    <a:lnTo>
                      <a:pt x="305" y="201"/>
                    </a:lnTo>
                    <a:lnTo>
                      <a:pt x="308" y="204"/>
                    </a:lnTo>
                    <a:lnTo>
                      <a:pt x="308" y="205"/>
                    </a:lnTo>
                    <a:lnTo>
                      <a:pt x="308" y="207"/>
                    </a:lnTo>
                    <a:lnTo>
                      <a:pt x="306" y="208"/>
                    </a:lnTo>
                    <a:lnTo>
                      <a:pt x="306" y="209"/>
                    </a:lnTo>
                    <a:lnTo>
                      <a:pt x="308" y="209"/>
                    </a:lnTo>
                    <a:lnTo>
                      <a:pt x="309" y="209"/>
                    </a:lnTo>
                    <a:lnTo>
                      <a:pt x="311" y="208"/>
                    </a:lnTo>
                    <a:lnTo>
                      <a:pt x="312" y="208"/>
                    </a:lnTo>
                    <a:lnTo>
                      <a:pt x="313" y="208"/>
                    </a:lnTo>
                    <a:lnTo>
                      <a:pt x="314" y="208"/>
                    </a:lnTo>
                    <a:lnTo>
                      <a:pt x="314" y="209"/>
                    </a:lnTo>
                    <a:lnTo>
                      <a:pt x="315" y="210"/>
                    </a:lnTo>
                    <a:lnTo>
                      <a:pt x="315" y="211"/>
                    </a:lnTo>
                    <a:lnTo>
                      <a:pt x="315" y="212"/>
                    </a:lnTo>
                    <a:lnTo>
                      <a:pt x="316" y="213"/>
                    </a:lnTo>
                    <a:lnTo>
                      <a:pt x="316" y="214"/>
                    </a:lnTo>
                    <a:lnTo>
                      <a:pt x="317" y="215"/>
                    </a:lnTo>
                    <a:lnTo>
                      <a:pt x="317" y="217"/>
                    </a:lnTo>
                    <a:lnTo>
                      <a:pt x="317" y="218"/>
                    </a:lnTo>
                    <a:lnTo>
                      <a:pt x="316" y="219"/>
                    </a:lnTo>
                    <a:lnTo>
                      <a:pt x="316" y="220"/>
                    </a:lnTo>
                    <a:lnTo>
                      <a:pt x="316" y="221"/>
                    </a:lnTo>
                    <a:lnTo>
                      <a:pt x="316" y="222"/>
                    </a:lnTo>
                    <a:lnTo>
                      <a:pt x="316" y="223"/>
                    </a:lnTo>
                    <a:lnTo>
                      <a:pt x="336" y="246"/>
                    </a:lnTo>
                    <a:lnTo>
                      <a:pt x="338" y="247"/>
                    </a:lnTo>
                    <a:lnTo>
                      <a:pt x="340" y="249"/>
                    </a:lnTo>
                    <a:lnTo>
                      <a:pt x="343" y="252"/>
                    </a:lnTo>
                    <a:lnTo>
                      <a:pt x="350" y="256"/>
                    </a:lnTo>
                    <a:lnTo>
                      <a:pt x="360" y="259"/>
                    </a:lnTo>
                    <a:lnTo>
                      <a:pt x="361" y="259"/>
                    </a:lnTo>
                    <a:lnTo>
                      <a:pt x="362" y="259"/>
                    </a:lnTo>
                    <a:lnTo>
                      <a:pt x="360" y="260"/>
                    </a:lnTo>
                    <a:lnTo>
                      <a:pt x="356" y="262"/>
                    </a:lnTo>
                    <a:lnTo>
                      <a:pt x="355" y="262"/>
                    </a:lnTo>
                    <a:lnTo>
                      <a:pt x="354" y="262"/>
                    </a:lnTo>
                    <a:lnTo>
                      <a:pt x="351" y="263"/>
                    </a:lnTo>
                    <a:lnTo>
                      <a:pt x="347" y="264"/>
                    </a:lnTo>
                    <a:lnTo>
                      <a:pt x="343" y="264"/>
                    </a:lnTo>
                    <a:lnTo>
                      <a:pt x="340" y="265"/>
                    </a:lnTo>
                    <a:lnTo>
                      <a:pt x="335" y="265"/>
                    </a:lnTo>
                    <a:lnTo>
                      <a:pt x="329" y="268"/>
                    </a:lnTo>
                    <a:lnTo>
                      <a:pt x="325" y="269"/>
                    </a:lnTo>
                    <a:lnTo>
                      <a:pt x="319" y="271"/>
                    </a:lnTo>
                    <a:lnTo>
                      <a:pt x="316" y="272"/>
                    </a:lnTo>
                    <a:lnTo>
                      <a:pt x="312" y="274"/>
                    </a:lnTo>
                    <a:lnTo>
                      <a:pt x="308" y="276"/>
                    </a:lnTo>
                    <a:lnTo>
                      <a:pt x="305" y="277"/>
                    </a:lnTo>
                    <a:lnTo>
                      <a:pt x="303" y="279"/>
                    </a:lnTo>
                    <a:lnTo>
                      <a:pt x="302" y="281"/>
                    </a:lnTo>
                    <a:lnTo>
                      <a:pt x="301" y="281"/>
                    </a:lnTo>
                    <a:lnTo>
                      <a:pt x="301" y="282"/>
                    </a:lnTo>
                    <a:lnTo>
                      <a:pt x="300" y="283"/>
                    </a:lnTo>
                    <a:lnTo>
                      <a:pt x="291" y="298"/>
                    </a:lnTo>
                    <a:lnTo>
                      <a:pt x="287" y="305"/>
                    </a:lnTo>
                    <a:lnTo>
                      <a:pt x="285" y="309"/>
                    </a:lnTo>
                    <a:lnTo>
                      <a:pt x="283" y="312"/>
                    </a:lnTo>
                    <a:lnTo>
                      <a:pt x="280" y="315"/>
                    </a:lnTo>
                    <a:lnTo>
                      <a:pt x="277" y="317"/>
                    </a:lnTo>
                    <a:lnTo>
                      <a:pt x="275" y="320"/>
                    </a:lnTo>
                    <a:lnTo>
                      <a:pt x="272" y="321"/>
                    </a:lnTo>
                    <a:lnTo>
                      <a:pt x="270" y="322"/>
                    </a:lnTo>
                    <a:lnTo>
                      <a:pt x="267" y="323"/>
                    </a:lnTo>
                    <a:lnTo>
                      <a:pt x="265" y="324"/>
                    </a:lnTo>
                    <a:lnTo>
                      <a:pt x="262" y="324"/>
                    </a:lnTo>
                    <a:lnTo>
                      <a:pt x="260" y="324"/>
                    </a:lnTo>
                    <a:lnTo>
                      <a:pt x="258" y="324"/>
                    </a:lnTo>
                    <a:lnTo>
                      <a:pt x="257" y="324"/>
                    </a:lnTo>
                    <a:lnTo>
                      <a:pt x="253" y="323"/>
                    </a:lnTo>
                    <a:lnTo>
                      <a:pt x="251" y="321"/>
                    </a:lnTo>
                    <a:lnTo>
                      <a:pt x="250" y="320"/>
                    </a:lnTo>
                    <a:lnTo>
                      <a:pt x="248" y="318"/>
                    </a:lnTo>
                    <a:lnTo>
                      <a:pt x="245" y="314"/>
                    </a:lnTo>
                    <a:lnTo>
                      <a:pt x="244" y="313"/>
                    </a:lnTo>
                    <a:lnTo>
                      <a:pt x="242" y="310"/>
                    </a:lnTo>
                    <a:lnTo>
                      <a:pt x="241" y="309"/>
                    </a:lnTo>
                    <a:lnTo>
                      <a:pt x="240" y="308"/>
                    </a:lnTo>
                    <a:lnTo>
                      <a:pt x="239" y="308"/>
                    </a:lnTo>
                    <a:lnTo>
                      <a:pt x="238" y="308"/>
                    </a:lnTo>
                    <a:lnTo>
                      <a:pt x="237" y="308"/>
                    </a:lnTo>
                    <a:lnTo>
                      <a:pt x="236" y="308"/>
                    </a:lnTo>
                    <a:lnTo>
                      <a:pt x="235" y="309"/>
                    </a:lnTo>
                    <a:lnTo>
                      <a:pt x="234" y="309"/>
                    </a:lnTo>
                    <a:lnTo>
                      <a:pt x="234" y="310"/>
                    </a:lnTo>
                    <a:lnTo>
                      <a:pt x="233" y="310"/>
                    </a:lnTo>
                    <a:lnTo>
                      <a:pt x="232" y="310"/>
                    </a:lnTo>
                    <a:lnTo>
                      <a:pt x="232" y="309"/>
                    </a:lnTo>
                    <a:lnTo>
                      <a:pt x="231" y="309"/>
                    </a:lnTo>
                    <a:lnTo>
                      <a:pt x="231" y="308"/>
                    </a:lnTo>
                    <a:lnTo>
                      <a:pt x="229" y="307"/>
                    </a:lnTo>
                    <a:lnTo>
                      <a:pt x="229" y="305"/>
                    </a:lnTo>
                    <a:lnTo>
                      <a:pt x="228" y="305"/>
                    </a:lnTo>
                    <a:lnTo>
                      <a:pt x="225" y="305"/>
                    </a:lnTo>
                    <a:lnTo>
                      <a:pt x="224" y="305"/>
                    </a:lnTo>
                    <a:lnTo>
                      <a:pt x="220" y="304"/>
                    </a:lnTo>
                    <a:lnTo>
                      <a:pt x="219" y="304"/>
                    </a:lnTo>
                    <a:lnTo>
                      <a:pt x="219" y="303"/>
                    </a:lnTo>
                    <a:lnTo>
                      <a:pt x="219" y="302"/>
                    </a:lnTo>
                    <a:lnTo>
                      <a:pt x="218" y="300"/>
                    </a:lnTo>
                    <a:lnTo>
                      <a:pt x="216" y="300"/>
                    </a:lnTo>
                    <a:lnTo>
                      <a:pt x="215" y="300"/>
                    </a:lnTo>
                    <a:lnTo>
                      <a:pt x="213" y="299"/>
                    </a:lnTo>
                    <a:lnTo>
                      <a:pt x="211" y="297"/>
                    </a:lnTo>
                    <a:lnTo>
                      <a:pt x="210" y="297"/>
                    </a:lnTo>
                    <a:lnTo>
                      <a:pt x="207" y="300"/>
                    </a:lnTo>
                    <a:lnTo>
                      <a:pt x="203" y="301"/>
                    </a:lnTo>
                    <a:lnTo>
                      <a:pt x="202" y="301"/>
                    </a:lnTo>
                    <a:lnTo>
                      <a:pt x="201" y="305"/>
                    </a:lnTo>
                    <a:lnTo>
                      <a:pt x="200" y="307"/>
                    </a:lnTo>
                    <a:lnTo>
                      <a:pt x="201" y="308"/>
                    </a:lnTo>
                    <a:lnTo>
                      <a:pt x="201" y="309"/>
                    </a:lnTo>
                    <a:lnTo>
                      <a:pt x="201" y="310"/>
                    </a:lnTo>
                    <a:lnTo>
                      <a:pt x="202" y="310"/>
                    </a:lnTo>
                    <a:lnTo>
                      <a:pt x="201" y="311"/>
                    </a:lnTo>
                    <a:lnTo>
                      <a:pt x="200" y="311"/>
                    </a:lnTo>
                    <a:lnTo>
                      <a:pt x="199" y="309"/>
                    </a:lnTo>
                    <a:lnTo>
                      <a:pt x="198" y="309"/>
                    </a:lnTo>
                    <a:lnTo>
                      <a:pt x="197" y="309"/>
                    </a:lnTo>
                    <a:lnTo>
                      <a:pt x="196" y="310"/>
                    </a:lnTo>
                    <a:lnTo>
                      <a:pt x="194" y="311"/>
                    </a:lnTo>
                    <a:lnTo>
                      <a:pt x="192" y="313"/>
                    </a:lnTo>
                    <a:lnTo>
                      <a:pt x="192" y="314"/>
                    </a:lnTo>
                    <a:lnTo>
                      <a:pt x="192" y="315"/>
                    </a:lnTo>
                    <a:lnTo>
                      <a:pt x="192" y="316"/>
                    </a:lnTo>
                    <a:lnTo>
                      <a:pt x="193" y="317"/>
                    </a:lnTo>
                    <a:lnTo>
                      <a:pt x="194" y="318"/>
                    </a:lnTo>
                    <a:lnTo>
                      <a:pt x="195" y="320"/>
                    </a:lnTo>
                    <a:lnTo>
                      <a:pt x="195" y="321"/>
                    </a:lnTo>
                    <a:lnTo>
                      <a:pt x="195" y="322"/>
                    </a:lnTo>
                    <a:lnTo>
                      <a:pt x="194" y="322"/>
                    </a:lnTo>
                    <a:lnTo>
                      <a:pt x="193" y="322"/>
                    </a:lnTo>
                    <a:lnTo>
                      <a:pt x="193" y="323"/>
                    </a:lnTo>
                    <a:lnTo>
                      <a:pt x="192" y="324"/>
                    </a:lnTo>
                    <a:lnTo>
                      <a:pt x="193" y="324"/>
                    </a:lnTo>
                    <a:lnTo>
                      <a:pt x="193" y="325"/>
                    </a:lnTo>
                    <a:lnTo>
                      <a:pt x="192" y="326"/>
                    </a:lnTo>
                    <a:lnTo>
                      <a:pt x="190" y="326"/>
                    </a:lnTo>
                    <a:lnTo>
                      <a:pt x="189" y="327"/>
                    </a:lnTo>
                    <a:lnTo>
                      <a:pt x="189" y="328"/>
                    </a:lnTo>
                    <a:lnTo>
                      <a:pt x="189" y="330"/>
                    </a:lnTo>
                    <a:lnTo>
                      <a:pt x="188" y="331"/>
                    </a:lnTo>
                    <a:lnTo>
                      <a:pt x="188" y="333"/>
                    </a:lnTo>
                    <a:lnTo>
                      <a:pt x="187" y="334"/>
                    </a:lnTo>
                    <a:lnTo>
                      <a:pt x="186" y="335"/>
                    </a:lnTo>
                    <a:lnTo>
                      <a:pt x="185" y="336"/>
                    </a:lnTo>
                    <a:lnTo>
                      <a:pt x="184" y="337"/>
                    </a:lnTo>
                    <a:lnTo>
                      <a:pt x="183" y="337"/>
                    </a:lnTo>
                    <a:lnTo>
                      <a:pt x="182" y="337"/>
                    </a:lnTo>
                    <a:lnTo>
                      <a:pt x="181" y="337"/>
                    </a:lnTo>
                    <a:lnTo>
                      <a:pt x="180" y="337"/>
                    </a:lnTo>
                    <a:lnTo>
                      <a:pt x="179" y="337"/>
                    </a:lnTo>
                    <a:lnTo>
                      <a:pt x="179" y="336"/>
                    </a:lnTo>
                    <a:lnTo>
                      <a:pt x="179" y="335"/>
                    </a:lnTo>
                    <a:lnTo>
                      <a:pt x="177" y="334"/>
                    </a:lnTo>
                    <a:lnTo>
                      <a:pt x="177" y="333"/>
                    </a:lnTo>
                    <a:lnTo>
                      <a:pt x="177" y="331"/>
                    </a:lnTo>
                    <a:lnTo>
                      <a:pt x="176" y="329"/>
                    </a:lnTo>
                    <a:lnTo>
                      <a:pt x="175" y="329"/>
                    </a:lnTo>
                    <a:lnTo>
                      <a:pt x="174" y="329"/>
                    </a:lnTo>
                    <a:lnTo>
                      <a:pt x="173" y="329"/>
                    </a:lnTo>
                    <a:lnTo>
                      <a:pt x="173" y="330"/>
                    </a:lnTo>
                    <a:lnTo>
                      <a:pt x="172" y="330"/>
                    </a:lnTo>
                    <a:lnTo>
                      <a:pt x="171" y="330"/>
                    </a:lnTo>
                    <a:lnTo>
                      <a:pt x="170" y="329"/>
                    </a:lnTo>
                    <a:lnTo>
                      <a:pt x="169" y="329"/>
                    </a:lnTo>
                    <a:lnTo>
                      <a:pt x="169" y="328"/>
                    </a:lnTo>
                    <a:lnTo>
                      <a:pt x="168" y="328"/>
                    </a:lnTo>
                    <a:lnTo>
                      <a:pt x="168" y="327"/>
                    </a:lnTo>
                    <a:lnTo>
                      <a:pt x="167" y="327"/>
                    </a:lnTo>
                    <a:lnTo>
                      <a:pt x="167" y="325"/>
                    </a:lnTo>
                    <a:lnTo>
                      <a:pt x="167" y="324"/>
                    </a:lnTo>
                    <a:lnTo>
                      <a:pt x="167" y="323"/>
                    </a:lnTo>
                    <a:lnTo>
                      <a:pt x="167" y="322"/>
                    </a:lnTo>
                    <a:lnTo>
                      <a:pt x="167" y="321"/>
                    </a:lnTo>
                    <a:lnTo>
                      <a:pt x="166" y="320"/>
                    </a:lnTo>
                    <a:lnTo>
                      <a:pt x="164" y="320"/>
                    </a:lnTo>
                    <a:lnTo>
                      <a:pt x="164" y="318"/>
                    </a:lnTo>
                    <a:lnTo>
                      <a:pt x="164" y="317"/>
                    </a:lnTo>
                    <a:lnTo>
                      <a:pt x="164" y="316"/>
                    </a:lnTo>
                    <a:lnTo>
                      <a:pt x="164" y="315"/>
                    </a:lnTo>
                    <a:lnTo>
                      <a:pt x="163" y="314"/>
                    </a:lnTo>
                    <a:lnTo>
                      <a:pt x="163" y="313"/>
                    </a:lnTo>
                    <a:lnTo>
                      <a:pt x="162" y="312"/>
                    </a:lnTo>
                    <a:lnTo>
                      <a:pt x="161" y="312"/>
                    </a:lnTo>
                    <a:lnTo>
                      <a:pt x="161" y="311"/>
                    </a:lnTo>
                    <a:lnTo>
                      <a:pt x="160" y="311"/>
                    </a:lnTo>
                    <a:lnTo>
                      <a:pt x="159" y="311"/>
                    </a:lnTo>
                    <a:lnTo>
                      <a:pt x="159" y="312"/>
                    </a:lnTo>
                    <a:lnTo>
                      <a:pt x="158" y="312"/>
                    </a:lnTo>
                    <a:lnTo>
                      <a:pt x="157" y="311"/>
                    </a:lnTo>
                    <a:lnTo>
                      <a:pt x="157" y="310"/>
                    </a:lnTo>
                    <a:lnTo>
                      <a:pt x="157" y="309"/>
                    </a:lnTo>
                    <a:lnTo>
                      <a:pt x="158" y="309"/>
                    </a:lnTo>
                    <a:lnTo>
                      <a:pt x="159" y="309"/>
                    </a:lnTo>
                    <a:lnTo>
                      <a:pt x="159" y="308"/>
                    </a:lnTo>
                    <a:lnTo>
                      <a:pt x="159" y="307"/>
                    </a:lnTo>
                    <a:lnTo>
                      <a:pt x="159" y="305"/>
                    </a:lnTo>
                    <a:lnTo>
                      <a:pt x="159" y="304"/>
                    </a:lnTo>
                    <a:lnTo>
                      <a:pt x="158" y="303"/>
                    </a:lnTo>
                    <a:lnTo>
                      <a:pt x="157" y="303"/>
                    </a:lnTo>
                    <a:lnTo>
                      <a:pt x="158" y="302"/>
                    </a:lnTo>
                    <a:lnTo>
                      <a:pt x="157" y="302"/>
                    </a:lnTo>
                    <a:lnTo>
                      <a:pt x="156" y="302"/>
                    </a:lnTo>
                    <a:lnTo>
                      <a:pt x="155" y="301"/>
                    </a:lnTo>
                    <a:lnTo>
                      <a:pt x="155" y="300"/>
                    </a:lnTo>
                    <a:lnTo>
                      <a:pt x="154" y="300"/>
                    </a:lnTo>
                    <a:lnTo>
                      <a:pt x="154" y="299"/>
                    </a:lnTo>
                    <a:lnTo>
                      <a:pt x="153" y="298"/>
                    </a:lnTo>
                    <a:lnTo>
                      <a:pt x="153" y="297"/>
                    </a:lnTo>
                    <a:lnTo>
                      <a:pt x="153" y="296"/>
                    </a:lnTo>
                    <a:lnTo>
                      <a:pt x="153" y="295"/>
                    </a:lnTo>
                    <a:lnTo>
                      <a:pt x="153" y="294"/>
                    </a:lnTo>
                    <a:lnTo>
                      <a:pt x="153" y="295"/>
                    </a:lnTo>
                    <a:lnTo>
                      <a:pt x="151" y="295"/>
                    </a:lnTo>
                    <a:lnTo>
                      <a:pt x="150" y="294"/>
                    </a:lnTo>
                    <a:lnTo>
                      <a:pt x="149" y="294"/>
                    </a:lnTo>
                    <a:lnTo>
                      <a:pt x="149" y="292"/>
                    </a:lnTo>
                    <a:lnTo>
                      <a:pt x="148" y="291"/>
                    </a:lnTo>
                    <a:lnTo>
                      <a:pt x="148" y="290"/>
                    </a:lnTo>
                    <a:lnTo>
                      <a:pt x="147" y="290"/>
                    </a:lnTo>
                    <a:lnTo>
                      <a:pt x="146" y="290"/>
                    </a:lnTo>
                    <a:lnTo>
                      <a:pt x="146" y="291"/>
                    </a:lnTo>
                    <a:lnTo>
                      <a:pt x="146" y="290"/>
                    </a:lnTo>
                    <a:lnTo>
                      <a:pt x="145" y="290"/>
                    </a:lnTo>
                    <a:lnTo>
                      <a:pt x="145" y="291"/>
                    </a:lnTo>
                    <a:lnTo>
                      <a:pt x="144" y="290"/>
                    </a:lnTo>
                    <a:lnTo>
                      <a:pt x="143" y="290"/>
                    </a:lnTo>
                    <a:lnTo>
                      <a:pt x="143" y="291"/>
                    </a:lnTo>
                    <a:lnTo>
                      <a:pt x="142" y="291"/>
                    </a:lnTo>
                    <a:lnTo>
                      <a:pt x="141" y="291"/>
                    </a:lnTo>
                    <a:lnTo>
                      <a:pt x="141" y="292"/>
                    </a:lnTo>
                    <a:lnTo>
                      <a:pt x="140" y="291"/>
                    </a:lnTo>
                    <a:lnTo>
                      <a:pt x="138" y="291"/>
                    </a:lnTo>
                    <a:lnTo>
                      <a:pt x="137" y="291"/>
                    </a:lnTo>
                    <a:lnTo>
                      <a:pt x="137" y="290"/>
                    </a:lnTo>
                    <a:lnTo>
                      <a:pt x="136" y="290"/>
                    </a:lnTo>
                    <a:lnTo>
                      <a:pt x="135" y="289"/>
                    </a:lnTo>
                    <a:lnTo>
                      <a:pt x="135" y="288"/>
                    </a:lnTo>
                    <a:lnTo>
                      <a:pt x="134" y="288"/>
                    </a:lnTo>
                    <a:lnTo>
                      <a:pt x="133" y="288"/>
                    </a:lnTo>
                    <a:lnTo>
                      <a:pt x="133" y="287"/>
                    </a:lnTo>
                    <a:lnTo>
                      <a:pt x="133" y="286"/>
                    </a:lnTo>
                    <a:lnTo>
                      <a:pt x="132" y="286"/>
                    </a:lnTo>
                    <a:lnTo>
                      <a:pt x="132" y="285"/>
                    </a:lnTo>
                    <a:lnTo>
                      <a:pt x="133" y="285"/>
                    </a:lnTo>
                    <a:lnTo>
                      <a:pt x="133" y="284"/>
                    </a:lnTo>
                    <a:lnTo>
                      <a:pt x="133" y="283"/>
                    </a:lnTo>
                    <a:lnTo>
                      <a:pt x="132" y="283"/>
                    </a:lnTo>
                    <a:lnTo>
                      <a:pt x="131" y="283"/>
                    </a:lnTo>
                    <a:lnTo>
                      <a:pt x="131" y="282"/>
                    </a:lnTo>
                    <a:lnTo>
                      <a:pt x="130" y="282"/>
                    </a:lnTo>
                    <a:lnTo>
                      <a:pt x="129" y="282"/>
                    </a:lnTo>
                    <a:lnTo>
                      <a:pt x="129" y="281"/>
                    </a:lnTo>
                    <a:lnTo>
                      <a:pt x="128" y="281"/>
                    </a:lnTo>
                    <a:lnTo>
                      <a:pt x="126" y="281"/>
                    </a:lnTo>
                    <a:lnTo>
                      <a:pt x="125" y="279"/>
                    </a:lnTo>
                    <a:lnTo>
                      <a:pt x="125" y="278"/>
                    </a:lnTo>
                    <a:lnTo>
                      <a:pt x="124" y="278"/>
                    </a:lnTo>
                    <a:lnTo>
                      <a:pt x="124" y="277"/>
                    </a:lnTo>
                    <a:lnTo>
                      <a:pt x="123" y="276"/>
                    </a:lnTo>
                    <a:lnTo>
                      <a:pt x="123" y="275"/>
                    </a:lnTo>
                    <a:lnTo>
                      <a:pt x="122" y="274"/>
                    </a:lnTo>
                    <a:lnTo>
                      <a:pt x="122" y="273"/>
                    </a:lnTo>
                    <a:lnTo>
                      <a:pt x="123" y="272"/>
                    </a:lnTo>
                    <a:lnTo>
                      <a:pt x="124" y="271"/>
                    </a:lnTo>
                    <a:lnTo>
                      <a:pt x="125" y="269"/>
                    </a:lnTo>
                    <a:lnTo>
                      <a:pt x="126" y="268"/>
                    </a:lnTo>
                    <a:lnTo>
                      <a:pt x="128" y="266"/>
                    </a:lnTo>
                    <a:lnTo>
                      <a:pt x="129" y="266"/>
                    </a:lnTo>
                    <a:lnTo>
                      <a:pt x="128" y="266"/>
                    </a:lnTo>
                    <a:lnTo>
                      <a:pt x="128" y="265"/>
                    </a:lnTo>
                    <a:lnTo>
                      <a:pt x="126" y="265"/>
                    </a:lnTo>
                    <a:lnTo>
                      <a:pt x="126" y="264"/>
                    </a:lnTo>
                    <a:lnTo>
                      <a:pt x="126" y="263"/>
                    </a:lnTo>
                    <a:lnTo>
                      <a:pt x="125" y="262"/>
                    </a:lnTo>
                    <a:lnTo>
                      <a:pt x="124" y="262"/>
                    </a:lnTo>
                    <a:lnTo>
                      <a:pt x="123" y="262"/>
                    </a:lnTo>
                    <a:lnTo>
                      <a:pt x="122" y="262"/>
                    </a:lnTo>
                    <a:lnTo>
                      <a:pt x="121" y="262"/>
                    </a:lnTo>
                    <a:lnTo>
                      <a:pt x="120" y="262"/>
                    </a:lnTo>
                    <a:lnTo>
                      <a:pt x="120" y="261"/>
                    </a:lnTo>
                    <a:lnTo>
                      <a:pt x="119" y="260"/>
                    </a:lnTo>
                    <a:lnTo>
                      <a:pt x="118" y="260"/>
                    </a:lnTo>
                    <a:lnTo>
                      <a:pt x="118" y="261"/>
                    </a:lnTo>
                    <a:lnTo>
                      <a:pt x="119" y="262"/>
                    </a:lnTo>
                    <a:lnTo>
                      <a:pt x="119" y="263"/>
                    </a:lnTo>
                    <a:lnTo>
                      <a:pt x="118" y="263"/>
                    </a:lnTo>
                    <a:lnTo>
                      <a:pt x="117" y="263"/>
                    </a:lnTo>
                    <a:lnTo>
                      <a:pt x="115" y="264"/>
                    </a:lnTo>
                    <a:lnTo>
                      <a:pt x="113" y="264"/>
                    </a:lnTo>
                    <a:lnTo>
                      <a:pt x="113" y="265"/>
                    </a:lnTo>
                    <a:lnTo>
                      <a:pt x="112" y="265"/>
                    </a:lnTo>
                    <a:lnTo>
                      <a:pt x="112" y="266"/>
                    </a:lnTo>
                    <a:lnTo>
                      <a:pt x="111" y="266"/>
                    </a:lnTo>
                    <a:lnTo>
                      <a:pt x="110" y="266"/>
                    </a:lnTo>
                    <a:lnTo>
                      <a:pt x="110" y="265"/>
                    </a:lnTo>
                    <a:lnTo>
                      <a:pt x="110" y="264"/>
                    </a:lnTo>
                    <a:lnTo>
                      <a:pt x="109" y="263"/>
                    </a:lnTo>
                    <a:lnTo>
                      <a:pt x="109" y="261"/>
                    </a:lnTo>
                    <a:lnTo>
                      <a:pt x="108" y="260"/>
                    </a:lnTo>
                    <a:lnTo>
                      <a:pt x="107" y="258"/>
                    </a:lnTo>
                    <a:lnTo>
                      <a:pt x="107" y="257"/>
                    </a:lnTo>
                    <a:lnTo>
                      <a:pt x="108" y="257"/>
                    </a:lnTo>
                    <a:lnTo>
                      <a:pt x="108" y="256"/>
                    </a:lnTo>
                    <a:lnTo>
                      <a:pt x="109" y="256"/>
                    </a:lnTo>
                    <a:lnTo>
                      <a:pt x="109" y="254"/>
                    </a:lnTo>
                    <a:lnTo>
                      <a:pt x="108" y="254"/>
                    </a:lnTo>
                    <a:lnTo>
                      <a:pt x="107" y="254"/>
                    </a:lnTo>
                    <a:lnTo>
                      <a:pt x="106" y="254"/>
                    </a:lnTo>
                    <a:lnTo>
                      <a:pt x="105" y="254"/>
                    </a:lnTo>
                    <a:lnTo>
                      <a:pt x="104" y="254"/>
                    </a:lnTo>
                    <a:lnTo>
                      <a:pt x="103" y="253"/>
                    </a:lnTo>
                    <a:lnTo>
                      <a:pt x="102" y="253"/>
                    </a:lnTo>
                    <a:lnTo>
                      <a:pt x="102" y="251"/>
                    </a:lnTo>
                    <a:lnTo>
                      <a:pt x="102" y="250"/>
                    </a:lnTo>
                    <a:lnTo>
                      <a:pt x="102" y="249"/>
                    </a:lnTo>
                    <a:lnTo>
                      <a:pt x="103" y="249"/>
                    </a:lnTo>
                    <a:lnTo>
                      <a:pt x="104" y="249"/>
                    </a:lnTo>
                    <a:lnTo>
                      <a:pt x="104" y="248"/>
                    </a:lnTo>
                    <a:lnTo>
                      <a:pt x="103" y="248"/>
                    </a:lnTo>
                    <a:lnTo>
                      <a:pt x="102" y="247"/>
                    </a:lnTo>
                    <a:lnTo>
                      <a:pt x="102" y="246"/>
                    </a:lnTo>
                    <a:lnTo>
                      <a:pt x="102" y="245"/>
                    </a:lnTo>
                    <a:lnTo>
                      <a:pt x="100" y="244"/>
                    </a:lnTo>
                    <a:lnTo>
                      <a:pt x="100" y="243"/>
                    </a:lnTo>
                    <a:lnTo>
                      <a:pt x="100" y="241"/>
                    </a:lnTo>
                    <a:lnTo>
                      <a:pt x="99" y="240"/>
                    </a:lnTo>
                    <a:lnTo>
                      <a:pt x="99" y="239"/>
                    </a:lnTo>
                    <a:lnTo>
                      <a:pt x="98" y="239"/>
                    </a:lnTo>
                    <a:lnTo>
                      <a:pt x="99" y="238"/>
                    </a:lnTo>
                    <a:lnTo>
                      <a:pt x="99" y="237"/>
                    </a:lnTo>
                    <a:lnTo>
                      <a:pt x="99" y="236"/>
                    </a:lnTo>
                    <a:lnTo>
                      <a:pt x="98" y="236"/>
                    </a:lnTo>
                    <a:lnTo>
                      <a:pt x="96" y="236"/>
                    </a:lnTo>
                    <a:lnTo>
                      <a:pt x="95" y="236"/>
                    </a:lnTo>
                    <a:lnTo>
                      <a:pt x="94" y="236"/>
                    </a:lnTo>
                    <a:lnTo>
                      <a:pt x="93" y="235"/>
                    </a:lnTo>
                    <a:lnTo>
                      <a:pt x="93" y="234"/>
                    </a:lnTo>
                    <a:lnTo>
                      <a:pt x="93" y="233"/>
                    </a:lnTo>
                    <a:lnTo>
                      <a:pt x="93" y="232"/>
                    </a:lnTo>
                    <a:lnTo>
                      <a:pt x="94" y="232"/>
                    </a:lnTo>
                    <a:lnTo>
                      <a:pt x="95" y="232"/>
                    </a:lnTo>
                    <a:lnTo>
                      <a:pt x="95" y="231"/>
                    </a:lnTo>
                    <a:lnTo>
                      <a:pt x="94" y="231"/>
                    </a:lnTo>
                    <a:lnTo>
                      <a:pt x="93" y="230"/>
                    </a:lnTo>
                    <a:lnTo>
                      <a:pt x="92" y="230"/>
                    </a:lnTo>
                    <a:lnTo>
                      <a:pt x="91" y="228"/>
                    </a:lnTo>
                    <a:lnTo>
                      <a:pt x="90" y="228"/>
                    </a:lnTo>
                    <a:lnTo>
                      <a:pt x="89" y="228"/>
                    </a:lnTo>
                    <a:lnTo>
                      <a:pt x="87" y="228"/>
                    </a:lnTo>
                    <a:lnTo>
                      <a:pt x="86" y="227"/>
                    </a:lnTo>
                    <a:lnTo>
                      <a:pt x="85" y="226"/>
                    </a:lnTo>
                    <a:lnTo>
                      <a:pt x="85" y="225"/>
                    </a:lnTo>
                    <a:lnTo>
                      <a:pt x="84" y="224"/>
                    </a:lnTo>
                    <a:lnTo>
                      <a:pt x="83" y="224"/>
                    </a:lnTo>
                    <a:lnTo>
                      <a:pt x="82" y="222"/>
                    </a:lnTo>
                    <a:lnTo>
                      <a:pt x="81" y="222"/>
                    </a:lnTo>
                    <a:lnTo>
                      <a:pt x="81" y="221"/>
                    </a:lnTo>
                    <a:lnTo>
                      <a:pt x="81" y="220"/>
                    </a:lnTo>
                    <a:lnTo>
                      <a:pt x="82" y="220"/>
                    </a:lnTo>
                    <a:lnTo>
                      <a:pt x="82" y="219"/>
                    </a:lnTo>
                    <a:lnTo>
                      <a:pt x="81" y="218"/>
                    </a:lnTo>
                    <a:lnTo>
                      <a:pt x="80" y="219"/>
                    </a:lnTo>
                    <a:lnTo>
                      <a:pt x="79" y="220"/>
                    </a:lnTo>
                    <a:lnTo>
                      <a:pt x="78" y="220"/>
                    </a:lnTo>
                    <a:lnTo>
                      <a:pt x="77" y="220"/>
                    </a:lnTo>
                    <a:lnTo>
                      <a:pt x="77" y="219"/>
                    </a:lnTo>
                    <a:lnTo>
                      <a:pt x="76" y="219"/>
                    </a:lnTo>
                    <a:lnTo>
                      <a:pt x="74" y="219"/>
                    </a:lnTo>
                    <a:lnTo>
                      <a:pt x="73" y="219"/>
                    </a:lnTo>
                    <a:lnTo>
                      <a:pt x="73" y="218"/>
                    </a:lnTo>
                    <a:lnTo>
                      <a:pt x="73" y="217"/>
                    </a:lnTo>
                    <a:lnTo>
                      <a:pt x="72" y="217"/>
                    </a:lnTo>
                    <a:lnTo>
                      <a:pt x="71" y="218"/>
                    </a:lnTo>
                    <a:lnTo>
                      <a:pt x="70" y="218"/>
                    </a:lnTo>
                    <a:lnTo>
                      <a:pt x="69" y="218"/>
                    </a:lnTo>
                    <a:lnTo>
                      <a:pt x="68" y="218"/>
                    </a:lnTo>
                    <a:lnTo>
                      <a:pt x="68" y="217"/>
                    </a:lnTo>
                    <a:lnTo>
                      <a:pt x="67" y="217"/>
                    </a:lnTo>
                    <a:lnTo>
                      <a:pt x="67" y="218"/>
                    </a:lnTo>
                    <a:lnTo>
                      <a:pt x="67" y="219"/>
                    </a:lnTo>
                    <a:lnTo>
                      <a:pt x="66" y="219"/>
                    </a:lnTo>
                    <a:lnTo>
                      <a:pt x="66" y="218"/>
                    </a:lnTo>
                    <a:lnTo>
                      <a:pt x="66" y="217"/>
                    </a:lnTo>
                    <a:lnTo>
                      <a:pt x="65" y="217"/>
                    </a:lnTo>
                    <a:lnTo>
                      <a:pt x="65" y="215"/>
                    </a:lnTo>
                    <a:lnTo>
                      <a:pt x="64" y="215"/>
                    </a:lnTo>
                    <a:lnTo>
                      <a:pt x="64" y="217"/>
                    </a:lnTo>
                    <a:lnTo>
                      <a:pt x="63" y="218"/>
                    </a:lnTo>
                    <a:lnTo>
                      <a:pt x="61" y="218"/>
                    </a:lnTo>
                    <a:lnTo>
                      <a:pt x="61" y="217"/>
                    </a:lnTo>
                    <a:lnTo>
                      <a:pt x="60" y="215"/>
                    </a:lnTo>
                    <a:lnTo>
                      <a:pt x="59" y="215"/>
                    </a:lnTo>
                    <a:lnTo>
                      <a:pt x="58" y="214"/>
                    </a:lnTo>
                    <a:lnTo>
                      <a:pt x="57" y="214"/>
                    </a:lnTo>
                    <a:lnTo>
                      <a:pt x="56" y="215"/>
                    </a:lnTo>
                    <a:lnTo>
                      <a:pt x="56" y="214"/>
                    </a:lnTo>
                    <a:lnTo>
                      <a:pt x="56" y="213"/>
                    </a:lnTo>
                    <a:lnTo>
                      <a:pt x="56" y="212"/>
                    </a:lnTo>
                    <a:lnTo>
                      <a:pt x="55" y="210"/>
                    </a:lnTo>
                    <a:lnTo>
                      <a:pt x="54" y="209"/>
                    </a:lnTo>
                    <a:lnTo>
                      <a:pt x="53" y="210"/>
                    </a:lnTo>
                    <a:lnTo>
                      <a:pt x="52" y="210"/>
                    </a:lnTo>
                    <a:lnTo>
                      <a:pt x="52" y="209"/>
                    </a:lnTo>
                    <a:lnTo>
                      <a:pt x="51" y="209"/>
                    </a:lnTo>
                    <a:lnTo>
                      <a:pt x="51" y="208"/>
                    </a:lnTo>
                    <a:lnTo>
                      <a:pt x="52" y="208"/>
                    </a:lnTo>
                    <a:lnTo>
                      <a:pt x="53" y="208"/>
                    </a:lnTo>
                    <a:lnTo>
                      <a:pt x="54" y="208"/>
                    </a:lnTo>
                    <a:lnTo>
                      <a:pt x="54" y="207"/>
                    </a:lnTo>
                    <a:lnTo>
                      <a:pt x="54" y="206"/>
                    </a:lnTo>
                    <a:lnTo>
                      <a:pt x="53" y="206"/>
                    </a:lnTo>
                    <a:lnTo>
                      <a:pt x="52" y="206"/>
                    </a:lnTo>
                    <a:lnTo>
                      <a:pt x="51" y="206"/>
                    </a:lnTo>
                    <a:lnTo>
                      <a:pt x="50" y="206"/>
                    </a:lnTo>
                    <a:lnTo>
                      <a:pt x="50" y="207"/>
                    </a:lnTo>
                    <a:lnTo>
                      <a:pt x="48" y="207"/>
                    </a:lnTo>
                    <a:lnTo>
                      <a:pt x="47" y="207"/>
                    </a:lnTo>
                    <a:lnTo>
                      <a:pt x="46" y="207"/>
                    </a:lnTo>
                    <a:lnTo>
                      <a:pt x="46" y="206"/>
                    </a:lnTo>
                    <a:lnTo>
                      <a:pt x="46" y="205"/>
                    </a:lnTo>
                    <a:lnTo>
                      <a:pt x="45" y="205"/>
                    </a:lnTo>
                    <a:lnTo>
                      <a:pt x="45" y="204"/>
                    </a:lnTo>
                    <a:lnTo>
                      <a:pt x="45" y="202"/>
                    </a:lnTo>
                    <a:lnTo>
                      <a:pt x="44" y="202"/>
                    </a:lnTo>
                    <a:lnTo>
                      <a:pt x="43" y="202"/>
                    </a:lnTo>
                    <a:lnTo>
                      <a:pt x="42" y="202"/>
                    </a:lnTo>
                    <a:lnTo>
                      <a:pt x="40" y="204"/>
                    </a:lnTo>
                    <a:lnTo>
                      <a:pt x="39" y="204"/>
                    </a:lnTo>
                    <a:lnTo>
                      <a:pt x="39" y="205"/>
                    </a:lnTo>
                    <a:lnTo>
                      <a:pt x="38" y="205"/>
                    </a:lnTo>
                    <a:lnTo>
                      <a:pt x="37" y="204"/>
                    </a:lnTo>
                    <a:lnTo>
                      <a:pt x="37" y="202"/>
                    </a:lnTo>
                    <a:lnTo>
                      <a:pt x="35" y="202"/>
                    </a:lnTo>
                    <a:lnTo>
                      <a:pt x="35" y="201"/>
                    </a:lnTo>
                    <a:lnTo>
                      <a:pt x="35" y="202"/>
                    </a:lnTo>
                    <a:lnTo>
                      <a:pt x="34" y="202"/>
                    </a:lnTo>
                    <a:lnTo>
                      <a:pt x="34" y="204"/>
                    </a:lnTo>
                    <a:lnTo>
                      <a:pt x="33" y="204"/>
                    </a:lnTo>
                    <a:lnTo>
                      <a:pt x="33" y="202"/>
                    </a:lnTo>
                    <a:lnTo>
                      <a:pt x="33" y="201"/>
                    </a:lnTo>
                    <a:lnTo>
                      <a:pt x="34" y="201"/>
                    </a:lnTo>
                    <a:lnTo>
                      <a:pt x="35" y="200"/>
                    </a:lnTo>
                    <a:lnTo>
                      <a:pt x="37" y="199"/>
                    </a:lnTo>
                    <a:lnTo>
                      <a:pt x="37" y="198"/>
                    </a:lnTo>
                    <a:lnTo>
                      <a:pt x="37" y="197"/>
                    </a:lnTo>
                    <a:lnTo>
                      <a:pt x="35" y="197"/>
                    </a:lnTo>
                    <a:lnTo>
                      <a:pt x="34" y="197"/>
                    </a:lnTo>
                    <a:lnTo>
                      <a:pt x="33" y="197"/>
                    </a:lnTo>
                    <a:lnTo>
                      <a:pt x="33" y="196"/>
                    </a:lnTo>
                    <a:lnTo>
                      <a:pt x="31" y="196"/>
                    </a:lnTo>
                    <a:lnTo>
                      <a:pt x="30" y="196"/>
                    </a:lnTo>
                    <a:lnTo>
                      <a:pt x="30" y="195"/>
                    </a:lnTo>
                    <a:lnTo>
                      <a:pt x="29" y="195"/>
                    </a:lnTo>
                    <a:lnTo>
                      <a:pt x="29" y="194"/>
                    </a:lnTo>
                    <a:lnTo>
                      <a:pt x="29" y="193"/>
                    </a:lnTo>
                    <a:lnTo>
                      <a:pt x="28" y="193"/>
                    </a:lnTo>
                    <a:lnTo>
                      <a:pt x="28" y="192"/>
                    </a:lnTo>
                    <a:lnTo>
                      <a:pt x="29" y="191"/>
                    </a:lnTo>
                    <a:lnTo>
                      <a:pt x="29" y="189"/>
                    </a:lnTo>
                    <a:lnTo>
                      <a:pt x="28" y="189"/>
                    </a:lnTo>
                    <a:lnTo>
                      <a:pt x="28" y="188"/>
                    </a:lnTo>
                    <a:lnTo>
                      <a:pt x="27" y="188"/>
                    </a:lnTo>
                    <a:lnTo>
                      <a:pt x="28" y="188"/>
                    </a:lnTo>
                    <a:lnTo>
                      <a:pt x="29" y="187"/>
                    </a:lnTo>
                    <a:lnTo>
                      <a:pt x="29" y="186"/>
                    </a:lnTo>
                    <a:lnTo>
                      <a:pt x="30" y="185"/>
                    </a:lnTo>
                    <a:lnTo>
                      <a:pt x="30" y="184"/>
                    </a:lnTo>
                    <a:lnTo>
                      <a:pt x="29" y="184"/>
                    </a:lnTo>
                    <a:lnTo>
                      <a:pt x="28" y="183"/>
                    </a:lnTo>
                    <a:lnTo>
                      <a:pt x="28" y="182"/>
                    </a:lnTo>
                    <a:lnTo>
                      <a:pt x="27" y="182"/>
                    </a:lnTo>
                    <a:lnTo>
                      <a:pt x="26" y="182"/>
                    </a:lnTo>
                    <a:lnTo>
                      <a:pt x="25" y="183"/>
                    </a:lnTo>
                    <a:lnTo>
                      <a:pt x="24" y="184"/>
                    </a:lnTo>
                    <a:lnTo>
                      <a:pt x="22" y="185"/>
                    </a:lnTo>
                    <a:lnTo>
                      <a:pt x="21" y="185"/>
                    </a:lnTo>
                    <a:lnTo>
                      <a:pt x="20" y="186"/>
                    </a:lnTo>
                    <a:lnTo>
                      <a:pt x="19" y="186"/>
                    </a:lnTo>
                    <a:lnTo>
                      <a:pt x="18" y="186"/>
                    </a:lnTo>
                    <a:lnTo>
                      <a:pt x="17" y="185"/>
                    </a:lnTo>
                    <a:lnTo>
                      <a:pt x="16" y="185"/>
                    </a:lnTo>
                    <a:lnTo>
                      <a:pt x="15" y="185"/>
                    </a:lnTo>
                    <a:lnTo>
                      <a:pt x="15" y="186"/>
                    </a:lnTo>
                    <a:lnTo>
                      <a:pt x="14" y="185"/>
                    </a:lnTo>
                    <a:lnTo>
                      <a:pt x="14" y="184"/>
                    </a:lnTo>
                    <a:lnTo>
                      <a:pt x="14" y="183"/>
                    </a:lnTo>
                    <a:lnTo>
                      <a:pt x="13" y="181"/>
                    </a:lnTo>
                    <a:lnTo>
                      <a:pt x="12" y="180"/>
                    </a:lnTo>
                    <a:lnTo>
                      <a:pt x="12" y="179"/>
                    </a:lnTo>
                    <a:lnTo>
                      <a:pt x="12" y="177"/>
                    </a:lnTo>
                    <a:lnTo>
                      <a:pt x="12" y="176"/>
                    </a:lnTo>
                    <a:lnTo>
                      <a:pt x="13" y="175"/>
                    </a:lnTo>
                    <a:lnTo>
                      <a:pt x="13" y="174"/>
                    </a:lnTo>
                    <a:lnTo>
                      <a:pt x="14" y="174"/>
                    </a:lnTo>
                    <a:lnTo>
                      <a:pt x="15" y="174"/>
                    </a:lnTo>
                    <a:lnTo>
                      <a:pt x="16" y="175"/>
                    </a:lnTo>
                    <a:lnTo>
                      <a:pt x="17" y="175"/>
                    </a:lnTo>
                    <a:lnTo>
                      <a:pt x="18" y="175"/>
                    </a:lnTo>
                    <a:lnTo>
                      <a:pt x="19" y="175"/>
                    </a:lnTo>
                    <a:lnTo>
                      <a:pt x="20" y="174"/>
                    </a:lnTo>
                    <a:lnTo>
                      <a:pt x="20" y="173"/>
                    </a:lnTo>
                    <a:lnTo>
                      <a:pt x="20" y="172"/>
                    </a:lnTo>
                    <a:lnTo>
                      <a:pt x="19" y="171"/>
                    </a:lnTo>
                    <a:lnTo>
                      <a:pt x="18" y="170"/>
                    </a:lnTo>
                    <a:lnTo>
                      <a:pt x="17" y="169"/>
                    </a:lnTo>
                    <a:lnTo>
                      <a:pt x="17" y="168"/>
                    </a:lnTo>
                    <a:lnTo>
                      <a:pt x="16" y="168"/>
                    </a:lnTo>
                    <a:lnTo>
                      <a:pt x="16" y="167"/>
                    </a:lnTo>
                    <a:lnTo>
                      <a:pt x="17" y="164"/>
                    </a:lnTo>
                    <a:lnTo>
                      <a:pt x="16" y="164"/>
                    </a:lnTo>
                    <a:lnTo>
                      <a:pt x="15" y="164"/>
                    </a:lnTo>
                    <a:lnTo>
                      <a:pt x="14" y="163"/>
                    </a:lnTo>
                    <a:lnTo>
                      <a:pt x="13" y="163"/>
                    </a:lnTo>
                    <a:lnTo>
                      <a:pt x="12" y="163"/>
                    </a:lnTo>
                    <a:lnTo>
                      <a:pt x="11" y="163"/>
                    </a:lnTo>
                    <a:lnTo>
                      <a:pt x="9" y="163"/>
                    </a:lnTo>
                    <a:lnTo>
                      <a:pt x="8" y="163"/>
                    </a:lnTo>
                    <a:lnTo>
                      <a:pt x="7" y="162"/>
                    </a:lnTo>
                    <a:lnTo>
                      <a:pt x="6" y="161"/>
                    </a:lnTo>
                    <a:lnTo>
                      <a:pt x="5" y="160"/>
                    </a:lnTo>
                    <a:lnTo>
                      <a:pt x="6" y="159"/>
                    </a:lnTo>
                    <a:lnTo>
                      <a:pt x="6" y="158"/>
                    </a:lnTo>
                    <a:lnTo>
                      <a:pt x="7" y="158"/>
                    </a:lnTo>
                    <a:lnTo>
                      <a:pt x="7" y="157"/>
                    </a:lnTo>
                    <a:lnTo>
                      <a:pt x="6" y="156"/>
                    </a:lnTo>
                    <a:lnTo>
                      <a:pt x="6" y="155"/>
                    </a:lnTo>
                    <a:lnTo>
                      <a:pt x="7" y="154"/>
                    </a:lnTo>
                    <a:lnTo>
                      <a:pt x="8" y="154"/>
                    </a:lnTo>
                    <a:lnTo>
                      <a:pt x="9" y="153"/>
                    </a:lnTo>
                    <a:lnTo>
                      <a:pt x="11" y="151"/>
                    </a:lnTo>
                    <a:lnTo>
                      <a:pt x="11" y="150"/>
                    </a:lnTo>
                    <a:lnTo>
                      <a:pt x="12" y="150"/>
                    </a:lnTo>
                    <a:lnTo>
                      <a:pt x="12" y="149"/>
                    </a:lnTo>
                    <a:lnTo>
                      <a:pt x="11" y="149"/>
                    </a:lnTo>
                    <a:lnTo>
                      <a:pt x="9" y="150"/>
                    </a:lnTo>
                    <a:lnTo>
                      <a:pt x="8" y="150"/>
                    </a:lnTo>
                    <a:lnTo>
                      <a:pt x="8" y="149"/>
                    </a:lnTo>
                    <a:lnTo>
                      <a:pt x="7" y="149"/>
                    </a:lnTo>
                    <a:lnTo>
                      <a:pt x="6" y="148"/>
                    </a:lnTo>
                    <a:lnTo>
                      <a:pt x="6" y="147"/>
                    </a:lnTo>
                    <a:lnTo>
                      <a:pt x="5" y="146"/>
                    </a:lnTo>
                    <a:lnTo>
                      <a:pt x="4" y="146"/>
                    </a:lnTo>
                    <a:lnTo>
                      <a:pt x="4" y="145"/>
                    </a:lnTo>
                    <a:lnTo>
                      <a:pt x="4" y="144"/>
                    </a:lnTo>
                    <a:lnTo>
                      <a:pt x="3" y="142"/>
                    </a:lnTo>
                    <a:lnTo>
                      <a:pt x="6" y="141"/>
                    </a:lnTo>
                    <a:lnTo>
                      <a:pt x="2" y="138"/>
                    </a:lnTo>
                    <a:lnTo>
                      <a:pt x="0" y="133"/>
                    </a:lnTo>
                    <a:lnTo>
                      <a:pt x="1" y="132"/>
                    </a:lnTo>
                    <a:lnTo>
                      <a:pt x="2" y="131"/>
                    </a:lnTo>
                    <a:lnTo>
                      <a:pt x="3" y="131"/>
                    </a:lnTo>
                    <a:lnTo>
                      <a:pt x="3" y="130"/>
                    </a:lnTo>
                    <a:lnTo>
                      <a:pt x="4" y="130"/>
                    </a:lnTo>
                    <a:lnTo>
                      <a:pt x="5" y="130"/>
                    </a:lnTo>
                    <a:lnTo>
                      <a:pt x="6" y="131"/>
                    </a:lnTo>
                    <a:lnTo>
                      <a:pt x="6" y="130"/>
                    </a:lnTo>
                    <a:lnTo>
                      <a:pt x="7" y="130"/>
                    </a:lnTo>
                    <a:lnTo>
                      <a:pt x="8" y="130"/>
                    </a:lnTo>
                    <a:lnTo>
                      <a:pt x="9" y="130"/>
                    </a:lnTo>
                    <a:lnTo>
                      <a:pt x="9" y="129"/>
                    </a:lnTo>
                    <a:lnTo>
                      <a:pt x="11" y="129"/>
                    </a:lnTo>
                    <a:lnTo>
                      <a:pt x="11" y="128"/>
                    </a:lnTo>
                    <a:lnTo>
                      <a:pt x="11" y="127"/>
                    </a:lnTo>
                    <a:lnTo>
                      <a:pt x="9" y="125"/>
                    </a:lnTo>
                    <a:lnTo>
                      <a:pt x="11" y="124"/>
                    </a:lnTo>
                    <a:lnTo>
                      <a:pt x="9" y="123"/>
                    </a:lnTo>
                    <a:lnTo>
                      <a:pt x="8" y="123"/>
                    </a:lnTo>
                    <a:lnTo>
                      <a:pt x="8" y="122"/>
                    </a:lnTo>
                    <a:lnTo>
                      <a:pt x="7" y="121"/>
                    </a:lnTo>
                    <a:lnTo>
                      <a:pt x="8" y="121"/>
                    </a:lnTo>
                    <a:lnTo>
                      <a:pt x="9" y="121"/>
                    </a:lnTo>
                    <a:lnTo>
                      <a:pt x="9" y="120"/>
                    </a:lnTo>
                    <a:lnTo>
                      <a:pt x="11" y="120"/>
                    </a:lnTo>
                    <a:lnTo>
                      <a:pt x="11" y="119"/>
                    </a:lnTo>
                    <a:lnTo>
                      <a:pt x="9" y="119"/>
                    </a:lnTo>
                    <a:lnTo>
                      <a:pt x="9" y="118"/>
                    </a:lnTo>
                    <a:lnTo>
                      <a:pt x="11" y="118"/>
                    </a:lnTo>
                    <a:lnTo>
                      <a:pt x="12" y="117"/>
                    </a:lnTo>
                    <a:lnTo>
                      <a:pt x="13" y="117"/>
                    </a:lnTo>
                    <a:lnTo>
                      <a:pt x="12" y="117"/>
                    </a:lnTo>
                    <a:lnTo>
                      <a:pt x="12" y="116"/>
                    </a:lnTo>
                    <a:lnTo>
                      <a:pt x="12" y="115"/>
                    </a:lnTo>
                    <a:lnTo>
                      <a:pt x="12" y="114"/>
                    </a:lnTo>
                    <a:lnTo>
                      <a:pt x="12" y="112"/>
                    </a:lnTo>
                    <a:lnTo>
                      <a:pt x="13" y="112"/>
                    </a:lnTo>
                    <a:lnTo>
                      <a:pt x="14" y="111"/>
                    </a:lnTo>
                    <a:lnTo>
                      <a:pt x="13" y="110"/>
                    </a:lnTo>
                    <a:lnTo>
                      <a:pt x="13" y="109"/>
                    </a:lnTo>
                    <a:lnTo>
                      <a:pt x="13" y="108"/>
                    </a:lnTo>
                    <a:lnTo>
                      <a:pt x="12" y="108"/>
                    </a:lnTo>
                    <a:lnTo>
                      <a:pt x="11" y="109"/>
                    </a:lnTo>
                    <a:lnTo>
                      <a:pt x="9" y="108"/>
                    </a:lnTo>
                    <a:lnTo>
                      <a:pt x="9" y="107"/>
                    </a:lnTo>
                    <a:lnTo>
                      <a:pt x="11" y="106"/>
                    </a:lnTo>
                    <a:lnTo>
                      <a:pt x="13" y="105"/>
                    </a:lnTo>
                    <a:lnTo>
                      <a:pt x="14" y="104"/>
                    </a:lnTo>
                    <a:lnTo>
                      <a:pt x="15" y="104"/>
                    </a:lnTo>
                    <a:lnTo>
                      <a:pt x="14" y="103"/>
                    </a:lnTo>
                    <a:lnTo>
                      <a:pt x="13" y="102"/>
                    </a:lnTo>
                    <a:lnTo>
                      <a:pt x="13" y="101"/>
                    </a:lnTo>
                    <a:lnTo>
                      <a:pt x="13" y="99"/>
                    </a:lnTo>
                    <a:lnTo>
                      <a:pt x="13" y="98"/>
                    </a:lnTo>
                    <a:lnTo>
                      <a:pt x="12" y="98"/>
                    </a:lnTo>
                    <a:lnTo>
                      <a:pt x="11" y="97"/>
                    </a:lnTo>
                    <a:lnTo>
                      <a:pt x="9" y="96"/>
                    </a:lnTo>
                    <a:lnTo>
                      <a:pt x="8" y="96"/>
                    </a:lnTo>
                    <a:lnTo>
                      <a:pt x="7" y="95"/>
                    </a:lnTo>
                    <a:lnTo>
                      <a:pt x="7" y="94"/>
                    </a:lnTo>
                    <a:lnTo>
                      <a:pt x="6" y="94"/>
                    </a:lnTo>
                    <a:lnTo>
                      <a:pt x="8" y="93"/>
                    </a:lnTo>
                    <a:lnTo>
                      <a:pt x="8" y="92"/>
                    </a:lnTo>
                    <a:lnTo>
                      <a:pt x="6" y="91"/>
                    </a:lnTo>
                    <a:lnTo>
                      <a:pt x="5" y="91"/>
                    </a:lnTo>
                    <a:lnTo>
                      <a:pt x="6" y="91"/>
                    </a:lnTo>
                    <a:lnTo>
                      <a:pt x="6" y="90"/>
                    </a:lnTo>
                    <a:lnTo>
                      <a:pt x="7" y="90"/>
                    </a:lnTo>
                    <a:lnTo>
                      <a:pt x="8" y="90"/>
                    </a:lnTo>
                    <a:lnTo>
                      <a:pt x="8" y="89"/>
                    </a:lnTo>
                    <a:lnTo>
                      <a:pt x="8" y="87"/>
                    </a:lnTo>
                    <a:lnTo>
                      <a:pt x="7" y="86"/>
                    </a:lnTo>
                    <a:lnTo>
                      <a:pt x="7" y="85"/>
                    </a:lnTo>
                    <a:lnTo>
                      <a:pt x="6" y="85"/>
                    </a:lnTo>
                    <a:lnTo>
                      <a:pt x="5" y="85"/>
                    </a:lnTo>
                    <a:lnTo>
                      <a:pt x="4" y="85"/>
                    </a:lnTo>
                    <a:lnTo>
                      <a:pt x="4" y="84"/>
                    </a:lnTo>
                    <a:lnTo>
                      <a:pt x="5" y="84"/>
                    </a:lnTo>
                    <a:lnTo>
                      <a:pt x="5" y="83"/>
                    </a:lnTo>
                    <a:lnTo>
                      <a:pt x="6" y="83"/>
                    </a:lnTo>
                    <a:lnTo>
                      <a:pt x="7" y="82"/>
                    </a:lnTo>
                    <a:lnTo>
                      <a:pt x="6" y="82"/>
                    </a:lnTo>
                    <a:lnTo>
                      <a:pt x="6" y="81"/>
                    </a:lnTo>
                    <a:lnTo>
                      <a:pt x="6" y="80"/>
                    </a:lnTo>
                    <a:lnTo>
                      <a:pt x="7" y="80"/>
                    </a:lnTo>
                    <a:lnTo>
                      <a:pt x="8" y="80"/>
                    </a:lnTo>
                    <a:lnTo>
                      <a:pt x="9" y="79"/>
                    </a:lnTo>
                    <a:lnTo>
                      <a:pt x="11" y="79"/>
                    </a:lnTo>
                    <a:lnTo>
                      <a:pt x="11" y="78"/>
                    </a:lnTo>
                    <a:lnTo>
                      <a:pt x="12" y="78"/>
                    </a:lnTo>
                    <a:lnTo>
                      <a:pt x="12" y="77"/>
                    </a:lnTo>
                    <a:lnTo>
                      <a:pt x="12" y="76"/>
                    </a:lnTo>
                    <a:lnTo>
                      <a:pt x="11" y="76"/>
                    </a:lnTo>
                    <a:lnTo>
                      <a:pt x="9" y="74"/>
                    </a:lnTo>
                    <a:lnTo>
                      <a:pt x="9" y="73"/>
                    </a:lnTo>
                    <a:lnTo>
                      <a:pt x="9" y="72"/>
                    </a:lnTo>
                    <a:lnTo>
                      <a:pt x="11" y="72"/>
                    </a:lnTo>
                    <a:lnTo>
                      <a:pt x="12" y="71"/>
                    </a:lnTo>
                    <a:lnTo>
                      <a:pt x="12" y="70"/>
                    </a:lnTo>
                    <a:lnTo>
                      <a:pt x="12" y="68"/>
                    </a:lnTo>
                    <a:lnTo>
                      <a:pt x="12" y="67"/>
                    </a:lnTo>
                    <a:lnTo>
                      <a:pt x="12" y="66"/>
                    </a:lnTo>
                    <a:lnTo>
                      <a:pt x="12" y="65"/>
                    </a:lnTo>
                    <a:lnTo>
                      <a:pt x="12" y="64"/>
                    </a:lnTo>
                    <a:lnTo>
                      <a:pt x="12" y="63"/>
                    </a:lnTo>
                    <a:lnTo>
                      <a:pt x="13" y="63"/>
                    </a:lnTo>
                    <a:lnTo>
                      <a:pt x="13" y="61"/>
                    </a:lnTo>
                    <a:lnTo>
                      <a:pt x="12" y="61"/>
                    </a:lnTo>
                    <a:lnTo>
                      <a:pt x="12" y="60"/>
                    </a:lnTo>
                    <a:lnTo>
                      <a:pt x="11" y="60"/>
                    </a:lnTo>
                    <a:lnTo>
                      <a:pt x="9" y="60"/>
                    </a:lnTo>
                    <a:lnTo>
                      <a:pt x="9" y="59"/>
                    </a:lnTo>
                    <a:lnTo>
                      <a:pt x="9" y="58"/>
                    </a:lnTo>
                    <a:lnTo>
                      <a:pt x="8" y="58"/>
                    </a:lnTo>
                    <a:lnTo>
                      <a:pt x="6" y="58"/>
                    </a:lnTo>
                    <a:lnTo>
                      <a:pt x="6" y="57"/>
                    </a:lnTo>
                    <a:lnTo>
                      <a:pt x="6" y="56"/>
                    </a:lnTo>
                    <a:lnTo>
                      <a:pt x="5" y="56"/>
                    </a:lnTo>
                    <a:lnTo>
                      <a:pt x="4" y="56"/>
                    </a:lnTo>
                    <a:lnTo>
                      <a:pt x="3" y="56"/>
                    </a:lnTo>
                    <a:lnTo>
                      <a:pt x="2" y="56"/>
                    </a:lnTo>
                    <a:lnTo>
                      <a:pt x="2" y="55"/>
                    </a:lnTo>
                    <a:lnTo>
                      <a:pt x="3" y="54"/>
                    </a:lnTo>
                    <a:lnTo>
                      <a:pt x="3" y="53"/>
                    </a:lnTo>
                    <a:lnTo>
                      <a:pt x="3" y="52"/>
                    </a:lnTo>
                    <a:lnTo>
                      <a:pt x="4" y="52"/>
                    </a:lnTo>
                    <a:lnTo>
                      <a:pt x="5" y="51"/>
                    </a:lnTo>
                    <a:lnTo>
                      <a:pt x="5" y="50"/>
                    </a:lnTo>
                    <a:lnTo>
                      <a:pt x="4" y="50"/>
                    </a:lnTo>
                    <a:lnTo>
                      <a:pt x="4" y="48"/>
                    </a:lnTo>
                    <a:lnTo>
                      <a:pt x="4" y="47"/>
                    </a:lnTo>
                    <a:lnTo>
                      <a:pt x="3" y="47"/>
                    </a:lnTo>
                    <a:lnTo>
                      <a:pt x="4" y="46"/>
                    </a:lnTo>
                    <a:lnTo>
                      <a:pt x="5" y="46"/>
                    </a:lnTo>
                    <a:lnTo>
                      <a:pt x="6" y="46"/>
                    </a:lnTo>
                    <a:lnTo>
                      <a:pt x="7" y="46"/>
                    </a:lnTo>
                    <a:lnTo>
                      <a:pt x="7" y="45"/>
                    </a:lnTo>
                    <a:lnTo>
                      <a:pt x="7" y="44"/>
                    </a:lnTo>
                    <a:lnTo>
                      <a:pt x="7" y="43"/>
                    </a:lnTo>
                    <a:lnTo>
                      <a:pt x="6" y="43"/>
                    </a:lnTo>
                    <a:lnTo>
                      <a:pt x="6" y="42"/>
                    </a:lnTo>
                    <a:lnTo>
                      <a:pt x="7" y="42"/>
                    </a:lnTo>
                    <a:lnTo>
                      <a:pt x="7" y="43"/>
                    </a:lnTo>
                    <a:lnTo>
                      <a:pt x="8" y="43"/>
                    </a:lnTo>
                    <a:lnTo>
                      <a:pt x="8" y="42"/>
                    </a:lnTo>
                    <a:lnTo>
                      <a:pt x="8" y="41"/>
                    </a:lnTo>
                    <a:lnTo>
                      <a:pt x="8" y="40"/>
                    </a:lnTo>
                    <a:lnTo>
                      <a:pt x="9" y="40"/>
                    </a:lnTo>
                    <a:lnTo>
                      <a:pt x="9" y="41"/>
                    </a:lnTo>
                    <a:lnTo>
                      <a:pt x="11" y="41"/>
                    </a:lnTo>
                    <a:lnTo>
                      <a:pt x="12" y="41"/>
                    </a:lnTo>
                    <a:lnTo>
                      <a:pt x="12" y="40"/>
                    </a:lnTo>
                    <a:lnTo>
                      <a:pt x="12" y="39"/>
                    </a:lnTo>
                    <a:lnTo>
                      <a:pt x="12" y="38"/>
                    </a:lnTo>
                    <a:lnTo>
                      <a:pt x="13" y="38"/>
                    </a:lnTo>
                    <a:lnTo>
                      <a:pt x="14" y="38"/>
                    </a:lnTo>
                    <a:lnTo>
                      <a:pt x="15" y="38"/>
                    </a:lnTo>
                    <a:lnTo>
                      <a:pt x="16" y="38"/>
                    </a:lnTo>
                    <a:lnTo>
                      <a:pt x="16" y="39"/>
                    </a:lnTo>
                    <a:lnTo>
                      <a:pt x="15" y="39"/>
                    </a:lnTo>
                    <a:lnTo>
                      <a:pt x="15" y="40"/>
                    </a:lnTo>
                    <a:lnTo>
                      <a:pt x="16" y="40"/>
                    </a:lnTo>
                    <a:lnTo>
                      <a:pt x="17" y="40"/>
                    </a:lnTo>
                    <a:lnTo>
                      <a:pt x="17" y="39"/>
                    </a:lnTo>
                    <a:lnTo>
                      <a:pt x="17" y="38"/>
                    </a:lnTo>
                    <a:lnTo>
                      <a:pt x="17" y="37"/>
                    </a:lnTo>
                    <a:lnTo>
                      <a:pt x="17" y="35"/>
                    </a:lnTo>
                    <a:lnTo>
                      <a:pt x="18" y="35"/>
                    </a:lnTo>
                    <a:lnTo>
                      <a:pt x="18" y="34"/>
                    </a:lnTo>
                    <a:lnTo>
                      <a:pt x="19" y="35"/>
                    </a:lnTo>
                    <a:lnTo>
                      <a:pt x="18" y="35"/>
                    </a:lnTo>
                    <a:lnTo>
                      <a:pt x="18" y="37"/>
                    </a:lnTo>
                    <a:lnTo>
                      <a:pt x="19" y="37"/>
                    </a:lnTo>
                    <a:lnTo>
                      <a:pt x="20" y="37"/>
                    </a:lnTo>
                    <a:lnTo>
                      <a:pt x="21" y="35"/>
                    </a:lnTo>
                    <a:lnTo>
                      <a:pt x="21" y="34"/>
                    </a:lnTo>
                    <a:lnTo>
                      <a:pt x="20" y="34"/>
                    </a:lnTo>
                    <a:lnTo>
                      <a:pt x="19" y="33"/>
                    </a:lnTo>
                    <a:lnTo>
                      <a:pt x="19" y="32"/>
                    </a:lnTo>
                    <a:lnTo>
                      <a:pt x="19" y="31"/>
                    </a:lnTo>
                    <a:lnTo>
                      <a:pt x="20" y="31"/>
                    </a:lnTo>
                    <a:lnTo>
                      <a:pt x="20" y="32"/>
                    </a:lnTo>
                    <a:lnTo>
                      <a:pt x="21" y="32"/>
                    </a:lnTo>
                    <a:lnTo>
                      <a:pt x="22" y="32"/>
                    </a:lnTo>
                    <a:lnTo>
                      <a:pt x="24" y="32"/>
                    </a:lnTo>
                    <a:lnTo>
                      <a:pt x="25" y="32"/>
                    </a:lnTo>
                    <a:lnTo>
                      <a:pt x="26" y="32"/>
                    </a:lnTo>
                    <a:lnTo>
                      <a:pt x="27" y="32"/>
                    </a:lnTo>
                    <a:lnTo>
                      <a:pt x="27" y="31"/>
                    </a:lnTo>
                    <a:lnTo>
                      <a:pt x="27" y="30"/>
                    </a:lnTo>
                    <a:lnTo>
                      <a:pt x="27" y="29"/>
                    </a:lnTo>
                    <a:lnTo>
                      <a:pt x="28" y="29"/>
                    </a:lnTo>
                    <a:lnTo>
                      <a:pt x="29" y="29"/>
                    </a:lnTo>
                    <a:lnTo>
                      <a:pt x="29" y="30"/>
                    </a:lnTo>
                    <a:lnTo>
                      <a:pt x="30" y="30"/>
                    </a:lnTo>
                    <a:lnTo>
                      <a:pt x="31" y="29"/>
                    </a:lnTo>
                    <a:lnTo>
                      <a:pt x="32" y="29"/>
                    </a:lnTo>
                    <a:lnTo>
                      <a:pt x="32" y="28"/>
                    </a:lnTo>
                    <a:lnTo>
                      <a:pt x="32" y="27"/>
                    </a:lnTo>
                    <a:lnTo>
                      <a:pt x="33" y="27"/>
                    </a:lnTo>
                    <a:lnTo>
                      <a:pt x="33" y="26"/>
                    </a:lnTo>
                    <a:lnTo>
                      <a:pt x="34" y="26"/>
                    </a:lnTo>
                    <a:lnTo>
                      <a:pt x="34" y="27"/>
                    </a:lnTo>
                    <a:lnTo>
                      <a:pt x="35" y="27"/>
                    </a:lnTo>
                    <a:lnTo>
                      <a:pt x="35" y="26"/>
                    </a:lnTo>
                    <a:lnTo>
                      <a:pt x="34" y="26"/>
                    </a:lnTo>
                    <a:lnTo>
                      <a:pt x="34" y="25"/>
                    </a:lnTo>
                    <a:lnTo>
                      <a:pt x="34" y="24"/>
                    </a:lnTo>
                    <a:lnTo>
                      <a:pt x="35" y="24"/>
                    </a:lnTo>
                    <a:lnTo>
                      <a:pt x="37" y="22"/>
                    </a:lnTo>
                    <a:lnTo>
                      <a:pt x="35" y="21"/>
                    </a:lnTo>
                    <a:lnTo>
                      <a:pt x="34" y="20"/>
                    </a:lnTo>
                    <a:lnTo>
                      <a:pt x="34" y="21"/>
                    </a:lnTo>
                    <a:lnTo>
                      <a:pt x="33" y="22"/>
                    </a:lnTo>
                    <a:lnTo>
                      <a:pt x="32" y="22"/>
                    </a:lnTo>
                    <a:lnTo>
                      <a:pt x="31" y="22"/>
                    </a:lnTo>
                    <a:lnTo>
                      <a:pt x="31" y="21"/>
                    </a:lnTo>
                    <a:lnTo>
                      <a:pt x="31" y="20"/>
                    </a:lnTo>
                    <a:lnTo>
                      <a:pt x="32" y="19"/>
                    </a:lnTo>
                    <a:lnTo>
                      <a:pt x="33" y="19"/>
                    </a:lnTo>
                    <a:lnTo>
                      <a:pt x="33" y="18"/>
                    </a:lnTo>
                    <a:lnTo>
                      <a:pt x="33" y="17"/>
                    </a:lnTo>
                    <a:lnTo>
                      <a:pt x="34" y="17"/>
                    </a:lnTo>
                    <a:lnTo>
                      <a:pt x="34" y="16"/>
                    </a:lnTo>
                    <a:lnTo>
                      <a:pt x="35" y="15"/>
                    </a:lnTo>
                    <a:lnTo>
                      <a:pt x="35" y="14"/>
                    </a:lnTo>
                    <a:lnTo>
                      <a:pt x="37" y="14"/>
                    </a:lnTo>
                    <a:lnTo>
                      <a:pt x="38" y="13"/>
                    </a:lnTo>
                    <a:lnTo>
                      <a:pt x="38" y="12"/>
                    </a:lnTo>
                    <a:lnTo>
                      <a:pt x="39" y="11"/>
                    </a:lnTo>
                    <a:lnTo>
                      <a:pt x="39" y="9"/>
                    </a:lnTo>
                    <a:lnTo>
                      <a:pt x="40" y="8"/>
                    </a:lnTo>
                    <a:lnTo>
                      <a:pt x="41" y="8"/>
                    </a:lnTo>
                    <a:lnTo>
                      <a:pt x="42" y="8"/>
                    </a:lnTo>
                    <a:lnTo>
                      <a:pt x="42" y="9"/>
                    </a:lnTo>
                    <a:lnTo>
                      <a:pt x="43" y="9"/>
                    </a:lnTo>
                    <a:lnTo>
                      <a:pt x="45" y="8"/>
                    </a:lnTo>
                    <a:lnTo>
                      <a:pt x="45" y="7"/>
                    </a:lnTo>
                    <a:lnTo>
                      <a:pt x="45" y="6"/>
                    </a:lnTo>
                    <a:lnTo>
                      <a:pt x="45" y="5"/>
                    </a:lnTo>
                    <a:lnTo>
                      <a:pt x="45" y="4"/>
                    </a:lnTo>
                    <a:lnTo>
                      <a:pt x="46" y="3"/>
                    </a:lnTo>
                    <a:lnTo>
                      <a:pt x="46" y="2"/>
                    </a:lnTo>
                    <a:lnTo>
                      <a:pt x="47" y="2"/>
                    </a:lnTo>
                    <a:lnTo>
                      <a:pt x="48" y="3"/>
                    </a:lnTo>
                    <a:lnTo>
                      <a:pt x="50" y="3"/>
                    </a:lnTo>
                    <a:lnTo>
                      <a:pt x="50" y="2"/>
                    </a:lnTo>
                    <a:lnTo>
                      <a:pt x="50" y="1"/>
                    </a:lnTo>
                    <a:lnTo>
                      <a:pt x="52" y="1"/>
                    </a:lnTo>
                    <a:lnTo>
                      <a:pt x="53" y="1"/>
                    </a:lnTo>
                    <a:lnTo>
                      <a:pt x="54" y="1"/>
                    </a:lnTo>
                    <a:lnTo>
                      <a:pt x="71" y="1"/>
                    </a:lnTo>
                    <a:lnTo>
                      <a:pt x="85" y="1"/>
                    </a:lnTo>
                    <a:lnTo>
                      <a:pt x="86" y="1"/>
                    </a:lnTo>
                    <a:lnTo>
                      <a:pt x="87" y="1"/>
                    </a:lnTo>
                    <a:lnTo>
                      <a:pt x="92" y="1"/>
                    </a:lnTo>
                    <a:lnTo>
                      <a:pt x="95" y="1"/>
                    </a:lnTo>
                    <a:lnTo>
                      <a:pt x="130" y="0"/>
                    </a:lnTo>
                    <a:lnTo>
                      <a:pt x="144" y="0"/>
                    </a:lnTo>
                    <a:lnTo>
                      <a:pt x="148" y="0"/>
                    </a:lnTo>
                    <a:lnTo>
                      <a:pt x="156" y="0"/>
                    </a:lnTo>
                    <a:lnTo>
                      <a:pt x="208" y="0"/>
                    </a:lnTo>
                    <a:lnTo>
                      <a:pt x="219" y="0"/>
                    </a:lnTo>
                    <a:lnTo>
                      <a:pt x="224" y="0"/>
                    </a:lnTo>
                    <a:lnTo>
                      <a:pt x="226" y="0"/>
                    </a:lnTo>
                    <a:lnTo>
                      <a:pt x="231" y="0"/>
                    </a:lnTo>
                    <a:lnTo>
                      <a:pt x="238" y="0"/>
                    </a:lnTo>
                    <a:lnTo>
                      <a:pt x="247" y="0"/>
                    </a:lnTo>
                    <a:lnTo>
                      <a:pt x="249" y="0"/>
                    </a:lnTo>
                    <a:lnTo>
                      <a:pt x="260" y="0"/>
                    </a:lnTo>
                    <a:close/>
                  </a:path>
                </a:pathLst>
              </a:custGeom>
              <a:solidFill>
                <a:srgbClr val="2B85ED"/>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3" name="Freeform 291">
                <a:extLst>
                  <a:ext uri="{FF2B5EF4-FFF2-40B4-BE49-F238E27FC236}">
                    <a16:creationId xmlns:a16="http://schemas.microsoft.com/office/drawing/2014/main" id="{D393CCC4-6C49-2F77-71C7-05B82E0D8E36}"/>
                  </a:ext>
                </a:extLst>
              </p:cNvPr>
              <p:cNvSpPr>
                <a:spLocks/>
              </p:cNvSpPr>
              <p:nvPr/>
            </p:nvSpPr>
            <p:spPr bwMode="auto">
              <a:xfrm>
                <a:off x="4524376" y="3443288"/>
                <a:ext cx="314325" cy="811213"/>
              </a:xfrm>
              <a:custGeom>
                <a:avLst/>
                <a:gdLst>
                  <a:gd name="T0" fmla="*/ 193 w 198"/>
                  <a:gd name="T1" fmla="*/ 214 h 511"/>
                  <a:gd name="T2" fmla="*/ 193 w 198"/>
                  <a:gd name="T3" fmla="*/ 220 h 511"/>
                  <a:gd name="T4" fmla="*/ 196 w 198"/>
                  <a:gd name="T5" fmla="*/ 228 h 511"/>
                  <a:gd name="T6" fmla="*/ 194 w 198"/>
                  <a:gd name="T7" fmla="*/ 234 h 511"/>
                  <a:gd name="T8" fmla="*/ 195 w 198"/>
                  <a:gd name="T9" fmla="*/ 245 h 511"/>
                  <a:gd name="T10" fmla="*/ 196 w 198"/>
                  <a:gd name="T11" fmla="*/ 250 h 511"/>
                  <a:gd name="T12" fmla="*/ 197 w 198"/>
                  <a:gd name="T13" fmla="*/ 254 h 511"/>
                  <a:gd name="T14" fmla="*/ 196 w 198"/>
                  <a:gd name="T15" fmla="*/ 259 h 511"/>
                  <a:gd name="T16" fmla="*/ 195 w 198"/>
                  <a:gd name="T17" fmla="*/ 267 h 511"/>
                  <a:gd name="T18" fmla="*/ 195 w 198"/>
                  <a:gd name="T19" fmla="*/ 271 h 511"/>
                  <a:gd name="T20" fmla="*/ 195 w 198"/>
                  <a:gd name="T21" fmla="*/ 277 h 511"/>
                  <a:gd name="T22" fmla="*/ 195 w 198"/>
                  <a:gd name="T23" fmla="*/ 279 h 511"/>
                  <a:gd name="T24" fmla="*/ 196 w 198"/>
                  <a:gd name="T25" fmla="*/ 285 h 511"/>
                  <a:gd name="T26" fmla="*/ 197 w 198"/>
                  <a:gd name="T27" fmla="*/ 293 h 511"/>
                  <a:gd name="T28" fmla="*/ 196 w 198"/>
                  <a:gd name="T29" fmla="*/ 298 h 511"/>
                  <a:gd name="T30" fmla="*/ 197 w 198"/>
                  <a:gd name="T31" fmla="*/ 335 h 511"/>
                  <a:gd name="T32" fmla="*/ 197 w 198"/>
                  <a:gd name="T33" fmla="*/ 367 h 511"/>
                  <a:gd name="T34" fmla="*/ 197 w 198"/>
                  <a:gd name="T35" fmla="*/ 431 h 511"/>
                  <a:gd name="T36" fmla="*/ 192 w 198"/>
                  <a:gd name="T37" fmla="*/ 458 h 511"/>
                  <a:gd name="T38" fmla="*/ 179 w 198"/>
                  <a:gd name="T39" fmla="*/ 472 h 511"/>
                  <a:gd name="T40" fmla="*/ 172 w 198"/>
                  <a:gd name="T41" fmla="*/ 484 h 511"/>
                  <a:gd name="T42" fmla="*/ 161 w 198"/>
                  <a:gd name="T43" fmla="*/ 499 h 511"/>
                  <a:gd name="T44" fmla="*/ 146 w 198"/>
                  <a:gd name="T45" fmla="*/ 501 h 511"/>
                  <a:gd name="T46" fmla="*/ 122 w 198"/>
                  <a:gd name="T47" fmla="*/ 507 h 511"/>
                  <a:gd name="T48" fmla="*/ 109 w 198"/>
                  <a:gd name="T49" fmla="*/ 509 h 511"/>
                  <a:gd name="T50" fmla="*/ 80 w 198"/>
                  <a:gd name="T51" fmla="*/ 499 h 511"/>
                  <a:gd name="T52" fmla="*/ 56 w 198"/>
                  <a:gd name="T53" fmla="*/ 463 h 511"/>
                  <a:gd name="T54" fmla="*/ 46 w 198"/>
                  <a:gd name="T55" fmla="*/ 458 h 511"/>
                  <a:gd name="T56" fmla="*/ 39 w 198"/>
                  <a:gd name="T57" fmla="*/ 450 h 511"/>
                  <a:gd name="T58" fmla="*/ 38 w 198"/>
                  <a:gd name="T59" fmla="*/ 436 h 511"/>
                  <a:gd name="T60" fmla="*/ 32 w 198"/>
                  <a:gd name="T61" fmla="*/ 429 h 511"/>
                  <a:gd name="T62" fmla="*/ 28 w 198"/>
                  <a:gd name="T63" fmla="*/ 420 h 511"/>
                  <a:gd name="T64" fmla="*/ 26 w 198"/>
                  <a:gd name="T65" fmla="*/ 417 h 511"/>
                  <a:gd name="T66" fmla="*/ 20 w 198"/>
                  <a:gd name="T67" fmla="*/ 413 h 511"/>
                  <a:gd name="T68" fmla="*/ 13 w 198"/>
                  <a:gd name="T69" fmla="*/ 406 h 511"/>
                  <a:gd name="T70" fmla="*/ 10 w 198"/>
                  <a:gd name="T71" fmla="*/ 398 h 511"/>
                  <a:gd name="T72" fmla="*/ 10 w 198"/>
                  <a:gd name="T73" fmla="*/ 388 h 511"/>
                  <a:gd name="T74" fmla="*/ 11 w 198"/>
                  <a:gd name="T75" fmla="*/ 380 h 511"/>
                  <a:gd name="T76" fmla="*/ 5 w 198"/>
                  <a:gd name="T77" fmla="*/ 371 h 511"/>
                  <a:gd name="T78" fmla="*/ 0 w 198"/>
                  <a:gd name="T79" fmla="*/ 357 h 511"/>
                  <a:gd name="T80" fmla="*/ 0 w 198"/>
                  <a:gd name="T81" fmla="*/ 294 h 511"/>
                  <a:gd name="T82" fmla="*/ 0 w 198"/>
                  <a:gd name="T83" fmla="*/ 201 h 511"/>
                  <a:gd name="T84" fmla="*/ 0 w 198"/>
                  <a:gd name="T85" fmla="*/ 125 h 511"/>
                  <a:gd name="T86" fmla="*/ 0 w 198"/>
                  <a:gd name="T87" fmla="*/ 52 h 511"/>
                  <a:gd name="T88" fmla="*/ 56 w 198"/>
                  <a:gd name="T89" fmla="*/ 0 h 511"/>
                  <a:gd name="T90" fmla="*/ 120 w 198"/>
                  <a:gd name="T91" fmla="*/ 0 h 511"/>
                  <a:gd name="T92" fmla="*/ 143 w 198"/>
                  <a:gd name="T93" fmla="*/ 67 h 511"/>
                  <a:gd name="T94" fmla="*/ 153 w 198"/>
                  <a:gd name="T95" fmla="*/ 90 h 511"/>
                  <a:gd name="T96" fmla="*/ 157 w 198"/>
                  <a:gd name="T97" fmla="*/ 101 h 511"/>
                  <a:gd name="T98" fmla="*/ 166 w 198"/>
                  <a:gd name="T99" fmla="*/ 112 h 511"/>
                  <a:gd name="T100" fmla="*/ 166 w 198"/>
                  <a:gd name="T101" fmla="*/ 121 h 511"/>
                  <a:gd name="T102" fmla="*/ 169 w 198"/>
                  <a:gd name="T103" fmla="*/ 133 h 511"/>
                  <a:gd name="T104" fmla="*/ 168 w 198"/>
                  <a:gd name="T105" fmla="*/ 138 h 511"/>
                  <a:gd name="T106" fmla="*/ 173 w 198"/>
                  <a:gd name="T107" fmla="*/ 146 h 511"/>
                  <a:gd name="T108" fmla="*/ 175 w 198"/>
                  <a:gd name="T109" fmla="*/ 153 h 511"/>
                  <a:gd name="T110" fmla="*/ 179 w 198"/>
                  <a:gd name="T111" fmla="*/ 161 h 511"/>
                  <a:gd name="T112" fmla="*/ 186 w 198"/>
                  <a:gd name="T113" fmla="*/ 166 h 511"/>
                  <a:gd name="T114" fmla="*/ 185 w 198"/>
                  <a:gd name="T115" fmla="*/ 175 h 511"/>
                  <a:gd name="T116" fmla="*/ 187 w 198"/>
                  <a:gd name="T117" fmla="*/ 180 h 511"/>
                  <a:gd name="T118" fmla="*/ 190 w 198"/>
                  <a:gd name="T119" fmla="*/ 187 h 511"/>
                  <a:gd name="T120" fmla="*/ 190 w 198"/>
                  <a:gd name="T121" fmla="*/ 195 h 511"/>
                  <a:gd name="T122" fmla="*/ 190 w 198"/>
                  <a:gd name="T123" fmla="*/ 20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511">
                    <a:moveTo>
                      <a:pt x="191" y="206"/>
                    </a:moveTo>
                    <a:lnTo>
                      <a:pt x="191" y="207"/>
                    </a:lnTo>
                    <a:lnTo>
                      <a:pt x="191" y="208"/>
                    </a:lnTo>
                    <a:lnTo>
                      <a:pt x="191" y="210"/>
                    </a:lnTo>
                    <a:lnTo>
                      <a:pt x="192" y="211"/>
                    </a:lnTo>
                    <a:lnTo>
                      <a:pt x="191" y="212"/>
                    </a:lnTo>
                    <a:lnTo>
                      <a:pt x="191" y="213"/>
                    </a:lnTo>
                    <a:lnTo>
                      <a:pt x="191" y="214"/>
                    </a:lnTo>
                    <a:lnTo>
                      <a:pt x="191" y="213"/>
                    </a:lnTo>
                    <a:lnTo>
                      <a:pt x="192" y="213"/>
                    </a:lnTo>
                    <a:lnTo>
                      <a:pt x="192" y="214"/>
                    </a:lnTo>
                    <a:lnTo>
                      <a:pt x="193" y="214"/>
                    </a:lnTo>
                    <a:lnTo>
                      <a:pt x="193" y="215"/>
                    </a:lnTo>
                    <a:lnTo>
                      <a:pt x="193" y="216"/>
                    </a:lnTo>
                    <a:lnTo>
                      <a:pt x="192" y="216"/>
                    </a:lnTo>
                    <a:lnTo>
                      <a:pt x="193" y="216"/>
                    </a:lnTo>
                    <a:lnTo>
                      <a:pt x="193" y="217"/>
                    </a:lnTo>
                    <a:lnTo>
                      <a:pt x="194" y="217"/>
                    </a:lnTo>
                    <a:lnTo>
                      <a:pt x="194" y="218"/>
                    </a:lnTo>
                    <a:lnTo>
                      <a:pt x="193" y="219"/>
                    </a:lnTo>
                    <a:lnTo>
                      <a:pt x="194" y="219"/>
                    </a:lnTo>
                    <a:lnTo>
                      <a:pt x="193" y="220"/>
                    </a:lnTo>
                    <a:lnTo>
                      <a:pt x="194" y="220"/>
                    </a:lnTo>
                    <a:lnTo>
                      <a:pt x="193" y="220"/>
                    </a:lnTo>
                    <a:lnTo>
                      <a:pt x="193" y="221"/>
                    </a:lnTo>
                    <a:lnTo>
                      <a:pt x="193" y="223"/>
                    </a:lnTo>
                    <a:lnTo>
                      <a:pt x="193" y="224"/>
                    </a:lnTo>
                    <a:lnTo>
                      <a:pt x="194" y="224"/>
                    </a:lnTo>
                    <a:lnTo>
                      <a:pt x="194" y="225"/>
                    </a:lnTo>
                    <a:lnTo>
                      <a:pt x="194" y="224"/>
                    </a:lnTo>
                    <a:lnTo>
                      <a:pt x="194" y="225"/>
                    </a:lnTo>
                    <a:lnTo>
                      <a:pt x="194" y="226"/>
                    </a:lnTo>
                    <a:lnTo>
                      <a:pt x="195" y="226"/>
                    </a:lnTo>
                    <a:lnTo>
                      <a:pt x="195" y="227"/>
                    </a:lnTo>
                    <a:lnTo>
                      <a:pt x="196" y="227"/>
                    </a:lnTo>
                    <a:lnTo>
                      <a:pt x="196" y="228"/>
                    </a:lnTo>
                    <a:lnTo>
                      <a:pt x="196" y="229"/>
                    </a:lnTo>
                    <a:lnTo>
                      <a:pt x="196" y="230"/>
                    </a:lnTo>
                    <a:lnTo>
                      <a:pt x="195" y="230"/>
                    </a:lnTo>
                    <a:lnTo>
                      <a:pt x="194" y="230"/>
                    </a:lnTo>
                    <a:lnTo>
                      <a:pt x="194" y="231"/>
                    </a:lnTo>
                    <a:lnTo>
                      <a:pt x="194" y="232"/>
                    </a:lnTo>
                    <a:lnTo>
                      <a:pt x="193" y="232"/>
                    </a:lnTo>
                    <a:lnTo>
                      <a:pt x="194" y="232"/>
                    </a:lnTo>
                    <a:lnTo>
                      <a:pt x="194" y="233"/>
                    </a:lnTo>
                    <a:lnTo>
                      <a:pt x="193" y="233"/>
                    </a:lnTo>
                    <a:lnTo>
                      <a:pt x="194" y="233"/>
                    </a:lnTo>
                    <a:lnTo>
                      <a:pt x="194" y="234"/>
                    </a:lnTo>
                    <a:lnTo>
                      <a:pt x="194" y="236"/>
                    </a:lnTo>
                    <a:lnTo>
                      <a:pt x="194" y="237"/>
                    </a:lnTo>
                    <a:lnTo>
                      <a:pt x="193" y="239"/>
                    </a:lnTo>
                    <a:lnTo>
                      <a:pt x="193" y="240"/>
                    </a:lnTo>
                    <a:lnTo>
                      <a:pt x="193" y="241"/>
                    </a:lnTo>
                    <a:lnTo>
                      <a:pt x="194" y="241"/>
                    </a:lnTo>
                    <a:lnTo>
                      <a:pt x="194" y="242"/>
                    </a:lnTo>
                    <a:lnTo>
                      <a:pt x="195" y="242"/>
                    </a:lnTo>
                    <a:lnTo>
                      <a:pt x="195" y="243"/>
                    </a:lnTo>
                    <a:lnTo>
                      <a:pt x="194" y="243"/>
                    </a:lnTo>
                    <a:lnTo>
                      <a:pt x="194" y="244"/>
                    </a:lnTo>
                    <a:lnTo>
                      <a:pt x="195" y="245"/>
                    </a:lnTo>
                    <a:lnTo>
                      <a:pt x="194" y="246"/>
                    </a:lnTo>
                    <a:lnTo>
                      <a:pt x="195" y="246"/>
                    </a:lnTo>
                    <a:lnTo>
                      <a:pt x="194" y="246"/>
                    </a:lnTo>
                    <a:lnTo>
                      <a:pt x="194" y="247"/>
                    </a:lnTo>
                    <a:lnTo>
                      <a:pt x="194" y="249"/>
                    </a:lnTo>
                    <a:lnTo>
                      <a:pt x="194" y="247"/>
                    </a:lnTo>
                    <a:lnTo>
                      <a:pt x="194" y="249"/>
                    </a:lnTo>
                    <a:lnTo>
                      <a:pt x="194" y="250"/>
                    </a:lnTo>
                    <a:lnTo>
                      <a:pt x="194" y="249"/>
                    </a:lnTo>
                    <a:lnTo>
                      <a:pt x="195" y="249"/>
                    </a:lnTo>
                    <a:lnTo>
                      <a:pt x="195" y="250"/>
                    </a:lnTo>
                    <a:lnTo>
                      <a:pt x="196" y="250"/>
                    </a:lnTo>
                    <a:lnTo>
                      <a:pt x="196" y="251"/>
                    </a:lnTo>
                    <a:lnTo>
                      <a:pt x="195" y="251"/>
                    </a:lnTo>
                    <a:lnTo>
                      <a:pt x="196" y="251"/>
                    </a:lnTo>
                    <a:lnTo>
                      <a:pt x="197" y="252"/>
                    </a:lnTo>
                    <a:lnTo>
                      <a:pt x="198" y="252"/>
                    </a:lnTo>
                    <a:lnTo>
                      <a:pt x="197" y="253"/>
                    </a:lnTo>
                    <a:lnTo>
                      <a:pt x="198" y="253"/>
                    </a:lnTo>
                    <a:lnTo>
                      <a:pt x="197" y="253"/>
                    </a:lnTo>
                    <a:lnTo>
                      <a:pt x="197" y="254"/>
                    </a:lnTo>
                    <a:lnTo>
                      <a:pt x="198" y="253"/>
                    </a:lnTo>
                    <a:lnTo>
                      <a:pt x="198" y="254"/>
                    </a:lnTo>
                    <a:lnTo>
                      <a:pt x="197" y="254"/>
                    </a:lnTo>
                    <a:lnTo>
                      <a:pt x="197" y="255"/>
                    </a:lnTo>
                    <a:lnTo>
                      <a:pt x="196" y="255"/>
                    </a:lnTo>
                    <a:lnTo>
                      <a:pt x="197" y="255"/>
                    </a:lnTo>
                    <a:lnTo>
                      <a:pt x="197" y="256"/>
                    </a:lnTo>
                    <a:lnTo>
                      <a:pt x="197" y="257"/>
                    </a:lnTo>
                    <a:lnTo>
                      <a:pt x="197" y="258"/>
                    </a:lnTo>
                    <a:lnTo>
                      <a:pt x="196" y="258"/>
                    </a:lnTo>
                    <a:lnTo>
                      <a:pt x="197" y="258"/>
                    </a:lnTo>
                    <a:lnTo>
                      <a:pt x="196" y="258"/>
                    </a:lnTo>
                    <a:lnTo>
                      <a:pt x="196" y="259"/>
                    </a:lnTo>
                    <a:lnTo>
                      <a:pt x="197" y="259"/>
                    </a:lnTo>
                    <a:lnTo>
                      <a:pt x="196" y="259"/>
                    </a:lnTo>
                    <a:lnTo>
                      <a:pt x="196" y="261"/>
                    </a:lnTo>
                    <a:lnTo>
                      <a:pt x="196" y="262"/>
                    </a:lnTo>
                    <a:lnTo>
                      <a:pt x="196" y="263"/>
                    </a:lnTo>
                    <a:lnTo>
                      <a:pt x="196" y="264"/>
                    </a:lnTo>
                    <a:lnTo>
                      <a:pt x="197" y="264"/>
                    </a:lnTo>
                    <a:lnTo>
                      <a:pt x="196" y="264"/>
                    </a:lnTo>
                    <a:lnTo>
                      <a:pt x="196" y="265"/>
                    </a:lnTo>
                    <a:lnTo>
                      <a:pt x="195" y="265"/>
                    </a:lnTo>
                    <a:lnTo>
                      <a:pt x="195" y="266"/>
                    </a:lnTo>
                    <a:lnTo>
                      <a:pt x="196" y="266"/>
                    </a:lnTo>
                    <a:lnTo>
                      <a:pt x="195" y="266"/>
                    </a:lnTo>
                    <a:lnTo>
                      <a:pt x="195" y="267"/>
                    </a:lnTo>
                    <a:lnTo>
                      <a:pt x="194" y="267"/>
                    </a:lnTo>
                    <a:lnTo>
                      <a:pt x="193" y="267"/>
                    </a:lnTo>
                    <a:lnTo>
                      <a:pt x="194" y="267"/>
                    </a:lnTo>
                    <a:lnTo>
                      <a:pt x="194" y="268"/>
                    </a:lnTo>
                    <a:lnTo>
                      <a:pt x="193" y="269"/>
                    </a:lnTo>
                    <a:lnTo>
                      <a:pt x="194" y="269"/>
                    </a:lnTo>
                    <a:lnTo>
                      <a:pt x="194" y="270"/>
                    </a:lnTo>
                    <a:lnTo>
                      <a:pt x="195" y="270"/>
                    </a:lnTo>
                    <a:lnTo>
                      <a:pt x="194" y="271"/>
                    </a:lnTo>
                    <a:lnTo>
                      <a:pt x="195" y="271"/>
                    </a:lnTo>
                    <a:lnTo>
                      <a:pt x="194" y="271"/>
                    </a:lnTo>
                    <a:lnTo>
                      <a:pt x="195" y="271"/>
                    </a:lnTo>
                    <a:lnTo>
                      <a:pt x="194" y="272"/>
                    </a:lnTo>
                    <a:lnTo>
                      <a:pt x="194" y="274"/>
                    </a:lnTo>
                    <a:lnTo>
                      <a:pt x="195" y="274"/>
                    </a:lnTo>
                    <a:lnTo>
                      <a:pt x="194" y="274"/>
                    </a:lnTo>
                    <a:lnTo>
                      <a:pt x="195" y="274"/>
                    </a:lnTo>
                    <a:lnTo>
                      <a:pt x="195" y="275"/>
                    </a:lnTo>
                    <a:lnTo>
                      <a:pt x="194" y="275"/>
                    </a:lnTo>
                    <a:lnTo>
                      <a:pt x="194" y="276"/>
                    </a:lnTo>
                    <a:lnTo>
                      <a:pt x="194" y="277"/>
                    </a:lnTo>
                    <a:lnTo>
                      <a:pt x="195" y="277"/>
                    </a:lnTo>
                    <a:lnTo>
                      <a:pt x="196" y="277"/>
                    </a:lnTo>
                    <a:lnTo>
                      <a:pt x="195" y="277"/>
                    </a:lnTo>
                    <a:lnTo>
                      <a:pt x="196" y="277"/>
                    </a:lnTo>
                    <a:lnTo>
                      <a:pt x="195" y="277"/>
                    </a:lnTo>
                    <a:lnTo>
                      <a:pt x="195" y="278"/>
                    </a:lnTo>
                    <a:lnTo>
                      <a:pt x="196" y="278"/>
                    </a:lnTo>
                    <a:lnTo>
                      <a:pt x="195" y="278"/>
                    </a:lnTo>
                    <a:lnTo>
                      <a:pt x="196" y="278"/>
                    </a:lnTo>
                    <a:lnTo>
                      <a:pt x="196" y="279"/>
                    </a:lnTo>
                    <a:lnTo>
                      <a:pt x="195" y="279"/>
                    </a:lnTo>
                    <a:lnTo>
                      <a:pt x="196" y="279"/>
                    </a:lnTo>
                    <a:lnTo>
                      <a:pt x="195" y="279"/>
                    </a:lnTo>
                    <a:lnTo>
                      <a:pt x="196" y="279"/>
                    </a:lnTo>
                    <a:lnTo>
                      <a:pt x="195" y="279"/>
                    </a:lnTo>
                    <a:lnTo>
                      <a:pt x="195" y="280"/>
                    </a:lnTo>
                    <a:lnTo>
                      <a:pt x="196" y="280"/>
                    </a:lnTo>
                    <a:lnTo>
                      <a:pt x="195" y="280"/>
                    </a:lnTo>
                    <a:lnTo>
                      <a:pt x="196" y="281"/>
                    </a:lnTo>
                    <a:lnTo>
                      <a:pt x="195" y="281"/>
                    </a:lnTo>
                    <a:lnTo>
                      <a:pt x="195" y="282"/>
                    </a:lnTo>
                    <a:lnTo>
                      <a:pt x="195" y="281"/>
                    </a:lnTo>
                    <a:lnTo>
                      <a:pt x="195" y="282"/>
                    </a:lnTo>
                    <a:lnTo>
                      <a:pt x="195" y="283"/>
                    </a:lnTo>
                    <a:lnTo>
                      <a:pt x="195" y="284"/>
                    </a:lnTo>
                    <a:lnTo>
                      <a:pt x="196" y="284"/>
                    </a:lnTo>
                    <a:lnTo>
                      <a:pt x="196" y="285"/>
                    </a:lnTo>
                    <a:lnTo>
                      <a:pt x="197" y="285"/>
                    </a:lnTo>
                    <a:lnTo>
                      <a:pt x="197" y="287"/>
                    </a:lnTo>
                    <a:lnTo>
                      <a:pt x="197" y="288"/>
                    </a:lnTo>
                    <a:lnTo>
                      <a:pt x="198" y="288"/>
                    </a:lnTo>
                    <a:lnTo>
                      <a:pt x="198" y="289"/>
                    </a:lnTo>
                    <a:lnTo>
                      <a:pt x="198" y="290"/>
                    </a:lnTo>
                    <a:lnTo>
                      <a:pt x="198" y="291"/>
                    </a:lnTo>
                    <a:lnTo>
                      <a:pt x="197" y="291"/>
                    </a:lnTo>
                    <a:lnTo>
                      <a:pt x="197" y="292"/>
                    </a:lnTo>
                    <a:lnTo>
                      <a:pt x="197" y="291"/>
                    </a:lnTo>
                    <a:lnTo>
                      <a:pt x="197" y="292"/>
                    </a:lnTo>
                    <a:lnTo>
                      <a:pt x="197" y="293"/>
                    </a:lnTo>
                    <a:lnTo>
                      <a:pt x="196" y="293"/>
                    </a:lnTo>
                    <a:lnTo>
                      <a:pt x="196" y="294"/>
                    </a:lnTo>
                    <a:lnTo>
                      <a:pt x="195" y="294"/>
                    </a:lnTo>
                    <a:lnTo>
                      <a:pt x="196" y="294"/>
                    </a:lnTo>
                    <a:lnTo>
                      <a:pt x="195" y="294"/>
                    </a:lnTo>
                    <a:lnTo>
                      <a:pt x="195" y="295"/>
                    </a:lnTo>
                    <a:lnTo>
                      <a:pt x="196" y="295"/>
                    </a:lnTo>
                    <a:lnTo>
                      <a:pt x="196" y="296"/>
                    </a:lnTo>
                    <a:lnTo>
                      <a:pt x="195" y="296"/>
                    </a:lnTo>
                    <a:lnTo>
                      <a:pt x="196" y="296"/>
                    </a:lnTo>
                    <a:lnTo>
                      <a:pt x="196" y="297"/>
                    </a:lnTo>
                    <a:lnTo>
                      <a:pt x="196" y="298"/>
                    </a:lnTo>
                    <a:lnTo>
                      <a:pt x="197" y="300"/>
                    </a:lnTo>
                    <a:lnTo>
                      <a:pt x="197" y="303"/>
                    </a:lnTo>
                    <a:lnTo>
                      <a:pt x="197" y="306"/>
                    </a:lnTo>
                    <a:lnTo>
                      <a:pt x="197" y="308"/>
                    </a:lnTo>
                    <a:lnTo>
                      <a:pt x="197" y="309"/>
                    </a:lnTo>
                    <a:lnTo>
                      <a:pt x="197" y="310"/>
                    </a:lnTo>
                    <a:lnTo>
                      <a:pt x="197" y="311"/>
                    </a:lnTo>
                    <a:lnTo>
                      <a:pt x="198" y="313"/>
                    </a:lnTo>
                    <a:lnTo>
                      <a:pt x="197" y="318"/>
                    </a:lnTo>
                    <a:lnTo>
                      <a:pt x="197" y="322"/>
                    </a:lnTo>
                    <a:lnTo>
                      <a:pt x="197" y="329"/>
                    </a:lnTo>
                    <a:lnTo>
                      <a:pt x="197" y="335"/>
                    </a:lnTo>
                    <a:lnTo>
                      <a:pt x="197" y="336"/>
                    </a:lnTo>
                    <a:lnTo>
                      <a:pt x="197" y="349"/>
                    </a:lnTo>
                    <a:lnTo>
                      <a:pt x="197" y="351"/>
                    </a:lnTo>
                    <a:lnTo>
                      <a:pt x="198" y="352"/>
                    </a:lnTo>
                    <a:lnTo>
                      <a:pt x="197" y="352"/>
                    </a:lnTo>
                    <a:lnTo>
                      <a:pt x="197" y="353"/>
                    </a:lnTo>
                    <a:lnTo>
                      <a:pt x="197" y="354"/>
                    </a:lnTo>
                    <a:lnTo>
                      <a:pt x="197" y="357"/>
                    </a:lnTo>
                    <a:lnTo>
                      <a:pt x="197" y="358"/>
                    </a:lnTo>
                    <a:lnTo>
                      <a:pt x="197" y="359"/>
                    </a:lnTo>
                    <a:lnTo>
                      <a:pt x="197" y="364"/>
                    </a:lnTo>
                    <a:lnTo>
                      <a:pt x="197" y="367"/>
                    </a:lnTo>
                    <a:lnTo>
                      <a:pt x="197" y="371"/>
                    </a:lnTo>
                    <a:lnTo>
                      <a:pt x="197" y="375"/>
                    </a:lnTo>
                    <a:lnTo>
                      <a:pt x="197" y="380"/>
                    </a:lnTo>
                    <a:lnTo>
                      <a:pt x="197" y="386"/>
                    </a:lnTo>
                    <a:lnTo>
                      <a:pt x="197" y="397"/>
                    </a:lnTo>
                    <a:lnTo>
                      <a:pt x="197" y="401"/>
                    </a:lnTo>
                    <a:lnTo>
                      <a:pt x="197" y="403"/>
                    </a:lnTo>
                    <a:lnTo>
                      <a:pt x="197" y="417"/>
                    </a:lnTo>
                    <a:lnTo>
                      <a:pt x="197" y="422"/>
                    </a:lnTo>
                    <a:lnTo>
                      <a:pt x="198" y="430"/>
                    </a:lnTo>
                    <a:lnTo>
                      <a:pt x="198" y="431"/>
                    </a:lnTo>
                    <a:lnTo>
                      <a:pt x="197" y="431"/>
                    </a:lnTo>
                    <a:lnTo>
                      <a:pt x="198" y="431"/>
                    </a:lnTo>
                    <a:lnTo>
                      <a:pt x="198" y="432"/>
                    </a:lnTo>
                    <a:lnTo>
                      <a:pt x="198" y="445"/>
                    </a:lnTo>
                    <a:lnTo>
                      <a:pt x="198" y="454"/>
                    </a:lnTo>
                    <a:lnTo>
                      <a:pt x="197" y="454"/>
                    </a:lnTo>
                    <a:lnTo>
                      <a:pt x="196" y="455"/>
                    </a:lnTo>
                    <a:lnTo>
                      <a:pt x="196" y="456"/>
                    </a:lnTo>
                    <a:lnTo>
                      <a:pt x="195" y="456"/>
                    </a:lnTo>
                    <a:lnTo>
                      <a:pt x="195" y="457"/>
                    </a:lnTo>
                    <a:lnTo>
                      <a:pt x="194" y="457"/>
                    </a:lnTo>
                    <a:lnTo>
                      <a:pt x="193" y="458"/>
                    </a:lnTo>
                    <a:lnTo>
                      <a:pt x="192" y="458"/>
                    </a:lnTo>
                    <a:lnTo>
                      <a:pt x="192" y="459"/>
                    </a:lnTo>
                    <a:lnTo>
                      <a:pt x="191" y="459"/>
                    </a:lnTo>
                    <a:lnTo>
                      <a:pt x="190" y="460"/>
                    </a:lnTo>
                    <a:lnTo>
                      <a:pt x="188" y="461"/>
                    </a:lnTo>
                    <a:lnTo>
                      <a:pt x="187" y="462"/>
                    </a:lnTo>
                    <a:lnTo>
                      <a:pt x="185" y="464"/>
                    </a:lnTo>
                    <a:lnTo>
                      <a:pt x="184" y="467"/>
                    </a:lnTo>
                    <a:lnTo>
                      <a:pt x="183" y="468"/>
                    </a:lnTo>
                    <a:lnTo>
                      <a:pt x="181" y="470"/>
                    </a:lnTo>
                    <a:lnTo>
                      <a:pt x="181" y="471"/>
                    </a:lnTo>
                    <a:lnTo>
                      <a:pt x="180" y="471"/>
                    </a:lnTo>
                    <a:lnTo>
                      <a:pt x="179" y="472"/>
                    </a:lnTo>
                    <a:lnTo>
                      <a:pt x="178" y="472"/>
                    </a:lnTo>
                    <a:lnTo>
                      <a:pt x="178" y="473"/>
                    </a:lnTo>
                    <a:lnTo>
                      <a:pt x="178" y="474"/>
                    </a:lnTo>
                    <a:lnTo>
                      <a:pt x="178" y="475"/>
                    </a:lnTo>
                    <a:lnTo>
                      <a:pt x="177" y="476"/>
                    </a:lnTo>
                    <a:lnTo>
                      <a:pt x="175" y="477"/>
                    </a:lnTo>
                    <a:lnTo>
                      <a:pt x="174" y="478"/>
                    </a:lnTo>
                    <a:lnTo>
                      <a:pt x="174" y="480"/>
                    </a:lnTo>
                    <a:lnTo>
                      <a:pt x="173" y="481"/>
                    </a:lnTo>
                    <a:lnTo>
                      <a:pt x="172" y="482"/>
                    </a:lnTo>
                    <a:lnTo>
                      <a:pt x="172" y="483"/>
                    </a:lnTo>
                    <a:lnTo>
                      <a:pt x="172" y="484"/>
                    </a:lnTo>
                    <a:lnTo>
                      <a:pt x="171" y="485"/>
                    </a:lnTo>
                    <a:lnTo>
                      <a:pt x="170" y="486"/>
                    </a:lnTo>
                    <a:lnTo>
                      <a:pt x="169" y="487"/>
                    </a:lnTo>
                    <a:lnTo>
                      <a:pt x="169" y="488"/>
                    </a:lnTo>
                    <a:lnTo>
                      <a:pt x="169" y="489"/>
                    </a:lnTo>
                    <a:lnTo>
                      <a:pt x="168" y="490"/>
                    </a:lnTo>
                    <a:lnTo>
                      <a:pt x="168" y="491"/>
                    </a:lnTo>
                    <a:lnTo>
                      <a:pt x="166" y="495"/>
                    </a:lnTo>
                    <a:lnTo>
                      <a:pt x="165" y="497"/>
                    </a:lnTo>
                    <a:lnTo>
                      <a:pt x="164" y="498"/>
                    </a:lnTo>
                    <a:lnTo>
                      <a:pt x="162" y="499"/>
                    </a:lnTo>
                    <a:lnTo>
                      <a:pt x="161" y="499"/>
                    </a:lnTo>
                    <a:lnTo>
                      <a:pt x="160" y="500"/>
                    </a:lnTo>
                    <a:lnTo>
                      <a:pt x="159" y="500"/>
                    </a:lnTo>
                    <a:lnTo>
                      <a:pt x="158" y="500"/>
                    </a:lnTo>
                    <a:lnTo>
                      <a:pt x="157" y="501"/>
                    </a:lnTo>
                    <a:lnTo>
                      <a:pt x="157" y="502"/>
                    </a:lnTo>
                    <a:lnTo>
                      <a:pt x="156" y="502"/>
                    </a:lnTo>
                    <a:lnTo>
                      <a:pt x="154" y="501"/>
                    </a:lnTo>
                    <a:lnTo>
                      <a:pt x="152" y="500"/>
                    </a:lnTo>
                    <a:lnTo>
                      <a:pt x="150" y="499"/>
                    </a:lnTo>
                    <a:lnTo>
                      <a:pt x="149" y="499"/>
                    </a:lnTo>
                    <a:lnTo>
                      <a:pt x="149" y="500"/>
                    </a:lnTo>
                    <a:lnTo>
                      <a:pt x="146" y="501"/>
                    </a:lnTo>
                    <a:lnTo>
                      <a:pt x="143" y="502"/>
                    </a:lnTo>
                    <a:lnTo>
                      <a:pt x="141" y="502"/>
                    </a:lnTo>
                    <a:lnTo>
                      <a:pt x="139" y="502"/>
                    </a:lnTo>
                    <a:lnTo>
                      <a:pt x="136" y="501"/>
                    </a:lnTo>
                    <a:lnTo>
                      <a:pt x="135" y="501"/>
                    </a:lnTo>
                    <a:lnTo>
                      <a:pt x="134" y="500"/>
                    </a:lnTo>
                    <a:lnTo>
                      <a:pt x="133" y="501"/>
                    </a:lnTo>
                    <a:lnTo>
                      <a:pt x="132" y="501"/>
                    </a:lnTo>
                    <a:lnTo>
                      <a:pt x="131" y="502"/>
                    </a:lnTo>
                    <a:lnTo>
                      <a:pt x="128" y="503"/>
                    </a:lnTo>
                    <a:lnTo>
                      <a:pt x="124" y="506"/>
                    </a:lnTo>
                    <a:lnTo>
                      <a:pt x="122" y="507"/>
                    </a:lnTo>
                    <a:lnTo>
                      <a:pt x="121" y="509"/>
                    </a:lnTo>
                    <a:lnTo>
                      <a:pt x="120" y="510"/>
                    </a:lnTo>
                    <a:lnTo>
                      <a:pt x="119" y="510"/>
                    </a:lnTo>
                    <a:lnTo>
                      <a:pt x="118" y="511"/>
                    </a:lnTo>
                    <a:lnTo>
                      <a:pt x="117" y="510"/>
                    </a:lnTo>
                    <a:lnTo>
                      <a:pt x="116" y="510"/>
                    </a:lnTo>
                    <a:lnTo>
                      <a:pt x="115" y="510"/>
                    </a:lnTo>
                    <a:lnTo>
                      <a:pt x="114" y="509"/>
                    </a:lnTo>
                    <a:lnTo>
                      <a:pt x="113" y="509"/>
                    </a:lnTo>
                    <a:lnTo>
                      <a:pt x="111" y="508"/>
                    </a:lnTo>
                    <a:lnTo>
                      <a:pt x="110" y="508"/>
                    </a:lnTo>
                    <a:lnTo>
                      <a:pt x="109" y="509"/>
                    </a:lnTo>
                    <a:lnTo>
                      <a:pt x="108" y="509"/>
                    </a:lnTo>
                    <a:lnTo>
                      <a:pt x="107" y="509"/>
                    </a:lnTo>
                    <a:lnTo>
                      <a:pt x="106" y="509"/>
                    </a:lnTo>
                    <a:lnTo>
                      <a:pt x="105" y="509"/>
                    </a:lnTo>
                    <a:lnTo>
                      <a:pt x="104" y="509"/>
                    </a:lnTo>
                    <a:lnTo>
                      <a:pt x="103" y="509"/>
                    </a:lnTo>
                    <a:lnTo>
                      <a:pt x="102" y="509"/>
                    </a:lnTo>
                    <a:lnTo>
                      <a:pt x="101" y="509"/>
                    </a:lnTo>
                    <a:lnTo>
                      <a:pt x="100" y="509"/>
                    </a:lnTo>
                    <a:lnTo>
                      <a:pt x="90" y="506"/>
                    </a:lnTo>
                    <a:lnTo>
                      <a:pt x="83" y="502"/>
                    </a:lnTo>
                    <a:lnTo>
                      <a:pt x="80" y="499"/>
                    </a:lnTo>
                    <a:lnTo>
                      <a:pt x="78" y="497"/>
                    </a:lnTo>
                    <a:lnTo>
                      <a:pt x="76" y="496"/>
                    </a:lnTo>
                    <a:lnTo>
                      <a:pt x="56" y="473"/>
                    </a:lnTo>
                    <a:lnTo>
                      <a:pt x="56" y="472"/>
                    </a:lnTo>
                    <a:lnTo>
                      <a:pt x="56" y="471"/>
                    </a:lnTo>
                    <a:lnTo>
                      <a:pt x="56" y="470"/>
                    </a:lnTo>
                    <a:lnTo>
                      <a:pt x="56" y="469"/>
                    </a:lnTo>
                    <a:lnTo>
                      <a:pt x="57" y="468"/>
                    </a:lnTo>
                    <a:lnTo>
                      <a:pt x="57" y="467"/>
                    </a:lnTo>
                    <a:lnTo>
                      <a:pt x="57" y="465"/>
                    </a:lnTo>
                    <a:lnTo>
                      <a:pt x="56" y="464"/>
                    </a:lnTo>
                    <a:lnTo>
                      <a:pt x="56" y="463"/>
                    </a:lnTo>
                    <a:lnTo>
                      <a:pt x="55" y="462"/>
                    </a:lnTo>
                    <a:lnTo>
                      <a:pt x="55" y="461"/>
                    </a:lnTo>
                    <a:lnTo>
                      <a:pt x="55" y="460"/>
                    </a:lnTo>
                    <a:lnTo>
                      <a:pt x="54" y="459"/>
                    </a:lnTo>
                    <a:lnTo>
                      <a:pt x="54" y="458"/>
                    </a:lnTo>
                    <a:lnTo>
                      <a:pt x="53" y="458"/>
                    </a:lnTo>
                    <a:lnTo>
                      <a:pt x="52" y="458"/>
                    </a:lnTo>
                    <a:lnTo>
                      <a:pt x="51" y="458"/>
                    </a:lnTo>
                    <a:lnTo>
                      <a:pt x="49" y="459"/>
                    </a:lnTo>
                    <a:lnTo>
                      <a:pt x="48" y="459"/>
                    </a:lnTo>
                    <a:lnTo>
                      <a:pt x="46" y="459"/>
                    </a:lnTo>
                    <a:lnTo>
                      <a:pt x="46" y="458"/>
                    </a:lnTo>
                    <a:lnTo>
                      <a:pt x="48" y="457"/>
                    </a:lnTo>
                    <a:lnTo>
                      <a:pt x="48" y="455"/>
                    </a:lnTo>
                    <a:lnTo>
                      <a:pt x="48" y="454"/>
                    </a:lnTo>
                    <a:lnTo>
                      <a:pt x="45" y="451"/>
                    </a:lnTo>
                    <a:lnTo>
                      <a:pt x="44" y="451"/>
                    </a:lnTo>
                    <a:lnTo>
                      <a:pt x="44" y="452"/>
                    </a:lnTo>
                    <a:lnTo>
                      <a:pt x="40" y="455"/>
                    </a:lnTo>
                    <a:lnTo>
                      <a:pt x="39" y="455"/>
                    </a:lnTo>
                    <a:lnTo>
                      <a:pt x="39" y="454"/>
                    </a:lnTo>
                    <a:lnTo>
                      <a:pt x="39" y="452"/>
                    </a:lnTo>
                    <a:lnTo>
                      <a:pt x="39" y="451"/>
                    </a:lnTo>
                    <a:lnTo>
                      <a:pt x="39" y="450"/>
                    </a:lnTo>
                    <a:lnTo>
                      <a:pt x="38" y="450"/>
                    </a:lnTo>
                    <a:lnTo>
                      <a:pt x="38" y="449"/>
                    </a:lnTo>
                    <a:lnTo>
                      <a:pt x="39" y="448"/>
                    </a:lnTo>
                    <a:lnTo>
                      <a:pt x="40" y="447"/>
                    </a:lnTo>
                    <a:lnTo>
                      <a:pt x="41" y="446"/>
                    </a:lnTo>
                    <a:lnTo>
                      <a:pt x="41" y="445"/>
                    </a:lnTo>
                    <a:lnTo>
                      <a:pt x="40" y="443"/>
                    </a:lnTo>
                    <a:lnTo>
                      <a:pt x="40" y="441"/>
                    </a:lnTo>
                    <a:lnTo>
                      <a:pt x="40" y="439"/>
                    </a:lnTo>
                    <a:lnTo>
                      <a:pt x="39" y="436"/>
                    </a:lnTo>
                    <a:lnTo>
                      <a:pt x="38" y="435"/>
                    </a:lnTo>
                    <a:lnTo>
                      <a:pt x="38" y="436"/>
                    </a:lnTo>
                    <a:lnTo>
                      <a:pt x="37" y="436"/>
                    </a:lnTo>
                    <a:lnTo>
                      <a:pt x="36" y="436"/>
                    </a:lnTo>
                    <a:lnTo>
                      <a:pt x="35" y="436"/>
                    </a:lnTo>
                    <a:lnTo>
                      <a:pt x="31" y="434"/>
                    </a:lnTo>
                    <a:lnTo>
                      <a:pt x="31" y="433"/>
                    </a:lnTo>
                    <a:lnTo>
                      <a:pt x="32" y="432"/>
                    </a:lnTo>
                    <a:lnTo>
                      <a:pt x="33" y="432"/>
                    </a:lnTo>
                    <a:lnTo>
                      <a:pt x="35" y="432"/>
                    </a:lnTo>
                    <a:lnTo>
                      <a:pt x="35" y="431"/>
                    </a:lnTo>
                    <a:lnTo>
                      <a:pt x="33" y="431"/>
                    </a:lnTo>
                    <a:lnTo>
                      <a:pt x="33" y="430"/>
                    </a:lnTo>
                    <a:lnTo>
                      <a:pt x="32" y="429"/>
                    </a:lnTo>
                    <a:lnTo>
                      <a:pt x="32" y="426"/>
                    </a:lnTo>
                    <a:lnTo>
                      <a:pt x="32" y="425"/>
                    </a:lnTo>
                    <a:lnTo>
                      <a:pt x="31" y="425"/>
                    </a:lnTo>
                    <a:lnTo>
                      <a:pt x="31" y="424"/>
                    </a:lnTo>
                    <a:lnTo>
                      <a:pt x="32" y="424"/>
                    </a:lnTo>
                    <a:lnTo>
                      <a:pt x="32" y="423"/>
                    </a:lnTo>
                    <a:lnTo>
                      <a:pt x="31" y="423"/>
                    </a:lnTo>
                    <a:lnTo>
                      <a:pt x="31" y="422"/>
                    </a:lnTo>
                    <a:lnTo>
                      <a:pt x="30" y="421"/>
                    </a:lnTo>
                    <a:lnTo>
                      <a:pt x="29" y="421"/>
                    </a:lnTo>
                    <a:lnTo>
                      <a:pt x="28" y="421"/>
                    </a:lnTo>
                    <a:lnTo>
                      <a:pt x="28" y="420"/>
                    </a:lnTo>
                    <a:lnTo>
                      <a:pt x="27" y="420"/>
                    </a:lnTo>
                    <a:lnTo>
                      <a:pt x="28" y="419"/>
                    </a:lnTo>
                    <a:lnTo>
                      <a:pt x="28" y="420"/>
                    </a:lnTo>
                    <a:lnTo>
                      <a:pt x="29" y="420"/>
                    </a:lnTo>
                    <a:lnTo>
                      <a:pt x="29" y="419"/>
                    </a:lnTo>
                    <a:lnTo>
                      <a:pt x="29" y="418"/>
                    </a:lnTo>
                    <a:lnTo>
                      <a:pt x="29" y="417"/>
                    </a:lnTo>
                    <a:lnTo>
                      <a:pt x="28" y="417"/>
                    </a:lnTo>
                    <a:lnTo>
                      <a:pt x="28" y="418"/>
                    </a:lnTo>
                    <a:lnTo>
                      <a:pt x="27" y="418"/>
                    </a:lnTo>
                    <a:lnTo>
                      <a:pt x="27" y="417"/>
                    </a:lnTo>
                    <a:lnTo>
                      <a:pt x="26" y="417"/>
                    </a:lnTo>
                    <a:lnTo>
                      <a:pt x="27" y="417"/>
                    </a:lnTo>
                    <a:lnTo>
                      <a:pt x="27" y="416"/>
                    </a:lnTo>
                    <a:lnTo>
                      <a:pt x="26" y="416"/>
                    </a:lnTo>
                    <a:lnTo>
                      <a:pt x="26" y="414"/>
                    </a:lnTo>
                    <a:lnTo>
                      <a:pt x="25" y="414"/>
                    </a:lnTo>
                    <a:lnTo>
                      <a:pt x="24" y="414"/>
                    </a:lnTo>
                    <a:lnTo>
                      <a:pt x="23" y="414"/>
                    </a:lnTo>
                    <a:lnTo>
                      <a:pt x="22" y="414"/>
                    </a:lnTo>
                    <a:lnTo>
                      <a:pt x="20" y="414"/>
                    </a:lnTo>
                    <a:lnTo>
                      <a:pt x="20" y="413"/>
                    </a:lnTo>
                    <a:lnTo>
                      <a:pt x="20" y="412"/>
                    </a:lnTo>
                    <a:lnTo>
                      <a:pt x="20" y="413"/>
                    </a:lnTo>
                    <a:lnTo>
                      <a:pt x="19" y="413"/>
                    </a:lnTo>
                    <a:lnTo>
                      <a:pt x="19" y="412"/>
                    </a:lnTo>
                    <a:lnTo>
                      <a:pt x="19" y="411"/>
                    </a:lnTo>
                    <a:lnTo>
                      <a:pt x="18" y="410"/>
                    </a:lnTo>
                    <a:lnTo>
                      <a:pt x="18" y="409"/>
                    </a:lnTo>
                    <a:lnTo>
                      <a:pt x="17" y="409"/>
                    </a:lnTo>
                    <a:lnTo>
                      <a:pt x="16" y="409"/>
                    </a:lnTo>
                    <a:lnTo>
                      <a:pt x="15" y="408"/>
                    </a:lnTo>
                    <a:lnTo>
                      <a:pt x="15" y="407"/>
                    </a:lnTo>
                    <a:lnTo>
                      <a:pt x="14" y="407"/>
                    </a:lnTo>
                    <a:lnTo>
                      <a:pt x="13" y="407"/>
                    </a:lnTo>
                    <a:lnTo>
                      <a:pt x="13" y="406"/>
                    </a:lnTo>
                    <a:lnTo>
                      <a:pt x="12" y="406"/>
                    </a:lnTo>
                    <a:lnTo>
                      <a:pt x="12" y="405"/>
                    </a:lnTo>
                    <a:lnTo>
                      <a:pt x="13" y="405"/>
                    </a:lnTo>
                    <a:lnTo>
                      <a:pt x="13" y="404"/>
                    </a:lnTo>
                    <a:lnTo>
                      <a:pt x="13" y="403"/>
                    </a:lnTo>
                    <a:lnTo>
                      <a:pt x="13" y="401"/>
                    </a:lnTo>
                    <a:lnTo>
                      <a:pt x="13" y="400"/>
                    </a:lnTo>
                    <a:lnTo>
                      <a:pt x="12" y="400"/>
                    </a:lnTo>
                    <a:lnTo>
                      <a:pt x="12" y="399"/>
                    </a:lnTo>
                    <a:lnTo>
                      <a:pt x="11" y="399"/>
                    </a:lnTo>
                    <a:lnTo>
                      <a:pt x="11" y="398"/>
                    </a:lnTo>
                    <a:lnTo>
                      <a:pt x="10" y="398"/>
                    </a:lnTo>
                    <a:lnTo>
                      <a:pt x="10" y="397"/>
                    </a:lnTo>
                    <a:lnTo>
                      <a:pt x="11" y="396"/>
                    </a:lnTo>
                    <a:lnTo>
                      <a:pt x="12" y="396"/>
                    </a:lnTo>
                    <a:lnTo>
                      <a:pt x="12" y="395"/>
                    </a:lnTo>
                    <a:lnTo>
                      <a:pt x="13" y="394"/>
                    </a:lnTo>
                    <a:lnTo>
                      <a:pt x="13" y="393"/>
                    </a:lnTo>
                    <a:lnTo>
                      <a:pt x="12" y="393"/>
                    </a:lnTo>
                    <a:lnTo>
                      <a:pt x="11" y="392"/>
                    </a:lnTo>
                    <a:lnTo>
                      <a:pt x="11" y="391"/>
                    </a:lnTo>
                    <a:lnTo>
                      <a:pt x="11" y="390"/>
                    </a:lnTo>
                    <a:lnTo>
                      <a:pt x="10" y="390"/>
                    </a:lnTo>
                    <a:lnTo>
                      <a:pt x="10" y="388"/>
                    </a:lnTo>
                    <a:lnTo>
                      <a:pt x="10" y="387"/>
                    </a:lnTo>
                    <a:lnTo>
                      <a:pt x="8" y="387"/>
                    </a:lnTo>
                    <a:lnTo>
                      <a:pt x="10" y="387"/>
                    </a:lnTo>
                    <a:lnTo>
                      <a:pt x="8" y="386"/>
                    </a:lnTo>
                    <a:lnTo>
                      <a:pt x="8" y="385"/>
                    </a:lnTo>
                    <a:lnTo>
                      <a:pt x="8" y="384"/>
                    </a:lnTo>
                    <a:lnTo>
                      <a:pt x="8" y="383"/>
                    </a:lnTo>
                    <a:lnTo>
                      <a:pt x="10" y="383"/>
                    </a:lnTo>
                    <a:lnTo>
                      <a:pt x="10" y="382"/>
                    </a:lnTo>
                    <a:lnTo>
                      <a:pt x="10" y="381"/>
                    </a:lnTo>
                    <a:lnTo>
                      <a:pt x="10" y="380"/>
                    </a:lnTo>
                    <a:lnTo>
                      <a:pt x="11" y="380"/>
                    </a:lnTo>
                    <a:lnTo>
                      <a:pt x="10" y="379"/>
                    </a:lnTo>
                    <a:lnTo>
                      <a:pt x="8" y="378"/>
                    </a:lnTo>
                    <a:lnTo>
                      <a:pt x="8" y="377"/>
                    </a:lnTo>
                    <a:lnTo>
                      <a:pt x="7" y="377"/>
                    </a:lnTo>
                    <a:lnTo>
                      <a:pt x="8" y="375"/>
                    </a:lnTo>
                    <a:lnTo>
                      <a:pt x="8" y="374"/>
                    </a:lnTo>
                    <a:lnTo>
                      <a:pt x="7" y="374"/>
                    </a:lnTo>
                    <a:lnTo>
                      <a:pt x="7" y="373"/>
                    </a:lnTo>
                    <a:lnTo>
                      <a:pt x="6" y="373"/>
                    </a:lnTo>
                    <a:lnTo>
                      <a:pt x="5" y="373"/>
                    </a:lnTo>
                    <a:lnTo>
                      <a:pt x="5" y="372"/>
                    </a:lnTo>
                    <a:lnTo>
                      <a:pt x="5" y="371"/>
                    </a:lnTo>
                    <a:lnTo>
                      <a:pt x="5" y="370"/>
                    </a:lnTo>
                    <a:lnTo>
                      <a:pt x="6" y="369"/>
                    </a:lnTo>
                    <a:lnTo>
                      <a:pt x="6" y="368"/>
                    </a:lnTo>
                    <a:lnTo>
                      <a:pt x="5" y="368"/>
                    </a:lnTo>
                    <a:lnTo>
                      <a:pt x="4" y="368"/>
                    </a:lnTo>
                    <a:lnTo>
                      <a:pt x="3" y="368"/>
                    </a:lnTo>
                    <a:lnTo>
                      <a:pt x="2" y="368"/>
                    </a:lnTo>
                    <a:lnTo>
                      <a:pt x="2" y="367"/>
                    </a:lnTo>
                    <a:lnTo>
                      <a:pt x="1" y="366"/>
                    </a:lnTo>
                    <a:lnTo>
                      <a:pt x="0" y="366"/>
                    </a:lnTo>
                    <a:lnTo>
                      <a:pt x="0" y="361"/>
                    </a:lnTo>
                    <a:lnTo>
                      <a:pt x="0" y="357"/>
                    </a:lnTo>
                    <a:lnTo>
                      <a:pt x="0" y="354"/>
                    </a:lnTo>
                    <a:lnTo>
                      <a:pt x="0" y="348"/>
                    </a:lnTo>
                    <a:lnTo>
                      <a:pt x="0" y="340"/>
                    </a:lnTo>
                    <a:lnTo>
                      <a:pt x="0" y="339"/>
                    </a:lnTo>
                    <a:lnTo>
                      <a:pt x="0" y="335"/>
                    </a:lnTo>
                    <a:lnTo>
                      <a:pt x="0" y="334"/>
                    </a:lnTo>
                    <a:lnTo>
                      <a:pt x="0" y="328"/>
                    </a:lnTo>
                    <a:lnTo>
                      <a:pt x="0" y="318"/>
                    </a:lnTo>
                    <a:lnTo>
                      <a:pt x="0" y="310"/>
                    </a:lnTo>
                    <a:lnTo>
                      <a:pt x="0" y="302"/>
                    </a:lnTo>
                    <a:lnTo>
                      <a:pt x="0" y="296"/>
                    </a:lnTo>
                    <a:lnTo>
                      <a:pt x="0" y="294"/>
                    </a:lnTo>
                    <a:lnTo>
                      <a:pt x="0" y="277"/>
                    </a:lnTo>
                    <a:lnTo>
                      <a:pt x="0" y="268"/>
                    </a:lnTo>
                    <a:lnTo>
                      <a:pt x="0" y="250"/>
                    </a:lnTo>
                    <a:lnTo>
                      <a:pt x="1" y="240"/>
                    </a:lnTo>
                    <a:lnTo>
                      <a:pt x="1" y="239"/>
                    </a:lnTo>
                    <a:lnTo>
                      <a:pt x="1" y="231"/>
                    </a:lnTo>
                    <a:lnTo>
                      <a:pt x="0" y="225"/>
                    </a:lnTo>
                    <a:lnTo>
                      <a:pt x="1" y="225"/>
                    </a:lnTo>
                    <a:lnTo>
                      <a:pt x="1" y="224"/>
                    </a:lnTo>
                    <a:lnTo>
                      <a:pt x="0" y="207"/>
                    </a:lnTo>
                    <a:lnTo>
                      <a:pt x="0" y="203"/>
                    </a:lnTo>
                    <a:lnTo>
                      <a:pt x="0" y="201"/>
                    </a:lnTo>
                    <a:lnTo>
                      <a:pt x="0" y="198"/>
                    </a:lnTo>
                    <a:lnTo>
                      <a:pt x="0" y="191"/>
                    </a:lnTo>
                    <a:lnTo>
                      <a:pt x="0" y="190"/>
                    </a:lnTo>
                    <a:lnTo>
                      <a:pt x="0" y="189"/>
                    </a:lnTo>
                    <a:lnTo>
                      <a:pt x="0" y="186"/>
                    </a:lnTo>
                    <a:lnTo>
                      <a:pt x="0" y="184"/>
                    </a:lnTo>
                    <a:lnTo>
                      <a:pt x="0" y="180"/>
                    </a:lnTo>
                    <a:lnTo>
                      <a:pt x="0" y="179"/>
                    </a:lnTo>
                    <a:lnTo>
                      <a:pt x="0" y="176"/>
                    </a:lnTo>
                    <a:lnTo>
                      <a:pt x="0" y="154"/>
                    </a:lnTo>
                    <a:lnTo>
                      <a:pt x="0" y="151"/>
                    </a:lnTo>
                    <a:lnTo>
                      <a:pt x="0" y="125"/>
                    </a:lnTo>
                    <a:lnTo>
                      <a:pt x="0" y="124"/>
                    </a:lnTo>
                    <a:lnTo>
                      <a:pt x="0" y="118"/>
                    </a:lnTo>
                    <a:lnTo>
                      <a:pt x="0" y="116"/>
                    </a:lnTo>
                    <a:lnTo>
                      <a:pt x="0" y="104"/>
                    </a:lnTo>
                    <a:lnTo>
                      <a:pt x="0" y="100"/>
                    </a:lnTo>
                    <a:lnTo>
                      <a:pt x="0" y="86"/>
                    </a:lnTo>
                    <a:lnTo>
                      <a:pt x="0" y="77"/>
                    </a:lnTo>
                    <a:lnTo>
                      <a:pt x="0" y="76"/>
                    </a:lnTo>
                    <a:lnTo>
                      <a:pt x="0" y="75"/>
                    </a:lnTo>
                    <a:lnTo>
                      <a:pt x="0" y="67"/>
                    </a:lnTo>
                    <a:lnTo>
                      <a:pt x="0" y="54"/>
                    </a:lnTo>
                    <a:lnTo>
                      <a:pt x="0" y="52"/>
                    </a:lnTo>
                    <a:lnTo>
                      <a:pt x="0" y="38"/>
                    </a:lnTo>
                    <a:lnTo>
                      <a:pt x="0" y="0"/>
                    </a:lnTo>
                    <a:lnTo>
                      <a:pt x="12" y="0"/>
                    </a:lnTo>
                    <a:lnTo>
                      <a:pt x="22" y="0"/>
                    </a:lnTo>
                    <a:lnTo>
                      <a:pt x="23" y="0"/>
                    </a:lnTo>
                    <a:lnTo>
                      <a:pt x="31" y="0"/>
                    </a:lnTo>
                    <a:lnTo>
                      <a:pt x="37" y="0"/>
                    </a:lnTo>
                    <a:lnTo>
                      <a:pt x="49" y="0"/>
                    </a:lnTo>
                    <a:lnTo>
                      <a:pt x="51" y="0"/>
                    </a:lnTo>
                    <a:lnTo>
                      <a:pt x="52" y="0"/>
                    </a:lnTo>
                    <a:lnTo>
                      <a:pt x="54" y="0"/>
                    </a:lnTo>
                    <a:lnTo>
                      <a:pt x="56" y="0"/>
                    </a:lnTo>
                    <a:lnTo>
                      <a:pt x="57" y="0"/>
                    </a:lnTo>
                    <a:lnTo>
                      <a:pt x="67" y="0"/>
                    </a:lnTo>
                    <a:lnTo>
                      <a:pt x="74" y="0"/>
                    </a:lnTo>
                    <a:lnTo>
                      <a:pt x="76" y="0"/>
                    </a:lnTo>
                    <a:lnTo>
                      <a:pt x="77" y="0"/>
                    </a:lnTo>
                    <a:lnTo>
                      <a:pt x="83" y="0"/>
                    </a:lnTo>
                    <a:lnTo>
                      <a:pt x="89" y="0"/>
                    </a:lnTo>
                    <a:lnTo>
                      <a:pt x="90" y="0"/>
                    </a:lnTo>
                    <a:lnTo>
                      <a:pt x="92" y="0"/>
                    </a:lnTo>
                    <a:lnTo>
                      <a:pt x="114" y="0"/>
                    </a:lnTo>
                    <a:lnTo>
                      <a:pt x="117" y="0"/>
                    </a:lnTo>
                    <a:lnTo>
                      <a:pt x="120" y="0"/>
                    </a:lnTo>
                    <a:lnTo>
                      <a:pt x="121" y="0"/>
                    </a:lnTo>
                    <a:lnTo>
                      <a:pt x="134" y="0"/>
                    </a:lnTo>
                    <a:lnTo>
                      <a:pt x="134" y="4"/>
                    </a:lnTo>
                    <a:lnTo>
                      <a:pt x="134" y="5"/>
                    </a:lnTo>
                    <a:lnTo>
                      <a:pt x="134" y="6"/>
                    </a:lnTo>
                    <a:lnTo>
                      <a:pt x="134" y="20"/>
                    </a:lnTo>
                    <a:lnTo>
                      <a:pt x="134" y="21"/>
                    </a:lnTo>
                    <a:lnTo>
                      <a:pt x="134" y="23"/>
                    </a:lnTo>
                    <a:lnTo>
                      <a:pt x="134" y="41"/>
                    </a:lnTo>
                    <a:lnTo>
                      <a:pt x="134" y="63"/>
                    </a:lnTo>
                    <a:lnTo>
                      <a:pt x="134" y="67"/>
                    </a:lnTo>
                    <a:lnTo>
                      <a:pt x="143" y="67"/>
                    </a:lnTo>
                    <a:lnTo>
                      <a:pt x="143" y="71"/>
                    </a:lnTo>
                    <a:lnTo>
                      <a:pt x="145" y="71"/>
                    </a:lnTo>
                    <a:lnTo>
                      <a:pt x="145" y="72"/>
                    </a:lnTo>
                    <a:lnTo>
                      <a:pt x="145" y="78"/>
                    </a:lnTo>
                    <a:lnTo>
                      <a:pt x="153" y="78"/>
                    </a:lnTo>
                    <a:lnTo>
                      <a:pt x="153" y="85"/>
                    </a:lnTo>
                    <a:lnTo>
                      <a:pt x="153" y="86"/>
                    </a:lnTo>
                    <a:lnTo>
                      <a:pt x="154" y="87"/>
                    </a:lnTo>
                    <a:lnTo>
                      <a:pt x="154" y="88"/>
                    </a:lnTo>
                    <a:lnTo>
                      <a:pt x="154" y="89"/>
                    </a:lnTo>
                    <a:lnTo>
                      <a:pt x="153" y="89"/>
                    </a:lnTo>
                    <a:lnTo>
                      <a:pt x="153" y="90"/>
                    </a:lnTo>
                    <a:lnTo>
                      <a:pt x="152" y="90"/>
                    </a:lnTo>
                    <a:lnTo>
                      <a:pt x="153" y="91"/>
                    </a:lnTo>
                    <a:lnTo>
                      <a:pt x="153" y="92"/>
                    </a:lnTo>
                    <a:lnTo>
                      <a:pt x="154" y="92"/>
                    </a:lnTo>
                    <a:lnTo>
                      <a:pt x="154" y="94"/>
                    </a:lnTo>
                    <a:lnTo>
                      <a:pt x="155" y="95"/>
                    </a:lnTo>
                    <a:lnTo>
                      <a:pt x="155" y="96"/>
                    </a:lnTo>
                    <a:lnTo>
                      <a:pt x="155" y="97"/>
                    </a:lnTo>
                    <a:lnTo>
                      <a:pt x="155" y="98"/>
                    </a:lnTo>
                    <a:lnTo>
                      <a:pt x="156" y="100"/>
                    </a:lnTo>
                    <a:lnTo>
                      <a:pt x="157" y="100"/>
                    </a:lnTo>
                    <a:lnTo>
                      <a:pt x="157" y="101"/>
                    </a:lnTo>
                    <a:lnTo>
                      <a:pt x="157" y="102"/>
                    </a:lnTo>
                    <a:lnTo>
                      <a:pt x="158" y="103"/>
                    </a:lnTo>
                    <a:lnTo>
                      <a:pt x="158" y="104"/>
                    </a:lnTo>
                    <a:lnTo>
                      <a:pt x="161" y="105"/>
                    </a:lnTo>
                    <a:lnTo>
                      <a:pt x="162" y="107"/>
                    </a:lnTo>
                    <a:lnTo>
                      <a:pt x="164" y="108"/>
                    </a:lnTo>
                    <a:lnTo>
                      <a:pt x="164" y="109"/>
                    </a:lnTo>
                    <a:lnTo>
                      <a:pt x="165" y="109"/>
                    </a:lnTo>
                    <a:lnTo>
                      <a:pt x="165" y="110"/>
                    </a:lnTo>
                    <a:lnTo>
                      <a:pt x="165" y="111"/>
                    </a:lnTo>
                    <a:lnTo>
                      <a:pt x="165" y="112"/>
                    </a:lnTo>
                    <a:lnTo>
                      <a:pt x="166" y="112"/>
                    </a:lnTo>
                    <a:lnTo>
                      <a:pt x="165" y="112"/>
                    </a:lnTo>
                    <a:lnTo>
                      <a:pt x="165" y="113"/>
                    </a:lnTo>
                    <a:lnTo>
                      <a:pt x="166" y="113"/>
                    </a:lnTo>
                    <a:lnTo>
                      <a:pt x="166" y="114"/>
                    </a:lnTo>
                    <a:lnTo>
                      <a:pt x="165" y="114"/>
                    </a:lnTo>
                    <a:lnTo>
                      <a:pt x="166" y="115"/>
                    </a:lnTo>
                    <a:lnTo>
                      <a:pt x="166" y="116"/>
                    </a:lnTo>
                    <a:lnTo>
                      <a:pt x="166" y="117"/>
                    </a:lnTo>
                    <a:lnTo>
                      <a:pt x="166" y="118"/>
                    </a:lnTo>
                    <a:lnTo>
                      <a:pt x="166" y="120"/>
                    </a:lnTo>
                    <a:lnTo>
                      <a:pt x="165" y="120"/>
                    </a:lnTo>
                    <a:lnTo>
                      <a:pt x="166" y="121"/>
                    </a:lnTo>
                    <a:lnTo>
                      <a:pt x="166" y="122"/>
                    </a:lnTo>
                    <a:lnTo>
                      <a:pt x="167" y="123"/>
                    </a:lnTo>
                    <a:lnTo>
                      <a:pt x="167" y="124"/>
                    </a:lnTo>
                    <a:lnTo>
                      <a:pt x="168" y="125"/>
                    </a:lnTo>
                    <a:lnTo>
                      <a:pt x="169" y="126"/>
                    </a:lnTo>
                    <a:lnTo>
                      <a:pt x="169" y="127"/>
                    </a:lnTo>
                    <a:lnTo>
                      <a:pt x="169" y="128"/>
                    </a:lnTo>
                    <a:lnTo>
                      <a:pt x="169" y="129"/>
                    </a:lnTo>
                    <a:lnTo>
                      <a:pt x="169" y="130"/>
                    </a:lnTo>
                    <a:lnTo>
                      <a:pt x="168" y="130"/>
                    </a:lnTo>
                    <a:lnTo>
                      <a:pt x="168" y="131"/>
                    </a:lnTo>
                    <a:lnTo>
                      <a:pt x="169" y="133"/>
                    </a:lnTo>
                    <a:lnTo>
                      <a:pt x="168" y="133"/>
                    </a:lnTo>
                    <a:lnTo>
                      <a:pt x="167" y="133"/>
                    </a:lnTo>
                    <a:lnTo>
                      <a:pt x="167" y="134"/>
                    </a:lnTo>
                    <a:lnTo>
                      <a:pt x="167" y="135"/>
                    </a:lnTo>
                    <a:lnTo>
                      <a:pt x="168" y="135"/>
                    </a:lnTo>
                    <a:lnTo>
                      <a:pt x="168" y="136"/>
                    </a:lnTo>
                    <a:lnTo>
                      <a:pt x="167" y="136"/>
                    </a:lnTo>
                    <a:lnTo>
                      <a:pt x="167" y="137"/>
                    </a:lnTo>
                    <a:lnTo>
                      <a:pt x="167" y="138"/>
                    </a:lnTo>
                    <a:lnTo>
                      <a:pt x="167" y="139"/>
                    </a:lnTo>
                    <a:lnTo>
                      <a:pt x="168" y="139"/>
                    </a:lnTo>
                    <a:lnTo>
                      <a:pt x="168" y="138"/>
                    </a:lnTo>
                    <a:lnTo>
                      <a:pt x="168" y="139"/>
                    </a:lnTo>
                    <a:lnTo>
                      <a:pt x="169" y="139"/>
                    </a:lnTo>
                    <a:lnTo>
                      <a:pt x="169" y="140"/>
                    </a:lnTo>
                    <a:lnTo>
                      <a:pt x="170" y="140"/>
                    </a:lnTo>
                    <a:lnTo>
                      <a:pt x="170" y="141"/>
                    </a:lnTo>
                    <a:lnTo>
                      <a:pt x="170" y="142"/>
                    </a:lnTo>
                    <a:lnTo>
                      <a:pt x="171" y="142"/>
                    </a:lnTo>
                    <a:lnTo>
                      <a:pt x="172" y="142"/>
                    </a:lnTo>
                    <a:lnTo>
                      <a:pt x="172" y="143"/>
                    </a:lnTo>
                    <a:lnTo>
                      <a:pt x="173" y="143"/>
                    </a:lnTo>
                    <a:lnTo>
                      <a:pt x="173" y="144"/>
                    </a:lnTo>
                    <a:lnTo>
                      <a:pt x="173" y="146"/>
                    </a:lnTo>
                    <a:lnTo>
                      <a:pt x="174" y="146"/>
                    </a:lnTo>
                    <a:lnTo>
                      <a:pt x="174" y="147"/>
                    </a:lnTo>
                    <a:lnTo>
                      <a:pt x="175" y="147"/>
                    </a:lnTo>
                    <a:lnTo>
                      <a:pt x="177" y="147"/>
                    </a:lnTo>
                    <a:lnTo>
                      <a:pt x="177" y="148"/>
                    </a:lnTo>
                    <a:lnTo>
                      <a:pt x="175" y="149"/>
                    </a:lnTo>
                    <a:lnTo>
                      <a:pt x="175" y="150"/>
                    </a:lnTo>
                    <a:lnTo>
                      <a:pt x="175" y="151"/>
                    </a:lnTo>
                    <a:lnTo>
                      <a:pt x="177" y="151"/>
                    </a:lnTo>
                    <a:lnTo>
                      <a:pt x="175" y="151"/>
                    </a:lnTo>
                    <a:lnTo>
                      <a:pt x="175" y="152"/>
                    </a:lnTo>
                    <a:lnTo>
                      <a:pt x="175" y="153"/>
                    </a:lnTo>
                    <a:lnTo>
                      <a:pt x="177" y="153"/>
                    </a:lnTo>
                    <a:lnTo>
                      <a:pt x="177" y="154"/>
                    </a:lnTo>
                    <a:lnTo>
                      <a:pt x="177" y="155"/>
                    </a:lnTo>
                    <a:lnTo>
                      <a:pt x="177" y="156"/>
                    </a:lnTo>
                    <a:lnTo>
                      <a:pt x="178" y="156"/>
                    </a:lnTo>
                    <a:lnTo>
                      <a:pt x="178" y="157"/>
                    </a:lnTo>
                    <a:lnTo>
                      <a:pt x="177" y="157"/>
                    </a:lnTo>
                    <a:lnTo>
                      <a:pt x="178" y="157"/>
                    </a:lnTo>
                    <a:lnTo>
                      <a:pt x="178" y="159"/>
                    </a:lnTo>
                    <a:lnTo>
                      <a:pt x="178" y="160"/>
                    </a:lnTo>
                    <a:lnTo>
                      <a:pt x="179" y="160"/>
                    </a:lnTo>
                    <a:lnTo>
                      <a:pt x="179" y="161"/>
                    </a:lnTo>
                    <a:lnTo>
                      <a:pt x="180" y="161"/>
                    </a:lnTo>
                    <a:lnTo>
                      <a:pt x="180" y="162"/>
                    </a:lnTo>
                    <a:lnTo>
                      <a:pt x="180" y="163"/>
                    </a:lnTo>
                    <a:lnTo>
                      <a:pt x="181" y="163"/>
                    </a:lnTo>
                    <a:lnTo>
                      <a:pt x="182" y="163"/>
                    </a:lnTo>
                    <a:lnTo>
                      <a:pt x="182" y="164"/>
                    </a:lnTo>
                    <a:lnTo>
                      <a:pt x="183" y="165"/>
                    </a:lnTo>
                    <a:lnTo>
                      <a:pt x="184" y="165"/>
                    </a:lnTo>
                    <a:lnTo>
                      <a:pt x="185" y="165"/>
                    </a:lnTo>
                    <a:lnTo>
                      <a:pt x="184" y="166"/>
                    </a:lnTo>
                    <a:lnTo>
                      <a:pt x="185" y="166"/>
                    </a:lnTo>
                    <a:lnTo>
                      <a:pt x="186" y="166"/>
                    </a:lnTo>
                    <a:lnTo>
                      <a:pt x="186" y="167"/>
                    </a:lnTo>
                    <a:lnTo>
                      <a:pt x="186" y="168"/>
                    </a:lnTo>
                    <a:lnTo>
                      <a:pt x="185" y="168"/>
                    </a:lnTo>
                    <a:lnTo>
                      <a:pt x="185" y="169"/>
                    </a:lnTo>
                    <a:lnTo>
                      <a:pt x="185" y="170"/>
                    </a:lnTo>
                    <a:lnTo>
                      <a:pt x="185" y="172"/>
                    </a:lnTo>
                    <a:lnTo>
                      <a:pt x="185" y="173"/>
                    </a:lnTo>
                    <a:lnTo>
                      <a:pt x="185" y="174"/>
                    </a:lnTo>
                    <a:lnTo>
                      <a:pt x="184" y="173"/>
                    </a:lnTo>
                    <a:lnTo>
                      <a:pt x="184" y="174"/>
                    </a:lnTo>
                    <a:lnTo>
                      <a:pt x="185" y="174"/>
                    </a:lnTo>
                    <a:lnTo>
                      <a:pt x="185" y="175"/>
                    </a:lnTo>
                    <a:lnTo>
                      <a:pt x="184" y="175"/>
                    </a:lnTo>
                    <a:lnTo>
                      <a:pt x="184" y="176"/>
                    </a:lnTo>
                    <a:lnTo>
                      <a:pt x="183" y="177"/>
                    </a:lnTo>
                    <a:lnTo>
                      <a:pt x="184" y="177"/>
                    </a:lnTo>
                    <a:lnTo>
                      <a:pt x="185" y="177"/>
                    </a:lnTo>
                    <a:lnTo>
                      <a:pt x="185" y="178"/>
                    </a:lnTo>
                    <a:lnTo>
                      <a:pt x="185" y="179"/>
                    </a:lnTo>
                    <a:lnTo>
                      <a:pt x="186" y="179"/>
                    </a:lnTo>
                    <a:lnTo>
                      <a:pt x="187" y="179"/>
                    </a:lnTo>
                    <a:lnTo>
                      <a:pt x="186" y="179"/>
                    </a:lnTo>
                    <a:lnTo>
                      <a:pt x="186" y="180"/>
                    </a:lnTo>
                    <a:lnTo>
                      <a:pt x="187" y="180"/>
                    </a:lnTo>
                    <a:lnTo>
                      <a:pt x="186" y="180"/>
                    </a:lnTo>
                    <a:lnTo>
                      <a:pt x="186" y="181"/>
                    </a:lnTo>
                    <a:lnTo>
                      <a:pt x="187" y="181"/>
                    </a:lnTo>
                    <a:lnTo>
                      <a:pt x="186" y="181"/>
                    </a:lnTo>
                    <a:lnTo>
                      <a:pt x="186" y="182"/>
                    </a:lnTo>
                    <a:lnTo>
                      <a:pt x="187" y="182"/>
                    </a:lnTo>
                    <a:lnTo>
                      <a:pt x="187" y="184"/>
                    </a:lnTo>
                    <a:lnTo>
                      <a:pt x="187" y="185"/>
                    </a:lnTo>
                    <a:lnTo>
                      <a:pt x="187" y="186"/>
                    </a:lnTo>
                    <a:lnTo>
                      <a:pt x="187" y="187"/>
                    </a:lnTo>
                    <a:lnTo>
                      <a:pt x="188" y="187"/>
                    </a:lnTo>
                    <a:lnTo>
                      <a:pt x="190" y="187"/>
                    </a:lnTo>
                    <a:lnTo>
                      <a:pt x="191" y="188"/>
                    </a:lnTo>
                    <a:lnTo>
                      <a:pt x="192" y="189"/>
                    </a:lnTo>
                    <a:lnTo>
                      <a:pt x="192" y="190"/>
                    </a:lnTo>
                    <a:lnTo>
                      <a:pt x="191" y="190"/>
                    </a:lnTo>
                    <a:lnTo>
                      <a:pt x="191" y="191"/>
                    </a:lnTo>
                    <a:lnTo>
                      <a:pt x="190" y="191"/>
                    </a:lnTo>
                    <a:lnTo>
                      <a:pt x="191" y="191"/>
                    </a:lnTo>
                    <a:lnTo>
                      <a:pt x="191" y="192"/>
                    </a:lnTo>
                    <a:lnTo>
                      <a:pt x="191" y="193"/>
                    </a:lnTo>
                    <a:lnTo>
                      <a:pt x="191" y="194"/>
                    </a:lnTo>
                    <a:lnTo>
                      <a:pt x="191" y="195"/>
                    </a:lnTo>
                    <a:lnTo>
                      <a:pt x="190" y="195"/>
                    </a:lnTo>
                    <a:lnTo>
                      <a:pt x="191" y="195"/>
                    </a:lnTo>
                    <a:lnTo>
                      <a:pt x="191" y="197"/>
                    </a:lnTo>
                    <a:lnTo>
                      <a:pt x="191" y="198"/>
                    </a:lnTo>
                    <a:lnTo>
                      <a:pt x="191" y="199"/>
                    </a:lnTo>
                    <a:lnTo>
                      <a:pt x="192" y="199"/>
                    </a:lnTo>
                    <a:lnTo>
                      <a:pt x="192" y="200"/>
                    </a:lnTo>
                    <a:lnTo>
                      <a:pt x="191" y="200"/>
                    </a:lnTo>
                    <a:lnTo>
                      <a:pt x="191" y="201"/>
                    </a:lnTo>
                    <a:lnTo>
                      <a:pt x="190" y="201"/>
                    </a:lnTo>
                    <a:lnTo>
                      <a:pt x="191" y="201"/>
                    </a:lnTo>
                    <a:lnTo>
                      <a:pt x="191" y="202"/>
                    </a:lnTo>
                    <a:lnTo>
                      <a:pt x="190" y="202"/>
                    </a:lnTo>
                    <a:lnTo>
                      <a:pt x="191" y="202"/>
                    </a:lnTo>
                    <a:lnTo>
                      <a:pt x="190" y="203"/>
                    </a:lnTo>
                    <a:lnTo>
                      <a:pt x="190" y="204"/>
                    </a:lnTo>
                    <a:lnTo>
                      <a:pt x="190" y="205"/>
                    </a:lnTo>
                    <a:lnTo>
                      <a:pt x="191" y="205"/>
                    </a:lnTo>
                    <a:lnTo>
                      <a:pt x="191" y="206"/>
                    </a:lnTo>
                    <a:close/>
                  </a:path>
                </a:pathLst>
              </a:custGeom>
              <a:solidFill>
                <a:srgbClr val="68AD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4" name="Freeform 292">
                <a:extLst>
                  <a:ext uri="{FF2B5EF4-FFF2-40B4-BE49-F238E27FC236}">
                    <a16:creationId xmlns:a16="http://schemas.microsoft.com/office/drawing/2014/main" id="{423312F2-8D6F-B09F-2839-3C66990824CF}"/>
                  </a:ext>
                </a:extLst>
              </p:cNvPr>
              <p:cNvSpPr>
                <a:spLocks/>
              </p:cNvSpPr>
              <p:nvPr/>
            </p:nvSpPr>
            <p:spPr bwMode="auto">
              <a:xfrm>
                <a:off x="4737101" y="3438525"/>
                <a:ext cx="603250" cy="384175"/>
              </a:xfrm>
              <a:custGeom>
                <a:avLst/>
                <a:gdLst>
                  <a:gd name="T0" fmla="*/ 251 w 380"/>
                  <a:gd name="T1" fmla="*/ 242 h 242"/>
                  <a:gd name="T2" fmla="*/ 215 w 380"/>
                  <a:gd name="T3" fmla="*/ 242 h 242"/>
                  <a:gd name="T4" fmla="*/ 141 w 380"/>
                  <a:gd name="T5" fmla="*/ 227 h 242"/>
                  <a:gd name="T6" fmla="*/ 89 w 380"/>
                  <a:gd name="T7" fmla="*/ 216 h 242"/>
                  <a:gd name="T8" fmla="*/ 57 w 380"/>
                  <a:gd name="T9" fmla="*/ 205 h 242"/>
                  <a:gd name="T10" fmla="*/ 57 w 380"/>
                  <a:gd name="T11" fmla="*/ 197 h 242"/>
                  <a:gd name="T12" fmla="*/ 53 w 380"/>
                  <a:gd name="T13" fmla="*/ 189 h 242"/>
                  <a:gd name="T14" fmla="*/ 52 w 380"/>
                  <a:gd name="T15" fmla="*/ 182 h 242"/>
                  <a:gd name="T16" fmla="*/ 51 w 380"/>
                  <a:gd name="T17" fmla="*/ 176 h 242"/>
                  <a:gd name="T18" fmla="*/ 48 w 380"/>
                  <a:gd name="T19" fmla="*/ 167 h 242"/>
                  <a:gd name="T20" fmla="*/ 44 w 380"/>
                  <a:gd name="T21" fmla="*/ 159 h 242"/>
                  <a:gd name="T22" fmla="*/ 43 w 380"/>
                  <a:gd name="T23" fmla="*/ 150 h 242"/>
                  <a:gd name="T24" fmla="*/ 35 w 380"/>
                  <a:gd name="T25" fmla="*/ 143 h 242"/>
                  <a:gd name="T26" fmla="*/ 33 w 380"/>
                  <a:gd name="T27" fmla="*/ 136 h 242"/>
                  <a:gd name="T28" fmla="*/ 32 w 380"/>
                  <a:gd name="T29" fmla="*/ 125 h 242"/>
                  <a:gd name="T30" fmla="*/ 32 w 380"/>
                  <a:gd name="T31" fmla="*/ 115 h 242"/>
                  <a:gd name="T32" fmla="*/ 23 w 380"/>
                  <a:gd name="T33" fmla="*/ 103 h 242"/>
                  <a:gd name="T34" fmla="*/ 20 w 380"/>
                  <a:gd name="T35" fmla="*/ 92 h 242"/>
                  <a:gd name="T36" fmla="*/ 0 w 380"/>
                  <a:gd name="T37" fmla="*/ 44 h 242"/>
                  <a:gd name="T38" fmla="*/ 74 w 380"/>
                  <a:gd name="T39" fmla="*/ 3 h 242"/>
                  <a:gd name="T40" fmla="*/ 142 w 380"/>
                  <a:gd name="T41" fmla="*/ 2 h 242"/>
                  <a:gd name="T42" fmla="*/ 224 w 380"/>
                  <a:gd name="T43" fmla="*/ 2 h 242"/>
                  <a:gd name="T44" fmla="*/ 314 w 380"/>
                  <a:gd name="T45" fmla="*/ 2 h 242"/>
                  <a:gd name="T46" fmla="*/ 372 w 380"/>
                  <a:gd name="T47" fmla="*/ 1 h 242"/>
                  <a:gd name="T48" fmla="*/ 377 w 380"/>
                  <a:gd name="T49" fmla="*/ 3 h 242"/>
                  <a:gd name="T50" fmla="*/ 379 w 380"/>
                  <a:gd name="T51" fmla="*/ 16 h 242"/>
                  <a:gd name="T52" fmla="*/ 380 w 380"/>
                  <a:gd name="T53" fmla="*/ 25 h 242"/>
                  <a:gd name="T54" fmla="*/ 370 w 380"/>
                  <a:gd name="T55" fmla="*/ 36 h 242"/>
                  <a:gd name="T56" fmla="*/ 367 w 380"/>
                  <a:gd name="T57" fmla="*/ 51 h 242"/>
                  <a:gd name="T58" fmla="*/ 369 w 380"/>
                  <a:gd name="T59" fmla="*/ 62 h 242"/>
                  <a:gd name="T60" fmla="*/ 358 w 380"/>
                  <a:gd name="T61" fmla="*/ 66 h 242"/>
                  <a:gd name="T62" fmla="*/ 360 w 380"/>
                  <a:gd name="T63" fmla="*/ 77 h 242"/>
                  <a:gd name="T64" fmla="*/ 353 w 380"/>
                  <a:gd name="T65" fmla="*/ 80 h 242"/>
                  <a:gd name="T66" fmla="*/ 351 w 380"/>
                  <a:gd name="T67" fmla="*/ 89 h 242"/>
                  <a:gd name="T68" fmla="*/ 353 w 380"/>
                  <a:gd name="T69" fmla="*/ 98 h 242"/>
                  <a:gd name="T70" fmla="*/ 347 w 380"/>
                  <a:gd name="T71" fmla="*/ 106 h 242"/>
                  <a:gd name="T72" fmla="*/ 344 w 380"/>
                  <a:gd name="T73" fmla="*/ 113 h 242"/>
                  <a:gd name="T74" fmla="*/ 343 w 380"/>
                  <a:gd name="T75" fmla="*/ 116 h 242"/>
                  <a:gd name="T76" fmla="*/ 346 w 380"/>
                  <a:gd name="T77" fmla="*/ 125 h 242"/>
                  <a:gd name="T78" fmla="*/ 346 w 380"/>
                  <a:gd name="T79" fmla="*/ 133 h 242"/>
                  <a:gd name="T80" fmla="*/ 337 w 380"/>
                  <a:gd name="T81" fmla="*/ 132 h 242"/>
                  <a:gd name="T82" fmla="*/ 335 w 380"/>
                  <a:gd name="T83" fmla="*/ 139 h 242"/>
                  <a:gd name="T84" fmla="*/ 327 w 380"/>
                  <a:gd name="T85" fmla="*/ 144 h 242"/>
                  <a:gd name="T86" fmla="*/ 333 w 380"/>
                  <a:gd name="T87" fmla="*/ 150 h 242"/>
                  <a:gd name="T88" fmla="*/ 328 w 380"/>
                  <a:gd name="T89" fmla="*/ 151 h 242"/>
                  <a:gd name="T90" fmla="*/ 323 w 380"/>
                  <a:gd name="T91" fmla="*/ 157 h 242"/>
                  <a:gd name="T92" fmla="*/ 319 w 380"/>
                  <a:gd name="T93" fmla="*/ 164 h 242"/>
                  <a:gd name="T94" fmla="*/ 315 w 380"/>
                  <a:gd name="T95" fmla="*/ 168 h 242"/>
                  <a:gd name="T96" fmla="*/ 318 w 380"/>
                  <a:gd name="T97" fmla="*/ 178 h 242"/>
                  <a:gd name="T98" fmla="*/ 322 w 380"/>
                  <a:gd name="T99" fmla="*/ 179 h 242"/>
                  <a:gd name="T100" fmla="*/ 320 w 380"/>
                  <a:gd name="T101" fmla="*/ 191 h 242"/>
                  <a:gd name="T102" fmla="*/ 319 w 380"/>
                  <a:gd name="T103" fmla="*/ 192 h 242"/>
                  <a:gd name="T104" fmla="*/ 318 w 380"/>
                  <a:gd name="T105" fmla="*/ 194 h 242"/>
                  <a:gd name="T106" fmla="*/ 320 w 380"/>
                  <a:gd name="T107" fmla="*/ 197 h 242"/>
                  <a:gd name="T108" fmla="*/ 314 w 380"/>
                  <a:gd name="T109" fmla="*/ 206 h 242"/>
                  <a:gd name="T110" fmla="*/ 310 w 380"/>
                  <a:gd name="T111" fmla="*/ 210 h 242"/>
                  <a:gd name="T112" fmla="*/ 312 w 380"/>
                  <a:gd name="T113" fmla="*/ 217 h 242"/>
                  <a:gd name="T114" fmla="*/ 307 w 380"/>
                  <a:gd name="T115" fmla="*/ 226 h 242"/>
                  <a:gd name="T116" fmla="*/ 309 w 380"/>
                  <a:gd name="T117" fmla="*/ 232 h 242"/>
                  <a:gd name="T118" fmla="*/ 307 w 380"/>
                  <a:gd name="T119" fmla="*/ 239 h 242"/>
                  <a:gd name="T120" fmla="*/ 310 w 380"/>
                  <a:gd name="T121" fmla="*/ 24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0" h="242">
                    <a:moveTo>
                      <a:pt x="309" y="242"/>
                    </a:moveTo>
                    <a:lnTo>
                      <a:pt x="298" y="242"/>
                    </a:lnTo>
                    <a:lnTo>
                      <a:pt x="297" y="242"/>
                    </a:lnTo>
                    <a:lnTo>
                      <a:pt x="296" y="242"/>
                    </a:lnTo>
                    <a:lnTo>
                      <a:pt x="293" y="242"/>
                    </a:lnTo>
                    <a:lnTo>
                      <a:pt x="292" y="242"/>
                    </a:lnTo>
                    <a:lnTo>
                      <a:pt x="290" y="242"/>
                    </a:lnTo>
                    <a:lnTo>
                      <a:pt x="276" y="242"/>
                    </a:lnTo>
                    <a:lnTo>
                      <a:pt x="272" y="242"/>
                    </a:lnTo>
                    <a:lnTo>
                      <a:pt x="269" y="242"/>
                    </a:lnTo>
                    <a:lnTo>
                      <a:pt x="259" y="242"/>
                    </a:lnTo>
                    <a:lnTo>
                      <a:pt x="254" y="242"/>
                    </a:lnTo>
                    <a:lnTo>
                      <a:pt x="251" y="242"/>
                    </a:lnTo>
                    <a:lnTo>
                      <a:pt x="246" y="242"/>
                    </a:lnTo>
                    <a:lnTo>
                      <a:pt x="245" y="242"/>
                    </a:lnTo>
                    <a:lnTo>
                      <a:pt x="238" y="242"/>
                    </a:lnTo>
                    <a:lnTo>
                      <a:pt x="235" y="242"/>
                    </a:lnTo>
                    <a:lnTo>
                      <a:pt x="227" y="242"/>
                    </a:lnTo>
                    <a:lnTo>
                      <a:pt x="225" y="242"/>
                    </a:lnTo>
                    <a:lnTo>
                      <a:pt x="224" y="242"/>
                    </a:lnTo>
                    <a:lnTo>
                      <a:pt x="221" y="242"/>
                    </a:lnTo>
                    <a:lnTo>
                      <a:pt x="220" y="242"/>
                    </a:lnTo>
                    <a:lnTo>
                      <a:pt x="218" y="242"/>
                    </a:lnTo>
                    <a:lnTo>
                      <a:pt x="217" y="242"/>
                    </a:lnTo>
                    <a:lnTo>
                      <a:pt x="216" y="242"/>
                    </a:lnTo>
                    <a:lnTo>
                      <a:pt x="215" y="242"/>
                    </a:lnTo>
                    <a:lnTo>
                      <a:pt x="213" y="241"/>
                    </a:lnTo>
                    <a:lnTo>
                      <a:pt x="212" y="241"/>
                    </a:lnTo>
                    <a:lnTo>
                      <a:pt x="207" y="240"/>
                    </a:lnTo>
                    <a:lnTo>
                      <a:pt x="200" y="239"/>
                    </a:lnTo>
                    <a:lnTo>
                      <a:pt x="188" y="236"/>
                    </a:lnTo>
                    <a:lnTo>
                      <a:pt x="186" y="235"/>
                    </a:lnTo>
                    <a:lnTo>
                      <a:pt x="180" y="234"/>
                    </a:lnTo>
                    <a:lnTo>
                      <a:pt x="174" y="233"/>
                    </a:lnTo>
                    <a:lnTo>
                      <a:pt x="172" y="233"/>
                    </a:lnTo>
                    <a:lnTo>
                      <a:pt x="164" y="231"/>
                    </a:lnTo>
                    <a:lnTo>
                      <a:pt x="154" y="229"/>
                    </a:lnTo>
                    <a:lnTo>
                      <a:pt x="144" y="228"/>
                    </a:lnTo>
                    <a:lnTo>
                      <a:pt x="141" y="227"/>
                    </a:lnTo>
                    <a:lnTo>
                      <a:pt x="140" y="227"/>
                    </a:lnTo>
                    <a:lnTo>
                      <a:pt x="138" y="226"/>
                    </a:lnTo>
                    <a:lnTo>
                      <a:pt x="134" y="224"/>
                    </a:lnTo>
                    <a:lnTo>
                      <a:pt x="129" y="223"/>
                    </a:lnTo>
                    <a:lnTo>
                      <a:pt x="128" y="223"/>
                    </a:lnTo>
                    <a:lnTo>
                      <a:pt x="114" y="220"/>
                    </a:lnTo>
                    <a:lnTo>
                      <a:pt x="113" y="220"/>
                    </a:lnTo>
                    <a:lnTo>
                      <a:pt x="112" y="220"/>
                    </a:lnTo>
                    <a:lnTo>
                      <a:pt x="110" y="220"/>
                    </a:lnTo>
                    <a:lnTo>
                      <a:pt x="110" y="219"/>
                    </a:lnTo>
                    <a:lnTo>
                      <a:pt x="106" y="219"/>
                    </a:lnTo>
                    <a:lnTo>
                      <a:pt x="101" y="218"/>
                    </a:lnTo>
                    <a:lnTo>
                      <a:pt x="89" y="216"/>
                    </a:lnTo>
                    <a:lnTo>
                      <a:pt x="82" y="214"/>
                    </a:lnTo>
                    <a:lnTo>
                      <a:pt x="80" y="214"/>
                    </a:lnTo>
                    <a:lnTo>
                      <a:pt x="77" y="213"/>
                    </a:lnTo>
                    <a:lnTo>
                      <a:pt x="75" y="213"/>
                    </a:lnTo>
                    <a:lnTo>
                      <a:pt x="64" y="210"/>
                    </a:lnTo>
                    <a:lnTo>
                      <a:pt x="57" y="209"/>
                    </a:lnTo>
                    <a:lnTo>
                      <a:pt x="57" y="208"/>
                    </a:lnTo>
                    <a:lnTo>
                      <a:pt x="56" y="208"/>
                    </a:lnTo>
                    <a:lnTo>
                      <a:pt x="56" y="207"/>
                    </a:lnTo>
                    <a:lnTo>
                      <a:pt x="56" y="206"/>
                    </a:lnTo>
                    <a:lnTo>
                      <a:pt x="57" y="205"/>
                    </a:lnTo>
                    <a:lnTo>
                      <a:pt x="56" y="205"/>
                    </a:lnTo>
                    <a:lnTo>
                      <a:pt x="57" y="205"/>
                    </a:lnTo>
                    <a:lnTo>
                      <a:pt x="57" y="204"/>
                    </a:lnTo>
                    <a:lnTo>
                      <a:pt x="56" y="204"/>
                    </a:lnTo>
                    <a:lnTo>
                      <a:pt x="57" y="204"/>
                    </a:lnTo>
                    <a:lnTo>
                      <a:pt x="57" y="203"/>
                    </a:lnTo>
                    <a:lnTo>
                      <a:pt x="58" y="203"/>
                    </a:lnTo>
                    <a:lnTo>
                      <a:pt x="58" y="202"/>
                    </a:lnTo>
                    <a:lnTo>
                      <a:pt x="57" y="202"/>
                    </a:lnTo>
                    <a:lnTo>
                      <a:pt x="57" y="201"/>
                    </a:lnTo>
                    <a:lnTo>
                      <a:pt x="57" y="200"/>
                    </a:lnTo>
                    <a:lnTo>
                      <a:pt x="57" y="198"/>
                    </a:lnTo>
                    <a:lnTo>
                      <a:pt x="56" y="198"/>
                    </a:lnTo>
                    <a:lnTo>
                      <a:pt x="57" y="198"/>
                    </a:lnTo>
                    <a:lnTo>
                      <a:pt x="57" y="197"/>
                    </a:lnTo>
                    <a:lnTo>
                      <a:pt x="57" y="196"/>
                    </a:lnTo>
                    <a:lnTo>
                      <a:pt x="57" y="195"/>
                    </a:lnTo>
                    <a:lnTo>
                      <a:pt x="57" y="194"/>
                    </a:lnTo>
                    <a:lnTo>
                      <a:pt x="56" y="194"/>
                    </a:lnTo>
                    <a:lnTo>
                      <a:pt x="57" y="194"/>
                    </a:lnTo>
                    <a:lnTo>
                      <a:pt x="57" y="193"/>
                    </a:lnTo>
                    <a:lnTo>
                      <a:pt x="58" y="193"/>
                    </a:lnTo>
                    <a:lnTo>
                      <a:pt x="58" y="192"/>
                    </a:lnTo>
                    <a:lnTo>
                      <a:pt x="57" y="191"/>
                    </a:lnTo>
                    <a:lnTo>
                      <a:pt x="56" y="190"/>
                    </a:lnTo>
                    <a:lnTo>
                      <a:pt x="54" y="190"/>
                    </a:lnTo>
                    <a:lnTo>
                      <a:pt x="53" y="190"/>
                    </a:lnTo>
                    <a:lnTo>
                      <a:pt x="53" y="189"/>
                    </a:lnTo>
                    <a:lnTo>
                      <a:pt x="53" y="188"/>
                    </a:lnTo>
                    <a:lnTo>
                      <a:pt x="53" y="187"/>
                    </a:lnTo>
                    <a:lnTo>
                      <a:pt x="53" y="185"/>
                    </a:lnTo>
                    <a:lnTo>
                      <a:pt x="52" y="185"/>
                    </a:lnTo>
                    <a:lnTo>
                      <a:pt x="52" y="184"/>
                    </a:lnTo>
                    <a:lnTo>
                      <a:pt x="53" y="184"/>
                    </a:lnTo>
                    <a:lnTo>
                      <a:pt x="52" y="184"/>
                    </a:lnTo>
                    <a:lnTo>
                      <a:pt x="52" y="183"/>
                    </a:lnTo>
                    <a:lnTo>
                      <a:pt x="53" y="183"/>
                    </a:lnTo>
                    <a:lnTo>
                      <a:pt x="52" y="183"/>
                    </a:lnTo>
                    <a:lnTo>
                      <a:pt x="52" y="182"/>
                    </a:lnTo>
                    <a:lnTo>
                      <a:pt x="53" y="182"/>
                    </a:lnTo>
                    <a:lnTo>
                      <a:pt x="52" y="182"/>
                    </a:lnTo>
                    <a:lnTo>
                      <a:pt x="51" y="182"/>
                    </a:lnTo>
                    <a:lnTo>
                      <a:pt x="51" y="181"/>
                    </a:lnTo>
                    <a:lnTo>
                      <a:pt x="51" y="180"/>
                    </a:lnTo>
                    <a:lnTo>
                      <a:pt x="50" y="180"/>
                    </a:lnTo>
                    <a:lnTo>
                      <a:pt x="49" y="180"/>
                    </a:lnTo>
                    <a:lnTo>
                      <a:pt x="50" y="179"/>
                    </a:lnTo>
                    <a:lnTo>
                      <a:pt x="50" y="178"/>
                    </a:lnTo>
                    <a:lnTo>
                      <a:pt x="51" y="178"/>
                    </a:lnTo>
                    <a:lnTo>
                      <a:pt x="51" y="177"/>
                    </a:lnTo>
                    <a:lnTo>
                      <a:pt x="50" y="177"/>
                    </a:lnTo>
                    <a:lnTo>
                      <a:pt x="50" y="176"/>
                    </a:lnTo>
                    <a:lnTo>
                      <a:pt x="51" y="177"/>
                    </a:lnTo>
                    <a:lnTo>
                      <a:pt x="51" y="176"/>
                    </a:lnTo>
                    <a:lnTo>
                      <a:pt x="51" y="175"/>
                    </a:lnTo>
                    <a:lnTo>
                      <a:pt x="51" y="173"/>
                    </a:lnTo>
                    <a:lnTo>
                      <a:pt x="51" y="172"/>
                    </a:lnTo>
                    <a:lnTo>
                      <a:pt x="51" y="171"/>
                    </a:lnTo>
                    <a:lnTo>
                      <a:pt x="52" y="171"/>
                    </a:lnTo>
                    <a:lnTo>
                      <a:pt x="52" y="170"/>
                    </a:lnTo>
                    <a:lnTo>
                      <a:pt x="52" y="169"/>
                    </a:lnTo>
                    <a:lnTo>
                      <a:pt x="51" y="169"/>
                    </a:lnTo>
                    <a:lnTo>
                      <a:pt x="50" y="169"/>
                    </a:lnTo>
                    <a:lnTo>
                      <a:pt x="51" y="168"/>
                    </a:lnTo>
                    <a:lnTo>
                      <a:pt x="50" y="168"/>
                    </a:lnTo>
                    <a:lnTo>
                      <a:pt x="49" y="168"/>
                    </a:lnTo>
                    <a:lnTo>
                      <a:pt x="48" y="167"/>
                    </a:lnTo>
                    <a:lnTo>
                      <a:pt x="48" y="166"/>
                    </a:lnTo>
                    <a:lnTo>
                      <a:pt x="47" y="166"/>
                    </a:lnTo>
                    <a:lnTo>
                      <a:pt x="46" y="166"/>
                    </a:lnTo>
                    <a:lnTo>
                      <a:pt x="46" y="165"/>
                    </a:lnTo>
                    <a:lnTo>
                      <a:pt x="46" y="164"/>
                    </a:lnTo>
                    <a:lnTo>
                      <a:pt x="45" y="164"/>
                    </a:lnTo>
                    <a:lnTo>
                      <a:pt x="45" y="163"/>
                    </a:lnTo>
                    <a:lnTo>
                      <a:pt x="44" y="163"/>
                    </a:lnTo>
                    <a:lnTo>
                      <a:pt x="44" y="162"/>
                    </a:lnTo>
                    <a:lnTo>
                      <a:pt x="44" y="160"/>
                    </a:lnTo>
                    <a:lnTo>
                      <a:pt x="43" y="160"/>
                    </a:lnTo>
                    <a:lnTo>
                      <a:pt x="44" y="160"/>
                    </a:lnTo>
                    <a:lnTo>
                      <a:pt x="44" y="159"/>
                    </a:lnTo>
                    <a:lnTo>
                      <a:pt x="43" y="159"/>
                    </a:lnTo>
                    <a:lnTo>
                      <a:pt x="43" y="158"/>
                    </a:lnTo>
                    <a:lnTo>
                      <a:pt x="43" y="157"/>
                    </a:lnTo>
                    <a:lnTo>
                      <a:pt x="43" y="156"/>
                    </a:lnTo>
                    <a:lnTo>
                      <a:pt x="41" y="156"/>
                    </a:lnTo>
                    <a:lnTo>
                      <a:pt x="41" y="155"/>
                    </a:lnTo>
                    <a:lnTo>
                      <a:pt x="41" y="154"/>
                    </a:lnTo>
                    <a:lnTo>
                      <a:pt x="43" y="154"/>
                    </a:lnTo>
                    <a:lnTo>
                      <a:pt x="41" y="154"/>
                    </a:lnTo>
                    <a:lnTo>
                      <a:pt x="41" y="153"/>
                    </a:lnTo>
                    <a:lnTo>
                      <a:pt x="41" y="152"/>
                    </a:lnTo>
                    <a:lnTo>
                      <a:pt x="43" y="151"/>
                    </a:lnTo>
                    <a:lnTo>
                      <a:pt x="43" y="150"/>
                    </a:lnTo>
                    <a:lnTo>
                      <a:pt x="41" y="150"/>
                    </a:lnTo>
                    <a:lnTo>
                      <a:pt x="40" y="150"/>
                    </a:lnTo>
                    <a:lnTo>
                      <a:pt x="40" y="149"/>
                    </a:lnTo>
                    <a:lnTo>
                      <a:pt x="39" y="149"/>
                    </a:lnTo>
                    <a:lnTo>
                      <a:pt x="39" y="147"/>
                    </a:lnTo>
                    <a:lnTo>
                      <a:pt x="39" y="146"/>
                    </a:lnTo>
                    <a:lnTo>
                      <a:pt x="38" y="146"/>
                    </a:lnTo>
                    <a:lnTo>
                      <a:pt x="38" y="145"/>
                    </a:lnTo>
                    <a:lnTo>
                      <a:pt x="37" y="145"/>
                    </a:lnTo>
                    <a:lnTo>
                      <a:pt x="36" y="145"/>
                    </a:lnTo>
                    <a:lnTo>
                      <a:pt x="36" y="144"/>
                    </a:lnTo>
                    <a:lnTo>
                      <a:pt x="36" y="143"/>
                    </a:lnTo>
                    <a:lnTo>
                      <a:pt x="35" y="143"/>
                    </a:lnTo>
                    <a:lnTo>
                      <a:pt x="35" y="142"/>
                    </a:lnTo>
                    <a:lnTo>
                      <a:pt x="34" y="142"/>
                    </a:lnTo>
                    <a:lnTo>
                      <a:pt x="34" y="141"/>
                    </a:lnTo>
                    <a:lnTo>
                      <a:pt x="34" y="142"/>
                    </a:lnTo>
                    <a:lnTo>
                      <a:pt x="33" y="142"/>
                    </a:lnTo>
                    <a:lnTo>
                      <a:pt x="33" y="141"/>
                    </a:lnTo>
                    <a:lnTo>
                      <a:pt x="33" y="140"/>
                    </a:lnTo>
                    <a:lnTo>
                      <a:pt x="33" y="139"/>
                    </a:lnTo>
                    <a:lnTo>
                      <a:pt x="34" y="139"/>
                    </a:lnTo>
                    <a:lnTo>
                      <a:pt x="34" y="138"/>
                    </a:lnTo>
                    <a:lnTo>
                      <a:pt x="33" y="138"/>
                    </a:lnTo>
                    <a:lnTo>
                      <a:pt x="33" y="137"/>
                    </a:lnTo>
                    <a:lnTo>
                      <a:pt x="33" y="136"/>
                    </a:lnTo>
                    <a:lnTo>
                      <a:pt x="34" y="136"/>
                    </a:lnTo>
                    <a:lnTo>
                      <a:pt x="35" y="136"/>
                    </a:lnTo>
                    <a:lnTo>
                      <a:pt x="34" y="134"/>
                    </a:lnTo>
                    <a:lnTo>
                      <a:pt x="34" y="133"/>
                    </a:lnTo>
                    <a:lnTo>
                      <a:pt x="35" y="133"/>
                    </a:lnTo>
                    <a:lnTo>
                      <a:pt x="35" y="132"/>
                    </a:lnTo>
                    <a:lnTo>
                      <a:pt x="35" y="131"/>
                    </a:lnTo>
                    <a:lnTo>
                      <a:pt x="35" y="130"/>
                    </a:lnTo>
                    <a:lnTo>
                      <a:pt x="35" y="129"/>
                    </a:lnTo>
                    <a:lnTo>
                      <a:pt x="34" y="128"/>
                    </a:lnTo>
                    <a:lnTo>
                      <a:pt x="33" y="127"/>
                    </a:lnTo>
                    <a:lnTo>
                      <a:pt x="33" y="126"/>
                    </a:lnTo>
                    <a:lnTo>
                      <a:pt x="32" y="125"/>
                    </a:lnTo>
                    <a:lnTo>
                      <a:pt x="32" y="124"/>
                    </a:lnTo>
                    <a:lnTo>
                      <a:pt x="31" y="123"/>
                    </a:lnTo>
                    <a:lnTo>
                      <a:pt x="32" y="123"/>
                    </a:lnTo>
                    <a:lnTo>
                      <a:pt x="32" y="121"/>
                    </a:lnTo>
                    <a:lnTo>
                      <a:pt x="32" y="120"/>
                    </a:lnTo>
                    <a:lnTo>
                      <a:pt x="32" y="119"/>
                    </a:lnTo>
                    <a:lnTo>
                      <a:pt x="32" y="118"/>
                    </a:lnTo>
                    <a:lnTo>
                      <a:pt x="31" y="117"/>
                    </a:lnTo>
                    <a:lnTo>
                      <a:pt x="32" y="117"/>
                    </a:lnTo>
                    <a:lnTo>
                      <a:pt x="32" y="116"/>
                    </a:lnTo>
                    <a:lnTo>
                      <a:pt x="31" y="116"/>
                    </a:lnTo>
                    <a:lnTo>
                      <a:pt x="31" y="115"/>
                    </a:lnTo>
                    <a:lnTo>
                      <a:pt x="32" y="115"/>
                    </a:lnTo>
                    <a:lnTo>
                      <a:pt x="31" y="115"/>
                    </a:lnTo>
                    <a:lnTo>
                      <a:pt x="31" y="114"/>
                    </a:lnTo>
                    <a:lnTo>
                      <a:pt x="31" y="113"/>
                    </a:lnTo>
                    <a:lnTo>
                      <a:pt x="31" y="112"/>
                    </a:lnTo>
                    <a:lnTo>
                      <a:pt x="30" y="112"/>
                    </a:lnTo>
                    <a:lnTo>
                      <a:pt x="30" y="111"/>
                    </a:lnTo>
                    <a:lnTo>
                      <a:pt x="28" y="110"/>
                    </a:lnTo>
                    <a:lnTo>
                      <a:pt x="27" y="108"/>
                    </a:lnTo>
                    <a:lnTo>
                      <a:pt x="24" y="107"/>
                    </a:lnTo>
                    <a:lnTo>
                      <a:pt x="24" y="106"/>
                    </a:lnTo>
                    <a:lnTo>
                      <a:pt x="23" y="105"/>
                    </a:lnTo>
                    <a:lnTo>
                      <a:pt x="23" y="104"/>
                    </a:lnTo>
                    <a:lnTo>
                      <a:pt x="23" y="103"/>
                    </a:lnTo>
                    <a:lnTo>
                      <a:pt x="22" y="103"/>
                    </a:lnTo>
                    <a:lnTo>
                      <a:pt x="21" y="101"/>
                    </a:lnTo>
                    <a:lnTo>
                      <a:pt x="21" y="100"/>
                    </a:lnTo>
                    <a:lnTo>
                      <a:pt x="21" y="99"/>
                    </a:lnTo>
                    <a:lnTo>
                      <a:pt x="21" y="98"/>
                    </a:lnTo>
                    <a:lnTo>
                      <a:pt x="20" y="97"/>
                    </a:lnTo>
                    <a:lnTo>
                      <a:pt x="20" y="95"/>
                    </a:lnTo>
                    <a:lnTo>
                      <a:pt x="19" y="95"/>
                    </a:lnTo>
                    <a:lnTo>
                      <a:pt x="19" y="94"/>
                    </a:lnTo>
                    <a:lnTo>
                      <a:pt x="18" y="93"/>
                    </a:lnTo>
                    <a:lnTo>
                      <a:pt x="19" y="93"/>
                    </a:lnTo>
                    <a:lnTo>
                      <a:pt x="19" y="92"/>
                    </a:lnTo>
                    <a:lnTo>
                      <a:pt x="20" y="92"/>
                    </a:lnTo>
                    <a:lnTo>
                      <a:pt x="20" y="91"/>
                    </a:lnTo>
                    <a:lnTo>
                      <a:pt x="20" y="90"/>
                    </a:lnTo>
                    <a:lnTo>
                      <a:pt x="19" y="89"/>
                    </a:lnTo>
                    <a:lnTo>
                      <a:pt x="19" y="88"/>
                    </a:lnTo>
                    <a:lnTo>
                      <a:pt x="19" y="81"/>
                    </a:lnTo>
                    <a:lnTo>
                      <a:pt x="11" y="81"/>
                    </a:lnTo>
                    <a:lnTo>
                      <a:pt x="11" y="75"/>
                    </a:lnTo>
                    <a:lnTo>
                      <a:pt x="11" y="74"/>
                    </a:lnTo>
                    <a:lnTo>
                      <a:pt x="9" y="74"/>
                    </a:lnTo>
                    <a:lnTo>
                      <a:pt x="9" y="70"/>
                    </a:lnTo>
                    <a:lnTo>
                      <a:pt x="0" y="70"/>
                    </a:lnTo>
                    <a:lnTo>
                      <a:pt x="0" y="66"/>
                    </a:lnTo>
                    <a:lnTo>
                      <a:pt x="0" y="44"/>
                    </a:lnTo>
                    <a:lnTo>
                      <a:pt x="0" y="26"/>
                    </a:lnTo>
                    <a:lnTo>
                      <a:pt x="0" y="24"/>
                    </a:lnTo>
                    <a:lnTo>
                      <a:pt x="0" y="23"/>
                    </a:lnTo>
                    <a:lnTo>
                      <a:pt x="0" y="9"/>
                    </a:lnTo>
                    <a:lnTo>
                      <a:pt x="0" y="8"/>
                    </a:lnTo>
                    <a:lnTo>
                      <a:pt x="0" y="7"/>
                    </a:lnTo>
                    <a:lnTo>
                      <a:pt x="0" y="3"/>
                    </a:lnTo>
                    <a:lnTo>
                      <a:pt x="2" y="3"/>
                    </a:lnTo>
                    <a:lnTo>
                      <a:pt x="54" y="3"/>
                    </a:lnTo>
                    <a:lnTo>
                      <a:pt x="60" y="3"/>
                    </a:lnTo>
                    <a:lnTo>
                      <a:pt x="70" y="3"/>
                    </a:lnTo>
                    <a:lnTo>
                      <a:pt x="73" y="3"/>
                    </a:lnTo>
                    <a:lnTo>
                      <a:pt x="74" y="3"/>
                    </a:lnTo>
                    <a:lnTo>
                      <a:pt x="76" y="3"/>
                    </a:lnTo>
                    <a:lnTo>
                      <a:pt x="84" y="3"/>
                    </a:lnTo>
                    <a:lnTo>
                      <a:pt x="95" y="3"/>
                    </a:lnTo>
                    <a:lnTo>
                      <a:pt x="99" y="3"/>
                    </a:lnTo>
                    <a:lnTo>
                      <a:pt x="103" y="3"/>
                    </a:lnTo>
                    <a:lnTo>
                      <a:pt x="113" y="2"/>
                    </a:lnTo>
                    <a:lnTo>
                      <a:pt x="122" y="2"/>
                    </a:lnTo>
                    <a:lnTo>
                      <a:pt x="129" y="2"/>
                    </a:lnTo>
                    <a:lnTo>
                      <a:pt x="131" y="2"/>
                    </a:lnTo>
                    <a:lnTo>
                      <a:pt x="132" y="3"/>
                    </a:lnTo>
                    <a:lnTo>
                      <a:pt x="135" y="2"/>
                    </a:lnTo>
                    <a:lnTo>
                      <a:pt x="140" y="2"/>
                    </a:lnTo>
                    <a:lnTo>
                      <a:pt x="142" y="2"/>
                    </a:lnTo>
                    <a:lnTo>
                      <a:pt x="153" y="2"/>
                    </a:lnTo>
                    <a:lnTo>
                      <a:pt x="181" y="2"/>
                    </a:lnTo>
                    <a:lnTo>
                      <a:pt x="186" y="2"/>
                    </a:lnTo>
                    <a:lnTo>
                      <a:pt x="191" y="2"/>
                    </a:lnTo>
                    <a:lnTo>
                      <a:pt x="194" y="2"/>
                    </a:lnTo>
                    <a:lnTo>
                      <a:pt x="195" y="2"/>
                    </a:lnTo>
                    <a:lnTo>
                      <a:pt x="200" y="2"/>
                    </a:lnTo>
                    <a:lnTo>
                      <a:pt x="203" y="2"/>
                    </a:lnTo>
                    <a:lnTo>
                      <a:pt x="206" y="2"/>
                    </a:lnTo>
                    <a:lnTo>
                      <a:pt x="209" y="2"/>
                    </a:lnTo>
                    <a:lnTo>
                      <a:pt x="213" y="2"/>
                    </a:lnTo>
                    <a:lnTo>
                      <a:pt x="218" y="2"/>
                    </a:lnTo>
                    <a:lnTo>
                      <a:pt x="224" y="2"/>
                    </a:lnTo>
                    <a:lnTo>
                      <a:pt x="229" y="2"/>
                    </a:lnTo>
                    <a:lnTo>
                      <a:pt x="230" y="2"/>
                    </a:lnTo>
                    <a:lnTo>
                      <a:pt x="250" y="2"/>
                    </a:lnTo>
                    <a:lnTo>
                      <a:pt x="260" y="2"/>
                    </a:lnTo>
                    <a:lnTo>
                      <a:pt x="276" y="2"/>
                    </a:lnTo>
                    <a:lnTo>
                      <a:pt x="279" y="2"/>
                    </a:lnTo>
                    <a:lnTo>
                      <a:pt x="290" y="2"/>
                    </a:lnTo>
                    <a:lnTo>
                      <a:pt x="291" y="2"/>
                    </a:lnTo>
                    <a:lnTo>
                      <a:pt x="299" y="2"/>
                    </a:lnTo>
                    <a:lnTo>
                      <a:pt x="303" y="2"/>
                    </a:lnTo>
                    <a:lnTo>
                      <a:pt x="308" y="2"/>
                    </a:lnTo>
                    <a:lnTo>
                      <a:pt x="311" y="2"/>
                    </a:lnTo>
                    <a:lnTo>
                      <a:pt x="314" y="2"/>
                    </a:lnTo>
                    <a:lnTo>
                      <a:pt x="320" y="2"/>
                    </a:lnTo>
                    <a:lnTo>
                      <a:pt x="324" y="2"/>
                    </a:lnTo>
                    <a:lnTo>
                      <a:pt x="325" y="2"/>
                    </a:lnTo>
                    <a:lnTo>
                      <a:pt x="335" y="2"/>
                    </a:lnTo>
                    <a:lnTo>
                      <a:pt x="364" y="2"/>
                    </a:lnTo>
                    <a:lnTo>
                      <a:pt x="364" y="3"/>
                    </a:lnTo>
                    <a:lnTo>
                      <a:pt x="366" y="3"/>
                    </a:lnTo>
                    <a:lnTo>
                      <a:pt x="367" y="3"/>
                    </a:lnTo>
                    <a:lnTo>
                      <a:pt x="368" y="3"/>
                    </a:lnTo>
                    <a:lnTo>
                      <a:pt x="369" y="2"/>
                    </a:lnTo>
                    <a:lnTo>
                      <a:pt x="370" y="1"/>
                    </a:lnTo>
                    <a:lnTo>
                      <a:pt x="371" y="1"/>
                    </a:lnTo>
                    <a:lnTo>
                      <a:pt x="372" y="1"/>
                    </a:lnTo>
                    <a:lnTo>
                      <a:pt x="373" y="1"/>
                    </a:lnTo>
                    <a:lnTo>
                      <a:pt x="374" y="1"/>
                    </a:lnTo>
                    <a:lnTo>
                      <a:pt x="374" y="2"/>
                    </a:lnTo>
                    <a:lnTo>
                      <a:pt x="375" y="2"/>
                    </a:lnTo>
                    <a:lnTo>
                      <a:pt x="375" y="1"/>
                    </a:lnTo>
                    <a:lnTo>
                      <a:pt x="376" y="0"/>
                    </a:lnTo>
                    <a:lnTo>
                      <a:pt x="377" y="0"/>
                    </a:lnTo>
                    <a:lnTo>
                      <a:pt x="379" y="1"/>
                    </a:lnTo>
                    <a:lnTo>
                      <a:pt x="380" y="1"/>
                    </a:lnTo>
                    <a:lnTo>
                      <a:pt x="380" y="2"/>
                    </a:lnTo>
                    <a:lnTo>
                      <a:pt x="380" y="3"/>
                    </a:lnTo>
                    <a:lnTo>
                      <a:pt x="379" y="3"/>
                    </a:lnTo>
                    <a:lnTo>
                      <a:pt x="377" y="3"/>
                    </a:lnTo>
                    <a:lnTo>
                      <a:pt x="376" y="3"/>
                    </a:lnTo>
                    <a:lnTo>
                      <a:pt x="375" y="3"/>
                    </a:lnTo>
                    <a:lnTo>
                      <a:pt x="375" y="4"/>
                    </a:lnTo>
                    <a:lnTo>
                      <a:pt x="375" y="5"/>
                    </a:lnTo>
                    <a:lnTo>
                      <a:pt x="375" y="7"/>
                    </a:lnTo>
                    <a:lnTo>
                      <a:pt x="376" y="8"/>
                    </a:lnTo>
                    <a:lnTo>
                      <a:pt x="377" y="8"/>
                    </a:lnTo>
                    <a:lnTo>
                      <a:pt x="380" y="8"/>
                    </a:lnTo>
                    <a:lnTo>
                      <a:pt x="380" y="9"/>
                    </a:lnTo>
                    <a:lnTo>
                      <a:pt x="379" y="12"/>
                    </a:lnTo>
                    <a:lnTo>
                      <a:pt x="377" y="13"/>
                    </a:lnTo>
                    <a:lnTo>
                      <a:pt x="379" y="14"/>
                    </a:lnTo>
                    <a:lnTo>
                      <a:pt x="379" y="16"/>
                    </a:lnTo>
                    <a:lnTo>
                      <a:pt x="379" y="17"/>
                    </a:lnTo>
                    <a:lnTo>
                      <a:pt x="377" y="17"/>
                    </a:lnTo>
                    <a:lnTo>
                      <a:pt x="377" y="18"/>
                    </a:lnTo>
                    <a:lnTo>
                      <a:pt x="377" y="20"/>
                    </a:lnTo>
                    <a:lnTo>
                      <a:pt x="376" y="20"/>
                    </a:lnTo>
                    <a:lnTo>
                      <a:pt x="375" y="20"/>
                    </a:lnTo>
                    <a:lnTo>
                      <a:pt x="374" y="20"/>
                    </a:lnTo>
                    <a:lnTo>
                      <a:pt x="374" y="21"/>
                    </a:lnTo>
                    <a:lnTo>
                      <a:pt x="374" y="22"/>
                    </a:lnTo>
                    <a:lnTo>
                      <a:pt x="375" y="22"/>
                    </a:lnTo>
                    <a:lnTo>
                      <a:pt x="379" y="24"/>
                    </a:lnTo>
                    <a:lnTo>
                      <a:pt x="380" y="24"/>
                    </a:lnTo>
                    <a:lnTo>
                      <a:pt x="380" y="25"/>
                    </a:lnTo>
                    <a:lnTo>
                      <a:pt x="380" y="26"/>
                    </a:lnTo>
                    <a:lnTo>
                      <a:pt x="380" y="27"/>
                    </a:lnTo>
                    <a:lnTo>
                      <a:pt x="379" y="27"/>
                    </a:lnTo>
                    <a:lnTo>
                      <a:pt x="377" y="27"/>
                    </a:lnTo>
                    <a:lnTo>
                      <a:pt x="376" y="27"/>
                    </a:lnTo>
                    <a:lnTo>
                      <a:pt x="375" y="27"/>
                    </a:lnTo>
                    <a:lnTo>
                      <a:pt x="373" y="29"/>
                    </a:lnTo>
                    <a:lnTo>
                      <a:pt x="372" y="30"/>
                    </a:lnTo>
                    <a:lnTo>
                      <a:pt x="371" y="31"/>
                    </a:lnTo>
                    <a:lnTo>
                      <a:pt x="370" y="31"/>
                    </a:lnTo>
                    <a:lnTo>
                      <a:pt x="370" y="33"/>
                    </a:lnTo>
                    <a:lnTo>
                      <a:pt x="370" y="35"/>
                    </a:lnTo>
                    <a:lnTo>
                      <a:pt x="370" y="36"/>
                    </a:lnTo>
                    <a:lnTo>
                      <a:pt x="366" y="38"/>
                    </a:lnTo>
                    <a:lnTo>
                      <a:pt x="363" y="41"/>
                    </a:lnTo>
                    <a:lnTo>
                      <a:pt x="363" y="42"/>
                    </a:lnTo>
                    <a:lnTo>
                      <a:pt x="362" y="43"/>
                    </a:lnTo>
                    <a:lnTo>
                      <a:pt x="362" y="44"/>
                    </a:lnTo>
                    <a:lnTo>
                      <a:pt x="362" y="46"/>
                    </a:lnTo>
                    <a:lnTo>
                      <a:pt x="362" y="47"/>
                    </a:lnTo>
                    <a:lnTo>
                      <a:pt x="363" y="47"/>
                    </a:lnTo>
                    <a:lnTo>
                      <a:pt x="363" y="48"/>
                    </a:lnTo>
                    <a:lnTo>
                      <a:pt x="364" y="48"/>
                    </a:lnTo>
                    <a:lnTo>
                      <a:pt x="366" y="49"/>
                    </a:lnTo>
                    <a:lnTo>
                      <a:pt x="367" y="50"/>
                    </a:lnTo>
                    <a:lnTo>
                      <a:pt x="367" y="51"/>
                    </a:lnTo>
                    <a:lnTo>
                      <a:pt x="367" y="52"/>
                    </a:lnTo>
                    <a:lnTo>
                      <a:pt x="366" y="53"/>
                    </a:lnTo>
                    <a:lnTo>
                      <a:pt x="364" y="54"/>
                    </a:lnTo>
                    <a:lnTo>
                      <a:pt x="364" y="55"/>
                    </a:lnTo>
                    <a:lnTo>
                      <a:pt x="364" y="56"/>
                    </a:lnTo>
                    <a:lnTo>
                      <a:pt x="364" y="57"/>
                    </a:lnTo>
                    <a:lnTo>
                      <a:pt x="366" y="57"/>
                    </a:lnTo>
                    <a:lnTo>
                      <a:pt x="366" y="59"/>
                    </a:lnTo>
                    <a:lnTo>
                      <a:pt x="367" y="59"/>
                    </a:lnTo>
                    <a:lnTo>
                      <a:pt x="369" y="59"/>
                    </a:lnTo>
                    <a:lnTo>
                      <a:pt x="369" y="60"/>
                    </a:lnTo>
                    <a:lnTo>
                      <a:pt x="370" y="60"/>
                    </a:lnTo>
                    <a:lnTo>
                      <a:pt x="369" y="62"/>
                    </a:lnTo>
                    <a:lnTo>
                      <a:pt x="369" y="63"/>
                    </a:lnTo>
                    <a:lnTo>
                      <a:pt x="368" y="64"/>
                    </a:lnTo>
                    <a:lnTo>
                      <a:pt x="366" y="65"/>
                    </a:lnTo>
                    <a:lnTo>
                      <a:pt x="366" y="66"/>
                    </a:lnTo>
                    <a:lnTo>
                      <a:pt x="364" y="66"/>
                    </a:lnTo>
                    <a:lnTo>
                      <a:pt x="363" y="66"/>
                    </a:lnTo>
                    <a:lnTo>
                      <a:pt x="362" y="65"/>
                    </a:lnTo>
                    <a:lnTo>
                      <a:pt x="362" y="64"/>
                    </a:lnTo>
                    <a:lnTo>
                      <a:pt x="361" y="64"/>
                    </a:lnTo>
                    <a:lnTo>
                      <a:pt x="360" y="64"/>
                    </a:lnTo>
                    <a:lnTo>
                      <a:pt x="359" y="64"/>
                    </a:lnTo>
                    <a:lnTo>
                      <a:pt x="358" y="65"/>
                    </a:lnTo>
                    <a:lnTo>
                      <a:pt x="358" y="66"/>
                    </a:lnTo>
                    <a:lnTo>
                      <a:pt x="357" y="66"/>
                    </a:lnTo>
                    <a:lnTo>
                      <a:pt x="357" y="67"/>
                    </a:lnTo>
                    <a:lnTo>
                      <a:pt x="358" y="68"/>
                    </a:lnTo>
                    <a:lnTo>
                      <a:pt x="358" y="69"/>
                    </a:lnTo>
                    <a:lnTo>
                      <a:pt x="359" y="70"/>
                    </a:lnTo>
                    <a:lnTo>
                      <a:pt x="360" y="70"/>
                    </a:lnTo>
                    <a:lnTo>
                      <a:pt x="361" y="72"/>
                    </a:lnTo>
                    <a:lnTo>
                      <a:pt x="361" y="73"/>
                    </a:lnTo>
                    <a:lnTo>
                      <a:pt x="362" y="74"/>
                    </a:lnTo>
                    <a:lnTo>
                      <a:pt x="362" y="75"/>
                    </a:lnTo>
                    <a:lnTo>
                      <a:pt x="361" y="76"/>
                    </a:lnTo>
                    <a:lnTo>
                      <a:pt x="361" y="77"/>
                    </a:lnTo>
                    <a:lnTo>
                      <a:pt x="360" y="77"/>
                    </a:lnTo>
                    <a:lnTo>
                      <a:pt x="359" y="77"/>
                    </a:lnTo>
                    <a:lnTo>
                      <a:pt x="358" y="77"/>
                    </a:lnTo>
                    <a:lnTo>
                      <a:pt x="357" y="77"/>
                    </a:lnTo>
                    <a:lnTo>
                      <a:pt x="356" y="77"/>
                    </a:lnTo>
                    <a:lnTo>
                      <a:pt x="356" y="76"/>
                    </a:lnTo>
                    <a:lnTo>
                      <a:pt x="355" y="76"/>
                    </a:lnTo>
                    <a:lnTo>
                      <a:pt x="354" y="75"/>
                    </a:lnTo>
                    <a:lnTo>
                      <a:pt x="353" y="76"/>
                    </a:lnTo>
                    <a:lnTo>
                      <a:pt x="351" y="76"/>
                    </a:lnTo>
                    <a:lnTo>
                      <a:pt x="351" y="77"/>
                    </a:lnTo>
                    <a:lnTo>
                      <a:pt x="351" y="78"/>
                    </a:lnTo>
                    <a:lnTo>
                      <a:pt x="353" y="79"/>
                    </a:lnTo>
                    <a:lnTo>
                      <a:pt x="353" y="80"/>
                    </a:lnTo>
                    <a:lnTo>
                      <a:pt x="353" y="81"/>
                    </a:lnTo>
                    <a:lnTo>
                      <a:pt x="353" y="82"/>
                    </a:lnTo>
                    <a:lnTo>
                      <a:pt x="351" y="83"/>
                    </a:lnTo>
                    <a:lnTo>
                      <a:pt x="351" y="85"/>
                    </a:lnTo>
                    <a:lnTo>
                      <a:pt x="351" y="86"/>
                    </a:lnTo>
                    <a:lnTo>
                      <a:pt x="353" y="86"/>
                    </a:lnTo>
                    <a:lnTo>
                      <a:pt x="353" y="87"/>
                    </a:lnTo>
                    <a:lnTo>
                      <a:pt x="354" y="88"/>
                    </a:lnTo>
                    <a:lnTo>
                      <a:pt x="354" y="89"/>
                    </a:lnTo>
                    <a:lnTo>
                      <a:pt x="354" y="90"/>
                    </a:lnTo>
                    <a:lnTo>
                      <a:pt x="353" y="90"/>
                    </a:lnTo>
                    <a:lnTo>
                      <a:pt x="351" y="90"/>
                    </a:lnTo>
                    <a:lnTo>
                      <a:pt x="351" y="89"/>
                    </a:lnTo>
                    <a:lnTo>
                      <a:pt x="350" y="88"/>
                    </a:lnTo>
                    <a:lnTo>
                      <a:pt x="349" y="88"/>
                    </a:lnTo>
                    <a:lnTo>
                      <a:pt x="349" y="89"/>
                    </a:lnTo>
                    <a:lnTo>
                      <a:pt x="348" y="90"/>
                    </a:lnTo>
                    <a:lnTo>
                      <a:pt x="348" y="91"/>
                    </a:lnTo>
                    <a:lnTo>
                      <a:pt x="348" y="92"/>
                    </a:lnTo>
                    <a:lnTo>
                      <a:pt x="348" y="93"/>
                    </a:lnTo>
                    <a:lnTo>
                      <a:pt x="349" y="93"/>
                    </a:lnTo>
                    <a:lnTo>
                      <a:pt x="349" y="94"/>
                    </a:lnTo>
                    <a:lnTo>
                      <a:pt x="350" y="94"/>
                    </a:lnTo>
                    <a:lnTo>
                      <a:pt x="351" y="95"/>
                    </a:lnTo>
                    <a:lnTo>
                      <a:pt x="353" y="97"/>
                    </a:lnTo>
                    <a:lnTo>
                      <a:pt x="353" y="98"/>
                    </a:lnTo>
                    <a:lnTo>
                      <a:pt x="355" y="99"/>
                    </a:lnTo>
                    <a:lnTo>
                      <a:pt x="355" y="100"/>
                    </a:lnTo>
                    <a:lnTo>
                      <a:pt x="355" y="101"/>
                    </a:lnTo>
                    <a:lnTo>
                      <a:pt x="353" y="102"/>
                    </a:lnTo>
                    <a:lnTo>
                      <a:pt x="353" y="103"/>
                    </a:lnTo>
                    <a:lnTo>
                      <a:pt x="353" y="104"/>
                    </a:lnTo>
                    <a:lnTo>
                      <a:pt x="353" y="106"/>
                    </a:lnTo>
                    <a:lnTo>
                      <a:pt x="353" y="107"/>
                    </a:lnTo>
                    <a:lnTo>
                      <a:pt x="351" y="108"/>
                    </a:lnTo>
                    <a:lnTo>
                      <a:pt x="350" y="108"/>
                    </a:lnTo>
                    <a:lnTo>
                      <a:pt x="350" y="107"/>
                    </a:lnTo>
                    <a:lnTo>
                      <a:pt x="348" y="106"/>
                    </a:lnTo>
                    <a:lnTo>
                      <a:pt x="347" y="106"/>
                    </a:lnTo>
                    <a:lnTo>
                      <a:pt x="346" y="106"/>
                    </a:lnTo>
                    <a:lnTo>
                      <a:pt x="345" y="106"/>
                    </a:lnTo>
                    <a:lnTo>
                      <a:pt x="345" y="107"/>
                    </a:lnTo>
                    <a:lnTo>
                      <a:pt x="345" y="108"/>
                    </a:lnTo>
                    <a:lnTo>
                      <a:pt x="346" y="110"/>
                    </a:lnTo>
                    <a:lnTo>
                      <a:pt x="347" y="111"/>
                    </a:lnTo>
                    <a:lnTo>
                      <a:pt x="347" y="112"/>
                    </a:lnTo>
                    <a:lnTo>
                      <a:pt x="347" y="113"/>
                    </a:lnTo>
                    <a:lnTo>
                      <a:pt x="347" y="114"/>
                    </a:lnTo>
                    <a:lnTo>
                      <a:pt x="346" y="114"/>
                    </a:lnTo>
                    <a:lnTo>
                      <a:pt x="345" y="114"/>
                    </a:lnTo>
                    <a:lnTo>
                      <a:pt x="345" y="113"/>
                    </a:lnTo>
                    <a:lnTo>
                      <a:pt x="344" y="113"/>
                    </a:lnTo>
                    <a:lnTo>
                      <a:pt x="344" y="112"/>
                    </a:lnTo>
                    <a:lnTo>
                      <a:pt x="344" y="111"/>
                    </a:lnTo>
                    <a:lnTo>
                      <a:pt x="343" y="111"/>
                    </a:lnTo>
                    <a:lnTo>
                      <a:pt x="342" y="110"/>
                    </a:lnTo>
                    <a:lnTo>
                      <a:pt x="341" y="110"/>
                    </a:lnTo>
                    <a:lnTo>
                      <a:pt x="340" y="111"/>
                    </a:lnTo>
                    <a:lnTo>
                      <a:pt x="341" y="111"/>
                    </a:lnTo>
                    <a:lnTo>
                      <a:pt x="341" y="112"/>
                    </a:lnTo>
                    <a:lnTo>
                      <a:pt x="342" y="113"/>
                    </a:lnTo>
                    <a:lnTo>
                      <a:pt x="343" y="113"/>
                    </a:lnTo>
                    <a:lnTo>
                      <a:pt x="343" y="114"/>
                    </a:lnTo>
                    <a:lnTo>
                      <a:pt x="343" y="115"/>
                    </a:lnTo>
                    <a:lnTo>
                      <a:pt x="343" y="116"/>
                    </a:lnTo>
                    <a:lnTo>
                      <a:pt x="342" y="118"/>
                    </a:lnTo>
                    <a:lnTo>
                      <a:pt x="342" y="119"/>
                    </a:lnTo>
                    <a:lnTo>
                      <a:pt x="342" y="121"/>
                    </a:lnTo>
                    <a:lnTo>
                      <a:pt x="341" y="124"/>
                    </a:lnTo>
                    <a:lnTo>
                      <a:pt x="342" y="124"/>
                    </a:lnTo>
                    <a:lnTo>
                      <a:pt x="342" y="125"/>
                    </a:lnTo>
                    <a:lnTo>
                      <a:pt x="343" y="125"/>
                    </a:lnTo>
                    <a:lnTo>
                      <a:pt x="344" y="125"/>
                    </a:lnTo>
                    <a:lnTo>
                      <a:pt x="344" y="124"/>
                    </a:lnTo>
                    <a:lnTo>
                      <a:pt x="345" y="123"/>
                    </a:lnTo>
                    <a:lnTo>
                      <a:pt x="346" y="123"/>
                    </a:lnTo>
                    <a:lnTo>
                      <a:pt x="346" y="124"/>
                    </a:lnTo>
                    <a:lnTo>
                      <a:pt x="346" y="125"/>
                    </a:lnTo>
                    <a:lnTo>
                      <a:pt x="346" y="126"/>
                    </a:lnTo>
                    <a:lnTo>
                      <a:pt x="345" y="127"/>
                    </a:lnTo>
                    <a:lnTo>
                      <a:pt x="345" y="128"/>
                    </a:lnTo>
                    <a:lnTo>
                      <a:pt x="344" y="128"/>
                    </a:lnTo>
                    <a:lnTo>
                      <a:pt x="343" y="129"/>
                    </a:lnTo>
                    <a:lnTo>
                      <a:pt x="343" y="130"/>
                    </a:lnTo>
                    <a:lnTo>
                      <a:pt x="344" y="130"/>
                    </a:lnTo>
                    <a:lnTo>
                      <a:pt x="344" y="131"/>
                    </a:lnTo>
                    <a:lnTo>
                      <a:pt x="345" y="131"/>
                    </a:lnTo>
                    <a:lnTo>
                      <a:pt x="346" y="131"/>
                    </a:lnTo>
                    <a:lnTo>
                      <a:pt x="347" y="131"/>
                    </a:lnTo>
                    <a:lnTo>
                      <a:pt x="347" y="132"/>
                    </a:lnTo>
                    <a:lnTo>
                      <a:pt x="346" y="133"/>
                    </a:lnTo>
                    <a:lnTo>
                      <a:pt x="345" y="134"/>
                    </a:lnTo>
                    <a:lnTo>
                      <a:pt x="344" y="134"/>
                    </a:lnTo>
                    <a:lnTo>
                      <a:pt x="343" y="133"/>
                    </a:lnTo>
                    <a:lnTo>
                      <a:pt x="342" y="133"/>
                    </a:lnTo>
                    <a:lnTo>
                      <a:pt x="342" y="132"/>
                    </a:lnTo>
                    <a:lnTo>
                      <a:pt x="341" y="132"/>
                    </a:lnTo>
                    <a:lnTo>
                      <a:pt x="341" y="131"/>
                    </a:lnTo>
                    <a:lnTo>
                      <a:pt x="340" y="131"/>
                    </a:lnTo>
                    <a:lnTo>
                      <a:pt x="340" y="132"/>
                    </a:lnTo>
                    <a:lnTo>
                      <a:pt x="340" y="133"/>
                    </a:lnTo>
                    <a:lnTo>
                      <a:pt x="338" y="133"/>
                    </a:lnTo>
                    <a:lnTo>
                      <a:pt x="337" y="133"/>
                    </a:lnTo>
                    <a:lnTo>
                      <a:pt x="337" y="132"/>
                    </a:lnTo>
                    <a:lnTo>
                      <a:pt x="338" y="131"/>
                    </a:lnTo>
                    <a:lnTo>
                      <a:pt x="337" y="131"/>
                    </a:lnTo>
                    <a:lnTo>
                      <a:pt x="336" y="131"/>
                    </a:lnTo>
                    <a:lnTo>
                      <a:pt x="335" y="132"/>
                    </a:lnTo>
                    <a:lnTo>
                      <a:pt x="335" y="133"/>
                    </a:lnTo>
                    <a:lnTo>
                      <a:pt x="335" y="134"/>
                    </a:lnTo>
                    <a:lnTo>
                      <a:pt x="335" y="136"/>
                    </a:lnTo>
                    <a:lnTo>
                      <a:pt x="336" y="136"/>
                    </a:lnTo>
                    <a:lnTo>
                      <a:pt x="336" y="137"/>
                    </a:lnTo>
                    <a:lnTo>
                      <a:pt x="337" y="137"/>
                    </a:lnTo>
                    <a:lnTo>
                      <a:pt x="337" y="138"/>
                    </a:lnTo>
                    <a:lnTo>
                      <a:pt x="336" y="138"/>
                    </a:lnTo>
                    <a:lnTo>
                      <a:pt x="335" y="139"/>
                    </a:lnTo>
                    <a:lnTo>
                      <a:pt x="334" y="139"/>
                    </a:lnTo>
                    <a:lnTo>
                      <a:pt x="333" y="141"/>
                    </a:lnTo>
                    <a:lnTo>
                      <a:pt x="333" y="142"/>
                    </a:lnTo>
                    <a:lnTo>
                      <a:pt x="333" y="143"/>
                    </a:lnTo>
                    <a:lnTo>
                      <a:pt x="333" y="144"/>
                    </a:lnTo>
                    <a:lnTo>
                      <a:pt x="331" y="145"/>
                    </a:lnTo>
                    <a:lnTo>
                      <a:pt x="330" y="146"/>
                    </a:lnTo>
                    <a:lnTo>
                      <a:pt x="329" y="146"/>
                    </a:lnTo>
                    <a:lnTo>
                      <a:pt x="328" y="145"/>
                    </a:lnTo>
                    <a:lnTo>
                      <a:pt x="327" y="143"/>
                    </a:lnTo>
                    <a:lnTo>
                      <a:pt x="325" y="143"/>
                    </a:lnTo>
                    <a:lnTo>
                      <a:pt x="325" y="144"/>
                    </a:lnTo>
                    <a:lnTo>
                      <a:pt x="327" y="144"/>
                    </a:lnTo>
                    <a:lnTo>
                      <a:pt x="327" y="145"/>
                    </a:lnTo>
                    <a:lnTo>
                      <a:pt x="328" y="145"/>
                    </a:lnTo>
                    <a:lnTo>
                      <a:pt x="329" y="147"/>
                    </a:lnTo>
                    <a:lnTo>
                      <a:pt x="330" y="147"/>
                    </a:lnTo>
                    <a:lnTo>
                      <a:pt x="330" y="149"/>
                    </a:lnTo>
                    <a:lnTo>
                      <a:pt x="331" y="149"/>
                    </a:lnTo>
                    <a:lnTo>
                      <a:pt x="331" y="150"/>
                    </a:lnTo>
                    <a:lnTo>
                      <a:pt x="330" y="151"/>
                    </a:lnTo>
                    <a:lnTo>
                      <a:pt x="330" y="152"/>
                    </a:lnTo>
                    <a:lnTo>
                      <a:pt x="331" y="152"/>
                    </a:lnTo>
                    <a:lnTo>
                      <a:pt x="332" y="152"/>
                    </a:lnTo>
                    <a:lnTo>
                      <a:pt x="332" y="151"/>
                    </a:lnTo>
                    <a:lnTo>
                      <a:pt x="333" y="150"/>
                    </a:lnTo>
                    <a:lnTo>
                      <a:pt x="334" y="151"/>
                    </a:lnTo>
                    <a:lnTo>
                      <a:pt x="334" y="152"/>
                    </a:lnTo>
                    <a:lnTo>
                      <a:pt x="333" y="152"/>
                    </a:lnTo>
                    <a:lnTo>
                      <a:pt x="333" y="153"/>
                    </a:lnTo>
                    <a:lnTo>
                      <a:pt x="332" y="154"/>
                    </a:lnTo>
                    <a:lnTo>
                      <a:pt x="331" y="154"/>
                    </a:lnTo>
                    <a:lnTo>
                      <a:pt x="330" y="155"/>
                    </a:lnTo>
                    <a:lnTo>
                      <a:pt x="329" y="155"/>
                    </a:lnTo>
                    <a:lnTo>
                      <a:pt x="328" y="155"/>
                    </a:lnTo>
                    <a:lnTo>
                      <a:pt x="328" y="154"/>
                    </a:lnTo>
                    <a:lnTo>
                      <a:pt x="328" y="153"/>
                    </a:lnTo>
                    <a:lnTo>
                      <a:pt x="328" y="152"/>
                    </a:lnTo>
                    <a:lnTo>
                      <a:pt x="328" y="151"/>
                    </a:lnTo>
                    <a:lnTo>
                      <a:pt x="325" y="150"/>
                    </a:lnTo>
                    <a:lnTo>
                      <a:pt x="325" y="149"/>
                    </a:lnTo>
                    <a:lnTo>
                      <a:pt x="324" y="149"/>
                    </a:lnTo>
                    <a:lnTo>
                      <a:pt x="324" y="150"/>
                    </a:lnTo>
                    <a:lnTo>
                      <a:pt x="323" y="150"/>
                    </a:lnTo>
                    <a:lnTo>
                      <a:pt x="323" y="151"/>
                    </a:lnTo>
                    <a:lnTo>
                      <a:pt x="322" y="151"/>
                    </a:lnTo>
                    <a:lnTo>
                      <a:pt x="322" y="152"/>
                    </a:lnTo>
                    <a:lnTo>
                      <a:pt x="322" y="153"/>
                    </a:lnTo>
                    <a:lnTo>
                      <a:pt x="322" y="154"/>
                    </a:lnTo>
                    <a:lnTo>
                      <a:pt x="323" y="155"/>
                    </a:lnTo>
                    <a:lnTo>
                      <a:pt x="323" y="156"/>
                    </a:lnTo>
                    <a:lnTo>
                      <a:pt x="323" y="157"/>
                    </a:lnTo>
                    <a:lnTo>
                      <a:pt x="323" y="158"/>
                    </a:lnTo>
                    <a:lnTo>
                      <a:pt x="322" y="159"/>
                    </a:lnTo>
                    <a:lnTo>
                      <a:pt x="321" y="160"/>
                    </a:lnTo>
                    <a:lnTo>
                      <a:pt x="320" y="160"/>
                    </a:lnTo>
                    <a:lnTo>
                      <a:pt x="319" y="159"/>
                    </a:lnTo>
                    <a:lnTo>
                      <a:pt x="319" y="158"/>
                    </a:lnTo>
                    <a:lnTo>
                      <a:pt x="318" y="158"/>
                    </a:lnTo>
                    <a:lnTo>
                      <a:pt x="317" y="159"/>
                    </a:lnTo>
                    <a:lnTo>
                      <a:pt x="317" y="160"/>
                    </a:lnTo>
                    <a:lnTo>
                      <a:pt x="317" y="162"/>
                    </a:lnTo>
                    <a:lnTo>
                      <a:pt x="318" y="163"/>
                    </a:lnTo>
                    <a:lnTo>
                      <a:pt x="318" y="164"/>
                    </a:lnTo>
                    <a:lnTo>
                      <a:pt x="319" y="164"/>
                    </a:lnTo>
                    <a:lnTo>
                      <a:pt x="319" y="165"/>
                    </a:lnTo>
                    <a:lnTo>
                      <a:pt x="319" y="166"/>
                    </a:lnTo>
                    <a:lnTo>
                      <a:pt x="319" y="167"/>
                    </a:lnTo>
                    <a:lnTo>
                      <a:pt x="318" y="168"/>
                    </a:lnTo>
                    <a:lnTo>
                      <a:pt x="318" y="169"/>
                    </a:lnTo>
                    <a:lnTo>
                      <a:pt x="317" y="169"/>
                    </a:lnTo>
                    <a:lnTo>
                      <a:pt x="316" y="169"/>
                    </a:lnTo>
                    <a:lnTo>
                      <a:pt x="316" y="168"/>
                    </a:lnTo>
                    <a:lnTo>
                      <a:pt x="316" y="167"/>
                    </a:lnTo>
                    <a:lnTo>
                      <a:pt x="315" y="166"/>
                    </a:lnTo>
                    <a:lnTo>
                      <a:pt x="314" y="167"/>
                    </a:lnTo>
                    <a:lnTo>
                      <a:pt x="314" y="168"/>
                    </a:lnTo>
                    <a:lnTo>
                      <a:pt x="315" y="168"/>
                    </a:lnTo>
                    <a:lnTo>
                      <a:pt x="316" y="169"/>
                    </a:lnTo>
                    <a:lnTo>
                      <a:pt x="316" y="170"/>
                    </a:lnTo>
                    <a:lnTo>
                      <a:pt x="316" y="171"/>
                    </a:lnTo>
                    <a:lnTo>
                      <a:pt x="317" y="172"/>
                    </a:lnTo>
                    <a:lnTo>
                      <a:pt x="317" y="173"/>
                    </a:lnTo>
                    <a:lnTo>
                      <a:pt x="318" y="175"/>
                    </a:lnTo>
                    <a:lnTo>
                      <a:pt x="319" y="175"/>
                    </a:lnTo>
                    <a:lnTo>
                      <a:pt x="319" y="176"/>
                    </a:lnTo>
                    <a:lnTo>
                      <a:pt x="320" y="176"/>
                    </a:lnTo>
                    <a:lnTo>
                      <a:pt x="320" y="177"/>
                    </a:lnTo>
                    <a:lnTo>
                      <a:pt x="319" y="177"/>
                    </a:lnTo>
                    <a:lnTo>
                      <a:pt x="319" y="178"/>
                    </a:lnTo>
                    <a:lnTo>
                      <a:pt x="318" y="178"/>
                    </a:lnTo>
                    <a:lnTo>
                      <a:pt x="317" y="178"/>
                    </a:lnTo>
                    <a:lnTo>
                      <a:pt x="316" y="178"/>
                    </a:lnTo>
                    <a:lnTo>
                      <a:pt x="315" y="178"/>
                    </a:lnTo>
                    <a:lnTo>
                      <a:pt x="315" y="179"/>
                    </a:lnTo>
                    <a:lnTo>
                      <a:pt x="316" y="180"/>
                    </a:lnTo>
                    <a:lnTo>
                      <a:pt x="317" y="181"/>
                    </a:lnTo>
                    <a:lnTo>
                      <a:pt x="318" y="181"/>
                    </a:lnTo>
                    <a:lnTo>
                      <a:pt x="318" y="180"/>
                    </a:lnTo>
                    <a:lnTo>
                      <a:pt x="319" y="180"/>
                    </a:lnTo>
                    <a:lnTo>
                      <a:pt x="319" y="179"/>
                    </a:lnTo>
                    <a:lnTo>
                      <a:pt x="320" y="179"/>
                    </a:lnTo>
                    <a:lnTo>
                      <a:pt x="321" y="178"/>
                    </a:lnTo>
                    <a:lnTo>
                      <a:pt x="322" y="179"/>
                    </a:lnTo>
                    <a:lnTo>
                      <a:pt x="320" y="182"/>
                    </a:lnTo>
                    <a:lnTo>
                      <a:pt x="320" y="183"/>
                    </a:lnTo>
                    <a:lnTo>
                      <a:pt x="320" y="184"/>
                    </a:lnTo>
                    <a:lnTo>
                      <a:pt x="320" y="185"/>
                    </a:lnTo>
                    <a:lnTo>
                      <a:pt x="320" y="187"/>
                    </a:lnTo>
                    <a:lnTo>
                      <a:pt x="320" y="188"/>
                    </a:lnTo>
                    <a:lnTo>
                      <a:pt x="320" y="189"/>
                    </a:lnTo>
                    <a:lnTo>
                      <a:pt x="319" y="189"/>
                    </a:lnTo>
                    <a:lnTo>
                      <a:pt x="318" y="189"/>
                    </a:lnTo>
                    <a:lnTo>
                      <a:pt x="318" y="190"/>
                    </a:lnTo>
                    <a:lnTo>
                      <a:pt x="318" y="191"/>
                    </a:lnTo>
                    <a:lnTo>
                      <a:pt x="319" y="191"/>
                    </a:lnTo>
                    <a:lnTo>
                      <a:pt x="320" y="191"/>
                    </a:lnTo>
                    <a:lnTo>
                      <a:pt x="320" y="190"/>
                    </a:lnTo>
                    <a:lnTo>
                      <a:pt x="321" y="189"/>
                    </a:lnTo>
                    <a:lnTo>
                      <a:pt x="323" y="189"/>
                    </a:lnTo>
                    <a:lnTo>
                      <a:pt x="325" y="189"/>
                    </a:lnTo>
                    <a:lnTo>
                      <a:pt x="325" y="190"/>
                    </a:lnTo>
                    <a:lnTo>
                      <a:pt x="325" y="191"/>
                    </a:lnTo>
                    <a:lnTo>
                      <a:pt x="324" y="191"/>
                    </a:lnTo>
                    <a:lnTo>
                      <a:pt x="323" y="191"/>
                    </a:lnTo>
                    <a:lnTo>
                      <a:pt x="322" y="191"/>
                    </a:lnTo>
                    <a:lnTo>
                      <a:pt x="321" y="191"/>
                    </a:lnTo>
                    <a:lnTo>
                      <a:pt x="320" y="191"/>
                    </a:lnTo>
                    <a:lnTo>
                      <a:pt x="319" y="191"/>
                    </a:lnTo>
                    <a:lnTo>
                      <a:pt x="319" y="192"/>
                    </a:lnTo>
                    <a:lnTo>
                      <a:pt x="318" y="192"/>
                    </a:lnTo>
                    <a:lnTo>
                      <a:pt x="318" y="191"/>
                    </a:lnTo>
                    <a:lnTo>
                      <a:pt x="317" y="191"/>
                    </a:lnTo>
                    <a:lnTo>
                      <a:pt x="316" y="191"/>
                    </a:lnTo>
                    <a:lnTo>
                      <a:pt x="315" y="191"/>
                    </a:lnTo>
                    <a:lnTo>
                      <a:pt x="314" y="192"/>
                    </a:lnTo>
                    <a:lnTo>
                      <a:pt x="312" y="192"/>
                    </a:lnTo>
                    <a:lnTo>
                      <a:pt x="312" y="193"/>
                    </a:lnTo>
                    <a:lnTo>
                      <a:pt x="314" y="194"/>
                    </a:lnTo>
                    <a:lnTo>
                      <a:pt x="315" y="194"/>
                    </a:lnTo>
                    <a:lnTo>
                      <a:pt x="316" y="194"/>
                    </a:lnTo>
                    <a:lnTo>
                      <a:pt x="317" y="194"/>
                    </a:lnTo>
                    <a:lnTo>
                      <a:pt x="318" y="194"/>
                    </a:lnTo>
                    <a:lnTo>
                      <a:pt x="319" y="194"/>
                    </a:lnTo>
                    <a:lnTo>
                      <a:pt x="319" y="195"/>
                    </a:lnTo>
                    <a:lnTo>
                      <a:pt x="318" y="195"/>
                    </a:lnTo>
                    <a:lnTo>
                      <a:pt x="317" y="196"/>
                    </a:lnTo>
                    <a:lnTo>
                      <a:pt x="315" y="196"/>
                    </a:lnTo>
                    <a:lnTo>
                      <a:pt x="314" y="196"/>
                    </a:lnTo>
                    <a:lnTo>
                      <a:pt x="312" y="197"/>
                    </a:lnTo>
                    <a:lnTo>
                      <a:pt x="314" y="198"/>
                    </a:lnTo>
                    <a:lnTo>
                      <a:pt x="315" y="198"/>
                    </a:lnTo>
                    <a:lnTo>
                      <a:pt x="316" y="198"/>
                    </a:lnTo>
                    <a:lnTo>
                      <a:pt x="318" y="197"/>
                    </a:lnTo>
                    <a:lnTo>
                      <a:pt x="319" y="197"/>
                    </a:lnTo>
                    <a:lnTo>
                      <a:pt x="320" y="197"/>
                    </a:lnTo>
                    <a:lnTo>
                      <a:pt x="320" y="198"/>
                    </a:lnTo>
                    <a:lnTo>
                      <a:pt x="319" y="198"/>
                    </a:lnTo>
                    <a:lnTo>
                      <a:pt x="318" y="200"/>
                    </a:lnTo>
                    <a:lnTo>
                      <a:pt x="318" y="201"/>
                    </a:lnTo>
                    <a:lnTo>
                      <a:pt x="317" y="201"/>
                    </a:lnTo>
                    <a:lnTo>
                      <a:pt x="317" y="202"/>
                    </a:lnTo>
                    <a:lnTo>
                      <a:pt x="316" y="202"/>
                    </a:lnTo>
                    <a:lnTo>
                      <a:pt x="317" y="204"/>
                    </a:lnTo>
                    <a:lnTo>
                      <a:pt x="317" y="205"/>
                    </a:lnTo>
                    <a:lnTo>
                      <a:pt x="317" y="206"/>
                    </a:lnTo>
                    <a:lnTo>
                      <a:pt x="316" y="206"/>
                    </a:lnTo>
                    <a:lnTo>
                      <a:pt x="315" y="206"/>
                    </a:lnTo>
                    <a:lnTo>
                      <a:pt x="314" y="206"/>
                    </a:lnTo>
                    <a:lnTo>
                      <a:pt x="312" y="206"/>
                    </a:lnTo>
                    <a:lnTo>
                      <a:pt x="312" y="205"/>
                    </a:lnTo>
                    <a:lnTo>
                      <a:pt x="312" y="204"/>
                    </a:lnTo>
                    <a:lnTo>
                      <a:pt x="311" y="204"/>
                    </a:lnTo>
                    <a:lnTo>
                      <a:pt x="311" y="203"/>
                    </a:lnTo>
                    <a:lnTo>
                      <a:pt x="310" y="203"/>
                    </a:lnTo>
                    <a:lnTo>
                      <a:pt x="309" y="203"/>
                    </a:lnTo>
                    <a:lnTo>
                      <a:pt x="309" y="204"/>
                    </a:lnTo>
                    <a:lnTo>
                      <a:pt x="310" y="206"/>
                    </a:lnTo>
                    <a:lnTo>
                      <a:pt x="310" y="207"/>
                    </a:lnTo>
                    <a:lnTo>
                      <a:pt x="310" y="208"/>
                    </a:lnTo>
                    <a:lnTo>
                      <a:pt x="311" y="209"/>
                    </a:lnTo>
                    <a:lnTo>
                      <a:pt x="310" y="210"/>
                    </a:lnTo>
                    <a:lnTo>
                      <a:pt x="309" y="211"/>
                    </a:lnTo>
                    <a:lnTo>
                      <a:pt x="308" y="211"/>
                    </a:lnTo>
                    <a:lnTo>
                      <a:pt x="307" y="213"/>
                    </a:lnTo>
                    <a:lnTo>
                      <a:pt x="307" y="214"/>
                    </a:lnTo>
                    <a:lnTo>
                      <a:pt x="307" y="215"/>
                    </a:lnTo>
                    <a:lnTo>
                      <a:pt x="308" y="215"/>
                    </a:lnTo>
                    <a:lnTo>
                      <a:pt x="309" y="216"/>
                    </a:lnTo>
                    <a:lnTo>
                      <a:pt x="310" y="216"/>
                    </a:lnTo>
                    <a:lnTo>
                      <a:pt x="310" y="215"/>
                    </a:lnTo>
                    <a:lnTo>
                      <a:pt x="311" y="215"/>
                    </a:lnTo>
                    <a:lnTo>
                      <a:pt x="312" y="215"/>
                    </a:lnTo>
                    <a:lnTo>
                      <a:pt x="312" y="216"/>
                    </a:lnTo>
                    <a:lnTo>
                      <a:pt x="312" y="217"/>
                    </a:lnTo>
                    <a:lnTo>
                      <a:pt x="314" y="217"/>
                    </a:lnTo>
                    <a:lnTo>
                      <a:pt x="314" y="218"/>
                    </a:lnTo>
                    <a:lnTo>
                      <a:pt x="314" y="219"/>
                    </a:lnTo>
                    <a:lnTo>
                      <a:pt x="312" y="220"/>
                    </a:lnTo>
                    <a:lnTo>
                      <a:pt x="312" y="221"/>
                    </a:lnTo>
                    <a:lnTo>
                      <a:pt x="314" y="222"/>
                    </a:lnTo>
                    <a:lnTo>
                      <a:pt x="314" y="223"/>
                    </a:lnTo>
                    <a:lnTo>
                      <a:pt x="312" y="224"/>
                    </a:lnTo>
                    <a:lnTo>
                      <a:pt x="311" y="224"/>
                    </a:lnTo>
                    <a:lnTo>
                      <a:pt x="309" y="223"/>
                    </a:lnTo>
                    <a:lnTo>
                      <a:pt x="308" y="223"/>
                    </a:lnTo>
                    <a:lnTo>
                      <a:pt x="308" y="224"/>
                    </a:lnTo>
                    <a:lnTo>
                      <a:pt x="307" y="226"/>
                    </a:lnTo>
                    <a:lnTo>
                      <a:pt x="307" y="227"/>
                    </a:lnTo>
                    <a:lnTo>
                      <a:pt x="308" y="227"/>
                    </a:lnTo>
                    <a:lnTo>
                      <a:pt x="309" y="227"/>
                    </a:lnTo>
                    <a:lnTo>
                      <a:pt x="310" y="227"/>
                    </a:lnTo>
                    <a:lnTo>
                      <a:pt x="311" y="227"/>
                    </a:lnTo>
                    <a:lnTo>
                      <a:pt x="312" y="226"/>
                    </a:lnTo>
                    <a:lnTo>
                      <a:pt x="312" y="227"/>
                    </a:lnTo>
                    <a:lnTo>
                      <a:pt x="312" y="228"/>
                    </a:lnTo>
                    <a:lnTo>
                      <a:pt x="311" y="229"/>
                    </a:lnTo>
                    <a:lnTo>
                      <a:pt x="310" y="229"/>
                    </a:lnTo>
                    <a:lnTo>
                      <a:pt x="310" y="230"/>
                    </a:lnTo>
                    <a:lnTo>
                      <a:pt x="309" y="231"/>
                    </a:lnTo>
                    <a:lnTo>
                      <a:pt x="309" y="232"/>
                    </a:lnTo>
                    <a:lnTo>
                      <a:pt x="310" y="232"/>
                    </a:lnTo>
                    <a:lnTo>
                      <a:pt x="311" y="232"/>
                    </a:lnTo>
                    <a:lnTo>
                      <a:pt x="312" y="232"/>
                    </a:lnTo>
                    <a:lnTo>
                      <a:pt x="312" y="233"/>
                    </a:lnTo>
                    <a:lnTo>
                      <a:pt x="312" y="234"/>
                    </a:lnTo>
                    <a:lnTo>
                      <a:pt x="311" y="234"/>
                    </a:lnTo>
                    <a:lnTo>
                      <a:pt x="310" y="234"/>
                    </a:lnTo>
                    <a:lnTo>
                      <a:pt x="309" y="234"/>
                    </a:lnTo>
                    <a:lnTo>
                      <a:pt x="309" y="235"/>
                    </a:lnTo>
                    <a:lnTo>
                      <a:pt x="308" y="236"/>
                    </a:lnTo>
                    <a:lnTo>
                      <a:pt x="308" y="237"/>
                    </a:lnTo>
                    <a:lnTo>
                      <a:pt x="307" y="237"/>
                    </a:lnTo>
                    <a:lnTo>
                      <a:pt x="307" y="239"/>
                    </a:lnTo>
                    <a:lnTo>
                      <a:pt x="307" y="240"/>
                    </a:lnTo>
                    <a:lnTo>
                      <a:pt x="308" y="240"/>
                    </a:lnTo>
                    <a:lnTo>
                      <a:pt x="309" y="240"/>
                    </a:lnTo>
                    <a:lnTo>
                      <a:pt x="309" y="239"/>
                    </a:lnTo>
                    <a:lnTo>
                      <a:pt x="309" y="237"/>
                    </a:lnTo>
                    <a:lnTo>
                      <a:pt x="310" y="237"/>
                    </a:lnTo>
                    <a:lnTo>
                      <a:pt x="310" y="236"/>
                    </a:lnTo>
                    <a:lnTo>
                      <a:pt x="311" y="236"/>
                    </a:lnTo>
                    <a:lnTo>
                      <a:pt x="312" y="236"/>
                    </a:lnTo>
                    <a:lnTo>
                      <a:pt x="312" y="237"/>
                    </a:lnTo>
                    <a:lnTo>
                      <a:pt x="312" y="239"/>
                    </a:lnTo>
                    <a:lnTo>
                      <a:pt x="311" y="240"/>
                    </a:lnTo>
                    <a:lnTo>
                      <a:pt x="310" y="241"/>
                    </a:lnTo>
                    <a:lnTo>
                      <a:pt x="309" y="242"/>
                    </a:lnTo>
                    <a:close/>
                  </a:path>
                </a:pathLst>
              </a:custGeom>
              <a:solidFill>
                <a:srgbClr val="063975"/>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5" name="Freeform 293">
                <a:extLst>
                  <a:ext uri="{FF2B5EF4-FFF2-40B4-BE49-F238E27FC236}">
                    <a16:creationId xmlns:a16="http://schemas.microsoft.com/office/drawing/2014/main" id="{E2D50901-7DA7-39E0-FE20-68DF0DE1C556}"/>
                  </a:ext>
                </a:extLst>
              </p:cNvPr>
              <p:cNvSpPr>
                <a:spLocks/>
              </p:cNvSpPr>
              <p:nvPr/>
            </p:nvSpPr>
            <p:spPr bwMode="auto">
              <a:xfrm>
                <a:off x="4187826" y="3443288"/>
                <a:ext cx="338138" cy="398463"/>
              </a:xfrm>
              <a:custGeom>
                <a:avLst/>
                <a:gdLst>
                  <a:gd name="T0" fmla="*/ 212 w 213"/>
                  <a:gd name="T1" fmla="*/ 86 h 251"/>
                  <a:gd name="T2" fmla="*/ 212 w 213"/>
                  <a:gd name="T3" fmla="*/ 176 h 251"/>
                  <a:gd name="T4" fmla="*/ 212 w 213"/>
                  <a:gd name="T5" fmla="*/ 201 h 251"/>
                  <a:gd name="T6" fmla="*/ 212 w 213"/>
                  <a:gd name="T7" fmla="*/ 250 h 251"/>
                  <a:gd name="T8" fmla="*/ 108 w 213"/>
                  <a:gd name="T9" fmla="*/ 250 h 251"/>
                  <a:gd name="T10" fmla="*/ 23 w 213"/>
                  <a:gd name="T11" fmla="*/ 251 h 251"/>
                  <a:gd name="T12" fmla="*/ 2 w 213"/>
                  <a:gd name="T13" fmla="*/ 247 h 251"/>
                  <a:gd name="T14" fmla="*/ 8 w 213"/>
                  <a:gd name="T15" fmla="*/ 245 h 251"/>
                  <a:gd name="T16" fmla="*/ 7 w 213"/>
                  <a:gd name="T17" fmla="*/ 240 h 251"/>
                  <a:gd name="T18" fmla="*/ 11 w 213"/>
                  <a:gd name="T19" fmla="*/ 237 h 251"/>
                  <a:gd name="T20" fmla="*/ 16 w 213"/>
                  <a:gd name="T21" fmla="*/ 233 h 251"/>
                  <a:gd name="T22" fmla="*/ 22 w 213"/>
                  <a:gd name="T23" fmla="*/ 228 h 251"/>
                  <a:gd name="T24" fmla="*/ 26 w 213"/>
                  <a:gd name="T25" fmla="*/ 221 h 251"/>
                  <a:gd name="T26" fmla="*/ 31 w 213"/>
                  <a:gd name="T27" fmla="*/ 220 h 251"/>
                  <a:gd name="T28" fmla="*/ 36 w 213"/>
                  <a:gd name="T29" fmla="*/ 218 h 251"/>
                  <a:gd name="T30" fmla="*/ 36 w 213"/>
                  <a:gd name="T31" fmla="*/ 213 h 251"/>
                  <a:gd name="T32" fmla="*/ 42 w 213"/>
                  <a:gd name="T33" fmla="*/ 210 h 251"/>
                  <a:gd name="T34" fmla="*/ 41 w 213"/>
                  <a:gd name="T35" fmla="*/ 204 h 251"/>
                  <a:gd name="T36" fmla="*/ 43 w 213"/>
                  <a:gd name="T37" fmla="*/ 201 h 251"/>
                  <a:gd name="T38" fmla="*/ 45 w 213"/>
                  <a:gd name="T39" fmla="*/ 198 h 251"/>
                  <a:gd name="T40" fmla="*/ 44 w 213"/>
                  <a:gd name="T41" fmla="*/ 194 h 251"/>
                  <a:gd name="T42" fmla="*/ 43 w 213"/>
                  <a:gd name="T43" fmla="*/ 188 h 251"/>
                  <a:gd name="T44" fmla="*/ 41 w 213"/>
                  <a:gd name="T45" fmla="*/ 180 h 251"/>
                  <a:gd name="T46" fmla="*/ 39 w 213"/>
                  <a:gd name="T47" fmla="*/ 176 h 251"/>
                  <a:gd name="T48" fmla="*/ 41 w 213"/>
                  <a:gd name="T49" fmla="*/ 169 h 251"/>
                  <a:gd name="T50" fmla="*/ 43 w 213"/>
                  <a:gd name="T51" fmla="*/ 164 h 251"/>
                  <a:gd name="T52" fmla="*/ 43 w 213"/>
                  <a:gd name="T53" fmla="*/ 157 h 251"/>
                  <a:gd name="T54" fmla="*/ 43 w 213"/>
                  <a:gd name="T55" fmla="*/ 151 h 251"/>
                  <a:gd name="T56" fmla="*/ 44 w 213"/>
                  <a:gd name="T57" fmla="*/ 144 h 251"/>
                  <a:gd name="T58" fmla="*/ 45 w 213"/>
                  <a:gd name="T59" fmla="*/ 143 h 251"/>
                  <a:gd name="T60" fmla="*/ 45 w 213"/>
                  <a:gd name="T61" fmla="*/ 136 h 251"/>
                  <a:gd name="T62" fmla="*/ 46 w 213"/>
                  <a:gd name="T63" fmla="*/ 129 h 251"/>
                  <a:gd name="T64" fmla="*/ 42 w 213"/>
                  <a:gd name="T65" fmla="*/ 122 h 251"/>
                  <a:gd name="T66" fmla="*/ 39 w 213"/>
                  <a:gd name="T67" fmla="*/ 116 h 251"/>
                  <a:gd name="T68" fmla="*/ 44 w 213"/>
                  <a:gd name="T69" fmla="*/ 114 h 251"/>
                  <a:gd name="T70" fmla="*/ 42 w 213"/>
                  <a:gd name="T71" fmla="*/ 109 h 251"/>
                  <a:gd name="T72" fmla="*/ 41 w 213"/>
                  <a:gd name="T73" fmla="*/ 104 h 251"/>
                  <a:gd name="T74" fmla="*/ 35 w 213"/>
                  <a:gd name="T75" fmla="*/ 102 h 251"/>
                  <a:gd name="T76" fmla="*/ 35 w 213"/>
                  <a:gd name="T77" fmla="*/ 98 h 251"/>
                  <a:gd name="T78" fmla="*/ 32 w 213"/>
                  <a:gd name="T79" fmla="*/ 92 h 251"/>
                  <a:gd name="T80" fmla="*/ 34 w 213"/>
                  <a:gd name="T81" fmla="*/ 91 h 251"/>
                  <a:gd name="T82" fmla="*/ 37 w 213"/>
                  <a:gd name="T83" fmla="*/ 86 h 251"/>
                  <a:gd name="T84" fmla="*/ 42 w 213"/>
                  <a:gd name="T85" fmla="*/ 82 h 251"/>
                  <a:gd name="T86" fmla="*/ 38 w 213"/>
                  <a:gd name="T87" fmla="*/ 74 h 251"/>
                  <a:gd name="T88" fmla="*/ 36 w 213"/>
                  <a:gd name="T89" fmla="*/ 70 h 251"/>
                  <a:gd name="T90" fmla="*/ 36 w 213"/>
                  <a:gd name="T91" fmla="*/ 65 h 251"/>
                  <a:gd name="T92" fmla="*/ 35 w 213"/>
                  <a:gd name="T93" fmla="*/ 62 h 251"/>
                  <a:gd name="T94" fmla="*/ 35 w 213"/>
                  <a:gd name="T95" fmla="*/ 54 h 251"/>
                  <a:gd name="T96" fmla="*/ 34 w 213"/>
                  <a:gd name="T97" fmla="*/ 49 h 251"/>
                  <a:gd name="T98" fmla="*/ 33 w 213"/>
                  <a:gd name="T99" fmla="*/ 44 h 251"/>
                  <a:gd name="T100" fmla="*/ 33 w 213"/>
                  <a:gd name="T101" fmla="*/ 38 h 251"/>
                  <a:gd name="T102" fmla="*/ 36 w 213"/>
                  <a:gd name="T103" fmla="*/ 36 h 251"/>
                  <a:gd name="T104" fmla="*/ 38 w 213"/>
                  <a:gd name="T105" fmla="*/ 31 h 251"/>
                  <a:gd name="T106" fmla="*/ 41 w 213"/>
                  <a:gd name="T107" fmla="*/ 27 h 251"/>
                  <a:gd name="T108" fmla="*/ 41 w 213"/>
                  <a:gd name="T109" fmla="*/ 23 h 251"/>
                  <a:gd name="T110" fmla="*/ 43 w 213"/>
                  <a:gd name="T111" fmla="*/ 18 h 251"/>
                  <a:gd name="T112" fmla="*/ 43 w 213"/>
                  <a:gd name="T113" fmla="*/ 10 h 251"/>
                  <a:gd name="T114" fmla="*/ 50 w 213"/>
                  <a:gd name="T115" fmla="*/ 5 h 251"/>
                  <a:gd name="T116" fmla="*/ 83 w 213"/>
                  <a:gd name="T117" fmla="*/ 0 h 251"/>
                  <a:gd name="T118" fmla="*/ 98 w 213"/>
                  <a:gd name="T119" fmla="*/ 1 h 251"/>
                  <a:gd name="T120" fmla="*/ 203 w 213"/>
                  <a:gd name="T1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251">
                    <a:moveTo>
                      <a:pt x="212" y="0"/>
                    </a:moveTo>
                    <a:lnTo>
                      <a:pt x="212" y="38"/>
                    </a:lnTo>
                    <a:lnTo>
                      <a:pt x="212" y="52"/>
                    </a:lnTo>
                    <a:lnTo>
                      <a:pt x="212" y="54"/>
                    </a:lnTo>
                    <a:lnTo>
                      <a:pt x="212" y="67"/>
                    </a:lnTo>
                    <a:lnTo>
                      <a:pt x="212" y="75"/>
                    </a:lnTo>
                    <a:lnTo>
                      <a:pt x="212" y="76"/>
                    </a:lnTo>
                    <a:lnTo>
                      <a:pt x="212" y="77"/>
                    </a:lnTo>
                    <a:lnTo>
                      <a:pt x="212" y="86"/>
                    </a:lnTo>
                    <a:lnTo>
                      <a:pt x="212" y="100"/>
                    </a:lnTo>
                    <a:lnTo>
                      <a:pt x="212" y="104"/>
                    </a:lnTo>
                    <a:lnTo>
                      <a:pt x="212" y="116"/>
                    </a:lnTo>
                    <a:lnTo>
                      <a:pt x="212" y="118"/>
                    </a:lnTo>
                    <a:lnTo>
                      <a:pt x="212" y="124"/>
                    </a:lnTo>
                    <a:lnTo>
                      <a:pt x="212" y="125"/>
                    </a:lnTo>
                    <a:lnTo>
                      <a:pt x="212" y="151"/>
                    </a:lnTo>
                    <a:lnTo>
                      <a:pt x="212" y="154"/>
                    </a:lnTo>
                    <a:lnTo>
                      <a:pt x="212" y="176"/>
                    </a:lnTo>
                    <a:lnTo>
                      <a:pt x="212" y="179"/>
                    </a:lnTo>
                    <a:lnTo>
                      <a:pt x="212" y="180"/>
                    </a:lnTo>
                    <a:lnTo>
                      <a:pt x="212" y="184"/>
                    </a:lnTo>
                    <a:lnTo>
                      <a:pt x="212" y="186"/>
                    </a:lnTo>
                    <a:lnTo>
                      <a:pt x="212" y="189"/>
                    </a:lnTo>
                    <a:lnTo>
                      <a:pt x="212" y="190"/>
                    </a:lnTo>
                    <a:lnTo>
                      <a:pt x="212" y="191"/>
                    </a:lnTo>
                    <a:lnTo>
                      <a:pt x="212" y="198"/>
                    </a:lnTo>
                    <a:lnTo>
                      <a:pt x="212" y="201"/>
                    </a:lnTo>
                    <a:lnTo>
                      <a:pt x="212" y="203"/>
                    </a:lnTo>
                    <a:lnTo>
                      <a:pt x="212" y="207"/>
                    </a:lnTo>
                    <a:lnTo>
                      <a:pt x="213" y="224"/>
                    </a:lnTo>
                    <a:lnTo>
                      <a:pt x="213" y="225"/>
                    </a:lnTo>
                    <a:lnTo>
                      <a:pt x="212" y="225"/>
                    </a:lnTo>
                    <a:lnTo>
                      <a:pt x="213" y="231"/>
                    </a:lnTo>
                    <a:lnTo>
                      <a:pt x="213" y="239"/>
                    </a:lnTo>
                    <a:lnTo>
                      <a:pt x="213" y="240"/>
                    </a:lnTo>
                    <a:lnTo>
                      <a:pt x="212" y="250"/>
                    </a:lnTo>
                    <a:lnTo>
                      <a:pt x="201" y="250"/>
                    </a:lnTo>
                    <a:lnTo>
                      <a:pt x="199" y="250"/>
                    </a:lnTo>
                    <a:lnTo>
                      <a:pt x="190" y="250"/>
                    </a:lnTo>
                    <a:lnTo>
                      <a:pt x="183" y="250"/>
                    </a:lnTo>
                    <a:lnTo>
                      <a:pt x="178" y="250"/>
                    </a:lnTo>
                    <a:lnTo>
                      <a:pt x="176" y="250"/>
                    </a:lnTo>
                    <a:lnTo>
                      <a:pt x="171" y="250"/>
                    </a:lnTo>
                    <a:lnTo>
                      <a:pt x="160" y="250"/>
                    </a:lnTo>
                    <a:lnTo>
                      <a:pt x="108" y="250"/>
                    </a:lnTo>
                    <a:lnTo>
                      <a:pt x="100" y="250"/>
                    </a:lnTo>
                    <a:lnTo>
                      <a:pt x="96" y="250"/>
                    </a:lnTo>
                    <a:lnTo>
                      <a:pt x="82" y="250"/>
                    </a:lnTo>
                    <a:lnTo>
                      <a:pt x="47" y="251"/>
                    </a:lnTo>
                    <a:lnTo>
                      <a:pt x="44" y="251"/>
                    </a:lnTo>
                    <a:lnTo>
                      <a:pt x="39" y="251"/>
                    </a:lnTo>
                    <a:lnTo>
                      <a:pt x="38" y="251"/>
                    </a:lnTo>
                    <a:lnTo>
                      <a:pt x="37" y="251"/>
                    </a:lnTo>
                    <a:lnTo>
                      <a:pt x="23" y="251"/>
                    </a:lnTo>
                    <a:lnTo>
                      <a:pt x="6" y="251"/>
                    </a:lnTo>
                    <a:lnTo>
                      <a:pt x="5" y="251"/>
                    </a:lnTo>
                    <a:lnTo>
                      <a:pt x="4" y="251"/>
                    </a:lnTo>
                    <a:lnTo>
                      <a:pt x="2" y="251"/>
                    </a:lnTo>
                    <a:lnTo>
                      <a:pt x="2" y="250"/>
                    </a:lnTo>
                    <a:lnTo>
                      <a:pt x="0" y="250"/>
                    </a:lnTo>
                    <a:lnTo>
                      <a:pt x="0" y="249"/>
                    </a:lnTo>
                    <a:lnTo>
                      <a:pt x="2" y="249"/>
                    </a:lnTo>
                    <a:lnTo>
                      <a:pt x="2" y="247"/>
                    </a:lnTo>
                    <a:lnTo>
                      <a:pt x="3" y="246"/>
                    </a:lnTo>
                    <a:lnTo>
                      <a:pt x="3" y="245"/>
                    </a:lnTo>
                    <a:lnTo>
                      <a:pt x="4" y="245"/>
                    </a:lnTo>
                    <a:lnTo>
                      <a:pt x="4" y="246"/>
                    </a:lnTo>
                    <a:lnTo>
                      <a:pt x="5" y="246"/>
                    </a:lnTo>
                    <a:lnTo>
                      <a:pt x="6" y="246"/>
                    </a:lnTo>
                    <a:lnTo>
                      <a:pt x="7" y="246"/>
                    </a:lnTo>
                    <a:lnTo>
                      <a:pt x="7" y="245"/>
                    </a:lnTo>
                    <a:lnTo>
                      <a:pt x="8" y="245"/>
                    </a:lnTo>
                    <a:lnTo>
                      <a:pt x="8" y="244"/>
                    </a:lnTo>
                    <a:lnTo>
                      <a:pt x="7" y="243"/>
                    </a:lnTo>
                    <a:lnTo>
                      <a:pt x="7" y="244"/>
                    </a:lnTo>
                    <a:lnTo>
                      <a:pt x="6" y="244"/>
                    </a:lnTo>
                    <a:lnTo>
                      <a:pt x="6" y="243"/>
                    </a:lnTo>
                    <a:lnTo>
                      <a:pt x="7" y="243"/>
                    </a:lnTo>
                    <a:lnTo>
                      <a:pt x="8" y="242"/>
                    </a:lnTo>
                    <a:lnTo>
                      <a:pt x="8" y="241"/>
                    </a:lnTo>
                    <a:lnTo>
                      <a:pt x="7" y="240"/>
                    </a:lnTo>
                    <a:lnTo>
                      <a:pt x="7" y="239"/>
                    </a:lnTo>
                    <a:lnTo>
                      <a:pt x="8" y="239"/>
                    </a:lnTo>
                    <a:lnTo>
                      <a:pt x="10" y="240"/>
                    </a:lnTo>
                    <a:lnTo>
                      <a:pt x="11" y="240"/>
                    </a:lnTo>
                    <a:lnTo>
                      <a:pt x="11" y="239"/>
                    </a:lnTo>
                    <a:lnTo>
                      <a:pt x="11" y="238"/>
                    </a:lnTo>
                    <a:lnTo>
                      <a:pt x="10" y="238"/>
                    </a:lnTo>
                    <a:lnTo>
                      <a:pt x="10" y="237"/>
                    </a:lnTo>
                    <a:lnTo>
                      <a:pt x="11" y="237"/>
                    </a:lnTo>
                    <a:lnTo>
                      <a:pt x="11" y="236"/>
                    </a:lnTo>
                    <a:lnTo>
                      <a:pt x="12" y="236"/>
                    </a:lnTo>
                    <a:lnTo>
                      <a:pt x="12" y="234"/>
                    </a:lnTo>
                    <a:lnTo>
                      <a:pt x="15" y="236"/>
                    </a:lnTo>
                    <a:lnTo>
                      <a:pt x="15" y="234"/>
                    </a:lnTo>
                    <a:lnTo>
                      <a:pt x="13" y="234"/>
                    </a:lnTo>
                    <a:lnTo>
                      <a:pt x="13" y="233"/>
                    </a:lnTo>
                    <a:lnTo>
                      <a:pt x="15" y="233"/>
                    </a:lnTo>
                    <a:lnTo>
                      <a:pt x="16" y="233"/>
                    </a:lnTo>
                    <a:lnTo>
                      <a:pt x="17" y="232"/>
                    </a:lnTo>
                    <a:lnTo>
                      <a:pt x="17" y="231"/>
                    </a:lnTo>
                    <a:lnTo>
                      <a:pt x="18" y="230"/>
                    </a:lnTo>
                    <a:lnTo>
                      <a:pt x="19" y="230"/>
                    </a:lnTo>
                    <a:lnTo>
                      <a:pt x="20" y="230"/>
                    </a:lnTo>
                    <a:lnTo>
                      <a:pt x="20" y="229"/>
                    </a:lnTo>
                    <a:lnTo>
                      <a:pt x="21" y="229"/>
                    </a:lnTo>
                    <a:lnTo>
                      <a:pt x="22" y="229"/>
                    </a:lnTo>
                    <a:lnTo>
                      <a:pt x="22" y="228"/>
                    </a:lnTo>
                    <a:lnTo>
                      <a:pt x="21" y="228"/>
                    </a:lnTo>
                    <a:lnTo>
                      <a:pt x="21" y="227"/>
                    </a:lnTo>
                    <a:lnTo>
                      <a:pt x="22" y="226"/>
                    </a:lnTo>
                    <a:lnTo>
                      <a:pt x="22" y="225"/>
                    </a:lnTo>
                    <a:lnTo>
                      <a:pt x="22" y="224"/>
                    </a:lnTo>
                    <a:lnTo>
                      <a:pt x="23" y="224"/>
                    </a:lnTo>
                    <a:lnTo>
                      <a:pt x="25" y="224"/>
                    </a:lnTo>
                    <a:lnTo>
                      <a:pt x="26" y="223"/>
                    </a:lnTo>
                    <a:lnTo>
                      <a:pt x="26" y="221"/>
                    </a:lnTo>
                    <a:lnTo>
                      <a:pt x="25" y="220"/>
                    </a:lnTo>
                    <a:lnTo>
                      <a:pt x="25" y="219"/>
                    </a:lnTo>
                    <a:lnTo>
                      <a:pt x="26" y="219"/>
                    </a:lnTo>
                    <a:lnTo>
                      <a:pt x="26" y="220"/>
                    </a:lnTo>
                    <a:lnTo>
                      <a:pt x="28" y="220"/>
                    </a:lnTo>
                    <a:lnTo>
                      <a:pt x="28" y="219"/>
                    </a:lnTo>
                    <a:lnTo>
                      <a:pt x="29" y="219"/>
                    </a:lnTo>
                    <a:lnTo>
                      <a:pt x="30" y="219"/>
                    </a:lnTo>
                    <a:lnTo>
                      <a:pt x="31" y="220"/>
                    </a:lnTo>
                    <a:lnTo>
                      <a:pt x="32" y="220"/>
                    </a:lnTo>
                    <a:lnTo>
                      <a:pt x="33" y="219"/>
                    </a:lnTo>
                    <a:lnTo>
                      <a:pt x="32" y="218"/>
                    </a:lnTo>
                    <a:lnTo>
                      <a:pt x="32" y="217"/>
                    </a:lnTo>
                    <a:lnTo>
                      <a:pt x="33" y="217"/>
                    </a:lnTo>
                    <a:lnTo>
                      <a:pt x="34" y="217"/>
                    </a:lnTo>
                    <a:lnTo>
                      <a:pt x="34" y="218"/>
                    </a:lnTo>
                    <a:lnTo>
                      <a:pt x="35" y="217"/>
                    </a:lnTo>
                    <a:lnTo>
                      <a:pt x="36" y="218"/>
                    </a:lnTo>
                    <a:lnTo>
                      <a:pt x="36" y="217"/>
                    </a:lnTo>
                    <a:lnTo>
                      <a:pt x="36" y="216"/>
                    </a:lnTo>
                    <a:lnTo>
                      <a:pt x="37" y="216"/>
                    </a:lnTo>
                    <a:lnTo>
                      <a:pt x="37" y="215"/>
                    </a:lnTo>
                    <a:lnTo>
                      <a:pt x="37" y="214"/>
                    </a:lnTo>
                    <a:lnTo>
                      <a:pt x="38" y="214"/>
                    </a:lnTo>
                    <a:lnTo>
                      <a:pt x="37" y="214"/>
                    </a:lnTo>
                    <a:lnTo>
                      <a:pt x="36" y="214"/>
                    </a:lnTo>
                    <a:lnTo>
                      <a:pt x="36" y="213"/>
                    </a:lnTo>
                    <a:lnTo>
                      <a:pt x="37" y="213"/>
                    </a:lnTo>
                    <a:lnTo>
                      <a:pt x="37" y="212"/>
                    </a:lnTo>
                    <a:lnTo>
                      <a:pt x="37" y="211"/>
                    </a:lnTo>
                    <a:lnTo>
                      <a:pt x="38" y="211"/>
                    </a:lnTo>
                    <a:lnTo>
                      <a:pt x="39" y="211"/>
                    </a:lnTo>
                    <a:lnTo>
                      <a:pt x="39" y="212"/>
                    </a:lnTo>
                    <a:lnTo>
                      <a:pt x="39" y="211"/>
                    </a:lnTo>
                    <a:lnTo>
                      <a:pt x="41" y="210"/>
                    </a:lnTo>
                    <a:lnTo>
                      <a:pt x="42" y="210"/>
                    </a:lnTo>
                    <a:lnTo>
                      <a:pt x="42" y="208"/>
                    </a:lnTo>
                    <a:lnTo>
                      <a:pt x="41" y="207"/>
                    </a:lnTo>
                    <a:lnTo>
                      <a:pt x="42" y="207"/>
                    </a:lnTo>
                    <a:lnTo>
                      <a:pt x="42" y="206"/>
                    </a:lnTo>
                    <a:lnTo>
                      <a:pt x="42" y="205"/>
                    </a:lnTo>
                    <a:lnTo>
                      <a:pt x="41" y="205"/>
                    </a:lnTo>
                    <a:lnTo>
                      <a:pt x="39" y="205"/>
                    </a:lnTo>
                    <a:lnTo>
                      <a:pt x="39" y="204"/>
                    </a:lnTo>
                    <a:lnTo>
                      <a:pt x="41" y="204"/>
                    </a:lnTo>
                    <a:lnTo>
                      <a:pt x="41" y="203"/>
                    </a:lnTo>
                    <a:lnTo>
                      <a:pt x="39" y="203"/>
                    </a:lnTo>
                    <a:lnTo>
                      <a:pt x="39" y="202"/>
                    </a:lnTo>
                    <a:lnTo>
                      <a:pt x="39" y="201"/>
                    </a:lnTo>
                    <a:lnTo>
                      <a:pt x="39" y="200"/>
                    </a:lnTo>
                    <a:lnTo>
                      <a:pt x="41" y="200"/>
                    </a:lnTo>
                    <a:lnTo>
                      <a:pt x="41" y="201"/>
                    </a:lnTo>
                    <a:lnTo>
                      <a:pt x="42" y="201"/>
                    </a:lnTo>
                    <a:lnTo>
                      <a:pt x="43" y="201"/>
                    </a:lnTo>
                    <a:lnTo>
                      <a:pt x="43" y="200"/>
                    </a:lnTo>
                    <a:lnTo>
                      <a:pt x="44" y="200"/>
                    </a:lnTo>
                    <a:lnTo>
                      <a:pt x="44" y="201"/>
                    </a:lnTo>
                    <a:lnTo>
                      <a:pt x="45" y="201"/>
                    </a:lnTo>
                    <a:lnTo>
                      <a:pt x="45" y="200"/>
                    </a:lnTo>
                    <a:lnTo>
                      <a:pt x="45" y="199"/>
                    </a:lnTo>
                    <a:lnTo>
                      <a:pt x="44" y="199"/>
                    </a:lnTo>
                    <a:lnTo>
                      <a:pt x="45" y="199"/>
                    </a:lnTo>
                    <a:lnTo>
                      <a:pt x="45" y="198"/>
                    </a:lnTo>
                    <a:lnTo>
                      <a:pt x="45" y="197"/>
                    </a:lnTo>
                    <a:lnTo>
                      <a:pt x="44" y="197"/>
                    </a:lnTo>
                    <a:lnTo>
                      <a:pt x="43" y="197"/>
                    </a:lnTo>
                    <a:lnTo>
                      <a:pt x="43" y="195"/>
                    </a:lnTo>
                    <a:lnTo>
                      <a:pt x="43" y="194"/>
                    </a:lnTo>
                    <a:lnTo>
                      <a:pt x="42" y="194"/>
                    </a:lnTo>
                    <a:lnTo>
                      <a:pt x="43" y="193"/>
                    </a:lnTo>
                    <a:lnTo>
                      <a:pt x="43" y="194"/>
                    </a:lnTo>
                    <a:lnTo>
                      <a:pt x="44" y="194"/>
                    </a:lnTo>
                    <a:lnTo>
                      <a:pt x="44" y="193"/>
                    </a:lnTo>
                    <a:lnTo>
                      <a:pt x="44" y="192"/>
                    </a:lnTo>
                    <a:lnTo>
                      <a:pt x="44" y="191"/>
                    </a:lnTo>
                    <a:lnTo>
                      <a:pt x="43" y="191"/>
                    </a:lnTo>
                    <a:lnTo>
                      <a:pt x="43" y="190"/>
                    </a:lnTo>
                    <a:lnTo>
                      <a:pt x="44" y="190"/>
                    </a:lnTo>
                    <a:lnTo>
                      <a:pt x="44" y="189"/>
                    </a:lnTo>
                    <a:lnTo>
                      <a:pt x="44" y="188"/>
                    </a:lnTo>
                    <a:lnTo>
                      <a:pt x="43" y="188"/>
                    </a:lnTo>
                    <a:lnTo>
                      <a:pt x="42" y="188"/>
                    </a:lnTo>
                    <a:lnTo>
                      <a:pt x="42" y="187"/>
                    </a:lnTo>
                    <a:lnTo>
                      <a:pt x="42" y="186"/>
                    </a:lnTo>
                    <a:lnTo>
                      <a:pt x="41" y="186"/>
                    </a:lnTo>
                    <a:lnTo>
                      <a:pt x="41" y="185"/>
                    </a:lnTo>
                    <a:lnTo>
                      <a:pt x="39" y="184"/>
                    </a:lnTo>
                    <a:lnTo>
                      <a:pt x="39" y="182"/>
                    </a:lnTo>
                    <a:lnTo>
                      <a:pt x="39" y="181"/>
                    </a:lnTo>
                    <a:lnTo>
                      <a:pt x="41" y="180"/>
                    </a:lnTo>
                    <a:lnTo>
                      <a:pt x="41" y="179"/>
                    </a:lnTo>
                    <a:lnTo>
                      <a:pt x="39" y="179"/>
                    </a:lnTo>
                    <a:lnTo>
                      <a:pt x="39" y="178"/>
                    </a:lnTo>
                    <a:lnTo>
                      <a:pt x="38" y="178"/>
                    </a:lnTo>
                    <a:lnTo>
                      <a:pt x="38" y="177"/>
                    </a:lnTo>
                    <a:lnTo>
                      <a:pt x="38" y="176"/>
                    </a:lnTo>
                    <a:lnTo>
                      <a:pt x="38" y="175"/>
                    </a:lnTo>
                    <a:lnTo>
                      <a:pt x="39" y="175"/>
                    </a:lnTo>
                    <a:lnTo>
                      <a:pt x="39" y="176"/>
                    </a:lnTo>
                    <a:lnTo>
                      <a:pt x="41" y="176"/>
                    </a:lnTo>
                    <a:lnTo>
                      <a:pt x="41" y="175"/>
                    </a:lnTo>
                    <a:lnTo>
                      <a:pt x="41" y="174"/>
                    </a:lnTo>
                    <a:lnTo>
                      <a:pt x="39" y="174"/>
                    </a:lnTo>
                    <a:lnTo>
                      <a:pt x="39" y="173"/>
                    </a:lnTo>
                    <a:lnTo>
                      <a:pt x="41" y="172"/>
                    </a:lnTo>
                    <a:lnTo>
                      <a:pt x="41" y="170"/>
                    </a:lnTo>
                    <a:lnTo>
                      <a:pt x="39" y="170"/>
                    </a:lnTo>
                    <a:lnTo>
                      <a:pt x="41" y="169"/>
                    </a:lnTo>
                    <a:lnTo>
                      <a:pt x="42" y="169"/>
                    </a:lnTo>
                    <a:lnTo>
                      <a:pt x="42" y="168"/>
                    </a:lnTo>
                    <a:lnTo>
                      <a:pt x="43" y="168"/>
                    </a:lnTo>
                    <a:lnTo>
                      <a:pt x="44" y="168"/>
                    </a:lnTo>
                    <a:lnTo>
                      <a:pt x="44" y="167"/>
                    </a:lnTo>
                    <a:lnTo>
                      <a:pt x="43" y="167"/>
                    </a:lnTo>
                    <a:lnTo>
                      <a:pt x="43" y="166"/>
                    </a:lnTo>
                    <a:lnTo>
                      <a:pt x="43" y="165"/>
                    </a:lnTo>
                    <a:lnTo>
                      <a:pt x="43" y="164"/>
                    </a:lnTo>
                    <a:lnTo>
                      <a:pt x="44" y="164"/>
                    </a:lnTo>
                    <a:lnTo>
                      <a:pt x="44" y="163"/>
                    </a:lnTo>
                    <a:lnTo>
                      <a:pt x="45" y="163"/>
                    </a:lnTo>
                    <a:lnTo>
                      <a:pt x="44" y="162"/>
                    </a:lnTo>
                    <a:lnTo>
                      <a:pt x="44" y="161"/>
                    </a:lnTo>
                    <a:lnTo>
                      <a:pt x="43" y="161"/>
                    </a:lnTo>
                    <a:lnTo>
                      <a:pt x="43" y="160"/>
                    </a:lnTo>
                    <a:lnTo>
                      <a:pt x="43" y="159"/>
                    </a:lnTo>
                    <a:lnTo>
                      <a:pt x="43" y="157"/>
                    </a:lnTo>
                    <a:lnTo>
                      <a:pt x="44" y="156"/>
                    </a:lnTo>
                    <a:lnTo>
                      <a:pt x="43" y="156"/>
                    </a:lnTo>
                    <a:lnTo>
                      <a:pt x="43" y="155"/>
                    </a:lnTo>
                    <a:lnTo>
                      <a:pt x="43" y="154"/>
                    </a:lnTo>
                    <a:lnTo>
                      <a:pt x="44" y="154"/>
                    </a:lnTo>
                    <a:lnTo>
                      <a:pt x="44" y="153"/>
                    </a:lnTo>
                    <a:lnTo>
                      <a:pt x="44" y="152"/>
                    </a:lnTo>
                    <a:lnTo>
                      <a:pt x="43" y="152"/>
                    </a:lnTo>
                    <a:lnTo>
                      <a:pt x="43" y="151"/>
                    </a:lnTo>
                    <a:lnTo>
                      <a:pt x="43" y="150"/>
                    </a:lnTo>
                    <a:lnTo>
                      <a:pt x="42" y="150"/>
                    </a:lnTo>
                    <a:lnTo>
                      <a:pt x="42" y="149"/>
                    </a:lnTo>
                    <a:lnTo>
                      <a:pt x="42" y="148"/>
                    </a:lnTo>
                    <a:lnTo>
                      <a:pt x="43" y="148"/>
                    </a:lnTo>
                    <a:lnTo>
                      <a:pt x="44" y="147"/>
                    </a:lnTo>
                    <a:lnTo>
                      <a:pt x="43" y="146"/>
                    </a:lnTo>
                    <a:lnTo>
                      <a:pt x="43" y="144"/>
                    </a:lnTo>
                    <a:lnTo>
                      <a:pt x="44" y="144"/>
                    </a:lnTo>
                    <a:lnTo>
                      <a:pt x="44" y="146"/>
                    </a:lnTo>
                    <a:lnTo>
                      <a:pt x="45" y="146"/>
                    </a:lnTo>
                    <a:lnTo>
                      <a:pt x="46" y="146"/>
                    </a:lnTo>
                    <a:lnTo>
                      <a:pt x="47" y="146"/>
                    </a:lnTo>
                    <a:lnTo>
                      <a:pt x="47" y="144"/>
                    </a:lnTo>
                    <a:lnTo>
                      <a:pt x="46" y="144"/>
                    </a:lnTo>
                    <a:lnTo>
                      <a:pt x="46" y="143"/>
                    </a:lnTo>
                    <a:lnTo>
                      <a:pt x="46" y="142"/>
                    </a:lnTo>
                    <a:lnTo>
                      <a:pt x="45" y="143"/>
                    </a:lnTo>
                    <a:lnTo>
                      <a:pt x="44" y="143"/>
                    </a:lnTo>
                    <a:lnTo>
                      <a:pt x="44" y="142"/>
                    </a:lnTo>
                    <a:lnTo>
                      <a:pt x="44" y="141"/>
                    </a:lnTo>
                    <a:lnTo>
                      <a:pt x="44" y="140"/>
                    </a:lnTo>
                    <a:lnTo>
                      <a:pt x="44" y="139"/>
                    </a:lnTo>
                    <a:lnTo>
                      <a:pt x="44" y="138"/>
                    </a:lnTo>
                    <a:lnTo>
                      <a:pt x="44" y="137"/>
                    </a:lnTo>
                    <a:lnTo>
                      <a:pt x="44" y="136"/>
                    </a:lnTo>
                    <a:lnTo>
                      <a:pt x="45" y="136"/>
                    </a:lnTo>
                    <a:lnTo>
                      <a:pt x="45" y="135"/>
                    </a:lnTo>
                    <a:lnTo>
                      <a:pt x="46" y="135"/>
                    </a:lnTo>
                    <a:lnTo>
                      <a:pt x="48" y="134"/>
                    </a:lnTo>
                    <a:lnTo>
                      <a:pt x="48" y="133"/>
                    </a:lnTo>
                    <a:lnTo>
                      <a:pt x="48" y="131"/>
                    </a:lnTo>
                    <a:lnTo>
                      <a:pt x="47" y="130"/>
                    </a:lnTo>
                    <a:lnTo>
                      <a:pt x="47" y="129"/>
                    </a:lnTo>
                    <a:lnTo>
                      <a:pt x="47" y="128"/>
                    </a:lnTo>
                    <a:lnTo>
                      <a:pt x="46" y="129"/>
                    </a:lnTo>
                    <a:lnTo>
                      <a:pt x="45" y="128"/>
                    </a:lnTo>
                    <a:lnTo>
                      <a:pt x="45" y="127"/>
                    </a:lnTo>
                    <a:lnTo>
                      <a:pt x="45" y="126"/>
                    </a:lnTo>
                    <a:lnTo>
                      <a:pt x="44" y="126"/>
                    </a:lnTo>
                    <a:lnTo>
                      <a:pt x="43" y="125"/>
                    </a:lnTo>
                    <a:lnTo>
                      <a:pt x="42" y="125"/>
                    </a:lnTo>
                    <a:lnTo>
                      <a:pt x="42" y="124"/>
                    </a:lnTo>
                    <a:lnTo>
                      <a:pt x="42" y="123"/>
                    </a:lnTo>
                    <a:lnTo>
                      <a:pt x="42" y="122"/>
                    </a:lnTo>
                    <a:lnTo>
                      <a:pt x="41" y="122"/>
                    </a:lnTo>
                    <a:lnTo>
                      <a:pt x="39" y="122"/>
                    </a:lnTo>
                    <a:lnTo>
                      <a:pt x="38" y="122"/>
                    </a:lnTo>
                    <a:lnTo>
                      <a:pt x="38" y="121"/>
                    </a:lnTo>
                    <a:lnTo>
                      <a:pt x="38" y="120"/>
                    </a:lnTo>
                    <a:lnTo>
                      <a:pt x="39" y="118"/>
                    </a:lnTo>
                    <a:lnTo>
                      <a:pt x="41" y="118"/>
                    </a:lnTo>
                    <a:lnTo>
                      <a:pt x="41" y="117"/>
                    </a:lnTo>
                    <a:lnTo>
                      <a:pt x="39" y="116"/>
                    </a:lnTo>
                    <a:lnTo>
                      <a:pt x="39" y="115"/>
                    </a:lnTo>
                    <a:lnTo>
                      <a:pt x="39" y="114"/>
                    </a:lnTo>
                    <a:lnTo>
                      <a:pt x="41" y="114"/>
                    </a:lnTo>
                    <a:lnTo>
                      <a:pt x="41" y="115"/>
                    </a:lnTo>
                    <a:lnTo>
                      <a:pt x="42" y="115"/>
                    </a:lnTo>
                    <a:lnTo>
                      <a:pt x="42" y="116"/>
                    </a:lnTo>
                    <a:lnTo>
                      <a:pt x="43" y="116"/>
                    </a:lnTo>
                    <a:lnTo>
                      <a:pt x="44" y="116"/>
                    </a:lnTo>
                    <a:lnTo>
                      <a:pt x="44" y="114"/>
                    </a:lnTo>
                    <a:lnTo>
                      <a:pt x="45" y="114"/>
                    </a:lnTo>
                    <a:lnTo>
                      <a:pt x="45" y="113"/>
                    </a:lnTo>
                    <a:lnTo>
                      <a:pt x="44" y="113"/>
                    </a:lnTo>
                    <a:lnTo>
                      <a:pt x="44" y="112"/>
                    </a:lnTo>
                    <a:lnTo>
                      <a:pt x="44" y="111"/>
                    </a:lnTo>
                    <a:lnTo>
                      <a:pt x="44" y="110"/>
                    </a:lnTo>
                    <a:lnTo>
                      <a:pt x="44" y="109"/>
                    </a:lnTo>
                    <a:lnTo>
                      <a:pt x="43" y="109"/>
                    </a:lnTo>
                    <a:lnTo>
                      <a:pt x="42" y="109"/>
                    </a:lnTo>
                    <a:lnTo>
                      <a:pt x="41" y="109"/>
                    </a:lnTo>
                    <a:lnTo>
                      <a:pt x="41" y="108"/>
                    </a:lnTo>
                    <a:lnTo>
                      <a:pt x="42" y="108"/>
                    </a:lnTo>
                    <a:lnTo>
                      <a:pt x="42" y="107"/>
                    </a:lnTo>
                    <a:lnTo>
                      <a:pt x="41" y="107"/>
                    </a:lnTo>
                    <a:lnTo>
                      <a:pt x="41" y="105"/>
                    </a:lnTo>
                    <a:lnTo>
                      <a:pt x="42" y="105"/>
                    </a:lnTo>
                    <a:lnTo>
                      <a:pt x="42" y="104"/>
                    </a:lnTo>
                    <a:lnTo>
                      <a:pt x="41" y="104"/>
                    </a:lnTo>
                    <a:lnTo>
                      <a:pt x="39" y="104"/>
                    </a:lnTo>
                    <a:lnTo>
                      <a:pt x="39" y="103"/>
                    </a:lnTo>
                    <a:lnTo>
                      <a:pt x="39" y="104"/>
                    </a:lnTo>
                    <a:lnTo>
                      <a:pt x="38" y="104"/>
                    </a:lnTo>
                    <a:lnTo>
                      <a:pt x="37" y="104"/>
                    </a:lnTo>
                    <a:lnTo>
                      <a:pt x="37" y="103"/>
                    </a:lnTo>
                    <a:lnTo>
                      <a:pt x="37" y="102"/>
                    </a:lnTo>
                    <a:lnTo>
                      <a:pt x="36" y="102"/>
                    </a:lnTo>
                    <a:lnTo>
                      <a:pt x="35" y="102"/>
                    </a:lnTo>
                    <a:lnTo>
                      <a:pt x="35" y="101"/>
                    </a:lnTo>
                    <a:lnTo>
                      <a:pt x="35" y="100"/>
                    </a:lnTo>
                    <a:lnTo>
                      <a:pt x="34" y="100"/>
                    </a:lnTo>
                    <a:lnTo>
                      <a:pt x="34" y="101"/>
                    </a:lnTo>
                    <a:lnTo>
                      <a:pt x="33" y="101"/>
                    </a:lnTo>
                    <a:lnTo>
                      <a:pt x="33" y="99"/>
                    </a:lnTo>
                    <a:lnTo>
                      <a:pt x="34" y="99"/>
                    </a:lnTo>
                    <a:lnTo>
                      <a:pt x="35" y="99"/>
                    </a:lnTo>
                    <a:lnTo>
                      <a:pt x="35" y="98"/>
                    </a:lnTo>
                    <a:lnTo>
                      <a:pt x="36" y="97"/>
                    </a:lnTo>
                    <a:lnTo>
                      <a:pt x="36" y="96"/>
                    </a:lnTo>
                    <a:lnTo>
                      <a:pt x="35" y="96"/>
                    </a:lnTo>
                    <a:lnTo>
                      <a:pt x="35" y="95"/>
                    </a:lnTo>
                    <a:lnTo>
                      <a:pt x="34" y="95"/>
                    </a:lnTo>
                    <a:lnTo>
                      <a:pt x="34" y="94"/>
                    </a:lnTo>
                    <a:lnTo>
                      <a:pt x="33" y="94"/>
                    </a:lnTo>
                    <a:lnTo>
                      <a:pt x="32" y="94"/>
                    </a:lnTo>
                    <a:lnTo>
                      <a:pt x="32" y="92"/>
                    </a:lnTo>
                    <a:lnTo>
                      <a:pt x="32" y="91"/>
                    </a:lnTo>
                    <a:lnTo>
                      <a:pt x="33" y="91"/>
                    </a:lnTo>
                    <a:lnTo>
                      <a:pt x="33" y="90"/>
                    </a:lnTo>
                    <a:lnTo>
                      <a:pt x="33" y="91"/>
                    </a:lnTo>
                    <a:lnTo>
                      <a:pt x="34" y="91"/>
                    </a:lnTo>
                    <a:lnTo>
                      <a:pt x="33" y="91"/>
                    </a:lnTo>
                    <a:lnTo>
                      <a:pt x="33" y="92"/>
                    </a:lnTo>
                    <a:lnTo>
                      <a:pt x="34" y="92"/>
                    </a:lnTo>
                    <a:lnTo>
                      <a:pt x="34" y="91"/>
                    </a:lnTo>
                    <a:lnTo>
                      <a:pt x="35" y="91"/>
                    </a:lnTo>
                    <a:lnTo>
                      <a:pt x="35" y="90"/>
                    </a:lnTo>
                    <a:lnTo>
                      <a:pt x="35" y="89"/>
                    </a:lnTo>
                    <a:lnTo>
                      <a:pt x="36" y="89"/>
                    </a:lnTo>
                    <a:lnTo>
                      <a:pt x="36" y="88"/>
                    </a:lnTo>
                    <a:lnTo>
                      <a:pt x="37" y="88"/>
                    </a:lnTo>
                    <a:lnTo>
                      <a:pt x="36" y="87"/>
                    </a:lnTo>
                    <a:lnTo>
                      <a:pt x="36" y="86"/>
                    </a:lnTo>
                    <a:lnTo>
                      <a:pt x="37" y="86"/>
                    </a:lnTo>
                    <a:lnTo>
                      <a:pt x="37" y="85"/>
                    </a:lnTo>
                    <a:lnTo>
                      <a:pt x="38" y="85"/>
                    </a:lnTo>
                    <a:lnTo>
                      <a:pt x="38" y="84"/>
                    </a:lnTo>
                    <a:lnTo>
                      <a:pt x="38" y="83"/>
                    </a:lnTo>
                    <a:lnTo>
                      <a:pt x="38" y="82"/>
                    </a:lnTo>
                    <a:lnTo>
                      <a:pt x="39" y="83"/>
                    </a:lnTo>
                    <a:lnTo>
                      <a:pt x="39" y="82"/>
                    </a:lnTo>
                    <a:lnTo>
                      <a:pt x="41" y="82"/>
                    </a:lnTo>
                    <a:lnTo>
                      <a:pt x="42" y="82"/>
                    </a:lnTo>
                    <a:lnTo>
                      <a:pt x="42" y="80"/>
                    </a:lnTo>
                    <a:lnTo>
                      <a:pt x="42" y="79"/>
                    </a:lnTo>
                    <a:lnTo>
                      <a:pt x="41" y="79"/>
                    </a:lnTo>
                    <a:lnTo>
                      <a:pt x="39" y="78"/>
                    </a:lnTo>
                    <a:lnTo>
                      <a:pt x="39" y="77"/>
                    </a:lnTo>
                    <a:lnTo>
                      <a:pt x="39" y="76"/>
                    </a:lnTo>
                    <a:lnTo>
                      <a:pt x="39" y="75"/>
                    </a:lnTo>
                    <a:lnTo>
                      <a:pt x="38" y="75"/>
                    </a:lnTo>
                    <a:lnTo>
                      <a:pt x="38" y="74"/>
                    </a:lnTo>
                    <a:lnTo>
                      <a:pt x="38" y="73"/>
                    </a:lnTo>
                    <a:lnTo>
                      <a:pt x="37" y="73"/>
                    </a:lnTo>
                    <a:lnTo>
                      <a:pt x="36" y="73"/>
                    </a:lnTo>
                    <a:lnTo>
                      <a:pt x="36" y="74"/>
                    </a:lnTo>
                    <a:lnTo>
                      <a:pt x="35" y="73"/>
                    </a:lnTo>
                    <a:lnTo>
                      <a:pt x="36" y="73"/>
                    </a:lnTo>
                    <a:lnTo>
                      <a:pt x="36" y="72"/>
                    </a:lnTo>
                    <a:lnTo>
                      <a:pt x="36" y="71"/>
                    </a:lnTo>
                    <a:lnTo>
                      <a:pt x="36" y="70"/>
                    </a:lnTo>
                    <a:lnTo>
                      <a:pt x="35" y="70"/>
                    </a:lnTo>
                    <a:lnTo>
                      <a:pt x="36" y="69"/>
                    </a:lnTo>
                    <a:lnTo>
                      <a:pt x="36" y="67"/>
                    </a:lnTo>
                    <a:lnTo>
                      <a:pt x="35" y="67"/>
                    </a:lnTo>
                    <a:lnTo>
                      <a:pt x="34" y="66"/>
                    </a:lnTo>
                    <a:lnTo>
                      <a:pt x="35" y="66"/>
                    </a:lnTo>
                    <a:lnTo>
                      <a:pt x="35" y="65"/>
                    </a:lnTo>
                    <a:lnTo>
                      <a:pt x="36" y="66"/>
                    </a:lnTo>
                    <a:lnTo>
                      <a:pt x="36" y="65"/>
                    </a:lnTo>
                    <a:lnTo>
                      <a:pt x="37" y="65"/>
                    </a:lnTo>
                    <a:lnTo>
                      <a:pt x="37" y="64"/>
                    </a:lnTo>
                    <a:lnTo>
                      <a:pt x="37" y="63"/>
                    </a:lnTo>
                    <a:lnTo>
                      <a:pt x="36" y="63"/>
                    </a:lnTo>
                    <a:lnTo>
                      <a:pt x="37" y="64"/>
                    </a:lnTo>
                    <a:lnTo>
                      <a:pt x="36" y="64"/>
                    </a:lnTo>
                    <a:lnTo>
                      <a:pt x="36" y="63"/>
                    </a:lnTo>
                    <a:lnTo>
                      <a:pt x="35" y="63"/>
                    </a:lnTo>
                    <a:lnTo>
                      <a:pt x="35" y="62"/>
                    </a:lnTo>
                    <a:lnTo>
                      <a:pt x="35" y="61"/>
                    </a:lnTo>
                    <a:lnTo>
                      <a:pt x="35" y="60"/>
                    </a:lnTo>
                    <a:lnTo>
                      <a:pt x="35" y="59"/>
                    </a:lnTo>
                    <a:lnTo>
                      <a:pt x="34" y="59"/>
                    </a:lnTo>
                    <a:lnTo>
                      <a:pt x="34" y="58"/>
                    </a:lnTo>
                    <a:lnTo>
                      <a:pt x="35" y="58"/>
                    </a:lnTo>
                    <a:lnTo>
                      <a:pt x="36" y="57"/>
                    </a:lnTo>
                    <a:lnTo>
                      <a:pt x="36" y="56"/>
                    </a:lnTo>
                    <a:lnTo>
                      <a:pt x="35" y="54"/>
                    </a:lnTo>
                    <a:lnTo>
                      <a:pt x="34" y="54"/>
                    </a:lnTo>
                    <a:lnTo>
                      <a:pt x="34" y="53"/>
                    </a:lnTo>
                    <a:lnTo>
                      <a:pt x="33" y="53"/>
                    </a:lnTo>
                    <a:lnTo>
                      <a:pt x="33" y="52"/>
                    </a:lnTo>
                    <a:lnTo>
                      <a:pt x="33" y="51"/>
                    </a:lnTo>
                    <a:lnTo>
                      <a:pt x="34" y="51"/>
                    </a:lnTo>
                    <a:lnTo>
                      <a:pt x="34" y="50"/>
                    </a:lnTo>
                    <a:lnTo>
                      <a:pt x="33" y="49"/>
                    </a:lnTo>
                    <a:lnTo>
                      <a:pt x="34" y="49"/>
                    </a:lnTo>
                    <a:lnTo>
                      <a:pt x="34" y="48"/>
                    </a:lnTo>
                    <a:lnTo>
                      <a:pt x="33" y="48"/>
                    </a:lnTo>
                    <a:lnTo>
                      <a:pt x="32" y="48"/>
                    </a:lnTo>
                    <a:lnTo>
                      <a:pt x="32" y="47"/>
                    </a:lnTo>
                    <a:lnTo>
                      <a:pt x="32" y="46"/>
                    </a:lnTo>
                    <a:lnTo>
                      <a:pt x="33" y="45"/>
                    </a:lnTo>
                    <a:lnTo>
                      <a:pt x="33" y="44"/>
                    </a:lnTo>
                    <a:lnTo>
                      <a:pt x="33" y="43"/>
                    </a:lnTo>
                    <a:lnTo>
                      <a:pt x="33" y="44"/>
                    </a:lnTo>
                    <a:lnTo>
                      <a:pt x="32" y="44"/>
                    </a:lnTo>
                    <a:lnTo>
                      <a:pt x="32" y="43"/>
                    </a:lnTo>
                    <a:lnTo>
                      <a:pt x="31" y="43"/>
                    </a:lnTo>
                    <a:lnTo>
                      <a:pt x="31" y="41"/>
                    </a:lnTo>
                    <a:lnTo>
                      <a:pt x="31" y="40"/>
                    </a:lnTo>
                    <a:lnTo>
                      <a:pt x="32" y="40"/>
                    </a:lnTo>
                    <a:lnTo>
                      <a:pt x="33" y="40"/>
                    </a:lnTo>
                    <a:lnTo>
                      <a:pt x="33" y="39"/>
                    </a:lnTo>
                    <a:lnTo>
                      <a:pt x="33" y="38"/>
                    </a:lnTo>
                    <a:lnTo>
                      <a:pt x="32" y="38"/>
                    </a:lnTo>
                    <a:lnTo>
                      <a:pt x="32" y="37"/>
                    </a:lnTo>
                    <a:lnTo>
                      <a:pt x="33" y="37"/>
                    </a:lnTo>
                    <a:lnTo>
                      <a:pt x="33" y="38"/>
                    </a:lnTo>
                    <a:lnTo>
                      <a:pt x="34" y="38"/>
                    </a:lnTo>
                    <a:lnTo>
                      <a:pt x="34" y="37"/>
                    </a:lnTo>
                    <a:lnTo>
                      <a:pt x="34" y="36"/>
                    </a:lnTo>
                    <a:lnTo>
                      <a:pt x="35" y="36"/>
                    </a:lnTo>
                    <a:lnTo>
                      <a:pt x="36" y="36"/>
                    </a:lnTo>
                    <a:lnTo>
                      <a:pt x="36" y="35"/>
                    </a:lnTo>
                    <a:lnTo>
                      <a:pt x="37" y="35"/>
                    </a:lnTo>
                    <a:lnTo>
                      <a:pt x="36" y="34"/>
                    </a:lnTo>
                    <a:lnTo>
                      <a:pt x="36" y="35"/>
                    </a:lnTo>
                    <a:lnTo>
                      <a:pt x="36" y="34"/>
                    </a:lnTo>
                    <a:lnTo>
                      <a:pt x="36" y="33"/>
                    </a:lnTo>
                    <a:lnTo>
                      <a:pt x="37" y="32"/>
                    </a:lnTo>
                    <a:lnTo>
                      <a:pt x="37" y="31"/>
                    </a:lnTo>
                    <a:lnTo>
                      <a:pt x="38" y="31"/>
                    </a:lnTo>
                    <a:lnTo>
                      <a:pt x="38" y="32"/>
                    </a:lnTo>
                    <a:lnTo>
                      <a:pt x="39" y="32"/>
                    </a:lnTo>
                    <a:lnTo>
                      <a:pt x="39" y="31"/>
                    </a:lnTo>
                    <a:lnTo>
                      <a:pt x="39" y="30"/>
                    </a:lnTo>
                    <a:lnTo>
                      <a:pt x="39" y="28"/>
                    </a:lnTo>
                    <a:lnTo>
                      <a:pt x="41" y="28"/>
                    </a:lnTo>
                    <a:lnTo>
                      <a:pt x="42" y="28"/>
                    </a:lnTo>
                    <a:lnTo>
                      <a:pt x="41" y="28"/>
                    </a:lnTo>
                    <a:lnTo>
                      <a:pt x="41" y="27"/>
                    </a:lnTo>
                    <a:lnTo>
                      <a:pt x="41" y="26"/>
                    </a:lnTo>
                    <a:lnTo>
                      <a:pt x="42" y="27"/>
                    </a:lnTo>
                    <a:lnTo>
                      <a:pt x="42" y="26"/>
                    </a:lnTo>
                    <a:lnTo>
                      <a:pt x="41" y="26"/>
                    </a:lnTo>
                    <a:lnTo>
                      <a:pt x="41" y="25"/>
                    </a:lnTo>
                    <a:lnTo>
                      <a:pt x="42" y="25"/>
                    </a:lnTo>
                    <a:lnTo>
                      <a:pt x="42" y="24"/>
                    </a:lnTo>
                    <a:lnTo>
                      <a:pt x="41" y="24"/>
                    </a:lnTo>
                    <a:lnTo>
                      <a:pt x="41" y="23"/>
                    </a:lnTo>
                    <a:lnTo>
                      <a:pt x="42" y="23"/>
                    </a:lnTo>
                    <a:lnTo>
                      <a:pt x="43" y="22"/>
                    </a:lnTo>
                    <a:lnTo>
                      <a:pt x="42" y="22"/>
                    </a:lnTo>
                    <a:lnTo>
                      <a:pt x="42" y="21"/>
                    </a:lnTo>
                    <a:lnTo>
                      <a:pt x="43" y="21"/>
                    </a:lnTo>
                    <a:lnTo>
                      <a:pt x="43" y="20"/>
                    </a:lnTo>
                    <a:lnTo>
                      <a:pt x="42" y="20"/>
                    </a:lnTo>
                    <a:lnTo>
                      <a:pt x="42" y="19"/>
                    </a:lnTo>
                    <a:lnTo>
                      <a:pt x="43" y="18"/>
                    </a:lnTo>
                    <a:lnTo>
                      <a:pt x="42" y="17"/>
                    </a:lnTo>
                    <a:lnTo>
                      <a:pt x="43" y="17"/>
                    </a:lnTo>
                    <a:lnTo>
                      <a:pt x="43" y="15"/>
                    </a:lnTo>
                    <a:lnTo>
                      <a:pt x="43" y="14"/>
                    </a:lnTo>
                    <a:lnTo>
                      <a:pt x="43" y="13"/>
                    </a:lnTo>
                    <a:lnTo>
                      <a:pt x="42" y="13"/>
                    </a:lnTo>
                    <a:lnTo>
                      <a:pt x="43" y="12"/>
                    </a:lnTo>
                    <a:lnTo>
                      <a:pt x="43" y="11"/>
                    </a:lnTo>
                    <a:lnTo>
                      <a:pt x="43" y="10"/>
                    </a:lnTo>
                    <a:lnTo>
                      <a:pt x="44" y="10"/>
                    </a:lnTo>
                    <a:lnTo>
                      <a:pt x="44" y="9"/>
                    </a:lnTo>
                    <a:lnTo>
                      <a:pt x="45" y="9"/>
                    </a:lnTo>
                    <a:lnTo>
                      <a:pt x="45" y="7"/>
                    </a:lnTo>
                    <a:lnTo>
                      <a:pt x="46" y="6"/>
                    </a:lnTo>
                    <a:lnTo>
                      <a:pt x="47" y="5"/>
                    </a:lnTo>
                    <a:lnTo>
                      <a:pt x="48" y="5"/>
                    </a:lnTo>
                    <a:lnTo>
                      <a:pt x="49" y="5"/>
                    </a:lnTo>
                    <a:lnTo>
                      <a:pt x="50" y="5"/>
                    </a:lnTo>
                    <a:lnTo>
                      <a:pt x="50" y="4"/>
                    </a:lnTo>
                    <a:lnTo>
                      <a:pt x="50" y="2"/>
                    </a:lnTo>
                    <a:lnTo>
                      <a:pt x="51" y="2"/>
                    </a:lnTo>
                    <a:lnTo>
                      <a:pt x="51" y="4"/>
                    </a:lnTo>
                    <a:lnTo>
                      <a:pt x="51" y="2"/>
                    </a:lnTo>
                    <a:lnTo>
                      <a:pt x="52" y="1"/>
                    </a:lnTo>
                    <a:lnTo>
                      <a:pt x="54" y="1"/>
                    </a:lnTo>
                    <a:lnTo>
                      <a:pt x="80" y="0"/>
                    </a:lnTo>
                    <a:lnTo>
                      <a:pt x="83" y="0"/>
                    </a:lnTo>
                    <a:lnTo>
                      <a:pt x="85" y="0"/>
                    </a:lnTo>
                    <a:lnTo>
                      <a:pt x="86" y="0"/>
                    </a:lnTo>
                    <a:lnTo>
                      <a:pt x="87" y="0"/>
                    </a:lnTo>
                    <a:lnTo>
                      <a:pt x="88" y="0"/>
                    </a:lnTo>
                    <a:lnTo>
                      <a:pt x="88" y="1"/>
                    </a:lnTo>
                    <a:lnTo>
                      <a:pt x="89" y="1"/>
                    </a:lnTo>
                    <a:lnTo>
                      <a:pt x="90" y="0"/>
                    </a:lnTo>
                    <a:lnTo>
                      <a:pt x="95" y="0"/>
                    </a:lnTo>
                    <a:lnTo>
                      <a:pt x="98" y="1"/>
                    </a:lnTo>
                    <a:lnTo>
                      <a:pt x="109" y="1"/>
                    </a:lnTo>
                    <a:lnTo>
                      <a:pt x="126" y="1"/>
                    </a:lnTo>
                    <a:lnTo>
                      <a:pt x="150" y="0"/>
                    </a:lnTo>
                    <a:lnTo>
                      <a:pt x="162" y="0"/>
                    </a:lnTo>
                    <a:lnTo>
                      <a:pt x="163" y="0"/>
                    </a:lnTo>
                    <a:lnTo>
                      <a:pt x="176" y="0"/>
                    </a:lnTo>
                    <a:lnTo>
                      <a:pt x="177" y="1"/>
                    </a:lnTo>
                    <a:lnTo>
                      <a:pt x="199" y="0"/>
                    </a:lnTo>
                    <a:lnTo>
                      <a:pt x="203" y="0"/>
                    </a:lnTo>
                    <a:lnTo>
                      <a:pt x="212" y="0"/>
                    </a:lnTo>
                    <a:close/>
                  </a:path>
                </a:pathLst>
              </a:custGeom>
              <a:solidFill>
                <a:srgbClr val="1A62B6"/>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6" name="Freeform 294">
                <a:extLst>
                  <a:ext uri="{FF2B5EF4-FFF2-40B4-BE49-F238E27FC236}">
                    <a16:creationId xmlns:a16="http://schemas.microsoft.com/office/drawing/2014/main" id="{2A9B1AB0-56CC-07CA-8188-DF6F6C9D6119}"/>
                  </a:ext>
                </a:extLst>
              </p:cNvPr>
              <p:cNvSpPr>
                <a:spLocks/>
              </p:cNvSpPr>
              <p:nvPr/>
            </p:nvSpPr>
            <p:spPr bwMode="auto">
              <a:xfrm>
                <a:off x="3790951" y="3443288"/>
                <a:ext cx="482600" cy="398463"/>
              </a:xfrm>
              <a:custGeom>
                <a:avLst/>
                <a:gdLst>
                  <a:gd name="T0" fmla="*/ 296 w 304"/>
                  <a:gd name="T1" fmla="*/ 6 h 251"/>
                  <a:gd name="T2" fmla="*/ 293 w 304"/>
                  <a:gd name="T3" fmla="*/ 17 h 251"/>
                  <a:gd name="T4" fmla="*/ 291 w 304"/>
                  <a:gd name="T5" fmla="*/ 24 h 251"/>
                  <a:gd name="T6" fmla="*/ 289 w 304"/>
                  <a:gd name="T7" fmla="*/ 28 h 251"/>
                  <a:gd name="T8" fmla="*/ 287 w 304"/>
                  <a:gd name="T9" fmla="*/ 35 h 251"/>
                  <a:gd name="T10" fmla="*/ 283 w 304"/>
                  <a:gd name="T11" fmla="*/ 39 h 251"/>
                  <a:gd name="T12" fmla="*/ 282 w 304"/>
                  <a:gd name="T13" fmla="*/ 46 h 251"/>
                  <a:gd name="T14" fmla="*/ 284 w 304"/>
                  <a:gd name="T15" fmla="*/ 53 h 251"/>
                  <a:gd name="T16" fmla="*/ 285 w 304"/>
                  <a:gd name="T17" fmla="*/ 63 h 251"/>
                  <a:gd name="T18" fmla="*/ 284 w 304"/>
                  <a:gd name="T19" fmla="*/ 66 h 251"/>
                  <a:gd name="T20" fmla="*/ 287 w 304"/>
                  <a:gd name="T21" fmla="*/ 73 h 251"/>
                  <a:gd name="T22" fmla="*/ 291 w 304"/>
                  <a:gd name="T23" fmla="*/ 82 h 251"/>
                  <a:gd name="T24" fmla="*/ 286 w 304"/>
                  <a:gd name="T25" fmla="*/ 88 h 251"/>
                  <a:gd name="T26" fmla="*/ 283 w 304"/>
                  <a:gd name="T27" fmla="*/ 91 h 251"/>
                  <a:gd name="T28" fmla="*/ 285 w 304"/>
                  <a:gd name="T29" fmla="*/ 99 h 251"/>
                  <a:gd name="T30" fmla="*/ 287 w 304"/>
                  <a:gd name="T31" fmla="*/ 104 h 251"/>
                  <a:gd name="T32" fmla="*/ 291 w 304"/>
                  <a:gd name="T33" fmla="*/ 108 h 251"/>
                  <a:gd name="T34" fmla="*/ 294 w 304"/>
                  <a:gd name="T35" fmla="*/ 116 h 251"/>
                  <a:gd name="T36" fmla="*/ 288 w 304"/>
                  <a:gd name="T37" fmla="*/ 120 h 251"/>
                  <a:gd name="T38" fmla="*/ 295 w 304"/>
                  <a:gd name="T39" fmla="*/ 127 h 251"/>
                  <a:gd name="T40" fmla="*/ 294 w 304"/>
                  <a:gd name="T41" fmla="*/ 136 h 251"/>
                  <a:gd name="T42" fmla="*/ 297 w 304"/>
                  <a:gd name="T43" fmla="*/ 144 h 251"/>
                  <a:gd name="T44" fmla="*/ 292 w 304"/>
                  <a:gd name="T45" fmla="*/ 150 h 251"/>
                  <a:gd name="T46" fmla="*/ 293 w 304"/>
                  <a:gd name="T47" fmla="*/ 159 h 251"/>
                  <a:gd name="T48" fmla="*/ 294 w 304"/>
                  <a:gd name="T49" fmla="*/ 167 h 251"/>
                  <a:gd name="T50" fmla="*/ 291 w 304"/>
                  <a:gd name="T51" fmla="*/ 175 h 251"/>
                  <a:gd name="T52" fmla="*/ 289 w 304"/>
                  <a:gd name="T53" fmla="*/ 181 h 251"/>
                  <a:gd name="T54" fmla="*/ 293 w 304"/>
                  <a:gd name="T55" fmla="*/ 190 h 251"/>
                  <a:gd name="T56" fmla="*/ 294 w 304"/>
                  <a:gd name="T57" fmla="*/ 197 h 251"/>
                  <a:gd name="T58" fmla="*/ 292 w 304"/>
                  <a:gd name="T59" fmla="*/ 201 h 251"/>
                  <a:gd name="T60" fmla="*/ 231 w 304"/>
                  <a:gd name="T61" fmla="*/ 203 h 251"/>
                  <a:gd name="T62" fmla="*/ 142 w 304"/>
                  <a:gd name="T63" fmla="*/ 206 h 251"/>
                  <a:gd name="T64" fmla="*/ 84 w 304"/>
                  <a:gd name="T65" fmla="*/ 210 h 251"/>
                  <a:gd name="T66" fmla="*/ 34 w 304"/>
                  <a:gd name="T67" fmla="*/ 217 h 251"/>
                  <a:gd name="T68" fmla="*/ 17 w 304"/>
                  <a:gd name="T69" fmla="*/ 244 h 251"/>
                  <a:gd name="T70" fmla="*/ 10 w 304"/>
                  <a:gd name="T71" fmla="*/ 245 h 251"/>
                  <a:gd name="T72" fmla="*/ 5 w 304"/>
                  <a:gd name="T73" fmla="*/ 226 h 251"/>
                  <a:gd name="T74" fmla="*/ 7 w 304"/>
                  <a:gd name="T75" fmla="*/ 215 h 251"/>
                  <a:gd name="T76" fmla="*/ 12 w 304"/>
                  <a:gd name="T77" fmla="*/ 204 h 251"/>
                  <a:gd name="T78" fmla="*/ 16 w 304"/>
                  <a:gd name="T79" fmla="*/ 194 h 251"/>
                  <a:gd name="T80" fmla="*/ 23 w 304"/>
                  <a:gd name="T81" fmla="*/ 180 h 251"/>
                  <a:gd name="T82" fmla="*/ 29 w 304"/>
                  <a:gd name="T83" fmla="*/ 173 h 251"/>
                  <a:gd name="T84" fmla="*/ 36 w 304"/>
                  <a:gd name="T85" fmla="*/ 163 h 251"/>
                  <a:gd name="T86" fmla="*/ 42 w 304"/>
                  <a:gd name="T87" fmla="*/ 157 h 251"/>
                  <a:gd name="T88" fmla="*/ 52 w 304"/>
                  <a:gd name="T89" fmla="*/ 147 h 251"/>
                  <a:gd name="T90" fmla="*/ 53 w 304"/>
                  <a:gd name="T91" fmla="*/ 137 h 251"/>
                  <a:gd name="T92" fmla="*/ 53 w 304"/>
                  <a:gd name="T93" fmla="*/ 124 h 251"/>
                  <a:gd name="T94" fmla="*/ 59 w 304"/>
                  <a:gd name="T95" fmla="*/ 113 h 251"/>
                  <a:gd name="T96" fmla="*/ 59 w 304"/>
                  <a:gd name="T97" fmla="*/ 103 h 251"/>
                  <a:gd name="T98" fmla="*/ 60 w 304"/>
                  <a:gd name="T99" fmla="*/ 94 h 251"/>
                  <a:gd name="T100" fmla="*/ 63 w 304"/>
                  <a:gd name="T101" fmla="*/ 82 h 251"/>
                  <a:gd name="T102" fmla="*/ 71 w 304"/>
                  <a:gd name="T103" fmla="*/ 75 h 251"/>
                  <a:gd name="T104" fmla="*/ 71 w 304"/>
                  <a:gd name="T105" fmla="*/ 65 h 251"/>
                  <a:gd name="T106" fmla="*/ 75 w 304"/>
                  <a:gd name="T107" fmla="*/ 57 h 251"/>
                  <a:gd name="T108" fmla="*/ 82 w 304"/>
                  <a:gd name="T109" fmla="*/ 46 h 251"/>
                  <a:gd name="T110" fmla="*/ 77 w 304"/>
                  <a:gd name="T111" fmla="*/ 37 h 251"/>
                  <a:gd name="T112" fmla="*/ 80 w 304"/>
                  <a:gd name="T113" fmla="*/ 24 h 251"/>
                  <a:gd name="T114" fmla="*/ 85 w 304"/>
                  <a:gd name="T115" fmla="*/ 19 h 251"/>
                  <a:gd name="T116" fmla="*/ 87 w 304"/>
                  <a:gd name="T117" fmla="*/ 9 h 251"/>
                  <a:gd name="T118" fmla="*/ 121 w 304"/>
                  <a:gd name="T119" fmla="*/ 1 h 251"/>
                  <a:gd name="T120" fmla="*/ 269 w 304"/>
                  <a:gd name="T1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 h="251">
                    <a:moveTo>
                      <a:pt x="304" y="1"/>
                    </a:moveTo>
                    <a:lnTo>
                      <a:pt x="302" y="1"/>
                    </a:lnTo>
                    <a:lnTo>
                      <a:pt x="301" y="2"/>
                    </a:lnTo>
                    <a:lnTo>
                      <a:pt x="301" y="4"/>
                    </a:lnTo>
                    <a:lnTo>
                      <a:pt x="301" y="2"/>
                    </a:lnTo>
                    <a:lnTo>
                      <a:pt x="300" y="2"/>
                    </a:lnTo>
                    <a:lnTo>
                      <a:pt x="300" y="4"/>
                    </a:lnTo>
                    <a:lnTo>
                      <a:pt x="300" y="5"/>
                    </a:lnTo>
                    <a:lnTo>
                      <a:pt x="299" y="5"/>
                    </a:lnTo>
                    <a:lnTo>
                      <a:pt x="298" y="5"/>
                    </a:lnTo>
                    <a:lnTo>
                      <a:pt x="297" y="5"/>
                    </a:lnTo>
                    <a:lnTo>
                      <a:pt x="296" y="6"/>
                    </a:lnTo>
                    <a:lnTo>
                      <a:pt x="295" y="7"/>
                    </a:lnTo>
                    <a:lnTo>
                      <a:pt x="295" y="9"/>
                    </a:lnTo>
                    <a:lnTo>
                      <a:pt x="294" y="9"/>
                    </a:lnTo>
                    <a:lnTo>
                      <a:pt x="294" y="10"/>
                    </a:lnTo>
                    <a:lnTo>
                      <a:pt x="293" y="10"/>
                    </a:lnTo>
                    <a:lnTo>
                      <a:pt x="293" y="11"/>
                    </a:lnTo>
                    <a:lnTo>
                      <a:pt x="293" y="12"/>
                    </a:lnTo>
                    <a:lnTo>
                      <a:pt x="292" y="13"/>
                    </a:lnTo>
                    <a:lnTo>
                      <a:pt x="293" y="13"/>
                    </a:lnTo>
                    <a:lnTo>
                      <a:pt x="293" y="14"/>
                    </a:lnTo>
                    <a:lnTo>
                      <a:pt x="293" y="15"/>
                    </a:lnTo>
                    <a:lnTo>
                      <a:pt x="293" y="17"/>
                    </a:lnTo>
                    <a:lnTo>
                      <a:pt x="292" y="17"/>
                    </a:lnTo>
                    <a:lnTo>
                      <a:pt x="293" y="18"/>
                    </a:lnTo>
                    <a:lnTo>
                      <a:pt x="292" y="19"/>
                    </a:lnTo>
                    <a:lnTo>
                      <a:pt x="292" y="20"/>
                    </a:lnTo>
                    <a:lnTo>
                      <a:pt x="293" y="20"/>
                    </a:lnTo>
                    <a:lnTo>
                      <a:pt x="293" y="21"/>
                    </a:lnTo>
                    <a:lnTo>
                      <a:pt x="292" y="21"/>
                    </a:lnTo>
                    <a:lnTo>
                      <a:pt x="292" y="22"/>
                    </a:lnTo>
                    <a:lnTo>
                      <a:pt x="293" y="22"/>
                    </a:lnTo>
                    <a:lnTo>
                      <a:pt x="292" y="23"/>
                    </a:lnTo>
                    <a:lnTo>
                      <a:pt x="291" y="23"/>
                    </a:lnTo>
                    <a:lnTo>
                      <a:pt x="291" y="24"/>
                    </a:lnTo>
                    <a:lnTo>
                      <a:pt x="292" y="24"/>
                    </a:lnTo>
                    <a:lnTo>
                      <a:pt x="292" y="25"/>
                    </a:lnTo>
                    <a:lnTo>
                      <a:pt x="291" y="25"/>
                    </a:lnTo>
                    <a:lnTo>
                      <a:pt x="291" y="26"/>
                    </a:lnTo>
                    <a:lnTo>
                      <a:pt x="292" y="26"/>
                    </a:lnTo>
                    <a:lnTo>
                      <a:pt x="292" y="27"/>
                    </a:lnTo>
                    <a:lnTo>
                      <a:pt x="291" y="26"/>
                    </a:lnTo>
                    <a:lnTo>
                      <a:pt x="291" y="27"/>
                    </a:lnTo>
                    <a:lnTo>
                      <a:pt x="291" y="28"/>
                    </a:lnTo>
                    <a:lnTo>
                      <a:pt x="292" y="28"/>
                    </a:lnTo>
                    <a:lnTo>
                      <a:pt x="291" y="28"/>
                    </a:lnTo>
                    <a:lnTo>
                      <a:pt x="289" y="28"/>
                    </a:lnTo>
                    <a:lnTo>
                      <a:pt x="289" y="30"/>
                    </a:lnTo>
                    <a:lnTo>
                      <a:pt x="289" y="31"/>
                    </a:lnTo>
                    <a:lnTo>
                      <a:pt x="289" y="32"/>
                    </a:lnTo>
                    <a:lnTo>
                      <a:pt x="288" y="32"/>
                    </a:lnTo>
                    <a:lnTo>
                      <a:pt x="288" y="31"/>
                    </a:lnTo>
                    <a:lnTo>
                      <a:pt x="287" y="31"/>
                    </a:lnTo>
                    <a:lnTo>
                      <a:pt x="287" y="32"/>
                    </a:lnTo>
                    <a:lnTo>
                      <a:pt x="286" y="33"/>
                    </a:lnTo>
                    <a:lnTo>
                      <a:pt x="286" y="34"/>
                    </a:lnTo>
                    <a:lnTo>
                      <a:pt x="286" y="35"/>
                    </a:lnTo>
                    <a:lnTo>
                      <a:pt x="286" y="34"/>
                    </a:lnTo>
                    <a:lnTo>
                      <a:pt x="287" y="35"/>
                    </a:lnTo>
                    <a:lnTo>
                      <a:pt x="286" y="35"/>
                    </a:lnTo>
                    <a:lnTo>
                      <a:pt x="286" y="36"/>
                    </a:lnTo>
                    <a:lnTo>
                      <a:pt x="285" y="36"/>
                    </a:lnTo>
                    <a:lnTo>
                      <a:pt x="284" y="36"/>
                    </a:lnTo>
                    <a:lnTo>
                      <a:pt x="284" y="37"/>
                    </a:lnTo>
                    <a:lnTo>
                      <a:pt x="284" y="38"/>
                    </a:lnTo>
                    <a:lnTo>
                      <a:pt x="283" y="38"/>
                    </a:lnTo>
                    <a:lnTo>
                      <a:pt x="283" y="37"/>
                    </a:lnTo>
                    <a:lnTo>
                      <a:pt x="282" y="37"/>
                    </a:lnTo>
                    <a:lnTo>
                      <a:pt x="282" y="38"/>
                    </a:lnTo>
                    <a:lnTo>
                      <a:pt x="283" y="38"/>
                    </a:lnTo>
                    <a:lnTo>
                      <a:pt x="283" y="39"/>
                    </a:lnTo>
                    <a:lnTo>
                      <a:pt x="283" y="40"/>
                    </a:lnTo>
                    <a:lnTo>
                      <a:pt x="282" y="40"/>
                    </a:lnTo>
                    <a:lnTo>
                      <a:pt x="281" y="40"/>
                    </a:lnTo>
                    <a:lnTo>
                      <a:pt x="281" y="41"/>
                    </a:lnTo>
                    <a:lnTo>
                      <a:pt x="281" y="43"/>
                    </a:lnTo>
                    <a:lnTo>
                      <a:pt x="282" y="43"/>
                    </a:lnTo>
                    <a:lnTo>
                      <a:pt x="282" y="44"/>
                    </a:lnTo>
                    <a:lnTo>
                      <a:pt x="283" y="44"/>
                    </a:lnTo>
                    <a:lnTo>
                      <a:pt x="283" y="43"/>
                    </a:lnTo>
                    <a:lnTo>
                      <a:pt x="283" y="44"/>
                    </a:lnTo>
                    <a:lnTo>
                      <a:pt x="283" y="45"/>
                    </a:lnTo>
                    <a:lnTo>
                      <a:pt x="282" y="46"/>
                    </a:lnTo>
                    <a:lnTo>
                      <a:pt x="282" y="47"/>
                    </a:lnTo>
                    <a:lnTo>
                      <a:pt x="282" y="48"/>
                    </a:lnTo>
                    <a:lnTo>
                      <a:pt x="283" y="48"/>
                    </a:lnTo>
                    <a:lnTo>
                      <a:pt x="284" y="48"/>
                    </a:lnTo>
                    <a:lnTo>
                      <a:pt x="284" y="49"/>
                    </a:lnTo>
                    <a:lnTo>
                      <a:pt x="283" y="49"/>
                    </a:lnTo>
                    <a:lnTo>
                      <a:pt x="284" y="50"/>
                    </a:lnTo>
                    <a:lnTo>
                      <a:pt x="284" y="51"/>
                    </a:lnTo>
                    <a:lnTo>
                      <a:pt x="283" y="51"/>
                    </a:lnTo>
                    <a:lnTo>
                      <a:pt x="283" y="52"/>
                    </a:lnTo>
                    <a:lnTo>
                      <a:pt x="283" y="53"/>
                    </a:lnTo>
                    <a:lnTo>
                      <a:pt x="284" y="53"/>
                    </a:lnTo>
                    <a:lnTo>
                      <a:pt x="284" y="54"/>
                    </a:lnTo>
                    <a:lnTo>
                      <a:pt x="285" y="54"/>
                    </a:lnTo>
                    <a:lnTo>
                      <a:pt x="286" y="56"/>
                    </a:lnTo>
                    <a:lnTo>
                      <a:pt x="286" y="57"/>
                    </a:lnTo>
                    <a:lnTo>
                      <a:pt x="285" y="58"/>
                    </a:lnTo>
                    <a:lnTo>
                      <a:pt x="284" y="58"/>
                    </a:lnTo>
                    <a:lnTo>
                      <a:pt x="284" y="59"/>
                    </a:lnTo>
                    <a:lnTo>
                      <a:pt x="285" y="59"/>
                    </a:lnTo>
                    <a:lnTo>
                      <a:pt x="285" y="60"/>
                    </a:lnTo>
                    <a:lnTo>
                      <a:pt x="285" y="61"/>
                    </a:lnTo>
                    <a:lnTo>
                      <a:pt x="285" y="62"/>
                    </a:lnTo>
                    <a:lnTo>
                      <a:pt x="285" y="63"/>
                    </a:lnTo>
                    <a:lnTo>
                      <a:pt x="286" y="63"/>
                    </a:lnTo>
                    <a:lnTo>
                      <a:pt x="286" y="64"/>
                    </a:lnTo>
                    <a:lnTo>
                      <a:pt x="287" y="64"/>
                    </a:lnTo>
                    <a:lnTo>
                      <a:pt x="286" y="63"/>
                    </a:lnTo>
                    <a:lnTo>
                      <a:pt x="287" y="63"/>
                    </a:lnTo>
                    <a:lnTo>
                      <a:pt x="287" y="64"/>
                    </a:lnTo>
                    <a:lnTo>
                      <a:pt x="287" y="65"/>
                    </a:lnTo>
                    <a:lnTo>
                      <a:pt x="286" y="65"/>
                    </a:lnTo>
                    <a:lnTo>
                      <a:pt x="286" y="66"/>
                    </a:lnTo>
                    <a:lnTo>
                      <a:pt x="285" y="65"/>
                    </a:lnTo>
                    <a:lnTo>
                      <a:pt x="285" y="66"/>
                    </a:lnTo>
                    <a:lnTo>
                      <a:pt x="284" y="66"/>
                    </a:lnTo>
                    <a:lnTo>
                      <a:pt x="285" y="67"/>
                    </a:lnTo>
                    <a:lnTo>
                      <a:pt x="286" y="67"/>
                    </a:lnTo>
                    <a:lnTo>
                      <a:pt x="286" y="69"/>
                    </a:lnTo>
                    <a:lnTo>
                      <a:pt x="285" y="70"/>
                    </a:lnTo>
                    <a:lnTo>
                      <a:pt x="286" y="70"/>
                    </a:lnTo>
                    <a:lnTo>
                      <a:pt x="286" y="71"/>
                    </a:lnTo>
                    <a:lnTo>
                      <a:pt x="286" y="72"/>
                    </a:lnTo>
                    <a:lnTo>
                      <a:pt x="286" y="73"/>
                    </a:lnTo>
                    <a:lnTo>
                      <a:pt x="285" y="73"/>
                    </a:lnTo>
                    <a:lnTo>
                      <a:pt x="286" y="74"/>
                    </a:lnTo>
                    <a:lnTo>
                      <a:pt x="286" y="73"/>
                    </a:lnTo>
                    <a:lnTo>
                      <a:pt x="287" y="73"/>
                    </a:lnTo>
                    <a:lnTo>
                      <a:pt x="288" y="73"/>
                    </a:lnTo>
                    <a:lnTo>
                      <a:pt x="288" y="74"/>
                    </a:lnTo>
                    <a:lnTo>
                      <a:pt x="288" y="75"/>
                    </a:lnTo>
                    <a:lnTo>
                      <a:pt x="289" y="75"/>
                    </a:lnTo>
                    <a:lnTo>
                      <a:pt x="289" y="76"/>
                    </a:lnTo>
                    <a:lnTo>
                      <a:pt x="289" y="77"/>
                    </a:lnTo>
                    <a:lnTo>
                      <a:pt x="289" y="78"/>
                    </a:lnTo>
                    <a:lnTo>
                      <a:pt x="291" y="79"/>
                    </a:lnTo>
                    <a:lnTo>
                      <a:pt x="292" y="79"/>
                    </a:lnTo>
                    <a:lnTo>
                      <a:pt x="292" y="80"/>
                    </a:lnTo>
                    <a:lnTo>
                      <a:pt x="292" y="82"/>
                    </a:lnTo>
                    <a:lnTo>
                      <a:pt x="291" y="82"/>
                    </a:lnTo>
                    <a:lnTo>
                      <a:pt x="289" y="82"/>
                    </a:lnTo>
                    <a:lnTo>
                      <a:pt x="289" y="83"/>
                    </a:lnTo>
                    <a:lnTo>
                      <a:pt x="288" y="82"/>
                    </a:lnTo>
                    <a:lnTo>
                      <a:pt x="288" y="83"/>
                    </a:lnTo>
                    <a:lnTo>
                      <a:pt x="288" y="84"/>
                    </a:lnTo>
                    <a:lnTo>
                      <a:pt x="288" y="85"/>
                    </a:lnTo>
                    <a:lnTo>
                      <a:pt x="287" y="85"/>
                    </a:lnTo>
                    <a:lnTo>
                      <a:pt x="287" y="86"/>
                    </a:lnTo>
                    <a:lnTo>
                      <a:pt x="286" y="86"/>
                    </a:lnTo>
                    <a:lnTo>
                      <a:pt x="286" y="87"/>
                    </a:lnTo>
                    <a:lnTo>
                      <a:pt x="287" y="88"/>
                    </a:lnTo>
                    <a:lnTo>
                      <a:pt x="286" y="88"/>
                    </a:lnTo>
                    <a:lnTo>
                      <a:pt x="286" y="89"/>
                    </a:lnTo>
                    <a:lnTo>
                      <a:pt x="285" y="89"/>
                    </a:lnTo>
                    <a:lnTo>
                      <a:pt x="285" y="90"/>
                    </a:lnTo>
                    <a:lnTo>
                      <a:pt x="285" y="91"/>
                    </a:lnTo>
                    <a:lnTo>
                      <a:pt x="284" y="91"/>
                    </a:lnTo>
                    <a:lnTo>
                      <a:pt x="284" y="92"/>
                    </a:lnTo>
                    <a:lnTo>
                      <a:pt x="283" y="92"/>
                    </a:lnTo>
                    <a:lnTo>
                      <a:pt x="283" y="91"/>
                    </a:lnTo>
                    <a:lnTo>
                      <a:pt x="284" y="91"/>
                    </a:lnTo>
                    <a:lnTo>
                      <a:pt x="283" y="91"/>
                    </a:lnTo>
                    <a:lnTo>
                      <a:pt x="283" y="90"/>
                    </a:lnTo>
                    <a:lnTo>
                      <a:pt x="283" y="91"/>
                    </a:lnTo>
                    <a:lnTo>
                      <a:pt x="282" y="91"/>
                    </a:lnTo>
                    <a:lnTo>
                      <a:pt x="282" y="92"/>
                    </a:lnTo>
                    <a:lnTo>
                      <a:pt x="282" y="94"/>
                    </a:lnTo>
                    <a:lnTo>
                      <a:pt x="283" y="94"/>
                    </a:lnTo>
                    <a:lnTo>
                      <a:pt x="284" y="94"/>
                    </a:lnTo>
                    <a:lnTo>
                      <a:pt x="284" y="95"/>
                    </a:lnTo>
                    <a:lnTo>
                      <a:pt x="285" y="95"/>
                    </a:lnTo>
                    <a:lnTo>
                      <a:pt x="285" y="96"/>
                    </a:lnTo>
                    <a:lnTo>
                      <a:pt x="286" y="96"/>
                    </a:lnTo>
                    <a:lnTo>
                      <a:pt x="286" y="97"/>
                    </a:lnTo>
                    <a:lnTo>
                      <a:pt x="285" y="98"/>
                    </a:lnTo>
                    <a:lnTo>
                      <a:pt x="285" y="99"/>
                    </a:lnTo>
                    <a:lnTo>
                      <a:pt x="284" y="99"/>
                    </a:lnTo>
                    <a:lnTo>
                      <a:pt x="283" y="99"/>
                    </a:lnTo>
                    <a:lnTo>
                      <a:pt x="283" y="101"/>
                    </a:lnTo>
                    <a:lnTo>
                      <a:pt x="284" y="101"/>
                    </a:lnTo>
                    <a:lnTo>
                      <a:pt x="284" y="100"/>
                    </a:lnTo>
                    <a:lnTo>
                      <a:pt x="285" y="100"/>
                    </a:lnTo>
                    <a:lnTo>
                      <a:pt x="285" y="101"/>
                    </a:lnTo>
                    <a:lnTo>
                      <a:pt x="285" y="102"/>
                    </a:lnTo>
                    <a:lnTo>
                      <a:pt x="286" y="102"/>
                    </a:lnTo>
                    <a:lnTo>
                      <a:pt x="287" y="102"/>
                    </a:lnTo>
                    <a:lnTo>
                      <a:pt x="287" y="103"/>
                    </a:lnTo>
                    <a:lnTo>
                      <a:pt x="287" y="104"/>
                    </a:lnTo>
                    <a:lnTo>
                      <a:pt x="288" y="104"/>
                    </a:lnTo>
                    <a:lnTo>
                      <a:pt x="289" y="104"/>
                    </a:lnTo>
                    <a:lnTo>
                      <a:pt x="289" y="103"/>
                    </a:lnTo>
                    <a:lnTo>
                      <a:pt x="289" y="104"/>
                    </a:lnTo>
                    <a:lnTo>
                      <a:pt x="291" y="104"/>
                    </a:lnTo>
                    <a:lnTo>
                      <a:pt x="292" y="104"/>
                    </a:lnTo>
                    <a:lnTo>
                      <a:pt x="292" y="105"/>
                    </a:lnTo>
                    <a:lnTo>
                      <a:pt x="291" y="105"/>
                    </a:lnTo>
                    <a:lnTo>
                      <a:pt x="291" y="107"/>
                    </a:lnTo>
                    <a:lnTo>
                      <a:pt x="292" y="107"/>
                    </a:lnTo>
                    <a:lnTo>
                      <a:pt x="292" y="108"/>
                    </a:lnTo>
                    <a:lnTo>
                      <a:pt x="291" y="108"/>
                    </a:lnTo>
                    <a:lnTo>
                      <a:pt x="291" y="109"/>
                    </a:lnTo>
                    <a:lnTo>
                      <a:pt x="292" y="109"/>
                    </a:lnTo>
                    <a:lnTo>
                      <a:pt x="293" y="109"/>
                    </a:lnTo>
                    <a:lnTo>
                      <a:pt x="294" y="109"/>
                    </a:lnTo>
                    <a:lnTo>
                      <a:pt x="294" y="110"/>
                    </a:lnTo>
                    <a:lnTo>
                      <a:pt x="294" y="111"/>
                    </a:lnTo>
                    <a:lnTo>
                      <a:pt x="294" y="112"/>
                    </a:lnTo>
                    <a:lnTo>
                      <a:pt x="294" y="113"/>
                    </a:lnTo>
                    <a:lnTo>
                      <a:pt x="295" y="113"/>
                    </a:lnTo>
                    <a:lnTo>
                      <a:pt x="295" y="114"/>
                    </a:lnTo>
                    <a:lnTo>
                      <a:pt x="294" y="114"/>
                    </a:lnTo>
                    <a:lnTo>
                      <a:pt x="294" y="116"/>
                    </a:lnTo>
                    <a:lnTo>
                      <a:pt x="293" y="116"/>
                    </a:lnTo>
                    <a:lnTo>
                      <a:pt x="292" y="116"/>
                    </a:lnTo>
                    <a:lnTo>
                      <a:pt x="292" y="115"/>
                    </a:lnTo>
                    <a:lnTo>
                      <a:pt x="291" y="115"/>
                    </a:lnTo>
                    <a:lnTo>
                      <a:pt x="291" y="114"/>
                    </a:lnTo>
                    <a:lnTo>
                      <a:pt x="289" y="114"/>
                    </a:lnTo>
                    <a:lnTo>
                      <a:pt x="289" y="115"/>
                    </a:lnTo>
                    <a:lnTo>
                      <a:pt x="289" y="116"/>
                    </a:lnTo>
                    <a:lnTo>
                      <a:pt x="291" y="117"/>
                    </a:lnTo>
                    <a:lnTo>
                      <a:pt x="291" y="118"/>
                    </a:lnTo>
                    <a:lnTo>
                      <a:pt x="289" y="118"/>
                    </a:lnTo>
                    <a:lnTo>
                      <a:pt x="288" y="120"/>
                    </a:lnTo>
                    <a:lnTo>
                      <a:pt x="288" y="121"/>
                    </a:lnTo>
                    <a:lnTo>
                      <a:pt x="288" y="122"/>
                    </a:lnTo>
                    <a:lnTo>
                      <a:pt x="289" y="122"/>
                    </a:lnTo>
                    <a:lnTo>
                      <a:pt x="291" y="122"/>
                    </a:lnTo>
                    <a:lnTo>
                      <a:pt x="292" y="122"/>
                    </a:lnTo>
                    <a:lnTo>
                      <a:pt x="292" y="123"/>
                    </a:lnTo>
                    <a:lnTo>
                      <a:pt x="292" y="124"/>
                    </a:lnTo>
                    <a:lnTo>
                      <a:pt x="292" y="125"/>
                    </a:lnTo>
                    <a:lnTo>
                      <a:pt x="293" y="125"/>
                    </a:lnTo>
                    <a:lnTo>
                      <a:pt x="294" y="126"/>
                    </a:lnTo>
                    <a:lnTo>
                      <a:pt x="295" y="126"/>
                    </a:lnTo>
                    <a:lnTo>
                      <a:pt x="295" y="127"/>
                    </a:lnTo>
                    <a:lnTo>
                      <a:pt x="295" y="128"/>
                    </a:lnTo>
                    <a:lnTo>
                      <a:pt x="296" y="129"/>
                    </a:lnTo>
                    <a:lnTo>
                      <a:pt x="297" y="128"/>
                    </a:lnTo>
                    <a:lnTo>
                      <a:pt x="297" y="129"/>
                    </a:lnTo>
                    <a:lnTo>
                      <a:pt x="297" y="130"/>
                    </a:lnTo>
                    <a:lnTo>
                      <a:pt x="298" y="131"/>
                    </a:lnTo>
                    <a:lnTo>
                      <a:pt x="298" y="133"/>
                    </a:lnTo>
                    <a:lnTo>
                      <a:pt x="298" y="134"/>
                    </a:lnTo>
                    <a:lnTo>
                      <a:pt x="296" y="135"/>
                    </a:lnTo>
                    <a:lnTo>
                      <a:pt x="295" y="135"/>
                    </a:lnTo>
                    <a:lnTo>
                      <a:pt x="295" y="136"/>
                    </a:lnTo>
                    <a:lnTo>
                      <a:pt x="294" y="136"/>
                    </a:lnTo>
                    <a:lnTo>
                      <a:pt x="294" y="137"/>
                    </a:lnTo>
                    <a:lnTo>
                      <a:pt x="294" y="138"/>
                    </a:lnTo>
                    <a:lnTo>
                      <a:pt x="294" y="139"/>
                    </a:lnTo>
                    <a:lnTo>
                      <a:pt x="294" y="140"/>
                    </a:lnTo>
                    <a:lnTo>
                      <a:pt x="294" y="141"/>
                    </a:lnTo>
                    <a:lnTo>
                      <a:pt x="294" y="142"/>
                    </a:lnTo>
                    <a:lnTo>
                      <a:pt x="294" y="143"/>
                    </a:lnTo>
                    <a:lnTo>
                      <a:pt x="295" y="143"/>
                    </a:lnTo>
                    <a:lnTo>
                      <a:pt x="296" y="142"/>
                    </a:lnTo>
                    <a:lnTo>
                      <a:pt x="296" y="143"/>
                    </a:lnTo>
                    <a:lnTo>
                      <a:pt x="296" y="144"/>
                    </a:lnTo>
                    <a:lnTo>
                      <a:pt x="297" y="144"/>
                    </a:lnTo>
                    <a:lnTo>
                      <a:pt x="297" y="146"/>
                    </a:lnTo>
                    <a:lnTo>
                      <a:pt x="296" y="146"/>
                    </a:lnTo>
                    <a:lnTo>
                      <a:pt x="295" y="146"/>
                    </a:lnTo>
                    <a:lnTo>
                      <a:pt x="294" y="146"/>
                    </a:lnTo>
                    <a:lnTo>
                      <a:pt x="294" y="144"/>
                    </a:lnTo>
                    <a:lnTo>
                      <a:pt x="293" y="144"/>
                    </a:lnTo>
                    <a:lnTo>
                      <a:pt x="293" y="146"/>
                    </a:lnTo>
                    <a:lnTo>
                      <a:pt x="294" y="147"/>
                    </a:lnTo>
                    <a:lnTo>
                      <a:pt x="293" y="148"/>
                    </a:lnTo>
                    <a:lnTo>
                      <a:pt x="292" y="148"/>
                    </a:lnTo>
                    <a:lnTo>
                      <a:pt x="292" y="149"/>
                    </a:lnTo>
                    <a:lnTo>
                      <a:pt x="292" y="150"/>
                    </a:lnTo>
                    <a:lnTo>
                      <a:pt x="293" y="150"/>
                    </a:lnTo>
                    <a:lnTo>
                      <a:pt x="293" y="151"/>
                    </a:lnTo>
                    <a:lnTo>
                      <a:pt x="293" y="152"/>
                    </a:lnTo>
                    <a:lnTo>
                      <a:pt x="294" y="152"/>
                    </a:lnTo>
                    <a:lnTo>
                      <a:pt x="294" y="153"/>
                    </a:lnTo>
                    <a:lnTo>
                      <a:pt x="294" y="154"/>
                    </a:lnTo>
                    <a:lnTo>
                      <a:pt x="293" y="154"/>
                    </a:lnTo>
                    <a:lnTo>
                      <a:pt x="293" y="155"/>
                    </a:lnTo>
                    <a:lnTo>
                      <a:pt x="293" y="156"/>
                    </a:lnTo>
                    <a:lnTo>
                      <a:pt x="294" y="156"/>
                    </a:lnTo>
                    <a:lnTo>
                      <a:pt x="293" y="157"/>
                    </a:lnTo>
                    <a:lnTo>
                      <a:pt x="293" y="159"/>
                    </a:lnTo>
                    <a:lnTo>
                      <a:pt x="293" y="160"/>
                    </a:lnTo>
                    <a:lnTo>
                      <a:pt x="293" y="161"/>
                    </a:lnTo>
                    <a:lnTo>
                      <a:pt x="294" y="161"/>
                    </a:lnTo>
                    <a:lnTo>
                      <a:pt x="294" y="162"/>
                    </a:lnTo>
                    <a:lnTo>
                      <a:pt x="295" y="163"/>
                    </a:lnTo>
                    <a:lnTo>
                      <a:pt x="294" y="163"/>
                    </a:lnTo>
                    <a:lnTo>
                      <a:pt x="294" y="164"/>
                    </a:lnTo>
                    <a:lnTo>
                      <a:pt x="293" y="164"/>
                    </a:lnTo>
                    <a:lnTo>
                      <a:pt x="293" y="165"/>
                    </a:lnTo>
                    <a:lnTo>
                      <a:pt x="293" y="166"/>
                    </a:lnTo>
                    <a:lnTo>
                      <a:pt x="293" y="167"/>
                    </a:lnTo>
                    <a:lnTo>
                      <a:pt x="294" y="167"/>
                    </a:lnTo>
                    <a:lnTo>
                      <a:pt x="294" y="168"/>
                    </a:lnTo>
                    <a:lnTo>
                      <a:pt x="293" y="168"/>
                    </a:lnTo>
                    <a:lnTo>
                      <a:pt x="292" y="168"/>
                    </a:lnTo>
                    <a:lnTo>
                      <a:pt x="292" y="169"/>
                    </a:lnTo>
                    <a:lnTo>
                      <a:pt x="291" y="169"/>
                    </a:lnTo>
                    <a:lnTo>
                      <a:pt x="289" y="170"/>
                    </a:lnTo>
                    <a:lnTo>
                      <a:pt x="291" y="170"/>
                    </a:lnTo>
                    <a:lnTo>
                      <a:pt x="291" y="172"/>
                    </a:lnTo>
                    <a:lnTo>
                      <a:pt x="289" y="173"/>
                    </a:lnTo>
                    <a:lnTo>
                      <a:pt x="289" y="174"/>
                    </a:lnTo>
                    <a:lnTo>
                      <a:pt x="291" y="174"/>
                    </a:lnTo>
                    <a:lnTo>
                      <a:pt x="291" y="175"/>
                    </a:lnTo>
                    <a:lnTo>
                      <a:pt x="291" y="176"/>
                    </a:lnTo>
                    <a:lnTo>
                      <a:pt x="289" y="176"/>
                    </a:lnTo>
                    <a:lnTo>
                      <a:pt x="289" y="175"/>
                    </a:lnTo>
                    <a:lnTo>
                      <a:pt x="288" y="175"/>
                    </a:lnTo>
                    <a:lnTo>
                      <a:pt x="288" y="176"/>
                    </a:lnTo>
                    <a:lnTo>
                      <a:pt x="288" y="177"/>
                    </a:lnTo>
                    <a:lnTo>
                      <a:pt x="288" y="178"/>
                    </a:lnTo>
                    <a:lnTo>
                      <a:pt x="289" y="178"/>
                    </a:lnTo>
                    <a:lnTo>
                      <a:pt x="289" y="179"/>
                    </a:lnTo>
                    <a:lnTo>
                      <a:pt x="291" y="179"/>
                    </a:lnTo>
                    <a:lnTo>
                      <a:pt x="291" y="180"/>
                    </a:lnTo>
                    <a:lnTo>
                      <a:pt x="289" y="181"/>
                    </a:lnTo>
                    <a:lnTo>
                      <a:pt x="289" y="182"/>
                    </a:lnTo>
                    <a:lnTo>
                      <a:pt x="289" y="184"/>
                    </a:lnTo>
                    <a:lnTo>
                      <a:pt x="291" y="185"/>
                    </a:lnTo>
                    <a:lnTo>
                      <a:pt x="291" y="186"/>
                    </a:lnTo>
                    <a:lnTo>
                      <a:pt x="292" y="186"/>
                    </a:lnTo>
                    <a:lnTo>
                      <a:pt x="292" y="187"/>
                    </a:lnTo>
                    <a:lnTo>
                      <a:pt x="292" y="188"/>
                    </a:lnTo>
                    <a:lnTo>
                      <a:pt x="293" y="188"/>
                    </a:lnTo>
                    <a:lnTo>
                      <a:pt x="294" y="188"/>
                    </a:lnTo>
                    <a:lnTo>
                      <a:pt x="294" y="189"/>
                    </a:lnTo>
                    <a:lnTo>
                      <a:pt x="294" y="190"/>
                    </a:lnTo>
                    <a:lnTo>
                      <a:pt x="293" y="190"/>
                    </a:lnTo>
                    <a:lnTo>
                      <a:pt x="293" y="191"/>
                    </a:lnTo>
                    <a:lnTo>
                      <a:pt x="294" y="191"/>
                    </a:lnTo>
                    <a:lnTo>
                      <a:pt x="294" y="192"/>
                    </a:lnTo>
                    <a:lnTo>
                      <a:pt x="294" y="193"/>
                    </a:lnTo>
                    <a:lnTo>
                      <a:pt x="294" y="194"/>
                    </a:lnTo>
                    <a:lnTo>
                      <a:pt x="293" y="194"/>
                    </a:lnTo>
                    <a:lnTo>
                      <a:pt x="293" y="193"/>
                    </a:lnTo>
                    <a:lnTo>
                      <a:pt x="292" y="194"/>
                    </a:lnTo>
                    <a:lnTo>
                      <a:pt x="293" y="194"/>
                    </a:lnTo>
                    <a:lnTo>
                      <a:pt x="293" y="195"/>
                    </a:lnTo>
                    <a:lnTo>
                      <a:pt x="293" y="197"/>
                    </a:lnTo>
                    <a:lnTo>
                      <a:pt x="294" y="197"/>
                    </a:lnTo>
                    <a:lnTo>
                      <a:pt x="295" y="197"/>
                    </a:lnTo>
                    <a:lnTo>
                      <a:pt x="295" y="198"/>
                    </a:lnTo>
                    <a:lnTo>
                      <a:pt x="295" y="199"/>
                    </a:lnTo>
                    <a:lnTo>
                      <a:pt x="294" y="199"/>
                    </a:lnTo>
                    <a:lnTo>
                      <a:pt x="295" y="199"/>
                    </a:lnTo>
                    <a:lnTo>
                      <a:pt x="295" y="200"/>
                    </a:lnTo>
                    <a:lnTo>
                      <a:pt x="295" y="201"/>
                    </a:lnTo>
                    <a:lnTo>
                      <a:pt x="294" y="201"/>
                    </a:lnTo>
                    <a:lnTo>
                      <a:pt x="294" y="200"/>
                    </a:lnTo>
                    <a:lnTo>
                      <a:pt x="293" y="200"/>
                    </a:lnTo>
                    <a:lnTo>
                      <a:pt x="293" y="201"/>
                    </a:lnTo>
                    <a:lnTo>
                      <a:pt x="292" y="201"/>
                    </a:lnTo>
                    <a:lnTo>
                      <a:pt x="291" y="201"/>
                    </a:lnTo>
                    <a:lnTo>
                      <a:pt x="291" y="200"/>
                    </a:lnTo>
                    <a:lnTo>
                      <a:pt x="289" y="200"/>
                    </a:lnTo>
                    <a:lnTo>
                      <a:pt x="289" y="201"/>
                    </a:lnTo>
                    <a:lnTo>
                      <a:pt x="273" y="202"/>
                    </a:lnTo>
                    <a:lnTo>
                      <a:pt x="265" y="202"/>
                    </a:lnTo>
                    <a:lnTo>
                      <a:pt x="257" y="202"/>
                    </a:lnTo>
                    <a:lnTo>
                      <a:pt x="247" y="202"/>
                    </a:lnTo>
                    <a:lnTo>
                      <a:pt x="244" y="202"/>
                    </a:lnTo>
                    <a:lnTo>
                      <a:pt x="241" y="203"/>
                    </a:lnTo>
                    <a:lnTo>
                      <a:pt x="236" y="203"/>
                    </a:lnTo>
                    <a:lnTo>
                      <a:pt x="231" y="203"/>
                    </a:lnTo>
                    <a:lnTo>
                      <a:pt x="227" y="203"/>
                    </a:lnTo>
                    <a:lnTo>
                      <a:pt x="221" y="203"/>
                    </a:lnTo>
                    <a:lnTo>
                      <a:pt x="216" y="203"/>
                    </a:lnTo>
                    <a:lnTo>
                      <a:pt x="208" y="204"/>
                    </a:lnTo>
                    <a:lnTo>
                      <a:pt x="196" y="204"/>
                    </a:lnTo>
                    <a:lnTo>
                      <a:pt x="182" y="205"/>
                    </a:lnTo>
                    <a:lnTo>
                      <a:pt x="181" y="205"/>
                    </a:lnTo>
                    <a:lnTo>
                      <a:pt x="180" y="205"/>
                    </a:lnTo>
                    <a:lnTo>
                      <a:pt x="171" y="205"/>
                    </a:lnTo>
                    <a:lnTo>
                      <a:pt x="164" y="205"/>
                    </a:lnTo>
                    <a:lnTo>
                      <a:pt x="149" y="206"/>
                    </a:lnTo>
                    <a:lnTo>
                      <a:pt x="142" y="206"/>
                    </a:lnTo>
                    <a:lnTo>
                      <a:pt x="139" y="206"/>
                    </a:lnTo>
                    <a:lnTo>
                      <a:pt x="137" y="207"/>
                    </a:lnTo>
                    <a:lnTo>
                      <a:pt x="134" y="207"/>
                    </a:lnTo>
                    <a:lnTo>
                      <a:pt x="125" y="207"/>
                    </a:lnTo>
                    <a:lnTo>
                      <a:pt x="112" y="208"/>
                    </a:lnTo>
                    <a:lnTo>
                      <a:pt x="108" y="208"/>
                    </a:lnTo>
                    <a:lnTo>
                      <a:pt x="105" y="208"/>
                    </a:lnTo>
                    <a:lnTo>
                      <a:pt x="104" y="208"/>
                    </a:lnTo>
                    <a:lnTo>
                      <a:pt x="103" y="208"/>
                    </a:lnTo>
                    <a:lnTo>
                      <a:pt x="94" y="208"/>
                    </a:lnTo>
                    <a:lnTo>
                      <a:pt x="93" y="208"/>
                    </a:lnTo>
                    <a:lnTo>
                      <a:pt x="84" y="210"/>
                    </a:lnTo>
                    <a:lnTo>
                      <a:pt x="66" y="210"/>
                    </a:lnTo>
                    <a:lnTo>
                      <a:pt x="64" y="210"/>
                    </a:lnTo>
                    <a:lnTo>
                      <a:pt x="49" y="211"/>
                    </a:lnTo>
                    <a:lnTo>
                      <a:pt x="43" y="211"/>
                    </a:lnTo>
                    <a:lnTo>
                      <a:pt x="41" y="211"/>
                    </a:lnTo>
                    <a:lnTo>
                      <a:pt x="40" y="212"/>
                    </a:lnTo>
                    <a:lnTo>
                      <a:pt x="39" y="213"/>
                    </a:lnTo>
                    <a:lnTo>
                      <a:pt x="37" y="214"/>
                    </a:lnTo>
                    <a:lnTo>
                      <a:pt x="36" y="215"/>
                    </a:lnTo>
                    <a:lnTo>
                      <a:pt x="35" y="215"/>
                    </a:lnTo>
                    <a:lnTo>
                      <a:pt x="35" y="216"/>
                    </a:lnTo>
                    <a:lnTo>
                      <a:pt x="34" y="217"/>
                    </a:lnTo>
                    <a:lnTo>
                      <a:pt x="33" y="218"/>
                    </a:lnTo>
                    <a:lnTo>
                      <a:pt x="34" y="219"/>
                    </a:lnTo>
                    <a:lnTo>
                      <a:pt x="33" y="220"/>
                    </a:lnTo>
                    <a:lnTo>
                      <a:pt x="33" y="221"/>
                    </a:lnTo>
                    <a:lnTo>
                      <a:pt x="33" y="223"/>
                    </a:lnTo>
                    <a:lnTo>
                      <a:pt x="33" y="225"/>
                    </a:lnTo>
                    <a:lnTo>
                      <a:pt x="31" y="228"/>
                    </a:lnTo>
                    <a:lnTo>
                      <a:pt x="20" y="230"/>
                    </a:lnTo>
                    <a:lnTo>
                      <a:pt x="20" y="238"/>
                    </a:lnTo>
                    <a:lnTo>
                      <a:pt x="18" y="240"/>
                    </a:lnTo>
                    <a:lnTo>
                      <a:pt x="17" y="241"/>
                    </a:lnTo>
                    <a:lnTo>
                      <a:pt x="17" y="244"/>
                    </a:lnTo>
                    <a:lnTo>
                      <a:pt x="17" y="245"/>
                    </a:lnTo>
                    <a:lnTo>
                      <a:pt x="17" y="246"/>
                    </a:lnTo>
                    <a:lnTo>
                      <a:pt x="16" y="249"/>
                    </a:lnTo>
                    <a:lnTo>
                      <a:pt x="15" y="249"/>
                    </a:lnTo>
                    <a:lnTo>
                      <a:pt x="15" y="250"/>
                    </a:lnTo>
                    <a:lnTo>
                      <a:pt x="14" y="251"/>
                    </a:lnTo>
                    <a:lnTo>
                      <a:pt x="14" y="250"/>
                    </a:lnTo>
                    <a:lnTo>
                      <a:pt x="13" y="250"/>
                    </a:lnTo>
                    <a:lnTo>
                      <a:pt x="13" y="249"/>
                    </a:lnTo>
                    <a:lnTo>
                      <a:pt x="12" y="249"/>
                    </a:lnTo>
                    <a:lnTo>
                      <a:pt x="10" y="247"/>
                    </a:lnTo>
                    <a:lnTo>
                      <a:pt x="10" y="245"/>
                    </a:lnTo>
                    <a:lnTo>
                      <a:pt x="10" y="239"/>
                    </a:lnTo>
                    <a:lnTo>
                      <a:pt x="10" y="238"/>
                    </a:lnTo>
                    <a:lnTo>
                      <a:pt x="10" y="234"/>
                    </a:lnTo>
                    <a:lnTo>
                      <a:pt x="10" y="233"/>
                    </a:lnTo>
                    <a:lnTo>
                      <a:pt x="9" y="231"/>
                    </a:lnTo>
                    <a:lnTo>
                      <a:pt x="9" y="230"/>
                    </a:lnTo>
                    <a:lnTo>
                      <a:pt x="9" y="229"/>
                    </a:lnTo>
                    <a:lnTo>
                      <a:pt x="8" y="229"/>
                    </a:lnTo>
                    <a:lnTo>
                      <a:pt x="8" y="228"/>
                    </a:lnTo>
                    <a:lnTo>
                      <a:pt x="7" y="228"/>
                    </a:lnTo>
                    <a:lnTo>
                      <a:pt x="5" y="227"/>
                    </a:lnTo>
                    <a:lnTo>
                      <a:pt x="5" y="226"/>
                    </a:lnTo>
                    <a:lnTo>
                      <a:pt x="5" y="224"/>
                    </a:lnTo>
                    <a:lnTo>
                      <a:pt x="4" y="221"/>
                    </a:lnTo>
                    <a:lnTo>
                      <a:pt x="4" y="219"/>
                    </a:lnTo>
                    <a:lnTo>
                      <a:pt x="3" y="219"/>
                    </a:lnTo>
                    <a:lnTo>
                      <a:pt x="2" y="218"/>
                    </a:lnTo>
                    <a:lnTo>
                      <a:pt x="1" y="217"/>
                    </a:lnTo>
                    <a:lnTo>
                      <a:pt x="0" y="215"/>
                    </a:lnTo>
                    <a:lnTo>
                      <a:pt x="1" y="214"/>
                    </a:lnTo>
                    <a:lnTo>
                      <a:pt x="2" y="214"/>
                    </a:lnTo>
                    <a:lnTo>
                      <a:pt x="4" y="215"/>
                    </a:lnTo>
                    <a:lnTo>
                      <a:pt x="5" y="215"/>
                    </a:lnTo>
                    <a:lnTo>
                      <a:pt x="7" y="215"/>
                    </a:lnTo>
                    <a:lnTo>
                      <a:pt x="7" y="214"/>
                    </a:lnTo>
                    <a:lnTo>
                      <a:pt x="7" y="213"/>
                    </a:lnTo>
                    <a:lnTo>
                      <a:pt x="7" y="212"/>
                    </a:lnTo>
                    <a:lnTo>
                      <a:pt x="5" y="211"/>
                    </a:lnTo>
                    <a:lnTo>
                      <a:pt x="5" y="210"/>
                    </a:lnTo>
                    <a:lnTo>
                      <a:pt x="7" y="208"/>
                    </a:lnTo>
                    <a:lnTo>
                      <a:pt x="8" y="208"/>
                    </a:lnTo>
                    <a:lnTo>
                      <a:pt x="9" y="208"/>
                    </a:lnTo>
                    <a:lnTo>
                      <a:pt x="10" y="210"/>
                    </a:lnTo>
                    <a:lnTo>
                      <a:pt x="11" y="208"/>
                    </a:lnTo>
                    <a:lnTo>
                      <a:pt x="12" y="208"/>
                    </a:lnTo>
                    <a:lnTo>
                      <a:pt x="12" y="204"/>
                    </a:lnTo>
                    <a:lnTo>
                      <a:pt x="13" y="203"/>
                    </a:lnTo>
                    <a:lnTo>
                      <a:pt x="14" y="203"/>
                    </a:lnTo>
                    <a:lnTo>
                      <a:pt x="15" y="203"/>
                    </a:lnTo>
                    <a:lnTo>
                      <a:pt x="16" y="203"/>
                    </a:lnTo>
                    <a:lnTo>
                      <a:pt x="17" y="203"/>
                    </a:lnTo>
                    <a:lnTo>
                      <a:pt x="18" y="203"/>
                    </a:lnTo>
                    <a:lnTo>
                      <a:pt x="18" y="202"/>
                    </a:lnTo>
                    <a:lnTo>
                      <a:pt x="17" y="201"/>
                    </a:lnTo>
                    <a:lnTo>
                      <a:pt x="17" y="200"/>
                    </a:lnTo>
                    <a:lnTo>
                      <a:pt x="15" y="197"/>
                    </a:lnTo>
                    <a:lnTo>
                      <a:pt x="15" y="195"/>
                    </a:lnTo>
                    <a:lnTo>
                      <a:pt x="16" y="194"/>
                    </a:lnTo>
                    <a:lnTo>
                      <a:pt x="17" y="193"/>
                    </a:lnTo>
                    <a:lnTo>
                      <a:pt x="17" y="192"/>
                    </a:lnTo>
                    <a:lnTo>
                      <a:pt x="18" y="192"/>
                    </a:lnTo>
                    <a:lnTo>
                      <a:pt x="20" y="191"/>
                    </a:lnTo>
                    <a:lnTo>
                      <a:pt x="21" y="191"/>
                    </a:lnTo>
                    <a:lnTo>
                      <a:pt x="22" y="190"/>
                    </a:lnTo>
                    <a:lnTo>
                      <a:pt x="22" y="189"/>
                    </a:lnTo>
                    <a:lnTo>
                      <a:pt x="22" y="188"/>
                    </a:lnTo>
                    <a:lnTo>
                      <a:pt x="21" y="184"/>
                    </a:lnTo>
                    <a:lnTo>
                      <a:pt x="22" y="182"/>
                    </a:lnTo>
                    <a:lnTo>
                      <a:pt x="22" y="180"/>
                    </a:lnTo>
                    <a:lnTo>
                      <a:pt x="23" y="180"/>
                    </a:lnTo>
                    <a:lnTo>
                      <a:pt x="24" y="180"/>
                    </a:lnTo>
                    <a:lnTo>
                      <a:pt x="24" y="179"/>
                    </a:lnTo>
                    <a:lnTo>
                      <a:pt x="25" y="179"/>
                    </a:lnTo>
                    <a:lnTo>
                      <a:pt x="26" y="179"/>
                    </a:lnTo>
                    <a:lnTo>
                      <a:pt x="25" y="179"/>
                    </a:lnTo>
                    <a:lnTo>
                      <a:pt x="26" y="178"/>
                    </a:lnTo>
                    <a:lnTo>
                      <a:pt x="26" y="177"/>
                    </a:lnTo>
                    <a:lnTo>
                      <a:pt x="26" y="176"/>
                    </a:lnTo>
                    <a:lnTo>
                      <a:pt x="26" y="175"/>
                    </a:lnTo>
                    <a:lnTo>
                      <a:pt x="27" y="175"/>
                    </a:lnTo>
                    <a:lnTo>
                      <a:pt x="28" y="173"/>
                    </a:lnTo>
                    <a:lnTo>
                      <a:pt x="29" y="173"/>
                    </a:lnTo>
                    <a:lnTo>
                      <a:pt x="30" y="173"/>
                    </a:lnTo>
                    <a:lnTo>
                      <a:pt x="31" y="172"/>
                    </a:lnTo>
                    <a:lnTo>
                      <a:pt x="33" y="172"/>
                    </a:lnTo>
                    <a:lnTo>
                      <a:pt x="35" y="172"/>
                    </a:lnTo>
                    <a:lnTo>
                      <a:pt x="36" y="172"/>
                    </a:lnTo>
                    <a:lnTo>
                      <a:pt x="37" y="172"/>
                    </a:lnTo>
                    <a:lnTo>
                      <a:pt x="37" y="170"/>
                    </a:lnTo>
                    <a:lnTo>
                      <a:pt x="38" y="169"/>
                    </a:lnTo>
                    <a:lnTo>
                      <a:pt x="38" y="168"/>
                    </a:lnTo>
                    <a:lnTo>
                      <a:pt x="38" y="167"/>
                    </a:lnTo>
                    <a:lnTo>
                      <a:pt x="37" y="165"/>
                    </a:lnTo>
                    <a:lnTo>
                      <a:pt x="36" y="163"/>
                    </a:lnTo>
                    <a:lnTo>
                      <a:pt x="36" y="162"/>
                    </a:lnTo>
                    <a:lnTo>
                      <a:pt x="36" y="161"/>
                    </a:lnTo>
                    <a:lnTo>
                      <a:pt x="37" y="161"/>
                    </a:lnTo>
                    <a:lnTo>
                      <a:pt x="38" y="161"/>
                    </a:lnTo>
                    <a:lnTo>
                      <a:pt x="39" y="161"/>
                    </a:lnTo>
                    <a:lnTo>
                      <a:pt x="39" y="162"/>
                    </a:lnTo>
                    <a:lnTo>
                      <a:pt x="40" y="162"/>
                    </a:lnTo>
                    <a:lnTo>
                      <a:pt x="41" y="161"/>
                    </a:lnTo>
                    <a:lnTo>
                      <a:pt x="42" y="161"/>
                    </a:lnTo>
                    <a:lnTo>
                      <a:pt x="42" y="160"/>
                    </a:lnTo>
                    <a:lnTo>
                      <a:pt x="42" y="159"/>
                    </a:lnTo>
                    <a:lnTo>
                      <a:pt x="42" y="157"/>
                    </a:lnTo>
                    <a:lnTo>
                      <a:pt x="43" y="157"/>
                    </a:lnTo>
                    <a:lnTo>
                      <a:pt x="43" y="156"/>
                    </a:lnTo>
                    <a:lnTo>
                      <a:pt x="44" y="155"/>
                    </a:lnTo>
                    <a:lnTo>
                      <a:pt x="44" y="154"/>
                    </a:lnTo>
                    <a:lnTo>
                      <a:pt x="44" y="153"/>
                    </a:lnTo>
                    <a:lnTo>
                      <a:pt x="46" y="153"/>
                    </a:lnTo>
                    <a:lnTo>
                      <a:pt x="47" y="152"/>
                    </a:lnTo>
                    <a:lnTo>
                      <a:pt x="49" y="150"/>
                    </a:lnTo>
                    <a:lnTo>
                      <a:pt x="50" y="150"/>
                    </a:lnTo>
                    <a:lnTo>
                      <a:pt x="50" y="149"/>
                    </a:lnTo>
                    <a:lnTo>
                      <a:pt x="51" y="148"/>
                    </a:lnTo>
                    <a:lnTo>
                      <a:pt x="52" y="147"/>
                    </a:lnTo>
                    <a:lnTo>
                      <a:pt x="52" y="146"/>
                    </a:lnTo>
                    <a:lnTo>
                      <a:pt x="51" y="146"/>
                    </a:lnTo>
                    <a:lnTo>
                      <a:pt x="51" y="144"/>
                    </a:lnTo>
                    <a:lnTo>
                      <a:pt x="49" y="143"/>
                    </a:lnTo>
                    <a:lnTo>
                      <a:pt x="48" y="142"/>
                    </a:lnTo>
                    <a:lnTo>
                      <a:pt x="48" y="141"/>
                    </a:lnTo>
                    <a:lnTo>
                      <a:pt x="48" y="140"/>
                    </a:lnTo>
                    <a:lnTo>
                      <a:pt x="49" y="139"/>
                    </a:lnTo>
                    <a:lnTo>
                      <a:pt x="50" y="139"/>
                    </a:lnTo>
                    <a:lnTo>
                      <a:pt x="52" y="138"/>
                    </a:lnTo>
                    <a:lnTo>
                      <a:pt x="53" y="138"/>
                    </a:lnTo>
                    <a:lnTo>
                      <a:pt x="53" y="137"/>
                    </a:lnTo>
                    <a:lnTo>
                      <a:pt x="54" y="137"/>
                    </a:lnTo>
                    <a:lnTo>
                      <a:pt x="54" y="136"/>
                    </a:lnTo>
                    <a:lnTo>
                      <a:pt x="55" y="135"/>
                    </a:lnTo>
                    <a:lnTo>
                      <a:pt x="55" y="134"/>
                    </a:lnTo>
                    <a:lnTo>
                      <a:pt x="55" y="133"/>
                    </a:lnTo>
                    <a:lnTo>
                      <a:pt x="55" y="131"/>
                    </a:lnTo>
                    <a:lnTo>
                      <a:pt x="54" y="129"/>
                    </a:lnTo>
                    <a:lnTo>
                      <a:pt x="53" y="128"/>
                    </a:lnTo>
                    <a:lnTo>
                      <a:pt x="53" y="127"/>
                    </a:lnTo>
                    <a:lnTo>
                      <a:pt x="53" y="126"/>
                    </a:lnTo>
                    <a:lnTo>
                      <a:pt x="53" y="125"/>
                    </a:lnTo>
                    <a:lnTo>
                      <a:pt x="53" y="124"/>
                    </a:lnTo>
                    <a:lnTo>
                      <a:pt x="54" y="124"/>
                    </a:lnTo>
                    <a:lnTo>
                      <a:pt x="54" y="123"/>
                    </a:lnTo>
                    <a:lnTo>
                      <a:pt x="55" y="122"/>
                    </a:lnTo>
                    <a:lnTo>
                      <a:pt x="55" y="121"/>
                    </a:lnTo>
                    <a:lnTo>
                      <a:pt x="55" y="120"/>
                    </a:lnTo>
                    <a:lnTo>
                      <a:pt x="56" y="120"/>
                    </a:lnTo>
                    <a:lnTo>
                      <a:pt x="56" y="118"/>
                    </a:lnTo>
                    <a:lnTo>
                      <a:pt x="56" y="117"/>
                    </a:lnTo>
                    <a:lnTo>
                      <a:pt x="57" y="116"/>
                    </a:lnTo>
                    <a:lnTo>
                      <a:pt x="57" y="115"/>
                    </a:lnTo>
                    <a:lnTo>
                      <a:pt x="57" y="114"/>
                    </a:lnTo>
                    <a:lnTo>
                      <a:pt x="59" y="113"/>
                    </a:lnTo>
                    <a:lnTo>
                      <a:pt x="59" y="112"/>
                    </a:lnTo>
                    <a:lnTo>
                      <a:pt x="59" y="111"/>
                    </a:lnTo>
                    <a:lnTo>
                      <a:pt x="59" y="110"/>
                    </a:lnTo>
                    <a:lnTo>
                      <a:pt x="59" y="109"/>
                    </a:lnTo>
                    <a:lnTo>
                      <a:pt x="59" y="108"/>
                    </a:lnTo>
                    <a:lnTo>
                      <a:pt x="57" y="108"/>
                    </a:lnTo>
                    <a:lnTo>
                      <a:pt x="57" y="107"/>
                    </a:lnTo>
                    <a:lnTo>
                      <a:pt x="56" y="107"/>
                    </a:lnTo>
                    <a:lnTo>
                      <a:pt x="56" y="105"/>
                    </a:lnTo>
                    <a:lnTo>
                      <a:pt x="56" y="104"/>
                    </a:lnTo>
                    <a:lnTo>
                      <a:pt x="57" y="104"/>
                    </a:lnTo>
                    <a:lnTo>
                      <a:pt x="59" y="103"/>
                    </a:lnTo>
                    <a:lnTo>
                      <a:pt x="60" y="103"/>
                    </a:lnTo>
                    <a:lnTo>
                      <a:pt x="60" y="102"/>
                    </a:lnTo>
                    <a:lnTo>
                      <a:pt x="61" y="102"/>
                    </a:lnTo>
                    <a:lnTo>
                      <a:pt x="61" y="101"/>
                    </a:lnTo>
                    <a:lnTo>
                      <a:pt x="61" y="100"/>
                    </a:lnTo>
                    <a:lnTo>
                      <a:pt x="62" y="99"/>
                    </a:lnTo>
                    <a:lnTo>
                      <a:pt x="62" y="98"/>
                    </a:lnTo>
                    <a:lnTo>
                      <a:pt x="63" y="97"/>
                    </a:lnTo>
                    <a:lnTo>
                      <a:pt x="63" y="96"/>
                    </a:lnTo>
                    <a:lnTo>
                      <a:pt x="62" y="96"/>
                    </a:lnTo>
                    <a:lnTo>
                      <a:pt x="62" y="95"/>
                    </a:lnTo>
                    <a:lnTo>
                      <a:pt x="60" y="94"/>
                    </a:lnTo>
                    <a:lnTo>
                      <a:pt x="59" y="94"/>
                    </a:lnTo>
                    <a:lnTo>
                      <a:pt x="60" y="92"/>
                    </a:lnTo>
                    <a:lnTo>
                      <a:pt x="60" y="91"/>
                    </a:lnTo>
                    <a:lnTo>
                      <a:pt x="61" y="90"/>
                    </a:lnTo>
                    <a:lnTo>
                      <a:pt x="62" y="89"/>
                    </a:lnTo>
                    <a:lnTo>
                      <a:pt x="62" y="88"/>
                    </a:lnTo>
                    <a:lnTo>
                      <a:pt x="61" y="87"/>
                    </a:lnTo>
                    <a:lnTo>
                      <a:pt x="61" y="86"/>
                    </a:lnTo>
                    <a:lnTo>
                      <a:pt x="61" y="85"/>
                    </a:lnTo>
                    <a:lnTo>
                      <a:pt x="62" y="84"/>
                    </a:lnTo>
                    <a:lnTo>
                      <a:pt x="63" y="83"/>
                    </a:lnTo>
                    <a:lnTo>
                      <a:pt x="63" y="82"/>
                    </a:lnTo>
                    <a:lnTo>
                      <a:pt x="63" y="80"/>
                    </a:lnTo>
                    <a:lnTo>
                      <a:pt x="63" y="79"/>
                    </a:lnTo>
                    <a:lnTo>
                      <a:pt x="63" y="78"/>
                    </a:lnTo>
                    <a:lnTo>
                      <a:pt x="63" y="77"/>
                    </a:lnTo>
                    <a:lnTo>
                      <a:pt x="64" y="77"/>
                    </a:lnTo>
                    <a:lnTo>
                      <a:pt x="66" y="77"/>
                    </a:lnTo>
                    <a:lnTo>
                      <a:pt x="67" y="77"/>
                    </a:lnTo>
                    <a:lnTo>
                      <a:pt x="68" y="78"/>
                    </a:lnTo>
                    <a:lnTo>
                      <a:pt x="69" y="77"/>
                    </a:lnTo>
                    <a:lnTo>
                      <a:pt x="71" y="77"/>
                    </a:lnTo>
                    <a:lnTo>
                      <a:pt x="71" y="76"/>
                    </a:lnTo>
                    <a:lnTo>
                      <a:pt x="71" y="75"/>
                    </a:lnTo>
                    <a:lnTo>
                      <a:pt x="71" y="74"/>
                    </a:lnTo>
                    <a:lnTo>
                      <a:pt x="71" y="73"/>
                    </a:lnTo>
                    <a:lnTo>
                      <a:pt x="71" y="72"/>
                    </a:lnTo>
                    <a:lnTo>
                      <a:pt x="71" y="71"/>
                    </a:lnTo>
                    <a:lnTo>
                      <a:pt x="69" y="71"/>
                    </a:lnTo>
                    <a:lnTo>
                      <a:pt x="69" y="70"/>
                    </a:lnTo>
                    <a:lnTo>
                      <a:pt x="69" y="69"/>
                    </a:lnTo>
                    <a:lnTo>
                      <a:pt x="68" y="67"/>
                    </a:lnTo>
                    <a:lnTo>
                      <a:pt x="69" y="67"/>
                    </a:lnTo>
                    <a:lnTo>
                      <a:pt x="69" y="66"/>
                    </a:lnTo>
                    <a:lnTo>
                      <a:pt x="69" y="65"/>
                    </a:lnTo>
                    <a:lnTo>
                      <a:pt x="71" y="65"/>
                    </a:lnTo>
                    <a:lnTo>
                      <a:pt x="71" y="64"/>
                    </a:lnTo>
                    <a:lnTo>
                      <a:pt x="71" y="63"/>
                    </a:lnTo>
                    <a:lnTo>
                      <a:pt x="69" y="62"/>
                    </a:lnTo>
                    <a:lnTo>
                      <a:pt x="69" y="61"/>
                    </a:lnTo>
                    <a:lnTo>
                      <a:pt x="69" y="60"/>
                    </a:lnTo>
                    <a:lnTo>
                      <a:pt x="69" y="59"/>
                    </a:lnTo>
                    <a:lnTo>
                      <a:pt x="71" y="59"/>
                    </a:lnTo>
                    <a:lnTo>
                      <a:pt x="72" y="59"/>
                    </a:lnTo>
                    <a:lnTo>
                      <a:pt x="73" y="59"/>
                    </a:lnTo>
                    <a:lnTo>
                      <a:pt x="74" y="59"/>
                    </a:lnTo>
                    <a:lnTo>
                      <a:pt x="75" y="58"/>
                    </a:lnTo>
                    <a:lnTo>
                      <a:pt x="75" y="57"/>
                    </a:lnTo>
                    <a:lnTo>
                      <a:pt x="76" y="57"/>
                    </a:lnTo>
                    <a:lnTo>
                      <a:pt x="76" y="56"/>
                    </a:lnTo>
                    <a:lnTo>
                      <a:pt x="76" y="54"/>
                    </a:lnTo>
                    <a:lnTo>
                      <a:pt x="76" y="53"/>
                    </a:lnTo>
                    <a:lnTo>
                      <a:pt x="77" y="51"/>
                    </a:lnTo>
                    <a:lnTo>
                      <a:pt x="78" y="49"/>
                    </a:lnTo>
                    <a:lnTo>
                      <a:pt x="79" y="49"/>
                    </a:lnTo>
                    <a:lnTo>
                      <a:pt x="80" y="48"/>
                    </a:lnTo>
                    <a:lnTo>
                      <a:pt x="81" y="48"/>
                    </a:lnTo>
                    <a:lnTo>
                      <a:pt x="81" y="47"/>
                    </a:lnTo>
                    <a:lnTo>
                      <a:pt x="81" y="46"/>
                    </a:lnTo>
                    <a:lnTo>
                      <a:pt x="82" y="46"/>
                    </a:lnTo>
                    <a:lnTo>
                      <a:pt x="82" y="45"/>
                    </a:lnTo>
                    <a:lnTo>
                      <a:pt x="81" y="44"/>
                    </a:lnTo>
                    <a:lnTo>
                      <a:pt x="80" y="44"/>
                    </a:lnTo>
                    <a:lnTo>
                      <a:pt x="80" y="43"/>
                    </a:lnTo>
                    <a:lnTo>
                      <a:pt x="79" y="43"/>
                    </a:lnTo>
                    <a:lnTo>
                      <a:pt x="79" y="41"/>
                    </a:lnTo>
                    <a:lnTo>
                      <a:pt x="79" y="40"/>
                    </a:lnTo>
                    <a:lnTo>
                      <a:pt x="78" y="40"/>
                    </a:lnTo>
                    <a:lnTo>
                      <a:pt x="78" y="39"/>
                    </a:lnTo>
                    <a:lnTo>
                      <a:pt x="77" y="39"/>
                    </a:lnTo>
                    <a:lnTo>
                      <a:pt x="77" y="38"/>
                    </a:lnTo>
                    <a:lnTo>
                      <a:pt x="77" y="37"/>
                    </a:lnTo>
                    <a:lnTo>
                      <a:pt x="78" y="36"/>
                    </a:lnTo>
                    <a:lnTo>
                      <a:pt x="78" y="35"/>
                    </a:lnTo>
                    <a:lnTo>
                      <a:pt x="78" y="34"/>
                    </a:lnTo>
                    <a:lnTo>
                      <a:pt x="77" y="33"/>
                    </a:lnTo>
                    <a:lnTo>
                      <a:pt x="77" y="32"/>
                    </a:lnTo>
                    <a:lnTo>
                      <a:pt x="77" y="31"/>
                    </a:lnTo>
                    <a:lnTo>
                      <a:pt x="77" y="30"/>
                    </a:lnTo>
                    <a:lnTo>
                      <a:pt x="77" y="28"/>
                    </a:lnTo>
                    <a:lnTo>
                      <a:pt x="77" y="27"/>
                    </a:lnTo>
                    <a:lnTo>
                      <a:pt x="78" y="26"/>
                    </a:lnTo>
                    <a:lnTo>
                      <a:pt x="79" y="24"/>
                    </a:lnTo>
                    <a:lnTo>
                      <a:pt x="80" y="24"/>
                    </a:lnTo>
                    <a:lnTo>
                      <a:pt x="81" y="24"/>
                    </a:lnTo>
                    <a:lnTo>
                      <a:pt x="80" y="24"/>
                    </a:lnTo>
                    <a:lnTo>
                      <a:pt x="80" y="23"/>
                    </a:lnTo>
                    <a:lnTo>
                      <a:pt x="79" y="23"/>
                    </a:lnTo>
                    <a:lnTo>
                      <a:pt x="79" y="22"/>
                    </a:lnTo>
                    <a:lnTo>
                      <a:pt x="79" y="21"/>
                    </a:lnTo>
                    <a:lnTo>
                      <a:pt x="80" y="21"/>
                    </a:lnTo>
                    <a:lnTo>
                      <a:pt x="80" y="20"/>
                    </a:lnTo>
                    <a:lnTo>
                      <a:pt x="82" y="20"/>
                    </a:lnTo>
                    <a:lnTo>
                      <a:pt x="84" y="20"/>
                    </a:lnTo>
                    <a:lnTo>
                      <a:pt x="84" y="19"/>
                    </a:lnTo>
                    <a:lnTo>
                      <a:pt x="85" y="19"/>
                    </a:lnTo>
                    <a:lnTo>
                      <a:pt x="86" y="19"/>
                    </a:lnTo>
                    <a:lnTo>
                      <a:pt x="86" y="18"/>
                    </a:lnTo>
                    <a:lnTo>
                      <a:pt x="85" y="18"/>
                    </a:lnTo>
                    <a:lnTo>
                      <a:pt x="86" y="17"/>
                    </a:lnTo>
                    <a:lnTo>
                      <a:pt x="86" y="15"/>
                    </a:lnTo>
                    <a:lnTo>
                      <a:pt x="87" y="15"/>
                    </a:lnTo>
                    <a:lnTo>
                      <a:pt x="87" y="13"/>
                    </a:lnTo>
                    <a:lnTo>
                      <a:pt x="87" y="12"/>
                    </a:lnTo>
                    <a:lnTo>
                      <a:pt x="86" y="11"/>
                    </a:lnTo>
                    <a:lnTo>
                      <a:pt x="86" y="10"/>
                    </a:lnTo>
                    <a:lnTo>
                      <a:pt x="87" y="10"/>
                    </a:lnTo>
                    <a:lnTo>
                      <a:pt x="87" y="9"/>
                    </a:lnTo>
                    <a:lnTo>
                      <a:pt x="87" y="8"/>
                    </a:lnTo>
                    <a:lnTo>
                      <a:pt x="87" y="7"/>
                    </a:lnTo>
                    <a:lnTo>
                      <a:pt x="87" y="6"/>
                    </a:lnTo>
                    <a:lnTo>
                      <a:pt x="88" y="6"/>
                    </a:lnTo>
                    <a:lnTo>
                      <a:pt x="88" y="5"/>
                    </a:lnTo>
                    <a:lnTo>
                      <a:pt x="88" y="4"/>
                    </a:lnTo>
                    <a:lnTo>
                      <a:pt x="88" y="2"/>
                    </a:lnTo>
                    <a:lnTo>
                      <a:pt x="88" y="1"/>
                    </a:lnTo>
                    <a:lnTo>
                      <a:pt x="89" y="1"/>
                    </a:lnTo>
                    <a:lnTo>
                      <a:pt x="115" y="1"/>
                    </a:lnTo>
                    <a:lnTo>
                      <a:pt x="120" y="1"/>
                    </a:lnTo>
                    <a:lnTo>
                      <a:pt x="121" y="1"/>
                    </a:lnTo>
                    <a:lnTo>
                      <a:pt x="130" y="1"/>
                    </a:lnTo>
                    <a:lnTo>
                      <a:pt x="136" y="1"/>
                    </a:lnTo>
                    <a:lnTo>
                      <a:pt x="138" y="1"/>
                    </a:lnTo>
                    <a:lnTo>
                      <a:pt x="147" y="1"/>
                    </a:lnTo>
                    <a:lnTo>
                      <a:pt x="151" y="1"/>
                    </a:lnTo>
                    <a:lnTo>
                      <a:pt x="159" y="1"/>
                    </a:lnTo>
                    <a:lnTo>
                      <a:pt x="184" y="1"/>
                    </a:lnTo>
                    <a:lnTo>
                      <a:pt x="194" y="1"/>
                    </a:lnTo>
                    <a:lnTo>
                      <a:pt x="196" y="1"/>
                    </a:lnTo>
                    <a:lnTo>
                      <a:pt x="241" y="1"/>
                    </a:lnTo>
                    <a:lnTo>
                      <a:pt x="241" y="0"/>
                    </a:lnTo>
                    <a:lnTo>
                      <a:pt x="269" y="0"/>
                    </a:lnTo>
                    <a:lnTo>
                      <a:pt x="273" y="0"/>
                    </a:lnTo>
                    <a:lnTo>
                      <a:pt x="276" y="1"/>
                    </a:lnTo>
                    <a:lnTo>
                      <a:pt x="304" y="1"/>
                    </a:lnTo>
                    <a:close/>
                  </a:path>
                </a:pathLst>
              </a:custGeom>
              <a:solidFill>
                <a:srgbClr val="073C7A"/>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7" name="Freeform 295">
                <a:extLst>
                  <a:ext uri="{FF2B5EF4-FFF2-40B4-BE49-F238E27FC236}">
                    <a16:creationId xmlns:a16="http://schemas.microsoft.com/office/drawing/2014/main" id="{9A646732-ABF4-E632-C0B0-FC5C26E67E33}"/>
                  </a:ext>
                </a:extLst>
              </p:cNvPr>
              <p:cNvSpPr>
                <a:spLocks noEditPoints="1"/>
              </p:cNvSpPr>
              <p:nvPr/>
            </p:nvSpPr>
            <p:spPr bwMode="auto">
              <a:xfrm>
                <a:off x="3375026" y="3394075"/>
                <a:ext cx="557213" cy="441325"/>
              </a:xfrm>
              <a:custGeom>
                <a:avLst/>
                <a:gdLst>
                  <a:gd name="T0" fmla="*/ 349 w 351"/>
                  <a:gd name="T1" fmla="*/ 40 h 278"/>
                  <a:gd name="T2" fmla="*/ 348 w 351"/>
                  <a:gd name="T3" fmla="*/ 49 h 278"/>
                  <a:gd name="T4" fmla="*/ 341 w 351"/>
                  <a:gd name="T5" fmla="*/ 54 h 278"/>
                  <a:gd name="T6" fmla="*/ 339 w 351"/>
                  <a:gd name="T7" fmla="*/ 62 h 278"/>
                  <a:gd name="T8" fmla="*/ 340 w 351"/>
                  <a:gd name="T9" fmla="*/ 71 h 278"/>
                  <a:gd name="T10" fmla="*/ 343 w 351"/>
                  <a:gd name="T11" fmla="*/ 78 h 278"/>
                  <a:gd name="T12" fmla="*/ 337 w 351"/>
                  <a:gd name="T13" fmla="*/ 88 h 278"/>
                  <a:gd name="T14" fmla="*/ 333 w 351"/>
                  <a:gd name="T15" fmla="*/ 94 h 278"/>
                  <a:gd name="T16" fmla="*/ 333 w 351"/>
                  <a:gd name="T17" fmla="*/ 102 h 278"/>
                  <a:gd name="T18" fmla="*/ 328 w 351"/>
                  <a:gd name="T19" fmla="*/ 108 h 278"/>
                  <a:gd name="T20" fmla="*/ 323 w 351"/>
                  <a:gd name="T21" fmla="*/ 117 h 278"/>
                  <a:gd name="T22" fmla="*/ 324 w 351"/>
                  <a:gd name="T23" fmla="*/ 127 h 278"/>
                  <a:gd name="T24" fmla="*/ 321 w 351"/>
                  <a:gd name="T25" fmla="*/ 134 h 278"/>
                  <a:gd name="T26" fmla="*/ 321 w 351"/>
                  <a:gd name="T27" fmla="*/ 142 h 278"/>
                  <a:gd name="T28" fmla="*/ 317 w 351"/>
                  <a:gd name="T29" fmla="*/ 152 h 278"/>
                  <a:gd name="T30" fmla="*/ 317 w 351"/>
                  <a:gd name="T31" fmla="*/ 162 h 278"/>
                  <a:gd name="T32" fmla="*/ 311 w 351"/>
                  <a:gd name="T33" fmla="*/ 170 h 278"/>
                  <a:gd name="T34" fmla="*/ 312 w 351"/>
                  <a:gd name="T35" fmla="*/ 180 h 278"/>
                  <a:gd name="T36" fmla="*/ 304 w 351"/>
                  <a:gd name="T37" fmla="*/ 188 h 278"/>
                  <a:gd name="T38" fmla="*/ 298 w 351"/>
                  <a:gd name="T39" fmla="*/ 192 h 278"/>
                  <a:gd name="T40" fmla="*/ 297 w 351"/>
                  <a:gd name="T41" fmla="*/ 203 h 278"/>
                  <a:gd name="T42" fmla="*/ 288 w 351"/>
                  <a:gd name="T43" fmla="*/ 209 h 278"/>
                  <a:gd name="T44" fmla="*/ 284 w 351"/>
                  <a:gd name="T45" fmla="*/ 219 h 278"/>
                  <a:gd name="T46" fmla="*/ 277 w 351"/>
                  <a:gd name="T47" fmla="*/ 228 h 278"/>
                  <a:gd name="T48" fmla="*/ 274 w 351"/>
                  <a:gd name="T49" fmla="*/ 235 h 278"/>
                  <a:gd name="T50" fmla="*/ 269 w 351"/>
                  <a:gd name="T51" fmla="*/ 244 h 278"/>
                  <a:gd name="T52" fmla="*/ 265 w 351"/>
                  <a:gd name="T53" fmla="*/ 250 h 278"/>
                  <a:gd name="T54" fmla="*/ 271 w 351"/>
                  <a:gd name="T55" fmla="*/ 261 h 278"/>
                  <a:gd name="T56" fmla="*/ 259 w 351"/>
                  <a:gd name="T57" fmla="*/ 276 h 278"/>
                  <a:gd name="T58" fmla="*/ 247 w 351"/>
                  <a:gd name="T59" fmla="*/ 250 h 278"/>
                  <a:gd name="T60" fmla="*/ 237 w 351"/>
                  <a:gd name="T61" fmla="*/ 218 h 278"/>
                  <a:gd name="T62" fmla="*/ 206 w 351"/>
                  <a:gd name="T63" fmla="*/ 210 h 278"/>
                  <a:gd name="T64" fmla="*/ 171 w 351"/>
                  <a:gd name="T65" fmla="*/ 219 h 278"/>
                  <a:gd name="T66" fmla="*/ 151 w 351"/>
                  <a:gd name="T67" fmla="*/ 217 h 278"/>
                  <a:gd name="T68" fmla="*/ 116 w 351"/>
                  <a:gd name="T69" fmla="*/ 223 h 278"/>
                  <a:gd name="T70" fmla="*/ 94 w 351"/>
                  <a:gd name="T71" fmla="*/ 207 h 278"/>
                  <a:gd name="T72" fmla="*/ 108 w 351"/>
                  <a:gd name="T73" fmla="*/ 192 h 278"/>
                  <a:gd name="T74" fmla="*/ 129 w 351"/>
                  <a:gd name="T75" fmla="*/ 181 h 278"/>
                  <a:gd name="T76" fmla="*/ 144 w 351"/>
                  <a:gd name="T77" fmla="*/ 125 h 278"/>
                  <a:gd name="T78" fmla="*/ 129 w 351"/>
                  <a:gd name="T79" fmla="*/ 96 h 278"/>
                  <a:gd name="T80" fmla="*/ 83 w 351"/>
                  <a:gd name="T81" fmla="*/ 90 h 278"/>
                  <a:gd name="T82" fmla="*/ 89 w 351"/>
                  <a:gd name="T83" fmla="*/ 105 h 278"/>
                  <a:gd name="T84" fmla="*/ 110 w 351"/>
                  <a:gd name="T85" fmla="*/ 110 h 278"/>
                  <a:gd name="T86" fmla="*/ 117 w 351"/>
                  <a:gd name="T87" fmla="*/ 146 h 278"/>
                  <a:gd name="T88" fmla="*/ 108 w 351"/>
                  <a:gd name="T89" fmla="*/ 143 h 278"/>
                  <a:gd name="T90" fmla="*/ 85 w 351"/>
                  <a:gd name="T91" fmla="*/ 143 h 278"/>
                  <a:gd name="T92" fmla="*/ 55 w 351"/>
                  <a:gd name="T93" fmla="*/ 135 h 278"/>
                  <a:gd name="T94" fmla="*/ 54 w 351"/>
                  <a:gd name="T95" fmla="*/ 114 h 278"/>
                  <a:gd name="T96" fmla="*/ 63 w 351"/>
                  <a:gd name="T97" fmla="*/ 84 h 278"/>
                  <a:gd name="T98" fmla="*/ 54 w 351"/>
                  <a:gd name="T99" fmla="*/ 57 h 278"/>
                  <a:gd name="T100" fmla="*/ 63 w 351"/>
                  <a:gd name="T101" fmla="*/ 42 h 278"/>
                  <a:gd name="T102" fmla="*/ 102 w 351"/>
                  <a:gd name="T103" fmla="*/ 32 h 278"/>
                  <a:gd name="T104" fmla="*/ 199 w 351"/>
                  <a:gd name="T105" fmla="*/ 32 h 278"/>
                  <a:gd name="T106" fmla="*/ 308 w 351"/>
                  <a:gd name="T107" fmla="*/ 31 h 278"/>
                  <a:gd name="T108" fmla="*/ 52 w 351"/>
                  <a:gd name="T109" fmla="*/ 28 h 278"/>
                  <a:gd name="T110" fmla="*/ 32 w 351"/>
                  <a:gd name="T111" fmla="*/ 17 h 278"/>
                  <a:gd name="T112" fmla="*/ 18 w 351"/>
                  <a:gd name="T113" fmla="*/ 27 h 278"/>
                  <a:gd name="T114" fmla="*/ 0 w 351"/>
                  <a:gd name="T115" fmla="*/ 18 h 278"/>
                  <a:gd name="T116" fmla="*/ 16 w 351"/>
                  <a:gd name="T117" fmla="*/ 1 h 278"/>
                  <a:gd name="T118" fmla="*/ 29 w 351"/>
                  <a:gd name="T119" fmla="*/ 3 h 278"/>
                  <a:gd name="T120" fmla="*/ 41 w 351"/>
                  <a:gd name="T121" fmla="*/ 0 h 278"/>
                  <a:gd name="T122" fmla="*/ 58 w 351"/>
                  <a:gd name="T123" fmla="*/ 2 h 278"/>
                  <a:gd name="T124" fmla="*/ 64 w 351"/>
                  <a:gd name="T125"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1" h="278">
                    <a:moveTo>
                      <a:pt x="351" y="32"/>
                    </a:moveTo>
                    <a:lnTo>
                      <a:pt x="350" y="32"/>
                    </a:lnTo>
                    <a:lnTo>
                      <a:pt x="350" y="33"/>
                    </a:lnTo>
                    <a:lnTo>
                      <a:pt x="350" y="35"/>
                    </a:lnTo>
                    <a:lnTo>
                      <a:pt x="350" y="36"/>
                    </a:lnTo>
                    <a:lnTo>
                      <a:pt x="350" y="37"/>
                    </a:lnTo>
                    <a:lnTo>
                      <a:pt x="349" y="37"/>
                    </a:lnTo>
                    <a:lnTo>
                      <a:pt x="349" y="38"/>
                    </a:lnTo>
                    <a:lnTo>
                      <a:pt x="349" y="39"/>
                    </a:lnTo>
                    <a:lnTo>
                      <a:pt x="349" y="40"/>
                    </a:lnTo>
                    <a:lnTo>
                      <a:pt x="349" y="41"/>
                    </a:lnTo>
                    <a:lnTo>
                      <a:pt x="348" y="41"/>
                    </a:lnTo>
                    <a:lnTo>
                      <a:pt x="348" y="42"/>
                    </a:lnTo>
                    <a:lnTo>
                      <a:pt x="349" y="43"/>
                    </a:lnTo>
                    <a:lnTo>
                      <a:pt x="349" y="44"/>
                    </a:lnTo>
                    <a:lnTo>
                      <a:pt x="349" y="46"/>
                    </a:lnTo>
                    <a:lnTo>
                      <a:pt x="348" y="46"/>
                    </a:lnTo>
                    <a:lnTo>
                      <a:pt x="348" y="48"/>
                    </a:lnTo>
                    <a:lnTo>
                      <a:pt x="347" y="49"/>
                    </a:lnTo>
                    <a:lnTo>
                      <a:pt x="348" y="49"/>
                    </a:lnTo>
                    <a:lnTo>
                      <a:pt x="348" y="50"/>
                    </a:lnTo>
                    <a:lnTo>
                      <a:pt x="347" y="50"/>
                    </a:lnTo>
                    <a:lnTo>
                      <a:pt x="346" y="50"/>
                    </a:lnTo>
                    <a:lnTo>
                      <a:pt x="346" y="51"/>
                    </a:lnTo>
                    <a:lnTo>
                      <a:pt x="344" y="51"/>
                    </a:lnTo>
                    <a:lnTo>
                      <a:pt x="342" y="51"/>
                    </a:lnTo>
                    <a:lnTo>
                      <a:pt x="342" y="52"/>
                    </a:lnTo>
                    <a:lnTo>
                      <a:pt x="341" y="52"/>
                    </a:lnTo>
                    <a:lnTo>
                      <a:pt x="341" y="53"/>
                    </a:lnTo>
                    <a:lnTo>
                      <a:pt x="341" y="54"/>
                    </a:lnTo>
                    <a:lnTo>
                      <a:pt x="342" y="54"/>
                    </a:lnTo>
                    <a:lnTo>
                      <a:pt x="342" y="55"/>
                    </a:lnTo>
                    <a:lnTo>
                      <a:pt x="343" y="55"/>
                    </a:lnTo>
                    <a:lnTo>
                      <a:pt x="342" y="55"/>
                    </a:lnTo>
                    <a:lnTo>
                      <a:pt x="341" y="55"/>
                    </a:lnTo>
                    <a:lnTo>
                      <a:pt x="340" y="57"/>
                    </a:lnTo>
                    <a:lnTo>
                      <a:pt x="339" y="58"/>
                    </a:lnTo>
                    <a:lnTo>
                      <a:pt x="339" y="59"/>
                    </a:lnTo>
                    <a:lnTo>
                      <a:pt x="339" y="61"/>
                    </a:lnTo>
                    <a:lnTo>
                      <a:pt x="339" y="62"/>
                    </a:lnTo>
                    <a:lnTo>
                      <a:pt x="339" y="63"/>
                    </a:lnTo>
                    <a:lnTo>
                      <a:pt x="339" y="64"/>
                    </a:lnTo>
                    <a:lnTo>
                      <a:pt x="340" y="65"/>
                    </a:lnTo>
                    <a:lnTo>
                      <a:pt x="340" y="66"/>
                    </a:lnTo>
                    <a:lnTo>
                      <a:pt x="340" y="67"/>
                    </a:lnTo>
                    <a:lnTo>
                      <a:pt x="339" y="68"/>
                    </a:lnTo>
                    <a:lnTo>
                      <a:pt x="339" y="69"/>
                    </a:lnTo>
                    <a:lnTo>
                      <a:pt x="339" y="70"/>
                    </a:lnTo>
                    <a:lnTo>
                      <a:pt x="340" y="70"/>
                    </a:lnTo>
                    <a:lnTo>
                      <a:pt x="340" y="71"/>
                    </a:lnTo>
                    <a:lnTo>
                      <a:pt x="341" y="71"/>
                    </a:lnTo>
                    <a:lnTo>
                      <a:pt x="341" y="72"/>
                    </a:lnTo>
                    <a:lnTo>
                      <a:pt x="341" y="74"/>
                    </a:lnTo>
                    <a:lnTo>
                      <a:pt x="342" y="74"/>
                    </a:lnTo>
                    <a:lnTo>
                      <a:pt x="342" y="75"/>
                    </a:lnTo>
                    <a:lnTo>
                      <a:pt x="343" y="75"/>
                    </a:lnTo>
                    <a:lnTo>
                      <a:pt x="344" y="76"/>
                    </a:lnTo>
                    <a:lnTo>
                      <a:pt x="344" y="77"/>
                    </a:lnTo>
                    <a:lnTo>
                      <a:pt x="343" y="77"/>
                    </a:lnTo>
                    <a:lnTo>
                      <a:pt x="343" y="78"/>
                    </a:lnTo>
                    <a:lnTo>
                      <a:pt x="343" y="79"/>
                    </a:lnTo>
                    <a:lnTo>
                      <a:pt x="342" y="79"/>
                    </a:lnTo>
                    <a:lnTo>
                      <a:pt x="341" y="80"/>
                    </a:lnTo>
                    <a:lnTo>
                      <a:pt x="340" y="80"/>
                    </a:lnTo>
                    <a:lnTo>
                      <a:pt x="339" y="82"/>
                    </a:lnTo>
                    <a:lnTo>
                      <a:pt x="338" y="84"/>
                    </a:lnTo>
                    <a:lnTo>
                      <a:pt x="338" y="85"/>
                    </a:lnTo>
                    <a:lnTo>
                      <a:pt x="338" y="87"/>
                    </a:lnTo>
                    <a:lnTo>
                      <a:pt x="338" y="88"/>
                    </a:lnTo>
                    <a:lnTo>
                      <a:pt x="337" y="88"/>
                    </a:lnTo>
                    <a:lnTo>
                      <a:pt x="337" y="89"/>
                    </a:lnTo>
                    <a:lnTo>
                      <a:pt x="336" y="90"/>
                    </a:lnTo>
                    <a:lnTo>
                      <a:pt x="335" y="90"/>
                    </a:lnTo>
                    <a:lnTo>
                      <a:pt x="334" y="90"/>
                    </a:lnTo>
                    <a:lnTo>
                      <a:pt x="333" y="90"/>
                    </a:lnTo>
                    <a:lnTo>
                      <a:pt x="331" y="90"/>
                    </a:lnTo>
                    <a:lnTo>
                      <a:pt x="331" y="91"/>
                    </a:lnTo>
                    <a:lnTo>
                      <a:pt x="331" y="92"/>
                    </a:lnTo>
                    <a:lnTo>
                      <a:pt x="331" y="93"/>
                    </a:lnTo>
                    <a:lnTo>
                      <a:pt x="333" y="94"/>
                    </a:lnTo>
                    <a:lnTo>
                      <a:pt x="333" y="95"/>
                    </a:lnTo>
                    <a:lnTo>
                      <a:pt x="333" y="96"/>
                    </a:lnTo>
                    <a:lnTo>
                      <a:pt x="331" y="96"/>
                    </a:lnTo>
                    <a:lnTo>
                      <a:pt x="331" y="97"/>
                    </a:lnTo>
                    <a:lnTo>
                      <a:pt x="331" y="98"/>
                    </a:lnTo>
                    <a:lnTo>
                      <a:pt x="330" y="98"/>
                    </a:lnTo>
                    <a:lnTo>
                      <a:pt x="331" y="100"/>
                    </a:lnTo>
                    <a:lnTo>
                      <a:pt x="331" y="101"/>
                    </a:lnTo>
                    <a:lnTo>
                      <a:pt x="331" y="102"/>
                    </a:lnTo>
                    <a:lnTo>
                      <a:pt x="333" y="102"/>
                    </a:lnTo>
                    <a:lnTo>
                      <a:pt x="333" y="103"/>
                    </a:lnTo>
                    <a:lnTo>
                      <a:pt x="333" y="104"/>
                    </a:lnTo>
                    <a:lnTo>
                      <a:pt x="333" y="105"/>
                    </a:lnTo>
                    <a:lnTo>
                      <a:pt x="333" y="106"/>
                    </a:lnTo>
                    <a:lnTo>
                      <a:pt x="333" y="107"/>
                    </a:lnTo>
                    <a:lnTo>
                      <a:pt x="333" y="108"/>
                    </a:lnTo>
                    <a:lnTo>
                      <a:pt x="331" y="108"/>
                    </a:lnTo>
                    <a:lnTo>
                      <a:pt x="330" y="109"/>
                    </a:lnTo>
                    <a:lnTo>
                      <a:pt x="329" y="108"/>
                    </a:lnTo>
                    <a:lnTo>
                      <a:pt x="328" y="108"/>
                    </a:lnTo>
                    <a:lnTo>
                      <a:pt x="326" y="108"/>
                    </a:lnTo>
                    <a:lnTo>
                      <a:pt x="325" y="108"/>
                    </a:lnTo>
                    <a:lnTo>
                      <a:pt x="325" y="109"/>
                    </a:lnTo>
                    <a:lnTo>
                      <a:pt x="325" y="110"/>
                    </a:lnTo>
                    <a:lnTo>
                      <a:pt x="325" y="111"/>
                    </a:lnTo>
                    <a:lnTo>
                      <a:pt x="325" y="113"/>
                    </a:lnTo>
                    <a:lnTo>
                      <a:pt x="325" y="114"/>
                    </a:lnTo>
                    <a:lnTo>
                      <a:pt x="324" y="115"/>
                    </a:lnTo>
                    <a:lnTo>
                      <a:pt x="323" y="116"/>
                    </a:lnTo>
                    <a:lnTo>
                      <a:pt x="323" y="117"/>
                    </a:lnTo>
                    <a:lnTo>
                      <a:pt x="323" y="118"/>
                    </a:lnTo>
                    <a:lnTo>
                      <a:pt x="324" y="119"/>
                    </a:lnTo>
                    <a:lnTo>
                      <a:pt x="324" y="120"/>
                    </a:lnTo>
                    <a:lnTo>
                      <a:pt x="323" y="121"/>
                    </a:lnTo>
                    <a:lnTo>
                      <a:pt x="322" y="122"/>
                    </a:lnTo>
                    <a:lnTo>
                      <a:pt x="322" y="123"/>
                    </a:lnTo>
                    <a:lnTo>
                      <a:pt x="321" y="125"/>
                    </a:lnTo>
                    <a:lnTo>
                      <a:pt x="322" y="125"/>
                    </a:lnTo>
                    <a:lnTo>
                      <a:pt x="324" y="126"/>
                    </a:lnTo>
                    <a:lnTo>
                      <a:pt x="324" y="127"/>
                    </a:lnTo>
                    <a:lnTo>
                      <a:pt x="325" y="127"/>
                    </a:lnTo>
                    <a:lnTo>
                      <a:pt x="325" y="128"/>
                    </a:lnTo>
                    <a:lnTo>
                      <a:pt x="324" y="129"/>
                    </a:lnTo>
                    <a:lnTo>
                      <a:pt x="324" y="130"/>
                    </a:lnTo>
                    <a:lnTo>
                      <a:pt x="323" y="131"/>
                    </a:lnTo>
                    <a:lnTo>
                      <a:pt x="323" y="132"/>
                    </a:lnTo>
                    <a:lnTo>
                      <a:pt x="323" y="133"/>
                    </a:lnTo>
                    <a:lnTo>
                      <a:pt x="322" y="133"/>
                    </a:lnTo>
                    <a:lnTo>
                      <a:pt x="322" y="134"/>
                    </a:lnTo>
                    <a:lnTo>
                      <a:pt x="321" y="134"/>
                    </a:lnTo>
                    <a:lnTo>
                      <a:pt x="319" y="135"/>
                    </a:lnTo>
                    <a:lnTo>
                      <a:pt x="318" y="135"/>
                    </a:lnTo>
                    <a:lnTo>
                      <a:pt x="318" y="136"/>
                    </a:lnTo>
                    <a:lnTo>
                      <a:pt x="318" y="138"/>
                    </a:lnTo>
                    <a:lnTo>
                      <a:pt x="319" y="138"/>
                    </a:lnTo>
                    <a:lnTo>
                      <a:pt x="319" y="139"/>
                    </a:lnTo>
                    <a:lnTo>
                      <a:pt x="321" y="139"/>
                    </a:lnTo>
                    <a:lnTo>
                      <a:pt x="321" y="140"/>
                    </a:lnTo>
                    <a:lnTo>
                      <a:pt x="321" y="141"/>
                    </a:lnTo>
                    <a:lnTo>
                      <a:pt x="321" y="142"/>
                    </a:lnTo>
                    <a:lnTo>
                      <a:pt x="321" y="143"/>
                    </a:lnTo>
                    <a:lnTo>
                      <a:pt x="321" y="144"/>
                    </a:lnTo>
                    <a:lnTo>
                      <a:pt x="319" y="145"/>
                    </a:lnTo>
                    <a:lnTo>
                      <a:pt x="319" y="146"/>
                    </a:lnTo>
                    <a:lnTo>
                      <a:pt x="319" y="147"/>
                    </a:lnTo>
                    <a:lnTo>
                      <a:pt x="318" y="148"/>
                    </a:lnTo>
                    <a:lnTo>
                      <a:pt x="318" y="149"/>
                    </a:lnTo>
                    <a:lnTo>
                      <a:pt x="318" y="151"/>
                    </a:lnTo>
                    <a:lnTo>
                      <a:pt x="317" y="151"/>
                    </a:lnTo>
                    <a:lnTo>
                      <a:pt x="317" y="152"/>
                    </a:lnTo>
                    <a:lnTo>
                      <a:pt x="317" y="153"/>
                    </a:lnTo>
                    <a:lnTo>
                      <a:pt x="316" y="154"/>
                    </a:lnTo>
                    <a:lnTo>
                      <a:pt x="316" y="155"/>
                    </a:lnTo>
                    <a:lnTo>
                      <a:pt x="315" y="155"/>
                    </a:lnTo>
                    <a:lnTo>
                      <a:pt x="315" y="156"/>
                    </a:lnTo>
                    <a:lnTo>
                      <a:pt x="315" y="157"/>
                    </a:lnTo>
                    <a:lnTo>
                      <a:pt x="315" y="158"/>
                    </a:lnTo>
                    <a:lnTo>
                      <a:pt x="315" y="159"/>
                    </a:lnTo>
                    <a:lnTo>
                      <a:pt x="316" y="160"/>
                    </a:lnTo>
                    <a:lnTo>
                      <a:pt x="317" y="162"/>
                    </a:lnTo>
                    <a:lnTo>
                      <a:pt x="317" y="164"/>
                    </a:lnTo>
                    <a:lnTo>
                      <a:pt x="317" y="165"/>
                    </a:lnTo>
                    <a:lnTo>
                      <a:pt x="317" y="166"/>
                    </a:lnTo>
                    <a:lnTo>
                      <a:pt x="316" y="167"/>
                    </a:lnTo>
                    <a:lnTo>
                      <a:pt x="316" y="168"/>
                    </a:lnTo>
                    <a:lnTo>
                      <a:pt x="315" y="168"/>
                    </a:lnTo>
                    <a:lnTo>
                      <a:pt x="315" y="169"/>
                    </a:lnTo>
                    <a:lnTo>
                      <a:pt x="314" y="169"/>
                    </a:lnTo>
                    <a:lnTo>
                      <a:pt x="312" y="170"/>
                    </a:lnTo>
                    <a:lnTo>
                      <a:pt x="311" y="170"/>
                    </a:lnTo>
                    <a:lnTo>
                      <a:pt x="310" y="171"/>
                    </a:lnTo>
                    <a:lnTo>
                      <a:pt x="310" y="172"/>
                    </a:lnTo>
                    <a:lnTo>
                      <a:pt x="310" y="173"/>
                    </a:lnTo>
                    <a:lnTo>
                      <a:pt x="311" y="174"/>
                    </a:lnTo>
                    <a:lnTo>
                      <a:pt x="313" y="175"/>
                    </a:lnTo>
                    <a:lnTo>
                      <a:pt x="313" y="177"/>
                    </a:lnTo>
                    <a:lnTo>
                      <a:pt x="314" y="177"/>
                    </a:lnTo>
                    <a:lnTo>
                      <a:pt x="314" y="178"/>
                    </a:lnTo>
                    <a:lnTo>
                      <a:pt x="313" y="179"/>
                    </a:lnTo>
                    <a:lnTo>
                      <a:pt x="312" y="180"/>
                    </a:lnTo>
                    <a:lnTo>
                      <a:pt x="312" y="181"/>
                    </a:lnTo>
                    <a:lnTo>
                      <a:pt x="311" y="181"/>
                    </a:lnTo>
                    <a:lnTo>
                      <a:pt x="309" y="183"/>
                    </a:lnTo>
                    <a:lnTo>
                      <a:pt x="308" y="184"/>
                    </a:lnTo>
                    <a:lnTo>
                      <a:pt x="306" y="184"/>
                    </a:lnTo>
                    <a:lnTo>
                      <a:pt x="306" y="185"/>
                    </a:lnTo>
                    <a:lnTo>
                      <a:pt x="306" y="186"/>
                    </a:lnTo>
                    <a:lnTo>
                      <a:pt x="305" y="187"/>
                    </a:lnTo>
                    <a:lnTo>
                      <a:pt x="305" y="188"/>
                    </a:lnTo>
                    <a:lnTo>
                      <a:pt x="304" y="188"/>
                    </a:lnTo>
                    <a:lnTo>
                      <a:pt x="304" y="190"/>
                    </a:lnTo>
                    <a:lnTo>
                      <a:pt x="304" y="191"/>
                    </a:lnTo>
                    <a:lnTo>
                      <a:pt x="304" y="192"/>
                    </a:lnTo>
                    <a:lnTo>
                      <a:pt x="303" y="192"/>
                    </a:lnTo>
                    <a:lnTo>
                      <a:pt x="302" y="193"/>
                    </a:lnTo>
                    <a:lnTo>
                      <a:pt x="301" y="193"/>
                    </a:lnTo>
                    <a:lnTo>
                      <a:pt x="301" y="192"/>
                    </a:lnTo>
                    <a:lnTo>
                      <a:pt x="300" y="192"/>
                    </a:lnTo>
                    <a:lnTo>
                      <a:pt x="299" y="192"/>
                    </a:lnTo>
                    <a:lnTo>
                      <a:pt x="298" y="192"/>
                    </a:lnTo>
                    <a:lnTo>
                      <a:pt x="298" y="193"/>
                    </a:lnTo>
                    <a:lnTo>
                      <a:pt x="298" y="194"/>
                    </a:lnTo>
                    <a:lnTo>
                      <a:pt x="299" y="196"/>
                    </a:lnTo>
                    <a:lnTo>
                      <a:pt x="300" y="198"/>
                    </a:lnTo>
                    <a:lnTo>
                      <a:pt x="300" y="199"/>
                    </a:lnTo>
                    <a:lnTo>
                      <a:pt x="300" y="200"/>
                    </a:lnTo>
                    <a:lnTo>
                      <a:pt x="299" y="201"/>
                    </a:lnTo>
                    <a:lnTo>
                      <a:pt x="299" y="203"/>
                    </a:lnTo>
                    <a:lnTo>
                      <a:pt x="298" y="203"/>
                    </a:lnTo>
                    <a:lnTo>
                      <a:pt x="297" y="203"/>
                    </a:lnTo>
                    <a:lnTo>
                      <a:pt x="295" y="203"/>
                    </a:lnTo>
                    <a:lnTo>
                      <a:pt x="293" y="203"/>
                    </a:lnTo>
                    <a:lnTo>
                      <a:pt x="292" y="204"/>
                    </a:lnTo>
                    <a:lnTo>
                      <a:pt x="291" y="204"/>
                    </a:lnTo>
                    <a:lnTo>
                      <a:pt x="290" y="204"/>
                    </a:lnTo>
                    <a:lnTo>
                      <a:pt x="289" y="206"/>
                    </a:lnTo>
                    <a:lnTo>
                      <a:pt x="288" y="206"/>
                    </a:lnTo>
                    <a:lnTo>
                      <a:pt x="288" y="207"/>
                    </a:lnTo>
                    <a:lnTo>
                      <a:pt x="288" y="208"/>
                    </a:lnTo>
                    <a:lnTo>
                      <a:pt x="288" y="209"/>
                    </a:lnTo>
                    <a:lnTo>
                      <a:pt x="287" y="210"/>
                    </a:lnTo>
                    <a:lnTo>
                      <a:pt x="288" y="210"/>
                    </a:lnTo>
                    <a:lnTo>
                      <a:pt x="287" y="210"/>
                    </a:lnTo>
                    <a:lnTo>
                      <a:pt x="286" y="210"/>
                    </a:lnTo>
                    <a:lnTo>
                      <a:pt x="286" y="211"/>
                    </a:lnTo>
                    <a:lnTo>
                      <a:pt x="285" y="211"/>
                    </a:lnTo>
                    <a:lnTo>
                      <a:pt x="284" y="211"/>
                    </a:lnTo>
                    <a:lnTo>
                      <a:pt x="284" y="213"/>
                    </a:lnTo>
                    <a:lnTo>
                      <a:pt x="283" y="215"/>
                    </a:lnTo>
                    <a:lnTo>
                      <a:pt x="284" y="219"/>
                    </a:lnTo>
                    <a:lnTo>
                      <a:pt x="284" y="220"/>
                    </a:lnTo>
                    <a:lnTo>
                      <a:pt x="284" y="221"/>
                    </a:lnTo>
                    <a:lnTo>
                      <a:pt x="283" y="222"/>
                    </a:lnTo>
                    <a:lnTo>
                      <a:pt x="282" y="222"/>
                    </a:lnTo>
                    <a:lnTo>
                      <a:pt x="280" y="223"/>
                    </a:lnTo>
                    <a:lnTo>
                      <a:pt x="279" y="223"/>
                    </a:lnTo>
                    <a:lnTo>
                      <a:pt x="279" y="224"/>
                    </a:lnTo>
                    <a:lnTo>
                      <a:pt x="278" y="225"/>
                    </a:lnTo>
                    <a:lnTo>
                      <a:pt x="277" y="226"/>
                    </a:lnTo>
                    <a:lnTo>
                      <a:pt x="277" y="228"/>
                    </a:lnTo>
                    <a:lnTo>
                      <a:pt x="279" y="231"/>
                    </a:lnTo>
                    <a:lnTo>
                      <a:pt x="279" y="232"/>
                    </a:lnTo>
                    <a:lnTo>
                      <a:pt x="280" y="233"/>
                    </a:lnTo>
                    <a:lnTo>
                      <a:pt x="280" y="234"/>
                    </a:lnTo>
                    <a:lnTo>
                      <a:pt x="279" y="234"/>
                    </a:lnTo>
                    <a:lnTo>
                      <a:pt x="278" y="234"/>
                    </a:lnTo>
                    <a:lnTo>
                      <a:pt x="277" y="234"/>
                    </a:lnTo>
                    <a:lnTo>
                      <a:pt x="276" y="234"/>
                    </a:lnTo>
                    <a:lnTo>
                      <a:pt x="275" y="234"/>
                    </a:lnTo>
                    <a:lnTo>
                      <a:pt x="274" y="235"/>
                    </a:lnTo>
                    <a:lnTo>
                      <a:pt x="274" y="239"/>
                    </a:lnTo>
                    <a:lnTo>
                      <a:pt x="273" y="239"/>
                    </a:lnTo>
                    <a:lnTo>
                      <a:pt x="272" y="241"/>
                    </a:lnTo>
                    <a:lnTo>
                      <a:pt x="271" y="239"/>
                    </a:lnTo>
                    <a:lnTo>
                      <a:pt x="270" y="239"/>
                    </a:lnTo>
                    <a:lnTo>
                      <a:pt x="269" y="239"/>
                    </a:lnTo>
                    <a:lnTo>
                      <a:pt x="267" y="241"/>
                    </a:lnTo>
                    <a:lnTo>
                      <a:pt x="267" y="242"/>
                    </a:lnTo>
                    <a:lnTo>
                      <a:pt x="269" y="243"/>
                    </a:lnTo>
                    <a:lnTo>
                      <a:pt x="269" y="244"/>
                    </a:lnTo>
                    <a:lnTo>
                      <a:pt x="269" y="245"/>
                    </a:lnTo>
                    <a:lnTo>
                      <a:pt x="269" y="246"/>
                    </a:lnTo>
                    <a:lnTo>
                      <a:pt x="267" y="246"/>
                    </a:lnTo>
                    <a:lnTo>
                      <a:pt x="266" y="246"/>
                    </a:lnTo>
                    <a:lnTo>
                      <a:pt x="264" y="245"/>
                    </a:lnTo>
                    <a:lnTo>
                      <a:pt x="263" y="245"/>
                    </a:lnTo>
                    <a:lnTo>
                      <a:pt x="262" y="246"/>
                    </a:lnTo>
                    <a:lnTo>
                      <a:pt x="263" y="248"/>
                    </a:lnTo>
                    <a:lnTo>
                      <a:pt x="264" y="249"/>
                    </a:lnTo>
                    <a:lnTo>
                      <a:pt x="265" y="250"/>
                    </a:lnTo>
                    <a:lnTo>
                      <a:pt x="266" y="250"/>
                    </a:lnTo>
                    <a:lnTo>
                      <a:pt x="266" y="252"/>
                    </a:lnTo>
                    <a:lnTo>
                      <a:pt x="267" y="255"/>
                    </a:lnTo>
                    <a:lnTo>
                      <a:pt x="267" y="257"/>
                    </a:lnTo>
                    <a:lnTo>
                      <a:pt x="267" y="258"/>
                    </a:lnTo>
                    <a:lnTo>
                      <a:pt x="269" y="259"/>
                    </a:lnTo>
                    <a:lnTo>
                      <a:pt x="270" y="259"/>
                    </a:lnTo>
                    <a:lnTo>
                      <a:pt x="270" y="260"/>
                    </a:lnTo>
                    <a:lnTo>
                      <a:pt x="271" y="260"/>
                    </a:lnTo>
                    <a:lnTo>
                      <a:pt x="271" y="261"/>
                    </a:lnTo>
                    <a:lnTo>
                      <a:pt x="271" y="262"/>
                    </a:lnTo>
                    <a:lnTo>
                      <a:pt x="272" y="264"/>
                    </a:lnTo>
                    <a:lnTo>
                      <a:pt x="272" y="265"/>
                    </a:lnTo>
                    <a:lnTo>
                      <a:pt x="272" y="269"/>
                    </a:lnTo>
                    <a:lnTo>
                      <a:pt x="272" y="270"/>
                    </a:lnTo>
                    <a:lnTo>
                      <a:pt x="272" y="276"/>
                    </a:lnTo>
                    <a:lnTo>
                      <a:pt x="272" y="278"/>
                    </a:lnTo>
                    <a:lnTo>
                      <a:pt x="270" y="278"/>
                    </a:lnTo>
                    <a:lnTo>
                      <a:pt x="261" y="276"/>
                    </a:lnTo>
                    <a:lnTo>
                      <a:pt x="259" y="276"/>
                    </a:lnTo>
                    <a:lnTo>
                      <a:pt x="257" y="275"/>
                    </a:lnTo>
                    <a:lnTo>
                      <a:pt x="253" y="274"/>
                    </a:lnTo>
                    <a:lnTo>
                      <a:pt x="252" y="272"/>
                    </a:lnTo>
                    <a:lnTo>
                      <a:pt x="251" y="271"/>
                    </a:lnTo>
                    <a:lnTo>
                      <a:pt x="250" y="267"/>
                    </a:lnTo>
                    <a:lnTo>
                      <a:pt x="249" y="262"/>
                    </a:lnTo>
                    <a:lnTo>
                      <a:pt x="249" y="261"/>
                    </a:lnTo>
                    <a:lnTo>
                      <a:pt x="248" y="258"/>
                    </a:lnTo>
                    <a:lnTo>
                      <a:pt x="248" y="255"/>
                    </a:lnTo>
                    <a:lnTo>
                      <a:pt x="247" y="250"/>
                    </a:lnTo>
                    <a:lnTo>
                      <a:pt x="246" y="249"/>
                    </a:lnTo>
                    <a:lnTo>
                      <a:pt x="246" y="247"/>
                    </a:lnTo>
                    <a:lnTo>
                      <a:pt x="246" y="243"/>
                    </a:lnTo>
                    <a:lnTo>
                      <a:pt x="245" y="239"/>
                    </a:lnTo>
                    <a:lnTo>
                      <a:pt x="244" y="236"/>
                    </a:lnTo>
                    <a:lnTo>
                      <a:pt x="244" y="234"/>
                    </a:lnTo>
                    <a:lnTo>
                      <a:pt x="243" y="231"/>
                    </a:lnTo>
                    <a:lnTo>
                      <a:pt x="243" y="230"/>
                    </a:lnTo>
                    <a:lnTo>
                      <a:pt x="239" y="223"/>
                    </a:lnTo>
                    <a:lnTo>
                      <a:pt x="237" y="218"/>
                    </a:lnTo>
                    <a:lnTo>
                      <a:pt x="233" y="211"/>
                    </a:lnTo>
                    <a:lnTo>
                      <a:pt x="232" y="210"/>
                    </a:lnTo>
                    <a:lnTo>
                      <a:pt x="230" y="206"/>
                    </a:lnTo>
                    <a:lnTo>
                      <a:pt x="230" y="205"/>
                    </a:lnTo>
                    <a:lnTo>
                      <a:pt x="225" y="204"/>
                    </a:lnTo>
                    <a:lnTo>
                      <a:pt x="223" y="204"/>
                    </a:lnTo>
                    <a:lnTo>
                      <a:pt x="220" y="204"/>
                    </a:lnTo>
                    <a:lnTo>
                      <a:pt x="215" y="205"/>
                    </a:lnTo>
                    <a:lnTo>
                      <a:pt x="209" y="208"/>
                    </a:lnTo>
                    <a:lnTo>
                      <a:pt x="206" y="210"/>
                    </a:lnTo>
                    <a:lnTo>
                      <a:pt x="204" y="211"/>
                    </a:lnTo>
                    <a:lnTo>
                      <a:pt x="199" y="213"/>
                    </a:lnTo>
                    <a:lnTo>
                      <a:pt x="196" y="215"/>
                    </a:lnTo>
                    <a:lnTo>
                      <a:pt x="189" y="218"/>
                    </a:lnTo>
                    <a:lnTo>
                      <a:pt x="183" y="220"/>
                    </a:lnTo>
                    <a:lnTo>
                      <a:pt x="179" y="220"/>
                    </a:lnTo>
                    <a:lnTo>
                      <a:pt x="177" y="220"/>
                    </a:lnTo>
                    <a:lnTo>
                      <a:pt x="175" y="220"/>
                    </a:lnTo>
                    <a:lnTo>
                      <a:pt x="173" y="219"/>
                    </a:lnTo>
                    <a:lnTo>
                      <a:pt x="171" y="219"/>
                    </a:lnTo>
                    <a:lnTo>
                      <a:pt x="169" y="218"/>
                    </a:lnTo>
                    <a:lnTo>
                      <a:pt x="167" y="218"/>
                    </a:lnTo>
                    <a:lnTo>
                      <a:pt x="164" y="217"/>
                    </a:lnTo>
                    <a:lnTo>
                      <a:pt x="163" y="217"/>
                    </a:lnTo>
                    <a:lnTo>
                      <a:pt x="162" y="217"/>
                    </a:lnTo>
                    <a:lnTo>
                      <a:pt x="161" y="216"/>
                    </a:lnTo>
                    <a:lnTo>
                      <a:pt x="160" y="216"/>
                    </a:lnTo>
                    <a:lnTo>
                      <a:pt x="156" y="216"/>
                    </a:lnTo>
                    <a:lnTo>
                      <a:pt x="153" y="217"/>
                    </a:lnTo>
                    <a:lnTo>
                      <a:pt x="151" y="217"/>
                    </a:lnTo>
                    <a:lnTo>
                      <a:pt x="150" y="217"/>
                    </a:lnTo>
                    <a:lnTo>
                      <a:pt x="146" y="217"/>
                    </a:lnTo>
                    <a:lnTo>
                      <a:pt x="145" y="217"/>
                    </a:lnTo>
                    <a:lnTo>
                      <a:pt x="140" y="219"/>
                    </a:lnTo>
                    <a:lnTo>
                      <a:pt x="132" y="221"/>
                    </a:lnTo>
                    <a:lnTo>
                      <a:pt x="129" y="222"/>
                    </a:lnTo>
                    <a:lnTo>
                      <a:pt x="124" y="223"/>
                    </a:lnTo>
                    <a:lnTo>
                      <a:pt x="120" y="223"/>
                    </a:lnTo>
                    <a:lnTo>
                      <a:pt x="119" y="223"/>
                    </a:lnTo>
                    <a:lnTo>
                      <a:pt x="116" y="223"/>
                    </a:lnTo>
                    <a:lnTo>
                      <a:pt x="112" y="222"/>
                    </a:lnTo>
                    <a:lnTo>
                      <a:pt x="109" y="220"/>
                    </a:lnTo>
                    <a:lnTo>
                      <a:pt x="105" y="218"/>
                    </a:lnTo>
                    <a:lnTo>
                      <a:pt x="99" y="213"/>
                    </a:lnTo>
                    <a:lnTo>
                      <a:pt x="98" y="212"/>
                    </a:lnTo>
                    <a:lnTo>
                      <a:pt x="97" y="211"/>
                    </a:lnTo>
                    <a:lnTo>
                      <a:pt x="96" y="211"/>
                    </a:lnTo>
                    <a:lnTo>
                      <a:pt x="95" y="210"/>
                    </a:lnTo>
                    <a:lnTo>
                      <a:pt x="95" y="209"/>
                    </a:lnTo>
                    <a:lnTo>
                      <a:pt x="94" y="207"/>
                    </a:lnTo>
                    <a:lnTo>
                      <a:pt x="94" y="205"/>
                    </a:lnTo>
                    <a:lnTo>
                      <a:pt x="94" y="203"/>
                    </a:lnTo>
                    <a:lnTo>
                      <a:pt x="95" y="200"/>
                    </a:lnTo>
                    <a:lnTo>
                      <a:pt x="96" y="198"/>
                    </a:lnTo>
                    <a:lnTo>
                      <a:pt x="97" y="196"/>
                    </a:lnTo>
                    <a:lnTo>
                      <a:pt x="99" y="195"/>
                    </a:lnTo>
                    <a:lnTo>
                      <a:pt x="101" y="194"/>
                    </a:lnTo>
                    <a:lnTo>
                      <a:pt x="104" y="193"/>
                    </a:lnTo>
                    <a:lnTo>
                      <a:pt x="106" y="192"/>
                    </a:lnTo>
                    <a:lnTo>
                      <a:pt x="108" y="192"/>
                    </a:lnTo>
                    <a:lnTo>
                      <a:pt x="111" y="191"/>
                    </a:lnTo>
                    <a:lnTo>
                      <a:pt x="114" y="191"/>
                    </a:lnTo>
                    <a:lnTo>
                      <a:pt x="116" y="191"/>
                    </a:lnTo>
                    <a:lnTo>
                      <a:pt x="118" y="190"/>
                    </a:lnTo>
                    <a:lnTo>
                      <a:pt x="120" y="188"/>
                    </a:lnTo>
                    <a:lnTo>
                      <a:pt x="121" y="188"/>
                    </a:lnTo>
                    <a:lnTo>
                      <a:pt x="122" y="186"/>
                    </a:lnTo>
                    <a:lnTo>
                      <a:pt x="123" y="186"/>
                    </a:lnTo>
                    <a:lnTo>
                      <a:pt x="124" y="186"/>
                    </a:lnTo>
                    <a:lnTo>
                      <a:pt x="129" y="181"/>
                    </a:lnTo>
                    <a:lnTo>
                      <a:pt x="130" y="174"/>
                    </a:lnTo>
                    <a:lnTo>
                      <a:pt x="131" y="172"/>
                    </a:lnTo>
                    <a:lnTo>
                      <a:pt x="132" y="170"/>
                    </a:lnTo>
                    <a:lnTo>
                      <a:pt x="134" y="160"/>
                    </a:lnTo>
                    <a:lnTo>
                      <a:pt x="136" y="154"/>
                    </a:lnTo>
                    <a:lnTo>
                      <a:pt x="138" y="151"/>
                    </a:lnTo>
                    <a:lnTo>
                      <a:pt x="138" y="146"/>
                    </a:lnTo>
                    <a:lnTo>
                      <a:pt x="142" y="138"/>
                    </a:lnTo>
                    <a:lnTo>
                      <a:pt x="143" y="130"/>
                    </a:lnTo>
                    <a:lnTo>
                      <a:pt x="144" y="125"/>
                    </a:lnTo>
                    <a:lnTo>
                      <a:pt x="143" y="122"/>
                    </a:lnTo>
                    <a:lnTo>
                      <a:pt x="143" y="120"/>
                    </a:lnTo>
                    <a:lnTo>
                      <a:pt x="143" y="119"/>
                    </a:lnTo>
                    <a:lnTo>
                      <a:pt x="141" y="114"/>
                    </a:lnTo>
                    <a:lnTo>
                      <a:pt x="140" y="110"/>
                    </a:lnTo>
                    <a:lnTo>
                      <a:pt x="136" y="106"/>
                    </a:lnTo>
                    <a:lnTo>
                      <a:pt x="134" y="102"/>
                    </a:lnTo>
                    <a:lnTo>
                      <a:pt x="133" y="101"/>
                    </a:lnTo>
                    <a:lnTo>
                      <a:pt x="132" y="98"/>
                    </a:lnTo>
                    <a:lnTo>
                      <a:pt x="129" y="96"/>
                    </a:lnTo>
                    <a:lnTo>
                      <a:pt x="125" y="93"/>
                    </a:lnTo>
                    <a:lnTo>
                      <a:pt x="122" y="91"/>
                    </a:lnTo>
                    <a:lnTo>
                      <a:pt x="119" y="90"/>
                    </a:lnTo>
                    <a:lnTo>
                      <a:pt x="116" y="90"/>
                    </a:lnTo>
                    <a:lnTo>
                      <a:pt x="110" y="90"/>
                    </a:lnTo>
                    <a:lnTo>
                      <a:pt x="106" y="90"/>
                    </a:lnTo>
                    <a:lnTo>
                      <a:pt x="97" y="90"/>
                    </a:lnTo>
                    <a:lnTo>
                      <a:pt x="94" y="91"/>
                    </a:lnTo>
                    <a:lnTo>
                      <a:pt x="89" y="91"/>
                    </a:lnTo>
                    <a:lnTo>
                      <a:pt x="83" y="90"/>
                    </a:lnTo>
                    <a:lnTo>
                      <a:pt x="82" y="90"/>
                    </a:lnTo>
                    <a:lnTo>
                      <a:pt x="82" y="93"/>
                    </a:lnTo>
                    <a:lnTo>
                      <a:pt x="82" y="98"/>
                    </a:lnTo>
                    <a:lnTo>
                      <a:pt x="82" y="101"/>
                    </a:lnTo>
                    <a:lnTo>
                      <a:pt x="83" y="102"/>
                    </a:lnTo>
                    <a:lnTo>
                      <a:pt x="83" y="103"/>
                    </a:lnTo>
                    <a:lnTo>
                      <a:pt x="85" y="104"/>
                    </a:lnTo>
                    <a:lnTo>
                      <a:pt x="86" y="104"/>
                    </a:lnTo>
                    <a:lnTo>
                      <a:pt x="88" y="105"/>
                    </a:lnTo>
                    <a:lnTo>
                      <a:pt x="89" y="105"/>
                    </a:lnTo>
                    <a:lnTo>
                      <a:pt x="91" y="105"/>
                    </a:lnTo>
                    <a:lnTo>
                      <a:pt x="94" y="105"/>
                    </a:lnTo>
                    <a:lnTo>
                      <a:pt x="101" y="106"/>
                    </a:lnTo>
                    <a:lnTo>
                      <a:pt x="102" y="106"/>
                    </a:lnTo>
                    <a:lnTo>
                      <a:pt x="104" y="107"/>
                    </a:lnTo>
                    <a:lnTo>
                      <a:pt x="106" y="107"/>
                    </a:lnTo>
                    <a:lnTo>
                      <a:pt x="107" y="108"/>
                    </a:lnTo>
                    <a:lnTo>
                      <a:pt x="108" y="108"/>
                    </a:lnTo>
                    <a:lnTo>
                      <a:pt x="109" y="109"/>
                    </a:lnTo>
                    <a:lnTo>
                      <a:pt x="110" y="110"/>
                    </a:lnTo>
                    <a:lnTo>
                      <a:pt x="111" y="113"/>
                    </a:lnTo>
                    <a:lnTo>
                      <a:pt x="112" y="114"/>
                    </a:lnTo>
                    <a:lnTo>
                      <a:pt x="114" y="115"/>
                    </a:lnTo>
                    <a:lnTo>
                      <a:pt x="115" y="118"/>
                    </a:lnTo>
                    <a:lnTo>
                      <a:pt x="116" y="120"/>
                    </a:lnTo>
                    <a:lnTo>
                      <a:pt x="117" y="122"/>
                    </a:lnTo>
                    <a:lnTo>
                      <a:pt x="118" y="140"/>
                    </a:lnTo>
                    <a:lnTo>
                      <a:pt x="118" y="142"/>
                    </a:lnTo>
                    <a:lnTo>
                      <a:pt x="117" y="144"/>
                    </a:lnTo>
                    <a:lnTo>
                      <a:pt x="117" y="146"/>
                    </a:lnTo>
                    <a:lnTo>
                      <a:pt x="116" y="147"/>
                    </a:lnTo>
                    <a:lnTo>
                      <a:pt x="115" y="147"/>
                    </a:lnTo>
                    <a:lnTo>
                      <a:pt x="114" y="148"/>
                    </a:lnTo>
                    <a:lnTo>
                      <a:pt x="112" y="148"/>
                    </a:lnTo>
                    <a:lnTo>
                      <a:pt x="111" y="148"/>
                    </a:lnTo>
                    <a:lnTo>
                      <a:pt x="111" y="147"/>
                    </a:lnTo>
                    <a:lnTo>
                      <a:pt x="110" y="146"/>
                    </a:lnTo>
                    <a:lnTo>
                      <a:pt x="110" y="145"/>
                    </a:lnTo>
                    <a:lnTo>
                      <a:pt x="109" y="144"/>
                    </a:lnTo>
                    <a:lnTo>
                      <a:pt x="108" y="143"/>
                    </a:lnTo>
                    <a:lnTo>
                      <a:pt x="107" y="143"/>
                    </a:lnTo>
                    <a:lnTo>
                      <a:pt x="106" y="142"/>
                    </a:lnTo>
                    <a:lnTo>
                      <a:pt x="105" y="141"/>
                    </a:lnTo>
                    <a:lnTo>
                      <a:pt x="103" y="141"/>
                    </a:lnTo>
                    <a:lnTo>
                      <a:pt x="98" y="141"/>
                    </a:lnTo>
                    <a:lnTo>
                      <a:pt x="96" y="141"/>
                    </a:lnTo>
                    <a:lnTo>
                      <a:pt x="94" y="141"/>
                    </a:lnTo>
                    <a:lnTo>
                      <a:pt x="92" y="141"/>
                    </a:lnTo>
                    <a:lnTo>
                      <a:pt x="90" y="142"/>
                    </a:lnTo>
                    <a:lnTo>
                      <a:pt x="85" y="143"/>
                    </a:lnTo>
                    <a:lnTo>
                      <a:pt x="82" y="144"/>
                    </a:lnTo>
                    <a:lnTo>
                      <a:pt x="77" y="145"/>
                    </a:lnTo>
                    <a:lnTo>
                      <a:pt x="76" y="145"/>
                    </a:lnTo>
                    <a:lnTo>
                      <a:pt x="73" y="145"/>
                    </a:lnTo>
                    <a:lnTo>
                      <a:pt x="69" y="144"/>
                    </a:lnTo>
                    <a:lnTo>
                      <a:pt x="66" y="143"/>
                    </a:lnTo>
                    <a:lnTo>
                      <a:pt x="63" y="142"/>
                    </a:lnTo>
                    <a:lnTo>
                      <a:pt x="59" y="140"/>
                    </a:lnTo>
                    <a:lnTo>
                      <a:pt x="57" y="138"/>
                    </a:lnTo>
                    <a:lnTo>
                      <a:pt x="55" y="135"/>
                    </a:lnTo>
                    <a:lnTo>
                      <a:pt x="54" y="133"/>
                    </a:lnTo>
                    <a:lnTo>
                      <a:pt x="54" y="131"/>
                    </a:lnTo>
                    <a:lnTo>
                      <a:pt x="54" y="130"/>
                    </a:lnTo>
                    <a:lnTo>
                      <a:pt x="54" y="129"/>
                    </a:lnTo>
                    <a:lnTo>
                      <a:pt x="54" y="127"/>
                    </a:lnTo>
                    <a:lnTo>
                      <a:pt x="54" y="121"/>
                    </a:lnTo>
                    <a:lnTo>
                      <a:pt x="54" y="120"/>
                    </a:lnTo>
                    <a:lnTo>
                      <a:pt x="54" y="119"/>
                    </a:lnTo>
                    <a:lnTo>
                      <a:pt x="54" y="118"/>
                    </a:lnTo>
                    <a:lnTo>
                      <a:pt x="54" y="114"/>
                    </a:lnTo>
                    <a:lnTo>
                      <a:pt x="54" y="106"/>
                    </a:lnTo>
                    <a:lnTo>
                      <a:pt x="56" y="101"/>
                    </a:lnTo>
                    <a:lnTo>
                      <a:pt x="56" y="98"/>
                    </a:lnTo>
                    <a:lnTo>
                      <a:pt x="56" y="97"/>
                    </a:lnTo>
                    <a:lnTo>
                      <a:pt x="58" y="94"/>
                    </a:lnTo>
                    <a:lnTo>
                      <a:pt x="58" y="92"/>
                    </a:lnTo>
                    <a:lnTo>
                      <a:pt x="59" y="90"/>
                    </a:lnTo>
                    <a:lnTo>
                      <a:pt x="60" y="89"/>
                    </a:lnTo>
                    <a:lnTo>
                      <a:pt x="62" y="85"/>
                    </a:lnTo>
                    <a:lnTo>
                      <a:pt x="63" y="84"/>
                    </a:lnTo>
                    <a:lnTo>
                      <a:pt x="64" y="82"/>
                    </a:lnTo>
                    <a:lnTo>
                      <a:pt x="63" y="80"/>
                    </a:lnTo>
                    <a:lnTo>
                      <a:pt x="62" y="78"/>
                    </a:lnTo>
                    <a:lnTo>
                      <a:pt x="62" y="77"/>
                    </a:lnTo>
                    <a:lnTo>
                      <a:pt x="59" y="74"/>
                    </a:lnTo>
                    <a:lnTo>
                      <a:pt x="58" y="71"/>
                    </a:lnTo>
                    <a:lnTo>
                      <a:pt x="58" y="70"/>
                    </a:lnTo>
                    <a:lnTo>
                      <a:pt x="56" y="66"/>
                    </a:lnTo>
                    <a:lnTo>
                      <a:pt x="55" y="61"/>
                    </a:lnTo>
                    <a:lnTo>
                      <a:pt x="54" y="57"/>
                    </a:lnTo>
                    <a:lnTo>
                      <a:pt x="53" y="53"/>
                    </a:lnTo>
                    <a:lnTo>
                      <a:pt x="54" y="52"/>
                    </a:lnTo>
                    <a:lnTo>
                      <a:pt x="55" y="52"/>
                    </a:lnTo>
                    <a:lnTo>
                      <a:pt x="56" y="50"/>
                    </a:lnTo>
                    <a:lnTo>
                      <a:pt x="56" y="49"/>
                    </a:lnTo>
                    <a:lnTo>
                      <a:pt x="57" y="48"/>
                    </a:lnTo>
                    <a:lnTo>
                      <a:pt x="58" y="46"/>
                    </a:lnTo>
                    <a:lnTo>
                      <a:pt x="60" y="44"/>
                    </a:lnTo>
                    <a:lnTo>
                      <a:pt x="62" y="43"/>
                    </a:lnTo>
                    <a:lnTo>
                      <a:pt x="63" y="42"/>
                    </a:lnTo>
                    <a:lnTo>
                      <a:pt x="63" y="41"/>
                    </a:lnTo>
                    <a:lnTo>
                      <a:pt x="65" y="38"/>
                    </a:lnTo>
                    <a:lnTo>
                      <a:pt x="66" y="37"/>
                    </a:lnTo>
                    <a:lnTo>
                      <a:pt x="66" y="36"/>
                    </a:lnTo>
                    <a:lnTo>
                      <a:pt x="67" y="35"/>
                    </a:lnTo>
                    <a:lnTo>
                      <a:pt x="67" y="33"/>
                    </a:lnTo>
                    <a:lnTo>
                      <a:pt x="69" y="31"/>
                    </a:lnTo>
                    <a:lnTo>
                      <a:pt x="75" y="32"/>
                    </a:lnTo>
                    <a:lnTo>
                      <a:pt x="86" y="32"/>
                    </a:lnTo>
                    <a:lnTo>
                      <a:pt x="102" y="32"/>
                    </a:lnTo>
                    <a:lnTo>
                      <a:pt x="116" y="32"/>
                    </a:lnTo>
                    <a:lnTo>
                      <a:pt x="122" y="32"/>
                    </a:lnTo>
                    <a:lnTo>
                      <a:pt x="129" y="32"/>
                    </a:lnTo>
                    <a:lnTo>
                      <a:pt x="137" y="32"/>
                    </a:lnTo>
                    <a:lnTo>
                      <a:pt x="153" y="32"/>
                    </a:lnTo>
                    <a:lnTo>
                      <a:pt x="154" y="32"/>
                    </a:lnTo>
                    <a:lnTo>
                      <a:pt x="169" y="32"/>
                    </a:lnTo>
                    <a:lnTo>
                      <a:pt x="179" y="32"/>
                    </a:lnTo>
                    <a:lnTo>
                      <a:pt x="195" y="32"/>
                    </a:lnTo>
                    <a:lnTo>
                      <a:pt x="199" y="32"/>
                    </a:lnTo>
                    <a:lnTo>
                      <a:pt x="213" y="32"/>
                    </a:lnTo>
                    <a:lnTo>
                      <a:pt x="230" y="32"/>
                    </a:lnTo>
                    <a:lnTo>
                      <a:pt x="244" y="32"/>
                    </a:lnTo>
                    <a:lnTo>
                      <a:pt x="246" y="32"/>
                    </a:lnTo>
                    <a:lnTo>
                      <a:pt x="253" y="32"/>
                    </a:lnTo>
                    <a:lnTo>
                      <a:pt x="266" y="32"/>
                    </a:lnTo>
                    <a:lnTo>
                      <a:pt x="279" y="32"/>
                    </a:lnTo>
                    <a:lnTo>
                      <a:pt x="300" y="32"/>
                    </a:lnTo>
                    <a:lnTo>
                      <a:pt x="305" y="32"/>
                    </a:lnTo>
                    <a:lnTo>
                      <a:pt x="308" y="31"/>
                    </a:lnTo>
                    <a:lnTo>
                      <a:pt x="321" y="32"/>
                    </a:lnTo>
                    <a:lnTo>
                      <a:pt x="330" y="32"/>
                    </a:lnTo>
                    <a:lnTo>
                      <a:pt x="351" y="32"/>
                    </a:lnTo>
                    <a:close/>
                    <a:moveTo>
                      <a:pt x="56" y="36"/>
                    </a:moveTo>
                    <a:lnTo>
                      <a:pt x="54" y="33"/>
                    </a:lnTo>
                    <a:lnTo>
                      <a:pt x="54" y="32"/>
                    </a:lnTo>
                    <a:lnTo>
                      <a:pt x="53" y="32"/>
                    </a:lnTo>
                    <a:lnTo>
                      <a:pt x="53" y="30"/>
                    </a:lnTo>
                    <a:lnTo>
                      <a:pt x="52" y="29"/>
                    </a:lnTo>
                    <a:lnTo>
                      <a:pt x="52" y="28"/>
                    </a:lnTo>
                    <a:lnTo>
                      <a:pt x="51" y="27"/>
                    </a:lnTo>
                    <a:lnTo>
                      <a:pt x="47" y="24"/>
                    </a:lnTo>
                    <a:lnTo>
                      <a:pt x="45" y="23"/>
                    </a:lnTo>
                    <a:lnTo>
                      <a:pt x="44" y="21"/>
                    </a:lnTo>
                    <a:lnTo>
                      <a:pt x="42" y="20"/>
                    </a:lnTo>
                    <a:lnTo>
                      <a:pt x="40" y="19"/>
                    </a:lnTo>
                    <a:lnTo>
                      <a:pt x="38" y="18"/>
                    </a:lnTo>
                    <a:lnTo>
                      <a:pt x="35" y="17"/>
                    </a:lnTo>
                    <a:lnTo>
                      <a:pt x="34" y="17"/>
                    </a:lnTo>
                    <a:lnTo>
                      <a:pt x="32" y="17"/>
                    </a:lnTo>
                    <a:lnTo>
                      <a:pt x="31" y="17"/>
                    </a:lnTo>
                    <a:lnTo>
                      <a:pt x="28" y="18"/>
                    </a:lnTo>
                    <a:lnTo>
                      <a:pt x="27" y="19"/>
                    </a:lnTo>
                    <a:lnTo>
                      <a:pt x="26" y="21"/>
                    </a:lnTo>
                    <a:lnTo>
                      <a:pt x="25" y="24"/>
                    </a:lnTo>
                    <a:lnTo>
                      <a:pt x="25" y="25"/>
                    </a:lnTo>
                    <a:lnTo>
                      <a:pt x="24" y="26"/>
                    </a:lnTo>
                    <a:lnTo>
                      <a:pt x="21" y="27"/>
                    </a:lnTo>
                    <a:lnTo>
                      <a:pt x="19" y="27"/>
                    </a:lnTo>
                    <a:lnTo>
                      <a:pt x="18" y="27"/>
                    </a:lnTo>
                    <a:lnTo>
                      <a:pt x="17" y="26"/>
                    </a:lnTo>
                    <a:lnTo>
                      <a:pt x="15" y="26"/>
                    </a:lnTo>
                    <a:lnTo>
                      <a:pt x="15" y="25"/>
                    </a:lnTo>
                    <a:lnTo>
                      <a:pt x="13" y="23"/>
                    </a:lnTo>
                    <a:lnTo>
                      <a:pt x="9" y="21"/>
                    </a:lnTo>
                    <a:lnTo>
                      <a:pt x="8" y="20"/>
                    </a:lnTo>
                    <a:lnTo>
                      <a:pt x="6" y="19"/>
                    </a:lnTo>
                    <a:lnTo>
                      <a:pt x="2" y="18"/>
                    </a:lnTo>
                    <a:lnTo>
                      <a:pt x="1" y="17"/>
                    </a:lnTo>
                    <a:lnTo>
                      <a:pt x="0" y="18"/>
                    </a:lnTo>
                    <a:lnTo>
                      <a:pt x="1" y="16"/>
                    </a:lnTo>
                    <a:lnTo>
                      <a:pt x="1" y="15"/>
                    </a:lnTo>
                    <a:lnTo>
                      <a:pt x="2" y="13"/>
                    </a:lnTo>
                    <a:lnTo>
                      <a:pt x="4" y="12"/>
                    </a:lnTo>
                    <a:lnTo>
                      <a:pt x="5" y="11"/>
                    </a:lnTo>
                    <a:lnTo>
                      <a:pt x="9" y="7"/>
                    </a:lnTo>
                    <a:lnTo>
                      <a:pt x="14" y="3"/>
                    </a:lnTo>
                    <a:lnTo>
                      <a:pt x="15" y="1"/>
                    </a:lnTo>
                    <a:lnTo>
                      <a:pt x="16" y="0"/>
                    </a:lnTo>
                    <a:lnTo>
                      <a:pt x="16" y="1"/>
                    </a:lnTo>
                    <a:lnTo>
                      <a:pt x="17" y="1"/>
                    </a:lnTo>
                    <a:lnTo>
                      <a:pt x="17" y="2"/>
                    </a:lnTo>
                    <a:lnTo>
                      <a:pt x="18" y="2"/>
                    </a:lnTo>
                    <a:lnTo>
                      <a:pt x="19" y="2"/>
                    </a:lnTo>
                    <a:lnTo>
                      <a:pt x="21" y="2"/>
                    </a:lnTo>
                    <a:lnTo>
                      <a:pt x="22" y="2"/>
                    </a:lnTo>
                    <a:lnTo>
                      <a:pt x="25" y="2"/>
                    </a:lnTo>
                    <a:lnTo>
                      <a:pt x="26" y="2"/>
                    </a:lnTo>
                    <a:lnTo>
                      <a:pt x="27" y="3"/>
                    </a:lnTo>
                    <a:lnTo>
                      <a:pt x="29" y="3"/>
                    </a:lnTo>
                    <a:lnTo>
                      <a:pt x="30" y="3"/>
                    </a:lnTo>
                    <a:lnTo>
                      <a:pt x="31" y="3"/>
                    </a:lnTo>
                    <a:lnTo>
                      <a:pt x="32" y="3"/>
                    </a:lnTo>
                    <a:lnTo>
                      <a:pt x="33" y="3"/>
                    </a:lnTo>
                    <a:lnTo>
                      <a:pt x="34" y="3"/>
                    </a:lnTo>
                    <a:lnTo>
                      <a:pt x="34" y="2"/>
                    </a:lnTo>
                    <a:lnTo>
                      <a:pt x="37" y="2"/>
                    </a:lnTo>
                    <a:lnTo>
                      <a:pt x="39" y="1"/>
                    </a:lnTo>
                    <a:lnTo>
                      <a:pt x="40" y="0"/>
                    </a:lnTo>
                    <a:lnTo>
                      <a:pt x="41" y="0"/>
                    </a:lnTo>
                    <a:lnTo>
                      <a:pt x="43" y="0"/>
                    </a:lnTo>
                    <a:lnTo>
                      <a:pt x="45" y="0"/>
                    </a:lnTo>
                    <a:lnTo>
                      <a:pt x="47" y="0"/>
                    </a:lnTo>
                    <a:lnTo>
                      <a:pt x="50" y="0"/>
                    </a:lnTo>
                    <a:lnTo>
                      <a:pt x="52" y="0"/>
                    </a:lnTo>
                    <a:lnTo>
                      <a:pt x="53" y="0"/>
                    </a:lnTo>
                    <a:lnTo>
                      <a:pt x="54" y="0"/>
                    </a:lnTo>
                    <a:lnTo>
                      <a:pt x="55" y="0"/>
                    </a:lnTo>
                    <a:lnTo>
                      <a:pt x="57" y="1"/>
                    </a:lnTo>
                    <a:lnTo>
                      <a:pt x="58" y="2"/>
                    </a:lnTo>
                    <a:lnTo>
                      <a:pt x="59" y="3"/>
                    </a:lnTo>
                    <a:lnTo>
                      <a:pt x="60" y="4"/>
                    </a:lnTo>
                    <a:lnTo>
                      <a:pt x="62" y="5"/>
                    </a:lnTo>
                    <a:lnTo>
                      <a:pt x="62" y="6"/>
                    </a:lnTo>
                    <a:lnTo>
                      <a:pt x="63" y="7"/>
                    </a:lnTo>
                    <a:lnTo>
                      <a:pt x="64" y="11"/>
                    </a:lnTo>
                    <a:lnTo>
                      <a:pt x="64" y="12"/>
                    </a:lnTo>
                    <a:lnTo>
                      <a:pt x="65" y="14"/>
                    </a:lnTo>
                    <a:lnTo>
                      <a:pt x="65" y="15"/>
                    </a:lnTo>
                    <a:lnTo>
                      <a:pt x="64" y="16"/>
                    </a:lnTo>
                    <a:lnTo>
                      <a:pt x="63" y="18"/>
                    </a:lnTo>
                    <a:lnTo>
                      <a:pt x="60" y="21"/>
                    </a:lnTo>
                    <a:lnTo>
                      <a:pt x="59" y="23"/>
                    </a:lnTo>
                    <a:lnTo>
                      <a:pt x="58" y="26"/>
                    </a:lnTo>
                    <a:lnTo>
                      <a:pt x="57" y="28"/>
                    </a:lnTo>
                    <a:lnTo>
                      <a:pt x="56" y="30"/>
                    </a:lnTo>
                    <a:lnTo>
                      <a:pt x="56" y="31"/>
                    </a:lnTo>
                    <a:lnTo>
                      <a:pt x="56" y="33"/>
                    </a:lnTo>
                    <a:lnTo>
                      <a:pt x="56" y="36"/>
                    </a:lnTo>
                    <a:close/>
                  </a:path>
                </a:pathLst>
              </a:custGeom>
              <a:solidFill>
                <a:srgbClr val="3391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8" name="Freeform 296">
                <a:extLst>
                  <a:ext uri="{FF2B5EF4-FFF2-40B4-BE49-F238E27FC236}">
                    <a16:creationId xmlns:a16="http://schemas.microsoft.com/office/drawing/2014/main" id="{859EC050-3EB8-C8A0-18F6-D1423F6442EF}"/>
                  </a:ext>
                </a:extLst>
              </p:cNvPr>
              <p:cNvSpPr>
                <a:spLocks/>
              </p:cNvSpPr>
              <p:nvPr/>
            </p:nvSpPr>
            <p:spPr bwMode="auto">
              <a:xfrm>
                <a:off x="3303588" y="3421063"/>
                <a:ext cx="500063" cy="608013"/>
              </a:xfrm>
              <a:custGeom>
                <a:avLst/>
                <a:gdLst>
                  <a:gd name="T0" fmla="*/ 98 w 315"/>
                  <a:gd name="T1" fmla="*/ 35 h 383"/>
                  <a:gd name="T2" fmla="*/ 107 w 315"/>
                  <a:gd name="T3" fmla="*/ 61 h 383"/>
                  <a:gd name="T4" fmla="*/ 101 w 315"/>
                  <a:gd name="T5" fmla="*/ 80 h 383"/>
                  <a:gd name="T6" fmla="*/ 99 w 315"/>
                  <a:gd name="T7" fmla="*/ 110 h 383"/>
                  <a:gd name="T8" fmla="*/ 111 w 315"/>
                  <a:gd name="T9" fmla="*/ 126 h 383"/>
                  <a:gd name="T10" fmla="*/ 139 w 315"/>
                  <a:gd name="T11" fmla="*/ 124 h 383"/>
                  <a:gd name="T12" fmla="*/ 155 w 315"/>
                  <a:gd name="T13" fmla="*/ 128 h 383"/>
                  <a:gd name="T14" fmla="*/ 162 w 315"/>
                  <a:gd name="T15" fmla="*/ 127 h 383"/>
                  <a:gd name="T16" fmla="*/ 155 w 315"/>
                  <a:gd name="T17" fmla="*/ 93 h 383"/>
                  <a:gd name="T18" fmla="*/ 136 w 315"/>
                  <a:gd name="T19" fmla="*/ 88 h 383"/>
                  <a:gd name="T20" fmla="*/ 127 w 315"/>
                  <a:gd name="T21" fmla="*/ 76 h 383"/>
                  <a:gd name="T22" fmla="*/ 164 w 315"/>
                  <a:gd name="T23" fmla="*/ 73 h 383"/>
                  <a:gd name="T24" fmla="*/ 186 w 315"/>
                  <a:gd name="T25" fmla="*/ 97 h 383"/>
                  <a:gd name="T26" fmla="*/ 181 w 315"/>
                  <a:gd name="T27" fmla="*/ 137 h 383"/>
                  <a:gd name="T28" fmla="*/ 166 w 315"/>
                  <a:gd name="T29" fmla="*/ 171 h 383"/>
                  <a:gd name="T30" fmla="*/ 146 w 315"/>
                  <a:gd name="T31" fmla="*/ 177 h 383"/>
                  <a:gd name="T32" fmla="*/ 140 w 315"/>
                  <a:gd name="T33" fmla="*/ 193 h 383"/>
                  <a:gd name="T34" fmla="*/ 164 w 315"/>
                  <a:gd name="T35" fmla="*/ 206 h 383"/>
                  <a:gd name="T36" fmla="*/ 196 w 315"/>
                  <a:gd name="T37" fmla="*/ 200 h 383"/>
                  <a:gd name="T38" fmla="*/ 214 w 315"/>
                  <a:gd name="T39" fmla="*/ 201 h 383"/>
                  <a:gd name="T40" fmla="*/ 244 w 315"/>
                  <a:gd name="T41" fmla="*/ 196 h 383"/>
                  <a:gd name="T42" fmla="*/ 275 w 315"/>
                  <a:gd name="T43" fmla="*/ 189 h 383"/>
                  <a:gd name="T44" fmla="*/ 290 w 315"/>
                  <a:gd name="T45" fmla="*/ 222 h 383"/>
                  <a:gd name="T46" fmla="*/ 295 w 315"/>
                  <a:gd name="T47" fmla="*/ 250 h 383"/>
                  <a:gd name="T48" fmla="*/ 315 w 315"/>
                  <a:gd name="T49" fmla="*/ 264 h 383"/>
                  <a:gd name="T50" fmla="*/ 286 w 315"/>
                  <a:gd name="T51" fmla="*/ 301 h 383"/>
                  <a:gd name="T52" fmla="*/ 259 w 315"/>
                  <a:gd name="T53" fmla="*/ 322 h 383"/>
                  <a:gd name="T54" fmla="*/ 256 w 315"/>
                  <a:gd name="T55" fmla="*/ 331 h 383"/>
                  <a:gd name="T56" fmla="*/ 254 w 315"/>
                  <a:gd name="T57" fmla="*/ 341 h 383"/>
                  <a:gd name="T58" fmla="*/ 250 w 315"/>
                  <a:gd name="T59" fmla="*/ 362 h 383"/>
                  <a:gd name="T60" fmla="*/ 208 w 315"/>
                  <a:gd name="T61" fmla="*/ 367 h 383"/>
                  <a:gd name="T62" fmla="*/ 187 w 315"/>
                  <a:gd name="T63" fmla="*/ 373 h 383"/>
                  <a:gd name="T64" fmla="*/ 75 w 315"/>
                  <a:gd name="T65" fmla="*/ 372 h 383"/>
                  <a:gd name="T66" fmla="*/ 45 w 315"/>
                  <a:gd name="T67" fmla="*/ 365 h 383"/>
                  <a:gd name="T68" fmla="*/ 56 w 315"/>
                  <a:gd name="T69" fmla="*/ 356 h 383"/>
                  <a:gd name="T70" fmla="*/ 45 w 315"/>
                  <a:gd name="T71" fmla="*/ 338 h 383"/>
                  <a:gd name="T72" fmla="*/ 41 w 315"/>
                  <a:gd name="T73" fmla="*/ 320 h 383"/>
                  <a:gd name="T74" fmla="*/ 44 w 315"/>
                  <a:gd name="T75" fmla="*/ 298 h 383"/>
                  <a:gd name="T76" fmla="*/ 44 w 315"/>
                  <a:gd name="T77" fmla="*/ 285 h 383"/>
                  <a:gd name="T78" fmla="*/ 47 w 315"/>
                  <a:gd name="T79" fmla="*/ 263 h 383"/>
                  <a:gd name="T80" fmla="*/ 53 w 315"/>
                  <a:gd name="T81" fmla="*/ 244 h 383"/>
                  <a:gd name="T82" fmla="*/ 53 w 315"/>
                  <a:gd name="T83" fmla="*/ 221 h 383"/>
                  <a:gd name="T84" fmla="*/ 44 w 315"/>
                  <a:gd name="T85" fmla="*/ 204 h 383"/>
                  <a:gd name="T86" fmla="*/ 41 w 315"/>
                  <a:gd name="T87" fmla="*/ 188 h 383"/>
                  <a:gd name="T88" fmla="*/ 34 w 315"/>
                  <a:gd name="T89" fmla="*/ 168 h 383"/>
                  <a:gd name="T90" fmla="*/ 20 w 315"/>
                  <a:gd name="T91" fmla="*/ 157 h 383"/>
                  <a:gd name="T92" fmla="*/ 9 w 315"/>
                  <a:gd name="T93" fmla="*/ 147 h 383"/>
                  <a:gd name="T94" fmla="*/ 14 w 315"/>
                  <a:gd name="T95" fmla="*/ 137 h 383"/>
                  <a:gd name="T96" fmla="*/ 0 w 315"/>
                  <a:gd name="T97" fmla="*/ 117 h 383"/>
                  <a:gd name="T98" fmla="*/ 12 w 315"/>
                  <a:gd name="T99" fmla="*/ 111 h 383"/>
                  <a:gd name="T100" fmla="*/ 13 w 315"/>
                  <a:gd name="T101" fmla="*/ 88 h 383"/>
                  <a:gd name="T102" fmla="*/ 12 w 315"/>
                  <a:gd name="T103" fmla="*/ 61 h 383"/>
                  <a:gd name="T104" fmla="*/ 11 w 315"/>
                  <a:gd name="T105" fmla="*/ 38 h 383"/>
                  <a:gd name="T106" fmla="*/ 15 w 315"/>
                  <a:gd name="T107" fmla="*/ 27 h 383"/>
                  <a:gd name="T108" fmla="*/ 28 w 315"/>
                  <a:gd name="T109" fmla="*/ 19 h 383"/>
                  <a:gd name="T110" fmla="*/ 41 w 315"/>
                  <a:gd name="T111" fmla="*/ 3 h 383"/>
                  <a:gd name="T112" fmla="*/ 60 w 315"/>
                  <a:gd name="T113" fmla="*/ 9 h 383"/>
                  <a:gd name="T114" fmla="*/ 72 w 315"/>
                  <a:gd name="T115" fmla="*/ 2 h 383"/>
                  <a:gd name="T116" fmla="*/ 89 w 315"/>
                  <a:gd name="T117" fmla="*/ 4 h 383"/>
                  <a:gd name="T118" fmla="*/ 99 w 315"/>
                  <a:gd name="T119" fmla="*/ 16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5" h="383">
                    <a:moveTo>
                      <a:pt x="101" y="19"/>
                    </a:moveTo>
                    <a:lnTo>
                      <a:pt x="101" y="20"/>
                    </a:lnTo>
                    <a:lnTo>
                      <a:pt x="99" y="22"/>
                    </a:lnTo>
                    <a:lnTo>
                      <a:pt x="98" y="24"/>
                    </a:lnTo>
                    <a:lnTo>
                      <a:pt x="98" y="25"/>
                    </a:lnTo>
                    <a:lnTo>
                      <a:pt x="98" y="29"/>
                    </a:lnTo>
                    <a:lnTo>
                      <a:pt x="98" y="31"/>
                    </a:lnTo>
                    <a:lnTo>
                      <a:pt x="98" y="33"/>
                    </a:lnTo>
                    <a:lnTo>
                      <a:pt x="98" y="35"/>
                    </a:lnTo>
                    <a:lnTo>
                      <a:pt x="98" y="36"/>
                    </a:lnTo>
                    <a:lnTo>
                      <a:pt x="99" y="40"/>
                    </a:lnTo>
                    <a:lnTo>
                      <a:pt x="100" y="44"/>
                    </a:lnTo>
                    <a:lnTo>
                      <a:pt x="101" y="49"/>
                    </a:lnTo>
                    <a:lnTo>
                      <a:pt x="103" y="53"/>
                    </a:lnTo>
                    <a:lnTo>
                      <a:pt x="103" y="54"/>
                    </a:lnTo>
                    <a:lnTo>
                      <a:pt x="104" y="57"/>
                    </a:lnTo>
                    <a:lnTo>
                      <a:pt x="107" y="60"/>
                    </a:lnTo>
                    <a:lnTo>
                      <a:pt x="107" y="61"/>
                    </a:lnTo>
                    <a:lnTo>
                      <a:pt x="108" y="63"/>
                    </a:lnTo>
                    <a:lnTo>
                      <a:pt x="109" y="65"/>
                    </a:lnTo>
                    <a:lnTo>
                      <a:pt x="108" y="67"/>
                    </a:lnTo>
                    <a:lnTo>
                      <a:pt x="107" y="68"/>
                    </a:lnTo>
                    <a:lnTo>
                      <a:pt x="105" y="72"/>
                    </a:lnTo>
                    <a:lnTo>
                      <a:pt x="104" y="73"/>
                    </a:lnTo>
                    <a:lnTo>
                      <a:pt x="103" y="75"/>
                    </a:lnTo>
                    <a:lnTo>
                      <a:pt x="103" y="77"/>
                    </a:lnTo>
                    <a:lnTo>
                      <a:pt x="101" y="80"/>
                    </a:lnTo>
                    <a:lnTo>
                      <a:pt x="101" y="81"/>
                    </a:lnTo>
                    <a:lnTo>
                      <a:pt x="101" y="84"/>
                    </a:lnTo>
                    <a:lnTo>
                      <a:pt x="99" y="89"/>
                    </a:lnTo>
                    <a:lnTo>
                      <a:pt x="99" y="97"/>
                    </a:lnTo>
                    <a:lnTo>
                      <a:pt x="99" y="101"/>
                    </a:lnTo>
                    <a:lnTo>
                      <a:pt x="99" y="102"/>
                    </a:lnTo>
                    <a:lnTo>
                      <a:pt x="99" y="103"/>
                    </a:lnTo>
                    <a:lnTo>
                      <a:pt x="99" y="104"/>
                    </a:lnTo>
                    <a:lnTo>
                      <a:pt x="99" y="110"/>
                    </a:lnTo>
                    <a:lnTo>
                      <a:pt x="99" y="112"/>
                    </a:lnTo>
                    <a:lnTo>
                      <a:pt x="99" y="113"/>
                    </a:lnTo>
                    <a:lnTo>
                      <a:pt x="99" y="114"/>
                    </a:lnTo>
                    <a:lnTo>
                      <a:pt x="99" y="116"/>
                    </a:lnTo>
                    <a:lnTo>
                      <a:pt x="100" y="118"/>
                    </a:lnTo>
                    <a:lnTo>
                      <a:pt x="102" y="121"/>
                    </a:lnTo>
                    <a:lnTo>
                      <a:pt x="104" y="123"/>
                    </a:lnTo>
                    <a:lnTo>
                      <a:pt x="108" y="125"/>
                    </a:lnTo>
                    <a:lnTo>
                      <a:pt x="111" y="126"/>
                    </a:lnTo>
                    <a:lnTo>
                      <a:pt x="114" y="127"/>
                    </a:lnTo>
                    <a:lnTo>
                      <a:pt x="118" y="128"/>
                    </a:lnTo>
                    <a:lnTo>
                      <a:pt x="121" y="128"/>
                    </a:lnTo>
                    <a:lnTo>
                      <a:pt x="122" y="128"/>
                    </a:lnTo>
                    <a:lnTo>
                      <a:pt x="127" y="127"/>
                    </a:lnTo>
                    <a:lnTo>
                      <a:pt x="130" y="126"/>
                    </a:lnTo>
                    <a:lnTo>
                      <a:pt x="135" y="125"/>
                    </a:lnTo>
                    <a:lnTo>
                      <a:pt x="137" y="124"/>
                    </a:lnTo>
                    <a:lnTo>
                      <a:pt x="139" y="124"/>
                    </a:lnTo>
                    <a:lnTo>
                      <a:pt x="141" y="124"/>
                    </a:lnTo>
                    <a:lnTo>
                      <a:pt x="143" y="124"/>
                    </a:lnTo>
                    <a:lnTo>
                      <a:pt x="148" y="124"/>
                    </a:lnTo>
                    <a:lnTo>
                      <a:pt x="150" y="124"/>
                    </a:lnTo>
                    <a:lnTo>
                      <a:pt x="151" y="125"/>
                    </a:lnTo>
                    <a:lnTo>
                      <a:pt x="152" y="126"/>
                    </a:lnTo>
                    <a:lnTo>
                      <a:pt x="153" y="126"/>
                    </a:lnTo>
                    <a:lnTo>
                      <a:pt x="154" y="127"/>
                    </a:lnTo>
                    <a:lnTo>
                      <a:pt x="155" y="128"/>
                    </a:lnTo>
                    <a:lnTo>
                      <a:pt x="155" y="129"/>
                    </a:lnTo>
                    <a:lnTo>
                      <a:pt x="156" y="130"/>
                    </a:lnTo>
                    <a:lnTo>
                      <a:pt x="156" y="131"/>
                    </a:lnTo>
                    <a:lnTo>
                      <a:pt x="157" y="131"/>
                    </a:lnTo>
                    <a:lnTo>
                      <a:pt x="159" y="131"/>
                    </a:lnTo>
                    <a:lnTo>
                      <a:pt x="160" y="130"/>
                    </a:lnTo>
                    <a:lnTo>
                      <a:pt x="161" y="130"/>
                    </a:lnTo>
                    <a:lnTo>
                      <a:pt x="162" y="129"/>
                    </a:lnTo>
                    <a:lnTo>
                      <a:pt x="162" y="127"/>
                    </a:lnTo>
                    <a:lnTo>
                      <a:pt x="163" y="125"/>
                    </a:lnTo>
                    <a:lnTo>
                      <a:pt x="163" y="123"/>
                    </a:lnTo>
                    <a:lnTo>
                      <a:pt x="162" y="105"/>
                    </a:lnTo>
                    <a:lnTo>
                      <a:pt x="161" y="103"/>
                    </a:lnTo>
                    <a:lnTo>
                      <a:pt x="160" y="101"/>
                    </a:lnTo>
                    <a:lnTo>
                      <a:pt x="159" y="98"/>
                    </a:lnTo>
                    <a:lnTo>
                      <a:pt x="157" y="97"/>
                    </a:lnTo>
                    <a:lnTo>
                      <a:pt x="156" y="96"/>
                    </a:lnTo>
                    <a:lnTo>
                      <a:pt x="155" y="93"/>
                    </a:lnTo>
                    <a:lnTo>
                      <a:pt x="154" y="92"/>
                    </a:lnTo>
                    <a:lnTo>
                      <a:pt x="153" y="91"/>
                    </a:lnTo>
                    <a:lnTo>
                      <a:pt x="152" y="91"/>
                    </a:lnTo>
                    <a:lnTo>
                      <a:pt x="151" y="90"/>
                    </a:lnTo>
                    <a:lnTo>
                      <a:pt x="149" y="90"/>
                    </a:lnTo>
                    <a:lnTo>
                      <a:pt x="147" y="89"/>
                    </a:lnTo>
                    <a:lnTo>
                      <a:pt x="146" y="89"/>
                    </a:lnTo>
                    <a:lnTo>
                      <a:pt x="139" y="88"/>
                    </a:lnTo>
                    <a:lnTo>
                      <a:pt x="136" y="88"/>
                    </a:lnTo>
                    <a:lnTo>
                      <a:pt x="134" y="88"/>
                    </a:lnTo>
                    <a:lnTo>
                      <a:pt x="133" y="88"/>
                    </a:lnTo>
                    <a:lnTo>
                      <a:pt x="131" y="87"/>
                    </a:lnTo>
                    <a:lnTo>
                      <a:pt x="130" y="87"/>
                    </a:lnTo>
                    <a:lnTo>
                      <a:pt x="128" y="86"/>
                    </a:lnTo>
                    <a:lnTo>
                      <a:pt x="128" y="85"/>
                    </a:lnTo>
                    <a:lnTo>
                      <a:pt x="127" y="84"/>
                    </a:lnTo>
                    <a:lnTo>
                      <a:pt x="127" y="81"/>
                    </a:lnTo>
                    <a:lnTo>
                      <a:pt x="127" y="76"/>
                    </a:lnTo>
                    <a:lnTo>
                      <a:pt x="127" y="73"/>
                    </a:lnTo>
                    <a:lnTo>
                      <a:pt x="128" y="73"/>
                    </a:lnTo>
                    <a:lnTo>
                      <a:pt x="134" y="74"/>
                    </a:lnTo>
                    <a:lnTo>
                      <a:pt x="139" y="74"/>
                    </a:lnTo>
                    <a:lnTo>
                      <a:pt x="142" y="73"/>
                    </a:lnTo>
                    <a:lnTo>
                      <a:pt x="151" y="73"/>
                    </a:lnTo>
                    <a:lnTo>
                      <a:pt x="155" y="73"/>
                    </a:lnTo>
                    <a:lnTo>
                      <a:pt x="161" y="73"/>
                    </a:lnTo>
                    <a:lnTo>
                      <a:pt x="164" y="73"/>
                    </a:lnTo>
                    <a:lnTo>
                      <a:pt x="167" y="74"/>
                    </a:lnTo>
                    <a:lnTo>
                      <a:pt x="170" y="76"/>
                    </a:lnTo>
                    <a:lnTo>
                      <a:pt x="174" y="79"/>
                    </a:lnTo>
                    <a:lnTo>
                      <a:pt x="177" y="81"/>
                    </a:lnTo>
                    <a:lnTo>
                      <a:pt x="178" y="84"/>
                    </a:lnTo>
                    <a:lnTo>
                      <a:pt x="179" y="85"/>
                    </a:lnTo>
                    <a:lnTo>
                      <a:pt x="181" y="89"/>
                    </a:lnTo>
                    <a:lnTo>
                      <a:pt x="185" y="93"/>
                    </a:lnTo>
                    <a:lnTo>
                      <a:pt x="186" y="97"/>
                    </a:lnTo>
                    <a:lnTo>
                      <a:pt x="188" y="102"/>
                    </a:lnTo>
                    <a:lnTo>
                      <a:pt x="188" y="103"/>
                    </a:lnTo>
                    <a:lnTo>
                      <a:pt x="188" y="105"/>
                    </a:lnTo>
                    <a:lnTo>
                      <a:pt x="189" y="108"/>
                    </a:lnTo>
                    <a:lnTo>
                      <a:pt x="188" y="113"/>
                    </a:lnTo>
                    <a:lnTo>
                      <a:pt x="187" y="121"/>
                    </a:lnTo>
                    <a:lnTo>
                      <a:pt x="183" y="129"/>
                    </a:lnTo>
                    <a:lnTo>
                      <a:pt x="183" y="134"/>
                    </a:lnTo>
                    <a:lnTo>
                      <a:pt x="181" y="137"/>
                    </a:lnTo>
                    <a:lnTo>
                      <a:pt x="179" y="143"/>
                    </a:lnTo>
                    <a:lnTo>
                      <a:pt x="177" y="153"/>
                    </a:lnTo>
                    <a:lnTo>
                      <a:pt x="176" y="155"/>
                    </a:lnTo>
                    <a:lnTo>
                      <a:pt x="175" y="157"/>
                    </a:lnTo>
                    <a:lnTo>
                      <a:pt x="174" y="164"/>
                    </a:lnTo>
                    <a:lnTo>
                      <a:pt x="169" y="169"/>
                    </a:lnTo>
                    <a:lnTo>
                      <a:pt x="168" y="169"/>
                    </a:lnTo>
                    <a:lnTo>
                      <a:pt x="167" y="169"/>
                    </a:lnTo>
                    <a:lnTo>
                      <a:pt x="166" y="171"/>
                    </a:lnTo>
                    <a:lnTo>
                      <a:pt x="165" y="171"/>
                    </a:lnTo>
                    <a:lnTo>
                      <a:pt x="163" y="173"/>
                    </a:lnTo>
                    <a:lnTo>
                      <a:pt x="161" y="174"/>
                    </a:lnTo>
                    <a:lnTo>
                      <a:pt x="159" y="174"/>
                    </a:lnTo>
                    <a:lnTo>
                      <a:pt x="156" y="174"/>
                    </a:lnTo>
                    <a:lnTo>
                      <a:pt x="153" y="175"/>
                    </a:lnTo>
                    <a:lnTo>
                      <a:pt x="151" y="175"/>
                    </a:lnTo>
                    <a:lnTo>
                      <a:pt x="149" y="176"/>
                    </a:lnTo>
                    <a:lnTo>
                      <a:pt x="146" y="177"/>
                    </a:lnTo>
                    <a:lnTo>
                      <a:pt x="144" y="178"/>
                    </a:lnTo>
                    <a:lnTo>
                      <a:pt x="142" y="179"/>
                    </a:lnTo>
                    <a:lnTo>
                      <a:pt x="141" y="181"/>
                    </a:lnTo>
                    <a:lnTo>
                      <a:pt x="140" y="183"/>
                    </a:lnTo>
                    <a:lnTo>
                      <a:pt x="139" y="186"/>
                    </a:lnTo>
                    <a:lnTo>
                      <a:pt x="139" y="188"/>
                    </a:lnTo>
                    <a:lnTo>
                      <a:pt x="139" y="190"/>
                    </a:lnTo>
                    <a:lnTo>
                      <a:pt x="140" y="192"/>
                    </a:lnTo>
                    <a:lnTo>
                      <a:pt x="140" y="193"/>
                    </a:lnTo>
                    <a:lnTo>
                      <a:pt x="141" y="194"/>
                    </a:lnTo>
                    <a:lnTo>
                      <a:pt x="142" y="194"/>
                    </a:lnTo>
                    <a:lnTo>
                      <a:pt x="143" y="195"/>
                    </a:lnTo>
                    <a:lnTo>
                      <a:pt x="144" y="196"/>
                    </a:lnTo>
                    <a:lnTo>
                      <a:pt x="150" y="201"/>
                    </a:lnTo>
                    <a:lnTo>
                      <a:pt x="154" y="203"/>
                    </a:lnTo>
                    <a:lnTo>
                      <a:pt x="157" y="205"/>
                    </a:lnTo>
                    <a:lnTo>
                      <a:pt x="161" y="206"/>
                    </a:lnTo>
                    <a:lnTo>
                      <a:pt x="164" y="206"/>
                    </a:lnTo>
                    <a:lnTo>
                      <a:pt x="165" y="206"/>
                    </a:lnTo>
                    <a:lnTo>
                      <a:pt x="169" y="206"/>
                    </a:lnTo>
                    <a:lnTo>
                      <a:pt x="174" y="205"/>
                    </a:lnTo>
                    <a:lnTo>
                      <a:pt x="177" y="204"/>
                    </a:lnTo>
                    <a:lnTo>
                      <a:pt x="185" y="202"/>
                    </a:lnTo>
                    <a:lnTo>
                      <a:pt x="190" y="200"/>
                    </a:lnTo>
                    <a:lnTo>
                      <a:pt x="191" y="200"/>
                    </a:lnTo>
                    <a:lnTo>
                      <a:pt x="195" y="200"/>
                    </a:lnTo>
                    <a:lnTo>
                      <a:pt x="196" y="200"/>
                    </a:lnTo>
                    <a:lnTo>
                      <a:pt x="198" y="200"/>
                    </a:lnTo>
                    <a:lnTo>
                      <a:pt x="201" y="199"/>
                    </a:lnTo>
                    <a:lnTo>
                      <a:pt x="205" y="199"/>
                    </a:lnTo>
                    <a:lnTo>
                      <a:pt x="206" y="199"/>
                    </a:lnTo>
                    <a:lnTo>
                      <a:pt x="207" y="200"/>
                    </a:lnTo>
                    <a:lnTo>
                      <a:pt x="208" y="200"/>
                    </a:lnTo>
                    <a:lnTo>
                      <a:pt x="209" y="200"/>
                    </a:lnTo>
                    <a:lnTo>
                      <a:pt x="212" y="201"/>
                    </a:lnTo>
                    <a:lnTo>
                      <a:pt x="214" y="201"/>
                    </a:lnTo>
                    <a:lnTo>
                      <a:pt x="216" y="202"/>
                    </a:lnTo>
                    <a:lnTo>
                      <a:pt x="218" y="202"/>
                    </a:lnTo>
                    <a:lnTo>
                      <a:pt x="220" y="203"/>
                    </a:lnTo>
                    <a:lnTo>
                      <a:pt x="222" y="203"/>
                    </a:lnTo>
                    <a:lnTo>
                      <a:pt x="224" y="203"/>
                    </a:lnTo>
                    <a:lnTo>
                      <a:pt x="228" y="203"/>
                    </a:lnTo>
                    <a:lnTo>
                      <a:pt x="234" y="201"/>
                    </a:lnTo>
                    <a:lnTo>
                      <a:pt x="241" y="198"/>
                    </a:lnTo>
                    <a:lnTo>
                      <a:pt x="244" y="196"/>
                    </a:lnTo>
                    <a:lnTo>
                      <a:pt x="249" y="194"/>
                    </a:lnTo>
                    <a:lnTo>
                      <a:pt x="251" y="193"/>
                    </a:lnTo>
                    <a:lnTo>
                      <a:pt x="254" y="191"/>
                    </a:lnTo>
                    <a:lnTo>
                      <a:pt x="260" y="188"/>
                    </a:lnTo>
                    <a:lnTo>
                      <a:pt x="265" y="187"/>
                    </a:lnTo>
                    <a:lnTo>
                      <a:pt x="268" y="187"/>
                    </a:lnTo>
                    <a:lnTo>
                      <a:pt x="270" y="187"/>
                    </a:lnTo>
                    <a:lnTo>
                      <a:pt x="275" y="188"/>
                    </a:lnTo>
                    <a:lnTo>
                      <a:pt x="275" y="189"/>
                    </a:lnTo>
                    <a:lnTo>
                      <a:pt x="277" y="193"/>
                    </a:lnTo>
                    <a:lnTo>
                      <a:pt x="278" y="194"/>
                    </a:lnTo>
                    <a:lnTo>
                      <a:pt x="282" y="201"/>
                    </a:lnTo>
                    <a:lnTo>
                      <a:pt x="284" y="206"/>
                    </a:lnTo>
                    <a:lnTo>
                      <a:pt x="288" y="213"/>
                    </a:lnTo>
                    <a:lnTo>
                      <a:pt x="288" y="214"/>
                    </a:lnTo>
                    <a:lnTo>
                      <a:pt x="289" y="217"/>
                    </a:lnTo>
                    <a:lnTo>
                      <a:pt x="289" y="219"/>
                    </a:lnTo>
                    <a:lnTo>
                      <a:pt x="290" y="222"/>
                    </a:lnTo>
                    <a:lnTo>
                      <a:pt x="291" y="226"/>
                    </a:lnTo>
                    <a:lnTo>
                      <a:pt x="291" y="230"/>
                    </a:lnTo>
                    <a:lnTo>
                      <a:pt x="291" y="232"/>
                    </a:lnTo>
                    <a:lnTo>
                      <a:pt x="292" y="233"/>
                    </a:lnTo>
                    <a:lnTo>
                      <a:pt x="293" y="238"/>
                    </a:lnTo>
                    <a:lnTo>
                      <a:pt x="293" y="241"/>
                    </a:lnTo>
                    <a:lnTo>
                      <a:pt x="294" y="244"/>
                    </a:lnTo>
                    <a:lnTo>
                      <a:pt x="294" y="245"/>
                    </a:lnTo>
                    <a:lnTo>
                      <a:pt x="295" y="250"/>
                    </a:lnTo>
                    <a:lnTo>
                      <a:pt x="296" y="254"/>
                    </a:lnTo>
                    <a:lnTo>
                      <a:pt x="297" y="255"/>
                    </a:lnTo>
                    <a:lnTo>
                      <a:pt x="298" y="257"/>
                    </a:lnTo>
                    <a:lnTo>
                      <a:pt x="302" y="258"/>
                    </a:lnTo>
                    <a:lnTo>
                      <a:pt x="299" y="260"/>
                    </a:lnTo>
                    <a:lnTo>
                      <a:pt x="299" y="261"/>
                    </a:lnTo>
                    <a:lnTo>
                      <a:pt x="302" y="261"/>
                    </a:lnTo>
                    <a:lnTo>
                      <a:pt x="303" y="261"/>
                    </a:lnTo>
                    <a:lnTo>
                      <a:pt x="315" y="264"/>
                    </a:lnTo>
                    <a:lnTo>
                      <a:pt x="314" y="266"/>
                    </a:lnTo>
                    <a:lnTo>
                      <a:pt x="309" y="273"/>
                    </a:lnTo>
                    <a:lnTo>
                      <a:pt x="308" y="276"/>
                    </a:lnTo>
                    <a:lnTo>
                      <a:pt x="308" y="277"/>
                    </a:lnTo>
                    <a:lnTo>
                      <a:pt x="298" y="289"/>
                    </a:lnTo>
                    <a:lnTo>
                      <a:pt x="296" y="291"/>
                    </a:lnTo>
                    <a:lnTo>
                      <a:pt x="294" y="293"/>
                    </a:lnTo>
                    <a:lnTo>
                      <a:pt x="290" y="297"/>
                    </a:lnTo>
                    <a:lnTo>
                      <a:pt x="286" y="301"/>
                    </a:lnTo>
                    <a:lnTo>
                      <a:pt x="284" y="304"/>
                    </a:lnTo>
                    <a:lnTo>
                      <a:pt x="280" y="308"/>
                    </a:lnTo>
                    <a:lnTo>
                      <a:pt x="280" y="310"/>
                    </a:lnTo>
                    <a:lnTo>
                      <a:pt x="280" y="321"/>
                    </a:lnTo>
                    <a:lnTo>
                      <a:pt x="267" y="322"/>
                    </a:lnTo>
                    <a:lnTo>
                      <a:pt x="266" y="321"/>
                    </a:lnTo>
                    <a:lnTo>
                      <a:pt x="260" y="322"/>
                    </a:lnTo>
                    <a:lnTo>
                      <a:pt x="260" y="321"/>
                    </a:lnTo>
                    <a:lnTo>
                      <a:pt x="259" y="322"/>
                    </a:lnTo>
                    <a:lnTo>
                      <a:pt x="259" y="323"/>
                    </a:lnTo>
                    <a:lnTo>
                      <a:pt x="258" y="323"/>
                    </a:lnTo>
                    <a:lnTo>
                      <a:pt x="258" y="325"/>
                    </a:lnTo>
                    <a:lnTo>
                      <a:pt x="258" y="327"/>
                    </a:lnTo>
                    <a:lnTo>
                      <a:pt x="257" y="328"/>
                    </a:lnTo>
                    <a:lnTo>
                      <a:pt x="257" y="329"/>
                    </a:lnTo>
                    <a:lnTo>
                      <a:pt x="257" y="330"/>
                    </a:lnTo>
                    <a:lnTo>
                      <a:pt x="256" y="330"/>
                    </a:lnTo>
                    <a:lnTo>
                      <a:pt x="256" y="331"/>
                    </a:lnTo>
                    <a:lnTo>
                      <a:pt x="255" y="332"/>
                    </a:lnTo>
                    <a:lnTo>
                      <a:pt x="255" y="333"/>
                    </a:lnTo>
                    <a:lnTo>
                      <a:pt x="255" y="334"/>
                    </a:lnTo>
                    <a:lnTo>
                      <a:pt x="255" y="335"/>
                    </a:lnTo>
                    <a:lnTo>
                      <a:pt x="255" y="336"/>
                    </a:lnTo>
                    <a:lnTo>
                      <a:pt x="254" y="337"/>
                    </a:lnTo>
                    <a:lnTo>
                      <a:pt x="254" y="338"/>
                    </a:lnTo>
                    <a:lnTo>
                      <a:pt x="254" y="340"/>
                    </a:lnTo>
                    <a:lnTo>
                      <a:pt x="254" y="341"/>
                    </a:lnTo>
                    <a:lnTo>
                      <a:pt x="254" y="342"/>
                    </a:lnTo>
                    <a:lnTo>
                      <a:pt x="250" y="342"/>
                    </a:lnTo>
                    <a:lnTo>
                      <a:pt x="250" y="345"/>
                    </a:lnTo>
                    <a:lnTo>
                      <a:pt x="250" y="346"/>
                    </a:lnTo>
                    <a:lnTo>
                      <a:pt x="250" y="349"/>
                    </a:lnTo>
                    <a:lnTo>
                      <a:pt x="250" y="353"/>
                    </a:lnTo>
                    <a:lnTo>
                      <a:pt x="250" y="358"/>
                    </a:lnTo>
                    <a:lnTo>
                      <a:pt x="250" y="360"/>
                    </a:lnTo>
                    <a:lnTo>
                      <a:pt x="250" y="362"/>
                    </a:lnTo>
                    <a:lnTo>
                      <a:pt x="233" y="362"/>
                    </a:lnTo>
                    <a:lnTo>
                      <a:pt x="231" y="362"/>
                    </a:lnTo>
                    <a:lnTo>
                      <a:pt x="222" y="362"/>
                    </a:lnTo>
                    <a:lnTo>
                      <a:pt x="218" y="363"/>
                    </a:lnTo>
                    <a:lnTo>
                      <a:pt x="215" y="363"/>
                    </a:lnTo>
                    <a:lnTo>
                      <a:pt x="212" y="363"/>
                    </a:lnTo>
                    <a:lnTo>
                      <a:pt x="208" y="363"/>
                    </a:lnTo>
                    <a:lnTo>
                      <a:pt x="208" y="365"/>
                    </a:lnTo>
                    <a:lnTo>
                      <a:pt x="208" y="367"/>
                    </a:lnTo>
                    <a:lnTo>
                      <a:pt x="208" y="371"/>
                    </a:lnTo>
                    <a:lnTo>
                      <a:pt x="208" y="373"/>
                    </a:lnTo>
                    <a:lnTo>
                      <a:pt x="206" y="373"/>
                    </a:lnTo>
                    <a:lnTo>
                      <a:pt x="198" y="373"/>
                    </a:lnTo>
                    <a:lnTo>
                      <a:pt x="198" y="372"/>
                    </a:lnTo>
                    <a:lnTo>
                      <a:pt x="198" y="373"/>
                    </a:lnTo>
                    <a:lnTo>
                      <a:pt x="194" y="373"/>
                    </a:lnTo>
                    <a:lnTo>
                      <a:pt x="188" y="373"/>
                    </a:lnTo>
                    <a:lnTo>
                      <a:pt x="187" y="373"/>
                    </a:lnTo>
                    <a:lnTo>
                      <a:pt x="181" y="373"/>
                    </a:lnTo>
                    <a:lnTo>
                      <a:pt x="178" y="374"/>
                    </a:lnTo>
                    <a:lnTo>
                      <a:pt x="162" y="379"/>
                    </a:lnTo>
                    <a:lnTo>
                      <a:pt x="163" y="383"/>
                    </a:lnTo>
                    <a:lnTo>
                      <a:pt x="154" y="383"/>
                    </a:lnTo>
                    <a:lnTo>
                      <a:pt x="147" y="383"/>
                    </a:lnTo>
                    <a:lnTo>
                      <a:pt x="147" y="373"/>
                    </a:lnTo>
                    <a:lnTo>
                      <a:pt x="121" y="373"/>
                    </a:lnTo>
                    <a:lnTo>
                      <a:pt x="75" y="372"/>
                    </a:lnTo>
                    <a:lnTo>
                      <a:pt x="43" y="372"/>
                    </a:lnTo>
                    <a:lnTo>
                      <a:pt x="40" y="372"/>
                    </a:lnTo>
                    <a:lnTo>
                      <a:pt x="40" y="371"/>
                    </a:lnTo>
                    <a:lnTo>
                      <a:pt x="41" y="370"/>
                    </a:lnTo>
                    <a:lnTo>
                      <a:pt x="41" y="368"/>
                    </a:lnTo>
                    <a:lnTo>
                      <a:pt x="43" y="367"/>
                    </a:lnTo>
                    <a:lnTo>
                      <a:pt x="44" y="366"/>
                    </a:lnTo>
                    <a:lnTo>
                      <a:pt x="44" y="365"/>
                    </a:lnTo>
                    <a:lnTo>
                      <a:pt x="45" y="365"/>
                    </a:lnTo>
                    <a:lnTo>
                      <a:pt x="46" y="365"/>
                    </a:lnTo>
                    <a:lnTo>
                      <a:pt x="49" y="365"/>
                    </a:lnTo>
                    <a:lnTo>
                      <a:pt x="53" y="365"/>
                    </a:lnTo>
                    <a:lnTo>
                      <a:pt x="54" y="365"/>
                    </a:lnTo>
                    <a:lnTo>
                      <a:pt x="56" y="363"/>
                    </a:lnTo>
                    <a:lnTo>
                      <a:pt x="56" y="362"/>
                    </a:lnTo>
                    <a:lnTo>
                      <a:pt x="56" y="360"/>
                    </a:lnTo>
                    <a:lnTo>
                      <a:pt x="56" y="358"/>
                    </a:lnTo>
                    <a:lnTo>
                      <a:pt x="56" y="356"/>
                    </a:lnTo>
                    <a:lnTo>
                      <a:pt x="54" y="355"/>
                    </a:lnTo>
                    <a:lnTo>
                      <a:pt x="52" y="353"/>
                    </a:lnTo>
                    <a:lnTo>
                      <a:pt x="51" y="351"/>
                    </a:lnTo>
                    <a:lnTo>
                      <a:pt x="51" y="350"/>
                    </a:lnTo>
                    <a:lnTo>
                      <a:pt x="50" y="349"/>
                    </a:lnTo>
                    <a:lnTo>
                      <a:pt x="49" y="348"/>
                    </a:lnTo>
                    <a:lnTo>
                      <a:pt x="48" y="345"/>
                    </a:lnTo>
                    <a:lnTo>
                      <a:pt x="47" y="343"/>
                    </a:lnTo>
                    <a:lnTo>
                      <a:pt x="45" y="338"/>
                    </a:lnTo>
                    <a:lnTo>
                      <a:pt x="45" y="337"/>
                    </a:lnTo>
                    <a:lnTo>
                      <a:pt x="44" y="334"/>
                    </a:lnTo>
                    <a:lnTo>
                      <a:pt x="43" y="332"/>
                    </a:lnTo>
                    <a:lnTo>
                      <a:pt x="41" y="329"/>
                    </a:lnTo>
                    <a:lnTo>
                      <a:pt x="40" y="327"/>
                    </a:lnTo>
                    <a:lnTo>
                      <a:pt x="40" y="325"/>
                    </a:lnTo>
                    <a:lnTo>
                      <a:pt x="40" y="323"/>
                    </a:lnTo>
                    <a:lnTo>
                      <a:pt x="40" y="322"/>
                    </a:lnTo>
                    <a:lnTo>
                      <a:pt x="41" y="320"/>
                    </a:lnTo>
                    <a:lnTo>
                      <a:pt x="41" y="318"/>
                    </a:lnTo>
                    <a:lnTo>
                      <a:pt x="41" y="314"/>
                    </a:lnTo>
                    <a:lnTo>
                      <a:pt x="41" y="311"/>
                    </a:lnTo>
                    <a:lnTo>
                      <a:pt x="41" y="309"/>
                    </a:lnTo>
                    <a:lnTo>
                      <a:pt x="43" y="308"/>
                    </a:lnTo>
                    <a:lnTo>
                      <a:pt x="43" y="305"/>
                    </a:lnTo>
                    <a:lnTo>
                      <a:pt x="44" y="302"/>
                    </a:lnTo>
                    <a:lnTo>
                      <a:pt x="44" y="301"/>
                    </a:lnTo>
                    <a:lnTo>
                      <a:pt x="44" y="298"/>
                    </a:lnTo>
                    <a:lnTo>
                      <a:pt x="44" y="297"/>
                    </a:lnTo>
                    <a:lnTo>
                      <a:pt x="43" y="295"/>
                    </a:lnTo>
                    <a:lnTo>
                      <a:pt x="43" y="294"/>
                    </a:lnTo>
                    <a:lnTo>
                      <a:pt x="41" y="292"/>
                    </a:lnTo>
                    <a:lnTo>
                      <a:pt x="41" y="291"/>
                    </a:lnTo>
                    <a:lnTo>
                      <a:pt x="41" y="290"/>
                    </a:lnTo>
                    <a:lnTo>
                      <a:pt x="43" y="288"/>
                    </a:lnTo>
                    <a:lnTo>
                      <a:pt x="43" y="285"/>
                    </a:lnTo>
                    <a:lnTo>
                      <a:pt x="44" y="285"/>
                    </a:lnTo>
                    <a:lnTo>
                      <a:pt x="45" y="283"/>
                    </a:lnTo>
                    <a:lnTo>
                      <a:pt x="46" y="282"/>
                    </a:lnTo>
                    <a:lnTo>
                      <a:pt x="47" y="282"/>
                    </a:lnTo>
                    <a:lnTo>
                      <a:pt x="48" y="282"/>
                    </a:lnTo>
                    <a:lnTo>
                      <a:pt x="49" y="280"/>
                    </a:lnTo>
                    <a:lnTo>
                      <a:pt x="50" y="278"/>
                    </a:lnTo>
                    <a:lnTo>
                      <a:pt x="50" y="277"/>
                    </a:lnTo>
                    <a:lnTo>
                      <a:pt x="48" y="271"/>
                    </a:lnTo>
                    <a:lnTo>
                      <a:pt x="47" y="263"/>
                    </a:lnTo>
                    <a:lnTo>
                      <a:pt x="47" y="258"/>
                    </a:lnTo>
                    <a:lnTo>
                      <a:pt x="47" y="256"/>
                    </a:lnTo>
                    <a:lnTo>
                      <a:pt x="48" y="255"/>
                    </a:lnTo>
                    <a:lnTo>
                      <a:pt x="49" y="254"/>
                    </a:lnTo>
                    <a:lnTo>
                      <a:pt x="51" y="254"/>
                    </a:lnTo>
                    <a:lnTo>
                      <a:pt x="56" y="252"/>
                    </a:lnTo>
                    <a:lnTo>
                      <a:pt x="56" y="250"/>
                    </a:lnTo>
                    <a:lnTo>
                      <a:pt x="56" y="248"/>
                    </a:lnTo>
                    <a:lnTo>
                      <a:pt x="53" y="244"/>
                    </a:lnTo>
                    <a:lnTo>
                      <a:pt x="53" y="243"/>
                    </a:lnTo>
                    <a:lnTo>
                      <a:pt x="53" y="240"/>
                    </a:lnTo>
                    <a:lnTo>
                      <a:pt x="53" y="237"/>
                    </a:lnTo>
                    <a:lnTo>
                      <a:pt x="54" y="234"/>
                    </a:lnTo>
                    <a:lnTo>
                      <a:pt x="54" y="231"/>
                    </a:lnTo>
                    <a:lnTo>
                      <a:pt x="54" y="227"/>
                    </a:lnTo>
                    <a:lnTo>
                      <a:pt x="54" y="226"/>
                    </a:lnTo>
                    <a:lnTo>
                      <a:pt x="53" y="224"/>
                    </a:lnTo>
                    <a:lnTo>
                      <a:pt x="53" y="221"/>
                    </a:lnTo>
                    <a:lnTo>
                      <a:pt x="52" y="220"/>
                    </a:lnTo>
                    <a:lnTo>
                      <a:pt x="51" y="219"/>
                    </a:lnTo>
                    <a:lnTo>
                      <a:pt x="51" y="218"/>
                    </a:lnTo>
                    <a:lnTo>
                      <a:pt x="49" y="215"/>
                    </a:lnTo>
                    <a:lnTo>
                      <a:pt x="47" y="212"/>
                    </a:lnTo>
                    <a:lnTo>
                      <a:pt x="46" y="211"/>
                    </a:lnTo>
                    <a:lnTo>
                      <a:pt x="46" y="208"/>
                    </a:lnTo>
                    <a:lnTo>
                      <a:pt x="46" y="207"/>
                    </a:lnTo>
                    <a:lnTo>
                      <a:pt x="44" y="204"/>
                    </a:lnTo>
                    <a:lnTo>
                      <a:pt x="44" y="203"/>
                    </a:lnTo>
                    <a:lnTo>
                      <a:pt x="41" y="202"/>
                    </a:lnTo>
                    <a:lnTo>
                      <a:pt x="40" y="200"/>
                    </a:lnTo>
                    <a:lnTo>
                      <a:pt x="39" y="200"/>
                    </a:lnTo>
                    <a:lnTo>
                      <a:pt x="39" y="199"/>
                    </a:lnTo>
                    <a:lnTo>
                      <a:pt x="39" y="196"/>
                    </a:lnTo>
                    <a:lnTo>
                      <a:pt x="40" y="193"/>
                    </a:lnTo>
                    <a:lnTo>
                      <a:pt x="41" y="190"/>
                    </a:lnTo>
                    <a:lnTo>
                      <a:pt x="41" y="188"/>
                    </a:lnTo>
                    <a:lnTo>
                      <a:pt x="40" y="186"/>
                    </a:lnTo>
                    <a:lnTo>
                      <a:pt x="39" y="183"/>
                    </a:lnTo>
                    <a:lnTo>
                      <a:pt x="38" y="181"/>
                    </a:lnTo>
                    <a:lnTo>
                      <a:pt x="38" y="180"/>
                    </a:lnTo>
                    <a:lnTo>
                      <a:pt x="36" y="177"/>
                    </a:lnTo>
                    <a:lnTo>
                      <a:pt x="35" y="174"/>
                    </a:lnTo>
                    <a:lnTo>
                      <a:pt x="35" y="171"/>
                    </a:lnTo>
                    <a:lnTo>
                      <a:pt x="34" y="170"/>
                    </a:lnTo>
                    <a:lnTo>
                      <a:pt x="34" y="168"/>
                    </a:lnTo>
                    <a:lnTo>
                      <a:pt x="33" y="167"/>
                    </a:lnTo>
                    <a:lnTo>
                      <a:pt x="32" y="166"/>
                    </a:lnTo>
                    <a:lnTo>
                      <a:pt x="30" y="164"/>
                    </a:lnTo>
                    <a:lnTo>
                      <a:pt x="27" y="162"/>
                    </a:lnTo>
                    <a:lnTo>
                      <a:pt x="26" y="161"/>
                    </a:lnTo>
                    <a:lnTo>
                      <a:pt x="25" y="160"/>
                    </a:lnTo>
                    <a:lnTo>
                      <a:pt x="22" y="158"/>
                    </a:lnTo>
                    <a:lnTo>
                      <a:pt x="21" y="158"/>
                    </a:lnTo>
                    <a:lnTo>
                      <a:pt x="20" y="157"/>
                    </a:lnTo>
                    <a:lnTo>
                      <a:pt x="19" y="156"/>
                    </a:lnTo>
                    <a:lnTo>
                      <a:pt x="18" y="155"/>
                    </a:lnTo>
                    <a:lnTo>
                      <a:pt x="14" y="153"/>
                    </a:lnTo>
                    <a:lnTo>
                      <a:pt x="13" y="152"/>
                    </a:lnTo>
                    <a:lnTo>
                      <a:pt x="12" y="152"/>
                    </a:lnTo>
                    <a:lnTo>
                      <a:pt x="11" y="151"/>
                    </a:lnTo>
                    <a:lnTo>
                      <a:pt x="10" y="150"/>
                    </a:lnTo>
                    <a:lnTo>
                      <a:pt x="9" y="149"/>
                    </a:lnTo>
                    <a:lnTo>
                      <a:pt x="9" y="147"/>
                    </a:lnTo>
                    <a:lnTo>
                      <a:pt x="9" y="145"/>
                    </a:lnTo>
                    <a:lnTo>
                      <a:pt x="9" y="144"/>
                    </a:lnTo>
                    <a:lnTo>
                      <a:pt x="9" y="143"/>
                    </a:lnTo>
                    <a:lnTo>
                      <a:pt x="9" y="142"/>
                    </a:lnTo>
                    <a:lnTo>
                      <a:pt x="10" y="141"/>
                    </a:lnTo>
                    <a:lnTo>
                      <a:pt x="11" y="141"/>
                    </a:lnTo>
                    <a:lnTo>
                      <a:pt x="11" y="140"/>
                    </a:lnTo>
                    <a:lnTo>
                      <a:pt x="13" y="140"/>
                    </a:lnTo>
                    <a:lnTo>
                      <a:pt x="14" y="137"/>
                    </a:lnTo>
                    <a:lnTo>
                      <a:pt x="14" y="132"/>
                    </a:lnTo>
                    <a:lnTo>
                      <a:pt x="13" y="130"/>
                    </a:lnTo>
                    <a:lnTo>
                      <a:pt x="11" y="128"/>
                    </a:lnTo>
                    <a:lnTo>
                      <a:pt x="8" y="126"/>
                    </a:lnTo>
                    <a:lnTo>
                      <a:pt x="6" y="124"/>
                    </a:lnTo>
                    <a:lnTo>
                      <a:pt x="5" y="123"/>
                    </a:lnTo>
                    <a:lnTo>
                      <a:pt x="4" y="122"/>
                    </a:lnTo>
                    <a:lnTo>
                      <a:pt x="0" y="118"/>
                    </a:lnTo>
                    <a:lnTo>
                      <a:pt x="0" y="117"/>
                    </a:lnTo>
                    <a:lnTo>
                      <a:pt x="0" y="116"/>
                    </a:lnTo>
                    <a:lnTo>
                      <a:pt x="0" y="115"/>
                    </a:lnTo>
                    <a:lnTo>
                      <a:pt x="0" y="114"/>
                    </a:lnTo>
                    <a:lnTo>
                      <a:pt x="1" y="113"/>
                    </a:lnTo>
                    <a:lnTo>
                      <a:pt x="4" y="113"/>
                    </a:lnTo>
                    <a:lnTo>
                      <a:pt x="8" y="113"/>
                    </a:lnTo>
                    <a:lnTo>
                      <a:pt x="10" y="113"/>
                    </a:lnTo>
                    <a:lnTo>
                      <a:pt x="11" y="112"/>
                    </a:lnTo>
                    <a:lnTo>
                      <a:pt x="12" y="111"/>
                    </a:lnTo>
                    <a:lnTo>
                      <a:pt x="12" y="109"/>
                    </a:lnTo>
                    <a:lnTo>
                      <a:pt x="12" y="108"/>
                    </a:lnTo>
                    <a:lnTo>
                      <a:pt x="12" y="105"/>
                    </a:lnTo>
                    <a:lnTo>
                      <a:pt x="12" y="104"/>
                    </a:lnTo>
                    <a:lnTo>
                      <a:pt x="13" y="103"/>
                    </a:lnTo>
                    <a:lnTo>
                      <a:pt x="12" y="100"/>
                    </a:lnTo>
                    <a:lnTo>
                      <a:pt x="12" y="98"/>
                    </a:lnTo>
                    <a:lnTo>
                      <a:pt x="13" y="91"/>
                    </a:lnTo>
                    <a:lnTo>
                      <a:pt x="13" y="88"/>
                    </a:lnTo>
                    <a:lnTo>
                      <a:pt x="13" y="87"/>
                    </a:lnTo>
                    <a:lnTo>
                      <a:pt x="13" y="85"/>
                    </a:lnTo>
                    <a:lnTo>
                      <a:pt x="13" y="76"/>
                    </a:lnTo>
                    <a:lnTo>
                      <a:pt x="13" y="75"/>
                    </a:lnTo>
                    <a:lnTo>
                      <a:pt x="13" y="74"/>
                    </a:lnTo>
                    <a:lnTo>
                      <a:pt x="13" y="68"/>
                    </a:lnTo>
                    <a:lnTo>
                      <a:pt x="13" y="67"/>
                    </a:lnTo>
                    <a:lnTo>
                      <a:pt x="13" y="66"/>
                    </a:lnTo>
                    <a:lnTo>
                      <a:pt x="12" y="61"/>
                    </a:lnTo>
                    <a:lnTo>
                      <a:pt x="12" y="60"/>
                    </a:lnTo>
                    <a:lnTo>
                      <a:pt x="12" y="58"/>
                    </a:lnTo>
                    <a:lnTo>
                      <a:pt x="12" y="57"/>
                    </a:lnTo>
                    <a:lnTo>
                      <a:pt x="12" y="54"/>
                    </a:lnTo>
                    <a:lnTo>
                      <a:pt x="12" y="50"/>
                    </a:lnTo>
                    <a:lnTo>
                      <a:pt x="12" y="45"/>
                    </a:lnTo>
                    <a:lnTo>
                      <a:pt x="12" y="44"/>
                    </a:lnTo>
                    <a:lnTo>
                      <a:pt x="11" y="41"/>
                    </a:lnTo>
                    <a:lnTo>
                      <a:pt x="11" y="38"/>
                    </a:lnTo>
                    <a:lnTo>
                      <a:pt x="10" y="37"/>
                    </a:lnTo>
                    <a:lnTo>
                      <a:pt x="10" y="36"/>
                    </a:lnTo>
                    <a:lnTo>
                      <a:pt x="10" y="34"/>
                    </a:lnTo>
                    <a:lnTo>
                      <a:pt x="10" y="33"/>
                    </a:lnTo>
                    <a:lnTo>
                      <a:pt x="11" y="32"/>
                    </a:lnTo>
                    <a:lnTo>
                      <a:pt x="11" y="31"/>
                    </a:lnTo>
                    <a:lnTo>
                      <a:pt x="13" y="29"/>
                    </a:lnTo>
                    <a:lnTo>
                      <a:pt x="14" y="28"/>
                    </a:lnTo>
                    <a:lnTo>
                      <a:pt x="15" y="27"/>
                    </a:lnTo>
                    <a:lnTo>
                      <a:pt x="17" y="26"/>
                    </a:lnTo>
                    <a:lnTo>
                      <a:pt x="18" y="26"/>
                    </a:lnTo>
                    <a:lnTo>
                      <a:pt x="21" y="25"/>
                    </a:lnTo>
                    <a:lnTo>
                      <a:pt x="24" y="25"/>
                    </a:lnTo>
                    <a:lnTo>
                      <a:pt x="25" y="24"/>
                    </a:lnTo>
                    <a:lnTo>
                      <a:pt x="26" y="24"/>
                    </a:lnTo>
                    <a:lnTo>
                      <a:pt x="27" y="23"/>
                    </a:lnTo>
                    <a:lnTo>
                      <a:pt x="28" y="21"/>
                    </a:lnTo>
                    <a:lnTo>
                      <a:pt x="28" y="19"/>
                    </a:lnTo>
                    <a:lnTo>
                      <a:pt x="28" y="18"/>
                    </a:lnTo>
                    <a:lnTo>
                      <a:pt x="30" y="12"/>
                    </a:lnTo>
                    <a:lnTo>
                      <a:pt x="31" y="11"/>
                    </a:lnTo>
                    <a:lnTo>
                      <a:pt x="32" y="9"/>
                    </a:lnTo>
                    <a:lnTo>
                      <a:pt x="34" y="8"/>
                    </a:lnTo>
                    <a:lnTo>
                      <a:pt x="36" y="7"/>
                    </a:lnTo>
                    <a:lnTo>
                      <a:pt x="38" y="6"/>
                    </a:lnTo>
                    <a:lnTo>
                      <a:pt x="41" y="4"/>
                    </a:lnTo>
                    <a:lnTo>
                      <a:pt x="41" y="3"/>
                    </a:lnTo>
                    <a:lnTo>
                      <a:pt x="45" y="1"/>
                    </a:lnTo>
                    <a:lnTo>
                      <a:pt x="46" y="0"/>
                    </a:lnTo>
                    <a:lnTo>
                      <a:pt x="47" y="1"/>
                    </a:lnTo>
                    <a:lnTo>
                      <a:pt x="51" y="2"/>
                    </a:lnTo>
                    <a:lnTo>
                      <a:pt x="53" y="3"/>
                    </a:lnTo>
                    <a:lnTo>
                      <a:pt x="54" y="4"/>
                    </a:lnTo>
                    <a:lnTo>
                      <a:pt x="58" y="6"/>
                    </a:lnTo>
                    <a:lnTo>
                      <a:pt x="60" y="8"/>
                    </a:lnTo>
                    <a:lnTo>
                      <a:pt x="60" y="9"/>
                    </a:lnTo>
                    <a:lnTo>
                      <a:pt x="62" y="9"/>
                    </a:lnTo>
                    <a:lnTo>
                      <a:pt x="63" y="10"/>
                    </a:lnTo>
                    <a:lnTo>
                      <a:pt x="64" y="10"/>
                    </a:lnTo>
                    <a:lnTo>
                      <a:pt x="66" y="10"/>
                    </a:lnTo>
                    <a:lnTo>
                      <a:pt x="69" y="9"/>
                    </a:lnTo>
                    <a:lnTo>
                      <a:pt x="70" y="8"/>
                    </a:lnTo>
                    <a:lnTo>
                      <a:pt x="70" y="7"/>
                    </a:lnTo>
                    <a:lnTo>
                      <a:pt x="71" y="4"/>
                    </a:lnTo>
                    <a:lnTo>
                      <a:pt x="72" y="2"/>
                    </a:lnTo>
                    <a:lnTo>
                      <a:pt x="73" y="1"/>
                    </a:lnTo>
                    <a:lnTo>
                      <a:pt x="76" y="0"/>
                    </a:lnTo>
                    <a:lnTo>
                      <a:pt x="77" y="0"/>
                    </a:lnTo>
                    <a:lnTo>
                      <a:pt x="79" y="0"/>
                    </a:lnTo>
                    <a:lnTo>
                      <a:pt x="80" y="0"/>
                    </a:lnTo>
                    <a:lnTo>
                      <a:pt x="83" y="1"/>
                    </a:lnTo>
                    <a:lnTo>
                      <a:pt x="85" y="2"/>
                    </a:lnTo>
                    <a:lnTo>
                      <a:pt x="87" y="3"/>
                    </a:lnTo>
                    <a:lnTo>
                      <a:pt x="89" y="4"/>
                    </a:lnTo>
                    <a:lnTo>
                      <a:pt x="90" y="6"/>
                    </a:lnTo>
                    <a:lnTo>
                      <a:pt x="92" y="7"/>
                    </a:lnTo>
                    <a:lnTo>
                      <a:pt x="96" y="10"/>
                    </a:lnTo>
                    <a:lnTo>
                      <a:pt x="97" y="11"/>
                    </a:lnTo>
                    <a:lnTo>
                      <a:pt x="97" y="12"/>
                    </a:lnTo>
                    <a:lnTo>
                      <a:pt x="98" y="13"/>
                    </a:lnTo>
                    <a:lnTo>
                      <a:pt x="98" y="15"/>
                    </a:lnTo>
                    <a:lnTo>
                      <a:pt x="99" y="15"/>
                    </a:lnTo>
                    <a:lnTo>
                      <a:pt x="99" y="16"/>
                    </a:lnTo>
                    <a:lnTo>
                      <a:pt x="101" y="19"/>
                    </a:lnTo>
                    <a:close/>
                  </a:path>
                </a:pathLst>
              </a:custGeom>
              <a:solidFill>
                <a:srgbClr val="0C4689"/>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69" name="Freeform 297">
                <a:extLst>
                  <a:ext uri="{FF2B5EF4-FFF2-40B4-BE49-F238E27FC236}">
                    <a16:creationId xmlns:a16="http://schemas.microsoft.com/office/drawing/2014/main" id="{1E1C8B9A-EF24-CE46-4929-D9E45490CE80}"/>
                  </a:ext>
                </a:extLst>
              </p:cNvPr>
              <p:cNvSpPr>
                <a:spLocks/>
              </p:cNvSpPr>
              <p:nvPr/>
            </p:nvSpPr>
            <p:spPr bwMode="auto">
              <a:xfrm>
                <a:off x="2651126" y="3614738"/>
                <a:ext cx="792163" cy="620713"/>
              </a:xfrm>
              <a:custGeom>
                <a:avLst/>
                <a:gdLst>
                  <a:gd name="T0" fmla="*/ 421 w 499"/>
                  <a:gd name="T1" fmla="*/ 19 h 391"/>
                  <a:gd name="T2" fmla="*/ 425 w 499"/>
                  <a:gd name="T3" fmla="*/ 31 h 391"/>
                  <a:gd name="T4" fmla="*/ 444 w 499"/>
                  <a:gd name="T5" fmla="*/ 45 h 391"/>
                  <a:gd name="T6" fmla="*/ 452 w 499"/>
                  <a:gd name="T7" fmla="*/ 68 h 391"/>
                  <a:gd name="T8" fmla="*/ 457 w 499"/>
                  <a:gd name="T9" fmla="*/ 89 h 391"/>
                  <a:gd name="T10" fmla="*/ 465 w 499"/>
                  <a:gd name="T11" fmla="*/ 112 h 391"/>
                  <a:gd name="T12" fmla="*/ 458 w 499"/>
                  <a:gd name="T13" fmla="*/ 134 h 391"/>
                  <a:gd name="T14" fmla="*/ 455 w 499"/>
                  <a:gd name="T15" fmla="*/ 163 h 391"/>
                  <a:gd name="T16" fmla="*/ 455 w 499"/>
                  <a:gd name="T17" fmla="*/ 180 h 391"/>
                  <a:gd name="T18" fmla="*/ 451 w 499"/>
                  <a:gd name="T19" fmla="*/ 205 h 391"/>
                  <a:gd name="T20" fmla="*/ 462 w 499"/>
                  <a:gd name="T21" fmla="*/ 229 h 391"/>
                  <a:gd name="T22" fmla="*/ 457 w 499"/>
                  <a:gd name="T23" fmla="*/ 243 h 391"/>
                  <a:gd name="T24" fmla="*/ 454 w 499"/>
                  <a:gd name="T25" fmla="*/ 262 h 391"/>
                  <a:gd name="T26" fmla="*/ 474 w 499"/>
                  <a:gd name="T27" fmla="*/ 285 h 391"/>
                  <a:gd name="T28" fmla="*/ 499 w 499"/>
                  <a:gd name="T29" fmla="*/ 323 h 391"/>
                  <a:gd name="T30" fmla="*/ 415 w 499"/>
                  <a:gd name="T31" fmla="*/ 321 h 391"/>
                  <a:gd name="T32" fmla="*/ 404 w 499"/>
                  <a:gd name="T33" fmla="*/ 316 h 391"/>
                  <a:gd name="T34" fmla="*/ 394 w 499"/>
                  <a:gd name="T35" fmla="*/ 313 h 391"/>
                  <a:gd name="T36" fmla="*/ 385 w 499"/>
                  <a:gd name="T37" fmla="*/ 311 h 391"/>
                  <a:gd name="T38" fmla="*/ 344 w 499"/>
                  <a:gd name="T39" fmla="*/ 322 h 391"/>
                  <a:gd name="T40" fmla="*/ 336 w 499"/>
                  <a:gd name="T41" fmla="*/ 321 h 391"/>
                  <a:gd name="T42" fmla="*/ 327 w 499"/>
                  <a:gd name="T43" fmla="*/ 316 h 391"/>
                  <a:gd name="T44" fmla="*/ 320 w 499"/>
                  <a:gd name="T45" fmla="*/ 313 h 391"/>
                  <a:gd name="T46" fmla="*/ 314 w 499"/>
                  <a:gd name="T47" fmla="*/ 322 h 391"/>
                  <a:gd name="T48" fmla="*/ 314 w 499"/>
                  <a:gd name="T49" fmla="*/ 331 h 391"/>
                  <a:gd name="T50" fmla="*/ 308 w 499"/>
                  <a:gd name="T51" fmla="*/ 341 h 391"/>
                  <a:gd name="T52" fmla="*/ 299 w 499"/>
                  <a:gd name="T53" fmla="*/ 343 h 391"/>
                  <a:gd name="T54" fmla="*/ 292 w 499"/>
                  <a:gd name="T55" fmla="*/ 342 h 391"/>
                  <a:gd name="T56" fmla="*/ 286 w 499"/>
                  <a:gd name="T57" fmla="*/ 348 h 391"/>
                  <a:gd name="T58" fmla="*/ 277 w 499"/>
                  <a:gd name="T59" fmla="*/ 342 h 391"/>
                  <a:gd name="T60" fmla="*/ 274 w 499"/>
                  <a:gd name="T61" fmla="*/ 335 h 391"/>
                  <a:gd name="T62" fmla="*/ 267 w 499"/>
                  <a:gd name="T63" fmla="*/ 337 h 391"/>
                  <a:gd name="T64" fmla="*/ 262 w 499"/>
                  <a:gd name="T65" fmla="*/ 343 h 391"/>
                  <a:gd name="T66" fmla="*/ 254 w 499"/>
                  <a:gd name="T67" fmla="*/ 347 h 391"/>
                  <a:gd name="T68" fmla="*/ 250 w 499"/>
                  <a:gd name="T69" fmla="*/ 356 h 391"/>
                  <a:gd name="T70" fmla="*/ 249 w 499"/>
                  <a:gd name="T71" fmla="*/ 365 h 391"/>
                  <a:gd name="T72" fmla="*/ 228 w 499"/>
                  <a:gd name="T73" fmla="*/ 381 h 391"/>
                  <a:gd name="T74" fmla="*/ 194 w 499"/>
                  <a:gd name="T75" fmla="*/ 314 h 391"/>
                  <a:gd name="T76" fmla="*/ 147 w 499"/>
                  <a:gd name="T77" fmla="*/ 263 h 391"/>
                  <a:gd name="T78" fmla="*/ 58 w 499"/>
                  <a:gd name="T79" fmla="*/ 263 h 391"/>
                  <a:gd name="T80" fmla="*/ 5 w 499"/>
                  <a:gd name="T81" fmla="*/ 263 h 391"/>
                  <a:gd name="T82" fmla="*/ 5 w 499"/>
                  <a:gd name="T83" fmla="*/ 257 h 391"/>
                  <a:gd name="T84" fmla="*/ 9 w 499"/>
                  <a:gd name="T85" fmla="*/ 252 h 391"/>
                  <a:gd name="T86" fmla="*/ 18 w 499"/>
                  <a:gd name="T87" fmla="*/ 250 h 391"/>
                  <a:gd name="T88" fmla="*/ 18 w 499"/>
                  <a:gd name="T89" fmla="*/ 243 h 391"/>
                  <a:gd name="T90" fmla="*/ 20 w 499"/>
                  <a:gd name="T91" fmla="*/ 235 h 391"/>
                  <a:gd name="T92" fmla="*/ 22 w 499"/>
                  <a:gd name="T93" fmla="*/ 229 h 391"/>
                  <a:gd name="T94" fmla="*/ 26 w 499"/>
                  <a:gd name="T95" fmla="*/ 225 h 391"/>
                  <a:gd name="T96" fmla="*/ 34 w 499"/>
                  <a:gd name="T97" fmla="*/ 224 h 391"/>
                  <a:gd name="T98" fmla="*/ 41 w 499"/>
                  <a:gd name="T99" fmla="*/ 223 h 391"/>
                  <a:gd name="T100" fmla="*/ 48 w 499"/>
                  <a:gd name="T101" fmla="*/ 222 h 391"/>
                  <a:gd name="T102" fmla="*/ 141 w 499"/>
                  <a:gd name="T103" fmla="*/ 221 h 391"/>
                  <a:gd name="T104" fmla="*/ 173 w 499"/>
                  <a:gd name="T105" fmla="*/ 167 h 391"/>
                  <a:gd name="T106" fmla="*/ 177 w 499"/>
                  <a:gd name="T107" fmla="*/ 158 h 391"/>
                  <a:gd name="T108" fmla="*/ 178 w 499"/>
                  <a:gd name="T109" fmla="*/ 146 h 391"/>
                  <a:gd name="T110" fmla="*/ 185 w 499"/>
                  <a:gd name="T111" fmla="*/ 135 h 391"/>
                  <a:gd name="T112" fmla="*/ 194 w 499"/>
                  <a:gd name="T113" fmla="*/ 126 h 391"/>
                  <a:gd name="T114" fmla="*/ 197 w 499"/>
                  <a:gd name="T115" fmla="*/ 79 h 391"/>
                  <a:gd name="T116" fmla="*/ 192 w 499"/>
                  <a:gd name="T117" fmla="*/ 57 h 391"/>
                  <a:gd name="T118" fmla="*/ 185 w 499"/>
                  <a:gd name="T119" fmla="*/ 51 h 391"/>
                  <a:gd name="T120" fmla="*/ 174 w 499"/>
                  <a:gd name="T121" fmla="*/ 42 h 391"/>
                  <a:gd name="T122" fmla="*/ 240 w 499"/>
                  <a:gd name="T123" fmla="*/ 0 h 391"/>
                  <a:gd name="T124" fmla="*/ 402 w 499"/>
                  <a:gd name="T125" fmla="*/ 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9" h="391">
                    <a:moveTo>
                      <a:pt x="416" y="1"/>
                    </a:moveTo>
                    <a:lnTo>
                      <a:pt x="417" y="2"/>
                    </a:lnTo>
                    <a:lnTo>
                      <a:pt x="419" y="4"/>
                    </a:lnTo>
                    <a:lnTo>
                      <a:pt x="422" y="6"/>
                    </a:lnTo>
                    <a:lnTo>
                      <a:pt x="424" y="8"/>
                    </a:lnTo>
                    <a:lnTo>
                      <a:pt x="425" y="10"/>
                    </a:lnTo>
                    <a:lnTo>
                      <a:pt x="425" y="15"/>
                    </a:lnTo>
                    <a:lnTo>
                      <a:pt x="424" y="18"/>
                    </a:lnTo>
                    <a:lnTo>
                      <a:pt x="422" y="18"/>
                    </a:lnTo>
                    <a:lnTo>
                      <a:pt x="422" y="19"/>
                    </a:lnTo>
                    <a:lnTo>
                      <a:pt x="421" y="19"/>
                    </a:lnTo>
                    <a:lnTo>
                      <a:pt x="420" y="20"/>
                    </a:lnTo>
                    <a:lnTo>
                      <a:pt x="420" y="21"/>
                    </a:lnTo>
                    <a:lnTo>
                      <a:pt x="420" y="22"/>
                    </a:lnTo>
                    <a:lnTo>
                      <a:pt x="420" y="23"/>
                    </a:lnTo>
                    <a:lnTo>
                      <a:pt x="420" y="25"/>
                    </a:lnTo>
                    <a:lnTo>
                      <a:pt x="420" y="27"/>
                    </a:lnTo>
                    <a:lnTo>
                      <a:pt x="421" y="28"/>
                    </a:lnTo>
                    <a:lnTo>
                      <a:pt x="422" y="29"/>
                    </a:lnTo>
                    <a:lnTo>
                      <a:pt x="423" y="30"/>
                    </a:lnTo>
                    <a:lnTo>
                      <a:pt x="424" y="30"/>
                    </a:lnTo>
                    <a:lnTo>
                      <a:pt x="425" y="31"/>
                    </a:lnTo>
                    <a:lnTo>
                      <a:pt x="429" y="33"/>
                    </a:lnTo>
                    <a:lnTo>
                      <a:pt x="430" y="34"/>
                    </a:lnTo>
                    <a:lnTo>
                      <a:pt x="431" y="35"/>
                    </a:lnTo>
                    <a:lnTo>
                      <a:pt x="432" y="36"/>
                    </a:lnTo>
                    <a:lnTo>
                      <a:pt x="433" y="36"/>
                    </a:lnTo>
                    <a:lnTo>
                      <a:pt x="436" y="38"/>
                    </a:lnTo>
                    <a:lnTo>
                      <a:pt x="437" y="39"/>
                    </a:lnTo>
                    <a:lnTo>
                      <a:pt x="438" y="40"/>
                    </a:lnTo>
                    <a:lnTo>
                      <a:pt x="441" y="42"/>
                    </a:lnTo>
                    <a:lnTo>
                      <a:pt x="443" y="44"/>
                    </a:lnTo>
                    <a:lnTo>
                      <a:pt x="444" y="45"/>
                    </a:lnTo>
                    <a:lnTo>
                      <a:pt x="445" y="46"/>
                    </a:lnTo>
                    <a:lnTo>
                      <a:pt x="445" y="48"/>
                    </a:lnTo>
                    <a:lnTo>
                      <a:pt x="446" y="49"/>
                    </a:lnTo>
                    <a:lnTo>
                      <a:pt x="446" y="52"/>
                    </a:lnTo>
                    <a:lnTo>
                      <a:pt x="447" y="55"/>
                    </a:lnTo>
                    <a:lnTo>
                      <a:pt x="449" y="58"/>
                    </a:lnTo>
                    <a:lnTo>
                      <a:pt x="449" y="59"/>
                    </a:lnTo>
                    <a:lnTo>
                      <a:pt x="450" y="61"/>
                    </a:lnTo>
                    <a:lnTo>
                      <a:pt x="451" y="64"/>
                    </a:lnTo>
                    <a:lnTo>
                      <a:pt x="452" y="66"/>
                    </a:lnTo>
                    <a:lnTo>
                      <a:pt x="452" y="68"/>
                    </a:lnTo>
                    <a:lnTo>
                      <a:pt x="451" y="71"/>
                    </a:lnTo>
                    <a:lnTo>
                      <a:pt x="450" y="74"/>
                    </a:lnTo>
                    <a:lnTo>
                      <a:pt x="450" y="77"/>
                    </a:lnTo>
                    <a:lnTo>
                      <a:pt x="450" y="78"/>
                    </a:lnTo>
                    <a:lnTo>
                      <a:pt x="451" y="78"/>
                    </a:lnTo>
                    <a:lnTo>
                      <a:pt x="452" y="80"/>
                    </a:lnTo>
                    <a:lnTo>
                      <a:pt x="455" y="81"/>
                    </a:lnTo>
                    <a:lnTo>
                      <a:pt x="455" y="82"/>
                    </a:lnTo>
                    <a:lnTo>
                      <a:pt x="457" y="85"/>
                    </a:lnTo>
                    <a:lnTo>
                      <a:pt x="457" y="86"/>
                    </a:lnTo>
                    <a:lnTo>
                      <a:pt x="457" y="89"/>
                    </a:lnTo>
                    <a:lnTo>
                      <a:pt x="458" y="90"/>
                    </a:lnTo>
                    <a:lnTo>
                      <a:pt x="460" y="93"/>
                    </a:lnTo>
                    <a:lnTo>
                      <a:pt x="462" y="96"/>
                    </a:lnTo>
                    <a:lnTo>
                      <a:pt x="462" y="97"/>
                    </a:lnTo>
                    <a:lnTo>
                      <a:pt x="463" y="98"/>
                    </a:lnTo>
                    <a:lnTo>
                      <a:pt x="464" y="99"/>
                    </a:lnTo>
                    <a:lnTo>
                      <a:pt x="464" y="102"/>
                    </a:lnTo>
                    <a:lnTo>
                      <a:pt x="465" y="104"/>
                    </a:lnTo>
                    <a:lnTo>
                      <a:pt x="465" y="105"/>
                    </a:lnTo>
                    <a:lnTo>
                      <a:pt x="465" y="109"/>
                    </a:lnTo>
                    <a:lnTo>
                      <a:pt x="465" y="112"/>
                    </a:lnTo>
                    <a:lnTo>
                      <a:pt x="464" y="115"/>
                    </a:lnTo>
                    <a:lnTo>
                      <a:pt x="464" y="118"/>
                    </a:lnTo>
                    <a:lnTo>
                      <a:pt x="464" y="121"/>
                    </a:lnTo>
                    <a:lnTo>
                      <a:pt x="464" y="122"/>
                    </a:lnTo>
                    <a:lnTo>
                      <a:pt x="467" y="126"/>
                    </a:lnTo>
                    <a:lnTo>
                      <a:pt x="467" y="128"/>
                    </a:lnTo>
                    <a:lnTo>
                      <a:pt x="467" y="130"/>
                    </a:lnTo>
                    <a:lnTo>
                      <a:pt x="462" y="132"/>
                    </a:lnTo>
                    <a:lnTo>
                      <a:pt x="460" y="132"/>
                    </a:lnTo>
                    <a:lnTo>
                      <a:pt x="459" y="133"/>
                    </a:lnTo>
                    <a:lnTo>
                      <a:pt x="458" y="134"/>
                    </a:lnTo>
                    <a:lnTo>
                      <a:pt x="458" y="136"/>
                    </a:lnTo>
                    <a:lnTo>
                      <a:pt x="458" y="141"/>
                    </a:lnTo>
                    <a:lnTo>
                      <a:pt x="459" y="149"/>
                    </a:lnTo>
                    <a:lnTo>
                      <a:pt x="461" y="155"/>
                    </a:lnTo>
                    <a:lnTo>
                      <a:pt x="461" y="156"/>
                    </a:lnTo>
                    <a:lnTo>
                      <a:pt x="460" y="158"/>
                    </a:lnTo>
                    <a:lnTo>
                      <a:pt x="459" y="160"/>
                    </a:lnTo>
                    <a:lnTo>
                      <a:pt x="458" y="160"/>
                    </a:lnTo>
                    <a:lnTo>
                      <a:pt x="457" y="160"/>
                    </a:lnTo>
                    <a:lnTo>
                      <a:pt x="456" y="161"/>
                    </a:lnTo>
                    <a:lnTo>
                      <a:pt x="455" y="163"/>
                    </a:lnTo>
                    <a:lnTo>
                      <a:pt x="454" y="163"/>
                    </a:lnTo>
                    <a:lnTo>
                      <a:pt x="454" y="166"/>
                    </a:lnTo>
                    <a:lnTo>
                      <a:pt x="452" y="168"/>
                    </a:lnTo>
                    <a:lnTo>
                      <a:pt x="452" y="169"/>
                    </a:lnTo>
                    <a:lnTo>
                      <a:pt x="452" y="170"/>
                    </a:lnTo>
                    <a:lnTo>
                      <a:pt x="454" y="172"/>
                    </a:lnTo>
                    <a:lnTo>
                      <a:pt x="454" y="173"/>
                    </a:lnTo>
                    <a:lnTo>
                      <a:pt x="455" y="175"/>
                    </a:lnTo>
                    <a:lnTo>
                      <a:pt x="455" y="176"/>
                    </a:lnTo>
                    <a:lnTo>
                      <a:pt x="455" y="179"/>
                    </a:lnTo>
                    <a:lnTo>
                      <a:pt x="455" y="180"/>
                    </a:lnTo>
                    <a:lnTo>
                      <a:pt x="454" y="183"/>
                    </a:lnTo>
                    <a:lnTo>
                      <a:pt x="454" y="186"/>
                    </a:lnTo>
                    <a:lnTo>
                      <a:pt x="452" y="187"/>
                    </a:lnTo>
                    <a:lnTo>
                      <a:pt x="452" y="189"/>
                    </a:lnTo>
                    <a:lnTo>
                      <a:pt x="452" y="192"/>
                    </a:lnTo>
                    <a:lnTo>
                      <a:pt x="452" y="196"/>
                    </a:lnTo>
                    <a:lnTo>
                      <a:pt x="452" y="198"/>
                    </a:lnTo>
                    <a:lnTo>
                      <a:pt x="451" y="200"/>
                    </a:lnTo>
                    <a:lnTo>
                      <a:pt x="451" y="201"/>
                    </a:lnTo>
                    <a:lnTo>
                      <a:pt x="451" y="203"/>
                    </a:lnTo>
                    <a:lnTo>
                      <a:pt x="451" y="205"/>
                    </a:lnTo>
                    <a:lnTo>
                      <a:pt x="452" y="207"/>
                    </a:lnTo>
                    <a:lnTo>
                      <a:pt x="454" y="210"/>
                    </a:lnTo>
                    <a:lnTo>
                      <a:pt x="455" y="212"/>
                    </a:lnTo>
                    <a:lnTo>
                      <a:pt x="456" y="215"/>
                    </a:lnTo>
                    <a:lnTo>
                      <a:pt x="456" y="216"/>
                    </a:lnTo>
                    <a:lnTo>
                      <a:pt x="458" y="221"/>
                    </a:lnTo>
                    <a:lnTo>
                      <a:pt x="459" y="223"/>
                    </a:lnTo>
                    <a:lnTo>
                      <a:pt x="460" y="226"/>
                    </a:lnTo>
                    <a:lnTo>
                      <a:pt x="461" y="227"/>
                    </a:lnTo>
                    <a:lnTo>
                      <a:pt x="462" y="228"/>
                    </a:lnTo>
                    <a:lnTo>
                      <a:pt x="462" y="229"/>
                    </a:lnTo>
                    <a:lnTo>
                      <a:pt x="463" y="231"/>
                    </a:lnTo>
                    <a:lnTo>
                      <a:pt x="465" y="233"/>
                    </a:lnTo>
                    <a:lnTo>
                      <a:pt x="467" y="234"/>
                    </a:lnTo>
                    <a:lnTo>
                      <a:pt x="467" y="236"/>
                    </a:lnTo>
                    <a:lnTo>
                      <a:pt x="467" y="238"/>
                    </a:lnTo>
                    <a:lnTo>
                      <a:pt x="467" y="240"/>
                    </a:lnTo>
                    <a:lnTo>
                      <a:pt x="467" y="241"/>
                    </a:lnTo>
                    <a:lnTo>
                      <a:pt x="465" y="243"/>
                    </a:lnTo>
                    <a:lnTo>
                      <a:pt x="464" y="243"/>
                    </a:lnTo>
                    <a:lnTo>
                      <a:pt x="460" y="243"/>
                    </a:lnTo>
                    <a:lnTo>
                      <a:pt x="457" y="243"/>
                    </a:lnTo>
                    <a:lnTo>
                      <a:pt x="456" y="243"/>
                    </a:lnTo>
                    <a:lnTo>
                      <a:pt x="455" y="243"/>
                    </a:lnTo>
                    <a:lnTo>
                      <a:pt x="455" y="244"/>
                    </a:lnTo>
                    <a:lnTo>
                      <a:pt x="454" y="245"/>
                    </a:lnTo>
                    <a:lnTo>
                      <a:pt x="452" y="246"/>
                    </a:lnTo>
                    <a:lnTo>
                      <a:pt x="452" y="248"/>
                    </a:lnTo>
                    <a:lnTo>
                      <a:pt x="451" y="249"/>
                    </a:lnTo>
                    <a:lnTo>
                      <a:pt x="451" y="250"/>
                    </a:lnTo>
                    <a:lnTo>
                      <a:pt x="452" y="253"/>
                    </a:lnTo>
                    <a:lnTo>
                      <a:pt x="452" y="259"/>
                    </a:lnTo>
                    <a:lnTo>
                      <a:pt x="454" y="262"/>
                    </a:lnTo>
                    <a:lnTo>
                      <a:pt x="455" y="264"/>
                    </a:lnTo>
                    <a:lnTo>
                      <a:pt x="456" y="264"/>
                    </a:lnTo>
                    <a:lnTo>
                      <a:pt x="457" y="264"/>
                    </a:lnTo>
                    <a:lnTo>
                      <a:pt x="459" y="270"/>
                    </a:lnTo>
                    <a:lnTo>
                      <a:pt x="460" y="273"/>
                    </a:lnTo>
                    <a:lnTo>
                      <a:pt x="460" y="279"/>
                    </a:lnTo>
                    <a:lnTo>
                      <a:pt x="462" y="282"/>
                    </a:lnTo>
                    <a:lnTo>
                      <a:pt x="463" y="284"/>
                    </a:lnTo>
                    <a:lnTo>
                      <a:pt x="468" y="283"/>
                    </a:lnTo>
                    <a:lnTo>
                      <a:pt x="472" y="283"/>
                    </a:lnTo>
                    <a:lnTo>
                      <a:pt x="474" y="285"/>
                    </a:lnTo>
                    <a:lnTo>
                      <a:pt x="476" y="289"/>
                    </a:lnTo>
                    <a:lnTo>
                      <a:pt x="476" y="293"/>
                    </a:lnTo>
                    <a:lnTo>
                      <a:pt x="478" y="297"/>
                    </a:lnTo>
                    <a:lnTo>
                      <a:pt x="484" y="304"/>
                    </a:lnTo>
                    <a:lnTo>
                      <a:pt x="487" y="310"/>
                    </a:lnTo>
                    <a:lnTo>
                      <a:pt x="489" y="317"/>
                    </a:lnTo>
                    <a:lnTo>
                      <a:pt x="489" y="318"/>
                    </a:lnTo>
                    <a:lnTo>
                      <a:pt x="493" y="319"/>
                    </a:lnTo>
                    <a:lnTo>
                      <a:pt x="496" y="321"/>
                    </a:lnTo>
                    <a:lnTo>
                      <a:pt x="498" y="322"/>
                    </a:lnTo>
                    <a:lnTo>
                      <a:pt x="499" y="323"/>
                    </a:lnTo>
                    <a:lnTo>
                      <a:pt x="499" y="324"/>
                    </a:lnTo>
                    <a:lnTo>
                      <a:pt x="498" y="324"/>
                    </a:lnTo>
                    <a:lnTo>
                      <a:pt x="471" y="324"/>
                    </a:lnTo>
                    <a:lnTo>
                      <a:pt x="457" y="324"/>
                    </a:lnTo>
                    <a:lnTo>
                      <a:pt x="454" y="324"/>
                    </a:lnTo>
                    <a:lnTo>
                      <a:pt x="446" y="324"/>
                    </a:lnTo>
                    <a:lnTo>
                      <a:pt x="417" y="324"/>
                    </a:lnTo>
                    <a:lnTo>
                      <a:pt x="416" y="323"/>
                    </a:lnTo>
                    <a:lnTo>
                      <a:pt x="416" y="322"/>
                    </a:lnTo>
                    <a:lnTo>
                      <a:pt x="415" y="322"/>
                    </a:lnTo>
                    <a:lnTo>
                      <a:pt x="415" y="321"/>
                    </a:lnTo>
                    <a:lnTo>
                      <a:pt x="413" y="321"/>
                    </a:lnTo>
                    <a:lnTo>
                      <a:pt x="412" y="319"/>
                    </a:lnTo>
                    <a:lnTo>
                      <a:pt x="411" y="319"/>
                    </a:lnTo>
                    <a:lnTo>
                      <a:pt x="410" y="319"/>
                    </a:lnTo>
                    <a:lnTo>
                      <a:pt x="409" y="318"/>
                    </a:lnTo>
                    <a:lnTo>
                      <a:pt x="408" y="318"/>
                    </a:lnTo>
                    <a:lnTo>
                      <a:pt x="407" y="318"/>
                    </a:lnTo>
                    <a:lnTo>
                      <a:pt x="406" y="317"/>
                    </a:lnTo>
                    <a:lnTo>
                      <a:pt x="405" y="317"/>
                    </a:lnTo>
                    <a:lnTo>
                      <a:pt x="405" y="316"/>
                    </a:lnTo>
                    <a:lnTo>
                      <a:pt x="404" y="316"/>
                    </a:lnTo>
                    <a:lnTo>
                      <a:pt x="404" y="315"/>
                    </a:lnTo>
                    <a:lnTo>
                      <a:pt x="403" y="315"/>
                    </a:lnTo>
                    <a:lnTo>
                      <a:pt x="402" y="315"/>
                    </a:lnTo>
                    <a:lnTo>
                      <a:pt x="400" y="315"/>
                    </a:lnTo>
                    <a:lnTo>
                      <a:pt x="399" y="315"/>
                    </a:lnTo>
                    <a:lnTo>
                      <a:pt x="398" y="315"/>
                    </a:lnTo>
                    <a:lnTo>
                      <a:pt x="397" y="315"/>
                    </a:lnTo>
                    <a:lnTo>
                      <a:pt x="396" y="315"/>
                    </a:lnTo>
                    <a:lnTo>
                      <a:pt x="395" y="315"/>
                    </a:lnTo>
                    <a:lnTo>
                      <a:pt x="394" y="314"/>
                    </a:lnTo>
                    <a:lnTo>
                      <a:pt x="394" y="313"/>
                    </a:lnTo>
                    <a:lnTo>
                      <a:pt x="393" y="313"/>
                    </a:lnTo>
                    <a:lnTo>
                      <a:pt x="393" y="312"/>
                    </a:lnTo>
                    <a:lnTo>
                      <a:pt x="393" y="311"/>
                    </a:lnTo>
                    <a:lnTo>
                      <a:pt x="392" y="311"/>
                    </a:lnTo>
                    <a:lnTo>
                      <a:pt x="391" y="311"/>
                    </a:lnTo>
                    <a:lnTo>
                      <a:pt x="390" y="311"/>
                    </a:lnTo>
                    <a:lnTo>
                      <a:pt x="389" y="311"/>
                    </a:lnTo>
                    <a:lnTo>
                      <a:pt x="387" y="311"/>
                    </a:lnTo>
                    <a:lnTo>
                      <a:pt x="386" y="310"/>
                    </a:lnTo>
                    <a:lnTo>
                      <a:pt x="386" y="311"/>
                    </a:lnTo>
                    <a:lnTo>
                      <a:pt x="385" y="311"/>
                    </a:lnTo>
                    <a:lnTo>
                      <a:pt x="385" y="310"/>
                    </a:lnTo>
                    <a:lnTo>
                      <a:pt x="384" y="310"/>
                    </a:lnTo>
                    <a:lnTo>
                      <a:pt x="382" y="308"/>
                    </a:lnTo>
                    <a:lnTo>
                      <a:pt x="380" y="309"/>
                    </a:lnTo>
                    <a:lnTo>
                      <a:pt x="348" y="321"/>
                    </a:lnTo>
                    <a:lnTo>
                      <a:pt x="347" y="321"/>
                    </a:lnTo>
                    <a:lnTo>
                      <a:pt x="346" y="322"/>
                    </a:lnTo>
                    <a:lnTo>
                      <a:pt x="345" y="322"/>
                    </a:lnTo>
                    <a:lnTo>
                      <a:pt x="345" y="323"/>
                    </a:lnTo>
                    <a:lnTo>
                      <a:pt x="345" y="322"/>
                    </a:lnTo>
                    <a:lnTo>
                      <a:pt x="344" y="322"/>
                    </a:lnTo>
                    <a:lnTo>
                      <a:pt x="343" y="323"/>
                    </a:lnTo>
                    <a:lnTo>
                      <a:pt x="342" y="323"/>
                    </a:lnTo>
                    <a:lnTo>
                      <a:pt x="342" y="324"/>
                    </a:lnTo>
                    <a:lnTo>
                      <a:pt x="341" y="324"/>
                    </a:lnTo>
                    <a:lnTo>
                      <a:pt x="341" y="323"/>
                    </a:lnTo>
                    <a:lnTo>
                      <a:pt x="340" y="323"/>
                    </a:lnTo>
                    <a:lnTo>
                      <a:pt x="339" y="323"/>
                    </a:lnTo>
                    <a:lnTo>
                      <a:pt x="338" y="323"/>
                    </a:lnTo>
                    <a:lnTo>
                      <a:pt x="338" y="322"/>
                    </a:lnTo>
                    <a:lnTo>
                      <a:pt x="336" y="322"/>
                    </a:lnTo>
                    <a:lnTo>
                      <a:pt x="336" y="321"/>
                    </a:lnTo>
                    <a:lnTo>
                      <a:pt x="335" y="321"/>
                    </a:lnTo>
                    <a:lnTo>
                      <a:pt x="334" y="319"/>
                    </a:lnTo>
                    <a:lnTo>
                      <a:pt x="333" y="319"/>
                    </a:lnTo>
                    <a:lnTo>
                      <a:pt x="332" y="319"/>
                    </a:lnTo>
                    <a:lnTo>
                      <a:pt x="331" y="318"/>
                    </a:lnTo>
                    <a:lnTo>
                      <a:pt x="330" y="318"/>
                    </a:lnTo>
                    <a:lnTo>
                      <a:pt x="330" y="317"/>
                    </a:lnTo>
                    <a:lnTo>
                      <a:pt x="329" y="317"/>
                    </a:lnTo>
                    <a:lnTo>
                      <a:pt x="329" y="316"/>
                    </a:lnTo>
                    <a:lnTo>
                      <a:pt x="328" y="316"/>
                    </a:lnTo>
                    <a:lnTo>
                      <a:pt x="327" y="316"/>
                    </a:lnTo>
                    <a:lnTo>
                      <a:pt x="327" y="315"/>
                    </a:lnTo>
                    <a:lnTo>
                      <a:pt x="326" y="315"/>
                    </a:lnTo>
                    <a:lnTo>
                      <a:pt x="326" y="314"/>
                    </a:lnTo>
                    <a:lnTo>
                      <a:pt x="325" y="314"/>
                    </a:lnTo>
                    <a:lnTo>
                      <a:pt x="325" y="313"/>
                    </a:lnTo>
                    <a:lnTo>
                      <a:pt x="323" y="313"/>
                    </a:lnTo>
                    <a:lnTo>
                      <a:pt x="323" y="312"/>
                    </a:lnTo>
                    <a:lnTo>
                      <a:pt x="323" y="313"/>
                    </a:lnTo>
                    <a:lnTo>
                      <a:pt x="322" y="313"/>
                    </a:lnTo>
                    <a:lnTo>
                      <a:pt x="321" y="313"/>
                    </a:lnTo>
                    <a:lnTo>
                      <a:pt x="320" y="313"/>
                    </a:lnTo>
                    <a:lnTo>
                      <a:pt x="318" y="313"/>
                    </a:lnTo>
                    <a:lnTo>
                      <a:pt x="317" y="314"/>
                    </a:lnTo>
                    <a:lnTo>
                      <a:pt x="316" y="314"/>
                    </a:lnTo>
                    <a:lnTo>
                      <a:pt x="316" y="315"/>
                    </a:lnTo>
                    <a:lnTo>
                      <a:pt x="316" y="316"/>
                    </a:lnTo>
                    <a:lnTo>
                      <a:pt x="315" y="316"/>
                    </a:lnTo>
                    <a:lnTo>
                      <a:pt x="315" y="317"/>
                    </a:lnTo>
                    <a:lnTo>
                      <a:pt x="315" y="318"/>
                    </a:lnTo>
                    <a:lnTo>
                      <a:pt x="315" y="319"/>
                    </a:lnTo>
                    <a:lnTo>
                      <a:pt x="314" y="321"/>
                    </a:lnTo>
                    <a:lnTo>
                      <a:pt x="314" y="322"/>
                    </a:lnTo>
                    <a:lnTo>
                      <a:pt x="314" y="323"/>
                    </a:lnTo>
                    <a:lnTo>
                      <a:pt x="314" y="324"/>
                    </a:lnTo>
                    <a:lnTo>
                      <a:pt x="313" y="325"/>
                    </a:lnTo>
                    <a:lnTo>
                      <a:pt x="313" y="326"/>
                    </a:lnTo>
                    <a:lnTo>
                      <a:pt x="314" y="326"/>
                    </a:lnTo>
                    <a:lnTo>
                      <a:pt x="314" y="327"/>
                    </a:lnTo>
                    <a:lnTo>
                      <a:pt x="313" y="327"/>
                    </a:lnTo>
                    <a:lnTo>
                      <a:pt x="313" y="328"/>
                    </a:lnTo>
                    <a:lnTo>
                      <a:pt x="313" y="329"/>
                    </a:lnTo>
                    <a:lnTo>
                      <a:pt x="314" y="330"/>
                    </a:lnTo>
                    <a:lnTo>
                      <a:pt x="314" y="331"/>
                    </a:lnTo>
                    <a:lnTo>
                      <a:pt x="314" y="333"/>
                    </a:lnTo>
                    <a:lnTo>
                      <a:pt x="313" y="334"/>
                    </a:lnTo>
                    <a:lnTo>
                      <a:pt x="313" y="335"/>
                    </a:lnTo>
                    <a:lnTo>
                      <a:pt x="312" y="337"/>
                    </a:lnTo>
                    <a:lnTo>
                      <a:pt x="312" y="338"/>
                    </a:lnTo>
                    <a:lnTo>
                      <a:pt x="310" y="339"/>
                    </a:lnTo>
                    <a:lnTo>
                      <a:pt x="310" y="340"/>
                    </a:lnTo>
                    <a:lnTo>
                      <a:pt x="309" y="340"/>
                    </a:lnTo>
                    <a:lnTo>
                      <a:pt x="309" y="341"/>
                    </a:lnTo>
                    <a:lnTo>
                      <a:pt x="309" y="342"/>
                    </a:lnTo>
                    <a:lnTo>
                      <a:pt x="308" y="341"/>
                    </a:lnTo>
                    <a:lnTo>
                      <a:pt x="307" y="341"/>
                    </a:lnTo>
                    <a:lnTo>
                      <a:pt x="306" y="341"/>
                    </a:lnTo>
                    <a:lnTo>
                      <a:pt x="305" y="341"/>
                    </a:lnTo>
                    <a:lnTo>
                      <a:pt x="304" y="341"/>
                    </a:lnTo>
                    <a:lnTo>
                      <a:pt x="303" y="342"/>
                    </a:lnTo>
                    <a:lnTo>
                      <a:pt x="302" y="343"/>
                    </a:lnTo>
                    <a:lnTo>
                      <a:pt x="302" y="344"/>
                    </a:lnTo>
                    <a:lnTo>
                      <a:pt x="301" y="344"/>
                    </a:lnTo>
                    <a:lnTo>
                      <a:pt x="300" y="344"/>
                    </a:lnTo>
                    <a:lnTo>
                      <a:pt x="300" y="343"/>
                    </a:lnTo>
                    <a:lnTo>
                      <a:pt x="299" y="343"/>
                    </a:lnTo>
                    <a:lnTo>
                      <a:pt x="299" y="342"/>
                    </a:lnTo>
                    <a:lnTo>
                      <a:pt x="297" y="342"/>
                    </a:lnTo>
                    <a:lnTo>
                      <a:pt x="297" y="343"/>
                    </a:lnTo>
                    <a:lnTo>
                      <a:pt x="296" y="343"/>
                    </a:lnTo>
                    <a:lnTo>
                      <a:pt x="296" y="342"/>
                    </a:lnTo>
                    <a:lnTo>
                      <a:pt x="296" y="341"/>
                    </a:lnTo>
                    <a:lnTo>
                      <a:pt x="295" y="341"/>
                    </a:lnTo>
                    <a:lnTo>
                      <a:pt x="295" y="340"/>
                    </a:lnTo>
                    <a:lnTo>
                      <a:pt x="293" y="340"/>
                    </a:lnTo>
                    <a:lnTo>
                      <a:pt x="292" y="341"/>
                    </a:lnTo>
                    <a:lnTo>
                      <a:pt x="292" y="342"/>
                    </a:lnTo>
                    <a:lnTo>
                      <a:pt x="291" y="342"/>
                    </a:lnTo>
                    <a:lnTo>
                      <a:pt x="291" y="343"/>
                    </a:lnTo>
                    <a:lnTo>
                      <a:pt x="290" y="343"/>
                    </a:lnTo>
                    <a:lnTo>
                      <a:pt x="289" y="343"/>
                    </a:lnTo>
                    <a:lnTo>
                      <a:pt x="288" y="343"/>
                    </a:lnTo>
                    <a:lnTo>
                      <a:pt x="288" y="344"/>
                    </a:lnTo>
                    <a:lnTo>
                      <a:pt x="288" y="346"/>
                    </a:lnTo>
                    <a:lnTo>
                      <a:pt x="288" y="347"/>
                    </a:lnTo>
                    <a:lnTo>
                      <a:pt x="287" y="348"/>
                    </a:lnTo>
                    <a:lnTo>
                      <a:pt x="286" y="349"/>
                    </a:lnTo>
                    <a:lnTo>
                      <a:pt x="286" y="348"/>
                    </a:lnTo>
                    <a:lnTo>
                      <a:pt x="284" y="348"/>
                    </a:lnTo>
                    <a:lnTo>
                      <a:pt x="283" y="348"/>
                    </a:lnTo>
                    <a:lnTo>
                      <a:pt x="282" y="347"/>
                    </a:lnTo>
                    <a:lnTo>
                      <a:pt x="281" y="347"/>
                    </a:lnTo>
                    <a:lnTo>
                      <a:pt x="281" y="346"/>
                    </a:lnTo>
                    <a:lnTo>
                      <a:pt x="280" y="344"/>
                    </a:lnTo>
                    <a:lnTo>
                      <a:pt x="279" y="344"/>
                    </a:lnTo>
                    <a:lnTo>
                      <a:pt x="279" y="343"/>
                    </a:lnTo>
                    <a:lnTo>
                      <a:pt x="279" y="342"/>
                    </a:lnTo>
                    <a:lnTo>
                      <a:pt x="278" y="342"/>
                    </a:lnTo>
                    <a:lnTo>
                      <a:pt x="277" y="342"/>
                    </a:lnTo>
                    <a:lnTo>
                      <a:pt x="277" y="341"/>
                    </a:lnTo>
                    <a:lnTo>
                      <a:pt x="277" y="340"/>
                    </a:lnTo>
                    <a:lnTo>
                      <a:pt x="278" y="339"/>
                    </a:lnTo>
                    <a:lnTo>
                      <a:pt x="278" y="338"/>
                    </a:lnTo>
                    <a:lnTo>
                      <a:pt x="277" y="338"/>
                    </a:lnTo>
                    <a:lnTo>
                      <a:pt x="277" y="337"/>
                    </a:lnTo>
                    <a:lnTo>
                      <a:pt x="276" y="337"/>
                    </a:lnTo>
                    <a:lnTo>
                      <a:pt x="276" y="336"/>
                    </a:lnTo>
                    <a:lnTo>
                      <a:pt x="275" y="336"/>
                    </a:lnTo>
                    <a:lnTo>
                      <a:pt x="274" y="336"/>
                    </a:lnTo>
                    <a:lnTo>
                      <a:pt x="274" y="335"/>
                    </a:lnTo>
                    <a:lnTo>
                      <a:pt x="273" y="335"/>
                    </a:lnTo>
                    <a:lnTo>
                      <a:pt x="273" y="334"/>
                    </a:lnTo>
                    <a:lnTo>
                      <a:pt x="273" y="333"/>
                    </a:lnTo>
                    <a:lnTo>
                      <a:pt x="271" y="334"/>
                    </a:lnTo>
                    <a:lnTo>
                      <a:pt x="271" y="335"/>
                    </a:lnTo>
                    <a:lnTo>
                      <a:pt x="270" y="335"/>
                    </a:lnTo>
                    <a:lnTo>
                      <a:pt x="269" y="335"/>
                    </a:lnTo>
                    <a:lnTo>
                      <a:pt x="268" y="335"/>
                    </a:lnTo>
                    <a:lnTo>
                      <a:pt x="268" y="336"/>
                    </a:lnTo>
                    <a:lnTo>
                      <a:pt x="267" y="336"/>
                    </a:lnTo>
                    <a:lnTo>
                      <a:pt x="267" y="337"/>
                    </a:lnTo>
                    <a:lnTo>
                      <a:pt x="266" y="337"/>
                    </a:lnTo>
                    <a:lnTo>
                      <a:pt x="266" y="338"/>
                    </a:lnTo>
                    <a:lnTo>
                      <a:pt x="265" y="338"/>
                    </a:lnTo>
                    <a:lnTo>
                      <a:pt x="265" y="339"/>
                    </a:lnTo>
                    <a:lnTo>
                      <a:pt x="265" y="340"/>
                    </a:lnTo>
                    <a:lnTo>
                      <a:pt x="264" y="340"/>
                    </a:lnTo>
                    <a:lnTo>
                      <a:pt x="264" y="341"/>
                    </a:lnTo>
                    <a:lnTo>
                      <a:pt x="263" y="341"/>
                    </a:lnTo>
                    <a:lnTo>
                      <a:pt x="263" y="342"/>
                    </a:lnTo>
                    <a:lnTo>
                      <a:pt x="262" y="342"/>
                    </a:lnTo>
                    <a:lnTo>
                      <a:pt x="262" y="343"/>
                    </a:lnTo>
                    <a:lnTo>
                      <a:pt x="261" y="343"/>
                    </a:lnTo>
                    <a:lnTo>
                      <a:pt x="260" y="343"/>
                    </a:lnTo>
                    <a:lnTo>
                      <a:pt x="260" y="344"/>
                    </a:lnTo>
                    <a:lnTo>
                      <a:pt x="258" y="344"/>
                    </a:lnTo>
                    <a:lnTo>
                      <a:pt x="257" y="344"/>
                    </a:lnTo>
                    <a:lnTo>
                      <a:pt x="256" y="344"/>
                    </a:lnTo>
                    <a:lnTo>
                      <a:pt x="256" y="343"/>
                    </a:lnTo>
                    <a:lnTo>
                      <a:pt x="256" y="344"/>
                    </a:lnTo>
                    <a:lnTo>
                      <a:pt x="255" y="344"/>
                    </a:lnTo>
                    <a:lnTo>
                      <a:pt x="255" y="346"/>
                    </a:lnTo>
                    <a:lnTo>
                      <a:pt x="254" y="347"/>
                    </a:lnTo>
                    <a:lnTo>
                      <a:pt x="252" y="348"/>
                    </a:lnTo>
                    <a:lnTo>
                      <a:pt x="251" y="348"/>
                    </a:lnTo>
                    <a:lnTo>
                      <a:pt x="251" y="349"/>
                    </a:lnTo>
                    <a:lnTo>
                      <a:pt x="251" y="350"/>
                    </a:lnTo>
                    <a:lnTo>
                      <a:pt x="251" y="351"/>
                    </a:lnTo>
                    <a:lnTo>
                      <a:pt x="251" y="352"/>
                    </a:lnTo>
                    <a:lnTo>
                      <a:pt x="251" y="353"/>
                    </a:lnTo>
                    <a:lnTo>
                      <a:pt x="251" y="354"/>
                    </a:lnTo>
                    <a:lnTo>
                      <a:pt x="250" y="354"/>
                    </a:lnTo>
                    <a:lnTo>
                      <a:pt x="250" y="355"/>
                    </a:lnTo>
                    <a:lnTo>
                      <a:pt x="250" y="356"/>
                    </a:lnTo>
                    <a:lnTo>
                      <a:pt x="251" y="356"/>
                    </a:lnTo>
                    <a:lnTo>
                      <a:pt x="251" y="357"/>
                    </a:lnTo>
                    <a:lnTo>
                      <a:pt x="251" y="359"/>
                    </a:lnTo>
                    <a:lnTo>
                      <a:pt x="250" y="360"/>
                    </a:lnTo>
                    <a:lnTo>
                      <a:pt x="249" y="360"/>
                    </a:lnTo>
                    <a:lnTo>
                      <a:pt x="249" y="361"/>
                    </a:lnTo>
                    <a:lnTo>
                      <a:pt x="250" y="361"/>
                    </a:lnTo>
                    <a:lnTo>
                      <a:pt x="250" y="362"/>
                    </a:lnTo>
                    <a:lnTo>
                      <a:pt x="250" y="363"/>
                    </a:lnTo>
                    <a:lnTo>
                      <a:pt x="250" y="364"/>
                    </a:lnTo>
                    <a:lnTo>
                      <a:pt x="249" y="365"/>
                    </a:lnTo>
                    <a:lnTo>
                      <a:pt x="248" y="366"/>
                    </a:lnTo>
                    <a:lnTo>
                      <a:pt x="248" y="367"/>
                    </a:lnTo>
                    <a:lnTo>
                      <a:pt x="248" y="368"/>
                    </a:lnTo>
                    <a:lnTo>
                      <a:pt x="248" y="369"/>
                    </a:lnTo>
                    <a:lnTo>
                      <a:pt x="247" y="369"/>
                    </a:lnTo>
                    <a:lnTo>
                      <a:pt x="244" y="369"/>
                    </a:lnTo>
                    <a:lnTo>
                      <a:pt x="243" y="369"/>
                    </a:lnTo>
                    <a:lnTo>
                      <a:pt x="243" y="370"/>
                    </a:lnTo>
                    <a:lnTo>
                      <a:pt x="242" y="372"/>
                    </a:lnTo>
                    <a:lnTo>
                      <a:pt x="238" y="375"/>
                    </a:lnTo>
                    <a:lnTo>
                      <a:pt x="228" y="381"/>
                    </a:lnTo>
                    <a:lnTo>
                      <a:pt x="215" y="391"/>
                    </a:lnTo>
                    <a:lnTo>
                      <a:pt x="216" y="380"/>
                    </a:lnTo>
                    <a:lnTo>
                      <a:pt x="216" y="376"/>
                    </a:lnTo>
                    <a:lnTo>
                      <a:pt x="205" y="376"/>
                    </a:lnTo>
                    <a:lnTo>
                      <a:pt x="205" y="355"/>
                    </a:lnTo>
                    <a:lnTo>
                      <a:pt x="194" y="355"/>
                    </a:lnTo>
                    <a:lnTo>
                      <a:pt x="194" y="340"/>
                    </a:lnTo>
                    <a:lnTo>
                      <a:pt x="194" y="335"/>
                    </a:lnTo>
                    <a:lnTo>
                      <a:pt x="194" y="329"/>
                    </a:lnTo>
                    <a:lnTo>
                      <a:pt x="194" y="324"/>
                    </a:lnTo>
                    <a:lnTo>
                      <a:pt x="194" y="314"/>
                    </a:lnTo>
                    <a:lnTo>
                      <a:pt x="194" y="304"/>
                    </a:lnTo>
                    <a:lnTo>
                      <a:pt x="194" y="293"/>
                    </a:lnTo>
                    <a:lnTo>
                      <a:pt x="192" y="293"/>
                    </a:lnTo>
                    <a:lnTo>
                      <a:pt x="191" y="293"/>
                    </a:lnTo>
                    <a:lnTo>
                      <a:pt x="176" y="293"/>
                    </a:lnTo>
                    <a:lnTo>
                      <a:pt x="170" y="293"/>
                    </a:lnTo>
                    <a:lnTo>
                      <a:pt x="168" y="293"/>
                    </a:lnTo>
                    <a:lnTo>
                      <a:pt x="153" y="293"/>
                    </a:lnTo>
                    <a:lnTo>
                      <a:pt x="152" y="272"/>
                    </a:lnTo>
                    <a:lnTo>
                      <a:pt x="152" y="263"/>
                    </a:lnTo>
                    <a:lnTo>
                      <a:pt x="147" y="263"/>
                    </a:lnTo>
                    <a:lnTo>
                      <a:pt x="139" y="263"/>
                    </a:lnTo>
                    <a:lnTo>
                      <a:pt x="132" y="263"/>
                    </a:lnTo>
                    <a:lnTo>
                      <a:pt x="123" y="263"/>
                    </a:lnTo>
                    <a:lnTo>
                      <a:pt x="112" y="263"/>
                    </a:lnTo>
                    <a:lnTo>
                      <a:pt x="98" y="263"/>
                    </a:lnTo>
                    <a:lnTo>
                      <a:pt x="83" y="263"/>
                    </a:lnTo>
                    <a:lnTo>
                      <a:pt x="73" y="263"/>
                    </a:lnTo>
                    <a:lnTo>
                      <a:pt x="69" y="263"/>
                    </a:lnTo>
                    <a:lnTo>
                      <a:pt x="64" y="263"/>
                    </a:lnTo>
                    <a:lnTo>
                      <a:pt x="60" y="263"/>
                    </a:lnTo>
                    <a:lnTo>
                      <a:pt x="58" y="263"/>
                    </a:lnTo>
                    <a:lnTo>
                      <a:pt x="49" y="263"/>
                    </a:lnTo>
                    <a:lnTo>
                      <a:pt x="48" y="263"/>
                    </a:lnTo>
                    <a:lnTo>
                      <a:pt x="41" y="263"/>
                    </a:lnTo>
                    <a:lnTo>
                      <a:pt x="38" y="263"/>
                    </a:lnTo>
                    <a:lnTo>
                      <a:pt x="35" y="263"/>
                    </a:lnTo>
                    <a:lnTo>
                      <a:pt x="24" y="263"/>
                    </a:lnTo>
                    <a:lnTo>
                      <a:pt x="22" y="262"/>
                    </a:lnTo>
                    <a:lnTo>
                      <a:pt x="21" y="263"/>
                    </a:lnTo>
                    <a:lnTo>
                      <a:pt x="19" y="263"/>
                    </a:lnTo>
                    <a:lnTo>
                      <a:pt x="13" y="263"/>
                    </a:lnTo>
                    <a:lnTo>
                      <a:pt x="5" y="263"/>
                    </a:lnTo>
                    <a:lnTo>
                      <a:pt x="5" y="262"/>
                    </a:lnTo>
                    <a:lnTo>
                      <a:pt x="0" y="263"/>
                    </a:lnTo>
                    <a:lnTo>
                      <a:pt x="0" y="262"/>
                    </a:lnTo>
                    <a:lnTo>
                      <a:pt x="2" y="261"/>
                    </a:lnTo>
                    <a:lnTo>
                      <a:pt x="2" y="260"/>
                    </a:lnTo>
                    <a:lnTo>
                      <a:pt x="3" y="260"/>
                    </a:lnTo>
                    <a:lnTo>
                      <a:pt x="3" y="259"/>
                    </a:lnTo>
                    <a:lnTo>
                      <a:pt x="4" y="259"/>
                    </a:lnTo>
                    <a:lnTo>
                      <a:pt x="4" y="258"/>
                    </a:lnTo>
                    <a:lnTo>
                      <a:pt x="5" y="258"/>
                    </a:lnTo>
                    <a:lnTo>
                      <a:pt x="5" y="257"/>
                    </a:lnTo>
                    <a:lnTo>
                      <a:pt x="6" y="257"/>
                    </a:lnTo>
                    <a:lnTo>
                      <a:pt x="6" y="256"/>
                    </a:lnTo>
                    <a:lnTo>
                      <a:pt x="6" y="254"/>
                    </a:lnTo>
                    <a:lnTo>
                      <a:pt x="7" y="256"/>
                    </a:lnTo>
                    <a:lnTo>
                      <a:pt x="7" y="254"/>
                    </a:lnTo>
                    <a:lnTo>
                      <a:pt x="8" y="254"/>
                    </a:lnTo>
                    <a:lnTo>
                      <a:pt x="9" y="254"/>
                    </a:lnTo>
                    <a:lnTo>
                      <a:pt x="9" y="253"/>
                    </a:lnTo>
                    <a:lnTo>
                      <a:pt x="10" y="253"/>
                    </a:lnTo>
                    <a:lnTo>
                      <a:pt x="9" y="253"/>
                    </a:lnTo>
                    <a:lnTo>
                      <a:pt x="9" y="252"/>
                    </a:lnTo>
                    <a:lnTo>
                      <a:pt x="10" y="252"/>
                    </a:lnTo>
                    <a:lnTo>
                      <a:pt x="11" y="252"/>
                    </a:lnTo>
                    <a:lnTo>
                      <a:pt x="12" y="252"/>
                    </a:lnTo>
                    <a:lnTo>
                      <a:pt x="13" y="252"/>
                    </a:lnTo>
                    <a:lnTo>
                      <a:pt x="13" y="253"/>
                    </a:lnTo>
                    <a:lnTo>
                      <a:pt x="15" y="253"/>
                    </a:lnTo>
                    <a:lnTo>
                      <a:pt x="16" y="252"/>
                    </a:lnTo>
                    <a:lnTo>
                      <a:pt x="17" y="252"/>
                    </a:lnTo>
                    <a:lnTo>
                      <a:pt x="18" y="252"/>
                    </a:lnTo>
                    <a:lnTo>
                      <a:pt x="18" y="251"/>
                    </a:lnTo>
                    <a:lnTo>
                      <a:pt x="18" y="250"/>
                    </a:lnTo>
                    <a:lnTo>
                      <a:pt x="18" y="249"/>
                    </a:lnTo>
                    <a:lnTo>
                      <a:pt x="19" y="249"/>
                    </a:lnTo>
                    <a:lnTo>
                      <a:pt x="19" y="248"/>
                    </a:lnTo>
                    <a:lnTo>
                      <a:pt x="19" y="247"/>
                    </a:lnTo>
                    <a:lnTo>
                      <a:pt x="18" y="247"/>
                    </a:lnTo>
                    <a:lnTo>
                      <a:pt x="18" y="246"/>
                    </a:lnTo>
                    <a:lnTo>
                      <a:pt x="19" y="246"/>
                    </a:lnTo>
                    <a:lnTo>
                      <a:pt x="18" y="245"/>
                    </a:lnTo>
                    <a:lnTo>
                      <a:pt x="19" y="245"/>
                    </a:lnTo>
                    <a:lnTo>
                      <a:pt x="18" y="244"/>
                    </a:lnTo>
                    <a:lnTo>
                      <a:pt x="18" y="243"/>
                    </a:lnTo>
                    <a:lnTo>
                      <a:pt x="19" y="243"/>
                    </a:lnTo>
                    <a:lnTo>
                      <a:pt x="19" y="241"/>
                    </a:lnTo>
                    <a:lnTo>
                      <a:pt x="19" y="240"/>
                    </a:lnTo>
                    <a:lnTo>
                      <a:pt x="18" y="239"/>
                    </a:lnTo>
                    <a:lnTo>
                      <a:pt x="19" y="238"/>
                    </a:lnTo>
                    <a:lnTo>
                      <a:pt x="20" y="238"/>
                    </a:lnTo>
                    <a:lnTo>
                      <a:pt x="20" y="237"/>
                    </a:lnTo>
                    <a:lnTo>
                      <a:pt x="20" y="236"/>
                    </a:lnTo>
                    <a:lnTo>
                      <a:pt x="21" y="236"/>
                    </a:lnTo>
                    <a:lnTo>
                      <a:pt x="21" y="235"/>
                    </a:lnTo>
                    <a:lnTo>
                      <a:pt x="20" y="235"/>
                    </a:lnTo>
                    <a:lnTo>
                      <a:pt x="21" y="235"/>
                    </a:lnTo>
                    <a:lnTo>
                      <a:pt x="21" y="234"/>
                    </a:lnTo>
                    <a:lnTo>
                      <a:pt x="21" y="233"/>
                    </a:lnTo>
                    <a:lnTo>
                      <a:pt x="20" y="232"/>
                    </a:lnTo>
                    <a:lnTo>
                      <a:pt x="21" y="232"/>
                    </a:lnTo>
                    <a:lnTo>
                      <a:pt x="22" y="231"/>
                    </a:lnTo>
                    <a:lnTo>
                      <a:pt x="22" y="229"/>
                    </a:lnTo>
                    <a:lnTo>
                      <a:pt x="21" y="229"/>
                    </a:lnTo>
                    <a:lnTo>
                      <a:pt x="21" y="228"/>
                    </a:lnTo>
                    <a:lnTo>
                      <a:pt x="22" y="228"/>
                    </a:lnTo>
                    <a:lnTo>
                      <a:pt x="22" y="229"/>
                    </a:lnTo>
                    <a:lnTo>
                      <a:pt x="23" y="229"/>
                    </a:lnTo>
                    <a:lnTo>
                      <a:pt x="24" y="229"/>
                    </a:lnTo>
                    <a:lnTo>
                      <a:pt x="24" y="228"/>
                    </a:lnTo>
                    <a:lnTo>
                      <a:pt x="24" y="229"/>
                    </a:lnTo>
                    <a:lnTo>
                      <a:pt x="25" y="229"/>
                    </a:lnTo>
                    <a:lnTo>
                      <a:pt x="25" y="228"/>
                    </a:lnTo>
                    <a:lnTo>
                      <a:pt x="25" y="227"/>
                    </a:lnTo>
                    <a:lnTo>
                      <a:pt x="26" y="226"/>
                    </a:lnTo>
                    <a:lnTo>
                      <a:pt x="26" y="227"/>
                    </a:lnTo>
                    <a:lnTo>
                      <a:pt x="26" y="226"/>
                    </a:lnTo>
                    <a:lnTo>
                      <a:pt x="26" y="225"/>
                    </a:lnTo>
                    <a:lnTo>
                      <a:pt x="28" y="225"/>
                    </a:lnTo>
                    <a:lnTo>
                      <a:pt x="28" y="224"/>
                    </a:lnTo>
                    <a:lnTo>
                      <a:pt x="29" y="224"/>
                    </a:lnTo>
                    <a:lnTo>
                      <a:pt x="29" y="225"/>
                    </a:lnTo>
                    <a:lnTo>
                      <a:pt x="30" y="224"/>
                    </a:lnTo>
                    <a:lnTo>
                      <a:pt x="31" y="225"/>
                    </a:lnTo>
                    <a:lnTo>
                      <a:pt x="31" y="224"/>
                    </a:lnTo>
                    <a:lnTo>
                      <a:pt x="32" y="224"/>
                    </a:lnTo>
                    <a:lnTo>
                      <a:pt x="32" y="225"/>
                    </a:lnTo>
                    <a:lnTo>
                      <a:pt x="33" y="224"/>
                    </a:lnTo>
                    <a:lnTo>
                      <a:pt x="34" y="224"/>
                    </a:lnTo>
                    <a:lnTo>
                      <a:pt x="34" y="223"/>
                    </a:lnTo>
                    <a:lnTo>
                      <a:pt x="35" y="223"/>
                    </a:lnTo>
                    <a:lnTo>
                      <a:pt x="36" y="223"/>
                    </a:lnTo>
                    <a:lnTo>
                      <a:pt x="37" y="223"/>
                    </a:lnTo>
                    <a:lnTo>
                      <a:pt x="38" y="224"/>
                    </a:lnTo>
                    <a:lnTo>
                      <a:pt x="38" y="225"/>
                    </a:lnTo>
                    <a:lnTo>
                      <a:pt x="39" y="224"/>
                    </a:lnTo>
                    <a:lnTo>
                      <a:pt x="41" y="224"/>
                    </a:lnTo>
                    <a:lnTo>
                      <a:pt x="41" y="223"/>
                    </a:lnTo>
                    <a:lnTo>
                      <a:pt x="42" y="223"/>
                    </a:lnTo>
                    <a:lnTo>
                      <a:pt x="41" y="223"/>
                    </a:lnTo>
                    <a:lnTo>
                      <a:pt x="42" y="222"/>
                    </a:lnTo>
                    <a:lnTo>
                      <a:pt x="42" y="221"/>
                    </a:lnTo>
                    <a:lnTo>
                      <a:pt x="42" y="222"/>
                    </a:lnTo>
                    <a:lnTo>
                      <a:pt x="43" y="223"/>
                    </a:lnTo>
                    <a:lnTo>
                      <a:pt x="43" y="222"/>
                    </a:lnTo>
                    <a:lnTo>
                      <a:pt x="44" y="222"/>
                    </a:lnTo>
                    <a:lnTo>
                      <a:pt x="45" y="222"/>
                    </a:lnTo>
                    <a:lnTo>
                      <a:pt x="45" y="221"/>
                    </a:lnTo>
                    <a:lnTo>
                      <a:pt x="46" y="221"/>
                    </a:lnTo>
                    <a:lnTo>
                      <a:pt x="47" y="222"/>
                    </a:lnTo>
                    <a:lnTo>
                      <a:pt x="48" y="222"/>
                    </a:lnTo>
                    <a:lnTo>
                      <a:pt x="48" y="221"/>
                    </a:lnTo>
                    <a:lnTo>
                      <a:pt x="54" y="221"/>
                    </a:lnTo>
                    <a:lnTo>
                      <a:pt x="73" y="221"/>
                    </a:lnTo>
                    <a:lnTo>
                      <a:pt x="75" y="221"/>
                    </a:lnTo>
                    <a:lnTo>
                      <a:pt x="80" y="221"/>
                    </a:lnTo>
                    <a:lnTo>
                      <a:pt x="82" y="221"/>
                    </a:lnTo>
                    <a:lnTo>
                      <a:pt x="105" y="221"/>
                    </a:lnTo>
                    <a:lnTo>
                      <a:pt x="111" y="221"/>
                    </a:lnTo>
                    <a:lnTo>
                      <a:pt x="123" y="221"/>
                    </a:lnTo>
                    <a:lnTo>
                      <a:pt x="132" y="221"/>
                    </a:lnTo>
                    <a:lnTo>
                      <a:pt x="141" y="221"/>
                    </a:lnTo>
                    <a:lnTo>
                      <a:pt x="141" y="218"/>
                    </a:lnTo>
                    <a:lnTo>
                      <a:pt x="141" y="207"/>
                    </a:lnTo>
                    <a:lnTo>
                      <a:pt x="141" y="200"/>
                    </a:lnTo>
                    <a:lnTo>
                      <a:pt x="150" y="200"/>
                    </a:lnTo>
                    <a:lnTo>
                      <a:pt x="157" y="200"/>
                    </a:lnTo>
                    <a:lnTo>
                      <a:pt x="168" y="200"/>
                    </a:lnTo>
                    <a:lnTo>
                      <a:pt x="172" y="200"/>
                    </a:lnTo>
                    <a:lnTo>
                      <a:pt x="173" y="200"/>
                    </a:lnTo>
                    <a:lnTo>
                      <a:pt x="173" y="195"/>
                    </a:lnTo>
                    <a:lnTo>
                      <a:pt x="173" y="168"/>
                    </a:lnTo>
                    <a:lnTo>
                      <a:pt x="173" y="167"/>
                    </a:lnTo>
                    <a:lnTo>
                      <a:pt x="173" y="166"/>
                    </a:lnTo>
                    <a:lnTo>
                      <a:pt x="173" y="164"/>
                    </a:lnTo>
                    <a:lnTo>
                      <a:pt x="174" y="164"/>
                    </a:lnTo>
                    <a:lnTo>
                      <a:pt x="174" y="163"/>
                    </a:lnTo>
                    <a:lnTo>
                      <a:pt x="175" y="163"/>
                    </a:lnTo>
                    <a:lnTo>
                      <a:pt x="176" y="162"/>
                    </a:lnTo>
                    <a:lnTo>
                      <a:pt x="176" y="161"/>
                    </a:lnTo>
                    <a:lnTo>
                      <a:pt x="177" y="161"/>
                    </a:lnTo>
                    <a:lnTo>
                      <a:pt x="177" y="160"/>
                    </a:lnTo>
                    <a:lnTo>
                      <a:pt x="177" y="159"/>
                    </a:lnTo>
                    <a:lnTo>
                      <a:pt x="177" y="158"/>
                    </a:lnTo>
                    <a:lnTo>
                      <a:pt x="177" y="157"/>
                    </a:lnTo>
                    <a:lnTo>
                      <a:pt x="177" y="156"/>
                    </a:lnTo>
                    <a:lnTo>
                      <a:pt x="177" y="154"/>
                    </a:lnTo>
                    <a:lnTo>
                      <a:pt x="177" y="153"/>
                    </a:lnTo>
                    <a:lnTo>
                      <a:pt x="178" y="151"/>
                    </a:lnTo>
                    <a:lnTo>
                      <a:pt x="178" y="150"/>
                    </a:lnTo>
                    <a:lnTo>
                      <a:pt x="177" y="149"/>
                    </a:lnTo>
                    <a:lnTo>
                      <a:pt x="177" y="148"/>
                    </a:lnTo>
                    <a:lnTo>
                      <a:pt x="178" y="148"/>
                    </a:lnTo>
                    <a:lnTo>
                      <a:pt x="178" y="147"/>
                    </a:lnTo>
                    <a:lnTo>
                      <a:pt x="178" y="146"/>
                    </a:lnTo>
                    <a:lnTo>
                      <a:pt x="179" y="145"/>
                    </a:lnTo>
                    <a:lnTo>
                      <a:pt x="179" y="144"/>
                    </a:lnTo>
                    <a:lnTo>
                      <a:pt x="179" y="142"/>
                    </a:lnTo>
                    <a:lnTo>
                      <a:pt x="179" y="139"/>
                    </a:lnTo>
                    <a:lnTo>
                      <a:pt x="179" y="138"/>
                    </a:lnTo>
                    <a:lnTo>
                      <a:pt x="179" y="137"/>
                    </a:lnTo>
                    <a:lnTo>
                      <a:pt x="180" y="137"/>
                    </a:lnTo>
                    <a:lnTo>
                      <a:pt x="181" y="137"/>
                    </a:lnTo>
                    <a:lnTo>
                      <a:pt x="183" y="136"/>
                    </a:lnTo>
                    <a:lnTo>
                      <a:pt x="184" y="135"/>
                    </a:lnTo>
                    <a:lnTo>
                      <a:pt x="185" y="135"/>
                    </a:lnTo>
                    <a:lnTo>
                      <a:pt x="185" y="133"/>
                    </a:lnTo>
                    <a:lnTo>
                      <a:pt x="186" y="133"/>
                    </a:lnTo>
                    <a:lnTo>
                      <a:pt x="186" y="132"/>
                    </a:lnTo>
                    <a:lnTo>
                      <a:pt x="187" y="132"/>
                    </a:lnTo>
                    <a:lnTo>
                      <a:pt x="188" y="131"/>
                    </a:lnTo>
                    <a:lnTo>
                      <a:pt x="189" y="130"/>
                    </a:lnTo>
                    <a:lnTo>
                      <a:pt x="190" y="131"/>
                    </a:lnTo>
                    <a:lnTo>
                      <a:pt x="192" y="131"/>
                    </a:lnTo>
                    <a:lnTo>
                      <a:pt x="193" y="130"/>
                    </a:lnTo>
                    <a:lnTo>
                      <a:pt x="193" y="128"/>
                    </a:lnTo>
                    <a:lnTo>
                      <a:pt x="194" y="126"/>
                    </a:lnTo>
                    <a:lnTo>
                      <a:pt x="194" y="125"/>
                    </a:lnTo>
                    <a:lnTo>
                      <a:pt x="194" y="124"/>
                    </a:lnTo>
                    <a:lnTo>
                      <a:pt x="196" y="124"/>
                    </a:lnTo>
                    <a:lnTo>
                      <a:pt x="196" y="123"/>
                    </a:lnTo>
                    <a:lnTo>
                      <a:pt x="197" y="124"/>
                    </a:lnTo>
                    <a:lnTo>
                      <a:pt x="197" y="125"/>
                    </a:lnTo>
                    <a:lnTo>
                      <a:pt x="197" y="121"/>
                    </a:lnTo>
                    <a:lnTo>
                      <a:pt x="197" y="119"/>
                    </a:lnTo>
                    <a:lnTo>
                      <a:pt x="197" y="118"/>
                    </a:lnTo>
                    <a:lnTo>
                      <a:pt x="197" y="106"/>
                    </a:lnTo>
                    <a:lnTo>
                      <a:pt x="197" y="79"/>
                    </a:lnTo>
                    <a:lnTo>
                      <a:pt x="197" y="78"/>
                    </a:lnTo>
                    <a:lnTo>
                      <a:pt x="197" y="77"/>
                    </a:lnTo>
                    <a:lnTo>
                      <a:pt x="197" y="62"/>
                    </a:lnTo>
                    <a:lnTo>
                      <a:pt x="197" y="61"/>
                    </a:lnTo>
                    <a:lnTo>
                      <a:pt x="197" y="60"/>
                    </a:lnTo>
                    <a:lnTo>
                      <a:pt x="197" y="58"/>
                    </a:lnTo>
                    <a:lnTo>
                      <a:pt x="196" y="58"/>
                    </a:lnTo>
                    <a:lnTo>
                      <a:pt x="194" y="58"/>
                    </a:lnTo>
                    <a:lnTo>
                      <a:pt x="193" y="58"/>
                    </a:lnTo>
                    <a:lnTo>
                      <a:pt x="193" y="57"/>
                    </a:lnTo>
                    <a:lnTo>
                      <a:pt x="192" y="57"/>
                    </a:lnTo>
                    <a:lnTo>
                      <a:pt x="191" y="57"/>
                    </a:lnTo>
                    <a:lnTo>
                      <a:pt x="191" y="56"/>
                    </a:lnTo>
                    <a:lnTo>
                      <a:pt x="190" y="56"/>
                    </a:lnTo>
                    <a:lnTo>
                      <a:pt x="190" y="55"/>
                    </a:lnTo>
                    <a:lnTo>
                      <a:pt x="189" y="55"/>
                    </a:lnTo>
                    <a:lnTo>
                      <a:pt x="189" y="54"/>
                    </a:lnTo>
                    <a:lnTo>
                      <a:pt x="189" y="53"/>
                    </a:lnTo>
                    <a:lnTo>
                      <a:pt x="188" y="53"/>
                    </a:lnTo>
                    <a:lnTo>
                      <a:pt x="187" y="52"/>
                    </a:lnTo>
                    <a:lnTo>
                      <a:pt x="186" y="51"/>
                    </a:lnTo>
                    <a:lnTo>
                      <a:pt x="185" y="51"/>
                    </a:lnTo>
                    <a:lnTo>
                      <a:pt x="183" y="49"/>
                    </a:lnTo>
                    <a:lnTo>
                      <a:pt x="181" y="49"/>
                    </a:lnTo>
                    <a:lnTo>
                      <a:pt x="180" y="48"/>
                    </a:lnTo>
                    <a:lnTo>
                      <a:pt x="179" y="48"/>
                    </a:lnTo>
                    <a:lnTo>
                      <a:pt x="178" y="47"/>
                    </a:lnTo>
                    <a:lnTo>
                      <a:pt x="177" y="47"/>
                    </a:lnTo>
                    <a:lnTo>
                      <a:pt x="176" y="46"/>
                    </a:lnTo>
                    <a:lnTo>
                      <a:pt x="175" y="45"/>
                    </a:lnTo>
                    <a:lnTo>
                      <a:pt x="175" y="44"/>
                    </a:lnTo>
                    <a:lnTo>
                      <a:pt x="175" y="43"/>
                    </a:lnTo>
                    <a:lnTo>
                      <a:pt x="174" y="42"/>
                    </a:lnTo>
                    <a:lnTo>
                      <a:pt x="174" y="41"/>
                    </a:lnTo>
                    <a:lnTo>
                      <a:pt x="173" y="40"/>
                    </a:lnTo>
                    <a:lnTo>
                      <a:pt x="173" y="36"/>
                    </a:lnTo>
                    <a:lnTo>
                      <a:pt x="173" y="35"/>
                    </a:lnTo>
                    <a:lnTo>
                      <a:pt x="173" y="33"/>
                    </a:lnTo>
                    <a:lnTo>
                      <a:pt x="173" y="13"/>
                    </a:lnTo>
                    <a:lnTo>
                      <a:pt x="172" y="2"/>
                    </a:lnTo>
                    <a:lnTo>
                      <a:pt x="172" y="1"/>
                    </a:lnTo>
                    <a:lnTo>
                      <a:pt x="226" y="0"/>
                    </a:lnTo>
                    <a:lnTo>
                      <a:pt x="236" y="0"/>
                    </a:lnTo>
                    <a:lnTo>
                      <a:pt x="240" y="0"/>
                    </a:lnTo>
                    <a:lnTo>
                      <a:pt x="241" y="0"/>
                    </a:lnTo>
                    <a:lnTo>
                      <a:pt x="268" y="0"/>
                    </a:lnTo>
                    <a:lnTo>
                      <a:pt x="284" y="0"/>
                    </a:lnTo>
                    <a:lnTo>
                      <a:pt x="303" y="0"/>
                    </a:lnTo>
                    <a:lnTo>
                      <a:pt x="308" y="0"/>
                    </a:lnTo>
                    <a:lnTo>
                      <a:pt x="334" y="1"/>
                    </a:lnTo>
                    <a:lnTo>
                      <a:pt x="379" y="1"/>
                    </a:lnTo>
                    <a:lnTo>
                      <a:pt x="385" y="1"/>
                    </a:lnTo>
                    <a:lnTo>
                      <a:pt x="391" y="1"/>
                    </a:lnTo>
                    <a:lnTo>
                      <a:pt x="395" y="1"/>
                    </a:lnTo>
                    <a:lnTo>
                      <a:pt x="402" y="1"/>
                    </a:lnTo>
                    <a:lnTo>
                      <a:pt x="413" y="1"/>
                    </a:lnTo>
                    <a:lnTo>
                      <a:pt x="416" y="1"/>
                    </a:lnTo>
                    <a:close/>
                  </a:path>
                </a:pathLst>
              </a:custGeom>
              <a:solidFill>
                <a:srgbClr val="5DA8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0" name="Freeform 298">
                <a:extLst>
                  <a:ext uri="{FF2B5EF4-FFF2-40B4-BE49-F238E27FC236}">
                    <a16:creationId xmlns:a16="http://schemas.microsoft.com/office/drawing/2014/main" id="{4ECCB649-F923-4724-4DD0-02A868CE6877}"/>
                  </a:ext>
                </a:extLst>
              </p:cNvPr>
              <p:cNvSpPr>
                <a:spLocks/>
              </p:cNvSpPr>
              <p:nvPr/>
            </p:nvSpPr>
            <p:spPr bwMode="auto">
              <a:xfrm>
                <a:off x="2516188" y="4030663"/>
                <a:ext cx="477838" cy="487363"/>
              </a:xfrm>
              <a:custGeom>
                <a:avLst/>
                <a:gdLst>
                  <a:gd name="T0" fmla="*/ 154 w 301"/>
                  <a:gd name="T1" fmla="*/ 1 h 307"/>
                  <a:gd name="T2" fmla="*/ 279 w 301"/>
                  <a:gd name="T3" fmla="*/ 31 h 307"/>
                  <a:gd name="T4" fmla="*/ 290 w 301"/>
                  <a:gd name="T5" fmla="*/ 140 h 307"/>
                  <a:gd name="T6" fmla="*/ 258 w 301"/>
                  <a:gd name="T7" fmla="*/ 182 h 307"/>
                  <a:gd name="T8" fmla="*/ 245 w 301"/>
                  <a:gd name="T9" fmla="*/ 185 h 307"/>
                  <a:gd name="T10" fmla="*/ 236 w 301"/>
                  <a:gd name="T11" fmla="*/ 198 h 307"/>
                  <a:gd name="T12" fmla="*/ 235 w 301"/>
                  <a:gd name="T13" fmla="*/ 216 h 307"/>
                  <a:gd name="T14" fmla="*/ 225 w 301"/>
                  <a:gd name="T15" fmla="*/ 228 h 307"/>
                  <a:gd name="T16" fmla="*/ 219 w 301"/>
                  <a:gd name="T17" fmla="*/ 236 h 307"/>
                  <a:gd name="T18" fmla="*/ 210 w 301"/>
                  <a:gd name="T19" fmla="*/ 235 h 307"/>
                  <a:gd name="T20" fmla="*/ 207 w 301"/>
                  <a:gd name="T21" fmla="*/ 245 h 307"/>
                  <a:gd name="T22" fmla="*/ 198 w 301"/>
                  <a:gd name="T23" fmla="*/ 252 h 307"/>
                  <a:gd name="T24" fmla="*/ 190 w 301"/>
                  <a:gd name="T25" fmla="*/ 255 h 307"/>
                  <a:gd name="T26" fmla="*/ 184 w 301"/>
                  <a:gd name="T27" fmla="*/ 265 h 307"/>
                  <a:gd name="T28" fmla="*/ 175 w 301"/>
                  <a:gd name="T29" fmla="*/ 277 h 307"/>
                  <a:gd name="T30" fmla="*/ 165 w 301"/>
                  <a:gd name="T31" fmla="*/ 287 h 307"/>
                  <a:gd name="T32" fmla="*/ 144 w 301"/>
                  <a:gd name="T33" fmla="*/ 298 h 307"/>
                  <a:gd name="T34" fmla="*/ 127 w 301"/>
                  <a:gd name="T35" fmla="*/ 307 h 307"/>
                  <a:gd name="T36" fmla="*/ 110 w 301"/>
                  <a:gd name="T37" fmla="*/ 300 h 307"/>
                  <a:gd name="T38" fmla="*/ 94 w 301"/>
                  <a:gd name="T39" fmla="*/ 294 h 307"/>
                  <a:gd name="T40" fmla="*/ 84 w 301"/>
                  <a:gd name="T41" fmla="*/ 288 h 307"/>
                  <a:gd name="T42" fmla="*/ 74 w 301"/>
                  <a:gd name="T43" fmla="*/ 282 h 307"/>
                  <a:gd name="T44" fmla="*/ 69 w 301"/>
                  <a:gd name="T45" fmla="*/ 279 h 307"/>
                  <a:gd name="T46" fmla="*/ 63 w 301"/>
                  <a:gd name="T47" fmla="*/ 271 h 307"/>
                  <a:gd name="T48" fmla="*/ 61 w 301"/>
                  <a:gd name="T49" fmla="*/ 267 h 307"/>
                  <a:gd name="T50" fmla="*/ 54 w 301"/>
                  <a:gd name="T51" fmla="*/ 264 h 307"/>
                  <a:gd name="T52" fmla="*/ 43 w 301"/>
                  <a:gd name="T53" fmla="*/ 262 h 307"/>
                  <a:gd name="T54" fmla="*/ 36 w 301"/>
                  <a:gd name="T55" fmla="*/ 270 h 307"/>
                  <a:gd name="T56" fmla="*/ 24 w 301"/>
                  <a:gd name="T57" fmla="*/ 272 h 307"/>
                  <a:gd name="T58" fmla="*/ 17 w 301"/>
                  <a:gd name="T59" fmla="*/ 273 h 307"/>
                  <a:gd name="T60" fmla="*/ 6 w 301"/>
                  <a:gd name="T61" fmla="*/ 278 h 307"/>
                  <a:gd name="T62" fmla="*/ 7 w 301"/>
                  <a:gd name="T63" fmla="*/ 264 h 307"/>
                  <a:gd name="T64" fmla="*/ 5 w 301"/>
                  <a:gd name="T65" fmla="*/ 252 h 307"/>
                  <a:gd name="T66" fmla="*/ 7 w 301"/>
                  <a:gd name="T67" fmla="*/ 236 h 307"/>
                  <a:gd name="T68" fmla="*/ 14 w 301"/>
                  <a:gd name="T69" fmla="*/ 226 h 307"/>
                  <a:gd name="T70" fmla="*/ 12 w 301"/>
                  <a:gd name="T71" fmla="*/ 218 h 307"/>
                  <a:gd name="T72" fmla="*/ 26 w 301"/>
                  <a:gd name="T73" fmla="*/ 211 h 307"/>
                  <a:gd name="T74" fmla="*/ 28 w 301"/>
                  <a:gd name="T75" fmla="*/ 198 h 307"/>
                  <a:gd name="T76" fmla="*/ 20 w 301"/>
                  <a:gd name="T77" fmla="*/ 195 h 307"/>
                  <a:gd name="T78" fmla="*/ 12 w 301"/>
                  <a:gd name="T79" fmla="*/ 187 h 307"/>
                  <a:gd name="T80" fmla="*/ 4 w 301"/>
                  <a:gd name="T81" fmla="*/ 177 h 307"/>
                  <a:gd name="T82" fmla="*/ 4 w 301"/>
                  <a:gd name="T83" fmla="*/ 167 h 307"/>
                  <a:gd name="T84" fmla="*/ 5 w 301"/>
                  <a:gd name="T85" fmla="*/ 158 h 307"/>
                  <a:gd name="T86" fmla="*/ 5 w 301"/>
                  <a:gd name="T87" fmla="*/ 148 h 307"/>
                  <a:gd name="T88" fmla="*/ 3 w 301"/>
                  <a:gd name="T89" fmla="*/ 139 h 307"/>
                  <a:gd name="T90" fmla="*/ 3 w 301"/>
                  <a:gd name="T91" fmla="*/ 130 h 307"/>
                  <a:gd name="T92" fmla="*/ 6 w 301"/>
                  <a:gd name="T93" fmla="*/ 123 h 307"/>
                  <a:gd name="T94" fmla="*/ 6 w 301"/>
                  <a:gd name="T95" fmla="*/ 114 h 307"/>
                  <a:gd name="T96" fmla="*/ 8 w 301"/>
                  <a:gd name="T97" fmla="*/ 105 h 307"/>
                  <a:gd name="T98" fmla="*/ 4 w 301"/>
                  <a:gd name="T99" fmla="*/ 97 h 307"/>
                  <a:gd name="T100" fmla="*/ 3 w 301"/>
                  <a:gd name="T101" fmla="*/ 88 h 307"/>
                  <a:gd name="T102" fmla="*/ 3 w 301"/>
                  <a:gd name="T103" fmla="*/ 80 h 307"/>
                  <a:gd name="T104" fmla="*/ 6 w 301"/>
                  <a:gd name="T105" fmla="*/ 71 h 307"/>
                  <a:gd name="T106" fmla="*/ 14 w 301"/>
                  <a:gd name="T107" fmla="*/ 67 h 307"/>
                  <a:gd name="T108" fmla="*/ 17 w 301"/>
                  <a:gd name="T109" fmla="*/ 59 h 307"/>
                  <a:gd name="T110" fmla="*/ 17 w 301"/>
                  <a:gd name="T111" fmla="*/ 51 h 307"/>
                  <a:gd name="T112" fmla="*/ 24 w 301"/>
                  <a:gd name="T113" fmla="*/ 43 h 307"/>
                  <a:gd name="T114" fmla="*/ 18 w 301"/>
                  <a:gd name="T115" fmla="*/ 33 h 307"/>
                  <a:gd name="T116" fmla="*/ 13 w 301"/>
                  <a:gd name="T117" fmla="*/ 23 h 307"/>
                  <a:gd name="T118" fmla="*/ 6 w 301"/>
                  <a:gd name="T119" fmla="*/ 16 h 307"/>
                  <a:gd name="T120" fmla="*/ 3 w 301"/>
                  <a:gd name="T121" fmla="*/ 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 h="307">
                    <a:moveTo>
                      <a:pt x="85" y="1"/>
                    </a:moveTo>
                    <a:lnTo>
                      <a:pt x="90" y="0"/>
                    </a:lnTo>
                    <a:lnTo>
                      <a:pt x="90" y="1"/>
                    </a:lnTo>
                    <a:lnTo>
                      <a:pt x="98" y="1"/>
                    </a:lnTo>
                    <a:lnTo>
                      <a:pt x="104" y="1"/>
                    </a:lnTo>
                    <a:lnTo>
                      <a:pt x="106" y="1"/>
                    </a:lnTo>
                    <a:lnTo>
                      <a:pt x="107" y="0"/>
                    </a:lnTo>
                    <a:lnTo>
                      <a:pt x="109" y="1"/>
                    </a:lnTo>
                    <a:lnTo>
                      <a:pt x="120" y="1"/>
                    </a:lnTo>
                    <a:lnTo>
                      <a:pt x="123" y="1"/>
                    </a:lnTo>
                    <a:lnTo>
                      <a:pt x="126" y="1"/>
                    </a:lnTo>
                    <a:lnTo>
                      <a:pt x="133" y="1"/>
                    </a:lnTo>
                    <a:lnTo>
                      <a:pt x="134" y="1"/>
                    </a:lnTo>
                    <a:lnTo>
                      <a:pt x="143" y="1"/>
                    </a:lnTo>
                    <a:lnTo>
                      <a:pt x="145" y="1"/>
                    </a:lnTo>
                    <a:lnTo>
                      <a:pt x="149" y="1"/>
                    </a:lnTo>
                    <a:lnTo>
                      <a:pt x="154" y="1"/>
                    </a:lnTo>
                    <a:lnTo>
                      <a:pt x="158" y="1"/>
                    </a:lnTo>
                    <a:lnTo>
                      <a:pt x="168" y="1"/>
                    </a:lnTo>
                    <a:lnTo>
                      <a:pt x="183" y="1"/>
                    </a:lnTo>
                    <a:lnTo>
                      <a:pt x="197" y="1"/>
                    </a:lnTo>
                    <a:lnTo>
                      <a:pt x="208" y="1"/>
                    </a:lnTo>
                    <a:lnTo>
                      <a:pt x="217" y="1"/>
                    </a:lnTo>
                    <a:lnTo>
                      <a:pt x="224" y="1"/>
                    </a:lnTo>
                    <a:lnTo>
                      <a:pt x="232" y="1"/>
                    </a:lnTo>
                    <a:lnTo>
                      <a:pt x="237" y="1"/>
                    </a:lnTo>
                    <a:lnTo>
                      <a:pt x="237" y="10"/>
                    </a:lnTo>
                    <a:lnTo>
                      <a:pt x="238" y="31"/>
                    </a:lnTo>
                    <a:lnTo>
                      <a:pt x="253" y="31"/>
                    </a:lnTo>
                    <a:lnTo>
                      <a:pt x="255" y="31"/>
                    </a:lnTo>
                    <a:lnTo>
                      <a:pt x="261" y="31"/>
                    </a:lnTo>
                    <a:lnTo>
                      <a:pt x="276" y="31"/>
                    </a:lnTo>
                    <a:lnTo>
                      <a:pt x="277" y="31"/>
                    </a:lnTo>
                    <a:lnTo>
                      <a:pt x="279" y="31"/>
                    </a:lnTo>
                    <a:lnTo>
                      <a:pt x="279" y="42"/>
                    </a:lnTo>
                    <a:lnTo>
                      <a:pt x="279" y="52"/>
                    </a:lnTo>
                    <a:lnTo>
                      <a:pt x="279" y="62"/>
                    </a:lnTo>
                    <a:lnTo>
                      <a:pt x="279" y="67"/>
                    </a:lnTo>
                    <a:lnTo>
                      <a:pt x="279" y="73"/>
                    </a:lnTo>
                    <a:lnTo>
                      <a:pt x="279" y="78"/>
                    </a:lnTo>
                    <a:lnTo>
                      <a:pt x="279" y="93"/>
                    </a:lnTo>
                    <a:lnTo>
                      <a:pt x="290" y="93"/>
                    </a:lnTo>
                    <a:lnTo>
                      <a:pt x="290" y="114"/>
                    </a:lnTo>
                    <a:lnTo>
                      <a:pt x="301" y="114"/>
                    </a:lnTo>
                    <a:lnTo>
                      <a:pt x="301" y="118"/>
                    </a:lnTo>
                    <a:lnTo>
                      <a:pt x="300" y="129"/>
                    </a:lnTo>
                    <a:lnTo>
                      <a:pt x="300" y="134"/>
                    </a:lnTo>
                    <a:lnTo>
                      <a:pt x="300" y="140"/>
                    </a:lnTo>
                    <a:lnTo>
                      <a:pt x="298" y="140"/>
                    </a:lnTo>
                    <a:lnTo>
                      <a:pt x="297" y="140"/>
                    </a:lnTo>
                    <a:lnTo>
                      <a:pt x="290" y="140"/>
                    </a:lnTo>
                    <a:lnTo>
                      <a:pt x="290" y="146"/>
                    </a:lnTo>
                    <a:lnTo>
                      <a:pt x="290" y="150"/>
                    </a:lnTo>
                    <a:lnTo>
                      <a:pt x="279" y="150"/>
                    </a:lnTo>
                    <a:lnTo>
                      <a:pt x="279" y="161"/>
                    </a:lnTo>
                    <a:lnTo>
                      <a:pt x="279" y="166"/>
                    </a:lnTo>
                    <a:lnTo>
                      <a:pt x="279" y="170"/>
                    </a:lnTo>
                    <a:lnTo>
                      <a:pt x="278" y="170"/>
                    </a:lnTo>
                    <a:lnTo>
                      <a:pt x="277" y="170"/>
                    </a:lnTo>
                    <a:lnTo>
                      <a:pt x="274" y="170"/>
                    </a:lnTo>
                    <a:lnTo>
                      <a:pt x="272" y="170"/>
                    </a:lnTo>
                    <a:lnTo>
                      <a:pt x="270" y="170"/>
                    </a:lnTo>
                    <a:lnTo>
                      <a:pt x="269" y="170"/>
                    </a:lnTo>
                    <a:lnTo>
                      <a:pt x="266" y="170"/>
                    </a:lnTo>
                    <a:lnTo>
                      <a:pt x="259" y="170"/>
                    </a:lnTo>
                    <a:lnTo>
                      <a:pt x="259" y="175"/>
                    </a:lnTo>
                    <a:lnTo>
                      <a:pt x="259" y="181"/>
                    </a:lnTo>
                    <a:lnTo>
                      <a:pt x="258" y="182"/>
                    </a:lnTo>
                    <a:lnTo>
                      <a:pt x="257" y="182"/>
                    </a:lnTo>
                    <a:lnTo>
                      <a:pt x="257" y="183"/>
                    </a:lnTo>
                    <a:lnTo>
                      <a:pt x="256" y="183"/>
                    </a:lnTo>
                    <a:lnTo>
                      <a:pt x="256" y="184"/>
                    </a:lnTo>
                    <a:lnTo>
                      <a:pt x="255" y="184"/>
                    </a:lnTo>
                    <a:lnTo>
                      <a:pt x="253" y="185"/>
                    </a:lnTo>
                    <a:lnTo>
                      <a:pt x="252" y="185"/>
                    </a:lnTo>
                    <a:lnTo>
                      <a:pt x="252" y="184"/>
                    </a:lnTo>
                    <a:lnTo>
                      <a:pt x="251" y="184"/>
                    </a:lnTo>
                    <a:lnTo>
                      <a:pt x="250" y="184"/>
                    </a:lnTo>
                    <a:lnTo>
                      <a:pt x="249" y="184"/>
                    </a:lnTo>
                    <a:lnTo>
                      <a:pt x="248" y="185"/>
                    </a:lnTo>
                    <a:lnTo>
                      <a:pt x="247" y="185"/>
                    </a:lnTo>
                    <a:lnTo>
                      <a:pt x="246" y="185"/>
                    </a:lnTo>
                    <a:lnTo>
                      <a:pt x="245" y="185"/>
                    </a:lnTo>
                    <a:lnTo>
                      <a:pt x="245" y="187"/>
                    </a:lnTo>
                    <a:lnTo>
                      <a:pt x="245" y="185"/>
                    </a:lnTo>
                    <a:lnTo>
                      <a:pt x="244" y="185"/>
                    </a:lnTo>
                    <a:lnTo>
                      <a:pt x="243" y="187"/>
                    </a:lnTo>
                    <a:lnTo>
                      <a:pt x="242" y="187"/>
                    </a:lnTo>
                    <a:lnTo>
                      <a:pt x="240" y="189"/>
                    </a:lnTo>
                    <a:lnTo>
                      <a:pt x="239" y="190"/>
                    </a:lnTo>
                    <a:lnTo>
                      <a:pt x="238" y="190"/>
                    </a:lnTo>
                    <a:lnTo>
                      <a:pt x="237" y="191"/>
                    </a:lnTo>
                    <a:lnTo>
                      <a:pt x="236" y="191"/>
                    </a:lnTo>
                    <a:lnTo>
                      <a:pt x="236" y="192"/>
                    </a:lnTo>
                    <a:lnTo>
                      <a:pt x="236" y="193"/>
                    </a:lnTo>
                    <a:lnTo>
                      <a:pt x="236" y="194"/>
                    </a:lnTo>
                    <a:lnTo>
                      <a:pt x="236" y="195"/>
                    </a:lnTo>
                    <a:lnTo>
                      <a:pt x="235" y="196"/>
                    </a:lnTo>
                    <a:lnTo>
                      <a:pt x="234" y="196"/>
                    </a:lnTo>
                    <a:lnTo>
                      <a:pt x="234" y="197"/>
                    </a:lnTo>
                    <a:lnTo>
                      <a:pt x="235" y="198"/>
                    </a:lnTo>
                    <a:lnTo>
                      <a:pt x="236" y="198"/>
                    </a:lnTo>
                    <a:lnTo>
                      <a:pt x="236" y="200"/>
                    </a:lnTo>
                    <a:lnTo>
                      <a:pt x="235" y="200"/>
                    </a:lnTo>
                    <a:lnTo>
                      <a:pt x="235" y="201"/>
                    </a:lnTo>
                    <a:lnTo>
                      <a:pt x="235" y="202"/>
                    </a:lnTo>
                    <a:lnTo>
                      <a:pt x="236" y="203"/>
                    </a:lnTo>
                    <a:lnTo>
                      <a:pt x="236" y="204"/>
                    </a:lnTo>
                    <a:lnTo>
                      <a:pt x="236" y="205"/>
                    </a:lnTo>
                    <a:lnTo>
                      <a:pt x="235" y="206"/>
                    </a:lnTo>
                    <a:lnTo>
                      <a:pt x="235" y="207"/>
                    </a:lnTo>
                    <a:lnTo>
                      <a:pt x="236" y="208"/>
                    </a:lnTo>
                    <a:lnTo>
                      <a:pt x="236" y="209"/>
                    </a:lnTo>
                    <a:lnTo>
                      <a:pt x="236" y="210"/>
                    </a:lnTo>
                    <a:lnTo>
                      <a:pt x="236" y="211"/>
                    </a:lnTo>
                    <a:lnTo>
                      <a:pt x="236" y="213"/>
                    </a:lnTo>
                    <a:lnTo>
                      <a:pt x="235" y="214"/>
                    </a:lnTo>
                    <a:lnTo>
                      <a:pt x="235" y="215"/>
                    </a:lnTo>
                    <a:lnTo>
                      <a:pt x="235" y="216"/>
                    </a:lnTo>
                    <a:lnTo>
                      <a:pt x="234" y="216"/>
                    </a:lnTo>
                    <a:lnTo>
                      <a:pt x="233" y="217"/>
                    </a:lnTo>
                    <a:lnTo>
                      <a:pt x="233" y="218"/>
                    </a:lnTo>
                    <a:lnTo>
                      <a:pt x="233" y="219"/>
                    </a:lnTo>
                    <a:lnTo>
                      <a:pt x="234" y="219"/>
                    </a:lnTo>
                    <a:lnTo>
                      <a:pt x="234" y="220"/>
                    </a:lnTo>
                    <a:lnTo>
                      <a:pt x="233" y="221"/>
                    </a:lnTo>
                    <a:lnTo>
                      <a:pt x="232" y="221"/>
                    </a:lnTo>
                    <a:lnTo>
                      <a:pt x="232" y="222"/>
                    </a:lnTo>
                    <a:lnTo>
                      <a:pt x="231" y="222"/>
                    </a:lnTo>
                    <a:lnTo>
                      <a:pt x="230" y="223"/>
                    </a:lnTo>
                    <a:lnTo>
                      <a:pt x="229" y="223"/>
                    </a:lnTo>
                    <a:lnTo>
                      <a:pt x="227" y="224"/>
                    </a:lnTo>
                    <a:lnTo>
                      <a:pt x="227" y="226"/>
                    </a:lnTo>
                    <a:lnTo>
                      <a:pt x="226" y="227"/>
                    </a:lnTo>
                    <a:lnTo>
                      <a:pt x="226" y="228"/>
                    </a:lnTo>
                    <a:lnTo>
                      <a:pt x="225" y="228"/>
                    </a:lnTo>
                    <a:lnTo>
                      <a:pt x="225" y="229"/>
                    </a:lnTo>
                    <a:lnTo>
                      <a:pt x="224" y="229"/>
                    </a:lnTo>
                    <a:lnTo>
                      <a:pt x="224" y="230"/>
                    </a:lnTo>
                    <a:lnTo>
                      <a:pt x="224" y="231"/>
                    </a:lnTo>
                    <a:lnTo>
                      <a:pt x="223" y="231"/>
                    </a:lnTo>
                    <a:lnTo>
                      <a:pt x="223" y="232"/>
                    </a:lnTo>
                    <a:lnTo>
                      <a:pt x="222" y="232"/>
                    </a:lnTo>
                    <a:lnTo>
                      <a:pt x="222" y="231"/>
                    </a:lnTo>
                    <a:lnTo>
                      <a:pt x="222" y="232"/>
                    </a:lnTo>
                    <a:lnTo>
                      <a:pt x="221" y="232"/>
                    </a:lnTo>
                    <a:lnTo>
                      <a:pt x="221" y="233"/>
                    </a:lnTo>
                    <a:lnTo>
                      <a:pt x="220" y="233"/>
                    </a:lnTo>
                    <a:lnTo>
                      <a:pt x="221" y="234"/>
                    </a:lnTo>
                    <a:lnTo>
                      <a:pt x="220" y="234"/>
                    </a:lnTo>
                    <a:lnTo>
                      <a:pt x="219" y="235"/>
                    </a:lnTo>
                    <a:lnTo>
                      <a:pt x="218" y="235"/>
                    </a:lnTo>
                    <a:lnTo>
                      <a:pt x="219" y="236"/>
                    </a:lnTo>
                    <a:lnTo>
                      <a:pt x="220" y="238"/>
                    </a:lnTo>
                    <a:lnTo>
                      <a:pt x="219" y="238"/>
                    </a:lnTo>
                    <a:lnTo>
                      <a:pt x="218" y="238"/>
                    </a:lnTo>
                    <a:lnTo>
                      <a:pt x="217" y="238"/>
                    </a:lnTo>
                    <a:lnTo>
                      <a:pt x="217" y="239"/>
                    </a:lnTo>
                    <a:lnTo>
                      <a:pt x="216" y="239"/>
                    </a:lnTo>
                    <a:lnTo>
                      <a:pt x="216" y="238"/>
                    </a:lnTo>
                    <a:lnTo>
                      <a:pt x="216" y="236"/>
                    </a:lnTo>
                    <a:lnTo>
                      <a:pt x="214" y="236"/>
                    </a:lnTo>
                    <a:lnTo>
                      <a:pt x="213" y="236"/>
                    </a:lnTo>
                    <a:lnTo>
                      <a:pt x="212" y="238"/>
                    </a:lnTo>
                    <a:lnTo>
                      <a:pt x="212" y="239"/>
                    </a:lnTo>
                    <a:lnTo>
                      <a:pt x="211" y="239"/>
                    </a:lnTo>
                    <a:lnTo>
                      <a:pt x="211" y="238"/>
                    </a:lnTo>
                    <a:lnTo>
                      <a:pt x="211" y="236"/>
                    </a:lnTo>
                    <a:lnTo>
                      <a:pt x="211" y="235"/>
                    </a:lnTo>
                    <a:lnTo>
                      <a:pt x="210" y="235"/>
                    </a:lnTo>
                    <a:lnTo>
                      <a:pt x="210" y="236"/>
                    </a:lnTo>
                    <a:lnTo>
                      <a:pt x="210" y="238"/>
                    </a:lnTo>
                    <a:lnTo>
                      <a:pt x="210" y="239"/>
                    </a:lnTo>
                    <a:lnTo>
                      <a:pt x="209" y="239"/>
                    </a:lnTo>
                    <a:lnTo>
                      <a:pt x="209" y="238"/>
                    </a:lnTo>
                    <a:lnTo>
                      <a:pt x="208" y="238"/>
                    </a:lnTo>
                    <a:lnTo>
                      <a:pt x="208" y="239"/>
                    </a:lnTo>
                    <a:lnTo>
                      <a:pt x="209" y="239"/>
                    </a:lnTo>
                    <a:lnTo>
                      <a:pt x="209" y="240"/>
                    </a:lnTo>
                    <a:lnTo>
                      <a:pt x="208" y="241"/>
                    </a:lnTo>
                    <a:lnTo>
                      <a:pt x="207" y="241"/>
                    </a:lnTo>
                    <a:lnTo>
                      <a:pt x="208" y="241"/>
                    </a:lnTo>
                    <a:lnTo>
                      <a:pt x="208" y="242"/>
                    </a:lnTo>
                    <a:lnTo>
                      <a:pt x="207" y="242"/>
                    </a:lnTo>
                    <a:lnTo>
                      <a:pt x="207" y="243"/>
                    </a:lnTo>
                    <a:lnTo>
                      <a:pt x="207" y="244"/>
                    </a:lnTo>
                    <a:lnTo>
                      <a:pt x="207" y="245"/>
                    </a:lnTo>
                    <a:lnTo>
                      <a:pt x="206" y="245"/>
                    </a:lnTo>
                    <a:lnTo>
                      <a:pt x="206" y="244"/>
                    </a:lnTo>
                    <a:lnTo>
                      <a:pt x="205" y="244"/>
                    </a:lnTo>
                    <a:lnTo>
                      <a:pt x="205" y="245"/>
                    </a:lnTo>
                    <a:lnTo>
                      <a:pt x="205" y="246"/>
                    </a:lnTo>
                    <a:lnTo>
                      <a:pt x="206" y="246"/>
                    </a:lnTo>
                    <a:lnTo>
                      <a:pt x="206" y="247"/>
                    </a:lnTo>
                    <a:lnTo>
                      <a:pt x="205" y="247"/>
                    </a:lnTo>
                    <a:lnTo>
                      <a:pt x="204" y="247"/>
                    </a:lnTo>
                    <a:lnTo>
                      <a:pt x="204" y="248"/>
                    </a:lnTo>
                    <a:lnTo>
                      <a:pt x="203" y="249"/>
                    </a:lnTo>
                    <a:lnTo>
                      <a:pt x="201" y="249"/>
                    </a:lnTo>
                    <a:lnTo>
                      <a:pt x="200" y="251"/>
                    </a:lnTo>
                    <a:lnTo>
                      <a:pt x="199" y="249"/>
                    </a:lnTo>
                    <a:lnTo>
                      <a:pt x="199" y="251"/>
                    </a:lnTo>
                    <a:lnTo>
                      <a:pt x="198" y="251"/>
                    </a:lnTo>
                    <a:lnTo>
                      <a:pt x="198" y="252"/>
                    </a:lnTo>
                    <a:lnTo>
                      <a:pt x="197" y="252"/>
                    </a:lnTo>
                    <a:lnTo>
                      <a:pt x="196" y="252"/>
                    </a:lnTo>
                    <a:lnTo>
                      <a:pt x="196" y="253"/>
                    </a:lnTo>
                    <a:lnTo>
                      <a:pt x="196" y="254"/>
                    </a:lnTo>
                    <a:lnTo>
                      <a:pt x="195" y="254"/>
                    </a:lnTo>
                    <a:lnTo>
                      <a:pt x="195" y="253"/>
                    </a:lnTo>
                    <a:lnTo>
                      <a:pt x="194" y="253"/>
                    </a:lnTo>
                    <a:lnTo>
                      <a:pt x="193" y="253"/>
                    </a:lnTo>
                    <a:lnTo>
                      <a:pt x="193" y="254"/>
                    </a:lnTo>
                    <a:lnTo>
                      <a:pt x="193" y="255"/>
                    </a:lnTo>
                    <a:lnTo>
                      <a:pt x="192" y="255"/>
                    </a:lnTo>
                    <a:lnTo>
                      <a:pt x="192" y="254"/>
                    </a:lnTo>
                    <a:lnTo>
                      <a:pt x="192" y="253"/>
                    </a:lnTo>
                    <a:lnTo>
                      <a:pt x="191" y="253"/>
                    </a:lnTo>
                    <a:lnTo>
                      <a:pt x="191" y="254"/>
                    </a:lnTo>
                    <a:lnTo>
                      <a:pt x="190" y="254"/>
                    </a:lnTo>
                    <a:lnTo>
                      <a:pt x="190" y="255"/>
                    </a:lnTo>
                    <a:lnTo>
                      <a:pt x="190" y="256"/>
                    </a:lnTo>
                    <a:lnTo>
                      <a:pt x="188" y="256"/>
                    </a:lnTo>
                    <a:lnTo>
                      <a:pt x="188" y="257"/>
                    </a:lnTo>
                    <a:lnTo>
                      <a:pt x="190" y="257"/>
                    </a:lnTo>
                    <a:lnTo>
                      <a:pt x="190" y="258"/>
                    </a:lnTo>
                    <a:lnTo>
                      <a:pt x="188" y="258"/>
                    </a:lnTo>
                    <a:lnTo>
                      <a:pt x="188" y="259"/>
                    </a:lnTo>
                    <a:lnTo>
                      <a:pt x="190" y="259"/>
                    </a:lnTo>
                    <a:lnTo>
                      <a:pt x="190" y="260"/>
                    </a:lnTo>
                    <a:lnTo>
                      <a:pt x="188" y="260"/>
                    </a:lnTo>
                    <a:lnTo>
                      <a:pt x="187" y="260"/>
                    </a:lnTo>
                    <a:lnTo>
                      <a:pt x="187" y="261"/>
                    </a:lnTo>
                    <a:lnTo>
                      <a:pt x="186" y="262"/>
                    </a:lnTo>
                    <a:lnTo>
                      <a:pt x="186" y="264"/>
                    </a:lnTo>
                    <a:lnTo>
                      <a:pt x="185" y="264"/>
                    </a:lnTo>
                    <a:lnTo>
                      <a:pt x="185" y="265"/>
                    </a:lnTo>
                    <a:lnTo>
                      <a:pt x="184" y="265"/>
                    </a:lnTo>
                    <a:lnTo>
                      <a:pt x="184" y="266"/>
                    </a:lnTo>
                    <a:lnTo>
                      <a:pt x="185" y="266"/>
                    </a:lnTo>
                    <a:lnTo>
                      <a:pt x="185" y="267"/>
                    </a:lnTo>
                    <a:lnTo>
                      <a:pt x="184" y="268"/>
                    </a:lnTo>
                    <a:lnTo>
                      <a:pt x="184" y="269"/>
                    </a:lnTo>
                    <a:lnTo>
                      <a:pt x="183" y="270"/>
                    </a:lnTo>
                    <a:lnTo>
                      <a:pt x="182" y="269"/>
                    </a:lnTo>
                    <a:lnTo>
                      <a:pt x="182" y="270"/>
                    </a:lnTo>
                    <a:lnTo>
                      <a:pt x="181" y="270"/>
                    </a:lnTo>
                    <a:lnTo>
                      <a:pt x="180" y="271"/>
                    </a:lnTo>
                    <a:lnTo>
                      <a:pt x="180" y="272"/>
                    </a:lnTo>
                    <a:lnTo>
                      <a:pt x="179" y="272"/>
                    </a:lnTo>
                    <a:lnTo>
                      <a:pt x="179" y="273"/>
                    </a:lnTo>
                    <a:lnTo>
                      <a:pt x="178" y="273"/>
                    </a:lnTo>
                    <a:lnTo>
                      <a:pt x="177" y="273"/>
                    </a:lnTo>
                    <a:lnTo>
                      <a:pt x="175" y="275"/>
                    </a:lnTo>
                    <a:lnTo>
                      <a:pt x="175" y="277"/>
                    </a:lnTo>
                    <a:lnTo>
                      <a:pt x="175" y="278"/>
                    </a:lnTo>
                    <a:lnTo>
                      <a:pt x="175" y="279"/>
                    </a:lnTo>
                    <a:lnTo>
                      <a:pt x="175" y="280"/>
                    </a:lnTo>
                    <a:lnTo>
                      <a:pt x="175" y="281"/>
                    </a:lnTo>
                    <a:lnTo>
                      <a:pt x="174" y="281"/>
                    </a:lnTo>
                    <a:lnTo>
                      <a:pt x="173" y="281"/>
                    </a:lnTo>
                    <a:lnTo>
                      <a:pt x="172" y="281"/>
                    </a:lnTo>
                    <a:lnTo>
                      <a:pt x="171" y="282"/>
                    </a:lnTo>
                    <a:lnTo>
                      <a:pt x="170" y="283"/>
                    </a:lnTo>
                    <a:lnTo>
                      <a:pt x="170" y="284"/>
                    </a:lnTo>
                    <a:lnTo>
                      <a:pt x="169" y="284"/>
                    </a:lnTo>
                    <a:lnTo>
                      <a:pt x="168" y="284"/>
                    </a:lnTo>
                    <a:lnTo>
                      <a:pt x="167" y="284"/>
                    </a:lnTo>
                    <a:lnTo>
                      <a:pt x="167" y="285"/>
                    </a:lnTo>
                    <a:lnTo>
                      <a:pt x="166" y="285"/>
                    </a:lnTo>
                    <a:lnTo>
                      <a:pt x="166" y="286"/>
                    </a:lnTo>
                    <a:lnTo>
                      <a:pt x="165" y="287"/>
                    </a:lnTo>
                    <a:lnTo>
                      <a:pt x="163" y="287"/>
                    </a:lnTo>
                    <a:lnTo>
                      <a:pt x="163" y="288"/>
                    </a:lnTo>
                    <a:lnTo>
                      <a:pt x="163" y="290"/>
                    </a:lnTo>
                    <a:lnTo>
                      <a:pt x="162" y="291"/>
                    </a:lnTo>
                    <a:lnTo>
                      <a:pt x="160" y="292"/>
                    </a:lnTo>
                    <a:lnTo>
                      <a:pt x="159" y="292"/>
                    </a:lnTo>
                    <a:lnTo>
                      <a:pt x="159" y="293"/>
                    </a:lnTo>
                    <a:lnTo>
                      <a:pt x="158" y="294"/>
                    </a:lnTo>
                    <a:lnTo>
                      <a:pt x="157" y="294"/>
                    </a:lnTo>
                    <a:lnTo>
                      <a:pt x="156" y="294"/>
                    </a:lnTo>
                    <a:lnTo>
                      <a:pt x="154" y="295"/>
                    </a:lnTo>
                    <a:lnTo>
                      <a:pt x="153" y="296"/>
                    </a:lnTo>
                    <a:lnTo>
                      <a:pt x="150" y="298"/>
                    </a:lnTo>
                    <a:lnTo>
                      <a:pt x="148" y="298"/>
                    </a:lnTo>
                    <a:lnTo>
                      <a:pt x="146" y="298"/>
                    </a:lnTo>
                    <a:lnTo>
                      <a:pt x="145" y="299"/>
                    </a:lnTo>
                    <a:lnTo>
                      <a:pt x="144" y="298"/>
                    </a:lnTo>
                    <a:lnTo>
                      <a:pt x="143" y="298"/>
                    </a:lnTo>
                    <a:lnTo>
                      <a:pt x="143" y="299"/>
                    </a:lnTo>
                    <a:lnTo>
                      <a:pt x="142" y="299"/>
                    </a:lnTo>
                    <a:lnTo>
                      <a:pt x="141" y="301"/>
                    </a:lnTo>
                    <a:lnTo>
                      <a:pt x="140" y="303"/>
                    </a:lnTo>
                    <a:lnTo>
                      <a:pt x="139" y="303"/>
                    </a:lnTo>
                    <a:lnTo>
                      <a:pt x="137" y="304"/>
                    </a:lnTo>
                    <a:lnTo>
                      <a:pt x="136" y="304"/>
                    </a:lnTo>
                    <a:lnTo>
                      <a:pt x="135" y="304"/>
                    </a:lnTo>
                    <a:lnTo>
                      <a:pt x="134" y="304"/>
                    </a:lnTo>
                    <a:lnTo>
                      <a:pt x="133" y="304"/>
                    </a:lnTo>
                    <a:lnTo>
                      <a:pt x="132" y="304"/>
                    </a:lnTo>
                    <a:lnTo>
                      <a:pt x="131" y="305"/>
                    </a:lnTo>
                    <a:lnTo>
                      <a:pt x="130" y="305"/>
                    </a:lnTo>
                    <a:lnTo>
                      <a:pt x="129" y="306"/>
                    </a:lnTo>
                    <a:lnTo>
                      <a:pt x="128" y="307"/>
                    </a:lnTo>
                    <a:lnTo>
                      <a:pt x="127" y="307"/>
                    </a:lnTo>
                    <a:lnTo>
                      <a:pt x="127" y="306"/>
                    </a:lnTo>
                    <a:lnTo>
                      <a:pt x="124" y="305"/>
                    </a:lnTo>
                    <a:lnTo>
                      <a:pt x="122" y="304"/>
                    </a:lnTo>
                    <a:lnTo>
                      <a:pt x="120" y="304"/>
                    </a:lnTo>
                    <a:lnTo>
                      <a:pt x="119" y="304"/>
                    </a:lnTo>
                    <a:lnTo>
                      <a:pt x="119" y="305"/>
                    </a:lnTo>
                    <a:lnTo>
                      <a:pt x="118" y="305"/>
                    </a:lnTo>
                    <a:lnTo>
                      <a:pt x="118" y="303"/>
                    </a:lnTo>
                    <a:lnTo>
                      <a:pt x="117" y="303"/>
                    </a:lnTo>
                    <a:lnTo>
                      <a:pt x="116" y="303"/>
                    </a:lnTo>
                    <a:lnTo>
                      <a:pt x="115" y="303"/>
                    </a:lnTo>
                    <a:lnTo>
                      <a:pt x="115" y="301"/>
                    </a:lnTo>
                    <a:lnTo>
                      <a:pt x="114" y="301"/>
                    </a:lnTo>
                    <a:lnTo>
                      <a:pt x="113" y="301"/>
                    </a:lnTo>
                    <a:lnTo>
                      <a:pt x="111" y="301"/>
                    </a:lnTo>
                    <a:lnTo>
                      <a:pt x="110" y="301"/>
                    </a:lnTo>
                    <a:lnTo>
                      <a:pt x="110" y="300"/>
                    </a:lnTo>
                    <a:lnTo>
                      <a:pt x="109" y="299"/>
                    </a:lnTo>
                    <a:lnTo>
                      <a:pt x="108" y="299"/>
                    </a:lnTo>
                    <a:lnTo>
                      <a:pt x="107" y="299"/>
                    </a:lnTo>
                    <a:lnTo>
                      <a:pt x="106" y="298"/>
                    </a:lnTo>
                    <a:lnTo>
                      <a:pt x="105" y="298"/>
                    </a:lnTo>
                    <a:lnTo>
                      <a:pt x="104" y="298"/>
                    </a:lnTo>
                    <a:lnTo>
                      <a:pt x="103" y="298"/>
                    </a:lnTo>
                    <a:lnTo>
                      <a:pt x="102" y="298"/>
                    </a:lnTo>
                    <a:lnTo>
                      <a:pt x="101" y="297"/>
                    </a:lnTo>
                    <a:lnTo>
                      <a:pt x="100" y="297"/>
                    </a:lnTo>
                    <a:lnTo>
                      <a:pt x="98" y="296"/>
                    </a:lnTo>
                    <a:lnTo>
                      <a:pt x="98" y="295"/>
                    </a:lnTo>
                    <a:lnTo>
                      <a:pt x="97" y="295"/>
                    </a:lnTo>
                    <a:lnTo>
                      <a:pt x="96" y="295"/>
                    </a:lnTo>
                    <a:lnTo>
                      <a:pt x="95" y="295"/>
                    </a:lnTo>
                    <a:lnTo>
                      <a:pt x="95" y="294"/>
                    </a:lnTo>
                    <a:lnTo>
                      <a:pt x="94" y="294"/>
                    </a:lnTo>
                    <a:lnTo>
                      <a:pt x="94" y="295"/>
                    </a:lnTo>
                    <a:lnTo>
                      <a:pt x="93" y="296"/>
                    </a:lnTo>
                    <a:lnTo>
                      <a:pt x="92" y="296"/>
                    </a:lnTo>
                    <a:lnTo>
                      <a:pt x="91" y="295"/>
                    </a:lnTo>
                    <a:lnTo>
                      <a:pt x="91" y="294"/>
                    </a:lnTo>
                    <a:lnTo>
                      <a:pt x="91" y="293"/>
                    </a:lnTo>
                    <a:lnTo>
                      <a:pt x="90" y="292"/>
                    </a:lnTo>
                    <a:lnTo>
                      <a:pt x="89" y="291"/>
                    </a:lnTo>
                    <a:lnTo>
                      <a:pt x="88" y="290"/>
                    </a:lnTo>
                    <a:lnTo>
                      <a:pt x="87" y="290"/>
                    </a:lnTo>
                    <a:lnTo>
                      <a:pt x="87" y="288"/>
                    </a:lnTo>
                    <a:lnTo>
                      <a:pt x="87" y="287"/>
                    </a:lnTo>
                    <a:lnTo>
                      <a:pt x="85" y="287"/>
                    </a:lnTo>
                    <a:lnTo>
                      <a:pt x="85" y="288"/>
                    </a:lnTo>
                    <a:lnTo>
                      <a:pt x="85" y="287"/>
                    </a:lnTo>
                    <a:lnTo>
                      <a:pt x="84" y="287"/>
                    </a:lnTo>
                    <a:lnTo>
                      <a:pt x="84" y="288"/>
                    </a:lnTo>
                    <a:lnTo>
                      <a:pt x="83" y="288"/>
                    </a:lnTo>
                    <a:lnTo>
                      <a:pt x="82" y="287"/>
                    </a:lnTo>
                    <a:lnTo>
                      <a:pt x="81" y="287"/>
                    </a:lnTo>
                    <a:lnTo>
                      <a:pt x="81" y="286"/>
                    </a:lnTo>
                    <a:lnTo>
                      <a:pt x="82" y="286"/>
                    </a:lnTo>
                    <a:lnTo>
                      <a:pt x="81" y="286"/>
                    </a:lnTo>
                    <a:lnTo>
                      <a:pt x="80" y="285"/>
                    </a:lnTo>
                    <a:lnTo>
                      <a:pt x="79" y="285"/>
                    </a:lnTo>
                    <a:lnTo>
                      <a:pt x="78" y="285"/>
                    </a:lnTo>
                    <a:lnTo>
                      <a:pt x="77" y="285"/>
                    </a:lnTo>
                    <a:lnTo>
                      <a:pt x="77" y="286"/>
                    </a:lnTo>
                    <a:lnTo>
                      <a:pt x="77" y="285"/>
                    </a:lnTo>
                    <a:lnTo>
                      <a:pt x="78" y="284"/>
                    </a:lnTo>
                    <a:lnTo>
                      <a:pt x="77" y="283"/>
                    </a:lnTo>
                    <a:lnTo>
                      <a:pt x="76" y="283"/>
                    </a:lnTo>
                    <a:lnTo>
                      <a:pt x="75" y="283"/>
                    </a:lnTo>
                    <a:lnTo>
                      <a:pt x="74" y="282"/>
                    </a:lnTo>
                    <a:lnTo>
                      <a:pt x="75" y="282"/>
                    </a:lnTo>
                    <a:lnTo>
                      <a:pt x="75" y="281"/>
                    </a:lnTo>
                    <a:lnTo>
                      <a:pt x="74" y="281"/>
                    </a:lnTo>
                    <a:lnTo>
                      <a:pt x="72" y="281"/>
                    </a:lnTo>
                    <a:lnTo>
                      <a:pt x="71" y="281"/>
                    </a:lnTo>
                    <a:lnTo>
                      <a:pt x="71" y="280"/>
                    </a:lnTo>
                    <a:lnTo>
                      <a:pt x="72" y="280"/>
                    </a:lnTo>
                    <a:lnTo>
                      <a:pt x="72" y="279"/>
                    </a:lnTo>
                    <a:lnTo>
                      <a:pt x="71" y="279"/>
                    </a:lnTo>
                    <a:lnTo>
                      <a:pt x="71" y="280"/>
                    </a:lnTo>
                    <a:lnTo>
                      <a:pt x="70" y="279"/>
                    </a:lnTo>
                    <a:lnTo>
                      <a:pt x="70" y="280"/>
                    </a:lnTo>
                    <a:lnTo>
                      <a:pt x="69" y="280"/>
                    </a:lnTo>
                    <a:lnTo>
                      <a:pt x="69" y="279"/>
                    </a:lnTo>
                    <a:lnTo>
                      <a:pt x="68" y="280"/>
                    </a:lnTo>
                    <a:lnTo>
                      <a:pt x="68" y="279"/>
                    </a:lnTo>
                    <a:lnTo>
                      <a:pt x="69" y="279"/>
                    </a:lnTo>
                    <a:lnTo>
                      <a:pt x="69" y="278"/>
                    </a:lnTo>
                    <a:lnTo>
                      <a:pt x="68" y="278"/>
                    </a:lnTo>
                    <a:lnTo>
                      <a:pt x="68" y="277"/>
                    </a:lnTo>
                    <a:lnTo>
                      <a:pt x="69" y="277"/>
                    </a:lnTo>
                    <a:lnTo>
                      <a:pt x="69" y="275"/>
                    </a:lnTo>
                    <a:lnTo>
                      <a:pt x="68" y="275"/>
                    </a:lnTo>
                    <a:lnTo>
                      <a:pt x="68" y="274"/>
                    </a:lnTo>
                    <a:lnTo>
                      <a:pt x="69" y="273"/>
                    </a:lnTo>
                    <a:lnTo>
                      <a:pt x="68" y="273"/>
                    </a:lnTo>
                    <a:lnTo>
                      <a:pt x="67" y="273"/>
                    </a:lnTo>
                    <a:lnTo>
                      <a:pt x="66" y="273"/>
                    </a:lnTo>
                    <a:lnTo>
                      <a:pt x="66" y="274"/>
                    </a:lnTo>
                    <a:lnTo>
                      <a:pt x="65" y="274"/>
                    </a:lnTo>
                    <a:lnTo>
                      <a:pt x="65" y="273"/>
                    </a:lnTo>
                    <a:lnTo>
                      <a:pt x="65" y="272"/>
                    </a:lnTo>
                    <a:lnTo>
                      <a:pt x="64" y="272"/>
                    </a:lnTo>
                    <a:lnTo>
                      <a:pt x="63" y="271"/>
                    </a:lnTo>
                    <a:lnTo>
                      <a:pt x="63" y="270"/>
                    </a:lnTo>
                    <a:lnTo>
                      <a:pt x="62" y="270"/>
                    </a:lnTo>
                    <a:lnTo>
                      <a:pt x="62" y="269"/>
                    </a:lnTo>
                    <a:lnTo>
                      <a:pt x="64" y="269"/>
                    </a:lnTo>
                    <a:lnTo>
                      <a:pt x="64" y="268"/>
                    </a:lnTo>
                    <a:lnTo>
                      <a:pt x="64" y="269"/>
                    </a:lnTo>
                    <a:lnTo>
                      <a:pt x="65" y="268"/>
                    </a:lnTo>
                    <a:lnTo>
                      <a:pt x="65" y="267"/>
                    </a:lnTo>
                    <a:lnTo>
                      <a:pt x="64" y="267"/>
                    </a:lnTo>
                    <a:lnTo>
                      <a:pt x="63" y="267"/>
                    </a:lnTo>
                    <a:lnTo>
                      <a:pt x="64" y="266"/>
                    </a:lnTo>
                    <a:lnTo>
                      <a:pt x="63" y="266"/>
                    </a:lnTo>
                    <a:lnTo>
                      <a:pt x="63" y="267"/>
                    </a:lnTo>
                    <a:lnTo>
                      <a:pt x="63" y="268"/>
                    </a:lnTo>
                    <a:lnTo>
                      <a:pt x="62" y="268"/>
                    </a:lnTo>
                    <a:lnTo>
                      <a:pt x="62" y="267"/>
                    </a:lnTo>
                    <a:lnTo>
                      <a:pt x="61" y="267"/>
                    </a:lnTo>
                    <a:lnTo>
                      <a:pt x="61" y="268"/>
                    </a:lnTo>
                    <a:lnTo>
                      <a:pt x="59" y="268"/>
                    </a:lnTo>
                    <a:lnTo>
                      <a:pt x="59" y="267"/>
                    </a:lnTo>
                    <a:lnTo>
                      <a:pt x="61" y="267"/>
                    </a:lnTo>
                    <a:lnTo>
                      <a:pt x="61" y="266"/>
                    </a:lnTo>
                    <a:lnTo>
                      <a:pt x="61" y="265"/>
                    </a:lnTo>
                    <a:lnTo>
                      <a:pt x="59" y="265"/>
                    </a:lnTo>
                    <a:lnTo>
                      <a:pt x="58" y="265"/>
                    </a:lnTo>
                    <a:lnTo>
                      <a:pt x="58" y="266"/>
                    </a:lnTo>
                    <a:lnTo>
                      <a:pt x="57" y="266"/>
                    </a:lnTo>
                    <a:lnTo>
                      <a:pt x="58" y="267"/>
                    </a:lnTo>
                    <a:lnTo>
                      <a:pt x="57" y="267"/>
                    </a:lnTo>
                    <a:lnTo>
                      <a:pt x="56" y="266"/>
                    </a:lnTo>
                    <a:lnTo>
                      <a:pt x="55" y="266"/>
                    </a:lnTo>
                    <a:lnTo>
                      <a:pt x="55" y="265"/>
                    </a:lnTo>
                    <a:lnTo>
                      <a:pt x="54" y="265"/>
                    </a:lnTo>
                    <a:lnTo>
                      <a:pt x="54" y="264"/>
                    </a:lnTo>
                    <a:lnTo>
                      <a:pt x="53" y="264"/>
                    </a:lnTo>
                    <a:lnTo>
                      <a:pt x="52" y="265"/>
                    </a:lnTo>
                    <a:lnTo>
                      <a:pt x="51" y="264"/>
                    </a:lnTo>
                    <a:lnTo>
                      <a:pt x="49" y="262"/>
                    </a:lnTo>
                    <a:lnTo>
                      <a:pt x="49" y="261"/>
                    </a:lnTo>
                    <a:lnTo>
                      <a:pt x="49" y="260"/>
                    </a:lnTo>
                    <a:lnTo>
                      <a:pt x="49" y="259"/>
                    </a:lnTo>
                    <a:lnTo>
                      <a:pt x="48" y="260"/>
                    </a:lnTo>
                    <a:lnTo>
                      <a:pt x="46" y="259"/>
                    </a:lnTo>
                    <a:lnTo>
                      <a:pt x="45" y="259"/>
                    </a:lnTo>
                    <a:lnTo>
                      <a:pt x="45" y="260"/>
                    </a:lnTo>
                    <a:lnTo>
                      <a:pt x="45" y="261"/>
                    </a:lnTo>
                    <a:lnTo>
                      <a:pt x="44" y="261"/>
                    </a:lnTo>
                    <a:lnTo>
                      <a:pt x="45" y="261"/>
                    </a:lnTo>
                    <a:lnTo>
                      <a:pt x="45" y="262"/>
                    </a:lnTo>
                    <a:lnTo>
                      <a:pt x="44" y="262"/>
                    </a:lnTo>
                    <a:lnTo>
                      <a:pt x="43" y="262"/>
                    </a:lnTo>
                    <a:lnTo>
                      <a:pt x="42" y="261"/>
                    </a:lnTo>
                    <a:lnTo>
                      <a:pt x="41" y="262"/>
                    </a:lnTo>
                    <a:lnTo>
                      <a:pt x="41" y="264"/>
                    </a:lnTo>
                    <a:lnTo>
                      <a:pt x="40" y="264"/>
                    </a:lnTo>
                    <a:lnTo>
                      <a:pt x="40" y="262"/>
                    </a:lnTo>
                    <a:lnTo>
                      <a:pt x="40" y="264"/>
                    </a:lnTo>
                    <a:lnTo>
                      <a:pt x="39" y="265"/>
                    </a:lnTo>
                    <a:lnTo>
                      <a:pt x="39" y="266"/>
                    </a:lnTo>
                    <a:lnTo>
                      <a:pt x="39" y="267"/>
                    </a:lnTo>
                    <a:lnTo>
                      <a:pt x="40" y="267"/>
                    </a:lnTo>
                    <a:lnTo>
                      <a:pt x="40" y="268"/>
                    </a:lnTo>
                    <a:lnTo>
                      <a:pt x="39" y="268"/>
                    </a:lnTo>
                    <a:lnTo>
                      <a:pt x="38" y="269"/>
                    </a:lnTo>
                    <a:lnTo>
                      <a:pt x="37" y="269"/>
                    </a:lnTo>
                    <a:lnTo>
                      <a:pt x="37" y="268"/>
                    </a:lnTo>
                    <a:lnTo>
                      <a:pt x="36" y="269"/>
                    </a:lnTo>
                    <a:lnTo>
                      <a:pt x="36" y="270"/>
                    </a:lnTo>
                    <a:lnTo>
                      <a:pt x="35" y="270"/>
                    </a:lnTo>
                    <a:lnTo>
                      <a:pt x="35" y="269"/>
                    </a:lnTo>
                    <a:lnTo>
                      <a:pt x="33" y="269"/>
                    </a:lnTo>
                    <a:lnTo>
                      <a:pt x="33" y="271"/>
                    </a:lnTo>
                    <a:lnTo>
                      <a:pt x="32" y="271"/>
                    </a:lnTo>
                    <a:lnTo>
                      <a:pt x="31" y="272"/>
                    </a:lnTo>
                    <a:lnTo>
                      <a:pt x="30" y="272"/>
                    </a:lnTo>
                    <a:lnTo>
                      <a:pt x="29" y="272"/>
                    </a:lnTo>
                    <a:lnTo>
                      <a:pt x="28" y="272"/>
                    </a:lnTo>
                    <a:lnTo>
                      <a:pt x="28" y="273"/>
                    </a:lnTo>
                    <a:lnTo>
                      <a:pt x="27" y="273"/>
                    </a:lnTo>
                    <a:lnTo>
                      <a:pt x="27" y="272"/>
                    </a:lnTo>
                    <a:lnTo>
                      <a:pt x="27" y="271"/>
                    </a:lnTo>
                    <a:lnTo>
                      <a:pt x="26" y="271"/>
                    </a:lnTo>
                    <a:lnTo>
                      <a:pt x="25" y="271"/>
                    </a:lnTo>
                    <a:lnTo>
                      <a:pt x="25" y="272"/>
                    </a:lnTo>
                    <a:lnTo>
                      <a:pt x="24" y="272"/>
                    </a:lnTo>
                    <a:lnTo>
                      <a:pt x="24" y="271"/>
                    </a:lnTo>
                    <a:lnTo>
                      <a:pt x="25" y="271"/>
                    </a:lnTo>
                    <a:lnTo>
                      <a:pt x="24" y="270"/>
                    </a:lnTo>
                    <a:lnTo>
                      <a:pt x="24" y="271"/>
                    </a:lnTo>
                    <a:lnTo>
                      <a:pt x="24" y="272"/>
                    </a:lnTo>
                    <a:lnTo>
                      <a:pt x="23" y="272"/>
                    </a:lnTo>
                    <a:lnTo>
                      <a:pt x="23" y="271"/>
                    </a:lnTo>
                    <a:lnTo>
                      <a:pt x="21" y="272"/>
                    </a:lnTo>
                    <a:lnTo>
                      <a:pt x="20" y="272"/>
                    </a:lnTo>
                    <a:lnTo>
                      <a:pt x="20" y="271"/>
                    </a:lnTo>
                    <a:lnTo>
                      <a:pt x="19" y="271"/>
                    </a:lnTo>
                    <a:lnTo>
                      <a:pt x="19" y="272"/>
                    </a:lnTo>
                    <a:lnTo>
                      <a:pt x="18" y="272"/>
                    </a:lnTo>
                    <a:lnTo>
                      <a:pt x="17" y="272"/>
                    </a:lnTo>
                    <a:lnTo>
                      <a:pt x="17" y="271"/>
                    </a:lnTo>
                    <a:lnTo>
                      <a:pt x="17" y="272"/>
                    </a:lnTo>
                    <a:lnTo>
                      <a:pt x="17" y="273"/>
                    </a:lnTo>
                    <a:lnTo>
                      <a:pt x="16" y="274"/>
                    </a:lnTo>
                    <a:lnTo>
                      <a:pt x="15" y="274"/>
                    </a:lnTo>
                    <a:lnTo>
                      <a:pt x="15" y="275"/>
                    </a:lnTo>
                    <a:lnTo>
                      <a:pt x="14" y="274"/>
                    </a:lnTo>
                    <a:lnTo>
                      <a:pt x="14" y="275"/>
                    </a:lnTo>
                    <a:lnTo>
                      <a:pt x="14" y="277"/>
                    </a:lnTo>
                    <a:lnTo>
                      <a:pt x="13" y="277"/>
                    </a:lnTo>
                    <a:lnTo>
                      <a:pt x="12" y="275"/>
                    </a:lnTo>
                    <a:lnTo>
                      <a:pt x="12" y="277"/>
                    </a:lnTo>
                    <a:lnTo>
                      <a:pt x="11" y="278"/>
                    </a:lnTo>
                    <a:lnTo>
                      <a:pt x="11" y="279"/>
                    </a:lnTo>
                    <a:lnTo>
                      <a:pt x="10" y="279"/>
                    </a:lnTo>
                    <a:lnTo>
                      <a:pt x="8" y="279"/>
                    </a:lnTo>
                    <a:lnTo>
                      <a:pt x="8" y="278"/>
                    </a:lnTo>
                    <a:lnTo>
                      <a:pt x="8" y="277"/>
                    </a:lnTo>
                    <a:lnTo>
                      <a:pt x="8" y="275"/>
                    </a:lnTo>
                    <a:lnTo>
                      <a:pt x="6" y="278"/>
                    </a:lnTo>
                    <a:lnTo>
                      <a:pt x="5" y="278"/>
                    </a:lnTo>
                    <a:lnTo>
                      <a:pt x="5" y="277"/>
                    </a:lnTo>
                    <a:lnTo>
                      <a:pt x="4" y="277"/>
                    </a:lnTo>
                    <a:lnTo>
                      <a:pt x="4" y="275"/>
                    </a:lnTo>
                    <a:lnTo>
                      <a:pt x="5" y="275"/>
                    </a:lnTo>
                    <a:lnTo>
                      <a:pt x="6" y="275"/>
                    </a:lnTo>
                    <a:lnTo>
                      <a:pt x="7" y="274"/>
                    </a:lnTo>
                    <a:lnTo>
                      <a:pt x="8" y="274"/>
                    </a:lnTo>
                    <a:lnTo>
                      <a:pt x="8" y="272"/>
                    </a:lnTo>
                    <a:lnTo>
                      <a:pt x="7" y="271"/>
                    </a:lnTo>
                    <a:lnTo>
                      <a:pt x="7" y="270"/>
                    </a:lnTo>
                    <a:lnTo>
                      <a:pt x="8" y="269"/>
                    </a:lnTo>
                    <a:lnTo>
                      <a:pt x="8" y="268"/>
                    </a:lnTo>
                    <a:lnTo>
                      <a:pt x="8" y="267"/>
                    </a:lnTo>
                    <a:lnTo>
                      <a:pt x="7" y="266"/>
                    </a:lnTo>
                    <a:lnTo>
                      <a:pt x="7" y="265"/>
                    </a:lnTo>
                    <a:lnTo>
                      <a:pt x="7" y="264"/>
                    </a:lnTo>
                    <a:lnTo>
                      <a:pt x="6" y="264"/>
                    </a:lnTo>
                    <a:lnTo>
                      <a:pt x="5" y="264"/>
                    </a:lnTo>
                    <a:lnTo>
                      <a:pt x="5" y="262"/>
                    </a:lnTo>
                    <a:lnTo>
                      <a:pt x="5" y="260"/>
                    </a:lnTo>
                    <a:lnTo>
                      <a:pt x="5" y="259"/>
                    </a:lnTo>
                    <a:lnTo>
                      <a:pt x="5" y="258"/>
                    </a:lnTo>
                    <a:lnTo>
                      <a:pt x="4" y="258"/>
                    </a:lnTo>
                    <a:lnTo>
                      <a:pt x="4" y="257"/>
                    </a:lnTo>
                    <a:lnTo>
                      <a:pt x="5" y="257"/>
                    </a:lnTo>
                    <a:lnTo>
                      <a:pt x="6" y="256"/>
                    </a:lnTo>
                    <a:lnTo>
                      <a:pt x="6" y="255"/>
                    </a:lnTo>
                    <a:lnTo>
                      <a:pt x="5" y="255"/>
                    </a:lnTo>
                    <a:lnTo>
                      <a:pt x="4" y="254"/>
                    </a:lnTo>
                    <a:lnTo>
                      <a:pt x="3" y="254"/>
                    </a:lnTo>
                    <a:lnTo>
                      <a:pt x="3" y="253"/>
                    </a:lnTo>
                    <a:lnTo>
                      <a:pt x="3" y="252"/>
                    </a:lnTo>
                    <a:lnTo>
                      <a:pt x="5" y="252"/>
                    </a:lnTo>
                    <a:lnTo>
                      <a:pt x="6" y="251"/>
                    </a:lnTo>
                    <a:lnTo>
                      <a:pt x="6" y="249"/>
                    </a:lnTo>
                    <a:lnTo>
                      <a:pt x="6" y="248"/>
                    </a:lnTo>
                    <a:lnTo>
                      <a:pt x="6" y="247"/>
                    </a:lnTo>
                    <a:lnTo>
                      <a:pt x="5" y="247"/>
                    </a:lnTo>
                    <a:lnTo>
                      <a:pt x="4" y="247"/>
                    </a:lnTo>
                    <a:lnTo>
                      <a:pt x="3" y="247"/>
                    </a:lnTo>
                    <a:lnTo>
                      <a:pt x="3" y="246"/>
                    </a:lnTo>
                    <a:lnTo>
                      <a:pt x="3" y="245"/>
                    </a:lnTo>
                    <a:lnTo>
                      <a:pt x="3" y="243"/>
                    </a:lnTo>
                    <a:lnTo>
                      <a:pt x="4" y="241"/>
                    </a:lnTo>
                    <a:lnTo>
                      <a:pt x="5" y="240"/>
                    </a:lnTo>
                    <a:lnTo>
                      <a:pt x="6" y="240"/>
                    </a:lnTo>
                    <a:lnTo>
                      <a:pt x="6" y="239"/>
                    </a:lnTo>
                    <a:lnTo>
                      <a:pt x="6" y="238"/>
                    </a:lnTo>
                    <a:lnTo>
                      <a:pt x="6" y="236"/>
                    </a:lnTo>
                    <a:lnTo>
                      <a:pt x="7" y="236"/>
                    </a:lnTo>
                    <a:lnTo>
                      <a:pt x="8" y="236"/>
                    </a:lnTo>
                    <a:lnTo>
                      <a:pt x="10" y="236"/>
                    </a:lnTo>
                    <a:lnTo>
                      <a:pt x="11" y="235"/>
                    </a:lnTo>
                    <a:lnTo>
                      <a:pt x="12" y="235"/>
                    </a:lnTo>
                    <a:lnTo>
                      <a:pt x="12" y="234"/>
                    </a:lnTo>
                    <a:lnTo>
                      <a:pt x="12" y="233"/>
                    </a:lnTo>
                    <a:lnTo>
                      <a:pt x="12" y="232"/>
                    </a:lnTo>
                    <a:lnTo>
                      <a:pt x="12" y="231"/>
                    </a:lnTo>
                    <a:lnTo>
                      <a:pt x="13" y="231"/>
                    </a:lnTo>
                    <a:lnTo>
                      <a:pt x="13" y="230"/>
                    </a:lnTo>
                    <a:lnTo>
                      <a:pt x="14" y="230"/>
                    </a:lnTo>
                    <a:lnTo>
                      <a:pt x="15" y="230"/>
                    </a:lnTo>
                    <a:lnTo>
                      <a:pt x="15" y="229"/>
                    </a:lnTo>
                    <a:lnTo>
                      <a:pt x="15" y="228"/>
                    </a:lnTo>
                    <a:lnTo>
                      <a:pt x="15" y="227"/>
                    </a:lnTo>
                    <a:lnTo>
                      <a:pt x="15" y="226"/>
                    </a:lnTo>
                    <a:lnTo>
                      <a:pt x="14" y="226"/>
                    </a:lnTo>
                    <a:lnTo>
                      <a:pt x="13" y="224"/>
                    </a:lnTo>
                    <a:lnTo>
                      <a:pt x="12" y="224"/>
                    </a:lnTo>
                    <a:lnTo>
                      <a:pt x="11" y="224"/>
                    </a:lnTo>
                    <a:lnTo>
                      <a:pt x="11" y="223"/>
                    </a:lnTo>
                    <a:lnTo>
                      <a:pt x="11" y="222"/>
                    </a:lnTo>
                    <a:lnTo>
                      <a:pt x="12" y="222"/>
                    </a:lnTo>
                    <a:lnTo>
                      <a:pt x="13" y="222"/>
                    </a:lnTo>
                    <a:lnTo>
                      <a:pt x="13" y="221"/>
                    </a:lnTo>
                    <a:lnTo>
                      <a:pt x="13" y="220"/>
                    </a:lnTo>
                    <a:lnTo>
                      <a:pt x="11" y="219"/>
                    </a:lnTo>
                    <a:lnTo>
                      <a:pt x="10" y="219"/>
                    </a:lnTo>
                    <a:lnTo>
                      <a:pt x="8" y="218"/>
                    </a:lnTo>
                    <a:lnTo>
                      <a:pt x="8" y="217"/>
                    </a:lnTo>
                    <a:lnTo>
                      <a:pt x="10" y="217"/>
                    </a:lnTo>
                    <a:lnTo>
                      <a:pt x="11" y="217"/>
                    </a:lnTo>
                    <a:lnTo>
                      <a:pt x="11" y="218"/>
                    </a:lnTo>
                    <a:lnTo>
                      <a:pt x="12" y="218"/>
                    </a:lnTo>
                    <a:lnTo>
                      <a:pt x="13" y="217"/>
                    </a:lnTo>
                    <a:lnTo>
                      <a:pt x="14" y="217"/>
                    </a:lnTo>
                    <a:lnTo>
                      <a:pt x="15" y="217"/>
                    </a:lnTo>
                    <a:lnTo>
                      <a:pt x="16" y="217"/>
                    </a:lnTo>
                    <a:lnTo>
                      <a:pt x="17" y="217"/>
                    </a:lnTo>
                    <a:lnTo>
                      <a:pt x="17" y="216"/>
                    </a:lnTo>
                    <a:lnTo>
                      <a:pt x="18" y="216"/>
                    </a:lnTo>
                    <a:lnTo>
                      <a:pt x="18" y="215"/>
                    </a:lnTo>
                    <a:lnTo>
                      <a:pt x="18" y="214"/>
                    </a:lnTo>
                    <a:lnTo>
                      <a:pt x="19" y="214"/>
                    </a:lnTo>
                    <a:lnTo>
                      <a:pt x="20" y="214"/>
                    </a:lnTo>
                    <a:lnTo>
                      <a:pt x="21" y="215"/>
                    </a:lnTo>
                    <a:lnTo>
                      <a:pt x="23" y="215"/>
                    </a:lnTo>
                    <a:lnTo>
                      <a:pt x="24" y="215"/>
                    </a:lnTo>
                    <a:lnTo>
                      <a:pt x="25" y="214"/>
                    </a:lnTo>
                    <a:lnTo>
                      <a:pt x="26" y="213"/>
                    </a:lnTo>
                    <a:lnTo>
                      <a:pt x="26" y="211"/>
                    </a:lnTo>
                    <a:lnTo>
                      <a:pt x="25" y="210"/>
                    </a:lnTo>
                    <a:lnTo>
                      <a:pt x="25" y="209"/>
                    </a:lnTo>
                    <a:lnTo>
                      <a:pt x="25" y="208"/>
                    </a:lnTo>
                    <a:lnTo>
                      <a:pt x="26" y="207"/>
                    </a:lnTo>
                    <a:lnTo>
                      <a:pt x="26" y="206"/>
                    </a:lnTo>
                    <a:lnTo>
                      <a:pt x="26" y="205"/>
                    </a:lnTo>
                    <a:lnTo>
                      <a:pt x="25" y="205"/>
                    </a:lnTo>
                    <a:lnTo>
                      <a:pt x="24" y="205"/>
                    </a:lnTo>
                    <a:lnTo>
                      <a:pt x="24" y="204"/>
                    </a:lnTo>
                    <a:lnTo>
                      <a:pt x="23" y="203"/>
                    </a:lnTo>
                    <a:lnTo>
                      <a:pt x="24" y="202"/>
                    </a:lnTo>
                    <a:lnTo>
                      <a:pt x="25" y="201"/>
                    </a:lnTo>
                    <a:lnTo>
                      <a:pt x="26" y="201"/>
                    </a:lnTo>
                    <a:lnTo>
                      <a:pt x="26" y="200"/>
                    </a:lnTo>
                    <a:lnTo>
                      <a:pt x="26" y="198"/>
                    </a:lnTo>
                    <a:lnTo>
                      <a:pt x="27" y="197"/>
                    </a:lnTo>
                    <a:lnTo>
                      <a:pt x="28" y="198"/>
                    </a:lnTo>
                    <a:lnTo>
                      <a:pt x="29" y="200"/>
                    </a:lnTo>
                    <a:lnTo>
                      <a:pt x="30" y="200"/>
                    </a:lnTo>
                    <a:lnTo>
                      <a:pt x="30" y="198"/>
                    </a:lnTo>
                    <a:lnTo>
                      <a:pt x="29" y="197"/>
                    </a:lnTo>
                    <a:lnTo>
                      <a:pt x="28" y="197"/>
                    </a:lnTo>
                    <a:lnTo>
                      <a:pt x="28" y="196"/>
                    </a:lnTo>
                    <a:lnTo>
                      <a:pt x="27" y="196"/>
                    </a:lnTo>
                    <a:lnTo>
                      <a:pt x="26" y="195"/>
                    </a:lnTo>
                    <a:lnTo>
                      <a:pt x="26" y="196"/>
                    </a:lnTo>
                    <a:lnTo>
                      <a:pt x="25" y="196"/>
                    </a:lnTo>
                    <a:lnTo>
                      <a:pt x="25" y="195"/>
                    </a:lnTo>
                    <a:lnTo>
                      <a:pt x="25" y="194"/>
                    </a:lnTo>
                    <a:lnTo>
                      <a:pt x="24" y="194"/>
                    </a:lnTo>
                    <a:lnTo>
                      <a:pt x="23" y="194"/>
                    </a:lnTo>
                    <a:lnTo>
                      <a:pt x="23" y="195"/>
                    </a:lnTo>
                    <a:lnTo>
                      <a:pt x="21" y="195"/>
                    </a:lnTo>
                    <a:lnTo>
                      <a:pt x="20" y="195"/>
                    </a:lnTo>
                    <a:lnTo>
                      <a:pt x="19" y="195"/>
                    </a:lnTo>
                    <a:lnTo>
                      <a:pt x="18" y="195"/>
                    </a:lnTo>
                    <a:lnTo>
                      <a:pt x="18" y="194"/>
                    </a:lnTo>
                    <a:lnTo>
                      <a:pt x="17" y="194"/>
                    </a:lnTo>
                    <a:lnTo>
                      <a:pt x="16" y="194"/>
                    </a:lnTo>
                    <a:lnTo>
                      <a:pt x="16" y="193"/>
                    </a:lnTo>
                    <a:lnTo>
                      <a:pt x="16" y="192"/>
                    </a:lnTo>
                    <a:lnTo>
                      <a:pt x="15" y="192"/>
                    </a:lnTo>
                    <a:lnTo>
                      <a:pt x="14" y="191"/>
                    </a:lnTo>
                    <a:lnTo>
                      <a:pt x="13" y="191"/>
                    </a:lnTo>
                    <a:lnTo>
                      <a:pt x="13" y="190"/>
                    </a:lnTo>
                    <a:lnTo>
                      <a:pt x="13" y="189"/>
                    </a:lnTo>
                    <a:lnTo>
                      <a:pt x="12" y="189"/>
                    </a:lnTo>
                    <a:lnTo>
                      <a:pt x="11" y="189"/>
                    </a:lnTo>
                    <a:lnTo>
                      <a:pt x="11" y="188"/>
                    </a:lnTo>
                    <a:lnTo>
                      <a:pt x="12" y="188"/>
                    </a:lnTo>
                    <a:lnTo>
                      <a:pt x="12" y="187"/>
                    </a:lnTo>
                    <a:lnTo>
                      <a:pt x="12" y="184"/>
                    </a:lnTo>
                    <a:lnTo>
                      <a:pt x="11" y="183"/>
                    </a:lnTo>
                    <a:lnTo>
                      <a:pt x="11" y="182"/>
                    </a:lnTo>
                    <a:lnTo>
                      <a:pt x="10" y="182"/>
                    </a:lnTo>
                    <a:lnTo>
                      <a:pt x="10" y="181"/>
                    </a:lnTo>
                    <a:lnTo>
                      <a:pt x="8" y="181"/>
                    </a:lnTo>
                    <a:lnTo>
                      <a:pt x="7" y="180"/>
                    </a:lnTo>
                    <a:lnTo>
                      <a:pt x="6" y="180"/>
                    </a:lnTo>
                    <a:lnTo>
                      <a:pt x="6" y="179"/>
                    </a:lnTo>
                    <a:lnTo>
                      <a:pt x="7" y="179"/>
                    </a:lnTo>
                    <a:lnTo>
                      <a:pt x="7" y="178"/>
                    </a:lnTo>
                    <a:lnTo>
                      <a:pt x="7" y="177"/>
                    </a:lnTo>
                    <a:lnTo>
                      <a:pt x="6" y="177"/>
                    </a:lnTo>
                    <a:lnTo>
                      <a:pt x="6" y="178"/>
                    </a:lnTo>
                    <a:lnTo>
                      <a:pt x="5" y="179"/>
                    </a:lnTo>
                    <a:lnTo>
                      <a:pt x="4" y="178"/>
                    </a:lnTo>
                    <a:lnTo>
                      <a:pt x="4" y="177"/>
                    </a:lnTo>
                    <a:lnTo>
                      <a:pt x="5" y="177"/>
                    </a:lnTo>
                    <a:lnTo>
                      <a:pt x="5" y="178"/>
                    </a:lnTo>
                    <a:lnTo>
                      <a:pt x="6" y="177"/>
                    </a:lnTo>
                    <a:lnTo>
                      <a:pt x="5" y="176"/>
                    </a:lnTo>
                    <a:lnTo>
                      <a:pt x="5" y="177"/>
                    </a:lnTo>
                    <a:lnTo>
                      <a:pt x="4" y="176"/>
                    </a:lnTo>
                    <a:lnTo>
                      <a:pt x="5" y="175"/>
                    </a:lnTo>
                    <a:lnTo>
                      <a:pt x="5" y="174"/>
                    </a:lnTo>
                    <a:lnTo>
                      <a:pt x="5" y="171"/>
                    </a:lnTo>
                    <a:lnTo>
                      <a:pt x="4" y="171"/>
                    </a:lnTo>
                    <a:lnTo>
                      <a:pt x="5" y="171"/>
                    </a:lnTo>
                    <a:lnTo>
                      <a:pt x="6" y="171"/>
                    </a:lnTo>
                    <a:lnTo>
                      <a:pt x="6" y="170"/>
                    </a:lnTo>
                    <a:lnTo>
                      <a:pt x="5" y="169"/>
                    </a:lnTo>
                    <a:lnTo>
                      <a:pt x="5" y="168"/>
                    </a:lnTo>
                    <a:lnTo>
                      <a:pt x="4" y="168"/>
                    </a:lnTo>
                    <a:lnTo>
                      <a:pt x="4" y="167"/>
                    </a:lnTo>
                    <a:lnTo>
                      <a:pt x="4" y="166"/>
                    </a:lnTo>
                    <a:lnTo>
                      <a:pt x="5" y="166"/>
                    </a:lnTo>
                    <a:lnTo>
                      <a:pt x="6" y="166"/>
                    </a:lnTo>
                    <a:lnTo>
                      <a:pt x="6" y="165"/>
                    </a:lnTo>
                    <a:lnTo>
                      <a:pt x="5" y="165"/>
                    </a:lnTo>
                    <a:lnTo>
                      <a:pt x="5" y="164"/>
                    </a:lnTo>
                    <a:lnTo>
                      <a:pt x="6" y="164"/>
                    </a:lnTo>
                    <a:lnTo>
                      <a:pt x="6" y="163"/>
                    </a:lnTo>
                    <a:lnTo>
                      <a:pt x="6" y="162"/>
                    </a:lnTo>
                    <a:lnTo>
                      <a:pt x="5" y="162"/>
                    </a:lnTo>
                    <a:lnTo>
                      <a:pt x="4" y="162"/>
                    </a:lnTo>
                    <a:lnTo>
                      <a:pt x="4" y="161"/>
                    </a:lnTo>
                    <a:lnTo>
                      <a:pt x="4" y="159"/>
                    </a:lnTo>
                    <a:lnTo>
                      <a:pt x="3" y="159"/>
                    </a:lnTo>
                    <a:lnTo>
                      <a:pt x="3" y="158"/>
                    </a:lnTo>
                    <a:lnTo>
                      <a:pt x="4" y="158"/>
                    </a:lnTo>
                    <a:lnTo>
                      <a:pt x="5" y="158"/>
                    </a:lnTo>
                    <a:lnTo>
                      <a:pt x="5" y="157"/>
                    </a:lnTo>
                    <a:lnTo>
                      <a:pt x="5" y="156"/>
                    </a:lnTo>
                    <a:lnTo>
                      <a:pt x="5" y="155"/>
                    </a:lnTo>
                    <a:lnTo>
                      <a:pt x="4" y="155"/>
                    </a:lnTo>
                    <a:lnTo>
                      <a:pt x="3" y="154"/>
                    </a:lnTo>
                    <a:lnTo>
                      <a:pt x="3" y="153"/>
                    </a:lnTo>
                    <a:lnTo>
                      <a:pt x="4" y="153"/>
                    </a:lnTo>
                    <a:lnTo>
                      <a:pt x="5" y="153"/>
                    </a:lnTo>
                    <a:lnTo>
                      <a:pt x="5" y="152"/>
                    </a:lnTo>
                    <a:lnTo>
                      <a:pt x="5" y="151"/>
                    </a:lnTo>
                    <a:lnTo>
                      <a:pt x="5" y="150"/>
                    </a:lnTo>
                    <a:lnTo>
                      <a:pt x="4" y="150"/>
                    </a:lnTo>
                    <a:lnTo>
                      <a:pt x="4" y="149"/>
                    </a:lnTo>
                    <a:lnTo>
                      <a:pt x="4" y="148"/>
                    </a:lnTo>
                    <a:lnTo>
                      <a:pt x="4" y="146"/>
                    </a:lnTo>
                    <a:lnTo>
                      <a:pt x="5" y="146"/>
                    </a:lnTo>
                    <a:lnTo>
                      <a:pt x="5" y="148"/>
                    </a:lnTo>
                    <a:lnTo>
                      <a:pt x="6" y="146"/>
                    </a:lnTo>
                    <a:lnTo>
                      <a:pt x="6" y="145"/>
                    </a:lnTo>
                    <a:lnTo>
                      <a:pt x="5" y="145"/>
                    </a:lnTo>
                    <a:lnTo>
                      <a:pt x="5" y="144"/>
                    </a:lnTo>
                    <a:lnTo>
                      <a:pt x="6" y="144"/>
                    </a:lnTo>
                    <a:lnTo>
                      <a:pt x="6" y="143"/>
                    </a:lnTo>
                    <a:lnTo>
                      <a:pt x="5" y="143"/>
                    </a:lnTo>
                    <a:lnTo>
                      <a:pt x="5" y="144"/>
                    </a:lnTo>
                    <a:lnTo>
                      <a:pt x="4" y="144"/>
                    </a:lnTo>
                    <a:lnTo>
                      <a:pt x="4" y="143"/>
                    </a:lnTo>
                    <a:lnTo>
                      <a:pt x="5" y="143"/>
                    </a:lnTo>
                    <a:lnTo>
                      <a:pt x="5" y="142"/>
                    </a:lnTo>
                    <a:lnTo>
                      <a:pt x="4" y="141"/>
                    </a:lnTo>
                    <a:lnTo>
                      <a:pt x="5" y="140"/>
                    </a:lnTo>
                    <a:lnTo>
                      <a:pt x="4" y="140"/>
                    </a:lnTo>
                    <a:lnTo>
                      <a:pt x="3" y="140"/>
                    </a:lnTo>
                    <a:lnTo>
                      <a:pt x="3" y="139"/>
                    </a:lnTo>
                    <a:lnTo>
                      <a:pt x="2" y="139"/>
                    </a:lnTo>
                    <a:lnTo>
                      <a:pt x="3" y="138"/>
                    </a:lnTo>
                    <a:lnTo>
                      <a:pt x="3" y="139"/>
                    </a:lnTo>
                    <a:lnTo>
                      <a:pt x="4" y="139"/>
                    </a:lnTo>
                    <a:lnTo>
                      <a:pt x="5" y="138"/>
                    </a:lnTo>
                    <a:lnTo>
                      <a:pt x="4" y="136"/>
                    </a:lnTo>
                    <a:lnTo>
                      <a:pt x="3" y="136"/>
                    </a:lnTo>
                    <a:lnTo>
                      <a:pt x="5" y="136"/>
                    </a:lnTo>
                    <a:lnTo>
                      <a:pt x="5" y="134"/>
                    </a:lnTo>
                    <a:lnTo>
                      <a:pt x="5" y="133"/>
                    </a:lnTo>
                    <a:lnTo>
                      <a:pt x="5" y="134"/>
                    </a:lnTo>
                    <a:lnTo>
                      <a:pt x="4" y="134"/>
                    </a:lnTo>
                    <a:lnTo>
                      <a:pt x="4" y="133"/>
                    </a:lnTo>
                    <a:lnTo>
                      <a:pt x="4" y="132"/>
                    </a:lnTo>
                    <a:lnTo>
                      <a:pt x="4" y="131"/>
                    </a:lnTo>
                    <a:lnTo>
                      <a:pt x="3" y="131"/>
                    </a:lnTo>
                    <a:lnTo>
                      <a:pt x="3" y="130"/>
                    </a:lnTo>
                    <a:lnTo>
                      <a:pt x="4" y="130"/>
                    </a:lnTo>
                    <a:lnTo>
                      <a:pt x="3" y="129"/>
                    </a:lnTo>
                    <a:lnTo>
                      <a:pt x="3" y="128"/>
                    </a:lnTo>
                    <a:lnTo>
                      <a:pt x="4" y="128"/>
                    </a:lnTo>
                    <a:lnTo>
                      <a:pt x="5" y="128"/>
                    </a:lnTo>
                    <a:lnTo>
                      <a:pt x="4" y="127"/>
                    </a:lnTo>
                    <a:lnTo>
                      <a:pt x="5" y="126"/>
                    </a:lnTo>
                    <a:lnTo>
                      <a:pt x="5" y="125"/>
                    </a:lnTo>
                    <a:lnTo>
                      <a:pt x="6" y="125"/>
                    </a:lnTo>
                    <a:lnTo>
                      <a:pt x="6" y="124"/>
                    </a:lnTo>
                    <a:lnTo>
                      <a:pt x="5" y="124"/>
                    </a:lnTo>
                    <a:lnTo>
                      <a:pt x="4" y="124"/>
                    </a:lnTo>
                    <a:lnTo>
                      <a:pt x="4" y="123"/>
                    </a:lnTo>
                    <a:lnTo>
                      <a:pt x="5" y="123"/>
                    </a:lnTo>
                    <a:lnTo>
                      <a:pt x="6" y="124"/>
                    </a:lnTo>
                    <a:lnTo>
                      <a:pt x="7" y="123"/>
                    </a:lnTo>
                    <a:lnTo>
                      <a:pt x="6" y="123"/>
                    </a:lnTo>
                    <a:lnTo>
                      <a:pt x="5" y="121"/>
                    </a:lnTo>
                    <a:lnTo>
                      <a:pt x="4" y="121"/>
                    </a:lnTo>
                    <a:lnTo>
                      <a:pt x="4" y="120"/>
                    </a:lnTo>
                    <a:lnTo>
                      <a:pt x="4" y="119"/>
                    </a:lnTo>
                    <a:lnTo>
                      <a:pt x="3" y="119"/>
                    </a:lnTo>
                    <a:lnTo>
                      <a:pt x="3" y="118"/>
                    </a:lnTo>
                    <a:lnTo>
                      <a:pt x="3" y="117"/>
                    </a:lnTo>
                    <a:lnTo>
                      <a:pt x="1" y="118"/>
                    </a:lnTo>
                    <a:lnTo>
                      <a:pt x="1" y="117"/>
                    </a:lnTo>
                    <a:lnTo>
                      <a:pt x="0" y="117"/>
                    </a:lnTo>
                    <a:lnTo>
                      <a:pt x="1" y="116"/>
                    </a:lnTo>
                    <a:lnTo>
                      <a:pt x="2" y="116"/>
                    </a:lnTo>
                    <a:lnTo>
                      <a:pt x="3" y="115"/>
                    </a:lnTo>
                    <a:lnTo>
                      <a:pt x="3" y="114"/>
                    </a:lnTo>
                    <a:lnTo>
                      <a:pt x="4" y="115"/>
                    </a:lnTo>
                    <a:lnTo>
                      <a:pt x="5" y="115"/>
                    </a:lnTo>
                    <a:lnTo>
                      <a:pt x="6" y="114"/>
                    </a:lnTo>
                    <a:lnTo>
                      <a:pt x="6" y="113"/>
                    </a:lnTo>
                    <a:lnTo>
                      <a:pt x="6" y="112"/>
                    </a:lnTo>
                    <a:lnTo>
                      <a:pt x="5" y="112"/>
                    </a:lnTo>
                    <a:lnTo>
                      <a:pt x="5" y="113"/>
                    </a:lnTo>
                    <a:lnTo>
                      <a:pt x="3" y="113"/>
                    </a:lnTo>
                    <a:lnTo>
                      <a:pt x="4" y="113"/>
                    </a:lnTo>
                    <a:lnTo>
                      <a:pt x="4" y="112"/>
                    </a:lnTo>
                    <a:lnTo>
                      <a:pt x="4" y="111"/>
                    </a:lnTo>
                    <a:lnTo>
                      <a:pt x="4" y="110"/>
                    </a:lnTo>
                    <a:lnTo>
                      <a:pt x="5" y="108"/>
                    </a:lnTo>
                    <a:lnTo>
                      <a:pt x="6" y="108"/>
                    </a:lnTo>
                    <a:lnTo>
                      <a:pt x="6" y="107"/>
                    </a:lnTo>
                    <a:lnTo>
                      <a:pt x="7" y="108"/>
                    </a:lnTo>
                    <a:lnTo>
                      <a:pt x="7" y="107"/>
                    </a:lnTo>
                    <a:lnTo>
                      <a:pt x="8" y="107"/>
                    </a:lnTo>
                    <a:lnTo>
                      <a:pt x="8" y="106"/>
                    </a:lnTo>
                    <a:lnTo>
                      <a:pt x="8" y="105"/>
                    </a:lnTo>
                    <a:lnTo>
                      <a:pt x="7" y="105"/>
                    </a:lnTo>
                    <a:lnTo>
                      <a:pt x="7" y="104"/>
                    </a:lnTo>
                    <a:lnTo>
                      <a:pt x="8" y="104"/>
                    </a:lnTo>
                    <a:lnTo>
                      <a:pt x="8" y="103"/>
                    </a:lnTo>
                    <a:lnTo>
                      <a:pt x="7" y="103"/>
                    </a:lnTo>
                    <a:lnTo>
                      <a:pt x="7" y="102"/>
                    </a:lnTo>
                    <a:lnTo>
                      <a:pt x="7" y="101"/>
                    </a:lnTo>
                    <a:lnTo>
                      <a:pt x="8" y="101"/>
                    </a:lnTo>
                    <a:lnTo>
                      <a:pt x="8" y="100"/>
                    </a:lnTo>
                    <a:lnTo>
                      <a:pt x="7" y="100"/>
                    </a:lnTo>
                    <a:lnTo>
                      <a:pt x="6" y="100"/>
                    </a:lnTo>
                    <a:lnTo>
                      <a:pt x="6" y="99"/>
                    </a:lnTo>
                    <a:lnTo>
                      <a:pt x="4" y="98"/>
                    </a:lnTo>
                    <a:lnTo>
                      <a:pt x="5" y="98"/>
                    </a:lnTo>
                    <a:lnTo>
                      <a:pt x="4" y="97"/>
                    </a:lnTo>
                    <a:lnTo>
                      <a:pt x="3" y="97"/>
                    </a:lnTo>
                    <a:lnTo>
                      <a:pt x="4" y="97"/>
                    </a:lnTo>
                    <a:lnTo>
                      <a:pt x="4" y="95"/>
                    </a:lnTo>
                    <a:lnTo>
                      <a:pt x="3" y="95"/>
                    </a:lnTo>
                    <a:lnTo>
                      <a:pt x="3" y="94"/>
                    </a:lnTo>
                    <a:lnTo>
                      <a:pt x="4" y="94"/>
                    </a:lnTo>
                    <a:lnTo>
                      <a:pt x="4" y="93"/>
                    </a:lnTo>
                    <a:lnTo>
                      <a:pt x="3" y="93"/>
                    </a:lnTo>
                    <a:lnTo>
                      <a:pt x="3" y="92"/>
                    </a:lnTo>
                    <a:lnTo>
                      <a:pt x="4" y="92"/>
                    </a:lnTo>
                    <a:lnTo>
                      <a:pt x="4" y="91"/>
                    </a:lnTo>
                    <a:lnTo>
                      <a:pt x="3" y="90"/>
                    </a:lnTo>
                    <a:lnTo>
                      <a:pt x="4" y="90"/>
                    </a:lnTo>
                    <a:lnTo>
                      <a:pt x="4" y="91"/>
                    </a:lnTo>
                    <a:lnTo>
                      <a:pt x="5" y="90"/>
                    </a:lnTo>
                    <a:lnTo>
                      <a:pt x="5" y="89"/>
                    </a:lnTo>
                    <a:lnTo>
                      <a:pt x="4" y="89"/>
                    </a:lnTo>
                    <a:lnTo>
                      <a:pt x="3" y="89"/>
                    </a:lnTo>
                    <a:lnTo>
                      <a:pt x="3" y="88"/>
                    </a:lnTo>
                    <a:lnTo>
                      <a:pt x="4" y="87"/>
                    </a:lnTo>
                    <a:lnTo>
                      <a:pt x="4" y="86"/>
                    </a:lnTo>
                    <a:lnTo>
                      <a:pt x="3" y="86"/>
                    </a:lnTo>
                    <a:lnTo>
                      <a:pt x="3" y="87"/>
                    </a:lnTo>
                    <a:lnTo>
                      <a:pt x="3" y="86"/>
                    </a:lnTo>
                    <a:lnTo>
                      <a:pt x="2" y="85"/>
                    </a:lnTo>
                    <a:lnTo>
                      <a:pt x="3" y="85"/>
                    </a:lnTo>
                    <a:lnTo>
                      <a:pt x="3" y="84"/>
                    </a:lnTo>
                    <a:lnTo>
                      <a:pt x="4" y="84"/>
                    </a:lnTo>
                    <a:lnTo>
                      <a:pt x="4" y="82"/>
                    </a:lnTo>
                    <a:lnTo>
                      <a:pt x="4" y="81"/>
                    </a:lnTo>
                    <a:lnTo>
                      <a:pt x="4" y="82"/>
                    </a:lnTo>
                    <a:lnTo>
                      <a:pt x="4" y="81"/>
                    </a:lnTo>
                    <a:lnTo>
                      <a:pt x="5" y="81"/>
                    </a:lnTo>
                    <a:lnTo>
                      <a:pt x="5" y="80"/>
                    </a:lnTo>
                    <a:lnTo>
                      <a:pt x="4" y="80"/>
                    </a:lnTo>
                    <a:lnTo>
                      <a:pt x="3" y="80"/>
                    </a:lnTo>
                    <a:lnTo>
                      <a:pt x="3" y="79"/>
                    </a:lnTo>
                    <a:lnTo>
                      <a:pt x="2" y="79"/>
                    </a:lnTo>
                    <a:lnTo>
                      <a:pt x="2" y="78"/>
                    </a:lnTo>
                    <a:lnTo>
                      <a:pt x="2" y="77"/>
                    </a:lnTo>
                    <a:lnTo>
                      <a:pt x="1" y="76"/>
                    </a:lnTo>
                    <a:lnTo>
                      <a:pt x="2" y="76"/>
                    </a:lnTo>
                    <a:lnTo>
                      <a:pt x="2" y="75"/>
                    </a:lnTo>
                    <a:lnTo>
                      <a:pt x="3" y="75"/>
                    </a:lnTo>
                    <a:lnTo>
                      <a:pt x="3" y="74"/>
                    </a:lnTo>
                    <a:lnTo>
                      <a:pt x="2" y="74"/>
                    </a:lnTo>
                    <a:lnTo>
                      <a:pt x="2" y="73"/>
                    </a:lnTo>
                    <a:lnTo>
                      <a:pt x="3" y="73"/>
                    </a:lnTo>
                    <a:lnTo>
                      <a:pt x="3" y="72"/>
                    </a:lnTo>
                    <a:lnTo>
                      <a:pt x="4" y="72"/>
                    </a:lnTo>
                    <a:lnTo>
                      <a:pt x="4" y="71"/>
                    </a:lnTo>
                    <a:lnTo>
                      <a:pt x="5" y="71"/>
                    </a:lnTo>
                    <a:lnTo>
                      <a:pt x="6" y="71"/>
                    </a:lnTo>
                    <a:lnTo>
                      <a:pt x="7" y="71"/>
                    </a:lnTo>
                    <a:lnTo>
                      <a:pt x="7" y="69"/>
                    </a:lnTo>
                    <a:lnTo>
                      <a:pt x="6" y="68"/>
                    </a:lnTo>
                    <a:lnTo>
                      <a:pt x="7" y="68"/>
                    </a:lnTo>
                    <a:lnTo>
                      <a:pt x="7" y="67"/>
                    </a:lnTo>
                    <a:lnTo>
                      <a:pt x="8" y="67"/>
                    </a:lnTo>
                    <a:lnTo>
                      <a:pt x="8" y="68"/>
                    </a:lnTo>
                    <a:lnTo>
                      <a:pt x="8" y="67"/>
                    </a:lnTo>
                    <a:lnTo>
                      <a:pt x="10" y="67"/>
                    </a:lnTo>
                    <a:lnTo>
                      <a:pt x="10" y="68"/>
                    </a:lnTo>
                    <a:lnTo>
                      <a:pt x="11" y="68"/>
                    </a:lnTo>
                    <a:lnTo>
                      <a:pt x="11" y="67"/>
                    </a:lnTo>
                    <a:lnTo>
                      <a:pt x="11" y="66"/>
                    </a:lnTo>
                    <a:lnTo>
                      <a:pt x="12" y="66"/>
                    </a:lnTo>
                    <a:lnTo>
                      <a:pt x="13" y="66"/>
                    </a:lnTo>
                    <a:lnTo>
                      <a:pt x="13" y="67"/>
                    </a:lnTo>
                    <a:lnTo>
                      <a:pt x="14" y="67"/>
                    </a:lnTo>
                    <a:lnTo>
                      <a:pt x="14" y="68"/>
                    </a:lnTo>
                    <a:lnTo>
                      <a:pt x="15" y="67"/>
                    </a:lnTo>
                    <a:lnTo>
                      <a:pt x="16" y="67"/>
                    </a:lnTo>
                    <a:lnTo>
                      <a:pt x="16" y="66"/>
                    </a:lnTo>
                    <a:lnTo>
                      <a:pt x="16" y="65"/>
                    </a:lnTo>
                    <a:lnTo>
                      <a:pt x="17" y="65"/>
                    </a:lnTo>
                    <a:lnTo>
                      <a:pt x="17" y="64"/>
                    </a:lnTo>
                    <a:lnTo>
                      <a:pt x="18" y="63"/>
                    </a:lnTo>
                    <a:lnTo>
                      <a:pt x="18" y="62"/>
                    </a:lnTo>
                    <a:lnTo>
                      <a:pt x="17" y="62"/>
                    </a:lnTo>
                    <a:lnTo>
                      <a:pt x="16" y="62"/>
                    </a:lnTo>
                    <a:lnTo>
                      <a:pt x="17" y="62"/>
                    </a:lnTo>
                    <a:lnTo>
                      <a:pt x="17" y="61"/>
                    </a:lnTo>
                    <a:lnTo>
                      <a:pt x="16" y="61"/>
                    </a:lnTo>
                    <a:lnTo>
                      <a:pt x="17" y="59"/>
                    </a:lnTo>
                    <a:lnTo>
                      <a:pt x="17" y="60"/>
                    </a:lnTo>
                    <a:lnTo>
                      <a:pt x="17" y="59"/>
                    </a:lnTo>
                    <a:lnTo>
                      <a:pt x="18" y="59"/>
                    </a:lnTo>
                    <a:lnTo>
                      <a:pt x="19" y="59"/>
                    </a:lnTo>
                    <a:lnTo>
                      <a:pt x="18" y="59"/>
                    </a:lnTo>
                    <a:lnTo>
                      <a:pt x="17" y="57"/>
                    </a:lnTo>
                    <a:lnTo>
                      <a:pt x="18" y="57"/>
                    </a:lnTo>
                    <a:lnTo>
                      <a:pt x="18" y="56"/>
                    </a:lnTo>
                    <a:lnTo>
                      <a:pt x="17" y="56"/>
                    </a:lnTo>
                    <a:lnTo>
                      <a:pt x="17" y="55"/>
                    </a:lnTo>
                    <a:lnTo>
                      <a:pt x="17" y="54"/>
                    </a:lnTo>
                    <a:lnTo>
                      <a:pt x="17" y="53"/>
                    </a:lnTo>
                    <a:lnTo>
                      <a:pt x="18" y="53"/>
                    </a:lnTo>
                    <a:lnTo>
                      <a:pt x="19" y="53"/>
                    </a:lnTo>
                    <a:lnTo>
                      <a:pt x="18" y="52"/>
                    </a:lnTo>
                    <a:lnTo>
                      <a:pt x="17" y="53"/>
                    </a:lnTo>
                    <a:lnTo>
                      <a:pt x="16" y="52"/>
                    </a:lnTo>
                    <a:lnTo>
                      <a:pt x="17" y="52"/>
                    </a:lnTo>
                    <a:lnTo>
                      <a:pt x="17" y="51"/>
                    </a:lnTo>
                    <a:lnTo>
                      <a:pt x="17" y="50"/>
                    </a:lnTo>
                    <a:lnTo>
                      <a:pt x="17" y="49"/>
                    </a:lnTo>
                    <a:lnTo>
                      <a:pt x="18" y="50"/>
                    </a:lnTo>
                    <a:lnTo>
                      <a:pt x="18" y="49"/>
                    </a:lnTo>
                    <a:lnTo>
                      <a:pt x="19" y="48"/>
                    </a:lnTo>
                    <a:lnTo>
                      <a:pt x="19" y="47"/>
                    </a:lnTo>
                    <a:lnTo>
                      <a:pt x="18" y="47"/>
                    </a:lnTo>
                    <a:lnTo>
                      <a:pt x="19" y="47"/>
                    </a:lnTo>
                    <a:lnTo>
                      <a:pt x="20" y="47"/>
                    </a:lnTo>
                    <a:lnTo>
                      <a:pt x="20" y="46"/>
                    </a:lnTo>
                    <a:lnTo>
                      <a:pt x="19" y="46"/>
                    </a:lnTo>
                    <a:lnTo>
                      <a:pt x="19" y="44"/>
                    </a:lnTo>
                    <a:lnTo>
                      <a:pt x="21" y="43"/>
                    </a:lnTo>
                    <a:lnTo>
                      <a:pt x="23" y="43"/>
                    </a:lnTo>
                    <a:lnTo>
                      <a:pt x="23" y="44"/>
                    </a:lnTo>
                    <a:lnTo>
                      <a:pt x="24" y="44"/>
                    </a:lnTo>
                    <a:lnTo>
                      <a:pt x="24" y="43"/>
                    </a:lnTo>
                    <a:lnTo>
                      <a:pt x="23" y="42"/>
                    </a:lnTo>
                    <a:lnTo>
                      <a:pt x="21" y="42"/>
                    </a:lnTo>
                    <a:lnTo>
                      <a:pt x="21" y="41"/>
                    </a:lnTo>
                    <a:lnTo>
                      <a:pt x="21" y="40"/>
                    </a:lnTo>
                    <a:lnTo>
                      <a:pt x="21" y="39"/>
                    </a:lnTo>
                    <a:lnTo>
                      <a:pt x="21" y="38"/>
                    </a:lnTo>
                    <a:lnTo>
                      <a:pt x="21" y="37"/>
                    </a:lnTo>
                    <a:lnTo>
                      <a:pt x="20" y="37"/>
                    </a:lnTo>
                    <a:lnTo>
                      <a:pt x="20" y="38"/>
                    </a:lnTo>
                    <a:lnTo>
                      <a:pt x="20" y="37"/>
                    </a:lnTo>
                    <a:lnTo>
                      <a:pt x="20" y="36"/>
                    </a:lnTo>
                    <a:lnTo>
                      <a:pt x="19" y="36"/>
                    </a:lnTo>
                    <a:lnTo>
                      <a:pt x="19" y="35"/>
                    </a:lnTo>
                    <a:lnTo>
                      <a:pt x="20" y="35"/>
                    </a:lnTo>
                    <a:lnTo>
                      <a:pt x="19" y="34"/>
                    </a:lnTo>
                    <a:lnTo>
                      <a:pt x="18" y="34"/>
                    </a:lnTo>
                    <a:lnTo>
                      <a:pt x="18" y="33"/>
                    </a:lnTo>
                    <a:lnTo>
                      <a:pt x="18" y="31"/>
                    </a:lnTo>
                    <a:lnTo>
                      <a:pt x="19" y="31"/>
                    </a:lnTo>
                    <a:lnTo>
                      <a:pt x="19" y="30"/>
                    </a:lnTo>
                    <a:lnTo>
                      <a:pt x="18" y="30"/>
                    </a:lnTo>
                    <a:lnTo>
                      <a:pt x="18" y="29"/>
                    </a:lnTo>
                    <a:lnTo>
                      <a:pt x="17" y="29"/>
                    </a:lnTo>
                    <a:lnTo>
                      <a:pt x="16" y="29"/>
                    </a:lnTo>
                    <a:lnTo>
                      <a:pt x="15" y="29"/>
                    </a:lnTo>
                    <a:lnTo>
                      <a:pt x="15" y="28"/>
                    </a:lnTo>
                    <a:lnTo>
                      <a:pt x="15" y="27"/>
                    </a:lnTo>
                    <a:lnTo>
                      <a:pt x="15" y="26"/>
                    </a:lnTo>
                    <a:lnTo>
                      <a:pt x="14" y="26"/>
                    </a:lnTo>
                    <a:lnTo>
                      <a:pt x="14" y="25"/>
                    </a:lnTo>
                    <a:lnTo>
                      <a:pt x="14" y="24"/>
                    </a:lnTo>
                    <a:lnTo>
                      <a:pt x="14" y="25"/>
                    </a:lnTo>
                    <a:lnTo>
                      <a:pt x="13" y="24"/>
                    </a:lnTo>
                    <a:lnTo>
                      <a:pt x="13" y="23"/>
                    </a:lnTo>
                    <a:lnTo>
                      <a:pt x="13" y="22"/>
                    </a:lnTo>
                    <a:lnTo>
                      <a:pt x="12" y="22"/>
                    </a:lnTo>
                    <a:lnTo>
                      <a:pt x="11" y="23"/>
                    </a:lnTo>
                    <a:lnTo>
                      <a:pt x="11" y="22"/>
                    </a:lnTo>
                    <a:lnTo>
                      <a:pt x="11" y="21"/>
                    </a:lnTo>
                    <a:lnTo>
                      <a:pt x="10" y="21"/>
                    </a:lnTo>
                    <a:lnTo>
                      <a:pt x="8" y="21"/>
                    </a:lnTo>
                    <a:lnTo>
                      <a:pt x="8" y="20"/>
                    </a:lnTo>
                    <a:lnTo>
                      <a:pt x="7" y="20"/>
                    </a:lnTo>
                    <a:lnTo>
                      <a:pt x="8" y="20"/>
                    </a:lnTo>
                    <a:lnTo>
                      <a:pt x="8" y="18"/>
                    </a:lnTo>
                    <a:lnTo>
                      <a:pt x="7" y="18"/>
                    </a:lnTo>
                    <a:lnTo>
                      <a:pt x="7" y="17"/>
                    </a:lnTo>
                    <a:lnTo>
                      <a:pt x="6" y="17"/>
                    </a:lnTo>
                    <a:lnTo>
                      <a:pt x="6" y="16"/>
                    </a:lnTo>
                    <a:lnTo>
                      <a:pt x="7" y="16"/>
                    </a:lnTo>
                    <a:lnTo>
                      <a:pt x="6" y="16"/>
                    </a:lnTo>
                    <a:lnTo>
                      <a:pt x="6" y="15"/>
                    </a:lnTo>
                    <a:lnTo>
                      <a:pt x="5" y="15"/>
                    </a:lnTo>
                    <a:lnTo>
                      <a:pt x="5" y="14"/>
                    </a:lnTo>
                    <a:lnTo>
                      <a:pt x="5" y="13"/>
                    </a:lnTo>
                    <a:lnTo>
                      <a:pt x="6" y="14"/>
                    </a:lnTo>
                    <a:lnTo>
                      <a:pt x="7" y="12"/>
                    </a:lnTo>
                    <a:lnTo>
                      <a:pt x="6" y="12"/>
                    </a:lnTo>
                    <a:lnTo>
                      <a:pt x="5" y="11"/>
                    </a:lnTo>
                    <a:lnTo>
                      <a:pt x="4" y="11"/>
                    </a:lnTo>
                    <a:lnTo>
                      <a:pt x="4" y="10"/>
                    </a:lnTo>
                    <a:lnTo>
                      <a:pt x="4" y="9"/>
                    </a:lnTo>
                    <a:lnTo>
                      <a:pt x="4" y="8"/>
                    </a:lnTo>
                    <a:lnTo>
                      <a:pt x="3" y="8"/>
                    </a:lnTo>
                    <a:lnTo>
                      <a:pt x="3" y="7"/>
                    </a:lnTo>
                    <a:lnTo>
                      <a:pt x="4" y="7"/>
                    </a:lnTo>
                    <a:lnTo>
                      <a:pt x="4" y="5"/>
                    </a:lnTo>
                    <a:lnTo>
                      <a:pt x="3" y="5"/>
                    </a:lnTo>
                    <a:lnTo>
                      <a:pt x="3" y="4"/>
                    </a:lnTo>
                    <a:lnTo>
                      <a:pt x="1" y="4"/>
                    </a:lnTo>
                    <a:lnTo>
                      <a:pt x="2" y="3"/>
                    </a:lnTo>
                    <a:lnTo>
                      <a:pt x="1" y="2"/>
                    </a:lnTo>
                    <a:lnTo>
                      <a:pt x="1" y="1"/>
                    </a:lnTo>
                    <a:lnTo>
                      <a:pt x="1" y="0"/>
                    </a:lnTo>
                    <a:lnTo>
                      <a:pt x="2" y="0"/>
                    </a:lnTo>
                    <a:lnTo>
                      <a:pt x="3" y="0"/>
                    </a:lnTo>
                    <a:lnTo>
                      <a:pt x="7" y="0"/>
                    </a:lnTo>
                    <a:lnTo>
                      <a:pt x="8" y="0"/>
                    </a:lnTo>
                    <a:lnTo>
                      <a:pt x="28" y="0"/>
                    </a:lnTo>
                    <a:lnTo>
                      <a:pt x="31" y="0"/>
                    </a:lnTo>
                    <a:lnTo>
                      <a:pt x="65" y="1"/>
                    </a:lnTo>
                    <a:lnTo>
                      <a:pt x="80" y="1"/>
                    </a:lnTo>
                    <a:lnTo>
                      <a:pt x="81" y="0"/>
                    </a:lnTo>
                    <a:lnTo>
                      <a:pt x="85" y="1"/>
                    </a:lnTo>
                    <a:close/>
                  </a:path>
                </a:pathLst>
              </a:custGeom>
              <a:solidFill>
                <a:srgbClr val="7CB8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1" name="Freeform 299">
                <a:extLst>
                  <a:ext uri="{FF2B5EF4-FFF2-40B4-BE49-F238E27FC236}">
                    <a16:creationId xmlns:a16="http://schemas.microsoft.com/office/drawing/2014/main" id="{F08CBD5D-5599-A5F3-DE29-88A52951F8AF}"/>
                  </a:ext>
                </a:extLst>
              </p:cNvPr>
              <p:cNvSpPr>
                <a:spLocks/>
              </p:cNvSpPr>
              <p:nvPr/>
            </p:nvSpPr>
            <p:spPr bwMode="auto">
              <a:xfrm>
                <a:off x="2516188" y="3441700"/>
                <a:ext cx="447675" cy="590550"/>
              </a:xfrm>
              <a:custGeom>
                <a:avLst/>
                <a:gdLst>
                  <a:gd name="T0" fmla="*/ 258 w 282"/>
                  <a:gd name="T1" fmla="*/ 142 h 372"/>
                  <a:gd name="T2" fmla="*/ 263 w 282"/>
                  <a:gd name="T3" fmla="*/ 156 h 372"/>
                  <a:gd name="T4" fmla="*/ 274 w 282"/>
                  <a:gd name="T5" fmla="*/ 164 h 372"/>
                  <a:gd name="T6" fmla="*/ 282 w 282"/>
                  <a:gd name="T7" fmla="*/ 169 h 372"/>
                  <a:gd name="T8" fmla="*/ 282 w 282"/>
                  <a:gd name="T9" fmla="*/ 233 h 372"/>
                  <a:gd name="T10" fmla="*/ 273 w 282"/>
                  <a:gd name="T11" fmla="*/ 240 h 372"/>
                  <a:gd name="T12" fmla="*/ 264 w 282"/>
                  <a:gd name="T13" fmla="*/ 247 h 372"/>
                  <a:gd name="T14" fmla="*/ 263 w 282"/>
                  <a:gd name="T15" fmla="*/ 260 h 372"/>
                  <a:gd name="T16" fmla="*/ 260 w 282"/>
                  <a:gd name="T17" fmla="*/ 272 h 372"/>
                  <a:gd name="T18" fmla="*/ 242 w 282"/>
                  <a:gd name="T19" fmla="*/ 309 h 372"/>
                  <a:gd name="T20" fmla="*/ 165 w 282"/>
                  <a:gd name="T21" fmla="*/ 330 h 372"/>
                  <a:gd name="T22" fmla="*/ 128 w 282"/>
                  <a:gd name="T23" fmla="*/ 331 h 372"/>
                  <a:gd name="T24" fmla="*/ 123 w 282"/>
                  <a:gd name="T25" fmla="*/ 333 h 372"/>
                  <a:gd name="T26" fmla="*/ 115 w 282"/>
                  <a:gd name="T27" fmla="*/ 333 h 372"/>
                  <a:gd name="T28" fmla="*/ 110 w 282"/>
                  <a:gd name="T29" fmla="*/ 338 h 372"/>
                  <a:gd name="T30" fmla="*/ 106 w 282"/>
                  <a:gd name="T31" fmla="*/ 341 h 372"/>
                  <a:gd name="T32" fmla="*/ 104 w 282"/>
                  <a:gd name="T33" fmla="*/ 347 h 372"/>
                  <a:gd name="T34" fmla="*/ 103 w 282"/>
                  <a:gd name="T35" fmla="*/ 356 h 372"/>
                  <a:gd name="T36" fmla="*/ 98 w 282"/>
                  <a:gd name="T37" fmla="*/ 362 h 372"/>
                  <a:gd name="T38" fmla="*/ 92 w 282"/>
                  <a:gd name="T39" fmla="*/ 363 h 372"/>
                  <a:gd name="T40" fmla="*/ 87 w 282"/>
                  <a:gd name="T41" fmla="*/ 369 h 372"/>
                  <a:gd name="T42" fmla="*/ 3 w 282"/>
                  <a:gd name="T43" fmla="*/ 371 h 372"/>
                  <a:gd name="T44" fmla="*/ 2 w 282"/>
                  <a:gd name="T45" fmla="*/ 367 h 372"/>
                  <a:gd name="T46" fmla="*/ 5 w 282"/>
                  <a:gd name="T47" fmla="*/ 360 h 372"/>
                  <a:gd name="T48" fmla="*/ 10 w 282"/>
                  <a:gd name="T49" fmla="*/ 354 h 372"/>
                  <a:gd name="T50" fmla="*/ 10 w 282"/>
                  <a:gd name="T51" fmla="*/ 348 h 372"/>
                  <a:gd name="T52" fmla="*/ 5 w 282"/>
                  <a:gd name="T53" fmla="*/ 344 h 372"/>
                  <a:gd name="T54" fmla="*/ 8 w 282"/>
                  <a:gd name="T55" fmla="*/ 340 h 372"/>
                  <a:gd name="T56" fmla="*/ 16 w 282"/>
                  <a:gd name="T57" fmla="*/ 336 h 372"/>
                  <a:gd name="T58" fmla="*/ 20 w 282"/>
                  <a:gd name="T59" fmla="*/ 330 h 372"/>
                  <a:gd name="T60" fmla="*/ 25 w 282"/>
                  <a:gd name="T61" fmla="*/ 325 h 372"/>
                  <a:gd name="T62" fmla="*/ 24 w 282"/>
                  <a:gd name="T63" fmla="*/ 319 h 372"/>
                  <a:gd name="T64" fmla="*/ 28 w 282"/>
                  <a:gd name="T65" fmla="*/ 314 h 372"/>
                  <a:gd name="T66" fmla="*/ 29 w 282"/>
                  <a:gd name="T67" fmla="*/ 307 h 372"/>
                  <a:gd name="T68" fmla="*/ 23 w 282"/>
                  <a:gd name="T69" fmla="*/ 299 h 372"/>
                  <a:gd name="T70" fmla="*/ 21 w 282"/>
                  <a:gd name="T71" fmla="*/ 92 h 372"/>
                  <a:gd name="T72" fmla="*/ 45 w 282"/>
                  <a:gd name="T73" fmla="*/ 73 h 372"/>
                  <a:gd name="T74" fmla="*/ 53 w 282"/>
                  <a:gd name="T75" fmla="*/ 72 h 372"/>
                  <a:gd name="T76" fmla="*/ 58 w 282"/>
                  <a:gd name="T77" fmla="*/ 74 h 372"/>
                  <a:gd name="T78" fmla="*/ 65 w 282"/>
                  <a:gd name="T79" fmla="*/ 73 h 372"/>
                  <a:gd name="T80" fmla="*/ 69 w 282"/>
                  <a:gd name="T81" fmla="*/ 78 h 372"/>
                  <a:gd name="T82" fmla="*/ 76 w 282"/>
                  <a:gd name="T83" fmla="*/ 76 h 372"/>
                  <a:gd name="T84" fmla="*/ 81 w 282"/>
                  <a:gd name="T85" fmla="*/ 73 h 372"/>
                  <a:gd name="T86" fmla="*/ 87 w 282"/>
                  <a:gd name="T87" fmla="*/ 68 h 372"/>
                  <a:gd name="T88" fmla="*/ 92 w 282"/>
                  <a:gd name="T89" fmla="*/ 62 h 372"/>
                  <a:gd name="T90" fmla="*/ 94 w 282"/>
                  <a:gd name="T91" fmla="*/ 54 h 372"/>
                  <a:gd name="T92" fmla="*/ 93 w 282"/>
                  <a:gd name="T93" fmla="*/ 44 h 372"/>
                  <a:gd name="T94" fmla="*/ 96 w 282"/>
                  <a:gd name="T95" fmla="*/ 36 h 372"/>
                  <a:gd name="T96" fmla="*/ 109 w 282"/>
                  <a:gd name="T97" fmla="*/ 29 h 372"/>
                  <a:gd name="T98" fmla="*/ 118 w 282"/>
                  <a:gd name="T99" fmla="*/ 24 h 372"/>
                  <a:gd name="T100" fmla="*/ 124 w 282"/>
                  <a:gd name="T101" fmla="*/ 21 h 372"/>
                  <a:gd name="T102" fmla="*/ 133 w 282"/>
                  <a:gd name="T103" fmla="*/ 16 h 372"/>
                  <a:gd name="T104" fmla="*/ 136 w 282"/>
                  <a:gd name="T105" fmla="*/ 8 h 372"/>
                  <a:gd name="T106" fmla="*/ 145 w 282"/>
                  <a:gd name="T107" fmla="*/ 3 h 372"/>
                  <a:gd name="T108" fmla="*/ 154 w 282"/>
                  <a:gd name="T109" fmla="*/ 0 h 372"/>
                  <a:gd name="T110" fmla="*/ 158 w 282"/>
                  <a:gd name="T111" fmla="*/ 3 h 372"/>
                  <a:gd name="T112" fmla="*/ 165 w 282"/>
                  <a:gd name="T113" fmla="*/ 8 h 372"/>
                  <a:gd name="T114" fmla="*/ 171 w 282"/>
                  <a:gd name="T115" fmla="*/ 13 h 372"/>
                  <a:gd name="T116" fmla="*/ 179 w 282"/>
                  <a:gd name="T117" fmla="*/ 18 h 372"/>
                  <a:gd name="T118" fmla="*/ 181 w 282"/>
                  <a:gd name="T119" fmla="*/ 22 h 372"/>
                  <a:gd name="T120" fmla="*/ 186 w 282"/>
                  <a:gd name="T121" fmla="*/ 2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372">
                    <a:moveTo>
                      <a:pt x="216" y="26"/>
                    </a:moveTo>
                    <a:lnTo>
                      <a:pt x="216" y="32"/>
                    </a:lnTo>
                    <a:lnTo>
                      <a:pt x="216" y="47"/>
                    </a:lnTo>
                    <a:lnTo>
                      <a:pt x="234" y="70"/>
                    </a:lnTo>
                    <a:lnTo>
                      <a:pt x="242" y="78"/>
                    </a:lnTo>
                    <a:lnTo>
                      <a:pt x="242" y="110"/>
                    </a:lnTo>
                    <a:lnTo>
                      <a:pt x="248" y="110"/>
                    </a:lnTo>
                    <a:lnTo>
                      <a:pt x="257" y="110"/>
                    </a:lnTo>
                    <a:lnTo>
                      <a:pt x="257" y="111"/>
                    </a:lnTo>
                    <a:lnTo>
                      <a:pt x="258" y="122"/>
                    </a:lnTo>
                    <a:lnTo>
                      <a:pt x="258" y="142"/>
                    </a:lnTo>
                    <a:lnTo>
                      <a:pt x="258" y="144"/>
                    </a:lnTo>
                    <a:lnTo>
                      <a:pt x="258" y="145"/>
                    </a:lnTo>
                    <a:lnTo>
                      <a:pt x="258" y="149"/>
                    </a:lnTo>
                    <a:lnTo>
                      <a:pt x="259" y="150"/>
                    </a:lnTo>
                    <a:lnTo>
                      <a:pt x="259" y="151"/>
                    </a:lnTo>
                    <a:lnTo>
                      <a:pt x="260" y="152"/>
                    </a:lnTo>
                    <a:lnTo>
                      <a:pt x="260" y="153"/>
                    </a:lnTo>
                    <a:lnTo>
                      <a:pt x="260" y="154"/>
                    </a:lnTo>
                    <a:lnTo>
                      <a:pt x="261" y="155"/>
                    </a:lnTo>
                    <a:lnTo>
                      <a:pt x="262" y="156"/>
                    </a:lnTo>
                    <a:lnTo>
                      <a:pt x="263" y="156"/>
                    </a:lnTo>
                    <a:lnTo>
                      <a:pt x="264" y="157"/>
                    </a:lnTo>
                    <a:lnTo>
                      <a:pt x="265" y="157"/>
                    </a:lnTo>
                    <a:lnTo>
                      <a:pt x="266" y="158"/>
                    </a:lnTo>
                    <a:lnTo>
                      <a:pt x="268" y="158"/>
                    </a:lnTo>
                    <a:lnTo>
                      <a:pt x="270" y="160"/>
                    </a:lnTo>
                    <a:lnTo>
                      <a:pt x="271" y="160"/>
                    </a:lnTo>
                    <a:lnTo>
                      <a:pt x="272" y="161"/>
                    </a:lnTo>
                    <a:lnTo>
                      <a:pt x="273" y="162"/>
                    </a:lnTo>
                    <a:lnTo>
                      <a:pt x="274" y="162"/>
                    </a:lnTo>
                    <a:lnTo>
                      <a:pt x="274" y="163"/>
                    </a:lnTo>
                    <a:lnTo>
                      <a:pt x="274" y="164"/>
                    </a:lnTo>
                    <a:lnTo>
                      <a:pt x="275" y="164"/>
                    </a:lnTo>
                    <a:lnTo>
                      <a:pt x="275" y="165"/>
                    </a:lnTo>
                    <a:lnTo>
                      <a:pt x="276" y="165"/>
                    </a:lnTo>
                    <a:lnTo>
                      <a:pt x="276" y="166"/>
                    </a:lnTo>
                    <a:lnTo>
                      <a:pt x="277" y="166"/>
                    </a:lnTo>
                    <a:lnTo>
                      <a:pt x="278" y="166"/>
                    </a:lnTo>
                    <a:lnTo>
                      <a:pt x="278" y="167"/>
                    </a:lnTo>
                    <a:lnTo>
                      <a:pt x="279" y="167"/>
                    </a:lnTo>
                    <a:lnTo>
                      <a:pt x="281" y="167"/>
                    </a:lnTo>
                    <a:lnTo>
                      <a:pt x="282" y="167"/>
                    </a:lnTo>
                    <a:lnTo>
                      <a:pt x="282" y="169"/>
                    </a:lnTo>
                    <a:lnTo>
                      <a:pt x="282" y="170"/>
                    </a:lnTo>
                    <a:lnTo>
                      <a:pt x="282" y="171"/>
                    </a:lnTo>
                    <a:lnTo>
                      <a:pt x="282" y="186"/>
                    </a:lnTo>
                    <a:lnTo>
                      <a:pt x="282" y="187"/>
                    </a:lnTo>
                    <a:lnTo>
                      <a:pt x="282" y="188"/>
                    </a:lnTo>
                    <a:lnTo>
                      <a:pt x="282" y="215"/>
                    </a:lnTo>
                    <a:lnTo>
                      <a:pt x="282" y="227"/>
                    </a:lnTo>
                    <a:lnTo>
                      <a:pt x="282" y="228"/>
                    </a:lnTo>
                    <a:lnTo>
                      <a:pt x="282" y="230"/>
                    </a:lnTo>
                    <a:lnTo>
                      <a:pt x="282" y="234"/>
                    </a:lnTo>
                    <a:lnTo>
                      <a:pt x="282" y="233"/>
                    </a:lnTo>
                    <a:lnTo>
                      <a:pt x="281" y="232"/>
                    </a:lnTo>
                    <a:lnTo>
                      <a:pt x="281" y="233"/>
                    </a:lnTo>
                    <a:lnTo>
                      <a:pt x="279" y="233"/>
                    </a:lnTo>
                    <a:lnTo>
                      <a:pt x="279" y="234"/>
                    </a:lnTo>
                    <a:lnTo>
                      <a:pt x="279" y="235"/>
                    </a:lnTo>
                    <a:lnTo>
                      <a:pt x="278" y="237"/>
                    </a:lnTo>
                    <a:lnTo>
                      <a:pt x="278" y="239"/>
                    </a:lnTo>
                    <a:lnTo>
                      <a:pt x="277" y="240"/>
                    </a:lnTo>
                    <a:lnTo>
                      <a:pt x="275" y="240"/>
                    </a:lnTo>
                    <a:lnTo>
                      <a:pt x="274" y="239"/>
                    </a:lnTo>
                    <a:lnTo>
                      <a:pt x="273" y="240"/>
                    </a:lnTo>
                    <a:lnTo>
                      <a:pt x="272" y="241"/>
                    </a:lnTo>
                    <a:lnTo>
                      <a:pt x="271" y="241"/>
                    </a:lnTo>
                    <a:lnTo>
                      <a:pt x="271" y="242"/>
                    </a:lnTo>
                    <a:lnTo>
                      <a:pt x="270" y="242"/>
                    </a:lnTo>
                    <a:lnTo>
                      <a:pt x="270" y="244"/>
                    </a:lnTo>
                    <a:lnTo>
                      <a:pt x="269" y="244"/>
                    </a:lnTo>
                    <a:lnTo>
                      <a:pt x="268" y="245"/>
                    </a:lnTo>
                    <a:lnTo>
                      <a:pt x="266" y="246"/>
                    </a:lnTo>
                    <a:lnTo>
                      <a:pt x="265" y="246"/>
                    </a:lnTo>
                    <a:lnTo>
                      <a:pt x="264" y="246"/>
                    </a:lnTo>
                    <a:lnTo>
                      <a:pt x="264" y="247"/>
                    </a:lnTo>
                    <a:lnTo>
                      <a:pt x="264" y="248"/>
                    </a:lnTo>
                    <a:lnTo>
                      <a:pt x="264" y="251"/>
                    </a:lnTo>
                    <a:lnTo>
                      <a:pt x="264" y="253"/>
                    </a:lnTo>
                    <a:lnTo>
                      <a:pt x="264" y="254"/>
                    </a:lnTo>
                    <a:lnTo>
                      <a:pt x="263" y="255"/>
                    </a:lnTo>
                    <a:lnTo>
                      <a:pt x="263" y="256"/>
                    </a:lnTo>
                    <a:lnTo>
                      <a:pt x="263" y="257"/>
                    </a:lnTo>
                    <a:lnTo>
                      <a:pt x="262" y="257"/>
                    </a:lnTo>
                    <a:lnTo>
                      <a:pt x="262" y="258"/>
                    </a:lnTo>
                    <a:lnTo>
                      <a:pt x="263" y="259"/>
                    </a:lnTo>
                    <a:lnTo>
                      <a:pt x="263" y="260"/>
                    </a:lnTo>
                    <a:lnTo>
                      <a:pt x="262" y="262"/>
                    </a:lnTo>
                    <a:lnTo>
                      <a:pt x="262" y="263"/>
                    </a:lnTo>
                    <a:lnTo>
                      <a:pt x="262" y="265"/>
                    </a:lnTo>
                    <a:lnTo>
                      <a:pt x="262" y="266"/>
                    </a:lnTo>
                    <a:lnTo>
                      <a:pt x="262" y="267"/>
                    </a:lnTo>
                    <a:lnTo>
                      <a:pt x="262" y="268"/>
                    </a:lnTo>
                    <a:lnTo>
                      <a:pt x="262" y="269"/>
                    </a:lnTo>
                    <a:lnTo>
                      <a:pt x="262" y="270"/>
                    </a:lnTo>
                    <a:lnTo>
                      <a:pt x="261" y="270"/>
                    </a:lnTo>
                    <a:lnTo>
                      <a:pt x="261" y="271"/>
                    </a:lnTo>
                    <a:lnTo>
                      <a:pt x="260" y="272"/>
                    </a:lnTo>
                    <a:lnTo>
                      <a:pt x="259" y="272"/>
                    </a:lnTo>
                    <a:lnTo>
                      <a:pt x="259" y="273"/>
                    </a:lnTo>
                    <a:lnTo>
                      <a:pt x="258" y="273"/>
                    </a:lnTo>
                    <a:lnTo>
                      <a:pt x="258" y="275"/>
                    </a:lnTo>
                    <a:lnTo>
                      <a:pt x="258" y="276"/>
                    </a:lnTo>
                    <a:lnTo>
                      <a:pt x="258" y="277"/>
                    </a:lnTo>
                    <a:lnTo>
                      <a:pt x="258" y="304"/>
                    </a:lnTo>
                    <a:lnTo>
                      <a:pt x="258" y="309"/>
                    </a:lnTo>
                    <a:lnTo>
                      <a:pt x="257" y="309"/>
                    </a:lnTo>
                    <a:lnTo>
                      <a:pt x="253" y="309"/>
                    </a:lnTo>
                    <a:lnTo>
                      <a:pt x="242" y="309"/>
                    </a:lnTo>
                    <a:lnTo>
                      <a:pt x="235" y="309"/>
                    </a:lnTo>
                    <a:lnTo>
                      <a:pt x="226" y="309"/>
                    </a:lnTo>
                    <a:lnTo>
                      <a:pt x="226" y="316"/>
                    </a:lnTo>
                    <a:lnTo>
                      <a:pt x="226" y="327"/>
                    </a:lnTo>
                    <a:lnTo>
                      <a:pt x="226" y="330"/>
                    </a:lnTo>
                    <a:lnTo>
                      <a:pt x="217" y="330"/>
                    </a:lnTo>
                    <a:lnTo>
                      <a:pt x="208" y="330"/>
                    </a:lnTo>
                    <a:lnTo>
                      <a:pt x="196" y="330"/>
                    </a:lnTo>
                    <a:lnTo>
                      <a:pt x="190" y="330"/>
                    </a:lnTo>
                    <a:lnTo>
                      <a:pt x="167" y="330"/>
                    </a:lnTo>
                    <a:lnTo>
                      <a:pt x="165" y="330"/>
                    </a:lnTo>
                    <a:lnTo>
                      <a:pt x="160" y="330"/>
                    </a:lnTo>
                    <a:lnTo>
                      <a:pt x="158" y="330"/>
                    </a:lnTo>
                    <a:lnTo>
                      <a:pt x="139" y="330"/>
                    </a:lnTo>
                    <a:lnTo>
                      <a:pt x="133" y="330"/>
                    </a:lnTo>
                    <a:lnTo>
                      <a:pt x="133" y="331"/>
                    </a:lnTo>
                    <a:lnTo>
                      <a:pt x="132" y="331"/>
                    </a:lnTo>
                    <a:lnTo>
                      <a:pt x="131" y="330"/>
                    </a:lnTo>
                    <a:lnTo>
                      <a:pt x="130" y="330"/>
                    </a:lnTo>
                    <a:lnTo>
                      <a:pt x="130" y="331"/>
                    </a:lnTo>
                    <a:lnTo>
                      <a:pt x="129" y="331"/>
                    </a:lnTo>
                    <a:lnTo>
                      <a:pt x="128" y="331"/>
                    </a:lnTo>
                    <a:lnTo>
                      <a:pt x="128" y="332"/>
                    </a:lnTo>
                    <a:lnTo>
                      <a:pt x="127" y="331"/>
                    </a:lnTo>
                    <a:lnTo>
                      <a:pt x="127" y="330"/>
                    </a:lnTo>
                    <a:lnTo>
                      <a:pt x="127" y="331"/>
                    </a:lnTo>
                    <a:lnTo>
                      <a:pt x="126" y="332"/>
                    </a:lnTo>
                    <a:lnTo>
                      <a:pt x="127" y="332"/>
                    </a:lnTo>
                    <a:lnTo>
                      <a:pt x="126" y="332"/>
                    </a:lnTo>
                    <a:lnTo>
                      <a:pt x="126" y="333"/>
                    </a:lnTo>
                    <a:lnTo>
                      <a:pt x="124" y="333"/>
                    </a:lnTo>
                    <a:lnTo>
                      <a:pt x="123" y="334"/>
                    </a:lnTo>
                    <a:lnTo>
                      <a:pt x="123" y="333"/>
                    </a:lnTo>
                    <a:lnTo>
                      <a:pt x="122" y="332"/>
                    </a:lnTo>
                    <a:lnTo>
                      <a:pt x="121" y="332"/>
                    </a:lnTo>
                    <a:lnTo>
                      <a:pt x="120" y="332"/>
                    </a:lnTo>
                    <a:lnTo>
                      <a:pt x="119" y="332"/>
                    </a:lnTo>
                    <a:lnTo>
                      <a:pt x="119" y="333"/>
                    </a:lnTo>
                    <a:lnTo>
                      <a:pt x="118" y="333"/>
                    </a:lnTo>
                    <a:lnTo>
                      <a:pt x="117" y="334"/>
                    </a:lnTo>
                    <a:lnTo>
                      <a:pt x="117" y="333"/>
                    </a:lnTo>
                    <a:lnTo>
                      <a:pt x="116" y="333"/>
                    </a:lnTo>
                    <a:lnTo>
                      <a:pt x="116" y="334"/>
                    </a:lnTo>
                    <a:lnTo>
                      <a:pt x="115" y="333"/>
                    </a:lnTo>
                    <a:lnTo>
                      <a:pt x="114" y="334"/>
                    </a:lnTo>
                    <a:lnTo>
                      <a:pt x="114" y="333"/>
                    </a:lnTo>
                    <a:lnTo>
                      <a:pt x="113" y="333"/>
                    </a:lnTo>
                    <a:lnTo>
                      <a:pt x="113" y="334"/>
                    </a:lnTo>
                    <a:lnTo>
                      <a:pt x="111" y="334"/>
                    </a:lnTo>
                    <a:lnTo>
                      <a:pt x="111" y="335"/>
                    </a:lnTo>
                    <a:lnTo>
                      <a:pt x="111" y="336"/>
                    </a:lnTo>
                    <a:lnTo>
                      <a:pt x="111" y="335"/>
                    </a:lnTo>
                    <a:lnTo>
                      <a:pt x="110" y="336"/>
                    </a:lnTo>
                    <a:lnTo>
                      <a:pt x="110" y="337"/>
                    </a:lnTo>
                    <a:lnTo>
                      <a:pt x="110" y="338"/>
                    </a:lnTo>
                    <a:lnTo>
                      <a:pt x="109" y="338"/>
                    </a:lnTo>
                    <a:lnTo>
                      <a:pt x="109" y="337"/>
                    </a:lnTo>
                    <a:lnTo>
                      <a:pt x="109" y="338"/>
                    </a:lnTo>
                    <a:lnTo>
                      <a:pt x="108" y="338"/>
                    </a:lnTo>
                    <a:lnTo>
                      <a:pt x="107" y="338"/>
                    </a:lnTo>
                    <a:lnTo>
                      <a:pt x="107" y="337"/>
                    </a:lnTo>
                    <a:lnTo>
                      <a:pt x="106" y="337"/>
                    </a:lnTo>
                    <a:lnTo>
                      <a:pt x="106" y="338"/>
                    </a:lnTo>
                    <a:lnTo>
                      <a:pt x="107" y="338"/>
                    </a:lnTo>
                    <a:lnTo>
                      <a:pt x="107" y="340"/>
                    </a:lnTo>
                    <a:lnTo>
                      <a:pt x="106" y="341"/>
                    </a:lnTo>
                    <a:lnTo>
                      <a:pt x="105" y="341"/>
                    </a:lnTo>
                    <a:lnTo>
                      <a:pt x="106" y="342"/>
                    </a:lnTo>
                    <a:lnTo>
                      <a:pt x="106" y="343"/>
                    </a:lnTo>
                    <a:lnTo>
                      <a:pt x="106" y="344"/>
                    </a:lnTo>
                    <a:lnTo>
                      <a:pt x="105" y="344"/>
                    </a:lnTo>
                    <a:lnTo>
                      <a:pt x="106" y="344"/>
                    </a:lnTo>
                    <a:lnTo>
                      <a:pt x="106" y="345"/>
                    </a:lnTo>
                    <a:lnTo>
                      <a:pt x="105" y="345"/>
                    </a:lnTo>
                    <a:lnTo>
                      <a:pt x="105" y="346"/>
                    </a:lnTo>
                    <a:lnTo>
                      <a:pt x="105" y="347"/>
                    </a:lnTo>
                    <a:lnTo>
                      <a:pt x="104" y="347"/>
                    </a:lnTo>
                    <a:lnTo>
                      <a:pt x="103" y="348"/>
                    </a:lnTo>
                    <a:lnTo>
                      <a:pt x="104" y="349"/>
                    </a:lnTo>
                    <a:lnTo>
                      <a:pt x="104" y="350"/>
                    </a:lnTo>
                    <a:lnTo>
                      <a:pt x="104" y="352"/>
                    </a:lnTo>
                    <a:lnTo>
                      <a:pt x="103" y="352"/>
                    </a:lnTo>
                    <a:lnTo>
                      <a:pt x="103" y="353"/>
                    </a:lnTo>
                    <a:lnTo>
                      <a:pt x="104" y="354"/>
                    </a:lnTo>
                    <a:lnTo>
                      <a:pt x="103" y="354"/>
                    </a:lnTo>
                    <a:lnTo>
                      <a:pt x="104" y="355"/>
                    </a:lnTo>
                    <a:lnTo>
                      <a:pt x="103" y="355"/>
                    </a:lnTo>
                    <a:lnTo>
                      <a:pt x="103" y="356"/>
                    </a:lnTo>
                    <a:lnTo>
                      <a:pt x="104" y="356"/>
                    </a:lnTo>
                    <a:lnTo>
                      <a:pt x="104" y="357"/>
                    </a:lnTo>
                    <a:lnTo>
                      <a:pt x="104" y="358"/>
                    </a:lnTo>
                    <a:lnTo>
                      <a:pt x="103" y="358"/>
                    </a:lnTo>
                    <a:lnTo>
                      <a:pt x="103" y="359"/>
                    </a:lnTo>
                    <a:lnTo>
                      <a:pt x="103" y="360"/>
                    </a:lnTo>
                    <a:lnTo>
                      <a:pt x="103" y="361"/>
                    </a:lnTo>
                    <a:lnTo>
                      <a:pt x="102" y="361"/>
                    </a:lnTo>
                    <a:lnTo>
                      <a:pt x="101" y="361"/>
                    </a:lnTo>
                    <a:lnTo>
                      <a:pt x="100" y="362"/>
                    </a:lnTo>
                    <a:lnTo>
                      <a:pt x="98" y="362"/>
                    </a:lnTo>
                    <a:lnTo>
                      <a:pt x="98" y="361"/>
                    </a:lnTo>
                    <a:lnTo>
                      <a:pt x="97" y="361"/>
                    </a:lnTo>
                    <a:lnTo>
                      <a:pt x="96" y="361"/>
                    </a:lnTo>
                    <a:lnTo>
                      <a:pt x="95" y="361"/>
                    </a:lnTo>
                    <a:lnTo>
                      <a:pt x="94" y="361"/>
                    </a:lnTo>
                    <a:lnTo>
                      <a:pt x="94" y="362"/>
                    </a:lnTo>
                    <a:lnTo>
                      <a:pt x="95" y="362"/>
                    </a:lnTo>
                    <a:lnTo>
                      <a:pt x="94" y="362"/>
                    </a:lnTo>
                    <a:lnTo>
                      <a:pt x="94" y="363"/>
                    </a:lnTo>
                    <a:lnTo>
                      <a:pt x="93" y="363"/>
                    </a:lnTo>
                    <a:lnTo>
                      <a:pt x="92" y="363"/>
                    </a:lnTo>
                    <a:lnTo>
                      <a:pt x="92" y="365"/>
                    </a:lnTo>
                    <a:lnTo>
                      <a:pt x="91" y="363"/>
                    </a:lnTo>
                    <a:lnTo>
                      <a:pt x="91" y="365"/>
                    </a:lnTo>
                    <a:lnTo>
                      <a:pt x="91" y="366"/>
                    </a:lnTo>
                    <a:lnTo>
                      <a:pt x="90" y="366"/>
                    </a:lnTo>
                    <a:lnTo>
                      <a:pt x="90" y="367"/>
                    </a:lnTo>
                    <a:lnTo>
                      <a:pt x="89" y="367"/>
                    </a:lnTo>
                    <a:lnTo>
                      <a:pt x="89" y="368"/>
                    </a:lnTo>
                    <a:lnTo>
                      <a:pt x="88" y="368"/>
                    </a:lnTo>
                    <a:lnTo>
                      <a:pt x="88" y="369"/>
                    </a:lnTo>
                    <a:lnTo>
                      <a:pt x="87" y="369"/>
                    </a:lnTo>
                    <a:lnTo>
                      <a:pt x="87" y="370"/>
                    </a:lnTo>
                    <a:lnTo>
                      <a:pt x="85" y="371"/>
                    </a:lnTo>
                    <a:lnTo>
                      <a:pt x="85" y="372"/>
                    </a:lnTo>
                    <a:lnTo>
                      <a:pt x="81" y="371"/>
                    </a:lnTo>
                    <a:lnTo>
                      <a:pt x="80" y="372"/>
                    </a:lnTo>
                    <a:lnTo>
                      <a:pt x="65" y="372"/>
                    </a:lnTo>
                    <a:lnTo>
                      <a:pt x="31" y="371"/>
                    </a:lnTo>
                    <a:lnTo>
                      <a:pt x="28" y="371"/>
                    </a:lnTo>
                    <a:lnTo>
                      <a:pt x="8" y="371"/>
                    </a:lnTo>
                    <a:lnTo>
                      <a:pt x="7" y="371"/>
                    </a:lnTo>
                    <a:lnTo>
                      <a:pt x="3" y="371"/>
                    </a:lnTo>
                    <a:lnTo>
                      <a:pt x="2" y="371"/>
                    </a:lnTo>
                    <a:lnTo>
                      <a:pt x="1" y="371"/>
                    </a:lnTo>
                    <a:lnTo>
                      <a:pt x="0" y="371"/>
                    </a:lnTo>
                    <a:lnTo>
                      <a:pt x="0" y="370"/>
                    </a:lnTo>
                    <a:lnTo>
                      <a:pt x="0" y="369"/>
                    </a:lnTo>
                    <a:lnTo>
                      <a:pt x="1" y="369"/>
                    </a:lnTo>
                    <a:lnTo>
                      <a:pt x="1" y="370"/>
                    </a:lnTo>
                    <a:lnTo>
                      <a:pt x="2" y="370"/>
                    </a:lnTo>
                    <a:lnTo>
                      <a:pt x="2" y="369"/>
                    </a:lnTo>
                    <a:lnTo>
                      <a:pt x="2" y="368"/>
                    </a:lnTo>
                    <a:lnTo>
                      <a:pt x="2" y="367"/>
                    </a:lnTo>
                    <a:lnTo>
                      <a:pt x="2" y="366"/>
                    </a:lnTo>
                    <a:lnTo>
                      <a:pt x="3" y="366"/>
                    </a:lnTo>
                    <a:lnTo>
                      <a:pt x="4" y="366"/>
                    </a:lnTo>
                    <a:lnTo>
                      <a:pt x="4" y="365"/>
                    </a:lnTo>
                    <a:lnTo>
                      <a:pt x="5" y="365"/>
                    </a:lnTo>
                    <a:lnTo>
                      <a:pt x="5" y="363"/>
                    </a:lnTo>
                    <a:lnTo>
                      <a:pt x="5" y="362"/>
                    </a:lnTo>
                    <a:lnTo>
                      <a:pt x="6" y="362"/>
                    </a:lnTo>
                    <a:lnTo>
                      <a:pt x="6" y="361"/>
                    </a:lnTo>
                    <a:lnTo>
                      <a:pt x="5" y="361"/>
                    </a:lnTo>
                    <a:lnTo>
                      <a:pt x="5" y="360"/>
                    </a:lnTo>
                    <a:lnTo>
                      <a:pt x="6" y="360"/>
                    </a:lnTo>
                    <a:lnTo>
                      <a:pt x="6" y="359"/>
                    </a:lnTo>
                    <a:lnTo>
                      <a:pt x="6" y="358"/>
                    </a:lnTo>
                    <a:lnTo>
                      <a:pt x="7" y="357"/>
                    </a:lnTo>
                    <a:lnTo>
                      <a:pt x="8" y="357"/>
                    </a:lnTo>
                    <a:lnTo>
                      <a:pt x="10" y="357"/>
                    </a:lnTo>
                    <a:lnTo>
                      <a:pt x="10" y="356"/>
                    </a:lnTo>
                    <a:lnTo>
                      <a:pt x="8" y="356"/>
                    </a:lnTo>
                    <a:lnTo>
                      <a:pt x="8" y="355"/>
                    </a:lnTo>
                    <a:lnTo>
                      <a:pt x="10" y="355"/>
                    </a:lnTo>
                    <a:lnTo>
                      <a:pt x="10" y="354"/>
                    </a:lnTo>
                    <a:lnTo>
                      <a:pt x="11" y="354"/>
                    </a:lnTo>
                    <a:lnTo>
                      <a:pt x="12" y="353"/>
                    </a:lnTo>
                    <a:lnTo>
                      <a:pt x="11" y="353"/>
                    </a:lnTo>
                    <a:lnTo>
                      <a:pt x="10" y="353"/>
                    </a:lnTo>
                    <a:lnTo>
                      <a:pt x="11" y="352"/>
                    </a:lnTo>
                    <a:lnTo>
                      <a:pt x="11" y="350"/>
                    </a:lnTo>
                    <a:lnTo>
                      <a:pt x="10" y="350"/>
                    </a:lnTo>
                    <a:lnTo>
                      <a:pt x="10" y="349"/>
                    </a:lnTo>
                    <a:lnTo>
                      <a:pt x="11" y="349"/>
                    </a:lnTo>
                    <a:lnTo>
                      <a:pt x="11" y="348"/>
                    </a:lnTo>
                    <a:lnTo>
                      <a:pt x="10" y="348"/>
                    </a:lnTo>
                    <a:lnTo>
                      <a:pt x="8" y="348"/>
                    </a:lnTo>
                    <a:lnTo>
                      <a:pt x="10" y="348"/>
                    </a:lnTo>
                    <a:lnTo>
                      <a:pt x="10" y="347"/>
                    </a:lnTo>
                    <a:lnTo>
                      <a:pt x="8" y="347"/>
                    </a:lnTo>
                    <a:lnTo>
                      <a:pt x="8" y="348"/>
                    </a:lnTo>
                    <a:lnTo>
                      <a:pt x="8" y="347"/>
                    </a:lnTo>
                    <a:lnTo>
                      <a:pt x="8" y="346"/>
                    </a:lnTo>
                    <a:lnTo>
                      <a:pt x="7" y="346"/>
                    </a:lnTo>
                    <a:lnTo>
                      <a:pt x="6" y="345"/>
                    </a:lnTo>
                    <a:lnTo>
                      <a:pt x="5" y="345"/>
                    </a:lnTo>
                    <a:lnTo>
                      <a:pt x="5" y="344"/>
                    </a:lnTo>
                    <a:lnTo>
                      <a:pt x="6" y="344"/>
                    </a:lnTo>
                    <a:lnTo>
                      <a:pt x="6" y="343"/>
                    </a:lnTo>
                    <a:lnTo>
                      <a:pt x="7" y="343"/>
                    </a:lnTo>
                    <a:lnTo>
                      <a:pt x="8" y="343"/>
                    </a:lnTo>
                    <a:lnTo>
                      <a:pt x="7" y="343"/>
                    </a:lnTo>
                    <a:lnTo>
                      <a:pt x="8" y="343"/>
                    </a:lnTo>
                    <a:lnTo>
                      <a:pt x="8" y="342"/>
                    </a:lnTo>
                    <a:lnTo>
                      <a:pt x="7" y="342"/>
                    </a:lnTo>
                    <a:lnTo>
                      <a:pt x="7" y="341"/>
                    </a:lnTo>
                    <a:lnTo>
                      <a:pt x="8" y="341"/>
                    </a:lnTo>
                    <a:lnTo>
                      <a:pt x="8" y="340"/>
                    </a:lnTo>
                    <a:lnTo>
                      <a:pt x="10" y="340"/>
                    </a:lnTo>
                    <a:lnTo>
                      <a:pt x="11" y="340"/>
                    </a:lnTo>
                    <a:lnTo>
                      <a:pt x="10" y="338"/>
                    </a:lnTo>
                    <a:lnTo>
                      <a:pt x="11" y="337"/>
                    </a:lnTo>
                    <a:lnTo>
                      <a:pt x="12" y="337"/>
                    </a:lnTo>
                    <a:lnTo>
                      <a:pt x="13" y="337"/>
                    </a:lnTo>
                    <a:lnTo>
                      <a:pt x="14" y="336"/>
                    </a:lnTo>
                    <a:lnTo>
                      <a:pt x="14" y="337"/>
                    </a:lnTo>
                    <a:lnTo>
                      <a:pt x="15" y="337"/>
                    </a:lnTo>
                    <a:lnTo>
                      <a:pt x="15" y="336"/>
                    </a:lnTo>
                    <a:lnTo>
                      <a:pt x="16" y="336"/>
                    </a:lnTo>
                    <a:lnTo>
                      <a:pt x="16" y="337"/>
                    </a:lnTo>
                    <a:lnTo>
                      <a:pt x="17" y="336"/>
                    </a:lnTo>
                    <a:lnTo>
                      <a:pt x="17" y="335"/>
                    </a:lnTo>
                    <a:lnTo>
                      <a:pt x="17" y="334"/>
                    </a:lnTo>
                    <a:lnTo>
                      <a:pt x="17" y="333"/>
                    </a:lnTo>
                    <a:lnTo>
                      <a:pt x="18" y="333"/>
                    </a:lnTo>
                    <a:lnTo>
                      <a:pt x="19" y="333"/>
                    </a:lnTo>
                    <a:lnTo>
                      <a:pt x="20" y="333"/>
                    </a:lnTo>
                    <a:lnTo>
                      <a:pt x="20" y="332"/>
                    </a:lnTo>
                    <a:lnTo>
                      <a:pt x="20" y="331"/>
                    </a:lnTo>
                    <a:lnTo>
                      <a:pt x="20" y="330"/>
                    </a:lnTo>
                    <a:lnTo>
                      <a:pt x="19" y="330"/>
                    </a:lnTo>
                    <a:lnTo>
                      <a:pt x="19" y="331"/>
                    </a:lnTo>
                    <a:lnTo>
                      <a:pt x="19" y="330"/>
                    </a:lnTo>
                    <a:lnTo>
                      <a:pt x="19" y="329"/>
                    </a:lnTo>
                    <a:lnTo>
                      <a:pt x="20" y="328"/>
                    </a:lnTo>
                    <a:lnTo>
                      <a:pt x="20" y="327"/>
                    </a:lnTo>
                    <a:lnTo>
                      <a:pt x="20" y="325"/>
                    </a:lnTo>
                    <a:lnTo>
                      <a:pt x="21" y="325"/>
                    </a:lnTo>
                    <a:lnTo>
                      <a:pt x="23" y="325"/>
                    </a:lnTo>
                    <a:lnTo>
                      <a:pt x="24" y="325"/>
                    </a:lnTo>
                    <a:lnTo>
                      <a:pt x="25" y="325"/>
                    </a:lnTo>
                    <a:lnTo>
                      <a:pt x="24" y="324"/>
                    </a:lnTo>
                    <a:lnTo>
                      <a:pt x="24" y="323"/>
                    </a:lnTo>
                    <a:lnTo>
                      <a:pt x="23" y="323"/>
                    </a:lnTo>
                    <a:lnTo>
                      <a:pt x="24" y="322"/>
                    </a:lnTo>
                    <a:lnTo>
                      <a:pt x="25" y="323"/>
                    </a:lnTo>
                    <a:lnTo>
                      <a:pt x="25" y="322"/>
                    </a:lnTo>
                    <a:lnTo>
                      <a:pt x="24" y="321"/>
                    </a:lnTo>
                    <a:lnTo>
                      <a:pt x="25" y="321"/>
                    </a:lnTo>
                    <a:lnTo>
                      <a:pt x="25" y="320"/>
                    </a:lnTo>
                    <a:lnTo>
                      <a:pt x="24" y="320"/>
                    </a:lnTo>
                    <a:lnTo>
                      <a:pt x="24" y="319"/>
                    </a:lnTo>
                    <a:lnTo>
                      <a:pt x="24" y="318"/>
                    </a:lnTo>
                    <a:lnTo>
                      <a:pt x="24" y="317"/>
                    </a:lnTo>
                    <a:lnTo>
                      <a:pt x="25" y="317"/>
                    </a:lnTo>
                    <a:lnTo>
                      <a:pt x="26" y="318"/>
                    </a:lnTo>
                    <a:lnTo>
                      <a:pt x="26" y="319"/>
                    </a:lnTo>
                    <a:lnTo>
                      <a:pt x="27" y="318"/>
                    </a:lnTo>
                    <a:lnTo>
                      <a:pt x="27" y="317"/>
                    </a:lnTo>
                    <a:lnTo>
                      <a:pt x="28" y="317"/>
                    </a:lnTo>
                    <a:lnTo>
                      <a:pt x="29" y="316"/>
                    </a:lnTo>
                    <a:lnTo>
                      <a:pt x="29" y="315"/>
                    </a:lnTo>
                    <a:lnTo>
                      <a:pt x="28" y="314"/>
                    </a:lnTo>
                    <a:lnTo>
                      <a:pt x="29" y="314"/>
                    </a:lnTo>
                    <a:lnTo>
                      <a:pt x="30" y="314"/>
                    </a:lnTo>
                    <a:lnTo>
                      <a:pt x="30" y="312"/>
                    </a:lnTo>
                    <a:lnTo>
                      <a:pt x="29" y="312"/>
                    </a:lnTo>
                    <a:lnTo>
                      <a:pt x="29" y="311"/>
                    </a:lnTo>
                    <a:lnTo>
                      <a:pt x="30" y="311"/>
                    </a:lnTo>
                    <a:lnTo>
                      <a:pt x="30" y="310"/>
                    </a:lnTo>
                    <a:lnTo>
                      <a:pt x="30" y="309"/>
                    </a:lnTo>
                    <a:lnTo>
                      <a:pt x="29" y="309"/>
                    </a:lnTo>
                    <a:lnTo>
                      <a:pt x="30" y="308"/>
                    </a:lnTo>
                    <a:lnTo>
                      <a:pt x="29" y="307"/>
                    </a:lnTo>
                    <a:lnTo>
                      <a:pt x="28" y="307"/>
                    </a:lnTo>
                    <a:lnTo>
                      <a:pt x="27" y="307"/>
                    </a:lnTo>
                    <a:lnTo>
                      <a:pt x="26" y="306"/>
                    </a:lnTo>
                    <a:lnTo>
                      <a:pt x="26" y="305"/>
                    </a:lnTo>
                    <a:lnTo>
                      <a:pt x="26" y="304"/>
                    </a:lnTo>
                    <a:lnTo>
                      <a:pt x="26" y="303"/>
                    </a:lnTo>
                    <a:lnTo>
                      <a:pt x="25" y="303"/>
                    </a:lnTo>
                    <a:lnTo>
                      <a:pt x="25" y="302"/>
                    </a:lnTo>
                    <a:lnTo>
                      <a:pt x="24" y="301"/>
                    </a:lnTo>
                    <a:lnTo>
                      <a:pt x="23" y="301"/>
                    </a:lnTo>
                    <a:lnTo>
                      <a:pt x="23" y="299"/>
                    </a:lnTo>
                    <a:lnTo>
                      <a:pt x="21" y="299"/>
                    </a:lnTo>
                    <a:lnTo>
                      <a:pt x="21" y="269"/>
                    </a:lnTo>
                    <a:lnTo>
                      <a:pt x="21" y="257"/>
                    </a:lnTo>
                    <a:lnTo>
                      <a:pt x="21" y="224"/>
                    </a:lnTo>
                    <a:lnTo>
                      <a:pt x="21" y="205"/>
                    </a:lnTo>
                    <a:lnTo>
                      <a:pt x="21" y="198"/>
                    </a:lnTo>
                    <a:lnTo>
                      <a:pt x="21" y="185"/>
                    </a:lnTo>
                    <a:lnTo>
                      <a:pt x="21" y="180"/>
                    </a:lnTo>
                    <a:lnTo>
                      <a:pt x="21" y="152"/>
                    </a:lnTo>
                    <a:lnTo>
                      <a:pt x="21" y="115"/>
                    </a:lnTo>
                    <a:lnTo>
                      <a:pt x="21" y="92"/>
                    </a:lnTo>
                    <a:lnTo>
                      <a:pt x="21" y="89"/>
                    </a:lnTo>
                    <a:lnTo>
                      <a:pt x="21" y="84"/>
                    </a:lnTo>
                    <a:lnTo>
                      <a:pt x="21" y="79"/>
                    </a:lnTo>
                    <a:lnTo>
                      <a:pt x="21" y="76"/>
                    </a:lnTo>
                    <a:lnTo>
                      <a:pt x="32" y="75"/>
                    </a:lnTo>
                    <a:lnTo>
                      <a:pt x="44" y="74"/>
                    </a:lnTo>
                    <a:lnTo>
                      <a:pt x="43" y="74"/>
                    </a:lnTo>
                    <a:lnTo>
                      <a:pt x="44" y="74"/>
                    </a:lnTo>
                    <a:lnTo>
                      <a:pt x="44" y="73"/>
                    </a:lnTo>
                    <a:lnTo>
                      <a:pt x="45" y="74"/>
                    </a:lnTo>
                    <a:lnTo>
                      <a:pt x="45" y="73"/>
                    </a:lnTo>
                    <a:lnTo>
                      <a:pt x="46" y="73"/>
                    </a:lnTo>
                    <a:lnTo>
                      <a:pt x="48" y="73"/>
                    </a:lnTo>
                    <a:lnTo>
                      <a:pt x="48" y="72"/>
                    </a:lnTo>
                    <a:lnTo>
                      <a:pt x="48" y="73"/>
                    </a:lnTo>
                    <a:lnTo>
                      <a:pt x="49" y="73"/>
                    </a:lnTo>
                    <a:lnTo>
                      <a:pt x="49" y="72"/>
                    </a:lnTo>
                    <a:lnTo>
                      <a:pt x="50" y="72"/>
                    </a:lnTo>
                    <a:lnTo>
                      <a:pt x="50" y="71"/>
                    </a:lnTo>
                    <a:lnTo>
                      <a:pt x="51" y="71"/>
                    </a:lnTo>
                    <a:lnTo>
                      <a:pt x="52" y="71"/>
                    </a:lnTo>
                    <a:lnTo>
                      <a:pt x="53" y="72"/>
                    </a:lnTo>
                    <a:lnTo>
                      <a:pt x="54" y="72"/>
                    </a:lnTo>
                    <a:lnTo>
                      <a:pt x="54" y="73"/>
                    </a:lnTo>
                    <a:lnTo>
                      <a:pt x="53" y="73"/>
                    </a:lnTo>
                    <a:lnTo>
                      <a:pt x="54" y="73"/>
                    </a:lnTo>
                    <a:lnTo>
                      <a:pt x="54" y="74"/>
                    </a:lnTo>
                    <a:lnTo>
                      <a:pt x="55" y="74"/>
                    </a:lnTo>
                    <a:lnTo>
                      <a:pt x="56" y="74"/>
                    </a:lnTo>
                    <a:lnTo>
                      <a:pt x="57" y="74"/>
                    </a:lnTo>
                    <a:lnTo>
                      <a:pt x="58" y="74"/>
                    </a:lnTo>
                    <a:lnTo>
                      <a:pt x="58" y="73"/>
                    </a:lnTo>
                    <a:lnTo>
                      <a:pt x="58" y="74"/>
                    </a:lnTo>
                    <a:lnTo>
                      <a:pt x="59" y="74"/>
                    </a:lnTo>
                    <a:lnTo>
                      <a:pt x="58" y="74"/>
                    </a:lnTo>
                    <a:lnTo>
                      <a:pt x="59" y="74"/>
                    </a:lnTo>
                    <a:lnTo>
                      <a:pt x="61" y="74"/>
                    </a:lnTo>
                    <a:lnTo>
                      <a:pt x="62" y="74"/>
                    </a:lnTo>
                    <a:lnTo>
                      <a:pt x="63" y="73"/>
                    </a:lnTo>
                    <a:lnTo>
                      <a:pt x="63" y="74"/>
                    </a:lnTo>
                    <a:lnTo>
                      <a:pt x="64" y="73"/>
                    </a:lnTo>
                    <a:lnTo>
                      <a:pt x="64" y="74"/>
                    </a:lnTo>
                    <a:lnTo>
                      <a:pt x="65" y="74"/>
                    </a:lnTo>
                    <a:lnTo>
                      <a:pt x="65" y="73"/>
                    </a:lnTo>
                    <a:lnTo>
                      <a:pt x="65" y="74"/>
                    </a:lnTo>
                    <a:lnTo>
                      <a:pt x="65" y="75"/>
                    </a:lnTo>
                    <a:lnTo>
                      <a:pt x="65" y="76"/>
                    </a:lnTo>
                    <a:lnTo>
                      <a:pt x="66" y="76"/>
                    </a:lnTo>
                    <a:lnTo>
                      <a:pt x="66" y="77"/>
                    </a:lnTo>
                    <a:lnTo>
                      <a:pt x="65" y="77"/>
                    </a:lnTo>
                    <a:lnTo>
                      <a:pt x="66" y="77"/>
                    </a:lnTo>
                    <a:lnTo>
                      <a:pt x="67" y="77"/>
                    </a:lnTo>
                    <a:lnTo>
                      <a:pt x="68" y="77"/>
                    </a:lnTo>
                    <a:lnTo>
                      <a:pt x="69" y="77"/>
                    </a:lnTo>
                    <a:lnTo>
                      <a:pt x="69" y="78"/>
                    </a:lnTo>
                    <a:lnTo>
                      <a:pt x="70" y="77"/>
                    </a:lnTo>
                    <a:lnTo>
                      <a:pt x="70" y="76"/>
                    </a:lnTo>
                    <a:lnTo>
                      <a:pt x="71" y="76"/>
                    </a:lnTo>
                    <a:lnTo>
                      <a:pt x="72" y="76"/>
                    </a:lnTo>
                    <a:lnTo>
                      <a:pt x="74" y="75"/>
                    </a:lnTo>
                    <a:lnTo>
                      <a:pt x="74" y="76"/>
                    </a:lnTo>
                    <a:lnTo>
                      <a:pt x="75" y="76"/>
                    </a:lnTo>
                    <a:lnTo>
                      <a:pt x="75" y="75"/>
                    </a:lnTo>
                    <a:lnTo>
                      <a:pt x="76" y="75"/>
                    </a:lnTo>
                    <a:lnTo>
                      <a:pt x="75" y="75"/>
                    </a:lnTo>
                    <a:lnTo>
                      <a:pt x="76" y="76"/>
                    </a:lnTo>
                    <a:lnTo>
                      <a:pt x="76" y="75"/>
                    </a:lnTo>
                    <a:lnTo>
                      <a:pt x="76" y="76"/>
                    </a:lnTo>
                    <a:lnTo>
                      <a:pt x="76" y="75"/>
                    </a:lnTo>
                    <a:lnTo>
                      <a:pt x="77" y="75"/>
                    </a:lnTo>
                    <a:lnTo>
                      <a:pt x="78" y="75"/>
                    </a:lnTo>
                    <a:lnTo>
                      <a:pt x="78" y="74"/>
                    </a:lnTo>
                    <a:lnTo>
                      <a:pt x="79" y="74"/>
                    </a:lnTo>
                    <a:lnTo>
                      <a:pt x="80" y="74"/>
                    </a:lnTo>
                    <a:lnTo>
                      <a:pt x="80" y="73"/>
                    </a:lnTo>
                    <a:lnTo>
                      <a:pt x="81" y="74"/>
                    </a:lnTo>
                    <a:lnTo>
                      <a:pt x="81" y="73"/>
                    </a:lnTo>
                    <a:lnTo>
                      <a:pt x="82" y="73"/>
                    </a:lnTo>
                    <a:lnTo>
                      <a:pt x="82" y="72"/>
                    </a:lnTo>
                    <a:lnTo>
                      <a:pt x="83" y="72"/>
                    </a:lnTo>
                    <a:lnTo>
                      <a:pt x="84" y="71"/>
                    </a:lnTo>
                    <a:lnTo>
                      <a:pt x="84" y="72"/>
                    </a:lnTo>
                    <a:lnTo>
                      <a:pt x="84" y="71"/>
                    </a:lnTo>
                    <a:lnTo>
                      <a:pt x="83" y="71"/>
                    </a:lnTo>
                    <a:lnTo>
                      <a:pt x="84" y="70"/>
                    </a:lnTo>
                    <a:lnTo>
                      <a:pt x="85" y="70"/>
                    </a:lnTo>
                    <a:lnTo>
                      <a:pt x="85" y="68"/>
                    </a:lnTo>
                    <a:lnTo>
                      <a:pt x="87" y="68"/>
                    </a:lnTo>
                    <a:lnTo>
                      <a:pt x="88" y="67"/>
                    </a:lnTo>
                    <a:lnTo>
                      <a:pt x="89" y="67"/>
                    </a:lnTo>
                    <a:lnTo>
                      <a:pt x="89" y="66"/>
                    </a:lnTo>
                    <a:lnTo>
                      <a:pt x="89" y="67"/>
                    </a:lnTo>
                    <a:lnTo>
                      <a:pt x="89" y="66"/>
                    </a:lnTo>
                    <a:lnTo>
                      <a:pt x="89" y="65"/>
                    </a:lnTo>
                    <a:lnTo>
                      <a:pt x="90" y="65"/>
                    </a:lnTo>
                    <a:lnTo>
                      <a:pt x="90" y="64"/>
                    </a:lnTo>
                    <a:lnTo>
                      <a:pt x="91" y="64"/>
                    </a:lnTo>
                    <a:lnTo>
                      <a:pt x="92" y="63"/>
                    </a:lnTo>
                    <a:lnTo>
                      <a:pt x="92" y="62"/>
                    </a:lnTo>
                    <a:lnTo>
                      <a:pt x="92" y="61"/>
                    </a:lnTo>
                    <a:lnTo>
                      <a:pt x="93" y="60"/>
                    </a:lnTo>
                    <a:lnTo>
                      <a:pt x="93" y="59"/>
                    </a:lnTo>
                    <a:lnTo>
                      <a:pt x="93" y="60"/>
                    </a:lnTo>
                    <a:lnTo>
                      <a:pt x="92" y="59"/>
                    </a:lnTo>
                    <a:lnTo>
                      <a:pt x="93" y="59"/>
                    </a:lnTo>
                    <a:lnTo>
                      <a:pt x="93" y="58"/>
                    </a:lnTo>
                    <a:lnTo>
                      <a:pt x="93" y="57"/>
                    </a:lnTo>
                    <a:lnTo>
                      <a:pt x="93" y="55"/>
                    </a:lnTo>
                    <a:lnTo>
                      <a:pt x="94" y="55"/>
                    </a:lnTo>
                    <a:lnTo>
                      <a:pt x="94" y="54"/>
                    </a:lnTo>
                    <a:lnTo>
                      <a:pt x="94" y="53"/>
                    </a:lnTo>
                    <a:lnTo>
                      <a:pt x="93" y="53"/>
                    </a:lnTo>
                    <a:lnTo>
                      <a:pt x="93" y="52"/>
                    </a:lnTo>
                    <a:lnTo>
                      <a:pt x="93" y="51"/>
                    </a:lnTo>
                    <a:lnTo>
                      <a:pt x="93" y="50"/>
                    </a:lnTo>
                    <a:lnTo>
                      <a:pt x="93" y="49"/>
                    </a:lnTo>
                    <a:lnTo>
                      <a:pt x="92" y="48"/>
                    </a:lnTo>
                    <a:lnTo>
                      <a:pt x="92" y="47"/>
                    </a:lnTo>
                    <a:lnTo>
                      <a:pt x="92" y="46"/>
                    </a:lnTo>
                    <a:lnTo>
                      <a:pt x="92" y="45"/>
                    </a:lnTo>
                    <a:lnTo>
                      <a:pt x="93" y="44"/>
                    </a:lnTo>
                    <a:lnTo>
                      <a:pt x="92" y="44"/>
                    </a:lnTo>
                    <a:lnTo>
                      <a:pt x="92" y="42"/>
                    </a:lnTo>
                    <a:lnTo>
                      <a:pt x="92" y="41"/>
                    </a:lnTo>
                    <a:lnTo>
                      <a:pt x="93" y="40"/>
                    </a:lnTo>
                    <a:lnTo>
                      <a:pt x="93" y="39"/>
                    </a:lnTo>
                    <a:lnTo>
                      <a:pt x="93" y="38"/>
                    </a:lnTo>
                    <a:lnTo>
                      <a:pt x="93" y="37"/>
                    </a:lnTo>
                    <a:lnTo>
                      <a:pt x="93" y="36"/>
                    </a:lnTo>
                    <a:lnTo>
                      <a:pt x="94" y="35"/>
                    </a:lnTo>
                    <a:lnTo>
                      <a:pt x="95" y="36"/>
                    </a:lnTo>
                    <a:lnTo>
                      <a:pt x="96" y="36"/>
                    </a:lnTo>
                    <a:lnTo>
                      <a:pt x="97" y="36"/>
                    </a:lnTo>
                    <a:lnTo>
                      <a:pt x="98" y="35"/>
                    </a:lnTo>
                    <a:lnTo>
                      <a:pt x="100" y="34"/>
                    </a:lnTo>
                    <a:lnTo>
                      <a:pt x="101" y="33"/>
                    </a:lnTo>
                    <a:lnTo>
                      <a:pt x="100" y="32"/>
                    </a:lnTo>
                    <a:lnTo>
                      <a:pt x="101" y="32"/>
                    </a:lnTo>
                    <a:lnTo>
                      <a:pt x="102" y="32"/>
                    </a:lnTo>
                    <a:lnTo>
                      <a:pt x="105" y="33"/>
                    </a:lnTo>
                    <a:lnTo>
                      <a:pt x="106" y="33"/>
                    </a:lnTo>
                    <a:lnTo>
                      <a:pt x="108" y="32"/>
                    </a:lnTo>
                    <a:lnTo>
                      <a:pt x="109" y="29"/>
                    </a:lnTo>
                    <a:lnTo>
                      <a:pt x="110" y="28"/>
                    </a:lnTo>
                    <a:lnTo>
                      <a:pt x="111" y="27"/>
                    </a:lnTo>
                    <a:lnTo>
                      <a:pt x="113" y="27"/>
                    </a:lnTo>
                    <a:lnTo>
                      <a:pt x="114" y="27"/>
                    </a:lnTo>
                    <a:lnTo>
                      <a:pt x="115" y="26"/>
                    </a:lnTo>
                    <a:lnTo>
                      <a:pt x="116" y="26"/>
                    </a:lnTo>
                    <a:lnTo>
                      <a:pt x="117" y="26"/>
                    </a:lnTo>
                    <a:lnTo>
                      <a:pt x="117" y="25"/>
                    </a:lnTo>
                    <a:lnTo>
                      <a:pt x="118" y="25"/>
                    </a:lnTo>
                    <a:lnTo>
                      <a:pt x="117" y="24"/>
                    </a:lnTo>
                    <a:lnTo>
                      <a:pt x="118" y="24"/>
                    </a:lnTo>
                    <a:lnTo>
                      <a:pt x="118" y="23"/>
                    </a:lnTo>
                    <a:lnTo>
                      <a:pt x="119" y="23"/>
                    </a:lnTo>
                    <a:lnTo>
                      <a:pt x="120" y="23"/>
                    </a:lnTo>
                    <a:lnTo>
                      <a:pt x="120" y="24"/>
                    </a:lnTo>
                    <a:lnTo>
                      <a:pt x="120" y="23"/>
                    </a:lnTo>
                    <a:lnTo>
                      <a:pt x="121" y="23"/>
                    </a:lnTo>
                    <a:lnTo>
                      <a:pt x="121" y="22"/>
                    </a:lnTo>
                    <a:lnTo>
                      <a:pt x="122" y="22"/>
                    </a:lnTo>
                    <a:lnTo>
                      <a:pt x="123" y="22"/>
                    </a:lnTo>
                    <a:lnTo>
                      <a:pt x="124" y="22"/>
                    </a:lnTo>
                    <a:lnTo>
                      <a:pt x="124" y="21"/>
                    </a:lnTo>
                    <a:lnTo>
                      <a:pt x="126" y="21"/>
                    </a:lnTo>
                    <a:lnTo>
                      <a:pt x="128" y="21"/>
                    </a:lnTo>
                    <a:lnTo>
                      <a:pt x="128" y="20"/>
                    </a:lnTo>
                    <a:lnTo>
                      <a:pt x="129" y="20"/>
                    </a:lnTo>
                    <a:lnTo>
                      <a:pt x="130" y="20"/>
                    </a:lnTo>
                    <a:lnTo>
                      <a:pt x="131" y="20"/>
                    </a:lnTo>
                    <a:lnTo>
                      <a:pt x="131" y="19"/>
                    </a:lnTo>
                    <a:lnTo>
                      <a:pt x="132" y="19"/>
                    </a:lnTo>
                    <a:lnTo>
                      <a:pt x="133" y="19"/>
                    </a:lnTo>
                    <a:lnTo>
                      <a:pt x="133" y="18"/>
                    </a:lnTo>
                    <a:lnTo>
                      <a:pt x="133" y="16"/>
                    </a:lnTo>
                    <a:lnTo>
                      <a:pt x="134" y="16"/>
                    </a:lnTo>
                    <a:lnTo>
                      <a:pt x="134" y="15"/>
                    </a:lnTo>
                    <a:lnTo>
                      <a:pt x="134" y="14"/>
                    </a:lnTo>
                    <a:lnTo>
                      <a:pt x="135" y="14"/>
                    </a:lnTo>
                    <a:lnTo>
                      <a:pt x="135" y="13"/>
                    </a:lnTo>
                    <a:lnTo>
                      <a:pt x="135" y="12"/>
                    </a:lnTo>
                    <a:lnTo>
                      <a:pt x="136" y="11"/>
                    </a:lnTo>
                    <a:lnTo>
                      <a:pt x="136" y="10"/>
                    </a:lnTo>
                    <a:lnTo>
                      <a:pt x="137" y="9"/>
                    </a:lnTo>
                    <a:lnTo>
                      <a:pt x="137" y="8"/>
                    </a:lnTo>
                    <a:lnTo>
                      <a:pt x="136" y="8"/>
                    </a:lnTo>
                    <a:lnTo>
                      <a:pt x="136" y="7"/>
                    </a:lnTo>
                    <a:lnTo>
                      <a:pt x="137" y="7"/>
                    </a:lnTo>
                    <a:lnTo>
                      <a:pt x="137" y="6"/>
                    </a:lnTo>
                    <a:lnTo>
                      <a:pt x="139" y="6"/>
                    </a:lnTo>
                    <a:lnTo>
                      <a:pt x="139" y="5"/>
                    </a:lnTo>
                    <a:lnTo>
                      <a:pt x="140" y="5"/>
                    </a:lnTo>
                    <a:lnTo>
                      <a:pt x="141" y="5"/>
                    </a:lnTo>
                    <a:lnTo>
                      <a:pt x="142" y="5"/>
                    </a:lnTo>
                    <a:lnTo>
                      <a:pt x="143" y="5"/>
                    </a:lnTo>
                    <a:lnTo>
                      <a:pt x="144" y="3"/>
                    </a:lnTo>
                    <a:lnTo>
                      <a:pt x="145" y="3"/>
                    </a:lnTo>
                    <a:lnTo>
                      <a:pt x="146" y="3"/>
                    </a:lnTo>
                    <a:lnTo>
                      <a:pt x="147" y="2"/>
                    </a:lnTo>
                    <a:lnTo>
                      <a:pt x="148" y="2"/>
                    </a:lnTo>
                    <a:lnTo>
                      <a:pt x="149" y="1"/>
                    </a:lnTo>
                    <a:lnTo>
                      <a:pt x="149" y="0"/>
                    </a:lnTo>
                    <a:lnTo>
                      <a:pt x="150" y="0"/>
                    </a:lnTo>
                    <a:lnTo>
                      <a:pt x="152" y="0"/>
                    </a:lnTo>
                    <a:lnTo>
                      <a:pt x="152" y="1"/>
                    </a:lnTo>
                    <a:lnTo>
                      <a:pt x="153" y="1"/>
                    </a:lnTo>
                    <a:lnTo>
                      <a:pt x="153" y="0"/>
                    </a:lnTo>
                    <a:lnTo>
                      <a:pt x="154" y="0"/>
                    </a:lnTo>
                    <a:lnTo>
                      <a:pt x="155" y="1"/>
                    </a:lnTo>
                    <a:lnTo>
                      <a:pt x="155" y="2"/>
                    </a:lnTo>
                    <a:lnTo>
                      <a:pt x="156" y="2"/>
                    </a:lnTo>
                    <a:lnTo>
                      <a:pt x="156" y="1"/>
                    </a:lnTo>
                    <a:lnTo>
                      <a:pt x="157" y="1"/>
                    </a:lnTo>
                    <a:lnTo>
                      <a:pt x="157" y="3"/>
                    </a:lnTo>
                    <a:lnTo>
                      <a:pt x="156" y="3"/>
                    </a:lnTo>
                    <a:lnTo>
                      <a:pt x="156" y="5"/>
                    </a:lnTo>
                    <a:lnTo>
                      <a:pt x="157" y="5"/>
                    </a:lnTo>
                    <a:lnTo>
                      <a:pt x="158" y="5"/>
                    </a:lnTo>
                    <a:lnTo>
                      <a:pt x="158" y="3"/>
                    </a:lnTo>
                    <a:lnTo>
                      <a:pt x="159" y="5"/>
                    </a:lnTo>
                    <a:lnTo>
                      <a:pt x="158" y="6"/>
                    </a:lnTo>
                    <a:lnTo>
                      <a:pt x="158" y="7"/>
                    </a:lnTo>
                    <a:lnTo>
                      <a:pt x="159" y="7"/>
                    </a:lnTo>
                    <a:lnTo>
                      <a:pt x="160" y="7"/>
                    </a:lnTo>
                    <a:lnTo>
                      <a:pt x="160" y="8"/>
                    </a:lnTo>
                    <a:lnTo>
                      <a:pt x="162" y="8"/>
                    </a:lnTo>
                    <a:lnTo>
                      <a:pt x="162" y="9"/>
                    </a:lnTo>
                    <a:lnTo>
                      <a:pt x="163" y="9"/>
                    </a:lnTo>
                    <a:lnTo>
                      <a:pt x="163" y="8"/>
                    </a:lnTo>
                    <a:lnTo>
                      <a:pt x="165" y="8"/>
                    </a:lnTo>
                    <a:lnTo>
                      <a:pt x="166" y="7"/>
                    </a:lnTo>
                    <a:lnTo>
                      <a:pt x="167" y="8"/>
                    </a:lnTo>
                    <a:lnTo>
                      <a:pt x="168" y="9"/>
                    </a:lnTo>
                    <a:lnTo>
                      <a:pt x="167" y="9"/>
                    </a:lnTo>
                    <a:lnTo>
                      <a:pt x="167" y="10"/>
                    </a:lnTo>
                    <a:lnTo>
                      <a:pt x="167" y="11"/>
                    </a:lnTo>
                    <a:lnTo>
                      <a:pt x="168" y="12"/>
                    </a:lnTo>
                    <a:lnTo>
                      <a:pt x="169" y="12"/>
                    </a:lnTo>
                    <a:lnTo>
                      <a:pt x="170" y="12"/>
                    </a:lnTo>
                    <a:lnTo>
                      <a:pt x="170" y="13"/>
                    </a:lnTo>
                    <a:lnTo>
                      <a:pt x="171" y="13"/>
                    </a:lnTo>
                    <a:lnTo>
                      <a:pt x="172" y="13"/>
                    </a:lnTo>
                    <a:lnTo>
                      <a:pt x="173" y="13"/>
                    </a:lnTo>
                    <a:lnTo>
                      <a:pt x="174" y="13"/>
                    </a:lnTo>
                    <a:lnTo>
                      <a:pt x="175" y="13"/>
                    </a:lnTo>
                    <a:lnTo>
                      <a:pt x="177" y="13"/>
                    </a:lnTo>
                    <a:lnTo>
                      <a:pt x="177" y="14"/>
                    </a:lnTo>
                    <a:lnTo>
                      <a:pt x="178" y="14"/>
                    </a:lnTo>
                    <a:lnTo>
                      <a:pt x="179" y="14"/>
                    </a:lnTo>
                    <a:lnTo>
                      <a:pt x="179" y="15"/>
                    </a:lnTo>
                    <a:lnTo>
                      <a:pt x="179" y="16"/>
                    </a:lnTo>
                    <a:lnTo>
                      <a:pt x="179" y="18"/>
                    </a:lnTo>
                    <a:lnTo>
                      <a:pt x="179" y="19"/>
                    </a:lnTo>
                    <a:lnTo>
                      <a:pt x="178" y="19"/>
                    </a:lnTo>
                    <a:lnTo>
                      <a:pt x="178" y="20"/>
                    </a:lnTo>
                    <a:lnTo>
                      <a:pt x="177" y="20"/>
                    </a:lnTo>
                    <a:lnTo>
                      <a:pt x="177" y="21"/>
                    </a:lnTo>
                    <a:lnTo>
                      <a:pt x="177" y="22"/>
                    </a:lnTo>
                    <a:lnTo>
                      <a:pt x="177" y="23"/>
                    </a:lnTo>
                    <a:lnTo>
                      <a:pt x="178" y="23"/>
                    </a:lnTo>
                    <a:lnTo>
                      <a:pt x="179" y="23"/>
                    </a:lnTo>
                    <a:lnTo>
                      <a:pt x="180" y="22"/>
                    </a:lnTo>
                    <a:lnTo>
                      <a:pt x="181" y="22"/>
                    </a:lnTo>
                    <a:lnTo>
                      <a:pt x="182" y="21"/>
                    </a:lnTo>
                    <a:lnTo>
                      <a:pt x="184" y="21"/>
                    </a:lnTo>
                    <a:lnTo>
                      <a:pt x="185" y="21"/>
                    </a:lnTo>
                    <a:lnTo>
                      <a:pt x="186" y="21"/>
                    </a:lnTo>
                    <a:lnTo>
                      <a:pt x="186" y="22"/>
                    </a:lnTo>
                    <a:lnTo>
                      <a:pt x="187" y="22"/>
                    </a:lnTo>
                    <a:lnTo>
                      <a:pt x="188" y="22"/>
                    </a:lnTo>
                    <a:lnTo>
                      <a:pt x="188" y="23"/>
                    </a:lnTo>
                    <a:lnTo>
                      <a:pt x="188" y="24"/>
                    </a:lnTo>
                    <a:lnTo>
                      <a:pt x="186" y="25"/>
                    </a:lnTo>
                    <a:lnTo>
                      <a:pt x="186" y="27"/>
                    </a:lnTo>
                    <a:lnTo>
                      <a:pt x="185" y="27"/>
                    </a:lnTo>
                    <a:lnTo>
                      <a:pt x="194" y="27"/>
                    </a:lnTo>
                    <a:lnTo>
                      <a:pt x="195" y="26"/>
                    </a:lnTo>
                    <a:lnTo>
                      <a:pt x="212" y="26"/>
                    </a:lnTo>
                    <a:lnTo>
                      <a:pt x="216" y="26"/>
                    </a:lnTo>
                    <a:close/>
                  </a:path>
                </a:pathLst>
              </a:custGeom>
              <a:solidFill>
                <a:srgbClr val="12529D"/>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2" name="Freeform 300">
                <a:extLst>
                  <a:ext uri="{FF2B5EF4-FFF2-40B4-BE49-F238E27FC236}">
                    <a16:creationId xmlns:a16="http://schemas.microsoft.com/office/drawing/2014/main" id="{F27DA2C3-2297-DAD7-C365-98C12F882DAB}"/>
                  </a:ext>
                </a:extLst>
              </p:cNvPr>
              <p:cNvSpPr>
                <a:spLocks/>
              </p:cNvSpPr>
              <p:nvPr/>
            </p:nvSpPr>
            <p:spPr bwMode="auto">
              <a:xfrm>
                <a:off x="2032001" y="3557588"/>
                <a:ext cx="531813" cy="538163"/>
              </a:xfrm>
              <a:custGeom>
                <a:avLst/>
                <a:gdLst>
                  <a:gd name="T0" fmla="*/ 326 w 335"/>
                  <a:gd name="T1" fmla="*/ 19 h 339"/>
                  <a:gd name="T2" fmla="*/ 326 w 335"/>
                  <a:gd name="T3" fmla="*/ 125 h 339"/>
                  <a:gd name="T4" fmla="*/ 326 w 335"/>
                  <a:gd name="T5" fmla="*/ 226 h 339"/>
                  <a:gd name="T6" fmla="*/ 330 w 335"/>
                  <a:gd name="T7" fmla="*/ 230 h 339"/>
                  <a:gd name="T8" fmla="*/ 332 w 335"/>
                  <a:gd name="T9" fmla="*/ 234 h 339"/>
                  <a:gd name="T10" fmla="*/ 335 w 335"/>
                  <a:gd name="T11" fmla="*/ 236 h 339"/>
                  <a:gd name="T12" fmla="*/ 335 w 335"/>
                  <a:gd name="T13" fmla="*/ 239 h 339"/>
                  <a:gd name="T14" fmla="*/ 334 w 335"/>
                  <a:gd name="T15" fmla="*/ 243 h 339"/>
                  <a:gd name="T16" fmla="*/ 331 w 335"/>
                  <a:gd name="T17" fmla="*/ 245 h 339"/>
                  <a:gd name="T18" fmla="*/ 329 w 335"/>
                  <a:gd name="T19" fmla="*/ 247 h 339"/>
                  <a:gd name="T20" fmla="*/ 330 w 335"/>
                  <a:gd name="T21" fmla="*/ 250 h 339"/>
                  <a:gd name="T22" fmla="*/ 330 w 335"/>
                  <a:gd name="T23" fmla="*/ 252 h 339"/>
                  <a:gd name="T24" fmla="*/ 325 w 335"/>
                  <a:gd name="T25" fmla="*/ 254 h 339"/>
                  <a:gd name="T26" fmla="*/ 324 w 335"/>
                  <a:gd name="T27" fmla="*/ 257 h 339"/>
                  <a:gd name="T28" fmla="*/ 324 w 335"/>
                  <a:gd name="T29" fmla="*/ 260 h 339"/>
                  <a:gd name="T30" fmla="*/ 322 w 335"/>
                  <a:gd name="T31" fmla="*/ 263 h 339"/>
                  <a:gd name="T32" fmla="*/ 319 w 335"/>
                  <a:gd name="T33" fmla="*/ 264 h 339"/>
                  <a:gd name="T34" fmla="*/ 315 w 335"/>
                  <a:gd name="T35" fmla="*/ 265 h 339"/>
                  <a:gd name="T36" fmla="*/ 312 w 335"/>
                  <a:gd name="T37" fmla="*/ 268 h 339"/>
                  <a:gd name="T38" fmla="*/ 313 w 335"/>
                  <a:gd name="T39" fmla="*/ 270 h 339"/>
                  <a:gd name="T40" fmla="*/ 310 w 335"/>
                  <a:gd name="T41" fmla="*/ 272 h 339"/>
                  <a:gd name="T42" fmla="*/ 313 w 335"/>
                  <a:gd name="T43" fmla="*/ 275 h 339"/>
                  <a:gd name="T44" fmla="*/ 315 w 335"/>
                  <a:gd name="T45" fmla="*/ 275 h 339"/>
                  <a:gd name="T46" fmla="*/ 316 w 335"/>
                  <a:gd name="T47" fmla="*/ 277 h 339"/>
                  <a:gd name="T48" fmla="*/ 316 w 335"/>
                  <a:gd name="T49" fmla="*/ 281 h 339"/>
                  <a:gd name="T50" fmla="*/ 315 w 335"/>
                  <a:gd name="T51" fmla="*/ 283 h 339"/>
                  <a:gd name="T52" fmla="*/ 311 w 335"/>
                  <a:gd name="T53" fmla="*/ 286 h 339"/>
                  <a:gd name="T54" fmla="*/ 311 w 335"/>
                  <a:gd name="T55" fmla="*/ 289 h 339"/>
                  <a:gd name="T56" fmla="*/ 309 w 335"/>
                  <a:gd name="T57" fmla="*/ 293 h 339"/>
                  <a:gd name="T58" fmla="*/ 281 w 335"/>
                  <a:gd name="T59" fmla="*/ 293 h 339"/>
                  <a:gd name="T60" fmla="*/ 233 w 335"/>
                  <a:gd name="T61" fmla="*/ 293 h 339"/>
                  <a:gd name="T62" fmla="*/ 218 w 335"/>
                  <a:gd name="T63" fmla="*/ 311 h 339"/>
                  <a:gd name="T64" fmla="*/ 207 w 335"/>
                  <a:gd name="T65" fmla="*/ 329 h 339"/>
                  <a:gd name="T66" fmla="*/ 166 w 335"/>
                  <a:gd name="T67" fmla="*/ 328 h 339"/>
                  <a:gd name="T68" fmla="*/ 135 w 335"/>
                  <a:gd name="T69" fmla="*/ 328 h 339"/>
                  <a:gd name="T70" fmla="*/ 102 w 335"/>
                  <a:gd name="T71" fmla="*/ 328 h 339"/>
                  <a:gd name="T72" fmla="*/ 72 w 335"/>
                  <a:gd name="T73" fmla="*/ 328 h 339"/>
                  <a:gd name="T74" fmla="*/ 40 w 335"/>
                  <a:gd name="T75" fmla="*/ 328 h 339"/>
                  <a:gd name="T76" fmla="*/ 12 w 335"/>
                  <a:gd name="T77" fmla="*/ 339 h 339"/>
                  <a:gd name="T78" fmla="*/ 0 w 335"/>
                  <a:gd name="T79" fmla="*/ 318 h 339"/>
                  <a:gd name="T80" fmla="*/ 0 w 335"/>
                  <a:gd name="T81" fmla="*/ 225 h 339"/>
                  <a:gd name="T82" fmla="*/ 6 w 335"/>
                  <a:gd name="T83" fmla="*/ 216 h 339"/>
                  <a:gd name="T84" fmla="*/ 51 w 335"/>
                  <a:gd name="T85" fmla="*/ 215 h 339"/>
                  <a:gd name="T86" fmla="*/ 62 w 335"/>
                  <a:gd name="T87" fmla="*/ 215 h 339"/>
                  <a:gd name="T88" fmla="*/ 93 w 335"/>
                  <a:gd name="T89" fmla="*/ 194 h 339"/>
                  <a:gd name="T90" fmla="*/ 95 w 335"/>
                  <a:gd name="T91" fmla="*/ 131 h 339"/>
                  <a:gd name="T92" fmla="*/ 95 w 335"/>
                  <a:gd name="T93" fmla="*/ 106 h 339"/>
                  <a:gd name="T94" fmla="*/ 95 w 335"/>
                  <a:gd name="T95" fmla="*/ 52 h 339"/>
                  <a:gd name="T96" fmla="*/ 93 w 335"/>
                  <a:gd name="T97" fmla="*/ 17 h 339"/>
                  <a:gd name="T98" fmla="*/ 153 w 335"/>
                  <a:gd name="T99" fmla="*/ 16 h 339"/>
                  <a:gd name="T100" fmla="*/ 188 w 335"/>
                  <a:gd name="T101" fmla="*/ 17 h 339"/>
                  <a:gd name="T102" fmla="*/ 188 w 335"/>
                  <a:gd name="T103" fmla="*/ 12 h 339"/>
                  <a:gd name="T104" fmla="*/ 209 w 335"/>
                  <a:gd name="T105" fmla="*/ 7 h 339"/>
                  <a:gd name="T106" fmla="*/ 251 w 335"/>
                  <a:gd name="T107" fmla="*/ 3 h 339"/>
                  <a:gd name="T108" fmla="*/ 272 w 335"/>
                  <a:gd name="T109" fmla="*/ 0 h 339"/>
                  <a:gd name="T110" fmla="*/ 326 w 335"/>
                  <a:gd name="T11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5" h="339">
                    <a:moveTo>
                      <a:pt x="326" y="3"/>
                    </a:moveTo>
                    <a:lnTo>
                      <a:pt x="326" y="6"/>
                    </a:lnTo>
                    <a:lnTo>
                      <a:pt x="326" y="11"/>
                    </a:lnTo>
                    <a:lnTo>
                      <a:pt x="326" y="16"/>
                    </a:lnTo>
                    <a:lnTo>
                      <a:pt x="326" y="19"/>
                    </a:lnTo>
                    <a:lnTo>
                      <a:pt x="326" y="42"/>
                    </a:lnTo>
                    <a:lnTo>
                      <a:pt x="326" y="79"/>
                    </a:lnTo>
                    <a:lnTo>
                      <a:pt x="326" y="107"/>
                    </a:lnTo>
                    <a:lnTo>
                      <a:pt x="326" y="112"/>
                    </a:lnTo>
                    <a:lnTo>
                      <a:pt x="326" y="125"/>
                    </a:lnTo>
                    <a:lnTo>
                      <a:pt x="326" y="132"/>
                    </a:lnTo>
                    <a:lnTo>
                      <a:pt x="326" y="151"/>
                    </a:lnTo>
                    <a:lnTo>
                      <a:pt x="326" y="184"/>
                    </a:lnTo>
                    <a:lnTo>
                      <a:pt x="326" y="196"/>
                    </a:lnTo>
                    <a:lnTo>
                      <a:pt x="326" y="226"/>
                    </a:lnTo>
                    <a:lnTo>
                      <a:pt x="328" y="226"/>
                    </a:lnTo>
                    <a:lnTo>
                      <a:pt x="328" y="228"/>
                    </a:lnTo>
                    <a:lnTo>
                      <a:pt x="329" y="228"/>
                    </a:lnTo>
                    <a:lnTo>
                      <a:pt x="330" y="229"/>
                    </a:lnTo>
                    <a:lnTo>
                      <a:pt x="330" y="230"/>
                    </a:lnTo>
                    <a:lnTo>
                      <a:pt x="331" y="230"/>
                    </a:lnTo>
                    <a:lnTo>
                      <a:pt x="331" y="231"/>
                    </a:lnTo>
                    <a:lnTo>
                      <a:pt x="331" y="232"/>
                    </a:lnTo>
                    <a:lnTo>
                      <a:pt x="331" y="233"/>
                    </a:lnTo>
                    <a:lnTo>
                      <a:pt x="332" y="234"/>
                    </a:lnTo>
                    <a:lnTo>
                      <a:pt x="333" y="234"/>
                    </a:lnTo>
                    <a:lnTo>
                      <a:pt x="334" y="234"/>
                    </a:lnTo>
                    <a:lnTo>
                      <a:pt x="335" y="235"/>
                    </a:lnTo>
                    <a:lnTo>
                      <a:pt x="334" y="236"/>
                    </a:lnTo>
                    <a:lnTo>
                      <a:pt x="335" y="236"/>
                    </a:lnTo>
                    <a:lnTo>
                      <a:pt x="335" y="237"/>
                    </a:lnTo>
                    <a:lnTo>
                      <a:pt x="335" y="238"/>
                    </a:lnTo>
                    <a:lnTo>
                      <a:pt x="334" y="238"/>
                    </a:lnTo>
                    <a:lnTo>
                      <a:pt x="334" y="239"/>
                    </a:lnTo>
                    <a:lnTo>
                      <a:pt x="335" y="239"/>
                    </a:lnTo>
                    <a:lnTo>
                      <a:pt x="335" y="241"/>
                    </a:lnTo>
                    <a:lnTo>
                      <a:pt x="334" y="241"/>
                    </a:lnTo>
                    <a:lnTo>
                      <a:pt x="333" y="241"/>
                    </a:lnTo>
                    <a:lnTo>
                      <a:pt x="334" y="242"/>
                    </a:lnTo>
                    <a:lnTo>
                      <a:pt x="334" y="243"/>
                    </a:lnTo>
                    <a:lnTo>
                      <a:pt x="333" y="244"/>
                    </a:lnTo>
                    <a:lnTo>
                      <a:pt x="332" y="244"/>
                    </a:lnTo>
                    <a:lnTo>
                      <a:pt x="332" y="245"/>
                    </a:lnTo>
                    <a:lnTo>
                      <a:pt x="331" y="246"/>
                    </a:lnTo>
                    <a:lnTo>
                      <a:pt x="331" y="245"/>
                    </a:lnTo>
                    <a:lnTo>
                      <a:pt x="330" y="244"/>
                    </a:lnTo>
                    <a:lnTo>
                      <a:pt x="329" y="244"/>
                    </a:lnTo>
                    <a:lnTo>
                      <a:pt x="329" y="245"/>
                    </a:lnTo>
                    <a:lnTo>
                      <a:pt x="329" y="246"/>
                    </a:lnTo>
                    <a:lnTo>
                      <a:pt x="329" y="247"/>
                    </a:lnTo>
                    <a:lnTo>
                      <a:pt x="330" y="247"/>
                    </a:lnTo>
                    <a:lnTo>
                      <a:pt x="330" y="248"/>
                    </a:lnTo>
                    <a:lnTo>
                      <a:pt x="329" y="248"/>
                    </a:lnTo>
                    <a:lnTo>
                      <a:pt x="330" y="249"/>
                    </a:lnTo>
                    <a:lnTo>
                      <a:pt x="330" y="250"/>
                    </a:lnTo>
                    <a:lnTo>
                      <a:pt x="329" y="249"/>
                    </a:lnTo>
                    <a:lnTo>
                      <a:pt x="328" y="250"/>
                    </a:lnTo>
                    <a:lnTo>
                      <a:pt x="329" y="250"/>
                    </a:lnTo>
                    <a:lnTo>
                      <a:pt x="329" y="251"/>
                    </a:lnTo>
                    <a:lnTo>
                      <a:pt x="330" y="252"/>
                    </a:lnTo>
                    <a:lnTo>
                      <a:pt x="329" y="252"/>
                    </a:lnTo>
                    <a:lnTo>
                      <a:pt x="328" y="252"/>
                    </a:lnTo>
                    <a:lnTo>
                      <a:pt x="326" y="252"/>
                    </a:lnTo>
                    <a:lnTo>
                      <a:pt x="325" y="252"/>
                    </a:lnTo>
                    <a:lnTo>
                      <a:pt x="325" y="254"/>
                    </a:lnTo>
                    <a:lnTo>
                      <a:pt x="325" y="255"/>
                    </a:lnTo>
                    <a:lnTo>
                      <a:pt x="324" y="256"/>
                    </a:lnTo>
                    <a:lnTo>
                      <a:pt x="324" y="257"/>
                    </a:lnTo>
                    <a:lnTo>
                      <a:pt x="324" y="258"/>
                    </a:lnTo>
                    <a:lnTo>
                      <a:pt x="324" y="257"/>
                    </a:lnTo>
                    <a:lnTo>
                      <a:pt x="325" y="257"/>
                    </a:lnTo>
                    <a:lnTo>
                      <a:pt x="325" y="258"/>
                    </a:lnTo>
                    <a:lnTo>
                      <a:pt x="325" y="259"/>
                    </a:lnTo>
                    <a:lnTo>
                      <a:pt x="325" y="260"/>
                    </a:lnTo>
                    <a:lnTo>
                      <a:pt x="324" y="260"/>
                    </a:lnTo>
                    <a:lnTo>
                      <a:pt x="323" y="260"/>
                    </a:lnTo>
                    <a:lnTo>
                      <a:pt x="322" y="260"/>
                    </a:lnTo>
                    <a:lnTo>
                      <a:pt x="322" y="261"/>
                    </a:lnTo>
                    <a:lnTo>
                      <a:pt x="322" y="262"/>
                    </a:lnTo>
                    <a:lnTo>
                      <a:pt x="322" y="263"/>
                    </a:lnTo>
                    <a:lnTo>
                      <a:pt x="321" y="264"/>
                    </a:lnTo>
                    <a:lnTo>
                      <a:pt x="321" y="263"/>
                    </a:lnTo>
                    <a:lnTo>
                      <a:pt x="320" y="263"/>
                    </a:lnTo>
                    <a:lnTo>
                      <a:pt x="320" y="264"/>
                    </a:lnTo>
                    <a:lnTo>
                      <a:pt x="319" y="264"/>
                    </a:lnTo>
                    <a:lnTo>
                      <a:pt x="319" y="263"/>
                    </a:lnTo>
                    <a:lnTo>
                      <a:pt x="318" y="264"/>
                    </a:lnTo>
                    <a:lnTo>
                      <a:pt x="317" y="264"/>
                    </a:lnTo>
                    <a:lnTo>
                      <a:pt x="316" y="264"/>
                    </a:lnTo>
                    <a:lnTo>
                      <a:pt x="315" y="265"/>
                    </a:lnTo>
                    <a:lnTo>
                      <a:pt x="316" y="267"/>
                    </a:lnTo>
                    <a:lnTo>
                      <a:pt x="315" y="267"/>
                    </a:lnTo>
                    <a:lnTo>
                      <a:pt x="313" y="267"/>
                    </a:lnTo>
                    <a:lnTo>
                      <a:pt x="313" y="268"/>
                    </a:lnTo>
                    <a:lnTo>
                      <a:pt x="312" y="268"/>
                    </a:lnTo>
                    <a:lnTo>
                      <a:pt x="312" y="269"/>
                    </a:lnTo>
                    <a:lnTo>
                      <a:pt x="313" y="269"/>
                    </a:lnTo>
                    <a:lnTo>
                      <a:pt x="313" y="270"/>
                    </a:lnTo>
                    <a:lnTo>
                      <a:pt x="312" y="270"/>
                    </a:lnTo>
                    <a:lnTo>
                      <a:pt x="313" y="270"/>
                    </a:lnTo>
                    <a:lnTo>
                      <a:pt x="312" y="270"/>
                    </a:lnTo>
                    <a:lnTo>
                      <a:pt x="311" y="270"/>
                    </a:lnTo>
                    <a:lnTo>
                      <a:pt x="311" y="271"/>
                    </a:lnTo>
                    <a:lnTo>
                      <a:pt x="310" y="271"/>
                    </a:lnTo>
                    <a:lnTo>
                      <a:pt x="310" y="272"/>
                    </a:lnTo>
                    <a:lnTo>
                      <a:pt x="311" y="272"/>
                    </a:lnTo>
                    <a:lnTo>
                      <a:pt x="312" y="273"/>
                    </a:lnTo>
                    <a:lnTo>
                      <a:pt x="313" y="273"/>
                    </a:lnTo>
                    <a:lnTo>
                      <a:pt x="313" y="274"/>
                    </a:lnTo>
                    <a:lnTo>
                      <a:pt x="313" y="275"/>
                    </a:lnTo>
                    <a:lnTo>
                      <a:pt x="313" y="274"/>
                    </a:lnTo>
                    <a:lnTo>
                      <a:pt x="315" y="274"/>
                    </a:lnTo>
                    <a:lnTo>
                      <a:pt x="315" y="275"/>
                    </a:lnTo>
                    <a:lnTo>
                      <a:pt x="313" y="275"/>
                    </a:lnTo>
                    <a:lnTo>
                      <a:pt x="315" y="275"/>
                    </a:lnTo>
                    <a:lnTo>
                      <a:pt x="316" y="275"/>
                    </a:lnTo>
                    <a:lnTo>
                      <a:pt x="316" y="276"/>
                    </a:lnTo>
                    <a:lnTo>
                      <a:pt x="315" y="276"/>
                    </a:lnTo>
                    <a:lnTo>
                      <a:pt x="315" y="277"/>
                    </a:lnTo>
                    <a:lnTo>
                      <a:pt x="316" y="277"/>
                    </a:lnTo>
                    <a:lnTo>
                      <a:pt x="316" y="279"/>
                    </a:lnTo>
                    <a:lnTo>
                      <a:pt x="315" y="280"/>
                    </a:lnTo>
                    <a:lnTo>
                      <a:pt x="316" y="280"/>
                    </a:lnTo>
                    <a:lnTo>
                      <a:pt x="317" y="280"/>
                    </a:lnTo>
                    <a:lnTo>
                      <a:pt x="316" y="281"/>
                    </a:lnTo>
                    <a:lnTo>
                      <a:pt x="315" y="281"/>
                    </a:lnTo>
                    <a:lnTo>
                      <a:pt x="315" y="282"/>
                    </a:lnTo>
                    <a:lnTo>
                      <a:pt x="313" y="282"/>
                    </a:lnTo>
                    <a:lnTo>
                      <a:pt x="313" y="283"/>
                    </a:lnTo>
                    <a:lnTo>
                      <a:pt x="315" y="283"/>
                    </a:lnTo>
                    <a:lnTo>
                      <a:pt x="315" y="284"/>
                    </a:lnTo>
                    <a:lnTo>
                      <a:pt x="313" y="284"/>
                    </a:lnTo>
                    <a:lnTo>
                      <a:pt x="312" y="284"/>
                    </a:lnTo>
                    <a:lnTo>
                      <a:pt x="311" y="285"/>
                    </a:lnTo>
                    <a:lnTo>
                      <a:pt x="311" y="286"/>
                    </a:lnTo>
                    <a:lnTo>
                      <a:pt x="311" y="287"/>
                    </a:lnTo>
                    <a:lnTo>
                      <a:pt x="310" y="287"/>
                    </a:lnTo>
                    <a:lnTo>
                      <a:pt x="310" y="288"/>
                    </a:lnTo>
                    <a:lnTo>
                      <a:pt x="311" y="288"/>
                    </a:lnTo>
                    <a:lnTo>
                      <a:pt x="311" y="289"/>
                    </a:lnTo>
                    <a:lnTo>
                      <a:pt x="310" y="289"/>
                    </a:lnTo>
                    <a:lnTo>
                      <a:pt x="310" y="290"/>
                    </a:lnTo>
                    <a:lnTo>
                      <a:pt x="310" y="292"/>
                    </a:lnTo>
                    <a:lnTo>
                      <a:pt x="309" y="292"/>
                    </a:lnTo>
                    <a:lnTo>
                      <a:pt x="309" y="293"/>
                    </a:lnTo>
                    <a:lnTo>
                      <a:pt x="308" y="293"/>
                    </a:lnTo>
                    <a:lnTo>
                      <a:pt x="307" y="293"/>
                    </a:lnTo>
                    <a:lnTo>
                      <a:pt x="307" y="294"/>
                    </a:lnTo>
                    <a:lnTo>
                      <a:pt x="290" y="293"/>
                    </a:lnTo>
                    <a:lnTo>
                      <a:pt x="281" y="293"/>
                    </a:lnTo>
                    <a:lnTo>
                      <a:pt x="260" y="293"/>
                    </a:lnTo>
                    <a:lnTo>
                      <a:pt x="259" y="294"/>
                    </a:lnTo>
                    <a:lnTo>
                      <a:pt x="258" y="294"/>
                    </a:lnTo>
                    <a:lnTo>
                      <a:pt x="255" y="293"/>
                    </a:lnTo>
                    <a:lnTo>
                      <a:pt x="233" y="293"/>
                    </a:lnTo>
                    <a:lnTo>
                      <a:pt x="229" y="293"/>
                    </a:lnTo>
                    <a:lnTo>
                      <a:pt x="224" y="293"/>
                    </a:lnTo>
                    <a:lnTo>
                      <a:pt x="218" y="293"/>
                    </a:lnTo>
                    <a:lnTo>
                      <a:pt x="218" y="298"/>
                    </a:lnTo>
                    <a:lnTo>
                      <a:pt x="218" y="311"/>
                    </a:lnTo>
                    <a:lnTo>
                      <a:pt x="218" y="312"/>
                    </a:lnTo>
                    <a:lnTo>
                      <a:pt x="218" y="321"/>
                    </a:lnTo>
                    <a:lnTo>
                      <a:pt x="218" y="329"/>
                    </a:lnTo>
                    <a:lnTo>
                      <a:pt x="209" y="329"/>
                    </a:lnTo>
                    <a:lnTo>
                      <a:pt x="207" y="329"/>
                    </a:lnTo>
                    <a:lnTo>
                      <a:pt x="204" y="329"/>
                    </a:lnTo>
                    <a:lnTo>
                      <a:pt x="194" y="329"/>
                    </a:lnTo>
                    <a:lnTo>
                      <a:pt x="187" y="328"/>
                    </a:lnTo>
                    <a:lnTo>
                      <a:pt x="176" y="328"/>
                    </a:lnTo>
                    <a:lnTo>
                      <a:pt x="166" y="328"/>
                    </a:lnTo>
                    <a:lnTo>
                      <a:pt x="155" y="328"/>
                    </a:lnTo>
                    <a:lnTo>
                      <a:pt x="151" y="329"/>
                    </a:lnTo>
                    <a:lnTo>
                      <a:pt x="147" y="328"/>
                    </a:lnTo>
                    <a:lnTo>
                      <a:pt x="141" y="328"/>
                    </a:lnTo>
                    <a:lnTo>
                      <a:pt x="135" y="328"/>
                    </a:lnTo>
                    <a:lnTo>
                      <a:pt x="123" y="328"/>
                    </a:lnTo>
                    <a:lnTo>
                      <a:pt x="121" y="328"/>
                    </a:lnTo>
                    <a:lnTo>
                      <a:pt x="118" y="328"/>
                    </a:lnTo>
                    <a:lnTo>
                      <a:pt x="104" y="328"/>
                    </a:lnTo>
                    <a:lnTo>
                      <a:pt x="102" y="328"/>
                    </a:lnTo>
                    <a:lnTo>
                      <a:pt x="97" y="329"/>
                    </a:lnTo>
                    <a:lnTo>
                      <a:pt x="92" y="329"/>
                    </a:lnTo>
                    <a:lnTo>
                      <a:pt x="92" y="328"/>
                    </a:lnTo>
                    <a:lnTo>
                      <a:pt x="80" y="328"/>
                    </a:lnTo>
                    <a:lnTo>
                      <a:pt x="72" y="328"/>
                    </a:lnTo>
                    <a:lnTo>
                      <a:pt x="61" y="328"/>
                    </a:lnTo>
                    <a:lnTo>
                      <a:pt x="50" y="328"/>
                    </a:lnTo>
                    <a:lnTo>
                      <a:pt x="49" y="328"/>
                    </a:lnTo>
                    <a:lnTo>
                      <a:pt x="45" y="328"/>
                    </a:lnTo>
                    <a:lnTo>
                      <a:pt x="40" y="328"/>
                    </a:lnTo>
                    <a:lnTo>
                      <a:pt x="40" y="331"/>
                    </a:lnTo>
                    <a:lnTo>
                      <a:pt x="40" y="338"/>
                    </a:lnTo>
                    <a:lnTo>
                      <a:pt x="37" y="338"/>
                    </a:lnTo>
                    <a:lnTo>
                      <a:pt x="23" y="338"/>
                    </a:lnTo>
                    <a:lnTo>
                      <a:pt x="12" y="339"/>
                    </a:lnTo>
                    <a:lnTo>
                      <a:pt x="9" y="339"/>
                    </a:lnTo>
                    <a:lnTo>
                      <a:pt x="3" y="339"/>
                    </a:lnTo>
                    <a:lnTo>
                      <a:pt x="0" y="339"/>
                    </a:lnTo>
                    <a:lnTo>
                      <a:pt x="0" y="319"/>
                    </a:lnTo>
                    <a:lnTo>
                      <a:pt x="0" y="318"/>
                    </a:lnTo>
                    <a:lnTo>
                      <a:pt x="0" y="295"/>
                    </a:lnTo>
                    <a:lnTo>
                      <a:pt x="0" y="285"/>
                    </a:lnTo>
                    <a:lnTo>
                      <a:pt x="0" y="272"/>
                    </a:lnTo>
                    <a:lnTo>
                      <a:pt x="0" y="236"/>
                    </a:lnTo>
                    <a:lnTo>
                      <a:pt x="0" y="225"/>
                    </a:lnTo>
                    <a:lnTo>
                      <a:pt x="0" y="220"/>
                    </a:lnTo>
                    <a:lnTo>
                      <a:pt x="0" y="218"/>
                    </a:lnTo>
                    <a:lnTo>
                      <a:pt x="0" y="216"/>
                    </a:lnTo>
                    <a:lnTo>
                      <a:pt x="3" y="216"/>
                    </a:lnTo>
                    <a:lnTo>
                      <a:pt x="6" y="216"/>
                    </a:lnTo>
                    <a:lnTo>
                      <a:pt x="16" y="216"/>
                    </a:lnTo>
                    <a:lnTo>
                      <a:pt x="23" y="216"/>
                    </a:lnTo>
                    <a:lnTo>
                      <a:pt x="23" y="215"/>
                    </a:lnTo>
                    <a:lnTo>
                      <a:pt x="50" y="215"/>
                    </a:lnTo>
                    <a:lnTo>
                      <a:pt x="51" y="215"/>
                    </a:lnTo>
                    <a:lnTo>
                      <a:pt x="54" y="215"/>
                    </a:lnTo>
                    <a:lnTo>
                      <a:pt x="55" y="215"/>
                    </a:lnTo>
                    <a:lnTo>
                      <a:pt x="57" y="215"/>
                    </a:lnTo>
                    <a:lnTo>
                      <a:pt x="62" y="216"/>
                    </a:lnTo>
                    <a:lnTo>
                      <a:pt x="62" y="215"/>
                    </a:lnTo>
                    <a:lnTo>
                      <a:pt x="73" y="215"/>
                    </a:lnTo>
                    <a:lnTo>
                      <a:pt x="80" y="215"/>
                    </a:lnTo>
                    <a:lnTo>
                      <a:pt x="86" y="215"/>
                    </a:lnTo>
                    <a:lnTo>
                      <a:pt x="93" y="215"/>
                    </a:lnTo>
                    <a:lnTo>
                      <a:pt x="93" y="194"/>
                    </a:lnTo>
                    <a:lnTo>
                      <a:pt x="93" y="184"/>
                    </a:lnTo>
                    <a:lnTo>
                      <a:pt x="93" y="173"/>
                    </a:lnTo>
                    <a:lnTo>
                      <a:pt x="93" y="160"/>
                    </a:lnTo>
                    <a:lnTo>
                      <a:pt x="93" y="149"/>
                    </a:lnTo>
                    <a:lnTo>
                      <a:pt x="95" y="131"/>
                    </a:lnTo>
                    <a:lnTo>
                      <a:pt x="95" y="130"/>
                    </a:lnTo>
                    <a:lnTo>
                      <a:pt x="95" y="121"/>
                    </a:lnTo>
                    <a:lnTo>
                      <a:pt x="95" y="119"/>
                    </a:lnTo>
                    <a:lnTo>
                      <a:pt x="95" y="113"/>
                    </a:lnTo>
                    <a:lnTo>
                      <a:pt x="95" y="106"/>
                    </a:lnTo>
                    <a:lnTo>
                      <a:pt x="95" y="90"/>
                    </a:lnTo>
                    <a:lnTo>
                      <a:pt x="95" y="89"/>
                    </a:lnTo>
                    <a:lnTo>
                      <a:pt x="95" y="71"/>
                    </a:lnTo>
                    <a:lnTo>
                      <a:pt x="95" y="61"/>
                    </a:lnTo>
                    <a:lnTo>
                      <a:pt x="95" y="52"/>
                    </a:lnTo>
                    <a:lnTo>
                      <a:pt x="95" y="48"/>
                    </a:lnTo>
                    <a:lnTo>
                      <a:pt x="93" y="48"/>
                    </a:lnTo>
                    <a:lnTo>
                      <a:pt x="93" y="40"/>
                    </a:lnTo>
                    <a:lnTo>
                      <a:pt x="93" y="36"/>
                    </a:lnTo>
                    <a:lnTo>
                      <a:pt x="93" y="17"/>
                    </a:lnTo>
                    <a:lnTo>
                      <a:pt x="93" y="15"/>
                    </a:lnTo>
                    <a:lnTo>
                      <a:pt x="122" y="16"/>
                    </a:lnTo>
                    <a:lnTo>
                      <a:pt x="126" y="16"/>
                    </a:lnTo>
                    <a:lnTo>
                      <a:pt x="139" y="16"/>
                    </a:lnTo>
                    <a:lnTo>
                      <a:pt x="153" y="16"/>
                    </a:lnTo>
                    <a:lnTo>
                      <a:pt x="156" y="16"/>
                    </a:lnTo>
                    <a:lnTo>
                      <a:pt x="156" y="17"/>
                    </a:lnTo>
                    <a:lnTo>
                      <a:pt x="164" y="17"/>
                    </a:lnTo>
                    <a:lnTo>
                      <a:pt x="179" y="17"/>
                    </a:lnTo>
                    <a:lnTo>
                      <a:pt x="188" y="17"/>
                    </a:lnTo>
                    <a:lnTo>
                      <a:pt x="187" y="16"/>
                    </a:lnTo>
                    <a:lnTo>
                      <a:pt x="188" y="15"/>
                    </a:lnTo>
                    <a:lnTo>
                      <a:pt x="188" y="14"/>
                    </a:lnTo>
                    <a:lnTo>
                      <a:pt x="188" y="13"/>
                    </a:lnTo>
                    <a:lnTo>
                      <a:pt x="188" y="12"/>
                    </a:lnTo>
                    <a:lnTo>
                      <a:pt x="188" y="11"/>
                    </a:lnTo>
                    <a:lnTo>
                      <a:pt x="188" y="10"/>
                    </a:lnTo>
                    <a:lnTo>
                      <a:pt x="188" y="7"/>
                    </a:lnTo>
                    <a:lnTo>
                      <a:pt x="199" y="7"/>
                    </a:lnTo>
                    <a:lnTo>
                      <a:pt x="209" y="7"/>
                    </a:lnTo>
                    <a:lnTo>
                      <a:pt x="216" y="7"/>
                    </a:lnTo>
                    <a:lnTo>
                      <a:pt x="233" y="5"/>
                    </a:lnTo>
                    <a:lnTo>
                      <a:pt x="251" y="5"/>
                    </a:lnTo>
                    <a:lnTo>
                      <a:pt x="251" y="4"/>
                    </a:lnTo>
                    <a:lnTo>
                      <a:pt x="251" y="3"/>
                    </a:lnTo>
                    <a:lnTo>
                      <a:pt x="252" y="2"/>
                    </a:lnTo>
                    <a:lnTo>
                      <a:pt x="252" y="1"/>
                    </a:lnTo>
                    <a:lnTo>
                      <a:pt x="260" y="1"/>
                    </a:lnTo>
                    <a:lnTo>
                      <a:pt x="271" y="0"/>
                    </a:lnTo>
                    <a:lnTo>
                      <a:pt x="272" y="0"/>
                    </a:lnTo>
                    <a:lnTo>
                      <a:pt x="274" y="0"/>
                    </a:lnTo>
                    <a:lnTo>
                      <a:pt x="287" y="1"/>
                    </a:lnTo>
                    <a:lnTo>
                      <a:pt x="294" y="1"/>
                    </a:lnTo>
                    <a:lnTo>
                      <a:pt x="311" y="1"/>
                    </a:lnTo>
                    <a:lnTo>
                      <a:pt x="326" y="1"/>
                    </a:lnTo>
                    <a:lnTo>
                      <a:pt x="326" y="3"/>
                    </a:lnTo>
                    <a:close/>
                  </a:path>
                </a:pathLst>
              </a:custGeom>
              <a:solidFill>
                <a:srgbClr val="206FCA"/>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3" name="Freeform 301">
                <a:extLst>
                  <a:ext uri="{FF2B5EF4-FFF2-40B4-BE49-F238E27FC236}">
                    <a16:creationId xmlns:a16="http://schemas.microsoft.com/office/drawing/2014/main" id="{BE5E64EC-2588-41D1-B06C-D83BB97384D6}"/>
                  </a:ext>
                </a:extLst>
              </p:cNvPr>
              <p:cNvSpPr>
                <a:spLocks/>
              </p:cNvSpPr>
              <p:nvPr/>
            </p:nvSpPr>
            <p:spPr bwMode="auto">
              <a:xfrm>
                <a:off x="1438276" y="3575050"/>
                <a:ext cx="744538" cy="544513"/>
              </a:xfrm>
              <a:custGeom>
                <a:avLst/>
                <a:gdLst>
                  <a:gd name="T0" fmla="*/ 469 w 469"/>
                  <a:gd name="T1" fmla="*/ 95 h 343"/>
                  <a:gd name="T2" fmla="*/ 460 w 469"/>
                  <a:gd name="T3" fmla="*/ 204 h 343"/>
                  <a:gd name="T4" fmla="*/ 390 w 469"/>
                  <a:gd name="T5" fmla="*/ 205 h 343"/>
                  <a:gd name="T6" fmla="*/ 374 w 469"/>
                  <a:gd name="T7" fmla="*/ 308 h 343"/>
                  <a:gd name="T8" fmla="*/ 225 w 469"/>
                  <a:gd name="T9" fmla="*/ 343 h 343"/>
                  <a:gd name="T10" fmla="*/ 219 w 469"/>
                  <a:gd name="T11" fmla="*/ 281 h 343"/>
                  <a:gd name="T12" fmla="*/ 138 w 469"/>
                  <a:gd name="T13" fmla="*/ 343 h 343"/>
                  <a:gd name="T14" fmla="*/ 47 w 469"/>
                  <a:gd name="T15" fmla="*/ 343 h 343"/>
                  <a:gd name="T16" fmla="*/ 3 w 469"/>
                  <a:gd name="T17" fmla="*/ 340 h 343"/>
                  <a:gd name="T18" fmla="*/ 8 w 469"/>
                  <a:gd name="T19" fmla="*/ 335 h 343"/>
                  <a:gd name="T20" fmla="*/ 9 w 469"/>
                  <a:gd name="T21" fmla="*/ 327 h 343"/>
                  <a:gd name="T22" fmla="*/ 13 w 469"/>
                  <a:gd name="T23" fmla="*/ 328 h 343"/>
                  <a:gd name="T24" fmla="*/ 20 w 469"/>
                  <a:gd name="T25" fmla="*/ 323 h 343"/>
                  <a:gd name="T26" fmla="*/ 26 w 469"/>
                  <a:gd name="T27" fmla="*/ 316 h 343"/>
                  <a:gd name="T28" fmla="*/ 22 w 469"/>
                  <a:gd name="T29" fmla="*/ 311 h 343"/>
                  <a:gd name="T30" fmla="*/ 26 w 469"/>
                  <a:gd name="T31" fmla="*/ 302 h 343"/>
                  <a:gd name="T32" fmla="*/ 20 w 469"/>
                  <a:gd name="T33" fmla="*/ 292 h 343"/>
                  <a:gd name="T34" fmla="*/ 20 w 469"/>
                  <a:gd name="T35" fmla="*/ 285 h 343"/>
                  <a:gd name="T36" fmla="*/ 20 w 469"/>
                  <a:gd name="T37" fmla="*/ 275 h 343"/>
                  <a:gd name="T38" fmla="*/ 22 w 469"/>
                  <a:gd name="T39" fmla="*/ 269 h 343"/>
                  <a:gd name="T40" fmla="*/ 19 w 469"/>
                  <a:gd name="T41" fmla="*/ 261 h 343"/>
                  <a:gd name="T42" fmla="*/ 13 w 469"/>
                  <a:gd name="T43" fmla="*/ 257 h 343"/>
                  <a:gd name="T44" fmla="*/ 1 w 469"/>
                  <a:gd name="T45" fmla="*/ 245 h 343"/>
                  <a:gd name="T46" fmla="*/ 11 w 469"/>
                  <a:gd name="T47" fmla="*/ 230 h 343"/>
                  <a:gd name="T48" fmla="*/ 15 w 469"/>
                  <a:gd name="T49" fmla="*/ 219 h 343"/>
                  <a:gd name="T50" fmla="*/ 27 w 469"/>
                  <a:gd name="T51" fmla="*/ 208 h 343"/>
                  <a:gd name="T52" fmla="*/ 35 w 469"/>
                  <a:gd name="T53" fmla="*/ 209 h 343"/>
                  <a:gd name="T54" fmla="*/ 33 w 469"/>
                  <a:gd name="T55" fmla="*/ 195 h 343"/>
                  <a:gd name="T56" fmla="*/ 36 w 469"/>
                  <a:gd name="T57" fmla="*/ 182 h 343"/>
                  <a:gd name="T58" fmla="*/ 39 w 469"/>
                  <a:gd name="T59" fmla="*/ 171 h 343"/>
                  <a:gd name="T60" fmla="*/ 51 w 469"/>
                  <a:gd name="T61" fmla="*/ 157 h 343"/>
                  <a:gd name="T62" fmla="*/ 66 w 469"/>
                  <a:gd name="T63" fmla="*/ 147 h 343"/>
                  <a:gd name="T64" fmla="*/ 74 w 469"/>
                  <a:gd name="T65" fmla="*/ 134 h 343"/>
                  <a:gd name="T66" fmla="*/ 77 w 469"/>
                  <a:gd name="T67" fmla="*/ 120 h 343"/>
                  <a:gd name="T68" fmla="*/ 83 w 469"/>
                  <a:gd name="T69" fmla="*/ 118 h 343"/>
                  <a:gd name="T70" fmla="*/ 80 w 469"/>
                  <a:gd name="T71" fmla="*/ 112 h 343"/>
                  <a:gd name="T72" fmla="*/ 82 w 469"/>
                  <a:gd name="T73" fmla="*/ 110 h 343"/>
                  <a:gd name="T74" fmla="*/ 78 w 469"/>
                  <a:gd name="T75" fmla="*/ 99 h 343"/>
                  <a:gd name="T76" fmla="*/ 78 w 469"/>
                  <a:gd name="T77" fmla="*/ 90 h 343"/>
                  <a:gd name="T78" fmla="*/ 84 w 469"/>
                  <a:gd name="T79" fmla="*/ 85 h 343"/>
                  <a:gd name="T80" fmla="*/ 91 w 469"/>
                  <a:gd name="T81" fmla="*/ 82 h 343"/>
                  <a:gd name="T82" fmla="*/ 93 w 469"/>
                  <a:gd name="T83" fmla="*/ 69 h 343"/>
                  <a:gd name="T84" fmla="*/ 99 w 469"/>
                  <a:gd name="T85" fmla="*/ 58 h 343"/>
                  <a:gd name="T86" fmla="*/ 109 w 469"/>
                  <a:gd name="T87" fmla="*/ 48 h 343"/>
                  <a:gd name="T88" fmla="*/ 115 w 469"/>
                  <a:gd name="T89" fmla="*/ 37 h 343"/>
                  <a:gd name="T90" fmla="*/ 113 w 469"/>
                  <a:gd name="T91" fmla="*/ 22 h 343"/>
                  <a:gd name="T92" fmla="*/ 114 w 469"/>
                  <a:gd name="T93" fmla="*/ 6 h 343"/>
                  <a:gd name="T94" fmla="*/ 119 w 469"/>
                  <a:gd name="T95" fmla="*/ 5 h 343"/>
                  <a:gd name="T96" fmla="*/ 125 w 469"/>
                  <a:gd name="T97" fmla="*/ 2 h 343"/>
                  <a:gd name="T98" fmla="*/ 134 w 469"/>
                  <a:gd name="T99" fmla="*/ 5 h 343"/>
                  <a:gd name="T100" fmla="*/ 138 w 469"/>
                  <a:gd name="T101" fmla="*/ 8 h 343"/>
                  <a:gd name="T102" fmla="*/ 145 w 469"/>
                  <a:gd name="T103" fmla="*/ 11 h 343"/>
                  <a:gd name="T104" fmla="*/ 154 w 469"/>
                  <a:gd name="T105" fmla="*/ 13 h 343"/>
                  <a:gd name="T106" fmla="*/ 162 w 469"/>
                  <a:gd name="T107" fmla="*/ 18 h 343"/>
                  <a:gd name="T108" fmla="*/ 169 w 469"/>
                  <a:gd name="T109" fmla="*/ 13 h 343"/>
                  <a:gd name="T110" fmla="*/ 178 w 469"/>
                  <a:gd name="T111" fmla="*/ 9 h 343"/>
                  <a:gd name="T112" fmla="*/ 182 w 469"/>
                  <a:gd name="T113" fmla="*/ 7 h 343"/>
                  <a:gd name="T114" fmla="*/ 191 w 469"/>
                  <a:gd name="T115" fmla="*/ 3 h 343"/>
                  <a:gd name="T116" fmla="*/ 228 w 469"/>
                  <a:gd name="T117" fmla="*/ 1 h 343"/>
                  <a:gd name="T118" fmla="*/ 303 w 469"/>
                  <a:gd name="T119" fmla="*/ 1 h 343"/>
                  <a:gd name="T120" fmla="*/ 467 w 469"/>
                  <a:gd name="T121" fmla="*/ 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9" h="343">
                    <a:moveTo>
                      <a:pt x="467" y="4"/>
                    </a:moveTo>
                    <a:lnTo>
                      <a:pt x="467" y="6"/>
                    </a:lnTo>
                    <a:lnTo>
                      <a:pt x="467" y="25"/>
                    </a:lnTo>
                    <a:lnTo>
                      <a:pt x="467" y="29"/>
                    </a:lnTo>
                    <a:lnTo>
                      <a:pt x="467" y="37"/>
                    </a:lnTo>
                    <a:lnTo>
                      <a:pt x="469" y="37"/>
                    </a:lnTo>
                    <a:lnTo>
                      <a:pt x="469" y="41"/>
                    </a:lnTo>
                    <a:lnTo>
                      <a:pt x="469" y="50"/>
                    </a:lnTo>
                    <a:lnTo>
                      <a:pt x="469" y="60"/>
                    </a:lnTo>
                    <a:lnTo>
                      <a:pt x="469" y="78"/>
                    </a:lnTo>
                    <a:lnTo>
                      <a:pt x="469" y="79"/>
                    </a:lnTo>
                    <a:lnTo>
                      <a:pt x="469" y="95"/>
                    </a:lnTo>
                    <a:lnTo>
                      <a:pt x="469" y="102"/>
                    </a:lnTo>
                    <a:lnTo>
                      <a:pt x="469" y="108"/>
                    </a:lnTo>
                    <a:lnTo>
                      <a:pt x="469" y="110"/>
                    </a:lnTo>
                    <a:lnTo>
                      <a:pt x="469" y="119"/>
                    </a:lnTo>
                    <a:lnTo>
                      <a:pt x="469" y="120"/>
                    </a:lnTo>
                    <a:lnTo>
                      <a:pt x="467" y="138"/>
                    </a:lnTo>
                    <a:lnTo>
                      <a:pt x="467" y="149"/>
                    </a:lnTo>
                    <a:lnTo>
                      <a:pt x="467" y="162"/>
                    </a:lnTo>
                    <a:lnTo>
                      <a:pt x="467" y="173"/>
                    </a:lnTo>
                    <a:lnTo>
                      <a:pt x="467" y="183"/>
                    </a:lnTo>
                    <a:lnTo>
                      <a:pt x="467" y="204"/>
                    </a:lnTo>
                    <a:lnTo>
                      <a:pt x="460" y="204"/>
                    </a:lnTo>
                    <a:lnTo>
                      <a:pt x="454" y="204"/>
                    </a:lnTo>
                    <a:lnTo>
                      <a:pt x="447" y="204"/>
                    </a:lnTo>
                    <a:lnTo>
                      <a:pt x="436" y="204"/>
                    </a:lnTo>
                    <a:lnTo>
                      <a:pt x="436" y="205"/>
                    </a:lnTo>
                    <a:lnTo>
                      <a:pt x="431" y="204"/>
                    </a:lnTo>
                    <a:lnTo>
                      <a:pt x="429" y="204"/>
                    </a:lnTo>
                    <a:lnTo>
                      <a:pt x="428" y="204"/>
                    </a:lnTo>
                    <a:lnTo>
                      <a:pt x="425" y="204"/>
                    </a:lnTo>
                    <a:lnTo>
                      <a:pt x="424" y="204"/>
                    </a:lnTo>
                    <a:lnTo>
                      <a:pt x="397" y="204"/>
                    </a:lnTo>
                    <a:lnTo>
                      <a:pt x="397" y="205"/>
                    </a:lnTo>
                    <a:lnTo>
                      <a:pt x="390" y="205"/>
                    </a:lnTo>
                    <a:lnTo>
                      <a:pt x="380" y="205"/>
                    </a:lnTo>
                    <a:lnTo>
                      <a:pt x="377" y="205"/>
                    </a:lnTo>
                    <a:lnTo>
                      <a:pt x="374" y="205"/>
                    </a:lnTo>
                    <a:lnTo>
                      <a:pt x="374" y="207"/>
                    </a:lnTo>
                    <a:lnTo>
                      <a:pt x="374" y="209"/>
                    </a:lnTo>
                    <a:lnTo>
                      <a:pt x="374" y="214"/>
                    </a:lnTo>
                    <a:lnTo>
                      <a:pt x="374" y="225"/>
                    </a:lnTo>
                    <a:lnTo>
                      <a:pt x="374" y="261"/>
                    </a:lnTo>
                    <a:lnTo>
                      <a:pt x="374" y="274"/>
                    </a:lnTo>
                    <a:lnTo>
                      <a:pt x="374" y="284"/>
                    </a:lnTo>
                    <a:lnTo>
                      <a:pt x="374" y="307"/>
                    </a:lnTo>
                    <a:lnTo>
                      <a:pt x="374" y="308"/>
                    </a:lnTo>
                    <a:lnTo>
                      <a:pt x="374" y="328"/>
                    </a:lnTo>
                    <a:lnTo>
                      <a:pt x="374" y="342"/>
                    </a:lnTo>
                    <a:lnTo>
                      <a:pt x="369" y="342"/>
                    </a:lnTo>
                    <a:lnTo>
                      <a:pt x="361" y="342"/>
                    </a:lnTo>
                    <a:lnTo>
                      <a:pt x="311" y="342"/>
                    </a:lnTo>
                    <a:lnTo>
                      <a:pt x="304" y="342"/>
                    </a:lnTo>
                    <a:lnTo>
                      <a:pt x="301" y="342"/>
                    </a:lnTo>
                    <a:lnTo>
                      <a:pt x="291" y="342"/>
                    </a:lnTo>
                    <a:lnTo>
                      <a:pt x="285" y="342"/>
                    </a:lnTo>
                    <a:lnTo>
                      <a:pt x="261" y="342"/>
                    </a:lnTo>
                    <a:lnTo>
                      <a:pt x="250" y="342"/>
                    </a:lnTo>
                    <a:lnTo>
                      <a:pt x="225" y="343"/>
                    </a:lnTo>
                    <a:lnTo>
                      <a:pt x="218" y="343"/>
                    </a:lnTo>
                    <a:lnTo>
                      <a:pt x="218" y="340"/>
                    </a:lnTo>
                    <a:lnTo>
                      <a:pt x="218" y="334"/>
                    </a:lnTo>
                    <a:lnTo>
                      <a:pt x="218" y="322"/>
                    </a:lnTo>
                    <a:lnTo>
                      <a:pt x="218" y="318"/>
                    </a:lnTo>
                    <a:lnTo>
                      <a:pt x="218" y="312"/>
                    </a:lnTo>
                    <a:lnTo>
                      <a:pt x="218" y="311"/>
                    </a:lnTo>
                    <a:lnTo>
                      <a:pt x="219" y="309"/>
                    </a:lnTo>
                    <a:lnTo>
                      <a:pt x="219" y="302"/>
                    </a:lnTo>
                    <a:lnTo>
                      <a:pt x="219" y="301"/>
                    </a:lnTo>
                    <a:lnTo>
                      <a:pt x="219" y="291"/>
                    </a:lnTo>
                    <a:lnTo>
                      <a:pt x="219" y="281"/>
                    </a:lnTo>
                    <a:lnTo>
                      <a:pt x="209" y="281"/>
                    </a:lnTo>
                    <a:lnTo>
                      <a:pt x="198" y="281"/>
                    </a:lnTo>
                    <a:lnTo>
                      <a:pt x="187" y="281"/>
                    </a:lnTo>
                    <a:lnTo>
                      <a:pt x="156" y="281"/>
                    </a:lnTo>
                    <a:lnTo>
                      <a:pt x="156" y="291"/>
                    </a:lnTo>
                    <a:lnTo>
                      <a:pt x="156" y="305"/>
                    </a:lnTo>
                    <a:lnTo>
                      <a:pt x="156" y="311"/>
                    </a:lnTo>
                    <a:lnTo>
                      <a:pt x="156" y="329"/>
                    </a:lnTo>
                    <a:lnTo>
                      <a:pt x="156" y="343"/>
                    </a:lnTo>
                    <a:lnTo>
                      <a:pt x="148" y="343"/>
                    </a:lnTo>
                    <a:lnTo>
                      <a:pt x="139" y="343"/>
                    </a:lnTo>
                    <a:lnTo>
                      <a:pt x="138" y="343"/>
                    </a:lnTo>
                    <a:lnTo>
                      <a:pt x="136" y="343"/>
                    </a:lnTo>
                    <a:lnTo>
                      <a:pt x="135" y="343"/>
                    </a:lnTo>
                    <a:lnTo>
                      <a:pt x="132" y="343"/>
                    </a:lnTo>
                    <a:lnTo>
                      <a:pt x="119" y="343"/>
                    </a:lnTo>
                    <a:lnTo>
                      <a:pt x="113" y="342"/>
                    </a:lnTo>
                    <a:lnTo>
                      <a:pt x="97" y="342"/>
                    </a:lnTo>
                    <a:lnTo>
                      <a:pt x="91" y="342"/>
                    </a:lnTo>
                    <a:lnTo>
                      <a:pt x="82" y="342"/>
                    </a:lnTo>
                    <a:lnTo>
                      <a:pt x="73" y="343"/>
                    </a:lnTo>
                    <a:lnTo>
                      <a:pt x="60" y="343"/>
                    </a:lnTo>
                    <a:lnTo>
                      <a:pt x="52" y="343"/>
                    </a:lnTo>
                    <a:lnTo>
                      <a:pt x="47" y="343"/>
                    </a:lnTo>
                    <a:lnTo>
                      <a:pt x="44" y="342"/>
                    </a:lnTo>
                    <a:lnTo>
                      <a:pt x="43" y="343"/>
                    </a:lnTo>
                    <a:lnTo>
                      <a:pt x="40" y="342"/>
                    </a:lnTo>
                    <a:lnTo>
                      <a:pt x="34" y="343"/>
                    </a:lnTo>
                    <a:lnTo>
                      <a:pt x="30" y="343"/>
                    </a:lnTo>
                    <a:lnTo>
                      <a:pt x="23" y="343"/>
                    </a:lnTo>
                    <a:lnTo>
                      <a:pt x="0" y="343"/>
                    </a:lnTo>
                    <a:lnTo>
                      <a:pt x="0" y="342"/>
                    </a:lnTo>
                    <a:lnTo>
                      <a:pt x="1" y="342"/>
                    </a:lnTo>
                    <a:lnTo>
                      <a:pt x="2" y="342"/>
                    </a:lnTo>
                    <a:lnTo>
                      <a:pt x="2" y="341"/>
                    </a:lnTo>
                    <a:lnTo>
                      <a:pt x="3" y="340"/>
                    </a:lnTo>
                    <a:lnTo>
                      <a:pt x="3" y="339"/>
                    </a:lnTo>
                    <a:lnTo>
                      <a:pt x="5" y="339"/>
                    </a:lnTo>
                    <a:lnTo>
                      <a:pt x="5" y="338"/>
                    </a:lnTo>
                    <a:lnTo>
                      <a:pt x="5" y="337"/>
                    </a:lnTo>
                    <a:lnTo>
                      <a:pt x="5" y="336"/>
                    </a:lnTo>
                    <a:lnTo>
                      <a:pt x="5" y="335"/>
                    </a:lnTo>
                    <a:lnTo>
                      <a:pt x="6" y="334"/>
                    </a:lnTo>
                    <a:lnTo>
                      <a:pt x="6" y="335"/>
                    </a:lnTo>
                    <a:lnTo>
                      <a:pt x="7" y="335"/>
                    </a:lnTo>
                    <a:lnTo>
                      <a:pt x="7" y="336"/>
                    </a:lnTo>
                    <a:lnTo>
                      <a:pt x="8" y="336"/>
                    </a:lnTo>
                    <a:lnTo>
                      <a:pt x="8" y="335"/>
                    </a:lnTo>
                    <a:lnTo>
                      <a:pt x="9" y="335"/>
                    </a:lnTo>
                    <a:lnTo>
                      <a:pt x="9" y="333"/>
                    </a:lnTo>
                    <a:lnTo>
                      <a:pt x="9" y="331"/>
                    </a:lnTo>
                    <a:lnTo>
                      <a:pt x="9" y="330"/>
                    </a:lnTo>
                    <a:lnTo>
                      <a:pt x="10" y="330"/>
                    </a:lnTo>
                    <a:lnTo>
                      <a:pt x="11" y="330"/>
                    </a:lnTo>
                    <a:lnTo>
                      <a:pt x="12" y="330"/>
                    </a:lnTo>
                    <a:lnTo>
                      <a:pt x="12" y="329"/>
                    </a:lnTo>
                    <a:lnTo>
                      <a:pt x="11" y="329"/>
                    </a:lnTo>
                    <a:lnTo>
                      <a:pt x="10" y="328"/>
                    </a:lnTo>
                    <a:lnTo>
                      <a:pt x="9" y="328"/>
                    </a:lnTo>
                    <a:lnTo>
                      <a:pt x="9" y="327"/>
                    </a:lnTo>
                    <a:lnTo>
                      <a:pt x="9" y="326"/>
                    </a:lnTo>
                    <a:lnTo>
                      <a:pt x="9" y="325"/>
                    </a:lnTo>
                    <a:lnTo>
                      <a:pt x="9" y="324"/>
                    </a:lnTo>
                    <a:lnTo>
                      <a:pt x="10" y="323"/>
                    </a:lnTo>
                    <a:lnTo>
                      <a:pt x="10" y="322"/>
                    </a:lnTo>
                    <a:lnTo>
                      <a:pt x="11" y="322"/>
                    </a:lnTo>
                    <a:lnTo>
                      <a:pt x="12" y="322"/>
                    </a:lnTo>
                    <a:lnTo>
                      <a:pt x="12" y="323"/>
                    </a:lnTo>
                    <a:lnTo>
                      <a:pt x="12" y="324"/>
                    </a:lnTo>
                    <a:lnTo>
                      <a:pt x="12" y="325"/>
                    </a:lnTo>
                    <a:lnTo>
                      <a:pt x="13" y="326"/>
                    </a:lnTo>
                    <a:lnTo>
                      <a:pt x="13" y="328"/>
                    </a:lnTo>
                    <a:lnTo>
                      <a:pt x="14" y="328"/>
                    </a:lnTo>
                    <a:lnTo>
                      <a:pt x="15" y="328"/>
                    </a:lnTo>
                    <a:lnTo>
                      <a:pt x="15" y="326"/>
                    </a:lnTo>
                    <a:lnTo>
                      <a:pt x="15" y="325"/>
                    </a:lnTo>
                    <a:lnTo>
                      <a:pt x="15" y="324"/>
                    </a:lnTo>
                    <a:lnTo>
                      <a:pt x="17" y="324"/>
                    </a:lnTo>
                    <a:lnTo>
                      <a:pt x="18" y="323"/>
                    </a:lnTo>
                    <a:lnTo>
                      <a:pt x="18" y="322"/>
                    </a:lnTo>
                    <a:lnTo>
                      <a:pt x="18" y="321"/>
                    </a:lnTo>
                    <a:lnTo>
                      <a:pt x="19" y="321"/>
                    </a:lnTo>
                    <a:lnTo>
                      <a:pt x="19" y="322"/>
                    </a:lnTo>
                    <a:lnTo>
                      <a:pt x="20" y="323"/>
                    </a:lnTo>
                    <a:lnTo>
                      <a:pt x="21" y="323"/>
                    </a:lnTo>
                    <a:lnTo>
                      <a:pt x="22" y="324"/>
                    </a:lnTo>
                    <a:lnTo>
                      <a:pt x="23" y="324"/>
                    </a:lnTo>
                    <a:lnTo>
                      <a:pt x="24" y="324"/>
                    </a:lnTo>
                    <a:lnTo>
                      <a:pt x="24" y="323"/>
                    </a:lnTo>
                    <a:lnTo>
                      <a:pt x="23" y="322"/>
                    </a:lnTo>
                    <a:lnTo>
                      <a:pt x="23" y="321"/>
                    </a:lnTo>
                    <a:lnTo>
                      <a:pt x="23" y="320"/>
                    </a:lnTo>
                    <a:lnTo>
                      <a:pt x="24" y="320"/>
                    </a:lnTo>
                    <a:lnTo>
                      <a:pt x="26" y="318"/>
                    </a:lnTo>
                    <a:lnTo>
                      <a:pt x="26" y="317"/>
                    </a:lnTo>
                    <a:lnTo>
                      <a:pt x="26" y="316"/>
                    </a:lnTo>
                    <a:lnTo>
                      <a:pt x="27" y="316"/>
                    </a:lnTo>
                    <a:lnTo>
                      <a:pt x="27" y="314"/>
                    </a:lnTo>
                    <a:lnTo>
                      <a:pt x="26" y="313"/>
                    </a:lnTo>
                    <a:lnTo>
                      <a:pt x="26" y="312"/>
                    </a:lnTo>
                    <a:lnTo>
                      <a:pt x="25" y="313"/>
                    </a:lnTo>
                    <a:lnTo>
                      <a:pt x="23" y="313"/>
                    </a:lnTo>
                    <a:lnTo>
                      <a:pt x="23" y="314"/>
                    </a:lnTo>
                    <a:lnTo>
                      <a:pt x="22" y="314"/>
                    </a:lnTo>
                    <a:lnTo>
                      <a:pt x="22" y="313"/>
                    </a:lnTo>
                    <a:lnTo>
                      <a:pt x="21" y="313"/>
                    </a:lnTo>
                    <a:lnTo>
                      <a:pt x="21" y="312"/>
                    </a:lnTo>
                    <a:lnTo>
                      <a:pt x="22" y="311"/>
                    </a:lnTo>
                    <a:lnTo>
                      <a:pt x="23" y="311"/>
                    </a:lnTo>
                    <a:lnTo>
                      <a:pt x="24" y="310"/>
                    </a:lnTo>
                    <a:lnTo>
                      <a:pt x="24" y="309"/>
                    </a:lnTo>
                    <a:lnTo>
                      <a:pt x="22" y="307"/>
                    </a:lnTo>
                    <a:lnTo>
                      <a:pt x="22" y="305"/>
                    </a:lnTo>
                    <a:lnTo>
                      <a:pt x="21" y="305"/>
                    </a:lnTo>
                    <a:lnTo>
                      <a:pt x="22" y="304"/>
                    </a:lnTo>
                    <a:lnTo>
                      <a:pt x="22" y="303"/>
                    </a:lnTo>
                    <a:lnTo>
                      <a:pt x="23" y="303"/>
                    </a:lnTo>
                    <a:lnTo>
                      <a:pt x="25" y="303"/>
                    </a:lnTo>
                    <a:lnTo>
                      <a:pt x="26" y="303"/>
                    </a:lnTo>
                    <a:lnTo>
                      <a:pt x="26" y="302"/>
                    </a:lnTo>
                    <a:lnTo>
                      <a:pt x="25" y="302"/>
                    </a:lnTo>
                    <a:lnTo>
                      <a:pt x="24" y="301"/>
                    </a:lnTo>
                    <a:lnTo>
                      <a:pt x="24" y="300"/>
                    </a:lnTo>
                    <a:lnTo>
                      <a:pt x="23" y="299"/>
                    </a:lnTo>
                    <a:lnTo>
                      <a:pt x="22" y="298"/>
                    </a:lnTo>
                    <a:lnTo>
                      <a:pt x="21" y="298"/>
                    </a:lnTo>
                    <a:lnTo>
                      <a:pt x="21" y="297"/>
                    </a:lnTo>
                    <a:lnTo>
                      <a:pt x="19" y="296"/>
                    </a:lnTo>
                    <a:lnTo>
                      <a:pt x="19" y="295"/>
                    </a:lnTo>
                    <a:lnTo>
                      <a:pt x="18" y="295"/>
                    </a:lnTo>
                    <a:lnTo>
                      <a:pt x="19" y="292"/>
                    </a:lnTo>
                    <a:lnTo>
                      <a:pt x="20" y="292"/>
                    </a:lnTo>
                    <a:lnTo>
                      <a:pt x="20" y="291"/>
                    </a:lnTo>
                    <a:lnTo>
                      <a:pt x="19" y="290"/>
                    </a:lnTo>
                    <a:lnTo>
                      <a:pt x="18" y="289"/>
                    </a:lnTo>
                    <a:lnTo>
                      <a:pt x="17" y="288"/>
                    </a:lnTo>
                    <a:lnTo>
                      <a:pt x="15" y="287"/>
                    </a:lnTo>
                    <a:lnTo>
                      <a:pt x="15" y="286"/>
                    </a:lnTo>
                    <a:lnTo>
                      <a:pt x="15" y="285"/>
                    </a:lnTo>
                    <a:lnTo>
                      <a:pt x="17" y="285"/>
                    </a:lnTo>
                    <a:lnTo>
                      <a:pt x="18" y="285"/>
                    </a:lnTo>
                    <a:lnTo>
                      <a:pt x="19" y="286"/>
                    </a:lnTo>
                    <a:lnTo>
                      <a:pt x="20" y="286"/>
                    </a:lnTo>
                    <a:lnTo>
                      <a:pt x="20" y="285"/>
                    </a:lnTo>
                    <a:lnTo>
                      <a:pt x="20" y="284"/>
                    </a:lnTo>
                    <a:lnTo>
                      <a:pt x="19" y="284"/>
                    </a:lnTo>
                    <a:lnTo>
                      <a:pt x="18" y="282"/>
                    </a:lnTo>
                    <a:lnTo>
                      <a:pt x="17" y="281"/>
                    </a:lnTo>
                    <a:lnTo>
                      <a:pt x="17" y="279"/>
                    </a:lnTo>
                    <a:lnTo>
                      <a:pt x="15" y="278"/>
                    </a:lnTo>
                    <a:lnTo>
                      <a:pt x="15" y="277"/>
                    </a:lnTo>
                    <a:lnTo>
                      <a:pt x="17" y="276"/>
                    </a:lnTo>
                    <a:lnTo>
                      <a:pt x="17" y="275"/>
                    </a:lnTo>
                    <a:lnTo>
                      <a:pt x="18" y="275"/>
                    </a:lnTo>
                    <a:lnTo>
                      <a:pt x="19" y="275"/>
                    </a:lnTo>
                    <a:lnTo>
                      <a:pt x="20" y="275"/>
                    </a:lnTo>
                    <a:lnTo>
                      <a:pt x="20" y="274"/>
                    </a:lnTo>
                    <a:lnTo>
                      <a:pt x="20" y="273"/>
                    </a:lnTo>
                    <a:lnTo>
                      <a:pt x="19" y="273"/>
                    </a:lnTo>
                    <a:lnTo>
                      <a:pt x="18" y="273"/>
                    </a:lnTo>
                    <a:lnTo>
                      <a:pt x="17" y="273"/>
                    </a:lnTo>
                    <a:lnTo>
                      <a:pt x="17" y="272"/>
                    </a:lnTo>
                    <a:lnTo>
                      <a:pt x="18" y="272"/>
                    </a:lnTo>
                    <a:lnTo>
                      <a:pt x="19" y="271"/>
                    </a:lnTo>
                    <a:lnTo>
                      <a:pt x="20" y="270"/>
                    </a:lnTo>
                    <a:lnTo>
                      <a:pt x="20" y="269"/>
                    </a:lnTo>
                    <a:lnTo>
                      <a:pt x="21" y="269"/>
                    </a:lnTo>
                    <a:lnTo>
                      <a:pt x="22" y="269"/>
                    </a:lnTo>
                    <a:lnTo>
                      <a:pt x="22" y="268"/>
                    </a:lnTo>
                    <a:lnTo>
                      <a:pt x="22" y="266"/>
                    </a:lnTo>
                    <a:lnTo>
                      <a:pt x="21" y="266"/>
                    </a:lnTo>
                    <a:lnTo>
                      <a:pt x="21" y="265"/>
                    </a:lnTo>
                    <a:lnTo>
                      <a:pt x="21" y="266"/>
                    </a:lnTo>
                    <a:lnTo>
                      <a:pt x="20" y="266"/>
                    </a:lnTo>
                    <a:lnTo>
                      <a:pt x="19" y="266"/>
                    </a:lnTo>
                    <a:lnTo>
                      <a:pt x="19" y="265"/>
                    </a:lnTo>
                    <a:lnTo>
                      <a:pt x="19" y="264"/>
                    </a:lnTo>
                    <a:lnTo>
                      <a:pt x="20" y="264"/>
                    </a:lnTo>
                    <a:lnTo>
                      <a:pt x="19" y="262"/>
                    </a:lnTo>
                    <a:lnTo>
                      <a:pt x="19" y="261"/>
                    </a:lnTo>
                    <a:lnTo>
                      <a:pt x="20" y="260"/>
                    </a:lnTo>
                    <a:lnTo>
                      <a:pt x="21" y="259"/>
                    </a:lnTo>
                    <a:lnTo>
                      <a:pt x="20" y="259"/>
                    </a:lnTo>
                    <a:lnTo>
                      <a:pt x="19" y="259"/>
                    </a:lnTo>
                    <a:lnTo>
                      <a:pt x="19" y="260"/>
                    </a:lnTo>
                    <a:lnTo>
                      <a:pt x="18" y="261"/>
                    </a:lnTo>
                    <a:lnTo>
                      <a:pt x="17" y="261"/>
                    </a:lnTo>
                    <a:lnTo>
                      <a:pt x="15" y="260"/>
                    </a:lnTo>
                    <a:lnTo>
                      <a:pt x="14" y="260"/>
                    </a:lnTo>
                    <a:lnTo>
                      <a:pt x="14" y="259"/>
                    </a:lnTo>
                    <a:lnTo>
                      <a:pt x="14" y="258"/>
                    </a:lnTo>
                    <a:lnTo>
                      <a:pt x="13" y="257"/>
                    </a:lnTo>
                    <a:lnTo>
                      <a:pt x="12" y="257"/>
                    </a:lnTo>
                    <a:lnTo>
                      <a:pt x="11" y="256"/>
                    </a:lnTo>
                    <a:lnTo>
                      <a:pt x="10" y="256"/>
                    </a:lnTo>
                    <a:lnTo>
                      <a:pt x="9" y="256"/>
                    </a:lnTo>
                    <a:lnTo>
                      <a:pt x="8" y="254"/>
                    </a:lnTo>
                    <a:lnTo>
                      <a:pt x="6" y="252"/>
                    </a:lnTo>
                    <a:lnTo>
                      <a:pt x="5" y="251"/>
                    </a:lnTo>
                    <a:lnTo>
                      <a:pt x="6" y="248"/>
                    </a:lnTo>
                    <a:lnTo>
                      <a:pt x="2" y="247"/>
                    </a:lnTo>
                    <a:lnTo>
                      <a:pt x="1" y="247"/>
                    </a:lnTo>
                    <a:lnTo>
                      <a:pt x="1" y="246"/>
                    </a:lnTo>
                    <a:lnTo>
                      <a:pt x="1" y="245"/>
                    </a:lnTo>
                    <a:lnTo>
                      <a:pt x="5" y="244"/>
                    </a:lnTo>
                    <a:lnTo>
                      <a:pt x="8" y="241"/>
                    </a:lnTo>
                    <a:lnTo>
                      <a:pt x="8" y="240"/>
                    </a:lnTo>
                    <a:lnTo>
                      <a:pt x="7" y="238"/>
                    </a:lnTo>
                    <a:lnTo>
                      <a:pt x="7" y="237"/>
                    </a:lnTo>
                    <a:lnTo>
                      <a:pt x="7" y="236"/>
                    </a:lnTo>
                    <a:lnTo>
                      <a:pt x="7" y="235"/>
                    </a:lnTo>
                    <a:lnTo>
                      <a:pt x="8" y="234"/>
                    </a:lnTo>
                    <a:lnTo>
                      <a:pt x="10" y="233"/>
                    </a:lnTo>
                    <a:lnTo>
                      <a:pt x="11" y="232"/>
                    </a:lnTo>
                    <a:lnTo>
                      <a:pt x="11" y="231"/>
                    </a:lnTo>
                    <a:lnTo>
                      <a:pt x="11" y="230"/>
                    </a:lnTo>
                    <a:lnTo>
                      <a:pt x="10" y="228"/>
                    </a:lnTo>
                    <a:lnTo>
                      <a:pt x="9" y="227"/>
                    </a:lnTo>
                    <a:lnTo>
                      <a:pt x="9" y="226"/>
                    </a:lnTo>
                    <a:lnTo>
                      <a:pt x="9" y="225"/>
                    </a:lnTo>
                    <a:lnTo>
                      <a:pt x="10" y="224"/>
                    </a:lnTo>
                    <a:lnTo>
                      <a:pt x="9" y="222"/>
                    </a:lnTo>
                    <a:lnTo>
                      <a:pt x="8" y="222"/>
                    </a:lnTo>
                    <a:lnTo>
                      <a:pt x="9" y="221"/>
                    </a:lnTo>
                    <a:lnTo>
                      <a:pt x="12" y="217"/>
                    </a:lnTo>
                    <a:lnTo>
                      <a:pt x="13" y="217"/>
                    </a:lnTo>
                    <a:lnTo>
                      <a:pt x="14" y="218"/>
                    </a:lnTo>
                    <a:lnTo>
                      <a:pt x="15" y="219"/>
                    </a:lnTo>
                    <a:lnTo>
                      <a:pt x="15" y="218"/>
                    </a:lnTo>
                    <a:lnTo>
                      <a:pt x="17" y="218"/>
                    </a:lnTo>
                    <a:lnTo>
                      <a:pt x="17" y="217"/>
                    </a:lnTo>
                    <a:lnTo>
                      <a:pt x="18" y="212"/>
                    </a:lnTo>
                    <a:lnTo>
                      <a:pt x="18" y="211"/>
                    </a:lnTo>
                    <a:lnTo>
                      <a:pt x="19" y="210"/>
                    </a:lnTo>
                    <a:lnTo>
                      <a:pt x="22" y="211"/>
                    </a:lnTo>
                    <a:lnTo>
                      <a:pt x="23" y="211"/>
                    </a:lnTo>
                    <a:lnTo>
                      <a:pt x="24" y="211"/>
                    </a:lnTo>
                    <a:lnTo>
                      <a:pt x="25" y="209"/>
                    </a:lnTo>
                    <a:lnTo>
                      <a:pt x="25" y="208"/>
                    </a:lnTo>
                    <a:lnTo>
                      <a:pt x="27" y="208"/>
                    </a:lnTo>
                    <a:lnTo>
                      <a:pt x="28" y="207"/>
                    </a:lnTo>
                    <a:lnTo>
                      <a:pt x="30" y="207"/>
                    </a:lnTo>
                    <a:lnTo>
                      <a:pt x="31" y="207"/>
                    </a:lnTo>
                    <a:lnTo>
                      <a:pt x="32" y="208"/>
                    </a:lnTo>
                    <a:lnTo>
                      <a:pt x="33" y="208"/>
                    </a:lnTo>
                    <a:lnTo>
                      <a:pt x="33" y="209"/>
                    </a:lnTo>
                    <a:lnTo>
                      <a:pt x="33" y="210"/>
                    </a:lnTo>
                    <a:lnTo>
                      <a:pt x="31" y="212"/>
                    </a:lnTo>
                    <a:lnTo>
                      <a:pt x="31" y="213"/>
                    </a:lnTo>
                    <a:lnTo>
                      <a:pt x="34" y="212"/>
                    </a:lnTo>
                    <a:lnTo>
                      <a:pt x="35" y="212"/>
                    </a:lnTo>
                    <a:lnTo>
                      <a:pt x="35" y="209"/>
                    </a:lnTo>
                    <a:lnTo>
                      <a:pt x="35" y="208"/>
                    </a:lnTo>
                    <a:lnTo>
                      <a:pt x="36" y="207"/>
                    </a:lnTo>
                    <a:lnTo>
                      <a:pt x="38" y="207"/>
                    </a:lnTo>
                    <a:lnTo>
                      <a:pt x="38" y="204"/>
                    </a:lnTo>
                    <a:lnTo>
                      <a:pt x="38" y="202"/>
                    </a:lnTo>
                    <a:lnTo>
                      <a:pt x="37" y="200"/>
                    </a:lnTo>
                    <a:lnTo>
                      <a:pt x="36" y="199"/>
                    </a:lnTo>
                    <a:lnTo>
                      <a:pt x="36" y="198"/>
                    </a:lnTo>
                    <a:lnTo>
                      <a:pt x="36" y="197"/>
                    </a:lnTo>
                    <a:lnTo>
                      <a:pt x="35" y="196"/>
                    </a:lnTo>
                    <a:lnTo>
                      <a:pt x="34" y="196"/>
                    </a:lnTo>
                    <a:lnTo>
                      <a:pt x="33" y="195"/>
                    </a:lnTo>
                    <a:lnTo>
                      <a:pt x="32" y="195"/>
                    </a:lnTo>
                    <a:lnTo>
                      <a:pt x="32" y="194"/>
                    </a:lnTo>
                    <a:lnTo>
                      <a:pt x="33" y="194"/>
                    </a:lnTo>
                    <a:lnTo>
                      <a:pt x="34" y="193"/>
                    </a:lnTo>
                    <a:lnTo>
                      <a:pt x="34" y="192"/>
                    </a:lnTo>
                    <a:lnTo>
                      <a:pt x="34" y="191"/>
                    </a:lnTo>
                    <a:lnTo>
                      <a:pt x="36" y="189"/>
                    </a:lnTo>
                    <a:lnTo>
                      <a:pt x="37" y="188"/>
                    </a:lnTo>
                    <a:lnTo>
                      <a:pt x="37" y="187"/>
                    </a:lnTo>
                    <a:lnTo>
                      <a:pt x="35" y="185"/>
                    </a:lnTo>
                    <a:lnTo>
                      <a:pt x="35" y="184"/>
                    </a:lnTo>
                    <a:lnTo>
                      <a:pt x="36" y="182"/>
                    </a:lnTo>
                    <a:lnTo>
                      <a:pt x="36" y="181"/>
                    </a:lnTo>
                    <a:lnTo>
                      <a:pt x="35" y="181"/>
                    </a:lnTo>
                    <a:lnTo>
                      <a:pt x="35" y="180"/>
                    </a:lnTo>
                    <a:lnTo>
                      <a:pt x="36" y="180"/>
                    </a:lnTo>
                    <a:lnTo>
                      <a:pt x="37" y="179"/>
                    </a:lnTo>
                    <a:lnTo>
                      <a:pt x="37" y="178"/>
                    </a:lnTo>
                    <a:lnTo>
                      <a:pt x="37" y="176"/>
                    </a:lnTo>
                    <a:lnTo>
                      <a:pt x="36" y="174"/>
                    </a:lnTo>
                    <a:lnTo>
                      <a:pt x="36" y="173"/>
                    </a:lnTo>
                    <a:lnTo>
                      <a:pt x="37" y="172"/>
                    </a:lnTo>
                    <a:lnTo>
                      <a:pt x="38" y="171"/>
                    </a:lnTo>
                    <a:lnTo>
                      <a:pt x="39" y="171"/>
                    </a:lnTo>
                    <a:lnTo>
                      <a:pt x="41" y="168"/>
                    </a:lnTo>
                    <a:lnTo>
                      <a:pt x="41" y="166"/>
                    </a:lnTo>
                    <a:lnTo>
                      <a:pt x="43" y="166"/>
                    </a:lnTo>
                    <a:lnTo>
                      <a:pt x="44" y="164"/>
                    </a:lnTo>
                    <a:lnTo>
                      <a:pt x="44" y="162"/>
                    </a:lnTo>
                    <a:lnTo>
                      <a:pt x="44" y="161"/>
                    </a:lnTo>
                    <a:lnTo>
                      <a:pt x="45" y="160"/>
                    </a:lnTo>
                    <a:lnTo>
                      <a:pt x="47" y="159"/>
                    </a:lnTo>
                    <a:lnTo>
                      <a:pt x="48" y="159"/>
                    </a:lnTo>
                    <a:lnTo>
                      <a:pt x="49" y="159"/>
                    </a:lnTo>
                    <a:lnTo>
                      <a:pt x="50" y="158"/>
                    </a:lnTo>
                    <a:lnTo>
                      <a:pt x="51" y="157"/>
                    </a:lnTo>
                    <a:lnTo>
                      <a:pt x="52" y="154"/>
                    </a:lnTo>
                    <a:lnTo>
                      <a:pt x="53" y="153"/>
                    </a:lnTo>
                    <a:lnTo>
                      <a:pt x="54" y="153"/>
                    </a:lnTo>
                    <a:lnTo>
                      <a:pt x="56" y="153"/>
                    </a:lnTo>
                    <a:lnTo>
                      <a:pt x="58" y="154"/>
                    </a:lnTo>
                    <a:lnTo>
                      <a:pt x="59" y="151"/>
                    </a:lnTo>
                    <a:lnTo>
                      <a:pt x="59" y="150"/>
                    </a:lnTo>
                    <a:lnTo>
                      <a:pt x="60" y="150"/>
                    </a:lnTo>
                    <a:lnTo>
                      <a:pt x="63" y="150"/>
                    </a:lnTo>
                    <a:lnTo>
                      <a:pt x="64" y="149"/>
                    </a:lnTo>
                    <a:lnTo>
                      <a:pt x="65" y="148"/>
                    </a:lnTo>
                    <a:lnTo>
                      <a:pt x="66" y="147"/>
                    </a:lnTo>
                    <a:lnTo>
                      <a:pt x="67" y="147"/>
                    </a:lnTo>
                    <a:lnTo>
                      <a:pt x="69" y="146"/>
                    </a:lnTo>
                    <a:lnTo>
                      <a:pt x="70" y="143"/>
                    </a:lnTo>
                    <a:lnTo>
                      <a:pt x="70" y="142"/>
                    </a:lnTo>
                    <a:lnTo>
                      <a:pt x="70" y="141"/>
                    </a:lnTo>
                    <a:lnTo>
                      <a:pt x="71" y="141"/>
                    </a:lnTo>
                    <a:lnTo>
                      <a:pt x="71" y="140"/>
                    </a:lnTo>
                    <a:lnTo>
                      <a:pt x="72" y="138"/>
                    </a:lnTo>
                    <a:lnTo>
                      <a:pt x="73" y="137"/>
                    </a:lnTo>
                    <a:lnTo>
                      <a:pt x="74" y="136"/>
                    </a:lnTo>
                    <a:lnTo>
                      <a:pt x="74" y="135"/>
                    </a:lnTo>
                    <a:lnTo>
                      <a:pt x="74" y="134"/>
                    </a:lnTo>
                    <a:lnTo>
                      <a:pt x="73" y="133"/>
                    </a:lnTo>
                    <a:lnTo>
                      <a:pt x="72" y="132"/>
                    </a:lnTo>
                    <a:lnTo>
                      <a:pt x="72" y="131"/>
                    </a:lnTo>
                    <a:lnTo>
                      <a:pt x="73" y="130"/>
                    </a:lnTo>
                    <a:lnTo>
                      <a:pt x="74" y="129"/>
                    </a:lnTo>
                    <a:lnTo>
                      <a:pt x="74" y="128"/>
                    </a:lnTo>
                    <a:lnTo>
                      <a:pt x="75" y="128"/>
                    </a:lnTo>
                    <a:lnTo>
                      <a:pt x="74" y="127"/>
                    </a:lnTo>
                    <a:lnTo>
                      <a:pt x="75" y="125"/>
                    </a:lnTo>
                    <a:lnTo>
                      <a:pt x="76" y="122"/>
                    </a:lnTo>
                    <a:lnTo>
                      <a:pt x="77" y="121"/>
                    </a:lnTo>
                    <a:lnTo>
                      <a:pt x="77" y="120"/>
                    </a:lnTo>
                    <a:lnTo>
                      <a:pt x="76" y="119"/>
                    </a:lnTo>
                    <a:lnTo>
                      <a:pt x="76" y="118"/>
                    </a:lnTo>
                    <a:lnTo>
                      <a:pt x="77" y="118"/>
                    </a:lnTo>
                    <a:lnTo>
                      <a:pt x="78" y="118"/>
                    </a:lnTo>
                    <a:lnTo>
                      <a:pt x="78" y="119"/>
                    </a:lnTo>
                    <a:lnTo>
                      <a:pt x="79" y="119"/>
                    </a:lnTo>
                    <a:lnTo>
                      <a:pt x="80" y="119"/>
                    </a:lnTo>
                    <a:lnTo>
                      <a:pt x="82" y="119"/>
                    </a:lnTo>
                    <a:lnTo>
                      <a:pt x="82" y="120"/>
                    </a:lnTo>
                    <a:lnTo>
                      <a:pt x="83" y="120"/>
                    </a:lnTo>
                    <a:lnTo>
                      <a:pt x="84" y="119"/>
                    </a:lnTo>
                    <a:lnTo>
                      <a:pt x="83" y="118"/>
                    </a:lnTo>
                    <a:lnTo>
                      <a:pt x="82" y="118"/>
                    </a:lnTo>
                    <a:lnTo>
                      <a:pt x="82" y="117"/>
                    </a:lnTo>
                    <a:lnTo>
                      <a:pt x="80" y="117"/>
                    </a:lnTo>
                    <a:lnTo>
                      <a:pt x="79" y="117"/>
                    </a:lnTo>
                    <a:lnTo>
                      <a:pt x="78" y="116"/>
                    </a:lnTo>
                    <a:lnTo>
                      <a:pt x="78" y="115"/>
                    </a:lnTo>
                    <a:lnTo>
                      <a:pt x="79" y="116"/>
                    </a:lnTo>
                    <a:lnTo>
                      <a:pt x="80" y="116"/>
                    </a:lnTo>
                    <a:lnTo>
                      <a:pt x="80" y="115"/>
                    </a:lnTo>
                    <a:lnTo>
                      <a:pt x="82" y="115"/>
                    </a:lnTo>
                    <a:lnTo>
                      <a:pt x="82" y="114"/>
                    </a:lnTo>
                    <a:lnTo>
                      <a:pt x="80" y="112"/>
                    </a:lnTo>
                    <a:lnTo>
                      <a:pt x="80" y="111"/>
                    </a:lnTo>
                    <a:lnTo>
                      <a:pt x="80" y="112"/>
                    </a:lnTo>
                    <a:lnTo>
                      <a:pt x="79" y="112"/>
                    </a:lnTo>
                    <a:lnTo>
                      <a:pt x="77" y="112"/>
                    </a:lnTo>
                    <a:lnTo>
                      <a:pt x="76" y="111"/>
                    </a:lnTo>
                    <a:lnTo>
                      <a:pt x="76" y="110"/>
                    </a:lnTo>
                    <a:lnTo>
                      <a:pt x="77" y="110"/>
                    </a:lnTo>
                    <a:lnTo>
                      <a:pt x="78" y="110"/>
                    </a:lnTo>
                    <a:lnTo>
                      <a:pt x="79" y="111"/>
                    </a:lnTo>
                    <a:lnTo>
                      <a:pt x="80" y="111"/>
                    </a:lnTo>
                    <a:lnTo>
                      <a:pt x="80" y="110"/>
                    </a:lnTo>
                    <a:lnTo>
                      <a:pt x="82" y="110"/>
                    </a:lnTo>
                    <a:lnTo>
                      <a:pt x="82" y="109"/>
                    </a:lnTo>
                    <a:lnTo>
                      <a:pt x="80" y="108"/>
                    </a:lnTo>
                    <a:lnTo>
                      <a:pt x="80" y="107"/>
                    </a:lnTo>
                    <a:lnTo>
                      <a:pt x="79" y="106"/>
                    </a:lnTo>
                    <a:lnTo>
                      <a:pt x="79" y="105"/>
                    </a:lnTo>
                    <a:lnTo>
                      <a:pt x="77" y="105"/>
                    </a:lnTo>
                    <a:lnTo>
                      <a:pt x="76" y="104"/>
                    </a:lnTo>
                    <a:lnTo>
                      <a:pt x="75" y="103"/>
                    </a:lnTo>
                    <a:lnTo>
                      <a:pt x="75" y="102"/>
                    </a:lnTo>
                    <a:lnTo>
                      <a:pt x="76" y="101"/>
                    </a:lnTo>
                    <a:lnTo>
                      <a:pt x="77" y="99"/>
                    </a:lnTo>
                    <a:lnTo>
                      <a:pt x="78" y="99"/>
                    </a:lnTo>
                    <a:lnTo>
                      <a:pt x="80" y="99"/>
                    </a:lnTo>
                    <a:lnTo>
                      <a:pt x="82" y="98"/>
                    </a:lnTo>
                    <a:lnTo>
                      <a:pt x="82" y="97"/>
                    </a:lnTo>
                    <a:lnTo>
                      <a:pt x="82" y="96"/>
                    </a:lnTo>
                    <a:lnTo>
                      <a:pt x="80" y="95"/>
                    </a:lnTo>
                    <a:lnTo>
                      <a:pt x="79" y="94"/>
                    </a:lnTo>
                    <a:lnTo>
                      <a:pt x="79" y="93"/>
                    </a:lnTo>
                    <a:lnTo>
                      <a:pt x="78" y="93"/>
                    </a:lnTo>
                    <a:lnTo>
                      <a:pt x="78" y="92"/>
                    </a:lnTo>
                    <a:lnTo>
                      <a:pt x="77" y="92"/>
                    </a:lnTo>
                    <a:lnTo>
                      <a:pt x="77" y="91"/>
                    </a:lnTo>
                    <a:lnTo>
                      <a:pt x="78" y="90"/>
                    </a:lnTo>
                    <a:lnTo>
                      <a:pt x="78" y="89"/>
                    </a:lnTo>
                    <a:lnTo>
                      <a:pt x="79" y="87"/>
                    </a:lnTo>
                    <a:lnTo>
                      <a:pt x="79" y="89"/>
                    </a:lnTo>
                    <a:lnTo>
                      <a:pt x="80" y="91"/>
                    </a:lnTo>
                    <a:lnTo>
                      <a:pt x="82" y="91"/>
                    </a:lnTo>
                    <a:lnTo>
                      <a:pt x="83" y="91"/>
                    </a:lnTo>
                    <a:lnTo>
                      <a:pt x="83" y="90"/>
                    </a:lnTo>
                    <a:lnTo>
                      <a:pt x="83" y="89"/>
                    </a:lnTo>
                    <a:lnTo>
                      <a:pt x="83" y="87"/>
                    </a:lnTo>
                    <a:lnTo>
                      <a:pt x="83" y="86"/>
                    </a:lnTo>
                    <a:lnTo>
                      <a:pt x="83" y="85"/>
                    </a:lnTo>
                    <a:lnTo>
                      <a:pt x="84" y="85"/>
                    </a:lnTo>
                    <a:lnTo>
                      <a:pt x="84" y="86"/>
                    </a:lnTo>
                    <a:lnTo>
                      <a:pt x="84" y="87"/>
                    </a:lnTo>
                    <a:lnTo>
                      <a:pt x="84" y="89"/>
                    </a:lnTo>
                    <a:lnTo>
                      <a:pt x="85" y="89"/>
                    </a:lnTo>
                    <a:lnTo>
                      <a:pt x="86" y="89"/>
                    </a:lnTo>
                    <a:lnTo>
                      <a:pt x="87" y="87"/>
                    </a:lnTo>
                    <a:lnTo>
                      <a:pt x="88" y="86"/>
                    </a:lnTo>
                    <a:lnTo>
                      <a:pt x="90" y="86"/>
                    </a:lnTo>
                    <a:lnTo>
                      <a:pt x="91" y="85"/>
                    </a:lnTo>
                    <a:lnTo>
                      <a:pt x="92" y="84"/>
                    </a:lnTo>
                    <a:lnTo>
                      <a:pt x="92" y="83"/>
                    </a:lnTo>
                    <a:lnTo>
                      <a:pt x="91" y="82"/>
                    </a:lnTo>
                    <a:lnTo>
                      <a:pt x="91" y="80"/>
                    </a:lnTo>
                    <a:lnTo>
                      <a:pt x="91" y="78"/>
                    </a:lnTo>
                    <a:lnTo>
                      <a:pt x="91" y="77"/>
                    </a:lnTo>
                    <a:lnTo>
                      <a:pt x="93" y="76"/>
                    </a:lnTo>
                    <a:lnTo>
                      <a:pt x="95" y="76"/>
                    </a:lnTo>
                    <a:lnTo>
                      <a:pt x="97" y="76"/>
                    </a:lnTo>
                    <a:lnTo>
                      <a:pt x="97" y="74"/>
                    </a:lnTo>
                    <a:lnTo>
                      <a:pt x="97" y="73"/>
                    </a:lnTo>
                    <a:lnTo>
                      <a:pt x="95" y="72"/>
                    </a:lnTo>
                    <a:lnTo>
                      <a:pt x="93" y="71"/>
                    </a:lnTo>
                    <a:lnTo>
                      <a:pt x="93" y="70"/>
                    </a:lnTo>
                    <a:lnTo>
                      <a:pt x="93" y="69"/>
                    </a:lnTo>
                    <a:lnTo>
                      <a:pt x="95" y="69"/>
                    </a:lnTo>
                    <a:lnTo>
                      <a:pt x="97" y="69"/>
                    </a:lnTo>
                    <a:lnTo>
                      <a:pt x="98" y="68"/>
                    </a:lnTo>
                    <a:lnTo>
                      <a:pt x="98" y="67"/>
                    </a:lnTo>
                    <a:lnTo>
                      <a:pt x="98" y="66"/>
                    </a:lnTo>
                    <a:lnTo>
                      <a:pt x="97" y="65"/>
                    </a:lnTo>
                    <a:lnTo>
                      <a:pt x="97" y="63"/>
                    </a:lnTo>
                    <a:lnTo>
                      <a:pt x="97" y="60"/>
                    </a:lnTo>
                    <a:lnTo>
                      <a:pt x="97" y="59"/>
                    </a:lnTo>
                    <a:lnTo>
                      <a:pt x="97" y="58"/>
                    </a:lnTo>
                    <a:lnTo>
                      <a:pt x="98" y="58"/>
                    </a:lnTo>
                    <a:lnTo>
                      <a:pt x="99" y="58"/>
                    </a:lnTo>
                    <a:lnTo>
                      <a:pt x="100" y="58"/>
                    </a:lnTo>
                    <a:lnTo>
                      <a:pt x="102" y="59"/>
                    </a:lnTo>
                    <a:lnTo>
                      <a:pt x="103" y="58"/>
                    </a:lnTo>
                    <a:lnTo>
                      <a:pt x="105" y="58"/>
                    </a:lnTo>
                    <a:lnTo>
                      <a:pt x="108" y="57"/>
                    </a:lnTo>
                    <a:lnTo>
                      <a:pt x="110" y="56"/>
                    </a:lnTo>
                    <a:lnTo>
                      <a:pt x="111" y="55"/>
                    </a:lnTo>
                    <a:lnTo>
                      <a:pt x="111" y="54"/>
                    </a:lnTo>
                    <a:lnTo>
                      <a:pt x="111" y="53"/>
                    </a:lnTo>
                    <a:lnTo>
                      <a:pt x="110" y="52"/>
                    </a:lnTo>
                    <a:lnTo>
                      <a:pt x="109" y="51"/>
                    </a:lnTo>
                    <a:lnTo>
                      <a:pt x="109" y="48"/>
                    </a:lnTo>
                    <a:lnTo>
                      <a:pt x="109" y="47"/>
                    </a:lnTo>
                    <a:lnTo>
                      <a:pt x="110" y="47"/>
                    </a:lnTo>
                    <a:lnTo>
                      <a:pt x="110" y="46"/>
                    </a:lnTo>
                    <a:lnTo>
                      <a:pt x="111" y="46"/>
                    </a:lnTo>
                    <a:lnTo>
                      <a:pt x="113" y="45"/>
                    </a:lnTo>
                    <a:lnTo>
                      <a:pt x="114" y="43"/>
                    </a:lnTo>
                    <a:lnTo>
                      <a:pt x="115" y="42"/>
                    </a:lnTo>
                    <a:lnTo>
                      <a:pt x="113" y="41"/>
                    </a:lnTo>
                    <a:lnTo>
                      <a:pt x="113" y="40"/>
                    </a:lnTo>
                    <a:lnTo>
                      <a:pt x="114" y="39"/>
                    </a:lnTo>
                    <a:lnTo>
                      <a:pt x="115" y="38"/>
                    </a:lnTo>
                    <a:lnTo>
                      <a:pt x="115" y="37"/>
                    </a:lnTo>
                    <a:lnTo>
                      <a:pt x="115" y="35"/>
                    </a:lnTo>
                    <a:lnTo>
                      <a:pt x="115" y="34"/>
                    </a:lnTo>
                    <a:lnTo>
                      <a:pt x="114" y="33"/>
                    </a:lnTo>
                    <a:lnTo>
                      <a:pt x="113" y="31"/>
                    </a:lnTo>
                    <a:lnTo>
                      <a:pt x="112" y="31"/>
                    </a:lnTo>
                    <a:lnTo>
                      <a:pt x="109" y="30"/>
                    </a:lnTo>
                    <a:lnTo>
                      <a:pt x="108" y="30"/>
                    </a:lnTo>
                    <a:lnTo>
                      <a:pt x="106" y="29"/>
                    </a:lnTo>
                    <a:lnTo>
                      <a:pt x="106" y="28"/>
                    </a:lnTo>
                    <a:lnTo>
                      <a:pt x="109" y="27"/>
                    </a:lnTo>
                    <a:lnTo>
                      <a:pt x="110" y="26"/>
                    </a:lnTo>
                    <a:lnTo>
                      <a:pt x="113" y="22"/>
                    </a:lnTo>
                    <a:lnTo>
                      <a:pt x="113" y="21"/>
                    </a:lnTo>
                    <a:lnTo>
                      <a:pt x="112" y="20"/>
                    </a:lnTo>
                    <a:lnTo>
                      <a:pt x="110" y="18"/>
                    </a:lnTo>
                    <a:lnTo>
                      <a:pt x="111" y="16"/>
                    </a:lnTo>
                    <a:lnTo>
                      <a:pt x="112" y="14"/>
                    </a:lnTo>
                    <a:lnTo>
                      <a:pt x="112" y="12"/>
                    </a:lnTo>
                    <a:lnTo>
                      <a:pt x="112" y="11"/>
                    </a:lnTo>
                    <a:lnTo>
                      <a:pt x="113" y="11"/>
                    </a:lnTo>
                    <a:lnTo>
                      <a:pt x="114" y="9"/>
                    </a:lnTo>
                    <a:lnTo>
                      <a:pt x="114" y="8"/>
                    </a:lnTo>
                    <a:lnTo>
                      <a:pt x="114" y="7"/>
                    </a:lnTo>
                    <a:lnTo>
                      <a:pt x="114" y="6"/>
                    </a:lnTo>
                    <a:lnTo>
                      <a:pt x="115" y="6"/>
                    </a:lnTo>
                    <a:lnTo>
                      <a:pt x="115" y="5"/>
                    </a:lnTo>
                    <a:lnTo>
                      <a:pt x="114" y="5"/>
                    </a:lnTo>
                    <a:lnTo>
                      <a:pt x="115" y="5"/>
                    </a:lnTo>
                    <a:lnTo>
                      <a:pt x="116" y="5"/>
                    </a:lnTo>
                    <a:lnTo>
                      <a:pt x="116" y="6"/>
                    </a:lnTo>
                    <a:lnTo>
                      <a:pt x="117" y="5"/>
                    </a:lnTo>
                    <a:lnTo>
                      <a:pt x="116" y="5"/>
                    </a:lnTo>
                    <a:lnTo>
                      <a:pt x="116" y="4"/>
                    </a:lnTo>
                    <a:lnTo>
                      <a:pt x="117" y="4"/>
                    </a:lnTo>
                    <a:lnTo>
                      <a:pt x="118" y="5"/>
                    </a:lnTo>
                    <a:lnTo>
                      <a:pt x="119" y="5"/>
                    </a:lnTo>
                    <a:lnTo>
                      <a:pt x="121" y="5"/>
                    </a:lnTo>
                    <a:lnTo>
                      <a:pt x="121" y="4"/>
                    </a:lnTo>
                    <a:lnTo>
                      <a:pt x="121" y="3"/>
                    </a:lnTo>
                    <a:lnTo>
                      <a:pt x="122" y="3"/>
                    </a:lnTo>
                    <a:lnTo>
                      <a:pt x="122" y="4"/>
                    </a:lnTo>
                    <a:lnTo>
                      <a:pt x="123" y="4"/>
                    </a:lnTo>
                    <a:lnTo>
                      <a:pt x="123" y="3"/>
                    </a:lnTo>
                    <a:lnTo>
                      <a:pt x="124" y="3"/>
                    </a:lnTo>
                    <a:lnTo>
                      <a:pt x="124" y="2"/>
                    </a:lnTo>
                    <a:lnTo>
                      <a:pt x="124" y="3"/>
                    </a:lnTo>
                    <a:lnTo>
                      <a:pt x="125" y="3"/>
                    </a:lnTo>
                    <a:lnTo>
                      <a:pt x="125" y="2"/>
                    </a:lnTo>
                    <a:lnTo>
                      <a:pt x="126" y="3"/>
                    </a:lnTo>
                    <a:lnTo>
                      <a:pt x="127" y="3"/>
                    </a:lnTo>
                    <a:lnTo>
                      <a:pt x="128" y="3"/>
                    </a:lnTo>
                    <a:lnTo>
                      <a:pt x="129" y="4"/>
                    </a:lnTo>
                    <a:lnTo>
                      <a:pt x="129" y="3"/>
                    </a:lnTo>
                    <a:lnTo>
                      <a:pt x="130" y="3"/>
                    </a:lnTo>
                    <a:lnTo>
                      <a:pt x="130" y="4"/>
                    </a:lnTo>
                    <a:lnTo>
                      <a:pt x="131" y="4"/>
                    </a:lnTo>
                    <a:lnTo>
                      <a:pt x="132" y="4"/>
                    </a:lnTo>
                    <a:lnTo>
                      <a:pt x="134" y="3"/>
                    </a:lnTo>
                    <a:lnTo>
                      <a:pt x="134" y="4"/>
                    </a:lnTo>
                    <a:lnTo>
                      <a:pt x="134" y="5"/>
                    </a:lnTo>
                    <a:lnTo>
                      <a:pt x="134" y="6"/>
                    </a:lnTo>
                    <a:lnTo>
                      <a:pt x="135" y="5"/>
                    </a:lnTo>
                    <a:lnTo>
                      <a:pt x="136" y="5"/>
                    </a:lnTo>
                    <a:lnTo>
                      <a:pt x="136" y="6"/>
                    </a:lnTo>
                    <a:lnTo>
                      <a:pt x="135" y="6"/>
                    </a:lnTo>
                    <a:lnTo>
                      <a:pt x="135" y="7"/>
                    </a:lnTo>
                    <a:lnTo>
                      <a:pt x="136" y="7"/>
                    </a:lnTo>
                    <a:lnTo>
                      <a:pt x="136" y="6"/>
                    </a:lnTo>
                    <a:lnTo>
                      <a:pt x="137" y="6"/>
                    </a:lnTo>
                    <a:lnTo>
                      <a:pt x="138" y="6"/>
                    </a:lnTo>
                    <a:lnTo>
                      <a:pt x="138" y="7"/>
                    </a:lnTo>
                    <a:lnTo>
                      <a:pt x="138" y="8"/>
                    </a:lnTo>
                    <a:lnTo>
                      <a:pt x="139" y="8"/>
                    </a:lnTo>
                    <a:lnTo>
                      <a:pt x="140" y="8"/>
                    </a:lnTo>
                    <a:lnTo>
                      <a:pt x="140" y="9"/>
                    </a:lnTo>
                    <a:lnTo>
                      <a:pt x="140" y="11"/>
                    </a:lnTo>
                    <a:lnTo>
                      <a:pt x="141" y="11"/>
                    </a:lnTo>
                    <a:lnTo>
                      <a:pt x="142" y="11"/>
                    </a:lnTo>
                    <a:lnTo>
                      <a:pt x="142" y="12"/>
                    </a:lnTo>
                    <a:lnTo>
                      <a:pt x="143" y="12"/>
                    </a:lnTo>
                    <a:lnTo>
                      <a:pt x="144" y="12"/>
                    </a:lnTo>
                    <a:lnTo>
                      <a:pt x="144" y="13"/>
                    </a:lnTo>
                    <a:lnTo>
                      <a:pt x="144" y="12"/>
                    </a:lnTo>
                    <a:lnTo>
                      <a:pt x="145" y="11"/>
                    </a:lnTo>
                    <a:lnTo>
                      <a:pt x="147" y="11"/>
                    </a:lnTo>
                    <a:lnTo>
                      <a:pt x="147" y="12"/>
                    </a:lnTo>
                    <a:lnTo>
                      <a:pt x="148" y="12"/>
                    </a:lnTo>
                    <a:lnTo>
                      <a:pt x="148" y="13"/>
                    </a:lnTo>
                    <a:lnTo>
                      <a:pt x="148" y="14"/>
                    </a:lnTo>
                    <a:lnTo>
                      <a:pt x="149" y="13"/>
                    </a:lnTo>
                    <a:lnTo>
                      <a:pt x="150" y="14"/>
                    </a:lnTo>
                    <a:lnTo>
                      <a:pt x="151" y="14"/>
                    </a:lnTo>
                    <a:lnTo>
                      <a:pt x="152" y="14"/>
                    </a:lnTo>
                    <a:lnTo>
                      <a:pt x="152" y="13"/>
                    </a:lnTo>
                    <a:lnTo>
                      <a:pt x="153" y="13"/>
                    </a:lnTo>
                    <a:lnTo>
                      <a:pt x="154" y="13"/>
                    </a:lnTo>
                    <a:lnTo>
                      <a:pt x="154" y="14"/>
                    </a:lnTo>
                    <a:lnTo>
                      <a:pt x="155" y="14"/>
                    </a:lnTo>
                    <a:lnTo>
                      <a:pt x="155" y="15"/>
                    </a:lnTo>
                    <a:lnTo>
                      <a:pt x="156" y="15"/>
                    </a:lnTo>
                    <a:lnTo>
                      <a:pt x="157" y="15"/>
                    </a:lnTo>
                    <a:lnTo>
                      <a:pt x="159" y="15"/>
                    </a:lnTo>
                    <a:lnTo>
                      <a:pt x="159" y="16"/>
                    </a:lnTo>
                    <a:lnTo>
                      <a:pt x="159" y="17"/>
                    </a:lnTo>
                    <a:lnTo>
                      <a:pt x="160" y="17"/>
                    </a:lnTo>
                    <a:lnTo>
                      <a:pt x="161" y="17"/>
                    </a:lnTo>
                    <a:lnTo>
                      <a:pt x="161" y="18"/>
                    </a:lnTo>
                    <a:lnTo>
                      <a:pt x="162" y="18"/>
                    </a:lnTo>
                    <a:lnTo>
                      <a:pt x="162" y="17"/>
                    </a:lnTo>
                    <a:lnTo>
                      <a:pt x="163" y="16"/>
                    </a:lnTo>
                    <a:lnTo>
                      <a:pt x="164" y="16"/>
                    </a:lnTo>
                    <a:lnTo>
                      <a:pt x="164" y="15"/>
                    </a:lnTo>
                    <a:lnTo>
                      <a:pt x="165" y="15"/>
                    </a:lnTo>
                    <a:lnTo>
                      <a:pt x="166" y="15"/>
                    </a:lnTo>
                    <a:lnTo>
                      <a:pt x="166" y="16"/>
                    </a:lnTo>
                    <a:lnTo>
                      <a:pt x="167" y="15"/>
                    </a:lnTo>
                    <a:lnTo>
                      <a:pt x="168" y="15"/>
                    </a:lnTo>
                    <a:lnTo>
                      <a:pt x="168" y="14"/>
                    </a:lnTo>
                    <a:lnTo>
                      <a:pt x="168" y="13"/>
                    </a:lnTo>
                    <a:lnTo>
                      <a:pt x="169" y="13"/>
                    </a:lnTo>
                    <a:lnTo>
                      <a:pt x="170" y="13"/>
                    </a:lnTo>
                    <a:lnTo>
                      <a:pt x="170" y="12"/>
                    </a:lnTo>
                    <a:lnTo>
                      <a:pt x="172" y="12"/>
                    </a:lnTo>
                    <a:lnTo>
                      <a:pt x="172" y="13"/>
                    </a:lnTo>
                    <a:lnTo>
                      <a:pt x="173" y="13"/>
                    </a:lnTo>
                    <a:lnTo>
                      <a:pt x="174" y="13"/>
                    </a:lnTo>
                    <a:lnTo>
                      <a:pt x="174" y="12"/>
                    </a:lnTo>
                    <a:lnTo>
                      <a:pt x="174" y="11"/>
                    </a:lnTo>
                    <a:lnTo>
                      <a:pt x="175" y="11"/>
                    </a:lnTo>
                    <a:lnTo>
                      <a:pt x="176" y="11"/>
                    </a:lnTo>
                    <a:lnTo>
                      <a:pt x="177" y="9"/>
                    </a:lnTo>
                    <a:lnTo>
                      <a:pt x="178" y="9"/>
                    </a:lnTo>
                    <a:lnTo>
                      <a:pt x="178" y="8"/>
                    </a:lnTo>
                    <a:lnTo>
                      <a:pt x="179" y="8"/>
                    </a:lnTo>
                    <a:lnTo>
                      <a:pt x="180" y="8"/>
                    </a:lnTo>
                    <a:lnTo>
                      <a:pt x="181" y="8"/>
                    </a:lnTo>
                    <a:lnTo>
                      <a:pt x="181" y="9"/>
                    </a:lnTo>
                    <a:lnTo>
                      <a:pt x="181" y="8"/>
                    </a:lnTo>
                    <a:lnTo>
                      <a:pt x="181" y="7"/>
                    </a:lnTo>
                    <a:lnTo>
                      <a:pt x="182" y="7"/>
                    </a:lnTo>
                    <a:lnTo>
                      <a:pt x="182" y="8"/>
                    </a:lnTo>
                    <a:lnTo>
                      <a:pt x="183" y="8"/>
                    </a:lnTo>
                    <a:lnTo>
                      <a:pt x="183" y="7"/>
                    </a:lnTo>
                    <a:lnTo>
                      <a:pt x="182" y="7"/>
                    </a:lnTo>
                    <a:lnTo>
                      <a:pt x="182" y="6"/>
                    </a:lnTo>
                    <a:lnTo>
                      <a:pt x="183" y="6"/>
                    </a:lnTo>
                    <a:lnTo>
                      <a:pt x="183" y="5"/>
                    </a:lnTo>
                    <a:lnTo>
                      <a:pt x="185" y="5"/>
                    </a:lnTo>
                    <a:lnTo>
                      <a:pt x="185" y="4"/>
                    </a:lnTo>
                    <a:lnTo>
                      <a:pt x="186" y="3"/>
                    </a:lnTo>
                    <a:lnTo>
                      <a:pt x="187" y="3"/>
                    </a:lnTo>
                    <a:lnTo>
                      <a:pt x="187" y="2"/>
                    </a:lnTo>
                    <a:lnTo>
                      <a:pt x="188" y="2"/>
                    </a:lnTo>
                    <a:lnTo>
                      <a:pt x="189" y="3"/>
                    </a:lnTo>
                    <a:lnTo>
                      <a:pt x="190" y="3"/>
                    </a:lnTo>
                    <a:lnTo>
                      <a:pt x="191" y="3"/>
                    </a:lnTo>
                    <a:lnTo>
                      <a:pt x="192" y="2"/>
                    </a:lnTo>
                    <a:lnTo>
                      <a:pt x="193" y="2"/>
                    </a:lnTo>
                    <a:lnTo>
                      <a:pt x="193" y="1"/>
                    </a:lnTo>
                    <a:lnTo>
                      <a:pt x="194" y="2"/>
                    </a:lnTo>
                    <a:lnTo>
                      <a:pt x="195" y="2"/>
                    </a:lnTo>
                    <a:lnTo>
                      <a:pt x="195" y="1"/>
                    </a:lnTo>
                    <a:lnTo>
                      <a:pt x="194" y="1"/>
                    </a:lnTo>
                    <a:lnTo>
                      <a:pt x="194" y="0"/>
                    </a:lnTo>
                    <a:lnTo>
                      <a:pt x="195" y="0"/>
                    </a:lnTo>
                    <a:lnTo>
                      <a:pt x="195" y="1"/>
                    </a:lnTo>
                    <a:lnTo>
                      <a:pt x="196" y="1"/>
                    </a:lnTo>
                    <a:lnTo>
                      <a:pt x="228" y="1"/>
                    </a:lnTo>
                    <a:lnTo>
                      <a:pt x="238" y="1"/>
                    </a:lnTo>
                    <a:lnTo>
                      <a:pt x="261" y="1"/>
                    </a:lnTo>
                    <a:lnTo>
                      <a:pt x="269" y="1"/>
                    </a:lnTo>
                    <a:lnTo>
                      <a:pt x="270" y="1"/>
                    </a:lnTo>
                    <a:lnTo>
                      <a:pt x="273" y="1"/>
                    </a:lnTo>
                    <a:lnTo>
                      <a:pt x="276" y="1"/>
                    </a:lnTo>
                    <a:lnTo>
                      <a:pt x="278" y="1"/>
                    </a:lnTo>
                    <a:lnTo>
                      <a:pt x="280" y="1"/>
                    </a:lnTo>
                    <a:lnTo>
                      <a:pt x="283" y="1"/>
                    </a:lnTo>
                    <a:lnTo>
                      <a:pt x="290" y="1"/>
                    </a:lnTo>
                    <a:lnTo>
                      <a:pt x="301" y="1"/>
                    </a:lnTo>
                    <a:lnTo>
                      <a:pt x="303" y="1"/>
                    </a:lnTo>
                    <a:lnTo>
                      <a:pt x="304" y="1"/>
                    </a:lnTo>
                    <a:lnTo>
                      <a:pt x="321" y="1"/>
                    </a:lnTo>
                    <a:lnTo>
                      <a:pt x="324" y="1"/>
                    </a:lnTo>
                    <a:lnTo>
                      <a:pt x="351" y="1"/>
                    </a:lnTo>
                    <a:lnTo>
                      <a:pt x="372" y="1"/>
                    </a:lnTo>
                    <a:lnTo>
                      <a:pt x="372" y="4"/>
                    </a:lnTo>
                    <a:lnTo>
                      <a:pt x="382" y="4"/>
                    </a:lnTo>
                    <a:lnTo>
                      <a:pt x="397" y="4"/>
                    </a:lnTo>
                    <a:lnTo>
                      <a:pt x="423" y="4"/>
                    </a:lnTo>
                    <a:lnTo>
                      <a:pt x="454" y="4"/>
                    </a:lnTo>
                    <a:lnTo>
                      <a:pt x="464" y="4"/>
                    </a:lnTo>
                    <a:lnTo>
                      <a:pt x="467" y="4"/>
                    </a:lnTo>
                    <a:close/>
                  </a:path>
                </a:pathLst>
              </a:custGeom>
              <a:solidFill>
                <a:srgbClr val="3E97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4" name="Freeform 302">
                <a:extLst>
                  <a:ext uri="{FF2B5EF4-FFF2-40B4-BE49-F238E27FC236}">
                    <a16:creationId xmlns:a16="http://schemas.microsoft.com/office/drawing/2014/main" id="{9C9F1295-19A3-3FAE-B03A-8F765A7B659D}"/>
                  </a:ext>
                </a:extLst>
              </p:cNvPr>
              <p:cNvSpPr>
                <a:spLocks/>
              </p:cNvSpPr>
              <p:nvPr/>
            </p:nvSpPr>
            <p:spPr bwMode="auto">
              <a:xfrm>
                <a:off x="1414463" y="4021138"/>
                <a:ext cx="854075" cy="509588"/>
              </a:xfrm>
              <a:custGeom>
                <a:avLst/>
                <a:gdLst>
                  <a:gd name="T0" fmla="*/ 450 w 538"/>
                  <a:gd name="T1" fmla="*/ 97 h 321"/>
                  <a:gd name="T2" fmla="*/ 472 w 538"/>
                  <a:gd name="T3" fmla="*/ 162 h 321"/>
                  <a:gd name="T4" fmla="*/ 502 w 538"/>
                  <a:gd name="T5" fmla="*/ 237 h 321"/>
                  <a:gd name="T6" fmla="*/ 537 w 538"/>
                  <a:gd name="T7" fmla="*/ 247 h 321"/>
                  <a:gd name="T8" fmla="*/ 528 w 538"/>
                  <a:gd name="T9" fmla="*/ 255 h 321"/>
                  <a:gd name="T10" fmla="*/ 526 w 538"/>
                  <a:gd name="T11" fmla="*/ 263 h 321"/>
                  <a:gd name="T12" fmla="*/ 530 w 538"/>
                  <a:gd name="T13" fmla="*/ 272 h 321"/>
                  <a:gd name="T14" fmla="*/ 536 w 538"/>
                  <a:gd name="T15" fmla="*/ 279 h 321"/>
                  <a:gd name="T16" fmla="*/ 472 w 538"/>
                  <a:gd name="T17" fmla="*/ 289 h 321"/>
                  <a:gd name="T18" fmla="*/ 424 w 538"/>
                  <a:gd name="T19" fmla="*/ 321 h 321"/>
                  <a:gd name="T20" fmla="*/ 366 w 538"/>
                  <a:gd name="T21" fmla="*/ 311 h 321"/>
                  <a:gd name="T22" fmla="*/ 240 w 538"/>
                  <a:gd name="T23" fmla="*/ 311 h 321"/>
                  <a:gd name="T24" fmla="*/ 28 w 538"/>
                  <a:gd name="T25" fmla="*/ 309 h 321"/>
                  <a:gd name="T26" fmla="*/ 34 w 538"/>
                  <a:gd name="T27" fmla="*/ 307 h 321"/>
                  <a:gd name="T28" fmla="*/ 40 w 538"/>
                  <a:gd name="T29" fmla="*/ 302 h 321"/>
                  <a:gd name="T30" fmla="*/ 24 w 538"/>
                  <a:gd name="T31" fmla="*/ 291 h 321"/>
                  <a:gd name="T32" fmla="*/ 24 w 538"/>
                  <a:gd name="T33" fmla="*/ 288 h 321"/>
                  <a:gd name="T34" fmla="*/ 27 w 538"/>
                  <a:gd name="T35" fmla="*/ 279 h 321"/>
                  <a:gd name="T36" fmla="*/ 38 w 538"/>
                  <a:gd name="T37" fmla="*/ 268 h 321"/>
                  <a:gd name="T38" fmla="*/ 40 w 538"/>
                  <a:gd name="T39" fmla="*/ 261 h 321"/>
                  <a:gd name="T40" fmla="*/ 42 w 538"/>
                  <a:gd name="T41" fmla="*/ 250 h 321"/>
                  <a:gd name="T42" fmla="*/ 45 w 538"/>
                  <a:gd name="T43" fmla="*/ 246 h 321"/>
                  <a:gd name="T44" fmla="*/ 37 w 538"/>
                  <a:gd name="T45" fmla="*/ 242 h 321"/>
                  <a:gd name="T46" fmla="*/ 38 w 538"/>
                  <a:gd name="T47" fmla="*/ 234 h 321"/>
                  <a:gd name="T48" fmla="*/ 39 w 538"/>
                  <a:gd name="T49" fmla="*/ 224 h 321"/>
                  <a:gd name="T50" fmla="*/ 35 w 538"/>
                  <a:gd name="T51" fmla="*/ 219 h 321"/>
                  <a:gd name="T52" fmla="*/ 36 w 538"/>
                  <a:gd name="T53" fmla="*/ 212 h 321"/>
                  <a:gd name="T54" fmla="*/ 32 w 538"/>
                  <a:gd name="T55" fmla="*/ 211 h 321"/>
                  <a:gd name="T56" fmla="*/ 30 w 538"/>
                  <a:gd name="T57" fmla="*/ 203 h 321"/>
                  <a:gd name="T58" fmla="*/ 30 w 538"/>
                  <a:gd name="T59" fmla="*/ 198 h 321"/>
                  <a:gd name="T60" fmla="*/ 29 w 538"/>
                  <a:gd name="T61" fmla="*/ 191 h 321"/>
                  <a:gd name="T62" fmla="*/ 35 w 538"/>
                  <a:gd name="T63" fmla="*/ 186 h 321"/>
                  <a:gd name="T64" fmla="*/ 38 w 538"/>
                  <a:gd name="T65" fmla="*/ 182 h 321"/>
                  <a:gd name="T66" fmla="*/ 39 w 538"/>
                  <a:gd name="T67" fmla="*/ 177 h 321"/>
                  <a:gd name="T68" fmla="*/ 35 w 538"/>
                  <a:gd name="T69" fmla="*/ 172 h 321"/>
                  <a:gd name="T70" fmla="*/ 38 w 538"/>
                  <a:gd name="T71" fmla="*/ 163 h 321"/>
                  <a:gd name="T72" fmla="*/ 35 w 538"/>
                  <a:gd name="T73" fmla="*/ 159 h 321"/>
                  <a:gd name="T74" fmla="*/ 34 w 538"/>
                  <a:gd name="T75" fmla="*/ 154 h 321"/>
                  <a:gd name="T76" fmla="*/ 35 w 538"/>
                  <a:gd name="T77" fmla="*/ 147 h 321"/>
                  <a:gd name="T78" fmla="*/ 35 w 538"/>
                  <a:gd name="T79" fmla="*/ 140 h 321"/>
                  <a:gd name="T80" fmla="*/ 30 w 538"/>
                  <a:gd name="T81" fmla="*/ 139 h 321"/>
                  <a:gd name="T82" fmla="*/ 22 w 538"/>
                  <a:gd name="T83" fmla="*/ 136 h 321"/>
                  <a:gd name="T84" fmla="*/ 16 w 538"/>
                  <a:gd name="T85" fmla="*/ 132 h 321"/>
                  <a:gd name="T86" fmla="*/ 13 w 538"/>
                  <a:gd name="T87" fmla="*/ 127 h 321"/>
                  <a:gd name="T88" fmla="*/ 9 w 538"/>
                  <a:gd name="T89" fmla="*/ 120 h 321"/>
                  <a:gd name="T90" fmla="*/ 8 w 538"/>
                  <a:gd name="T91" fmla="*/ 114 h 321"/>
                  <a:gd name="T92" fmla="*/ 1 w 538"/>
                  <a:gd name="T93" fmla="*/ 111 h 321"/>
                  <a:gd name="T94" fmla="*/ 1 w 538"/>
                  <a:gd name="T95" fmla="*/ 104 h 321"/>
                  <a:gd name="T96" fmla="*/ 4 w 538"/>
                  <a:gd name="T97" fmla="*/ 100 h 321"/>
                  <a:gd name="T98" fmla="*/ 3 w 538"/>
                  <a:gd name="T99" fmla="*/ 92 h 321"/>
                  <a:gd name="T100" fmla="*/ 9 w 538"/>
                  <a:gd name="T101" fmla="*/ 92 h 321"/>
                  <a:gd name="T102" fmla="*/ 7 w 538"/>
                  <a:gd name="T103" fmla="*/ 88 h 321"/>
                  <a:gd name="T104" fmla="*/ 4 w 538"/>
                  <a:gd name="T105" fmla="*/ 75 h 321"/>
                  <a:gd name="T106" fmla="*/ 5 w 538"/>
                  <a:gd name="T107" fmla="*/ 71 h 321"/>
                  <a:gd name="T108" fmla="*/ 14 w 538"/>
                  <a:gd name="T109" fmla="*/ 65 h 321"/>
                  <a:gd name="T110" fmla="*/ 75 w 538"/>
                  <a:gd name="T111" fmla="*/ 62 h 321"/>
                  <a:gd name="T112" fmla="*/ 163 w 538"/>
                  <a:gd name="T113" fmla="*/ 62 h 321"/>
                  <a:gd name="T114" fmla="*/ 234 w 538"/>
                  <a:gd name="T115" fmla="*/ 20 h 321"/>
                  <a:gd name="T116" fmla="*/ 276 w 538"/>
                  <a:gd name="T117" fmla="*/ 6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321">
                    <a:moveTo>
                      <a:pt x="389" y="61"/>
                    </a:moveTo>
                    <a:lnTo>
                      <a:pt x="389" y="66"/>
                    </a:lnTo>
                    <a:lnTo>
                      <a:pt x="389" y="78"/>
                    </a:lnTo>
                    <a:lnTo>
                      <a:pt x="396" y="78"/>
                    </a:lnTo>
                    <a:lnTo>
                      <a:pt x="413" y="79"/>
                    </a:lnTo>
                    <a:lnTo>
                      <a:pt x="415" y="79"/>
                    </a:lnTo>
                    <a:lnTo>
                      <a:pt x="416" y="79"/>
                    </a:lnTo>
                    <a:lnTo>
                      <a:pt x="429" y="79"/>
                    </a:lnTo>
                    <a:lnTo>
                      <a:pt x="450" y="79"/>
                    </a:lnTo>
                    <a:lnTo>
                      <a:pt x="450" y="81"/>
                    </a:lnTo>
                    <a:lnTo>
                      <a:pt x="450" y="92"/>
                    </a:lnTo>
                    <a:lnTo>
                      <a:pt x="450" y="97"/>
                    </a:lnTo>
                    <a:lnTo>
                      <a:pt x="450" y="109"/>
                    </a:lnTo>
                    <a:lnTo>
                      <a:pt x="450" y="114"/>
                    </a:lnTo>
                    <a:lnTo>
                      <a:pt x="450" y="118"/>
                    </a:lnTo>
                    <a:lnTo>
                      <a:pt x="450" y="125"/>
                    </a:lnTo>
                    <a:lnTo>
                      <a:pt x="450" y="131"/>
                    </a:lnTo>
                    <a:lnTo>
                      <a:pt x="450" y="134"/>
                    </a:lnTo>
                    <a:lnTo>
                      <a:pt x="450" y="150"/>
                    </a:lnTo>
                    <a:lnTo>
                      <a:pt x="450" y="151"/>
                    </a:lnTo>
                    <a:lnTo>
                      <a:pt x="450" y="152"/>
                    </a:lnTo>
                    <a:lnTo>
                      <a:pt x="450" y="162"/>
                    </a:lnTo>
                    <a:lnTo>
                      <a:pt x="465" y="162"/>
                    </a:lnTo>
                    <a:lnTo>
                      <a:pt x="472" y="162"/>
                    </a:lnTo>
                    <a:lnTo>
                      <a:pt x="472" y="163"/>
                    </a:lnTo>
                    <a:lnTo>
                      <a:pt x="472" y="170"/>
                    </a:lnTo>
                    <a:lnTo>
                      <a:pt x="472" y="173"/>
                    </a:lnTo>
                    <a:lnTo>
                      <a:pt x="472" y="178"/>
                    </a:lnTo>
                    <a:lnTo>
                      <a:pt x="472" y="182"/>
                    </a:lnTo>
                    <a:lnTo>
                      <a:pt x="472" y="183"/>
                    </a:lnTo>
                    <a:lnTo>
                      <a:pt x="472" y="184"/>
                    </a:lnTo>
                    <a:lnTo>
                      <a:pt x="472" y="185"/>
                    </a:lnTo>
                    <a:lnTo>
                      <a:pt x="472" y="194"/>
                    </a:lnTo>
                    <a:lnTo>
                      <a:pt x="472" y="204"/>
                    </a:lnTo>
                    <a:lnTo>
                      <a:pt x="472" y="236"/>
                    </a:lnTo>
                    <a:lnTo>
                      <a:pt x="502" y="237"/>
                    </a:lnTo>
                    <a:lnTo>
                      <a:pt x="513" y="237"/>
                    </a:lnTo>
                    <a:lnTo>
                      <a:pt x="534" y="237"/>
                    </a:lnTo>
                    <a:lnTo>
                      <a:pt x="534" y="238"/>
                    </a:lnTo>
                    <a:lnTo>
                      <a:pt x="534" y="239"/>
                    </a:lnTo>
                    <a:lnTo>
                      <a:pt x="534" y="240"/>
                    </a:lnTo>
                    <a:lnTo>
                      <a:pt x="533" y="241"/>
                    </a:lnTo>
                    <a:lnTo>
                      <a:pt x="533" y="242"/>
                    </a:lnTo>
                    <a:lnTo>
                      <a:pt x="533" y="244"/>
                    </a:lnTo>
                    <a:lnTo>
                      <a:pt x="536" y="244"/>
                    </a:lnTo>
                    <a:lnTo>
                      <a:pt x="537" y="245"/>
                    </a:lnTo>
                    <a:lnTo>
                      <a:pt x="537" y="246"/>
                    </a:lnTo>
                    <a:lnTo>
                      <a:pt x="537" y="247"/>
                    </a:lnTo>
                    <a:lnTo>
                      <a:pt x="537" y="248"/>
                    </a:lnTo>
                    <a:lnTo>
                      <a:pt x="536" y="248"/>
                    </a:lnTo>
                    <a:lnTo>
                      <a:pt x="536" y="249"/>
                    </a:lnTo>
                    <a:lnTo>
                      <a:pt x="534" y="249"/>
                    </a:lnTo>
                    <a:lnTo>
                      <a:pt x="533" y="250"/>
                    </a:lnTo>
                    <a:lnTo>
                      <a:pt x="533" y="251"/>
                    </a:lnTo>
                    <a:lnTo>
                      <a:pt x="532" y="251"/>
                    </a:lnTo>
                    <a:lnTo>
                      <a:pt x="531" y="251"/>
                    </a:lnTo>
                    <a:lnTo>
                      <a:pt x="531" y="252"/>
                    </a:lnTo>
                    <a:lnTo>
                      <a:pt x="530" y="253"/>
                    </a:lnTo>
                    <a:lnTo>
                      <a:pt x="530" y="254"/>
                    </a:lnTo>
                    <a:lnTo>
                      <a:pt x="528" y="255"/>
                    </a:lnTo>
                    <a:lnTo>
                      <a:pt x="527" y="255"/>
                    </a:lnTo>
                    <a:lnTo>
                      <a:pt x="527" y="254"/>
                    </a:lnTo>
                    <a:lnTo>
                      <a:pt x="526" y="254"/>
                    </a:lnTo>
                    <a:lnTo>
                      <a:pt x="526" y="255"/>
                    </a:lnTo>
                    <a:lnTo>
                      <a:pt x="527" y="257"/>
                    </a:lnTo>
                    <a:lnTo>
                      <a:pt x="527" y="258"/>
                    </a:lnTo>
                    <a:lnTo>
                      <a:pt x="526" y="258"/>
                    </a:lnTo>
                    <a:lnTo>
                      <a:pt x="526" y="259"/>
                    </a:lnTo>
                    <a:lnTo>
                      <a:pt x="526" y="260"/>
                    </a:lnTo>
                    <a:lnTo>
                      <a:pt x="526" y="261"/>
                    </a:lnTo>
                    <a:lnTo>
                      <a:pt x="525" y="262"/>
                    </a:lnTo>
                    <a:lnTo>
                      <a:pt x="526" y="263"/>
                    </a:lnTo>
                    <a:lnTo>
                      <a:pt x="526" y="264"/>
                    </a:lnTo>
                    <a:lnTo>
                      <a:pt x="526" y="265"/>
                    </a:lnTo>
                    <a:lnTo>
                      <a:pt x="525" y="265"/>
                    </a:lnTo>
                    <a:lnTo>
                      <a:pt x="525" y="266"/>
                    </a:lnTo>
                    <a:lnTo>
                      <a:pt x="526" y="267"/>
                    </a:lnTo>
                    <a:lnTo>
                      <a:pt x="527" y="268"/>
                    </a:lnTo>
                    <a:lnTo>
                      <a:pt x="528" y="268"/>
                    </a:lnTo>
                    <a:lnTo>
                      <a:pt x="530" y="268"/>
                    </a:lnTo>
                    <a:lnTo>
                      <a:pt x="530" y="270"/>
                    </a:lnTo>
                    <a:lnTo>
                      <a:pt x="529" y="270"/>
                    </a:lnTo>
                    <a:lnTo>
                      <a:pt x="530" y="271"/>
                    </a:lnTo>
                    <a:lnTo>
                      <a:pt x="530" y="272"/>
                    </a:lnTo>
                    <a:lnTo>
                      <a:pt x="531" y="273"/>
                    </a:lnTo>
                    <a:lnTo>
                      <a:pt x="531" y="274"/>
                    </a:lnTo>
                    <a:lnTo>
                      <a:pt x="530" y="275"/>
                    </a:lnTo>
                    <a:lnTo>
                      <a:pt x="530" y="276"/>
                    </a:lnTo>
                    <a:lnTo>
                      <a:pt x="531" y="276"/>
                    </a:lnTo>
                    <a:lnTo>
                      <a:pt x="532" y="276"/>
                    </a:lnTo>
                    <a:lnTo>
                      <a:pt x="533" y="277"/>
                    </a:lnTo>
                    <a:lnTo>
                      <a:pt x="532" y="278"/>
                    </a:lnTo>
                    <a:lnTo>
                      <a:pt x="533" y="279"/>
                    </a:lnTo>
                    <a:lnTo>
                      <a:pt x="534" y="279"/>
                    </a:lnTo>
                    <a:lnTo>
                      <a:pt x="536" y="278"/>
                    </a:lnTo>
                    <a:lnTo>
                      <a:pt x="536" y="279"/>
                    </a:lnTo>
                    <a:lnTo>
                      <a:pt x="534" y="281"/>
                    </a:lnTo>
                    <a:lnTo>
                      <a:pt x="536" y="283"/>
                    </a:lnTo>
                    <a:lnTo>
                      <a:pt x="534" y="284"/>
                    </a:lnTo>
                    <a:lnTo>
                      <a:pt x="536" y="285"/>
                    </a:lnTo>
                    <a:lnTo>
                      <a:pt x="537" y="287"/>
                    </a:lnTo>
                    <a:lnTo>
                      <a:pt x="538" y="288"/>
                    </a:lnTo>
                    <a:lnTo>
                      <a:pt x="538" y="289"/>
                    </a:lnTo>
                    <a:lnTo>
                      <a:pt x="524" y="289"/>
                    </a:lnTo>
                    <a:lnTo>
                      <a:pt x="508" y="289"/>
                    </a:lnTo>
                    <a:lnTo>
                      <a:pt x="505" y="289"/>
                    </a:lnTo>
                    <a:lnTo>
                      <a:pt x="500" y="289"/>
                    </a:lnTo>
                    <a:lnTo>
                      <a:pt x="472" y="289"/>
                    </a:lnTo>
                    <a:lnTo>
                      <a:pt x="472" y="310"/>
                    </a:lnTo>
                    <a:lnTo>
                      <a:pt x="472" y="312"/>
                    </a:lnTo>
                    <a:lnTo>
                      <a:pt x="472" y="321"/>
                    </a:lnTo>
                    <a:lnTo>
                      <a:pt x="462" y="321"/>
                    </a:lnTo>
                    <a:lnTo>
                      <a:pt x="461" y="319"/>
                    </a:lnTo>
                    <a:lnTo>
                      <a:pt x="459" y="319"/>
                    </a:lnTo>
                    <a:lnTo>
                      <a:pt x="458" y="319"/>
                    </a:lnTo>
                    <a:lnTo>
                      <a:pt x="456" y="319"/>
                    </a:lnTo>
                    <a:lnTo>
                      <a:pt x="455" y="319"/>
                    </a:lnTo>
                    <a:lnTo>
                      <a:pt x="451" y="319"/>
                    </a:lnTo>
                    <a:lnTo>
                      <a:pt x="440" y="319"/>
                    </a:lnTo>
                    <a:lnTo>
                      <a:pt x="424" y="321"/>
                    </a:lnTo>
                    <a:lnTo>
                      <a:pt x="421" y="321"/>
                    </a:lnTo>
                    <a:lnTo>
                      <a:pt x="418" y="321"/>
                    </a:lnTo>
                    <a:lnTo>
                      <a:pt x="417" y="321"/>
                    </a:lnTo>
                    <a:lnTo>
                      <a:pt x="416" y="321"/>
                    </a:lnTo>
                    <a:lnTo>
                      <a:pt x="415" y="321"/>
                    </a:lnTo>
                    <a:lnTo>
                      <a:pt x="410" y="321"/>
                    </a:lnTo>
                    <a:lnTo>
                      <a:pt x="390" y="321"/>
                    </a:lnTo>
                    <a:lnTo>
                      <a:pt x="390" y="310"/>
                    </a:lnTo>
                    <a:lnTo>
                      <a:pt x="385" y="310"/>
                    </a:lnTo>
                    <a:lnTo>
                      <a:pt x="381" y="310"/>
                    </a:lnTo>
                    <a:lnTo>
                      <a:pt x="370" y="311"/>
                    </a:lnTo>
                    <a:lnTo>
                      <a:pt x="366" y="311"/>
                    </a:lnTo>
                    <a:lnTo>
                      <a:pt x="360" y="311"/>
                    </a:lnTo>
                    <a:lnTo>
                      <a:pt x="338" y="311"/>
                    </a:lnTo>
                    <a:lnTo>
                      <a:pt x="309" y="311"/>
                    </a:lnTo>
                    <a:lnTo>
                      <a:pt x="308" y="311"/>
                    </a:lnTo>
                    <a:lnTo>
                      <a:pt x="298" y="311"/>
                    </a:lnTo>
                    <a:lnTo>
                      <a:pt x="294" y="311"/>
                    </a:lnTo>
                    <a:lnTo>
                      <a:pt x="278" y="311"/>
                    </a:lnTo>
                    <a:lnTo>
                      <a:pt x="273" y="311"/>
                    </a:lnTo>
                    <a:lnTo>
                      <a:pt x="269" y="311"/>
                    </a:lnTo>
                    <a:lnTo>
                      <a:pt x="267" y="311"/>
                    </a:lnTo>
                    <a:lnTo>
                      <a:pt x="260" y="311"/>
                    </a:lnTo>
                    <a:lnTo>
                      <a:pt x="240" y="311"/>
                    </a:lnTo>
                    <a:lnTo>
                      <a:pt x="222" y="311"/>
                    </a:lnTo>
                    <a:lnTo>
                      <a:pt x="167" y="311"/>
                    </a:lnTo>
                    <a:lnTo>
                      <a:pt x="163" y="311"/>
                    </a:lnTo>
                    <a:lnTo>
                      <a:pt x="133" y="311"/>
                    </a:lnTo>
                    <a:lnTo>
                      <a:pt x="131" y="311"/>
                    </a:lnTo>
                    <a:lnTo>
                      <a:pt x="101" y="311"/>
                    </a:lnTo>
                    <a:lnTo>
                      <a:pt x="100" y="311"/>
                    </a:lnTo>
                    <a:lnTo>
                      <a:pt x="91" y="311"/>
                    </a:lnTo>
                    <a:lnTo>
                      <a:pt x="28" y="311"/>
                    </a:lnTo>
                    <a:lnTo>
                      <a:pt x="27" y="311"/>
                    </a:lnTo>
                    <a:lnTo>
                      <a:pt x="28" y="310"/>
                    </a:lnTo>
                    <a:lnTo>
                      <a:pt x="28" y="309"/>
                    </a:lnTo>
                    <a:lnTo>
                      <a:pt x="28" y="307"/>
                    </a:lnTo>
                    <a:lnTo>
                      <a:pt x="28" y="305"/>
                    </a:lnTo>
                    <a:lnTo>
                      <a:pt x="28" y="303"/>
                    </a:lnTo>
                    <a:lnTo>
                      <a:pt x="28" y="302"/>
                    </a:lnTo>
                    <a:lnTo>
                      <a:pt x="29" y="301"/>
                    </a:lnTo>
                    <a:lnTo>
                      <a:pt x="30" y="301"/>
                    </a:lnTo>
                    <a:lnTo>
                      <a:pt x="32" y="300"/>
                    </a:lnTo>
                    <a:lnTo>
                      <a:pt x="33" y="301"/>
                    </a:lnTo>
                    <a:lnTo>
                      <a:pt x="33" y="303"/>
                    </a:lnTo>
                    <a:lnTo>
                      <a:pt x="33" y="304"/>
                    </a:lnTo>
                    <a:lnTo>
                      <a:pt x="34" y="305"/>
                    </a:lnTo>
                    <a:lnTo>
                      <a:pt x="34" y="307"/>
                    </a:lnTo>
                    <a:lnTo>
                      <a:pt x="34" y="309"/>
                    </a:lnTo>
                    <a:lnTo>
                      <a:pt x="35" y="309"/>
                    </a:lnTo>
                    <a:lnTo>
                      <a:pt x="36" y="310"/>
                    </a:lnTo>
                    <a:lnTo>
                      <a:pt x="37" y="310"/>
                    </a:lnTo>
                    <a:lnTo>
                      <a:pt x="38" y="309"/>
                    </a:lnTo>
                    <a:lnTo>
                      <a:pt x="39" y="307"/>
                    </a:lnTo>
                    <a:lnTo>
                      <a:pt x="40" y="307"/>
                    </a:lnTo>
                    <a:lnTo>
                      <a:pt x="40" y="306"/>
                    </a:lnTo>
                    <a:lnTo>
                      <a:pt x="41" y="306"/>
                    </a:lnTo>
                    <a:lnTo>
                      <a:pt x="41" y="305"/>
                    </a:lnTo>
                    <a:lnTo>
                      <a:pt x="41" y="304"/>
                    </a:lnTo>
                    <a:lnTo>
                      <a:pt x="40" y="302"/>
                    </a:lnTo>
                    <a:lnTo>
                      <a:pt x="40" y="301"/>
                    </a:lnTo>
                    <a:lnTo>
                      <a:pt x="39" y="300"/>
                    </a:lnTo>
                    <a:lnTo>
                      <a:pt x="38" y="300"/>
                    </a:lnTo>
                    <a:lnTo>
                      <a:pt x="37" y="300"/>
                    </a:lnTo>
                    <a:lnTo>
                      <a:pt x="36" y="300"/>
                    </a:lnTo>
                    <a:lnTo>
                      <a:pt x="32" y="299"/>
                    </a:lnTo>
                    <a:lnTo>
                      <a:pt x="30" y="299"/>
                    </a:lnTo>
                    <a:lnTo>
                      <a:pt x="30" y="298"/>
                    </a:lnTo>
                    <a:lnTo>
                      <a:pt x="29" y="297"/>
                    </a:lnTo>
                    <a:lnTo>
                      <a:pt x="28" y="296"/>
                    </a:lnTo>
                    <a:lnTo>
                      <a:pt x="25" y="291"/>
                    </a:lnTo>
                    <a:lnTo>
                      <a:pt x="24" y="291"/>
                    </a:lnTo>
                    <a:lnTo>
                      <a:pt x="22" y="290"/>
                    </a:lnTo>
                    <a:lnTo>
                      <a:pt x="21" y="289"/>
                    </a:lnTo>
                    <a:lnTo>
                      <a:pt x="21" y="288"/>
                    </a:lnTo>
                    <a:lnTo>
                      <a:pt x="20" y="287"/>
                    </a:lnTo>
                    <a:lnTo>
                      <a:pt x="20" y="286"/>
                    </a:lnTo>
                    <a:lnTo>
                      <a:pt x="21" y="285"/>
                    </a:lnTo>
                    <a:lnTo>
                      <a:pt x="22" y="285"/>
                    </a:lnTo>
                    <a:lnTo>
                      <a:pt x="22" y="284"/>
                    </a:lnTo>
                    <a:lnTo>
                      <a:pt x="22" y="285"/>
                    </a:lnTo>
                    <a:lnTo>
                      <a:pt x="23" y="285"/>
                    </a:lnTo>
                    <a:lnTo>
                      <a:pt x="23" y="287"/>
                    </a:lnTo>
                    <a:lnTo>
                      <a:pt x="24" y="288"/>
                    </a:lnTo>
                    <a:lnTo>
                      <a:pt x="24" y="289"/>
                    </a:lnTo>
                    <a:lnTo>
                      <a:pt x="25" y="289"/>
                    </a:lnTo>
                    <a:lnTo>
                      <a:pt x="26" y="289"/>
                    </a:lnTo>
                    <a:lnTo>
                      <a:pt x="26" y="288"/>
                    </a:lnTo>
                    <a:lnTo>
                      <a:pt x="26" y="287"/>
                    </a:lnTo>
                    <a:lnTo>
                      <a:pt x="26" y="286"/>
                    </a:lnTo>
                    <a:lnTo>
                      <a:pt x="26" y="285"/>
                    </a:lnTo>
                    <a:lnTo>
                      <a:pt x="26" y="284"/>
                    </a:lnTo>
                    <a:lnTo>
                      <a:pt x="26" y="283"/>
                    </a:lnTo>
                    <a:lnTo>
                      <a:pt x="26" y="281"/>
                    </a:lnTo>
                    <a:lnTo>
                      <a:pt x="26" y="280"/>
                    </a:lnTo>
                    <a:lnTo>
                      <a:pt x="27" y="279"/>
                    </a:lnTo>
                    <a:lnTo>
                      <a:pt x="29" y="278"/>
                    </a:lnTo>
                    <a:lnTo>
                      <a:pt x="29" y="277"/>
                    </a:lnTo>
                    <a:lnTo>
                      <a:pt x="32" y="276"/>
                    </a:lnTo>
                    <a:lnTo>
                      <a:pt x="32" y="275"/>
                    </a:lnTo>
                    <a:lnTo>
                      <a:pt x="33" y="274"/>
                    </a:lnTo>
                    <a:lnTo>
                      <a:pt x="33" y="272"/>
                    </a:lnTo>
                    <a:lnTo>
                      <a:pt x="33" y="271"/>
                    </a:lnTo>
                    <a:lnTo>
                      <a:pt x="33" y="270"/>
                    </a:lnTo>
                    <a:lnTo>
                      <a:pt x="34" y="270"/>
                    </a:lnTo>
                    <a:lnTo>
                      <a:pt x="35" y="270"/>
                    </a:lnTo>
                    <a:lnTo>
                      <a:pt x="37" y="270"/>
                    </a:lnTo>
                    <a:lnTo>
                      <a:pt x="38" y="268"/>
                    </a:lnTo>
                    <a:lnTo>
                      <a:pt x="39" y="268"/>
                    </a:lnTo>
                    <a:lnTo>
                      <a:pt x="39" y="267"/>
                    </a:lnTo>
                    <a:lnTo>
                      <a:pt x="39" y="266"/>
                    </a:lnTo>
                    <a:lnTo>
                      <a:pt x="39" y="265"/>
                    </a:lnTo>
                    <a:lnTo>
                      <a:pt x="38" y="264"/>
                    </a:lnTo>
                    <a:lnTo>
                      <a:pt x="37" y="263"/>
                    </a:lnTo>
                    <a:lnTo>
                      <a:pt x="36" y="263"/>
                    </a:lnTo>
                    <a:lnTo>
                      <a:pt x="36" y="262"/>
                    </a:lnTo>
                    <a:lnTo>
                      <a:pt x="37" y="261"/>
                    </a:lnTo>
                    <a:lnTo>
                      <a:pt x="38" y="261"/>
                    </a:lnTo>
                    <a:lnTo>
                      <a:pt x="39" y="261"/>
                    </a:lnTo>
                    <a:lnTo>
                      <a:pt x="40" y="261"/>
                    </a:lnTo>
                    <a:lnTo>
                      <a:pt x="40" y="260"/>
                    </a:lnTo>
                    <a:lnTo>
                      <a:pt x="40" y="259"/>
                    </a:lnTo>
                    <a:lnTo>
                      <a:pt x="40" y="258"/>
                    </a:lnTo>
                    <a:lnTo>
                      <a:pt x="39" y="257"/>
                    </a:lnTo>
                    <a:lnTo>
                      <a:pt x="39" y="255"/>
                    </a:lnTo>
                    <a:lnTo>
                      <a:pt x="39" y="253"/>
                    </a:lnTo>
                    <a:lnTo>
                      <a:pt x="40" y="252"/>
                    </a:lnTo>
                    <a:lnTo>
                      <a:pt x="40" y="251"/>
                    </a:lnTo>
                    <a:lnTo>
                      <a:pt x="40" y="250"/>
                    </a:lnTo>
                    <a:lnTo>
                      <a:pt x="40" y="249"/>
                    </a:lnTo>
                    <a:lnTo>
                      <a:pt x="41" y="249"/>
                    </a:lnTo>
                    <a:lnTo>
                      <a:pt x="42" y="250"/>
                    </a:lnTo>
                    <a:lnTo>
                      <a:pt x="43" y="251"/>
                    </a:lnTo>
                    <a:lnTo>
                      <a:pt x="45" y="252"/>
                    </a:lnTo>
                    <a:lnTo>
                      <a:pt x="45" y="251"/>
                    </a:lnTo>
                    <a:lnTo>
                      <a:pt x="46" y="251"/>
                    </a:lnTo>
                    <a:lnTo>
                      <a:pt x="47" y="249"/>
                    </a:lnTo>
                    <a:lnTo>
                      <a:pt x="48" y="248"/>
                    </a:lnTo>
                    <a:lnTo>
                      <a:pt x="48" y="247"/>
                    </a:lnTo>
                    <a:lnTo>
                      <a:pt x="47" y="247"/>
                    </a:lnTo>
                    <a:lnTo>
                      <a:pt x="46" y="248"/>
                    </a:lnTo>
                    <a:lnTo>
                      <a:pt x="46" y="247"/>
                    </a:lnTo>
                    <a:lnTo>
                      <a:pt x="45" y="247"/>
                    </a:lnTo>
                    <a:lnTo>
                      <a:pt x="45" y="246"/>
                    </a:lnTo>
                    <a:lnTo>
                      <a:pt x="45" y="245"/>
                    </a:lnTo>
                    <a:lnTo>
                      <a:pt x="43" y="245"/>
                    </a:lnTo>
                    <a:lnTo>
                      <a:pt x="43" y="244"/>
                    </a:lnTo>
                    <a:lnTo>
                      <a:pt x="43" y="241"/>
                    </a:lnTo>
                    <a:lnTo>
                      <a:pt x="42" y="240"/>
                    </a:lnTo>
                    <a:lnTo>
                      <a:pt x="42" y="239"/>
                    </a:lnTo>
                    <a:lnTo>
                      <a:pt x="41" y="239"/>
                    </a:lnTo>
                    <a:lnTo>
                      <a:pt x="40" y="239"/>
                    </a:lnTo>
                    <a:lnTo>
                      <a:pt x="39" y="240"/>
                    </a:lnTo>
                    <a:lnTo>
                      <a:pt x="39" y="241"/>
                    </a:lnTo>
                    <a:lnTo>
                      <a:pt x="38" y="241"/>
                    </a:lnTo>
                    <a:lnTo>
                      <a:pt x="37" y="242"/>
                    </a:lnTo>
                    <a:lnTo>
                      <a:pt x="36" y="244"/>
                    </a:lnTo>
                    <a:lnTo>
                      <a:pt x="35" y="244"/>
                    </a:lnTo>
                    <a:lnTo>
                      <a:pt x="35" y="242"/>
                    </a:lnTo>
                    <a:lnTo>
                      <a:pt x="36" y="241"/>
                    </a:lnTo>
                    <a:lnTo>
                      <a:pt x="37" y="241"/>
                    </a:lnTo>
                    <a:lnTo>
                      <a:pt x="37" y="240"/>
                    </a:lnTo>
                    <a:lnTo>
                      <a:pt x="37" y="239"/>
                    </a:lnTo>
                    <a:lnTo>
                      <a:pt x="36" y="238"/>
                    </a:lnTo>
                    <a:lnTo>
                      <a:pt x="36" y="237"/>
                    </a:lnTo>
                    <a:lnTo>
                      <a:pt x="36" y="236"/>
                    </a:lnTo>
                    <a:lnTo>
                      <a:pt x="37" y="235"/>
                    </a:lnTo>
                    <a:lnTo>
                      <a:pt x="38" y="234"/>
                    </a:lnTo>
                    <a:lnTo>
                      <a:pt x="39" y="233"/>
                    </a:lnTo>
                    <a:lnTo>
                      <a:pt x="39" y="230"/>
                    </a:lnTo>
                    <a:lnTo>
                      <a:pt x="40" y="229"/>
                    </a:lnTo>
                    <a:lnTo>
                      <a:pt x="39" y="229"/>
                    </a:lnTo>
                    <a:lnTo>
                      <a:pt x="39" y="228"/>
                    </a:lnTo>
                    <a:lnTo>
                      <a:pt x="39" y="227"/>
                    </a:lnTo>
                    <a:lnTo>
                      <a:pt x="39" y="226"/>
                    </a:lnTo>
                    <a:lnTo>
                      <a:pt x="39" y="225"/>
                    </a:lnTo>
                    <a:lnTo>
                      <a:pt x="40" y="224"/>
                    </a:lnTo>
                    <a:lnTo>
                      <a:pt x="40" y="223"/>
                    </a:lnTo>
                    <a:lnTo>
                      <a:pt x="39" y="223"/>
                    </a:lnTo>
                    <a:lnTo>
                      <a:pt x="39" y="224"/>
                    </a:lnTo>
                    <a:lnTo>
                      <a:pt x="38" y="224"/>
                    </a:lnTo>
                    <a:lnTo>
                      <a:pt x="37" y="224"/>
                    </a:lnTo>
                    <a:lnTo>
                      <a:pt x="37" y="223"/>
                    </a:lnTo>
                    <a:lnTo>
                      <a:pt x="37" y="222"/>
                    </a:lnTo>
                    <a:lnTo>
                      <a:pt x="37" y="221"/>
                    </a:lnTo>
                    <a:lnTo>
                      <a:pt x="37" y="220"/>
                    </a:lnTo>
                    <a:lnTo>
                      <a:pt x="36" y="220"/>
                    </a:lnTo>
                    <a:lnTo>
                      <a:pt x="36" y="221"/>
                    </a:lnTo>
                    <a:lnTo>
                      <a:pt x="35" y="221"/>
                    </a:lnTo>
                    <a:lnTo>
                      <a:pt x="35" y="220"/>
                    </a:lnTo>
                    <a:lnTo>
                      <a:pt x="34" y="220"/>
                    </a:lnTo>
                    <a:lnTo>
                      <a:pt x="35" y="219"/>
                    </a:lnTo>
                    <a:lnTo>
                      <a:pt x="35" y="217"/>
                    </a:lnTo>
                    <a:lnTo>
                      <a:pt x="35" y="216"/>
                    </a:lnTo>
                    <a:lnTo>
                      <a:pt x="35" y="215"/>
                    </a:lnTo>
                    <a:lnTo>
                      <a:pt x="34" y="215"/>
                    </a:lnTo>
                    <a:lnTo>
                      <a:pt x="33" y="214"/>
                    </a:lnTo>
                    <a:lnTo>
                      <a:pt x="33" y="213"/>
                    </a:lnTo>
                    <a:lnTo>
                      <a:pt x="33" y="212"/>
                    </a:lnTo>
                    <a:lnTo>
                      <a:pt x="33" y="211"/>
                    </a:lnTo>
                    <a:lnTo>
                      <a:pt x="34" y="211"/>
                    </a:lnTo>
                    <a:lnTo>
                      <a:pt x="34" y="212"/>
                    </a:lnTo>
                    <a:lnTo>
                      <a:pt x="35" y="212"/>
                    </a:lnTo>
                    <a:lnTo>
                      <a:pt x="36" y="212"/>
                    </a:lnTo>
                    <a:lnTo>
                      <a:pt x="37" y="212"/>
                    </a:lnTo>
                    <a:lnTo>
                      <a:pt x="37" y="211"/>
                    </a:lnTo>
                    <a:lnTo>
                      <a:pt x="37" y="210"/>
                    </a:lnTo>
                    <a:lnTo>
                      <a:pt x="36" y="210"/>
                    </a:lnTo>
                    <a:lnTo>
                      <a:pt x="36" y="209"/>
                    </a:lnTo>
                    <a:lnTo>
                      <a:pt x="36" y="208"/>
                    </a:lnTo>
                    <a:lnTo>
                      <a:pt x="35" y="208"/>
                    </a:lnTo>
                    <a:lnTo>
                      <a:pt x="34" y="208"/>
                    </a:lnTo>
                    <a:lnTo>
                      <a:pt x="34" y="209"/>
                    </a:lnTo>
                    <a:lnTo>
                      <a:pt x="33" y="210"/>
                    </a:lnTo>
                    <a:lnTo>
                      <a:pt x="32" y="210"/>
                    </a:lnTo>
                    <a:lnTo>
                      <a:pt x="32" y="211"/>
                    </a:lnTo>
                    <a:lnTo>
                      <a:pt x="30" y="211"/>
                    </a:lnTo>
                    <a:lnTo>
                      <a:pt x="29" y="210"/>
                    </a:lnTo>
                    <a:lnTo>
                      <a:pt x="29" y="209"/>
                    </a:lnTo>
                    <a:lnTo>
                      <a:pt x="30" y="209"/>
                    </a:lnTo>
                    <a:lnTo>
                      <a:pt x="30" y="208"/>
                    </a:lnTo>
                    <a:lnTo>
                      <a:pt x="32" y="208"/>
                    </a:lnTo>
                    <a:lnTo>
                      <a:pt x="32" y="207"/>
                    </a:lnTo>
                    <a:lnTo>
                      <a:pt x="30" y="207"/>
                    </a:lnTo>
                    <a:lnTo>
                      <a:pt x="30" y="206"/>
                    </a:lnTo>
                    <a:lnTo>
                      <a:pt x="29" y="206"/>
                    </a:lnTo>
                    <a:lnTo>
                      <a:pt x="29" y="204"/>
                    </a:lnTo>
                    <a:lnTo>
                      <a:pt x="30" y="203"/>
                    </a:lnTo>
                    <a:lnTo>
                      <a:pt x="32" y="204"/>
                    </a:lnTo>
                    <a:lnTo>
                      <a:pt x="32" y="203"/>
                    </a:lnTo>
                    <a:lnTo>
                      <a:pt x="32" y="202"/>
                    </a:lnTo>
                    <a:lnTo>
                      <a:pt x="32" y="200"/>
                    </a:lnTo>
                    <a:lnTo>
                      <a:pt x="32" y="199"/>
                    </a:lnTo>
                    <a:lnTo>
                      <a:pt x="30" y="201"/>
                    </a:lnTo>
                    <a:lnTo>
                      <a:pt x="29" y="201"/>
                    </a:lnTo>
                    <a:lnTo>
                      <a:pt x="28" y="200"/>
                    </a:lnTo>
                    <a:lnTo>
                      <a:pt x="27" y="199"/>
                    </a:lnTo>
                    <a:lnTo>
                      <a:pt x="28" y="198"/>
                    </a:lnTo>
                    <a:lnTo>
                      <a:pt x="29" y="198"/>
                    </a:lnTo>
                    <a:lnTo>
                      <a:pt x="30" y="198"/>
                    </a:lnTo>
                    <a:lnTo>
                      <a:pt x="30" y="197"/>
                    </a:lnTo>
                    <a:lnTo>
                      <a:pt x="30" y="196"/>
                    </a:lnTo>
                    <a:lnTo>
                      <a:pt x="29" y="196"/>
                    </a:lnTo>
                    <a:lnTo>
                      <a:pt x="28" y="196"/>
                    </a:lnTo>
                    <a:lnTo>
                      <a:pt x="28" y="195"/>
                    </a:lnTo>
                    <a:lnTo>
                      <a:pt x="29" y="195"/>
                    </a:lnTo>
                    <a:lnTo>
                      <a:pt x="30" y="195"/>
                    </a:lnTo>
                    <a:lnTo>
                      <a:pt x="29" y="195"/>
                    </a:lnTo>
                    <a:lnTo>
                      <a:pt x="28" y="195"/>
                    </a:lnTo>
                    <a:lnTo>
                      <a:pt x="28" y="194"/>
                    </a:lnTo>
                    <a:lnTo>
                      <a:pt x="28" y="193"/>
                    </a:lnTo>
                    <a:lnTo>
                      <a:pt x="29" y="191"/>
                    </a:lnTo>
                    <a:lnTo>
                      <a:pt x="30" y="191"/>
                    </a:lnTo>
                    <a:lnTo>
                      <a:pt x="30" y="190"/>
                    </a:lnTo>
                    <a:lnTo>
                      <a:pt x="32" y="190"/>
                    </a:lnTo>
                    <a:lnTo>
                      <a:pt x="32" y="191"/>
                    </a:lnTo>
                    <a:lnTo>
                      <a:pt x="33" y="193"/>
                    </a:lnTo>
                    <a:lnTo>
                      <a:pt x="34" y="191"/>
                    </a:lnTo>
                    <a:lnTo>
                      <a:pt x="34" y="190"/>
                    </a:lnTo>
                    <a:lnTo>
                      <a:pt x="34" y="189"/>
                    </a:lnTo>
                    <a:lnTo>
                      <a:pt x="33" y="188"/>
                    </a:lnTo>
                    <a:lnTo>
                      <a:pt x="33" y="187"/>
                    </a:lnTo>
                    <a:lnTo>
                      <a:pt x="34" y="186"/>
                    </a:lnTo>
                    <a:lnTo>
                      <a:pt x="35" y="186"/>
                    </a:lnTo>
                    <a:lnTo>
                      <a:pt x="34" y="185"/>
                    </a:lnTo>
                    <a:lnTo>
                      <a:pt x="33" y="185"/>
                    </a:lnTo>
                    <a:lnTo>
                      <a:pt x="33" y="184"/>
                    </a:lnTo>
                    <a:lnTo>
                      <a:pt x="34" y="184"/>
                    </a:lnTo>
                    <a:lnTo>
                      <a:pt x="34" y="183"/>
                    </a:lnTo>
                    <a:lnTo>
                      <a:pt x="34" y="182"/>
                    </a:lnTo>
                    <a:lnTo>
                      <a:pt x="34" y="181"/>
                    </a:lnTo>
                    <a:lnTo>
                      <a:pt x="35" y="181"/>
                    </a:lnTo>
                    <a:lnTo>
                      <a:pt x="35" y="182"/>
                    </a:lnTo>
                    <a:lnTo>
                      <a:pt x="36" y="182"/>
                    </a:lnTo>
                    <a:lnTo>
                      <a:pt x="37" y="182"/>
                    </a:lnTo>
                    <a:lnTo>
                      <a:pt x="38" y="182"/>
                    </a:lnTo>
                    <a:lnTo>
                      <a:pt x="38" y="181"/>
                    </a:lnTo>
                    <a:lnTo>
                      <a:pt x="37" y="181"/>
                    </a:lnTo>
                    <a:lnTo>
                      <a:pt x="37" y="180"/>
                    </a:lnTo>
                    <a:lnTo>
                      <a:pt x="37" y="181"/>
                    </a:lnTo>
                    <a:lnTo>
                      <a:pt x="36" y="181"/>
                    </a:lnTo>
                    <a:lnTo>
                      <a:pt x="35" y="180"/>
                    </a:lnTo>
                    <a:lnTo>
                      <a:pt x="35" y="178"/>
                    </a:lnTo>
                    <a:lnTo>
                      <a:pt x="36" y="177"/>
                    </a:lnTo>
                    <a:lnTo>
                      <a:pt x="37" y="177"/>
                    </a:lnTo>
                    <a:lnTo>
                      <a:pt x="38" y="178"/>
                    </a:lnTo>
                    <a:lnTo>
                      <a:pt x="39" y="178"/>
                    </a:lnTo>
                    <a:lnTo>
                      <a:pt x="39" y="177"/>
                    </a:lnTo>
                    <a:lnTo>
                      <a:pt x="38" y="177"/>
                    </a:lnTo>
                    <a:lnTo>
                      <a:pt x="38" y="176"/>
                    </a:lnTo>
                    <a:lnTo>
                      <a:pt x="38" y="175"/>
                    </a:lnTo>
                    <a:lnTo>
                      <a:pt x="37" y="174"/>
                    </a:lnTo>
                    <a:lnTo>
                      <a:pt x="36" y="174"/>
                    </a:lnTo>
                    <a:lnTo>
                      <a:pt x="35" y="174"/>
                    </a:lnTo>
                    <a:lnTo>
                      <a:pt x="35" y="173"/>
                    </a:lnTo>
                    <a:lnTo>
                      <a:pt x="36" y="173"/>
                    </a:lnTo>
                    <a:lnTo>
                      <a:pt x="37" y="173"/>
                    </a:lnTo>
                    <a:lnTo>
                      <a:pt x="37" y="172"/>
                    </a:lnTo>
                    <a:lnTo>
                      <a:pt x="36" y="172"/>
                    </a:lnTo>
                    <a:lnTo>
                      <a:pt x="35" y="172"/>
                    </a:lnTo>
                    <a:lnTo>
                      <a:pt x="35" y="171"/>
                    </a:lnTo>
                    <a:lnTo>
                      <a:pt x="36" y="171"/>
                    </a:lnTo>
                    <a:lnTo>
                      <a:pt x="36" y="170"/>
                    </a:lnTo>
                    <a:lnTo>
                      <a:pt x="35" y="170"/>
                    </a:lnTo>
                    <a:lnTo>
                      <a:pt x="35" y="169"/>
                    </a:lnTo>
                    <a:lnTo>
                      <a:pt x="36" y="169"/>
                    </a:lnTo>
                    <a:lnTo>
                      <a:pt x="37" y="169"/>
                    </a:lnTo>
                    <a:lnTo>
                      <a:pt x="37" y="168"/>
                    </a:lnTo>
                    <a:lnTo>
                      <a:pt x="37" y="167"/>
                    </a:lnTo>
                    <a:lnTo>
                      <a:pt x="37" y="165"/>
                    </a:lnTo>
                    <a:lnTo>
                      <a:pt x="38" y="164"/>
                    </a:lnTo>
                    <a:lnTo>
                      <a:pt x="38" y="163"/>
                    </a:lnTo>
                    <a:lnTo>
                      <a:pt x="39" y="163"/>
                    </a:lnTo>
                    <a:lnTo>
                      <a:pt x="39" y="162"/>
                    </a:lnTo>
                    <a:lnTo>
                      <a:pt x="38" y="162"/>
                    </a:lnTo>
                    <a:lnTo>
                      <a:pt x="37" y="162"/>
                    </a:lnTo>
                    <a:lnTo>
                      <a:pt x="36" y="162"/>
                    </a:lnTo>
                    <a:lnTo>
                      <a:pt x="36" y="161"/>
                    </a:lnTo>
                    <a:lnTo>
                      <a:pt x="36" y="160"/>
                    </a:lnTo>
                    <a:lnTo>
                      <a:pt x="37" y="160"/>
                    </a:lnTo>
                    <a:lnTo>
                      <a:pt x="37" y="159"/>
                    </a:lnTo>
                    <a:lnTo>
                      <a:pt x="36" y="159"/>
                    </a:lnTo>
                    <a:lnTo>
                      <a:pt x="36" y="160"/>
                    </a:lnTo>
                    <a:lnTo>
                      <a:pt x="35" y="159"/>
                    </a:lnTo>
                    <a:lnTo>
                      <a:pt x="35" y="158"/>
                    </a:lnTo>
                    <a:lnTo>
                      <a:pt x="36" y="158"/>
                    </a:lnTo>
                    <a:lnTo>
                      <a:pt x="37" y="158"/>
                    </a:lnTo>
                    <a:lnTo>
                      <a:pt x="37" y="157"/>
                    </a:lnTo>
                    <a:lnTo>
                      <a:pt x="36" y="158"/>
                    </a:lnTo>
                    <a:lnTo>
                      <a:pt x="35" y="158"/>
                    </a:lnTo>
                    <a:lnTo>
                      <a:pt x="35" y="157"/>
                    </a:lnTo>
                    <a:lnTo>
                      <a:pt x="36" y="156"/>
                    </a:lnTo>
                    <a:lnTo>
                      <a:pt x="36" y="155"/>
                    </a:lnTo>
                    <a:lnTo>
                      <a:pt x="35" y="155"/>
                    </a:lnTo>
                    <a:lnTo>
                      <a:pt x="34" y="155"/>
                    </a:lnTo>
                    <a:lnTo>
                      <a:pt x="34" y="154"/>
                    </a:lnTo>
                    <a:lnTo>
                      <a:pt x="35" y="154"/>
                    </a:lnTo>
                    <a:lnTo>
                      <a:pt x="36" y="154"/>
                    </a:lnTo>
                    <a:lnTo>
                      <a:pt x="37" y="154"/>
                    </a:lnTo>
                    <a:lnTo>
                      <a:pt x="37" y="152"/>
                    </a:lnTo>
                    <a:lnTo>
                      <a:pt x="37" y="151"/>
                    </a:lnTo>
                    <a:lnTo>
                      <a:pt x="37" y="150"/>
                    </a:lnTo>
                    <a:lnTo>
                      <a:pt x="38" y="149"/>
                    </a:lnTo>
                    <a:lnTo>
                      <a:pt x="38" y="148"/>
                    </a:lnTo>
                    <a:lnTo>
                      <a:pt x="37" y="148"/>
                    </a:lnTo>
                    <a:lnTo>
                      <a:pt x="36" y="148"/>
                    </a:lnTo>
                    <a:lnTo>
                      <a:pt x="35" y="148"/>
                    </a:lnTo>
                    <a:lnTo>
                      <a:pt x="35" y="147"/>
                    </a:lnTo>
                    <a:lnTo>
                      <a:pt x="35" y="146"/>
                    </a:lnTo>
                    <a:lnTo>
                      <a:pt x="36" y="146"/>
                    </a:lnTo>
                    <a:lnTo>
                      <a:pt x="37" y="146"/>
                    </a:lnTo>
                    <a:lnTo>
                      <a:pt x="37" y="145"/>
                    </a:lnTo>
                    <a:lnTo>
                      <a:pt x="38" y="144"/>
                    </a:lnTo>
                    <a:lnTo>
                      <a:pt x="38" y="143"/>
                    </a:lnTo>
                    <a:lnTo>
                      <a:pt x="38" y="142"/>
                    </a:lnTo>
                    <a:lnTo>
                      <a:pt x="37" y="142"/>
                    </a:lnTo>
                    <a:lnTo>
                      <a:pt x="37" y="140"/>
                    </a:lnTo>
                    <a:lnTo>
                      <a:pt x="36" y="140"/>
                    </a:lnTo>
                    <a:lnTo>
                      <a:pt x="36" y="139"/>
                    </a:lnTo>
                    <a:lnTo>
                      <a:pt x="35" y="140"/>
                    </a:lnTo>
                    <a:lnTo>
                      <a:pt x="35" y="143"/>
                    </a:lnTo>
                    <a:lnTo>
                      <a:pt x="34" y="144"/>
                    </a:lnTo>
                    <a:lnTo>
                      <a:pt x="33" y="144"/>
                    </a:lnTo>
                    <a:lnTo>
                      <a:pt x="33" y="143"/>
                    </a:lnTo>
                    <a:lnTo>
                      <a:pt x="33" y="142"/>
                    </a:lnTo>
                    <a:lnTo>
                      <a:pt x="34" y="140"/>
                    </a:lnTo>
                    <a:lnTo>
                      <a:pt x="33" y="140"/>
                    </a:lnTo>
                    <a:lnTo>
                      <a:pt x="32" y="138"/>
                    </a:lnTo>
                    <a:lnTo>
                      <a:pt x="30" y="138"/>
                    </a:lnTo>
                    <a:lnTo>
                      <a:pt x="32" y="138"/>
                    </a:lnTo>
                    <a:lnTo>
                      <a:pt x="32" y="139"/>
                    </a:lnTo>
                    <a:lnTo>
                      <a:pt x="30" y="139"/>
                    </a:lnTo>
                    <a:lnTo>
                      <a:pt x="29" y="138"/>
                    </a:lnTo>
                    <a:lnTo>
                      <a:pt x="29" y="137"/>
                    </a:lnTo>
                    <a:lnTo>
                      <a:pt x="28" y="137"/>
                    </a:lnTo>
                    <a:lnTo>
                      <a:pt x="27" y="138"/>
                    </a:lnTo>
                    <a:lnTo>
                      <a:pt x="26" y="138"/>
                    </a:lnTo>
                    <a:lnTo>
                      <a:pt x="25" y="138"/>
                    </a:lnTo>
                    <a:lnTo>
                      <a:pt x="25" y="136"/>
                    </a:lnTo>
                    <a:lnTo>
                      <a:pt x="24" y="136"/>
                    </a:lnTo>
                    <a:lnTo>
                      <a:pt x="24" y="137"/>
                    </a:lnTo>
                    <a:lnTo>
                      <a:pt x="23" y="137"/>
                    </a:lnTo>
                    <a:lnTo>
                      <a:pt x="23" y="136"/>
                    </a:lnTo>
                    <a:lnTo>
                      <a:pt x="22" y="136"/>
                    </a:lnTo>
                    <a:lnTo>
                      <a:pt x="21" y="136"/>
                    </a:lnTo>
                    <a:lnTo>
                      <a:pt x="21" y="135"/>
                    </a:lnTo>
                    <a:lnTo>
                      <a:pt x="20" y="135"/>
                    </a:lnTo>
                    <a:lnTo>
                      <a:pt x="18" y="135"/>
                    </a:lnTo>
                    <a:lnTo>
                      <a:pt x="17" y="135"/>
                    </a:lnTo>
                    <a:lnTo>
                      <a:pt x="18" y="134"/>
                    </a:lnTo>
                    <a:lnTo>
                      <a:pt x="20" y="134"/>
                    </a:lnTo>
                    <a:lnTo>
                      <a:pt x="20" y="133"/>
                    </a:lnTo>
                    <a:lnTo>
                      <a:pt x="18" y="133"/>
                    </a:lnTo>
                    <a:lnTo>
                      <a:pt x="17" y="133"/>
                    </a:lnTo>
                    <a:lnTo>
                      <a:pt x="17" y="132"/>
                    </a:lnTo>
                    <a:lnTo>
                      <a:pt x="16" y="132"/>
                    </a:lnTo>
                    <a:lnTo>
                      <a:pt x="15" y="134"/>
                    </a:lnTo>
                    <a:lnTo>
                      <a:pt x="14" y="134"/>
                    </a:lnTo>
                    <a:lnTo>
                      <a:pt x="14" y="133"/>
                    </a:lnTo>
                    <a:lnTo>
                      <a:pt x="14" y="132"/>
                    </a:lnTo>
                    <a:lnTo>
                      <a:pt x="13" y="132"/>
                    </a:lnTo>
                    <a:lnTo>
                      <a:pt x="13" y="131"/>
                    </a:lnTo>
                    <a:lnTo>
                      <a:pt x="14" y="131"/>
                    </a:lnTo>
                    <a:lnTo>
                      <a:pt x="15" y="131"/>
                    </a:lnTo>
                    <a:lnTo>
                      <a:pt x="15" y="130"/>
                    </a:lnTo>
                    <a:lnTo>
                      <a:pt x="15" y="129"/>
                    </a:lnTo>
                    <a:lnTo>
                      <a:pt x="14" y="129"/>
                    </a:lnTo>
                    <a:lnTo>
                      <a:pt x="13" y="127"/>
                    </a:lnTo>
                    <a:lnTo>
                      <a:pt x="13" y="126"/>
                    </a:lnTo>
                    <a:lnTo>
                      <a:pt x="12" y="126"/>
                    </a:lnTo>
                    <a:lnTo>
                      <a:pt x="11" y="126"/>
                    </a:lnTo>
                    <a:lnTo>
                      <a:pt x="12" y="124"/>
                    </a:lnTo>
                    <a:lnTo>
                      <a:pt x="12" y="123"/>
                    </a:lnTo>
                    <a:lnTo>
                      <a:pt x="11" y="123"/>
                    </a:lnTo>
                    <a:lnTo>
                      <a:pt x="10" y="123"/>
                    </a:lnTo>
                    <a:lnTo>
                      <a:pt x="10" y="122"/>
                    </a:lnTo>
                    <a:lnTo>
                      <a:pt x="11" y="122"/>
                    </a:lnTo>
                    <a:lnTo>
                      <a:pt x="11" y="121"/>
                    </a:lnTo>
                    <a:lnTo>
                      <a:pt x="10" y="121"/>
                    </a:lnTo>
                    <a:lnTo>
                      <a:pt x="9" y="120"/>
                    </a:lnTo>
                    <a:lnTo>
                      <a:pt x="10" y="120"/>
                    </a:lnTo>
                    <a:lnTo>
                      <a:pt x="10" y="119"/>
                    </a:lnTo>
                    <a:lnTo>
                      <a:pt x="9" y="119"/>
                    </a:lnTo>
                    <a:lnTo>
                      <a:pt x="8" y="119"/>
                    </a:lnTo>
                    <a:lnTo>
                      <a:pt x="8" y="118"/>
                    </a:lnTo>
                    <a:lnTo>
                      <a:pt x="7" y="117"/>
                    </a:lnTo>
                    <a:lnTo>
                      <a:pt x="7" y="116"/>
                    </a:lnTo>
                    <a:lnTo>
                      <a:pt x="8" y="116"/>
                    </a:lnTo>
                    <a:lnTo>
                      <a:pt x="9" y="116"/>
                    </a:lnTo>
                    <a:lnTo>
                      <a:pt x="9" y="114"/>
                    </a:lnTo>
                    <a:lnTo>
                      <a:pt x="9" y="113"/>
                    </a:lnTo>
                    <a:lnTo>
                      <a:pt x="8" y="114"/>
                    </a:lnTo>
                    <a:lnTo>
                      <a:pt x="7" y="114"/>
                    </a:lnTo>
                    <a:lnTo>
                      <a:pt x="7" y="113"/>
                    </a:lnTo>
                    <a:lnTo>
                      <a:pt x="7" y="112"/>
                    </a:lnTo>
                    <a:lnTo>
                      <a:pt x="5" y="112"/>
                    </a:lnTo>
                    <a:lnTo>
                      <a:pt x="4" y="112"/>
                    </a:lnTo>
                    <a:lnTo>
                      <a:pt x="4" y="113"/>
                    </a:lnTo>
                    <a:lnTo>
                      <a:pt x="3" y="113"/>
                    </a:lnTo>
                    <a:lnTo>
                      <a:pt x="2" y="113"/>
                    </a:lnTo>
                    <a:lnTo>
                      <a:pt x="1" y="113"/>
                    </a:lnTo>
                    <a:lnTo>
                      <a:pt x="1" y="112"/>
                    </a:lnTo>
                    <a:lnTo>
                      <a:pt x="0" y="111"/>
                    </a:lnTo>
                    <a:lnTo>
                      <a:pt x="1" y="111"/>
                    </a:lnTo>
                    <a:lnTo>
                      <a:pt x="1" y="110"/>
                    </a:lnTo>
                    <a:lnTo>
                      <a:pt x="2" y="110"/>
                    </a:lnTo>
                    <a:lnTo>
                      <a:pt x="2" y="109"/>
                    </a:lnTo>
                    <a:lnTo>
                      <a:pt x="3" y="109"/>
                    </a:lnTo>
                    <a:lnTo>
                      <a:pt x="3" y="108"/>
                    </a:lnTo>
                    <a:lnTo>
                      <a:pt x="4" y="107"/>
                    </a:lnTo>
                    <a:lnTo>
                      <a:pt x="3" y="107"/>
                    </a:lnTo>
                    <a:lnTo>
                      <a:pt x="2" y="107"/>
                    </a:lnTo>
                    <a:lnTo>
                      <a:pt x="1" y="106"/>
                    </a:lnTo>
                    <a:lnTo>
                      <a:pt x="0" y="105"/>
                    </a:lnTo>
                    <a:lnTo>
                      <a:pt x="0" y="104"/>
                    </a:lnTo>
                    <a:lnTo>
                      <a:pt x="1" y="104"/>
                    </a:lnTo>
                    <a:lnTo>
                      <a:pt x="2" y="104"/>
                    </a:lnTo>
                    <a:lnTo>
                      <a:pt x="3" y="105"/>
                    </a:lnTo>
                    <a:lnTo>
                      <a:pt x="4" y="105"/>
                    </a:lnTo>
                    <a:lnTo>
                      <a:pt x="4" y="104"/>
                    </a:lnTo>
                    <a:lnTo>
                      <a:pt x="3" y="104"/>
                    </a:lnTo>
                    <a:lnTo>
                      <a:pt x="3" y="103"/>
                    </a:lnTo>
                    <a:lnTo>
                      <a:pt x="2" y="103"/>
                    </a:lnTo>
                    <a:lnTo>
                      <a:pt x="1" y="103"/>
                    </a:lnTo>
                    <a:lnTo>
                      <a:pt x="1" y="101"/>
                    </a:lnTo>
                    <a:lnTo>
                      <a:pt x="2" y="101"/>
                    </a:lnTo>
                    <a:lnTo>
                      <a:pt x="3" y="100"/>
                    </a:lnTo>
                    <a:lnTo>
                      <a:pt x="4" y="100"/>
                    </a:lnTo>
                    <a:lnTo>
                      <a:pt x="4" y="99"/>
                    </a:lnTo>
                    <a:lnTo>
                      <a:pt x="5" y="99"/>
                    </a:lnTo>
                    <a:lnTo>
                      <a:pt x="4" y="98"/>
                    </a:lnTo>
                    <a:lnTo>
                      <a:pt x="3" y="98"/>
                    </a:lnTo>
                    <a:lnTo>
                      <a:pt x="2" y="97"/>
                    </a:lnTo>
                    <a:lnTo>
                      <a:pt x="3" y="96"/>
                    </a:lnTo>
                    <a:lnTo>
                      <a:pt x="4" y="96"/>
                    </a:lnTo>
                    <a:lnTo>
                      <a:pt x="4" y="95"/>
                    </a:lnTo>
                    <a:lnTo>
                      <a:pt x="3" y="95"/>
                    </a:lnTo>
                    <a:lnTo>
                      <a:pt x="3" y="94"/>
                    </a:lnTo>
                    <a:lnTo>
                      <a:pt x="3" y="93"/>
                    </a:lnTo>
                    <a:lnTo>
                      <a:pt x="3" y="92"/>
                    </a:lnTo>
                    <a:lnTo>
                      <a:pt x="4" y="92"/>
                    </a:lnTo>
                    <a:lnTo>
                      <a:pt x="4" y="93"/>
                    </a:lnTo>
                    <a:lnTo>
                      <a:pt x="4" y="94"/>
                    </a:lnTo>
                    <a:lnTo>
                      <a:pt x="5" y="95"/>
                    </a:lnTo>
                    <a:lnTo>
                      <a:pt x="7" y="95"/>
                    </a:lnTo>
                    <a:lnTo>
                      <a:pt x="7" y="94"/>
                    </a:lnTo>
                    <a:lnTo>
                      <a:pt x="7" y="93"/>
                    </a:lnTo>
                    <a:lnTo>
                      <a:pt x="8" y="93"/>
                    </a:lnTo>
                    <a:lnTo>
                      <a:pt x="9" y="93"/>
                    </a:lnTo>
                    <a:lnTo>
                      <a:pt x="10" y="93"/>
                    </a:lnTo>
                    <a:lnTo>
                      <a:pt x="10" y="92"/>
                    </a:lnTo>
                    <a:lnTo>
                      <a:pt x="9" y="92"/>
                    </a:lnTo>
                    <a:lnTo>
                      <a:pt x="9" y="91"/>
                    </a:lnTo>
                    <a:lnTo>
                      <a:pt x="7" y="90"/>
                    </a:lnTo>
                    <a:lnTo>
                      <a:pt x="5" y="90"/>
                    </a:lnTo>
                    <a:lnTo>
                      <a:pt x="5" y="88"/>
                    </a:lnTo>
                    <a:lnTo>
                      <a:pt x="4" y="88"/>
                    </a:lnTo>
                    <a:lnTo>
                      <a:pt x="4" y="87"/>
                    </a:lnTo>
                    <a:lnTo>
                      <a:pt x="4" y="86"/>
                    </a:lnTo>
                    <a:lnTo>
                      <a:pt x="4" y="85"/>
                    </a:lnTo>
                    <a:lnTo>
                      <a:pt x="5" y="85"/>
                    </a:lnTo>
                    <a:lnTo>
                      <a:pt x="5" y="86"/>
                    </a:lnTo>
                    <a:lnTo>
                      <a:pt x="5" y="87"/>
                    </a:lnTo>
                    <a:lnTo>
                      <a:pt x="7" y="88"/>
                    </a:lnTo>
                    <a:lnTo>
                      <a:pt x="7" y="87"/>
                    </a:lnTo>
                    <a:lnTo>
                      <a:pt x="8" y="87"/>
                    </a:lnTo>
                    <a:lnTo>
                      <a:pt x="7" y="86"/>
                    </a:lnTo>
                    <a:lnTo>
                      <a:pt x="7" y="85"/>
                    </a:lnTo>
                    <a:lnTo>
                      <a:pt x="7" y="84"/>
                    </a:lnTo>
                    <a:lnTo>
                      <a:pt x="7" y="83"/>
                    </a:lnTo>
                    <a:lnTo>
                      <a:pt x="7" y="81"/>
                    </a:lnTo>
                    <a:lnTo>
                      <a:pt x="7" y="79"/>
                    </a:lnTo>
                    <a:lnTo>
                      <a:pt x="7" y="78"/>
                    </a:lnTo>
                    <a:lnTo>
                      <a:pt x="7" y="77"/>
                    </a:lnTo>
                    <a:lnTo>
                      <a:pt x="5" y="77"/>
                    </a:lnTo>
                    <a:lnTo>
                      <a:pt x="4" y="75"/>
                    </a:lnTo>
                    <a:lnTo>
                      <a:pt x="4" y="74"/>
                    </a:lnTo>
                    <a:lnTo>
                      <a:pt x="5" y="74"/>
                    </a:lnTo>
                    <a:lnTo>
                      <a:pt x="5" y="75"/>
                    </a:lnTo>
                    <a:lnTo>
                      <a:pt x="7" y="75"/>
                    </a:lnTo>
                    <a:lnTo>
                      <a:pt x="7" y="74"/>
                    </a:lnTo>
                    <a:lnTo>
                      <a:pt x="8" y="74"/>
                    </a:lnTo>
                    <a:lnTo>
                      <a:pt x="8" y="73"/>
                    </a:lnTo>
                    <a:lnTo>
                      <a:pt x="7" y="73"/>
                    </a:lnTo>
                    <a:lnTo>
                      <a:pt x="5" y="73"/>
                    </a:lnTo>
                    <a:lnTo>
                      <a:pt x="4" y="73"/>
                    </a:lnTo>
                    <a:lnTo>
                      <a:pt x="4" y="72"/>
                    </a:lnTo>
                    <a:lnTo>
                      <a:pt x="5" y="71"/>
                    </a:lnTo>
                    <a:lnTo>
                      <a:pt x="5" y="70"/>
                    </a:lnTo>
                    <a:lnTo>
                      <a:pt x="7" y="70"/>
                    </a:lnTo>
                    <a:lnTo>
                      <a:pt x="8" y="69"/>
                    </a:lnTo>
                    <a:lnTo>
                      <a:pt x="9" y="69"/>
                    </a:lnTo>
                    <a:lnTo>
                      <a:pt x="9" y="67"/>
                    </a:lnTo>
                    <a:lnTo>
                      <a:pt x="10" y="67"/>
                    </a:lnTo>
                    <a:lnTo>
                      <a:pt x="11" y="66"/>
                    </a:lnTo>
                    <a:lnTo>
                      <a:pt x="12" y="66"/>
                    </a:lnTo>
                    <a:lnTo>
                      <a:pt x="12" y="67"/>
                    </a:lnTo>
                    <a:lnTo>
                      <a:pt x="13" y="66"/>
                    </a:lnTo>
                    <a:lnTo>
                      <a:pt x="13" y="65"/>
                    </a:lnTo>
                    <a:lnTo>
                      <a:pt x="14" y="65"/>
                    </a:lnTo>
                    <a:lnTo>
                      <a:pt x="14" y="63"/>
                    </a:lnTo>
                    <a:lnTo>
                      <a:pt x="15" y="63"/>
                    </a:lnTo>
                    <a:lnTo>
                      <a:pt x="15" y="62"/>
                    </a:lnTo>
                    <a:lnTo>
                      <a:pt x="38" y="62"/>
                    </a:lnTo>
                    <a:lnTo>
                      <a:pt x="45" y="62"/>
                    </a:lnTo>
                    <a:lnTo>
                      <a:pt x="49" y="62"/>
                    </a:lnTo>
                    <a:lnTo>
                      <a:pt x="55" y="61"/>
                    </a:lnTo>
                    <a:lnTo>
                      <a:pt x="58" y="62"/>
                    </a:lnTo>
                    <a:lnTo>
                      <a:pt x="59" y="61"/>
                    </a:lnTo>
                    <a:lnTo>
                      <a:pt x="62" y="62"/>
                    </a:lnTo>
                    <a:lnTo>
                      <a:pt x="67" y="62"/>
                    </a:lnTo>
                    <a:lnTo>
                      <a:pt x="75" y="62"/>
                    </a:lnTo>
                    <a:lnTo>
                      <a:pt x="88" y="62"/>
                    </a:lnTo>
                    <a:lnTo>
                      <a:pt x="97" y="61"/>
                    </a:lnTo>
                    <a:lnTo>
                      <a:pt x="106" y="61"/>
                    </a:lnTo>
                    <a:lnTo>
                      <a:pt x="112" y="61"/>
                    </a:lnTo>
                    <a:lnTo>
                      <a:pt x="128" y="61"/>
                    </a:lnTo>
                    <a:lnTo>
                      <a:pt x="134" y="62"/>
                    </a:lnTo>
                    <a:lnTo>
                      <a:pt x="147" y="62"/>
                    </a:lnTo>
                    <a:lnTo>
                      <a:pt x="150" y="62"/>
                    </a:lnTo>
                    <a:lnTo>
                      <a:pt x="151" y="62"/>
                    </a:lnTo>
                    <a:lnTo>
                      <a:pt x="153" y="62"/>
                    </a:lnTo>
                    <a:lnTo>
                      <a:pt x="154" y="62"/>
                    </a:lnTo>
                    <a:lnTo>
                      <a:pt x="163" y="62"/>
                    </a:lnTo>
                    <a:lnTo>
                      <a:pt x="171" y="62"/>
                    </a:lnTo>
                    <a:lnTo>
                      <a:pt x="171" y="48"/>
                    </a:lnTo>
                    <a:lnTo>
                      <a:pt x="171" y="30"/>
                    </a:lnTo>
                    <a:lnTo>
                      <a:pt x="171" y="24"/>
                    </a:lnTo>
                    <a:lnTo>
                      <a:pt x="171" y="10"/>
                    </a:lnTo>
                    <a:lnTo>
                      <a:pt x="171" y="0"/>
                    </a:lnTo>
                    <a:lnTo>
                      <a:pt x="202" y="0"/>
                    </a:lnTo>
                    <a:lnTo>
                      <a:pt x="213" y="0"/>
                    </a:lnTo>
                    <a:lnTo>
                      <a:pt x="224" y="0"/>
                    </a:lnTo>
                    <a:lnTo>
                      <a:pt x="234" y="0"/>
                    </a:lnTo>
                    <a:lnTo>
                      <a:pt x="234" y="10"/>
                    </a:lnTo>
                    <a:lnTo>
                      <a:pt x="234" y="20"/>
                    </a:lnTo>
                    <a:lnTo>
                      <a:pt x="234" y="21"/>
                    </a:lnTo>
                    <a:lnTo>
                      <a:pt x="234" y="28"/>
                    </a:lnTo>
                    <a:lnTo>
                      <a:pt x="233" y="30"/>
                    </a:lnTo>
                    <a:lnTo>
                      <a:pt x="233" y="31"/>
                    </a:lnTo>
                    <a:lnTo>
                      <a:pt x="233" y="37"/>
                    </a:lnTo>
                    <a:lnTo>
                      <a:pt x="233" y="41"/>
                    </a:lnTo>
                    <a:lnTo>
                      <a:pt x="233" y="53"/>
                    </a:lnTo>
                    <a:lnTo>
                      <a:pt x="233" y="59"/>
                    </a:lnTo>
                    <a:lnTo>
                      <a:pt x="233" y="62"/>
                    </a:lnTo>
                    <a:lnTo>
                      <a:pt x="240" y="62"/>
                    </a:lnTo>
                    <a:lnTo>
                      <a:pt x="265" y="61"/>
                    </a:lnTo>
                    <a:lnTo>
                      <a:pt x="276" y="61"/>
                    </a:lnTo>
                    <a:lnTo>
                      <a:pt x="300" y="61"/>
                    </a:lnTo>
                    <a:lnTo>
                      <a:pt x="306" y="61"/>
                    </a:lnTo>
                    <a:lnTo>
                      <a:pt x="316" y="61"/>
                    </a:lnTo>
                    <a:lnTo>
                      <a:pt x="319" y="61"/>
                    </a:lnTo>
                    <a:lnTo>
                      <a:pt x="326" y="61"/>
                    </a:lnTo>
                    <a:lnTo>
                      <a:pt x="376" y="61"/>
                    </a:lnTo>
                    <a:lnTo>
                      <a:pt x="384" y="61"/>
                    </a:lnTo>
                    <a:lnTo>
                      <a:pt x="389" y="61"/>
                    </a:lnTo>
                    <a:close/>
                  </a:path>
                </a:pathLst>
              </a:custGeom>
              <a:solidFill>
                <a:srgbClr val="C1DD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5" name="Freeform 303">
                <a:extLst>
                  <a:ext uri="{FF2B5EF4-FFF2-40B4-BE49-F238E27FC236}">
                    <a16:creationId xmlns:a16="http://schemas.microsoft.com/office/drawing/2014/main" id="{22D4637F-A443-755E-77FE-A6DA09B27965}"/>
                  </a:ext>
                </a:extLst>
              </p:cNvPr>
              <p:cNvSpPr>
                <a:spLocks/>
              </p:cNvSpPr>
              <p:nvPr/>
            </p:nvSpPr>
            <p:spPr bwMode="auto">
              <a:xfrm>
                <a:off x="2032001" y="4022725"/>
                <a:ext cx="531813" cy="508000"/>
              </a:xfrm>
              <a:custGeom>
                <a:avLst/>
                <a:gdLst>
                  <a:gd name="T0" fmla="*/ 307 w 335"/>
                  <a:gd name="T1" fmla="*/ 8 h 320"/>
                  <a:gd name="T2" fmla="*/ 311 w 335"/>
                  <a:gd name="T3" fmla="*/ 17 h 320"/>
                  <a:gd name="T4" fmla="*/ 313 w 335"/>
                  <a:gd name="T5" fmla="*/ 23 h 320"/>
                  <a:gd name="T6" fmla="*/ 319 w 335"/>
                  <a:gd name="T7" fmla="*/ 30 h 320"/>
                  <a:gd name="T8" fmla="*/ 324 w 335"/>
                  <a:gd name="T9" fmla="*/ 36 h 320"/>
                  <a:gd name="T10" fmla="*/ 326 w 335"/>
                  <a:gd name="T11" fmla="*/ 43 h 320"/>
                  <a:gd name="T12" fmla="*/ 325 w 335"/>
                  <a:gd name="T13" fmla="*/ 51 h 320"/>
                  <a:gd name="T14" fmla="*/ 322 w 335"/>
                  <a:gd name="T15" fmla="*/ 58 h 320"/>
                  <a:gd name="T16" fmla="*/ 323 w 335"/>
                  <a:gd name="T17" fmla="*/ 64 h 320"/>
                  <a:gd name="T18" fmla="*/ 321 w 335"/>
                  <a:gd name="T19" fmla="*/ 70 h 320"/>
                  <a:gd name="T20" fmla="*/ 315 w 335"/>
                  <a:gd name="T21" fmla="*/ 72 h 320"/>
                  <a:gd name="T22" fmla="*/ 308 w 335"/>
                  <a:gd name="T23" fmla="*/ 77 h 320"/>
                  <a:gd name="T24" fmla="*/ 308 w 335"/>
                  <a:gd name="T25" fmla="*/ 85 h 320"/>
                  <a:gd name="T26" fmla="*/ 308 w 335"/>
                  <a:gd name="T27" fmla="*/ 92 h 320"/>
                  <a:gd name="T28" fmla="*/ 309 w 335"/>
                  <a:gd name="T29" fmla="*/ 97 h 320"/>
                  <a:gd name="T30" fmla="*/ 311 w 335"/>
                  <a:gd name="T31" fmla="*/ 104 h 320"/>
                  <a:gd name="T32" fmla="*/ 313 w 335"/>
                  <a:gd name="T33" fmla="*/ 111 h 320"/>
                  <a:gd name="T34" fmla="*/ 310 w 335"/>
                  <a:gd name="T35" fmla="*/ 117 h 320"/>
                  <a:gd name="T36" fmla="*/ 308 w 335"/>
                  <a:gd name="T37" fmla="*/ 122 h 320"/>
                  <a:gd name="T38" fmla="*/ 310 w 335"/>
                  <a:gd name="T39" fmla="*/ 129 h 320"/>
                  <a:gd name="T40" fmla="*/ 309 w 335"/>
                  <a:gd name="T41" fmla="*/ 136 h 320"/>
                  <a:gd name="T42" fmla="*/ 308 w 335"/>
                  <a:gd name="T43" fmla="*/ 143 h 320"/>
                  <a:gd name="T44" fmla="*/ 311 w 335"/>
                  <a:gd name="T45" fmla="*/ 148 h 320"/>
                  <a:gd name="T46" fmla="*/ 310 w 335"/>
                  <a:gd name="T47" fmla="*/ 156 h 320"/>
                  <a:gd name="T48" fmla="*/ 308 w 335"/>
                  <a:gd name="T49" fmla="*/ 164 h 320"/>
                  <a:gd name="T50" fmla="*/ 309 w 335"/>
                  <a:gd name="T51" fmla="*/ 171 h 320"/>
                  <a:gd name="T52" fmla="*/ 310 w 335"/>
                  <a:gd name="T53" fmla="*/ 182 h 320"/>
                  <a:gd name="T54" fmla="*/ 311 w 335"/>
                  <a:gd name="T55" fmla="*/ 184 h 320"/>
                  <a:gd name="T56" fmla="*/ 317 w 335"/>
                  <a:gd name="T57" fmla="*/ 194 h 320"/>
                  <a:gd name="T58" fmla="*/ 325 w 335"/>
                  <a:gd name="T59" fmla="*/ 200 h 320"/>
                  <a:gd name="T60" fmla="*/ 334 w 335"/>
                  <a:gd name="T61" fmla="*/ 202 h 320"/>
                  <a:gd name="T62" fmla="*/ 329 w 335"/>
                  <a:gd name="T63" fmla="*/ 210 h 320"/>
                  <a:gd name="T64" fmla="*/ 326 w 335"/>
                  <a:gd name="T65" fmla="*/ 220 h 320"/>
                  <a:gd name="T66" fmla="*/ 316 w 335"/>
                  <a:gd name="T67" fmla="*/ 223 h 320"/>
                  <a:gd name="T68" fmla="*/ 316 w 335"/>
                  <a:gd name="T69" fmla="*/ 229 h 320"/>
                  <a:gd name="T70" fmla="*/ 317 w 335"/>
                  <a:gd name="T71" fmla="*/ 237 h 320"/>
                  <a:gd name="T72" fmla="*/ 309 w 335"/>
                  <a:gd name="T73" fmla="*/ 246 h 320"/>
                  <a:gd name="T74" fmla="*/ 308 w 335"/>
                  <a:gd name="T75" fmla="*/ 258 h 320"/>
                  <a:gd name="T76" fmla="*/ 310 w 335"/>
                  <a:gd name="T77" fmla="*/ 269 h 320"/>
                  <a:gd name="T78" fmla="*/ 311 w 335"/>
                  <a:gd name="T79" fmla="*/ 280 h 320"/>
                  <a:gd name="T80" fmla="*/ 306 w 335"/>
                  <a:gd name="T81" fmla="*/ 286 h 320"/>
                  <a:gd name="T82" fmla="*/ 302 w 335"/>
                  <a:gd name="T83" fmla="*/ 296 h 320"/>
                  <a:gd name="T84" fmla="*/ 292 w 335"/>
                  <a:gd name="T85" fmla="*/ 290 h 320"/>
                  <a:gd name="T86" fmla="*/ 273 w 335"/>
                  <a:gd name="T87" fmla="*/ 303 h 320"/>
                  <a:gd name="T88" fmla="*/ 265 w 335"/>
                  <a:gd name="T89" fmla="*/ 309 h 320"/>
                  <a:gd name="T90" fmla="*/ 248 w 335"/>
                  <a:gd name="T91" fmla="*/ 312 h 320"/>
                  <a:gd name="T92" fmla="*/ 229 w 335"/>
                  <a:gd name="T93" fmla="*/ 318 h 320"/>
                  <a:gd name="T94" fmla="*/ 111 w 335"/>
                  <a:gd name="T95" fmla="*/ 288 h 320"/>
                  <a:gd name="T96" fmla="*/ 145 w 335"/>
                  <a:gd name="T97" fmla="*/ 278 h 320"/>
                  <a:gd name="T98" fmla="*/ 141 w 335"/>
                  <a:gd name="T99" fmla="*/ 269 h 320"/>
                  <a:gd name="T100" fmla="*/ 137 w 335"/>
                  <a:gd name="T101" fmla="*/ 258 h 320"/>
                  <a:gd name="T102" fmla="*/ 143 w 335"/>
                  <a:gd name="T103" fmla="*/ 250 h 320"/>
                  <a:gd name="T104" fmla="*/ 144 w 335"/>
                  <a:gd name="T105" fmla="*/ 240 h 320"/>
                  <a:gd name="T106" fmla="*/ 83 w 335"/>
                  <a:gd name="T107" fmla="*/ 181 h 320"/>
                  <a:gd name="T108" fmla="*/ 61 w 335"/>
                  <a:gd name="T109" fmla="*/ 124 h 320"/>
                  <a:gd name="T110" fmla="*/ 0 w 335"/>
                  <a:gd name="T111" fmla="*/ 77 h 320"/>
                  <a:gd name="T112" fmla="*/ 49 w 335"/>
                  <a:gd name="T113" fmla="*/ 35 h 320"/>
                  <a:gd name="T114" fmla="*/ 135 w 335"/>
                  <a:gd name="T115" fmla="*/ 35 h 320"/>
                  <a:gd name="T116" fmla="*/ 218 w 335"/>
                  <a:gd name="T117" fmla="*/ 28 h 320"/>
                  <a:gd name="T118" fmla="*/ 290 w 335"/>
                  <a:gd name="T1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 h="320">
                    <a:moveTo>
                      <a:pt x="307" y="1"/>
                    </a:moveTo>
                    <a:lnTo>
                      <a:pt x="307" y="2"/>
                    </a:lnTo>
                    <a:lnTo>
                      <a:pt x="307" y="3"/>
                    </a:lnTo>
                    <a:lnTo>
                      <a:pt x="307" y="4"/>
                    </a:lnTo>
                    <a:lnTo>
                      <a:pt x="306" y="4"/>
                    </a:lnTo>
                    <a:lnTo>
                      <a:pt x="306" y="3"/>
                    </a:lnTo>
                    <a:lnTo>
                      <a:pt x="305" y="3"/>
                    </a:lnTo>
                    <a:lnTo>
                      <a:pt x="305" y="4"/>
                    </a:lnTo>
                    <a:lnTo>
                      <a:pt x="305" y="5"/>
                    </a:lnTo>
                    <a:lnTo>
                      <a:pt x="306" y="5"/>
                    </a:lnTo>
                    <a:lnTo>
                      <a:pt x="306" y="6"/>
                    </a:lnTo>
                    <a:lnTo>
                      <a:pt x="306" y="7"/>
                    </a:lnTo>
                    <a:lnTo>
                      <a:pt x="307" y="8"/>
                    </a:lnTo>
                    <a:lnTo>
                      <a:pt x="306" y="9"/>
                    </a:lnTo>
                    <a:lnTo>
                      <a:pt x="308" y="9"/>
                    </a:lnTo>
                    <a:lnTo>
                      <a:pt x="308" y="10"/>
                    </a:lnTo>
                    <a:lnTo>
                      <a:pt x="309" y="10"/>
                    </a:lnTo>
                    <a:lnTo>
                      <a:pt x="309" y="12"/>
                    </a:lnTo>
                    <a:lnTo>
                      <a:pt x="308" y="12"/>
                    </a:lnTo>
                    <a:lnTo>
                      <a:pt x="308" y="13"/>
                    </a:lnTo>
                    <a:lnTo>
                      <a:pt x="309" y="13"/>
                    </a:lnTo>
                    <a:lnTo>
                      <a:pt x="309" y="14"/>
                    </a:lnTo>
                    <a:lnTo>
                      <a:pt x="309" y="15"/>
                    </a:lnTo>
                    <a:lnTo>
                      <a:pt x="309" y="16"/>
                    </a:lnTo>
                    <a:lnTo>
                      <a:pt x="310" y="16"/>
                    </a:lnTo>
                    <a:lnTo>
                      <a:pt x="311" y="17"/>
                    </a:lnTo>
                    <a:lnTo>
                      <a:pt x="312" y="17"/>
                    </a:lnTo>
                    <a:lnTo>
                      <a:pt x="311" y="19"/>
                    </a:lnTo>
                    <a:lnTo>
                      <a:pt x="310" y="18"/>
                    </a:lnTo>
                    <a:lnTo>
                      <a:pt x="310" y="19"/>
                    </a:lnTo>
                    <a:lnTo>
                      <a:pt x="310" y="20"/>
                    </a:lnTo>
                    <a:lnTo>
                      <a:pt x="311" y="20"/>
                    </a:lnTo>
                    <a:lnTo>
                      <a:pt x="311" y="21"/>
                    </a:lnTo>
                    <a:lnTo>
                      <a:pt x="312" y="21"/>
                    </a:lnTo>
                    <a:lnTo>
                      <a:pt x="311" y="21"/>
                    </a:lnTo>
                    <a:lnTo>
                      <a:pt x="311" y="22"/>
                    </a:lnTo>
                    <a:lnTo>
                      <a:pt x="312" y="22"/>
                    </a:lnTo>
                    <a:lnTo>
                      <a:pt x="312" y="23"/>
                    </a:lnTo>
                    <a:lnTo>
                      <a:pt x="313" y="23"/>
                    </a:lnTo>
                    <a:lnTo>
                      <a:pt x="313" y="25"/>
                    </a:lnTo>
                    <a:lnTo>
                      <a:pt x="312" y="25"/>
                    </a:lnTo>
                    <a:lnTo>
                      <a:pt x="313" y="25"/>
                    </a:lnTo>
                    <a:lnTo>
                      <a:pt x="313" y="26"/>
                    </a:lnTo>
                    <a:lnTo>
                      <a:pt x="315" y="26"/>
                    </a:lnTo>
                    <a:lnTo>
                      <a:pt x="316" y="26"/>
                    </a:lnTo>
                    <a:lnTo>
                      <a:pt x="316" y="27"/>
                    </a:lnTo>
                    <a:lnTo>
                      <a:pt x="316" y="28"/>
                    </a:lnTo>
                    <a:lnTo>
                      <a:pt x="317" y="27"/>
                    </a:lnTo>
                    <a:lnTo>
                      <a:pt x="318" y="27"/>
                    </a:lnTo>
                    <a:lnTo>
                      <a:pt x="318" y="28"/>
                    </a:lnTo>
                    <a:lnTo>
                      <a:pt x="318" y="29"/>
                    </a:lnTo>
                    <a:lnTo>
                      <a:pt x="319" y="30"/>
                    </a:lnTo>
                    <a:lnTo>
                      <a:pt x="319" y="29"/>
                    </a:lnTo>
                    <a:lnTo>
                      <a:pt x="319" y="30"/>
                    </a:lnTo>
                    <a:lnTo>
                      <a:pt x="319" y="31"/>
                    </a:lnTo>
                    <a:lnTo>
                      <a:pt x="320" y="31"/>
                    </a:lnTo>
                    <a:lnTo>
                      <a:pt x="320" y="32"/>
                    </a:lnTo>
                    <a:lnTo>
                      <a:pt x="320" y="33"/>
                    </a:lnTo>
                    <a:lnTo>
                      <a:pt x="320" y="34"/>
                    </a:lnTo>
                    <a:lnTo>
                      <a:pt x="321" y="34"/>
                    </a:lnTo>
                    <a:lnTo>
                      <a:pt x="322" y="34"/>
                    </a:lnTo>
                    <a:lnTo>
                      <a:pt x="323" y="34"/>
                    </a:lnTo>
                    <a:lnTo>
                      <a:pt x="323" y="35"/>
                    </a:lnTo>
                    <a:lnTo>
                      <a:pt x="324" y="35"/>
                    </a:lnTo>
                    <a:lnTo>
                      <a:pt x="324" y="36"/>
                    </a:lnTo>
                    <a:lnTo>
                      <a:pt x="323" y="36"/>
                    </a:lnTo>
                    <a:lnTo>
                      <a:pt x="323" y="38"/>
                    </a:lnTo>
                    <a:lnTo>
                      <a:pt x="323" y="39"/>
                    </a:lnTo>
                    <a:lnTo>
                      <a:pt x="324" y="39"/>
                    </a:lnTo>
                    <a:lnTo>
                      <a:pt x="325" y="40"/>
                    </a:lnTo>
                    <a:lnTo>
                      <a:pt x="324" y="40"/>
                    </a:lnTo>
                    <a:lnTo>
                      <a:pt x="324" y="41"/>
                    </a:lnTo>
                    <a:lnTo>
                      <a:pt x="325" y="41"/>
                    </a:lnTo>
                    <a:lnTo>
                      <a:pt x="325" y="42"/>
                    </a:lnTo>
                    <a:lnTo>
                      <a:pt x="325" y="43"/>
                    </a:lnTo>
                    <a:lnTo>
                      <a:pt x="325" y="42"/>
                    </a:lnTo>
                    <a:lnTo>
                      <a:pt x="326" y="42"/>
                    </a:lnTo>
                    <a:lnTo>
                      <a:pt x="326" y="43"/>
                    </a:lnTo>
                    <a:lnTo>
                      <a:pt x="326" y="44"/>
                    </a:lnTo>
                    <a:lnTo>
                      <a:pt x="326" y="45"/>
                    </a:lnTo>
                    <a:lnTo>
                      <a:pt x="326" y="46"/>
                    </a:lnTo>
                    <a:lnTo>
                      <a:pt x="326" y="47"/>
                    </a:lnTo>
                    <a:lnTo>
                      <a:pt x="328" y="47"/>
                    </a:lnTo>
                    <a:lnTo>
                      <a:pt x="329" y="48"/>
                    </a:lnTo>
                    <a:lnTo>
                      <a:pt x="329" y="49"/>
                    </a:lnTo>
                    <a:lnTo>
                      <a:pt x="328" y="49"/>
                    </a:lnTo>
                    <a:lnTo>
                      <a:pt x="328" y="48"/>
                    </a:lnTo>
                    <a:lnTo>
                      <a:pt x="326" y="48"/>
                    </a:lnTo>
                    <a:lnTo>
                      <a:pt x="324" y="49"/>
                    </a:lnTo>
                    <a:lnTo>
                      <a:pt x="324" y="51"/>
                    </a:lnTo>
                    <a:lnTo>
                      <a:pt x="325" y="51"/>
                    </a:lnTo>
                    <a:lnTo>
                      <a:pt x="325" y="52"/>
                    </a:lnTo>
                    <a:lnTo>
                      <a:pt x="324" y="52"/>
                    </a:lnTo>
                    <a:lnTo>
                      <a:pt x="323" y="52"/>
                    </a:lnTo>
                    <a:lnTo>
                      <a:pt x="324" y="52"/>
                    </a:lnTo>
                    <a:lnTo>
                      <a:pt x="324" y="53"/>
                    </a:lnTo>
                    <a:lnTo>
                      <a:pt x="323" y="54"/>
                    </a:lnTo>
                    <a:lnTo>
                      <a:pt x="323" y="55"/>
                    </a:lnTo>
                    <a:lnTo>
                      <a:pt x="322" y="54"/>
                    </a:lnTo>
                    <a:lnTo>
                      <a:pt x="322" y="55"/>
                    </a:lnTo>
                    <a:lnTo>
                      <a:pt x="322" y="56"/>
                    </a:lnTo>
                    <a:lnTo>
                      <a:pt x="322" y="57"/>
                    </a:lnTo>
                    <a:lnTo>
                      <a:pt x="321" y="57"/>
                    </a:lnTo>
                    <a:lnTo>
                      <a:pt x="322" y="58"/>
                    </a:lnTo>
                    <a:lnTo>
                      <a:pt x="323" y="57"/>
                    </a:lnTo>
                    <a:lnTo>
                      <a:pt x="324" y="58"/>
                    </a:lnTo>
                    <a:lnTo>
                      <a:pt x="323" y="58"/>
                    </a:lnTo>
                    <a:lnTo>
                      <a:pt x="322" y="58"/>
                    </a:lnTo>
                    <a:lnTo>
                      <a:pt x="322" y="59"/>
                    </a:lnTo>
                    <a:lnTo>
                      <a:pt x="322" y="60"/>
                    </a:lnTo>
                    <a:lnTo>
                      <a:pt x="322" y="61"/>
                    </a:lnTo>
                    <a:lnTo>
                      <a:pt x="323" y="61"/>
                    </a:lnTo>
                    <a:lnTo>
                      <a:pt x="323" y="62"/>
                    </a:lnTo>
                    <a:lnTo>
                      <a:pt x="322" y="62"/>
                    </a:lnTo>
                    <a:lnTo>
                      <a:pt x="323" y="64"/>
                    </a:lnTo>
                    <a:lnTo>
                      <a:pt x="324" y="64"/>
                    </a:lnTo>
                    <a:lnTo>
                      <a:pt x="323" y="64"/>
                    </a:lnTo>
                    <a:lnTo>
                      <a:pt x="322" y="64"/>
                    </a:lnTo>
                    <a:lnTo>
                      <a:pt x="322" y="65"/>
                    </a:lnTo>
                    <a:lnTo>
                      <a:pt x="322" y="64"/>
                    </a:lnTo>
                    <a:lnTo>
                      <a:pt x="321" y="66"/>
                    </a:lnTo>
                    <a:lnTo>
                      <a:pt x="322" y="66"/>
                    </a:lnTo>
                    <a:lnTo>
                      <a:pt x="322" y="67"/>
                    </a:lnTo>
                    <a:lnTo>
                      <a:pt x="321" y="67"/>
                    </a:lnTo>
                    <a:lnTo>
                      <a:pt x="322" y="67"/>
                    </a:lnTo>
                    <a:lnTo>
                      <a:pt x="323" y="67"/>
                    </a:lnTo>
                    <a:lnTo>
                      <a:pt x="323" y="68"/>
                    </a:lnTo>
                    <a:lnTo>
                      <a:pt x="322" y="69"/>
                    </a:lnTo>
                    <a:lnTo>
                      <a:pt x="322" y="70"/>
                    </a:lnTo>
                    <a:lnTo>
                      <a:pt x="321" y="70"/>
                    </a:lnTo>
                    <a:lnTo>
                      <a:pt x="321" y="71"/>
                    </a:lnTo>
                    <a:lnTo>
                      <a:pt x="321" y="72"/>
                    </a:lnTo>
                    <a:lnTo>
                      <a:pt x="320" y="72"/>
                    </a:lnTo>
                    <a:lnTo>
                      <a:pt x="319" y="73"/>
                    </a:lnTo>
                    <a:lnTo>
                      <a:pt x="319" y="72"/>
                    </a:lnTo>
                    <a:lnTo>
                      <a:pt x="318" y="72"/>
                    </a:lnTo>
                    <a:lnTo>
                      <a:pt x="318" y="71"/>
                    </a:lnTo>
                    <a:lnTo>
                      <a:pt x="317" y="71"/>
                    </a:lnTo>
                    <a:lnTo>
                      <a:pt x="316" y="71"/>
                    </a:lnTo>
                    <a:lnTo>
                      <a:pt x="316" y="72"/>
                    </a:lnTo>
                    <a:lnTo>
                      <a:pt x="316" y="73"/>
                    </a:lnTo>
                    <a:lnTo>
                      <a:pt x="315" y="73"/>
                    </a:lnTo>
                    <a:lnTo>
                      <a:pt x="315" y="72"/>
                    </a:lnTo>
                    <a:lnTo>
                      <a:pt x="313" y="72"/>
                    </a:lnTo>
                    <a:lnTo>
                      <a:pt x="313" y="73"/>
                    </a:lnTo>
                    <a:lnTo>
                      <a:pt x="313" y="72"/>
                    </a:lnTo>
                    <a:lnTo>
                      <a:pt x="312" y="72"/>
                    </a:lnTo>
                    <a:lnTo>
                      <a:pt x="312" y="73"/>
                    </a:lnTo>
                    <a:lnTo>
                      <a:pt x="311" y="73"/>
                    </a:lnTo>
                    <a:lnTo>
                      <a:pt x="312" y="74"/>
                    </a:lnTo>
                    <a:lnTo>
                      <a:pt x="312" y="76"/>
                    </a:lnTo>
                    <a:lnTo>
                      <a:pt x="311" y="76"/>
                    </a:lnTo>
                    <a:lnTo>
                      <a:pt x="310" y="76"/>
                    </a:lnTo>
                    <a:lnTo>
                      <a:pt x="309" y="76"/>
                    </a:lnTo>
                    <a:lnTo>
                      <a:pt x="309" y="77"/>
                    </a:lnTo>
                    <a:lnTo>
                      <a:pt x="308" y="77"/>
                    </a:lnTo>
                    <a:lnTo>
                      <a:pt x="308" y="78"/>
                    </a:lnTo>
                    <a:lnTo>
                      <a:pt x="307" y="78"/>
                    </a:lnTo>
                    <a:lnTo>
                      <a:pt x="307" y="79"/>
                    </a:lnTo>
                    <a:lnTo>
                      <a:pt x="308" y="79"/>
                    </a:lnTo>
                    <a:lnTo>
                      <a:pt x="308" y="80"/>
                    </a:lnTo>
                    <a:lnTo>
                      <a:pt x="307" y="80"/>
                    </a:lnTo>
                    <a:lnTo>
                      <a:pt x="307" y="81"/>
                    </a:lnTo>
                    <a:lnTo>
                      <a:pt x="306" y="81"/>
                    </a:lnTo>
                    <a:lnTo>
                      <a:pt x="307" y="82"/>
                    </a:lnTo>
                    <a:lnTo>
                      <a:pt x="307" y="83"/>
                    </a:lnTo>
                    <a:lnTo>
                      <a:pt x="307" y="84"/>
                    </a:lnTo>
                    <a:lnTo>
                      <a:pt x="308" y="84"/>
                    </a:lnTo>
                    <a:lnTo>
                      <a:pt x="308" y="85"/>
                    </a:lnTo>
                    <a:lnTo>
                      <a:pt x="309" y="85"/>
                    </a:lnTo>
                    <a:lnTo>
                      <a:pt x="310" y="85"/>
                    </a:lnTo>
                    <a:lnTo>
                      <a:pt x="310" y="86"/>
                    </a:lnTo>
                    <a:lnTo>
                      <a:pt x="309" y="86"/>
                    </a:lnTo>
                    <a:lnTo>
                      <a:pt x="309" y="87"/>
                    </a:lnTo>
                    <a:lnTo>
                      <a:pt x="309" y="86"/>
                    </a:lnTo>
                    <a:lnTo>
                      <a:pt x="309" y="87"/>
                    </a:lnTo>
                    <a:lnTo>
                      <a:pt x="309" y="89"/>
                    </a:lnTo>
                    <a:lnTo>
                      <a:pt x="308" y="89"/>
                    </a:lnTo>
                    <a:lnTo>
                      <a:pt x="308" y="90"/>
                    </a:lnTo>
                    <a:lnTo>
                      <a:pt x="307" y="90"/>
                    </a:lnTo>
                    <a:lnTo>
                      <a:pt x="308" y="91"/>
                    </a:lnTo>
                    <a:lnTo>
                      <a:pt x="308" y="92"/>
                    </a:lnTo>
                    <a:lnTo>
                      <a:pt x="308" y="91"/>
                    </a:lnTo>
                    <a:lnTo>
                      <a:pt x="309" y="91"/>
                    </a:lnTo>
                    <a:lnTo>
                      <a:pt x="309" y="92"/>
                    </a:lnTo>
                    <a:lnTo>
                      <a:pt x="308" y="93"/>
                    </a:lnTo>
                    <a:lnTo>
                      <a:pt x="308" y="94"/>
                    </a:lnTo>
                    <a:lnTo>
                      <a:pt x="309" y="94"/>
                    </a:lnTo>
                    <a:lnTo>
                      <a:pt x="310" y="94"/>
                    </a:lnTo>
                    <a:lnTo>
                      <a:pt x="310" y="95"/>
                    </a:lnTo>
                    <a:lnTo>
                      <a:pt x="309" y="96"/>
                    </a:lnTo>
                    <a:lnTo>
                      <a:pt x="309" y="95"/>
                    </a:lnTo>
                    <a:lnTo>
                      <a:pt x="308" y="95"/>
                    </a:lnTo>
                    <a:lnTo>
                      <a:pt x="309" y="96"/>
                    </a:lnTo>
                    <a:lnTo>
                      <a:pt x="309" y="97"/>
                    </a:lnTo>
                    <a:lnTo>
                      <a:pt x="308" y="97"/>
                    </a:lnTo>
                    <a:lnTo>
                      <a:pt x="308" y="98"/>
                    </a:lnTo>
                    <a:lnTo>
                      <a:pt x="309" y="98"/>
                    </a:lnTo>
                    <a:lnTo>
                      <a:pt x="309" y="99"/>
                    </a:lnTo>
                    <a:lnTo>
                      <a:pt x="308" y="99"/>
                    </a:lnTo>
                    <a:lnTo>
                      <a:pt x="308" y="100"/>
                    </a:lnTo>
                    <a:lnTo>
                      <a:pt x="309" y="100"/>
                    </a:lnTo>
                    <a:lnTo>
                      <a:pt x="309" y="102"/>
                    </a:lnTo>
                    <a:lnTo>
                      <a:pt x="308" y="102"/>
                    </a:lnTo>
                    <a:lnTo>
                      <a:pt x="309" y="102"/>
                    </a:lnTo>
                    <a:lnTo>
                      <a:pt x="310" y="103"/>
                    </a:lnTo>
                    <a:lnTo>
                      <a:pt x="309" y="103"/>
                    </a:lnTo>
                    <a:lnTo>
                      <a:pt x="311" y="104"/>
                    </a:lnTo>
                    <a:lnTo>
                      <a:pt x="311" y="105"/>
                    </a:lnTo>
                    <a:lnTo>
                      <a:pt x="312" y="105"/>
                    </a:lnTo>
                    <a:lnTo>
                      <a:pt x="313" y="105"/>
                    </a:lnTo>
                    <a:lnTo>
                      <a:pt x="313" y="106"/>
                    </a:lnTo>
                    <a:lnTo>
                      <a:pt x="312" y="106"/>
                    </a:lnTo>
                    <a:lnTo>
                      <a:pt x="312" y="107"/>
                    </a:lnTo>
                    <a:lnTo>
                      <a:pt x="312" y="108"/>
                    </a:lnTo>
                    <a:lnTo>
                      <a:pt x="313" y="108"/>
                    </a:lnTo>
                    <a:lnTo>
                      <a:pt x="313" y="109"/>
                    </a:lnTo>
                    <a:lnTo>
                      <a:pt x="312" y="109"/>
                    </a:lnTo>
                    <a:lnTo>
                      <a:pt x="312" y="110"/>
                    </a:lnTo>
                    <a:lnTo>
                      <a:pt x="313" y="110"/>
                    </a:lnTo>
                    <a:lnTo>
                      <a:pt x="313" y="111"/>
                    </a:lnTo>
                    <a:lnTo>
                      <a:pt x="313" y="112"/>
                    </a:lnTo>
                    <a:lnTo>
                      <a:pt x="312" y="112"/>
                    </a:lnTo>
                    <a:lnTo>
                      <a:pt x="312" y="113"/>
                    </a:lnTo>
                    <a:lnTo>
                      <a:pt x="311" y="112"/>
                    </a:lnTo>
                    <a:lnTo>
                      <a:pt x="311" y="113"/>
                    </a:lnTo>
                    <a:lnTo>
                      <a:pt x="310" y="113"/>
                    </a:lnTo>
                    <a:lnTo>
                      <a:pt x="309" y="115"/>
                    </a:lnTo>
                    <a:lnTo>
                      <a:pt x="309" y="116"/>
                    </a:lnTo>
                    <a:lnTo>
                      <a:pt x="309" y="117"/>
                    </a:lnTo>
                    <a:lnTo>
                      <a:pt x="309" y="118"/>
                    </a:lnTo>
                    <a:lnTo>
                      <a:pt x="308" y="118"/>
                    </a:lnTo>
                    <a:lnTo>
                      <a:pt x="310" y="118"/>
                    </a:lnTo>
                    <a:lnTo>
                      <a:pt x="310" y="117"/>
                    </a:lnTo>
                    <a:lnTo>
                      <a:pt x="311" y="117"/>
                    </a:lnTo>
                    <a:lnTo>
                      <a:pt x="311" y="118"/>
                    </a:lnTo>
                    <a:lnTo>
                      <a:pt x="311" y="119"/>
                    </a:lnTo>
                    <a:lnTo>
                      <a:pt x="310" y="120"/>
                    </a:lnTo>
                    <a:lnTo>
                      <a:pt x="309" y="120"/>
                    </a:lnTo>
                    <a:lnTo>
                      <a:pt x="308" y="119"/>
                    </a:lnTo>
                    <a:lnTo>
                      <a:pt x="308" y="120"/>
                    </a:lnTo>
                    <a:lnTo>
                      <a:pt x="307" y="121"/>
                    </a:lnTo>
                    <a:lnTo>
                      <a:pt x="306" y="121"/>
                    </a:lnTo>
                    <a:lnTo>
                      <a:pt x="305" y="122"/>
                    </a:lnTo>
                    <a:lnTo>
                      <a:pt x="306" y="122"/>
                    </a:lnTo>
                    <a:lnTo>
                      <a:pt x="306" y="123"/>
                    </a:lnTo>
                    <a:lnTo>
                      <a:pt x="308" y="122"/>
                    </a:lnTo>
                    <a:lnTo>
                      <a:pt x="308" y="123"/>
                    </a:lnTo>
                    <a:lnTo>
                      <a:pt x="308" y="124"/>
                    </a:lnTo>
                    <a:lnTo>
                      <a:pt x="309" y="124"/>
                    </a:lnTo>
                    <a:lnTo>
                      <a:pt x="309" y="125"/>
                    </a:lnTo>
                    <a:lnTo>
                      <a:pt x="309" y="126"/>
                    </a:lnTo>
                    <a:lnTo>
                      <a:pt x="310" y="126"/>
                    </a:lnTo>
                    <a:lnTo>
                      <a:pt x="311" y="128"/>
                    </a:lnTo>
                    <a:lnTo>
                      <a:pt x="312" y="128"/>
                    </a:lnTo>
                    <a:lnTo>
                      <a:pt x="311" y="129"/>
                    </a:lnTo>
                    <a:lnTo>
                      <a:pt x="310" y="128"/>
                    </a:lnTo>
                    <a:lnTo>
                      <a:pt x="309" y="128"/>
                    </a:lnTo>
                    <a:lnTo>
                      <a:pt x="309" y="129"/>
                    </a:lnTo>
                    <a:lnTo>
                      <a:pt x="310" y="129"/>
                    </a:lnTo>
                    <a:lnTo>
                      <a:pt x="311" y="129"/>
                    </a:lnTo>
                    <a:lnTo>
                      <a:pt x="311" y="130"/>
                    </a:lnTo>
                    <a:lnTo>
                      <a:pt x="310" y="130"/>
                    </a:lnTo>
                    <a:lnTo>
                      <a:pt x="310" y="131"/>
                    </a:lnTo>
                    <a:lnTo>
                      <a:pt x="309" y="132"/>
                    </a:lnTo>
                    <a:lnTo>
                      <a:pt x="310" y="133"/>
                    </a:lnTo>
                    <a:lnTo>
                      <a:pt x="309" y="133"/>
                    </a:lnTo>
                    <a:lnTo>
                      <a:pt x="308" y="133"/>
                    </a:lnTo>
                    <a:lnTo>
                      <a:pt x="308" y="134"/>
                    </a:lnTo>
                    <a:lnTo>
                      <a:pt x="309" y="135"/>
                    </a:lnTo>
                    <a:lnTo>
                      <a:pt x="308" y="135"/>
                    </a:lnTo>
                    <a:lnTo>
                      <a:pt x="308" y="136"/>
                    </a:lnTo>
                    <a:lnTo>
                      <a:pt x="309" y="136"/>
                    </a:lnTo>
                    <a:lnTo>
                      <a:pt x="309" y="137"/>
                    </a:lnTo>
                    <a:lnTo>
                      <a:pt x="309" y="138"/>
                    </a:lnTo>
                    <a:lnTo>
                      <a:pt x="309" y="139"/>
                    </a:lnTo>
                    <a:lnTo>
                      <a:pt x="310" y="139"/>
                    </a:lnTo>
                    <a:lnTo>
                      <a:pt x="310" y="138"/>
                    </a:lnTo>
                    <a:lnTo>
                      <a:pt x="310" y="139"/>
                    </a:lnTo>
                    <a:lnTo>
                      <a:pt x="310" y="141"/>
                    </a:lnTo>
                    <a:lnTo>
                      <a:pt x="308" y="141"/>
                    </a:lnTo>
                    <a:lnTo>
                      <a:pt x="309" y="141"/>
                    </a:lnTo>
                    <a:lnTo>
                      <a:pt x="310" y="143"/>
                    </a:lnTo>
                    <a:lnTo>
                      <a:pt x="309" y="144"/>
                    </a:lnTo>
                    <a:lnTo>
                      <a:pt x="308" y="144"/>
                    </a:lnTo>
                    <a:lnTo>
                      <a:pt x="308" y="143"/>
                    </a:lnTo>
                    <a:lnTo>
                      <a:pt x="307" y="144"/>
                    </a:lnTo>
                    <a:lnTo>
                      <a:pt x="308" y="144"/>
                    </a:lnTo>
                    <a:lnTo>
                      <a:pt x="308" y="145"/>
                    </a:lnTo>
                    <a:lnTo>
                      <a:pt x="309" y="145"/>
                    </a:lnTo>
                    <a:lnTo>
                      <a:pt x="310" y="145"/>
                    </a:lnTo>
                    <a:lnTo>
                      <a:pt x="309" y="146"/>
                    </a:lnTo>
                    <a:lnTo>
                      <a:pt x="310" y="147"/>
                    </a:lnTo>
                    <a:lnTo>
                      <a:pt x="310" y="148"/>
                    </a:lnTo>
                    <a:lnTo>
                      <a:pt x="309" y="148"/>
                    </a:lnTo>
                    <a:lnTo>
                      <a:pt x="309" y="149"/>
                    </a:lnTo>
                    <a:lnTo>
                      <a:pt x="310" y="149"/>
                    </a:lnTo>
                    <a:lnTo>
                      <a:pt x="310" y="148"/>
                    </a:lnTo>
                    <a:lnTo>
                      <a:pt x="311" y="148"/>
                    </a:lnTo>
                    <a:lnTo>
                      <a:pt x="311" y="149"/>
                    </a:lnTo>
                    <a:lnTo>
                      <a:pt x="310" y="149"/>
                    </a:lnTo>
                    <a:lnTo>
                      <a:pt x="310" y="150"/>
                    </a:lnTo>
                    <a:lnTo>
                      <a:pt x="311" y="150"/>
                    </a:lnTo>
                    <a:lnTo>
                      <a:pt x="311" y="151"/>
                    </a:lnTo>
                    <a:lnTo>
                      <a:pt x="310" y="153"/>
                    </a:lnTo>
                    <a:lnTo>
                      <a:pt x="310" y="151"/>
                    </a:lnTo>
                    <a:lnTo>
                      <a:pt x="309" y="151"/>
                    </a:lnTo>
                    <a:lnTo>
                      <a:pt x="309" y="153"/>
                    </a:lnTo>
                    <a:lnTo>
                      <a:pt x="309" y="154"/>
                    </a:lnTo>
                    <a:lnTo>
                      <a:pt x="309" y="155"/>
                    </a:lnTo>
                    <a:lnTo>
                      <a:pt x="310" y="155"/>
                    </a:lnTo>
                    <a:lnTo>
                      <a:pt x="310" y="156"/>
                    </a:lnTo>
                    <a:lnTo>
                      <a:pt x="310" y="157"/>
                    </a:lnTo>
                    <a:lnTo>
                      <a:pt x="310" y="158"/>
                    </a:lnTo>
                    <a:lnTo>
                      <a:pt x="309" y="158"/>
                    </a:lnTo>
                    <a:lnTo>
                      <a:pt x="308" y="158"/>
                    </a:lnTo>
                    <a:lnTo>
                      <a:pt x="308" y="159"/>
                    </a:lnTo>
                    <a:lnTo>
                      <a:pt x="309" y="160"/>
                    </a:lnTo>
                    <a:lnTo>
                      <a:pt x="310" y="160"/>
                    </a:lnTo>
                    <a:lnTo>
                      <a:pt x="310" y="161"/>
                    </a:lnTo>
                    <a:lnTo>
                      <a:pt x="310" y="162"/>
                    </a:lnTo>
                    <a:lnTo>
                      <a:pt x="310" y="163"/>
                    </a:lnTo>
                    <a:lnTo>
                      <a:pt x="309" y="163"/>
                    </a:lnTo>
                    <a:lnTo>
                      <a:pt x="308" y="163"/>
                    </a:lnTo>
                    <a:lnTo>
                      <a:pt x="308" y="164"/>
                    </a:lnTo>
                    <a:lnTo>
                      <a:pt x="309" y="164"/>
                    </a:lnTo>
                    <a:lnTo>
                      <a:pt x="309" y="166"/>
                    </a:lnTo>
                    <a:lnTo>
                      <a:pt x="309" y="167"/>
                    </a:lnTo>
                    <a:lnTo>
                      <a:pt x="310" y="167"/>
                    </a:lnTo>
                    <a:lnTo>
                      <a:pt x="311" y="167"/>
                    </a:lnTo>
                    <a:lnTo>
                      <a:pt x="311" y="168"/>
                    </a:lnTo>
                    <a:lnTo>
                      <a:pt x="311" y="169"/>
                    </a:lnTo>
                    <a:lnTo>
                      <a:pt x="310" y="169"/>
                    </a:lnTo>
                    <a:lnTo>
                      <a:pt x="310" y="170"/>
                    </a:lnTo>
                    <a:lnTo>
                      <a:pt x="311" y="170"/>
                    </a:lnTo>
                    <a:lnTo>
                      <a:pt x="311" y="171"/>
                    </a:lnTo>
                    <a:lnTo>
                      <a:pt x="310" y="171"/>
                    </a:lnTo>
                    <a:lnTo>
                      <a:pt x="309" y="171"/>
                    </a:lnTo>
                    <a:lnTo>
                      <a:pt x="309" y="172"/>
                    </a:lnTo>
                    <a:lnTo>
                      <a:pt x="309" y="173"/>
                    </a:lnTo>
                    <a:lnTo>
                      <a:pt x="310" y="173"/>
                    </a:lnTo>
                    <a:lnTo>
                      <a:pt x="310" y="174"/>
                    </a:lnTo>
                    <a:lnTo>
                      <a:pt x="311" y="175"/>
                    </a:lnTo>
                    <a:lnTo>
                      <a:pt x="311" y="176"/>
                    </a:lnTo>
                    <a:lnTo>
                      <a:pt x="310" y="176"/>
                    </a:lnTo>
                    <a:lnTo>
                      <a:pt x="309" y="176"/>
                    </a:lnTo>
                    <a:lnTo>
                      <a:pt x="310" y="176"/>
                    </a:lnTo>
                    <a:lnTo>
                      <a:pt x="310" y="179"/>
                    </a:lnTo>
                    <a:lnTo>
                      <a:pt x="310" y="180"/>
                    </a:lnTo>
                    <a:lnTo>
                      <a:pt x="309" y="181"/>
                    </a:lnTo>
                    <a:lnTo>
                      <a:pt x="310" y="182"/>
                    </a:lnTo>
                    <a:lnTo>
                      <a:pt x="310" y="181"/>
                    </a:lnTo>
                    <a:lnTo>
                      <a:pt x="311" y="182"/>
                    </a:lnTo>
                    <a:lnTo>
                      <a:pt x="310" y="183"/>
                    </a:lnTo>
                    <a:lnTo>
                      <a:pt x="310" y="182"/>
                    </a:lnTo>
                    <a:lnTo>
                      <a:pt x="309" y="182"/>
                    </a:lnTo>
                    <a:lnTo>
                      <a:pt x="309" y="183"/>
                    </a:lnTo>
                    <a:lnTo>
                      <a:pt x="310" y="184"/>
                    </a:lnTo>
                    <a:lnTo>
                      <a:pt x="311" y="183"/>
                    </a:lnTo>
                    <a:lnTo>
                      <a:pt x="311" y="182"/>
                    </a:lnTo>
                    <a:lnTo>
                      <a:pt x="312" y="182"/>
                    </a:lnTo>
                    <a:lnTo>
                      <a:pt x="312" y="183"/>
                    </a:lnTo>
                    <a:lnTo>
                      <a:pt x="312" y="184"/>
                    </a:lnTo>
                    <a:lnTo>
                      <a:pt x="311" y="184"/>
                    </a:lnTo>
                    <a:lnTo>
                      <a:pt x="311" y="185"/>
                    </a:lnTo>
                    <a:lnTo>
                      <a:pt x="312" y="185"/>
                    </a:lnTo>
                    <a:lnTo>
                      <a:pt x="313" y="186"/>
                    </a:lnTo>
                    <a:lnTo>
                      <a:pt x="315" y="186"/>
                    </a:lnTo>
                    <a:lnTo>
                      <a:pt x="315" y="187"/>
                    </a:lnTo>
                    <a:lnTo>
                      <a:pt x="316" y="187"/>
                    </a:lnTo>
                    <a:lnTo>
                      <a:pt x="316" y="188"/>
                    </a:lnTo>
                    <a:lnTo>
                      <a:pt x="317" y="189"/>
                    </a:lnTo>
                    <a:lnTo>
                      <a:pt x="317" y="192"/>
                    </a:lnTo>
                    <a:lnTo>
                      <a:pt x="317" y="193"/>
                    </a:lnTo>
                    <a:lnTo>
                      <a:pt x="316" y="193"/>
                    </a:lnTo>
                    <a:lnTo>
                      <a:pt x="316" y="194"/>
                    </a:lnTo>
                    <a:lnTo>
                      <a:pt x="317" y="194"/>
                    </a:lnTo>
                    <a:lnTo>
                      <a:pt x="318" y="194"/>
                    </a:lnTo>
                    <a:lnTo>
                      <a:pt x="318" y="195"/>
                    </a:lnTo>
                    <a:lnTo>
                      <a:pt x="318" y="196"/>
                    </a:lnTo>
                    <a:lnTo>
                      <a:pt x="319" y="196"/>
                    </a:lnTo>
                    <a:lnTo>
                      <a:pt x="320" y="197"/>
                    </a:lnTo>
                    <a:lnTo>
                      <a:pt x="321" y="197"/>
                    </a:lnTo>
                    <a:lnTo>
                      <a:pt x="321" y="198"/>
                    </a:lnTo>
                    <a:lnTo>
                      <a:pt x="321" y="199"/>
                    </a:lnTo>
                    <a:lnTo>
                      <a:pt x="322" y="199"/>
                    </a:lnTo>
                    <a:lnTo>
                      <a:pt x="323" y="199"/>
                    </a:lnTo>
                    <a:lnTo>
                      <a:pt x="323" y="200"/>
                    </a:lnTo>
                    <a:lnTo>
                      <a:pt x="324" y="200"/>
                    </a:lnTo>
                    <a:lnTo>
                      <a:pt x="325" y="200"/>
                    </a:lnTo>
                    <a:lnTo>
                      <a:pt x="326" y="200"/>
                    </a:lnTo>
                    <a:lnTo>
                      <a:pt x="328" y="200"/>
                    </a:lnTo>
                    <a:lnTo>
                      <a:pt x="328" y="199"/>
                    </a:lnTo>
                    <a:lnTo>
                      <a:pt x="329" y="199"/>
                    </a:lnTo>
                    <a:lnTo>
                      <a:pt x="330" y="199"/>
                    </a:lnTo>
                    <a:lnTo>
                      <a:pt x="330" y="200"/>
                    </a:lnTo>
                    <a:lnTo>
                      <a:pt x="330" y="201"/>
                    </a:lnTo>
                    <a:lnTo>
                      <a:pt x="331" y="201"/>
                    </a:lnTo>
                    <a:lnTo>
                      <a:pt x="331" y="200"/>
                    </a:lnTo>
                    <a:lnTo>
                      <a:pt x="332" y="201"/>
                    </a:lnTo>
                    <a:lnTo>
                      <a:pt x="333" y="201"/>
                    </a:lnTo>
                    <a:lnTo>
                      <a:pt x="333" y="202"/>
                    </a:lnTo>
                    <a:lnTo>
                      <a:pt x="334" y="202"/>
                    </a:lnTo>
                    <a:lnTo>
                      <a:pt x="335" y="203"/>
                    </a:lnTo>
                    <a:lnTo>
                      <a:pt x="335" y="205"/>
                    </a:lnTo>
                    <a:lnTo>
                      <a:pt x="334" y="205"/>
                    </a:lnTo>
                    <a:lnTo>
                      <a:pt x="333" y="203"/>
                    </a:lnTo>
                    <a:lnTo>
                      <a:pt x="332" y="202"/>
                    </a:lnTo>
                    <a:lnTo>
                      <a:pt x="331" y="203"/>
                    </a:lnTo>
                    <a:lnTo>
                      <a:pt x="331" y="205"/>
                    </a:lnTo>
                    <a:lnTo>
                      <a:pt x="331" y="206"/>
                    </a:lnTo>
                    <a:lnTo>
                      <a:pt x="330" y="206"/>
                    </a:lnTo>
                    <a:lnTo>
                      <a:pt x="329" y="207"/>
                    </a:lnTo>
                    <a:lnTo>
                      <a:pt x="328" y="208"/>
                    </a:lnTo>
                    <a:lnTo>
                      <a:pt x="329" y="209"/>
                    </a:lnTo>
                    <a:lnTo>
                      <a:pt x="329" y="210"/>
                    </a:lnTo>
                    <a:lnTo>
                      <a:pt x="330" y="210"/>
                    </a:lnTo>
                    <a:lnTo>
                      <a:pt x="331" y="210"/>
                    </a:lnTo>
                    <a:lnTo>
                      <a:pt x="331" y="211"/>
                    </a:lnTo>
                    <a:lnTo>
                      <a:pt x="331" y="212"/>
                    </a:lnTo>
                    <a:lnTo>
                      <a:pt x="330" y="213"/>
                    </a:lnTo>
                    <a:lnTo>
                      <a:pt x="330" y="214"/>
                    </a:lnTo>
                    <a:lnTo>
                      <a:pt x="330" y="215"/>
                    </a:lnTo>
                    <a:lnTo>
                      <a:pt x="331" y="216"/>
                    </a:lnTo>
                    <a:lnTo>
                      <a:pt x="331" y="218"/>
                    </a:lnTo>
                    <a:lnTo>
                      <a:pt x="330" y="219"/>
                    </a:lnTo>
                    <a:lnTo>
                      <a:pt x="329" y="220"/>
                    </a:lnTo>
                    <a:lnTo>
                      <a:pt x="328" y="220"/>
                    </a:lnTo>
                    <a:lnTo>
                      <a:pt x="326" y="220"/>
                    </a:lnTo>
                    <a:lnTo>
                      <a:pt x="325" y="219"/>
                    </a:lnTo>
                    <a:lnTo>
                      <a:pt x="324" y="219"/>
                    </a:lnTo>
                    <a:lnTo>
                      <a:pt x="323" y="219"/>
                    </a:lnTo>
                    <a:lnTo>
                      <a:pt x="323" y="220"/>
                    </a:lnTo>
                    <a:lnTo>
                      <a:pt x="323" y="221"/>
                    </a:lnTo>
                    <a:lnTo>
                      <a:pt x="322" y="221"/>
                    </a:lnTo>
                    <a:lnTo>
                      <a:pt x="322" y="222"/>
                    </a:lnTo>
                    <a:lnTo>
                      <a:pt x="321" y="222"/>
                    </a:lnTo>
                    <a:lnTo>
                      <a:pt x="320" y="222"/>
                    </a:lnTo>
                    <a:lnTo>
                      <a:pt x="319" y="222"/>
                    </a:lnTo>
                    <a:lnTo>
                      <a:pt x="318" y="222"/>
                    </a:lnTo>
                    <a:lnTo>
                      <a:pt x="317" y="223"/>
                    </a:lnTo>
                    <a:lnTo>
                      <a:pt x="316" y="223"/>
                    </a:lnTo>
                    <a:lnTo>
                      <a:pt x="316" y="222"/>
                    </a:lnTo>
                    <a:lnTo>
                      <a:pt x="315" y="222"/>
                    </a:lnTo>
                    <a:lnTo>
                      <a:pt x="313" y="222"/>
                    </a:lnTo>
                    <a:lnTo>
                      <a:pt x="313" y="223"/>
                    </a:lnTo>
                    <a:lnTo>
                      <a:pt x="315" y="224"/>
                    </a:lnTo>
                    <a:lnTo>
                      <a:pt x="316" y="224"/>
                    </a:lnTo>
                    <a:lnTo>
                      <a:pt x="318" y="225"/>
                    </a:lnTo>
                    <a:lnTo>
                      <a:pt x="318" y="226"/>
                    </a:lnTo>
                    <a:lnTo>
                      <a:pt x="318" y="227"/>
                    </a:lnTo>
                    <a:lnTo>
                      <a:pt x="317" y="227"/>
                    </a:lnTo>
                    <a:lnTo>
                      <a:pt x="316" y="227"/>
                    </a:lnTo>
                    <a:lnTo>
                      <a:pt x="316" y="228"/>
                    </a:lnTo>
                    <a:lnTo>
                      <a:pt x="316" y="229"/>
                    </a:lnTo>
                    <a:lnTo>
                      <a:pt x="317" y="229"/>
                    </a:lnTo>
                    <a:lnTo>
                      <a:pt x="318" y="229"/>
                    </a:lnTo>
                    <a:lnTo>
                      <a:pt x="319" y="231"/>
                    </a:lnTo>
                    <a:lnTo>
                      <a:pt x="320" y="231"/>
                    </a:lnTo>
                    <a:lnTo>
                      <a:pt x="320" y="232"/>
                    </a:lnTo>
                    <a:lnTo>
                      <a:pt x="320" y="233"/>
                    </a:lnTo>
                    <a:lnTo>
                      <a:pt x="320" y="234"/>
                    </a:lnTo>
                    <a:lnTo>
                      <a:pt x="320" y="235"/>
                    </a:lnTo>
                    <a:lnTo>
                      <a:pt x="319" y="235"/>
                    </a:lnTo>
                    <a:lnTo>
                      <a:pt x="318" y="235"/>
                    </a:lnTo>
                    <a:lnTo>
                      <a:pt x="318" y="236"/>
                    </a:lnTo>
                    <a:lnTo>
                      <a:pt x="317" y="236"/>
                    </a:lnTo>
                    <a:lnTo>
                      <a:pt x="317" y="237"/>
                    </a:lnTo>
                    <a:lnTo>
                      <a:pt x="317" y="238"/>
                    </a:lnTo>
                    <a:lnTo>
                      <a:pt x="317" y="239"/>
                    </a:lnTo>
                    <a:lnTo>
                      <a:pt x="317" y="240"/>
                    </a:lnTo>
                    <a:lnTo>
                      <a:pt x="316" y="240"/>
                    </a:lnTo>
                    <a:lnTo>
                      <a:pt x="315" y="241"/>
                    </a:lnTo>
                    <a:lnTo>
                      <a:pt x="313" y="241"/>
                    </a:lnTo>
                    <a:lnTo>
                      <a:pt x="312" y="241"/>
                    </a:lnTo>
                    <a:lnTo>
                      <a:pt x="311" y="241"/>
                    </a:lnTo>
                    <a:lnTo>
                      <a:pt x="311" y="243"/>
                    </a:lnTo>
                    <a:lnTo>
                      <a:pt x="311" y="244"/>
                    </a:lnTo>
                    <a:lnTo>
                      <a:pt x="311" y="245"/>
                    </a:lnTo>
                    <a:lnTo>
                      <a:pt x="310" y="245"/>
                    </a:lnTo>
                    <a:lnTo>
                      <a:pt x="309" y="246"/>
                    </a:lnTo>
                    <a:lnTo>
                      <a:pt x="308" y="248"/>
                    </a:lnTo>
                    <a:lnTo>
                      <a:pt x="308" y="250"/>
                    </a:lnTo>
                    <a:lnTo>
                      <a:pt x="308" y="251"/>
                    </a:lnTo>
                    <a:lnTo>
                      <a:pt x="308" y="252"/>
                    </a:lnTo>
                    <a:lnTo>
                      <a:pt x="309" y="252"/>
                    </a:lnTo>
                    <a:lnTo>
                      <a:pt x="310" y="252"/>
                    </a:lnTo>
                    <a:lnTo>
                      <a:pt x="311" y="252"/>
                    </a:lnTo>
                    <a:lnTo>
                      <a:pt x="311" y="253"/>
                    </a:lnTo>
                    <a:lnTo>
                      <a:pt x="311" y="254"/>
                    </a:lnTo>
                    <a:lnTo>
                      <a:pt x="311" y="256"/>
                    </a:lnTo>
                    <a:lnTo>
                      <a:pt x="310" y="257"/>
                    </a:lnTo>
                    <a:lnTo>
                      <a:pt x="308" y="257"/>
                    </a:lnTo>
                    <a:lnTo>
                      <a:pt x="308" y="258"/>
                    </a:lnTo>
                    <a:lnTo>
                      <a:pt x="308" y="259"/>
                    </a:lnTo>
                    <a:lnTo>
                      <a:pt x="309" y="259"/>
                    </a:lnTo>
                    <a:lnTo>
                      <a:pt x="310" y="260"/>
                    </a:lnTo>
                    <a:lnTo>
                      <a:pt x="311" y="260"/>
                    </a:lnTo>
                    <a:lnTo>
                      <a:pt x="311" y="261"/>
                    </a:lnTo>
                    <a:lnTo>
                      <a:pt x="310" y="262"/>
                    </a:lnTo>
                    <a:lnTo>
                      <a:pt x="309" y="262"/>
                    </a:lnTo>
                    <a:lnTo>
                      <a:pt x="309" y="263"/>
                    </a:lnTo>
                    <a:lnTo>
                      <a:pt x="310" y="263"/>
                    </a:lnTo>
                    <a:lnTo>
                      <a:pt x="310" y="264"/>
                    </a:lnTo>
                    <a:lnTo>
                      <a:pt x="310" y="265"/>
                    </a:lnTo>
                    <a:lnTo>
                      <a:pt x="310" y="267"/>
                    </a:lnTo>
                    <a:lnTo>
                      <a:pt x="310" y="269"/>
                    </a:lnTo>
                    <a:lnTo>
                      <a:pt x="311" y="269"/>
                    </a:lnTo>
                    <a:lnTo>
                      <a:pt x="312" y="269"/>
                    </a:lnTo>
                    <a:lnTo>
                      <a:pt x="312" y="270"/>
                    </a:lnTo>
                    <a:lnTo>
                      <a:pt x="312" y="271"/>
                    </a:lnTo>
                    <a:lnTo>
                      <a:pt x="313" y="272"/>
                    </a:lnTo>
                    <a:lnTo>
                      <a:pt x="313" y="273"/>
                    </a:lnTo>
                    <a:lnTo>
                      <a:pt x="313" y="274"/>
                    </a:lnTo>
                    <a:lnTo>
                      <a:pt x="312" y="275"/>
                    </a:lnTo>
                    <a:lnTo>
                      <a:pt x="312" y="276"/>
                    </a:lnTo>
                    <a:lnTo>
                      <a:pt x="313" y="277"/>
                    </a:lnTo>
                    <a:lnTo>
                      <a:pt x="313" y="279"/>
                    </a:lnTo>
                    <a:lnTo>
                      <a:pt x="312" y="279"/>
                    </a:lnTo>
                    <a:lnTo>
                      <a:pt x="311" y="280"/>
                    </a:lnTo>
                    <a:lnTo>
                      <a:pt x="310" y="280"/>
                    </a:lnTo>
                    <a:lnTo>
                      <a:pt x="309" y="280"/>
                    </a:lnTo>
                    <a:lnTo>
                      <a:pt x="308" y="280"/>
                    </a:lnTo>
                    <a:lnTo>
                      <a:pt x="308" y="282"/>
                    </a:lnTo>
                    <a:lnTo>
                      <a:pt x="307" y="282"/>
                    </a:lnTo>
                    <a:lnTo>
                      <a:pt x="307" y="283"/>
                    </a:lnTo>
                    <a:lnTo>
                      <a:pt x="307" y="284"/>
                    </a:lnTo>
                    <a:lnTo>
                      <a:pt x="307" y="285"/>
                    </a:lnTo>
                    <a:lnTo>
                      <a:pt x="308" y="285"/>
                    </a:lnTo>
                    <a:lnTo>
                      <a:pt x="309" y="286"/>
                    </a:lnTo>
                    <a:lnTo>
                      <a:pt x="308" y="287"/>
                    </a:lnTo>
                    <a:lnTo>
                      <a:pt x="307" y="286"/>
                    </a:lnTo>
                    <a:lnTo>
                      <a:pt x="306" y="286"/>
                    </a:lnTo>
                    <a:lnTo>
                      <a:pt x="305" y="286"/>
                    </a:lnTo>
                    <a:lnTo>
                      <a:pt x="305" y="287"/>
                    </a:lnTo>
                    <a:lnTo>
                      <a:pt x="305" y="288"/>
                    </a:lnTo>
                    <a:lnTo>
                      <a:pt x="306" y="288"/>
                    </a:lnTo>
                    <a:lnTo>
                      <a:pt x="306" y="289"/>
                    </a:lnTo>
                    <a:lnTo>
                      <a:pt x="307" y="289"/>
                    </a:lnTo>
                    <a:lnTo>
                      <a:pt x="306" y="290"/>
                    </a:lnTo>
                    <a:lnTo>
                      <a:pt x="306" y="291"/>
                    </a:lnTo>
                    <a:lnTo>
                      <a:pt x="305" y="291"/>
                    </a:lnTo>
                    <a:lnTo>
                      <a:pt x="304" y="292"/>
                    </a:lnTo>
                    <a:lnTo>
                      <a:pt x="303" y="293"/>
                    </a:lnTo>
                    <a:lnTo>
                      <a:pt x="303" y="295"/>
                    </a:lnTo>
                    <a:lnTo>
                      <a:pt x="302" y="296"/>
                    </a:lnTo>
                    <a:lnTo>
                      <a:pt x="300" y="296"/>
                    </a:lnTo>
                    <a:lnTo>
                      <a:pt x="300" y="295"/>
                    </a:lnTo>
                    <a:lnTo>
                      <a:pt x="299" y="295"/>
                    </a:lnTo>
                    <a:lnTo>
                      <a:pt x="299" y="293"/>
                    </a:lnTo>
                    <a:lnTo>
                      <a:pt x="298" y="293"/>
                    </a:lnTo>
                    <a:lnTo>
                      <a:pt x="297" y="293"/>
                    </a:lnTo>
                    <a:lnTo>
                      <a:pt x="296" y="295"/>
                    </a:lnTo>
                    <a:lnTo>
                      <a:pt x="295" y="295"/>
                    </a:lnTo>
                    <a:lnTo>
                      <a:pt x="294" y="295"/>
                    </a:lnTo>
                    <a:lnTo>
                      <a:pt x="294" y="293"/>
                    </a:lnTo>
                    <a:lnTo>
                      <a:pt x="293" y="292"/>
                    </a:lnTo>
                    <a:lnTo>
                      <a:pt x="293" y="290"/>
                    </a:lnTo>
                    <a:lnTo>
                      <a:pt x="292" y="290"/>
                    </a:lnTo>
                    <a:lnTo>
                      <a:pt x="291" y="292"/>
                    </a:lnTo>
                    <a:lnTo>
                      <a:pt x="289" y="297"/>
                    </a:lnTo>
                    <a:lnTo>
                      <a:pt x="287" y="298"/>
                    </a:lnTo>
                    <a:lnTo>
                      <a:pt x="285" y="298"/>
                    </a:lnTo>
                    <a:lnTo>
                      <a:pt x="283" y="297"/>
                    </a:lnTo>
                    <a:lnTo>
                      <a:pt x="282" y="296"/>
                    </a:lnTo>
                    <a:lnTo>
                      <a:pt x="281" y="296"/>
                    </a:lnTo>
                    <a:lnTo>
                      <a:pt x="280" y="297"/>
                    </a:lnTo>
                    <a:lnTo>
                      <a:pt x="279" y="297"/>
                    </a:lnTo>
                    <a:lnTo>
                      <a:pt x="277" y="300"/>
                    </a:lnTo>
                    <a:lnTo>
                      <a:pt x="276" y="301"/>
                    </a:lnTo>
                    <a:lnTo>
                      <a:pt x="274" y="302"/>
                    </a:lnTo>
                    <a:lnTo>
                      <a:pt x="273" y="303"/>
                    </a:lnTo>
                    <a:lnTo>
                      <a:pt x="273" y="304"/>
                    </a:lnTo>
                    <a:lnTo>
                      <a:pt x="272" y="304"/>
                    </a:lnTo>
                    <a:lnTo>
                      <a:pt x="271" y="304"/>
                    </a:lnTo>
                    <a:lnTo>
                      <a:pt x="270" y="304"/>
                    </a:lnTo>
                    <a:lnTo>
                      <a:pt x="269" y="304"/>
                    </a:lnTo>
                    <a:lnTo>
                      <a:pt x="268" y="303"/>
                    </a:lnTo>
                    <a:lnTo>
                      <a:pt x="267" y="302"/>
                    </a:lnTo>
                    <a:lnTo>
                      <a:pt x="267" y="303"/>
                    </a:lnTo>
                    <a:lnTo>
                      <a:pt x="266" y="303"/>
                    </a:lnTo>
                    <a:lnTo>
                      <a:pt x="266" y="304"/>
                    </a:lnTo>
                    <a:lnTo>
                      <a:pt x="266" y="305"/>
                    </a:lnTo>
                    <a:lnTo>
                      <a:pt x="266" y="308"/>
                    </a:lnTo>
                    <a:lnTo>
                      <a:pt x="265" y="309"/>
                    </a:lnTo>
                    <a:lnTo>
                      <a:pt x="264" y="309"/>
                    </a:lnTo>
                    <a:lnTo>
                      <a:pt x="263" y="309"/>
                    </a:lnTo>
                    <a:lnTo>
                      <a:pt x="261" y="309"/>
                    </a:lnTo>
                    <a:lnTo>
                      <a:pt x="260" y="309"/>
                    </a:lnTo>
                    <a:lnTo>
                      <a:pt x="259" y="309"/>
                    </a:lnTo>
                    <a:lnTo>
                      <a:pt x="257" y="311"/>
                    </a:lnTo>
                    <a:lnTo>
                      <a:pt x="256" y="312"/>
                    </a:lnTo>
                    <a:lnTo>
                      <a:pt x="255" y="312"/>
                    </a:lnTo>
                    <a:lnTo>
                      <a:pt x="254" y="312"/>
                    </a:lnTo>
                    <a:lnTo>
                      <a:pt x="253" y="312"/>
                    </a:lnTo>
                    <a:lnTo>
                      <a:pt x="251" y="312"/>
                    </a:lnTo>
                    <a:lnTo>
                      <a:pt x="250" y="312"/>
                    </a:lnTo>
                    <a:lnTo>
                      <a:pt x="248" y="312"/>
                    </a:lnTo>
                    <a:lnTo>
                      <a:pt x="247" y="313"/>
                    </a:lnTo>
                    <a:lnTo>
                      <a:pt x="245" y="316"/>
                    </a:lnTo>
                    <a:lnTo>
                      <a:pt x="244" y="317"/>
                    </a:lnTo>
                    <a:lnTo>
                      <a:pt x="243" y="318"/>
                    </a:lnTo>
                    <a:lnTo>
                      <a:pt x="243" y="320"/>
                    </a:lnTo>
                    <a:lnTo>
                      <a:pt x="242" y="320"/>
                    </a:lnTo>
                    <a:lnTo>
                      <a:pt x="241" y="320"/>
                    </a:lnTo>
                    <a:lnTo>
                      <a:pt x="240" y="320"/>
                    </a:lnTo>
                    <a:lnTo>
                      <a:pt x="238" y="320"/>
                    </a:lnTo>
                    <a:lnTo>
                      <a:pt x="235" y="320"/>
                    </a:lnTo>
                    <a:lnTo>
                      <a:pt x="233" y="318"/>
                    </a:lnTo>
                    <a:lnTo>
                      <a:pt x="231" y="318"/>
                    </a:lnTo>
                    <a:lnTo>
                      <a:pt x="229" y="318"/>
                    </a:lnTo>
                    <a:lnTo>
                      <a:pt x="162" y="318"/>
                    </a:lnTo>
                    <a:lnTo>
                      <a:pt x="161" y="318"/>
                    </a:lnTo>
                    <a:lnTo>
                      <a:pt x="156" y="320"/>
                    </a:lnTo>
                    <a:lnTo>
                      <a:pt x="154" y="320"/>
                    </a:lnTo>
                    <a:lnTo>
                      <a:pt x="135" y="318"/>
                    </a:lnTo>
                    <a:lnTo>
                      <a:pt x="115" y="320"/>
                    </a:lnTo>
                    <a:lnTo>
                      <a:pt x="114" y="320"/>
                    </a:lnTo>
                    <a:lnTo>
                      <a:pt x="109" y="320"/>
                    </a:lnTo>
                    <a:lnTo>
                      <a:pt x="83" y="320"/>
                    </a:lnTo>
                    <a:lnTo>
                      <a:pt x="83" y="311"/>
                    </a:lnTo>
                    <a:lnTo>
                      <a:pt x="83" y="309"/>
                    </a:lnTo>
                    <a:lnTo>
                      <a:pt x="83" y="288"/>
                    </a:lnTo>
                    <a:lnTo>
                      <a:pt x="111" y="288"/>
                    </a:lnTo>
                    <a:lnTo>
                      <a:pt x="116" y="288"/>
                    </a:lnTo>
                    <a:lnTo>
                      <a:pt x="119" y="288"/>
                    </a:lnTo>
                    <a:lnTo>
                      <a:pt x="135" y="288"/>
                    </a:lnTo>
                    <a:lnTo>
                      <a:pt x="149" y="288"/>
                    </a:lnTo>
                    <a:lnTo>
                      <a:pt x="149" y="287"/>
                    </a:lnTo>
                    <a:lnTo>
                      <a:pt x="148" y="286"/>
                    </a:lnTo>
                    <a:lnTo>
                      <a:pt x="147" y="284"/>
                    </a:lnTo>
                    <a:lnTo>
                      <a:pt x="145" y="283"/>
                    </a:lnTo>
                    <a:lnTo>
                      <a:pt x="147" y="282"/>
                    </a:lnTo>
                    <a:lnTo>
                      <a:pt x="145" y="280"/>
                    </a:lnTo>
                    <a:lnTo>
                      <a:pt x="147" y="278"/>
                    </a:lnTo>
                    <a:lnTo>
                      <a:pt x="147" y="277"/>
                    </a:lnTo>
                    <a:lnTo>
                      <a:pt x="145" y="278"/>
                    </a:lnTo>
                    <a:lnTo>
                      <a:pt x="144" y="278"/>
                    </a:lnTo>
                    <a:lnTo>
                      <a:pt x="143" y="277"/>
                    </a:lnTo>
                    <a:lnTo>
                      <a:pt x="144" y="276"/>
                    </a:lnTo>
                    <a:lnTo>
                      <a:pt x="143" y="275"/>
                    </a:lnTo>
                    <a:lnTo>
                      <a:pt x="142" y="275"/>
                    </a:lnTo>
                    <a:lnTo>
                      <a:pt x="141" y="275"/>
                    </a:lnTo>
                    <a:lnTo>
                      <a:pt x="141" y="274"/>
                    </a:lnTo>
                    <a:lnTo>
                      <a:pt x="142" y="273"/>
                    </a:lnTo>
                    <a:lnTo>
                      <a:pt x="142" y="272"/>
                    </a:lnTo>
                    <a:lnTo>
                      <a:pt x="141" y="271"/>
                    </a:lnTo>
                    <a:lnTo>
                      <a:pt x="141" y="270"/>
                    </a:lnTo>
                    <a:lnTo>
                      <a:pt x="140" y="269"/>
                    </a:lnTo>
                    <a:lnTo>
                      <a:pt x="141" y="269"/>
                    </a:lnTo>
                    <a:lnTo>
                      <a:pt x="141" y="267"/>
                    </a:lnTo>
                    <a:lnTo>
                      <a:pt x="139" y="267"/>
                    </a:lnTo>
                    <a:lnTo>
                      <a:pt x="138" y="267"/>
                    </a:lnTo>
                    <a:lnTo>
                      <a:pt x="137" y="266"/>
                    </a:lnTo>
                    <a:lnTo>
                      <a:pt x="136" y="265"/>
                    </a:lnTo>
                    <a:lnTo>
                      <a:pt x="136" y="264"/>
                    </a:lnTo>
                    <a:lnTo>
                      <a:pt x="137" y="264"/>
                    </a:lnTo>
                    <a:lnTo>
                      <a:pt x="137" y="263"/>
                    </a:lnTo>
                    <a:lnTo>
                      <a:pt x="137" y="262"/>
                    </a:lnTo>
                    <a:lnTo>
                      <a:pt x="136" y="261"/>
                    </a:lnTo>
                    <a:lnTo>
                      <a:pt x="137" y="260"/>
                    </a:lnTo>
                    <a:lnTo>
                      <a:pt x="137" y="259"/>
                    </a:lnTo>
                    <a:lnTo>
                      <a:pt x="137" y="258"/>
                    </a:lnTo>
                    <a:lnTo>
                      <a:pt x="137" y="257"/>
                    </a:lnTo>
                    <a:lnTo>
                      <a:pt x="138" y="257"/>
                    </a:lnTo>
                    <a:lnTo>
                      <a:pt x="138" y="256"/>
                    </a:lnTo>
                    <a:lnTo>
                      <a:pt x="137" y="254"/>
                    </a:lnTo>
                    <a:lnTo>
                      <a:pt x="137" y="253"/>
                    </a:lnTo>
                    <a:lnTo>
                      <a:pt x="138" y="253"/>
                    </a:lnTo>
                    <a:lnTo>
                      <a:pt x="138" y="254"/>
                    </a:lnTo>
                    <a:lnTo>
                      <a:pt x="139" y="254"/>
                    </a:lnTo>
                    <a:lnTo>
                      <a:pt x="141" y="253"/>
                    </a:lnTo>
                    <a:lnTo>
                      <a:pt x="141" y="252"/>
                    </a:lnTo>
                    <a:lnTo>
                      <a:pt x="142" y="251"/>
                    </a:lnTo>
                    <a:lnTo>
                      <a:pt x="142" y="250"/>
                    </a:lnTo>
                    <a:lnTo>
                      <a:pt x="143" y="250"/>
                    </a:lnTo>
                    <a:lnTo>
                      <a:pt x="144" y="250"/>
                    </a:lnTo>
                    <a:lnTo>
                      <a:pt x="144" y="249"/>
                    </a:lnTo>
                    <a:lnTo>
                      <a:pt x="145" y="248"/>
                    </a:lnTo>
                    <a:lnTo>
                      <a:pt x="147" y="248"/>
                    </a:lnTo>
                    <a:lnTo>
                      <a:pt x="147" y="247"/>
                    </a:lnTo>
                    <a:lnTo>
                      <a:pt x="148" y="247"/>
                    </a:lnTo>
                    <a:lnTo>
                      <a:pt x="148" y="246"/>
                    </a:lnTo>
                    <a:lnTo>
                      <a:pt x="148" y="245"/>
                    </a:lnTo>
                    <a:lnTo>
                      <a:pt x="148" y="244"/>
                    </a:lnTo>
                    <a:lnTo>
                      <a:pt x="147" y="243"/>
                    </a:lnTo>
                    <a:lnTo>
                      <a:pt x="144" y="243"/>
                    </a:lnTo>
                    <a:lnTo>
                      <a:pt x="144" y="241"/>
                    </a:lnTo>
                    <a:lnTo>
                      <a:pt x="144" y="240"/>
                    </a:lnTo>
                    <a:lnTo>
                      <a:pt x="145" y="239"/>
                    </a:lnTo>
                    <a:lnTo>
                      <a:pt x="145" y="238"/>
                    </a:lnTo>
                    <a:lnTo>
                      <a:pt x="145" y="237"/>
                    </a:lnTo>
                    <a:lnTo>
                      <a:pt x="145" y="236"/>
                    </a:lnTo>
                    <a:lnTo>
                      <a:pt x="124" y="236"/>
                    </a:lnTo>
                    <a:lnTo>
                      <a:pt x="113" y="236"/>
                    </a:lnTo>
                    <a:lnTo>
                      <a:pt x="83" y="235"/>
                    </a:lnTo>
                    <a:lnTo>
                      <a:pt x="83" y="203"/>
                    </a:lnTo>
                    <a:lnTo>
                      <a:pt x="83" y="193"/>
                    </a:lnTo>
                    <a:lnTo>
                      <a:pt x="83" y="184"/>
                    </a:lnTo>
                    <a:lnTo>
                      <a:pt x="83" y="183"/>
                    </a:lnTo>
                    <a:lnTo>
                      <a:pt x="83" y="182"/>
                    </a:lnTo>
                    <a:lnTo>
                      <a:pt x="83" y="181"/>
                    </a:lnTo>
                    <a:lnTo>
                      <a:pt x="83" y="177"/>
                    </a:lnTo>
                    <a:lnTo>
                      <a:pt x="83" y="172"/>
                    </a:lnTo>
                    <a:lnTo>
                      <a:pt x="83" y="169"/>
                    </a:lnTo>
                    <a:lnTo>
                      <a:pt x="83" y="162"/>
                    </a:lnTo>
                    <a:lnTo>
                      <a:pt x="83" y="161"/>
                    </a:lnTo>
                    <a:lnTo>
                      <a:pt x="76" y="161"/>
                    </a:lnTo>
                    <a:lnTo>
                      <a:pt x="61" y="161"/>
                    </a:lnTo>
                    <a:lnTo>
                      <a:pt x="61" y="151"/>
                    </a:lnTo>
                    <a:lnTo>
                      <a:pt x="61" y="150"/>
                    </a:lnTo>
                    <a:lnTo>
                      <a:pt x="61" y="149"/>
                    </a:lnTo>
                    <a:lnTo>
                      <a:pt x="61" y="133"/>
                    </a:lnTo>
                    <a:lnTo>
                      <a:pt x="61" y="130"/>
                    </a:lnTo>
                    <a:lnTo>
                      <a:pt x="61" y="124"/>
                    </a:lnTo>
                    <a:lnTo>
                      <a:pt x="61" y="117"/>
                    </a:lnTo>
                    <a:lnTo>
                      <a:pt x="61" y="113"/>
                    </a:lnTo>
                    <a:lnTo>
                      <a:pt x="61" y="108"/>
                    </a:lnTo>
                    <a:lnTo>
                      <a:pt x="61" y="96"/>
                    </a:lnTo>
                    <a:lnTo>
                      <a:pt x="61" y="91"/>
                    </a:lnTo>
                    <a:lnTo>
                      <a:pt x="61" y="80"/>
                    </a:lnTo>
                    <a:lnTo>
                      <a:pt x="61" y="78"/>
                    </a:lnTo>
                    <a:lnTo>
                      <a:pt x="40" y="78"/>
                    </a:lnTo>
                    <a:lnTo>
                      <a:pt x="27" y="78"/>
                    </a:lnTo>
                    <a:lnTo>
                      <a:pt x="26" y="78"/>
                    </a:lnTo>
                    <a:lnTo>
                      <a:pt x="24" y="78"/>
                    </a:lnTo>
                    <a:lnTo>
                      <a:pt x="7" y="77"/>
                    </a:lnTo>
                    <a:lnTo>
                      <a:pt x="0" y="77"/>
                    </a:lnTo>
                    <a:lnTo>
                      <a:pt x="0" y="65"/>
                    </a:lnTo>
                    <a:lnTo>
                      <a:pt x="0" y="60"/>
                    </a:lnTo>
                    <a:lnTo>
                      <a:pt x="0" y="46"/>
                    </a:lnTo>
                    <a:lnTo>
                      <a:pt x="3" y="46"/>
                    </a:lnTo>
                    <a:lnTo>
                      <a:pt x="9" y="46"/>
                    </a:lnTo>
                    <a:lnTo>
                      <a:pt x="12" y="46"/>
                    </a:lnTo>
                    <a:lnTo>
                      <a:pt x="23" y="45"/>
                    </a:lnTo>
                    <a:lnTo>
                      <a:pt x="37" y="45"/>
                    </a:lnTo>
                    <a:lnTo>
                      <a:pt x="40" y="45"/>
                    </a:lnTo>
                    <a:lnTo>
                      <a:pt x="40" y="38"/>
                    </a:lnTo>
                    <a:lnTo>
                      <a:pt x="40" y="35"/>
                    </a:lnTo>
                    <a:lnTo>
                      <a:pt x="45" y="35"/>
                    </a:lnTo>
                    <a:lnTo>
                      <a:pt x="49" y="35"/>
                    </a:lnTo>
                    <a:lnTo>
                      <a:pt x="50" y="35"/>
                    </a:lnTo>
                    <a:lnTo>
                      <a:pt x="61" y="35"/>
                    </a:lnTo>
                    <a:lnTo>
                      <a:pt x="72" y="35"/>
                    </a:lnTo>
                    <a:lnTo>
                      <a:pt x="80" y="35"/>
                    </a:lnTo>
                    <a:lnTo>
                      <a:pt x="92" y="35"/>
                    </a:lnTo>
                    <a:lnTo>
                      <a:pt x="92" y="36"/>
                    </a:lnTo>
                    <a:lnTo>
                      <a:pt x="97" y="36"/>
                    </a:lnTo>
                    <a:lnTo>
                      <a:pt x="102" y="35"/>
                    </a:lnTo>
                    <a:lnTo>
                      <a:pt x="104" y="35"/>
                    </a:lnTo>
                    <a:lnTo>
                      <a:pt x="118" y="35"/>
                    </a:lnTo>
                    <a:lnTo>
                      <a:pt x="121" y="35"/>
                    </a:lnTo>
                    <a:lnTo>
                      <a:pt x="123" y="35"/>
                    </a:lnTo>
                    <a:lnTo>
                      <a:pt x="135" y="35"/>
                    </a:lnTo>
                    <a:lnTo>
                      <a:pt x="141" y="35"/>
                    </a:lnTo>
                    <a:lnTo>
                      <a:pt x="147" y="35"/>
                    </a:lnTo>
                    <a:lnTo>
                      <a:pt x="151" y="36"/>
                    </a:lnTo>
                    <a:lnTo>
                      <a:pt x="155" y="35"/>
                    </a:lnTo>
                    <a:lnTo>
                      <a:pt x="166" y="35"/>
                    </a:lnTo>
                    <a:lnTo>
                      <a:pt x="176" y="35"/>
                    </a:lnTo>
                    <a:lnTo>
                      <a:pt x="187" y="35"/>
                    </a:lnTo>
                    <a:lnTo>
                      <a:pt x="194" y="36"/>
                    </a:lnTo>
                    <a:lnTo>
                      <a:pt x="204" y="36"/>
                    </a:lnTo>
                    <a:lnTo>
                      <a:pt x="207" y="36"/>
                    </a:lnTo>
                    <a:lnTo>
                      <a:pt x="209" y="36"/>
                    </a:lnTo>
                    <a:lnTo>
                      <a:pt x="218" y="36"/>
                    </a:lnTo>
                    <a:lnTo>
                      <a:pt x="218" y="28"/>
                    </a:lnTo>
                    <a:lnTo>
                      <a:pt x="218" y="19"/>
                    </a:lnTo>
                    <a:lnTo>
                      <a:pt x="218" y="18"/>
                    </a:lnTo>
                    <a:lnTo>
                      <a:pt x="218" y="5"/>
                    </a:lnTo>
                    <a:lnTo>
                      <a:pt x="218" y="0"/>
                    </a:lnTo>
                    <a:lnTo>
                      <a:pt x="224" y="0"/>
                    </a:lnTo>
                    <a:lnTo>
                      <a:pt x="229" y="0"/>
                    </a:lnTo>
                    <a:lnTo>
                      <a:pt x="233" y="0"/>
                    </a:lnTo>
                    <a:lnTo>
                      <a:pt x="255" y="0"/>
                    </a:lnTo>
                    <a:lnTo>
                      <a:pt x="258" y="1"/>
                    </a:lnTo>
                    <a:lnTo>
                      <a:pt x="259" y="1"/>
                    </a:lnTo>
                    <a:lnTo>
                      <a:pt x="260" y="0"/>
                    </a:lnTo>
                    <a:lnTo>
                      <a:pt x="281" y="0"/>
                    </a:lnTo>
                    <a:lnTo>
                      <a:pt x="290" y="0"/>
                    </a:lnTo>
                    <a:lnTo>
                      <a:pt x="307" y="1"/>
                    </a:lnTo>
                    <a:close/>
                  </a:path>
                </a:pathLst>
              </a:custGeom>
              <a:solidFill>
                <a:srgbClr val="114F98"/>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6" name="Freeform 304">
                <a:extLst>
                  <a:ext uri="{FF2B5EF4-FFF2-40B4-BE49-F238E27FC236}">
                    <a16:creationId xmlns:a16="http://schemas.microsoft.com/office/drawing/2014/main" id="{A2DD4EFE-BCCB-4439-CB0C-31FFED8BEB9F}"/>
                  </a:ext>
                </a:extLst>
              </p:cNvPr>
              <p:cNvSpPr>
                <a:spLocks noEditPoints="1"/>
              </p:cNvSpPr>
              <p:nvPr/>
            </p:nvSpPr>
            <p:spPr bwMode="auto">
              <a:xfrm>
                <a:off x="1281113" y="4513263"/>
                <a:ext cx="1254125" cy="523875"/>
              </a:xfrm>
              <a:custGeom>
                <a:avLst/>
                <a:gdLst>
                  <a:gd name="T0" fmla="*/ 704 w 790"/>
                  <a:gd name="T1" fmla="*/ 9 h 330"/>
                  <a:gd name="T2" fmla="*/ 769 w 790"/>
                  <a:gd name="T3" fmla="*/ 11 h 330"/>
                  <a:gd name="T4" fmla="*/ 789 w 790"/>
                  <a:gd name="T5" fmla="*/ 61 h 330"/>
                  <a:gd name="T6" fmla="*/ 790 w 790"/>
                  <a:gd name="T7" fmla="*/ 167 h 330"/>
                  <a:gd name="T8" fmla="*/ 789 w 790"/>
                  <a:gd name="T9" fmla="*/ 231 h 330"/>
                  <a:gd name="T10" fmla="*/ 784 w 790"/>
                  <a:gd name="T11" fmla="*/ 329 h 330"/>
                  <a:gd name="T12" fmla="*/ 775 w 790"/>
                  <a:gd name="T13" fmla="*/ 322 h 330"/>
                  <a:gd name="T14" fmla="*/ 757 w 790"/>
                  <a:gd name="T15" fmla="*/ 322 h 330"/>
                  <a:gd name="T16" fmla="*/ 733 w 790"/>
                  <a:gd name="T17" fmla="*/ 312 h 330"/>
                  <a:gd name="T18" fmla="*/ 700 w 790"/>
                  <a:gd name="T19" fmla="*/ 297 h 330"/>
                  <a:gd name="T20" fmla="*/ 692 w 790"/>
                  <a:gd name="T21" fmla="*/ 296 h 330"/>
                  <a:gd name="T22" fmla="*/ 674 w 790"/>
                  <a:gd name="T23" fmla="*/ 286 h 330"/>
                  <a:gd name="T24" fmla="*/ 656 w 790"/>
                  <a:gd name="T25" fmla="*/ 277 h 330"/>
                  <a:gd name="T26" fmla="*/ 629 w 790"/>
                  <a:gd name="T27" fmla="*/ 265 h 330"/>
                  <a:gd name="T28" fmla="*/ 569 w 790"/>
                  <a:gd name="T29" fmla="*/ 236 h 330"/>
                  <a:gd name="T30" fmla="*/ 522 w 790"/>
                  <a:gd name="T31" fmla="*/ 220 h 330"/>
                  <a:gd name="T32" fmla="*/ 459 w 790"/>
                  <a:gd name="T33" fmla="*/ 204 h 330"/>
                  <a:gd name="T34" fmla="*/ 434 w 790"/>
                  <a:gd name="T35" fmla="*/ 197 h 330"/>
                  <a:gd name="T36" fmla="*/ 411 w 790"/>
                  <a:gd name="T37" fmla="*/ 194 h 330"/>
                  <a:gd name="T38" fmla="*/ 396 w 790"/>
                  <a:gd name="T39" fmla="*/ 194 h 330"/>
                  <a:gd name="T40" fmla="*/ 376 w 790"/>
                  <a:gd name="T41" fmla="*/ 196 h 330"/>
                  <a:gd name="T42" fmla="*/ 362 w 790"/>
                  <a:gd name="T43" fmla="*/ 199 h 330"/>
                  <a:gd name="T44" fmla="*/ 345 w 790"/>
                  <a:gd name="T45" fmla="*/ 204 h 330"/>
                  <a:gd name="T46" fmla="*/ 333 w 790"/>
                  <a:gd name="T47" fmla="*/ 205 h 330"/>
                  <a:gd name="T48" fmla="*/ 272 w 790"/>
                  <a:gd name="T49" fmla="*/ 200 h 330"/>
                  <a:gd name="T50" fmla="*/ 247 w 790"/>
                  <a:gd name="T51" fmla="*/ 201 h 330"/>
                  <a:gd name="T52" fmla="*/ 213 w 790"/>
                  <a:gd name="T53" fmla="*/ 206 h 330"/>
                  <a:gd name="T54" fmla="*/ 139 w 790"/>
                  <a:gd name="T55" fmla="*/ 215 h 330"/>
                  <a:gd name="T56" fmla="*/ 67 w 790"/>
                  <a:gd name="T57" fmla="*/ 237 h 330"/>
                  <a:gd name="T58" fmla="*/ 43 w 790"/>
                  <a:gd name="T59" fmla="*/ 252 h 330"/>
                  <a:gd name="T60" fmla="*/ 41 w 790"/>
                  <a:gd name="T61" fmla="*/ 249 h 330"/>
                  <a:gd name="T62" fmla="*/ 34 w 790"/>
                  <a:gd name="T63" fmla="*/ 241 h 330"/>
                  <a:gd name="T64" fmla="*/ 31 w 790"/>
                  <a:gd name="T65" fmla="*/ 234 h 330"/>
                  <a:gd name="T66" fmla="*/ 28 w 790"/>
                  <a:gd name="T67" fmla="*/ 231 h 330"/>
                  <a:gd name="T68" fmla="*/ 23 w 790"/>
                  <a:gd name="T69" fmla="*/ 224 h 330"/>
                  <a:gd name="T70" fmla="*/ 16 w 790"/>
                  <a:gd name="T71" fmla="*/ 218 h 330"/>
                  <a:gd name="T72" fmla="*/ 14 w 790"/>
                  <a:gd name="T73" fmla="*/ 213 h 330"/>
                  <a:gd name="T74" fmla="*/ 13 w 790"/>
                  <a:gd name="T75" fmla="*/ 206 h 330"/>
                  <a:gd name="T76" fmla="*/ 11 w 790"/>
                  <a:gd name="T77" fmla="*/ 200 h 330"/>
                  <a:gd name="T78" fmla="*/ 7 w 790"/>
                  <a:gd name="T79" fmla="*/ 196 h 330"/>
                  <a:gd name="T80" fmla="*/ 4 w 790"/>
                  <a:gd name="T81" fmla="*/ 180 h 330"/>
                  <a:gd name="T82" fmla="*/ 15 w 790"/>
                  <a:gd name="T83" fmla="*/ 172 h 330"/>
                  <a:gd name="T84" fmla="*/ 23 w 790"/>
                  <a:gd name="T85" fmla="*/ 175 h 330"/>
                  <a:gd name="T86" fmla="*/ 31 w 790"/>
                  <a:gd name="T87" fmla="*/ 168 h 330"/>
                  <a:gd name="T88" fmla="*/ 39 w 790"/>
                  <a:gd name="T89" fmla="*/ 162 h 330"/>
                  <a:gd name="T90" fmla="*/ 50 w 790"/>
                  <a:gd name="T91" fmla="*/ 160 h 330"/>
                  <a:gd name="T92" fmla="*/ 55 w 790"/>
                  <a:gd name="T93" fmla="*/ 162 h 330"/>
                  <a:gd name="T94" fmla="*/ 61 w 790"/>
                  <a:gd name="T95" fmla="*/ 157 h 330"/>
                  <a:gd name="T96" fmla="*/ 71 w 790"/>
                  <a:gd name="T97" fmla="*/ 145 h 330"/>
                  <a:gd name="T98" fmla="*/ 76 w 790"/>
                  <a:gd name="T99" fmla="*/ 131 h 330"/>
                  <a:gd name="T100" fmla="*/ 83 w 790"/>
                  <a:gd name="T101" fmla="*/ 106 h 330"/>
                  <a:gd name="T102" fmla="*/ 86 w 790"/>
                  <a:gd name="T103" fmla="*/ 82 h 330"/>
                  <a:gd name="T104" fmla="*/ 89 w 790"/>
                  <a:gd name="T105" fmla="*/ 58 h 330"/>
                  <a:gd name="T106" fmla="*/ 74 w 790"/>
                  <a:gd name="T107" fmla="*/ 48 h 330"/>
                  <a:gd name="T108" fmla="*/ 79 w 790"/>
                  <a:gd name="T109" fmla="*/ 41 h 330"/>
                  <a:gd name="T110" fmla="*/ 91 w 790"/>
                  <a:gd name="T111" fmla="*/ 27 h 330"/>
                  <a:gd name="T112" fmla="*/ 100 w 790"/>
                  <a:gd name="T113" fmla="*/ 14 h 330"/>
                  <a:gd name="T114" fmla="*/ 110 w 790"/>
                  <a:gd name="T115" fmla="*/ 2 h 330"/>
                  <a:gd name="T116" fmla="*/ 306 w 790"/>
                  <a:gd name="T117" fmla="*/ 1 h 330"/>
                  <a:gd name="T118" fmla="*/ 422 w 790"/>
                  <a:gd name="T119" fmla="*/ 1 h 330"/>
                  <a:gd name="T120" fmla="*/ 501 w 790"/>
                  <a:gd name="T121" fmla="*/ 11 h 330"/>
                  <a:gd name="T122" fmla="*/ 546 w 790"/>
                  <a:gd name="T123" fmla="*/ 11 h 330"/>
                  <a:gd name="T124" fmla="*/ 9 w 790"/>
                  <a:gd name="T125" fmla="*/ 21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0" h="330">
                    <a:moveTo>
                      <a:pt x="556" y="11"/>
                    </a:moveTo>
                    <a:lnTo>
                      <a:pt x="582" y="11"/>
                    </a:lnTo>
                    <a:lnTo>
                      <a:pt x="587" y="11"/>
                    </a:lnTo>
                    <a:lnTo>
                      <a:pt x="588" y="11"/>
                    </a:lnTo>
                    <a:lnTo>
                      <a:pt x="608" y="9"/>
                    </a:lnTo>
                    <a:lnTo>
                      <a:pt x="627" y="11"/>
                    </a:lnTo>
                    <a:lnTo>
                      <a:pt x="629" y="11"/>
                    </a:lnTo>
                    <a:lnTo>
                      <a:pt x="634" y="9"/>
                    </a:lnTo>
                    <a:lnTo>
                      <a:pt x="635" y="9"/>
                    </a:lnTo>
                    <a:lnTo>
                      <a:pt x="702" y="9"/>
                    </a:lnTo>
                    <a:lnTo>
                      <a:pt x="704" y="9"/>
                    </a:lnTo>
                    <a:lnTo>
                      <a:pt x="706" y="9"/>
                    </a:lnTo>
                    <a:lnTo>
                      <a:pt x="708" y="11"/>
                    </a:lnTo>
                    <a:lnTo>
                      <a:pt x="711" y="11"/>
                    </a:lnTo>
                    <a:lnTo>
                      <a:pt x="713" y="11"/>
                    </a:lnTo>
                    <a:lnTo>
                      <a:pt x="714" y="11"/>
                    </a:lnTo>
                    <a:lnTo>
                      <a:pt x="716" y="11"/>
                    </a:lnTo>
                    <a:lnTo>
                      <a:pt x="723" y="11"/>
                    </a:lnTo>
                    <a:lnTo>
                      <a:pt x="751" y="11"/>
                    </a:lnTo>
                    <a:lnTo>
                      <a:pt x="754" y="11"/>
                    </a:lnTo>
                    <a:lnTo>
                      <a:pt x="763" y="11"/>
                    </a:lnTo>
                    <a:lnTo>
                      <a:pt x="769" y="11"/>
                    </a:lnTo>
                    <a:lnTo>
                      <a:pt x="789" y="11"/>
                    </a:lnTo>
                    <a:lnTo>
                      <a:pt x="789" y="20"/>
                    </a:lnTo>
                    <a:lnTo>
                      <a:pt x="789" y="22"/>
                    </a:lnTo>
                    <a:lnTo>
                      <a:pt x="789" y="25"/>
                    </a:lnTo>
                    <a:lnTo>
                      <a:pt x="789" y="35"/>
                    </a:lnTo>
                    <a:lnTo>
                      <a:pt x="789" y="38"/>
                    </a:lnTo>
                    <a:lnTo>
                      <a:pt x="789" y="40"/>
                    </a:lnTo>
                    <a:lnTo>
                      <a:pt x="789" y="41"/>
                    </a:lnTo>
                    <a:lnTo>
                      <a:pt x="789" y="45"/>
                    </a:lnTo>
                    <a:lnTo>
                      <a:pt x="789" y="48"/>
                    </a:lnTo>
                    <a:lnTo>
                      <a:pt x="789" y="61"/>
                    </a:lnTo>
                    <a:lnTo>
                      <a:pt x="789" y="64"/>
                    </a:lnTo>
                    <a:lnTo>
                      <a:pt x="789" y="68"/>
                    </a:lnTo>
                    <a:lnTo>
                      <a:pt x="789" y="74"/>
                    </a:lnTo>
                    <a:lnTo>
                      <a:pt x="789" y="84"/>
                    </a:lnTo>
                    <a:lnTo>
                      <a:pt x="789" y="86"/>
                    </a:lnTo>
                    <a:lnTo>
                      <a:pt x="789" y="94"/>
                    </a:lnTo>
                    <a:lnTo>
                      <a:pt x="789" y="95"/>
                    </a:lnTo>
                    <a:lnTo>
                      <a:pt x="790" y="125"/>
                    </a:lnTo>
                    <a:lnTo>
                      <a:pt x="790" y="128"/>
                    </a:lnTo>
                    <a:lnTo>
                      <a:pt x="790" y="148"/>
                    </a:lnTo>
                    <a:lnTo>
                      <a:pt x="790" y="167"/>
                    </a:lnTo>
                    <a:lnTo>
                      <a:pt x="790" y="172"/>
                    </a:lnTo>
                    <a:lnTo>
                      <a:pt x="790" y="177"/>
                    </a:lnTo>
                    <a:lnTo>
                      <a:pt x="790" y="197"/>
                    </a:lnTo>
                    <a:lnTo>
                      <a:pt x="790" y="201"/>
                    </a:lnTo>
                    <a:lnTo>
                      <a:pt x="790" y="213"/>
                    </a:lnTo>
                    <a:lnTo>
                      <a:pt x="789" y="214"/>
                    </a:lnTo>
                    <a:lnTo>
                      <a:pt x="789" y="221"/>
                    </a:lnTo>
                    <a:lnTo>
                      <a:pt x="789" y="225"/>
                    </a:lnTo>
                    <a:lnTo>
                      <a:pt x="789" y="227"/>
                    </a:lnTo>
                    <a:lnTo>
                      <a:pt x="789" y="230"/>
                    </a:lnTo>
                    <a:lnTo>
                      <a:pt x="789" y="231"/>
                    </a:lnTo>
                    <a:lnTo>
                      <a:pt x="789" y="236"/>
                    </a:lnTo>
                    <a:lnTo>
                      <a:pt x="789" y="238"/>
                    </a:lnTo>
                    <a:lnTo>
                      <a:pt x="789" y="257"/>
                    </a:lnTo>
                    <a:lnTo>
                      <a:pt x="789" y="263"/>
                    </a:lnTo>
                    <a:lnTo>
                      <a:pt x="789" y="271"/>
                    </a:lnTo>
                    <a:lnTo>
                      <a:pt x="789" y="284"/>
                    </a:lnTo>
                    <a:lnTo>
                      <a:pt x="789" y="302"/>
                    </a:lnTo>
                    <a:lnTo>
                      <a:pt x="788" y="314"/>
                    </a:lnTo>
                    <a:lnTo>
                      <a:pt x="788" y="318"/>
                    </a:lnTo>
                    <a:lnTo>
                      <a:pt x="788" y="330"/>
                    </a:lnTo>
                    <a:lnTo>
                      <a:pt x="784" y="329"/>
                    </a:lnTo>
                    <a:lnTo>
                      <a:pt x="783" y="329"/>
                    </a:lnTo>
                    <a:lnTo>
                      <a:pt x="782" y="328"/>
                    </a:lnTo>
                    <a:lnTo>
                      <a:pt x="782" y="327"/>
                    </a:lnTo>
                    <a:lnTo>
                      <a:pt x="782" y="326"/>
                    </a:lnTo>
                    <a:lnTo>
                      <a:pt x="782" y="325"/>
                    </a:lnTo>
                    <a:lnTo>
                      <a:pt x="781" y="324"/>
                    </a:lnTo>
                    <a:lnTo>
                      <a:pt x="780" y="324"/>
                    </a:lnTo>
                    <a:lnTo>
                      <a:pt x="778" y="323"/>
                    </a:lnTo>
                    <a:lnTo>
                      <a:pt x="777" y="323"/>
                    </a:lnTo>
                    <a:lnTo>
                      <a:pt x="776" y="322"/>
                    </a:lnTo>
                    <a:lnTo>
                      <a:pt x="775" y="322"/>
                    </a:lnTo>
                    <a:lnTo>
                      <a:pt x="773" y="323"/>
                    </a:lnTo>
                    <a:lnTo>
                      <a:pt x="772" y="324"/>
                    </a:lnTo>
                    <a:lnTo>
                      <a:pt x="772" y="325"/>
                    </a:lnTo>
                    <a:lnTo>
                      <a:pt x="772" y="326"/>
                    </a:lnTo>
                    <a:lnTo>
                      <a:pt x="770" y="325"/>
                    </a:lnTo>
                    <a:lnTo>
                      <a:pt x="767" y="325"/>
                    </a:lnTo>
                    <a:lnTo>
                      <a:pt x="766" y="324"/>
                    </a:lnTo>
                    <a:lnTo>
                      <a:pt x="764" y="323"/>
                    </a:lnTo>
                    <a:lnTo>
                      <a:pt x="760" y="323"/>
                    </a:lnTo>
                    <a:lnTo>
                      <a:pt x="759" y="322"/>
                    </a:lnTo>
                    <a:lnTo>
                      <a:pt x="757" y="322"/>
                    </a:lnTo>
                    <a:lnTo>
                      <a:pt x="756" y="321"/>
                    </a:lnTo>
                    <a:lnTo>
                      <a:pt x="755" y="321"/>
                    </a:lnTo>
                    <a:lnTo>
                      <a:pt x="754" y="321"/>
                    </a:lnTo>
                    <a:lnTo>
                      <a:pt x="752" y="320"/>
                    </a:lnTo>
                    <a:lnTo>
                      <a:pt x="749" y="317"/>
                    </a:lnTo>
                    <a:lnTo>
                      <a:pt x="744" y="316"/>
                    </a:lnTo>
                    <a:lnTo>
                      <a:pt x="742" y="315"/>
                    </a:lnTo>
                    <a:lnTo>
                      <a:pt x="740" y="314"/>
                    </a:lnTo>
                    <a:lnTo>
                      <a:pt x="739" y="314"/>
                    </a:lnTo>
                    <a:lnTo>
                      <a:pt x="736" y="313"/>
                    </a:lnTo>
                    <a:lnTo>
                      <a:pt x="733" y="312"/>
                    </a:lnTo>
                    <a:lnTo>
                      <a:pt x="731" y="312"/>
                    </a:lnTo>
                    <a:lnTo>
                      <a:pt x="728" y="311"/>
                    </a:lnTo>
                    <a:lnTo>
                      <a:pt x="726" y="310"/>
                    </a:lnTo>
                    <a:lnTo>
                      <a:pt x="721" y="309"/>
                    </a:lnTo>
                    <a:lnTo>
                      <a:pt x="718" y="307"/>
                    </a:lnTo>
                    <a:lnTo>
                      <a:pt x="715" y="307"/>
                    </a:lnTo>
                    <a:lnTo>
                      <a:pt x="710" y="303"/>
                    </a:lnTo>
                    <a:lnTo>
                      <a:pt x="705" y="301"/>
                    </a:lnTo>
                    <a:lnTo>
                      <a:pt x="702" y="299"/>
                    </a:lnTo>
                    <a:lnTo>
                      <a:pt x="701" y="298"/>
                    </a:lnTo>
                    <a:lnTo>
                      <a:pt x="700" y="297"/>
                    </a:lnTo>
                    <a:lnTo>
                      <a:pt x="699" y="296"/>
                    </a:lnTo>
                    <a:lnTo>
                      <a:pt x="698" y="295"/>
                    </a:lnTo>
                    <a:lnTo>
                      <a:pt x="697" y="295"/>
                    </a:lnTo>
                    <a:lnTo>
                      <a:pt x="697" y="296"/>
                    </a:lnTo>
                    <a:lnTo>
                      <a:pt x="698" y="297"/>
                    </a:lnTo>
                    <a:lnTo>
                      <a:pt x="697" y="297"/>
                    </a:lnTo>
                    <a:lnTo>
                      <a:pt x="697" y="296"/>
                    </a:lnTo>
                    <a:lnTo>
                      <a:pt x="695" y="297"/>
                    </a:lnTo>
                    <a:lnTo>
                      <a:pt x="694" y="296"/>
                    </a:lnTo>
                    <a:lnTo>
                      <a:pt x="693" y="296"/>
                    </a:lnTo>
                    <a:lnTo>
                      <a:pt x="692" y="296"/>
                    </a:lnTo>
                    <a:lnTo>
                      <a:pt x="690" y="295"/>
                    </a:lnTo>
                    <a:lnTo>
                      <a:pt x="689" y="294"/>
                    </a:lnTo>
                    <a:lnTo>
                      <a:pt x="688" y="292"/>
                    </a:lnTo>
                    <a:lnTo>
                      <a:pt x="686" y="292"/>
                    </a:lnTo>
                    <a:lnTo>
                      <a:pt x="685" y="291"/>
                    </a:lnTo>
                    <a:lnTo>
                      <a:pt x="682" y="290"/>
                    </a:lnTo>
                    <a:lnTo>
                      <a:pt x="681" y="289"/>
                    </a:lnTo>
                    <a:lnTo>
                      <a:pt x="680" y="289"/>
                    </a:lnTo>
                    <a:lnTo>
                      <a:pt x="676" y="287"/>
                    </a:lnTo>
                    <a:lnTo>
                      <a:pt x="675" y="287"/>
                    </a:lnTo>
                    <a:lnTo>
                      <a:pt x="674" y="286"/>
                    </a:lnTo>
                    <a:lnTo>
                      <a:pt x="673" y="286"/>
                    </a:lnTo>
                    <a:lnTo>
                      <a:pt x="671" y="285"/>
                    </a:lnTo>
                    <a:lnTo>
                      <a:pt x="668" y="284"/>
                    </a:lnTo>
                    <a:lnTo>
                      <a:pt x="666" y="283"/>
                    </a:lnTo>
                    <a:lnTo>
                      <a:pt x="665" y="282"/>
                    </a:lnTo>
                    <a:lnTo>
                      <a:pt x="663" y="282"/>
                    </a:lnTo>
                    <a:lnTo>
                      <a:pt x="663" y="281"/>
                    </a:lnTo>
                    <a:lnTo>
                      <a:pt x="662" y="279"/>
                    </a:lnTo>
                    <a:lnTo>
                      <a:pt x="661" y="279"/>
                    </a:lnTo>
                    <a:lnTo>
                      <a:pt x="660" y="279"/>
                    </a:lnTo>
                    <a:lnTo>
                      <a:pt x="656" y="277"/>
                    </a:lnTo>
                    <a:lnTo>
                      <a:pt x="655" y="276"/>
                    </a:lnTo>
                    <a:lnTo>
                      <a:pt x="654" y="276"/>
                    </a:lnTo>
                    <a:lnTo>
                      <a:pt x="652" y="275"/>
                    </a:lnTo>
                    <a:lnTo>
                      <a:pt x="650" y="274"/>
                    </a:lnTo>
                    <a:lnTo>
                      <a:pt x="648" y="273"/>
                    </a:lnTo>
                    <a:lnTo>
                      <a:pt x="647" y="273"/>
                    </a:lnTo>
                    <a:lnTo>
                      <a:pt x="646" y="273"/>
                    </a:lnTo>
                    <a:lnTo>
                      <a:pt x="644" y="272"/>
                    </a:lnTo>
                    <a:lnTo>
                      <a:pt x="643" y="272"/>
                    </a:lnTo>
                    <a:lnTo>
                      <a:pt x="635" y="268"/>
                    </a:lnTo>
                    <a:lnTo>
                      <a:pt x="629" y="265"/>
                    </a:lnTo>
                    <a:lnTo>
                      <a:pt x="623" y="261"/>
                    </a:lnTo>
                    <a:lnTo>
                      <a:pt x="620" y="260"/>
                    </a:lnTo>
                    <a:lnTo>
                      <a:pt x="609" y="256"/>
                    </a:lnTo>
                    <a:lnTo>
                      <a:pt x="609" y="254"/>
                    </a:lnTo>
                    <a:lnTo>
                      <a:pt x="608" y="254"/>
                    </a:lnTo>
                    <a:lnTo>
                      <a:pt x="607" y="253"/>
                    </a:lnTo>
                    <a:lnTo>
                      <a:pt x="596" y="248"/>
                    </a:lnTo>
                    <a:lnTo>
                      <a:pt x="588" y="245"/>
                    </a:lnTo>
                    <a:lnTo>
                      <a:pt x="579" y="240"/>
                    </a:lnTo>
                    <a:lnTo>
                      <a:pt x="574" y="238"/>
                    </a:lnTo>
                    <a:lnTo>
                      <a:pt x="569" y="236"/>
                    </a:lnTo>
                    <a:lnTo>
                      <a:pt x="562" y="234"/>
                    </a:lnTo>
                    <a:lnTo>
                      <a:pt x="557" y="233"/>
                    </a:lnTo>
                    <a:lnTo>
                      <a:pt x="551" y="233"/>
                    </a:lnTo>
                    <a:lnTo>
                      <a:pt x="548" y="232"/>
                    </a:lnTo>
                    <a:lnTo>
                      <a:pt x="548" y="231"/>
                    </a:lnTo>
                    <a:lnTo>
                      <a:pt x="548" y="230"/>
                    </a:lnTo>
                    <a:lnTo>
                      <a:pt x="547" y="228"/>
                    </a:lnTo>
                    <a:lnTo>
                      <a:pt x="546" y="228"/>
                    </a:lnTo>
                    <a:lnTo>
                      <a:pt x="539" y="225"/>
                    </a:lnTo>
                    <a:lnTo>
                      <a:pt x="531" y="222"/>
                    </a:lnTo>
                    <a:lnTo>
                      <a:pt x="522" y="220"/>
                    </a:lnTo>
                    <a:lnTo>
                      <a:pt x="520" y="219"/>
                    </a:lnTo>
                    <a:lnTo>
                      <a:pt x="513" y="218"/>
                    </a:lnTo>
                    <a:lnTo>
                      <a:pt x="508" y="217"/>
                    </a:lnTo>
                    <a:lnTo>
                      <a:pt x="502" y="215"/>
                    </a:lnTo>
                    <a:lnTo>
                      <a:pt x="496" y="213"/>
                    </a:lnTo>
                    <a:lnTo>
                      <a:pt x="492" y="212"/>
                    </a:lnTo>
                    <a:lnTo>
                      <a:pt x="476" y="208"/>
                    </a:lnTo>
                    <a:lnTo>
                      <a:pt x="475" y="208"/>
                    </a:lnTo>
                    <a:lnTo>
                      <a:pt x="470" y="206"/>
                    </a:lnTo>
                    <a:lnTo>
                      <a:pt x="461" y="204"/>
                    </a:lnTo>
                    <a:lnTo>
                      <a:pt x="459" y="204"/>
                    </a:lnTo>
                    <a:lnTo>
                      <a:pt x="456" y="202"/>
                    </a:lnTo>
                    <a:lnTo>
                      <a:pt x="454" y="201"/>
                    </a:lnTo>
                    <a:lnTo>
                      <a:pt x="453" y="201"/>
                    </a:lnTo>
                    <a:lnTo>
                      <a:pt x="450" y="201"/>
                    </a:lnTo>
                    <a:lnTo>
                      <a:pt x="448" y="200"/>
                    </a:lnTo>
                    <a:lnTo>
                      <a:pt x="447" y="200"/>
                    </a:lnTo>
                    <a:lnTo>
                      <a:pt x="445" y="199"/>
                    </a:lnTo>
                    <a:lnTo>
                      <a:pt x="440" y="198"/>
                    </a:lnTo>
                    <a:lnTo>
                      <a:pt x="436" y="197"/>
                    </a:lnTo>
                    <a:lnTo>
                      <a:pt x="435" y="197"/>
                    </a:lnTo>
                    <a:lnTo>
                      <a:pt x="434" y="197"/>
                    </a:lnTo>
                    <a:lnTo>
                      <a:pt x="430" y="197"/>
                    </a:lnTo>
                    <a:lnTo>
                      <a:pt x="430" y="196"/>
                    </a:lnTo>
                    <a:lnTo>
                      <a:pt x="428" y="196"/>
                    </a:lnTo>
                    <a:lnTo>
                      <a:pt x="427" y="196"/>
                    </a:lnTo>
                    <a:lnTo>
                      <a:pt x="423" y="196"/>
                    </a:lnTo>
                    <a:lnTo>
                      <a:pt x="422" y="196"/>
                    </a:lnTo>
                    <a:lnTo>
                      <a:pt x="421" y="195"/>
                    </a:lnTo>
                    <a:lnTo>
                      <a:pt x="417" y="195"/>
                    </a:lnTo>
                    <a:lnTo>
                      <a:pt x="415" y="195"/>
                    </a:lnTo>
                    <a:lnTo>
                      <a:pt x="413" y="194"/>
                    </a:lnTo>
                    <a:lnTo>
                      <a:pt x="411" y="194"/>
                    </a:lnTo>
                    <a:lnTo>
                      <a:pt x="410" y="194"/>
                    </a:lnTo>
                    <a:lnTo>
                      <a:pt x="409" y="194"/>
                    </a:lnTo>
                    <a:lnTo>
                      <a:pt x="407" y="194"/>
                    </a:lnTo>
                    <a:lnTo>
                      <a:pt x="405" y="194"/>
                    </a:lnTo>
                    <a:lnTo>
                      <a:pt x="404" y="194"/>
                    </a:lnTo>
                    <a:lnTo>
                      <a:pt x="403" y="194"/>
                    </a:lnTo>
                    <a:lnTo>
                      <a:pt x="402" y="194"/>
                    </a:lnTo>
                    <a:lnTo>
                      <a:pt x="400" y="194"/>
                    </a:lnTo>
                    <a:lnTo>
                      <a:pt x="398" y="194"/>
                    </a:lnTo>
                    <a:lnTo>
                      <a:pt x="397" y="194"/>
                    </a:lnTo>
                    <a:lnTo>
                      <a:pt x="396" y="194"/>
                    </a:lnTo>
                    <a:lnTo>
                      <a:pt x="395" y="194"/>
                    </a:lnTo>
                    <a:lnTo>
                      <a:pt x="394" y="194"/>
                    </a:lnTo>
                    <a:lnTo>
                      <a:pt x="393" y="194"/>
                    </a:lnTo>
                    <a:lnTo>
                      <a:pt x="390" y="194"/>
                    </a:lnTo>
                    <a:lnTo>
                      <a:pt x="388" y="194"/>
                    </a:lnTo>
                    <a:lnTo>
                      <a:pt x="385" y="195"/>
                    </a:lnTo>
                    <a:lnTo>
                      <a:pt x="383" y="195"/>
                    </a:lnTo>
                    <a:lnTo>
                      <a:pt x="381" y="195"/>
                    </a:lnTo>
                    <a:lnTo>
                      <a:pt x="378" y="196"/>
                    </a:lnTo>
                    <a:lnTo>
                      <a:pt x="377" y="196"/>
                    </a:lnTo>
                    <a:lnTo>
                      <a:pt x="376" y="196"/>
                    </a:lnTo>
                    <a:lnTo>
                      <a:pt x="375" y="196"/>
                    </a:lnTo>
                    <a:lnTo>
                      <a:pt x="373" y="196"/>
                    </a:lnTo>
                    <a:lnTo>
                      <a:pt x="372" y="196"/>
                    </a:lnTo>
                    <a:lnTo>
                      <a:pt x="371" y="196"/>
                    </a:lnTo>
                    <a:lnTo>
                      <a:pt x="370" y="197"/>
                    </a:lnTo>
                    <a:lnTo>
                      <a:pt x="367" y="197"/>
                    </a:lnTo>
                    <a:lnTo>
                      <a:pt x="366" y="198"/>
                    </a:lnTo>
                    <a:lnTo>
                      <a:pt x="365" y="198"/>
                    </a:lnTo>
                    <a:lnTo>
                      <a:pt x="364" y="198"/>
                    </a:lnTo>
                    <a:lnTo>
                      <a:pt x="363" y="198"/>
                    </a:lnTo>
                    <a:lnTo>
                      <a:pt x="362" y="199"/>
                    </a:lnTo>
                    <a:lnTo>
                      <a:pt x="360" y="199"/>
                    </a:lnTo>
                    <a:lnTo>
                      <a:pt x="359" y="199"/>
                    </a:lnTo>
                    <a:lnTo>
                      <a:pt x="359" y="200"/>
                    </a:lnTo>
                    <a:lnTo>
                      <a:pt x="358" y="200"/>
                    </a:lnTo>
                    <a:lnTo>
                      <a:pt x="356" y="200"/>
                    </a:lnTo>
                    <a:lnTo>
                      <a:pt x="354" y="201"/>
                    </a:lnTo>
                    <a:lnTo>
                      <a:pt x="351" y="202"/>
                    </a:lnTo>
                    <a:lnTo>
                      <a:pt x="350" y="202"/>
                    </a:lnTo>
                    <a:lnTo>
                      <a:pt x="349" y="202"/>
                    </a:lnTo>
                    <a:lnTo>
                      <a:pt x="346" y="204"/>
                    </a:lnTo>
                    <a:lnTo>
                      <a:pt x="345" y="204"/>
                    </a:lnTo>
                    <a:lnTo>
                      <a:pt x="344" y="205"/>
                    </a:lnTo>
                    <a:lnTo>
                      <a:pt x="342" y="206"/>
                    </a:lnTo>
                    <a:lnTo>
                      <a:pt x="342" y="202"/>
                    </a:lnTo>
                    <a:lnTo>
                      <a:pt x="342" y="204"/>
                    </a:lnTo>
                    <a:lnTo>
                      <a:pt x="341" y="204"/>
                    </a:lnTo>
                    <a:lnTo>
                      <a:pt x="341" y="205"/>
                    </a:lnTo>
                    <a:lnTo>
                      <a:pt x="341" y="206"/>
                    </a:lnTo>
                    <a:lnTo>
                      <a:pt x="340" y="206"/>
                    </a:lnTo>
                    <a:lnTo>
                      <a:pt x="338" y="205"/>
                    </a:lnTo>
                    <a:lnTo>
                      <a:pt x="336" y="205"/>
                    </a:lnTo>
                    <a:lnTo>
                      <a:pt x="333" y="205"/>
                    </a:lnTo>
                    <a:lnTo>
                      <a:pt x="330" y="205"/>
                    </a:lnTo>
                    <a:lnTo>
                      <a:pt x="323" y="204"/>
                    </a:lnTo>
                    <a:lnTo>
                      <a:pt x="313" y="202"/>
                    </a:lnTo>
                    <a:lnTo>
                      <a:pt x="306" y="201"/>
                    </a:lnTo>
                    <a:lnTo>
                      <a:pt x="299" y="201"/>
                    </a:lnTo>
                    <a:lnTo>
                      <a:pt x="286" y="200"/>
                    </a:lnTo>
                    <a:lnTo>
                      <a:pt x="285" y="200"/>
                    </a:lnTo>
                    <a:lnTo>
                      <a:pt x="280" y="200"/>
                    </a:lnTo>
                    <a:lnTo>
                      <a:pt x="279" y="200"/>
                    </a:lnTo>
                    <a:lnTo>
                      <a:pt x="275" y="200"/>
                    </a:lnTo>
                    <a:lnTo>
                      <a:pt x="272" y="200"/>
                    </a:lnTo>
                    <a:lnTo>
                      <a:pt x="271" y="200"/>
                    </a:lnTo>
                    <a:lnTo>
                      <a:pt x="269" y="200"/>
                    </a:lnTo>
                    <a:lnTo>
                      <a:pt x="268" y="200"/>
                    </a:lnTo>
                    <a:lnTo>
                      <a:pt x="267" y="199"/>
                    </a:lnTo>
                    <a:lnTo>
                      <a:pt x="265" y="200"/>
                    </a:lnTo>
                    <a:lnTo>
                      <a:pt x="262" y="200"/>
                    </a:lnTo>
                    <a:lnTo>
                      <a:pt x="259" y="200"/>
                    </a:lnTo>
                    <a:lnTo>
                      <a:pt x="256" y="200"/>
                    </a:lnTo>
                    <a:lnTo>
                      <a:pt x="250" y="200"/>
                    </a:lnTo>
                    <a:lnTo>
                      <a:pt x="248" y="201"/>
                    </a:lnTo>
                    <a:lnTo>
                      <a:pt x="247" y="201"/>
                    </a:lnTo>
                    <a:lnTo>
                      <a:pt x="246" y="201"/>
                    </a:lnTo>
                    <a:lnTo>
                      <a:pt x="244" y="201"/>
                    </a:lnTo>
                    <a:lnTo>
                      <a:pt x="241" y="201"/>
                    </a:lnTo>
                    <a:lnTo>
                      <a:pt x="239" y="202"/>
                    </a:lnTo>
                    <a:lnTo>
                      <a:pt x="235" y="202"/>
                    </a:lnTo>
                    <a:lnTo>
                      <a:pt x="228" y="204"/>
                    </a:lnTo>
                    <a:lnTo>
                      <a:pt x="226" y="204"/>
                    </a:lnTo>
                    <a:lnTo>
                      <a:pt x="224" y="204"/>
                    </a:lnTo>
                    <a:lnTo>
                      <a:pt x="220" y="205"/>
                    </a:lnTo>
                    <a:lnTo>
                      <a:pt x="216" y="205"/>
                    </a:lnTo>
                    <a:lnTo>
                      <a:pt x="213" y="206"/>
                    </a:lnTo>
                    <a:lnTo>
                      <a:pt x="210" y="206"/>
                    </a:lnTo>
                    <a:lnTo>
                      <a:pt x="207" y="207"/>
                    </a:lnTo>
                    <a:lnTo>
                      <a:pt x="199" y="208"/>
                    </a:lnTo>
                    <a:lnTo>
                      <a:pt x="191" y="209"/>
                    </a:lnTo>
                    <a:lnTo>
                      <a:pt x="187" y="209"/>
                    </a:lnTo>
                    <a:lnTo>
                      <a:pt x="186" y="210"/>
                    </a:lnTo>
                    <a:lnTo>
                      <a:pt x="184" y="210"/>
                    </a:lnTo>
                    <a:lnTo>
                      <a:pt x="176" y="210"/>
                    </a:lnTo>
                    <a:lnTo>
                      <a:pt x="169" y="211"/>
                    </a:lnTo>
                    <a:lnTo>
                      <a:pt x="166" y="211"/>
                    </a:lnTo>
                    <a:lnTo>
                      <a:pt x="139" y="215"/>
                    </a:lnTo>
                    <a:lnTo>
                      <a:pt x="118" y="220"/>
                    </a:lnTo>
                    <a:lnTo>
                      <a:pt x="104" y="223"/>
                    </a:lnTo>
                    <a:lnTo>
                      <a:pt x="93" y="226"/>
                    </a:lnTo>
                    <a:lnTo>
                      <a:pt x="80" y="231"/>
                    </a:lnTo>
                    <a:lnTo>
                      <a:pt x="74" y="234"/>
                    </a:lnTo>
                    <a:lnTo>
                      <a:pt x="73" y="234"/>
                    </a:lnTo>
                    <a:lnTo>
                      <a:pt x="71" y="235"/>
                    </a:lnTo>
                    <a:lnTo>
                      <a:pt x="69" y="235"/>
                    </a:lnTo>
                    <a:lnTo>
                      <a:pt x="69" y="236"/>
                    </a:lnTo>
                    <a:lnTo>
                      <a:pt x="68" y="237"/>
                    </a:lnTo>
                    <a:lnTo>
                      <a:pt x="67" y="237"/>
                    </a:lnTo>
                    <a:lnTo>
                      <a:pt x="66" y="237"/>
                    </a:lnTo>
                    <a:lnTo>
                      <a:pt x="66" y="238"/>
                    </a:lnTo>
                    <a:lnTo>
                      <a:pt x="63" y="238"/>
                    </a:lnTo>
                    <a:lnTo>
                      <a:pt x="62" y="239"/>
                    </a:lnTo>
                    <a:lnTo>
                      <a:pt x="58" y="243"/>
                    </a:lnTo>
                    <a:lnTo>
                      <a:pt x="57" y="243"/>
                    </a:lnTo>
                    <a:lnTo>
                      <a:pt x="57" y="241"/>
                    </a:lnTo>
                    <a:lnTo>
                      <a:pt x="54" y="244"/>
                    </a:lnTo>
                    <a:lnTo>
                      <a:pt x="46" y="249"/>
                    </a:lnTo>
                    <a:lnTo>
                      <a:pt x="44" y="251"/>
                    </a:lnTo>
                    <a:lnTo>
                      <a:pt x="43" y="252"/>
                    </a:lnTo>
                    <a:lnTo>
                      <a:pt x="43" y="253"/>
                    </a:lnTo>
                    <a:lnTo>
                      <a:pt x="42" y="253"/>
                    </a:lnTo>
                    <a:lnTo>
                      <a:pt x="42" y="254"/>
                    </a:lnTo>
                    <a:lnTo>
                      <a:pt x="42" y="253"/>
                    </a:lnTo>
                    <a:lnTo>
                      <a:pt x="41" y="251"/>
                    </a:lnTo>
                    <a:lnTo>
                      <a:pt x="40" y="250"/>
                    </a:lnTo>
                    <a:lnTo>
                      <a:pt x="40" y="249"/>
                    </a:lnTo>
                    <a:lnTo>
                      <a:pt x="39" y="248"/>
                    </a:lnTo>
                    <a:lnTo>
                      <a:pt x="40" y="248"/>
                    </a:lnTo>
                    <a:lnTo>
                      <a:pt x="40" y="249"/>
                    </a:lnTo>
                    <a:lnTo>
                      <a:pt x="41" y="249"/>
                    </a:lnTo>
                    <a:lnTo>
                      <a:pt x="41" y="248"/>
                    </a:lnTo>
                    <a:lnTo>
                      <a:pt x="40" y="248"/>
                    </a:lnTo>
                    <a:lnTo>
                      <a:pt x="39" y="247"/>
                    </a:lnTo>
                    <a:lnTo>
                      <a:pt x="39" y="246"/>
                    </a:lnTo>
                    <a:lnTo>
                      <a:pt x="37" y="246"/>
                    </a:lnTo>
                    <a:lnTo>
                      <a:pt x="37" y="245"/>
                    </a:lnTo>
                    <a:lnTo>
                      <a:pt x="36" y="245"/>
                    </a:lnTo>
                    <a:lnTo>
                      <a:pt x="35" y="244"/>
                    </a:lnTo>
                    <a:lnTo>
                      <a:pt x="35" y="243"/>
                    </a:lnTo>
                    <a:lnTo>
                      <a:pt x="34" y="243"/>
                    </a:lnTo>
                    <a:lnTo>
                      <a:pt x="34" y="241"/>
                    </a:lnTo>
                    <a:lnTo>
                      <a:pt x="34" y="240"/>
                    </a:lnTo>
                    <a:lnTo>
                      <a:pt x="33" y="240"/>
                    </a:lnTo>
                    <a:lnTo>
                      <a:pt x="33" y="239"/>
                    </a:lnTo>
                    <a:lnTo>
                      <a:pt x="32" y="239"/>
                    </a:lnTo>
                    <a:lnTo>
                      <a:pt x="32" y="238"/>
                    </a:lnTo>
                    <a:lnTo>
                      <a:pt x="31" y="238"/>
                    </a:lnTo>
                    <a:lnTo>
                      <a:pt x="31" y="237"/>
                    </a:lnTo>
                    <a:lnTo>
                      <a:pt x="30" y="237"/>
                    </a:lnTo>
                    <a:lnTo>
                      <a:pt x="30" y="236"/>
                    </a:lnTo>
                    <a:lnTo>
                      <a:pt x="31" y="235"/>
                    </a:lnTo>
                    <a:lnTo>
                      <a:pt x="31" y="234"/>
                    </a:lnTo>
                    <a:lnTo>
                      <a:pt x="32" y="234"/>
                    </a:lnTo>
                    <a:lnTo>
                      <a:pt x="32" y="233"/>
                    </a:lnTo>
                    <a:lnTo>
                      <a:pt x="33" y="233"/>
                    </a:lnTo>
                    <a:lnTo>
                      <a:pt x="32" y="232"/>
                    </a:lnTo>
                    <a:lnTo>
                      <a:pt x="32" y="231"/>
                    </a:lnTo>
                    <a:lnTo>
                      <a:pt x="32" y="230"/>
                    </a:lnTo>
                    <a:lnTo>
                      <a:pt x="31" y="228"/>
                    </a:lnTo>
                    <a:lnTo>
                      <a:pt x="30" y="228"/>
                    </a:lnTo>
                    <a:lnTo>
                      <a:pt x="29" y="228"/>
                    </a:lnTo>
                    <a:lnTo>
                      <a:pt x="28" y="230"/>
                    </a:lnTo>
                    <a:lnTo>
                      <a:pt x="28" y="231"/>
                    </a:lnTo>
                    <a:lnTo>
                      <a:pt x="28" y="230"/>
                    </a:lnTo>
                    <a:lnTo>
                      <a:pt x="27" y="230"/>
                    </a:lnTo>
                    <a:lnTo>
                      <a:pt x="27" y="231"/>
                    </a:lnTo>
                    <a:lnTo>
                      <a:pt x="26" y="231"/>
                    </a:lnTo>
                    <a:lnTo>
                      <a:pt x="26" y="230"/>
                    </a:lnTo>
                    <a:lnTo>
                      <a:pt x="26" y="228"/>
                    </a:lnTo>
                    <a:lnTo>
                      <a:pt x="26" y="227"/>
                    </a:lnTo>
                    <a:lnTo>
                      <a:pt x="26" y="226"/>
                    </a:lnTo>
                    <a:lnTo>
                      <a:pt x="24" y="226"/>
                    </a:lnTo>
                    <a:lnTo>
                      <a:pt x="24" y="225"/>
                    </a:lnTo>
                    <a:lnTo>
                      <a:pt x="23" y="224"/>
                    </a:lnTo>
                    <a:lnTo>
                      <a:pt x="22" y="223"/>
                    </a:lnTo>
                    <a:lnTo>
                      <a:pt x="22" y="222"/>
                    </a:lnTo>
                    <a:lnTo>
                      <a:pt x="21" y="222"/>
                    </a:lnTo>
                    <a:lnTo>
                      <a:pt x="21" y="221"/>
                    </a:lnTo>
                    <a:lnTo>
                      <a:pt x="20" y="221"/>
                    </a:lnTo>
                    <a:lnTo>
                      <a:pt x="20" y="220"/>
                    </a:lnTo>
                    <a:lnTo>
                      <a:pt x="19" y="220"/>
                    </a:lnTo>
                    <a:lnTo>
                      <a:pt x="19" y="219"/>
                    </a:lnTo>
                    <a:lnTo>
                      <a:pt x="18" y="219"/>
                    </a:lnTo>
                    <a:lnTo>
                      <a:pt x="17" y="219"/>
                    </a:lnTo>
                    <a:lnTo>
                      <a:pt x="16" y="218"/>
                    </a:lnTo>
                    <a:lnTo>
                      <a:pt x="15" y="218"/>
                    </a:lnTo>
                    <a:lnTo>
                      <a:pt x="15" y="217"/>
                    </a:lnTo>
                    <a:lnTo>
                      <a:pt x="15" y="215"/>
                    </a:lnTo>
                    <a:lnTo>
                      <a:pt x="16" y="214"/>
                    </a:lnTo>
                    <a:lnTo>
                      <a:pt x="17" y="214"/>
                    </a:lnTo>
                    <a:lnTo>
                      <a:pt x="16" y="214"/>
                    </a:lnTo>
                    <a:lnTo>
                      <a:pt x="15" y="214"/>
                    </a:lnTo>
                    <a:lnTo>
                      <a:pt x="14" y="214"/>
                    </a:lnTo>
                    <a:lnTo>
                      <a:pt x="15" y="214"/>
                    </a:lnTo>
                    <a:lnTo>
                      <a:pt x="15" y="213"/>
                    </a:lnTo>
                    <a:lnTo>
                      <a:pt x="14" y="213"/>
                    </a:lnTo>
                    <a:lnTo>
                      <a:pt x="14" y="212"/>
                    </a:lnTo>
                    <a:lnTo>
                      <a:pt x="13" y="212"/>
                    </a:lnTo>
                    <a:lnTo>
                      <a:pt x="11" y="211"/>
                    </a:lnTo>
                    <a:lnTo>
                      <a:pt x="11" y="210"/>
                    </a:lnTo>
                    <a:lnTo>
                      <a:pt x="11" y="209"/>
                    </a:lnTo>
                    <a:lnTo>
                      <a:pt x="10" y="209"/>
                    </a:lnTo>
                    <a:lnTo>
                      <a:pt x="11" y="209"/>
                    </a:lnTo>
                    <a:lnTo>
                      <a:pt x="11" y="208"/>
                    </a:lnTo>
                    <a:lnTo>
                      <a:pt x="11" y="207"/>
                    </a:lnTo>
                    <a:lnTo>
                      <a:pt x="11" y="206"/>
                    </a:lnTo>
                    <a:lnTo>
                      <a:pt x="13" y="206"/>
                    </a:lnTo>
                    <a:lnTo>
                      <a:pt x="13" y="205"/>
                    </a:lnTo>
                    <a:lnTo>
                      <a:pt x="11" y="205"/>
                    </a:lnTo>
                    <a:lnTo>
                      <a:pt x="11" y="204"/>
                    </a:lnTo>
                    <a:lnTo>
                      <a:pt x="13" y="204"/>
                    </a:lnTo>
                    <a:lnTo>
                      <a:pt x="13" y="202"/>
                    </a:lnTo>
                    <a:lnTo>
                      <a:pt x="14" y="202"/>
                    </a:lnTo>
                    <a:lnTo>
                      <a:pt x="13" y="201"/>
                    </a:lnTo>
                    <a:lnTo>
                      <a:pt x="13" y="202"/>
                    </a:lnTo>
                    <a:lnTo>
                      <a:pt x="13" y="201"/>
                    </a:lnTo>
                    <a:lnTo>
                      <a:pt x="13" y="200"/>
                    </a:lnTo>
                    <a:lnTo>
                      <a:pt x="11" y="200"/>
                    </a:lnTo>
                    <a:lnTo>
                      <a:pt x="11" y="201"/>
                    </a:lnTo>
                    <a:lnTo>
                      <a:pt x="10" y="201"/>
                    </a:lnTo>
                    <a:lnTo>
                      <a:pt x="9" y="201"/>
                    </a:lnTo>
                    <a:lnTo>
                      <a:pt x="8" y="201"/>
                    </a:lnTo>
                    <a:lnTo>
                      <a:pt x="7" y="201"/>
                    </a:lnTo>
                    <a:lnTo>
                      <a:pt x="7" y="200"/>
                    </a:lnTo>
                    <a:lnTo>
                      <a:pt x="8" y="200"/>
                    </a:lnTo>
                    <a:lnTo>
                      <a:pt x="8" y="199"/>
                    </a:lnTo>
                    <a:lnTo>
                      <a:pt x="8" y="198"/>
                    </a:lnTo>
                    <a:lnTo>
                      <a:pt x="7" y="197"/>
                    </a:lnTo>
                    <a:lnTo>
                      <a:pt x="7" y="196"/>
                    </a:lnTo>
                    <a:lnTo>
                      <a:pt x="6" y="194"/>
                    </a:lnTo>
                    <a:lnTo>
                      <a:pt x="5" y="194"/>
                    </a:lnTo>
                    <a:lnTo>
                      <a:pt x="4" y="192"/>
                    </a:lnTo>
                    <a:lnTo>
                      <a:pt x="3" y="188"/>
                    </a:lnTo>
                    <a:lnTo>
                      <a:pt x="2" y="185"/>
                    </a:lnTo>
                    <a:lnTo>
                      <a:pt x="1" y="184"/>
                    </a:lnTo>
                    <a:lnTo>
                      <a:pt x="0" y="183"/>
                    </a:lnTo>
                    <a:lnTo>
                      <a:pt x="0" y="182"/>
                    </a:lnTo>
                    <a:lnTo>
                      <a:pt x="1" y="182"/>
                    </a:lnTo>
                    <a:lnTo>
                      <a:pt x="2" y="181"/>
                    </a:lnTo>
                    <a:lnTo>
                      <a:pt x="4" y="180"/>
                    </a:lnTo>
                    <a:lnTo>
                      <a:pt x="5" y="180"/>
                    </a:lnTo>
                    <a:lnTo>
                      <a:pt x="6" y="179"/>
                    </a:lnTo>
                    <a:lnTo>
                      <a:pt x="7" y="179"/>
                    </a:lnTo>
                    <a:lnTo>
                      <a:pt x="8" y="177"/>
                    </a:lnTo>
                    <a:lnTo>
                      <a:pt x="9" y="177"/>
                    </a:lnTo>
                    <a:lnTo>
                      <a:pt x="10" y="176"/>
                    </a:lnTo>
                    <a:lnTo>
                      <a:pt x="11" y="176"/>
                    </a:lnTo>
                    <a:lnTo>
                      <a:pt x="11" y="175"/>
                    </a:lnTo>
                    <a:lnTo>
                      <a:pt x="13" y="174"/>
                    </a:lnTo>
                    <a:lnTo>
                      <a:pt x="14" y="173"/>
                    </a:lnTo>
                    <a:lnTo>
                      <a:pt x="15" y="172"/>
                    </a:lnTo>
                    <a:lnTo>
                      <a:pt x="16" y="172"/>
                    </a:lnTo>
                    <a:lnTo>
                      <a:pt x="17" y="172"/>
                    </a:lnTo>
                    <a:lnTo>
                      <a:pt x="19" y="172"/>
                    </a:lnTo>
                    <a:lnTo>
                      <a:pt x="20" y="173"/>
                    </a:lnTo>
                    <a:lnTo>
                      <a:pt x="21" y="171"/>
                    </a:lnTo>
                    <a:lnTo>
                      <a:pt x="23" y="171"/>
                    </a:lnTo>
                    <a:lnTo>
                      <a:pt x="23" y="172"/>
                    </a:lnTo>
                    <a:lnTo>
                      <a:pt x="22" y="173"/>
                    </a:lnTo>
                    <a:lnTo>
                      <a:pt x="23" y="173"/>
                    </a:lnTo>
                    <a:lnTo>
                      <a:pt x="23" y="174"/>
                    </a:lnTo>
                    <a:lnTo>
                      <a:pt x="23" y="175"/>
                    </a:lnTo>
                    <a:lnTo>
                      <a:pt x="24" y="175"/>
                    </a:lnTo>
                    <a:lnTo>
                      <a:pt x="24" y="174"/>
                    </a:lnTo>
                    <a:lnTo>
                      <a:pt x="24" y="173"/>
                    </a:lnTo>
                    <a:lnTo>
                      <a:pt x="24" y="172"/>
                    </a:lnTo>
                    <a:lnTo>
                      <a:pt x="24" y="171"/>
                    </a:lnTo>
                    <a:lnTo>
                      <a:pt x="26" y="171"/>
                    </a:lnTo>
                    <a:lnTo>
                      <a:pt x="26" y="170"/>
                    </a:lnTo>
                    <a:lnTo>
                      <a:pt x="27" y="169"/>
                    </a:lnTo>
                    <a:lnTo>
                      <a:pt x="28" y="169"/>
                    </a:lnTo>
                    <a:lnTo>
                      <a:pt x="30" y="169"/>
                    </a:lnTo>
                    <a:lnTo>
                      <a:pt x="31" y="168"/>
                    </a:lnTo>
                    <a:lnTo>
                      <a:pt x="32" y="168"/>
                    </a:lnTo>
                    <a:lnTo>
                      <a:pt x="33" y="168"/>
                    </a:lnTo>
                    <a:lnTo>
                      <a:pt x="33" y="167"/>
                    </a:lnTo>
                    <a:lnTo>
                      <a:pt x="34" y="167"/>
                    </a:lnTo>
                    <a:lnTo>
                      <a:pt x="35" y="167"/>
                    </a:lnTo>
                    <a:lnTo>
                      <a:pt x="35" y="166"/>
                    </a:lnTo>
                    <a:lnTo>
                      <a:pt x="35" y="164"/>
                    </a:lnTo>
                    <a:lnTo>
                      <a:pt x="36" y="164"/>
                    </a:lnTo>
                    <a:lnTo>
                      <a:pt x="36" y="163"/>
                    </a:lnTo>
                    <a:lnTo>
                      <a:pt x="37" y="163"/>
                    </a:lnTo>
                    <a:lnTo>
                      <a:pt x="39" y="162"/>
                    </a:lnTo>
                    <a:lnTo>
                      <a:pt x="40" y="162"/>
                    </a:lnTo>
                    <a:lnTo>
                      <a:pt x="41" y="162"/>
                    </a:lnTo>
                    <a:lnTo>
                      <a:pt x="42" y="161"/>
                    </a:lnTo>
                    <a:lnTo>
                      <a:pt x="42" y="162"/>
                    </a:lnTo>
                    <a:lnTo>
                      <a:pt x="43" y="162"/>
                    </a:lnTo>
                    <a:lnTo>
                      <a:pt x="44" y="162"/>
                    </a:lnTo>
                    <a:lnTo>
                      <a:pt x="45" y="161"/>
                    </a:lnTo>
                    <a:lnTo>
                      <a:pt x="46" y="161"/>
                    </a:lnTo>
                    <a:lnTo>
                      <a:pt x="47" y="161"/>
                    </a:lnTo>
                    <a:lnTo>
                      <a:pt x="49" y="160"/>
                    </a:lnTo>
                    <a:lnTo>
                      <a:pt x="50" y="160"/>
                    </a:lnTo>
                    <a:lnTo>
                      <a:pt x="52" y="159"/>
                    </a:lnTo>
                    <a:lnTo>
                      <a:pt x="53" y="159"/>
                    </a:lnTo>
                    <a:lnTo>
                      <a:pt x="54" y="159"/>
                    </a:lnTo>
                    <a:lnTo>
                      <a:pt x="54" y="160"/>
                    </a:lnTo>
                    <a:lnTo>
                      <a:pt x="54" y="161"/>
                    </a:lnTo>
                    <a:lnTo>
                      <a:pt x="54" y="162"/>
                    </a:lnTo>
                    <a:lnTo>
                      <a:pt x="54" y="163"/>
                    </a:lnTo>
                    <a:lnTo>
                      <a:pt x="55" y="164"/>
                    </a:lnTo>
                    <a:lnTo>
                      <a:pt x="56" y="164"/>
                    </a:lnTo>
                    <a:lnTo>
                      <a:pt x="56" y="163"/>
                    </a:lnTo>
                    <a:lnTo>
                      <a:pt x="55" y="162"/>
                    </a:lnTo>
                    <a:lnTo>
                      <a:pt x="55" y="161"/>
                    </a:lnTo>
                    <a:lnTo>
                      <a:pt x="55" y="160"/>
                    </a:lnTo>
                    <a:lnTo>
                      <a:pt x="55" y="159"/>
                    </a:lnTo>
                    <a:lnTo>
                      <a:pt x="56" y="159"/>
                    </a:lnTo>
                    <a:lnTo>
                      <a:pt x="57" y="159"/>
                    </a:lnTo>
                    <a:lnTo>
                      <a:pt x="58" y="159"/>
                    </a:lnTo>
                    <a:lnTo>
                      <a:pt x="59" y="159"/>
                    </a:lnTo>
                    <a:lnTo>
                      <a:pt x="59" y="158"/>
                    </a:lnTo>
                    <a:lnTo>
                      <a:pt x="60" y="158"/>
                    </a:lnTo>
                    <a:lnTo>
                      <a:pt x="61" y="158"/>
                    </a:lnTo>
                    <a:lnTo>
                      <a:pt x="61" y="157"/>
                    </a:lnTo>
                    <a:lnTo>
                      <a:pt x="62" y="156"/>
                    </a:lnTo>
                    <a:lnTo>
                      <a:pt x="62" y="155"/>
                    </a:lnTo>
                    <a:lnTo>
                      <a:pt x="63" y="155"/>
                    </a:lnTo>
                    <a:lnTo>
                      <a:pt x="63" y="154"/>
                    </a:lnTo>
                    <a:lnTo>
                      <a:pt x="65" y="154"/>
                    </a:lnTo>
                    <a:lnTo>
                      <a:pt x="65" y="153"/>
                    </a:lnTo>
                    <a:lnTo>
                      <a:pt x="66" y="149"/>
                    </a:lnTo>
                    <a:lnTo>
                      <a:pt x="67" y="147"/>
                    </a:lnTo>
                    <a:lnTo>
                      <a:pt x="69" y="146"/>
                    </a:lnTo>
                    <a:lnTo>
                      <a:pt x="70" y="147"/>
                    </a:lnTo>
                    <a:lnTo>
                      <a:pt x="71" y="145"/>
                    </a:lnTo>
                    <a:lnTo>
                      <a:pt x="72" y="144"/>
                    </a:lnTo>
                    <a:lnTo>
                      <a:pt x="72" y="143"/>
                    </a:lnTo>
                    <a:lnTo>
                      <a:pt x="72" y="141"/>
                    </a:lnTo>
                    <a:lnTo>
                      <a:pt x="72" y="138"/>
                    </a:lnTo>
                    <a:lnTo>
                      <a:pt x="73" y="138"/>
                    </a:lnTo>
                    <a:lnTo>
                      <a:pt x="74" y="137"/>
                    </a:lnTo>
                    <a:lnTo>
                      <a:pt x="75" y="136"/>
                    </a:lnTo>
                    <a:lnTo>
                      <a:pt x="76" y="134"/>
                    </a:lnTo>
                    <a:lnTo>
                      <a:pt x="75" y="134"/>
                    </a:lnTo>
                    <a:lnTo>
                      <a:pt x="75" y="131"/>
                    </a:lnTo>
                    <a:lnTo>
                      <a:pt x="76" y="131"/>
                    </a:lnTo>
                    <a:lnTo>
                      <a:pt x="78" y="127"/>
                    </a:lnTo>
                    <a:lnTo>
                      <a:pt x="78" y="123"/>
                    </a:lnTo>
                    <a:lnTo>
                      <a:pt x="79" y="121"/>
                    </a:lnTo>
                    <a:lnTo>
                      <a:pt x="80" y="121"/>
                    </a:lnTo>
                    <a:lnTo>
                      <a:pt x="82" y="120"/>
                    </a:lnTo>
                    <a:lnTo>
                      <a:pt x="83" y="117"/>
                    </a:lnTo>
                    <a:lnTo>
                      <a:pt x="83" y="115"/>
                    </a:lnTo>
                    <a:lnTo>
                      <a:pt x="82" y="111"/>
                    </a:lnTo>
                    <a:lnTo>
                      <a:pt x="82" y="109"/>
                    </a:lnTo>
                    <a:lnTo>
                      <a:pt x="82" y="107"/>
                    </a:lnTo>
                    <a:lnTo>
                      <a:pt x="83" y="106"/>
                    </a:lnTo>
                    <a:lnTo>
                      <a:pt x="83" y="105"/>
                    </a:lnTo>
                    <a:lnTo>
                      <a:pt x="86" y="98"/>
                    </a:lnTo>
                    <a:lnTo>
                      <a:pt x="85" y="96"/>
                    </a:lnTo>
                    <a:lnTo>
                      <a:pt x="86" y="95"/>
                    </a:lnTo>
                    <a:lnTo>
                      <a:pt x="86" y="94"/>
                    </a:lnTo>
                    <a:lnTo>
                      <a:pt x="86" y="91"/>
                    </a:lnTo>
                    <a:lnTo>
                      <a:pt x="86" y="86"/>
                    </a:lnTo>
                    <a:lnTo>
                      <a:pt x="85" y="84"/>
                    </a:lnTo>
                    <a:lnTo>
                      <a:pt x="86" y="84"/>
                    </a:lnTo>
                    <a:lnTo>
                      <a:pt x="86" y="83"/>
                    </a:lnTo>
                    <a:lnTo>
                      <a:pt x="86" y="82"/>
                    </a:lnTo>
                    <a:lnTo>
                      <a:pt x="87" y="80"/>
                    </a:lnTo>
                    <a:lnTo>
                      <a:pt x="87" y="78"/>
                    </a:lnTo>
                    <a:lnTo>
                      <a:pt x="87" y="77"/>
                    </a:lnTo>
                    <a:lnTo>
                      <a:pt x="89" y="76"/>
                    </a:lnTo>
                    <a:lnTo>
                      <a:pt x="89" y="74"/>
                    </a:lnTo>
                    <a:lnTo>
                      <a:pt x="89" y="73"/>
                    </a:lnTo>
                    <a:lnTo>
                      <a:pt x="91" y="71"/>
                    </a:lnTo>
                    <a:lnTo>
                      <a:pt x="91" y="70"/>
                    </a:lnTo>
                    <a:lnTo>
                      <a:pt x="91" y="65"/>
                    </a:lnTo>
                    <a:lnTo>
                      <a:pt x="91" y="60"/>
                    </a:lnTo>
                    <a:lnTo>
                      <a:pt x="89" y="58"/>
                    </a:lnTo>
                    <a:lnTo>
                      <a:pt x="86" y="56"/>
                    </a:lnTo>
                    <a:lnTo>
                      <a:pt x="84" y="54"/>
                    </a:lnTo>
                    <a:lnTo>
                      <a:pt x="81" y="53"/>
                    </a:lnTo>
                    <a:lnTo>
                      <a:pt x="79" y="53"/>
                    </a:lnTo>
                    <a:lnTo>
                      <a:pt x="76" y="53"/>
                    </a:lnTo>
                    <a:lnTo>
                      <a:pt x="74" y="53"/>
                    </a:lnTo>
                    <a:lnTo>
                      <a:pt x="73" y="53"/>
                    </a:lnTo>
                    <a:lnTo>
                      <a:pt x="73" y="52"/>
                    </a:lnTo>
                    <a:lnTo>
                      <a:pt x="74" y="51"/>
                    </a:lnTo>
                    <a:lnTo>
                      <a:pt x="74" y="50"/>
                    </a:lnTo>
                    <a:lnTo>
                      <a:pt x="74" y="48"/>
                    </a:lnTo>
                    <a:lnTo>
                      <a:pt x="72" y="48"/>
                    </a:lnTo>
                    <a:lnTo>
                      <a:pt x="72" y="47"/>
                    </a:lnTo>
                    <a:lnTo>
                      <a:pt x="71" y="47"/>
                    </a:lnTo>
                    <a:lnTo>
                      <a:pt x="70" y="45"/>
                    </a:lnTo>
                    <a:lnTo>
                      <a:pt x="71" y="44"/>
                    </a:lnTo>
                    <a:lnTo>
                      <a:pt x="72" y="43"/>
                    </a:lnTo>
                    <a:lnTo>
                      <a:pt x="73" y="42"/>
                    </a:lnTo>
                    <a:lnTo>
                      <a:pt x="75" y="41"/>
                    </a:lnTo>
                    <a:lnTo>
                      <a:pt x="76" y="41"/>
                    </a:lnTo>
                    <a:lnTo>
                      <a:pt x="78" y="41"/>
                    </a:lnTo>
                    <a:lnTo>
                      <a:pt x="79" y="41"/>
                    </a:lnTo>
                    <a:lnTo>
                      <a:pt x="80" y="41"/>
                    </a:lnTo>
                    <a:lnTo>
                      <a:pt x="81" y="40"/>
                    </a:lnTo>
                    <a:lnTo>
                      <a:pt x="82" y="40"/>
                    </a:lnTo>
                    <a:lnTo>
                      <a:pt x="82" y="39"/>
                    </a:lnTo>
                    <a:lnTo>
                      <a:pt x="83" y="38"/>
                    </a:lnTo>
                    <a:lnTo>
                      <a:pt x="83" y="37"/>
                    </a:lnTo>
                    <a:lnTo>
                      <a:pt x="83" y="34"/>
                    </a:lnTo>
                    <a:lnTo>
                      <a:pt x="85" y="33"/>
                    </a:lnTo>
                    <a:lnTo>
                      <a:pt x="88" y="29"/>
                    </a:lnTo>
                    <a:lnTo>
                      <a:pt x="89" y="27"/>
                    </a:lnTo>
                    <a:lnTo>
                      <a:pt x="91" y="27"/>
                    </a:lnTo>
                    <a:lnTo>
                      <a:pt x="92" y="26"/>
                    </a:lnTo>
                    <a:lnTo>
                      <a:pt x="95" y="25"/>
                    </a:lnTo>
                    <a:lnTo>
                      <a:pt x="96" y="25"/>
                    </a:lnTo>
                    <a:lnTo>
                      <a:pt x="97" y="24"/>
                    </a:lnTo>
                    <a:lnTo>
                      <a:pt x="98" y="24"/>
                    </a:lnTo>
                    <a:lnTo>
                      <a:pt x="99" y="22"/>
                    </a:lnTo>
                    <a:lnTo>
                      <a:pt x="100" y="21"/>
                    </a:lnTo>
                    <a:lnTo>
                      <a:pt x="100" y="20"/>
                    </a:lnTo>
                    <a:lnTo>
                      <a:pt x="100" y="16"/>
                    </a:lnTo>
                    <a:lnTo>
                      <a:pt x="100" y="15"/>
                    </a:lnTo>
                    <a:lnTo>
                      <a:pt x="100" y="14"/>
                    </a:lnTo>
                    <a:lnTo>
                      <a:pt x="101" y="13"/>
                    </a:lnTo>
                    <a:lnTo>
                      <a:pt x="101" y="12"/>
                    </a:lnTo>
                    <a:lnTo>
                      <a:pt x="101" y="11"/>
                    </a:lnTo>
                    <a:lnTo>
                      <a:pt x="102" y="11"/>
                    </a:lnTo>
                    <a:lnTo>
                      <a:pt x="104" y="8"/>
                    </a:lnTo>
                    <a:lnTo>
                      <a:pt x="105" y="7"/>
                    </a:lnTo>
                    <a:lnTo>
                      <a:pt x="107" y="5"/>
                    </a:lnTo>
                    <a:lnTo>
                      <a:pt x="108" y="5"/>
                    </a:lnTo>
                    <a:lnTo>
                      <a:pt x="108" y="4"/>
                    </a:lnTo>
                    <a:lnTo>
                      <a:pt x="110" y="3"/>
                    </a:lnTo>
                    <a:lnTo>
                      <a:pt x="110" y="2"/>
                    </a:lnTo>
                    <a:lnTo>
                      <a:pt x="111" y="2"/>
                    </a:lnTo>
                    <a:lnTo>
                      <a:pt x="111" y="1"/>
                    </a:lnTo>
                    <a:lnTo>
                      <a:pt x="112" y="1"/>
                    </a:lnTo>
                    <a:lnTo>
                      <a:pt x="175" y="1"/>
                    </a:lnTo>
                    <a:lnTo>
                      <a:pt x="184" y="1"/>
                    </a:lnTo>
                    <a:lnTo>
                      <a:pt x="185" y="1"/>
                    </a:lnTo>
                    <a:lnTo>
                      <a:pt x="215" y="1"/>
                    </a:lnTo>
                    <a:lnTo>
                      <a:pt x="217" y="1"/>
                    </a:lnTo>
                    <a:lnTo>
                      <a:pt x="247" y="1"/>
                    </a:lnTo>
                    <a:lnTo>
                      <a:pt x="251" y="1"/>
                    </a:lnTo>
                    <a:lnTo>
                      <a:pt x="306" y="1"/>
                    </a:lnTo>
                    <a:lnTo>
                      <a:pt x="324" y="1"/>
                    </a:lnTo>
                    <a:lnTo>
                      <a:pt x="344" y="1"/>
                    </a:lnTo>
                    <a:lnTo>
                      <a:pt x="351" y="1"/>
                    </a:lnTo>
                    <a:lnTo>
                      <a:pt x="353" y="1"/>
                    </a:lnTo>
                    <a:lnTo>
                      <a:pt x="357" y="1"/>
                    </a:lnTo>
                    <a:lnTo>
                      <a:pt x="362" y="1"/>
                    </a:lnTo>
                    <a:lnTo>
                      <a:pt x="378" y="1"/>
                    </a:lnTo>
                    <a:lnTo>
                      <a:pt x="382" y="1"/>
                    </a:lnTo>
                    <a:lnTo>
                      <a:pt x="392" y="1"/>
                    </a:lnTo>
                    <a:lnTo>
                      <a:pt x="393" y="1"/>
                    </a:lnTo>
                    <a:lnTo>
                      <a:pt x="422" y="1"/>
                    </a:lnTo>
                    <a:lnTo>
                      <a:pt x="444" y="1"/>
                    </a:lnTo>
                    <a:lnTo>
                      <a:pt x="450" y="1"/>
                    </a:lnTo>
                    <a:lnTo>
                      <a:pt x="454" y="1"/>
                    </a:lnTo>
                    <a:lnTo>
                      <a:pt x="465" y="0"/>
                    </a:lnTo>
                    <a:lnTo>
                      <a:pt x="469" y="0"/>
                    </a:lnTo>
                    <a:lnTo>
                      <a:pt x="474" y="0"/>
                    </a:lnTo>
                    <a:lnTo>
                      <a:pt x="474" y="11"/>
                    </a:lnTo>
                    <a:lnTo>
                      <a:pt x="494" y="11"/>
                    </a:lnTo>
                    <a:lnTo>
                      <a:pt x="499" y="11"/>
                    </a:lnTo>
                    <a:lnTo>
                      <a:pt x="500" y="11"/>
                    </a:lnTo>
                    <a:lnTo>
                      <a:pt x="501" y="11"/>
                    </a:lnTo>
                    <a:lnTo>
                      <a:pt x="502" y="11"/>
                    </a:lnTo>
                    <a:lnTo>
                      <a:pt x="505" y="11"/>
                    </a:lnTo>
                    <a:lnTo>
                      <a:pt x="508" y="11"/>
                    </a:lnTo>
                    <a:lnTo>
                      <a:pt x="524" y="9"/>
                    </a:lnTo>
                    <a:lnTo>
                      <a:pt x="535" y="9"/>
                    </a:lnTo>
                    <a:lnTo>
                      <a:pt x="539" y="9"/>
                    </a:lnTo>
                    <a:lnTo>
                      <a:pt x="540" y="9"/>
                    </a:lnTo>
                    <a:lnTo>
                      <a:pt x="542" y="9"/>
                    </a:lnTo>
                    <a:lnTo>
                      <a:pt x="543" y="9"/>
                    </a:lnTo>
                    <a:lnTo>
                      <a:pt x="545" y="9"/>
                    </a:lnTo>
                    <a:lnTo>
                      <a:pt x="546" y="11"/>
                    </a:lnTo>
                    <a:lnTo>
                      <a:pt x="556" y="11"/>
                    </a:lnTo>
                    <a:close/>
                    <a:moveTo>
                      <a:pt x="14" y="218"/>
                    </a:moveTo>
                    <a:lnTo>
                      <a:pt x="14" y="219"/>
                    </a:lnTo>
                    <a:lnTo>
                      <a:pt x="13" y="219"/>
                    </a:lnTo>
                    <a:lnTo>
                      <a:pt x="13" y="218"/>
                    </a:lnTo>
                    <a:lnTo>
                      <a:pt x="11" y="219"/>
                    </a:lnTo>
                    <a:lnTo>
                      <a:pt x="11" y="218"/>
                    </a:lnTo>
                    <a:lnTo>
                      <a:pt x="10" y="218"/>
                    </a:lnTo>
                    <a:lnTo>
                      <a:pt x="10" y="217"/>
                    </a:lnTo>
                    <a:lnTo>
                      <a:pt x="9" y="217"/>
                    </a:lnTo>
                    <a:lnTo>
                      <a:pt x="9" y="215"/>
                    </a:lnTo>
                    <a:lnTo>
                      <a:pt x="9" y="214"/>
                    </a:lnTo>
                    <a:lnTo>
                      <a:pt x="8" y="213"/>
                    </a:lnTo>
                    <a:lnTo>
                      <a:pt x="9" y="213"/>
                    </a:lnTo>
                    <a:lnTo>
                      <a:pt x="9" y="214"/>
                    </a:lnTo>
                    <a:lnTo>
                      <a:pt x="10" y="214"/>
                    </a:lnTo>
                    <a:lnTo>
                      <a:pt x="11" y="215"/>
                    </a:lnTo>
                    <a:lnTo>
                      <a:pt x="13" y="215"/>
                    </a:lnTo>
                    <a:lnTo>
                      <a:pt x="13" y="217"/>
                    </a:lnTo>
                    <a:lnTo>
                      <a:pt x="14" y="218"/>
                    </a:lnTo>
                    <a:close/>
                  </a:path>
                </a:pathLst>
              </a:custGeom>
              <a:solidFill>
                <a:srgbClr val="CBE3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7" name="Freeform 305">
                <a:extLst>
                  <a:ext uri="{FF2B5EF4-FFF2-40B4-BE49-F238E27FC236}">
                    <a16:creationId xmlns:a16="http://schemas.microsoft.com/office/drawing/2014/main" id="{C333DA3E-4080-D1A0-E026-DD0CF0251AE5}"/>
                  </a:ext>
                </a:extLst>
              </p:cNvPr>
              <p:cNvSpPr>
                <a:spLocks/>
              </p:cNvSpPr>
              <p:nvPr/>
            </p:nvSpPr>
            <p:spPr bwMode="auto">
              <a:xfrm>
                <a:off x="1146176" y="1906588"/>
                <a:ext cx="671513" cy="574675"/>
              </a:xfrm>
              <a:custGeom>
                <a:avLst/>
                <a:gdLst>
                  <a:gd name="T0" fmla="*/ 272 w 423"/>
                  <a:gd name="T1" fmla="*/ 91 h 362"/>
                  <a:gd name="T2" fmla="*/ 283 w 423"/>
                  <a:gd name="T3" fmla="*/ 104 h 362"/>
                  <a:gd name="T4" fmla="*/ 302 w 423"/>
                  <a:gd name="T5" fmla="*/ 109 h 362"/>
                  <a:gd name="T6" fmla="*/ 316 w 423"/>
                  <a:gd name="T7" fmla="*/ 119 h 362"/>
                  <a:gd name="T8" fmla="*/ 319 w 423"/>
                  <a:gd name="T9" fmla="*/ 135 h 362"/>
                  <a:gd name="T10" fmla="*/ 326 w 423"/>
                  <a:gd name="T11" fmla="*/ 155 h 362"/>
                  <a:gd name="T12" fmla="*/ 312 w 423"/>
                  <a:gd name="T13" fmla="*/ 166 h 362"/>
                  <a:gd name="T14" fmla="*/ 312 w 423"/>
                  <a:gd name="T15" fmla="*/ 179 h 362"/>
                  <a:gd name="T16" fmla="*/ 323 w 423"/>
                  <a:gd name="T17" fmla="*/ 191 h 362"/>
                  <a:gd name="T18" fmla="*/ 329 w 423"/>
                  <a:gd name="T19" fmla="*/ 204 h 362"/>
                  <a:gd name="T20" fmla="*/ 345 w 423"/>
                  <a:gd name="T21" fmla="*/ 219 h 362"/>
                  <a:gd name="T22" fmla="*/ 351 w 423"/>
                  <a:gd name="T23" fmla="*/ 231 h 362"/>
                  <a:gd name="T24" fmla="*/ 358 w 423"/>
                  <a:gd name="T25" fmla="*/ 245 h 362"/>
                  <a:gd name="T26" fmla="*/ 369 w 423"/>
                  <a:gd name="T27" fmla="*/ 258 h 362"/>
                  <a:gd name="T28" fmla="*/ 382 w 423"/>
                  <a:gd name="T29" fmla="*/ 261 h 362"/>
                  <a:gd name="T30" fmla="*/ 392 w 423"/>
                  <a:gd name="T31" fmla="*/ 264 h 362"/>
                  <a:gd name="T32" fmla="*/ 406 w 423"/>
                  <a:gd name="T33" fmla="*/ 274 h 362"/>
                  <a:gd name="T34" fmla="*/ 412 w 423"/>
                  <a:gd name="T35" fmla="*/ 287 h 362"/>
                  <a:gd name="T36" fmla="*/ 423 w 423"/>
                  <a:gd name="T37" fmla="*/ 297 h 362"/>
                  <a:gd name="T38" fmla="*/ 404 w 423"/>
                  <a:gd name="T39" fmla="*/ 305 h 362"/>
                  <a:gd name="T40" fmla="*/ 388 w 423"/>
                  <a:gd name="T41" fmla="*/ 308 h 362"/>
                  <a:gd name="T42" fmla="*/ 378 w 423"/>
                  <a:gd name="T43" fmla="*/ 299 h 362"/>
                  <a:gd name="T44" fmla="*/ 371 w 423"/>
                  <a:gd name="T45" fmla="*/ 310 h 362"/>
                  <a:gd name="T46" fmla="*/ 369 w 423"/>
                  <a:gd name="T47" fmla="*/ 322 h 362"/>
                  <a:gd name="T48" fmla="*/ 285 w 423"/>
                  <a:gd name="T49" fmla="*/ 361 h 362"/>
                  <a:gd name="T50" fmla="*/ 147 w 423"/>
                  <a:gd name="T51" fmla="*/ 362 h 362"/>
                  <a:gd name="T52" fmla="*/ 94 w 423"/>
                  <a:gd name="T53" fmla="*/ 354 h 362"/>
                  <a:gd name="T54" fmla="*/ 93 w 423"/>
                  <a:gd name="T55" fmla="*/ 344 h 362"/>
                  <a:gd name="T56" fmla="*/ 87 w 423"/>
                  <a:gd name="T57" fmla="*/ 338 h 362"/>
                  <a:gd name="T58" fmla="*/ 85 w 423"/>
                  <a:gd name="T59" fmla="*/ 325 h 362"/>
                  <a:gd name="T60" fmla="*/ 79 w 423"/>
                  <a:gd name="T61" fmla="*/ 330 h 362"/>
                  <a:gd name="T62" fmla="*/ 74 w 423"/>
                  <a:gd name="T63" fmla="*/ 333 h 362"/>
                  <a:gd name="T64" fmla="*/ 69 w 423"/>
                  <a:gd name="T65" fmla="*/ 325 h 362"/>
                  <a:gd name="T66" fmla="*/ 65 w 423"/>
                  <a:gd name="T67" fmla="*/ 315 h 362"/>
                  <a:gd name="T68" fmla="*/ 53 w 423"/>
                  <a:gd name="T69" fmla="*/ 310 h 362"/>
                  <a:gd name="T70" fmla="*/ 42 w 423"/>
                  <a:gd name="T71" fmla="*/ 307 h 362"/>
                  <a:gd name="T72" fmla="*/ 32 w 423"/>
                  <a:gd name="T73" fmla="*/ 287 h 362"/>
                  <a:gd name="T74" fmla="*/ 19 w 423"/>
                  <a:gd name="T75" fmla="*/ 267 h 362"/>
                  <a:gd name="T76" fmla="*/ 10 w 423"/>
                  <a:gd name="T77" fmla="*/ 255 h 362"/>
                  <a:gd name="T78" fmla="*/ 0 w 423"/>
                  <a:gd name="T79" fmla="*/ 250 h 362"/>
                  <a:gd name="T80" fmla="*/ 0 w 423"/>
                  <a:gd name="T81" fmla="*/ 151 h 362"/>
                  <a:gd name="T82" fmla="*/ 74 w 423"/>
                  <a:gd name="T83" fmla="*/ 95 h 362"/>
                  <a:gd name="T84" fmla="*/ 87 w 423"/>
                  <a:gd name="T85" fmla="*/ 86 h 362"/>
                  <a:gd name="T86" fmla="*/ 98 w 423"/>
                  <a:gd name="T87" fmla="*/ 78 h 362"/>
                  <a:gd name="T88" fmla="*/ 108 w 423"/>
                  <a:gd name="T89" fmla="*/ 69 h 362"/>
                  <a:gd name="T90" fmla="*/ 113 w 423"/>
                  <a:gd name="T91" fmla="*/ 56 h 362"/>
                  <a:gd name="T92" fmla="*/ 116 w 423"/>
                  <a:gd name="T93" fmla="*/ 43 h 362"/>
                  <a:gd name="T94" fmla="*/ 122 w 423"/>
                  <a:gd name="T95" fmla="*/ 39 h 362"/>
                  <a:gd name="T96" fmla="*/ 132 w 423"/>
                  <a:gd name="T97" fmla="*/ 31 h 362"/>
                  <a:gd name="T98" fmla="*/ 141 w 423"/>
                  <a:gd name="T99" fmla="*/ 26 h 362"/>
                  <a:gd name="T100" fmla="*/ 144 w 423"/>
                  <a:gd name="T101" fmla="*/ 15 h 362"/>
                  <a:gd name="T102" fmla="*/ 153 w 423"/>
                  <a:gd name="T103" fmla="*/ 5 h 362"/>
                  <a:gd name="T104" fmla="*/ 164 w 423"/>
                  <a:gd name="T105" fmla="*/ 3 h 362"/>
                  <a:gd name="T106" fmla="*/ 173 w 423"/>
                  <a:gd name="T107" fmla="*/ 1 h 362"/>
                  <a:gd name="T108" fmla="*/ 183 w 423"/>
                  <a:gd name="T109" fmla="*/ 9 h 362"/>
                  <a:gd name="T110" fmla="*/ 193 w 423"/>
                  <a:gd name="T111" fmla="*/ 12 h 362"/>
                  <a:gd name="T112" fmla="*/ 208 w 423"/>
                  <a:gd name="T113" fmla="*/ 19 h 362"/>
                  <a:gd name="T114" fmla="*/ 220 w 423"/>
                  <a:gd name="T115" fmla="*/ 20 h 362"/>
                  <a:gd name="T116" fmla="*/ 234 w 423"/>
                  <a:gd name="T117" fmla="*/ 24 h 362"/>
                  <a:gd name="T118" fmla="*/ 245 w 423"/>
                  <a:gd name="T119" fmla="*/ 34 h 362"/>
                  <a:gd name="T120" fmla="*/ 254 w 423"/>
                  <a:gd name="T121" fmla="*/ 43 h 362"/>
                  <a:gd name="T122" fmla="*/ 261 w 423"/>
                  <a:gd name="T123" fmla="*/ 53 h 362"/>
                  <a:gd name="T124" fmla="*/ 260 w 423"/>
                  <a:gd name="T125" fmla="*/ 6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3" h="362">
                    <a:moveTo>
                      <a:pt x="262" y="78"/>
                    </a:moveTo>
                    <a:lnTo>
                      <a:pt x="262" y="79"/>
                    </a:lnTo>
                    <a:lnTo>
                      <a:pt x="262" y="80"/>
                    </a:lnTo>
                    <a:lnTo>
                      <a:pt x="264" y="80"/>
                    </a:lnTo>
                    <a:lnTo>
                      <a:pt x="266" y="81"/>
                    </a:lnTo>
                    <a:lnTo>
                      <a:pt x="267" y="82"/>
                    </a:lnTo>
                    <a:lnTo>
                      <a:pt x="268" y="83"/>
                    </a:lnTo>
                    <a:lnTo>
                      <a:pt x="268" y="84"/>
                    </a:lnTo>
                    <a:lnTo>
                      <a:pt x="268" y="86"/>
                    </a:lnTo>
                    <a:lnTo>
                      <a:pt x="268" y="87"/>
                    </a:lnTo>
                    <a:lnTo>
                      <a:pt x="269" y="87"/>
                    </a:lnTo>
                    <a:lnTo>
                      <a:pt x="269" y="88"/>
                    </a:lnTo>
                    <a:lnTo>
                      <a:pt x="271" y="89"/>
                    </a:lnTo>
                    <a:lnTo>
                      <a:pt x="272" y="90"/>
                    </a:lnTo>
                    <a:lnTo>
                      <a:pt x="272" y="91"/>
                    </a:lnTo>
                    <a:lnTo>
                      <a:pt x="272" y="92"/>
                    </a:lnTo>
                    <a:lnTo>
                      <a:pt x="272" y="94"/>
                    </a:lnTo>
                    <a:lnTo>
                      <a:pt x="273" y="94"/>
                    </a:lnTo>
                    <a:lnTo>
                      <a:pt x="272" y="96"/>
                    </a:lnTo>
                    <a:lnTo>
                      <a:pt x="272" y="97"/>
                    </a:lnTo>
                    <a:lnTo>
                      <a:pt x="273" y="99"/>
                    </a:lnTo>
                    <a:lnTo>
                      <a:pt x="274" y="100"/>
                    </a:lnTo>
                    <a:lnTo>
                      <a:pt x="274" y="101"/>
                    </a:lnTo>
                    <a:lnTo>
                      <a:pt x="275" y="101"/>
                    </a:lnTo>
                    <a:lnTo>
                      <a:pt x="275" y="102"/>
                    </a:lnTo>
                    <a:lnTo>
                      <a:pt x="276" y="102"/>
                    </a:lnTo>
                    <a:lnTo>
                      <a:pt x="277" y="102"/>
                    </a:lnTo>
                    <a:lnTo>
                      <a:pt x="279" y="103"/>
                    </a:lnTo>
                    <a:lnTo>
                      <a:pt x="282" y="104"/>
                    </a:lnTo>
                    <a:lnTo>
                      <a:pt x="283" y="104"/>
                    </a:lnTo>
                    <a:lnTo>
                      <a:pt x="284" y="105"/>
                    </a:lnTo>
                    <a:lnTo>
                      <a:pt x="285" y="106"/>
                    </a:lnTo>
                    <a:lnTo>
                      <a:pt x="286" y="106"/>
                    </a:lnTo>
                    <a:lnTo>
                      <a:pt x="287" y="106"/>
                    </a:lnTo>
                    <a:lnTo>
                      <a:pt x="289" y="107"/>
                    </a:lnTo>
                    <a:lnTo>
                      <a:pt x="290" y="108"/>
                    </a:lnTo>
                    <a:lnTo>
                      <a:pt x="292" y="109"/>
                    </a:lnTo>
                    <a:lnTo>
                      <a:pt x="293" y="109"/>
                    </a:lnTo>
                    <a:lnTo>
                      <a:pt x="296" y="110"/>
                    </a:lnTo>
                    <a:lnTo>
                      <a:pt x="297" y="110"/>
                    </a:lnTo>
                    <a:lnTo>
                      <a:pt x="298" y="112"/>
                    </a:lnTo>
                    <a:lnTo>
                      <a:pt x="298" y="110"/>
                    </a:lnTo>
                    <a:lnTo>
                      <a:pt x="299" y="110"/>
                    </a:lnTo>
                    <a:lnTo>
                      <a:pt x="300" y="110"/>
                    </a:lnTo>
                    <a:lnTo>
                      <a:pt x="302" y="109"/>
                    </a:lnTo>
                    <a:lnTo>
                      <a:pt x="305" y="110"/>
                    </a:lnTo>
                    <a:lnTo>
                      <a:pt x="306" y="110"/>
                    </a:lnTo>
                    <a:lnTo>
                      <a:pt x="307" y="110"/>
                    </a:lnTo>
                    <a:lnTo>
                      <a:pt x="308" y="110"/>
                    </a:lnTo>
                    <a:lnTo>
                      <a:pt x="309" y="110"/>
                    </a:lnTo>
                    <a:lnTo>
                      <a:pt x="310" y="110"/>
                    </a:lnTo>
                    <a:lnTo>
                      <a:pt x="311" y="110"/>
                    </a:lnTo>
                    <a:lnTo>
                      <a:pt x="311" y="112"/>
                    </a:lnTo>
                    <a:lnTo>
                      <a:pt x="311" y="113"/>
                    </a:lnTo>
                    <a:lnTo>
                      <a:pt x="311" y="114"/>
                    </a:lnTo>
                    <a:lnTo>
                      <a:pt x="312" y="115"/>
                    </a:lnTo>
                    <a:lnTo>
                      <a:pt x="314" y="116"/>
                    </a:lnTo>
                    <a:lnTo>
                      <a:pt x="314" y="117"/>
                    </a:lnTo>
                    <a:lnTo>
                      <a:pt x="315" y="118"/>
                    </a:lnTo>
                    <a:lnTo>
                      <a:pt x="316" y="119"/>
                    </a:lnTo>
                    <a:lnTo>
                      <a:pt x="316" y="120"/>
                    </a:lnTo>
                    <a:lnTo>
                      <a:pt x="316" y="121"/>
                    </a:lnTo>
                    <a:lnTo>
                      <a:pt x="318" y="121"/>
                    </a:lnTo>
                    <a:lnTo>
                      <a:pt x="318" y="122"/>
                    </a:lnTo>
                    <a:lnTo>
                      <a:pt x="318" y="125"/>
                    </a:lnTo>
                    <a:lnTo>
                      <a:pt x="318" y="126"/>
                    </a:lnTo>
                    <a:lnTo>
                      <a:pt x="318" y="127"/>
                    </a:lnTo>
                    <a:lnTo>
                      <a:pt x="318" y="128"/>
                    </a:lnTo>
                    <a:lnTo>
                      <a:pt x="319" y="129"/>
                    </a:lnTo>
                    <a:lnTo>
                      <a:pt x="319" y="130"/>
                    </a:lnTo>
                    <a:lnTo>
                      <a:pt x="319" y="131"/>
                    </a:lnTo>
                    <a:lnTo>
                      <a:pt x="319" y="132"/>
                    </a:lnTo>
                    <a:lnTo>
                      <a:pt x="319" y="133"/>
                    </a:lnTo>
                    <a:lnTo>
                      <a:pt x="319" y="134"/>
                    </a:lnTo>
                    <a:lnTo>
                      <a:pt x="319" y="135"/>
                    </a:lnTo>
                    <a:lnTo>
                      <a:pt x="319" y="137"/>
                    </a:lnTo>
                    <a:lnTo>
                      <a:pt x="319" y="139"/>
                    </a:lnTo>
                    <a:lnTo>
                      <a:pt x="319" y="140"/>
                    </a:lnTo>
                    <a:lnTo>
                      <a:pt x="319" y="141"/>
                    </a:lnTo>
                    <a:lnTo>
                      <a:pt x="319" y="144"/>
                    </a:lnTo>
                    <a:lnTo>
                      <a:pt x="320" y="145"/>
                    </a:lnTo>
                    <a:lnTo>
                      <a:pt x="320" y="146"/>
                    </a:lnTo>
                    <a:lnTo>
                      <a:pt x="321" y="147"/>
                    </a:lnTo>
                    <a:lnTo>
                      <a:pt x="322" y="148"/>
                    </a:lnTo>
                    <a:lnTo>
                      <a:pt x="322" y="150"/>
                    </a:lnTo>
                    <a:lnTo>
                      <a:pt x="323" y="150"/>
                    </a:lnTo>
                    <a:lnTo>
                      <a:pt x="324" y="152"/>
                    </a:lnTo>
                    <a:lnTo>
                      <a:pt x="325" y="153"/>
                    </a:lnTo>
                    <a:lnTo>
                      <a:pt x="326" y="154"/>
                    </a:lnTo>
                    <a:lnTo>
                      <a:pt x="326" y="155"/>
                    </a:lnTo>
                    <a:lnTo>
                      <a:pt x="326" y="156"/>
                    </a:lnTo>
                    <a:lnTo>
                      <a:pt x="325" y="158"/>
                    </a:lnTo>
                    <a:lnTo>
                      <a:pt x="324" y="159"/>
                    </a:lnTo>
                    <a:lnTo>
                      <a:pt x="323" y="159"/>
                    </a:lnTo>
                    <a:lnTo>
                      <a:pt x="322" y="159"/>
                    </a:lnTo>
                    <a:lnTo>
                      <a:pt x="321" y="159"/>
                    </a:lnTo>
                    <a:lnTo>
                      <a:pt x="319" y="159"/>
                    </a:lnTo>
                    <a:lnTo>
                      <a:pt x="318" y="159"/>
                    </a:lnTo>
                    <a:lnTo>
                      <a:pt x="316" y="160"/>
                    </a:lnTo>
                    <a:lnTo>
                      <a:pt x="316" y="161"/>
                    </a:lnTo>
                    <a:lnTo>
                      <a:pt x="315" y="164"/>
                    </a:lnTo>
                    <a:lnTo>
                      <a:pt x="314" y="165"/>
                    </a:lnTo>
                    <a:lnTo>
                      <a:pt x="314" y="166"/>
                    </a:lnTo>
                    <a:lnTo>
                      <a:pt x="313" y="166"/>
                    </a:lnTo>
                    <a:lnTo>
                      <a:pt x="312" y="166"/>
                    </a:lnTo>
                    <a:lnTo>
                      <a:pt x="312" y="167"/>
                    </a:lnTo>
                    <a:lnTo>
                      <a:pt x="311" y="167"/>
                    </a:lnTo>
                    <a:lnTo>
                      <a:pt x="310" y="168"/>
                    </a:lnTo>
                    <a:lnTo>
                      <a:pt x="309" y="169"/>
                    </a:lnTo>
                    <a:lnTo>
                      <a:pt x="309" y="170"/>
                    </a:lnTo>
                    <a:lnTo>
                      <a:pt x="309" y="171"/>
                    </a:lnTo>
                    <a:lnTo>
                      <a:pt x="307" y="173"/>
                    </a:lnTo>
                    <a:lnTo>
                      <a:pt x="307" y="174"/>
                    </a:lnTo>
                    <a:lnTo>
                      <a:pt x="308" y="176"/>
                    </a:lnTo>
                    <a:lnTo>
                      <a:pt x="308" y="177"/>
                    </a:lnTo>
                    <a:lnTo>
                      <a:pt x="309" y="177"/>
                    </a:lnTo>
                    <a:lnTo>
                      <a:pt x="310" y="177"/>
                    </a:lnTo>
                    <a:lnTo>
                      <a:pt x="310" y="178"/>
                    </a:lnTo>
                    <a:lnTo>
                      <a:pt x="311" y="178"/>
                    </a:lnTo>
                    <a:lnTo>
                      <a:pt x="312" y="179"/>
                    </a:lnTo>
                    <a:lnTo>
                      <a:pt x="313" y="179"/>
                    </a:lnTo>
                    <a:lnTo>
                      <a:pt x="313" y="180"/>
                    </a:lnTo>
                    <a:lnTo>
                      <a:pt x="314" y="181"/>
                    </a:lnTo>
                    <a:lnTo>
                      <a:pt x="314" y="182"/>
                    </a:lnTo>
                    <a:lnTo>
                      <a:pt x="315" y="182"/>
                    </a:lnTo>
                    <a:lnTo>
                      <a:pt x="316" y="183"/>
                    </a:lnTo>
                    <a:lnTo>
                      <a:pt x="316" y="184"/>
                    </a:lnTo>
                    <a:lnTo>
                      <a:pt x="318" y="184"/>
                    </a:lnTo>
                    <a:lnTo>
                      <a:pt x="319" y="185"/>
                    </a:lnTo>
                    <a:lnTo>
                      <a:pt x="320" y="186"/>
                    </a:lnTo>
                    <a:lnTo>
                      <a:pt x="322" y="187"/>
                    </a:lnTo>
                    <a:lnTo>
                      <a:pt x="323" y="187"/>
                    </a:lnTo>
                    <a:lnTo>
                      <a:pt x="324" y="189"/>
                    </a:lnTo>
                    <a:lnTo>
                      <a:pt x="323" y="190"/>
                    </a:lnTo>
                    <a:lnTo>
                      <a:pt x="323" y="191"/>
                    </a:lnTo>
                    <a:lnTo>
                      <a:pt x="323" y="192"/>
                    </a:lnTo>
                    <a:lnTo>
                      <a:pt x="324" y="192"/>
                    </a:lnTo>
                    <a:lnTo>
                      <a:pt x="324" y="193"/>
                    </a:lnTo>
                    <a:lnTo>
                      <a:pt x="325" y="193"/>
                    </a:lnTo>
                    <a:lnTo>
                      <a:pt x="326" y="194"/>
                    </a:lnTo>
                    <a:lnTo>
                      <a:pt x="327" y="195"/>
                    </a:lnTo>
                    <a:lnTo>
                      <a:pt x="328" y="196"/>
                    </a:lnTo>
                    <a:lnTo>
                      <a:pt x="328" y="197"/>
                    </a:lnTo>
                    <a:lnTo>
                      <a:pt x="328" y="198"/>
                    </a:lnTo>
                    <a:lnTo>
                      <a:pt x="328" y="199"/>
                    </a:lnTo>
                    <a:lnTo>
                      <a:pt x="327" y="199"/>
                    </a:lnTo>
                    <a:lnTo>
                      <a:pt x="327" y="200"/>
                    </a:lnTo>
                    <a:lnTo>
                      <a:pt x="327" y="202"/>
                    </a:lnTo>
                    <a:lnTo>
                      <a:pt x="328" y="203"/>
                    </a:lnTo>
                    <a:lnTo>
                      <a:pt x="329" y="204"/>
                    </a:lnTo>
                    <a:lnTo>
                      <a:pt x="331" y="205"/>
                    </a:lnTo>
                    <a:lnTo>
                      <a:pt x="332" y="205"/>
                    </a:lnTo>
                    <a:lnTo>
                      <a:pt x="336" y="206"/>
                    </a:lnTo>
                    <a:lnTo>
                      <a:pt x="337" y="206"/>
                    </a:lnTo>
                    <a:lnTo>
                      <a:pt x="338" y="206"/>
                    </a:lnTo>
                    <a:lnTo>
                      <a:pt x="338" y="207"/>
                    </a:lnTo>
                    <a:lnTo>
                      <a:pt x="340" y="207"/>
                    </a:lnTo>
                    <a:lnTo>
                      <a:pt x="341" y="207"/>
                    </a:lnTo>
                    <a:lnTo>
                      <a:pt x="343" y="207"/>
                    </a:lnTo>
                    <a:lnTo>
                      <a:pt x="344" y="208"/>
                    </a:lnTo>
                    <a:lnTo>
                      <a:pt x="345" y="209"/>
                    </a:lnTo>
                    <a:lnTo>
                      <a:pt x="345" y="211"/>
                    </a:lnTo>
                    <a:lnTo>
                      <a:pt x="345" y="216"/>
                    </a:lnTo>
                    <a:lnTo>
                      <a:pt x="345" y="218"/>
                    </a:lnTo>
                    <a:lnTo>
                      <a:pt x="345" y="219"/>
                    </a:lnTo>
                    <a:lnTo>
                      <a:pt x="344" y="220"/>
                    </a:lnTo>
                    <a:lnTo>
                      <a:pt x="344" y="221"/>
                    </a:lnTo>
                    <a:lnTo>
                      <a:pt x="344" y="223"/>
                    </a:lnTo>
                    <a:lnTo>
                      <a:pt x="344" y="225"/>
                    </a:lnTo>
                    <a:lnTo>
                      <a:pt x="344" y="227"/>
                    </a:lnTo>
                    <a:lnTo>
                      <a:pt x="344" y="228"/>
                    </a:lnTo>
                    <a:lnTo>
                      <a:pt x="344" y="229"/>
                    </a:lnTo>
                    <a:lnTo>
                      <a:pt x="345" y="229"/>
                    </a:lnTo>
                    <a:lnTo>
                      <a:pt x="346" y="230"/>
                    </a:lnTo>
                    <a:lnTo>
                      <a:pt x="347" y="231"/>
                    </a:lnTo>
                    <a:lnTo>
                      <a:pt x="348" y="231"/>
                    </a:lnTo>
                    <a:lnTo>
                      <a:pt x="349" y="231"/>
                    </a:lnTo>
                    <a:lnTo>
                      <a:pt x="350" y="231"/>
                    </a:lnTo>
                    <a:lnTo>
                      <a:pt x="351" y="232"/>
                    </a:lnTo>
                    <a:lnTo>
                      <a:pt x="351" y="231"/>
                    </a:lnTo>
                    <a:lnTo>
                      <a:pt x="352" y="231"/>
                    </a:lnTo>
                    <a:lnTo>
                      <a:pt x="353" y="232"/>
                    </a:lnTo>
                    <a:lnTo>
                      <a:pt x="353" y="233"/>
                    </a:lnTo>
                    <a:lnTo>
                      <a:pt x="354" y="234"/>
                    </a:lnTo>
                    <a:lnTo>
                      <a:pt x="356" y="234"/>
                    </a:lnTo>
                    <a:lnTo>
                      <a:pt x="357" y="235"/>
                    </a:lnTo>
                    <a:lnTo>
                      <a:pt x="356" y="236"/>
                    </a:lnTo>
                    <a:lnTo>
                      <a:pt x="356" y="237"/>
                    </a:lnTo>
                    <a:lnTo>
                      <a:pt x="356" y="238"/>
                    </a:lnTo>
                    <a:lnTo>
                      <a:pt x="357" y="240"/>
                    </a:lnTo>
                    <a:lnTo>
                      <a:pt x="358" y="241"/>
                    </a:lnTo>
                    <a:lnTo>
                      <a:pt x="358" y="242"/>
                    </a:lnTo>
                    <a:lnTo>
                      <a:pt x="358" y="243"/>
                    </a:lnTo>
                    <a:lnTo>
                      <a:pt x="358" y="244"/>
                    </a:lnTo>
                    <a:lnTo>
                      <a:pt x="358" y="245"/>
                    </a:lnTo>
                    <a:lnTo>
                      <a:pt x="359" y="245"/>
                    </a:lnTo>
                    <a:lnTo>
                      <a:pt x="359" y="246"/>
                    </a:lnTo>
                    <a:lnTo>
                      <a:pt x="360" y="247"/>
                    </a:lnTo>
                    <a:lnTo>
                      <a:pt x="360" y="248"/>
                    </a:lnTo>
                    <a:lnTo>
                      <a:pt x="361" y="249"/>
                    </a:lnTo>
                    <a:lnTo>
                      <a:pt x="362" y="250"/>
                    </a:lnTo>
                    <a:lnTo>
                      <a:pt x="364" y="250"/>
                    </a:lnTo>
                    <a:lnTo>
                      <a:pt x="364" y="251"/>
                    </a:lnTo>
                    <a:lnTo>
                      <a:pt x="365" y="253"/>
                    </a:lnTo>
                    <a:lnTo>
                      <a:pt x="366" y="255"/>
                    </a:lnTo>
                    <a:lnTo>
                      <a:pt x="366" y="256"/>
                    </a:lnTo>
                    <a:lnTo>
                      <a:pt x="366" y="257"/>
                    </a:lnTo>
                    <a:lnTo>
                      <a:pt x="367" y="257"/>
                    </a:lnTo>
                    <a:lnTo>
                      <a:pt x="367" y="258"/>
                    </a:lnTo>
                    <a:lnTo>
                      <a:pt x="369" y="258"/>
                    </a:lnTo>
                    <a:lnTo>
                      <a:pt x="370" y="258"/>
                    </a:lnTo>
                    <a:lnTo>
                      <a:pt x="371" y="258"/>
                    </a:lnTo>
                    <a:lnTo>
                      <a:pt x="372" y="258"/>
                    </a:lnTo>
                    <a:lnTo>
                      <a:pt x="373" y="258"/>
                    </a:lnTo>
                    <a:lnTo>
                      <a:pt x="374" y="258"/>
                    </a:lnTo>
                    <a:lnTo>
                      <a:pt x="375" y="258"/>
                    </a:lnTo>
                    <a:lnTo>
                      <a:pt x="377" y="257"/>
                    </a:lnTo>
                    <a:lnTo>
                      <a:pt x="378" y="257"/>
                    </a:lnTo>
                    <a:lnTo>
                      <a:pt x="379" y="257"/>
                    </a:lnTo>
                    <a:lnTo>
                      <a:pt x="379" y="258"/>
                    </a:lnTo>
                    <a:lnTo>
                      <a:pt x="379" y="259"/>
                    </a:lnTo>
                    <a:lnTo>
                      <a:pt x="378" y="260"/>
                    </a:lnTo>
                    <a:lnTo>
                      <a:pt x="378" y="261"/>
                    </a:lnTo>
                    <a:lnTo>
                      <a:pt x="379" y="261"/>
                    </a:lnTo>
                    <a:lnTo>
                      <a:pt x="382" y="261"/>
                    </a:lnTo>
                    <a:lnTo>
                      <a:pt x="383" y="260"/>
                    </a:lnTo>
                    <a:lnTo>
                      <a:pt x="384" y="259"/>
                    </a:lnTo>
                    <a:lnTo>
                      <a:pt x="384" y="258"/>
                    </a:lnTo>
                    <a:lnTo>
                      <a:pt x="385" y="258"/>
                    </a:lnTo>
                    <a:lnTo>
                      <a:pt x="387" y="258"/>
                    </a:lnTo>
                    <a:lnTo>
                      <a:pt x="387" y="259"/>
                    </a:lnTo>
                    <a:lnTo>
                      <a:pt x="388" y="258"/>
                    </a:lnTo>
                    <a:lnTo>
                      <a:pt x="389" y="258"/>
                    </a:lnTo>
                    <a:lnTo>
                      <a:pt x="389" y="259"/>
                    </a:lnTo>
                    <a:lnTo>
                      <a:pt x="390" y="260"/>
                    </a:lnTo>
                    <a:lnTo>
                      <a:pt x="390" y="261"/>
                    </a:lnTo>
                    <a:lnTo>
                      <a:pt x="390" y="262"/>
                    </a:lnTo>
                    <a:lnTo>
                      <a:pt x="390" y="263"/>
                    </a:lnTo>
                    <a:lnTo>
                      <a:pt x="391" y="263"/>
                    </a:lnTo>
                    <a:lnTo>
                      <a:pt x="392" y="264"/>
                    </a:lnTo>
                    <a:lnTo>
                      <a:pt x="393" y="266"/>
                    </a:lnTo>
                    <a:lnTo>
                      <a:pt x="395" y="267"/>
                    </a:lnTo>
                    <a:lnTo>
                      <a:pt x="396" y="267"/>
                    </a:lnTo>
                    <a:lnTo>
                      <a:pt x="397" y="268"/>
                    </a:lnTo>
                    <a:lnTo>
                      <a:pt x="398" y="269"/>
                    </a:lnTo>
                    <a:lnTo>
                      <a:pt x="399" y="269"/>
                    </a:lnTo>
                    <a:lnTo>
                      <a:pt x="399" y="270"/>
                    </a:lnTo>
                    <a:lnTo>
                      <a:pt x="400" y="270"/>
                    </a:lnTo>
                    <a:lnTo>
                      <a:pt x="401" y="271"/>
                    </a:lnTo>
                    <a:lnTo>
                      <a:pt x="403" y="273"/>
                    </a:lnTo>
                    <a:lnTo>
                      <a:pt x="404" y="274"/>
                    </a:lnTo>
                    <a:lnTo>
                      <a:pt x="404" y="275"/>
                    </a:lnTo>
                    <a:lnTo>
                      <a:pt x="405" y="275"/>
                    </a:lnTo>
                    <a:lnTo>
                      <a:pt x="406" y="275"/>
                    </a:lnTo>
                    <a:lnTo>
                      <a:pt x="406" y="274"/>
                    </a:lnTo>
                    <a:lnTo>
                      <a:pt x="408" y="274"/>
                    </a:lnTo>
                    <a:lnTo>
                      <a:pt x="409" y="275"/>
                    </a:lnTo>
                    <a:lnTo>
                      <a:pt x="409" y="276"/>
                    </a:lnTo>
                    <a:lnTo>
                      <a:pt x="410" y="276"/>
                    </a:lnTo>
                    <a:lnTo>
                      <a:pt x="410" y="277"/>
                    </a:lnTo>
                    <a:lnTo>
                      <a:pt x="410" y="279"/>
                    </a:lnTo>
                    <a:lnTo>
                      <a:pt x="410" y="280"/>
                    </a:lnTo>
                    <a:lnTo>
                      <a:pt x="409" y="280"/>
                    </a:lnTo>
                    <a:lnTo>
                      <a:pt x="409" y="281"/>
                    </a:lnTo>
                    <a:lnTo>
                      <a:pt x="409" y="282"/>
                    </a:lnTo>
                    <a:lnTo>
                      <a:pt x="410" y="283"/>
                    </a:lnTo>
                    <a:lnTo>
                      <a:pt x="411" y="284"/>
                    </a:lnTo>
                    <a:lnTo>
                      <a:pt x="412" y="285"/>
                    </a:lnTo>
                    <a:lnTo>
                      <a:pt x="412" y="286"/>
                    </a:lnTo>
                    <a:lnTo>
                      <a:pt x="412" y="287"/>
                    </a:lnTo>
                    <a:lnTo>
                      <a:pt x="412" y="289"/>
                    </a:lnTo>
                    <a:lnTo>
                      <a:pt x="412" y="291"/>
                    </a:lnTo>
                    <a:lnTo>
                      <a:pt x="413" y="292"/>
                    </a:lnTo>
                    <a:lnTo>
                      <a:pt x="413" y="293"/>
                    </a:lnTo>
                    <a:lnTo>
                      <a:pt x="413" y="294"/>
                    </a:lnTo>
                    <a:lnTo>
                      <a:pt x="413" y="295"/>
                    </a:lnTo>
                    <a:lnTo>
                      <a:pt x="414" y="296"/>
                    </a:lnTo>
                    <a:lnTo>
                      <a:pt x="415" y="296"/>
                    </a:lnTo>
                    <a:lnTo>
                      <a:pt x="417" y="296"/>
                    </a:lnTo>
                    <a:lnTo>
                      <a:pt x="418" y="296"/>
                    </a:lnTo>
                    <a:lnTo>
                      <a:pt x="419" y="296"/>
                    </a:lnTo>
                    <a:lnTo>
                      <a:pt x="421" y="296"/>
                    </a:lnTo>
                    <a:lnTo>
                      <a:pt x="422" y="296"/>
                    </a:lnTo>
                    <a:lnTo>
                      <a:pt x="422" y="297"/>
                    </a:lnTo>
                    <a:lnTo>
                      <a:pt x="423" y="297"/>
                    </a:lnTo>
                    <a:lnTo>
                      <a:pt x="423" y="298"/>
                    </a:lnTo>
                    <a:lnTo>
                      <a:pt x="422" y="298"/>
                    </a:lnTo>
                    <a:lnTo>
                      <a:pt x="421" y="299"/>
                    </a:lnTo>
                    <a:lnTo>
                      <a:pt x="411" y="299"/>
                    </a:lnTo>
                    <a:lnTo>
                      <a:pt x="411" y="298"/>
                    </a:lnTo>
                    <a:lnTo>
                      <a:pt x="410" y="298"/>
                    </a:lnTo>
                    <a:lnTo>
                      <a:pt x="409" y="298"/>
                    </a:lnTo>
                    <a:lnTo>
                      <a:pt x="406" y="298"/>
                    </a:lnTo>
                    <a:lnTo>
                      <a:pt x="408" y="301"/>
                    </a:lnTo>
                    <a:lnTo>
                      <a:pt x="408" y="304"/>
                    </a:lnTo>
                    <a:lnTo>
                      <a:pt x="408" y="305"/>
                    </a:lnTo>
                    <a:lnTo>
                      <a:pt x="406" y="306"/>
                    </a:lnTo>
                    <a:lnTo>
                      <a:pt x="405" y="306"/>
                    </a:lnTo>
                    <a:lnTo>
                      <a:pt x="404" y="306"/>
                    </a:lnTo>
                    <a:lnTo>
                      <a:pt x="404" y="305"/>
                    </a:lnTo>
                    <a:lnTo>
                      <a:pt x="404" y="304"/>
                    </a:lnTo>
                    <a:lnTo>
                      <a:pt x="403" y="304"/>
                    </a:lnTo>
                    <a:lnTo>
                      <a:pt x="402" y="304"/>
                    </a:lnTo>
                    <a:lnTo>
                      <a:pt x="401" y="304"/>
                    </a:lnTo>
                    <a:lnTo>
                      <a:pt x="401" y="305"/>
                    </a:lnTo>
                    <a:lnTo>
                      <a:pt x="399" y="306"/>
                    </a:lnTo>
                    <a:lnTo>
                      <a:pt x="399" y="307"/>
                    </a:lnTo>
                    <a:lnTo>
                      <a:pt x="397" y="308"/>
                    </a:lnTo>
                    <a:lnTo>
                      <a:pt x="397" y="309"/>
                    </a:lnTo>
                    <a:lnTo>
                      <a:pt x="396" y="309"/>
                    </a:lnTo>
                    <a:lnTo>
                      <a:pt x="395" y="309"/>
                    </a:lnTo>
                    <a:lnTo>
                      <a:pt x="393" y="309"/>
                    </a:lnTo>
                    <a:lnTo>
                      <a:pt x="392" y="309"/>
                    </a:lnTo>
                    <a:lnTo>
                      <a:pt x="391" y="309"/>
                    </a:lnTo>
                    <a:lnTo>
                      <a:pt x="388" y="308"/>
                    </a:lnTo>
                    <a:lnTo>
                      <a:pt x="387" y="307"/>
                    </a:lnTo>
                    <a:lnTo>
                      <a:pt x="386" y="306"/>
                    </a:lnTo>
                    <a:lnTo>
                      <a:pt x="385" y="305"/>
                    </a:lnTo>
                    <a:lnTo>
                      <a:pt x="384" y="304"/>
                    </a:lnTo>
                    <a:lnTo>
                      <a:pt x="384" y="302"/>
                    </a:lnTo>
                    <a:lnTo>
                      <a:pt x="384" y="301"/>
                    </a:lnTo>
                    <a:lnTo>
                      <a:pt x="384" y="300"/>
                    </a:lnTo>
                    <a:lnTo>
                      <a:pt x="385" y="298"/>
                    </a:lnTo>
                    <a:lnTo>
                      <a:pt x="384" y="298"/>
                    </a:lnTo>
                    <a:lnTo>
                      <a:pt x="384" y="297"/>
                    </a:lnTo>
                    <a:lnTo>
                      <a:pt x="383" y="297"/>
                    </a:lnTo>
                    <a:lnTo>
                      <a:pt x="382" y="298"/>
                    </a:lnTo>
                    <a:lnTo>
                      <a:pt x="380" y="299"/>
                    </a:lnTo>
                    <a:lnTo>
                      <a:pt x="379" y="299"/>
                    </a:lnTo>
                    <a:lnTo>
                      <a:pt x="378" y="299"/>
                    </a:lnTo>
                    <a:lnTo>
                      <a:pt x="378" y="300"/>
                    </a:lnTo>
                    <a:lnTo>
                      <a:pt x="378" y="301"/>
                    </a:lnTo>
                    <a:lnTo>
                      <a:pt x="377" y="304"/>
                    </a:lnTo>
                    <a:lnTo>
                      <a:pt x="377" y="305"/>
                    </a:lnTo>
                    <a:lnTo>
                      <a:pt x="376" y="305"/>
                    </a:lnTo>
                    <a:lnTo>
                      <a:pt x="375" y="305"/>
                    </a:lnTo>
                    <a:lnTo>
                      <a:pt x="374" y="305"/>
                    </a:lnTo>
                    <a:lnTo>
                      <a:pt x="374" y="306"/>
                    </a:lnTo>
                    <a:lnTo>
                      <a:pt x="374" y="307"/>
                    </a:lnTo>
                    <a:lnTo>
                      <a:pt x="373" y="307"/>
                    </a:lnTo>
                    <a:lnTo>
                      <a:pt x="373" y="308"/>
                    </a:lnTo>
                    <a:lnTo>
                      <a:pt x="372" y="309"/>
                    </a:lnTo>
                    <a:lnTo>
                      <a:pt x="372" y="310"/>
                    </a:lnTo>
                    <a:lnTo>
                      <a:pt x="371" y="309"/>
                    </a:lnTo>
                    <a:lnTo>
                      <a:pt x="371" y="310"/>
                    </a:lnTo>
                    <a:lnTo>
                      <a:pt x="371" y="311"/>
                    </a:lnTo>
                    <a:lnTo>
                      <a:pt x="370" y="311"/>
                    </a:lnTo>
                    <a:lnTo>
                      <a:pt x="369" y="312"/>
                    </a:lnTo>
                    <a:lnTo>
                      <a:pt x="369" y="313"/>
                    </a:lnTo>
                    <a:lnTo>
                      <a:pt x="369" y="314"/>
                    </a:lnTo>
                    <a:lnTo>
                      <a:pt x="369" y="315"/>
                    </a:lnTo>
                    <a:lnTo>
                      <a:pt x="370" y="314"/>
                    </a:lnTo>
                    <a:lnTo>
                      <a:pt x="370" y="315"/>
                    </a:lnTo>
                    <a:lnTo>
                      <a:pt x="370" y="317"/>
                    </a:lnTo>
                    <a:lnTo>
                      <a:pt x="371" y="317"/>
                    </a:lnTo>
                    <a:lnTo>
                      <a:pt x="371" y="318"/>
                    </a:lnTo>
                    <a:lnTo>
                      <a:pt x="371" y="319"/>
                    </a:lnTo>
                    <a:lnTo>
                      <a:pt x="370" y="320"/>
                    </a:lnTo>
                    <a:lnTo>
                      <a:pt x="370" y="321"/>
                    </a:lnTo>
                    <a:lnTo>
                      <a:pt x="369" y="322"/>
                    </a:lnTo>
                    <a:lnTo>
                      <a:pt x="369" y="323"/>
                    </a:lnTo>
                    <a:lnTo>
                      <a:pt x="369" y="324"/>
                    </a:lnTo>
                    <a:lnTo>
                      <a:pt x="370" y="324"/>
                    </a:lnTo>
                    <a:lnTo>
                      <a:pt x="369" y="325"/>
                    </a:lnTo>
                    <a:lnTo>
                      <a:pt x="369" y="326"/>
                    </a:lnTo>
                    <a:lnTo>
                      <a:pt x="367" y="340"/>
                    </a:lnTo>
                    <a:lnTo>
                      <a:pt x="369" y="351"/>
                    </a:lnTo>
                    <a:lnTo>
                      <a:pt x="369" y="358"/>
                    </a:lnTo>
                    <a:lnTo>
                      <a:pt x="369" y="362"/>
                    </a:lnTo>
                    <a:lnTo>
                      <a:pt x="333" y="362"/>
                    </a:lnTo>
                    <a:lnTo>
                      <a:pt x="332" y="362"/>
                    </a:lnTo>
                    <a:lnTo>
                      <a:pt x="325" y="361"/>
                    </a:lnTo>
                    <a:lnTo>
                      <a:pt x="306" y="361"/>
                    </a:lnTo>
                    <a:lnTo>
                      <a:pt x="289" y="361"/>
                    </a:lnTo>
                    <a:lnTo>
                      <a:pt x="285" y="361"/>
                    </a:lnTo>
                    <a:lnTo>
                      <a:pt x="280" y="361"/>
                    </a:lnTo>
                    <a:lnTo>
                      <a:pt x="271" y="361"/>
                    </a:lnTo>
                    <a:lnTo>
                      <a:pt x="269" y="361"/>
                    </a:lnTo>
                    <a:lnTo>
                      <a:pt x="264" y="361"/>
                    </a:lnTo>
                    <a:lnTo>
                      <a:pt x="256" y="361"/>
                    </a:lnTo>
                    <a:lnTo>
                      <a:pt x="253" y="361"/>
                    </a:lnTo>
                    <a:lnTo>
                      <a:pt x="241" y="361"/>
                    </a:lnTo>
                    <a:lnTo>
                      <a:pt x="218" y="361"/>
                    </a:lnTo>
                    <a:lnTo>
                      <a:pt x="181" y="362"/>
                    </a:lnTo>
                    <a:lnTo>
                      <a:pt x="179" y="362"/>
                    </a:lnTo>
                    <a:lnTo>
                      <a:pt x="177" y="362"/>
                    </a:lnTo>
                    <a:lnTo>
                      <a:pt x="173" y="362"/>
                    </a:lnTo>
                    <a:lnTo>
                      <a:pt x="168" y="362"/>
                    </a:lnTo>
                    <a:lnTo>
                      <a:pt x="150" y="362"/>
                    </a:lnTo>
                    <a:lnTo>
                      <a:pt x="147" y="362"/>
                    </a:lnTo>
                    <a:lnTo>
                      <a:pt x="146" y="362"/>
                    </a:lnTo>
                    <a:lnTo>
                      <a:pt x="145" y="362"/>
                    </a:lnTo>
                    <a:lnTo>
                      <a:pt x="118" y="362"/>
                    </a:lnTo>
                    <a:lnTo>
                      <a:pt x="102" y="362"/>
                    </a:lnTo>
                    <a:lnTo>
                      <a:pt x="100" y="362"/>
                    </a:lnTo>
                    <a:lnTo>
                      <a:pt x="99" y="361"/>
                    </a:lnTo>
                    <a:lnTo>
                      <a:pt x="98" y="360"/>
                    </a:lnTo>
                    <a:lnTo>
                      <a:pt x="96" y="360"/>
                    </a:lnTo>
                    <a:lnTo>
                      <a:pt x="96" y="359"/>
                    </a:lnTo>
                    <a:lnTo>
                      <a:pt x="96" y="358"/>
                    </a:lnTo>
                    <a:lnTo>
                      <a:pt x="98" y="357"/>
                    </a:lnTo>
                    <a:lnTo>
                      <a:pt x="99" y="357"/>
                    </a:lnTo>
                    <a:lnTo>
                      <a:pt x="98" y="356"/>
                    </a:lnTo>
                    <a:lnTo>
                      <a:pt x="98" y="354"/>
                    </a:lnTo>
                    <a:lnTo>
                      <a:pt x="94" y="354"/>
                    </a:lnTo>
                    <a:lnTo>
                      <a:pt x="93" y="354"/>
                    </a:lnTo>
                    <a:lnTo>
                      <a:pt x="94" y="353"/>
                    </a:lnTo>
                    <a:lnTo>
                      <a:pt x="99" y="348"/>
                    </a:lnTo>
                    <a:lnTo>
                      <a:pt x="99" y="347"/>
                    </a:lnTo>
                    <a:lnTo>
                      <a:pt x="99" y="346"/>
                    </a:lnTo>
                    <a:lnTo>
                      <a:pt x="99" y="345"/>
                    </a:lnTo>
                    <a:lnTo>
                      <a:pt x="98" y="345"/>
                    </a:lnTo>
                    <a:lnTo>
                      <a:pt x="96" y="344"/>
                    </a:lnTo>
                    <a:lnTo>
                      <a:pt x="96" y="345"/>
                    </a:lnTo>
                    <a:lnTo>
                      <a:pt x="96" y="346"/>
                    </a:lnTo>
                    <a:lnTo>
                      <a:pt x="96" y="347"/>
                    </a:lnTo>
                    <a:lnTo>
                      <a:pt x="95" y="347"/>
                    </a:lnTo>
                    <a:lnTo>
                      <a:pt x="94" y="345"/>
                    </a:lnTo>
                    <a:lnTo>
                      <a:pt x="94" y="344"/>
                    </a:lnTo>
                    <a:lnTo>
                      <a:pt x="93" y="344"/>
                    </a:lnTo>
                    <a:lnTo>
                      <a:pt x="91" y="343"/>
                    </a:lnTo>
                    <a:lnTo>
                      <a:pt x="91" y="341"/>
                    </a:lnTo>
                    <a:lnTo>
                      <a:pt x="92" y="341"/>
                    </a:lnTo>
                    <a:lnTo>
                      <a:pt x="92" y="340"/>
                    </a:lnTo>
                    <a:lnTo>
                      <a:pt x="92" y="339"/>
                    </a:lnTo>
                    <a:lnTo>
                      <a:pt x="90" y="339"/>
                    </a:lnTo>
                    <a:lnTo>
                      <a:pt x="89" y="339"/>
                    </a:lnTo>
                    <a:lnTo>
                      <a:pt x="88" y="340"/>
                    </a:lnTo>
                    <a:lnTo>
                      <a:pt x="88" y="341"/>
                    </a:lnTo>
                    <a:lnTo>
                      <a:pt x="87" y="341"/>
                    </a:lnTo>
                    <a:lnTo>
                      <a:pt x="87" y="340"/>
                    </a:lnTo>
                    <a:lnTo>
                      <a:pt x="86" y="340"/>
                    </a:lnTo>
                    <a:lnTo>
                      <a:pt x="86" y="339"/>
                    </a:lnTo>
                    <a:lnTo>
                      <a:pt x="87" y="339"/>
                    </a:lnTo>
                    <a:lnTo>
                      <a:pt x="87" y="338"/>
                    </a:lnTo>
                    <a:lnTo>
                      <a:pt x="86" y="337"/>
                    </a:lnTo>
                    <a:lnTo>
                      <a:pt x="86" y="336"/>
                    </a:lnTo>
                    <a:lnTo>
                      <a:pt x="87" y="336"/>
                    </a:lnTo>
                    <a:lnTo>
                      <a:pt x="88" y="335"/>
                    </a:lnTo>
                    <a:lnTo>
                      <a:pt x="88" y="334"/>
                    </a:lnTo>
                    <a:lnTo>
                      <a:pt x="89" y="333"/>
                    </a:lnTo>
                    <a:lnTo>
                      <a:pt x="89" y="332"/>
                    </a:lnTo>
                    <a:lnTo>
                      <a:pt x="89" y="331"/>
                    </a:lnTo>
                    <a:lnTo>
                      <a:pt x="89" y="330"/>
                    </a:lnTo>
                    <a:lnTo>
                      <a:pt x="89" y="328"/>
                    </a:lnTo>
                    <a:lnTo>
                      <a:pt x="88" y="326"/>
                    </a:lnTo>
                    <a:lnTo>
                      <a:pt x="87" y="325"/>
                    </a:lnTo>
                    <a:lnTo>
                      <a:pt x="87" y="324"/>
                    </a:lnTo>
                    <a:lnTo>
                      <a:pt x="86" y="324"/>
                    </a:lnTo>
                    <a:lnTo>
                      <a:pt x="85" y="325"/>
                    </a:lnTo>
                    <a:lnTo>
                      <a:pt x="86" y="326"/>
                    </a:lnTo>
                    <a:lnTo>
                      <a:pt x="86" y="327"/>
                    </a:lnTo>
                    <a:lnTo>
                      <a:pt x="85" y="327"/>
                    </a:lnTo>
                    <a:lnTo>
                      <a:pt x="85" y="328"/>
                    </a:lnTo>
                    <a:lnTo>
                      <a:pt x="83" y="330"/>
                    </a:lnTo>
                    <a:lnTo>
                      <a:pt x="82" y="330"/>
                    </a:lnTo>
                    <a:lnTo>
                      <a:pt x="82" y="328"/>
                    </a:lnTo>
                    <a:lnTo>
                      <a:pt x="83" y="328"/>
                    </a:lnTo>
                    <a:lnTo>
                      <a:pt x="83" y="327"/>
                    </a:lnTo>
                    <a:lnTo>
                      <a:pt x="82" y="327"/>
                    </a:lnTo>
                    <a:lnTo>
                      <a:pt x="81" y="327"/>
                    </a:lnTo>
                    <a:lnTo>
                      <a:pt x="81" y="328"/>
                    </a:lnTo>
                    <a:lnTo>
                      <a:pt x="80" y="328"/>
                    </a:lnTo>
                    <a:lnTo>
                      <a:pt x="80" y="330"/>
                    </a:lnTo>
                    <a:lnTo>
                      <a:pt x="79" y="330"/>
                    </a:lnTo>
                    <a:lnTo>
                      <a:pt x="79" y="328"/>
                    </a:lnTo>
                    <a:lnTo>
                      <a:pt x="80" y="328"/>
                    </a:lnTo>
                    <a:lnTo>
                      <a:pt x="79" y="327"/>
                    </a:lnTo>
                    <a:lnTo>
                      <a:pt x="78" y="327"/>
                    </a:lnTo>
                    <a:lnTo>
                      <a:pt x="77" y="327"/>
                    </a:lnTo>
                    <a:lnTo>
                      <a:pt x="77" y="328"/>
                    </a:lnTo>
                    <a:lnTo>
                      <a:pt x="77" y="330"/>
                    </a:lnTo>
                    <a:lnTo>
                      <a:pt x="76" y="330"/>
                    </a:lnTo>
                    <a:lnTo>
                      <a:pt x="76" y="328"/>
                    </a:lnTo>
                    <a:lnTo>
                      <a:pt x="75" y="328"/>
                    </a:lnTo>
                    <a:lnTo>
                      <a:pt x="75" y="330"/>
                    </a:lnTo>
                    <a:lnTo>
                      <a:pt x="75" y="331"/>
                    </a:lnTo>
                    <a:lnTo>
                      <a:pt x="75" y="332"/>
                    </a:lnTo>
                    <a:lnTo>
                      <a:pt x="75" y="333"/>
                    </a:lnTo>
                    <a:lnTo>
                      <a:pt x="74" y="333"/>
                    </a:lnTo>
                    <a:lnTo>
                      <a:pt x="73" y="332"/>
                    </a:lnTo>
                    <a:lnTo>
                      <a:pt x="72" y="331"/>
                    </a:lnTo>
                    <a:lnTo>
                      <a:pt x="70" y="330"/>
                    </a:lnTo>
                    <a:lnTo>
                      <a:pt x="70" y="328"/>
                    </a:lnTo>
                    <a:lnTo>
                      <a:pt x="72" y="327"/>
                    </a:lnTo>
                    <a:lnTo>
                      <a:pt x="73" y="327"/>
                    </a:lnTo>
                    <a:lnTo>
                      <a:pt x="72" y="326"/>
                    </a:lnTo>
                    <a:lnTo>
                      <a:pt x="70" y="326"/>
                    </a:lnTo>
                    <a:lnTo>
                      <a:pt x="70" y="327"/>
                    </a:lnTo>
                    <a:lnTo>
                      <a:pt x="69" y="327"/>
                    </a:lnTo>
                    <a:lnTo>
                      <a:pt x="68" y="328"/>
                    </a:lnTo>
                    <a:lnTo>
                      <a:pt x="67" y="327"/>
                    </a:lnTo>
                    <a:lnTo>
                      <a:pt x="67" y="326"/>
                    </a:lnTo>
                    <a:lnTo>
                      <a:pt x="68" y="326"/>
                    </a:lnTo>
                    <a:lnTo>
                      <a:pt x="69" y="325"/>
                    </a:lnTo>
                    <a:lnTo>
                      <a:pt x="70" y="323"/>
                    </a:lnTo>
                    <a:lnTo>
                      <a:pt x="72" y="321"/>
                    </a:lnTo>
                    <a:lnTo>
                      <a:pt x="73" y="320"/>
                    </a:lnTo>
                    <a:lnTo>
                      <a:pt x="74" y="320"/>
                    </a:lnTo>
                    <a:lnTo>
                      <a:pt x="74" y="319"/>
                    </a:lnTo>
                    <a:lnTo>
                      <a:pt x="73" y="318"/>
                    </a:lnTo>
                    <a:lnTo>
                      <a:pt x="73" y="317"/>
                    </a:lnTo>
                    <a:lnTo>
                      <a:pt x="72" y="315"/>
                    </a:lnTo>
                    <a:lnTo>
                      <a:pt x="70" y="314"/>
                    </a:lnTo>
                    <a:lnTo>
                      <a:pt x="69" y="313"/>
                    </a:lnTo>
                    <a:lnTo>
                      <a:pt x="68" y="313"/>
                    </a:lnTo>
                    <a:lnTo>
                      <a:pt x="68" y="314"/>
                    </a:lnTo>
                    <a:lnTo>
                      <a:pt x="67" y="314"/>
                    </a:lnTo>
                    <a:lnTo>
                      <a:pt x="66" y="314"/>
                    </a:lnTo>
                    <a:lnTo>
                      <a:pt x="65" y="315"/>
                    </a:lnTo>
                    <a:lnTo>
                      <a:pt x="64" y="315"/>
                    </a:lnTo>
                    <a:lnTo>
                      <a:pt x="63" y="315"/>
                    </a:lnTo>
                    <a:lnTo>
                      <a:pt x="62" y="315"/>
                    </a:lnTo>
                    <a:lnTo>
                      <a:pt x="62" y="314"/>
                    </a:lnTo>
                    <a:lnTo>
                      <a:pt x="61" y="314"/>
                    </a:lnTo>
                    <a:lnTo>
                      <a:pt x="60" y="314"/>
                    </a:lnTo>
                    <a:lnTo>
                      <a:pt x="58" y="314"/>
                    </a:lnTo>
                    <a:lnTo>
                      <a:pt x="56" y="314"/>
                    </a:lnTo>
                    <a:lnTo>
                      <a:pt x="55" y="314"/>
                    </a:lnTo>
                    <a:lnTo>
                      <a:pt x="54" y="314"/>
                    </a:lnTo>
                    <a:lnTo>
                      <a:pt x="53" y="314"/>
                    </a:lnTo>
                    <a:lnTo>
                      <a:pt x="53" y="313"/>
                    </a:lnTo>
                    <a:lnTo>
                      <a:pt x="53" y="312"/>
                    </a:lnTo>
                    <a:lnTo>
                      <a:pt x="53" y="311"/>
                    </a:lnTo>
                    <a:lnTo>
                      <a:pt x="53" y="310"/>
                    </a:lnTo>
                    <a:lnTo>
                      <a:pt x="53" y="309"/>
                    </a:lnTo>
                    <a:lnTo>
                      <a:pt x="52" y="309"/>
                    </a:lnTo>
                    <a:lnTo>
                      <a:pt x="52" y="308"/>
                    </a:lnTo>
                    <a:lnTo>
                      <a:pt x="51" y="306"/>
                    </a:lnTo>
                    <a:lnTo>
                      <a:pt x="50" y="306"/>
                    </a:lnTo>
                    <a:lnTo>
                      <a:pt x="50" y="305"/>
                    </a:lnTo>
                    <a:lnTo>
                      <a:pt x="49" y="305"/>
                    </a:lnTo>
                    <a:lnTo>
                      <a:pt x="48" y="305"/>
                    </a:lnTo>
                    <a:lnTo>
                      <a:pt x="48" y="306"/>
                    </a:lnTo>
                    <a:lnTo>
                      <a:pt x="47" y="306"/>
                    </a:lnTo>
                    <a:lnTo>
                      <a:pt x="45" y="307"/>
                    </a:lnTo>
                    <a:lnTo>
                      <a:pt x="45" y="308"/>
                    </a:lnTo>
                    <a:lnTo>
                      <a:pt x="44" y="308"/>
                    </a:lnTo>
                    <a:lnTo>
                      <a:pt x="43" y="308"/>
                    </a:lnTo>
                    <a:lnTo>
                      <a:pt x="42" y="307"/>
                    </a:lnTo>
                    <a:lnTo>
                      <a:pt x="41" y="305"/>
                    </a:lnTo>
                    <a:lnTo>
                      <a:pt x="40" y="305"/>
                    </a:lnTo>
                    <a:lnTo>
                      <a:pt x="40" y="304"/>
                    </a:lnTo>
                    <a:lnTo>
                      <a:pt x="39" y="302"/>
                    </a:lnTo>
                    <a:lnTo>
                      <a:pt x="39" y="299"/>
                    </a:lnTo>
                    <a:lnTo>
                      <a:pt x="38" y="298"/>
                    </a:lnTo>
                    <a:lnTo>
                      <a:pt x="38" y="297"/>
                    </a:lnTo>
                    <a:lnTo>
                      <a:pt x="38" y="296"/>
                    </a:lnTo>
                    <a:lnTo>
                      <a:pt x="37" y="294"/>
                    </a:lnTo>
                    <a:lnTo>
                      <a:pt x="37" y="293"/>
                    </a:lnTo>
                    <a:lnTo>
                      <a:pt x="36" y="293"/>
                    </a:lnTo>
                    <a:lnTo>
                      <a:pt x="35" y="292"/>
                    </a:lnTo>
                    <a:lnTo>
                      <a:pt x="34" y="291"/>
                    </a:lnTo>
                    <a:lnTo>
                      <a:pt x="32" y="288"/>
                    </a:lnTo>
                    <a:lnTo>
                      <a:pt x="32" y="287"/>
                    </a:lnTo>
                    <a:lnTo>
                      <a:pt x="31" y="286"/>
                    </a:lnTo>
                    <a:lnTo>
                      <a:pt x="29" y="284"/>
                    </a:lnTo>
                    <a:lnTo>
                      <a:pt x="28" y="283"/>
                    </a:lnTo>
                    <a:lnTo>
                      <a:pt x="28" y="282"/>
                    </a:lnTo>
                    <a:lnTo>
                      <a:pt x="27" y="280"/>
                    </a:lnTo>
                    <a:lnTo>
                      <a:pt x="26" y="279"/>
                    </a:lnTo>
                    <a:lnTo>
                      <a:pt x="25" y="277"/>
                    </a:lnTo>
                    <a:lnTo>
                      <a:pt x="25" y="276"/>
                    </a:lnTo>
                    <a:lnTo>
                      <a:pt x="24" y="274"/>
                    </a:lnTo>
                    <a:lnTo>
                      <a:pt x="24" y="273"/>
                    </a:lnTo>
                    <a:lnTo>
                      <a:pt x="23" y="272"/>
                    </a:lnTo>
                    <a:lnTo>
                      <a:pt x="22" y="270"/>
                    </a:lnTo>
                    <a:lnTo>
                      <a:pt x="22" y="269"/>
                    </a:lnTo>
                    <a:lnTo>
                      <a:pt x="21" y="268"/>
                    </a:lnTo>
                    <a:lnTo>
                      <a:pt x="19" y="267"/>
                    </a:lnTo>
                    <a:lnTo>
                      <a:pt x="18" y="266"/>
                    </a:lnTo>
                    <a:lnTo>
                      <a:pt x="17" y="266"/>
                    </a:lnTo>
                    <a:lnTo>
                      <a:pt x="16" y="264"/>
                    </a:lnTo>
                    <a:lnTo>
                      <a:pt x="16" y="263"/>
                    </a:lnTo>
                    <a:lnTo>
                      <a:pt x="16" y="261"/>
                    </a:lnTo>
                    <a:lnTo>
                      <a:pt x="15" y="260"/>
                    </a:lnTo>
                    <a:lnTo>
                      <a:pt x="15" y="259"/>
                    </a:lnTo>
                    <a:lnTo>
                      <a:pt x="14" y="258"/>
                    </a:lnTo>
                    <a:lnTo>
                      <a:pt x="14" y="257"/>
                    </a:lnTo>
                    <a:lnTo>
                      <a:pt x="15" y="256"/>
                    </a:lnTo>
                    <a:lnTo>
                      <a:pt x="14" y="256"/>
                    </a:lnTo>
                    <a:lnTo>
                      <a:pt x="13" y="257"/>
                    </a:lnTo>
                    <a:lnTo>
                      <a:pt x="12" y="257"/>
                    </a:lnTo>
                    <a:lnTo>
                      <a:pt x="11" y="257"/>
                    </a:lnTo>
                    <a:lnTo>
                      <a:pt x="10" y="255"/>
                    </a:lnTo>
                    <a:lnTo>
                      <a:pt x="10" y="254"/>
                    </a:lnTo>
                    <a:lnTo>
                      <a:pt x="9" y="254"/>
                    </a:lnTo>
                    <a:lnTo>
                      <a:pt x="8" y="253"/>
                    </a:lnTo>
                    <a:lnTo>
                      <a:pt x="8" y="254"/>
                    </a:lnTo>
                    <a:lnTo>
                      <a:pt x="3" y="255"/>
                    </a:lnTo>
                    <a:lnTo>
                      <a:pt x="2" y="256"/>
                    </a:lnTo>
                    <a:lnTo>
                      <a:pt x="1" y="256"/>
                    </a:lnTo>
                    <a:lnTo>
                      <a:pt x="0" y="256"/>
                    </a:lnTo>
                    <a:lnTo>
                      <a:pt x="0" y="255"/>
                    </a:lnTo>
                    <a:lnTo>
                      <a:pt x="0" y="254"/>
                    </a:lnTo>
                    <a:lnTo>
                      <a:pt x="0" y="253"/>
                    </a:lnTo>
                    <a:lnTo>
                      <a:pt x="1" y="253"/>
                    </a:lnTo>
                    <a:lnTo>
                      <a:pt x="0" y="253"/>
                    </a:lnTo>
                    <a:lnTo>
                      <a:pt x="0" y="251"/>
                    </a:lnTo>
                    <a:lnTo>
                      <a:pt x="0" y="250"/>
                    </a:lnTo>
                    <a:lnTo>
                      <a:pt x="0" y="247"/>
                    </a:lnTo>
                    <a:lnTo>
                      <a:pt x="0" y="246"/>
                    </a:lnTo>
                    <a:lnTo>
                      <a:pt x="0" y="245"/>
                    </a:lnTo>
                    <a:lnTo>
                      <a:pt x="0" y="232"/>
                    </a:lnTo>
                    <a:lnTo>
                      <a:pt x="0" y="219"/>
                    </a:lnTo>
                    <a:lnTo>
                      <a:pt x="0" y="209"/>
                    </a:lnTo>
                    <a:lnTo>
                      <a:pt x="0" y="199"/>
                    </a:lnTo>
                    <a:lnTo>
                      <a:pt x="0" y="187"/>
                    </a:lnTo>
                    <a:lnTo>
                      <a:pt x="0" y="185"/>
                    </a:lnTo>
                    <a:lnTo>
                      <a:pt x="0" y="182"/>
                    </a:lnTo>
                    <a:lnTo>
                      <a:pt x="0" y="181"/>
                    </a:lnTo>
                    <a:lnTo>
                      <a:pt x="0" y="171"/>
                    </a:lnTo>
                    <a:lnTo>
                      <a:pt x="0" y="164"/>
                    </a:lnTo>
                    <a:lnTo>
                      <a:pt x="0" y="159"/>
                    </a:lnTo>
                    <a:lnTo>
                      <a:pt x="0" y="151"/>
                    </a:lnTo>
                    <a:lnTo>
                      <a:pt x="0" y="129"/>
                    </a:lnTo>
                    <a:lnTo>
                      <a:pt x="0" y="116"/>
                    </a:lnTo>
                    <a:lnTo>
                      <a:pt x="0" y="108"/>
                    </a:lnTo>
                    <a:lnTo>
                      <a:pt x="26" y="108"/>
                    </a:lnTo>
                    <a:lnTo>
                      <a:pt x="32" y="108"/>
                    </a:lnTo>
                    <a:lnTo>
                      <a:pt x="45" y="108"/>
                    </a:lnTo>
                    <a:lnTo>
                      <a:pt x="51" y="108"/>
                    </a:lnTo>
                    <a:lnTo>
                      <a:pt x="56" y="108"/>
                    </a:lnTo>
                    <a:lnTo>
                      <a:pt x="64" y="102"/>
                    </a:lnTo>
                    <a:lnTo>
                      <a:pt x="70" y="97"/>
                    </a:lnTo>
                    <a:lnTo>
                      <a:pt x="72" y="97"/>
                    </a:lnTo>
                    <a:lnTo>
                      <a:pt x="72" y="96"/>
                    </a:lnTo>
                    <a:lnTo>
                      <a:pt x="73" y="96"/>
                    </a:lnTo>
                    <a:lnTo>
                      <a:pt x="74" y="96"/>
                    </a:lnTo>
                    <a:lnTo>
                      <a:pt x="74" y="95"/>
                    </a:lnTo>
                    <a:lnTo>
                      <a:pt x="75" y="94"/>
                    </a:lnTo>
                    <a:lnTo>
                      <a:pt x="76" y="94"/>
                    </a:lnTo>
                    <a:lnTo>
                      <a:pt x="77" y="93"/>
                    </a:lnTo>
                    <a:lnTo>
                      <a:pt x="78" y="92"/>
                    </a:lnTo>
                    <a:lnTo>
                      <a:pt x="79" y="92"/>
                    </a:lnTo>
                    <a:lnTo>
                      <a:pt x="79" y="91"/>
                    </a:lnTo>
                    <a:lnTo>
                      <a:pt x="80" y="91"/>
                    </a:lnTo>
                    <a:lnTo>
                      <a:pt x="81" y="91"/>
                    </a:lnTo>
                    <a:lnTo>
                      <a:pt x="82" y="90"/>
                    </a:lnTo>
                    <a:lnTo>
                      <a:pt x="83" y="90"/>
                    </a:lnTo>
                    <a:lnTo>
                      <a:pt x="85" y="90"/>
                    </a:lnTo>
                    <a:lnTo>
                      <a:pt x="85" y="88"/>
                    </a:lnTo>
                    <a:lnTo>
                      <a:pt x="86" y="87"/>
                    </a:lnTo>
                    <a:lnTo>
                      <a:pt x="87" y="87"/>
                    </a:lnTo>
                    <a:lnTo>
                      <a:pt x="87" y="86"/>
                    </a:lnTo>
                    <a:lnTo>
                      <a:pt x="88" y="86"/>
                    </a:lnTo>
                    <a:lnTo>
                      <a:pt x="89" y="86"/>
                    </a:lnTo>
                    <a:lnTo>
                      <a:pt x="90" y="86"/>
                    </a:lnTo>
                    <a:lnTo>
                      <a:pt x="90" y="84"/>
                    </a:lnTo>
                    <a:lnTo>
                      <a:pt x="91" y="84"/>
                    </a:lnTo>
                    <a:lnTo>
                      <a:pt x="91" y="83"/>
                    </a:lnTo>
                    <a:lnTo>
                      <a:pt x="92" y="83"/>
                    </a:lnTo>
                    <a:lnTo>
                      <a:pt x="93" y="82"/>
                    </a:lnTo>
                    <a:lnTo>
                      <a:pt x="94" y="82"/>
                    </a:lnTo>
                    <a:lnTo>
                      <a:pt x="94" y="81"/>
                    </a:lnTo>
                    <a:lnTo>
                      <a:pt x="95" y="81"/>
                    </a:lnTo>
                    <a:lnTo>
                      <a:pt x="95" y="80"/>
                    </a:lnTo>
                    <a:lnTo>
                      <a:pt x="96" y="79"/>
                    </a:lnTo>
                    <a:lnTo>
                      <a:pt x="98" y="79"/>
                    </a:lnTo>
                    <a:lnTo>
                      <a:pt x="98" y="78"/>
                    </a:lnTo>
                    <a:lnTo>
                      <a:pt x="99" y="78"/>
                    </a:lnTo>
                    <a:lnTo>
                      <a:pt x="100" y="78"/>
                    </a:lnTo>
                    <a:lnTo>
                      <a:pt x="100" y="77"/>
                    </a:lnTo>
                    <a:lnTo>
                      <a:pt x="101" y="76"/>
                    </a:lnTo>
                    <a:lnTo>
                      <a:pt x="102" y="76"/>
                    </a:lnTo>
                    <a:lnTo>
                      <a:pt x="103" y="75"/>
                    </a:lnTo>
                    <a:lnTo>
                      <a:pt x="103" y="74"/>
                    </a:lnTo>
                    <a:lnTo>
                      <a:pt x="102" y="73"/>
                    </a:lnTo>
                    <a:lnTo>
                      <a:pt x="103" y="73"/>
                    </a:lnTo>
                    <a:lnTo>
                      <a:pt x="104" y="71"/>
                    </a:lnTo>
                    <a:lnTo>
                      <a:pt x="105" y="70"/>
                    </a:lnTo>
                    <a:lnTo>
                      <a:pt x="106" y="70"/>
                    </a:lnTo>
                    <a:lnTo>
                      <a:pt x="107" y="70"/>
                    </a:lnTo>
                    <a:lnTo>
                      <a:pt x="107" y="69"/>
                    </a:lnTo>
                    <a:lnTo>
                      <a:pt x="108" y="69"/>
                    </a:lnTo>
                    <a:lnTo>
                      <a:pt x="109" y="68"/>
                    </a:lnTo>
                    <a:lnTo>
                      <a:pt x="111" y="68"/>
                    </a:lnTo>
                    <a:lnTo>
                      <a:pt x="111" y="67"/>
                    </a:lnTo>
                    <a:lnTo>
                      <a:pt x="112" y="67"/>
                    </a:lnTo>
                    <a:lnTo>
                      <a:pt x="112" y="66"/>
                    </a:lnTo>
                    <a:lnTo>
                      <a:pt x="112" y="65"/>
                    </a:lnTo>
                    <a:lnTo>
                      <a:pt x="112" y="64"/>
                    </a:lnTo>
                    <a:lnTo>
                      <a:pt x="113" y="64"/>
                    </a:lnTo>
                    <a:lnTo>
                      <a:pt x="113" y="63"/>
                    </a:lnTo>
                    <a:lnTo>
                      <a:pt x="113" y="62"/>
                    </a:lnTo>
                    <a:lnTo>
                      <a:pt x="113" y="61"/>
                    </a:lnTo>
                    <a:lnTo>
                      <a:pt x="114" y="61"/>
                    </a:lnTo>
                    <a:lnTo>
                      <a:pt x="113" y="58"/>
                    </a:lnTo>
                    <a:lnTo>
                      <a:pt x="113" y="57"/>
                    </a:lnTo>
                    <a:lnTo>
                      <a:pt x="113" y="56"/>
                    </a:lnTo>
                    <a:lnTo>
                      <a:pt x="113" y="55"/>
                    </a:lnTo>
                    <a:lnTo>
                      <a:pt x="113" y="54"/>
                    </a:lnTo>
                    <a:lnTo>
                      <a:pt x="114" y="53"/>
                    </a:lnTo>
                    <a:lnTo>
                      <a:pt x="114" y="52"/>
                    </a:lnTo>
                    <a:lnTo>
                      <a:pt x="114" y="51"/>
                    </a:lnTo>
                    <a:lnTo>
                      <a:pt x="114" y="50"/>
                    </a:lnTo>
                    <a:lnTo>
                      <a:pt x="115" y="50"/>
                    </a:lnTo>
                    <a:lnTo>
                      <a:pt x="115" y="49"/>
                    </a:lnTo>
                    <a:lnTo>
                      <a:pt x="114" y="49"/>
                    </a:lnTo>
                    <a:lnTo>
                      <a:pt x="114" y="48"/>
                    </a:lnTo>
                    <a:lnTo>
                      <a:pt x="114" y="47"/>
                    </a:lnTo>
                    <a:lnTo>
                      <a:pt x="115" y="45"/>
                    </a:lnTo>
                    <a:lnTo>
                      <a:pt x="115" y="44"/>
                    </a:lnTo>
                    <a:lnTo>
                      <a:pt x="116" y="44"/>
                    </a:lnTo>
                    <a:lnTo>
                      <a:pt x="116" y="43"/>
                    </a:lnTo>
                    <a:lnTo>
                      <a:pt x="116" y="44"/>
                    </a:lnTo>
                    <a:lnTo>
                      <a:pt x="116" y="43"/>
                    </a:lnTo>
                    <a:lnTo>
                      <a:pt x="117" y="43"/>
                    </a:lnTo>
                    <a:lnTo>
                      <a:pt x="117" y="42"/>
                    </a:lnTo>
                    <a:lnTo>
                      <a:pt x="117" y="41"/>
                    </a:lnTo>
                    <a:lnTo>
                      <a:pt x="116" y="41"/>
                    </a:lnTo>
                    <a:lnTo>
                      <a:pt x="117" y="40"/>
                    </a:lnTo>
                    <a:lnTo>
                      <a:pt x="117" y="41"/>
                    </a:lnTo>
                    <a:lnTo>
                      <a:pt x="118" y="40"/>
                    </a:lnTo>
                    <a:lnTo>
                      <a:pt x="118" y="39"/>
                    </a:lnTo>
                    <a:lnTo>
                      <a:pt x="119" y="40"/>
                    </a:lnTo>
                    <a:lnTo>
                      <a:pt x="119" y="39"/>
                    </a:lnTo>
                    <a:lnTo>
                      <a:pt x="120" y="39"/>
                    </a:lnTo>
                    <a:lnTo>
                      <a:pt x="121" y="39"/>
                    </a:lnTo>
                    <a:lnTo>
                      <a:pt x="122" y="39"/>
                    </a:lnTo>
                    <a:lnTo>
                      <a:pt x="122" y="38"/>
                    </a:lnTo>
                    <a:lnTo>
                      <a:pt x="124" y="37"/>
                    </a:lnTo>
                    <a:lnTo>
                      <a:pt x="124" y="36"/>
                    </a:lnTo>
                    <a:lnTo>
                      <a:pt x="125" y="37"/>
                    </a:lnTo>
                    <a:lnTo>
                      <a:pt x="125" y="36"/>
                    </a:lnTo>
                    <a:lnTo>
                      <a:pt x="126" y="36"/>
                    </a:lnTo>
                    <a:lnTo>
                      <a:pt x="126" y="35"/>
                    </a:lnTo>
                    <a:lnTo>
                      <a:pt x="127" y="35"/>
                    </a:lnTo>
                    <a:lnTo>
                      <a:pt x="127" y="34"/>
                    </a:lnTo>
                    <a:lnTo>
                      <a:pt x="128" y="34"/>
                    </a:lnTo>
                    <a:lnTo>
                      <a:pt x="129" y="34"/>
                    </a:lnTo>
                    <a:lnTo>
                      <a:pt x="129" y="32"/>
                    </a:lnTo>
                    <a:lnTo>
                      <a:pt x="130" y="31"/>
                    </a:lnTo>
                    <a:lnTo>
                      <a:pt x="131" y="31"/>
                    </a:lnTo>
                    <a:lnTo>
                      <a:pt x="132" y="31"/>
                    </a:lnTo>
                    <a:lnTo>
                      <a:pt x="133" y="31"/>
                    </a:lnTo>
                    <a:lnTo>
                      <a:pt x="134" y="31"/>
                    </a:lnTo>
                    <a:lnTo>
                      <a:pt x="134" y="30"/>
                    </a:lnTo>
                    <a:lnTo>
                      <a:pt x="135" y="29"/>
                    </a:lnTo>
                    <a:lnTo>
                      <a:pt x="134" y="29"/>
                    </a:lnTo>
                    <a:lnTo>
                      <a:pt x="135" y="28"/>
                    </a:lnTo>
                    <a:lnTo>
                      <a:pt x="135" y="29"/>
                    </a:lnTo>
                    <a:lnTo>
                      <a:pt x="135" y="28"/>
                    </a:lnTo>
                    <a:lnTo>
                      <a:pt x="137" y="28"/>
                    </a:lnTo>
                    <a:lnTo>
                      <a:pt x="137" y="27"/>
                    </a:lnTo>
                    <a:lnTo>
                      <a:pt x="138" y="27"/>
                    </a:lnTo>
                    <a:lnTo>
                      <a:pt x="139" y="27"/>
                    </a:lnTo>
                    <a:lnTo>
                      <a:pt x="140" y="27"/>
                    </a:lnTo>
                    <a:lnTo>
                      <a:pt x="141" y="27"/>
                    </a:lnTo>
                    <a:lnTo>
                      <a:pt x="141" y="26"/>
                    </a:lnTo>
                    <a:lnTo>
                      <a:pt x="142" y="26"/>
                    </a:lnTo>
                    <a:lnTo>
                      <a:pt x="142" y="25"/>
                    </a:lnTo>
                    <a:lnTo>
                      <a:pt x="143" y="25"/>
                    </a:lnTo>
                    <a:lnTo>
                      <a:pt x="144" y="24"/>
                    </a:lnTo>
                    <a:lnTo>
                      <a:pt x="144" y="23"/>
                    </a:lnTo>
                    <a:lnTo>
                      <a:pt x="144" y="22"/>
                    </a:lnTo>
                    <a:lnTo>
                      <a:pt x="143" y="20"/>
                    </a:lnTo>
                    <a:lnTo>
                      <a:pt x="144" y="20"/>
                    </a:lnTo>
                    <a:lnTo>
                      <a:pt x="143" y="19"/>
                    </a:lnTo>
                    <a:lnTo>
                      <a:pt x="144" y="19"/>
                    </a:lnTo>
                    <a:lnTo>
                      <a:pt x="144" y="18"/>
                    </a:lnTo>
                    <a:lnTo>
                      <a:pt x="144" y="17"/>
                    </a:lnTo>
                    <a:lnTo>
                      <a:pt x="143" y="17"/>
                    </a:lnTo>
                    <a:lnTo>
                      <a:pt x="143" y="16"/>
                    </a:lnTo>
                    <a:lnTo>
                      <a:pt x="144" y="15"/>
                    </a:lnTo>
                    <a:lnTo>
                      <a:pt x="144" y="14"/>
                    </a:lnTo>
                    <a:lnTo>
                      <a:pt x="144" y="13"/>
                    </a:lnTo>
                    <a:lnTo>
                      <a:pt x="145" y="12"/>
                    </a:lnTo>
                    <a:lnTo>
                      <a:pt x="145" y="11"/>
                    </a:lnTo>
                    <a:lnTo>
                      <a:pt x="146" y="10"/>
                    </a:lnTo>
                    <a:lnTo>
                      <a:pt x="147" y="10"/>
                    </a:lnTo>
                    <a:lnTo>
                      <a:pt x="147" y="9"/>
                    </a:lnTo>
                    <a:lnTo>
                      <a:pt x="148" y="9"/>
                    </a:lnTo>
                    <a:lnTo>
                      <a:pt x="150" y="9"/>
                    </a:lnTo>
                    <a:lnTo>
                      <a:pt x="148" y="9"/>
                    </a:lnTo>
                    <a:lnTo>
                      <a:pt x="150" y="7"/>
                    </a:lnTo>
                    <a:lnTo>
                      <a:pt x="150" y="6"/>
                    </a:lnTo>
                    <a:lnTo>
                      <a:pt x="151" y="6"/>
                    </a:lnTo>
                    <a:lnTo>
                      <a:pt x="152" y="6"/>
                    </a:lnTo>
                    <a:lnTo>
                      <a:pt x="153" y="5"/>
                    </a:lnTo>
                    <a:lnTo>
                      <a:pt x="154" y="5"/>
                    </a:lnTo>
                    <a:lnTo>
                      <a:pt x="155" y="5"/>
                    </a:lnTo>
                    <a:lnTo>
                      <a:pt x="154" y="4"/>
                    </a:lnTo>
                    <a:lnTo>
                      <a:pt x="155" y="4"/>
                    </a:lnTo>
                    <a:lnTo>
                      <a:pt x="156" y="3"/>
                    </a:lnTo>
                    <a:lnTo>
                      <a:pt x="157" y="3"/>
                    </a:lnTo>
                    <a:lnTo>
                      <a:pt x="158" y="2"/>
                    </a:lnTo>
                    <a:lnTo>
                      <a:pt x="159" y="2"/>
                    </a:lnTo>
                    <a:lnTo>
                      <a:pt x="160" y="2"/>
                    </a:lnTo>
                    <a:lnTo>
                      <a:pt x="161" y="2"/>
                    </a:lnTo>
                    <a:lnTo>
                      <a:pt x="161" y="3"/>
                    </a:lnTo>
                    <a:lnTo>
                      <a:pt x="163" y="3"/>
                    </a:lnTo>
                    <a:lnTo>
                      <a:pt x="163" y="4"/>
                    </a:lnTo>
                    <a:lnTo>
                      <a:pt x="164" y="4"/>
                    </a:lnTo>
                    <a:lnTo>
                      <a:pt x="164" y="3"/>
                    </a:lnTo>
                    <a:lnTo>
                      <a:pt x="165" y="3"/>
                    </a:lnTo>
                    <a:lnTo>
                      <a:pt x="166" y="3"/>
                    </a:lnTo>
                    <a:lnTo>
                      <a:pt x="166" y="2"/>
                    </a:lnTo>
                    <a:lnTo>
                      <a:pt x="165" y="2"/>
                    </a:lnTo>
                    <a:lnTo>
                      <a:pt x="167" y="1"/>
                    </a:lnTo>
                    <a:lnTo>
                      <a:pt x="168" y="1"/>
                    </a:lnTo>
                    <a:lnTo>
                      <a:pt x="169" y="1"/>
                    </a:lnTo>
                    <a:lnTo>
                      <a:pt x="170" y="0"/>
                    </a:lnTo>
                    <a:lnTo>
                      <a:pt x="170" y="1"/>
                    </a:lnTo>
                    <a:lnTo>
                      <a:pt x="171" y="1"/>
                    </a:lnTo>
                    <a:lnTo>
                      <a:pt x="170" y="1"/>
                    </a:lnTo>
                    <a:lnTo>
                      <a:pt x="171" y="2"/>
                    </a:lnTo>
                    <a:lnTo>
                      <a:pt x="171" y="1"/>
                    </a:lnTo>
                    <a:lnTo>
                      <a:pt x="172" y="1"/>
                    </a:lnTo>
                    <a:lnTo>
                      <a:pt x="173" y="1"/>
                    </a:lnTo>
                    <a:lnTo>
                      <a:pt x="174" y="1"/>
                    </a:lnTo>
                    <a:lnTo>
                      <a:pt x="176" y="1"/>
                    </a:lnTo>
                    <a:lnTo>
                      <a:pt x="177" y="2"/>
                    </a:lnTo>
                    <a:lnTo>
                      <a:pt x="178" y="2"/>
                    </a:lnTo>
                    <a:lnTo>
                      <a:pt x="178" y="3"/>
                    </a:lnTo>
                    <a:lnTo>
                      <a:pt x="177" y="4"/>
                    </a:lnTo>
                    <a:lnTo>
                      <a:pt x="178" y="4"/>
                    </a:lnTo>
                    <a:lnTo>
                      <a:pt x="179" y="4"/>
                    </a:lnTo>
                    <a:lnTo>
                      <a:pt x="180" y="3"/>
                    </a:lnTo>
                    <a:lnTo>
                      <a:pt x="182" y="4"/>
                    </a:lnTo>
                    <a:lnTo>
                      <a:pt x="182" y="5"/>
                    </a:lnTo>
                    <a:lnTo>
                      <a:pt x="183" y="5"/>
                    </a:lnTo>
                    <a:lnTo>
                      <a:pt x="182" y="6"/>
                    </a:lnTo>
                    <a:lnTo>
                      <a:pt x="182" y="7"/>
                    </a:lnTo>
                    <a:lnTo>
                      <a:pt x="183" y="9"/>
                    </a:lnTo>
                    <a:lnTo>
                      <a:pt x="183" y="10"/>
                    </a:lnTo>
                    <a:lnTo>
                      <a:pt x="184" y="9"/>
                    </a:lnTo>
                    <a:lnTo>
                      <a:pt x="184" y="10"/>
                    </a:lnTo>
                    <a:lnTo>
                      <a:pt x="184" y="11"/>
                    </a:lnTo>
                    <a:lnTo>
                      <a:pt x="185" y="12"/>
                    </a:lnTo>
                    <a:lnTo>
                      <a:pt x="185" y="13"/>
                    </a:lnTo>
                    <a:lnTo>
                      <a:pt x="186" y="13"/>
                    </a:lnTo>
                    <a:lnTo>
                      <a:pt x="186" y="14"/>
                    </a:lnTo>
                    <a:lnTo>
                      <a:pt x="187" y="14"/>
                    </a:lnTo>
                    <a:lnTo>
                      <a:pt x="189" y="14"/>
                    </a:lnTo>
                    <a:lnTo>
                      <a:pt x="190" y="14"/>
                    </a:lnTo>
                    <a:lnTo>
                      <a:pt x="191" y="14"/>
                    </a:lnTo>
                    <a:lnTo>
                      <a:pt x="192" y="14"/>
                    </a:lnTo>
                    <a:lnTo>
                      <a:pt x="192" y="13"/>
                    </a:lnTo>
                    <a:lnTo>
                      <a:pt x="193" y="12"/>
                    </a:lnTo>
                    <a:lnTo>
                      <a:pt x="194" y="12"/>
                    </a:lnTo>
                    <a:lnTo>
                      <a:pt x="195" y="14"/>
                    </a:lnTo>
                    <a:lnTo>
                      <a:pt x="195" y="15"/>
                    </a:lnTo>
                    <a:lnTo>
                      <a:pt x="196" y="15"/>
                    </a:lnTo>
                    <a:lnTo>
                      <a:pt x="197" y="16"/>
                    </a:lnTo>
                    <a:lnTo>
                      <a:pt x="198" y="17"/>
                    </a:lnTo>
                    <a:lnTo>
                      <a:pt x="198" y="18"/>
                    </a:lnTo>
                    <a:lnTo>
                      <a:pt x="198" y="19"/>
                    </a:lnTo>
                    <a:lnTo>
                      <a:pt x="199" y="20"/>
                    </a:lnTo>
                    <a:lnTo>
                      <a:pt x="201" y="22"/>
                    </a:lnTo>
                    <a:lnTo>
                      <a:pt x="204" y="22"/>
                    </a:lnTo>
                    <a:lnTo>
                      <a:pt x="205" y="20"/>
                    </a:lnTo>
                    <a:lnTo>
                      <a:pt x="206" y="19"/>
                    </a:lnTo>
                    <a:lnTo>
                      <a:pt x="207" y="19"/>
                    </a:lnTo>
                    <a:lnTo>
                      <a:pt x="208" y="19"/>
                    </a:lnTo>
                    <a:lnTo>
                      <a:pt x="209" y="19"/>
                    </a:lnTo>
                    <a:lnTo>
                      <a:pt x="210" y="18"/>
                    </a:lnTo>
                    <a:lnTo>
                      <a:pt x="209" y="17"/>
                    </a:lnTo>
                    <a:lnTo>
                      <a:pt x="209" y="16"/>
                    </a:lnTo>
                    <a:lnTo>
                      <a:pt x="210" y="15"/>
                    </a:lnTo>
                    <a:lnTo>
                      <a:pt x="211" y="15"/>
                    </a:lnTo>
                    <a:lnTo>
                      <a:pt x="212" y="15"/>
                    </a:lnTo>
                    <a:lnTo>
                      <a:pt x="212" y="16"/>
                    </a:lnTo>
                    <a:lnTo>
                      <a:pt x="214" y="17"/>
                    </a:lnTo>
                    <a:lnTo>
                      <a:pt x="215" y="18"/>
                    </a:lnTo>
                    <a:lnTo>
                      <a:pt x="216" y="19"/>
                    </a:lnTo>
                    <a:lnTo>
                      <a:pt x="217" y="20"/>
                    </a:lnTo>
                    <a:lnTo>
                      <a:pt x="218" y="20"/>
                    </a:lnTo>
                    <a:lnTo>
                      <a:pt x="219" y="20"/>
                    </a:lnTo>
                    <a:lnTo>
                      <a:pt x="220" y="20"/>
                    </a:lnTo>
                    <a:lnTo>
                      <a:pt x="221" y="20"/>
                    </a:lnTo>
                    <a:lnTo>
                      <a:pt x="222" y="19"/>
                    </a:lnTo>
                    <a:lnTo>
                      <a:pt x="223" y="19"/>
                    </a:lnTo>
                    <a:lnTo>
                      <a:pt x="224" y="19"/>
                    </a:lnTo>
                    <a:lnTo>
                      <a:pt x="225" y="20"/>
                    </a:lnTo>
                    <a:lnTo>
                      <a:pt x="227" y="20"/>
                    </a:lnTo>
                    <a:lnTo>
                      <a:pt x="228" y="20"/>
                    </a:lnTo>
                    <a:lnTo>
                      <a:pt x="230" y="20"/>
                    </a:lnTo>
                    <a:lnTo>
                      <a:pt x="231" y="20"/>
                    </a:lnTo>
                    <a:lnTo>
                      <a:pt x="231" y="22"/>
                    </a:lnTo>
                    <a:lnTo>
                      <a:pt x="232" y="22"/>
                    </a:lnTo>
                    <a:lnTo>
                      <a:pt x="233" y="22"/>
                    </a:lnTo>
                    <a:lnTo>
                      <a:pt x="233" y="23"/>
                    </a:lnTo>
                    <a:lnTo>
                      <a:pt x="234" y="23"/>
                    </a:lnTo>
                    <a:lnTo>
                      <a:pt x="234" y="24"/>
                    </a:lnTo>
                    <a:lnTo>
                      <a:pt x="234" y="25"/>
                    </a:lnTo>
                    <a:lnTo>
                      <a:pt x="235" y="25"/>
                    </a:lnTo>
                    <a:lnTo>
                      <a:pt x="236" y="26"/>
                    </a:lnTo>
                    <a:lnTo>
                      <a:pt x="237" y="26"/>
                    </a:lnTo>
                    <a:lnTo>
                      <a:pt x="237" y="27"/>
                    </a:lnTo>
                    <a:lnTo>
                      <a:pt x="238" y="27"/>
                    </a:lnTo>
                    <a:lnTo>
                      <a:pt x="240" y="28"/>
                    </a:lnTo>
                    <a:lnTo>
                      <a:pt x="241" y="28"/>
                    </a:lnTo>
                    <a:lnTo>
                      <a:pt x="241" y="29"/>
                    </a:lnTo>
                    <a:lnTo>
                      <a:pt x="242" y="29"/>
                    </a:lnTo>
                    <a:lnTo>
                      <a:pt x="243" y="30"/>
                    </a:lnTo>
                    <a:lnTo>
                      <a:pt x="243" y="31"/>
                    </a:lnTo>
                    <a:lnTo>
                      <a:pt x="243" y="32"/>
                    </a:lnTo>
                    <a:lnTo>
                      <a:pt x="244" y="34"/>
                    </a:lnTo>
                    <a:lnTo>
                      <a:pt x="245" y="34"/>
                    </a:lnTo>
                    <a:lnTo>
                      <a:pt x="245" y="35"/>
                    </a:lnTo>
                    <a:lnTo>
                      <a:pt x="246" y="35"/>
                    </a:lnTo>
                    <a:lnTo>
                      <a:pt x="246" y="36"/>
                    </a:lnTo>
                    <a:lnTo>
                      <a:pt x="247" y="37"/>
                    </a:lnTo>
                    <a:lnTo>
                      <a:pt x="247" y="38"/>
                    </a:lnTo>
                    <a:lnTo>
                      <a:pt x="247" y="40"/>
                    </a:lnTo>
                    <a:lnTo>
                      <a:pt x="248" y="40"/>
                    </a:lnTo>
                    <a:lnTo>
                      <a:pt x="249" y="40"/>
                    </a:lnTo>
                    <a:lnTo>
                      <a:pt x="249" y="41"/>
                    </a:lnTo>
                    <a:lnTo>
                      <a:pt x="250" y="41"/>
                    </a:lnTo>
                    <a:lnTo>
                      <a:pt x="250" y="42"/>
                    </a:lnTo>
                    <a:lnTo>
                      <a:pt x="251" y="42"/>
                    </a:lnTo>
                    <a:lnTo>
                      <a:pt x="251" y="43"/>
                    </a:lnTo>
                    <a:lnTo>
                      <a:pt x="253" y="43"/>
                    </a:lnTo>
                    <a:lnTo>
                      <a:pt x="254" y="43"/>
                    </a:lnTo>
                    <a:lnTo>
                      <a:pt x="255" y="44"/>
                    </a:lnTo>
                    <a:lnTo>
                      <a:pt x="256" y="44"/>
                    </a:lnTo>
                    <a:lnTo>
                      <a:pt x="257" y="45"/>
                    </a:lnTo>
                    <a:lnTo>
                      <a:pt x="257" y="47"/>
                    </a:lnTo>
                    <a:lnTo>
                      <a:pt x="257" y="48"/>
                    </a:lnTo>
                    <a:lnTo>
                      <a:pt x="258" y="48"/>
                    </a:lnTo>
                    <a:lnTo>
                      <a:pt x="258" y="49"/>
                    </a:lnTo>
                    <a:lnTo>
                      <a:pt x="258" y="50"/>
                    </a:lnTo>
                    <a:lnTo>
                      <a:pt x="259" y="50"/>
                    </a:lnTo>
                    <a:lnTo>
                      <a:pt x="259" y="51"/>
                    </a:lnTo>
                    <a:lnTo>
                      <a:pt x="260" y="51"/>
                    </a:lnTo>
                    <a:lnTo>
                      <a:pt x="259" y="52"/>
                    </a:lnTo>
                    <a:lnTo>
                      <a:pt x="260" y="52"/>
                    </a:lnTo>
                    <a:lnTo>
                      <a:pt x="261" y="52"/>
                    </a:lnTo>
                    <a:lnTo>
                      <a:pt x="261" y="53"/>
                    </a:lnTo>
                    <a:lnTo>
                      <a:pt x="261" y="54"/>
                    </a:lnTo>
                    <a:lnTo>
                      <a:pt x="262" y="54"/>
                    </a:lnTo>
                    <a:lnTo>
                      <a:pt x="262" y="55"/>
                    </a:lnTo>
                    <a:lnTo>
                      <a:pt x="261" y="56"/>
                    </a:lnTo>
                    <a:lnTo>
                      <a:pt x="262" y="56"/>
                    </a:lnTo>
                    <a:lnTo>
                      <a:pt x="262" y="57"/>
                    </a:lnTo>
                    <a:lnTo>
                      <a:pt x="262" y="58"/>
                    </a:lnTo>
                    <a:lnTo>
                      <a:pt x="261" y="60"/>
                    </a:lnTo>
                    <a:lnTo>
                      <a:pt x="261" y="61"/>
                    </a:lnTo>
                    <a:lnTo>
                      <a:pt x="260" y="62"/>
                    </a:lnTo>
                    <a:lnTo>
                      <a:pt x="260" y="65"/>
                    </a:lnTo>
                    <a:lnTo>
                      <a:pt x="260" y="66"/>
                    </a:lnTo>
                    <a:lnTo>
                      <a:pt x="259" y="66"/>
                    </a:lnTo>
                    <a:lnTo>
                      <a:pt x="260" y="67"/>
                    </a:lnTo>
                    <a:lnTo>
                      <a:pt x="260" y="68"/>
                    </a:lnTo>
                    <a:lnTo>
                      <a:pt x="260" y="69"/>
                    </a:lnTo>
                    <a:lnTo>
                      <a:pt x="261" y="70"/>
                    </a:lnTo>
                    <a:lnTo>
                      <a:pt x="261" y="71"/>
                    </a:lnTo>
                    <a:lnTo>
                      <a:pt x="261" y="73"/>
                    </a:lnTo>
                    <a:lnTo>
                      <a:pt x="261" y="74"/>
                    </a:lnTo>
                    <a:lnTo>
                      <a:pt x="261" y="75"/>
                    </a:lnTo>
                    <a:lnTo>
                      <a:pt x="261" y="76"/>
                    </a:lnTo>
                    <a:lnTo>
                      <a:pt x="262" y="78"/>
                    </a:lnTo>
                    <a:close/>
                  </a:path>
                </a:pathLst>
              </a:custGeom>
              <a:solidFill>
                <a:srgbClr val="87BE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8" name="Freeform 306">
                <a:extLst>
                  <a:ext uri="{FF2B5EF4-FFF2-40B4-BE49-F238E27FC236}">
                    <a16:creationId xmlns:a16="http://schemas.microsoft.com/office/drawing/2014/main" id="{EBC0C781-EEA6-D246-52A7-4E49E4BB6F82}"/>
                  </a:ext>
                </a:extLst>
              </p:cNvPr>
              <p:cNvSpPr>
                <a:spLocks/>
              </p:cNvSpPr>
              <p:nvPr/>
            </p:nvSpPr>
            <p:spPr bwMode="auto">
              <a:xfrm>
                <a:off x="1562101" y="2030413"/>
                <a:ext cx="479425" cy="403225"/>
              </a:xfrm>
              <a:custGeom>
                <a:avLst/>
                <a:gdLst>
                  <a:gd name="T0" fmla="*/ 147 w 302"/>
                  <a:gd name="T1" fmla="*/ 1 h 254"/>
                  <a:gd name="T2" fmla="*/ 246 w 302"/>
                  <a:gd name="T3" fmla="*/ 2 h 254"/>
                  <a:gd name="T4" fmla="*/ 246 w 302"/>
                  <a:gd name="T5" fmla="*/ 14 h 254"/>
                  <a:gd name="T6" fmla="*/ 244 w 302"/>
                  <a:gd name="T7" fmla="*/ 23 h 254"/>
                  <a:gd name="T8" fmla="*/ 247 w 302"/>
                  <a:gd name="T9" fmla="*/ 31 h 254"/>
                  <a:gd name="T10" fmla="*/ 250 w 302"/>
                  <a:gd name="T11" fmla="*/ 35 h 254"/>
                  <a:gd name="T12" fmla="*/ 256 w 302"/>
                  <a:gd name="T13" fmla="*/ 39 h 254"/>
                  <a:gd name="T14" fmla="*/ 259 w 302"/>
                  <a:gd name="T15" fmla="*/ 49 h 254"/>
                  <a:gd name="T16" fmla="*/ 260 w 302"/>
                  <a:gd name="T17" fmla="*/ 57 h 254"/>
                  <a:gd name="T18" fmla="*/ 263 w 302"/>
                  <a:gd name="T19" fmla="*/ 68 h 254"/>
                  <a:gd name="T20" fmla="*/ 268 w 302"/>
                  <a:gd name="T21" fmla="*/ 75 h 254"/>
                  <a:gd name="T22" fmla="*/ 273 w 302"/>
                  <a:gd name="T23" fmla="*/ 79 h 254"/>
                  <a:gd name="T24" fmla="*/ 278 w 302"/>
                  <a:gd name="T25" fmla="*/ 89 h 254"/>
                  <a:gd name="T26" fmla="*/ 281 w 302"/>
                  <a:gd name="T27" fmla="*/ 99 h 254"/>
                  <a:gd name="T28" fmla="*/ 277 w 302"/>
                  <a:gd name="T29" fmla="*/ 107 h 254"/>
                  <a:gd name="T30" fmla="*/ 281 w 302"/>
                  <a:gd name="T31" fmla="*/ 114 h 254"/>
                  <a:gd name="T32" fmla="*/ 288 w 302"/>
                  <a:gd name="T33" fmla="*/ 119 h 254"/>
                  <a:gd name="T34" fmla="*/ 292 w 302"/>
                  <a:gd name="T35" fmla="*/ 131 h 254"/>
                  <a:gd name="T36" fmla="*/ 292 w 302"/>
                  <a:gd name="T37" fmla="*/ 138 h 254"/>
                  <a:gd name="T38" fmla="*/ 288 w 302"/>
                  <a:gd name="T39" fmla="*/ 144 h 254"/>
                  <a:gd name="T40" fmla="*/ 279 w 302"/>
                  <a:gd name="T41" fmla="*/ 152 h 254"/>
                  <a:gd name="T42" fmla="*/ 280 w 302"/>
                  <a:gd name="T43" fmla="*/ 158 h 254"/>
                  <a:gd name="T44" fmla="*/ 280 w 302"/>
                  <a:gd name="T45" fmla="*/ 163 h 254"/>
                  <a:gd name="T46" fmla="*/ 278 w 302"/>
                  <a:gd name="T47" fmla="*/ 163 h 254"/>
                  <a:gd name="T48" fmla="*/ 282 w 302"/>
                  <a:gd name="T49" fmla="*/ 170 h 254"/>
                  <a:gd name="T50" fmla="*/ 290 w 302"/>
                  <a:gd name="T51" fmla="*/ 178 h 254"/>
                  <a:gd name="T52" fmla="*/ 295 w 302"/>
                  <a:gd name="T53" fmla="*/ 185 h 254"/>
                  <a:gd name="T54" fmla="*/ 284 w 302"/>
                  <a:gd name="T55" fmla="*/ 192 h 254"/>
                  <a:gd name="T56" fmla="*/ 228 w 302"/>
                  <a:gd name="T57" fmla="*/ 239 h 254"/>
                  <a:gd name="T58" fmla="*/ 216 w 302"/>
                  <a:gd name="T59" fmla="*/ 240 h 254"/>
                  <a:gd name="T60" fmla="*/ 205 w 302"/>
                  <a:gd name="T61" fmla="*/ 252 h 254"/>
                  <a:gd name="T62" fmla="*/ 192 w 302"/>
                  <a:gd name="T63" fmla="*/ 247 h 254"/>
                  <a:gd name="T64" fmla="*/ 181 w 302"/>
                  <a:gd name="T65" fmla="*/ 253 h 254"/>
                  <a:gd name="T66" fmla="*/ 166 w 302"/>
                  <a:gd name="T67" fmla="*/ 247 h 254"/>
                  <a:gd name="T68" fmla="*/ 161 w 302"/>
                  <a:gd name="T69" fmla="*/ 236 h 254"/>
                  <a:gd name="T70" fmla="*/ 155 w 302"/>
                  <a:gd name="T71" fmla="*/ 227 h 254"/>
                  <a:gd name="T72" fmla="*/ 160 w 302"/>
                  <a:gd name="T73" fmla="*/ 218 h 254"/>
                  <a:gd name="T74" fmla="*/ 150 w 302"/>
                  <a:gd name="T75" fmla="*/ 209 h 254"/>
                  <a:gd name="T76" fmla="*/ 147 w 302"/>
                  <a:gd name="T77" fmla="*/ 197 h 254"/>
                  <a:gd name="T78" fmla="*/ 135 w 302"/>
                  <a:gd name="T79" fmla="*/ 190 h 254"/>
                  <a:gd name="T80" fmla="*/ 125 w 302"/>
                  <a:gd name="T81" fmla="*/ 181 h 254"/>
                  <a:gd name="T82" fmla="*/ 116 w 302"/>
                  <a:gd name="T83" fmla="*/ 179 h 254"/>
                  <a:gd name="T84" fmla="*/ 104 w 302"/>
                  <a:gd name="T85" fmla="*/ 177 h 254"/>
                  <a:gd name="T86" fmla="*/ 96 w 302"/>
                  <a:gd name="T87" fmla="*/ 164 h 254"/>
                  <a:gd name="T88" fmla="*/ 89 w 302"/>
                  <a:gd name="T89" fmla="*/ 154 h 254"/>
                  <a:gd name="T90" fmla="*/ 82 w 302"/>
                  <a:gd name="T91" fmla="*/ 142 h 254"/>
                  <a:gd name="T92" fmla="*/ 74 w 302"/>
                  <a:gd name="T93" fmla="*/ 128 h 254"/>
                  <a:gd name="T94" fmla="*/ 64 w 302"/>
                  <a:gd name="T95" fmla="*/ 116 h 254"/>
                  <a:gd name="T96" fmla="*/ 54 w 302"/>
                  <a:gd name="T97" fmla="*/ 106 h 254"/>
                  <a:gd name="T98" fmla="*/ 46 w 302"/>
                  <a:gd name="T99" fmla="*/ 98 h 254"/>
                  <a:gd name="T100" fmla="*/ 53 w 302"/>
                  <a:gd name="T101" fmla="*/ 86 h 254"/>
                  <a:gd name="T102" fmla="*/ 63 w 302"/>
                  <a:gd name="T103" fmla="*/ 75 h 254"/>
                  <a:gd name="T104" fmla="*/ 57 w 302"/>
                  <a:gd name="T105" fmla="*/ 57 h 254"/>
                  <a:gd name="T106" fmla="*/ 54 w 302"/>
                  <a:gd name="T107" fmla="*/ 43 h 254"/>
                  <a:gd name="T108" fmla="*/ 46 w 302"/>
                  <a:gd name="T109" fmla="*/ 32 h 254"/>
                  <a:gd name="T110" fmla="*/ 28 w 302"/>
                  <a:gd name="T111" fmla="*/ 30 h 254"/>
                  <a:gd name="T112" fmla="*/ 12 w 302"/>
                  <a:gd name="T113" fmla="*/ 23 h 254"/>
                  <a:gd name="T114" fmla="*/ 6 w 302"/>
                  <a:gd name="T115" fmla="*/ 9 h 254"/>
                  <a:gd name="T116" fmla="*/ 73 w 302"/>
                  <a:gd name="T11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2" h="254">
                    <a:moveTo>
                      <a:pt x="88" y="0"/>
                    </a:moveTo>
                    <a:lnTo>
                      <a:pt x="92" y="0"/>
                    </a:lnTo>
                    <a:lnTo>
                      <a:pt x="94" y="1"/>
                    </a:lnTo>
                    <a:lnTo>
                      <a:pt x="96" y="1"/>
                    </a:lnTo>
                    <a:lnTo>
                      <a:pt x="97" y="1"/>
                    </a:lnTo>
                    <a:lnTo>
                      <a:pt x="110" y="1"/>
                    </a:lnTo>
                    <a:lnTo>
                      <a:pt x="111" y="1"/>
                    </a:lnTo>
                    <a:lnTo>
                      <a:pt x="114" y="1"/>
                    </a:lnTo>
                    <a:lnTo>
                      <a:pt x="116" y="1"/>
                    </a:lnTo>
                    <a:lnTo>
                      <a:pt x="117" y="1"/>
                    </a:lnTo>
                    <a:lnTo>
                      <a:pt x="131" y="1"/>
                    </a:lnTo>
                    <a:lnTo>
                      <a:pt x="134" y="1"/>
                    </a:lnTo>
                    <a:lnTo>
                      <a:pt x="147" y="1"/>
                    </a:lnTo>
                    <a:lnTo>
                      <a:pt x="159" y="1"/>
                    </a:lnTo>
                    <a:lnTo>
                      <a:pt x="161" y="1"/>
                    </a:lnTo>
                    <a:lnTo>
                      <a:pt x="167" y="1"/>
                    </a:lnTo>
                    <a:lnTo>
                      <a:pt x="179" y="1"/>
                    </a:lnTo>
                    <a:lnTo>
                      <a:pt x="185" y="1"/>
                    </a:lnTo>
                    <a:lnTo>
                      <a:pt x="205" y="1"/>
                    </a:lnTo>
                    <a:lnTo>
                      <a:pt x="217" y="1"/>
                    </a:lnTo>
                    <a:lnTo>
                      <a:pt x="223" y="1"/>
                    </a:lnTo>
                    <a:lnTo>
                      <a:pt x="224" y="1"/>
                    </a:lnTo>
                    <a:lnTo>
                      <a:pt x="228" y="1"/>
                    </a:lnTo>
                    <a:lnTo>
                      <a:pt x="245" y="1"/>
                    </a:lnTo>
                    <a:lnTo>
                      <a:pt x="245" y="2"/>
                    </a:lnTo>
                    <a:lnTo>
                      <a:pt x="246" y="2"/>
                    </a:lnTo>
                    <a:lnTo>
                      <a:pt x="246" y="3"/>
                    </a:lnTo>
                    <a:lnTo>
                      <a:pt x="246" y="4"/>
                    </a:lnTo>
                    <a:lnTo>
                      <a:pt x="247" y="4"/>
                    </a:lnTo>
                    <a:lnTo>
                      <a:pt x="247" y="5"/>
                    </a:lnTo>
                    <a:lnTo>
                      <a:pt x="246" y="5"/>
                    </a:lnTo>
                    <a:lnTo>
                      <a:pt x="246" y="6"/>
                    </a:lnTo>
                    <a:lnTo>
                      <a:pt x="246" y="8"/>
                    </a:lnTo>
                    <a:lnTo>
                      <a:pt x="246" y="9"/>
                    </a:lnTo>
                    <a:lnTo>
                      <a:pt x="247" y="9"/>
                    </a:lnTo>
                    <a:lnTo>
                      <a:pt x="247" y="10"/>
                    </a:lnTo>
                    <a:lnTo>
                      <a:pt x="247" y="11"/>
                    </a:lnTo>
                    <a:lnTo>
                      <a:pt x="247" y="13"/>
                    </a:lnTo>
                    <a:lnTo>
                      <a:pt x="246" y="14"/>
                    </a:lnTo>
                    <a:lnTo>
                      <a:pt x="246" y="15"/>
                    </a:lnTo>
                    <a:lnTo>
                      <a:pt x="246" y="16"/>
                    </a:lnTo>
                    <a:lnTo>
                      <a:pt x="246" y="17"/>
                    </a:lnTo>
                    <a:lnTo>
                      <a:pt x="246" y="18"/>
                    </a:lnTo>
                    <a:lnTo>
                      <a:pt x="245" y="18"/>
                    </a:lnTo>
                    <a:lnTo>
                      <a:pt x="246" y="19"/>
                    </a:lnTo>
                    <a:lnTo>
                      <a:pt x="245" y="19"/>
                    </a:lnTo>
                    <a:lnTo>
                      <a:pt x="245" y="21"/>
                    </a:lnTo>
                    <a:lnTo>
                      <a:pt x="245" y="22"/>
                    </a:lnTo>
                    <a:lnTo>
                      <a:pt x="245" y="23"/>
                    </a:lnTo>
                    <a:lnTo>
                      <a:pt x="244" y="23"/>
                    </a:lnTo>
                    <a:lnTo>
                      <a:pt x="244" y="22"/>
                    </a:lnTo>
                    <a:lnTo>
                      <a:pt x="244" y="23"/>
                    </a:lnTo>
                    <a:lnTo>
                      <a:pt x="245" y="23"/>
                    </a:lnTo>
                    <a:lnTo>
                      <a:pt x="245" y="24"/>
                    </a:lnTo>
                    <a:lnTo>
                      <a:pt x="245" y="25"/>
                    </a:lnTo>
                    <a:lnTo>
                      <a:pt x="245" y="26"/>
                    </a:lnTo>
                    <a:lnTo>
                      <a:pt x="245" y="27"/>
                    </a:lnTo>
                    <a:lnTo>
                      <a:pt x="246" y="27"/>
                    </a:lnTo>
                    <a:lnTo>
                      <a:pt x="246" y="28"/>
                    </a:lnTo>
                    <a:lnTo>
                      <a:pt x="245" y="28"/>
                    </a:lnTo>
                    <a:lnTo>
                      <a:pt x="246" y="28"/>
                    </a:lnTo>
                    <a:lnTo>
                      <a:pt x="246" y="29"/>
                    </a:lnTo>
                    <a:lnTo>
                      <a:pt x="245" y="29"/>
                    </a:lnTo>
                    <a:lnTo>
                      <a:pt x="246" y="30"/>
                    </a:lnTo>
                    <a:lnTo>
                      <a:pt x="247" y="31"/>
                    </a:lnTo>
                    <a:lnTo>
                      <a:pt x="246" y="31"/>
                    </a:lnTo>
                    <a:lnTo>
                      <a:pt x="247" y="31"/>
                    </a:lnTo>
                    <a:lnTo>
                      <a:pt x="247" y="32"/>
                    </a:lnTo>
                    <a:lnTo>
                      <a:pt x="246" y="32"/>
                    </a:lnTo>
                    <a:lnTo>
                      <a:pt x="247" y="32"/>
                    </a:lnTo>
                    <a:lnTo>
                      <a:pt x="246" y="32"/>
                    </a:lnTo>
                    <a:lnTo>
                      <a:pt x="247" y="32"/>
                    </a:lnTo>
                    <a:lnTo>
                      <a:pt x="247" y="34"/>
                    </a:lnTo>
                    <a:lnTo>
                      <a:pt x="247" y="32"/>
                    </a:lnTo>
                    <a:lnTo>
                      <a:pt x="247" y="34"/>
                    </a:lnTo>
                    <a:lnTo>
                      <a:pt x="249" y="34"/>
                    </a:lnTo>
                    <a:lnTo>
                      <a:pt x="250" y="34"/>
                    </a:lnTo>
                    <a:lnTo>
                      <a:pt x="250" y="35"/>
                    </a:lnTo>
                    <a:lnTo>
                      <a:pt x="249" y="35"/>
                    </a:lnTo>
                    <a:lnTo>
                      <a:pt x="250" y="35"/>
                    </a:lnTo>
                    <a:lnTo>
                      <a:pt x="250" y="36"/>
                    </a:lnTo>
                    <a:lnTo>
                      <a:pt x="251" y="37"/>
                    </a:lnTo>
                    <a:lnTo>
                      <a:pt x="251" y="36"/>
                    </a:lnTo>
                    <a:lnTo>
                      <a:pt x="251" y="37"/>
                    </a:lnTo>
                    <a:lnTo>
                      <a:pt x="252" y="37"/>
                    </a:lnTo>
                    <a:lnTo>
                      <a:pt x="253" y="37"/>
                    </a:lnTo>
                    <a:lnTo>
                      <a:pt x="253" y="38"/>
                    </a:lnTo>
                    <a:lnTo>
                      <a:pt x="254" y="38"/>
                    </a:lnTo>
                    <a:lnTo>
                      <a:pt x="255" y="38"/>
                    </a:lnTo>
                    <a:lnTo>
                      <a:pt x="255" y="39"/>
                    </a:lnTo>
                    <a:lnTo>
                      <a:pt x="256" y="39"/>
                    </a:lnTo>
                    <a:lnTo>
                      <a:pt x="256" y="40"/>
                    </a:lnTo>
                    <a:lnTo>
                      <a:pt x="256" y="41"/>
                    </a:lnTo>
                    <a:lnTo>
                      <a:pt x="257" y="41"/>
                    </a:lnTo>
                    <a:lnTo>
                      <a:pt x="257" y="42"/>
                    </a:lnTo>
                    <a:lnTo>
                      <a:pt x="258" y="43"/>
                    </a:lnTo>
                    <a:lnTo>
                      <a:pt x="258" y="42"/>
                    </a:lnTo>
                    <a:lnTo>
                      <a:pt x="258" y="43"/>
                    </a:lnTo>
                    <a:lnTo>
                      <a:pt x="258" y="44"/>
                    </a:lnTo>
                    <a:lnTo>
                      <a:pt x="258" y="46"/>
                    </a:lnTo>
                    <a:lnTo>
                      <a:pt x="258" y="47"/>
                    </a:lnTo>
                    <a:lnTo>
                      <a:pt x="258" y="48"/>
                    </a:lnTo>
                    <a:lnTo>
                      <a:pt x="258" y="49"/>
                    </a:lnTo>
                    <a:lnTo>
                      <a:pt x="259" y="49"/>
                    </a:lnTo>
                    <a:lnTo>
                      <a:pt x="259" y="50"/>
                    </a:lnTo>
                    <a:lnTo>
                      <a:pt x="259" y="51"/>
                    </a:lnTo>
                    <a:lnTo>
                      <a:pt x="258" y="51"/>
                    </a:lnTo>
                    <a:lnTo>
                      <a:pt x="258" y="52"/>
                    </a:lnTo>
                    <a:lnTo>
                      <a:pt x="257" y="52"/>
                    </a:lnTo>
                    <a:lnTo>
                      <a:pt x="257" y="53"/>
                    </a:lnTo>
                    <a:lnTo>
                      <a:pt x="258" y="53"/>
                    </a:lnTo>
                    <a:lnTo>
                      <a:pt x="258" y="54"/>
                    </a:lnTo>
                    <a:lnTo>
                      <a:pt x="258" y="55"/>
                    </a:lnTo>
                    <a:lnTo>
                      <a:pt x="259" y="55"/>
                    </a:lnTo>
                    <a:lnTo>
                      <a:pt x="259" y="56"/>
                    </a:lnTo>
                    <a:lnTo>
                      <a:pt x="259" y="57"/>
                    </a:lnTo>
                    <a:lnTo>
                      <a:pt x="260" y="57"/>
                    </a:lnTo>
                    <a:lnTo>
                      <a:pt x="260" y="59"/>
                    </a:lnTo>
                    <a:lnTo>
                      <a:pt x="260" y="60"/>
                    </a:lnTo>
                    <a:lnTo>
                      <a:pt x="260" y="61"/>
                    </a:lnTo>
                    <a:lnTo>
                      <a:pt x="260" y="62"/>
                    </a:lnTo>
                    <a:lnTo>
                      <a:pt x="260" y="63"/>
                    </a:lnTo>
                    <a:lnTo>
                      <a:pt x="262" y="63"/>
                    </a:lnTo>
                    <a:lnTo>
                      <a:pt x="262" y="64"/>
                    </a:lnTo>
                    <a:lnTo>
                      <a:pt x="262" y="65"/>
                    </a:lnTo>
                    <a:lnTo>
                      <a:pt x="263" y="66"/>
                    </a:lnTo>
                    <a:lnTo>
                      <a:pt x="262" y="66"/>
                    </a:lnTo>
                    <a:lnTo>
                      <a:pt x="262" y="67"/>
                    </a:lnTo>
                    <a:lnTo>
                      <a:pt x="263" y="67"/>
                    </a:lnTo>
                    <a:lnTo>
                      <a:pt x="263" y="68"/>
                    </a:lnTo>
                    <a:lnTo>
                      <a:pt x="264" y="69"/>
                    </a:lnTo>
                    <a:lnTo>
                      <a:pt x="265" y="69"/>
                    </a:lnTo>
                    <a:lnTo>
                      <a:pt x="265" y="70"/>
                    </a:lnTo>
                    <a:lnTo>
                      <a:pt x="266" y="70"/>
                    </a:lnTo>
                    <a:lnTo>
                      <a:pt x="266" y="72"/>
                    </a:lnTo>
                    <a:lnTo>
                      <a:pt x="267" y="72"/>
                    </a:lnTo>
                    <a:lnTo>
                      <a:pt x="267" y="70"/>
                    </a:lnTo>
                    <a:lnTo>
                      <a:pt x="267" y="72"/>
                    </a:lnTo>
                    <a:lnTo>
                      <a:pt x="268" y="73"/>
                    </a:lnTo>
                    <a:lnTo>
                      <a:pt x="268" y="74"/>
                    </a:lnTo>
                    <a:lnTo>
                      <a:pt x="267" y="74"/>
                    </a:lnTo>
                    <a:lnTo>
                      <a:pt x="268" y="74"/>
                    </a:lnTo>
                    <a:lnTo>
                      <a:pt x="268" y="75"/>
                    </a:lnTo>
                    <a:lnTo>
                      <a:pt x="269" y="75"/>
                    </a:lnTo>
                    <a:lnTo>
                      <a:pt x="270" y="75"/>
                    </a:lnTo>
                    <a:lnTo>
                      <a:pt x="270" y="76"/>
                    </a:lnTo>
                    <a:lnTo>
                      <a:pt x="269" y="76"/>
                    </a:lnTo>
                    <a:lnTo>
                      <a:pt x="269" y="77"/>
                    </a:lnTo>
                    <a:lnTo>
                      <a:pt x="270" y="77"/>
                    </a:lnTo>
                    <a:lnTo>
                      <a:pt x="270" y="78"/>
                    </a:lnTo>
                    <a:lnTo>
                      <a:pt x="271" y="78"/>
                    </a:lnTo>
                    <a:lnTo>
                      <a:pt x="271" y="79"/>
                    </a:lnTo>
                    <a:lnTo>
                      <a:pt x="272" y="79"/>
                    </a:lnTo>
                    <a:lnTo>
                      <a:pt x="272" y="80"/>
                    </a:lnTo>
                    <a:lnTo>
                      <a:pt x="272" y="79"/>
                    </a:lnTo>
                    <a:lnTo>
                      <a:pt x="273" y="79"/>
                    </a:lnTo>
                    <a:lnTo>
                      <a:pt x="273" y="80"/>
                    </a:lnTo>
                    <a:lnTo>
                      <a:pt x="273" y="81"/>
                    </a:lnTo>
                    <a:lnTo>
                      <a:pt x="273" y="82"/>
                    </a:lnTo>
                    <a:lnTo>
                      <a:pt x="273" y="83"/>
                    </a:lnTo>
                    <a:lnTo>
                      <a:pt x="275" y="83"/>
                    </a:lnTo>
                    <a:lnTo>
                      <a:pt x="273" y="83"/>
                    </a:lnTo>
                    <a:lnTo>
                      <a:pt x="275" y="83"/>
                    </a:lnTo>
                    <a:lnTo>
                      <a:pt x="275" y="85"/>
                    </a:lnTo>
                    <a:lnTo>
                      <a:pt x="276" y="85"/>
                    </a:lnTo>
                    <a:lnTo>
                      <a:pt x="276" y="86"/>
                    </a:lnTo>
                    <a:lnTo>
                      <a:pt x="276" y="87"/>
                    </a:lnTo>
                    <a:lnTo>
                      <a:pt x="277" y="89"/>
                    </a:lnTo>
                    <a:lnTo>
                      <a:pt x="278" y="89"/>
                    </a:lnTo>
                    <a:lnTo>
                      <a:pt x="278" y="90"/>
                    </a:lnTo>
                    <a:lnTo>
                      <a:pt x="279" y="90"/>
                    </a:lnTo>
                    <a:lnTo>
                      <a:pt x="280" y="90"/>
                    </a:lnTo>
                    <a:lnTo>
                      <a:pt x="280" y="91"/>
                    </a:lnTo>
                    <a:lnTo>
                      <a:pt x="280" y="92"/>
                    </a:lnTo>
                    <a:lnTo>
                      <a:pt x="281" y="93"/>
                    </a:lnTo>
                    <a:lnTo>
                      <a:pt x="281" y="94"/>
                    </a:lnTo>
                    <a:lnTo>
                      <a:pt x="282" y="95"/>
                    </a:lnTo>
                    <a:lnTo>
                      <a:pt x="283" y="96"/>
                    </a:lnTo>
                    <a:lnTo>
                      <a:pt x="283" y="98"/>
                    </a:lnTo>
                    <a:lnTo>
                      <a:pt x="282" y="98"/>
                    </a:lnTo>
                    <a:lnTo>
                      <a:pt x="282" y="99"/>
                    </a:lnTo>
                    <a:lnTo>
                      <a:pt x="281" y="99"/>
                    </a:lnTo>
                    <a:lnTo>
                      <a:pt x="281" y="100"/>
                    </a:lnTo>
                    <a:lnTo>
                      <a:pt x="280" y="101"/>
                    </a:lnTo>
                    <a:lnTo>
                      <a:pt x="279" y="101"/>
                    </a:lnTo>
                    <a:lnTo>
                      <a:pt x="279" y="102"/>
                    </a:lnTo>
                    <a:lnTo>
                      <a:pt x="278" y="102"/>
                    </a:lnTo>
                    <a:lnTo>
                      <a:pt x="278" y="103"/>
                    </a:lnTo>
                    <a:lnTo>
                      <a:pt x="277" y="103"/>
                    </a:lnTo>
                    <a:lnTo>
                      <a:pt x="277" y="104"/>
                    </a:lnTo>
                    <a:lnTo>
                      <a:pt x="276" y="104"/>
                    </a:lnTo>
                    <a:lnTo>
                      <a:pt x="276" y="105"/>
                    </a:lnTo>
                    <a:lnTo>
                      <a:pt x="276" y="106"/>
                    </a:lnTo>
                    <a:lnTo>
                      <a:pt x="276" y="107"/>
                    </a:lnTo>
                    <a:lnTo>
                      <a:pt x="277" y="107"/>
                    </a:lnTo>
                    <a:lnTo>
                      <a:pt x="277" y="108"/>
                    </a:lnTo>
                    <a:lnTo>
                      <a:pt x="277" y="109"/>
                    </a:lnTo>
                    <a:lnTo>
                      <a:pt x="278" y="111"/>
                    </a:lnTo>
                    <a:lnTo>
                      <a:pt x="278" y="112"/>
                    </a:lnTo>
                    <a:lnTo>
                      <a:pt x="277" y="112"/>
                    </a:lnTo>
                    <a:lnTo>
                      <a:pt x="278" y="112"/>
                    </a:lnTo>
                    <a:lnTo>
                      <a:pt x="278" y="113"/>
                    </a:lnTo>
                    <a:lnTo>
                      <a:pt x="278" y="114"/>
                    </a:lnTo>
                    <a:lnTo>
                      <a:pt x="278" y="113"/>
                    </a:lnTo>
                    <a:lnTo>
                      <a:pt x="279" y="113"/>
                    </a:lnTo>
                    <a:lnTo>
                      <a:pt x="280" y="113"/>
                    </a:lnTo>
                    <a:lnTo>
                      <a:pt x="280" y="114"/>
                    </a:lnTo>
                    <a:lnTo>
                      <a:pt x="281" y="114"/>
                    </a:lnTo>
                    <a:lnTo>
                      <a:pt x="280" y="114"/>
                    </a:lnTo>
                    <a:lnTo>
                      <a:pt x="280" y="115"/>
                    </a:lnTo>
                    <a:lnTo>
                      <a:pt x="281" y="115"/>
                    </a:lnTo>
                    <a:lnTo>
                      <a:pt x="281" y="116"/>
                    </a:lnTo>
                    <a:lnTo>
                      <a:pt x="282" y="116"/>
                    </a:lnTo>
                    <a:lnTo>
                      <a:pt x="283" y="116"/>
                    </a:lnTo>
                    <a:lnTo>
                      <a:pt x="283" y="117"/>
                    </a:lnTo>
                    <a:lnTo>
                      <a:pt x="284" y="117"/>
                    </a:lnTo>
                    <a:lnTo>
                      <a:pt x="285" y="117"/>
                    </a:lnTo>
                    <a:lnTo>
                      <a:pt x="285" y="118"/>
                    </a:lnTo>
                    <a:lnTo>
                      <a:pt x="285" y="119"/>
                    </a:lnTo>
                    <a:lnTo>
                      <a:pt x="286" y="119"/>
                    </a:lnTo>
                    <a:lnTo>
                      <a:pt x="288" y="119"/>
                    </a:lnTo>
                    <a:lnTo>
                      <a:pt x="288" y="120"/>
                    </a:lnTo>
                    <a:lnTo>
                      <a:pt x="288" y="121"/>
                    </a:lnTo>
                    <a:lnTo>
                      <a:pt x="289" y="121"/>
                    </a:lnTo>
                    <a:lnTo>
                      <a:pt x="289" y="122"/>
                    </a:lnTo>
                    <a:lnTo>
                      <a:pt x="289" y="124"/>
                    </a:lnTo>
                    <a:lnTo>
                      <a:pt x="288" y="124"/>
                    </a:lnTo>
                    <a:lnTo>
                      <a:pt x="289" y="125"/>
                    </a:lnTo>
                    <a:lnTo>
                      <a:pt x="289" y="126"/>
                    </a:lnTo>
                    <a:lnTo>
                      <a:pt x="290" y="127"/>
                    </a:lnTo>
                    <a:lnTo>
                      <a:pt x="291" y="128"/>
                    </a:lnTo>
                    <a:lnTo>
                      <a:pt x="291" y="129"/>
                    </a:lnTo>
                    <a:lnTo>
                      <a:pt x="292" y="130"/>
                    </a:lnTo>
                    <a:lnTo>
                      <a:pt x="292" y="131"/>
                    </a:lnTo>
                    <a:lnTo>
                      <a:pt x="293" y="131"/>
                    </a:lnTo>
                    <a:lnTo>
                      <a:pt x="293" y="132"/>
                    </a:lnTo>
                    <a:lnTo>
                      <a:pt x="293" y="133"/>
                    </a:lnTo>
                    <a:lnTo>
                      <a:pt x="292" y="133"/>
                    </a:lnTo>
                    <a:lnTo>
                      <a:pt x="292" y="134"/>
                    </a:lnTo>
                    <a:lnTo>
                      <a:pt x="293" y="134"/>
                    </a:lnTo>
                    <a:lnTo>
                      <a:pt x="293" y="136"/>
                    </a:lnTo>
                    <a:lnTo>
                      <a:pt x="292" y="134"/>
                    </a:lnTo>
                    <a:lnTo>
                      <a:pt x="291" y="136"/>
                    </a:lnTo>
                    <a:lnTo>
                      <a:pt x="292" y="136"/>
                    </a:lnTo>
                    <a:lnTo>
                      <a:pt x="292" y="137"/>
                    </a:lnTo>
                    <a:lnTo>
                      <a:pt x="291" y="137"/>
                    </a:lnTo>
                    <a:lnTo>
                      <a:pt x="292" y="138"/>
                    </a:lnTo>
                    <a:lnTo>
                      <a:pt x="291" y="138"/>
                    </a:lnTo>
                    <a:lnTo>
                      <a:pt x="290" y="138"/>
                    </a:lnTo>
                    <a:lnTo>
                      <a:pt x="290" y="139"/>
                    </a:lnTo>
                    <a:lnTo>
                      <a:pt x="289" y="140"/>
                    </a:lnTo>
                    <a:lnTo>
                      <a:pt x="290" y="140"/>
                    </a:lnTo>
                    <a:lnTo>
                      <a:pt x="290" y="141"/>
                    </a:lnTo>
                    <a:lnTo>
                      <a:pt x="290" y="142"/>
                    </a:lnTo>
                    <a:lnTo>
                      <a:pt x="290" y="143"/>
                    </a:lnTo>
                    <a:lnTo>
                      <a:pt x="289" y="142"/>
                    </a:lnTo>
                    <a:lnTo>
                      <a:pt x="288" y="142"/>
                    </a:lnTo>
                    <a:lnTo>
                      <a:pt x="289" y="142"/>
                    </a:lnTo>
                    <a:lnTo>
                      <a:pt x="288" y="143"/>
                    </a:lnTo>
                    <a:lnTo>
                      <a:pt x="288" y="144"/>
                    </a:lnTo>
                    <a:lnTo>
                      <a:pt x="286" y="144"/>
                    </a:lnTo>
                    <a:lnTo>
                      <a:pt x="285" y="145"/>
                    </a:lnTo>
                    <a:lnTo>
                      <a:pt x="285" y="146"/>
                    </a:lnTo>
                    <a:lnTo>
                      <a:pt x="284" y="147"/>
                    </a:lnTo>
                    <a:lnTo>
                      <a:pt x="283" y="147"/>
                    </a:lnTo>
                    <a:lnTo>
                      <a:pt x="283" y="149"/>
                    </a:lnTo>
                    <a:lnTo>
                      <a:pt x="282" y="150"/>
                    </a:lnTo>
                    <a:lnTo>
                      <a:pt x="282" y="151"/>
                    </a:lnTo>
                    <a:lnTo>
                      <a:pt x="281" y="151"/>
                    </a:lnTo>
                    <a:lnTo>
                      <a:pt x="280" y="151"/>
                    </a:lnTo>
                    <a:lnTo>
                      <a:pt x="281" y="152"/>
                    </a:lnTo>
                    <a:lnTo>
                      <a:pt x="280" y="152"/>
                    </a:lnTo>
                    <a:lnTo>
                      <a:pt x="279" y="152"/>
                    </a:lnTo>
                    <a:lnTo>
                      <a:pt x="279" y="153"/>
                    </a:lnTo>
                    <a:lnTo>
                      <a:pt x="280" y="153"/>
                    </a:lnTo>
                    <a:lnTo>
                      <a:pt x="280" y="154"/>
                    </a:lnTo>
                    <a:lnTo>
                      <a:pt x="280" y="155"/>
                    </a:lnTo>
                    <a:lnTo>
                      <a:pt x="280" y="156"/>
                    </a:lnTo>
                    <a:lnTo>
                      <a:pt x="280" y="157"/>
                    </a:lnTo>
                    <a:lnTo>
                      <a:pt x="280" y="158"/>
                    </a:lnTo>
                    <a:lnTo>
                      <a:pt x="281" y="158"/>
                    </a:lnTo>
                    <a:lnTo>
                      <a:pt x="281" y="159"/>
                    </a:lnTo>
                    <a:lnTo>
                      <a:pt x="281" y="160"/>
                    </a:lnTo>
                    <a:lnTo>
                      <a:pt x="280" y="160"/>
                    </a:lnTo>
                    <a:lnTo>
                      <a:pt x="280" y="159"/>
                    </a:lnTo>
                    <a:lnTo>
                      <a:pt x="280" y="158"/>
                    </a:lnTo>
                    <a:lnTo>
                      <a:pt x="279" y="158"/>
                    </a:lnTo>
                    <a:lnTo>
                      <a:pt x="279" y="157"/>
                    </a:lnTo>
                    <a:lnTo>
                      <a:pt x="278" y="157"/>
                    </a:lnTo>
                    <a:lnTo>
                      <a:pt x="278" y="158"/>
                    </a:lnTo>
                    <a:lnTo>
                      <a:pt x="279" y="158"/>
                    </a:lnTo>
                    <a:lnTo>
                      <a:pt x="280" y="159"/>
                    </a:lnTo>
                    <a:lnTo>
                      <a:pt x="280" y="160"/>
                    </a:lnTo>
                    <a:lnTo>
                      <a:pt x="281" y="160"/>
                    </a:lnTo>
                    <a:lnTo>
                      <a:pt x="281" y="159"/>
                    </a:lnTo>
                    <a:lnTo>
                      <a:pt x="281" y="160"/>
                    </a:lnTo>
                    <a:lnTo>
                      <a:pt x="280" y="160"/>
                    </a:lnTo>
                    <a:lnTo>
                      <a:pt x="280" y="162"/>
                    </a:lnTo>
                    <a:lnTo>
                      <a:pt x="280" y="163"/>
                    </a:lnTo>
                    <a:lnTo>
                      <a:pt x="279" y="163"/>
                    </a:lnTo>
                    <a:lnTo>
                      <a:pt x="280" y="163"/>
                    </a:lnTo>
                    <a:lnTo>
                      <a:pt x="279" y="163"/>
                    </a:lnTo>
                    <a:lnTo>
                      <a:pt x="280" y="164"/>
                    </a:lnTo>
                    <a:lnTo>
                      <a:pt x="280" y="165"/>
                    </a:lnTo>
                    <a:lnTo>
                      <a:pt x="279" y="165"/>
                    </a:lnTo>
                    <a:lnTo>
                      <a:pt x="279" y="164"/>
                    </a:lnTo>
                    <a:lnTo>
                      <a:pt x="278" y="163"/>
                    </a:lnTo>
                    <a:lnTo>
                      <a:pt x="278" y="162"/>
                    </a:lnTo>
                    <a:lnTo>
                      <a:pt x="277" y="162"/>
                    </a:lnTo>
                    <a:lnTo>
                      <a:pt x="277" y="163"/>
                    </a:lnTo>
                    <a:lnTo>
                      <a:pt x="277" y="162"/>
                    </a:lnTo>
                    <a:lnTo>
                      <a:pt x="278" y="163"/>
                    </a:lnTo>
                    <a:lnTo>
                      <a:pt x="278" y="164"/>
                    </a:lnTo>
                    <a:lnTo>
                      <a:pt x="279" y="164"/>
                    </a:lnTo>
                    <a:lnTo>
                      <a:pt x="279" y="165"/>
                    </a:lnTo>
                    <a:lnTo>
                      <a:pt x="280" y="166"/>
                    </a:lnTo>
                    <a:lnTo>
                      <a:pt x="281" y="166"/>
                    </a:lnTo>
                    <a:lnTo>
                      <a:pt x="281" y="167"/>
                    </a:lnTo>
                    <a:lnTo>
                      <a:pt x="282" y="168"/>
                    </a:lnTo>
                    <a:lnTo>
                      <a:pt x="283" y="168"/>
                    </a:lnTo>
                    <a:lnTo>
                      <a:pt x="283" y="169"/>
                    </a:lnTo>
                    <a:lnTo>
                      <a:pt x="282" y="168"/>
                    </a:lnTo>
                    <a:lnTo>
                      <a:pt x="281" y="169"/>
                    </a:lnTo>
                    <a:lnTo>
                      <a:pt x="282" y="169"/>
                    </a:lnTo>
                    <a:lnTo>
                      <a:pt x="282" y="170"/>
                    </a:lnTo>
                    <a:lnTo>
                      <a:pt x="283" y="170"/>
                    </a:lnTo>
                    <a:lnTo>
                      <a:pt x="284" y="170"/>
                    </a:lnTo>
                    <a:lnTo>
                      <a:pt x="285" y="170"/>
                    </a:lnTo>
                    <a:lnTo>
                      <a:pt x="285" y="171"/>
                    </a:lnTo>
                    <a:lnTo>
                      <a:pt x="286" y="171"/>
                    </a:lnTo>
                    <a:lnTo>
                      <a:pt x="286" y="172"/>
                    </a:lnTo>
                    <a:lnTo>
                      <a:pt x="286" y="173"/>
                    </a:lnTo>
                    <a:lnTo>
                      <a:pt x="286" y="175"/>
                    </a:lnTo>
                    <a:lnTo>
                      <a:pt x="288" y="175"/>
                    </a:lnTo>
                    <a:lnTo>
                      <a:pt x="289" y="176"/>
                    </a:lnTo>
                    <a:lnTo>
                      <a:pt x="289" y="177"/>
                    </a:lnTo>
                    <a:lnTo>
                      <a:pt x="290" y="177"/>
                    </a:lnTo>
                    <a:lnTo>
                      <a:pt x="290" y="178"/>
                    </a:lnTo>
                    <a:lnTo>
                      <a:pt x="290" y="179"/>
                    </a:lnTo>
                    <a:lnTo>
                      <a:pt x="291" y="179"/>
                    </a:lnTo>
                    <a:lnTo>
                      <a:pt x="291" y="180"/>
                    </a:lnTo>
                    <a:lnTo>
                      <a:pt x="292" y="180"/>
                    </a:lnTo>
                    <a:lnTo>
                      <a:pt x="293" y="180"/>
                    </a:lnTo>
                    <a:lnTo>
                      <a:pt x="294" y="180"/>
                    </a:lnTo>
                    <a:lnTo>
                      <a:pt x="294" y="181"/>
                    </a:lnTo>
                    <a:lnTo>
                      <a:pt x="293" y="181"/>
                    </a:lnTo>
                    <a:lnTo>
                      <a:pt x="293" y="182"/>
                    </a:lnTo>
                    <a:lnTo>
                      <a:pt x="293" y="183"/>
                    </a:lnTo>
                    <a:lnTo>
                      <a:pt x="293" y="184"/>
                    </a:lnTo>
                    <a:lnTo>
                      <a:pt x="294" y="185"/>
                    </a:lnTo>
                    <a:lnTo>
                      <a:pt x="295" y="185"/>
                    </a:lnTo>
                    <a:lnTo>
                      <a:pt x="296" y="186"/>
                    </a:lnTo>
                    <a:lnTo>
                      <a:pt x="297" y="186"/>
                    </a:lnTo>
                    <a:lnTo>
                      <a:pt x="297" y="188"/>
                    </a:lnTo>
                    <a:lnTo>
                      <a:pt x="297" y="189"/>
                    </a:lnTo>
                    <a:lnTo>
                      <a:pt x="298" y="189"/>
                    </a:lnTo>
                    <a:lnTo>
                      <a:pt x="298" y="190"/>
                    </a:lnTo>
                    <a:lnTo>
                      <a:pt x="299" y="190"/>
                    </a:lnTo>
                    <a:lnTo>
                      <a:pt x="301" y="191"/>
                    </a:lnTo>
                    <a:lnTo>
                      <a:pt x="301" y="192"/>
                    </a:lnTo>
                    <a:lnTo>
                      <a:pt x="302" y="192"/>
                    </a:lnTo>
                    <a:lnTo>
                      <a:pt x="299" y="192"/>
                    </a:lnTo>
                    <a:lnTo>
                      <a:pt x="285" y="192"/>
                    </a:lnTo>
                    <a:lnTo>
                      <a:pt x="284" y="192"/>
                    </a:lnTo>
                    <a:lnTo>
                      <a:pt x="283" y="192"/>
                    </a:lnTo>
                    <a:lnTo>
                      <a:pt x="279" y="192"/>
                    </a:lnTo>
                    <a:lnTo>
                      <a:pt x="270" y="192"/>
                    </a:lnTo>
                    <a:lnTo>
                      <a:pt x="267" y="192"/>
                    </a:lnTo>
                    <a:lnTo>
                      <a:pt x="265" y="192"/>
                    </a:lnTo>
                    <a:lnTo>
                      <a:pt x="260" y="192"/>
                    </a:lnTo>
                    <a:lnTo>
                      <a:pt x="241" y="192"/>
                    </a:lnTo>
                    <a:lnTo>
                      <a:pt x="234" y="192"/>
                    </a:lnTo>
                    <a:lnTo>
                      <a:pt x="230" y="192"/>
                    </a:lnTo>
                    <a:lnTo>
                      <a:pt x="230" y="241"/>
                    </a:lnTo>
                    <a:lnTo>
                      <a:pt x="230" y="242"/>
                    </a:lnTo>
                    <a:lnTo>
                      <a:pt x="229" y="241"/>
                    </a:lnTo>
                    <a:lnTo>
                      <a:pt x="228" y="239"/>
                    </a:lnTo>
                    <a:lnTo>
                      <a:pt x="227" y="237"/>
                    </a:lnTo>
                    <a:lnTo>
                      <a:pt x="226" y="236"/>
                    </a:lnTo>
                    <a:lnTo>
                      <a:pt x="225" y="236"/>
                    </a:lnTo>
                    <a:lnTo>
                      <a:pt x="225" y="237"/>
                    </a:lnTo>
                    <a:lnTo>
                      <a:pt x="223" y="236"/>
                    </a:lnTo>
                    <a:lnTo>
                      <a:pt x="221" y="236"/>
                    </a:lnTo>
                    <a:lnTo>
                      <a:pt x="221" y="235"/>
                    </a:lnTo>
                    <a:lnTo>
                      <a:pt x="220" y="234"/>
                    </a:lnTo>
                    <a:lnTo>
                      <a:pt x="220" y="235"/>
                    </a:lnTo>
                    <a:lnTo>
                      <a:pt x="219" y="236"/>
                    </a:lnTo>
                    <a:lnTo>
                      <a:pt x="218" y="237"/>
                    </a:lnTo>
                    <a:lnTo>
                      <a:pt x="217" y="239"/>
                    </a:lnTo>
                    <a:lnTo>
                      <a:pt x="216" y="240"/>
                    </a:lnTo>
                    <a:lnTo>
                      <a:pt x="216" y="241"/>
                    </a:lnTo>
                    <a:lnTo>
                      <a:pt x="215" y="242"/>
                    </a:lnTo>
                    <a:lnTo>
                      <a:pt x="215" y="243"/>
                    </a:lnTo>
                    <a:lnTo>
                      <a:pt x="214" y="244"/>
                    </a:lnTo>
                    <a:lnTo>
                      <a:pt x="214" y="245"/>
                    </a:lnTo>
                    <a:lnTo>
                      <a:pt x="213" y="247"/>
                    </a:lnTo>
                    <a:lnTo>
                      <a:pt x="211" y="248"/>
                    </a:lnTo>
                    <a:lnTo>
                      <a:pt x="209" y="248"/>
                    </a:lnTo>
                    <a:lnTo>
                      <a:pt x="208" y="248"/>
                    </a:lnTo>
                    <a:lnTo>
                      <a:pt x="207" y="248"/>
                    </a:lnTo>
                    <a:lnTo>
                      <a:pt x="207" y="249"/>
                    </a:lnTo>
                    <a:lnTo>
                      <a:pt x="206" y="250"/>
                    </a:lnTo>
                    <a:lnTo>
                      <a:pt x="205" y="252"/>
                    </a:lnTo>
                    <a:lnTo>
                      <a:pt x="204" y="253"/>
                    </a:lnTo>
                    <a:lnTo>
                      <a:pt x="205" y="254"/>
                    </a:lnTo>
                    <a:lnTo>
                      <a:pt x="204" y="254"/>
                    </a:lnTo>
                    <a:lnTo>
                      <a:pt x="203" y="254"/>
                    </a:lnTo>
                    <a:lnTo>
                      <a:pt x="202" y="252"/>
                    </a:lnTo>
                    <a:lnTo>
                      <a:pt x="201" y="252"/>
                    </a:lnTo>
                    <a:lnTo>
                      <a:pt x="200" y="252"/>
                    </a:lnTo>
                    <a:lnTo>
                      <a:pt x="198" y="252"/>
                    </a:lnTo>
                    <a:lnTo>
                      <a:pt x="196" y="252"/>
                    </a:lnTo>
                    <a:lnTo>
                      <a:pt x="194" y="249"/>
                    </a:lnTo>
                    <a:lnTo>
                      <a:pt x="193" y="249"/>
                    </a:lnTo>
                    <a:lnTo>
                      <a:pt x="192" y="249"/>
                    </a:lnTo>
                    <a:lnTo>
                      <a:pt x="192" y="247"/>
                    </a:lnTo>
                    <a:lnTo>
                      <a:pt x="192" y="246"/>
                    </a:lnTo>
                    <a:lnTo>
                      <a:pt x="191" y="246"/>
                    </a:lnTo>
                    <a:lnTo>
                      <a:pt x="190" y="246"/>
                    </a:lnTo>
                    <a:lnTo>
                      <a:pt x="189" y="246"/>
                    </a:lnTo>
                    <a:lnTo>
                      <a:pt x="189" y="247"/>
                    </a:lnTo>
                    <a:lnTo>
                      <a:pt x="187" y="248"/>
                    </a:lnTo>
                    <a:lnTo>
                      <a:pt x="186" y="248"/>
                    </a:lnTo>
                    <a:lnTo>
                      <a:pt x="186" y="249"/>
                    </a:lnTo>
                    <a:lnTo>
                      <a:pt x="185" y="249"/>
                    </a:lnTo>
                    <a:lnTo>
                      <a:pt x="185" y="250"/>
                    </a:lnTo>
                    <a:lnTo>
                      <a:pt x="183" y="252"/>
                    </a:lnTo>
                    <a:lnTo>
                      <a:pt x="182" y="252"/>
                    </a:lnTo>
                    <a:lnTo>
                      <a:pt x="181" y="253"/>
                    </a:lnTo>
                    <a:lnTo>
                      <a:pt x="180" y="253"/>
                    </a:lnTo>
                    <a:lnTo>
                      <a:pt x="179" y="253"/>
                    </a:lnTo>
                    <a:lnTo>
                      <a:pt x="179" y="252"/>
                    </a:lnTo>
                    <a:lnTo>
                      <a:pt x="179" y="250"/>
                    </a:lnTo>
                    <a:lnTo>
                      <a:pt x="178" y="249"/>
                    </a:lnTo>
                    <a:lnTo>
                      <a:pt x="177" y="249"/>
                    </a:lnTo>
                    <a:lnTo>
                      <a:pt x="176" y="249"/>
                    </a:lnTo>
                    <a:lnTo>
                      <a:pt x="175" y="248"/>
                    </a:lnTo>
                    <a:lnTo>
                      <a:pt x="174" y="248"/>
                    </a:lnTo>
                    <a:lnTo>
                      <a:pt x="173" y="248"/>
                    </a:lnTo>
                    <a:lnTo>
                      <a:pt x="172" y="248"/>
                    </a:lnTo>
                    <a:lnTo>
                      <a:pt x="167" y="247"/>
                    </a:lnTo>
                    <a:lnTo>
                      <a:pt x="166" y="247"/>
                    </a:lnTo>
                    <a:lnTo>
                      <a:pt x="165" y="246"/>
                    </a:lnTo>
                    <a:lnTo>
                      <a:pt x="164" y="246"/>
                    </a:lnTo>
                    <a:lnTo>
                      <a:pt x="163" y="245"/>
                    </a:lnTo>
                    <a:lnTo>
                      <a:pt x="162" y="245"/>
                    </a:lnTo>
                    <a:lnTo>
                      <a:pt x="162" y="244"/>
                    </a:lnTo>
                    <a:lnTo>
                      <a:pt x="162" y="243"/>
                    </a:lnTo>
                    <a:lnTo>
                      <a:pt x="163" y="242"/>
                    </a:lnTo>
                    <a:lnTo>
                      <a:pt x="164" y="241"/>
                    </a:lnTo>
                    <a:lnTo>
                      <a:pt x="164" y="240"/>
                    </a:lnTo>
                    <a:lnTo>
                      <a:pt x="163" y="239"/>
                    </a:lnTo>
                    <a:lnTo>
                      <a:pt x="162" y="237"/>
                    </a:lnTo>
                    <a:lnTo>
                      <a:pt x="161" y="237"/>
                    </a:lnTo>
                    <a:lnTo>
                      <a:pt x="161" y="236"/>
                    </a:lnTo>
                    <a:lnTo>
                      <a:pt x="162" y="235"/>
                    </a:lnTo>
                    <a:lnTo>
                      <a:pt x="162" y="234"/>
                    </a:lnTo>
                    <a:lnTo>
                      <a:pt x="161" y="234"/>
                    </a:lnTo>
                    <a:lnTo>
                      <a:pt x="160" y="233"/>
                    </a:lnTo>
                    <a:lnTo>
                      <a:pt x="161" y="232"/>
                    </a:lnTo>
                    <a:lnTo>
                      <a:pt x="161" y="231"/>
                    </a:lnTo>
                    <a:lnTo>
                      <a:pt x="160" y="231"/>
                    </a:lnTo>
                    <a:lnTo>
                      <a:pt x="160" y="230"/>
                    </a:lnTo>
                    <a:lnTo>
                      <a:pt x="159" y="230"/>
                    </a:lnTo>
                    <a:lnTo>
                      <a:pt x="157" y="230"/>
                    </a:lnTo>
                    <a:lnTo>
                      <a:pt x="156" y="229"/>
                    </a:lnTo>
                    <a:lnTo>
                      <a:pt x="155" y="228"/>
                    </a:lnTo>
                    <a:lnTo>
                      <a:pt x="155" y="227"/>
                    </a:lnTo>
                    <a:lnTo>
                      <a:pt x="156" y="227"/>
                    </a:lnTo>
                    <a:lnTo>
                      <a:pt x="156" y="226"/>
                    </a:lnTo>
                    <a:lnTo>
                      <a:pt x="157" y="226"/>
                    </a:lnTo>
                    <a:lnTo>
                      <a:pt x="159" y="224"/>
                    </a:lnTo>
                    <a:lnTo>
                      <a:pt x="160" y="224"/>
                    </a:lnTo>
                    <a:lnTo>
                      <a:pt x="160" y="223"/>
                    </a:lnTo>
                    <a:lnTo>
                      <a:pt x="159" y="222"/>
                    </a:lnTo>
                    <a:lnTo>
                      <a:pt x="159" y="221"/>
                    </a:lnTo>
                    <a:lnTo>
                      <a:pt x="160" y="220"/>
                    </a:lnTo>
                    <a:lnTo>
                      <a:pt x="161" y="220"/>
                    </a:lnTo>
                    <a:lnTo>
                      <a:pt x="161" y="219"/>
                    </a:lnTo>
                    <a:lnTo>
                      <a:pt x="160" y="219"/>
                    </a:lnTo>
                    <a:lnTo>
                      <a:pt x="160" y="218"/>
                    </a:lnTo>
                    <a:lnTo>
                      <a:pt x="159" y="218"/>
                    </a:lnTo>
                    <a:lnTo>
                      <a:pt x="157" y="218"/>
                    </a:lnTo>
                    <a:lnTo>
                      <a:pt x="156" y="218"/>
                    </a:lnTo>
                    <a:lnTo>
                      <a:pt x="155" y="218"/>
                    </a:lnTo>
                    <a:lnTo>
                      <a:pt x="153" y="218"/>
                    </a:lnTo>
                    <a:lnTo>
                      <a:pt x="152" y="218"/>
                    </a:lnTo>
                    <a:lnTo>
                      <a:pt x="151" y="217"/>
                    </a:lnTo>
                    <a:lnTo>
                      <a:pt x="151" y="216"/>
                    </a:lnTo>
                    <a:lnTo>
                      <a:pt x="151" y="215"/>
                    </a:lnTo>
                    <a:lnTo>
                      <a:pt x="151" y="214"/>
                    </a:lnTo>
                    <a:lnTo>
                      <a:pt x="150" y="213"/>
                    </a:lnTo>
                    <a:lnTo>
                      <a:pt x="150" y="211"/>
                    </a:lnTo>
                    <a:lnTo>
                      <a:pt x="150" y="209"/>
                    </a:lnTo>
                    <a:lnTo>
                      <a:pt x="150" y="208"/>
                    </a:lnTo>
                    <a:lnTo>
                      <a:pt x="150" y="207"/>
                    </a:lnTo>
                    <a:lnTo>
                      <a:pt x="149" y="206"/>
                    </a:lnTo>
                    <a:lnTo>
                      <a:pt x="148" y="205"/>
                    </a:lnTo>
                    <a:lnTo>
                      <a:pt x="147" y="204"/>
                    </a:lnTo>
                    <a:lnTo>
                      <a:pt x="147" y="203"/>
                    </a:lnTo>
                    <a:lnTo>
                      <a:pt x="147" y="202"/>
                    </a:lnTo>
                    <a:lnTo>
                      <a:pt x="148" y="202"/>
                    </a:lnTo>
                    <a:lnTo>
                      <a:pt x="148" y="201"/>
                    </a:lnTo>
                    <a:lnTo>
                      <a:pt x="148" y="199"/>
                    </a:lnTo>
                    <a:lnTo>
                      <a:pt x="148" y="198"/>
                    </a:lnTo>
                    <a:lnTo>
                      <a:pt x="147" y="198"/>
                    </a:lnTo>
                    <a:lnTo>
                      <a:pt x="147" y="197"/>
                    </a:lnTo>
                    <a:lnTo>
                      <a:pt x="146" y="196"/>
                    </a:lnTo>
                    <a:lnTo>
                      <a:pt x="144" y="196"/>
                    </a:lnTo>
                    <a:lnTo>
                      <a:pt x="144" y="197"/>
                    </a:lnTo>
                    <a:lnTo>
                      <a:pt x="143" y="197"/>
                    </a:lnTo>
                    <a:lnTo>
                      <a:pt x="142" y="197"/>
                    </a:lnTo>
                    <a:lnTo>
                      <a:pt x="142" y="196"/>
                    </a:lnTo>
                    <a:lnTo>
                      <a:pt x="141" y="195"/>
                    </a:lnTo>
                    <a:lnTo>
                      <a:pt x="139" y="193"/>
                    </a:lnTo>
                    <a:lnTo>
                      <a:pt x="138" y="192"/>
                    </a:lnTo>
                    <a:lnTo>
                      <a:pt x="137" y="192"/>
                    </a:lnTo>
                    <a:lnTo>
                      <a:pt x="137" y="191"/>
                    </a:lnTo>
                    <a:lnTo>
                      <a:pt x="136" y="191"/>
                    </a:lnTo>
                    <a:lnTo>
                      <a:pt x="135" y="190"/>
                    </a:lnTo>
                    <a:lnTo>
                      <a:pt x="134" y="189"/>
                    </a:lnTo>
                    <a:lnTo>
                      <a:pt x="133" y="189"/>
                    </a:lnTo>
                    <a:lnTo>
                      <a:pt x="131" y="188"/>
                    </a:lnTo>
                    <a:lnTo>
                      <a:pt x="130" y="186"/>
                    </a:lnTo>
                    <a:lnTo>
                      <a:pt x="129" y="185"/>
                    </a:lnTo>
                    <a:lnTo>
                      <a:pt x="128" y="185"/>
                    </a:lnTo>
                    <a:lnTo>
                      <a:pt x="128" y="184"/>
                    </a:lnTo>
                    <a:lnTo>
                      <a:pt x="128" y="183"/>
                    </a:lnTo>
                    <a:lnTo>
                      <a:pt x="128" y="182"/>
                    </a:lnTo>
                    <a:lnTo>
                      <a:pt x="127" y="181"/>
                    </a:lnTo>
                    <a:lnTo>
                      <a:pt x="127" y="180"/>
                    </a:lnTo>
                    <a:lnTo>
                      <a:pt x="126" y="180"/>
                    </a:lnTo>
                    <a:lnTo>
                      <a:pt x="125" y="181"/>
                    </a:lnTo>
                    <a:lnTo>
                      <a:pt x="125" y="180"/>
                    </a:lnTo>
                    <a:lnTo>
                      <a:pt x="123" y="180"/>
                    </a:lnTo>
                    <a:lnTo>
                      <a:pt x="122" y="180"/>
                    </a:lnTo>
                    <a:lnTo>
                      <a:pt x="122" y="181"/>
                    </a:lnTo>
                    <a:lnTo>
                      <a:pt x="121" y="182"/>
                    </a:lnTo>
                    <a:lnTo>
                      <a:pt x="120" y="183"/>
                    </a:lnTo>
                    <a:lnTo>
                      <a:pt x="117" y="183"/>
                    </a:lnTo>
                    <a:lnTo>
                      <a:pt x="116" y="183"/>
                    </a:lnTo>
                    <a:lnTo>
                      <a:pt x="116" y="182"/>
                    </a:lnTo>
                    <a:lnTo>
                      <a:pt x="117" y="181"/>
                    </a:lnTo>
                    <a:lnTo>
                      <a:pt x="117" y="180"/>
                    </a:lnTo>
                    <a:lnTo>
                      <a:pt x="117" y="179"/>
                    </a:lnTo>
                    <a:lnTo>
                      <a:pt x="116" y="179"/>
                    </a:lnTo>
                    <a:lnTo>
                      <a:pt x="115" y="179"/>
                    </a:lnTo>
                    <a:lnTo>
                      <a:pt x="113" y="180"/>
                    </a:lnTo>
                    <a:lnTo>
                      <a:pt x="112" y="180"/>
                    </a:lnTo>
                    <a:lnTo>
                      <a:pt x="111" y="180"/>
                    </a:lnTo>
                    <a:lnTo>
                      <a:pt x="110" y="180"/>
                    </a:lnTo>
                    <a:lnTo>
                      <a:pt x="109" y="180"/>
                    </a:lnTo>
                    <a:lnTo>
                      <a:pt x="108" y="180"/>
                    </a:lnTo>
                    <a:lnTo>
                      <a:pt x="107" y="180"/>
                    </a:lnTo>
                    <a:lnTo>
                      <a:pt x="105" y="180"/>
                    </a:lnTo>
                    <a:lnTo>
                      <a:pt x="105" y="179"/>
                    </a:lnTo>
                    <a:lnTo>
                      <a:pt x="104" y="179"/>
                    </a:lnTo>
                    <a:lnTo>
                      <a:pt x="104" y="178"/>
                    </a:lnTo>
                    <a:lnTo>
                      <a:pt x="104" y="177"/>
                    </a:lnTo>
                    <a:lnTo>
                      <a:pt x="103" y="175"/>
                    </a:lnTo>
                    <a:lnTo>
                      <a:pt x="102" y="173"/>
                    </a:lnTo>
                    <a:lnTo>
                      <a:pt x="102" y="172"/>
                    </a:lnTo>
                    <a:lnTo>
                      <a:pt x="100" y="172"/>
                    </a:lnTo>
                    <a:lnTo>
                      <a:pt x="99" y="171"/>
                    </a:lnTo>
                    <a:lnTo>
                      <a:pt x="98" y="170"/>
                    </a:lnTo>
                    <a:lnTo>
                      <a:pt x="98" y="169"/>
                    </a:lnTo>
                    <a:lnTo>
                      <a:pt x="97" y="168"/>
                    </a:lnTo>
                    <a:lnTo>
                      <a:pt x="97" y="167"/>
                    </a:lnTo>
                    <a:lnTo>
                      <a:pt x="96" y="167"/>
                    </a:lnTo>
                    <a:lnTo>
                      <a:pt x="96" y="166"/>
                    </a:lnTo>
                    <a:lnTo>
                      <a:pt x="96" y="165"/>
                    </a:lnTo>
                    <a:lnTo>
                      <a:pt x="96" y="164"/>
                    </a:lnTo>
                    <a:lnTo>
                      <a:pt x="96" y="163"/>
                    </a:lnTo>
                    <a:lnTo>
                      <a:pt x="95" y="162"/>
                    </a:lnTo>
                    <a:lnTo>
                      <a:pt x="94" y="160"/>
                    </a:lnTo>
                    <a:lnTo>
                      <a:pt x="94" y="159"/>
                    </a:lnTo>
                    <a:lnTo>
                      <a:pt x="94" y="158"/>
                    </a:lnTo>
                    <a:lnTo>
                      <a:pt x="95" y="157"/>
                    </a:lnTo>
                    <a:lnTo>
                      <a:pt x="94" y="156"/>
                    </a:lnTo>
                    <a:lnTo>
                      <a:pt x="92" y="156"/>
                    </a:lnTo>
                    <a:lnTo>
                      <a:pt x="91" y="155"/>
                    </a:lnTo>
                    <a:lnTo>
                      <a:pt x="91" y="154"/>
                    </a:lnTo>
                    <a:lnTo>
                      <a:pt x="90" y="153"/>
                    </a:lnTo>
                    <a:lnTo>
                      <a:pt x="89" y="153"/>
                    </a:lnTo>
                    <a:lnTo>
                      <a:pt x="89" y="154"/>
                    </a:lnTo>
                    <a:lnTo>
                      <a:pt x="88" y="153"/>
                    </a:lnTo>
                    <a:lnTo>
                      <a:pt x="87" y="153"/>
                    </a:lnTo>
                    <a:lnTo>
                      <a:pt x="86" y="153"/>
                    </a:lnTo>
                    <a:lnTo>
                      <a:pt x="85" y="153"/>
                    </a:lnTo>
                    <a:lnTo>
                      <a:pt x="84" y="152"/>
                    </a:lnTo>
                    <a:lnTo>
                      <a:pt x="83" y="151"/>
                    </a:lnTo>
                    <a:lnTo>
                      <a:pt x="82" y="151"/>
                    </a:lnTo>
                    <a:lnTo>
                      <a:pt x="82" y="150"/>
                    </a:lnTo>
                    <a:lnTo>
                      <a:pt x="82" y="149"/>
                    </a:lnTo>
                    <a:lnTo>
                      <a:pt x="82" y="147"/>
                    </a:lnTo>
                    <a:lnTo>
                      <a:pt x="82" y="145"/>
                    </a:lnTo>
                    <a:lnTo>
                      <a:pt x="82" y="143"/>
                    </a:lnTo>
                    <a:lnTo>
                      <a:pt x="82" y="142"/>
                    </a:lnTo>
                    <a:lnTo>
                      <a:pt x="83" y="141"/>
                    </a:lnTo>
                    <a:lnTo>
                      <a:pt x="83" y="140"/>
                    </a:lnTo>
                    <a:lnTo>
                      <a:pt x="83" y="138"/>
                    </a:lnTo>
                    <a:lnTo>
                      <a:pt x="83" y="133"/>
                    </a:lnTo>
                    <a:lnTo>
                      <a:pt x="83" y="131"/>
                    </a:lnTo>
                    <a:lnTo>
                      <a:pt x="82" y="130"/>
                    </a:lnTo>
                    <a:lnTo>
                      <a:pt x="81" y="129"/>
                    </a:lnTo>
                    <a:lnTo>
                      <a:pt x="79" y="129"/>
                    </a:lnTo>
                    <a:lnTo>
                      <a:pt x="78" y="129"/>
                    </a:lnTo>
                    <a:lnTo>
                      <a:pt x="76" y="129"/>
                    </a:lnTo>
                    <a:lnTo>
                      <a:pt x="76" y="128"/>
                    </a:lnTo>
                    <a:lnTo>
                      <a:pt x="75" y="128"/>
                    </a:lnTo>
                    <a:lnTo>
                      <a:pt x="74" y="128"/>
                    </a:lnTo>
                    <a:lnTo>
                      <a:pt x="70" y="127"/>
                    </a:lnTo>
                    <a:lnTo>
                      <a:pt x="69" y="127"/>
                    </a:lnTo>
                    <a:lnTo>
                      <a:pt x="67" y="126"/>
                    </a:lnTo>
                    <a:lnTo>
                      <a:pt x="66" y="125"/>
                    </a:lnTo>
                    <a:lnTo>
                      <a:pt x="65" y="124"/>
                    </a:lnTo>
                    <a:lnTo>
                      <a:pt x="65" y="122"/>
                    </a:lnTo>
                    <a:lnTo>
                      <a:pt x="65" y="121"/>
                    </a:lnTo>
                    <a:lnTo>
                      <a:pt x="66" y="121"/>
                    </a:lnTo>
                    <a:lnTo>
                      <a:pt x="66" y="120"/>
                    </a:lnTo>
                    <a:lnTo>
                      <a:pt x="66" y="119"/>
                    </a:lnTo>
                    <a:lnTo>
                      <a:pt x="66" y="118"/>
                    </a:lnTo>
                    <a:lnTo>
                      <a:pt x="65" y="117"/>
                    </a:lnTo>
                    <a:lnTo>
                      <a:pt x="64" y="116"/>
                    </a:lnTo>
                    <a:lnTo>
                      <a:pt x="63" y="115"/>
                    </a:lnTo>
                    <a:lnTo>
                      <a:pt x="62" y="115"/>
                    </a:lnTo>
                    <a:lnTo>
                      <a:pt x="62" y="114"/>
                    </a:lnTo>
                    <a:lnTo>
                      <a:pt x="61" y="114"/>
                    </a:lnTo>
                    <a:lnTo>
                      <a:pt x="61" y="113"/>
                    </a:lnTo>
                    <a:lnTo>
                      <a:pt x="61" y="112"/>
                    </a:lnTo>
                    <a:lnTo>
                      <a:pt x="62" y="111"/>
                    </a:lnTo>
                    <a:lnTo>
                      <a:pt x="61" y="109"/>
                    </a:lnTo>
                    <a:lnTo>
                      <a:pt x="60" y="109"/>
                    </a:lnTo>
                    <a:lnTo>
                      <a:pt x="58" y="108"/>
                    </a:lnTo>
                    <a:lnTo>
                      <a:pt x="57" y="107"/>
                    </a:lnTo>
                    <a:lnTo>
                      <a:pt x="56" y="106"/>
                    </a:lnTo>
                    <a:lnTo>
                      <a:pt x="54" y="106"/>
                    </a:lnTo>
                    <a:lnTo>
                      <a:pt x="54" y="105"/>
                    </a:lnTo>
                    <a:lnTo>
                      <a:pt x="53" y="104"/>
                    </a:lnTo>
                    <a:lnTo>
                      <a:pt x="52" y="104"/>
                    </a:lnTo>
                    <a:lnTo>
                      <a:pt x="52" y="103"/>
                    </a:lnTo>
                    <a:lnTo>
                      <a:pt x="51" y="102"/>
                    </a:lnTo>
                    <a:lnTo>
                      <a:pt x="51" y="101"/>
                    </a:lnTo>
                    <a:lnTo>
                      <a:pt x="50" y="101"/>
                    </a:lnTo>
                    <a:lnTo>
                      <a:pt x="49" y="100"/>
                    </a:lnTo>
                    <a:lnTo>
                      <a:pt x="48" y="100"/>
                    </a:lnTo>
                    <a:lnTo>
                      <a:pt x="48" y="99"/>
                    </a:lnTo>
                    <a:lnTo>
                      <a:pt x="47" y="99"/>
                    </a:lnTo>
                    <a:lnTo>
                      <a:pt x="46" y="99"/>
                    </a:lnTo>
                    <a:lnTo>
                      <a:pt x="46" y="98"/>
                    </a:lnTo>
                    <a:lnTo>
                      <a:pt x="45" y="96"/>
                    </a:lnTo>
                    <a:lnTo>
                      <a:pt x="45" y="95"/>
                    </a:lnTo>
                    <a:lnTo>
                      <a:pt x="47" y="93"/>
                    </a:lnTo>
                    <a:lnTo>
                      <a:pt x="47" y="92"/>
                    </a:lnTo>
                    <a:lnTo>
                      <a:pt x="47" y="91"/>
                    </a:lnTo>
                    <a:lnTo>
                      <a:pt x="48" y="90"/>
                    </a:lnTo>
                    <a:lnTo>
                      <a:pt x="49" y="89"/>
                    </a:lnTo>
                    <a:lnTo>
                      <a:pt x="50" y="89"/>
                    </a:lnTo>
                    <a:lnTo>
                      <a:pt x="50" y="88"/>
                    </a:lnTo>
                    <a:lnTo>
                      <a:pt x="51" y="88"/>
                    </a:lnTo>
                    <a:lnTo>
                      <a:pt x="52" y="88"/>
                    </a:lnTo>
                    <a:lnTo>
                      <a:pt x="52" y="87"/>
                    </a:lnTo>
                    <a:lnTo>
                      <a:pt x="53" y="86"/>
                    </a:lnTo>
                    <a:lnTo>
                      <a:pt x="54" y="83"/>
                    </a:lnTo>
                    <a:lnTo>
                      <a:pt x="54" y="82"/>
                    </a:lnTo>
                    <a:lnTo>
                      <a:pt x="56" y="81"/>
                    </a:lnTo>
                    <a:lnTo>
                      <a:pt x="57" y="81"/>
                    </a:lnTo>
                    <a:lnTo>
                      <a:pt x="59" y="81"/>
                    </a:lnTo>
                    <a:lnTo>
                      <a:pt x="60" y="81"/>
                    </a:lnTo>
                    <a:lnTo>
                      <a:pt x="61" y="81"/>
                    </a:lnTo>
                    <a:lnTo>
                      <a:pt x="62" y="81"/>
                    </a:lnTo>
                    <a:lnTo>
                      <a:pt x="63" y="80"/>
                    </a:lnTo>
                    <a:lnTo>
                      <a:pt x="64" y="78"/>
                    </a:lnTo>
                    <a:lnTo>
                      <a:pt x="64" y="77"/>
                    </a:lnTo>
                    <a:lnTo>
                      <a:pt x="64" y="76"/>
                    </a:lnTo>
                    <a:lnTo>
                      <a:pt x="63" y="75"/>
                    </a:lnTo>
                    <a:lnTo>
                      <a:pt x="62" y="74"/>
                    </a:lnTo>
                    <a:lnTo>
                      <a:pt x="61" y="72"/>
                    </a:lnTo>
                    <a:lnTo>
                      <a:pt x="60" y="72"/>
                    </a:lnTo>
                    <a:lnTo>
                      <a:pt x="60" y="70"/>
                    </a:lnTo>
                    <a:lnTo>
                      <a:pt x="59" y="69"/>
                    </a:lnTo>
                    <a:lnTo>
                      <a:pt x="58" y="68"/>
                    </a:lnTo>
                    <a:lnTo>
                      <a:pt x="58" y="67"/>
                    </a:lnTo>
                    <a:lnTo>
                      <a:pt x="57" y="66"/>
                    </a:lnTo>
                    <a:lnTo>
                      <a:pt x="57" y="63"/>
                    </a:lnTo>
                    <a:lnTo>
                      <a:pt x="57" y="62"/>
                    </a:lnTo>
                    <a:lnTo>
                      <a:pt x="57" y="61"/>
                    </a:lnTo>
                    <a:lnTo>
                      <a:pt x="57" y="59"/>
                    </a:lnTo>
                    <a:lnTo>
                      <a:pt x="57" y="57"/>
                    </a:lnTo>
                    <a:lnTo>
                      <a:pt x="57" y="56"/>
                    </a:lnTo>
                    <a:lnTo>
                      <a:pt x="57" y="55"/>
                    </a:lnTo>
                    <a:lnTo>
                      <a:pt x="57" y="54"/>
                    </a:lnTo>
                    <a:lnTo>
                      <a:pt x="57" y="53"/>
                    </a:lnTo>
                    <a:lnTo>
                      <a:pt x="57" y="52"/>
                    </a:lnTo>
                    <a:lnTo>
                      <a:pt x="57" y="51"/>
                    </a:lnTo>
                    <a:lnTo>
                      <a:pt x="56" y="50"/>
                    </a:lnTo>
                    <a:lnTo>
                      <a:pt x="56" y="49"/>
                    </a:lnTo>
                    <a:lnTo>
                      <a:pt x="56" y="48"/>
                    </a:lnTo>
                    <a:lnTo>
                      <a:pt x="56" y="47"/>
                    </a:lnTo>
                    <a:lnTo>
                      <a:pt x="56" y="44"/>
                    </a:lnTo>
                    <a:lnTo>
                      <a:pt x="56" y="43"/>
                    </a:lnTo>
                    <a:lnTo>
                      <a:pt x="54" y="43"/>
                    </a:lnTo>
                    <a:lnTo>
                      <a:pt x="54" y="42"/>
                    </a:lnTo>
                    <a:lnTo>
                      <a:pt x="54" y="41"/>
                    </a:lnTo>
                    <a:lnTo>
                      <a:pt x="53" y="40"/>
                    </a:lnTo>
                    <a:lnTo>
                      <a:pt x="52" y="39"/>
                    </a:lnTo>
                    <a:lnTo>
                      <a:pt x="52" y="38"/>
                    </a:lnTo>
                    <a:lnTo>
                      <a:pt x="50" y="37"/>
                    </a:lnTo>
                    <a:lnTo>
                      <a:pt x="49" y="36"/>
                    </a:lnTo>
                    <a:lnTo>
                      <a:pt x="49" y="35"/>
                    </a:lnTo>
                    <a:lnTo>
                      <a:pt x="49" y="34"/>
                    </a:lnTo>
                    <a:lnTo>
                      <a:pt x="49" y="32"/>
                    </a:lnTo>
                    <a:lnTo>
                      <a:pt x="48" y="32"/>
                    </a:lnTo>
                    <a:lnTo>
                      <a:pt x="47" y="32"/>
                    </a:lnTo>
                    <a:lnTo>
                      <a:pt x="46" y="32"/>
                    </a:lnTo>
                    <a:lnTo>
                      <a:pt x="45" y="32"/>
                    </a:lnTo>
                    <a:lnTo>
                      <a:pt x="44" y="32"/>
                    </a:lnTo>
                    <a:lnTo>
                      <a:pt x="43" y="32"/>
                    </a:lnTo>
                    <a:lnTo>
                      <a:pt x="40" y="31"/>
                    </a:lnTo>
                    <a:lnTo>
                      <a:pt x="38" y="32"/>
                    </a:lnTo>
                    <a:lnTo>
                      <a:pt x="37" y="32"/>
                    </a:lnTo>
                    <a:lnTo>
                      <a:pt x="36" y="32"/>
                    </a:lnTo>
                    <a:lnTo>
                      <a:pt x="36" y="34"/>
                    </a:lnTo>
                    <a:lnTo>
                      <a:pt x="35" y="32"/>
                    </a:lnTo>
                    <a:lnTo>
                      <a:pt x="34" y="32"/>
                    </a:lnTo>
                    <a:lnTo>
                      <a:pt x="31" y="31"/>
                    </a:lnTo>
                    <a:lnTo>
                      <a:pt x="30" y="31"/>
                    </a:lnTo>
                    <a:lnTo>
                      <a:pt x="28" y="30"/>
                    </a:lnTo>
                    <a:lnTo>
                      <a:pt x="27" y="29"/>
                    </a:lnTo>
                    <a:lnTo>
                      <a:pt x="25" y="28"/>
                    </a:lnTo>
                    <a:lnTo>
                      <a:pt x="24" y="28"/>
                    </a:lnTo>
                    <a:lnTo>
                      <a:pt x="23" y="28"/>
                    </a:lnTo>
                    <a:lnTo>
                      <a:pt x="22" y="27"/>
                    </a:lnTo>
                    <a:lnTo>
                      <a:pt x="21" y="26"/>
                    </a:lnTo>
                    <a:lnTo>
                      <a:pt x="20" y="26"/>
                    </a:lnTo>
                    <a:lnTo>
                      <a:pt x="17" y="25"/>
                    </a:lnTo>
                    <a:lnTo>
                      <a:pt x="15" y="24"/>
                    </a:lnTo>
                    <a:lnTo>
                      <a:pt x="14" y="24"/>
                    </a:lnTo>
                    <a:lnTo>
                      <a:pt x="13" y="24"/>
                    </a:lnTo>
                    <a:lnTo>
                      <a:pt x="13" y="23"/>
                    </a:lnTo>
                    <a:lnTo>
                      <a:pt x="12" y="23"/>
                    </a:lnTo>
                    <a:lnTo>
                      <a:pt x="12" y="22"/>
                    </a:lnTo>
                    <a:lnTo>
                      <a:pt x="11" y="21"/>
                    </a:lnTo>
                    <a:lnTo>
                      <a:pt x="10" y="19"/>
                    </a:lnTo>
                    <a:lnTo>
                      <a:pt x="10" y="18"/>
                    </a:lnTo>
                    <a:lnTo>
                      <a:pt x="11" y="16"/>
                    </a:lnTo>
                    <a:lnTo>
                      <a:pt x="10" y="16"/>
                    </a:lnTo>
                    <a:lnTo>
                      <a:pt x="10" y="14"/>
                    </a:lnTo>
                    <a:lnTo>
                      <a:pt x="10" y="13"/>
                    </a:lnTo>
                    <a:lnTo>
                      <a:pt x="10" y="12"/>
                    </a:lnTo>
                    <a:lnTo>
                      <a:pt x="9" y="11"/>
                    </a:lnTo>
                    <a:lnTo>
                      <a:pt x="7" y="10"/>
                    </a:lnTo>
                    <a:lnTo>
                      <a:pt x="7" y="9"/>
                    </a:lnTo>
                    <a:lnTo>
                      <a:pt x="6" y="9"/>
                    </a:lnTo>
                    <a:lnTo>
                      <a:pt x="6" y="8"/>
                    </a:lnTo>
                    <a:lnTo>
                      <a:pt x="6" y="6"/>
                    </a:lnTo>
                    <a:lnTo>
                      <a:pt x="6" y="5"/>
                    </a:lnTo>
                    <a:lnTo>
                      <a:pt x="5" y="4"/>
                    </a:lnTo>
                    <a:lnTo>
                      <a:pt x="4" y="3"/>
                    </a:lnTo>
                    <a:lnTo>
                      <a:pt x="2" y="2"/>
                    </a:lnTo>
                    <a:lnTo>
                      <a:pt x="0" y="2"/>
                    </a:lnTo>
                    <a:lnTo>
                      <a:pt x="0" y="1"/>
                    </a:lnTo>
                    <a:lnTo>
                      <a:pt x="0" y="0"/>
                    </a:lnTo>
                    <a:lnTo>
                      <a:pt x="23" y="0"/>
                    </a:lnTo>
                    <a:lnTo>
                      <a:pt x="24" y="0"/>
                    </a:lnTo>
                    <a:lnTo>
                      <a:pt x="70" y="0"/>
                    </a:lnTo>
                    <a:lnTo>
                      <a:pt x="73" y="0"/>
                    </a:lnTo>
                    <a:lnTo>
                      <a:pt x="77" y="0"/>
                    </a:lnTo>
                    <a:lnTo>
                      <a:pt x="78" y="0"/>
                    </a:lnTo>
                    <a:lnTo>
                      <a:pt x="88" y="0"/>
                    </a:lnTo>
                    <a:close/>
                  </a:path>
                </a:pathLst>
              </a:custGeom>
              <a:solidFill>
                <a:srgbClr val="C6E0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79" name="Freeform 307">
                <a:extLst>
                  <a:ext uri="{FF2B5EF4-FFF2-40B4-BE49-F238E27FC236}">
                    <a16:creationId xmlns:a16="http://schemas.microsoft.com/office/drawing/2014/main" id="{8097E1CA-3491-7211-EDE6-27AD4770C7C9}"/>
                  </a:ext>
                </a:extLst>
              </p:cNvPr>
              <p:cNvSpPr>
                <a:spLocks/>
              </p:cNvSpPr>
              <p:nvPr/>
            </p:nvSpPr>
            <p:spPr bwMode="auto">
              <a:xfrm>
                <a:off x="1728788" y="2133600"/>
                <a:ext cx="706438" cy="915988"/>
              </a:xfrm>
              <a:custGeom>
                <a:avLst/>
                <a:gdLst>
                  <a:gd name="T0" fmla="*/ 314 w 445"/>
                  <a:gd name="T1" fmla="*/ 13 h 577"/>
                  <a:gd name="T2" fmla="*/ 316 w 445"/>
                  <a:gd name="T3" fmla="*/ 21 h 577"/>
                  <a:gd name="T4" fmla="*/ 323 w 445"/>
                  <a:gd name="T5" fmla="*/ 31 h 577"/>
                  <a:gd name="T6" fmla="*/ 327 w 445"/>
                  <a:gd name="T7" fmla="*/ 40 h 577"/>
                  <a:gd name="T8" fmla="*/ 329 w 445"/>
                  <a:gd name="T9" fmla="*/ 48 h 577"/>
                  <a:gd name="T10" fmla="*/ 329 w 445"/>
                  <a:gd name="T11" fmla="*/ 56 h 577"/>
                  <a:gd name="T12" fmla="*/ 331 w 445"/>
                  <a:gd name="T13" fmla="*/ 65 h 577"/>
                  <a:gd name="T14" fmla="*/ 335 w 445"/>
                  <a:gd name="T15" fmla="*/ 73 h 577"/>
                  <a:gd name="T16" fmla="*/ 339 w 445"/>
                  <a:gd name="T17" fmla="*/ 84 h 577"/>
                  <a:gd name="T18" fmla="*/ 341 w 445"/>
                  <a:gd name="T19" fmla="*/ 90 h 577"/>
                  <a:gd name="T20" fmla="*/ 340 w 445"/>
                  <a:gd name="T21" fmla="*/ 100 h 577"/>
                  <a:gd name="T22" fmla="*/ 332 w 445"/>
                  <a:gd name="T23" fmla="*/ 114 h 577"/>
                  <a:gd name="T24" fmla="*/ 341 w 445"/>
                  <a:gd name="T25" fmla="*/ 119 h 577"/>
                  <a:gd name="T26" fmla="*/ 342 w 445"/>
                  <a:gd name="T27" fmla="*/ 137 h 577"/>
                  <a:gd name="T28" fmla="*/ 346 w 445"/>
                  <a:gd name="T29" fmla="*/ 150 h 577"/>
                  <a:gd name="T30" fmla="*/ 336 w 445"/>
                  <a:gd name="T31" fmla="*/ 163 h 577"/>
                  <a:gd name="T32" fmla="*/ 331 w 445"/>
                  <a:gd name="T33" fmla="*/ 185 h 577"/>
                  <a:gd name="T34" fmla="*/ 333 w 445"/>
                  <a:gd name="T35" fmla="*/ 210 h 577"/>
                  <a:gd name="T36" fmla="*/ 316 w 445"/>
                  <a:gd name="T37" fmla="*/ 211 h 577"/>
                  <a:gd name="T38" fmla="*/ 304 w 445"/>
                  <a:gd name="T39" fmla="*/ 216 h 577"/>
                  <a:gd name="T40" fmla="*/ 307 w 445"/>
                  <a:gd name="T41" fmla="*/ 227 h 577"/>
                  <a:gd name="T42" fmla="*/ 302 w 445"/>
                  <a:gd name="T43" fmla="*/ 236 h 577"/>
                  <a:gd name="T44" fmla="*/ 302 w 445"/>
                  <a:gd name="T45" fmla="*/ 255 h 577"/>
                  <a:gd name="T46" fmla="*/ 292 w 445"/>
                  <a:gd name="T47" fmla="*/ 265 h 577"/>
                  <a:gd name="T48" fmla="*/ 289 w 445"/>
                  <a:gd name="T49" fmla="*/ 284 h 577"/>
                  <a:gd name="T50" fmla="*/ 287 w 445"/>
                  <a:gd name="T51" fmla="*/ 312 h 577"/>
                  <a:gd name="T52" fmla="*/ 293 w 445"/>
                  <a:gd name="T53" fmla="*/ 331 h 577"/>
                  <a:gd name="T54" fmla="*/ 316 w 445"/>
                  <a:gd name="T55" fmla="*/ 342 h 577"/>
                  <a:gd name="T56" fmla="*/ 328 w 445"/>
                  <a:gd name="T57" fmla="*/ 365 h 577"/>
                  <a:gd name="T58" fmla="*/ 347 w 445"/>
                  <a:gd name="T59" fmla="*/ 383 h 577"/>
                  <a:gd name="T60" fmla="*/ 392 w 445"/>
                  <a:gd name="T61" fmla="*/ 397 h 577"/>
                  <a:gd name="T62" fmla="*/ 419 w 445"/>
                  <a:gd name="T63" fmla="*/ 424 h 577"/>
                  <a:gd name="T64" fmla="*/ 428 w 445"/>
                  <a:gd name="T65" fmla="*/ 440 h 577"/>
                  <a:gd name="T66" fmla="*/ 443 w 445"/>
                  <a:gd name="T67" fmla="*/ 455 h 577"/>
                  <a:gd name="T68" fmla="*/ 365 w 445"/>
                  <a:gd name="T69" fmla="*/ 519 h 577"/>
                  <a:gd name="T70" fmla="*/ 280 w 445"/>
                  <a:gd name="T71" fmla="*/ 575 h 577"/>
                  <a:gd name="T72" fmla="*/ 252 w 445"/>
                  <a:gd name="T73" fmla="*/ 567 h 577"/>
                  <a:gd name="T74" fmla="*/ 126 w 445"/>
                  <a:gd name="T75" fmla="*/ 467 h 577"/>
                  <a:gd name="T76" fmla="*/ 64 w 445"/>
                  <a:gd name="T77" fmla="*/ 364 h 577"/>
                  <a:gd name="T78" fmla="*/ 2 w 445"/>
                  <a:gd name="T79" fmla="*/ 288 h 577"/>
                  <a:gd name="T80" fmla="*/ 3 w 445"/>
                  <a:gd name="T81" fmla="*/ 177 h 577"/>
                  <a:gd name="T82" fmla="*/ 7 w 445"/>
                  <a:gd name="T83" fmla="*/ 163 h 577"/>
                  <a:gd name="T84" fmla="*/ 18 w 445"/>
                  <a:gd name="T85" fmla="*/ 162 h 577"/>
                  <a:gd name="T86" fmla="*/ 38 w 445"/>
                  <a:gd name="T87" fmla="*/ 163 h 577"/>
                  <a:gd name="T88" fmla="*/ 51 w 445"/>
                  <a:gd name="T89" fmla="*/ 164 h 577"/>
                  <a:gd name="T90" fmla="*/ 57 w 445"/>
                  <a:gd name="T91" fmla="*/ 180 h 577"/>
                  <a:gd name="T92" fmla="*/ 80 w 445"/>
                  <a:gd name="T93" fmla="*/ 185 h 577"/>
                  <a:gd name="T94" fmla="*/ 99 w 445"/>
                  <a:gd name="T95" fmla="*/ 189 h 577"/>
                  <a:gd name="T96" fmla="*/ 115 w 445"/>
                  <a:gd name="T97" fmla="*/ 170 h 577"/>
                  <a:gd name="T98" fmla="*/ 174 w 445"/>
                  <a:gd name="T99" fmla="*/ 127 h 577"/>
                  <a:gd name="T100" fmla="*/ 188 w 445"/>
                  <a:gd name="T101" fmla="*/ 116 h 577"/>
                  <a:gd name="T102" fmla="*/ 178 w 445"/>
                  <a:gd name="T103" fmla="*/ 105 h 577"/>
                  <a:gd name="T104" fmla="*/ 174 w 445"/>
                  <a:gd name="T105" fmla="*/ 99 h 577"/>
                  <a:gd name="T106" fmla="*/ 175 w 445"/>
                  <a:gd name="T107" fmla="*/ 93 h 577"/>
                  <a:gd name="T108" fmla="*/ 178 w 445"/>
                  <a:gd name="T109" fmla="*/ 84 h 577"/>
                  <a:gd name="T110" fmla="*/ 186 w 445"/>
                  <a:gd name="T111" fmla="*/ 72 h 577"/>
                  <a:gd name="T112" fmla="*/ 184 w 445"/>
                  <a:gd name="T113" fmla="*/ 59 h 577"/>
                  <a:gd name="T114" fmla="*/ 175 w 445"/>
                  <a:gd name="T115" fmla="*/ 48 h 577"/>
                  <a:gd name="T116" fmla="*/ 174 w 445"/>
                  <a:gd name="T117" fmla="*/ 37 h 577"/>
                  <a:gd name="T118" fmla="*/ 171 w 445"/>
                  <a:gd name="T119" fmla="*/ 21 h 577"/>
                  <a:gd name="T120" fmla="*/ 165 w 445"/>
                  <a:gd name="T121" fmla="*/ 11 h 577"/>
                  <a:gd name="T122" fmla="*/ 158 w 445"/>
                  <a:gd name="T123" fmla="*/ 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5" h="577">
                    <a:moveTo>
                      <a:pt x="308" y="0"/>
                    </a:moveTo>
                    <a:lnTo>
                      <a:pt x="308" y="1"/>
                    </a:lnTo>
                    <a:lnTo>
                      <a:pt x="309" y="1"/>
                    </a:lnTo>
                    <a:lnTo>
                      <a:pt x="309" y="2"/>
                    </a:lnTo>
                    <a:lnTo>
                      <a:pt x="309" y="3"/>
                    </a:lnTo>
                    <a:lnTo>
                      <a:pt x="310" y="4"/>
                    </a:lnTo>
                    <a:lnTo>
                      <a:pt x="309" y="4"/>
                    </a:lnTo>
                    <a:lnTo>
                      <a:pt x="310" y="5"/>
                    </a:lnTo>
                    <a:lnTo>
                      <a:pt x="310" y="7"/>
                    </a:lnTo>
                    <a:lnTo>
                      <a:pt x="312" y="7"/>
                    </a:lnTo>
                    <a:lnTo>
                      <a:pt x="312" y="8"/>
                    </a:lnTo>
                    <a:lnTo>
                      <a:pt x="313" y="8"/>
                    </a:lnTo>
                    <a:lnTo>
                      <a:pt x="313" y="9"/>
                    </a:lnTo>
                    <a:lnTo>
                      <a:pt x="312" y="9"/>
                    </a:lnTo>
                    <a:lnTo>
                      <a:pt x="313" y="9"/>
                    </a:lnTo>
                    <a:lnTo>
                      <a:pt x="313" y="10"/>
                    </a:lnTo>
                    <a:lnTo>
                      <a:pt x="313" y="11"/>
                    </a:lnTo>
                    <a:lnTo>
                      <a:pt x="313" y="12"/>
                    </a:lnTo>
                    <a:lnTo>
                      <a:pt x="313" y="13"/>
                    </a:lnTo>
                    <a:lnTo>
                      <a:pt x="314" y="13"/>
                    </a:lnTo>
                    <a:lnTo>
                      <a:pt x="313" y="13"/>
                    </a:lnTo>
                    <a:lnTo>
                      <a:pt x="314" y="14"/>
                    </a:lnTo>
                    <a:lnTo>
                      <a:pt x="313" y="14"/>
                    </a:lnTo>
                    <a:lnTo>
                      <a:pt x="313" y="13"/>
                    </a:lnTo>
                    <a:lnTo>
                      <a:pt x="313" y="14"/>
                    </a:lnTo>
                    <a:lnTo>
                      <a:pt x="314" y="14"/>
                    </a:lnTo>
                    <a:lnTo>
                      <a:pt x="314" y="15"/>
                    </a:lnTo>
                    <a:lnTo>
                      <a:pt x="313" y="15"/>
                    </a:lnTo>
                    <a:lnTo>
                      <a:pt x="313" y="16"/>
                    </a:lnTo>
                    <a:lnTo>
                      <a:pt x="314" y="16"/>
                    </a:lnTo>
                    <a:lnTo>
                      <a:pt x="313" y="16"/>
                    </a:lnTo>
                    <a:lnTo>
                      <a:pt x="314" y="16"/>
                    </a:lnTo>
                    <a:lnTo>
                      <a:pt x="313" y="17"/>
                    </a:lnTo>
                    <a:lnTo>
                      <a:pt x="314" y="17"/>
                    </a:lnTo>
                    <a:lnTo>
                      <a:pt x="313" y="17"/>
                    </a:lnTo>
                    <a:lnTo>
                      <a:pt x="313" y="18"/>
                    </a:lnTo>
                    <a:lnTo>
                      <a:pt x="314" y="18"/>
                    </a:lnTo>
                    <a:lnTo>
                      <a:pt x="315" y="18"/>
                    </a:lnTo>
                    <a:lnTo>
                      <a:pt x="315" y="20"/>
                    </a:lnTo>
                    <a:lnTo>
                      <a:pt x="316" y="21"/>
                    </a:lnTo>
                    <a:lnTo>
                      <a:pt x="316" y="22"/>
                    </a:lnTo>
                    <a:lnTo>
                      <a:pt x="317" y="22"/>
                    </a:lnTo>
                    <a:lnTo>
                      <a:pt x="317" y="23"/>
                    </a:lnTo>
                    <a:lnTo>
                      <a:pt x="316" y="23"/>
                    </a:lnTo>
                    <a:lnTo>
                      <a:pt x="317" y="24"/>
                    </a:lnTo>
                    <a:lnTo>
                      <a:pt x="317" y="25"/>
                    </a:lnTo>
                    <a:lnTo>
                      <a:pt x="318" y="25"/>
                    </a:lnTo>
                    <a:lnTo>
                      <a:pt x="317" y="26"/>
                    </a:lnTo>
                    <a:lnTo>
                      <a:pt x="318" y="26"/>
                    </a:lnTo>
                    <a:lnTo>
                      <a:pt x="318" y="27"/>
                    </a:lnTo>
                    <a:lnTo>
                      <a:pt x="319" y="27"/>
                    </a:lnTo>
                    <a:lnTo>
                      <a:pt x="319" y="28"/>
                    </a:lnTo>
                    <a:lnTo>
                      <a:pt x="320" y="28"/>
                    </a:lnTo>
                    <a:lnTo>
                      <a:pt x="320" y="27"/>
                    </a:lnTo>
                    <a:lnTo>
                      <a:pt x="321" y="28"/>
                    </a:lnTo>
                    <a:lnTo>
                      <a:pt x="321" y="29"/>
                    </a:lnTo>
                    <a:lnTo>
                      <a:pt x="322" y="29"/>
                    </a:lnTo>
                    <a:lnTo>
                      <a:pt x="322" y="30"/>
                    </a:lnTo>
                    <a:lnTo>
                      <a:pt x="323" y="30"/>
                    </a:lnTo>
                    <a:lnTo>
                      <a:pt x="323" y="31"/>
                    </a:lnTo>
                    <a:lnTo>
                      <a:pt x="323" y="33"/>
                    </a:lnTo>
                    <a:lnTo>
                      <a:pt x="325" y="33"/>
                    </a:lnTo>
                    <a:lnTo>
                      <a:pt x="326" y="33"/>
                    </a:lnTo>
                    <a:lnTo>
                      <a:pt x="325" y="33"/>
                    </a:lnTo>
                    <a:lnTo>
                      <a:pt x="325" y="34"/>
                    </a:lnTo>
                    <a:lnTo>
                      <a:pt x="326" y="34"/>
                    </a:lnTo>
                    <a:lnTo>
                      <a:pt x="326" y="35"/>
                    </a:lnTo>
                    <a:lnTo>
                      <a:pt x="326" y="36"/>
                    </a:lnTo>
                    <a:lnTo>
                      <a:pt x="325" y="36"/>
                    </a:lnTo>
                    <a:lnTo>
                      <a:pt x="326" y="36"/>
                    </a:lnTo>
                    <a:lnTo>
                      <a:pt x="326" y="37"/>
                    </a:lnTo>
                    <a:lnTo>
                      <a:pt x="326" y="38"/>
                    </a:lnTo>
                    <a:lnTo>
                      <a:pt x="327" y="38"/>
                    </a:lnTo>
                    <a:lnTo>
                      <a:pt x="326" y="39"/>
                    </a:lnTo>
                    <a:lnTo>
                      <a:pt x="327" y="39"/>
                    </a:lnTo>
                    <a:lnTo>
                      <a:pt x="327" y="40"/>
                    </a:lnTo>
                    <a:lnTo>
                      <a:pt x="327" y="39"/>
                    </a:lnTo>
                    <a:lnTo>
                      <a:pt x="328" y="39"/>
                    </a:lnTo>
                    <a:lnTo>
                      <a:pt x="328" y="40"/>
                    </a:lnTo>
                    <a:lnTo>
                      <a:pt x="327" y="40"/>
                    </a:lnTo>
                    <a:lnTo>
                      <a:pt x="328" y="40"/>
                    </a:lnTo>
                    <a:lnTo>
                      <a:pt x="328" y="41"/>
                    </a:lnTo>
                    <a:lnTo>
                      <a:pt x="329" y="41"/>
                    </a:lnTo>
                    <a:lnTo>
                      <a:pt x="330" y="41"/>
                    </a:lnTo>
                    <a:lnTo>
                      <a:pt x="330" y="42"/>
                    </a:lnTo>
                    <a:lnTo>
                      <a:pt x="329" y="42"/>
                    </a:lnTo>
                    <a:lnTo>
                      <a:pt x="329" y="41"/>
                    </a:lnTo>
                    <a:lnTo>
                      <a:pt x="329" y="42"/>
                    </a:lnTo>
                    <a:lnTo>
                      <a:pt x="329" y="43"/>
                    </a:lnTo>
                    <a:lnTo>
                      <a:pt x="330" y="43"/>
                    </a:lnTo>
                    <a:lnTo>
                      <a:pt x="329" y="43"/>
                    </a:lnTo>
                    <a:lnTo>
                      <a:pt x="330" y="43"/>
                    </a:lnTo>
                    <a:lnTo>
                      <a:pt x="329" y="44"/>
                    </a:lnTo>
                    <a:lnTo>
                      <a:pt x="329" y="46"/>
                    </a:lnTo>
                    <a:lnTo>
                      <a:pt x="329" y="47"/>
                    </a:lnTo>
                    <a:lnTo>
                      <a:pt x="329" y="48"/>
                    </a:lnTo>
                    <a:lnTo>
                      <a:pt x="330" y="48"/>
                    </a:lnTo>
                    <a:lnTo>
                      <a:pt x="329" y="48"/>
                    </a:lnTo>
                    <a:lnTo>
                      <a:pt x="329" y="49"/>
                    </a:lnTo>
                    <a:lnTo>
                      <a:pt x="329" y="48"/>
                    </a:lnTo>
                    <a:lnTo>
                      <a:pt x="328" y="48"/>
                    </a:lnTo>
                    <a:lnTo>
                      <a:pt x="327" y="48"/>
                    </a:lnTo>
                    <a:lnTo>
                      <a:pt x="327" y="49"/>
                    </a:lnTo>
                    <a:lnTo>
                      <a:pt x="328" y="49"/>
                    </a:lnTo>
                    <a:lnTo>
                      <a:pt x="327" y="49"/>
                    </a:lnTo>
                    <a:lnTo>
                      <a:pt x="326" y="49"/>
                    </a:lnTo>
                    <a:lnTo>
                      <a:pt x="326" y="50"/>
                    </a:lnTo>
                    <a:lnTo>
                      <a:pt x="326" y="51"/>
                    </a:lnTo>
                    <a:lnTo>
                      <a:pt x="326" y="52"/>
                    </a:lnTo>
                    <a:lnTo>
                      <a:pt x="326" y="53"/>
                    </a:lnTo>
                    <a:lnTo>
                      <a:pt x="327" y="53"/>
                    </a:lnTo>
                    <a:lnTo>
                      <a:pt x="327" y="54"/>
                    </a:lnTo>
                    <a:lnTo>
                      <a:pt x="328" y="54"/>
                    </a:lnTo>
                    <a:lnTo>
                      <a:pt x="327" y="54"/>
                    </a:lnTo>
                    <a:lnTo>
                      <a:pt x="328" y="54"/>
                    </a:lnTo>
                    <a:lnTo>
                      <a:pt x="327" y="54"/>
                    </a:lnTo>
                    <a:lnTo>
                      <a:pt x="327" y="55"/>
                    </a:lnTo>
                    <a:lnTo>
                      <a:pt x="328" y="55"/>
                    </a:lnTo>
                    <a:lnTo>
                      <a:pt x="328" y="56"/>
                    </a:lnTo>
                    <a:lnTo>
                      <a:pt x="329" y="56"/>
                    </a:lnTo>
                    <a:lnTo>
                      <a:pt x="329" y="57"/>
                    </a:lnTo>
                    <a:lnTo>
                      <a:pt x="330" y="57"/>
                    </a:lnTo>
                    <a:lnTo>
                      <a:pt x="331" y="57"/>
                    </a:lnTo>
                    <a:lnTo>
                      <a:pt x="331" y="59"/>
                    </a:lnTo>
                    <a:lnTo>
                      <a:pt x="331" y="60"/>
                    </a:lnTo>
                    <a:lnTo>
                      <a:pt x="331" y="61"/>
                    </a:lnTo>
                    <a:lnTo>
                      <a:pt x="331" y="62"/>
                    </a:lnTo>
                    <a:lnTo>
                      <a:pt x="330" y="62"/>
                    </a:lnTo>
                    <a:lnTo>
                      <a:pt x="331" y="62"/>
                    </a:lnTo>
                    <a:lnTo>
                      <a:pt x="330" y="62"/>
                    </a:lnTo>
                    <a:lnTo>
                      <a:pt x="331" y="62"/>
                    </a:lnTo>
                    <a:lnTo>
                      <a:pt x="331" y="63"/>
                    </a:lnTo>
                    <a:lnTo>
                      <a:pt x="331" y="62"/>
                    </a:lnTo>
                    <a:lnTo>
                      <a:pt x="331" y="63"/>
                    </a:lnTo>
                    <a:lnTo>
                      <a:pt x="332" y="63"/>
                    </a:lnTo>
                    <a:lnTo>
                      <a:pt x="331" y="63"/>
                    </a:lnTo>
                    <a:lnTo>
                      <a:pt x="332" y="63"/>
                    </a:lnTo>
                    <a:lnTo>
                      <a:pt x="332" y="64"/>
                    </a:lnTo>
                    <a:lnTo>
                      <a:pt x="331" y="64"/>
                    </a:lnTo>
                    <a:lnTo>
                      <a:pt x="331" y="65"/>
                    </a:lnTo>
                    <a:lnTo>
                      <a:pt x="332" y="65"/>
                    </a:lnTo>
                    <a:lnTo>
                      <a:pt x="333" y="65"/>
                    </a:lnTo>
                    <a:lnTo>
                      <a:pt x="333" y="66"/>
                    </a:lnTo>
                    <a:lnTo>
                      <a:pt x="334" y="66"/>
                    </a:lnTo>
                    <a:lnTo>
                      <a:pt x="334" y="67"/>
                    </a:lnTo>
                    <a:lnTo>
                      <a:pt x="335" y="67"/>
                    </a:lnTo>
                    <a:lnTo>
                      <a:pt x="334" y="68"/>
                    </a:lnTo>
                    <a:lnTo>
                      <a:pt x="334" y="69"/>
                    </a:lnTo>
                    <a:lnTo>
                      <a:pt x="335" y="69"/>
                    </a:lnTo>
                    <a:lnTo>
                      <a:pt x="334" y="71"/>
                    </a:lnTo>
                    <a:lnTo>
                      <a:pt x="335" y="71"/>
                    </a:lnTo>
                    <a:lnTo>
                      <a:pt x="334" y="71"/>
                    </a:lnTo>
                    <a:lnTo>
                      <a:pt x="335" y="71"/>
                    </a:lnTo>
                    <a:lnTo>
                      <a:pt x="335" y="72"/>
                    </a:lnTo>
                    <a:lnTo>
                      <a:pt x="334" y="72"/>
                    </a:lnTo>
                    <a:lnTo>
                      <a:pt x="334" y="73"/>
                    </a:lnTo>
                    <a:lnTo>
                      <a:pt x="334" y="74"/>
                    </a:lnTo>
                    <a:lnTo>
                      <a:pt x="334" y="73"/>
                    </a:lnTo>
                    <a:lnTo>
                      <a:pt x="334" y="74"/>
                    </a:lnTo>
                    <a:lnTo>
                      <a:pt x="335" y="73"/>
                    </a:lnTo>
                    <a:lnTo>
                      <a:pt x="335" y="74"/>
                    </a:lnTo>
                    <a:lnTo>
                      <a:pt x="334" y="74"/>
                    </a:lnTo>
                    <a:lnTo>
                      <a:pt x="333" y="74"/>
                    </a:lnTo>
                    <a:lnTo>
                      <a:pt x="333" y="75"/>
                    </a:lnTo>
                    <a:lnTo>
                      <a:pt x="334" y="75"/>
                    </a:lnTo>
                    <a:lnTo>
                      <a:pt x="335" y="76"/>
                    </a:lnTo>
                    <a:lnTo>
                      <a:pt x="334" y="76"/>
                    </a:lnTo>
                    <a:lnTo>
                      <a:pt x="335" y="76"/>
                    </a:lnTo>
                    <a:lnTo>
                      <a:pt x="335" y="77"/>
                    </a:lnTo>
                    <a:lnTo>
                      <a:pt x="334" y="77"/>
                    </a:lnTo>
                    <a:lnTo>
                      <a:pt x="335" y="77"/>
                    </a:lnTo>
                    <a:lnTo>
                      <a:pt x="335" y="78"/>
                    </a:lnTo>
                    <a:lnTo>
                      <a:pt x="335" y="79"/>
                    </a:lnTo>
                    <a:lnTo>
                      <a:pt x="335" y="80"/>
                    </a:lnTo>
                    <a:lnTo>
                      <a:pt x="336" y="80"/>
                    </a:lnTo>
                    <a:lnTo>
                      <a:pt x="336" y="81"/>
                    </a:lnTo>
                    <a:lnTo>
                      <a:pt x="338" y="81"/>
                    </a:lnTo>
                    <a:lnTo>
                      <a:pt x="338" y="82"/>
                    </a:lnTo>
                    <a:lnTo>
                      <a:pt x="339" y="82"/>
                    </a:lnTo>
                    <a:lnTo>
                      <a:pt x="339" y="84"/>
                    </a:lnTo>
                    <a:lnTo>
                      <a:pt x="339" y="85"/>
                    </a:lnTo>
                    <a:lnTo>
                      <a:pt x="340" y="86"/>
                    </a:lnTo>
                    <a:lnTo>
                      <a:pt x="340" y="85"/>
                    </a:lnTo>
                    <a:lnTo>
                      <a:pt x="341" y="86"/>
                    </a:lnTo>
                    <a:lnTo>
                      <a:pt x="341" y="87"/>
                    </a:lnTo>
                    <a:lnTo>
                      <a:pt x="340" y="86"/>
                    </a:lnTo>
                    <a:lnTo>
                      <a:pt x="340" y="87"/>
                    </a:lnTo>
                    <a:lnTo>
                      <a:pt x="341" y="87"/>
                    </a:lnTo>
                    <a:lnTo>
                      <a:pt x="340" y="88"/>
                    </a:lnTo>
                    <a:lnTo>
                      <a:pt x="341" y="88"/>
                    </a:lnTo>
                    <a:lnTo>
                      <a:pt x="340" y="88"/>
                    </a:lnTo>
                    <a:lnTo>
                      <a:pt x="340" y="89"/>
                    </a:lnTo>
                    <a:lnTo>
                      <a:pt x="341" y="88"/>
                    </a:lnTo>
                    <a:lnTo>
                      <a:pt x="340" y="89"/>
                    </a:lnTo>
                    <a:lnTo>
                      <a:pt x="341" y="89"/>
                    </a:lnTo>
                    <a:lnTo>
                      <a:pt x="340" y="89"/>
                    </a:lnTo>
                    <a:lnTo>
                      <a:pt x="340" y="90"/>
                    </a:lnTo>
                    <a:lnTo>
                      <a:pt x="340" y="91"/>
                    </a:lnTo>
                    <a:lnTo>
                      <a:pt x="340" y="90"/>
                    </a:lnTo>
                    <a:lnTo>
                      <a:pt x="341" y="90"/>
                    </a:lnTo>
                    <a:lnTo>
                      <a:pt x="341" y="91"/>
                    </a:lnTo>
                    <a:lnTo>
                      <a:pt x="340" y="91"/>
                    </a:lnTo>
                    <a:lnTo>
                      <a:pt x="341" y="91"/>
                    </a:lnTo>
                    <a:lnTo>
                      <a:pt x="341" y="92"/>
                    </a:lnTo>
                    <a:lnTo>
                      <a:pt x="341" y="93"/>
                    </a:lnTo>
                    <a:lnTo>
                      <a:pt x="341" y="92"/>
                    </a:lnTo>
                    <a:lnTo>
                      <a:pt x="341" y="93"/>
                    </a:lnTo>
                    <a:lnTo>
                      <a:pt x="341" y="94"/>
                    </a:lnTo>
                    <a:lnTo>
                      <a:pt x="341" y="95"/>
                    </a:lnTo>
                    <a:lnTo>
                      <a:pt x="340" y="95"/>
                    </a:lnTo>
                    <a:lnTo>
                      <a:pt x="341" y="95"/>
                    </a:lnTo>
                    <a:lnTo>
                      <a:pt x="340" y="95"/>
                    </a:lnTo>
                    <a:lnTo>
                      <a:pt x="340" y="97"/>
                    </a:lnTo>
                    <a:lnTo>
                      <a:pt x="340" y="98"/>
                    </a:lnTo>
                    <a:lnTo>
                      <a:pt x="341" y="98"/>
                    </a:lnTo>
                    <a:lnTo>
                      <a:pt x="342" y="98"/>
                    </a:lnTo>
                    <a:lnTo>
                      <a:pt x="342" y="99"/>
                    </a:lnTo>
                    <a:lnTo>
                      <a:pt x="341" y="99"/>
                    </a:lnTo>
                    <a:lnTo>
                      <a:pt x="340" y="99"/>
                    </a:lnTo>
                    <a:lnTo>
                      <a:pt x="340" y="100"/>
                    </a:lnTo>
                    <a:lnTo>
                      <a:pt x="340" y="101"/>
                    </a:lnTo>
                    <a:lnTo>
                      <a:pt x="340" y="102"/>
                    </a:lnTo>
                    <a:lnTo>
                      <a:pt x="339" y="103"/>
                    </a:lnTo>
                    <a:lnTo>
                      <a:pt x="338" y="104"/>
                    </a:lnTo>
                    <a:lnTo>
                      <a:pt x="338" y="105"/>
                    </a:lnTo>
                    <a:lnTo>
                      <a:pt x="336" y="106"/>
                    </a:lnTo>
                    <a:lnTo>
                      <a:pt x="336" y="107"/>
                    </a:lnTo>
                    <a:lnTo>
                      <a:pt x="335" y="107"/>
                    </a:lnTo>
                    <a:lnTo>
                      <a:pt x="334" y="107"/>
                    </a:lnTo>
                    <a:lnTo>
                      <a:pt x="334" y="108"/>
                    </a:lnTo>
                    <a:lnTo>
                      <a:pt x="334" y="110"/>
                    </a:lnTo>
                    <a:lnTo>
                      <a:pt x="333" y="110"/>
                    </a:lnTo>
                    <a:lnTo>
                      <a:pt x="332" y="110"/>
                    </a:lnTo>
                    <a:lnTo>
                      <a:pt x="332" y="111"/>
                    </a:lnTo>
                    <a:lnTo>
                      <a:pt x="331" y="111"/>
                    </a:lnTo>
                    <a:lnTo>
                      <a:pt x="332" y="112"/>
                    </a:lnTo>
                    <a:lnTo>
                      <a:pt x="331" y="112"/>
                    </a:lnTo>
                    <a:lnTo>
                      <a:pt x="331" y="113"/>
                    </a:lnTo>
                    <a:lnTo>
                      <a:pt x="332" y="113"/>
                    </a:lnTo>
                    <a:lnTo>
                      <a:pt x="332" y="114"/>
                    </a:lnTo>
                    <a:lnTo>
                      <a:pt x="332" y="115"/>
                    </a:lnTo>
                    <a:lnTo>
                      <a:pt x="331" y="115"/>
                    </a:lnTo>
                    <a:lnTo>
                      <a:pt x="332" y="116"/>
                    </a:lnTo>
                    <a:lnTo>
                      <a:pt x="333" y="115"/>
                    </a:lnTo>
                    <a:lnTo>
                      <a:pt x="333" y="116"/>
                    </a:lnTo>
                    <a:lnTo>
                      <a:pt x="333" y="115"/>
                    </a:lnTo>
                    <a:lnTo>
                      <a:pt x="334" y="115"/>
                    </a:lnTo>
                    <a:lnTo>
                      <a:pt x="334" y="116"/>
                    </a:lnTo>
                    <a:lnTo>
                      <a:pt x="334" y="115"/>
                    </a:lnTo>
                    <a:lnTo>
                      <a:pt x="335" y="115"/>
                    </a:lnTo>
                    <a:lnTo>
                      <a:pt x="335" y="116"/>
                    </a:lnTo>
                    <a:lnTo>
                      <a:pt x="336" y="116"/>
                    </a:lnTo>
                    <a:lnTo>
                      <a:pt x="336" y="115"/>
                    </a:lnTo>
                    <a:lnTo>
                      <a:pt x="336" y="116"/>
                    </a:lnTo>
                    <a:lnTo>
                      <a:pt x="338" y="116"/>
                    </a:lnTo>
                    <a:lnTo>
                      <a:pt x="339" y="116"/>
                    </a:lnTo>
                    <a:lnTo>
                      <a:pt x="340" y="116"/>
                    </a:lnTo>
                    <a:lnTo>
                      <a:pt x="341" y="117"/>
                    </a:lnTo>
                    <a:lnTo>
                      <a:pt x="341" y="118"/>
                    </a:lnTo>
                    <a:lnTo>
                      <a:pt x="341" y="119"/>
                    </a:lnTo>
                    <a:lnTo>
                      <a:pt x="342" y="120"/>
                    </a:lnTo>
                    <a:lnTo>
                      <a:pt x="342" y="119"/>
                    </a:lnTo>
                    <a:lnTo>
                      <a:pt x="343" y="120"/>
                    </a:lnTo>
                    <a:lnTo>
                      <a:pt x="343" y="121"/>
                    </a:lnTo>
                    <a:lnTo>
                      <a:pt x="342" y="121"/>
                    </a:lnTo>
                    <a:lnTo>
                      <a:pt x="342" y="123"/>
                    </a:lnTo>
                    <a:lnTo>
                      <a:pt x="342" y="124"/>
                    </a:lnTo>
                    <a:lnTo>
                      <a:pt x="342" y="125"/>
                    </a:lnTo>
                    <a:lnTo>
                      <a:pt x="342" y="126"/>
                    </a:lnTo>
                    <a:lnTo>
                      <a:pt x="342" y="127"/>
                    </a:lnTo>
                    <a:lnTo>
                      <a:pt x="342" y="128"/>
                    </a:lnTo>
                    <a:lnTo>
                      <a:pt x="343" y="128"/>
                    </a:lnTo>
                    <a:lnTo>
                      <a:pt x="343" y="129"/>
                    </a:lnTo>
                    <a:lnTo>
                      <a:pt x="342" y="130"/>
                    </a:lnTo>
                    <a:lnTo>
                      <a:pt x="342" y="131"/>
                    </a:lnTo>
                    <a:lnTo>
                      <a:pt x="342" y="132"/>
                    </a:lnTo>
                    <a:lnTo>
                      <a:pt x="343" y="133"/>
                    </a:lnTo>
                    <a:lnTo>
                      <a:pt x="342" y="134"/>
                    </a:lnTo>
                    <a:lnTo>
                      <a:pt x="342" y="136"/>
                    </a:lnTo>
                    <a:lnTo>
                      <a:pt x="342" y="137"/>
                    </a:lnTo>
                    <a:lnTo>
                      <a:pt x="342" y="139"/>
                    </a:lnTo>
                    <a:lnTo>
                      <a:pt x="342" y="140"/>
                    </a:lnTo>
                    <a:lnTo>
                      <a:pt x="343" y="140"/>
                    </a:lnTo>
                    <a:lnTo>
                      <a:pt x="343" y="141"/>
                    </a:lnTo>
                    <a:lnTo>
                      <a:pt x="343" y="142"/>
                    </a:lnTo>
                    <a:lnTo>
                      <a:pt x="344" y="142"/>
                    </a:lnTo>
                    <a:lnTo>
                      <a:pt x="345" y="142"/>
                    </a:lnTo>
                    <a:lnTo>
                      <a:pt x="346" y="143"/>
                    </a:lnTo>
                    <a:lnTo>
                      <a:pt x="346" y="144"/>
                    </a:lnTo>
                    <a:lnTo>
                      <a:pt x="347" y="144"/>
                    </a:lnTo>
                    <a:lnTo>
                      <a:pt x="348" y="144"/>
                    </a:lnTo>
                    <a:lnTo>
                      <a:pt x="349" y="144"/>
                    </a:lnTo>
                    <a:lnTo>
                      <a:pt x="349" y="145"/>
                    </a:lnTo>
                    <a:lnTo>
                      <a:pt x="349" y="146"/>
                    </a:lnTo>
                    <a:lnTo>
                      <a:pt x="348" y="146"/>
                    </a:lnTo>
                    <a:lnTo>
                      <a:pt x="348" y="148"/>
                    </a:lnTo>
                    <a:lnTo>
                      <a:pt x="348" y="149"/>
                    </a:lnTo>
                    <a:lnTo>
                      <a:pt x="347" y="149"/>
                    </a:lnTo>
                    <a:lnTo>
                      <a:pt x="346" y="149"/>
                    </a:lnTo>
                    <a:lnTo>
                      <a:pt x="346" y="150"/>
                    </a:lnTo>
                    <a:lnTo>
                      <a:pt x="346" y="149"/>
                    </a:lnTo>
                    <a:lnTo>
                      <a:pt x="345" y="149"/>
                    </a:lnTo>
                    <a:lnTo>
                      <a:pt x="345" y="150"/>
                    </a:lnTo>
                    <a:lnTo>
                      <a:pt x="344" y="150"/>
                    </a:lnTo>
                    <a:lnTo>
                      <a:pt x="343" y="151"/>
                    </a:lnTo>
                    <a:lnTo>
                      <a:pt x="342" y="151"/>
                    </a:lnTo>
                    <a:lnTo>
                      <a:pt x="342" y="152"/>
                    </a:lnTo>
                    <a:lnTo>
                      <a:pt x="342" y="153"/>
                    </a:lnTo>
                    <a:lnTo>
                      <a:pt x="341" y="154"/>
                    </a:lnTo>
                    <a:lnTo>
                      <a:pt x="340" y="155"/>
                    </a:lnTo>
                    <a:lnTo>
                      <a:pt x="340" y="156"/>
                    </a:lnTo>
                    <a:lnTo>
                      <a:pt x="341" y="157"/>
                    </a:lnTo>
                    <a:lnTo>
                      <a:pt x="340" y="158"/>
                    </a:lnTo>
                    <a:lnTo>
                      <a:pt x="340" y="159"/>
                    </a:lnTo>
                    <a:lnTo>
                      <a:pt x="339" y="159"/>
                    </a:lnTo>
                    <a:lnTo>
                      <a:pt x="338" y="159"/>
                    </a:lnTo>
                    <a:lnTo>
                      <a:pt x="338" y="161"/>
                    </a:lnTo>
                    <a:lnTo>
                      <a:pt x="338" y="162"/>
                    </a:lnTo>
                    <a:lnTo>
                      <a:pt x="338" y="163"/>
                    </a:lnTo>
                    <a:lnTo>
                      <a:pt x="336" y="163"/>
                    </a:lnTo>
                    <a:lnTo>
                      <a:pt x="336" y="164"/>
                    </a:lnTo>
                    <a:lnTo>
                      <a:pt x="336" y="165"/>
                    </a:lnTo>
                    <a:lnTo>
                      <a:pt x="336" y="166"/>
                    </a:lnTo>
                    <a:lnTo>
                      <a:pt x="335" y="167"/>
                    </a:lnTo>
                    <a:lnTo>
                      <a:pt x="336" y="167"/>
                    </a:lnTo>
                    <a:lnTo>
                      <a:pt x="336" y="168"/>
                    </a:lnTo>
                    <a:lnTo>
                      <a:pt x="335" y="169"/>
                    </a:lnTo>
                    <a:lnTo>
                      <a:pt x="336" y="170"/>
                    </a:lnTo>
                    <a:lnTo>
                      <a:pt x="336" y="171"/>
                    </a:lnTo>
                    <a:lnTo>
                      <a:pt x="336" y="174"/>
                    </a:lnTo>
                    <a:lnTo>
                      <a:pt x="336" y="175"/>
                    </a:lnTo>
                    <a:lnTo>
                      <a:pt x="338" y="176"/>
                    </a:lnTo>
                    <a:lnTo>
                      <a:pt x="338" y="177"/>
                    </a:lnTo>
                    <a:lnTo>
                      <a:pt x="336" y="178"/>
                    </a:lnTo>
                    <a:lnTo>
                      <a:pt x="336" y="180"/>
                    </a:lnTo>
                    <a:lnTo>
                      <a:pt x="335" y="181"/>
                    </a:lnTo>
                    <a:lnTo>
                      <a:pt x="333" y="182"/>
                    </a:lnTo>
                    <a:lnTo>
                      <a:pt x="332" y="183"/>
                    </a:lnTo>
                    <a:lnTo>
                      <a:pt x="332" y="185"/>
                    </a:lnTo>
                    <a:lnTo>
                      <a:pt x="331" y="185"/>
                    </a:lnTo>
                    <a:lnTo>
                      <a:pt x="331" y="188"/>
                    </a:lnTo>
                    <a:lnTo>
                      <a:pt x="331" y="190"/>
                    </a:lnTo>
                    <a:lnTo>
                      <a:pt x="331" y="191"/>
                    </a:lnTo>
                    <a:lnTo>
                      <a:pt x="331" y="193"/>
                    </a:lnTo>
                    <a:lnTo>
                      <a:pt x="331" y="194"/>
                    </a:lnTo>
                    <a:lnTo>
                      <a:pt x="331" y="196"/>
                    </a:lnTo>
                    <a:lnTo>
                      <a:pt x="331" y="197"/>
                    </a:lnTo>
                    <a:lnTo>
                      <a:pt x="330" y="198"/>
                    </a:lnTo>
                    <a:lnTo>
                      <a:pt x="330" y="200"/>
                    </a:lnTo>
                    <a:lnTo>
                      <a:pt x="329" y="201"/>
                    </a:lnTo>
                    <a:lnTo>
                      <a:pt x="329" y="202"/>
                    </a:lnTo>
                    <a:lnTo>
                      <a:pt x="329" y="203"/>
                    </a:lnTo>
                    <a:lnTo>
                      <a:pt x="329" y="204"/>
                    </a:lnTo>
                    <a:lnTo>
                      <a:pt x="330" y="204"/>
                    </a:lnTo>
                    <a:lnTo>
                      <a:pt x="331" y="205"/>
                    </a:lnTo>
                    <a:lnTo>
                      <a:pt x="332" y="206"/>
                    </a:lnTo>
                    <a:lnTo>
                      <a:pt x="332" y="207"/>
                    </a:lnTo>
                    <a:lnTo>
                      <a:pt x="333" y="208"/>
                    </a:lnTo>
                    <a:lnTo>
                      <a:pt x="333" y="209"/>
                    </a:lnTo>
                    <a:lnTo>
                      <a:pt x="333" y="210"/>
                    </a:lnTo>
                    <a:lnTo>
                      <a:pt x="332" y="210"/>
                    </a:lnTo>
                    <a:lnTo>
                      <a:pt x="331" y="210"/>
                    </a:lnTo>
                    <a:lnTo>
                      <a:pt x="331" y="211"/>
                    </a:lnTo>
                    <a:lnTo>
                      <a:pt x="329" y="214"/>
                    </a:lnTo>
                    <a:lnTo>
                      <a:pt x="328" y="215"/>
                    </a:lnTo>
                    <a:lnTo>
                      <a:pt x="327" y="215"/>
                    </a:lnTo>
                    <a:lnTo>
                      <a:pt x="326" y="214"/>
                    </a:lnTo>
                    <a:lnTo>
                      <a:pt x="326" y="215"/>
                    </a:lnTo>
                    <a:lnTo>
                      <a:pt x="325" y="215"/>
                    </a:lnTo>
                    <a:lnTo>
                      <a:pt x="325" y="214"/>
                    </a:lnTo>
                    <a:lnTo>
                      <a:pt x="323" y="214"/>
                    </a:lnTo>
                    <a:lnTo>
                      <a:pt x="322" y="215"/>
                    </a:lnTo>
                    <a:lnTo>
                      <a:pt x="322" y="214"/>
                    </a:lnTo>
                    <a:lnTo>
                      <a:pt x="321" y="213"/>
                    </a:lnTo>
                    <a:lnTo>
                      <a:pt x="320" y="213"/>
                    </a:lnTo>
                    <a:lnTo>
                      <a:pt x="319" y="213"/>
                    </a:lnTo>
                    <a:lnTo>
                      <a:pt x="318" y="213"/>
                    </a:lnTo>
                    <a:lnTo>
                      <a:pt x="317" y="213"/>
                    </a:lnTo>
                    <a:lnTo>
                      <a:pt x="317" y="211"/>
                    </a:lnTo>
                    <a:lnTo>
                      <a:pt x="316" y="211"/>
                    </a:lnTo>
                    <a:lnTo>
                      <a:pt x="315" y="213"/>
                    </a:lnTo>
                    <a:lnTo>
                      <a:pt x="314" y="213"/>
                    </a:lnTo>
                    <a:lnTo>
                      <a:pt x="313" y="213"/>
                    </a:lnTo>
                    <a:lnTo>
                      <a:pt x="312" y="213"/>
                    </a:lnTo>
                    <a:lnTo>
                      <a:pt x="310" y="213"/>
                    </a:lnTo>
                    <a:lnTo>
                      <a:pt x="309" y="213"/>
                    </a:lnTo>
                    <a:lnTo>
                      <a:pt x="308" y="213"/>
                    </a:lnTo>
                    <a:lnTo>
                      <a:pt x="307" y="213"/>
                    </a:lnTo>
                    <a:lnTo>
                      <a:pt x="306" y="213"/>
                    </a:lnTo>
                    <a:lnTo>
                      <a:pt x="306" y="211"/>
                    </a:lnTo>
                    <a:lnTo>
                      <a:pt x="305" y="211"/>
                    </a:lnTo>
                    <a:lnTo>
                      <a:pt x="305" y="210"/>
                    </a:lnTo>
                    <a:lnTo>
                      <a:pt x="304" y="210"/>
                    </a:lnTo>
                    <a:lnTo>
                      <a:pt x="303" y="210"/>
                    </a:lnTo>
                    <a:lnTo>
                      <a:pt x="302" y="210"/>
                    </a:lnTo>
                    <a:lnTo>
                      <a:pt x="302" y="211"/>
                    </a:lnTo>
                    <a:lnTo>
                      <a:pt x="303" y="213"/>
                    </a:lnTo>
                    <a:lnTo>
                      <a:pt x="304" y="214"/>
                    </a:lnTo>
                    <a:lnTo>
                      <a:pt x="304" y="215"/>
                    </a:lnTo>
                    <a:lnTo>
                      <a:pt x="304" y="216"/>
                    </a:lnTo>
                    <a:lnTo>
                      <a:pt x="303" y="216"/>
                    </a:lnTo>
                    <a:lnTo>
                      <a:pt x="302" y="216"/>
                    </a:lnTo>
                    <a:lnTo>
                      <a:pt x="301" y="216"/>
                    </a:lnTo>
                    <a:lnTo>
                      <a:pt x="302" y="218"/>
                    </a:lnTo>
                    <a:lnTo>
                      <a:pt x="303" y="218"/>
                    </a:lnTo>
                    <a:lnTo>
                      <a:pt x="303" y="219"/>
                    </a:lnTo>
                    <a:lnTo>
                      <a:pt x="304" y="220"/>
                    </a:lnTo>
                    <a:lnTo>
                      <a:pt x="304" y="221"/>
                    </a:lnTo>
                    <a:lnTo>
                      <a:pt x="303" y="221"/>
                    </a:lnTo>
                    <a:lnTo>
                      <a:pt x="303" y="222"/>
                    </a:lnTo>
                    <a:lnTo>
                      <a:pt x="302" y="223"/>
                    </a:lnTo>
                    <a:lnTo>
                      <a:pt x="303" y="223"/>
                    </a:lnTo>
                    <a:lnTo>
                      <a:pt x="303" y="224"/>
                    </a:lnTo>
                    <a:lnTo>
                      <a:pt x="304" y="224"/>
                    </a:lnTo>
                    <a:lnTo>
                      <a:pt x="305" y="224"/>
                    </a:lnTo>
                    <a:lnTo>
                      <a:pt x="305" y="226"/>
                    </a:lnTo>
                    <a:lnTo>
                      <a:pt x="306" y="224"/>
                    </a:lnTo>
                    <a:lnTo>
                      <a:pt x="307" y="224"/>
                    </a:lnTo>
                    <a:lnTo>
                      <a:pt x="307" y="226"/>
                    </a:lnTo>
                    <a:lnTo>
                      <a:pt x="307" y="227"/>
                    </a:lnTo>
                    <a:lnTo>
                      <a:pt x="307" y="228"/>
                    </a:lnTo>
                    <a:lnTo>
                      <a:pt x="308" y="229"/>
                    </a:lnTo>
                    <a:lnTo>
                      <a:pt x="309" y="230"/>
                    </a:lnTo>
                    <a:lnTo>
                      <a:pt x="308" y="231"/>
                    </a:lnTo>
                    <a:lnTo>
                      <a:pt x="308" y="232"/>
                    </a:lnTo>
                    <a:lnTo>
                      <a:pt x="308" y="233"/>
                    </a:lnTo>
                    <a:lnTo>
                      <a:pt x="309" y="234"/>
                    </a:lnTo>
                    <a:lnTo>
                      <a:pt x="309" y="235"/>
                    </a:lnTo>
                    <a:lnTo>
                      <a:pt x="308" y="235"/>
                    </a:lnTo>
                    <a:lnTo>
                      <a:pt x="307" y="235"/>
                    </a:lnTo>
                    <a:lnTo>
                      <a:pt x="306" y="234"/>
                    </a:lnTo>
                    <a:lnTo>
                      <a:pt x="304" y="233"/>
                    </a:lnTo>
                    <a:lnTo>
                      <a:pt x="304" y="232"/>
                    </a:lnTo>
                    <a:lnTo>
                      <a:pt x="303" y="232"/>
                    </a:lnTo>
                    <a:lnTo>
                      <a:pt x="302" y="232"/>
                    </a:lnTo>
                    <a:lnTo>
                      <a:pt x="302" y="233"/>
                    </a:lnTo>
                    <a:lnTo>
                      <a:pt x="301" y="233"/>
                    </a:lnTo>
                    <a:lnTo>
                      <a:pt x="301" y="234"/>
                    </a:lnTo>
                    <a:lnTo>
                      <a:pt x="301" y="235"/>
                    </a:lnTo>
                    <a:lnTo>
                      <a:pt x="302" y="236"/>
                    </a:lnTo>
                    <a:lnTo>
                      <a:pt x="303" y="238"/>
                    </a:lnTo>
                    <a:lnTo>
                      <a:pt x="303" y="239"/>
                    </a:lnTo>
                    <a:lnTo>
                      <a:pt x="305" y="240"/>
                    </a:lnTo>
                    <a:lnTo>
                      <a:pt x="306" y="240"/>
                    </a:lnTo>
                    <a:lnTo>
                      <a:pt x="306" y="241"/>
                    </a:lnTo>
                    <a:lnTo>
                      <a:pt x="307" y="241"/>
                    </a:lnTo>
                    <a:lnTo>
                      <a:pt x="306" y="241"/>
                    </a:lnTo>
                    <a:lnTo>
                      <a:pt x="305" y="243"/>
                    </a:lnTo>
                    <a:lnTo>
                      <a:pt x="304" y="244"/>
                    </a:lnTo>
                    <a:lnTo>
                      <a:pt x="303" y="244"/>
                    </a:lnTo>
                    <a:lnTo>
                      <a:pt x="303" y="245"/>
                    </a:lnTo>
                    <a:lnTo>
                      <a:pt x="304" y="246"/>
                    </a:lnTo>
                    <a:lnTo>
                      <a:pt x="304" y="249"/>
                    </a:lnTo>
                    <a:lnTo>
                      <a:pt x="304" y="251"/>
                    </a:lnTo>
                    <a:lnTo>
                      <a:pt x="304" y="252"/>
                    </a:lnTo>
                    <a:lnTo>
                      <a:pt x="303" y="253"/>
                    </a:lnTo>
                    <a:lnTo>
                      <a:pt x="302" y="254"/>
                    </a:lnTo>
                    <a:lnTo>
                      <a:pt x="301" y="254"/>
                    </a:lnTo>
                    <a:lnTo>
                      <a:pt x="301" y="255"/>
                    </a:lnTo>
                    <a:lnTo>
                      <a:pt x="302" y="255"/>
                    </a:lnTo>
                    <a:lnTo>
                      <a:pt x="301" y="255"/>
                    </a:lnTo>
                    <a:lnTo>
                      <a:pt x="301" y="256"/>
                    </a:lnTo>
                    <a:lnTo>
                      <a:pt x="301" y="257"/>
                    </a:lnTo>
                    <a:lnTo>
                      <a:pt x="301" y="258"/>
                    </a:lnTo>
                    <a:lnTo>
                      <a:pt x="301" y="259"/>
                    </a:lnTo>
                    <a:lnTo>
                      <a:pt x="300" y="259"/>
                    </a:lnTo>
                    <a:lnTo>
                      <a:pt x="301" y="259"/>
                    </a:lnTo>
                    <a:lnTo>
                      <a:pt x="301" y="260"/>
                    </a:lnTo>
                    <a:lnTo>
                      <a:pt x="301" y="261"/>
                    </a:lnTo>
                    <a:lnTo>
                      <a:pt x="301" y="262"/>
                    </a:lnTo>
                    <a:lnTo>
                      <a:pt x="301" y="264"/>
                    </a:lnTo>
                    <a:lnTo>
                      <a:pt x="300" y="265"/>
                    </a:lnTo>
                    <a:lnTo>
                      <a:pt x="299" y="265"/>
                    </a:lnTo>
                    <a:lnTo>
                      <a:pt x="297" y="266"/>
                    </a:lnTo>
                    <a:lnTo>
                      <a:pt x="297" y="267"/>
                    </a:lnTo>
                    <a:lnTo>
                      <a:pt x="296" y="267"/>
                    </a:lnTo>
                    <a:lnTo>
                      <a:pt x="295" y="267"/>
                    </a:lnTo>
                    <a:lnTo>
                      <a:pt x="294" y="267"/>
                    </a:lnTo>
                    <a:lnTo>
                      <a:pt x="292" y="266"/>
                    </a:lnTo>
                    <a:lnTo>
                      <a:pt x="292" y="265"/>
                    </a:lnTo>
                    <a:lnTo>
                      <a:pt x="291" y="265"/>
                    </a:lnTo>
                    <a:lnTo>
                      <a:pt x="291" y="266"/>
                    </a:lnTo>
                    <a:lnTo>
                      <a:pt x="291" y="268"/>
                    </a:lnTo>
                    <a:lnTo>
                      <a:pt x="291" y="269"/>
                    </a:lnTo>
                    <a:lnTo>
                      <a:pt x="291" y="270"/>
                    </a:lnTo>
                    <a:lnTo>
                      <a:pt x="291" y="271"/>
                    </a:lnTo>
                    <a:lnTo>
                      <a:pt x="291" y="272"/>
                    </a:lnTo>
                    <a:lnTo>
                      <a:pt x="290" y="273"/>
                    </a:lnTo>
                    <a:lnTo>
                      <a:pt x="290" y="274"/>
                    </a:lnTo>
                    <a:lnTo>
                      <a:pt x="290" y="275"/>
                    </a:lnTo>
                    <a:lnTo>
                      <a:pt x="289" y="277"/>
                    </a:lnTo>
                    <a:lnTo>
                      <a:pt x="289" y="278"/>
                    </a:lnTo>
                    <a:lnTo>
                      <a:pt x="289" y="280"/>
                    </a:lnTo>
                    <a:lnTo>
                      <a:pt x="290" y="281"/>
                    </a:lnTo>
                    <a:lnTo>
                      <a:pt x="290" y="282"/>
                    </a:lnTo>
                    <a:lnTo>
                      <a:pt x="289" y="282"/>
                    </a:lnTo>
                    <a:lnTo>
                      <a:pt x="289" y="283"/>
                    </a:lnTo>
                    <a:lnTo>
                      <a:pt x="288" y="283"/>
                    </a:lnTo>
                    <a:lnTo>
                      <a:pt x="288" y="284"/>
                    </a:lnTo>
                    <a:lnTo>
                      <a:pt x="289" y="284"/>
                    </a:lnTo>
                    <a:lnTo>
                      <a:pt x="289" y="285"/>
                    </a:lnTo>
                    <a:lnTo>
                      <a:pt x="290" y="285"/>
                    </a:lnTo>
                    <a:lnTo>
                      <a:pt x="290" y="286"/>
                    </a:lnTo>
                    <a:lnTo>
                      <a:pt x="290" y="287"/>
                    </a:lnTo>
                    <a:lnTo>
                      <a:pt x="290" y="290"/>
                    </a:lnTo>
                    <a:lnTo>
                      <a:pt x="290" y="292"/>
                    </a:lnTo>
                    <a:lnTo>
                      <a:pt x="291" y="293"/>
                    </a:lnTo>
                    <a:lnTo>
                      <a:pt x="291" y="295"/>
                    </a:lnTo>
                    <a:lnTo>
                      <a:pt x="290" y="296"/>
                    </a:lnTo>
                    <a:lnTo>
                      <a:pt x="290" y="297"/>
                    </a:lnTo>
                    <a:lnTo>
                      <a:pt x="291" y="298"/>
                    </a:lnTo>
                    <a:lnTo>
                      <a:pt x="291" y="300"/>
                    </a:lnTo>
                    <a:lnTo>
                      <a:pt x="290" y="301"/>
                    </a:lnTo>
                    <a:lnTo>
                      <a:pt x="290" y="304"/>
                    </a:lnTo>
                    <a:lnTo>
                      <a:pt x="289" y="306"/>
                    </a:lnTo>
                    <a:lnTo>
                      <a:pt x="289" y="308"/>
                    </a:lnTo>
                    <a:lnTo>
                      <a:pt x="288" y="308"/>
                    </a:lnTo>
                    <a:lnTo>
                      <a:pt x="288" y="309"/>
                    </a:lnTo>
                    <a:lnTo>
                      <a:pt x="287" y="310"/>
                    </a:lnTo>
                    <a:lnTo>
                      <a:pt x="287" y="312"/>
                    </a:lnTo>
                    <a:lnTo>
                      <a:pt x="287" y="313"/>
                    </a:lnTo>
                    <a:lnTo>
                      <a:pt x="286" y="314"/>
                    </a:lnTo>
                    <a:lnTo>
                      <a:pt x="287" y="316"/>
                    </a:lnTo>
                    <a:lnTo>
                      <a:pt x="287" y="317"/>
                    </a:lnTo>
                    <a:lnTo>
                      <a:pt x="288" y="317"/>
                    </a:lnTo>
                    <a:lnTo>
                      <a:pt x="288" y="318"/>
                    </a:lnTo>
                    <a:lnTo>
                      <a:pt x="289" y="318"/>
                    </a:lnTo>
                    <a:lnTo>
                      <a:pt x="290" y="318"/>
                    </a:lnTo>
                    <a:lnTo>
                      <a:pt x="291" y="318"/>
                    </a:lnTo>
                    <a:lnTo>
                      <a:pt x="292" y="319"/>
                    </a:lnTo>
                    <a:lnTo>
                      <a:pt x="293" y="319"/>
                    </a:lnTo>
                    <a:lnTo>
                      <a:pt x="294" y="319"/>
                    </a:lnTo>
                    <a:lnTo>
                      <a:pt x="294" y="320"/>
                    </a:lnTo>
                    <a:lnTo>
                      <a:pt x="295" y="321"/>
                    </a:lnTo>
                    <a:lnTo>
                      <a:pt x="295" y="322"/>
                    </a:lnTo>
                    <a:lnTo>
                      <a:pt x="295" y="323"/>
                    </a:lnTo>
                    <a:lnTo>
                      <a:pt x="295" y="324"/>
                    </a:lnTo>
                    <a:lnTo>
                      <a:pt x="294" y="328"/>
                    </a:lnTo>
                    <a:lnTo>
                      <a:pt x="294" y="329"/>
                    </a:lnTo>
                    <a:lnTo>
                      <a:pt x="293" y="331"/>
                    </a:lnTo>
                    <a:lnTo>
                      <a:pt x="293" y="333"/>
                    </a:lnTo>
                    <a:lnTo>
                      <a:pt x="292" y="335"/>
                    </a:lnTo>
                    <a:lnTo>
                      <a:pt x="292" y="336"/>
                    </a:lnTo>
                    <a:lnTo>
                      <a:pt x="293" y="337"/>
                    </a:lnTo>
                    <a:lnTo>
                      <a:pt x="295" y="338"/>
                    </a:lnTo>
                    <a:lnTo>
                      <a:pt x="297" y="339"/>
                    </a:lnTo>
                    <a:lnTo>
                      <a:pt x="299" y="339"/>
                    </a:lnTo>
                    <a:lnTo>
                      <a:pt x="300" y="339"/>
                    </a:lnTo>
                    <a:lnTo>
                      <a:pt x="301" y="341"/>
                    </a:lnTo>
                    <a:lnTo>
                      <a:pt x="304" y="341"/>
                    </a:lnTo>
                    <a:lnTo>
                      <a:pt x="305" y="342"/>
                    </a:lnTo>
                    <a:lnTo>
                      <a:pt x="306" y="341"/>
                    </a:lnTo>
                    <a:lnTo>
                      <a:pt x="307" y="341"/>
                    </a:lnTo>
                    <a:lnTo>
                      <a:pt x="312" y="339"/>
                    </a:lnTo>
                    <a:lnTo>
                      <a:pt x="314" y="339"/>
                    </a:lnTo>
                    <a:lnTo>
                      <a:pt x="315" y="339"/>
                    </a:lnTo>
                    <a:lnTo>
                      <a:pt x="316" y="339"/>
                    </a:lnTo>
                    <a:lnTo>
                      <a:pt x="316" y="341"/>
                    </a:lnTo>
                    <a:lnTo>
                      <a:pt x="317" y="342"/>
                    </a:lnTo>
                    <a:lnTo>
                      <a:pt x="316" y="342"/>
                    </a:lnTo>
                    <a:lnTo>
                      <a:pt x="316" y="344"/>
                    </a:lnTo>
                    <a:lnTo>
                      <a:pt x="316" y="345"/>
                    </a:lnTo>
                    <a:lnTo>
                      <a:pt x="316" y="346"/>
                    </a:lnTo>
                    <a:lnTo>
                      <a:pt x="317" y="347"/>
                    </a:lnTo>
                    <a:lnTo>
                      <a:pt x="317" y="348"/>
                    </a:lnTo>
                    <a:lnTo>
                      <a:pt x="318" y="349"/>
                    </a:lnTo>
                    <a:lnTo>
                      <a:pt x="319" y="349"/>
                    </a:lnTo>
                    <a:lnTo>
                      <a:pt x="320" y="350"/>
                    </a:lnTo>
                    <a:lnTo>
                      <a:pt x="322" y="351"/>
                    </a:lnTo>
                    <a:lnTo>
                      <a:pt x="325" y="351"/>
                    </a:lnTo>
                    <a:lnTo>
                      <a:pt x="327" y="351"/>
                    </a:lnTo>
                    <a:lnTo>
                      <a:pt x="330" y="351"/>
                    </a:lnTo>
                    <a:lnTo>
                      <a:pt x="331" y="352"/>
                    </a:lnTo>
                    <a:lnTo>
                      <a:pt x="331" y="354"/>
                    </a:lnTo>
                    <a:lnTo>
                      <a:pt x="331" y="355"/>
                    </a:lnTo>
                    <a:lnTo>
                      <a:pt x="331" y="357"/>
                    </a:lnTo>
                    <a:lnTo>
                      <a:pt x="330" y="359"/>
                    </a:lnTo>
                    <a:lnTo>
                      <a:pt x="329" y="361"/>
                    </a:lnTo>
                    <a:lnTo>
                      <a:pt x="329" y="363"/>
                    </a:lnTo>
                    <a:lnTo>
                      <a:pt x="328" y="365"/>
                    </a:lnTo>
                    <a:lnTo>
                      <a:pt x="327" y="368"/>
                    </a:lnTo>
                    <a:lnTo>
                      <a:pt x="327" y="370"/>
                    </a:lnTo>
                    <a:lnTo>
                      <a:pt x="327" y="372"/>
                    </a:lnTo>
                    <a:lnTo>
                      <a:pt x="327" y="373"/>
                    </a:lnTo>
                    <a:lnTo>
                      <a:pt x="327" y="375"/>
                    </a:lnTo>
                    <a:lnTo>
                      <a:pt x="327" y="376"/>
                    </a:lnTo>
                    <a:lnTo>
                      <a:pt x="328" y="377"/>
                    </a:lnTo>
                    <a:lnTo>
                      <a:pt x="329" y="378"/>
                    </a:lnTo>
                    <a:lnTo>
                      <a:pt x="330" y="380"/>
                    </a:lnTo>
                    <a:lnTo>
                      <a:pt x="331" y="380"/>
                    </a:lnTo>
                    <a:lnTo>
                      <a:pt x="332" y="381"/>
                    </a:lnTo>
                    <a:lnTo>
                      <a:pt x="333" y="381"/>
                    </a:lnTo>
                    <a:lnTo>
                      <a:pt x="334" y="381"/>
                    </a:lnTo>
                    <a:lnTo>
                      <a:pt x="338" y="382"/>
                    </a:lnTo>
                    <a:lnTo>
                      <a:pt x="339" y="382"/>
                    </a:lnTo>
                    <a:lnTo>
                      <a:pt x="341" y="383"/>
                    </a:lnTo>
                    <a:lnTo>
                      <a:pt x="342" y="383"/>
                    </a:lnTo>
                    <a:lnTo>
                      <a:pt x="343" y="383"/>
                    </a:lnTo>
                    <a:lnTo>
                      <a:pt x="346" y="384"/>
                    </a:lnTo>
                    <a:lnTo>
                      <a:pt x="347" y="383"/>
                    </a:lnTo>
                    <a:lnTo>
                      <a:pt x="349" y="383"/>
                    </a:lnTo>
                    <a:lnTo>
                      <a:pt x="351" y="383"/>
                    </a:lnTo>
                    <a:lnTo>
                      <a:pt x="352" y="383"/>
                    </a:lnTo>
                    <a:lnTo>
                      <a:pt x="354" y="384"/>
                    </a:lnTo>
                    <a:lnTo>
                      <a:pt x="356" y="386"/>
                    </a:lnTo>
                    <a:lnTo>
                      <a:pt x="359" y="389"/>
                    </a:lnTo>
                    <a:lnTo>
                      <a:pt x="361" y="390"/>
                    </a:lnTo>
                    <a:lnTo>
                      <a:pt x="365" y="393"/>
                    </a:lnTo>
                    <a:lnTo>
                      <a:pt x="369" y="395"/>
                    </a:lnTo>
                    <a:lnTo>
                      <a:pt x="370" y="395"/>
                    </a:lnTo>
                    <a:lnTo>
                      <a:pt x="371" y="395"/>
                    </a:lnTo>
                    <a:lnTo>
                      <a:pt x="374" y="395"/>
                    </a:lnTo>
                    <a:lnTo>
                      <a:pt x="375" y="395"/>
                    </a:lnTo>
                    <a:lnTo>
                      <a:pt x="377" y="395"/>
                    </a:lnTo>
                    <a:lnTo>
                      <a:pt x="379" y="396"/>
                    </a:lnTo>
                    <a:lnTo>
                      <a:pt x="381" y="396"/>
                    </a:lnTo>
                    <a:lnTo>
                      <a:pt x="384" y="396"/>
                    </a:lnTo>
                    <a:lnTo>
                      <a:pt x="389" y="396"/>
                    </a:lnTo>
                    <a:lnTo>
                      <a:pt x="390" y="396"/>
                    </a:lnTo>
                    <a:lnTo>
                      <a:pt x="392" y="397"/>
                    </a:lnTo>
                    <a:lnTo>
                      <a:pt x="393" y="397"/>
                    </a:lnTo>
                    <a:lnTo>
                      <a:pt x="394" y="398"/>
                    </a:lnTo>
                    <a:lnTo>
                      <a:pt x="395" y="399"/>
                    </a:lnTo>
                    <a:lnTo>
                      <a:pt x="396" y="400"/>
                    </a:lnTo>
                    <a:lnTo>
                      <a:pt x="397" y="401"/>
                    </a:lnTo>
                    <a:lnTo>
                      <a:pt x="397" y="402"/>
                    </a:lnTo>
                    <a:lnTo>
                      <a:pt x="400" y="409"/>
                    </a:lnTo>
                    <a:lnTo>
                      <a:pt x="400" y="410"/>
                    </a:lnTo>
                    <a:lnTo>
                      <a:pt x="402" y="411"/>
                    </a:lnTo>
                    <a:lnTo>
                      <a:pt x="403" y="411"/>
                    </a:lnTo>
                    <a:lnTo>
                      <a:pt x="403" y="412"/>
                    </a:lnTo>
                    <a:lnTo>
                      <a:pt x="404" y="412"/>
                    </a:lnTo>
                    <a:lnTo>
                      <a:pt x="406" y="414"/>
                    </a:lnTo>
                    <a:lnTo>
                      <a:pt x="409" y="418"/>
                    </a:lnTo>
                    <a:lnTo>
                      <a:pt x="410" y="419"/>
                    </a:lnTo>
                    <a:lnTo>
                      <a:pt x="411" y="420"/>
                    </a:lnTo>
                    <a:lnTo>
                      <a:pt x="413" y="421"/>
                    </a:lnTo>
                    <a:lnTo>
                      <a:pt x="416" y="423"/>
                    </a:lnTo>
                    <a:lnTo>
                      <a:pt x="417" y="423"/>
                    </a:lnTo>
                    <a:lnTo>
                      <a:pt x="419" y="424"/>
                    </a:lnTo>
                    <a:lnTo>
                      <a:pt x="420" y="425"/>
                    </a:lnTo>
                    <a:lnTo>
                      <a:pt x="421" y="426"/>
                    </a:lnTo>
                    <a:lnTo>
                      <a:pt x="421" y="427"/>
                    </a:lnTo>
                    <a:lnTo>
                      <a:pt x="420" y="427"/>
                    </a:lnTo>
                    <a:lnTo>
                      <a:pt x="420" y="428"/>
                    </a:lnTo>
                    <a:lnTo>
                      <a:pt x="419" y="429"/>
                    </a:lnTo>
                    <a:lnTo>
                      <a:pt x="418" y="429"/>
                    </a:lnTo>
                    <a:lnTo>
                      <a:pt x="418" y="432"/>
                    </a:lnTo>
                    <a:lnTo>
                      <a:pt x="417" y="432"/>
                    </a:lnTo>
                    <a:lnTo>
                      <a:pt x="417" y="433"/>
                    </a:lnTo>
                    <a:lnTo>
                      <a:pt x="418" y="433"/>
                    </a:lnTo>
                    <a:lnTo>
                      <a:pt x="418" y="434"/>
                    </a:lnTo>
                    <a:lnTo>
                      <a:pt x="420" y="435"/>
                    </a:lnTo>
                    <a:lnTo>
                      <a:pt x="421" y="435"/>
                    </a:lnTo>
                    <a:lnTo>
                      <a:pt x="422" y="436"/>
                    </a:lnTo>
                    <a:lnTo>
                      <a:pt x="424" y="437"/>
                    </a:lnTo>
                    <a:lnTo>
                      <a:pt x="425" y="438"/>
                    </a:lnTo>
                    <a:lnTo>
                      <a:pt x="425" y="439"/>
                    </a:lnTo>
                    <a:lnTo>
                      <a:pt x="426" y="440"/>
                    </a:lnTo>
                    <a:lnTo>
                      <a:pt x="428" y="440"/>
                    </a:lnTo>
                    <a:lnTo>
                      <a:pt x="428" y="441"/>
                    </a:lnTo>
                    <a:lnTo>
                      <a:pt x="431" y="444"/>
                    </a:lnTo>
                    <a:lnTo>
                      <a:pt x="432" y="444"/>
                    </a:lnTo>
                    <a:lnTo>
                      <a:pt x="433" y="445"/>
                    </a:lnTo>
                    <a:lnTo>
                      <a:pt x="435" y="446"/>
                    </a:lnTo>
                    <a:lnTo>
                      <a:pt x="436" y="447"/>
                    </a:lnTo>
                    <a:lnTo>
                      <a:pt x="437" y="448"/>
                    </a:lnTo>
                    <a:lnTo>
                      <a:pt x="438" y="449"/>
                    </a:lnTo>
                    <a:lnTo>
                      <a:pt x="439" y="449"/>
                    </a:lnTo>
                    <a:lnTo>
                      <a:pt x="443" y="449"/>
                    </a:lnTo>
                    <a:lnTo>
                      <a:pt x="444" y="449"/>
                    </a:lnTo>
                    <a:lnTo>
                      <a:pt x="445" y="449"/>
                    </a:lnTo>
                    <a:lnTo>
                      <a:pt x="445" y="450"/>
                    </a:lnTo>
                    <a:lnTo>
                      <a:pt x="445" y="451"/>
                    </a:lnTo>
                    <a:lnTo>
                      <a:pt x="445" y="452"/>
                    </a:lnTo>
                    <a:lnTo>
                      <a:pt x="444" y="452"/>
                    </a:lnTo>
                    <a:lnTo>
                      <a:pt x="444" y="453"/>
                    </a:lnTo>
                    <a:lnTo>
                      <a:pt x="444" y="454"/>
                    </a:lnTo>
                    <a:lnTo>
                      <a:pt x="443" y="454"/>
                    </a:lnTo>
                    <a:lnTo>
                      <a:pt x="443" y="455"/>
                    </a:lnTo>
                    <a:lnTo>
                      <a:pt x="429" y="467"/>
                    </a:lnTo>
                    <a:lnTo>
                      <a:pt x="424" y="471"/>
                    </a:lnTo>
                    <a:lnTo>
                      <a:pt x="417" y="477"/>
                    </a:lnTo>
                    <a:lnTo>
                      <a:pt x="417" y="484"/>
                    </a:lnTo>
                    <a:lnTo>
                      <a:pt x="411" y="484"/>
                    </a:lnTo>
                    <a:lnTo>
                      <a:pt x="410" y="484"/>
                    </a:lnTo>
                    <a:lnTo>
                      <a:pt x="407" y="484"/>
                    </a:lnTo>
                    <a:lnTo>
                      <a:pt x="407" y="489"/>
                    </a:lnTo>
                    <a:lnTo>
                      <a:pt x="403" y="489"/>
                    </a:lnTo>
                    <a:lnTo>
                      <a:pt x="402" y="489"/>
                    </a:lnTo>
                    <a:lnTo>
                      <a:pt x="402" y="495"/>
                    </a:lnTo>
                    <a:lnTo>
                      <a:pt x="396" y="495"/>
                    </a:lnTo>
                    <a:lnTo>
                      <a:pt x="396" y="499"/>
                    </a:lnTo>
                    <a:lnTo>
                      <a:pt x="385" y="499"/>
                    </a:lnTo>
                    <a:lnTo>
                      <a:pt x="385" y="505"/>
                    </a:lnTo>
                    <a:lnTo>
                      <a:pt x="385" y="510"/>
                    </a:lnTo>
                    <a:lnTo>
                      <a:pt x="375" y="510"/>
                    </a:lnTo>
                    <a:lnTo>
                      <a:pt x="375" y="515"/>
                    </a:lnTo>
                    <a:lnTo>
                      <a:pt x="365" y="515"/>
                    </a:lnTo>
                    <a:lnTo>
                      <a:pt x="365" y="519"/>
                    </a:lnTo>
                    <a:lnTo>
                      <a:pt x="365" y="525"/>
                    </a:lnTo>
                    <a:lnTo>
                      <a:pt x="349" y="525"/>
                    </a:lnTo>
                    <a:lnTo>
                      <a:pt x="349" y="526"/>
                    </a:lnTo>
                    <a:lnTo>
                      <a:pt x="349" y="536"/>
                    </a:lnTo>
                    <a:lnTo>
                      <a:pt x="340" y="536"/>
                    </a:lnTo>
                    <a:lnTo>
                      <a:pt x="340" y="547"/>
                    </a:lnTo>
                    <a:lnTo>
                      <a:pt x="325" y="547"/>
                    </a:lnTo>
                    <a:lnTo>
                      <a:pt x="325" y="556"/>
                    </a:lnTo>
                    <a:lnTo>
                      <a:pt x="325" y="558"/>
                    </a:lnTo>
                    <a:lnTo>
                      <a:pt x="325" y="562"/>
                    </a:lnTo>
                    <a:lnTo>
                      <a:pt x="319" y="562"/>
                    </a:lnTo>
                    <a:lnTo>
                      <a:pt x="314" y="562"/>
                    </a:lnTo>
                    <a:lnTo>
                      <a:pt x="304" y="562"/>
                    </a:lnTo>
                    <a:lnTo>
                      <a:pt x="304" y="577"/>
                    </a:lnTo>
                    <a:lnTo>
                      <a:pt x="293" y="577"/>
                    </a:lnTo>
                    <a:lnTo>
                      <a:pt x="282" y="577"/>
                    </a:lnTo>
                    <a:lnTo>
                      <a:pt x="282" y="576"/>
                    </a:lnTo>
                    <a:lnTo>
                      <a:pt x="281" y="576"/>
                    </a:lnTo>
                    <a:lnTo>
                      <a:pt x="281" y="575"/>
                    </a:lnTo>
                    <a:lnTo>
                      <a:pt x="280" y="575"/>
                    </a:lnTo>
                    <a:lnTo>
                      <a:pt x="281" y="574"/>
                    </a:lnTo>
                    <a:lnTo>
                      <a:pt x="280" y="574"/>
                    </a:lnTo>
                    <a:lnTo>
                      <a:pt x="280" y="573"/>
                    </a:lnTo>
                    <a:lnTo>
                      <a:pt x="279" y="573"/>
                    </a:lnTo>
                    <a:lnTo>
                      <a:pt x="279" y="572"/>
                    </a:lnTo>
                    <a:lnTo>
                      <a:pt x="278" y="572"/>
                    </a:lnTo>
                    <a:lnTo>
                      <a:pt x="278" y="570"/>
                    </a:lnTo>
                    <a:lnTo>
                      <a:pt x="277" y="570"/>
                    </a:lnTo>
                    <a:lnTo>
                      <a:pt x="277" y="569"/>
                    </a:lnTo>
                    <a:lnTo>
                      <a:pt x="278" y="569"/>
                    </a:lnTo>
                    <a:lnTo>
                      <a:pt x="277" y="569"/>
                    </a:lnTo>
                    <a:lnTo>
                      <a:pt x="277" y="568"/>
                    </a:lnTo>
                    <a:lnTo>
                      <a:pt x="277" y="567"/>
                    </a:lnTo>
                    <a:lnTo>
                      <a:pt x="276" y="567"/>
                    </a:lnTo>
                    <a:lnTo>
                      <a:pt x="271" y="567"/>
                    </a:lnTo>
                    <a:lnTo>
                      <a:pt x="267" y="567"/>
                    </a:lnTo>
                    <a:lnTo>
                      <a:pt x="266" y="567"/>
                    </a:lnTo>
                    <a:lnTo>
                      <a:pt x="265" y="567"/>
                    </a:lnTo>
                    <a:lnTo>
                      <a:pt x="264" y="567"/>
                    </a:lnTo>
                    <a:lnTo>
                      <a:pt x="252" y="567"/>
                    </a:lnTo>
                    <a:lnTo>
                      <a:pt x="252" y="565"/>
                    </a:lnTo>
                    <a:lnTo>
                      <a:pt x="249" y="565"/>
                    </a:lnTo>
                    <a:lnTo>
                      <a:pt x="248" y="565"/>
                    </a:lnTo>
                    <a:lnTo>
                      <a:pt x="235" y="564"/>
                    </a:lnTo>
                    <a:lnTo>
                      <a:pt x="222" y="564"/>
                    </a:lnTo>
                    <a:lnTo>
                      <a:pt x="210" y="564"/>
                    </a:lnTo>
                    <a:lnTo>
                      <a:pt x="189" y="564"/>
                    </a:lnTo>
                    <a:lnTo>
                      <a:pt x="180" y="564"/>
                    </a:lnTo>
                    <a:lnTo>
                      <a:pt x="177" y="564"/>
                    </a:lnTo>
                    <a:lnTo>
                      <a:pt x="174" y="564"/>
                    </a:lnTo>
                    <a:lnTo>
                      <a:pt x="166" y="564"/>
                    </a:lnTo>
                    <a:lnTo>
                      <a:pt x="153" y="564"/>
                    </a:lnTo>
                    <a:lnTo>
                      <a:pt x="126" y="564"/>
                    </a:lnTo>
                    <a:lnTo>
                      <a:pt x="126" y="556"/>
                    </a:lnTo>
                    <a:lnTo>
                      <a:pt x="126" y="542"/>
                    </a:lnTo>
                    <a:lnTo>
                      <a:pt x="126" y="523"/>
                    </a:lnTo>
                    <a:lnTo>
                      <a:pt x="126" y="510"/>
                    </a:lnTo>
                    <a:lnTo>
                      <a:pt x="126" y="486"/>
                    </a:lnTo>
                    <a:lnTo>
                      <a:pt x="126" y="468"/>
                    </a:lnTo>
                    <a:lnTo>
                      <a:pt x="126" y="467"/>
                    </a:lnTo>
                    <a:lnTo>
                      <a:pt x="126" y="439"/>
                    </a:lnTo>
                    <a:lnTo>
                      <a:pt x="118" y="440"/>
                    </a:lnTo>
                    <a:lnTo>
                      <a:pt x="116" y="440"/>
                    </a:lnTo>
                    <a:lnTo>
                      <a:pt x="112" y="439"/>
                    </a:lnTo>
                    <a:lnTo>
                      <a:pt x="111" y="439"/>
                    </a:lnTo>
                    <a:lnTo>
                      <a:pt x="110" y="440"/>
                    </a:lnTo>
                    <a:lnTo>
                      <a:pt x="93" y="440"/>
                    </a:lnTo>
                    <a:lnTo>
                      <a:pt x="81" y="440"/>
                    </a:lnTo>
                    <a:lnTo>
                      <a:pt x="77" y="440"/>
                    </a:lnTo>
                    <a:lnTo>
                      <a:pt x="64" y="440"/>
                    </a:lnTo>
                    <a:lnTo>
                      <a:pt x="64" y="429"/>
                    </a:lnTo>
                    <a:lnTo>
                      <a:pt x="64" y="426"/>
                    </a:lnTo>
                    <a:lnTo>
                      <a:pt x="64" y="413"/>
                    </a:lnTo>
                    <a:lnTo>
                      <a:pt x="64" y="411"/>
                    </a:lnTo>
                    <a:lnTo>
                      <a:pt x="64" y="409"/>
                    </a:lnTo>
                    <a:lnTo>
                      <a:pt x="64" y="397"/>
                    </a:lnTo>
                    <a:lnTo>
                      <a:pt x="64" y="380"/>
                    </a:lnTo>
                    <a:lnTo>
                      <a:pt x="64" y="368"/>
                    </a:lnTo>
                    <a:lnTo>
                      <a:pt x="64" y="367"/>
                    </a:lnTo>
                    <a:lnTo>
                      <a:pt x="64" y="364"/>
                    </a:lnTo>
                    <a:lnTo>
                      <a:pt x="63" y="360"/>
                    </a:lnTo>
                    <a:lnTo>
                      <a:pt x="63" y="350"/>
                    </a:lnTo>
                    <a:lnTo>
                      <a:pt x="63" y="349"/>
                    </a:lnTo>
                    <a:lnTo>
                      <a:pt x="64" y="339"/>
                    </a:lnTo>
                    <a:lnTo>
                      <a:pt x="64" y="336"/>
                    </a:lnTo>
                    <a:lnTo>
                      <a:pt x="64" y="329"/>
                    </a:lnTo>
                    <a:lnTo>
                      <a:pt x="64" y="324"/>
                    </a:lnTo>
                    <a:lnTo>
                      <a:pt x="64" y="323"/>
                    </a:lnTo>
                    <a:lnTo>
                      <a:pt x="64" y="319"/>
                    </a:lnTo>
                    <a:lnTo>
                      <a:pt x="63" y="313"/>
                    </a:lnTo>
                    <a:lnTo>
                      <a:pt x="54" y="313"/>
                    </a:lnTo>
                    <a:lnTo>
                      <a:pt x="42" y="313"/>
                    </a:lnTo>
                    <a:lnTo>
                      <a:pt x="38" y="313"/>
                    </a:lnTo>
                    <a:lnTo>
                      <a:pt x="26" y="313"/>
                    </a:lnTo>
                    <a:lnTo>
                      <a:pt x="17" y="313"/>
                    </a:lnTo>
                    <a:lnTo>
                      <a:pt x="13" y="312"/>
                    </a:lnTo>
                    <a:lnTo>
                      <a:pt x="0" y="313"/>
                    </a:lnTo>
                    <a:lnTo>
                      <a:pt x="0" y="306"/>
                    </a:lnTo>
                    <a:lnTo>
                      <a:pt x="2" y="292"/>
                    </a:lnTo>
                    <a:lnTo>
                      <a:pt x="2" y="288"/>
                    </a:lnTo>
                    <a:lnTo>
                      <a:pt x="0" y="287"/>
                    </a:lnTo>
                    <a:lnTo>
                      <a:pt x="2" y="271"/>
                    </a:lnTo>
                    <a:lnTo>
                      <a:pt x="2" y="260"/>
                    </a:lnTo>
                    <a:lnTo>
                      <a:pt x="2" y="259"/>
                    </a:lnTo>
                    <a:lnTo>
                      <a:pt x="2" y="246"/>
                    </a:lnTo>
                    <a:lnTo>
                      <a:pt x="2" y="242"/>
                    </a:lnTo>
                    <a:lnTo>
                      <a:pt x="2" y="233"/>
                    </a:lnTo>
                    <a:lnTo>
                      <a:pt x="2" y="224"/>
                    </a:lnTo>
                    <a:lnTo>
                      <a:pt x="2" y="219"/>
                    </a:lnTo>
                    <a:lnTo>
                      <a:pt x="2" y="215"/>
                    </a:lnTo>
                    <a:lnTo>
                      <a:pt x="2" y="208"/>
                    </a:lnTo>
                    <a:lnTo>
                      <a:pt x="0" y="197"/>
                    </a:lnTo>
                    <a:lnTo>
                      <a:pt x="2" y="183"/>
                    </a:lnTo>
                    <a:lnTo>
                      <a:pt x="2" y="182"/>
                    </a:lnTo>
                    <a:lnTo>
                      <a:pt x="3" y="181"/>
                    </a:lnTo>
                    <a:lnTo>
                      <a:pt x="2" y="181"/>
                    </a:lnTo>
                    <a:lnTo>
                      <a:pt x="2" y="180"/>
                    </a:lnTo>
                    <a:lnTo>
                      <a:pt x="2" y="179"/>
                    </a:lnTo>
                    <a:lnTo>
                      <a:pt x="3" y="178"/>
                    </a:lnTo>
                    <a:lnTo>
                      <a:pt x="3" y="177"/>
                    </a:lnTo>
                    <a:lnTo>
                      <a:pt x="4" y="176"/>
                    </a:lnTo>
                    <a:lnTo>
                      <a:pt x="4" y="175"/>
                    </a:lnTo>
                    <a:lnTo>
                      <a:pt x="4" y="174"/>
                    </a:lnTo>
                    <a:lnTo>
                      <a:pt x="3" y="174"/>
                    </a:lnTo>
                    <a:lnTo>
                      <a:pt x="3" y="172"/>
                    </a:lnTo>
                    <a:lnTo>
                      <a:pt x="3" y="171"/>
                    </a:lnTo>
                    <a:lnTo>
                      <a:pt x="2" y="172"/>
                    </a:lnTo>
                    <a:lnTo>
                      <a:pt x="2" y="171"/>
                    </a:lnTo>
                    <a:lnTo>
                      <a:pt x="2" y="170"/>
                    </a:lnTo>
                    <a:lnTo>
                      <a:pt x="2" y="169"/>
                    </a:lnTo>
                    <a:lnTo>
                      <a:pt x="3" y="168"/>
                    </a:lnTo>
                    <a:lnTo>
                      <a:pt x="4" y="168"/>
                    </a:lnTo>
                    <a:lnTo>
                      <a:pt x="4" y="167"/>
                    </a:lnTo>
                    <a:lnTo>
                      <a:pt x="4" y="166"/>
                    </a:lnTo>
                    <a:lnTo>
                      <a:pt x="5" y="167"/>
                    </a:lnTo>
                    <a:lnTo>
                      <a:pt x="5" y="166"/>
                    </a:lnTo>
                    <a:lnTo>
                      <a:pt x="6" y="165"/>
                    </a:lnTo>
                    <a:lnTo>
                      <a:pt x="6" y="164"/>
                    </a:lnTo>
                    <a:lnTo>
                      <a:pt x="7" y="164"/>
                    </a:lnTo>
                    <a:lnTo>
                      <a:pt x="7" y="163"/>
                    </a:lnTo>
                    <a:lnTo>
                      <a:pt x="7" y="162"/>
                    </a:lnTo>
                    <a:lnTo>
                      <a:pt x="8" y="162"/>
                    </a:lnTo>
                    <a:lnTo>
                      <a:pt x="9" y="162"/>
                    </a:lnTo>
                    <a:lnTo>
                      <a:pt x="10" y="162"/>
                    </a:lnTo>
                    <a:lnTo>
                      <a:pt x="10" y="161"/>
                    </a:lnTo>
                    <a:lnTo>
                      <a:pt x="11" y="158"/>
                    </a:lnTo>
                    <a:lnTo>
                      <a:pt x="11" y="157"/>
                    </a:lnTo>
                    <a:lnTo>
                      <a:pt x="11" y="156"/>
                    </a:lnTo>
                    <a:lnTo>
                      <a:pt x="12" y="156"/>
                    </a:lnTo>
                    <a:lnTo>
                      <a:pt x="13" y="156"/>
                    </a:lnTo>
                    <a:lnTo>
                      <a:pt x="15" y="155"/>
                    </a:lnTo>
                    <a:lnTo>
                      <a:pt x="16" y="154"/>
                    </a:lnTo>
                    <a:lnTo>
                      <a:pt x="17" y="154"/>
                    </a:lnTo>
                    <a:lnTo>
                      <a:pt x="17" y="155"/>
                    </a:lnTo>
                    <a:lnTo>
                      <a:pt x="18" y="155"/>
                    </a:lnTo>
                    <a:lnTo>
                      <a:pt x="17" y="157"/>
                    </a:lnTo>
                    <a:lnTo>
                      <a:pt x="17" y="158"/>
                    </a:lnTo>
                    <a:lnTo>
                      <a:pt x="17" y="159"/>
                    </a:lnTo>
                    <a:lnTo>
                      <a:pt x="17" y="161"/>
                    </a:lnTo>
                    <a:lnTo>
                      <a:pt x="18" y="162"/>
                    </a:lnTo>
                    <a:lnTo>
                      <a:pt x="19" y="163"/>
                    </a:lnTo>
                    <a:lnTo>
                      <a:pt x="20" y="164"/>
                    </a:lnTo>
                    <a:lnTo>
                      <a:pt x="21" y="165"/>
                    </a:lnTo>
                    <a:lnTo>
                      <a:pt x="24" y="166"/>
                    </a:lnTo>
                    <a:lnTo>
                      <a:pt x="25" y="166"/>
                    </a:lnTo>
                    <a:lnTo>
                      <a:pt x="26" y="166"/>
                    </a:lnTo>
                    <a:lnTo>
                      <a:pt x="28" y="166"/>
                    </a:lnTo>
                    <a:lnTo>
                      <a:pt x="29" y="166"/>
                    </a:lnTo>
                    <a:lnTo>
                      <a:pt x="30" y="166"/>
                    </a:lnTo>
                    <a:lnTo>
                      <a:pt x="30" y="165"/>
                    </a:lnTo>
                    <a:lnTo>
                      <a:pt x="32" y="164"/>
                    </a:lnTo>
                    <a:lnTo>
                      <a:pt x="32" y="163"/>
                    </a:lnTo>
                    <a:lnTo>
                      <a:pt x="34" y="162"/>
                    </a:lnTo>
                    <a:lnTo>
                      <a:pt x="34" y="161"/>
                    </a:lnTo>
                    <a:lnTo>
                      <a:pt x="35" y="161"/>
                    </a:lnTo>
                    <a:lnTo>
                      <a:pt x="36" y="161"/>
                    </a:lnTo>
                    <a:lnTo>
                      <a:pt x="37" y="161"/>
                    </a:lnTo>
                    <a:lnTo>
                      <a:pt x="37" y="162"/>
                    </a:lnTo>
                    <a:lnTo>
                      <a:pt x="37" y="163"/>
                    </a:lnTo>
                    <a:lnTo>
                      <a:pt x="38" y="163"/>
                    </a:lnTo>
                    <a:lnTo>
                      <a:pt x="39" y="163"/>
                    </a:lnTo>
                    <a:lnTo>
                      <a:pt x="41" y="162"/>
                    </a:lnTo>
                    <a:lnTo>
                      <a:pt x="41" y="161"/>
                    </a:lnTo>
                    <a:lnTo>
                      <a:pt x="41" y="158"/>
                    </a:lnTo>
                    <a:lnTo>
                      <a:pt x="39" y="155"/>
                    </a:lnTo>
                    <a:lnTo>
                      <a:pt x="42" y="155"/>
                    </a:lnTo>
                    <a:lnTo>
                      <a:pt x="43" y="155"/>
                    </a:lnTo>
                    <a:lnTo>
                      <a:pt x="44" y="155"/>
                    </a:lnTo>
                    <a:lnTo>
                      <a:pt x="44" y="156"/>
                    </a:lnTo>
                    <a:lnTo>
                      <a:pt x="54" y="156"/>
                    </a:lnTo>
                    <a:lnTo>
                      <a:pt x="54" y="157"/>
                    </a:lnTo>
                    <a:lnTo>
                      <a:pt x="55" y="158"/>
                    </a:lnTo>
                    <a:lnTo>
                      <a:pt x="55" y="159"/>
                    </a:lnTo>
                    <a:lnTo>
                      <a:pt x="54" y="159"/>
                    </a:lnTo>
                    <a:lnTo>
                      <a:pt x="52" y="161"/>
                    </a:lnTo>
                    <a:lnTo>
                      <a:pt x="51" y="161"/>
                    </a:lnTo>
                    <a:lnTo>
                      <a:pt x="51" y="162"/>
                    </a:lnTo>
                    <a:lnTo>
                      <a:pt x="50" y="162"/>
                    </a:lnTo>
                    <a:lnTo>
                      <a:pt x="50" y="163"/>
                    </a:lnTo>
                    <a:lnTo>
                      <a:pt x="51" y="164"/>
                    </a:lnTo>
                    <a:lnTo>
                      <a:pt x="52" y="165"/>
                    </a:lnTo>
                    <a:lnTo>
                      <a:pt x="54" y="165"/>
                    </a:lnTo>
                    <a:lnTo>
                      <a:pt x="55" y="165"/>
                    </a:lnTo>
                    <a:lnTo>
                      <a:pt x="55" y="166"/>
                    </a:lnTo>
                    <a:lnTo>
                      <a:pt x="56" y="166"/>
                    </a:lnTo>
                    <a:lnTo>
                      <a:pt x="56" y="167"/>
                    </a:lnTo>
                    <a:lnTo>
                      <a:pt x="55" y="168"/>
                    </a:lnTo>
                    <a:lnTo>
                      <a:pt x="56" y="169"/>
                    </a:lnTo>
                    <a:lnTo>
                      <a:pt x="57" y="169"/>
                    </a:lnTo>
                    <a:lnTo>
                      <a:pt x="57" y="170"/>
                    </a:lnTo>
                    <a:lnTo>
                      <a:pt x="56" y="171"/>
                    </a:lnTo>
                    <a:lnTo>
                      <a:pt x="56" y="172"/>
                    </a:lnTo>
                    <a:lnTo>
                      <a:pt x="57" y="172"/>
                    </a:lnTo>
                    <a:lnTo>
                      <a:pt x="58" y="174"/>
                    </a:lnTo>
                    <a:lnTo>
                      <a:pt x="59" y="175"/>
                    </a:lnTo>
                    <a:lnTo>
                      <a:pt x="59" y="176"/>
                    </a:lnTo>
                    <a:lnTo>
                      <a:pt x="58" y="177"/>
                    </a:lnTo>
                    <a:lnTo>
                      <a:pt x="57" y="178"/>
                    </a:lnTo>
                    <a:lnTo>
                      <a:pt x="57" y="179"/>
                    </a:lnTo>
                    <a:lnTo>
                      <a:pt x="57" y="180"/>
                    </a:lnTo>
                    <a:lnTo>
                      <a:pt x="58" y="180"/>
                    </a:lnTo>
                    <a:lnTo>
                      <a:pt x="59" y="181"/>
                    </a:lnTo>
                    <a:lnTo>
                      <a:pt x="60" y="181"/>
                    </a:lnTo>
                    <a:lnTo>
                      <a:pt x="61" y="182"/>
                    </a:lnTo>
                    <a:lnTo>
                      <a:pt x="62" y="182"/>
                    </a:lnTo>
                    <a:lnTo>
                      <a:pt x="67" y="183"/>
                    </a:lnTo>
                    <a:lnTo>
                      <a:pt x="68" y="183"/>
                    </a:lnTo>
                    <a:lnTo>
                      <a:pt x="69" y="183"/>
                    </a:lnTo>
                    <a:lnTo>
                      <a:pt x="70" y="183"/>
                    </a:lnTo>
                    <a:lnTo>
                      <a:pt x="71" y="184"/>
                    </a:lnTo>
                    <a:lnTo>
                      <a:pt x="72" y="184"/>
                    </a:lnTo>
                    <a:lnTo>
                      <a:pt x="73" y="184"/>
                    </a:lnTo>
                    <a:lnTo>
                      <a:pt x="74" y="185"/>
                    </a:lnTo>
                    <a:lnTo>
                      <a:pt x="74" y="187"/>
                    </a:lnTo>
                    <a:lnTo>
                      <a:pt x="74" y="188"/>
                    </a:lnTo>
                    <a:lnTo>
                      <a:pt x="75" y="188"/>
                    </a:lnTo>
                    <a:lnTo>
                      <a:pt x="76" y="188"/>
                    </a:lnTo>
                    <a:lnTo>
                      <a:pt x="77" y="187"/>
                    </a:lnTo>
                    <a:lnTo>
                      <a:pt x="78" y="187"/>
                    </a:lnTo>
                    <a:lnTo>
                      <a:pt x="80" y="185"/>
                    </a:lnTo>
                    <a:lnTo>
                      <a:pt x="80" y="184"/>
                    </a:lnTo>
                    <a:lnTo>
                      <a:pt x="81" y="184"/>
                    </a:lnTo>
                    <a:lnTo>
                      <a:pt x="81" y="183"/>
                    </a:lnTo>
                    <a:lnTo>
                      <a:pt x="82" y="183"/>
                    </a:lnTo>
                    <a:lnTo>
                      <a:pt x="84" y="182"/>
                    </a:lnTo>
                    <a:lnTo>
                      <a:pt x="84" y="181"/>
                    </a:lnTo>
                    <a:lnTo>
                      <a:pt x="85" y="181"/>
                    </a:lnTo>
                    <a:lnTo>
                      <a:pt x="86" y="181"/>
                    </a:lnTo>
                    <a:lnTo>
                      <a:pt x="87" y="181"/>
                    </a:lnTo>
                    <a:lnTo>
                      <a:pt x="87" y="182"/>
                    </a:lnTo>
                    <a:lnTo>
                      <a:pt x="87" y="184"/>
                    </a:lnTo>
                    <a:lnTo>
                      <a:pt x="88" y="184"/>
                    </a:lnTo>
                    <a:lnTo>
                      <a:pt x="89" y="184"/>
                    </a:lnTo>
                    <a:lnTo>
                      <a:pt x="91" y="187"/>
                    </a:lnTo>
                    <a:lnTo>
                      <a:pt x="93" y="187"/>
                    </a:lnTo>
                    <a:lnTo>
                      <a:pt x="95" y="187"/>
                    </a:lnTo>
                    <a:lnTo>
                      <a:pt x="96" y="187"/>
                    </a:lnTo>
                    <a:lnTo>
                      <a:pt x="97" y="187"/>
                    </a:lnTo>
                    <a:lnTo>
                      <a:pt x="98" y="189"/>
                    </a:lnTo>
                    <a:lnTo>
                      <a:pt x="99" y="189"/>
                    </a:lnTo>
                    <a:lnTo>
                      <a:pt x="100" y="189"/>
                    </a:lnTo>
                    <a:lnTo>
                      <a:pt x="99" y="188"/>
                    </a:lnTo>
                    <a:lnTo>
                      <a:pt x="100" y="187"/>
                    </a:lnTo>
                    <a:lnTo>
                      <a:pt x="101" y="185"/>
                    </a:lnTo>
                    <a:lnTo>
                      <a:pt x="102" y="184"/>
                    </a:lnTo>
                    <a:lnTo>
                      <a:pt x="102" y="183"/>
                    </a:lnTo>
                    <a:lnTo>
                      <a:pt x="103" y="183"/>
                    </a:lnTo>
                    <a:lnTo>
                      <a:pt x="104" y="183"/>
                    </a:lnTo>
                    <a:lnTo>
                      <a:pt x="106" y="183"/>
                    </a:lnTo>
                    <a:lnTo>
                      <a:pt x="108" y="182"/>
                    </a:lnTo>
                    <a:lnTo>
                      <a:pt x="109" y="180"/>
                    </a:lnTo>
                    <a:lnTo>
                      <a:pt x="109" y="179"/>
                    </a:lnTo>
                    <a:lnTo>
                      <a:pt x="110" y="178"/>
                    </a:lnTo>
                    <a:lnTo>
                      <a:pt x="110" y="177"/>
                    </a:lnTo>
                    <a:lnTo>
                      <a:pt x="111" y="176"/>
                    </a:lnTo>
                    <a:lnTo>
                      <a:pt x="111" y="175"/>
                    </a:lnTo>
                    <a:lnTo>
                      <a:pt x="112" y="174"/>
                    </a:lnTo>
                    <a:lnTo>
                      <a:pt x="113" y="172"/>
                    </a:lnTo>
                    <a:lnTo>
                      <a:pt x="114" y="171"/>
                    </a:lnTo>
                    <a:lnTo>
                      <a:pt x="115" y="170"/>
                    </a:lnTo>
                    <a:lnTo>
                      <a:pt x="115" y="169"/>
                    </a:lnTo>
                    <a:lnTo>
                      <a:pt x="116" y="170"/>
                    </a:lnTo>
                    <a:lnTo>
                      <a:pt x="116" y="171"/>
                    </a:lnTo>
                    <a:lnTo>
                      <a:pt x="118" y="171"/>
                    </a:lnTo>
                    <a:lnTo>
                      <a:pt x="120" y="172"/>
                    </a:lnTo>
                    <a:lnTo>
                      <a:pt x="120" y="171"/>
                    </a:lnTo>
                    <a:lnTo>
                      <a:pt x="121" y="171"/>
                    </a:lnTo>
                    <a:lnTo>
                      <a:pt x="122" y="172"/>
                    </a:lnTo>
                    <a:lnTo>
                      <a:pt x="123" y="174"/>
                    </a:lnTo>
                    <a:lnTo>
                      <a:pt x="124" y="176"/>
                    </a:lnTo>
                    <a:lnTo>
                      <a:pt x="125" y="177"/>
                    </a:lnTo>
                    <a:lnTo>
                      <a:pt x="125" y="176"/>
                    </a:lnTo>
                    <a:lnTo>
                      <a:pt x="125" y="127"/>
                    </a:lnTo>
                    <a:lnTo>
                      <a:pt x="129" y="127"/>
                    </a:lnTo>
                    <a:lnTo>
                      <a:pt x="136" y="127"/>
                    </a:lnTo>
                    <a:lnTo>
                      <a:pt x="155" y="127"/>
                    </a:lnTo>
                    <a:lnTo>
                      <a:pt x="160" y="127"/>
                    </a:lnTo>
                    <a:lnTo>
                      <a:pt x="162" y="127"/>
                    </a:lnTo>
                    <a:lnTo>
                      <a:pt x="165" y="127"/>
                    </a:lnTo>
                    <a:lnTo>
                      <a:pt x="174" y="127"/>
                    </a:lnTo>
                    <a:lnTo>
                      <a:pt x="178" y="127"/>
                    </a:lnTo>
                    <a:lnTo>
                      <a:pt x="179" y="127"/>
                    </a:lnTo>
                    <a:lnTo>
                      <a:pt x="180" y="127"/>
                    </a:lnTo>
                    <a:lnTo>
                      <a:pt x="194" y="127"/>
                    </a:lnTo>
                    <a:lnTo>
                      <a:pt x="197" y="127"/>
                    </a:lnTo>
                    <a:lnTo>
                      <a:pt x="196" y="127"/>
                    </a:lnTo>
                    <a:lnTo>
                      <a:pt x="196" y="126"/>
                    </a:lnTo>
                    <a:lnTo>
                      <a:pt x="194" y="125"/>
                    </a:lnTo>
                    <a:lnTo>
                      <a:pt x="193" y="125"/>
                    </a:lnTo>
                    <a:lnTo>
                      <a:pt x="193" y="124"/>
                    </a:lnTo>
                    <a:lnTo>
                      <a:pt x="192" y="124"/>
                    </a:lnTo>
                    <a:lnTo>
                      <a:pt x="192" y="123"/>
                    </a:lnTo>
                    <a:lnTo>
                      <a:pt x="192" y="121"/>
                    </a:lnTo>
                    <a:lnTo>
                      <a:pt x="191" y="121"/>
                    </a:lnTo>
                    <a:lnTo>
                      <a:pt x="190" y="120"/>
                    </a:lnTo>
                    <a:lnTo>
                      <a:pt x="189" y="120"/>
                    </a:lnTo>
                    <a:lnTo>
                      <a:pt x="188" y="119"/>
                    </a:lnTo>
                    <a:lnTo>
                      <a:pt x="188" y="118"/>
                    </a:lnTo>
                    <a:lnTo>
                      <a:pt x="188" y="117"/>
                    </a:lnTo>
                    <a:lnTo>
                      <a:pt x="188" y="116"/>
                    </a:lnTo>
                    <a:lnTo>
                      <a:pt x="189" y="116"/>
                    </a:lnTo>
                    <a:lnTo>
                      <a:pt x="189" y="115"/>
                    </a:lnTo>
                    <a:lnTo>
                      <a:pt x="188" y="115"/>
                    </a:lnTo>
                    <a:lnTo>
                      <a:pt x="187" y="115"/>
                    </a:lnTo>
                    <a:lnTo>
                      <a:pt x="186" y="115"/>
                    </a:lnTo>
                    <a:lnTo>
                      <a:pt x="186" y="114"/>
                    </a:lnTo>
                    <a:lnTo>
                      <a:pt x="185" y="114"/>
                    </a:lnTo>
                    <a:lnTo>
                      <a:pt x="185" y="113"/>
                    </a:lnTo>
                    <a:lnTo>
                      <a:pt x="185" y="112"/>
                    </a:lnTo>
                    <a:lnTo>
                      <a:pt x="184" y="112"/>
                    </a:lnTo>
                    <a:lnTo>
                      <a:pt x="184" y="111"/>
                    </a:lnTo>
                    <a:lnTo>
                      <a:pt x="183" y="110"/>
                    </a:lnTo>
                    <a:lnTo>
                      <a:pt x="181" y="110"/>
                    </a:lnTo>
                    <a:lnTo>
                      <a:pt x="181" y="108"/>
                    </a:lnTo>
                    <a:lnTo>
                      <a:pt x="181" y="107"/>
                    </a:lnTo>
                    <a:lnTo>
                      <a:pt x="181" y="106"/>
                    </a:lnTo>
                    <a:lnTo>
                      <a:pt x="180" y="106"/>
                    </a:lnTo>
                    <a:lnTo>
                      <a:pt x="180" y="105"/>
                    </a:lnTo>
                    <a:lnTo>
                      <a:pt x="179" y="105"/>
                    </a:lnTo>
                    <a:lnTo>
                      <a:pt x="178" y="105"/>
                    </a:lnTo>
                    <a:lnTo>
                      <a:pt x="177" y="105"/>
                    </a:lnTo>
                    <a:lnTo>
                      <a:pt x="177" y="104"/>
                    </a:lnTo>
                    <a:lnTo>
                      <a:pt x="176" y="104"/>
                    </a:lnTo>
                    <a:lnTo>
                      <a:pt x="177" y="103"/>
                    </a:lnTo>
                    <a:lnTo>
                      <a:pt x="178" y="104"/>
                    </a:lnTo>
                    <a:lnTo>
                      <a:pt x="178" y="103"/>
                    </a:lnTo>
                    <a:lnTo>
                      <a:pt x="177" y="103"/>
                    </a:lnTo>
                    <a:lnTo>
                      <a:pt x="176" y="102"/>
                    </a:lnTo>
                    <a:lnTo>
                      <a:pt x="176" y="101"/>
                    </a:lnTo>
                    <a:lnTo>
                      <a:pt x="175" y="101"/>
                    </a:lnTo>
                    <a:lnTo>
                      <a:pt x="174" y="100"/>
                    </a:lnTo>
                    <a:lnTo>
                      <a:pt x="174" y="99"/>
                    </a:lnTo>
                    <a:lnTo>
                      <a:pt x="173" y="99"/>
                    </a:lnTo>
                    <a:lnTo>
                      <a:pt x="173" y="98"/>
                    </a:lnTo>
                    <a:lnTo>
                      <a:pt x="172" y="97"/>
                    </a:lnTo>
                    <a:lnTo>
                      <a:pt x="172" y="98"/>
                    </a:lnTo>
                    <a:lnTo>
                      <a:pt x="172" y="97"/>
                    </a:lnTo>
                    <a:lnTo>
                      <a:pt x="173" y="97"/>
                    </a:lnTo>
                    <a:lnTo>
                      <a:pt x="173" y="98"/>
                    </a:lnTo>
                    <a:lnTo>
                      <a:pt x="174" y="99"/>
                    </a:lnTo>
                    <a:lnTo>
                      <a:pt x="174" y="100"/>
                    </a:lnTo>
                    <a:lnTo>
                      <a:pt x="175" y="100"/>
                    </a:lnTo>
                    <a:lnTo>
                      <a:pt x="175" y="99"/>
                    </a:lnTo>
                    <a:lnTo>
                      <a:pt x="174" y="98"/>
                    </a:lnTo>
                    <a:lnTo>
                      <a:pt x="175" y="98"/>
                    </a:lnTo>
                    <a:lnTo>
                      <a:pt x="174" y="98"/>
                    </a:lnTo>
                    <a:lnTo>
                      <a:pt x="175" y="98"/>
                    </a:lnTo>
                    <a:lnTo>
                      <a:pt x="175" y="97"/>
                    </a:lnTo>
                    <a:lnTo>
                      <a:pt x="175" y="95"/>
                    </a:lnTo>
                    <a:lnTo>
                      <a:pt x="176" y="95"/>
                    </a:lnTo>
                    <a:lnTo>
                      <a:pt x="176" y="94"/>
                    </a:lnTo>
                    <a:lnTo>
                      <a:pt x="176" y="95"/>
                    </a:lnTo>
                    <a:lnTo>
                      <a:pt x="175" y="95"/>
                    </a:lnTo>
                    <a:lnTo>
                      <a:pt x="175" y="94"/>
                    </a:lnTo>
                    <a:lnTo>
                      <a:pt x="174" y="93"/>
                    </a:lnTo>
                    <a:lnTo>
                      <a:pt x="173" y="93"/>
                    </a:lnTo>
                    <a:lnTo>
                      <a:pt x="173" y="92"/>
                    </a:lnTo>
                    <a:lnTo>
                      <a:pt x="174" y="92"/>
                    </a:lnTo>
                    <a:lnTo>
                      <a:pt x="174" y="93"/>
                    </a:lnTo>
                    <a:lnTo>
                      <a:pt x="175" y="93"/>
                    </a:lnTo>
                    <a:lnTo>
                      <a:pt x="175" y="94"/>
                    </a:lnTo>
                    <a:lnTo>
                      <a:pt x="175" y="95"/>
                    </a:lnTo>
                    <a:lnTo>
                      <a:pt x="176" y="95"/>
                    </a:lnTo>
                    <a:lnTo>
                      <a:pt x="176" y="94"/>
                    </a:lnTo>
                    <a:lnTo>
                      <a:pt x="176" y="93"/>
                    </a:lnTo>
                    <a:lnTo>
                      <a:pt x="175" y="93"/>
                    </a:lnTo>
                    <a:lnTo>
                      <a:pt x="175" y="92"/>
                    </a:lnTo>
                    <a:lnTo>
                      <a:pt x="175" y="91"/>
                    </a:lnTo>
                    <a:lnTo>
                      <a:pt x="175" y="90"/>
                    </a:lnTo>
                    <a:lnTo>
                      <a:pt x="175" y="89"/>
                    </a:lnTo>
                    <a:lnTo>
                      <a:pt x="175" y="88"/>
                    </a:lnTo>
                    <a:lnTo>
                      <a:pt x="174" y="88"/>
                    </a:lnTo>
                    <a:lnTo>
                      <a:pt x="174" y="87"/>
                    </a:lnTo>
                    <a:lnTo>
                      <a:pt x="175" y="87"/>
                    </a:lnTo>
                    <a:lnTo>
                      <a:pt x="176" y="87"/>
                    </a:lnTo>
                    <a:lnTo>
                      <a:pt x="175" y="86"/>
                    </a:lnTo>
                    <a:lnTo>
                      <a:pt x="176" y="86"/>
                    </a:lnTo>
                    <a:lnTo>
                      <a:pt x="177" y="86"/>
                    </a:lnTo>
                    <a:lnTo>
                      <a:pt x="177" y="85"/>
                    </a:lnTo>
                    <a:lnTo>
                      <a:pt x="178" y="84"/>
                    </a:lnTo>
                    <a:lnTo>
                      <a:pt x="178" y="82"/>
                    </a:lnTo>
                    <a:lnTo>
                      <a:pt x="179" y="82"/>
                    </a:lnTo>
                    <a:lnTo>
                      <a:pt x="180" y="81"/>
                    </a:lnTo>
                    <a:lnTo>
                      <a:pt x="180" y="80"/>
                    </a:lnTo>
                    <a:lnTo>
                      <a:pt x="181" y="79"/>
                    </a:lnTo>
                    <a:lnTo>
                      <a:pt x="183" y="79"/>
                    </a:lnTo>
                    <a:lnTo>
                      <a:pt x="183" y="78"/>
                    </a:lnTo>
                    <a:lnTo>
                      <a:pt x="184" y="77"/>
                    </a:lnTo>
                    <a:lnTo>
                      <a:pt x="183" y="77"/>
                    </a:lnTo>
                    <a:lnTo>
                      <a:pt x="184" y="77"/>
                    </a:lnTo>
                    <a:lnTo>
                      <a:pt x="185" y="78"/>
                    </a:lnTo>
                    <a:lnTo>
                      <a:pt x="185" y="77"/>
                    </a:lnTo>
                    <a:lnTo>
                      <a:pt x="185" y="76"/>
                    </a:lnTo>
                    <a:lnTo>
                      <a:pt x="185" y="75"/>
                    </a:lnTo>
                    <a:lnTo>
                      <a:pt x="184" y="75"/>
                    </a:lnTo>
                    <a:lnTo>
                      <a:pt x="185" y="74"/>
                    </a:lnTo>
                    <a:lnTo>
                      <a:pt x="185" y="73"/>
                    </a:lnTo>
                    <a:lnTo>
                      <a:pt x="186" y="73"/>
                    </a:lnTo>
                    <a:lnTo>
                      <a:pt x="187" y="73"/>
                    </a:lnTo>
                    <a:lnTo>
                      <a:pt x="186" y="72"/>
                    </a:lnTo>
                    <a:lnTo>
                      <a:pt x="187" y="72"/>
                    </a:lnTo>
                    <a:lnTo>
                      <a:pt x="187" y="71"/>
                    </a:lnTo>
                    <a:lnTo>
                      <a:pt x="186" y="71"/>
                    </a:lnTo>
                    <a:lnTo>
                      <a:pt x="187" y="69"/>
                    </a:lnTo>
                    <a:lnTo>
                      <a:pt x="188" y="71"/>
                    </a:lnTo>
                    <a:lnTo>
                      <a:pt x="188" y="69"/>
                    </a:lnTo>
                    <a:lnTo>
                      <a:pt x="187" y="69"/>
                    </a:lnTo>
                    <a:lnTo>
                      <a:pt x="187" y="68"/>
                    </a:lnTo>
                    <a:lnTo>
                      <a:pt x="188" y="68"/>
                    </a:lnTo>
                    <a:lnTo>
                      <a:pt x="188" y="67"/>
                    </a:lnTo>
                    <a:lnTo>
                      <a:pt x="188" y="66"/>
                    </a:lnTo>
                    <a:lnTo>
                      <a:pt x="187" y="66"/>
                    </a:lnTo>
                    <a:lnTo>
                      <a:pt x="187" y="65"/>
                    </a:lnTo>
                    <a:lnTo>
                      <a:pt x="186" y="64"/>
                    </a:lnTo>
                    <a:lnTo>
                      <a:pt x="186" y="63"/>
                    </a:lnTo>
                    <a:lnTo>
                      <a:pt x="185" y="62"/>
                    </a:lnTo>
                    <a:lnTo>
                      <a:pt x="184" y="61"/>
                    </a:lnTo>
                    <a:lnTo>
                      <a:pt x="184" y="60"/>
                    </a:lnTo>
                    <a:lnTo>
                      <a:pt x="183" y="59"/>
                    </a:lnTo>
                    <a:lnTo>
                      <a:pt x="184" y="59"/>
                    </a:lnTo>
                    <a:lnTo>
                      <a:pt x="184" y="57"/>
                    </a:lnTo>
                    <a:lnTo>
                      <a:pt x="184" y="56"/>
                    </a:lnTo>
                    <a:lnTo>
                      <a:pt x="183" y="56"/>
                    </a:lnTo>
                    <a:lnTo>
                      <a:pt x="183" y="55"/>
                    </a:lnTo>
                    <a:lnTo>
                      <a:pt x="183" y="54"/>
                    </a:lnTo>
                    <a:lnTo>
                      <a:pt x="181" y="54"/>
                    </a:lnTo>
                    <a:lnTo>
                      <a:pt x="180" y="54"/>
                    </a:lnTo>
                    <a:lnTo>
                      <a:pt x="180" y="53"/>
                    </a:lnTo>
                    <a:lnTo>
                      <a:pt x="180" y="52"/>
                    </a:lnTo>
                    <a:lnTo>
                      <a:pt x="179" y="52"/>
                    </a:lnTo>
                    <a:lnTo>
                      <a:pt x="178" y="52"/>
                    </a:lnTo>
                    <a:lnTo>
                      <a:pt x="178" y="51"/>
                    </a:lnTo>
                    <a:lnTo>
                      <a:pt x="177" y="51"/>
                    </a:lnTo>
                    <a:lnTo>
                      <a:pt x="176" y="51"/>
                    </a:lnTo>
                    <a:lnTo>
                      <a:pt x="176" y="50"/>
                    </a:lnTo>
                    <a:lnTo>
                      <a:pt x="175" y="50"/>
                    </a:lnTo>
                    <a:lnTo>
                      <a:pt x="175" y="49"/>
                    </a:lnTo>
                    <a:lnTo>
                      <a:pt x="176" y="49"/>
                    </a:lnTo>
                    <a:lnTo>
                      <a:pt x="175" y="49"/>
                    </a:lnTo>
                    <a:lnTo>
                      <a:pt x="175" y="48"/>
                    </a:lnTo>
                    <a:lnTo>
                      <a:pt x="174" y="48"/>
                    </a:lnTo>
                    <a:lnTo>
                      <a:pt x="173" y="48"/>
                    </a:lnTo>
                    <a:lnTo>
                      <a:pt x="173" y="49"/>
                    </a:lnTo>
                    <a:lnTo>
                      <a:pt x="173" y="48"/>
                    </a:lnTo>
                    <a:lnTo>
                      <a:pt x="173" y="47"/>
                    </a:lnTo>
                    <a:lnTo>
                      <a:pt x="172" y="47"/>
                    </a:lnTo>
                    <a:lnTo>
                      <a:pt x="173" y="47"/>
                    </a:lnTo>
                    <a:lnTo>
                      <a:pt x="173" y="46"/>
                    </a:lnTo>
                    <a:lnTo>
                      <a:pt x="172" y="44"/>
                    </a:lnTo>
                    <a:lnTo>
                      <a:pt x="172" y="43"/>
                    </a:lnTo>
                    <a:lnTo>
                      <a:pt x="172" y="42"/>
                    </a:lnTo>
                    <a:lnTo>
                      <a:pt x="171" y="42"/>
                    </a:lnTo>
                    <a:lnTo>
                      <a:pt x="171" y="41"/>
                    </a:lnTo>
                    <a:lnTo>
                      <a:pt x="171" y="40"/>
                    </a:lnTo>
                    <a:lnTo>
                      <a:pt x="171" y="39"/>
                    </a:lnTo>
                    <a:lnTo>
                      <a:pt x="172" y="39"/>
                    </a:lnTo>
                    <a:lnTo>
                      <a:pt x="172" y="38"/>
                    </a:lnTo>
                    <a:lnTo>
                      <a:pt x="173" y="38"/>
                    </a:lnTo>
                    <a:lnTo>
                      <a:pt x="173" y="37"/>
                    </a:lnTo>
                    <a:lnTo>
                      <a:pt x="174" y="37"/>
                    </a:lnTo>
                    <a:lnTo>
                      <a:pt x="174" y="36"/>
                    </a:lnTo>
                    <a:lnTo>
                      <a:pt x="175" y="36"/>
                    </a:lnTo>
                    <a:lnTo>
                      <a:pt x="176" y="35"/>
                    </a:lnTo>
                    <a:lnTo>
                      <a:pt x="176" y="34"/>
                    </a:lnTo>
                    <a:lnTo>
                      <a:pt x="177" y="34"/>
                    </a:lnTo>
                    <a:lnTo>
                      <a:pt x="177" y="33"/>
                    </a:lnTo>
                    <a:lnTo>
                      <a:pt x="178" y="33"/>
                    </a:lnTo>
                    <a:lnTo>
                      <a:pt x="178" y="31"/>
                    </a:lnTo>
                    <a:lnTo>
                      <a:pt x="177" y="30"/>
                    </a:lnTo>
                    <a:lnTo>
                      <a:pt x="176" y="29"/>
                    </a:lnTo>
                    <a:lnTo>
                      <a:pt x="176" y="28"/>
                    </a:lnTo>
                    <a:lnTo>
                      <a:pt x="175" y="27"/>
                    </a:lnTo>
                    <a:lnTo>
                      <a:pt x="175" y="26"/>
                    </a:lnTo>
                    <a:lnTo>
                      <a:pt x="175" y="25"/>
                    </a:lnTo>
                    <a:lnTo>
                      <a:pt x="174" y="25"/>
                    </a:lnTo>
                    <a:lnTo>
                      <a:pt x="173" y="25"/>
                    </a:lnTo>
                    <a:lnTo>
                      <a:pt x="173" y="24"/>
                    </a:lnTo>
                    <a:lnTo>
                      <a:pt x="172" y="24"/>
                    </a:lnTo>
                    <a:lnTo>
                      <a:pt x="171" y="22"/>
                    </a:lnTo>
                    <a:lnTo>
                      <a:pt x="171" y="21"/>
                    </a:lnTo>
                    <a:lnTo>
                      <a:pt x="171" y="20"/>
                    </a:lnTo>
                    <a:lnTo>
                      <a:pt x="170" y="20"/>
                    </a:lnTo>
                    <a:lnTo>
                      <a:pt x="170" y="18"/>
                    </a:lnTo>
                    <a:lnTo>
                      <a:pt x="168" y="18"/>
                    </a:lnTo>
                    <a:lnTo>
                      <a:pt x="170" y="18"/>
                    </a:lnTo>
                    <a:lnTo>
                      <a:pt x="168" y="18"/>
                    </a:lnTo>
                    <a:lnTo>
                      <a:pt x="168" y="17"/>
                    </a:lnTo>
                    <a:lnTo>
                      <a:pt x="168" y="16"/>
                    </a:lnTo>
                    <a:lnTo>
                      <a:pt x="168" y="15"/>
                    </a:lnTo>
                    <a:lnTo>
                      <a:pt x="168" y="14"/>
                    </a:lnTo>
                    <a:lnTo>
                      <a:pt x="167" y="14"/>
                    </a:lnTo>
                    <a:lnTo>
                      <a:pt x="167" y="15"/>
                    </a:lnTo>
                    <a:lnTo>
                      <a:pt x="167" y="14"/>
                    </a:lnTo>
                    <a:lnTo>
                      <a:pt x="166" y="14"/>
                    </a:lnTo>
                    <a:lnTo>
                      <a:pt x="166" y="13"/>
                    </a:lnTo>
                    <a:lnTo>
                      <a:pt x="165" y="13"/>
                    </a:lnTo>
                    <a:lnTo>
                      <a:pt x="165" y="12"/>
                    </a:lnTo>
                    <a:lnTo>
                      <a:pt x="164" y="12"/>
                    </a:lnTo>
                    <a:lnTo>
                      <a:pt x="164" y="11"/>
                    </a:lnTo>
                    <a:lnTo>
                      <a:pt x="165" y="11"/>
                    </a:lnTo>
                    <a:lnTo>
                      <a:pt x="165" y="10"/>
                    </a:lnTo>
                    <a:lnTo>
                      <a:pt x="164" y="10"/>
                    </a:lnTo>
                    <a:lnTo>
                      <a:pt x="163" y="10"/>
                    </a:lnTo>
                    <a:lnTo>
                      <a:pt x="163" y="9"/>
                    </a:lnTo>
                    <a:lnTo>
                      <a:pt x="162" y="9"/>
                    </a:lnTo>
                    <a:lnTo>
                      <a:pt x="163" y="9"/>
                    </a:lnTo>
                    <a:lnTo>
                      <a:pt x="163" y="8"/>
                    </a:lnTo>
                    <a:lnTo>
                      <a:pt x="162" y="7"/>
                    </a:lnTo>
                    <a:lnTo>
                      <a:pt x="162" y="5"/>
                    </a:lnTo>
                    <a:lnTo>
                      <a:pt x="162" y="7"/>
                    </a:lnTo>
                    <a:lnTo>
                      <a:pt x="161" y="7"/>
                    </a:lnTo>
                    <a:lnTo>
                      <a:pt x="161" y="5"/>
                    </a:lnTo>
                    <a:lnTo>
                      <a:pt x="160" y="5"/>
                    </a:lnTo>
                    <a:lnTo>
                      <a:pt x="160" y="4"/>
                    </a:lnTo>
                    <a:lnTo>
                      <a:pt x="159" y="4"/>
                    </a:lnTo>
                    <a:lnTo>
                      <a:pt x="158" y="3"/>
                    </a:lnTo>
                    <a:lnTo>
                      <a:pt x="158" y="2"/>
                    </a:lnTo>
                    <a:lnTo>
                      <a:pt x="157" y="2"/>
                    </a:lnTo>
                    <a:lnTo>
                      <a:pt x="157" y="1"/>
                    </a:lnTo>
                    <a:lnTo>
                      <a:pt x="158" y="1"/>
                    </a:lnTo>
                    <a:lnTo>
                      <a:pt x="157" y="0"/>
                    </a:lnTo>
                    <a:lnTo>
                      <a:pt x="168" y="0"/>
                    </a:lnTo>
                    <a:lnTo>
                      <a:pt x="171" y="0"/>
                    </a:lnTo>
                    <a:lnTo>
                      <a:pt x="189" y="0"/>
                    </a:lnTo>
                    <a:lnTo>
                      <a:pt x="194" y="0"/>
                    </a:lnTo>
                    <a:lnTo>
                      <a:pt x="200" y="0"/>
                    </a:lnTo>
                    <a:lnTo>
                      <a:pt x="202" y="0"/>
                    </a:lnTo>
                    <a:lnTo>
                      <a:pt x="204" y="0"/>
                    </a:lnTo>
                    <a:lnTo>
                      <a:pt x="210" y="0"/>
                    </a:lnTo>
                    <a:lnTo>
                      <a:pt x="241" y="0"/>
                    </a:lnTo>
                    <a:lnTo>
                      <a:pt x="255" y="0"/>
                    </a:lnTo>
                    <a:lnTo>
                      <a:pt x="269" y="0"/>
                    </a:lnTo>
                    <a:lnTo>
                      <a:pt x="271" y="0"/>
                    </a:lnTo>
                    <a:lnTo>
                      <a:pt x="288" y="0"/>
                    </a:lnTo>
                    <a:lnTo>
                      <a:pt x="308" y="0"/>
                    </a:lnTo>
                    <a:close/>
                  </a:path>
                </a:pathLst>
              </a:custGeom>
              <a:solidFill>
                <a:srgbClr val="D0E6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0" name="Freeform 308">
                <a:extLst>
                  <a:ext uri="{FF2B5EF4-FFF2-40B4-BE49-F238E27FC236}">
                    <a16:creationId xmlns:a16="http://schemas.microsoft.com/office/drawing/2014/main" id="{B1D57E1C-71B7-148D-4CC1-952231944196}"/>
                  </a:ext>
                </a:extLst>
              </p:cNvPr>
              <p:cNvSpPr>
                <a:spLocks/>
              </p:cNvSpPr>
              <p:nvPr/>
            </p:nvSpPr>
            <p:spPr bwMode="auto">
              <a:xfrm>
                <a:off x="1301751" y="2479675"/>
                <a:ext cx="627063" cy="776288"/>
              </a:xfrm>
              <a:custGeom>
                <a:avLst/>
                <a:gdLst>
                  <a:gd name="T0" fmla="*/ 269 w 395"/>
                  <a:gd name="T1" fmla="*/ 95 h 489"/>
                  <a:gd name="T2" fmla="*/ 333 w 395"/>
                  <a:gd name="T3" fmla="*/ 121 h 489"/>
                  <a:gd name="T4" fmla="*/ 333 w 395"/>
                  <a:gd name="T5" fmla="*/ 211 h 489"/>
                  <a:gd name="T6" fmla="*/ 395 w 395"/>
                  <a:gd name="T7" fmla="*/ 268 h 489"/>
                  <a:gd name="T8" fmla="*/ 333 w 395"/>
                  <a:gd name="T9" fmla="*/ 347 h 489"/>
                  <a:gd name="T10" fmla="*/ 220 w 395"/>
                  <a:gd name="T11" fmla="*/ 409 h 489"/>
                  <a:gd name="T12" fmla="*/ 212 w 395"/>
                  <a:gd name="T13" fmla="*/ 417 h 489"/>
                  <a:gd name="T14" fmla="*/ 211 w 395"/>
                  <a:gd name="T15" fmla="*/ 427 h 489"/>
                  <a:gd name="T16" fmla="*/ 200 w 395"/>
                  <a:gd name="T17" fmla="*/ 435 h 489"/>
                  <a:gd name="T18" fmla="*/ 203 w 395"/>
                  <a:gd name="T19" fmla="*/ 445 h 489"/>
                  <a:gd name="T20" fmla="*/ 202 w 395"/>
                  <a:gd name="T21" fmla="*/ 453 h 489"/>
                  <a:gd name="T22" fmla="*/ 205 w 395"/>
                  <a:gd name="T23" fmla="*/ 466 h 489"/>
                  <a:gd name="T24" fmla="*/ 198 w 395"/>
                  <a:gd name="T25" fmla="*/ 476 h 489"/>
                  <a:gd name="T26" fmla="*/ 186 w 395"/>
                  <a:gd name="T27" fmla="*/ 487 h 489"/>
                  <a:gd name="T28" fmla="*/ 172 w 395"/>
                  <a:gd name="T29" fmla="*/ 475 h 489"/>
                  <a:gd name="T30" fmla="*/ 171 w 395"/>
                  <a:gd name="T31" fmla="*/ 454 h 489"/>
                  <a:gd name="T32" fmla="*/ 175 w 395"/>
                  <a:gd name="T33" fmla="*/ 445 h 489"/>
                  <a:gd name="T34" fmla="*/ 162 w 395"/>
                  <a:gd name="T35" fmla="*/ 441 h 489"/>
                  <a:gd name="T36" fmla="*/ 164 w 395"/>
                  <a:gd name="T37" fmla="*/ 427 h 489"/>
                  <a:gd name="T38" fmla="*/ 159 w 395"/>
                  <a:gd name="T39" fmla="*/ 413 h 489"/>
                  <a:gd name="T40" fmla="*/ 146 w 395"/>
                  <a:gd name="T41" fmla="*/ 410 h 489"/>
                  <a:gd name="T42" fmla="*/ 136 w 395"/>
                  <a:gd name="T43" fmla="*/ 406 h 489"/>
                  <a:gd name="T44" fmla="*/ 124 w 395"/>
                  <a:gd name="T45" fmla="*/ 391 h 489"/>
                  <a:gd name="T46" fmla="*/ 122 w 395"/>
                  <a:gd name="T47" fmla="*/ 381 h 489"/>
                  <a:gd name="T48" fmla="*/ 129 w 395"/>
                  <a:gd name="T49" fmla="*/ 368 h 489"/>
                  <a:gd name="T50" fmla="*/ 142 w 395"/>
                  <a:gd name="T51" fmla="*/ 351 h 489"/>
                  <a:gd name="T52" fmla="*/ 148 w 395"/>
                  <a:gd name="T53" fmla="*/ 340 h 489"/>
                  <a:gd name="T54" fmla="*/ 130 w 395"/>
                  <a:gd name="T55" fmla="*/ 346 h 489"/>
                  <a:gd name="T56" fmla="*/ 130 w 395"/>
                  <a:gd name="T57" fmla="*/ 327 h 489"/>
                  <a:gd name="T58" fmla="*/ 113 w 395"/>
                  <a:gd name="T59" fmla="*/ 314 h 489"/>
                  <a:gd name="T60" fmla="*/ 117 w 395"/>
                  <a:gd name="T61" fmla="*/ 293 h 489"/>
                  <a:gd name="T62" fmla="*/ 104 w 395"/>
                  <a:gd name="T63" fmla="*/ 282 h 489"/>
                  <a:gd name="T64" fmla="*/ 81 w 395"/>
                  <a:gd name="T65" fmla="*/ 270 h 489"/>
                  <a:gd name="T66" fmla="*/ 81 w 395"/>
                  <a:gd name="T67" fmla="*/ 260 h 489"/>
                  <a:gd name="T68" fmla="*/ 93 w 395"/>
                  <a:gd name="T69" fmla="*/ 258 h 489"/>
                  <a:gd name="T70" fmla="*/ 100 w 395"/>
                  <a:gd name="T71" fmla="*/ 248 h 489"/>
                  <a:gd name="T72" fmla="*/ 105 w 395"/>
                  <a:gd name="T73" fmla="*/ 240 h 489"/>
                  <a:gd name="T74" fmla="*/ 84 w 395"/>
                  <a:gd name="T75" fmla="*/ 237 h 489"/>
                  <a:gd name="T76" fmla="*/ 83 w 395"/>
                  <a:gd name="T77" fmla="*/ 228 h 489"/>
                  <a:gd name="T78" fmla="*/ 79 w 395"/>
                  <a:gd name="T79" fmla="*/ 231 h 489"/>
                  <a:gd name="T80" fmla="*/ 50 w 395"/>
                  <a:gd name="T81" fmla="*/ 222 h 489"/>
                  <a:gd name="T82" fmla="*/ 39 w 395"/>
                  <a:gd name="T83" fmla="*/ 209 h 489"/>
                  <a:gd name="T84" fmla="*/ 37 w 395"/>
                  <a:gd name="T85" fmla="*/ 200 h 489"/>
                  <a:gd name="T86" fmla="*/ 27 w 395"/>
                  <a:gd name="T87" fmla="*/ 178 h 489"/>
                  <a:gd name="T88" fmla="*/ 35 w 395"/>
                  <a:gd name="T89" fmla="*/ 167 h 489"/>
                  <a:gd name="T90" fmla="*/ 40 w 395"/>
                  <a:gd name="T91" fmla="*/ 159 h 489"/>
                  <a:gd name="T92" fmla="*/ 41 w 395"/>
                  <a:gd name="T93" fmla="*/ 149 h 489"/>
                  <a:gd name="T94" fmla="*/ 41 w 395"/>
                  <a:gd name="T95" fmla="*/ 141 h 489"/>
                  <a:gd name="T96" fmla="*/ 37 w 395"/>
                  <a:gd name="T97" fmla="*/ 124 h 489"/>
                  <a:gd name="T98" fmla="*/ 43 w 395"/>
                  <a:gd name="T99" fmla="*/ 121 h 489"/>
                  <a:gd name="T100" fmla="*/ 54 w 395"/>
                  <a:gd name="T101" fmla="*/ 102 h 489"/>
                  <a:gd name="T102" fmla="*/ 43 w 395"/>
                  <a:gd name="T103" fmla="*/ 95 h 489"/>
                  <a:gd name="T104" fmla="*/ 30 w 395"/>
                  <a:gd name="T105" fmla="*/ 72 h 489"/>
                  <a:gd name="T106" fmla="*/ 33 w 395"/>
                  <a:gd name="T107" fmla="*/ 63 h 489"/>
                  <a:gd name="T108" fmla="*/ 35 w 395"/>
                  <a:gd name="T109" fmla="*/ 55 h 489"/>
                  <a:gd name="T110" fmla="*/ 30 w 395"/>
                  <a:gd name="T111" fmla="*/ 47 h 489"/>
                  <a:gd name="T112" fmla="*/ 29 w 395"/>
                  <a:gd name="T113" fmla="*/ 38 h 489"/>
                  <a:gd name="T114" fmla="*/ 18 w 395"/>
                  <a:gd name="T115" fmla="*/ 33 h 489"/>
                  <a:gd name="T116" fmla="*/ 7 w 395"/>
                  <a:gd name="T117" fmla="*/ 24 h 489"/>
                  <a:gd name="T118" fmla="*/ 5 w 395"/>
                  <a:gd name="T119" fmla="*/ 12 h 489"/>
                  <a:gd name="T120" fmla="*/ 4 w 395"/>
                  <a:gd name="T121" fmla="*/ 3 h 489"/>
                  <a:gd name="T122" fmla="*/ 52 w 395"/>
                  <a:gd name="T123" fmla="*/ 1 h 489"/>
                  <a:gd name="T124" fmla="*/ 182 w 395"/>
                  <a:gd name="T125"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89">
                    <a:moveTo>
                      <a:pt x="271" y="1"/>
                    </a:moveTo>
                    <a:lnTo>
                      <a:pt x="271" y="6"/>
                    </a:lnTo>
                    <a:lnTo>
                      <a:pt x="271" y="15"/>
                    </a:lnTo>
                    <a:lnTo>
                      <a:pt x="271" y="24"/>
                    </a:lnTo>
                    <a:lnTo>
                      <a:pt x="271" y="28"/>
                    </a:lnTo>
                    <a:lnTo>
                      <a:pt x="271" y="41"/>
                    </a:lnTo>
                    <a:lnTo>
                      <a:pt x="271" y="42"/>
                    </a:lnTo>
                    <a:lnTo>
                      <a:pt x="271" y="53"/>
                    </a:lnTo>
                    <a:lnTo>
                      <a:pt x="269" y="69"/>
                    </a:lnTo>
                    <a:lnTo>
                      <a:pt x="271" y="70"/>
                    </a:lnTo>
                    <a:lnTo>
                      <a:pt x="271" y="74"/>
                    </a:lnTo>
                    <a:lnTo>
                      <a:pt x="269" y="88"/>
                    </a:lnTo>
                    <a:lnTo>
                      <a:pt x="269" y="95"/>
                    </a:lnTo>
                    <a:lnTo>
                      <a:pt x="282" y="94"/>
                    </a:lnTo>
                    <a:lnTo>
                      <a:pt x="286" y="95"/>
                    </a:lnTo>
                    <a:lnTo>
                      <a:pt x="295" y="95"/>
                    </a:lnTo>
                    <a:lnTo>
                      <a:pt x="307" y="95"/>
                    </a:lnTo>
                    <a:lnTo>
                      <a:pt x="311" y="95"/>
                    </a:lnTo>
                    <a:lnTo>
                      <a:pt x="323" y="95"/>
                    </a:lnTo>
                    <a:lnTo>
                      <a:pt x="332" y="95"/>
                    </a:lnTo>
                    <a:lnTo>
                      <a:pt x="333" y="101"/>
                    </a:lnTo>
                    <a:lnTo>
                      <a:pt x="333" y="105"/>
                    </a:lnTo>
                    <a:lnTo>
                      <a:pt x="333" y="106"/>
                    </a:lnTo>
                    <a:lnTo>
                      <a:pt x="333" y="111"/>
                    </a:lnTo>
                    <a:lnTo>
                      <a:pt x="333" y="118"/>
                    </a:lnTo>
                    <a:lnTo>
                      <a:pt x="333" y="121"/>
                    </a:lnTo>
                    <a:lnTo>
                      <a:pt x="332" y="131"/>
                    </a:lnTo>
                    <a:lnTo>
                      <a:pt x="332" y="132"/>
                    </a:lnTo>
                    <a:lnTo>
                      <a:pt x="332" y="142"/>
                    </a:lnTo>
                    <a:lnTo>
                      <a:pt x="333" y="146"/>
                    </a:lnTo>
                    <a:lnTo>
                      <a:pt x="333" y="149"/>
                    </a:lnTo>
                    <a:lnTo>
                      <a:pt x="333" y="150"/>
                    </a:lnTo>
                    <a:lnTo>
                      <a:pt x="333" y="162"/>
                    </a:lnTo>
                    <a:lnTo>
                      <a:pt x="333" y="179"/>
                    </a:lnTo>
                    <a:lnTo>
                      <a:pt x="333" y="191"/>
                    </a:lnTo>
                    <a:lnTo>
                      <a:pt x="333" y="193"/>
                    </a:lnTo>
                    <a:lnTo>
                      <a:pt x="333" y="195"/>
                    </a:lnTo>
                    <a:lnTo>
                      <a:pt x="333" y="208"/>
                    </a:lnTo>
                    <a:lnTo>
                      <a:pt x="333" y="211"/>
                    </a:lnTo>
                    <a:lnTo>
                      <a:pt x="333" y="222"/>
                    </a:lnTo>
                    <a:lnTo>
                      <a:pt x="346" y="222"/>
                    </a:lnTo>
                    <a:lnTo>
                      <a:pt x="350" y="222"/>
                    </a:lnTo>
                    <a:lnTo>
                      <a:pt x="362" y="222"/>
                    </a:lnTo>
                    <a:lnTo>
                      <a:pt x="379" y="222"/>
                    </a:lnTo>
                    <a:lnTo>
                      <a:pt x="380" y="221"/>
                    </a:lnTo>
                    <a:lnTo>
                      <a:pt x="381" y="221"/>
                    </a:lnTo>
                    <a:lnTo>
                      <a:pt x="385" y="222"/>
                    </a:lnTo>
                    <a:lnTo>
                      <a:pt x="387" y="222"/>
                    </a:lnTo>
                    <a:lnTo>
                      <a:pt x="395" y="221"/>
                    </a:lnTo>
                    <a:lnTo>
                      <a:pt x="395" y="249"/>
                    </a:lnTo>
                    <a:lnTo>
                      <a:pt x="395" y="250"/>
                    </a:lnTo>
                    <a:lnTo>
                      <a:pt x="395" y="268"/>
                    </a:lnTo>
                    <a:lnTo>
                      <a:pt x="395" y="292"/>
                    </a:lnTo>
                    <a:lnTo>
                      <a:pt x="395" y="305"/>
                    </a:lnTo>
                    <a:lnTo>
                      <a:pt x="395" y="324"/>
                    </a:lnTo>
                    <a:lnTo>
                      <a:pt x="395" y="338"/>
                    </a:lnTo>
                    <a:lnTo>
                      <a:pt x="395" y="346"/>
                    </a:lnTo>
                    <a:lnTo>
                      <a:pt x="387" y="347"/>
                    </a:lnTo>
                    <a:lnTo>
                      <a:pt x="365" y="347"/>
                    </a:lnTo>
                    <a:lnTo>
                      <a:pt x="364" y="347"/>
                    </a:lnTo>
                    <a:lnTo>
                      <a:pt x="363" y="347"/>
                    </a:lnTo>
                    <a:lnTo>
                      <a:pt x="362" y="347"/>
                    </a:lnTo>
                    <a:lnTo>
                      <a:pt x="345" y="347"/>
                    </a:lnTo>
                    <a:lnTo>
                      <a:pt x="341" y="347"/>
                    </a:lnTo>
                    <a:lnTo>
                      <a:pt x="333" y="347"/>
                    </a:lnTo>
                    <a:lnTo>
                      <a:pt x="320" y="347"/>
                    </a:lnTo>
                    <a:lnTo>
                      <a:pt x="314" y="347"/>
                    </a:lnTo>
                    <a:lnTo>
                      <a:pt x="311" y="347"/>
                    </a:lnTo>
                    <a:lnTo>
                      <a:pt x="308" y="347"/>
                    </a:lnTo>
                    <a:lnTo>
                      <a:pt x="302" y="347"/>
                    </a:lnTo>
                    <a:lnTo>
                      <a:pt x="301" y="347"/>
                    </a:lnTo>
                    <a:lnTo>
                      <a:pt x="293" y="363"/>
                    </a:lnTo>
                    <a:lnTo>
                      <a:pt x="291" y="368"/>
                    </a:lnTo>
                    <a:lnTo>
                      <a:pt x="279" y="389"/>
                    </a:lnTo>
                    <a:lnTo>
                      <a:pt x="274" y="399"/>
                    </a:lnTo>
                    <a:lnTo>
                      <a:pt x="269" y="410"/>
                    </a:lnTo>
                    <a:lnTo>
                      <a:pt x="241" y="409"/>
                    </a:lnTo>
                    <a:lnTo>
                      <a:pt x="220" y="409"/>
                    </a:lnTo>
                    <a:lnTo>
                      <a:pt x="214" y="409"/>
                    </a:lnTo>
                    <a:lnTo>
                      <a:pt x="213" y="410"/>
                    </a:lnTo>
                    <a:lnTo>
                      <a:pt x="212" y="410"/>
                    </a:lnTo>
                    <a:lnTo>
                      <a:pt x="213" y="411"/>
                    </a:lnTo>
                    <a:lnTo>
                      <a:pt x="212" y="411"/>
                    </a:lnTo>
                    <a:lnTo>
                      <a:pt x="212" y="412"/>
                    </a:lnTo>
                    <a:lnTo>
                      <a:pt x="213" y="413"/>
                    </a:lnTo>
                    <a:lnTo>
                      <a:pt x="213" y="414"/>
                    </a:lnTo>
                    <a:lnTo>
                      <a:pt x="212" y="414"/>
                    </a:lnTo>
                    <a:lnTo>
                      <a:pt x="211" y="415"/>
                    </a:lnTo>
                    <a:lnTo>
                      <a:pt x="212" y="415"/>
                    </a:lnTo>
                    <a:lnTo>
                      <a:pt x="212" y="416"/>
                    </a:lnTo>
                    <a:lnTo>
                      <a:pt x="212" y="417"/>
                    </a:lnTo>
                    <a:lnTo>
                      <a:pt x="212" y="419"/>
                    </a:lnTo>
                    <a:lnTo>
                      <a:pt x="212" y="420"/>
                    </a:lnTo>
                    <a:lnTo>
                      <a:pt x="213" y="421"/>
                    </a:lnTo>
                    <a:lnTo>
                      <a:pt x="212" y="421"/>
                    </a:lnTo>
                    <a:lnTo>
                      <a:pt x="212" y="422"/>
                    </a:lnTo>
                    <a:lnTo>
                      <a:pt x="211" y="422"/>
                    </a:lnTo>
                    <a:lnTo>
                      <a:pt x="210" y="423"/>
                    </a:lnTo>
                    <a:lnTo>
                      <a:pt x="210" y="424"/>
                    </a:lnTo>
                    <a:lnTo>
                      <a:pt x="211" y="424"/>
                    </a:lnTo>
                    <a:lnTo>
                      <a:pt x="211" y="425"/>
                    </a:lnTo>
                    <a:lnTo>
                      <a:pt x="212" y="426"/>
                    </a:lnTo>
                    <a:lnTo>
                      <a:pt x="212" y="427"/>
                    </a:lnTo>
                    <a:lnTo>
                      <a:pt x="211" y="427"/>
                    </a:lnTo>
                    <a:lnTo>
                      <a:pt x="209" y="428"/>
                    </a:lnTo>
                    <a:lnTo>
                      <a:pt x="209" y="429"/>
                    </a:lnTo>
                    <a:lnTo>
                      <a:pt x="209" y="430"/>
                    </a:lnTo>
                    <a:lnTo>
                      <a:pt x="208" y="430"/>
                    </a:lnTo>
                    <a:lnTo>
                      <a:pt x="207" y="430"/>
                    </a:lnTo>
                    <a:lnTo>
                      <a:pt x="208" y="432"/>
                    </a:lnTo>
                    <a:lnTo>
                      <a:pt x="207" y="433"/>
                    </a:lnTo>
                    <a:lnTo>
                      <a:pt x="207" y="434"/>
                    </a:lnTo>
                    <a:lnTo>
                      <a:pt x="205" y="434"/>
                    </a:lnTo>
                    <a:lnTo>
                      <a:pt x="204" y="435"/>
                    </a:lnTo>
                    <a:lnTo>
                      <a:pt x="202" y="435"/>
                    </a:lnTo>
                    <a:lnTo>
                      <a:pt x="201" y="435"/>
                    </a:lnTo>
                    <a:lnTo>
                      <a:pt x="200" y="435"/>
                    </a:lnTo>
                    <a:lnTo>
                      <a:pt x="200" y="436"/>
                    </a:lnTo>
                    <a:lnTo>
                      <a:pt x="201" y="436"/>
                    </a:lnTo>
                    <a:lnTo>
                      <a:pt x="201" y="437"/>
                    </a:lnTo>
                    <a:lnTo>
                      <a:pt x="200" y="437"/>
                    </a:lnTo>
                    <a:lnTo>
                      <a:pt x="201" y="437"/>
                    </a:lnTo>
                    <a:lnTo>
                      <a:pt x="202" y="437"/>
                    </a:lnTo>
                    <a:lnTo>
                      <a:pt x="202" y="438"/>
                    </a:lnTo>
                    <a:lnTo>
                      <a:pt x="202" y="439"/>
                    </a:lnTo>
                    <a:lnTo>
                      <a:pt x="201" y="440"/>
                    </a:lnTo>
                    <a:lnTo>
                      <a:pt x="202" y="440"/>
                    </a:lnTo>
                    <a:lnTo>
                      <a:pt x="203" y="442"/>
                    </a:lnTo>
                    <a:lnTo>
                      <a:pt x="203" y="444"/>
                    </a:lnTo>
                    <a:lnTo>
                      <a:pt x="203" y="445"/>
                    </a:lnTo>
                    <a:lnTo>
                      <a:pt x="205" y="444"/>
                    </a:lnTo>
                    <a:lnTo>
                      <a:pt x="207" y="442"/>
                    </a:lnTo>
                    <a:lnTo>
                      <a:pt x="209" y="445"/>
                    </a:lnTo>
                    <a:lnTo>
                      <a:pt x="209" y="446"/>
                    </a:lnTo>
                    <a:lnTo>
                      <a:pt x="207" y="446"/>
                    </a:lnTo>
                    <a:lnTo>
                      <a:pt x="207" y="447"/>
                    </a:lnTo>
                    <a:lnTo>
                      <a:pt x="207" y="448"/>
                    </a:lnTo>
                    <a:lnTo>
                      <a:pt x="205" y="449"/>
                    </a:lnTo>
                    <a:lnTo>
                      <a:pt x="204" y="449"/>
                    </a:lnTo>
                    <a:lnTo>
                      <a:pt x="203" y="450"/>
                    </a:lnTo>
                    <a:lnTo>
                      <a:pt x="204" y="452"/>
                    </a:lnTo>
                    <a:lnTo>
                      <a:pt x="203" y="453"/>
                    </a:lnTo>
                    <a:lnTo>
                      <a:pt x="202" y="453"/>
                    </a:lnTo>
                    <a:lnTo>
                      <a:pt x="202" y="454"/>
                    </a:lnTo>
                    <a:lnTo>
                      <a:pt x="204" y="455"/>
                    </a:lnTo>
                    <a:lnTo>
                      <a:pt x="204" y="457"/>
                    </a:lnTo>
                    <a:lnTo>
                      <a:pt x="203" y="457"/>
                    </a:lnTo>
                    <a:lnTo>
                      <a:pt x="204" y="458"/>
                    </a:lnTo>
                    <a:lnTo>
                      <a:pt x="205" y="459"/>
                    </a:lnTo>
                    <a:lnTo>
                      <a:pt x="207" y="461"/>
                    </a:lnTo>
                    <a:lnTo>
                      <a:pt x="207" y="462"/>
                    </a:lnTo>
                    <a:lnTo>
                      <a:pt x="207" y="463"/>
                    </a:lnTo>
                    <a:lnTo>
                      <a:pt x="205" y="463"/>
                    </a:lnTo>
                    <a:lnTo>
                      <a:pt x="205" y="464"/>
                    </a:lnTo>
                    <a:lnTo>
                      <a:pt x="205" y="465"/>
                    </a:lnTo>
                    <a:lnTo>
                      <a:pt x="205" y="466"/>
                    </a:lnTo>
                    <a:lnTo>
                      <a:pt x="204" y="466"/>
                    </a:lnTo>
                    <a:lnTo>
                      <a:pt x="203" y="466"/>
                    </a:lnTo>
                    <a:lnTo>
                      <a:pt x="203" y="467"/>
                    </a:lnTo>
                    <a:lnTo>
                      <a:pt x="203" y="468"/>
                    </a:lnTo>
                    <a:lnTo>
                      <a:pt x="203" y="470"/>
                    </a:lnTo>
                    <a:lnTo>
                      <a:pt x="202" y="470"/>
                    </a:lnTo>
                    <a:lnTo>
                      <a:pt x="202" y="471"/>
                    </a:lnTo>
                    <a:lnTo>
                      <a:pt x="202" y="472"/>
                    </a:lnTo>
                    <a:lnTo>
                      <a:pt x="201" y="473"/>
                    </a:lnTo>
                    <a:lnTo>
                      <a:pt x="200" y="473"/>
                    </a:lnTo>
                    <a:lnTo>
                      <a:pt x="201" y="474"/>
                    </a:lnTo>
                    <a:lnTo>
                      <a:pt x="202" y="475"/>
                    </a:lnTo>
                    <a:lnTo>
                      <a:pt x="198" y="476"/>
                    </a:lnTo>
                    <a:lnTo>
                      <a:pt x="197" y="477"/>
                    </a:lnTo>
                    <a:lnTo>
                      <a:pt x="196" y="477"/>
                    </a:lnTo>
                    <a:lnTo>
                      <a:pt x="196" y="478"/>
                    </a:lnTo>
                    <a:lnTo>
                      <a:pt x="195" y="478"/>
                    </a:lnTo>
                    <a:lnTo>
                      <a:pt x="192" y="479"/>
                    </a:lnTo>
                    <a:lnTo>
                      <a:pt x="191" y="480"/>
                    </a:lnTo>
                    <a:lnTo>
                      <a:pt x="190" y="481"/>
                    </a:lnTo>
                    <a:lnTo>
                      <a:pt x="189" y="483"/>
                    </a:lnTo>
                    <a:lnTo>
                      <a:pt x="188" y="485"/>
                    </a:lnTo>
                    <a:lnTo>
                      <a:pt x="188" y="486"/>
                    </a:lnTo>
                    <a:lnTo>
                      <a:pt x="187" y="486"/>
                    </a:lnTo>
                    <a:lnTo>
                      <a:pt x="187" y="487"/>
                    </a:lnTo>
                    <a:lnTo>
                      <a:pt x="186" y="487"/>
                    </a:lnTo>
                    <a:lnTo>
                      <a:pt x="186" y="488"/>
                    </a:lnTo>
                    <a:lnTo>
                      <a:pt x="185" y="488"/>
                    </a:lnTo>
                    <a:lnTo>
                      <a:pt x="183" y="488"/>
                    </a:lnTo>
                    <a:lnTo>
                      <a:pt x="182" y="488"/>
                    </a:lnTo>
                    <a:lnTo>
                      <a:pt x="181" y="489"/>
                    </a:lnTo>
                    <a:lnTo>
                      <a:pt x="179" y="489"/>
                    </a:lnTo>
                    <a:lnTo>
                      <a:pt x="174" y="483"/>
                    </a:lnTo>
                    <a:lnTo>
                      <a:pt x="173" y="481"/>
                    </a:lnTo>
                    <a:lnTo>
                      <a:pt x="173" y="480"/>
                    </a:lnTo>
                    <a:lnTo>
                      <a:pt x="172" y="478"/>
                    </a:lnTo>
                    <a:lnTo>
                      <a:pt x="172" y="477"/>
                    </a:lnTo>
                    <a:lnTo>
                      <a:pt x="172" y="476"/>
                    </a:lnTo>
                    <a:lnTo>
                      <a:pt x="172" y="475"/>
                    </a:lnTo>
                    <a:lnTo>
                      <a:pt x="172" y="473"/>
                    </a:lnTo>
                    <a:lnTo>
                      <a:pt x="172" y="470"/>
                    </a:lnTo>
                    <a:lnTo>
                      <a:pt x="172" y="467"/>
                    </a:lnTo>
                    <a:lnTo>
                      <a:pt x="172" y="465"/>
                    </a:lnTo>
                    <a:lnTo>
                      <a:pt x="172" y="464"/>
                    </a:lnTo>
                    <a:lnTo>
                      <a:pt x="171" y="463"/>
                    </a:lnTo>
                    <a:lnTo>
                      <a:pt x="169" y="462"/>
                    </a:lnTo>
                    <a:lnTo>
                      <a:pt x="169" y="461"/>
                    </a:lnTo>
                    <a:lnTo>
                      <a:pt x="169" y="460"/>
                    </a:lnTo>
                    <a:lnTo>
                      <a:pt x="170" y="459"/>
                    </a:lnTo>
                    <a:lnTo>
                      <a:pt x="171" y="458"/>
                    </a:lnTo>
                    <a:lnTo>
                      <a:pt x="171" y="457"/>
                    </a:lnTo>
                    <a:lnTo>
                      <a:pt x="171" y="454"/>
                    </a:lnTo>
                    <a:lnTo>
                      <a:pt x="171" y="453"/>
                    </a:lnTo>
                    <a:lnTo>
                      <a:pt x="171" y="452"/>
                    </a:lnTo>
                    <a:lnTo>
                      <a:pt x="175" y="450"/>
                    </a:lnTo>
                    <a:lnTo>
                      <a:pt x="176" y="450"/>
                    </a:lnTo>
                    <a:lnTo>
                      <a:pt x="176" y="449"/>
                    </a:lnTo>
                    <a:lnTo>
                      <a:pt x="175" y="449"/>
                    </a:lnTo>
                    <a:lnTo>
                      <a:pt x="175" y="448"/>
                    </a:lnTo>
                    <a:lnTo>
                      <a:pt x="174" y="448"/>
                    </a:lnTo>
                    <a:lnTo>
                      <a:pt x="174" y="447"/>
                    </a:lnTo>
                    <a:lnTo>
                      <a:pt x="173" y="447"/>
                    </a:lnTo>
                    <a:lnTo>
                      <a:pt x="173" y="446"/>
                    </a:lnTo>
                    <a:lnTo>
                      <a:pt x="174" y="446"/>
                    </a:lnTo>
                    <a:lnTo>
                      <a:pt x="175" y="445"/>
                    </a:lnTo>
                    <a:lnTo>
                      <a:pt x="175" y="444"/>
                    </a:lnTo>
                    <a:lnTo>
                      <a:pt x="175" y="442"/>
                    </a:lnTo>
                    <a:lnTo>
                      <a:pt x="174" y="442"/>
                    </a:lnTo>
                    <a:lnTo>
                      <a:pt x="172" y="444"/>
                    </a:lnTo>
                    <a:lnTo>
                      <a:pt x="169" y="445"/>
                    </a:lnTo>
                    <a:lnTo>
                      <a:pt x="168" y="445"/>
                    </a:lnTo>
                    <a:lnTo>
                      <a:pt x="168" y="444"/>
                    </a:lnTo>
                    <a:lnTo>
                      <a:pt x="166" y="444"/>
                    </a:lnTo>
                    <a:lnTo>
                      <a:pt x="166" y="441"/>
                    </a:lnTo>
                    <a:lnTo>
                      <a:pt x="165" y="441"/>
                    </a:lnTo>
                    <a:lnTo>
                      <a:pt x="164" y="441"/>
                    </a:lnTo>
                    <a:lnTo>
                      <a:pt x="163" y="441"/>
                    </a:lnTo>
                    <a:lnTo>
                      <a:pt x="162" y="441"/>
                    </a:lnTo>
                    <a:lnTo>
                      <a:pt x="162" y="440"/>
                    </a:lnTo>
                    <a:lnTo>
                      <a:pt x="163" y="438"/>
                    </a:lnTo>
                    <a:lnTo>
                      <a:pt x="163" y="437"/>
                    </a:lnTo>
                    <a:lnTo>
                      <a:pt x="162" y="436"/>
                    </a:lnTo>
                    <a:lnTo>
                      <a:pt x="162" y="435"/>
                    </a:lnTo>
                    <a:lnTo>
                      <a:pt x="163" y="433"/>
                    </a:lnTo>
                    <a:lnTo>
                      <a:pt x="162" y="432"/>
                    </a:lnTo>
                    <a:lnTo>
                      <a:pt x="161" y="430"/>
                    </a:lnTo>
                    <a:lnTo>
                      <a:pt x="160" y="429"/>
                    </a:lnTo>
                    <a:lnTo>
                      <a:pt x="160" y="428"/>
                    </a:lnTo>
                    <a:lnTo>
                      <a:pt x="161" y="428"/>
                    </a:lnTo>
                    <a:lnTo>
                      <a:pt x="163" y="427"/>
                    </a:lnTo>
                    <a:lnTo>
                      <a:pt x="164" y="427"/>
                    </a:lnTo>
                    <a:lnTo>
                      <a:pt x="164" y="426"/>
                    </a:lnTo>
                    <a:lnTo>
                      <a:pt x="163" y="425"/>
                    </a:lnTo>
                    <a:lnTo>
                      <a:pt x="163" y="424"/>
                    </a:lnTo>
                    <a:lnTo>
                      <a:pt x="164" y="422"/>
                    </a:lnTo>
                    <a:lnTo>
                      <a:pt x="164" y="421"/>
                    </a:lnTo>
                    <a:lnTo>
                      <a:pt x="163" y="420"/>
                    </a:lnTo>
                    <a:lnTo>
                      <a:pt x="162" y="419"/>
                    </a:lnTo>
                    <a:lnTo>
                      <a:pt x="161" y="419"/>
                    </a:lnTo>
                    <a:lnTo>
                      <a:pt x="161" y="417"/>
                    </a:lnTo>
                    <a:lnTo>
                      <a:pt x="160" y="416"/>
                    </a:lnTo>
                    <a:lnTo>
                      <a:pt x="161" y="414"/>
                    </a:lnTo>
                    <a:lnTo>
                      <a:pt x="160" y="413"/>
                    </a:lnTo>
                    <a:lnTo>
                      <a:pt x="159" y="413"/>
                    </a:lnTo>
                    <a:lnTo>
                      <a:pt x="158" y="413"/>
                    </a:lnTo>
                    <a:lnTo>
                      <a:pt x="157" y="413"/>
                    </a:lnTo>
                    <a:lnTo>
                      <a:pt x="156" y="414"/>
                    </a:lnTo>
                    <a:lnTo>
                      <a:pt x="152" y="414"/>
                    </a:lnTo>
                    <a:lnTo>
                      <a:pt x="151" y="414"/>
                    </a:lnTo>
                    <a:lnTo>
                      <a:pt x="149" y="414"/>
                    </a:lnTo>
                    <a:lnTo>
                      <a:pt x="148" y="414"/>
                    </a:lnTo>
                    <a:lnTo>
                      <a:pt x="147" y="414"/>
                    </a:lnTo>
                    <a:lnTo>
                      <a:pt x="146" y="414"/>
                    </a:lnTo>
                    <a:lnTo>
                      <a:pt x="146" y="413"/>
                    </a:lnTo>
                    <a:lnTo>
                      <a:pt x="146" y="412"/>
                    </a:lnTo>
                    <a:lnTo>
                      <a:pt x="146" y="411"/>
                    </a:lnTo>
                    <a:lnTo>
                      <a:pt x="146" y="410"/>
                    </a:lnTo>
                    <a:lnTo>
                      <a:pt x="146" y="409"/>
                    </a:lnTo>
                    <a:lnTo>
                      <a:pt x="145" y="408"/>
                    </a:lnTo>
                    <a:lnTo>
                      <a:pt x="144" y="407"/>
                    </a:lnTo>
                    <a:lnTo>
                      <a:pt x="144" y="404"/>
                    </a:lnTo>
                    <a:lnTo>
                      <a:pt x="143" y="404"/>
                    </a:lnTo>
                    <a:lnTo>
                      <a:pt x="143" y="403"/>
                    </a:lnTo>
                    <a:lnTo>
                      <a:pt x="142" y="403"/>
                    </a:lnTo>
                    <a:lnTo>
                      <a:pt x="140" y="404"/>
                    </a:lnTo>
                    <a:lnTo>
                      <a:pt x="139" y="404"/>
                    </a:lnTo>
                    <a:lnTo>
                      <a:pt x="139" y="406"/>
                    </a:lnTo>
                    <a:lnTo>
                      <a:pt x="138" y="406"/>
                    </a:lnTo>
                    <a:lnTo>
                      <a:pt x="137" y="406"/>
                    </a:lnTo>
                    <a:lnTo>
                      <a:pt x="136" y="406"/>
                    </a:lnTo>
                    <a:lnTo>
                      <a:pt x="135" y="402"/>
                    </a:lnTo>
                    <a:lnTo>
                      <a:pt x="134" y="400"/>
                    </a:lnTo>
                    <a:lnTo>
                      <a:pt x="133" y="398"/>
                    </a:lnTo>
                    <a:lnTo>
                      <a:pt x="132" y="397"/>
                    </a:lnTo>
                    <a:lnTo>
                      <a:pt x="132" y="396"/>
                    </a:lnTo>
                    <a:lnTo>
                      <a:pt x="131" y="396"/>
                    </a:lnTo>
                    <a:lnTo>
                      <a:pt x="131" y="394"/>
                    </a:lnTo>
                    <a:lnTo>
                      <a:pt x="130" y="394"/>
                    </a:lnTo>
                    <a:lnTo>
                      <a:pt x="129" y="393"/>
                    </a:lnTo>
                    <a:lnTo>
                      <a:pt x="127" y="393"/>
                    </a:lnTo>
                    <a:lnTo>
                      <a:pt x="126" y="391"/>
                    </a:lnTo>
                    <a:lnTo>
                      <a:pt x="125" y="391"/>
                    </a:lnTo>
                    <a:lnTo>
                      <a:pt x="124" y="391"/>
                    </a:lnTo>
                    <a:lnTo>
                      <a:pt x="123" y="391"/>
                    </a:lnTo>
                    <a:lnTo>
                      <a:pt x="122" y="391"/>
                    </a:lnTo>
                    <a:lnTo>
                      <a:pt x="121" y="391"/>
                    </a:lnTo>
                    <a:lnTo>
                      <a:pt x="120" y="389"/>
                    </a:lnTo>
                    <a:lnTo>
                      <a:pt x="120" y="388"/>
                    </a:lnTo>
                    <a:lnTo>
                      <a:pt x="119" y="387"/>
                    </a:lnTo>
                    <a:lnTo>
                      <a:pt x="119" y="386"/>
                    </a:lnTo>
                    <a:lnTo>
                      <a:pt x="119" y="385"/>
                    </a:lnTo>
                    <a:lnTo>
                      <a:pt x="120" y="385"/>
                    </a:lnTo>
                    <a:lnTo>
                      <a:pt x="120" y="384"/>
                    </a:lnTo>
                    <a:lnTo>
                      <a:pt x="121" y="382"/>
                    </a:lnTo>
                    <a:lnTo>
                      <a:pt x="122" y="382"/>
                    </a:lnTo>
                    <a:lnTo>
                      <a:pt x="122" y="381"/>
                    </a:lnTo>
                    <a:lnTo>
                      <a:pt x="122" y="380"/>
                    </a:lnTo>
                    <a:lnTo>
                      <a:pt x="122" y="378"/>
                    </a:lnTo>
                    <a:lnTo>
                      <a:pt x="123" y="378"/>
                    </a:lnTo>
                    <a:lnTo>
                      <a:pt x="125" y="377"/>
                    </a:lnTo>
                    <a:lnTo>
                      <a:pt x="126" y="377"/>
                    </a:lnTo>
                    <a:lnTo>
                      <a:pt x="127" y="375"/>
                    </a:lnTo>
                    <a:lnTo>
                      <a:pt x="127" y="374"/>
                    </a:lnTo>
                    <a:lnTo>
                      <a:pt x="127" y="373"/>
                    </a:lnTo>
                    <a:lnTo>
                      <a:pt x="125" y="372"/>
                    </a:lnTo>
                    <a:lnTo>
                      <a:pt x="125" y="371"/>
                    </a:lnTo>
                    <a:lnTo>
                      <a:pt x="126" y="370"/>
                    </a:lnTo>
                    <a:lnTo>
                      <a:pt x="127" y="370"/>
                    </a:lnTo>
                    <a:lnTo>
                      <a:pt x="129" y="368"/>
                    </a:lnTo>
                    <a:lnTo>
                      <a:pt x="131" y="365"/>
                    </a:lnTo>
                    <a:lnTo>
                      <a:pt x="131" y="364"/>
                    </a:lnTo>
                    <a:lnTo>
                      <a:pt x="131" y="361"/>
                    </a:lnTo>
                    <a:lnTo>
                      <a:pt x="131" y="359"/>
                    </a:lnTo>
                    <a:lnTo>
                      <a:pt x="131" y="357"/>
                    </a:lnTo>
                    <a:lnTo>
                      <a:pt x="131" y="356"/>
                    </a:lnTo>
                    <a:lnTo>
                      <a:pt x="131" y="355"/>
                    </a:lnTo>
                    <a:lnTo>
                      <a:pt x="132" y="355"/>
                    </a:lnTo>
                    <a:lnTo>
                      <a:pt x="133" y="354"/>
                    </a:lnTo>
                    <a:lnTo>
                      <a:pt x="134" y="354"/>
                    </a:lnTo>
                    <a:lnTo>
                      <a:pt x="137" y="352"/>
                    </a:lnTo>
                    <a:lnTo>
                      <a:pt x="140" y="351"/>
                    </a:lnTo>
                    <a:lnTo>
                      <a:pt x="142" y="351"/>
                    </a:lnTo>
                    <a:lnTo>
                      <a:pt x="144" y="351"/>
                    </a:lnTo>
                    <a:lnTo>
                      <a:pt x="145" y="350"/>
                    </a:lnTo>
                    <a:lnTo>
                      <a:pt x="146" y="349"/>
                    </a:lnTo>
                    <a:lnTo>
                      <a:pt x="145" y="347"/>
                    </a:lnTo>
                    <a:lnTo>
                      <a:pt x="146" y="347"/>
                    </a:lnTo>
                    <a:lnTo>
                      <a:pt x="146" y="346"/>
                    </a:lnTo>
                    <a:lnTo>
                      <a:pt x="146" y="345"/>
                    </a:lnTo>
                    <a:lnTo>
                      <a:pt x="147" y="345"/>
                    </a:lnTo>
                    <a:lnTo>
                      <a:pt x="148" y="344"/>
                    </a:lnTo>
                    <a:lnTo>
                      <a:pt x="148" y="343"/>
                    </a:lnTo>
                    <a:lnTo>
                      <a:pt x="149" y="342"/>
                    </a:lnTo>
                    <a:lnTo>
                      <a:pt x="149" y="340"/>
                    </a:lnTo>
                    <a:lnTo>
                      <a:pt x="148" y="340"/>
                    </a:lnTo>
                    <a:lnTo>
                      <a:pt x="146" y="342"/>
                    </a:lnTo>
                    <a:lnTo>
                      <a:pt x="144" y="342"/>
                    </a:lnTo>
                    <a:lnTo>
                      <a:pt x="143" y="343"/>
                    </a:lnTo>
                    <a:lnTo>
                      <a:pt x="140" y="343"/>
                    </a:lnTo>
                    <a:lnTo>
                      <a:pt x="139" y="344"/>
                    </a:lnTo>
                    <a:lnTo>
                      <a:pt x="138" y="345"/>
                    </a:lnTo>
                    <a:lnTo>
                      <a:pt x="137" y="345"/>
                    </a:lnTo>
                    <a:lnTo>
                      <a:pt x="135" y="345"/>
                    </a:lnTo>
                    <a:lnTo>
                      <a:pt x="134" y="345"/>
                    </a:lnTo>
                    <a:lnTo>
                      <a:pt x="133" y="346"/>
                    </a:lnTo>
                    <a:lnTo>
                      <a:pt x="132" y="346"/>
                    </a:lnTo>
                    <a:lnTo>
                      <a:pt x="131" y="346"/>
                    </a:lnTo>
                    <a:lnTo>
                      <a:pt x="130" y="346"/>
                    </a:lnTo>
                    <a:lnTo>
                      <a:pt x="130" y="345"/>
                    </a:lnTo>
                    <a:lnTo>
                      <a:pt x="127" y="344"/>
                    </a:lnTo>
                    <a:lnTo>
                      <a:pt x="127" y="343"/>
                    </a:lnTo>
                    <a:lnTo>
                      <a:pt x="127" y="342"/>
                    </a:lnTo>
                    <a:lnTo>
                      <a:pt x="129" y="342"/>
                    </a:lnTo>
                    <a:lnTo>
                      <a:pt x="130" y="342"/>
                    </a:lnTo>
                    <a:lnTo>
                      <a:pt x="130" y="343"/>
                    </a:lnTo>
                    <a:lnTo>
                      <a:pt x="131" y="342"/>
                    </a:lnTo>
                    <a:lnTo>
                      <a:pt x="131" y="340"/>
                    </a:lnTo>
                    <a:lnTo>
                      <a:pt x="131" y="338"/>
                    </a:lnTo>
                    <a:lnTo>
                      <a:pt x="131" y="337"/>
                    </a:lnTo>
                    <a:lnTo>
                      <a:pt x="130" y="330"/>
                    </a:lnTo>
                    <a:lnTo>
                      <a:pt x="130" y="327"/>
                    </a:lnTo>
                    <a:lnTo>
                      <a:pt x="129" y="325"/>
                    </a:lnTo>
                    <a:lnTo>
                      <a:pt x="127" y="323"/>
                    </a:lnTo>
                    <a:lnTo>
                      <a:pt x="127" y="322"/>
                    </a:lnTo>
                    <a:lnTo>
                      <a:pt x="126" y="322"/>
                    </a:lnTo>
                    <a:lnTo>
                      <a:pt x="124" y="322"/>
                    </a:lnTo>
                    <a:lnTo>
                      <a:pt x="123" y="322"/>
                    </a:lnTo>
                    <a:lnTo>
                      <a:pt x="122" y="322"/>
                    </a:lnTo>
                    <a:lnTo>
                      <a:pt x="121" y="320"/>
                    </a:lnTo>
                    <a:lnTo>
                      <a:pt x="119" y="318"/>
                    </a:lnTo>
                    <a:lnTo>
                      <a:pt x="118" y="317"/>
                    </a:lnTo>
                    <a:lnTo>
                      <a:pt x="116" y="316"/>
                    </a:lnTo>
                    <a:lnTo>
                      <a:pt x="114" y="314"/>
                    </a:lnTo>
                    <a:lnTo>
                      <a:pt x="113" y="314"/>
                    </a:lnTo>
                    <a:lnTo>
                      <a:pt x="111" y="314"/>
                    </a:lnTo>
                    <a:lnTo>
                      <a:pt x="110" y="314"/>
                    </a:lnTo>
                    <a:lnTo>
                      <a:pt x="110" y="313"/>
                    </a:lnTo>
                    <a:lnTo>
                      <a:pt x="109" y="313"/>
                    </a:lnTo>
                    <a:lnTo>
                      <a:pt x="109" y="312"/>
                    </a:lnTo>
                    <a:lnTo>
                      <a:pt x="109" y="311"/>
                    </a:lnTo>
                    <a:lnTo>
                      <a:pt x="109" y="310"/>
                    </a:lnTo>
                    <a:lnTo>
                      <a:pt x="109" y="309"/>
                    </a:lnTo>
                    <a:lnTo>
                      <a:pt x="109" y="307"/>
                    </a:lnTo>
                    <a:lnTo>
                      <a:pt x="110" y="306"/>
                    </a:lnTo>
                    <a:lnTo>
                      <a:pt x="111" y="304"/>
                    </a:lnTo>
                    <a:lnTo>
                      <a:pt x="117" y="294"/>
                    </a:lnTo>
                    <a:lnTo>
                      <a:pt x="117" y="293"/>
                    </a:lnTo>
                    <a:lnTo>
                      <a:pt x="116" y="292"/>
                    </a:lnTo>
                    <a:lnTo>
                      <a:pt x="107" y="291"/>
                    </a:lnTo>
                    <a:lnTo>
                      <a:pt x="106" y="291"/>
                    </a:lnTo>
                    <a:lnTo>
                      <a:pt x="109" y="282"/>
                    </a:lnTo>
                    <a:lnTo>
                      <a:pt x="109" y="281"/>
                    </a:lnTo>
                    <a:lnTo>
                      <a:pt x="108" y="280"/>
                    </a:lnTo>
                    <a:lnTo>
                      <a:pt x="107" y="280"/>
                    </a:lnTo>
                    <a:lnTo>
                      <a:pt x="106" y="280"/>
                    </a:lnTo>
                    <a:lnTo>
                      <a:pt x="106" y="281"/>
                    </a:lnTo>
                    <a:lnTo>
                      <a:pt x="106" y="282"/>
                    </a:lnTo>
                    <a:lnTo>
                      <a:pt x="106" y="283"/>
                    </a:lnTo>
                    <a:lnTo>
                      <a:pt x="105" y="283"/>
                    </a:lnTo>
                    <a:lnTo>
                      <a:pt x="104" y="282"/>
                    </a:lnTo>
                    <a:lnTo>
                      <a:pt x="103" y="280"/>
                    </a:lnTo>
                    <a:lnTo>
                      <a:pt x="101" y="280"/>
                    </a:lnTo>
                    <a:lnTo>
                      <a:pt x="100" y="280"/>
                    </a:lnTo>
                    <a:lnTo>
                      <a:pt x="99" y="282"/>
                    </a:lnTo>
                    <a:lnTo>
                      <a:pt x="98" y="283"/>
                    </a:lnTo>
                    <a:lnTo>
                      <a:pt x="95" y="282"/>
                    </a:lnTo>
                    <a:lnTo>
                      <a:pt x="93" y="280"/>
                    </a:lnTo>
                    <a:lnTo>
                      <a:pt x="88" y="275"/>
                    </a:lnTo>
                    <a:lnTo>
                      <a:pt x="86" y="273"/>
                    </a:lnTo>
                    <a:lnTo>
                      <a:pt x="84" y="273"/>
                    </a:lnTo>
                    <a:lnTo>
                      <a:pt x="81" y="272"/>
                    </a:lnTo>
                    <a:lnTo>
                      <a:pt x="81" y="271"/>
                    </a:lnTo>
                    <a:lnTo>
                      <a:pt x="81" y="270"/>
                    </a:lnTo>
                    <a:lnTo>
                      <a:pt x="82" y="267"/>
                    </a:lnTo>
                    <a:lnTo>
                      <a:pt x="83" y="266"/>
                    </a:lnTo>
                    <a:lnTo>
                      <a:pt x="84" y="265"/>
                    </a:lnTo>
                    <a:lnTo>
                      <a:pt x="84" y="263"/>
                    </a:lnTo>
                    <a:lnTo>
                      <a:pt x="83" y="262"/>
                    </a:lnTo>
                    <a:lnTo>
                      <a:pt x="82" y="262"/>
                    </a:lnTo>
                    <a:lnTo>
                      <a:pt x="81" y="263"/>
                    </a:lnTo>
                    <a:lnTo>
                      <a:pt x="81" y="265"/>
                    </a:lnTo>
                    <a:lnTo>
                      <a:pt x="80" y="265"/>
                    </a:lnTo>
                    <a:lnTo>
                      <a:pt x="80" y="263"/>
                    </a:lnTo>
                    <a:lnTo>
                      <a:pt x="79" y="262"/>
                    </a:lnTo>
                    <a:lnTo>
                      <a:pt x="80" y="261"/>
                    </a:lnTo>
                    <a:lnTo>
                      <a:pt x="81" y="260"/>
                    </a:lnTo>
                    <a:lnTo>
                      <a:pt x="82" y="260"/>
                    </a:lnTo>
                    <a:lnTo>
                      <a:pt x="83" y="260"/>
                    </a:lnTo>
                    <a:lnTo>
                      <a:pt x="84" y="259"/>
                    </a:lnTo>
                    <a:lnTo>
                      <a:pt x="84" y="260"/>
                    </a:lnTo>
                    <a:lnTo>
                      <a:pt x="85" y="261"/>
                    </a:lnTo>
                    <a:lnTo>
                      <a:pt x="86" y="261"/>
                    </a:lnTo>
                    <a:lnTo>
                      <a:pt x="88" y="260"/>
                    </a:lnTo>
                    <a:lnTo>
                      <a:pt x="89" y="260"/>
                    </a:lnTo>
                    <a:lnTo>
                      <a:pt x="89" y="259"/>
                    </a:lnTo>
                    <a:lnTo>
                      <a:pt x="89" y="257"/>
                    </a:lnTo>
                    <a:lnTo>
                      <a:pt x="91" y="257"/>
                    </a:lnTo>
                    <a:lnTo>
                      <a:pt x="92" y="258"/>
                    </a:lnTo>
                    <a:lnTo>
                      <a:pt x="93" y="258"/>
                    </a:lnTo>
                    <a:lnTo>
                      <a:pt x="94" y="258"/>
                    </a:lnTo>
                    <a:lnTo>
                      <a:pt x="95" y="257"/>
                    </a:lnTo>
                    <a:lnTo>
                      <a:pt x="96" y="255"/>
                    </a:lnTo>
                    <a:lnTo>
                      <a:pt x="98" y="255"/>
                    </a:lnTo>
                    <a:lnTo>
                      <a:pt x="98" y="254"/>
                    </a:lnTo>
                    <a:lnTo>
                      <a:pt x="98" y="253"/>
                    </a:lnTo>
                    <a:lnTo>
                      <a:pt x="97" y="252"/>
                    </a:lnTo>
                    <a:lnTo>
                      <a:pt x="97" y="249"/>
                    </a:lnTo>
                    <a:lnTo>
                      <a:pt x="97" y="248"/>
                    </a:lnTo>
                    <a:lnTo>
                      <a:pt x="98" y="248"/>
                    </a:lnTo>
                    <a:lnTo>
                      <a:pt x="98" y="247"/>
                    </a:lnTo>
                    <a:lnTo>
                      <a:pt x="99" y="248"/>
                    </a:lnTo>
                    <a:lnTo>
                      <a:pt x="100" y="248"/>
                    </a:lnTo>
                    <a:lnTo>
                      <a:pt x="101" y="248"/>
                    </a:lnTo>
                    <a:lnTo>
                      <a:pt x="101" y="247"/>
                    </a:lnTo>
                    <a:lnTo>
                      <a:pt x="100" y="246"/>
                    </a:lnTo>
                    <a:lnTo>
                      <a:pt x="100" y="245"/>
                    </a:lnTo>
                    <a:lnTo>
                      <a:pt x="99" y="245"/>
                    </a:lnTo>
                    <a:lnTo>
                      <a:pt x="99" y="244"/>
                    </a:lnTo>
                    <a:lnTo>
                      <a:pt x="100" y="244"/>
                    </a:lnTo>
                    <a:lnTo>
                      <a:pt x="101" y="243"/>
                    </a:lnTo>
                    <a:lnTo>
                      <a:pt x="103" y="243"/>
                    </a:lnTo>
                    <a:lnTo>
                      <a:pt x="104" y="243"/>
                    </a:lnTo>
                    <a:lnTo>
                      <a:pt x="105" y="242"/>
                    </a:lnTo>
                    <a:lnTo>
                      <a:pt x="105" y="241"/>
                    </a:lnTo>
                    <a:lnTo>
                      <a:pt x="105" y="240"/>
                    </a:lnTo>
                    <a:lnTo>
                      <a:pt x="104" y="240"/>
                    </a:lnTo>
                    <a:lnTo>
                      <a:pt x="103" y="239"/>
                    </a:lnTo>
                    <a:lnTo>
                      <a:pt x="101" y="239"/>
                    </a:lnTo>
                    <a:lnTo>
                      <a:pt x="98" y="240"/>
                    </a:lnTo>
                    <a:lnTo>
                      <a:pt x="95" y="239"/>
                    </a:lnTo>
                    <a:lnTo>
                      <a:pt x="93" y="240"/>
                    </a:lnTo>
                    <a:lnTo>
                      <a:pt x="92" y="240"/>
                    </a:lnTo>
                    <a:lnTo>
                      <a:pt x="89" y="240"/>
                    </a:lnTo>
                    <a:lnTo>
                      <a:pt x="88" y="240"/>
                    </a:lnTo>
                    <a:lnTo>
                      <a:pt x="87" y="239"/>
                    </a:lnTo>
                    <a:lnTo>
                      <a:pt x="86" y="239"/>
                    </a:lnTo>
                    <a:lnTo>
                      <a:pt x="85" y="237"/>
                    </a:lnTo>
                    <a:lnTo>
                      <a:pt x="84" y="237"/>
                    </a:lnTo>
                    <a:lnTo>
                      <a:pt x="84" y="236"/>
                    </a:lnTo>
                    <a:lnTo>
                      <a:pt x="85" y="236"/>
                    </a:lnTo>
                    <a:lnTo>
                      <a:pt x="86" y="236"/>
                    </a:lnTo>
                    <a:lnTo>
                      <a:pt x="87" y="236"/>
                    </a:lnTo>
                    <a:lnTo>
                      <a:pt x="86" y="235"/>
                    </a:lnTo>
                    <a:lnTo>
                      <a:pt x="86" y="233"/>
                    </a:lnTo>
                    <a:lnTo>
                      <a:pt x="85" y="232"/>
                    </a:lnTo>
                    <a:lnTo>
                      <a:pt x="85" y="231"/>
                    </a:lnTo>
                    <a:lnTo>
                      <a:pt x="85" y="230"/>
                    </a:lnTo>
                    <a:lnTo>
                      <a:pt x="84" y="230"/>
                    </a:lnTo>
                    <a:lnTo>
                      <a:pt x="83" y="230"/>
                    </a:lnTo>
                    <a:lnTo>
                      <a:pt x="83" y="229"/>
                    </a:lnTo>
                    <a:lnTo>
                      <a:pt x="83" y="228"/>
                    </a:lnTo>
                    <a:lnTo>
                      <a:pt x="83" y="227"/>
                    </a:lnTo>
                    <a:lnTo>
                      <a:pt x="82" y="227"/>
                    </a:lnTo>
                    <a:lnTo>
                      <a:pt x="82" y="228"/>
                    </a:lnTo>
                    <a:lnTo>
                      <a:pt x="81" y="228"/>
                    </a:lnTo>
                    <a:lnTo>
                      <a:pt x="80" y="229"/>
                    </a:lnTo>
                    <a:lnTo>
                      <a:pt x="80" y="230"/>
                    </a:lnTo>
                    <a:lnTo>
                      <a:pt x="79" y="229"/>
                    </a:lnTo>
                    <a:lnTo>
                      <a:pt x="79" y="228"/>
                    </a:lnTo>
                    <a:lnTo>
                      <a:pt x="76" y="228"/>
                    </a:lnTo>
                    <a:lnTo>
                      <a:pt x="76" y="229"/>
                    </a:lnTo>
                    <a:lnTo>
                      <a:pt x="76" y="230"/>
                    </a:lnTo>
                    <a:lnTo>
                      <a:pt x="79" y="230"/>
                    </a:lnTo>
                    <a:lnTo>
                      <a:pt x="79" y="231"/>
                    </a:lnTo>
                    <a:lnTo>
                      <a:pt x="78" y="231"/>
                    </a:lnTo>
                    <a:lnTo>
                      <a:pt x="74" y="232"/>
                    </a:lnTo>
                    <a:lnTo>
                      <a:pt x="70" y="232"/>
                    </a:lnTo>
                    <a:lnTo>
                      <a:pt x="67" y="231"/>
                    </a:lnTo>
                    <a:lnTo>
                      <a:pt x="65" y="231"/>
                    </a:lnTo>
                    <a:lnTo>
                      <a:pt x="62" y="231"/>
                    </a:lnTo>
                    <a:lnTo>
                      <a:pt x="59" y="231"/>
                    </a:lnTo>
                    <a:lnTo>
                      <a:pt x="58" y="230"/>
                    </a:lnTo>
                    <a:lnTo>
                      <a:pt x="56" y="227"/>
                    </a:lnTo>
                    <a:lnTo>
                      <a:pt x="54" y="226"/>
                    </a:lnTo>
                    <a:lnTo>
                      <a:pt x="52" y="224"/>
                    </a:lnTo>
                    <a:lnTo>
                      <a:pt x="52" y="223"/>
                    </a:lnTo>
                    <a:lnTo>
                      <a:pt x="50" y="222"/>
                    </a:lnTo>
                    <a:lnTo>
                      <a:pt x="48" y="221"/>
                    </a:lnTo>
                    <a:lnTo>
                      <a:pt x="48" y="220"/>
                    </a:lnTo>
                    <a:lnTo>
                      <a:pt x="49" y="220"/>
                    </a:lnTo>
                    <a:lnTo>
                      <a:pt x="50" y="219"/>
                    </a:lnTo>
                    <a:lnTo>
                      <a:pt x="50" y="218"/>
                    </a:lnTo>
                    <a:lnTo>
                      <a:pt x="48" y="218"/>
                    </a:lnTo>
                    <a:lnTo>
                      <a:pt x="47" y="217"/>
                    </a:lnTo>
                    <a:lnTo>
                      <a:pt x="45" y="216"/>
                    </a:lnTo>
                    <a:lnTo>
                      <a:pt x="45" y="215"/>
                    </a:lnTo>
                    <a:lnTo>
                      <a:pt x="44" y="214"/>
                    </a:lnTo>
                    <a:lnTo>
                      <a:pt x="42" y="213"/>
                    </a:lnTo>
                    <a:lnTo>
                      <a:pt x="41" y="211"/>
                    </a:lnTo>
                    <a:lnTo>
                      <a:pt x="39" y="209"/>
                    </a:lnTo>
                    <a:lnTo>
                      <a:pt x="37" y="207"/>
                    </a:lnTo>
                    <a:lnTo>
                      <a:pt x="37" y="206"/>
                    </a:lnTo>
                    <a:lnTo>
                      <a:pt x="40" y="206"/>
                    </a:lnTo>
                    <a:lnTo>
                      <a:pt x="40" y="205"/>
                    </a:lnTo>
                    <a:lnTo>
                      <a:pt x="40" y="204"/>
                    </a:lnTo>
                    <a:lnTo>
                      <a:pt x="40" y="203"/>
                    </a:lnTo>
                    <a:lnTo>
                      <a:pt x="39" y="203"/>
                    </a:lnTo>
                    <a:lnTo>
                      <a:pt x="37" y="204"/>
                    </a:lnTo>
                    <a:lnTo>
                      <a:pt x="36" y="203"/>
                    </a:lnTo>
                    <a:lnTo>
                      <a:pt x="36" y="202"/>
                    </a:lnTo>
                    <a:lnTo>
                      <a:pt x="36" y="201"/>
                    </a:lnTo>
                    <a:lnTo>
                      <a:pt x="36" y="200"/>
                    </a:lnTo>
                    <a:lnTo>
                      <a:pt x="37" y="200"/>
                    </a:lnTo>
                    <a:lnTo>
                      <a:pt x="39" y="200"/>
                    </a:lnTo>
                    <a:lnTo>
                      <a:pt x="40" y="200"/>
                    </a:lnTo>
                    <a:lnTo>
                      <a:pt x="40" y="198"/>
                    </a:lnTo>
                    <a:lnTo>
                      <a:pt x="37" y="196"/>
                    </a:lnTo>
                    <a:lnTo>
                      <a:pt x="36" y="195"/>
                    </a:lnTo>
                    <a:lnTo>
                      <a:pt x="35" y="194"/>
                    </a:lnTo>
                    <a:lnTo>
                      <a:pt x="34" y="193"/>
                    </a:lnTo>
                    <a:lnTo>
                      <a:pt x="32" y="192"/>
                    </a:lnTo>
                    <a:lnTo>
                      <a:pt x="29" y="188"/>
                    </a:lnTo>
                    <a:lnTo>
                      <a:pt x="29" y="185"/>
                    </a:lnTo>
                    <a:lnTo>
                      <a:pt x="29" y="183"/>
                    </a:lnTo>
                    <a:lnTo>
                      <a:pt x="27" y="181"/>
                    </a:lnTo>
                    <a:lnTo>
                      <a:pt x="27" y="178"/>
                    </a:lnTo>
                    <a:lnTo>
                      <a:pt x="27" y="177"/>
                    </a:lnTo>
                    <a:lnTo>
                      <a:pt x="28" y="176"/>
                    </a:lnTo>
                    <a:lnTo>
                      <a:pt x="27" y="175"/>
                    </a:lnTo>
                    <a:lnTo>
                      <a:pt x="27" y="172"/>
                    </a:lnTo>
                    <a:lnTo>
                      <a:pt x="28" y="171"/>
                    </a:lnTo>
                    <a:lnTo>
                      <a:pt x="30" y="170"/>
                    </a:lnTo>
                    <a:lnTo>
                      <a:pt x="30" y="169"/>
                    </a:lnTo>
                    <a:lnTo>
                      <a:pt x="33" y="166"/>
                    </a:lnTo>
                    <a:lnTo>
                      <a:pt x="34" y="166"/>
                    </a:lnTo>
                    <a:lnTo>
                      <a:pt x="34" y="167"/>
                    </a:lnTo>
                    <a:lnTo>
                      <a:pt x="33" y="168"/>
                    </a:lnTo>
                    <a:lnTo>
                      <a:pt x="34" y="168"/>
                    </a:lnTo>
                    <a:lnTo>
                      <a:pt x="35" y="167"/>
                    </a:lnTo>
                    <a:lnTo>
                      <a:pt x="36" y="167"/>
                    </a:lnTo>
                    <a:lnTo>
                      <a:pt x="39" y="167"/>
                    </a:lnTo>
                    <a:lnTo>
                      <a:pt x="39" y="165"/>
                    </a:lnTo>
                    <a:lnTo>
                      <a:pt x="36" y="164"/>
                    </a:lnTo>
                    <a:lnTo>
                      <a:pt x="34" y="164"/>
                    </a:lnTo>
                    <a:lnTo>
                      <a:pt x="34" y="163"/>
                    </a:lnTo>
                    <a:lnTo>
                      <a:pt x="34" y="162"/>
                    </a:lnTo>
                    <a:lnTo>
                      <a:pt x="35" y="163"/>
                    </a:lnTo>
                    <a:lnTo>
                      <a:pt x="36" y="163"/>
                    </a:lnTo>
                    <a:lnTo>
                      <a:pt x="37" y="162"/>
                    </a:lnTo>
                    <a:lnTo>
                      <a:pt x="40" y="162"/>
                    </a:lnTo>
                    <a:lnTo>
                      <a:pt x="40" y="160"/>
                    </a:lnTo>
                    <a:lnTo>
                      <a:pt x="40" y="159"/>
                    </a:lnTo>
                    <a:lnTo>
                      <a:pt x="40" y="158"/>
                    </a:lnTo>
                    <a:lnTo>
                      <a:pt x="39" y="158"/>
                    </a:lnTo>
                    <a:lnTo>
                      <a:pt x="37" y="158"/>
                    </a:lnTo>
                    <a:lnTo>
                      <a:pt x="37" y="157"/>
                    </a:lnTo>
                    <a:lnTo>
                      <a:pt x="37" y="156"/>
                    </a:lnTo>
                    <a:lnTo>
                      <a:pt x="39" y="155"/>
                    </a:lnTo>
                    <a:lnTo>
                      <a:pt x="40" y="155"/>
                    </a:lnTo>
                    <a:lnTo>
                      <a:pt x="41" y="154"/>
                    </a:lnTo>
                    <a:lnTo>
                      <a:pt x="41" y="153"/>
                    </a:lnTo>
                    <a:lnTo>
                      <a:pt x="40" y="152"/>
                    </a:lnTo>
                    <a:lnTo>
                      <a:pt x="40" y="151"/>
                    </a:lnTo>
                    <a:lnTo>
                      <a:pt x="41" y="150"/>
                    </a:lnTo>
                    <a:lnTo>
                      <a:pt x="41" y="149"/>
                    </a:lnTo>
                    <a:lnTo>
                      <a:pt x="40" y="147"/>
                    </a:lnTo>
                    <a:lnTo>
                      <a:pt x="40" y="146"/>
                    </a:lnTo>
                    <a:lnTo>
                      <a:pt x="40" y="144"/>
                    </a:lnTo>
                    <a:lnTo>
                      <a:pt x="40" y="143"/>
                    </a:lnTo>
                    <a:lnTo>
                      <a:pt x="40" y="142"/>
                    </a:lnTo>
                    <a:lnTo>
                      <a:pt x="41" y="142"/>
                    </a:lnTo>
                    <a:lnTo>
                      <a:pt x="42" y="143"/>
                    </a:lnTo>
                    <a:lnTo>
                      <a:pt x="42" y="144"/>
                    </a:lnTo>
                    <a:lnTo>
                      <a:pt x="43" y="143"/>
                    </a:lnTo>
                    <a:lnTo>
                      <a:pt x="43" y="142"/>
                    </a:lnTo>
                    <a:lnTo>
                      <a:pt x="43" y="141"/>
                    </a:lnTo>
                    <a:lnTo>
                      <a:pt x="42" y="141"/>
                    </a:lnTo>
                    <a:lnTo>
                      <a:pt x="41" y="141"/>
                    </a:lnTo>
                    <a:lnTo>
                      <a:pt x="40" y="141"/>
                    </a:lnTo>
                    <a:lnTo>
                      <a:pt x="40" y="140"/>
                    </a:lnTo>
                    <a:lnTo>
                      <a:pt x="39" y="140"/>
                    </a:lnTo>
                    <a:lnTo>
                      <a:pt x="37" y="139"/>
                    </a:lnTo>
                    <a:lnTo>
                      <a:pt x="37" y="137"/>
                    </a:lnTo>
                    <a:lnTo>
                      <a:pt x="36" y="136"/>
                    </a:lnTo>
                    <a:lnTo>
                      <a:pt x="34" y="133"/>
                    </a:lnTo>
                    <a:lnTo>
                      <a:pt x="34" y="132"/>
                    </a:lnTo>
                    <a:lnTo>
                      <a:pt x="34" y="130"/>
                    </a:lnTo>
                    <a:lnTo>
                      <a:pt x="34" y="129"/>
                    </a:lnTo>
                    <a:lnTo>
                      <a:pt x="36" y="125"/>
                    </a:lnTo>
                    <a:lnTo>
                      <a:pt x="36" y="124"/>
                    </a:lnTo>
                    <a:lnTo>
                      <a:pt x="37" y="124"/>
                    </a:lnTo>
                    <a:lnTo>
                      <a:pt x="37" y="125"/>
                    </a:lnTo>
                    <a:lnTo>
                      <a:pt x="39" y="125"/>
                    </a:lnTo>
                    <a:lnTo>
                      <a:pt x="40" y="125"/>
                    </a:lnTo>
                    <a:lnTo>
                      <a:pt x="40" y="126"/>
                    </a:lnTo>
                    <a:lnTo>
                      <a:pt x="40" y="128"/>
                    </a:lnTo>
                    <a:lnTo>
                      <a:pt x="41" y="128"/>
                    </a:lnTo>
                    <a:lnTo>
                      <a:pt x="43" y="127"/>
                    </a:lnTo>
                    <a:lnTo>
                      <a:pt x="43" y="126"/>
                    </a:lnTo>
                    <a:lnTo>
                      <a:pt x="41" y="125"/>
                    </a:lnTo>
                    <a:lnTo>
                      <a:pt x="41" y="124"/>
                    </a:lnTo>
                    <a:lnTo>
                      <a:pt x="41" y="123"/>
                    </a:lnTo>
                    <a:lnTo>
                      <a:pt x="42" y="123"/>
                    </a:lnTo>
                    <a:lnTo>
                      <a:pt x="43" y="121"/>
                    </a:lnTo>
                    <a:lnTo>
                      <a:pt x="44" y="120"/>
                    </a:lnTo>
                    <a:lnTo>
                      <a:pt x="44" y="119"/>
                    </a:lnTo>
                    <a:lnTo>
                      <a:pt x="46" y="119"/>
                    </a:lnTo>
                    <a:lnTo>
                      <a:pt x="46" y="118"/>
                    </a:lnTo>
                    <a:lnTo>
                      <a:pt x="46" y="117"/>
                    </a:lnTo>
                    <a:lnTo>
                      <a:pt x="47" y="117"/>
                    </a:lnTo>
                    <a:lnTo>
                      <a:pt x="48" y="116"/>
                    </a:lnTo>
                    <a:lnTo>
                      <a:pt x="47" y="116"/>
                    </a:lnTo>
                    <a:lnTo>
                      <a:pt x="47" y="115"/>
                    </a:lnTo>
                    <a:lnTo>
                      <a:pt x="48" y="114"/>
                    </a:lnTo>
                    <a:lnTo>
                      <a:pt x="54" y="104"/>
                    </a:lnTo>
                    <a:lnTo>
                      <a:pt x="54" y="103"/>
                    </a:lnTo>
                    <a:lnTo>
                      <a:pt x="54" y="102"/>
                    </a:lnTo>
                    <a:lnTo>
                      <a:pt x="53" y="102"/>
                    </a:lnTo>
                    <a:lnTo>
                      <a:pt x="52" y="101"/>
                    </a:lnTo>
                    <a:lnTo>
                      <a:pt x="46" y="103"/>
                    </a:lnTo>
                    <a:lnTo>
                      <a:pt x="45" y="103"/>
                    </a:lnTo>
                    <a:lnTo>
                      <a:pt x="44" y="103"/>
                    </a:lnTo>
                    <a:lnTo>
                      <a:pt x="44" y="102"/>
                    </a:lnTo>
                    <a:lnTo>
                      <a:pt x="44" y="101"/>
                    </a:lnTo>
                    <a:lnTo>
                      <a:pt x="43" y="100"/>
                    </a:lnTo>
                    <a:lnTo>
                      <a:pt x="41" y="100"/>
                    </a:lnTo>
                    <a:lnTo>
                      <a:pt x="40" y="100"/>
                    </a:lnTo>
                    <a:lnTo>
                      <a:pt x="40" y="99"/>
                    </a:lnTo>
                    <a:lnTo>
                      <a:pt x="42" y="96"/>
                    </a:lnTo>
                    <a:lnTo>
                      <a:pt x="43" y="95"/>
                    </a:lnTo>
                    <a:lnTo>
                      <a:pt x="43" y="94"/>
                    </a:lnTo>
                    <a:lnTo>
                      <a:pt x="42" y="90"/>
                    </a:lnTo>
                    <a:lnTo>
                      <a:pt x="42" y="86"/>
                    </a:lnTo>
                    <a:lnTo>
                      <a:pt x="41" y="85"/>
                    </a:lnTo>
                    <a:lnTo>
                      <a:pt x="41" y="83"/>
                    </a:lnTo>
                    <a:lnTo>
                      <a:pt x="40" y="83"/>
                    </a:lnTo>
                    <a:lnTo>
                      <a:pt x="36" y="81"/>
                    </a:lnTo>
                    <a:lnTo>
                      <a:pt x="35" y="80"/>
                    </a:lnTo>
                    <a:lnTo>
                      <a:pt x="34" y="78"/>
                    </a:lnTo>
                    <a:lnTo>
                      <a:pt x="32" y="76"/>
                    </a:lnTo>
                    <a:lnTo>
                      <a:pt x="32" y="74"/>
                    </a:lnTo>
                    <a:lnTo>
                      <a:pt x="31" y="73"/>
                    </a:lnTo>
                    <a:lnTo>
                      <a:pt x="30" y="72"/>
                    </a:lnTo>
                    <a:lnTo>
                      <a:pt x="29" y="72"/>
                    </a:lnTo>
                    <a:lnTo>
                      <a:pt x="29" y="70"/>
                    </a:lnTo>
                    <a:lnTo>
                      <a:pt x="28" y="69"/>
                    </a:lnTo>
                    <a:lnTo>
                      <a:pt x="28" y="68"/>
                    </a:lnTo>
                    <a:lnTo>
                      <a:pt x="29" y="67"/>
                    </a:lnTo>
                    <a:lnTo>
                      <a:pt x="30" y="67"/>
                    </a:lnTo>
                    <a:lnTo>
                      <a:pt x="31" y="66"/>
                    </a:lnTo>
                    <a:lnTo>
                      <a:pt x="31" y="65"/>
                    </a:lnTo>
                    <a:lnTo>
                      <a:pt x="32" y="64"/>
                    </a:lnTo>
                    <a:lnTo>
                      <a:pt x="32" y="63"/>
                    </a:lnTo>
                    <a:lnTo>
                      <a:pt x="32" y="62"/>
                    </a:lnTo>
                    <a:lnTo>
                      <a:pt x="33" y="62"/>
                    </a:lnTo>
                    <a:lnTo>
                      <a:pt x="33" y="63"/>
                    </a:lnTo>
                    <a:lnTo>
                      <a:pt x="34" y="63"/>
                    </a:lnTo>
                    <a:lnTo>
                      <a:pt x="34" y="62"/>
                    </a:lnTo>
                    <a:lnTo>
                      <a:pt x="34" y="61"/>
                    </a:lnTo>
                    <a:lnTo>
                      <a:pt x="34" y="60"/>
                    </a:lnTo>
                    <a:lnTo>
                      <a:pt x="33" y="60"/>
                    </a:lnTo>
                    <a:lnTo>
                      <a:pt x="32" y="60"/>
                    </a:lnTo>
                    <a:lnTo>
                      <a:pt x="32" y="59"/>
                    </a:lnTo>
                    <a:lnTo>
                      <a:pt x="33" y="59"/>
                    </a:lnTo>
                    <a:lnTo>
                      <a:pt x="33" y="57"/>
                    </a:lnTo>
                    <a:lnTo>
                      <a:pt x="34" y="57"/>
                    </a:lnTo>
                    <a:lnTo>
                      <a:pt x="35" y="57"/>
                    </a:lnTo>
                    <a:lnTo>
                      <a:pt x="35" y="56"/>
                    </a:lnTo>
                    <a:lnTo>
                      <a:pt x="35" y="55"/>
                    </a:lnTo>
                    <a:lnTo>
                      <a:pt x="35" y="54"/>
                    </a:lnTo>
                    <a:lnTo>
                      <a:pt x="36" y="53"/>
                    </a:lnTo>
                    <a:lnTo>
                      <a:pt x="36" y="52"/>
                    </a:lnTo>
                    <a:lnTo>
                      <a:pt x="36" y="51"/>
                    </a:lnTo>
                    <a:lnTo>
                      <a:pt x="34" y="50"/>
                    </a:lnTo>
                    <a:lnTo>
                      <a:pt x="33" y="50"/>
                    </a:lnTo>
                    <a:lnTo>
                      <a:pt x="31" y="50"/>
                    </a:lnTo>
                    <a:lnTo>
                      <a:pt x="30" y="50"/>
                    </a:lnTo>
                    <a:lnTo>
                      <a:pt x="30" y="49"/>
                    </a:lnTo>
                    <a:lnTo>
                      <a:pt x="31" y="49"/>
                    </a:lnTo>
                    <a:lnTo>
                      <a:pt x="31" y="48"/>
                    </a:lnTo>
                    <a:lnTo>
                      <a:pt x="31" y="47"/>
                    </a:lnTo>
                    <a:lnTo>
                      <a:pt x="30" y="47"/>
                    </a:lnTo>
                    <a:lnTo>
                      <a:pt x="29" y="47"/>
                    </a:lnTo>
                    <a:lnTo>
                      <a:pt x="28" y="48"/>
                    </a:lnTo>
                    <a:lnTo>
                      <a:pt x="28" y="47"/>
                    </a:lnTo>
                    <a:lnTo>
                      <a:pt x="27" y="47"/>
                    </a:lnTo>
                    <a:lnTo>
                      <a:pt x="28" y="46"/>
                    </a:lnTo>
                    <a:lnTo>
                      <a:pt x="28" y="44"/>
                    </a:lnTo>
                    <a:lnTo>
                      <a:pt x="29" y="44"/>
                    </a:lnTo>
                    <a:lnTo>
                      <a:pt x="29" y="43"/>
                    </a:lnTo>
                    <a:lnTo>
                      <a:pt x="28" y="43"/>
                    </a:lnTo>
                    <a:lnTo>
                      <a:pt x="28" y="42"/>
                    </a:lnTo>
                    <a:lnTo>
                      <a:pt x="28" y="40"/>
                    </a:lnTo>
                    <a:lnTo>
                      <a:pt x="28" y="39"/>
                    </a:lnTo>
                    <a:lnTo>
                      <a:pt x="29" y="38"/>
                    </a:lnTo>
                    <a:lnTo>
                      <a:pt x="29" y="37"/>
                    </a:lnTo>
                    <a:lnTo>
                      <a:pt x="28" y="36"/>
                    </a:lnTo>
                    <a:lnTo>
                      <a:pt x="27" y="35"/>
                    </a:lnTo>
                    <a:lnTo>
                      <a:pt x="27" y="34"/>
                    </a:lnTo>
                    <a:lnTo>
                      <a:pt x="27" y="33"/>
                    </a:lnTo>
                    <a:lnTo>
                      <a:pt x="26" y="33"/>
                    </a:lnTo>
                    <a:lnTo>
                      <a:pt x="24" y="33"/>
                    </a:lnTo>
                    <a:lnTo>
                      <a:pt x="23" y="33"/>
                    </a:lnTo>
                    <a:lnTo>
                      <a:pt x="22" y="31"/>
                    </a:lnTo>
                    <a:lnTo>
                      <a:pt x="21" y="34"/>
                    </a:lnTo>
                    <a:lnTo>
                      <a:pt x="20" y="34"/>
                    </a:lnTo>
                    <a:lnTo>
                      <a:pt x="19" y="34"/>
                    </a:lnTo>
                    <a:lnTo>
                      <a:pt x="18" y="33"/>
                    </a:lnTo>
                    <a:lnTo>
                      <a:pt x="18" y="31"/>
                    </a:lnTo>
                    <a:lnTo>
                      <a:pt x="18" y="30"/>
                    </a:lnTo>
                    <a:lnTo>
                      <a:pt x="18" y="29"/>
                    </a:lnTo>
                    <a:lnTo>
                      <a:pt x="17" y="28"/>
                    </a:lnTo>
                    <a:lnTo>
                      <a:pt x="16" y="27"/>
                    </a:lnTo>
                    <a:lnTo>
                      <a:pt x="15" y="27"/>
                    </a:lnTo>
                    <a:lnTo>
                      <a:pt x="14" y="27"/>
                    </a:lnTo>
                    <a:lnTo>
                      <a:pt x="14" y="26"/>
                    </a:lnTo>
                    <a:lnTo>
                      <a:pt x="14" y="25"/>
                    </a:lnTo>
                    <a:lnTo>
                      <a:pt x="13" y="25"/>
                    </a:lnTo>
                    <a:lnTo>
                      <a:pt x="9" y="23"/>
                    </a:lnTo>
                    <a:lnTo>
                      <a:pt x="8" y="23"/>
                    </a:lnTo>
                    <a:lnTo>
                      <a:pt x="7" y="24"/>
                    </a:lnTo>
                    <a:lnTo>
                      <a:pt x="6" y="23"/>
                    </a:lnTo>
                    <a:lnTo>
                      <a:pt x="5" y="22"/>
                    </a:lnTo>
                    <a:lnTo>
                      <a:pt x="6" y="22"/>
                    </a:lnTo>
                    <a:lnTo>
                      <a:pt x="7" y="22"/>
                    </a:lnTo>
                    <a:lnTo>
                      <a:pt x="7" y="21"/>
                    </a:lnTo>
                    <a:lnTo>
                      <a:pt x="7" y="20"/>
                    </a:lnTo>
                    <a:lnTo>
                      <a:pt x="7" y="18"/>
                    </a:lnTo>
                    <a:lnTo>
                      <a:pt x="6" y="18"/>
                    </a:lnTo>
                    <a:lnTo>
                      <a:pt x="5" y="18"/>
                    </a:lnTo>
                    <a:lnTo>
                      <a:pt x="5" y="17"/>
                    </a:lnTo>
                    <a:lnTo>
                      <a:pt x="5" y="15"/>
                    </a:lnTo>
                    <a:lnTo>
                      <a:pt x="5" y="13"/>
                    </a:lnTo>
                    <a:lnTo>
                      <a:pt x="5" y="12"/>
                    </a:lnTo>
                    <a:lnTo>
                      <a:pt x="4" y="11"/>
                    </a:lnTo>
                    <a:lnTo>
                      <a:pt x="3" y="11"/>
                    </a:lnTo>
                    <a:lnTo>
                      <a:pt x="3" y="10"/>
                    </a:lnTo>
                    <a:lnTo>
                      <a:pt x="4" y="9"/>
                    </a:lnTo>
                    <a:lnTo>
                      <a:pt x="4" y="8"/>
                    </a:lnTo>
                    <a:lnTo>
                      <a:pt x="5" y="8"/>
                    </a:lnTo>
                    <a:lnTo>
                      <a:pt x="6" y="8"/>
                    </a:lnTo>
                    <a:lnTo>
                      <a:pt x="6" y="6"/>
                    </a:lnTo>
                    <a:lnTo>
                      <a:pt x="5" y="6"/>
                    </a:lnTo>
                    <a:lnTo>
                      <a:pt x="5" y="5"/>
                    </a:lnTo>
                    <a:lnTo>
                      <a:pt x="5" y="4"/>
                    </a:lnTo>
                    <a:lnTo>
                      <a:pt x="4" y="4"/>
                    </a:lnTo>
                    <a:lnTo>
                      <a:pt x="4" y="3"/>
                    </a:lnTo>
                    <a:lnTo>
                      <a:pt x="3" y="3"/>
                    </a:lnTo>
                    <a:lnTo>
                      <a:pt x="2" y="3"/>
                    </a:lnTo>
                    <a:lnTo>
                      <a:pt x="1" y="3"/>
                    </a:lnTo>
                    <a:lnTo>
                      <a:pt x="0" y="2"/>
                    </a:lnTo>
                    <a:lnTo>
                      <a:pt x="1" y="1"/>
                    </a:lnTo>
                    <a:lnTo>
                      <a:pt x="2" y="2"/>
                    </a:lnTo>
                    <a:lnTo>
                      <a:pt x="2" y="1"/>
                    </a:lnTo>
                    <a:lnTo>
                      <a:pt x="4" y="1"/>
                    </a:lnTo>
                    <a:lnTo>
                      <a:pt x="20" y="1"/>
                    </a:lnTo>
                    <a:lnTo>
                      <a:pt x="47" y="1"/>
                    </a:lnTo>
                    <a:lnTo>
                      <a:pt x="48" y="1"/>
                    </a:lnTo>
                    <a:lnTo>
                      <a:pt x="49" y="1"/>
                    </a:lnTo>
                    <a:lnTo>
                      <a:pt x="52" y="1"/>
                    </a:lnTo>
                    <a:lnTo>
                      <a:pt x="70" y="1"/>
                    </a:lnTo>
                    <a:lnTo>
                      <a:pt x="75" y="1"/>
                    </a:lnTo>
                    <a:lnTo>
                      <a:pt x="79" y="1"/>
                    </a:lnTo>
                    <a:lnTo>
                      <a:pt x="81" y="1"/>
                    </a:lnTo>
                    <a:lnTo>
                      <a:pt x="83" y="1"/>
                    </a:lnTo>
                    <a:lnTo>
                      <a:pt x="120" y="0"/>
                    </a:lnTo>
                    <a:lnTo>
                      <a:pt x="143" y="0"/>
                    </a:lnTo>
                    <a:lnTo>
                      <a:pt x="155" y="0"/>
                    </a:lnTo>
                    <a:lnTo>
                      <a:pt x="158" y="0"/>
                    </a:lnTo>
                    <a:lnTo>
                      <a:pt x="166" y="0"/>
                    </a:lnTo>
                    <a:lnTo>
                      <a:pt x="171" y="0"/>
                    </a:lnTo>
                    <a:lnTo>
                      <a:pt x="173" y="0"/>
                    </a:lnTo>
                    <a:lnTo>
                      <a:pt x="182" y="0"/>
                    </a:lnTo>
                    <a:lnTo>
                      <a:pt x="187" y="0"/>
                    </a:lnTo>
                    <a:lnTo>
                      <a:pt x="191" y="0"/>
                    </a:lnTo>
                    <a:lnTo>
                      <a:pt x="208" y="0"/>
                    </a:lnTo>
                    <a:lnTo>
                      <a:pt x="227" y="0"/>
                    </a:lnTo>
                    <a:lnTo>
                      <a:pt x="234" y="1"/>
                    </a:lnTo>
                    <a:lnTo>
                      <a:pt x="235" y="1"/>
                    </a:lnTo>
                    <a:lnTo>
                      <a:pt x="271" y="1"/>
                    </a:lnTo>
                    <a:close/>
                  </a:path>
                </a:pathLst>
              </a:custGeom>
              <a:solidFill>
                <a:srgbClr val="1455A2"/>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1" name="Freeform 309">
                <a:extLst>
                  <a:ext uri="{FF2B5EF4-FFF2-40B4-BE49-F238E27FC236}">
                    <a16:creationId xmlns:a16="http://schemas.microsoft.com/office/drawing/2014/main" id="{E688FEBD-C8E0-F4A3-A984-35C173C6306B}"/>
                  </a:ext>
                </a:extLst>
              </p:cNvPr>
              <p:cNvSpPr>
                <a:spLocks/>
              </p:cNvSpPr>
              <p:nvPr/>
            </p:nvSpPr>
            <p:spPr bwMode="auto">
              <a:xfrm>
                <a:off x="1597026" y="3028950"/>
                <a:ext cx="733425" cy="574675"/>
              </a:xfrm>
              <a:custGeom>
                <a:avLst/>
                <a:gdLst>
                  <a:gd name="T0" fmla="*/ 397 w 462"/>
                  <a:gd name="T1" fmla="*/ 27 h 362"/>
                  <a:gd name="T2" fmla="*/ 417 w 462"/>
                  <a:gd name="T3" fmla="*/ 35 h 362"/>
                  <a:gd name="T4" fmla="*/ 436 w 462"/>
                  <a:gd name="T5" fmla="*/ 55 h 362"/>
                  <a:gd name="T6" fmla="*/ 458 w 462"/>
                  <a:gd name="T7" fmla="*/ 82 h 362"/>
                  <a:gd name="T8" fmla="*/ 460 w 462"/>
                  <a:gd name="T9" fmla="*/ 184 h 362"/>
                  <a:gd name="T10" fmla="*/ 462 w 462"/>
                  <a:gd name="T11" fmla="*/ 292 h 362"/>
                  <a:gd name="T12" fmla="*/ 462 w 462"/>
                  <a:gd name="T13" fmla="*/ 348 h 362"/>
                  <a:gd name="T14" fmla="*/ 367 w 462"/>
                  <a:gd name="T15" fmla="*/ 348 h 362"/>
                  <a:gd name="T16" fmla="*/ 204 w 462"/>
                  <a:gd name="T17" fmla="*/ 345 h 362"/>
                  <a:gd name="T18" fmla="*/ 161 w 462"/>
                  <a:gd name="T19" fmla="*/ 345 h 362"/>
                  <a:gd name="T20" fmla="*/ 93 w 462"/>
                  <a:gd name="T21" fmla="*/ 345 h 362"/>
                  <a:gd name="T22" fmla="*/ 85 w 462"/>
                  <a:gd name="T23" fmla="*/ 349 h 362"/>
                  <a:gd name="T24" fmla="*/ 81 w 462"/>
                  <a:gd name="T25" fmla="*/ 353 h 362"/>
                  <a:gd name="T26" fmla="*/ 74 w 462"/>
                  <a:gd name="T27" fmla="*/ 357 h 362"/>
                  <a:gd name="T28" fmla="*/ 66 w 462"/>
                  <a:gd name="T29" fmla="*/ 360 h 362"/>
                  <a:gd name="T30" fmla="*/ 59 w 462"/>
                  <a:gd name="T31" fmla="*/ 361 h 362"/>
                  <a:gd name="T32" fmla="*/ 52 w 462"/>
                  <a:gd name="T33" fmla="*/ 358 h 362"/>
                  <a:gd name="T34" fmla="*/ 44 w 462"/>
                  <a:gd name="T35" fmla="*/ 357 h 362"/>
                  <a:gd name="T36" fmla="*/ 38 w 462"/>
                  <a:gd name="T37" fmla="*/ 351 h 362"/>
                  <a:gd name="T38" fmla="*/ 34 w 462"/>
                  <a:gd name="T39" fmla="*/ 349 h 362"/>
                  <a:gd name="T40" fmla="*/ 26 w 462"/>
                  <a:gd name="T41" fmla="*/ 347 h 362"/>
                  <a:gd name="T42" fmla="*/ 21 w 462"/>
                  <a:gd name="T43" fmla="*/ 348 h 362"/>
                  <a:gd name="T44" fmla="*/ 14 w 462"/>
                  <a:gd name="T45" fmla="*/ 349 h 362"/>
                  <a:gd name="T46" fmla="*/ 10 w 462"/>
                  <a:gd name="T47" fmla="*/ 356 h 362"/>
                  <a:gd name="T48" fmla="*/ 4 w 462"/>
                  <a:gd name="T49" fmla="*/ 350 h 362"/>
                  <a:gd name="T50" fmla="*/ 8 w 462"/>
                  <a:gd name="T51" fmla="*/ 336 h 362"/>
                  <a:gd name="T52" fmla="*/ 15 w 462"/>
                  <a:gd name="T53" fmla="*/ 331 h 362"/>
                  <a:gd name="T54" fmla="*/ 16 w 462"/>
                  <a:gd name="T55" fmla="*/ 320 h 362"/>
                  <a:gd name="T56" fmla="*/ 24 w 462"/>
                  <a:gd name="T57" fmla="*/ 318 h 362"/>
                  <a:gd name="T58" fmla="*/ 31 w 462"/>
                  <a:gd name="T59" fmla="*/ 308 h 362"/>
                  <a:gd name="T60" fmla="*/ 29 w 462"/>
                  <a:gd name="T61" fmla="*/ 294 h 362"/>
                  <a:gd name="T62" fmla="*/ 19 w 462"/>
                  <a:gd name="T63" fmla="*/ 289 h 362"/>
                  <a:gd name="T64" fmla="*/ 8 w 462"/>
                  <a:gd name="T65" fmla="*/ 284 h 362"/>
                  <a:gd name="T66" fmla="*/ 8 w 462"/>
                  <a:gd name="T67" fmla="*/ 275 h 362"/>
                  <a:gd name="T68" fmla="*/ 2 w 462"/>
                  <a:gd name="T69" fmla="*/ 267 h 362"/>
                  <a:gd name="T70" fmla="*/ 3 w 462"/>
                  <a:gd name="T71" fmla="*/ 256 h 362"/>
                  <a:gd name="T72" fmla="*/ 15 w 462"/>
                  <a:gd name="T73" fmla="*/ 258 h 362"/>
                  <a:gd name="T74" fmla="*/ 28 w 462"/>
                  <a:gd name="T75" fmla="*/ 247 h 362"/>
                  <a:gd name="T76" fmla="*/ 36 w 462"/>
                  <a:gd name="T77" fmla="*/ 235 h 362"/>
                  <a:gd name="T78" fmla="*/ 29 w 462"/>
                  <a:gd name="T79" fmla="*/ 224 h 362"/>
                  <a:gd name="T80" fmla="*/ 36 w 462"/>
                  <a:gd name="T81" fmla="*/ 216 h 362"/>
                  <a:gd name="T82" fmla="*/ 27 w 462"/>
                  <a:gd name="T83" fmla="*/ 208 h 362"/>
                  <a:gd name="T84" fmla="*/ 18 w 462"/>
                  <a:gd name="T85" fmla="*/ 196 h 362"/>
                  <a:gd name="T86" fmla="*/ 9 w 462"/>
                  <a:gd name="T87" fmla="*/ 194 h 362"/>
                  <a:gd name="T88" fmla="*/ 13 w 462"/>
                  <a:gd name="T89" fmla="*/ 192 h 362"/>
                  <a:gd name="T90" fmla="*/ 18 w 462"/>
                  <a:gd name="T91" fmla="*/ 185 h 362"/>
                  <a:gd name="T92" fmla="*/ 19 w 462"/>
                  <a:gd name="T93" fmla="*/ 157 h 362"/>
                  <a:gd name="T94" fmla="*/ 22 w 462"/>
                  <a:gd name="T95" fmla="*/ 139 h 362"/>
                  <a:gd name="T96" fmla="*/ 26 w 462"/>
                  <a:gd name="T97" fmla="*/ 129 h 362"/>
                  <a:gd name="T98" fmla="*/ 16 w 462"/>
                  <a:gd name="T99" fmla="*/ 125 h 362"/>
                  <a:gd name="T100" fmla="*/ 21 w 462"/>
                  <a:gd name="T101" fmla="*/ 117 h 362"/>
                  <a:gd name="T102" fmla="*/ 18 w 462"/>
                  <a:gd name="T103" fmla="*/ 106 h 362"/>
                  <a:gd name="T104" fmla="*/ 17 w 462"/>
                  <a:gd name="T105" fmla="*/ 99 h 362"/>
                  <a:gd name="T106" fmla="*/ 15 w 462"/>
                  <a:gd name="T107" fmla="*/ 90 h 362"/>
                  <a:gd name="T108" fmla="*/ 22 w 462"/>
                  <a:gd name="T109" fmla="*/ 84 h 362"/>
                  <a:gd name="T110" fmla="*/ 25 w 462"/>
                  <a:gd name="T111" fmla="*/ 76 h 362"/>
                  <a:gd name="T112" fmla="*/ 27 w 462"/>
                  <a:gd name="T113" fmla="*/ 68 h 362"/>
                  <a:gd name="T114" fmla="*/ 88 w 462"/>
                  <a:gd name="T115" fmla="*/ 53 h 362"/>
                  <a:gd name="T116" fmla="*/ 155 w 462"/>
                  <a:gd name="T117" fmla="*/ 1 h 362"/>
                  <a:gd name="T118" fmla="*/ 260 w 462"/>
                  <a:gd name="T119" fmla="*/ 0 h 362"/>
                  <a:gd name="T120" fmla="*/ 348 w 462"/>
                  <a:gd name="T121" fmla="*/ 3 h 362"/>
                  <a:gd name="T122" fmla="*/ 361 w 462"/>
                  <a:gd name="T123" fmla="*/ 6 h 362"/>
                  <a:gd name="T124" fmla="*/ 365 w 462"/>
                  <a:gd name="T125" fmla="*/ 1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2" h="362">
                    <a:moveTo>
                      <a:pt x="365" y="13"/>
                    </a:moveTo>
                    <a:lnTo>
                      <a:pt x="365" y="16"/>
                    </a:lnTo>
                    <a:lnTo>
                      <a:pt x="365" y="18"/>
                    </a:lnTo>
                    <a:lnTo>
                      <a:pt x="370" y="18"/>
                    </a:lnTo>
                    <a:lnTo>
                      <a:pt x="376" y="18"/>
                    </a:lnTo>
                    <a:lnTo>
                      <a:pt x="376" y="22"/>
                    </a:lnTo>
                    <a:lnTo>
                      <a:pt x="376" y="24"/>
                    </a:lnTo>
                    <a:lnTo>
                      <a:pt x="392" y="24"/>
                    </a:lnTo>
                    <a:lnTo>
                      <a:pt x="393" y="24"/>
                    </a:lnTo>
                    <a:lnTo>
                      <a:pt x="397" y="24"/>
                    </a:lnTo>
                    <a:lnTo>
                      <a:pt x="397" y="27"/>
                    </a:lnTo>
                    <a:lnTo>
                      <a:pt x="397" y="29"/>
                    </a:lnTo>
                    <a:lnTo>
                      <a:pt x="401" y="29"/>
                    </a:lnTo>
                    <a:lnTo>
                      <a:pt x="402" y="29"/>
                    </a:lnTo>
                    <a:lnTo>
                      <a:pt x="403" y="29"/>
                    </a:lnTo>
                    <a:lnTo>
                      <a:pt x="406" y="29"/>
                    </a:lnTo>
                    <a:lnTo>
                      <a:pt x="409" y="29"/>
                    </a:lnTo>
                    <a:lnTo>
                      <a:pt x="411" y="29"/>
                    </a:lnTo>
                    <a:lnTo>
                      <a:pt x="412" y="29"/>
                    </a:lnTo>
                    <a:lnTo>
                      <a:pt x="417" y="29"/>
                    </a:lnTo>
                    <a:lnTo>
                      <a:pt x="417" y="30"/>
                    </a:lnTo>
                    <a:lnTo>
                      <a:pt x="417" y="35"/>
                    </a:lnTo>
                    <a:lnTo>
                      <a:pt x="427" y="35"/>
                    </a:lnTo>
                    <a:lnTo>
                      <a:pt x="428" y="35"/>
                    </a:lnTo>
                    <a:lnTo>
                      <a:pt x="428" y="37"/>
                    </a:lnTo>
                    <a:lnTo>
                      <a:pt x="428" y="38"/>
                    </a:lnTo>
                    <a:lnTo>
                      <a:pt x="428" y="39"/>
                    </a:lnTo>
                    <a:lnTo>
                      <a:pt x="428" y="41"/>
                    </a:lnTo>
                    <a:lnTo>
                      <a:pt x="428" y="42"/>
                    </a:lnTo>
                    <a:lnTo>
                      <a:pt x="428" y="43"/>
                    </a:lnTo>
                    <a:lnTo>
                      <a:pt x="428" y="55"/>
                    </a:lnTo>
                    <a:lnTo>
                      <a:pt x="430" y="55"/>
                    </a:lnTo>
                    <a:lnTo>
                      <a:pt x="436" y="55"/>
                    </a:lnTo>
                    <a:lnTo>
                      <a:pt x="438" y="55"/>
                    </a:lnTo>
                    <a:lnTo>
                      <a:pt x="438" y="61"/>
                    </a:lnTo>
                    <a:lnTo>
                      <a:pt x="438" y="63"/>
                    </a:lnTo>
                    <a:lnTo>
                      <a:pt x="438" y="65"/>
                    </a:lnTo>
                    <a:lnTo>
                      <a:pt x="449" y="65"/>
                    </a:lnTo>
                    <a:lnTo>
                      <a:pt x="449" y="76"/>
                    </a:lnTo>
                    <a:lnTo>
                      <a:pt x="449" y="80"/>
                    </a:lnTo>
                    <a:lnTo>
                      <a:pt x="452" y="80"/>
                    </a:lnTo>
                    <a:lnTo>
                      <a:pt x="456" y="80"/>
                    </a:lnTo>
                    <a:lnTo>
                      <a:pt x="458" y="81"/>
                    </a:lnTo>
                    <a:lnTo>
                      <a:pt x="458" y="82"/>
                    </a:lnTo>
                    <a:lnTo>
                      <a:pt x="458" y="83"/>
                    </a:lnTo>
                    <a:lnTo>
                      <a:pt x="458" y="87"/>
                    </a:lnTo>
                    <a:lnTo>
                      <a:pt x="458" y="89"/>
                    </a:lnTo>
                    <a:lnTo>
                      <a:pt x="458" y="95"/>
                    </a:lnTo>
                    <a:lnTo>
                      <a:pt x="458" y="96"/>
                    </a:lnTo>
                    <a:lnTo>
                      <a:pt x="458" y="98"/>
                    </a:lnTo>
                    <a:lnTo>
                      <a:pt x="458" y="109"/>
                    </a:lnTo>
                    <a:lnTo>
                      <a:pt x="458" y="122"/>
                    </a:lnTo>
                    <a:lnTo>
                      <a:pt x="458" y="143"/>
                    </a:lnTo>
                    <a:lnTo>
                      <a:pt x="458" y="170"/>
                    </a:lnTo>
                    <a:lnTo>
                      <a:pt x="460" y="184"/>
                    </a:lnTo>
                    <a:lnTo>
                      <a:pt x="460" y="188"/>
                    </a:lnTo>
                    <a:lnTo>
                      <a:pt x="460" y="191"/>
                    </a:lnTo>
                    <a:lnTo>
                      <a:pt x="460" y="194"/>
                    </a:lnTo>
                    <a:lnTo>
                      <a:pt x="460" y="217"/>
                    </a:lnTo>
                    <a:lnTo>
                      <a:pt x="460" y="231"/>
                    </a:lnTo>
                    <a:lnTo>
                      <a:pt x="460" y="254"/>
                    </a:lnTo>
                    <a:lnTo>
                      <a:pt x="462" y="254"/>
                    </a:lnTo>
                    <a:lnTo>
                      <a:pt x="462" y="262"/>
                    </a:lnTo>
                    <a:lnTo>
                      <a:pt x="462" y="280"/>
                    </a:lnTo>
                    <a:lnTo>
                      <a:pt x="462" y="282"/>
                    </a:lnTo>
                    <a:lnTo>
                      <a:pt x="462" y="292"/>
                    </a:lnTo>
                    <a:lnTo>
                      <a:pt x="462" y="296"/>
                    </a:lnTo>
                    <a:lnTo>
                      <a:pt x="462" y="307"/>
                    </a:lnTo>
                    <a:lnTo>
                      <a:pt x="462" y="325"/>
                    </a:lnTo>
                    <a:lnTo>
                      <a:pt x="462" y="333"/>
                    </a:lnTo>
                    <a:lnTo>
                      <a:pt x="462" y="340"/>
                    </a:lnTo>
                    <a:lnTo>
                      <a:pt x="462" y="343"/>
                    </a:lnTo>
                    <a:lnTo>
                      <a:pt x="462" y="344"/>
                    </a:lnTo>
                    <a:lnTo>
                      <a:pt x="462" y="345"/>
                    </a:lnTo>
                    <a:lnTo>
                      <a:pt x="462" y="346"/>
                    </a:lnTo>
                    <a:lnTo>
                      <a:pt x="462" y="347"/>
                    </a:lnTo>
                    <a:lnTo>
                      <a:pt x="462" y="348"/>
                    </a:lnTo>
                    <a:lnTo>
                      <a:pt x="461" y="349"/>
                    </a:lnTo>
                    <a:lnTo>
                      <a:pt x="462" y="350"/>
                    </a:lnTo>
                    <a:lnTo>
                      <a:pt x="453" y="350"/>
                    </a:lnTo>
                    <a:lnTo>
                      <a:pt x="438" y="350"/>
                    </a:lnTo>
                    <a:lnTo>
                      <a:pt x="430" y="350"/>
                    </a:lnTo>
                    <a:lnTo>
                      <a:pt x="430" y="349"/>
                    </a:lnTo>
                    <a:lnTo>
                      <a:pt x="427" y="349"/>
                    </a:lnTo>
                    <a:lnTo>
                      <a:pt x="413" y="349"/>
                    </a:lnTo>
                    <a:lnTo>
                      <a:pt x="400" y="349"/>
                    </a:lnTo>
                    <a:lnTo>
                      <a:pt x="396" y="349"/>
                    </a:lnTo>
                    <a:lnTo>
                      <a:pt x="367" y="348"/>
                    </a:lnTo>
                    <a:lnTo>
                      <a:pt x="364" y="348"/>
                    </a:lnTo>
                    <a:lnTo>
                      <a:pt x="354" y="348"/>
                    </a:lnTo>
                    <a:lnTo>
                      <a:pt x="323" y="348"/>
                    </a:lnTo>
                    <a:lnTo>
                      <a:pt x="297" y="348"/>
                    </a:lnTo>
                    <a:lnTo>
                      <a:pt x="282" y="348"/>
                    </a:lnTo>
                    <a:lnTo>
                      <a:pt x="272" y="348"/>
                    </a:lnTo>
                    <a:lnTo>
                      <a:pt x="272" y="345"/>
                    </a:lnTo>
                    <a:lnTo>
                      <a:pt x="251" y="345"/>
                    </a:lnTo>
                    <a:lnTo>
                      <a:pt x="224" y="345"/>
                    </a:lnTo>
                    <a:lnTo>
                      <a:pt x="221" y="345"/>
                    </a:lnTo>
                    <a:lnTo>
                      <a:pt x="204" y="345"/>
                    </a:lnTo>
                    <a:lnTo>
                      <a:pt x="203" y="345"/>
                    </a:lnTo>
                    <a:lnTo>
                      <a:pt x="201" y="345"/>
                    </a:lnTo>
                    <a:lnTo>
                      <a:pt x="190" y="345"/>
                    </a:lnTo>
                    <a:lnTo>
                      <a:pt x="183" y="345"/>
                    </a:lnTo>
                    <a:lnTo>
                      <a:pt x="180" y="345"/>
                    </a:lnTo>
                    <a:lnTo>
                      <a:pt x="178" y="345"/>
                    </a:lnTo>
                    <a:lnTo>
                      <a:pt x="176" y="345"/>
                    </a:lnTo>
                    <a:lnTo>
                      <a:pt x="173" y="345"/>
                    </a:lnTo>
                    <a:lnTo>
                      <a:pt x="170" y="345"/>
                    </a:lnTo>
                    <a:lnTo>
                      <a:pt x="169" y="345"/>
                    </a:lnTo>
                    <a:lnTo>
                      <a:pt x="161" y="345"/>
                    </a:lnTo>
                    <a:lnTo>
                      <a:pt x="138" y="345"/>
                    </a:lnTo>
                    <a:lnTo>
                      <a:pt x="128" y="345"/>
                    </a:lnTo>
                    <a:lnTo>
                      <a:pt x="96" y="345"/>
                    </a:lnTo>
                    <a:lnTo>
                      <a:pt x="95" y="345"/>
                    </a:lnTo>
                    <a:lnTo>
                      <a:pt x="95" y="344"/>
                    </a:lnTo>
                    <a:lnTo>
                      <a:pt x="94" y="344"/>
                    </a:lnTo>
                    <a:lnTo>
                      <a:pt x="94" y="345"/>
                    </a:lnTo>
                    <a:lnTo>
                      <a:pt x="95" y="345"/>
                    </a:lnTo>
                    <a:lnTo>
                      <a:pt x="95" y="346"/>
                    </a:lnTo>
                    <a:lnTo>
                      <a:pt x="94" y="346"/>
                    </a:lnTo>
                    <a:lnTo>
                      <a:pt x="93" y="345"/>
                    </a:lnTo>
                    <a:lnTo>
                      <a:pt x="93" y="346"/>
                    </a:lnTo>
                    <a:lnTo>
                      <a:pt x="92" y="346"/>
                    </a:lnTo>
                    <a:lnTo>
                      <a:pt x="91" y="347"/>
                    </a:lnTo>
                    <a:lnTo>
                      <a:pt x="90" y="347"/>
                    </a:lnTo>
                    <a:lnTo>
                      <a:pt x="89" y="347"/>
                    </a:lnTo>
                    <a:lnTo>
                      <a:pt x="88" y="346"/>
                    </a:lnTo>
                    <a:lnTo>
                      <a:pt x="87" y="346"/>
                    </a:lnTo>
                    <a:lnTo>
                      <a:pt x="87" y="347"/>
                    </a:lnTo>
                    <a:lnTo>
                      <a:pt x="86" y="347"/>
                    </a:lnTo>
                    <a:lnTo>
                      <a:pt x="85" y="348"/>
                    </a:lnTo>
                    <a:lnTo>
                      <a:pt x="85" y="349"/>
                    </a:lnTo>
                    <a:lnTo>
                      <a:pt x="83" y="349"/>
                    </a:lnTo>
                    <a:lnTo>
                      <a:pt x="83" y="350"/>
                    </a:lnTo>
                    <a:lnTo>
                      <a:pt x="82" y="350"/>
                    </a:lnTo>
                    <a:lnTo>
                      <a:pt x="82" y="351"/>
                    </a:lnTo>
                    <a:lnTo>
                      <a:pt x="83" y="351"/>
                    </a:lnTo>
                    <a:lnTo>
                      <a:pt x="83" y="352"/>
                    </a:lnTo>
                    <a:lnTo>
                      <a:pt x="82" y="352"/>
                    </a:lnTo>
                    <a:lnTo>
                      <a:pt x="82" y="351"/>
                    </a:lnTo>
                    <a:lnTo>
                      <a:pt x="81" y="351"/>
                    </a:lnTo>
                    <a:lnTo>
                      <a:pt x="81" y="352"/>
                    </a:lnTo>
                    <a:lnTo>
                      <a:pt x="81" y="353"/>
                    </a:lnTo>
                    <a:lnTo>
                      <a:pt x="81" y="352"/>
                    </a:lnTo>
                    <a:lnTo>
                      <a:pt x="80" y="352"/>
                    </a:lnTo>
                    <a:lnTo>
                      <a:pt x="79" y="352"/>
                    </a:lnTo>
                    <a:lnTo>
                      <a:pt x="78" y="352"/>
                    </a:lnTo>
                    <a:lnTo>
                      <a:pt x="78" y="353"/>
                    </a:lnTo>
                    <a:lnTo>
                      <a:pt x="77" y="353"/>
                    </a:lnTo>
                    <a:lnTo>
                      <a:pt x="76" y="355"/>
                    </a:lnTo>
                    <a:lnTo>
                      <a:pt x="75" y="355"/>
                    </a:lnTo>
                    <a:lnTo>
                      <a:pt x="74" y="355"/>
                    </a:lnTo>
                    <a:lnTo>
                      <a:pt x="74" y="356"/>
                    </a:lnTo>
                    <a:lnTo>
                      <a:pt x="74" y="357"/>
                    </a:lnTo>
                    <a:lnTo>
                      <a:pt x="73" y="357"/>
                    </a:lnTo>
                    <a:lnTo>
                      <a:pt x="72" y="357"/>
                    </a:lnTo>
                    <a:lnTo>
                      <a:pt x="72" y="356"/>
                    </a:lnTo>
                    <a:lnTo>
                      <a:pt x="70" y="356"/>
                    </a:lnTo>
                    <a:lnTo>
                      <a:pt x="70" y="357"/>
                    </a:lnTo>
                    <a:lnTo>
                      <a:pt x="69" y="357"/>
                    </a:lnTo>
                    <a:lnTo>
                      <a:pt x="68" y="357"/>
                    </a:lnTo>
                    <a:lnTo>
                      <a:pt x="68" y="358"/>
                    </a:lnTo>
                    <a:lnTo>
                      <a:pt x="68" y="359"/>
                    </a:lnTo>
                    <a:lnTo>
                      <a:pt x="67" y="359"/>
                    </a:lnTo>
                    <a:lnTo>
                      <a:pt x="66" y="360"/>
                    </a:lnTo>
                    <a:lnTo>
                      <a:pt x="66" y="359"/>
                    </a:lnTo>
                    <a:lnTo>
                      <a:pt x="65" y="359"/>
                    </a:lnTo>
                    <a:lnTo>
                      <a:pt x="64" y="359"/>
                    </a:lnTo>
                    <a:lnTo>
                      <a:pt x="64" y="360"/>
                    </a:lnTo>
                    <a:lnTo>
                      <a:pt x="63" y="360"/>
                    </a:lnTo>
                    <a:lnTo>
                      <a:pt x="62" y="361"/>
                    </a:lnTo>
                    <a:lnTo>
                      <a:pt x="62" y="362"/>
                    </a:lnTo>
                    <a:lnTo>
                      <a:pt x="61" y="362"/>
                    </a:lnTo>
                    <a:lnTo>
                      <a:pt x="61" y="361"/>
                    </a:lnTo>
                    <a:lnTo>
                      <a:pt x="60" y="361"/>
                    </a:lnTo>
                    <a:lnTo>
                      <a:pt x="59" y="361"/>
                    </a:lnTo>
                    <a:lnTo>
                      <a:pt x="59" y="360"/>
                    </a:lnTo>
                    <a:lnTo>
                      <a:pt x="59" y="359"/>
                    </a:lnTo>
                    <a:lnTo>
                      <a:pt x="57" y="359"/>
                    </a:lnTo>
                    <a:lnTo>
                      <a:pt x="56" y="359"/>
                    </a:lnTo>
                    <a:lnTo>
                      <a:pt x="55" y="359"/>
                    </a:lnTo>
                    <a:lnTo>
                      <a:pt x="55" y="358"/>
                    </a:lnTo>
                    <a:lnTo>
                      <a:pt x="54" y="358"/>
                    </a:lnTo>
                    <a:lnTo>
                      <a:pt x="54" y="357"/>
                    </a:lnTo>
                    <a:lnTo>
                      <a:pt x="53" y="357"/>
                    </a:lnTo>
                    <a:lnTo>
                      <a:pt x="52" y="357"/>
                    </a:lnTo>
                    <a:lnTo>
                      <a:pt x="52" y="358"/>
                    </a:lnTo>
                    <a:lnTo>
                      <a:pt x="51" y="358"/>
                    </a:lnTo>
                    <a:lnTo>
                      <a:pt x="50" y="358"/>
                    </a:lnTo>
                    <a:lnTo>
                      <a:pt x="49" y="357"/>
                    </a:lnTo>
                    <a:lnTo>
                      <a:pt x="48" y="358"/>
                    </a:lnTo>
                    <a:lnTo>
                      <a:pt x="48" y="357"/>
                    </a:lnTo>
                    <a:lnTo>
                      <a:pt x="48" y="356"/>
                    </a:lnTo>
                    <a:lnTo>
                      <a:pt x="47" y="356"/>
                    </a:lnTo>
                    <a:lnTo>
                      <a:pt x="47" y="355"/>
                    </a:lnTo>
                    <a:lnTo>
                      <a:pt x="45" y="355"/>
                    </a:lnTo>
                    <a:lnTo>
                      <a:pt x="44" y="356"/>
                    </a:lnTo>
                    <a:lnTo>
                      <a:pt x="44" y="357"/>
                    </a:lnTo>
                    <a:lnTo>
                      <a:pt x="44" y="356"/>
                    </a:lnTo>
                    <a:lnTo>
                      <a:pt x="43" y="356"/>
                    </a:lnTo>
                    <a:lnTo>
                      <a:pt x="42" y="356"/>
                    </a:lnTo>
                    <a:lnTo>
                      <a:pt x="42" y="355"/>
                    </a:lnTo>
                    <a:lnTo>
                      <a:pt x="41" y="355"/>
                    </a:lnTo>
                    <a:lnTo>
                      <a:pt x="40" y="355"/>
                    </a:lnTo>
                    <a:lnTo>
                      <a:pt x="40" y="353"/>
                    </a:lnTo>
                    <a:lnTo>
                      <a:pt x="40" y="352"/>
                    </a:lnTo>
                    <a:lnTo>
                      <a:pt x="39" y="352"/>
                    </a:lnTo>
                    <a:lnTo>
                      <a:pt x="38" y="352"/>
                    </a:lnTo>
                    <a:lnTo>
                      <a:pt x="38" y="351"/>
                    </a:lnTo>
                    <a:lnTo>
                      <a:pt x="38" y="350"/>
                    </a:lnTo>
                    <a:lnTo>
                      <a:pt x="37" y="350"/>
                    </a:lnTo>
                    <a:lnTo>
                      <a:pt x="36" y="350"/>
                    </a:lnTo>
                    <a:lnTo>
                      <a:pt x="36" y="351"/>
                    </a:lnTo>
                    <a:lnTo>
                      <a:pt x="35" y="351"/>
                    </a:lnTo>
                    <a:lnTo>
                      <a:pt x="35" y="350"/>
                    </a:lnTo>
                    <a:lnTo>
                      <a:pt x="36" y="350"/>
                    </a:lnTo>
                    <a:lnTo>
                      <a:pt x="36" y="349"/>
                    </a:lnTo>
                    <a:lnTo>
                      <a:pt x="35" y="349"/>
                    </a:lnTo>
                    <a:lnTo>
                      <a:pt x="34" y="350"/>
                    </a:lnTo>
                    <a:lnTo>
                      <a:pt x="34" y="349"/>
                    </a:lnTo>
                    <a:lnTo>
                      <a:pt x="34" y="348"/>
                    </a:lnTo>
                    <a:lnTo>
                      <a:pt x="34" y="347"/>
                    </a:lnTo>
                    <a:lnTo>
                      <a:pt x="32" y="348"/>
                    </a:lnTo>
                    <a:lnTo>
                      <a:pt x="31" y="348"/>
                    </a:lnTo>
                    <a:lnTo>
                      <a:pt x="30" y="348"/>
                    </a:lnTo>
                    <a:lnTo>
                      <a:pt x="30" y="347"/>
                    </a:lnTo>
                    <a:lnTo>
                      <a:pt x="29" y="347"/>
                    </a:lnTo>
                    <a:lnTo>
                      <a:pt x="29" y="348"/>
                    </a:lnTo>
                    <a:lnTo>
                      <a:pt x="28" y="347"/>
                    </a:lnTo>
                    <a:lnTo>
                      <a:pt x="27" y="347"/>
                    </a:lnTo>
                    <a:lnTo>
                      <a:pt x="26" y="347"/>
                    </a:lnTo>
                    <a:lnTo>
                      <a:pt x="25" y="346"/>
                    </a:lnTo>
                    <a:lnTo>
                      <a:pt x="25" y="347"/>
                    </a:lnTo>
                    <a:lnTo>
                      <a:pt x="24" y="347"/>
                    </a:lnTo>
                    <a:lnTo>
                      <a:pt x="24" y="346"/>
                    </a:lnTo>
                    <a:lnTo>
                      <a:pt x="24" y="347"/>
                    </a:lnTo>
                    <a:lnTo>
                      <a:pt x="23" y="347"/>
                    </a:lnTo>
                    <a:lnTo>
                      <a:pt x="23" y="348"/>
                    </a:lnTo>
                    <a:lnTo>
                      <a:pt x="22" y="348"/>
                    </a:lnTo>
                    <a:lnTo>
                      <a:pt x="22" y="347"/>
                    </a:lnTo>
                    <a:lnTo>
                      <a:pt x="21" y="347"/>
                    </a:lnTo>
                    <a:lnTo>
                      <a:pt x="21" y="348"/>
                    </a:lnTo>
                    <a:lnTo>
                      <a:pt x="21" y="349"/>
                    </a:lnTo>
                    <a:lnTo>
                      <a:pt x="19" y="349"/>
                    </a:lnTo>
                    <a:lnTo>
                      <a:pt x="18" y="349"/>
                    </a:lnTo>
                    <a:lnTo>
                      <a:pt x="17" y="348"/>
                    </a:lnTo>
                    <a:lnTo>
                      <a:pt x="16" y="348"/>
                    </a:lnTo>
                    <a:lnTo>
                      <a:pt x="16" y="349"/>
                    </a:lnTo>
                    <a:lnTo>
                      <a:pt x="17" y="349"/>
                    </a:lnTo>
                    <a:lnTo>
                      <a:pt x="16" y="350"/>
                    </a:lnTo>
                    <a:lnTo>
                      <a:pt x="16" y="349"/>
                    </a:lnTo>
                    <a:lnTo>
                      <a:pt x="15" y="349"/>
                    </a:lnTo>
                    <a:lnTo>
                      <a:pt x="14" y="349"/>
                    </a:lnTo>
                    <a:lnTo>
                      <a:pt x="15" y="349"/>
                    </a:lnTo>
                    <a:lnTo>
                      <a:pt x="15" y="350"/>
                    </a:lnTo>
                    <a:lnTo>
                      <a:pt x="14" y="350"/>
                    </a:lnTo>
                    <a:lnTo>
                      <a:pt x="14" y="351"/>
                    </a:lnTo>
                    <a:lnTo>
                      <a:pt x="14" y="352"/>
                    </a:lnTo>
                    <a:lnTo>
                      <a:pt x="14" y="353"/>
                    </a:lnTo>
                    <a:lnTo>
                      <a:pt x="13" y="355"/>
                    </a:lnTo>
                    <a:lnTo>
                      <a:pt x="12" y="355"/>
                    </a:lnTo>
                    <a:lnTo>
                      <a:pt x="11" y="355"/>
                    </a:lnTo>
                    <a:lnTo>
                      <a:pt x="10" y="355"/>
                    </a:lnTo>
                    <a:lnTo>
                      <a:pt x="10" y="356"/>
                    </a:lnTo>
                    <a:lnTo>
                      <a:pt x="9" y="356"/>
                    </a:lnTo>
                    <a:lnTo>
                      <a:pt x="9" y="355"/>
                    </a:lnTo>
                    <a:lnTo>
                      <a:pt x="9" y="353"/>
                    </a:lnTo>
                    <a:lnTo>
                      <a:pt x="9" y="352"/>
                    </a:lnTo>
                    <a:lnTo>
                      <a:pt x="9" y="351"/>
                    </a:lnTo>
                    <a:lnTo>
                      <a:pt x="9" y="350"/>
                    </a:lnTo>
                    <a:lnTo>
                      <a:pt x="8" y="350"/>
                    </a:lnTo>
                    <a:lnTo>
                      <a:pt x="6" y="351"/>
                    </a:lnTo>
                    <a:lnTo>
                      <a:pt x="5" y="351"/>
                    </a:lnTo>
                    <a:lnTo>
                      <a:pt x="5" y="350"/>
                    </a:lnTo>
                    <a:lnTo>
                      <a:pt x="4" y="350"/>
                    </a:lnTo>
                    <a:lnTo>
                      <a:pt x="4" y="349"/>
                    </a:lnTo>
                    <a:lnTo>
                      <a:pt x="4" y="348"/>
                    </a:lnTo>
                    <a:lnTo>
                      <a:pt x="3" y="344"/>
                    </a:lnTo>
                    <a:lnTo>
                      <a:pt x="3" y="343"/>
                    </a:lnTo>
                    <a:lnTo>
                      <a:pt x="3" y="341"/>
                    </a:lnTo>
                    <a:lnTo>
                      <a:pt x="4" y="340"/>
                    </a:lnTo>
                    <a:lnTo>
                      <a:pt x="5" y="339"/>
                    </a:lnTo>
                    <a:lnTo>
                      <a:pt x="6" y="338"/>
                    </a:lnTo>
                    <a:lnTo>
                      <a:pt x="6" y="337"/>
                    </a:lnTo>
                    <a:lnTo>
                      <a:pt x="8" y="337"/>
                    </a:lnTo>
                    <a:lnTo>
                      <a:pt x="8" y="336"/>
                    </a:lnTo>
                    <a:lnTo>
                      <a:pt x="10" y="336"/>
                    </a:lnTo>
                    <a:lnTo>
                      <a:pt x="11" y="336"/>
                    </a:lnTo>
                    <a:lnTo>
                      <a:pt x="12" y="335"/>
                    </a:lnTo>
                    <a:lnTo>
                      <a:pt x="13" y="335"/>
                    </a:lnTo>
                    <a:lnTo>
                      <a:pt x="14" y="335"/>
                    </a:lnTo>
                    <a:lnTo>
                      <a:pt x="16" y="335"/>
                    </a:lnTo>
                    <a:lnTo>
                      <a:pt x="17" y="334"/>
                    </a:lnTo>
                    <a:lnTo>
                      <a:pt x="18" y="333"/>
                    </a:lnTo>
                    <a:lnTo>
                      <a:pt x="18" y="332"/>
                    </a:lnTo>
                    <a:lnTo>
                      <a:pt x="15" y="332"/>
                    </a:lnTo>
                    <a:lnTo>
                      <a:pt x="15" y="331"/>
                    </a:lnTo>
                    <a:lnTo>
                      <a:pt x="15" y="330"/>
                    </a:lnTo>
                    <a:lnTo>
                      <a:pt x="15" y="328"/>
                    </a:lnTo>
                    <a:lnTo>
                      <a:pt x="15" y="327"/>
                    </a:lnTo>
                    <a:lnTo>
                      <a:pt x="15" y="326"/>
                    </a:lnTo>
                    <a:lnTo>
                      <a:pt x="14" y="325"/>
                    </a:lnTo>
                    <a:lnTo>
                      <a:pt x="13" y="325"/>
                    </a:lnTo>
                    <a:lnTo>
                      <a:pt x="12" y="324"/>
                    </a:lnTo>
                    <a:lnTo>
                      <a:pt x="12" y="323"/>
                    </a:lnTo>
                    <a:lnTo>
                      <a:pt x="13" y="322"/>
                    </a:lnTo>
                    <a:lnTo>
                      <a:pt x="14" y="321"/>
                    </a:lnTo>
                    <a:lnTo>
                      <a:pt x="16" y="320"/>
                    </a:lnTo>
                    <a:lnTo>
                      <a:pt x="16" y="319"/>
                    </a:lnTo>
                    <a:lnTo>
                      <a:pt x="17" y="318"/>
                    </a:lnTo>
                    <a:lnTo>
                      <a:pt x="18" y="315"/>
                    </a:lnTo>
                    <a:lnTo>
                      <a:pt x="19" y="313"/>
                    </a:lnTo>
                    <a:lnTo>
                      <a:pt x="21" y="313"/>
                    </a:lnTo>
                    <a:lnTo>
                      <a:pt x="22" y="314"/>
                    </a:lnTo>
                    <a:lnTo>
                      <a:pt x="22" y="315"/>
                    </a:lnTo>
                    <a:lnTo>
                      <a:pt x="22" y="318"/>
                    </a:lnTo>
                    <a:lnTo>
                      <a:pt x="22" y="319"/>
                    </a:lnTo>
                    <a:lnTo>
                      <a:pt x="23" y="319"/>
                    </a:lnTo>
                    <a:lnTo>
                      <a:pt x="24" y="318"/>
                    </a:lnTo>
                    <a:lnTo>
                      <a:pt x="25" y="317"/>
                    </a:lnTo>
                    <a:lnTo>
                      <a:pt x="26" y="315"/>
                    </a:lnTo>
                    <a:lnTo>
                      <a:pt x="27" y="315"/>
                    </a:lnTo>
                    <a:lnTo>
                      <a:pt x="28" y="315"/>
                    </a:lnTo>
                    <a:lnTo>
                      <a:pt x="29" y="315"/>
                    </a:lnTo>
                    <a:lnTo>
                      <a:pt x="30" y="313"/>
                    </a:lnTo>
                    <a:lnTo>
                      <a:pt x="31" y="311"/>
                    </a:lnTo>
                    <a:lnTo>
                      <a:pt x="32" y="311"/>
                    </a:lnTo>
                    <a:lnTo>
                      <a:pt x="31" y="310"/>
                    </a:lnTo>
                    <a:lnTo>
                      <a:pt x="31" y="309"/>
                    </a:lnTo>
                    <a:lnTo>
                      <a:pt x="31" y="308"/>
                    </a:lnTo>
                    <a:lnTo>
                      <a:pt x="32" y="306"/>
                    </a:lnTo>
                    <a:lnTo>
                      <a:pt x="31" y="305"/>
                    </a:lnTo>
                    <a:lnTo>
                      <a:pt x="31" y="304"/>
                    </a:lnTo>
                    <a:lnTo>
                      <a:pt x="30" y="304"/>
                    </a:lnTo>
                    <a:lnTo>
                      <a:pt x="30" y="302"/>
                    </a:lnTo>
                    <a:lnTo>
                      <a:pt x="29" y="301"/>
                    </a:lnTo>
                    <a:lnTo>
                      <a:pt x="28" y="298"/>
                    </a:lnTo>
                    <a:lnTo>
                      <a:pt x="28" y="297"/>
                    </a:lnTo>
                    <a:lnTo>
                      <a:pt x="28" y="296"/>
                    </a:lnTo>
                    <a:lnTo>
                      <a:pt x="28" y="295"/>
                    </a:lnTo>
                    <a:lnTo>
                      <a:pt x="29" y="294"/>
                    </a:lnTo>
                    <a:lnTo>
                      <a:pt x="29" y="293"/>
                    </a:lnTo>
                    <a:lnTo>
                      <a:pt x="29" y="292"/>
                    </a:lnTo>
                    <a:lnTo>
                      <a:pt x="28" y="292"/>
                    </a:lnTo>
                    <a:lnTo>
                      <a:pt x="27" y="292"/>
                    </a:lnTo>
                    <a:lnTo>
                      <a:pt x="26" y="292"/>
                    </a:lnTo>
                    <a:lnTo>
                      <a:pt x="24" y="293"/>
                    </a:lnTo>
                    <a:lnTo>
                      <a:pt x="23" y="293"/>
                    </a:lnTo>
                    <a:lnTo>
                      <a:pt x="22" y="293"/>
                    </a:lnTo>
                    <a:lnTo>
                      <a:pt x="19" y="292"/>
                    </a:lnTo>
                    <a:lnTo>
                      <a:pt x="19" y="291"/>
                    </a:lnTo>
                    <a:lnTo>
                      <a:pt x="19" y="289"/>
                    </a:lnTo>
                    <a:lnTo>
                      <a:pt x="19" y="288"/>
                    </a:lnTo>
                    <a:lnTo>
                      <a:pt x="18" y="286"/>
                    </a:lnTo>
                    <a:lnTo>
                      <a:pt x="18" y="285"/>
                    </a:lnTo>
                    <a:lnTo>
                      <a:pt x="17" y="285"/>
                    </a:lnTo>
                    <a:lnTo>
                      <a:pt x="15" y="284"/>
                    </a:lnTo>
                    <a:lnTo>
                      <a:pt x="14" y="284"/>
                    </a:lnTo>
                    <a:lnTo>
                      <a:pt x="12" y="282"/>
                    </a:lnTo>
                    <a:lnTo>
                      <a:pt x="11" y="282"/>
                    </a:lnTo>
                    <a:lnTo>
                      <a:pt x="10" y="282"/>
                    </a:lnTo>
                    <a:lnTo>
                      <a:pt x="9" y="283"/>
                    </a:lnTo>
                    <a:lnTo>
                      <a:pt x="8" y="284"/>
                    </a:lnTo>
                    <a:lnTo>
                      <a:pt x="6" y="284"/>
                    </a:lnTo>
                    <a:lnTo>
                      <a:pt x="6" y="283"/>
                    </a:lnTo>
                    <a:lnTo>
                      <a:pt x="4" y="282"/>
                    </a:lnTo>
                    <a:lnTo>
                      <a:pt x="3" y="281"/>
                    </a:lnTo>
                    <a:lnTo>
                      <a:pt x="2" y="281"/>
                    </a:lnTo>
                    <a:lnTo>
                      <a:pt x="2" y="280"/>
                    </a:lnTo>
                    <a:lnTo>
                      <a:pt x="3" y="280"/>
                    </a:lnTo>
                    <a:lnTo>
                      <a:pt x="5" y="279"/>
                    </a:lnTo>
                    <a:lnTo>
                      <a:pt x="6" y="278"/>
                    </a:lnTo>
                    <a:lnTo>
                      <a:pt x="6" y="276"/>
                    </a:lnTo>
                    <a:lnTo>
                      <a:pt x="8" y="275"/>
                    </a:lnTo>
                    <a:lnTo>
                      <a:pt x="8" y="274"/>
                    </a:lnTo>
                    <a:lnTo>
                      <a:pt x="8" y="272"/>
                    </a:lnTo>
                    <a:lnTo>
                      <a:pt x="8" y="271"/>
                    </a:lnTo>
                    <a:lnTo>
                      <a:pt x="9" y="270"/>
                    </a:lnTo>
                    <a:lnTo>
                      <a:pt x="9" y="269"/>
                    </a:lnTo>
                    <a:lnTo>
                      <a:pt x="9" y="268"/>
                    </a:lnTo>
                    <a:lnTo>
                      <a:pt x="8" y="268"/>
                    </a:lnTo>
                    <a:lnTo>
                      <a:pt x="5" y="268"/>
                    </a:lnTo>
                    <a:lnTo>
                      <a:pt x="4" y="268"/>
                    </a:lnTo>
                    <a:lnTo>
                      <a:pt x="3" y="267"/>
                    </a:lnTo>
                    <a:lnTo>
                      <a:pt x="2" y="267"/>
                    </a:lnTo>
                    <a:lnTo>
                      <a:pt x="2" y="266"/>
                    </a:lnTo>
                    <a:lnTo>
                      <a:pt x="2" y="265"/>
                    </a:lnTo>
                    <a:lnTo>
                      <a:pt x="1" y="263"/>
                    </a:lnTo>
                    <a:lnTo>
                      <a:pt x="1" y="262"/>
                    </a:lnTo>
                    <a:lnTo>
                      <a:pt x="0" y="261"/>
                    </a:lnTo>
                    <a:lnTo>
                      <a:pt x="0" y="260"/>
                    </a:lnTo>
                    <a:lnTo>
                      <a:pt x="1" y="260"/>
                    </a:lnTo>
                    <a:lnTo>
                      <a:pt x="2" y="259"/>
                    </a:lnTo>
                    <a:lnTo>
                      <a:pt x="3" y="259"/>
                    </a:lnTo>
                    <a:lnTo>
                      <a:pt x="3" y="258"/>
                    </a:lnTo>
                    <a:lnTo>
                      <a:pt x="3" y="256"/>
                    </a:lnTo>
                    <a:lnTo>
                      <a:pt x="4" y="255"/>
                    </a:lnTo>
                    <a:lnTo>
                      <a:pt x="6" y="253"/>
                    </a:lnTo>
                    <a:lnTo>
                      <a:pt x="8" y="253"/>
                    </a:lnTo>
                    <a:lnTo>
                      <a:pt x="9" y="253"/>
                    </a:lnTo>
                    <a:lnTo>
                      <a:pt x="9" y="254"/>
                    </a:lnTo>
                    <a:lnTo>
                      <a:pt x="10" y="254"/>
                    </a:lnTo>
                    <a:lnTo>
                      <a:pt x="10" y="255"/>
                    </a:lnTo>
                    <a:lnTo>
                      <a:pt x="14" y="258"/>
                    </a:lnTo>
                    <a:lnTo>
                      <a:pt x="14" y="259"/>
                    </a:lnTo>
                    <a:lnTo>
                      <a:pt x="14" y="258"/>
                    </a:lnTo>
                    <a:lnTo>
                      <a:pt x="15" y="258"/>
                    </a:lnTo>
                    <a:lnTo>
                      <a:pt x="16" y="255"/>
                    </a:lnTo>
                    <a:lnTo>
                      <a:pt x="17" y="255"/>
                    </a:lnTo>
                    <a:lnTo>
                      <a:pt x="18" y="255"/>
                    </a:lnTo>
                    <a:lnTo>
                      <a:pt x="18" y="254"/>
                    </a:lnTo>
                    <a:lnTo>
                      <a:pt x="21" y="254"/>
                    </a:lnTo>
                    <a:lnTo>
                      <a:pt x="22" y="255"/>
                    </a:lnTo>
                    <a:lnTo>
                      <a:pt x="24" y="256"/>
                    </a:lnTo>
                    <a:lnTo>
                      <a:pt x="25" y="255"/>
                    </a:lnTo>
                    <a:lnTo>
                      <a:pt x="25" y="254"/>
                    </a:lnTo>
                    <a:lnTo>
                      <a:pt x="27" y="248"/>
                    </a:lnTo>
                    <a:lnTo>
                      <a:pt x="28" y="247"/>
                    </a:lnTo>
                    <a:lnTo>
                      <a:pt x="29" y="247"/>
                    </a:lnTo>
                    <a:lnTo>
                      <a:pt x="30" y="247"/>
                    </a:lnTo>
                    <a:lnTo>
                      <a:pt x="34" y="247"/>
                    </a:lnTo>
                    <a:lnTo>
                      <a:pt x="35" y="247"/>
                    </a:lnTo>
                    <a:lnTo>
                      <a:pt x="38" y="243"/>
                    </a:lnTo>
                    <a:lnTo>
                      <a:pt x="42" y="241"/>
                    </a:lnTo>
                    <a:lnTo>
                      <a:pt x="43" y="240"/>
                    </a:lnTo>
                    <a:lnTo>
                      <a:pt x="43" y="238"/>
                    </a:lnTo>
                    <a:lnTo>
                      <a:pt x="42" y="238"/>
                    </a:lnTo>
                    <a:lnTo>
                      <a:pt x="42" y="237"/>
                    </a:lnTo>
                    <a:lnTo>
                      <a:pt x="36" y="235"/>
                    </a:lnTo>
                    <a:lnTo>
                      <a:pt x="35" y="235"/>
                    </a:lnTo>
                    <a:lnTo>
                      <a:pt x="34" y="234"/>
                    </a:lnTo>
                    <a:lnTo>
                      <a:pt x="34" y="233"/>
                    </a:lnTo>
                    <a:lnTo>
                      <a:pt x="34" y="232"/>
                    </a:lnTo>
                    <a:lnTo>
                      <a:pt x="35" y="231"/>
                    </a:lnTo>
                    <a:lnTo>
                      <a:pt x="36" y="231"/>
                    </a:lnTo>
                    <a:lnTo>
                      <a:pt x="36" y="230"/>
                    </a:lnTo>
                    <a:lnTo>
                      <a:pt x="36" y="229"/>
                    </a:lnTo>
                    <a:lnTo>
                      <a:pt x="32" y="228"/>
                    </a:lnTo>
                    <a:lnTo>
                      <a:pt x="31" y="227"/>
                    </a:lnTo>
                    <a:lnTo>
                      <a:pt x="29" y="224"/>
                    </a:lnTo>
                    <a:lnTo>
                      <a:pt x="28" y="223"/>
                    </a:lnTo>
                    <a:lnTo>
                      <a:pt x="28" y="222"/>
                    </a:lnTo>
                    <a:lnTo>
                      <a:pt x="28" y="221"/>
                    </a:lnTo>
                    <a:lnTo>
                      <a:pt x="29" y="221"/>
                    </a:lnTo>
                    <a:lnTo>
                      <a:pt x="30" y="220"/>
                    </a:lnTo>
                    <a:lnTo>
                      <a:pt x="34" y="221"/>
                    </a:lnTo>
                    <a:lnTo>
                      <a:pt x="35" y="221"/>
                    </a:lnTo>
                    <a:lnTo>
                      <a:pt x="35" y="220"/>
                    </a:lnTo>
                    <a:lnTo>
                      <a:pt x="36" y="219"/>
                    </a:lnTo>
                    <a:lnTo>
                      <a:pt x="36" y="217"/>
                    </a:lnTo>
                    <a:lnTo>
                      <a:pt x="36" y="216"/>
                    </a:lnTo>
                    <a:lnTo>
                      <a:pt x="36" y="215"/>
                    </a:lnTo>
                    <a:lnTo>
                      <a:pt x="35" y="214"/>
                    </a:lnTo>
                    <a:lnTo>
                      <a:pt x="34" y="214"/>
                    </a:lnTo>
                    <a:lnTo>
                      <a:pt x="31" y="212"/>
                    </a:lnTo>
                    <a:lnTo>
                      <a:pt x="30" y="211"/>
                    </a:lnTo>
                    <a:lnTo>
                      <a:pt x="31" y="210"/>
                    </a:lnTo>
                    <a:lnTo>
                      <a:pt x="31" y="209"/>
                    </a:lnTo>
                    <a:lnTo>
                      <a:pt x="31" y="208"/>
                    </a:lnTo>
                    <a:lnTo>
                      <a:pt x="30" y="208"/>
                    </a:lnTo>
                    <a:lnTo>
                      <a:pt x="28" y="208"/>
                    </a:lnTo>
                    <a:lnTo>
                      <a:pt x="27" y="208"/>
                    </a:lnTo>
                    <a:lnTo>
                      <a:pt x="25" y="206"/>
                    </a:lnTo>
                    <a:lnTo>
                      <a:pt x="24" y="206"/>
                    </a:lnTo>
                    <a:lnTo>
                      <a:pt x="22" y="205"/>
                    </a:lnTo>
                    <a:lnTo>
                      <a:pt x="19" y="205"/>
                    </a:lnTo>
                    <a:lnTo>
                      <a:pt x="16" y="205"/>
                    </a:lnTo>
                    <a:lnTo>
                      <a:pt x="16" y="204"/>
                    </a:lnTo>
                    <a:lnTo>
                      <a:pt x="16" y="203"/>
                    </a:lnTo>
                    <a:lnTo>
                      <a:pt x="16" y="201"/>
                    </a:lnTo>
                    <a:lnTo>
                      <a:pt x="18" y="198"/>
                    </a:lnTo>
                    <a:lnTo>
                      <a:pt x="18" y="197"/>
                    </a:lnTo>
                    <a:lnTo>
                      <a:pt x="18" y="196"/>
                    </a:lnTo>
                    <a:lnTo>
                      <a:pt x="17" y="196"/>
                    </a:lnTo>
                    <a:lnTo>
                      <a:pt x="16" y="197"/>
                    </a:lnTo>
                    <a:lnTo>
                      <a:pt x="16" y="198"/>
                    </a:lnTo>
                    <a:lnTo>
                      <a:pt x="15" y="199"/>
                    </a:lnTo>
                    <a:lnTo>
                      <a:pt x="14" y="199"/>
                    </a:lnTo>
                    <a:lnTo>
                      <a:pt x="13" y="198"/>
                    </a:lnTo>
                    <a:lnTo>
                      <a:pt x="13" y="196"/>
                    </a:lnTo>
                    <a:lnTo>
                      <a:pt x="12" y="196"/>
                    </a:lnTo>
                    <a:lnTo>
                      <a:pt x="11" y="195"/>
                    </a:lnTo>
                    <a:lnTo>
                      <a:pt x="10" y="195"/>
                    </a:lnTo>
                    <a:lnTo>
                      <a:pt x="9" y="194"/>
                    </a:lnTo>
                    <a:lnTo>
                      <a:pt x="9" y="193"/>
                    </a:lnTo>
                    <a:lnTo>
                      <a:pt x="10" y="192"/>
                    </a:lnTo>
                    <a:lnTo>
                      <a:pt x="11" y="192"/>
                    </a:lnTo>
                    <a:lnTo>
                      <a:pt x="12" y="192"/>
                    </a:lnTo>
                    <a:lnTo>
                      <a:pt x="13" y="193"/>
                    </a:lnTo>
                    <a:lnTo>
                      <a:pt x="13" y="194"/>
                    </a:lnTo>
                    <a:lnTo>
                      <a:pt x="14" y="194"/>
                    </a:lnTo>
                    <a:lnTo>
                      <a:pt x="14" y="195"/>
                    </a:lnTo>
                    <a:lnTo>
                      <a:pt x="15" y="195"/>
                    </a:lnTo>
                    <a:lnTo>
                      <a:pt x="15" y="194"/>
                    </a:lnTo>
                    <a:lnTo>
                      <a:pt x="13" y="192"/>
                    </a:lnTo>
                    <a:lnTo>
                      <a:pt x="13" y="191"/>
                    </a:lnTo>
                    <a:lnTo>
                      <a:pt x="13" y="190"/>
                    </a:lnTo>
                    <a:lnTo>
                      <a:pt x="14" y="190"/>
                    </a:lnTo>
                    <a:lnTo>
                      <a:pt x="15" y="190"/>
                    </a:lnTo>
                    <a:lnTo>
                      <a:pt x="16" y="191"/>
                    </a:lnTo>
                    <a:lnTo>
                      <a:pt x="17" y="190"/>
                    </a:lnTo>
                    <a:lnTo>
                      <a:pt x="18" y="190"/>
                    </a:lnTo>
                    <a:lnTo>
                      <a:pt x="18" y="189"/>
                    </a:lnTo>
                    <a:lnTo>
                      <a:pt x="18" y="188"/>
                    </a:lnTo>
                    <a:lnTo>
                      <a:pt x="18" y="186"/>
                    </a:lnTo>
                    <a:lnTo>
                      <a:pt x="18" y="185"/>
                    </a:lnTo>
                    <a:lnTo>
                      <a:pt x="21" y="181"/>
                    </a:lnTo>
                    <a:lnTo>
                      <a:pt x="22" y="181"/>
                    </a:lnTo>
                    <a:lnTo>
                      <a:pt x="23" y="180"/>
                    </a:lnTo>
                    <a:lnTo>
                      <a:pt x="24" y="180"/>
                    </a:lnTo>
                    <a:lnTo>
                      <a:pt x="24" y="179"/>
                    </a:lnTo>
                    <a:lnTo>
                      <a:pt x="25" y="173"/>
                    </a:lnTo>
                    <a:lnTo>
                      <a:pt x="25" y="172"/>
                    </a:lnTo>
                    <a:lnTo>
                      <a:pt x="25" y="171"/>
                    </a:lnTo>
                    <a:lnTo>
                      <a:pt x="21" y="165"/>
                    </a:lnTo>
                    <a:lnTo>
                      <a:pt x="19" y="159"/>
                    </a:lnTo>
                    <a:lnTo>
                      <a:pt x="19" y="157"/>
                    </a:lnTo>
                    <a:lnTo>
                      <a:pt x="18" y="155"/>
                    </a:lnTo>
                    <a:lnTo>
                      <a:pt x="18" y="150"/>
                    </a:lnTo>
                    <a:lnTo>
                      <a:pt x="19" y="150"/>
                    </a:lnTo>
                    <a:lnTo>
                      <a:pt x="22" y="150"/>
                    </a:lnTo>
                    <a:lnTo>
                      <a:pt x="24" y="150"/>
                    </a:lnTo>
                    <a:lnTo>
                      <a:pt x="25" y="148"/>
                    </a:lnTo>
                    <a:lnTo>
                      <a:pt x="26" y="148"/>
                    </a:lnTo>
                    <a:lnTo>
                      <a:pt x="26" y="147"/>
                    </a:lnTo>
                    <a:lnTo>
                      <a:pt x="26" y="146"/>
                    </a:lnTo>
                    <a:lnTo>
                      <a:pt x="22" y="140"/>
                    </a:lnTo>
                    <a:lnTo>
                      <a:pt x="22" y="139"/>
                    </a:lnTo>
                    <a:lnTo>
                      <a:pt x="26" y="138"/>
                    </a:lnTo>
                    <a:lnTo>
                      <a:pt x="27" y="138"/>
                    </a:lnTo>
                    <a:lnTo>
                      <a:pt x="28" y="137"/>
                    </a:lnTo>
                    <a:lnTo>
                      <a:pt x="28" y="135"/>
                    </a:lnTo>
                    <a:lnTo>
                      <a:pt x="28" y="134"/>
                    </a:lnTo>
                    <a:lnTo>
                      <a:pt x="28" y="132"/>
                    </a:lnTo>
                    <a:lnTo>
                      <a:pt x="28" y="131"/>
                    </a:lnTo>
                    <a:lnTo>
                      <a:pt x="28" y="130"/>
                    </a:lnTo>
                    <a:lnTo>
                      <a:pt x="28" y="129"/>
                    </a:lnTo>
                    <a:lnTo>
                      <a:pt x="27" y="129"/>
                    </a:lnTo>
                    <a:lnTo>
                      <a:pt x="26" y="129"/>
                    </a:lnTo>
                    <a:lnTo>
                      <a:pt x="25" y="130"/>
                    </a:lnTo>
                    <a:lnTo>
                      <a:pt x="23" y="130"/>
                    </a:lnTo>
                    <a:lnTo>
                      <a:pt x="22" y="130"/>
                    </a:lnTo>
                    <a:lnTo>
                      <a:pt x="18" y="128"/>
                    </a:lnTo>
                    <a:lnTo>
                      <a:pt x="17" y="128"/>
                    </a:lnTo>
                    <a:lnTo>
                      <a:pt x="16" y="129"/>
                    </a:lnTo>
                    <a:lnTo>
                      <a:pt x="15" y="128"/>
                    </a:lnTo>
                    <a:lnTo>
                      <a:pt x="14" y="127"/>
                    </a:lnTo>
                    <a:lnTo>
                      <a:pt x="15" y="127"/>
                    </a:lnTo>
                    <a:lnTo>
                      <a:pt x="16" y="126"/>
                    </a:lnTo>
                    <a:lnTo>
                      <a:pt x="16" y="125"/>
                    </a:lnTo>
                    <a:lnTo>
                      <a:pt x="16" y="124"/>
                    </a:lnTo>
                    <a:lnTo>
                      <a:pt x="17" y="124"/>
                    </a:lnTo>
                    <a:lnTo>
                      <a:pt x="17" y="122"/>
                    </a:lnTo>
                    <a:lnTo>
                      <a:pt x="17" y="121"/>
                    </a:lnTo>
                    <a:lnTo>
                      <a:pt x="17" y="120"/>
                    </a:lnTo>
                    <a:lnTo>
                      <a:pt x="18" y="120"/>
                    </a:lnTo>
                    <a:lnTo>
                      <a:pt x="19" y="120"/>
                    </a:lnTo>
                    <a:lnTo>
                      <a:pt x="19" y="119"/>
                    </a:lnTo>
                    <a:lnTo>
                      <a:pt x="19" y="118"/>
                    </a:lnTo>
                    <a:lnTo>
                      <a:pt x="19" y="117"/>
                    </a:lnTo>
                    <a:lnTo>
                      <a:pt x="21" y="117"/>
                    </a:lnTo>
                    <a:lnTo>
                      <a:pt x="21" y="116"/>
                    </a:lnTo>
                    <a:lnTo>
                      <a:pt x="21" y="115"/>
                    </a:lnTo>
                    <a:lnTo>
                      <a:pt x="19" y="113"/>
                    </a:lnTo>
                    <a:lnTo>
                      <a:pt x="18" y="112"/>
                    </a:lnTo>
                    <a:lnTo>
                      <a:pt x="17" y="111"/>
                    </a:lnTo>
                    <a:lnTo>
                      <a:pt x="18" y="111"/>
                    </a:lnTo>
                    <a:lnTo>
                      <a:pt x="18" y="109"/>
                    </a:lnTo>
                    <a:lnTo>
                      <a:pt x="16" y="108"/>
                    </a:lnTo>
                    <a:lnTo>
                      <a:pt x="16" y="107"/>
                    </a:lnTo>
                    <a:lnTo>
                      <a:pt x="17" y="107"/>
                    </a:lnTo>
                    <a:lnTo>
                      <a:pt x="18" y="106"/>
                    </a:lnTo>
                    <a:lnTo>
                      <a:pt x="17" y="104"/>
                    </a:lnTo>
                    <a:lnTo>
                      <a:pt x="18" y="103"/>
                    </a:lnTo>
                    <a:lnTo>
                      <a:pt x="19" y="103"/>
                    </a:lnTo>
                    <a:lnTo>
                      <a:pt x="21" y="102"/>
                    </a:lnTo>
                    <a:lnTo>
                      <a:pt x="21" y="101"/>
                    </a:lnTo>
                    <a:lnTo>
                      <a:pt x="21" y="100"/>
                    </a:lnTo>
                    <a:lnTo>
                      <a:pt x="23" y="100"/>
                    </a:lnTo>
                    <a:lnTo>
                      <a:pt x="23" y="99"/>
                    </a:lnTo>
                    <a:lnTo>
                      <a:pt x="21" y="96"/>
                    </a:lnTo>
                    <a:lnTo>
                      <a:pt x="19" y="98"/>
                    </a:lnTo>
                    <a:lnTo>
                      <a:pt x="17" y="99"/>
                    </a:lnTo>
                    <a:lnTo>
                      <a:pt x="17" y="98"/>
                    </a:lnTo>
                    <a:lnTo>
                      <a:pt x="17" y="96"/>
                    </a:lnTo>
                    <a:lnTo>
                      <a:pt x="16" y="94"/>
                    </a:lnTo>
                    <a:lnTo>
                      <a:pt x="15" y="94"/>
                    </a:lnTo>
                    <a:lnTo>
                      <a:pt x="16" y="93"/>
                    </a:lnTo>
                    <a:lnTo>
                      <a:pt x="16" y="92"/>
                    </a:lnTo>
                    <a:lnTo>
                      <a:pt x="16" y="91"/>
                    </a:lnTo>
                    <a:lnTo>
                      <a:pt x="15" y="91"/>
                    </a:lnTo>
                    <a:lnTo>
                      <a:pt x="14" y="91"/>
                    </a:lnTo>
                    <a:lnTo>
                      <a:pt x="15" y="91"/>
                    </a:lnTo>
                    <a:lnTo>
                      <a:pt x="15" y="90"/>
                    </a:lnTo>
                    <a:lnTo>
                      <a:pt x="14" y="90"/>
                    </a:lnTo>
                    <a:lnTo>
                      <a:pt x="14" y="89"/>
                    </a:lnTo>
                    <a:lnTo>
                      <a:pt x="15" y="89"/>
                    </a:lnTo>
                    <a:lnTo>
                      <a:pt x="16" y="89"/>
                    </a:lnTo>
                    <a:lnTo>
                      <a:pt x="18" y="89"/>
                    </a:lnTo>
                    <a:lnTo>
                      <a:pt x="19" y="88"/>
                    </a:lnTo>
                    <a:lnTo>
                      <a:pt x="21" y="88"/>
                    </a:lnTo>
                    <a:lnTo>
                      <a:pt x="21" y="87"/>
                    </a:lnTo>
                    <a:lnTo>
                      <a:pt x="22" y="86"/>
                    </a:lnTo>
                    <a:lnTo>
                      <a:pt x="21" y="84"/>
                    </a:lnTo>
                    <a:lnTo>
                      <a:pt x="22" y="84"/>
                    </a:lnTo>
                    <a:lnTo>
                      <a:pt x="23" y="84"/>
                    </a:lnTo>
                    <a:lnTo>
                      <a:pt x="23" y="83"/>
                    </a:lnTo>
                    <a:lnTo>
                      <a:pt x="23" y="82"/>
                    </a:lnTo>
                    <a:lnTo>
                      <a:pt x="25" y="81"/>
                    </a:lnTo>
                    <a:lnTo>
                      <a:pt x="26" y="81"/>
                    </a:lnTo>
                    <a:lnTo>
                      <a:pt x="26" y="80"/>
                    </a:lnTo>
                    <a:lnTo>
                      <a:pt x="25" y="79"/>
                    </a:lnTo>
                    <a:lnTo>
                      <a:pt x="25" y="78"/>
                    </a:lnTo>
                    <a:lnTo>
                      <a:pt x="24" y="78"/>
                    </a:lnTo>
                    <a:lnTo>
                      <a:pt x="24" y="77"/>
                    </a:lnTo>
                    <a:lnTo>
                      <a:pt x="25" y="76"/>
                    </a:lnTo>
                    <a:lnTo>
                      <a:pt x="26" y="76"/>
                    </a:lnTo>
                    <a:lnTo>
                      <a:pt x="26" y="75"/>
                    </a:lnTo>
                    <a:lnTo>
                      <a:pt x="27" y="75"/>
                    </a:lnTo>
                    <a:lnTo>
                      <a:pt x="26" y="74"/>
                    </a:lnTo>
                    <a:lnTo>
                      <a:pt x="26" y="73"/>
                    </a:lnTo>
                    <a:lnTo>
                      <a:pt x="26" y="71"/>
                    </a:lnTo>
                    <a:lnTo>
                      <a:pt x="26" y="70"/>
                    </a:lnTo>
                    <a:lnTo>
                      <a:pt x="26" y="69"/>
                    </a:lnTo>
                    <a:lnTo>
                      <a:pt x="25" y="69"/>
                    </a:lnTo>
                    <a:lnTo>
                      <a:pt x="26" y="68"/>
                    </a:lnTo>
                    <a:lnTo>
                      <a:pt x="27" y="68"/>
                    </a:lnTo>
                    <a:lnTo>
                      <a:pt x="27" y="67"/>
                    </a:lnTo>
                    <a:lnTo>
                      <a:pt x="26" y="66"/>
                    </a:lnTo>
                    <a:lnTo>
                      <a:pt x="26" y="65"/>
                    </a:lnTo>
                    <a:lnTo>
                      <a:pt x="27" y="65"/>
                    </a:lnTo>
                    <a:lnTo>
                      <a:pt x="26" y="64"/>
                    </a:lnTo>
                    <a:lnTo>
                      <a:pt x="27" y="64"/>
                    </a:lnTo>
                    <a:lnTo>
                      <a:pt x="28" y="63"/>
                    </a:lnTo>
                    <a:lnTo>
                      <a:pt x="34" y="63"/>
                    </a:lnTo>
                    <a:lnTo>
                      <a:pt x="55" y="63"/>
                    </a:lnTo>
                    <a:lnTo>
                      <a:pt x="83" y="64"/>
                    </a:lnTo>
                    <a:lnTo>
                      <a:pt x="88" y="53"/>
                    </a:lnTo>
                    <a:lnTo>
                      <a:pt x="93" y="43"/>
                    </a:lnTo>
                    <a:lnTo>
                      <a:pt x="105" y="22"/>
                    </a:lnTo>
                    <a:lnTo>
                      <a:pt x="107" y="17"/>
                    </a:lnTo>
                    <a:lnTo>
                      <a:pt x="115" y="1"/>
                    </a:lnTo>
                    <a:lnTo>
                      <a:pt x="116" y="1"/>
                    </a:lnTo>
                    <a:lnTo>
                      <a:pt x="122" y="1"/>
                    </a:lnTo>
                    <a:lnTo>
                      <a:pt x="125" y="1"/>
                    </a:lnTo>
                    <a:lnTo>
                      <a:pt x="128" y="1"/>
                    </a:lnTo>
                    <a:lnTo>
                      <a:pt x="134" y="1"/>
                    </a:lnTo>
                    <a:lnTo>
                      <a:pt x="147" y="1"/>
                    </a:lnTo>
                    <a:lnTo>
                      <a:pt x="155" y="1"/>
                    </a:lnTo>
                    <a:lnTo>
                      <a:pt x="159" y="1"/>
                    </a:lnTo>
                    <a:lnTo>
                      <a:pt x="176" y="1"/>
                    </a:lnTo>
                    <a:lnTo>
                      <a:pt x="177" y="1"/>
                    </a:lnTo>
                    <a:lnTo>
                      <a:pt x="178" y="1"/>
                    </a:lnTo>
                    <a:lnTo>
                      <a:pt x="179" y="1"/>
                    </a:lnTo>
                    <a:lnTo>
                      <a:pt x="201" y="1"/>
                    </a:lnTo>
                    <a:lnTo>
                      <a:pt x="209" y="0"/>
                    </a:lnTo>
                    <a:lnTo>
                      <a:pt x="236" y="0"/>
                    </a:lnTo>
                    <a:lnTo>
                      <a:pt x="249" y="0"/>
                    </a:lnTo>
                    <a:lnTo>
                      <a:pt x="257" y="0"/>
                    </a:lnTo>
                    <a:lnTo>
                      <a:pt x="260" y="0"/>
                    </a:lnTo>
                    <a:lnTo>
                      <a:pt x="263" y="0"/>
                    </a:lnTo>
                    <a:lnTo>
                      <a:pt x="272" y="0"/>
                    </a:lnTo>
                    <a:lnTo>
                      <a:pt x="293" y="0"/>
                    </a:lnTo>
                    <a:lnTo>
                      <a:pt x="305" y="0"/>
                    </a:lnTo>
                    <a:lnTo>
                      <a:pt x="318" y="0"/>
                    </a:lnTo>
                    <a:lnTo>
                      <a:pt x="331" y="1"/>
                    </a:lnTo>
                    <a:lnTo>
                      <a:pt x="332" y="1"/>
                    </a:lnTo>
                    <a:lnTo>
                      <a:pt x="335" y="1"/>
                    </a:lnTo>
                    <a:lnTo>
                      <a:pt x="335" y="3"/>
                    </a:lnTo>
                    <a:lnTo>
                      <a:pt x="347" y="3"/>
                    </a:lnTo>
                    <a:lnTo>
                      <a:pt x="348" y="3"/>
                    </a:lnTo>
                    <a:lnTo>
                      <a:pt x="349" y="3"/>
                    </a:lnTo>
                    <a:lnTo>
                      <a:pt x="350" y="3"/>
                    </a:lnTo>
                    <a:lnTo>
                      <a:pt x="354" y="3"/>
                    </a:lnTo>
                    <a:lnTo>
                      <a:pt x="359" y="3"/>
                    </a:lnTo>
                    <a:lnTo>
                      <a:pt x="360" y="3"/>
                    </a:lnTo>
                    <a:lnTo>
                      <a:pt x="360" y="4"/>
                    </a:lnTo>
                    <a:lnTo>
                      <a:pt x="360" y="5"/>
                    </a:lnTo>
                    <a:lnTo>
                      <a:pt x="361" y="5"/>
                    </a:lnTo>
                    <a:lnTo>
                      <a:pt x="360" y="5"/>
                    </a:lnTo>
                    <a:lnTo>
                      <a:pt x="360" y="6"/>
                    </a:lnTo>
                    <a:lnTo>
                      <a:pt x="361" y="6"/>
                    </a:lnTo>
                    <a:lnTo>
                      <a:pt x="361" y="8"/>
                    </a:lnTo>
                    <a:lnTo>
                      <a:pt x="362" y="8"/>
                    </a:lnTo>
                    <a:lnTo>
                      <a:pt x="362" y="9"/>
                    </a:lnTo>
                    <a:lnTo>
                      <a:pt x="363" y="9"/>
                    </a:lnTo>
                    <a:lnTo>
                      <a:pt x="363" y="10"/>
                    </a:lnTo>
                    <a:lnTo>
                      <a:pt x="364" y="10"/>
                    </a:lnTo>
                    <a:lnTo>
                      <a:pt x="363" y="11"/>
                    </a:lnTo>
                    <a:lnTo>
                      <a:pt x="364" y="11"/>
                    </a:lnTo>
                    <a:lnTo>
                      <a:pt x="364" y="12"/>
                    </a:lnTo>
                    <a:lnTo>
                      <a:pt x="365" y="12"/>
                    </a:lnTo>
                    <a:lnTo>
                      <a:pt x="365" y="13"/>
                    </a:lnTo>
                    <a:close/>
                  </a:path>
                </a:pathLst>
              </a:custGeom>
              <a:solidFill>
                <a:srgbClr val="308EFC"/>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2" name="Freeform 310">
                <a:extLst>
                  <a:ext uri="{FF2B5EF4-FFF2-40B4-BE49-F238E27FC236}">
                    <a16:creationId xmlns:a16="http://schemas.microsoft.com/office/drawing/2014/main" id="{DA0FB1EE-50BB-9B3A-A8B6-072C3B642105}"/>
                  </a:ext>
                </a:extLst>
              </p:cNvPr>
              <p:cNvSpPr>
                <a:spLocks/>
              </p:cNvSpPr>
              <p:nvPr/>
            </p:nvSpPr>
            <p:spPr bwMode="auto">
              <a:xfrm>
                <a:off x="2176463" y="2854325"/>
                <a:ext cx="884238" cy="714375"/>
              </a:xfrm>
              <a:custGeom>
                <a:avLst/>
                <a:gdLst>
                  <a:gd name="T0" fmla="*/ 492 w 557"/>
                  <a:gd name="T1" fmla="*/ 32 h 450"/>
                  <a:gd name="T2" fmla="*/ 501 w 557"/>
                  <a:gd name="T3" fmla="*/ 39 h 450"/>
                  <a:gd name="T4" fmla="*/ 506 w 557"/>
                  <a:gd name="T5" fmla="*/ 50 h 450"/>
                  <a:gd name="T6" fmla="*/ 504 w 557"/>
                  <a:gd name="T7" fmla="*/ 65 h 450"/>
                  <a:gd name="T8" fmla="*/ 516 w 557"/>
                  <a:gd name="T9" fmla="*/ 85 h 450"/>
                  <a:gd name="T10" fmla="*/ 530 w 557"/>
                  <a:gd name="T11" fmla="*/ 95 h 450"/>
                  <a:gd name="T12" fmla="*/ 531 w 557"/>
                  <a:gd name="T13" fmla="*/ 103 h 450"/>
                  <a:gd name="T14" fmla="*/ 540 w 557"/>
                  <a:gd name="T15" fmla="*/ 102 h 450"/>
                  <a:gd name="T16" fmla="*/ 550 w 557"/>
                  <a:gd name="T17" fmla="*/ 110 h 450"/>
                  <a:gd name="T18" fmla="*/ 552 w 557"/>
                  <a:gd name="T19" fmla="*/ 121 h 450"/>
                  <a:gd name="T20" fmla="*/ 549 w 557"/>
                  <a:gd name="T21" fmla="*/ 128 h 450"/>
                  <a:gd name="T22" fmla="*/ 542 w 557"/>
                  <a:gd name="T23" fmla="*/ 137 h 450"/>
                  <a:gd name="T24" fmla="*/ 535 w 557"/>
                  <a:gd name="T25" fmla="*/ 145 h 450"/>
                  <a:gd name="T26" fmla="*/ 525 w 557"/>
                  <a:gd name="T27" fmla="*/ 151 h 450"/>
                  <a:gd name="T28" fmla="*/ 516 w 557"/>
                  <a:gd name="T29" fmla="*/ 153 h 450"/>
                  <a:gd name="T30" fmla="*/ 503 w 557"/>
                  <a:gd name="T31" fmla="*/ 158 h 450"/>
                  <a:gd name="T32" fmla="*/ 493 w 557"/>
                  <a:gd name="T33" fmla="*/ 147 h 450"/>
                  <a:gd name="T34" fmla="*/ 490 w 557"/>
                  <a:gd name="T35" fmla="*/ 136 h 450"/>
                  <a:gd name="T36" fmla="*/ 480 w 557"/>
                  <a:gd name="T37" fmla="*/ 134 h 450"/>
                  <a:gd name="T38" fmla="*/ 470 w 557"/>
                  <a:gd name="T39" fmla="*/ 135 h 450"/>
                  <a:gd name="T40" fmla="*/ 464 w 557"/>
                  <a:gd name="T41" fmla="*/ 138 h 450"/>
                  <a:gd name="T42" fmla="*/ 459 w 557"/>
                  <a:gd name="T43" fmla="*/ 238 h 450"/>
                  <a:gd name="T44" fmla="*/ 458 w 557"/>
                  <a:gd name="T45" fmla="*/ 280 h 450"/>
                  <a:gd name="T46" fmla="*/ 471 w 557"/>
                  <a:gd name="T47" fmla="*/ 379 h 450"/>
                  <a:gd name="T48" fmla="*/ 474 w 557"/>
                  <a:gd name="T49" fmla="*/ 397 h 450"/>
                  <a:gd name="T50" fmla="*/ 400 w 557"/>
                  <a:gd name="T51" fmla="*/ 397 h 450"/>
                  <a:gd name="T52" fmla="*/ 391 w 557"/>
                  <a:gd name="T53" fmla="*/ 392 h 450"/>
                  <a:gd name="T54" fmla="*/ 386 w 557"/>
                  <a:gd name="T55" fmla="*/ 383 h 450"/>
                  <a:gd name="T56" fmla="*/ 376 w 557"/>
                  <a:gd name="T57" fmla="*/ 378 h 450"/>
                  <a:gd name="T58" fmla="*/ 369 w 557"/>
                  <a:gd name="T59" fmla="*/ 372 h 450"/>
                  <a:gd name="T60" fmla="*/ 356 w 557"/>
                  <a:gd name="T61" fmla="*/ 375 h 450"/>
                  <a:gd name="T62" fmla="*/ 348 w 557"/>
                  <a:gd name="T63" fmla="*/ 384 h 450"/>
                  <a:gd name="T64" fmla="*/ 337 w 557"/>
                  <a:gd name="T65" fmla="*/ 392 h 450"/>
                  <a:gd name="T66" fmla="*/ 328 w 557"/>
                  <a:gd name="T67" fmla="*/ 397 h 450"/>
                  <a:gd name="T68" fmla="*/ 309 w 557"/>
                  <a:gd name="T69" fmla="*/ 406 h 450"/>
                  <a:gd name="T70" fmla="*/ 307 w 557"/>
                  <a:gd name="T71" fmla="*/ 420 h 450"/>
                  <a:gd name="T72" fmla="*/ 306 w 557"/>
                  <a:gd name="T73" fmla="*/ 432 h 450"/>
                  <a:gd name="T74" fmla="*/ 298 w 557"/>
                  <a:gd name="T75" fmla="*/ 441 h 450"/>
                  <a:gd name="T76" fmla="*/ 290 w 557"/>
                  <a:gd name="T77" fmla="*/ 445 h 450"/>
                  <a:gd name="T78" fmla="*/ 280 w 557"/>
                  <a:gd name="T79" fmla="*/ 447 h 450"/>
                  <a:gd name="T80" fmla="*/ 272 w 557"/>
                  <a:gd name="T81" fmla="*/ 444 h 450"/>
                  <a:gd name="T82" fmla="*/ 264 w 557"/>
                  <a:gd name="T83" fmla="*/ 441 h 450"/>
                  <a:gd name="T84" fmla="*/ 235 w 557"/>
                  <a:gd name="T85" fmla="*/ 444 h 450"/>
                  <a:gd name="T86" fmla="*/ 108 w 557"/>
                  <a:gd name="T87" fmla="*/ 450 h 450"/>
                  <a:gd name="T88" fmla="*/ 95 w 557"/>
                  <a:gd name="T89" fmla="*/ 298 h 450"/>
                  <a:gd name="T90" fmla="*/ 84 w 557"/>
                  <a:gd name="T91" fmla="*/ 190 h 450"/>
                  <a:gd name="T92" fmla="*/ 63 w 557"/>
                  <a:gd name="T93" fmla="*/ 145 h 450"/>
                  <a:gd name="T94" fmla="*/ 27 w 557"/>
                  <a:gd name="T95" fmla="*/ 134 h 450"/>
                  <a:gd name="T96" fmla="*/ 43 w 557"/>
                  <a:gd name="T97" fmla="*/ 93 h 450"/>
                  <a:gd name="T98" fmla="*/ 120 w 557"/>
                  <a:gd name="T99" fmla="*/ 41 h 450"/>
                  <a:gd name="T100" fmla="*/ 165 w 557"/>
                  <a:gd name="T101" fmla="*/ 7 h 450"/>
                  <a:gd name="T102" fmla="*/ 181 w 557"/>
                  <a:gd name="T103" fmla="*/ 12 h 450"/>
                  <a:gd name="T104" fmla="*/ 173 w 557"/>
                  <a:gd name="T105" fmla="*/ 25 h 450"/>
                  <a:gd name="T106" fmla="*/ 169 w 557"/>
                  <a:gd name="T107" fmla="*/ 48 h 450"/>
                  <a:gd name="T108" fmla="*/ 177 w 557"/>
                  <a:gd name="T109" fmla="*/ 62 h 450"/>
                  <a:gd name="T110" fmla="*/ 176 w 557"/>
                  <a:gd name="T111" fmla="*/ 80 h 450"/>
                  <a:gd name="T112" fmla="*/ 191 w 557"/>
                  <a:gd name="T113" fmla="*/ 82 h 450"/>
                  <a:gd name="T114" fmla="*/ 200 w 557"/>
                  <a:gd name="T115" fmla="*/ 94 h 450"/>
                  <a:gd name="T116" fmla="*/ 224 w 557"/>
                  <a:gd name="T117" fmla="*/ 89 h 450"/>
                  <a:gd name="T118" fmla="*/ 345 w 557"/>
                  <a:gd name="T119" fmla="*/ 6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 h="450">
                    <a:moveTo>
                      <a:pt x="482" y="29"/>
                    </a:moveTo>
                    <a:lnTo>
                      <a:pt x="482" y="30"/>
                    </a:lnTo>
                    <a:lnTo>
                      <a:pt x="483" y="32"/>
                    </a:lnTo>
                    <a:lnTo>
                      <a:pt x="484" y="35"/>
                    </a:lnTo>
                    <a:lnTo>
                      <a:pt x="485" y="36"/>
                    </a:lnTo>
                    <a:lnTo>
                      <a:pt x="486" y="36"/>
                    </a:lnTo>
                    <a:lnTo>
                      <a:pt x="487" y="36"/>
                    </a:lnTo>
                    <a:lnTo>
                      <a:pt x="488" y="35"/>
                    </a:lnTo>
                    <a:lnTo>
                      <a:pt x="489" y="35"/>
                    </a:lnTo>
                    <a:lnTo>
                      <a:pt x="489" y="34"/>
                    </a:lnTo>
                    <a:lnTo>
                      <a:pt x="489" y="33"/>
                    </a:lnTo>
                    <a:lnTo>
                      <a:pt x="489" y="32"/>
                    </a:lnTo>
                    <a:lnTo>
                      <a:pt x="489" y="31"/>
                    </a:lnTo>
                    <a:lnTo>
                      <a:pt x="490" y="31"/>
                    </a:lnTo>
                    <a:lnTo>
                      <a:pt x="491" y="31"/>
                    </a:lnTo>
                    <a:lnTo>
                      <a:pt x="492" y="32"/>
                    </a:lnTo>
                    <a:lnTo>
                      <a:pt x="492" y="33"/>
                    </a:lnTo>
                    <a:lnTo>
                      <a:pt x="493" y="34"/>
                    </a:lnTo>
                    <a:lnTo>
                      <a:pt x="495" y="35"/>
                    </a:lnTo>
                    <a:lnTo>
                      <a:pt x="496" y="35"/>
                    </a:lnTo>
                    <a:lnTo>
                      <a:pt x="497" y="35"/>
                    </a:lnTo>
                    <a:lnTo>
                      <a:pt x="498" y="35"/>
                    </a:lnTo>
                    <a:lnTo>
                      <a:pt x="499" y="34"/>
                    </a:lnTo>
                    <a:lnTo>
                      <a:pt x="500" y="33"/>
                    </a:lnTo>
                    <a:lnTo>
                      <a:pt x="501" y="33"/>
                    </a:lnTo>
                    <a:lnTo>
                      <a:pt x="501" y="34"/>
                    </a:lnTo>
                    <a:lnTo>
                      <a:pt x="501" y="35"/>
                    </a:lnTo>
                    <a:lnTo>
                      <a:pt x="502" y="36"/>
                    </a:lnTo>
                    <a:lnTo>
                      <a:pt x="503" y="36"/>
                    </a:lnTo>
                    <a:lnTo>
                      <a:pt x="503" y="37"/>
                    </a:lnTo>
                    <a:lnTo>
                      <a:pt x="502" y="38"/>
                    </a:lnTo>
                    <a:lnTo>
                      <a:pt x="501" y="39"/>
                    </a:lnTo>
                    <a:lnTo>
                      <a:pt x="500" y="41"/>
                    </a:lnTo>
                    <a:lnTo>
                      <a:pt x="499" y="42"/>
                    </a:lnTo>
                    <a:lnTo>
                      <a:pt x="498" y="43"/>
                    </a:lnTo>
                    <a:lnTo>
                      <a:pt x="498" y="44"/>
                    </a:lnTo>
                    <a:lnTo>
                      <a:pt x="498" y="45"/>
                    </a:lnTo>
                    <a:lnTo>
                      <a:pt x="499" y="45"/>
                    </a:lnTo>
                    <a:lnTo>
                      <a:pt x="500" y="46"/>
                    </a:lnTo>
                    <a:lnTo>
                      <a:pt x="501" y="46"/>
                    </a:lnTo>
                    <a:lnTo>
                      <a:pt x="502" y="46"/>
                    </a:lnTo>
                    <a:lnTo>
                      <a:pt x="503" y="47"/>
                    </a:lnTo>
                    <a:lnTo>
                      <a:pt x="504" y="47"/>
                    </a:lnTo>
                    <a:lnTo>
                      <a:pt x="505" y="47"/>
                    </a:lnTo>
                    <a:lnTo>
                      <a:pt x="505" y="48"/>
                    </a:lnTo>
                    <a:lnTo>
                      <a:pt x="506" y="48"/>
                    </a:lnTo>
                    <a:lnTo>
                      <a:pt x="506" y="49"/>
                    </a:lnTo>
                    <a:lnTo>
                      <a:pt x="506" y="50"/>
                    </a:lnTo>
                    <a:lnTo>
                      <a:pt x="506" y="51"/>
                    </a:lnTo>
                    <a:lnTo>
                      <a:pt x="506" y="52"/>
                    </a:lnTo>
                    <a:lnTo>
                      <a:pt x="505" y="54"/>
                    </a:lnTo>
                    <a:lnTo>
                      <a:pt x="504" y="54"/>
                    </a:lnTo>
                    <a:lnTo>
                      <a:pt x="504" y="55"/>
                    </a:lnTo>
                    <a:lnTo>
                      <a:pt x="504" y="56"/>
                    </a:lnTo>
                    <a:lnTo>
                      <a:pt x="503" y="56"/>
                    </a:lnTo>
                    <a:lnTo>
                      <a:pt x="503" y="57"/>
                    </a:lnTo>
                    <a:lnTo>
                      <a:pt x="502" y="58"/>
                    </a:lnTo>
                    <a:lnTo>
                      <a:pt x="502" y="59"/>
                    </a:lnTo>
                    <a:lnTo>
                      <a:pt x="502" y="60"/>
                    </a:lnTo>
                    <a:lnTo>
                      <a:pt x="502" y="61"/>
                    </a:lnTo>
                    <a:lnTo>
                      <a:pt x="503" y="61"/>
                    </a:lnTo>
                    <a:lnTo>
                      <a:pt x="503" y="62"/>
                    </a:lnTo>
                    <a:lnTo>
                      <a:pt x="504" y="64"/>
                    </a:lnTo>
                    <a:lnTo>
                      <a:pt x="504" y="65"/>
                    </a:lnTo>
                    <a:lnTo>
                      <a:pt x="504" y="67"/>
                    </a:lnTo>
                    <a:lnTo>
                      <a:pt x="504" y="68"/>
                    </a:lnTo>
                    <a:lnTo>
                      <a:pt x="504" y="69"/>
                    </a:lnTo>
                    <a:lnTo>
                      <a:pt x="508" y="70"/>
                    </a:lnTo>
                    <a:lnTo>
                      <a:pt x="509" y="72"/>
                    </a:lnTo>
                    <a:lnTo>
                      <a:pt x="509" y="73"/>
                    </a:lnTo>
                    <a:lnTo>
                      <a:pt x="510" y="74"/>
                    </a:lnTo>
                    <a:lnTo>
                      <a:pt x="510" y="75"/>
                    </a:lnTo>
                    <a:lnTo>
                      <a:pt x="509" y="77"/>
                    </a:lnTo>
                    <a:lnTo>
                      <a:pt x="510" y="78"/>
                    </a:lnTo>
                    <a:lnTo>
                      <a:pt x="510" y="80"/>
                    </a:lnTo>
                    <a:lnTo>
                      <a:pt x="510" y="81"/>
                    </a:lnTo>
                    <a:lnTo>
                      <a:pt x="511" y="82"/>
                    </a:lnTo>
                    <a:lnTo>
                      <a:pt x="513" y="83"/>
                    </a:lnTo>
                    <a:lnTo>
                      <a:pt x="514" y="84"/>
                    </a:lnTo>
                    <a:lnTo>
                      <a:pt x="516" y="85"/>
                    </a:lnTo>
                    <a:lnTo>
                      <a:pt x="517" y="86"/>
                    </a:lnTo>
                    <a:lnTo>
                      <a:pt x="519" y="87"/>
                    </a:lnTo>
                    <a:lnTo>
                      <a:pt x="519" y="88"/>
                    </a:lnTo>
                    <a:lnTo>
                      <a:pt x="521" y="88"/>
                    </a:lnTo>
                    <a:lnTo>
                      <a:pt x="521" y="89"/>
                    </a:lnTo>
                    <a:lnTo>
                      <a:pt x="521" y="90"/>
                    </a:lnTo>
                    <a:lnTo>
                      <a:pt x="522" y="90"/>
                    </a:lnTo>
                    <a:lnTo>
                      <a:pt x="523" y="91"/>
                    </a:lnTo>
                    <a:lnTo>
                      <a:pt x="523" y="93"/>
                    </a:lnTo>
                    <a:lnTo>
                      <a:pt x="524" y="94"/>
                    </a:lnTo>
                    <a:lnTo>
                      <a:pt x="525" y="94"/>
                    </a:lnTo>
                    <a:lnTo>
                      <a:pt x="527" y="94"/>
                    </a:lnTo>
                    <a:lnTo>
                      <a:pt x="528" y="94"/>
                    </a:lnTo>
                    <a:lnTo>
                      <a:pt x="529" y="94"/>
                    </a:lnTo>
                    <a:lnTo>
                      <a:pt x="529" y="95"/>
                    </a:lnTo>
                    <a:lnTo>
                      <a:pt x="530" y="95"/>
                    </a:lnTo>
                    <a:lnTo>
                      <a:pt x="531" y="95"/>
                    </a:lnTo>
                    <a:lnTo>
                      <a:pt x="531" y="96"/>
                    </a:lnTo>
                    <a:lnTo>
                      <a:pt x="530" y="96"/>
                    </a:lnTo>
                    <a:lnTo>
                      <a:pt x="530" y="97"/>
                    </a:lnTo>
                    <a:lnTo>
                      <a:pt x="529" y="97"/>
                    </a:lnTo>
                    <a:lnTo>
                      <a:pt x="529" y="98"/>
                    </a:lnTo>
                    <a:lnTo>
                      <a:pt x="528" y="98"/>
                    </a:lnTo>
                    <a:lnTo>
                      <a:pt x="528" y="99"/>
                    </a:lnTo>
                    <a:lnTo>
                      <a:pt x="527" y="99"/>
                    </a:lnTo>
                    <a:lnTo>
                      <a:pt x="528" y="100"/>
                    </a:lnTo>
                    <a:lnTo>
                      <a:pt x="529" y="100"/>
                    </a:lnTo>
                    <a:lnTo>
                      <a:pt x="529" y="101"/>
                    </a:lnTo>
                    <a:lnTo>
                      <a:pt x="530" y="101"/>
                    </a:lnTo>
                    <a:lnTo>
                      <a:pt x="530" y="102"/>
                    </a:lnTo>
                    <a:lnTo>
                      <a:pt x="531" y="102"/>
                    </a:lnTo>
                    <a:lnTo>
                      <a:pt x="531" y="103"/>
                    </a:lnTo>
                    <a:lnTo>
                      <a:pt x="533" y="103"/>
                    </a:lnTo>
                    <a:lnTo>
                      <a:pt x="533" y="102"/>
                    </a:lnTo>
                    <a:lnTo>
                      <a:pt x="533" y="103"/>
                    </a:lnTo>
                    <a:lnTo>
                      <a:pt x="534" y="103"/>
                    </a:lnTo>
                    <a:lnTo>
                      <a:pt x="534" y="104"/>
                    </a:lnTo>
                    <a:lnTo>
                      <a:pt x="534" y="103"/>
                    </a:lnTo>
                    <a:lnTo>
                      <a:pt x="535" y="104"/>
                    </a:lnTo>
                    <a:lnTo>
                      <a:pt x="536" y="103"/>
                    </a:lnTo>
                    <a:lnTo>
                      <a:pt x="536" y="102"/>
                    </a:lnTo>
                    <a:lnTo>
                      <a:pt x="537" y="102"/>
                    </a:lnTo>
                    <a:lnTo>
                      <a:pt x="537" y="101"/>
                    </a:lnTo>
                    <a:lnTo>
                      <a:pt x="538" y="102"/>
                    </a:lnTo>
                    <a:lnTo>
                      <a:pt x="538" y="101"/>
                    </a:lnTo>
                    <a:lnTo>
                      <a:pt x="539" y="101"/>
                    </a:lnTo>
                    <a:lnTo>
                      <a:pt x="539" y="102"/>
                    </a:lnTo>
                    <a:lnTo>
                      <a:pt x="540" y="102"/>
                    </a:lnTo>
                    <a:lnTo>
                      <a:pt x="541" y="103"/>
                    </a:lnTo>
                    <a:lnTo>
                      <a:pt x="542" y="103"/>
                    </a:lnTo>
                    <a:lnTo>
                      <a:pt x="542" y="104"/>
                    </a:lnTo>
                    <a:lnTo>
                      <a:pt x="543" y="104"/>
                    </a:lnTo>
                    <a:lnTo>
                      <a:pt x="543" y="106"/>
                    </a:lnTo>
                    <a:lnTo>
                      <a:pt x="543" y="107"/>
                    </a:lnTo>
                    <a:lnTo>
                      <a:pt x="544" y="107"/>
                    </a:lnTo>
                    <a:lnTo>
                      <a:pt x="544" y="108"/>
                    </a:lnTo>
                    <a:lnTo>
                      <a:pt x="544" y="109"/>
                    </a:lnTo>
                    <a:lnTo>
                      <a:pt x="546" y="110"/>
                    </a:lnTo>
                    <a:lnTo>
                      <a:pt x="546" y="109"/>
                    </a:lnTo>
                    <a:lnTo>
                      <a:pt x="547" y="109"/>
                    </a:lnTo>
                    <a:lnTo>
                      <a:pt x="547" y="110"/>
                    </a:lnTo>
                    <a:lnTo>
                      <a:pt x="548" y="110"/>
                    </a:lnTo>
                    <a:lnTo>
                      <a:pt x="549" y="109"/>
                    </a:lnTo>
                    <a:lnTo>
                      <a:pt x="550" y="110"/>
                    </a:lnTo>
                    <a:lnTo>
                      <a:pt x="551" y="110"/>
                    </a:lnTo>
                    <a:lnTo>
                      <a:pt x="551" y="112"/>
                    </a:lnTo>
                    <a:lnTo>
                      <a:pt x="551" y="113"/>
                    </a:lnTo>
                    <a:lnTo>
                      <a:pt x="551" y="114"/>
                    </a:lnTo>
                    <a:lnTo>
                      <a:pt x="551" y="115"/>
                    </a:lnTo>
                    <a:lnTo>
                      <a:pt x="552" y="116"/>
                    </a:lnTo>
                    <a:lnTo>
                      <a:pt x="553" y="116"/>
                    </a:lnTo>
                    <a:lnTo>
                      <a:pt x="554" y="116"/>
                    </a:lnTo>
                    <a:lnTo>
                      <a:pt x="554" y="118"/>
                    </a:lnTo>
                    <a:lnTo>
                      <a:pt x="555" y="118"/>
                    </a:lnTo>
                    <a:lnTo>
                      <a:pt x="555" y="119"/>
                    </a:lnTo>
                    <a:lnTo>
                      <a:pt x="555" y="120"/>
                    </a:lnTo>
                    <a:lnTo>
                      <a:pt x="554" y="120"/>
                    </a:lnTo>
                    <a:lnTo>
                      <a:pt x="553" y="120"/>
                    </a:lnTo>
                    <a:lnTo>
                      <a:pt x="552" y="120"/>
                    </a:lnTo>
                    <a:lnTo>
                      <a:pt x="552" y="121"/>
                    </a:lnTo>
                    <a:lnTo>
                      <a:pt x="553" y="122"/>
                    </a:lnTo>
                    <a:lnTo>
                      <a:pt x="553" y="123"/>
                    </a:lnTo>
                    <a:lnTo>
                      <a:pt x="554" y="123"/>
                    </a:lnTo>
                    <a:lnTo>
                      <a:pt x="555" y="122"/>
                    </a:lnTo>
                    <a:lnTo>
                      <a:pt x="556" y="124"/>
                    </a:lnTo>
                    <a:lnTo>
                      <a:pt x="557" y="125"/>
                    </a:lnTo>
                    <a:lnTo>
                      <a:pt x="557" y="126"/>
                    </a:lnTo>
                    <a:lnTo>
                      <a:pt x="556" y="126"/>
                    </a:lnTo>
                    <a:lnTo>
                      <a:pt x="555" y="127"/>
                    </a:lnTo>
                    <a:lnTo>
                      <a:pt x="554" y="127"/>
                    </a:lnTo>
                    <a:lnTo>
                      <a:pt x="553" y="127"/>
                    </a:lnTo>
                    <a:lnTo>
                      <a:pt x="553" y="128"/>
                    </a:lnTo>
                    <a:lnTo>
                      <a:pt x="552" y="128"/>
                    </a:lnTo>
                    <a:lnTo>
                      <a:pt x="551" y="128"/>
                    </a:lnTo>
                    <a:lnTo>
                      <a:pt x="550" y="128"/>
                    </a:lnTo>
                    <a:lnTo>
                      <a:pt x="549" y="128"/>
                    </a:lnTo>
                    <a:lnTo>
                      <a:pt x="548" y="128"/>
                    </a:lnTo>
                    <a:lnTo>
                      <a:pt x="548" y="129"/>
                    </a:lnTo>
                    <a:lnTo>
                      <a:pt x="548" y="131"/>
                    </a:lnTo>
                    <a:lnTo>
                      <a:pt x="549" y="132"/>
                    </a:lnTo>
                    <a:lnTo>
                      <a:pt x="548" y="132"/>
                    </a:lnTo>
                    <a:lnTo>
                      <a:pt x="547" y="132"/>
                    </a:lnTo>
                    <a:lnTo>
                      <a:pt x="547" y="131"/>
                    </a:lnTo>
                    <a:lnTo>
                      <a:pt x="546" y="131"/>
                    </a:lnTo>
                    <a:lnTo>
                      <a:pt x="546" y="132"/>
                    </a:lnTo>
                    <a:lnTo>
                      <a:pt x="544" y="132"/>
                    </a:lnTo>
                    <a:lnTo>
                      <a:pt x="544" y="133"/>
                    </a:lnTo>
                    <a:lnTo>
                      <a:pt x="543" y="133"/>
                    </a:lnTo>
                    <a:lnTo>
                      <a:pt x="544" y="134"/>
                    </a:lnTo>
                    <a:lnTo>
                      <a:pt x="544" y="135"/>
                    </a:lnTo>
                    <a:lnTo>
                      <a:pt x="543" y="136"/>
                    </a:lnTo>
                    <a:lnTo>
                      <a:pt x="542" y="137"/>
                    </a:lnTo>
                    <a:lnTo>
                      <a:pt x="542" y="138"/>
                    </a:lnTo>
                    <a:lnTo>
                      <a:pt x="542" y="139"/>
                    </a:lnTo>
                    <a:lnTo>
                      <a:pt x="542" y="140"/>
                    </a:lnTo>
                    <a:lnTo>
                      <a:pt x="541" y="140"/>
                    </a:lnTo>
                    <a:lnTo>
                      <a:pt x="541" y="141"/>
                    </a:lnTo>
                    <a:lnTo>
                      <a:pt x="540" y="141"/>
                    </a:lnTo>
                    <a:lnTo>
                      <a:pt x="539" y="140"/>
                    </a:lnTo>
                    <a:lnTo>
                      <a:pt x="538" y="140"/>
                    </a:lnTo>
                    <a:lnTo>
                      <a:pt x="537" y="141"/>
                    </a:lnTo>
                    <a:lnTo>
                      <a:pt x="536" y="141"/>
                    </a:lnTo>
                    <a:lnTo>
                      <a:pt x="536" y="142"/>
                    </a:lnTo>
                    <a:lnTo>
                      <a:pt x="535" y="142"/>
                    </a:lnTo>
                    <a:lnTo>
                      <a:pt x="534" y="142"/>
                    </a:lnTo>
                    <a:lnTo>
                      <a:pt x="534" y="144"/>
                    </a:lnTo>
                    <a:lnTo>
                      <a:pt x="535" y="144"/>
                    </a:lnTo>
                    <a:lnTo>
                      <a:pt x="535" y="145"/>
                    </a:lnTo>
                    <a:lnTo>
                      <a:pt x="533" y="145"/>
                    </a:lnTo>
                    <a:lnTo>
                      <a:pt x="531" y="146"/>
                    </a:lnTo>
                    <a:lnTo>
                      <a:pt x="531" y="148"/>
                    </a:lnTo>
                    <a:lnTo>
                      <a:pt x="529" y="149"/>
                    </a:lnTo>
                    <a:lnTo>
                      <a:pt x="529" y="148"/>
                    </a:lnTo>
                    <a:lnTo>
                      <a:pt x="528" y="148"/>
                    </a:lnTo>
                    <a:lnTo>
                      <a:pt x="528" y="147"/>
                    </a:lnTo>
                    <a:lnTo>
                      <a:pt x="528" y="146"/>
                    </a:lnTo>
                    <a:lnTo>
                      <a:pt x="527" y="147"/>
                    </a:lnTo>
                    <a:lnTo>
                      <a:pt x="527" y="148"/>
                    </a:lnTo>
                    <a:lnTo>
                      <a:pt x="526" y="149"/>
                    </a:lnTo>
                    <a:lnTo>
                      <a:pt x="526" y="148"/>
                    </a:lnTo>
                    <a:lnTo>
                      <a:pt x="526" y="149"/>
                    </a:lnTo>
                    <a:lnTo>
                      <a:pt x="525" y="149"/>
                    </a:lnTo>
                    <a:lnTo>
                      <a:pt x="526" y="150"/>
                    </a:lnTo>
                    <a:lnTo>
                      <a:pt x="525" y="151"/>
                    </a:lnTo>
                    <a:lnTo>
                      <a:pt x="525" y="152"/>
                    </a:lnTo>
                    <a:lnTo>
                      <a:pt x="524" y="152"/>
                    </a:lnTo>
                    <a:lnTo>
                      <a:pt x="523" y="152"/>
                    </a:lnTo>
                    <a:lnTo>
                      <a:pt x="522" y="152"/>
                    </a:lnTo>
                    <a:lnTo>
                      <a:pt x="522" y="153"/>
                    </a:lnTo>
                    <a:lnTo>
                      <a:pt x="522" y="152"/>
                    </a:lnTo>
                    <a:lnTo>
                      <a:pt x="521" y="152"/>
                    </a:lnTo>
                    <a:lnTo>
                      <a:pt x="521" y="151"/>
                    </a:lnTo>
                    <a:lnTo>
                      <a:pt x="521" y="150"/>
                    </a:lnTo>
                    <a:lnTo>
                      <a:pt x="521" y="151"/>
                    </a:lnTo>
                    <a:lnTo>
                      <a:pt x="519" y="151"/>
                    </a:lnTo>
                    <a:lnTo>
                      <a:pt x="518" y="151"/>
                    </a:lnTo>
                    <a:lnTo>
                      <a:pt x="517" y="151"/>
                    </a:lnTo>
                    <a:lnTo>
                      <a:pt x="516" y="151"/>
                    </a:lnTo>
                    <a:lnTo>
                      <a:pt x="516" y="152"/>
                    </a:lnTo>
                    <a:lnTo>
                      <a:pt x="516" y="153"/>
                    </a:lnTo>
                    <a:lnTo>
                      <a:pt x="515" y="153"/>
                    </a:lnTo>
                    <a:lnTo>
                      <a:pt x="514" y="153"/>
                    </a:lnTo>
                    <a:lnTo>
                      <a:pt x="514" y="154"/>
                    </a:lnTo>
                    <a:lnTo>
                      <a:pt x="513" y="154"/>
                    </a:lnTo>
                    <a:lnTo>
                      <a:pt x="512" y="155"/>
                    </a:lnTo>
                    <a:lnTo>
                      <a:pt x="511" y="154"/>
                    </a:lnTo>
                    <a:lnTo>
                      <a:pt x="510" y="154"/>
                    </a:lnTo>
                    <a:lnTo>
                      <a:pt x="509" y="154"/>
                    </a:lnTo>
                    <a:lnTo>
                      <a:pt x="508" y="153"/>
                    </a:lnTo>
                    <a:lnTo>
                      <a:pt x="508" y="154"/>
                    </a:lnTo>
                    <a:lnTo>
                      <a:pt x="506" y="155"/>
                    </a:lnTo>
                    <a:lnTo>
                      <a:pt x="505" y="155"/>
                    </a:lnTo>
                    <a:lnTo>
                      <a:pt x="504" y="155"/>
                    </a:lnTo>
                    <a:lnTo>
                      <a:pt x="503" y="155"/>
                    </a:lnTo>
                    <a:lnTo>
                      <a:pt x="503" y="157"/>
                    </a:lnTo>
                    <a:lnTo>
                      <a:pt x="503" y="158"/>
                    </a:lnTo>
                    <a:lnTo>
                      <a:pt x="502" y="158"/>
                    </a:lnTo>
                    <a:lnTo>
                      <a:pt x="502" y="157"/>
                    </a:lnTo>
                    <a:lnTo>
                      <a:pt x="502" y="155"/>
                    </a:lnTo>
                    <a:lnTo>
                      <a:pt x="501" y="154"/>
                    </a:lnTo>
                    <a:lnTo>
                      <a:pt x="501" y="153"/>
                    </a:lnTo>
                    <a:lnTo>
                      <a:pt x="500" y="153"/>
                    </a:lnTo>
                    <a:lnTo>
                      <a:pt x="500" y="152"/>
                    </a:lnTo>
                    <a:lnTo>
                      <a:pt x="499" y="152"/>
                    </a:lnTo>
                    <a:lnTo>
                      <a:pt x="498" y="152"/>
                    </a:lnTo>
                    <a:lnTo>
                      <a:pt x="497" y="151"/>
                    </a:lnTo>
                    <a:lnTo>
                      <a:pt x="496" y="150"/>
                    </a:lnTo>
                    <a:lnTo>
                      <a:pt x="495" y="150"/>
                    </a:lnTo>
                    <a:lnTo>
                      <a:pt x="495" y="149"/>
                    </a:lnTo>
                    <a:lnTo>
                      <a:pt x="493" y="149"/>
                    </a:lnTo>
                    <a:lnTo>
                      <a:pt x="493" y="148"/>
                    </a:lnTo>
                    <a:lnTo>
                      <a:pt x="493" y="147"/>
                    </a:lnTo>
                    <a:lnTo>
                      <a:pt x="495" y="147"/>
                    </a:lnTo>
                    <a:lnTo>
                      <a:pt x="495" y="146"/>
                    </a:lnTo>
                    <a:lnTo>
                      <a:pt x="493" y="146"/>
                    </a:lnTo>
                    <a:lnTo>
                      <a:pt x="492" y="146"/>
                    </a:lnTo>
                    <a:lnTo>
                      <a:pt x="492" y="145"/>
                    </a:lnTo>
                    <a:lnTo>
                      <a:pt x="492" y="144"/>
                    </a:lnTo>
                    <a:lnTo>
                      <a:pt x="492" y="142"/>
                    </a:lnTo>
                    <a:lnTo>
                      <a:pt x="492" y="141"/>
                    </a:lnTo>
                    <a:lnTo>
                      <a:pt x="492" y="140"/>
                    </a:lnTo>
                    <a:lnTo>
                      <a:pt x="492" y="139"/>
                    </a:lnTo>
                    <a:lnTo>
                      <a:pt x="491" y="139"/>
                    </a:lnTo>
                    <a:lnTo>
                      <a:pt x="490" y="138"/>
                    </a:lnTo>
                    <a:lnTo>
                      <a:pt x="491" y="138"/>
                    </a:lnTo>
                    <a:lnTo>
                      <a:pt x="491" y="137"/>
                    </a:lnTo>
                    <a:lnTo>
                      <a:pt x="491" y="136"/>
                    </a:lnTo>
                    <a:lnTo>
                      <a:pt x="490" y="136"/>
                    </a:lnTo>
                    <a:lnTo>
                      <a:pt x="489" y="137"/>
                    </a:lnTo>
                    <a:lnTo>
                      <a:pt x="488" y="137"/>
                    </a:lnTo>
                    <a:lnTo>
                      <a:pt x="487" y="137"/>
                    </a:lnTo>
                    <a:lnTo>
                      <a:pt x="486" y="137"/>
                    </a:lnTo>
                    <a:lnTo>
                      <a:pt x="486" y="136"/>
                    </a:lnTo>
                    <a:lnTo>
                      <a:pt x="486" y="135"/>
                    </a:lnTo>
                    <a:lnTo>
                      <a:pt x="486" y="134"/>
                    </a:lnTo>
                    <a:lnTo>
                      <a:pt x="485" y="134"/>
                    </a:lnTo>
                    <a:lnTo>
                      <a:pt x="485" y="133"/>
                    </a:lnTo>
                    <a:lnTo>
                      <a:pt x="484" y="133"/>
                    </a:lnTo>
                    <a:lnTo>
                      <a:pt x="484" y="134"/>
                    </a:lnTo>
                    <a:lnTo>
                      <a:pt x="484" y="133"/>
                    </a:lnTo>
                    <a:lnTo>
                      <a:pt x="483" y="133"/>
                    </a:lnTo>
                    <a:lnTo>
                      <a:pt x="482" y="133"/>
                    </a:lnTo>
                    <a:lnTo>
                      <a:pt x="482" y="134"/>
                    </a:lnTo>
                    <a:lnTo>
                      <a:pt x="480" y="134"/>
                    </a:lnTo>
                    <a:lnTo>
                      <a:pt x="482" y="134"/>
                    </a:lnTo>
                    <a:lnTo>
                      <a:pt x="482" y="135"/>
                    </a:lnTo>
                    <a:lnTo>
                      <a:pt x="480" y="135"/>
                    </a:lnTo>
                    <a:lnTo>
                      <a:pt x="479" y="135"/>
                    </a:lnTo>
                    <a:lnTo>
                      <a:pt x="478" y="135"/>
                    </a:lnTo>
                    <a:lnTo>
                      <a:pt x="477" y="135"/>
                    </a:lnTo>
                    <a:lnTo>
                      <a:pt x="477" y="136"/>
                    </a:lnTo>
                    <a:lnTo>
                      <a:pt x="476" y="135"/>
                    </a:lnTo>
                    <a:lnTo>
                      <a:pt x="475" y="136"/>
                    </a:lnTo>
                    <a:lnTo>
                      <a:pt x="475" y="137"/>
                    </a:lnTo>
                    <a:lnTo>
                      <a:pt x="474" y="137"/>
                    </a:lnTo>
                    <a:lnTo>
                      <a:pt x="473" y="137"/>
                    </a:lnTo>
                    <a:lnTo>
                      <a:pt x="472" y="137"/>
                    </a:lnTo>
                    <a:lnTo>
                      <a:pt x="472" y="136"/>
                    </a:lnTo>
                    <a:lnTo>
                      <a:pt x="471" y="135"/>
                    </a:lnTo>
                    <a:lnTo>
                      <a:pt x="470" y="135"/>
                    </a:lnTo>
                    <a:lnTo>
                      <a:pt x="469" y="135"/>
                    </a:lnTo>
                    <a:lnTo>
                      <a:pt x="469" y="134"/>
                    </a:lnTo>
                    <a:lnTo>
                      <a:pt x="467" y="134"/>
                    </a:lnTo>
                    <a:lnTo>
                      <a:pt x="466" y="134"/>
                    </a:lnTo>
                    <a:lnTo>
                      <a:pt x="467" y="134"/>
                    </a:lnTo>
                    <a:lnTo>
                      <a:pt x="467" y="135"/>
                    </a:lnTo>
                    <a:lnTo>
                      <a:pt x="467" y="136"/>
                    </a:lnTo>
                    <a:lnTo>
                      <a:pt x="466" y="136"/>
                    </a:lnTo>
                    <a:lnTo>
                      <a:pt x="466" y="135"/>
                    </a:lnTo>
                    <a:lnTo>
                      <a:pt x="466" y="134"/>
                    </a:lnTo>
                    <a:lnTo>
                      <a:pt x="465" y="134"/>
                    </a:lnTo>
                    <a:lnTo>
                      <a:pt x="465" y="135"/>
                    </a:lnTo>
                    <a:lnTo>
                      <a:pt x="464" y="135"/>
                    </a:lnTo>
                    <a:lnTo>
                      <a:pt x="464" y="136"/>
                    </a:lnTo>
                    <a:lnTo>
                      <a:pt x="464" y="137"/>
                    </a:lnTo>
                    <a:lnTo>
                      <a:pt x="464" y="138"/>
                    </a:lnTo>
                    <a:lnTo>
                      <a:pt x="463" y="137"/>
                    </a:lnTo>
                    <a:lnTo>
                      <a:pt x="463" y="138"/>
                    </a:lnTo>
                    <a:lnTo>
                      <a:pt x="462" y="138"/>
                    </a:lnTo>
                    <a:lnTo>
                      <a:pt x="462" y="139"/>
                    </a:lnTo>
                    <a:lnTo>
                      <a:pt x="461" y="139"/>
                    </a:lnTo>
                    <a:lnTo>
                      <a:pt x="461" y="140"/>
                    </a:lnTo>
                    <a:lnTo>
                      <a:pt x="460" y="140"/>
                    </a:lnTo>
                    <a:lnTo>
                      <a:pt x="459" y="140"/>
                    </a:lnTo>
                    <a:lnTo>
                      <a:pt x="459" y="144"/>
                    </a:lnTo>
                    <a:lnTo>
                      <a:pt x="459" y="175"/>
                    </a:lnTo>
                    <a:lnTo>
                      <a:pt x="459" y="188"/>
                    </a:lnTo>
                    <a:lnTo>
                      <a:pt x="459" y="192"/>
                    </a:lnTo>
                    <a:lnTo>
                      <a:pt x="459" y="193"/>
                    </a:lnTo>
                    <a:lnTo>
                      <a:pt x="459" y="221"/>
                    </a:lnTo>
                    <a:lnTo>
                      <a:pt x="459" y="232"/>
                    </a:lnTo>
                    <a:lnTo>
                      <a:pt x="459" y="238"/>
                    </a:lnTo>
                    <a:lnTo>
                      <a:pt x="459" y="263"/>
                    </a:lnTo>
                    <a:lnTo>
                      <a:pt x="459" y="264"/>
                    </a:lnTo>
                    <a:lnTo>
                      <a:pt x="460" y="264"/>
                    </a:lnTo>
                    <a:lnTo>
                      <a:pt x="462" y="266"/>
                    </a:lnTo>
                    <a:lnTo>
                      <a:pt x="464" y="268"/>
                    </a:lnTo>
                    <a:lnTo>
                      <a:pt x="464" y="269"/>
                    </a:lnTo>
                    <a:lnTo>
                      <a:pt x="464" y="270"/>
                    </a:lnTo>
                    <a:lnTo>
                      <a:pt x="463" y="270"/>
                    </a:lnTo>
                    <a:lnTo>
                      <a:pt x="462" y="273"/>
                    </a:lnTo>
                    <a:lnTo>
                      <a:pt x="461" y="273"/>
                    </a:lnTo>
                    <a:lnTo>
                      <a:pt x="461" y="274"/>
                    </a:lnTo>
                    <a:lnTo>
                      <a:pt x="460" y="274"/>
                    </a:lnTo>
                    <a:lnTo>
                      <a:pt x="459" y="276"/>
                    </a:lnTo>
                    <a:lnTo>
                      <a:pt x="458" y="277"/>
                    </a:lnTo>
                    <a:lnTo>
                      <a:pt x="458" y="279"/>
                    </a:lnTo>
                    <a:lnTo>
                      <a:pt x="458" y="280"/>
                    </a:lnTo>
                    <a:lnTo>
                      <a:pt x="459" y="282"/>
                    </a:lnTo>
                    <a:lnTo>
                      <a:pt x="459" y="283"/>
                    </a:lnTo>
                    <a:lnTo>
                      <a:pt x="459" y="286"/>
                    </a:lnTo>
                    <a:lnTo>
                      <a:pt x="459" y="287"/>
                    </a:lnTo>
                    <a:lnTo>
                      <a:pt x="459" y="288"/>
                    </a:lnTo>
                    <a:lnTo>
                      <a:pt x="460" y="289"/>
                    </a:lnTo>
                    <a:lnTo>
                      <a:pt x="460" y="291"/>
                    </a:lnTo>
                    <a:lnTo>
                      <a:pt x="460" y="292"/>
                    </a:lnTo>
                    <a:lnTo>
                      <a:pt x="462" y="311"/>
                    </a:lnTo>
                    <a:lnTo>
                      <a:pt x="462" y="312"/>
                    </a:lnTo>
                    <a:lnTo>
                      <a:pt x="462" y="318"/>
                    </a:lnTo>
                    <a:lnTo>
                      <a:pt x="469" y="371"/>
                    </a:lnTo>
                    <a:lnTo>
                      <a:pt x="469" y="378"/>
                    </a:lnTo>
                    <a:lnTo>
                      <a:pt x="470" y="378"/>
                    </a:lnTo>
                    <a:lnTo>
                      <a:pt x="470" y="379"/>
                    </a:lnTo>
                    <a:lnTo>
                      <a:pt x="471" y="379"/>
                    </a:lnTo>
                    <a:lnTo>
                      <a:pt x="471" y="380"/>
                    </a:lnTo>
                    <a:lnTo>
                      <a:pt x="472" y="380"/>
                    </a:lnTo>
                    <a:lnTo>
                      <a:pt x="472" y="381"/>
                    </a:lnTo>
                    <a:lnTo>
                      <a:pt x="472" y="383"/>
                    </a:lnTo>
                    <a:lnTo>
                      <a:pt x="472" y="385"/>
                    </a:lnTo>
                    <a:lnTo>
                      <a:pt x="472" y="386"/>
                    </a:lnTo>
                    <a:lnTo>
                      <a:pt x="472" y="388"/>
                    </a:lnTo>
                    <a:lnTo>
                      <a:pt x="472" y="389"/>
                    </a:lnTo>
                    <a:lnTo>
                      <a:pt x="472" y="390"/>
                    </a:lnTo>
                    <a:lnTo>
                      <a:pt x="473" y="390"/>
                    </a:lnTo>
                    <a:lnTo>
                      <a:pt x="475" y="390"/>
                    </a:lnTo>
                    <a:lnTo>
                      <a:pt x="476" y="390"/>
                    </a:lnTo>
                    <a:lnTo>
                      <a:pt x="476" y="391"/>
                    </a:lnTo>
                    <a:lnTo>
                      <a:pt x="474" y="394"/>
                    </a:lnTo>
                    <a:lnTo>
                      <a:pt x="474" y="396"/>
                    </a:lnTo>
                    <a:lnTo>
                      <a:pt x="474" y="397"/>
                    </a:lnTo>
                    <a:lnTo>
                      <a:pt x="474" y="398"/>
                    </a:lnTo>
                    <a:lnTo>
                      <a:pt x="473" y="398"/>
                    </a:lnTo>
                    <a:lnTo>
                      <a:pt x="472" y="398"/>
                    </a:lnTo>
                    <a:lnTo>
                      <a:pt x="472" y="397"/>
                    </a:lnTo>
                    <a:lnTo>
                      <a:pt x="471" y="397"/>
                    </a:lnTo>
                    <a:lnTo>
                      <a:pt x="471" y="396"/>
                    </a:lnTo>
                    <a:lnTo>
                      <a:pt x="470" y="396"/>
                    </a:lnTo>
                    <a:lnTo>
                      <a:pt x="469" y="396"/>
                    </a:lnTo>
                    <a:lnTo>
                      <a:pt x="460" y="396"/>
                    </a:lnTo>
                    <a:lnTo>
                      <a:pt x="448" y="396"/>
                    </a:lnTo>
                    <a:lnTo>
                      <a:pt x="430" y="396"/>
                    </a:lnTo>
                    <a:lnTo>
                      <a:pt x="426" y="396"/>
                    </a:lnTo>
                    <a:lnTo>
                      <a:pt x="409" y="396"/>
                    </a:lnTo>
                    <a:lnTo>
                      <a:pt x="408" y="397"/>
                    </a:lnTo>
                    <a:lnTo>
                      <a:pt x="399" y="397"/>
                    </a:lnTo>
                    <a:lnTo>
                      <a:pt x="400" y="397"/>
                    </a:lnTo>
                    <a:lnTo>
                      <a:pt x="400" y="395"/>
                    </a:lnTo>
                    <a:lnTo>
                      <a:pt x="402" y="394"/>
                    </a:lnTo>
                    <a:lnTo>
                      <a:pt x="402" y="393"/>
                    </a:lnTo>
                    <a:lnTo>
                      <a:pt x="402" y="392"/>
                    </a:lnTo>
                    <a:lnTo>
                      <a:pt x="401" y="392"/>
                    </a:lnTo>
                    <a:lnTo>
                      <a:pt x="400" y="392"/>
                    </a:lnTo>
                    <a:lnTo>
                      <a:pt x="400" y="391"/>
                    </a:lnTo>
                    <a:lnTo>
                      <a:pt x="399" y="391"/>
                    </a:lnTo>
                    <a:lnTo>
                      <a:pt x="398" y="391"/>
                    </a:lnTo>
                    <a:lnTo>
                      <a:pt x="396" y="391"/>
                    </a:lnTo>
                    <a:lnTo>
                      <a:pt x="395" y="392"/>
                    </a:lnTo>
                    <a:lnTo>
                      <a:pt x="394" y="392"/>
                    </a:lnTo>
                    <a:lnTo>
                      <a:pt x="393" y="393"/>
                    </a:lnTo>
                    <a:lnTo>
                      <a:pt x="392" y="393"/>
                    </a:lnTo>
                    <a:lnTo>
                      <a:pt x="391" y="393"/>
                    </a:lnTo>
                    <a:lnTo>
                      <a:pt x="391" y="392"/>
                    </a:lnTo>
                    <a:lnTo>
                      <a:pt x="391" y="391"/>
                    </a:lnTo>
                    <a:lnTo>
                      <a:pt x="391" y="390"/>
                    </a:lnTo>
                    <a:lnTo>
                      <a:pt x="392" y="390"/>
                    </a:lnTo>
                    <a:lnTo>
                      <a:pt x="392" y="389"/>
                    </a:lnTo>
                    <a:lnTo>
                      <a:pt x="393" y="389"/>
                    </a:lnTo>
                    <a:lnTo>
                      <a:pt x="393" y="388"/>
                    </a:lnTo>
                    <a:lnTo>
                      <a:pt x="393" y="386"/>
                    </a:lnTo>
                    <a:lnTo>
                      <a:pt x="393" y="385"/>
                    </a:lnTo>
                    <a:lnTo>
                      <a:pt x="393" y="384"/>
                    </a:lnTo>
                    <a:lnTo>
                      <a:pt x="392" y="384"/>
                    </a:lnTo>
                    <a:lnTo>
                      <a:pt x="391" y="384"/>
                    </a:lnTo>
                    <a:lnTo>
                      <a:pt x="391" y="383"/>
                    </a:lnTo>
                    <a:lnTo>
                      <a:pt x="389" y="383"/>
                    </a:lnTo>
                    <a:lnTo>
                      <a:pt x="388" y="383"/>
                    </a:lnTo>
                    <a:lnTo>
                      <a:pt x="387" y="383"/>
                    </a:lnTo>
                    <a:lnTo>
                      <a:pt x="386" y="383"/>
                    </a:lnTo>
                    <a:lnTo>
                      <a:pt x="385" y="383"/>
                    </a:lnTo>
                    <a:lnTo>
                      <a:pt x="384" y="383"/>
                    </a:lnTo>
                    <a:lnTo>
                      <a:pt x="384" y="382"/>
                    </a:lnTo>
                    <a:lnTo>
                      <a:pt x="383" y="382"/>
                    </a:lnTo>
                    <a:lnTo>
                      <a:pt x="382" y="382"/>
                    </a:lnTo>
                    <a:lnTo>
                      <a:pt x="381" y="381"/>
                    </a:lnTo>
                    <a:lnTo>
                      <a:pt x="381" y="380"/>
                    </a:lnTo>
                    <a:lnTo>
                      <a:pt x="381" y="379"/>
                    </a:lnTo>
                    <a:lnTo>
                      <a:pt x="382" y="379"/>
                    </a:lnTo>
                    <a:lnTo>
                      <a:pt x="381" y="378"/>
                    </a:lnTo>
                    <a:lnTo>
                      <a:pt x="380" y="377"/>
                    </a:lnTo>
                    <a:lnTo>
                      <a:pt x="379" y="378"/>
                    </a:lnTo>
                    <a:lnTo>
                      <a:pt x="377" y="378"/>
                    </a:lnTo>
                    <a:lnTo>
                      <a:pt x="377" y="379"/>
                    </a:lnTo>
                    <a:lnTo>
                      <a:pt x="376" y="379"/>
                    </a:lnTo>
                    <a:lnTo>
                      <a:pt x="376" y="378"/>
                    </a:lnTo>
                    <a:lnTo>
                      <a:pt x="374" y="378"/>
                    </a:lnTo>
                    <a:lnTo>
                      <a:pt x="374" y="377"/>
                    </a:lnTo>
                    <a:lnTo>
                      <a:pt x="373" y="377"/>
                    </a:lnTo>
                    <a:lnTo>
                      <a:pt x="372" y="377"/>
                    </a:lnTo>
                    <a:lnTo>
                      <a:pt x="372" y="376"/>
                    </a:lnTo>
                    <a:lnTo>
                      <a:pt x="373" y="375"/>
                    </a:lnTo>
                    <a:lnTo>
                      <a:pt x="372" y="373"/>
                    </a:lnTo>
                    <a:lnTo>
                      <a:pt x="372" y="375"/>
                    </a:lnTo>
                    <a:lnTo>
                      <a:pt x="371" y="375"/>
                    </a:lnTo>
                    <a:lnTo>
                      <a:pt x="370" y="375"/>
                    </a:lnTo>
                    <a:lnTo>
                      <a:pt x="370" y="373"/>
                    </a:lnTo>
                    <a:lnTo>
                      <a:pt x="371" y="373"/>
                    </a:lnTo>
                    <a:lnTo>
                      <a:pt x="371" y="371"/>
                    </a:lnTo>
                    <a:lnTo>
                      <a:pt x="370" y="371"/>
                    </a:lnTo>
                    <a:lnTo>
                      <a:pt x="370" y="372"/>
                    </a:lnTo>
                    <a:lnTo>
                      <a:pt x="369" y="372"/>
                    </a:lnTo>
                    <a:lnTo>
                      <a:pt x="369" y="371"/>
                    </a:lnTo>
                    <a:lnTo>
                      <a:pt x="368" y="370"/>
                    </a:lnTo>
                    <a:lnTo>
                      <a:pt x="367" y="370"/>
                    </a:lnTo>
                    <a:lnTo>
                      <a:pt x="367" y="371"/>
                    </a:lnTo>
                    <a:lnTo>
                      <a:pt x="366" y="371"/>
                    </a:lnTo>
                    <a:lnTo>
                      <a:pt x="366" y="370"/>
                    </a:lnTo>
                    <a:lnTo>
                      <a:pt x="364" y="370"/>
                    </a:lnTo>
                    <a:lnTo>
                      <a:pt x="363" y="370"/>
                    </a:lnTo>
                    <a:lnTo>
                      <a:pt x="363" y="371"/>
                    </a:lnTo>
                    <a:lnTo>
                      <a:pt x="362" y="372"/>
                    </a:lnTo>
                    <a:lnTo>
                      <a:pt x="361" y="372"/>
                    </a:lnTo>
                    <a:lnTo>
                      <a:pt x="360" y="373"/>
                    </a:lnTo>
                    <a:lnTo>
                      <a:pt x="359" y="373"/>
                    </a:lnTo>
                    <a:lnTo>
                      <a:pt x="358" y="373"/>
                    </a:lnTo>
                    <a:lnTo>
                      <a:pt x="357" y="375"/>
                    </a:lnTo>
                    <a:lnTo>
                      <a:pt x="356" y="375"/>
                    </a:lnTo>
                    <a:lnTo>
                      <a:pt x="355" y="375"/>
                    </a:lnTo>
                    <a:lnTo>
                      <a:pt x="354" y="375"/>
                    </a:lnTo>
                    <a:lnTo>
                      <a:pt x="353" y="375"/>
                    </a:lnTo>
                    <a:lnTo>
                      <a:pt x="353" y="376"/>
                    </a:lnTo>
                    <a:lnTo>
                      <a:pt x="351" y="376"/>
                    </a:lnTo>
                    <a:lnTo>
                      <a:pt x="351" y="377"/>
                    </a:lnTo>
                    <a:lnTo>
                      <a:pt x="350" y="377"/>
                    </a:lnTo>
                    <a:lnTo>
                      <a:pt x="350" y="378"/>
                    </a:lnTo>
                    <a:lnTo>
                      <a:pt x="351" y="378"/>
                    </a:lnTo>
                    <a:lnTo>
                      <a:pt x="351" y="379"/>
                    </a:lnTo>
                    <a:lnTo>
                      <a:pt x="350" y="380"/>
                    </a:lnTo>
                    <a:lnTo>
                      <a:pt x="350" y="381"/>
                    </a:lnTo>
                    <a:lnTo>
                      <a:pt x="349" y="382"/>
                    </a:lnTo>
                    <a:lnTo>
                      <a:pt x="349" y="383"/>
                    </a:lnTo>
                    <a:lnTo>
                      <a:pt x="349" y="384"/>
                    </a:lnTo>
                    <a:lnTo>
                      <a:pt x="348" y="384"/>
                    </a:lnTo>
                    <a:lnTo>
                      <a:pt x="348" y="385"/>
                    </a:lnTo>
                    <a:lnTo>
                      <a:pt x="348" y="386"/>
                    </a:lnTo>
                    <a:lnTo>
                      <a:pt x="347" y="386"/>
                    </a:lnTo>
                    <a:lnTo>
                      <a:pt x="347" y="388"/>
                    </a:lnTo>
                    <a:lnTo>
                      <a:pt x="347" y="389"/>
                    </a:lnTo>
                    <a:lnTo>
                      <a:pt x="346" y="389"/>
                    </a:lnTo>
                    <a:lnTo>
                      <a:pt x="345" y="389"/>
                    </a:lnTo>
                    <a:lnTo>
                      <a:pt x="345" y="390"/>
                    </a:lnTo>
                    <a:lnTo>
                      <a:pt x="344" y="390"/>
                    </a:lnTo>
                    <a:lnTo>
                      <a:pt x="343" y="390"/>
                    </a:lnTo>
                    <a:lnTo>
                      <a:pt x="342" y="390"/>
                    </a:lnTo>
                    <a:lnTo>
                      <a:pt x="342" y="391"/>
                    </a:lnTo>
                    <a:lnTo>
                      <a:pt x="340" y="391"/>
                    </a:lnTo>
                    <a:lnTo>
                      <a:pt x="338" y="391"/>
                    </a:lnTo>
                    <a:lnTo>
                      <a:pt x="338" y="392"/>
                    </a:lnTo>
                    <a:lnTo>
                      <a:pt x="337" y="392"/>
                    </a:lnTo>
                    <a:lnTo>
                      <a:pt x="336" y="392"/>
                    </a:lnTo>
                    <a:lnTo>
                      <a:pt x="335" y="392"/>
                    </a:lnTo>
                    <a:lnTo>
                      <a:pt x="335" y="393"/>
                    </a:lnTo>
                    <a:lnTo>
                      <a:pt x="334" y="393"/>
                    </a:lnTo>
                    <a:lnTo>
                      <a:pt x="334" y="394"/>
                    </a:lnTo>
                    <a:lnTo>
                      <a:pt x="334" y="393"/>
                    </a:lnTo>
                    <a:lnTo>
                      <a:pt x="333" y="393"/>
                    </a:lnTo>
                    <a:lnTo>
                      <a:pt x="332" y="393"/>
                    </a:lnTo>
                    <a:lnTo>
                      <a:pt x="332" y="394"/>
                    </a:lnTo>
                    <a:lnTo>
                      <a:pt x="331" y="394"/>
                    </a:lnTo>
                    <a:lnTo>
                      <a:pt x="332" y="395"/>
                    </a:lnTo>
                    <a:lnTo>
                      <a:pt x="331" y="395"/>
                    </a:lnTo>
                    <a:lnTo>
                      <a:pt x="331" y="396"/>
                    </a:lnTo>
                    <a:lnTo>
                      <a:pt x="330" y="396"/>
                    </a:lnTo>
                    <a:lnTo>
                      <a:pt x="329" y="396"/>
                    </a:lnTo>
                    <a:lnTo>
                      <a:pt x="328" y="397"/>
                    </a:lnTo>
                    <a:lnTo>
                      <a:pt x="327" y="397"/>
                    </a:lnTo>
                    <a:lnTo>
                      <a:pt x="325" y="397"/>
                    </a:lnTo>
                    <a:lnTo>
                      <a:pt x="324" y="398"/>
                    </a:lnTo>
                    <a:lnTo>
                      <a:pt x="323" y="399"/>
                    </a:lnTo>
                    <a:lnTo>
                      <a:pt x="322" y="402"/>
                    </a:lnTo>
                    <a:lnTo>
                      <a:pt x="320" y="403"/>
                    </a:lnTo>
                    <a:lnTo>
                      <a:pt x="319" y="403"/>
                    </a:lnTo>
                    <a:lnTo>
                      <a:pt x="316" y="402"/>
                    </a:lnTo>
                    <a:lnTo>
                      <a:pt x="315" y="402"/>
                    </a:lnTo>
                    <a:lnTo>
                      <a:pt x="314" y="402"/>
                    </a:lnTo>
                    <a:lnTo>
                      <a:pt x="315" y="403"/>
                    </a:lnTo>
                    <a:lnTo>
                      <a:pt x="314" y="404"/>
                    </a:lnTo>
                    <a:lnTo>
                      <a:pt x="312" y="405"/>
                    </a:lnTo>
                    <a:lnTo>
                      <a:pt x="311" y="406"/>
                    </a:lnTo>
                    <a:lnTo>
                      <a:pt x="310" y="406"/>
                    </a:lnTo>
                    <a:lnTo>
                      <a:pt x="309" y="406"/>
                    </a:lnTo>
                    <a:lnTo>
                      <a:pt x="308" y="405"/>
                    </a:lnTo>
                    <a:lnTo>
                      <a:pt x="307" y="406"/>
                    </a:lnTo>
                    <a:lnTo>
                      <a:pt x="307" y="407"/>
                    </a:lnTo>
                    <a:lnTo>
                      <a:pt x="307" y="408"/>
                    </a:lnTo>
                    <a:lnTo>
                      <a:pt x="307" y="409"/>
                    </a:lnTo>
                    <a:lnTo>
                      <a:pt x="307" y="410"/>
                    </a:lnTo>
                    <a:lnTo>
                      <a:pt x="306" y="411"/>
                    </a:lnTo>
                    <a:lnTo>
                      <a:pt x="306" y="412"/>
                    </a:lnTo>
                    <a:lnTo>
                      <a:pt x="306" y="414"/>
                    </a:lnTo>
                    <a:lnTo>
                      <a:pt x="307" y="414"/>
                    </a:lnTo>
                    <a:lnTo>
                      <a:pt x="306" y="415"/>
                    </a:lnTo>
                    <a:lnTo>
                      <a:pt x="306" y="416"/>
                    </a:lnTo>
                    <a:lnTo>
                      <a:pt x="306" y="417"/>
                    </a:lnTo>
                    <a:lnTo>
                      <a:pt x="306" y="418"/>
                    </a:lnTo>
                    <a:lnTo>
                      <a:pt x="307" y="419"/>
                    </a:lnTo>
                    <a:lnTo>
                      <a:pt x="307" y="420"/>
                    </a:lnTo>
                    <a:lnTo>
                      <a:pt x="307" y="421"/>
                    </a:lnTo>
                    <a:lnTo>
                      <a:pt x="307" y="422"/>
                    </a:lnTo>
                    <a:lnTo>
                      <a:pt x="307" y="423"/>
                    </a:lnTo>
                    <a:lnTo>
                      <a:pt x="308" y="423"/>
                    </a:lnTo>
                    <a:lnTo>
                      <a:pt x="308" y="424"/>
                    </a:lnTo>
                    <a:lnTo>
                      <a:pt x="308" y="425"/>
                    </a:lnTo>
                    <a:lnTo>
                      <a:pt x="307" y="425"/>
                    </a:lnTo>
                    <a:lnTo>
                      <a:pt x="307" y="427"/>
                    </a:lnTo>
                    <a:lnTo>
                      <a:pt x="307" y="428"/>
                    </a:lnTo>
                    <a:lnTo>
                      <a:pt x="307" y="429"/>
                    </a:lnTo>
                    <a:lnTo>
                      <a:pt x="306" y="429"/>
                    </a:lnTo>
                    <a:lnTo>
                      <a:pt x="307" y="430"/>
                    </a:lnTo>
                    <a:lnTo>
                      <a:pt x="307" y="429"/>
                    </a:lnTo>
                    <a:lnTo>
                      <a:pt x="307" y="430"/>
                    </a:lnTo>
                    <a:lnTo>
                      <a:pt x="306" y="431"/>
                    </a:lnTo>
                    <a:lnTo>
                      <a:pt x="306" y="432"/>
                    </a:lnTo>
                    <a:lnTo>
                      <a:pt x="306" y="433"/>
                    </a:lnTo>
                    <a:lnTo>
                      <a:pt x="305" y="434"/>
                    </a:lnTo>
                    <a:lnTo>
                      <a:pt x="304" y="434"/>
                    </a:lnTo>
                    <a:lnTo>
                      <a:pt x="304" y="435"/>
                    </a:lnTo>
                    <a:lnTo>
                      <a:pt x="303" y="435"/>
                    </a:lnTo>
                    <a:lnTo>
                      <a:pt x="303" y="436"/>
                    </a:lnTo>
                    <a:lnTo>
                      <a:pt x="303" y="437"/>
                    </a:lnTo>
                    <a:lnTo>
                      <a:pt x="303" y="436"/>
                    </a:lnTo>
                    <a:lnTo>
                      <a:pt x="303" y="437"/>
                    </a:lnTo>
                    <a:lnTo>
                      <a:pt x="302" y="437"/>
                    </a:lnTo>
                    <a:lnTo>
                      <a:pt x="301" y="438"/>
                    </a:lnTo>
                    <a:lnTo>
                      <a:pt x="299" y="438"/>
                    </a:lnTo>
                    <a:lnTo>
                      <a:pt x="299" y="440"/>
                    </a:lnTo>
                    <a:lnTo>
                      <a:pt x="298" y="440"/>
                    </a:lnTo>
                    <a:lnTo>
                      <a:pt x="297" y="441"/>
                    </a:lnTo>
                    <a:lnTo>
                      <a:pt x="298" y="441"/>
                    </a:lnTo>
                    <a:lnTo>
                      <a:pt x="298" y="442"/>
                    </a:lnTo>
                    <a:lnTo>
                      <a:pt x="298" y="441"/>
                    </a:lnTo>
                    <a:lnTo>
                      <a:pt x="297" y="442"/>
                    </a:lnTo>
                    <a:lnTo>
                      <a:pt x="296" y="442"/>
                    </a:lnTo>
                    <a:lnTo>
                      <a:pt x="296" y="443"/>
                    </a:lnTo>
                    <a:lnTo>
                      <a:pt x="295" y="443"/>
                    </a:lnTo>
                    <a:lnTo>
                      <a:pt x="295" y="444"/>
                    </a:lnTo>
                    <a:lnTo>
                      <a:pt x="294" y="443"/>
                    </a:lnTo>
                    <a:lnTo>
                      <a:pt x="294" y="444"/>
                    </a:lnTo>
                    <a:lnTo>
                      <a:pt x="293" y="444"/>
                    </a:lnTo>
                    <a:lnTo>
                      <a:pt x="292" y="444"/>
                    </a:lnTo>
                    <a:lnTo>
                      <a:pt x="292" y="445"/>
                    </a:lnTo>
                    <a:lnTo>
                      <a:pt x="291" y="445"/>
                    </a:lnTo>
                    <a:lnTo>
                      <a:pt x="290" y="445"/>
                    </a:lnTo>
                    <a:lnTo>
                      <a:pt x="290" y="446"/>
                    </a:lnTo>
                    <a:lnTo>
                      <a:pt x="290" y="445"/>
                    </a:lnTo>
                    <a:lnTo>
                      <a:pt x="290" y="446"/>
                    </a:lnTo>
                    <a:lnTo>
                      <a:pt x="289" y="445"/>
                    </a:lnTo>
                    <a:lnTo>
                      <a:pt x="290" y="445"/>
                    </a:lnTo>
                    <a:lnTo>
                      <a:pt x="289" y="445"/>
                    </a:lnTo>
                    <a:lnTo>
                      <a:pt x="289" y="446"/>
                    </a:lnTo>
                    <a:lnTo>
                      <a:pt x="288" y="446"/>
                    </a:lnTo>
                    <a:lnTo>
                      <a:pt x="288" y="445"/>
                    </a:lnTo>
                    <a:lnTo>
                      <a:pt x="286" y="446"/>
                    </a:lnTo>
                    <a:lnTo>
                      <a:pt x="285" y="446"/>
                    </a:lnTo>
                    <a:lnTo>
                      <a:pt x="284" y="446"/>
                    </a:lnTo>
                    <a:lnTo>
                      <a:pt x="284" y="447"/>
                    </a:lnTo>
                    <a:lnTo>
                      <a:pt x="283" y="448"/>
                    </a:lnTo>
                    <a:lnTo>
                      <a:pt x="283" y="447"/>
                    </a:lnTo>
                    <a:lnTo>
                      <a:pt x="282" y="447"/>
                    </a:lnTo>
                    <a:lnTo>
                      <a:pt x="281" y="447"/>
                    </a:lnTo>
                    <a:lnTo>
                      <a:pt x="280" y="447"/>
                    </a:lnTo>
                    <a:lnTo>
                      <a:pt x="279" y="447"/>
                    </a:lnTo>
                    <a:lnTo>
                      <a:pt x="280" y="447"/>
                    </a:lnTo>
                    <a:lnTo>
                      <a:pt x="280" y="446"/>
                    </a:lnTo>
                    <a:lnTo>
                      <a:pt x="279" y="446"/>
                    </a:lnTo>
                    <a:lnTo>
                      <a:pt x="279" y="445"/>
                    </a:lnTo>
                    <a:lnTo>
                      <a:pt x="279" y="444"/>
                    </a:lnTo>
                    <a:lnTo>
                      <a:pt x="279" y="443"/>
                    </a:lnTo>
                    <a:lnTo>
                      <a:pt x="279" y="444"/>
                    </a:lnTo>
                    <a:lnTo>
                      <a:pt x="278" y="444"/>
                    </a:lnTo>
                    <a:lnTo>
                      <a:pt x="278" y="443"/>
                    </a:lnTo>
                    <a:lnTo>
                      <a:pt x="277" y="444"/>
                    </a:lnTo>
                    <a:lnTo>
                      <a:pt x="277" y="443"/>
                    </a:lnTo>
                    <a:lnTo>
                      <a:pt x="276" y="444"/>
                    </a:lnTo>
                    <a:lnTo>
                      <a:pt x="275" y="444"/>
                    </a:lnTo>
                    <a:lnTo>
                      <a:pt x="273" y="444"/>
                    </a:lnTo>
                    <a:lnTo>
                      <a:pt x="272" y="444"/>
                    </a:lnTo>
                    <a:lnTo>
                      <a:pt x="273" y="444"/>
                    </a:lnTo>
                    <a:lnTo>
                      <a:pt x="272" y="444"/>
                    </a:lnTo>
                    <a:lnTo>
                      <a:pt x="272" y="443"/>
                    </a:lnTo>
                    <a:lnTo>
                      <a:pt x="272" y="444"/>
                    </a:lnTo>
                    <a:lnTo>
                      <a:pt x="271" y="444"/>
                    </a:lnTo>
                    <a:lnTo>
                      <a:pt x="270" y="444"/>
                    </a:lnTo>
                    <a:lnTo>
                      <a:pt x="269" y="444"/>
                    </a:lnTo>
                    <a:lnTo>
                      <a:pt x="268" y="444"/>
                    </a:lnTo>
                    <a:lnTo>
                      <a:pt x="268" y="443"/>
                    </a:lnTo>
                    <a:lnTo>
                      <a:pt x="267" y="443"/>
                    </a:lnTo>
                    <a:lnTo>
                      <a:pt x="268" y="443"/>
                    </a:lnTo>
                    <a:lnTo>
                      <a:pt x="268" y="442"/>
                    </a:lnTo>
                    <a:lnTo>
                      <a:pt x="267" y="442"/>
                    </a:lnTo>
                    <a:lnTo>
                      <a:pt x="266" y="441"/>
                    </a:lnTo>
                    <a:lnTo>
                      <a:pt x="265" y="441"/>
                    </a:lnTo>
                    <a:lnTo>
                      <a:pt x="264" y="441"/>
                    </a:lnTo>
                    <a:lnTo>
                      <a:pt x="264" y="442"/>
                    </a:lnTo>
                    <a:lnTo>
                      <a:pt x="263" y="442"/>
                    </a:lnTo>
                    <a:lnTo>
                      <a:pt x="263" y="443"/>
                    </a:lnTo>
                    <a:lnTo>
                      <a:pt x="262" y="443"/>
                    </a:lnTo>
                    <a:lnTo>
                      <a:pt x="262" y="442"/>
                    </a:lnTo>
                    <a:lnTo>
                      <a:pt x="262" y="443"/>
                    </a:lnTo>
                    <a:lnTo>
                      <a:pt x="260" y="443"/>
                    </a:lnTo>
                    <a:lnTo>
                      <a:pt x="259" y="443"/>
                    </a:lnTo>
                    <a:lnTo>
                      <a:pt x="259" y="444"/>
                    </a:lnTo>
                    <a:lnTo>
                      <a:pt x="258" y="443"/>
                    </a:lnTo>
                    <a:lnTo>
                      <a:pt x="258" y="444"/>
                    </a:lnTo>
                    <a:lnTo>
                      <a:pt x="257" y="444"/>
                    </a:lnTo>
                    <a:lnTo>
                      <a:pt x="258" y="444"/>
                    </a:lnTo>
                    <a:lnTo>
                      <a:pt x="246" y="445"/>
                    </a:lnTo>
                    <a:lnTo>
                      <a:pt x="235" y="446"/>
                    </a:lnTo>
                    <a:lnTo>
                      <a:pt x="235" y="444"/>
                    </a:lnTo>
                    <a:lnTo>
                      <a:pt x="220" y="444"/>
                    </a:lnTo>
                    <a:lnTo>
                      <a:pt x="203" y="444"/>
                    </a:lnTo>
                    <a:lnTo>
                      <a:pt x="196" y="444"/>
                    </a:lnTo>
                    <a:lnTo>
                      <a:pt x="183" y="443"/>
                    </a:lnTo>
                    <a:lnTo>
                      <a:pt x="181" y="443"/>
                    </a:lnTo>
                    <a:lnTo>
                      <a:pt x="180" y="443"/>
                    </a:lnTo>
                    <a:lnTo>
                      <a:pt x="169" y="444"/>
                    </a:lnTo>
                    <a:lnTo>
                      <a:pt x="161" y="444"/>
                    </a:lnTo>
                    <a:lnTo>
                      <a:pt x="161" y="445"/>
                    </a:lnTo>
                    <a:lnTo>
                      <a:pt x="160" y="446"/>
                    </a:lnTo>
                    <a:lnTo>
                      <a:pt x="160" y="447"/>
                    </a:lnTo>
                    <a:lnTo>
                      <a:pt x="160" y="448"/>
                    </a:lnTo>
                    <a:lnTo>
                      <a:pt x="142" y="448"/>
                    </a:lnTo>
                    <a:lnTo>
                      <a:pt x="125" y="450"/>
                    </a:lnTo>
                    <a:lnTo>
                      <a:pt x="118" y="450"/>
                    </a:lnTo>
                    <a:lnTo>
                      <a:pt x="108" y="450"/>
                    </a:lnTo>
                    <a:lnTo>
                      <a:pt x="97" y="450"/>
                    </a:lnTo>
                    <a:lnTo>
                      <a:pt x="97" y="443"/>
                    </a:lnTo>
                    <a:lnTo>
                      <a:pt x="97" y="435"/>
                    </a:lnTo>
                    <a:lnTo>
                      <a:pt x="97" y="417"/>
                    </a:lnTo>
                    <a:lnTo>
                      <a:pt x="97" y="406"/>
                    </a:lnTo>
                    <a:lnTo>
                      <a:pt x="97" y="402"/>
                    </a:lnTo>
                    <a:lnTo>
                      <a:pt x="97" y="392"/>
                    </a:lnTo>
                    <a:lnTo>
                      <a:pt x="97" y="390"/>
                    </a:lnTo>
                    <a:lnTo>
                      <a:pt x="97" y="372"/>
                    </a:lnTo>
                    <a:lnTo>
                      <a:pt x="97" y="364"/>
                    </a:lnTo>
                    <a:lnTo>
                      <a:pt x="95" y="364"/>
                    </a:lnTo>
                    <a:lnTo>
                      <a:pt x="95" y="341"/>
                    </a:lnTo>
                    <a:lnTo>
                      <a:pt x="95" y="327"/>
                    </a:lnTo>
                    <a:lnTo>
                      <a:pt x="95" y="304"/>
                    </a:lnTo>
                    <a:lnTo>
                      <a:pt x="95" y="301"/>
                    </a:lnTo>
                    <a:lnTo>
                      <a:pt x="95" y="298"/>
                    </a:lnTo>
                    <a:lnTo>
                      <a:pt x="95" y="294"/>
                    </a:lnTo>
                    <a:lnTo>
                      <a:pt x="93" y="280"/>
                    </a:lnTo>
                    <a:lnTo>
                      <a:pt x="93" y="253"/>
                    </a:lnTo>
                    <a:lnTo>
                      <a:pt x="93" y="232"/>
                    </a:lnTo>
                    <a:lnTo>
                      <a:pt x="93" y="219"/>
                    </a:lnTo>
                    <a:lnTo>
                      <a:pt x="93" y="208"/>
                    </a:lnTo>
                    <a:lnTo>
                      <a:pt x="93" y="206"/>
                    </a:lnTo>
                    <a:lnTo>
                      <a:pt x="93" y="205"/>
                    </a:lnTo>
                    <a:lnTo>
                      <a:pt x="93" y="199"/>
                    </a:lnTo>
                    <a:lnTo>
                      <a:pt x="93" y="197"/>
                    </a:lnTo>
                    <a:lnTo>
                      <a:pt x="93" y="193"/>
                    </a:lnTo>
                    <a:lnTo>
                      <a:pt x="93" y="192"/>
                    </a:lnTo>
                    <a:lnTo>
                      <a:pt x="93" y="191"/>
                    </a:lnTo>
                    <a:lnTo>
                      <a:pt x="91" y="190"/>
                    </a:lnTo>
                    <a:lnTo>
                      <a:pt x="87" y="190"/>
                    </a:lnTo>
                    <a:lnTo>
                      <a:pt x="84" y="190"/>
                    </a:lnTo>
                    <a:lnTo>
                      <a:pt x="84" y="186"/>
                    </a:lnTo>
                    <a:lnTo>
                      <a:pt x="84" y="175"/>
                    </a:lnTo>
                    <a:lnTo>
                      <a:pt x="73" y="175"/>
                    </a:lnTo>
                    <a:lnTo>
                      <a:pt x="73" y="173"/>
                    </a:lnTo>
                    <a:lnTo>
                      <a:pt x="73" y="171"/>
                    </a:lnTo>
                    <a:lnTo>
                      <a:pt x="73" y="165"/>
                    </a:lnTo>
                    <a:lnTo>
                      <a:pt x="71" y="165"/>
                    </a:lnTo>
                    <a:lnTo>
                      <a:pt x="65" y="165"/>
                    </a:lnTo>
                    <a:lnTo>
                      <a:pt x="63" y="165"/>
                    </a:lnTo>
                    <a:lnTo>
                      <a:pt x="63" y="153"/>
                    </a:lnTo>
                    <a:lnTo>
                      <a:pt x="63" y="152"/>
                    </a:lnTo>
                    <a:lnTo>
                      <a:pt x="63" y="151"/>
                    </a:lnTo>
                    <a:lnTo>
                      <a:pt x="63" y="149"/>
                    </a:lnTo>
                    <a:lnTo>
                      <a:pt x="63" y="148"/>
                    </a:lnTo>
                    <a:lnTo>
                      <a:pt x="63" y="147"/>
                    </a:lnTo>
                    <a:lnTo>
                      <a:pt x="63" y="145"/>
                    </a:lnTo>
                    <a:lnTo>
                      <a:pt x="62" y="145"/>
                    </a:lnTo>
                    <a:lnTo>
                      <a:pt x="52" y="145"/>
                    </a:lnTo>
                    <a:lnTo>
                      <a:pt x="52" y="140"/>
                    </a:lnTo>
                    <a:lnTo>
                      <a:pt x="52" y="139"/>
                    </a:lnTo>
                    <a:lnTo>
                      <a:pt x="47" y="139"/>
                    </a:lnTo>
                    <a:lnTo>
                      <a:pt x="46" y="139"/>
                    </a:lnTo>
                    <a:lnTo>
                      <a:pt x="44" y="139"/>
                    </a:lnTo>
                    <a:lnTo>
                      <a:pt x="41" y="139"/>
                    </a:lnTo>
                    <a:lnTo>
                      <a:pt x="38" y="139"/>
                    </a:lnTo>
                    <a:lnTo>
                      <a:pt x="37" y="139"/>
                    </a:lnTo>
                    <a:lnTo>
                      <a:pt x="36" y="139"/>
                    </a:lnTo>
                    <a:lnTo>
                      <a:pt x="32" y="139"/>
                    </a:lnTo>
                    <a:lnTo>
                      <a:pt x="32" y="137"/>
                    </a:lnTo>
                    <a:lnTo>
                      <a:pt x="32" y="134"/>
                    </a:lnTo>
                    <a:lnTo>
                      <a:pt x="28" y="134"/>
                    </a:lnTo>
                    <a:lnTo>
                      <a:pt x="27" y="134"/>
                    </a:lnTo>
                    <a:lnTo>
                      <a:pt x="11" y="134"/>
                    </a:lnTo>
                    <a:lnTo>
                      <a:pt x="11" y="132"/>
                    </a:lnTo>
                    <a:lnTo>
                      <a:pt x="11" y="128"/>
                    </a:lnTo>
                    <a:lnTo>
                      <a:pt x="5" y="128"/>
                    </a:lnTo>
                    <a:lnTo>
                      <a:pt x="0" y="128"/>
                    </a:lnTo>
                    <a:lnTo>
                      <a:pt x="0" y="126"/>
                    </a:lnTo>
                    <a:lnTo>
                      <a:pt x="0" y="123"/>
                    </a:lnTo>
                    <a:lnTo>
                      <a:pt x="11" y="123"/>
                    </a:lnTo>
                    <a:lnTo>
                      <a:pt x="22" y="123"/>
                    </a:lnTo>
                    <a:lnTo>
                      <a:pt x="22" y="108"/>
                    </a:lnTo>
                    <a:lnTo>
                      <a:pt x="32" y="108"/>
                    </a:lnTo>
                    <a:lnTo>
                      <a:pt x="37" y="108"/>
                    </a:lnTo>
                    <a:lnTo>
                      <a:pt x="43" y="108"/>
                    </a:lnTo>
                    <a:lnTo>
                      <a:pt x="43" y="104"/>
                    </a:lnTo>
                    <a:lnTo>
                      <a:pt x="43" y="102"/>
                    </a:lnTo>
                    <a:lnTo>
                      <a:pt x="43" y="93"/>
                    </a:lnTo>
                    <a:lnTo>
                      <a:pt x="58" y="93"/>
                    </a:lnTo>
                    <a:lnTo>
                      <a:pt x="58" y="82"/>
                    </a:lnTo>
                    <a:lnTo>
                      <a:pt x="67" y="82"/>
                    </a:lnTo>
                    <a:lnTo>
                      <a:pt x="67" y="72"/>
                    </a:lnTo>
                    <a:lnTo>
                      <a:pt x="67" y="71"/>
                    </a:lnTo>
                    <a:lnTo>
                      <a:pt x="83" y="71"/>
                    </a:lnTo>
                    <a:lnTo>
                      <a:pt x="83" y="65"/>
                    </a:lnTo>
                    <a:lnTo>
                      <a:pt x="83" y="61"/>
                    </a:lnTo>
                    <a:lnTo>
                      <a:pt x="93" y="61"/>
                    </a:lnTo>
                    <a:lnTo>
                      <a:pt x="93" y="56"/>
                    </a:lnTo>
                    <a:lnTo>
                      <a:pt x="103" y="56"/>
                    </a:lnTo>
                    <a:lnTo>
                      <a:pt x="103" y="51"/>
                    </a:lnTo>
                    <a:lnTo>
                      <a:pt x="103" y="45"/>
                    </a:lnTo>
                    <a:lnTo>
                      <a:pt x="114" y="45"/>
                    </a:lnTo>
                    <a:lnTo>
                      <a:pt x="114" y="41"/>
                    </a:lnTo>
                    <a:lnTo>
                      <a:pt x="120" y="41"/>
                    </a:lnTo>
                    <a:lnTo>
                      <a:pt x="120" y="35"/>
                    </a:lnTo>
                    <a:lnTo>
                      <a:pt x="121" y="35"/>
                    </a:lnTo>
                    <a:lnTo>
                      <a:pt x="125" y="35"/>
                    </a:lnTo>
                    <a:lnTo>
                      <a:pt x="125" y="30"/>
                    </a:lnTo>
                    <a:lnTo>
                      <a:pt x="128" y="30"/>
                    </a:lnTo>
                    <a:lnTo>
                      <a:pt x="129" y="30"/>
                    </a:lnTo>
                    <a:lnTo>
                      <a:pt x="135" y="30"/>
                    </a:lnTo>
                    <a:lnTo>
                      <a:pt x="135" y="23"/>
                    </a:lnTo>
                    <a:lnTo>
                      <a:pt x="142" y="17"/>
                    </a:lnTo>
                    <a:lnTo>
                      <a:pt x="147" y="13"/>
                    </a:lnTo>
                    <a:lnTo>
                      <a:pt x="161" y="1"/>
                    </a:lnTo>
                    <a:lnTo>
                      <a:pt x="161" y="0"/>
                    </a:lnTo>
                    <a:lnTo>
                      <a:pt x="162" y="1"/>
                    </a:lnTo>
                    <a:lnTo>
                      <a:pt x="164" y="5"/>
                    </a:lnTo>
                    <a:lnTo>
                      <a:pt x="164" y="6"/>
                    </a:lnTo>
                    <a:lnTo>
                      <a:pt x="165" y="7"/>
                    </a:lnTo>
                    <a:lnTo>
                      <a:pt x="165" y="9"/>
                    </a:lnTo>
                    <a:lnTo>
                      <a:pt x="166" y="10"/>
                    </a:lnTo>
                    <a:lnTo>
                      <a:pt x="167" y="12"/>
                    </a:lnTo>
                    <a:lnTo>
                      <a:pt x="168" y="13"/>
                    </a:lnTo>
                    <a:lnTo>
                      <a:pt x="169" y="14"/>
                    </a:lnTo>
                    <a:lnTo>
                      <a:pt x="172" y="17"/>
                    </a:lnTo>
                    <a:lnTo>
                      <a:pt x="173" y="18"/>
                    </a:lnTo>
                    <a:lnTo>
                      <a:pt x="174" y="18"/>
                    </a:lnTo>
                    <a:lnTo>
                      <a:pt x="175" y="18"/>
                    </a:lnTo>
                    <a:lnTo>
                      <a:pt x="176" y="17"/>
                    </a:lnTo>
                    <a:lnTo>
                      <a:pt x="177" y="17"/>
                    </a:lnTo>
                    <a:lnTo>
                      <a:pt x="177" y="16"/>
                    </a:lnTo>
                    <a:lnTo>
                      <a:pt x="178" y="14"/>
                    </a:lnTo>
                    <a:lnTo>
                      <a:pt x="179" y="13"/>
                    </a:lnTo>
                    <a:lnTo>
                      <a:pt x="180" y="12"/>
                    </a:lnTo>
                    <a:lnTo>
                      <a:pt x="181" y="12"/>
                    </a:lnTo>
                    <a:lnTo>
                      <a:pt x="181" y="13"/>
                    </a:lnTo>
                    <a:lnTo>
                      <a:pt x="183" y="13"/>
                    </a:lnTo>
                    <a:lnTo>
                      <a:pt x="183" y="14"/>
                    </a:lnTo>
                    <a:lnTo>
                      <a:pt x="183" y="16"/>
                    </a:lnTo>
                    <a:lnTo>
                      <a:pt x="183" y="17"/>
                    </a:lnTo>
                    <a:lnTo>
                      <a:pt x="183" y="18"/>
                    </a:lnTo>
                    <a:lnTo>
                      <a:pt x="182" y="19"/>
                    </a:lnTo>
                    <a:lnTo>
                      <a:pt x="181" y="19"/>
                    </a:lnTo>
                    <a:lnTo>
                      <a:pt x="179" y="19"/>
                    </a:lnTo>
                    <a:lnTo>
                      <a:pt x="178" y="18"/>
                    </a:lnTo>
                    <a:lnTo>
                      <a:pt x="177" y="18"/>
                    </a:lnTo>
                    <a:lnTo>
                      <a:pt x="174" y="19"/>
                    </a:lnTo>
                    <a:lnTo>
                      <a:pt x="174" y="20"/>
                    </a:lnTo>
                    <a:lnTo>
                      <a:pt x="174" y="22"/>
                    </a:lnTo>
                    <a:lnTo>
                      <a:pt x="174" y="24"/>
                    </a:lnTo>
                    <a:lnTo>
                      <a:pt x="173" y="25"/>
                    </a:lnTo>
                    <a:lnTo>
                      <a:pt x="174" y="27"/>
                    </a:lnTo>
                    <a:lnTo>
                      <a:pt x="175" y="29"/>
                    </a:lnTo>
                    <a:lnTo>
                      <a:pt x="178" y="30"/>
                    </a:lnTo>
                    <a:lnTo>
                      <a:pt x="179" y="32"/>
                    </a:lnTo>
                    <a:lnTo>
                      <a:pt x="179" y="33"/>
                    </a:lnTo>
                    <a:lnTo>
                      <a:pt x="177" y="34"/>
                    </a:lnTo>
                    <a:lnTo>
                      <a:pt x="174" y="34"/>
                    </a:lnTo>
                    <a:lnTo>
                      <a:pt x="173" y="34"/>
                    </a:lnTo>
                    <a:lnTo>
                      <a:pt x="169" y="34"/>
                    </a:lnTo>
                    <a:lnTo>
                      <a:pt x="168" y="34"/>
                    </a:lnTo>
                    <a:lnTo>
                      <a:pt x="168" y="35"/>
                    </a:lnTo>
                    <a:lnTo>
                      <a:pt x="168" y="37"/>
                    </a:lnTo>
                    <a:lnTo>
                      <a:pt x="168" y="39"/>
                    </a:lnTo>
                    <a:lnTo>
                      <a:pt x="168" y="41"/>
                    </a:lnTo>
                    <a:lnTo>
                      <a:pt x="168" y="46"/>
                    </a:lnTo>
                    <a:lnTo>
                      <a:pt x="169" y="48"/>
                    </a:lnTo>
                    <a:lnTo>
                      <a:pt x="169" y="49"/>
                    </a:lnTo>
                    <a:lnTo>
                      <a:pt x="170" y="50"/>
                    </a:lnTo>
                    <a:lnTo>
                      <a:pt x="172" y="51"/>
                    </a:lnTo>
                    <a:lnTo>
                      <a:pt x="173" y="52"/>
                    </a:lnTo>
                    <a:lnTo>
                      <a:pt x="175" y="54"/>
                    </a:lnTo>
                    <a:lnTo>
                      <a:pt x="177" y="52"/>
                    </a:lnTo>
                    <a:lnTo>
                      <a:pt x="179" y="52"/>
                    </a:lnTo>
                    <a:lnTo>
                      <a:pt x="181" y="51"/>
                    </a:lnTo>
                    <a:lnTo>
                      <a:pt x="182" y="50"/>
                    </a:lnTo>
                    <a:lnTo>
                      <a:pt x="185" y="51"/>
                    </a:lnTo>
                    <a:lnTo>
                      <a:pt x="185" y="54"/>
                    </a:lnTo>
                    <a:lnTo>
                      <a:pt x="183" y="56"/>
                    </a:lnTo>
                    <a:lnTo>
                      <a:pt x="182" y="57"/>
                    </a:lnTo>
                    <a:lnTo>
                      <a:pt x="181" y="59"/>
                    </a:lnTo>
                    <a:lnTo>
                      <a:pt x="178" y="61"/>
                    </a:lnTo>
                    <a:lnTo>
                      <a:pt x="177" y="62"/>
                    </a:lnTo>
                    <a:lnTo>
                      <a:pt x="176" y="64"/>
                    </a:lnTo>
                    <a:lnTo>
                      <a:pt x="177" y="67"/>
                    </a:lnTo>
                    <a:lnTo>
                      <a:pt x="177" y="68"/>
                    </a:lnTo>
                    <a:lnTo>
                      <a:pt x="178" y="69"/>
                    </a:lnTo>
                    <a:lnTo>
                      <a:pt x="180" y="70"/>
                    </a:lnTo>
                    <a:lnTo>
                      <a:pt x="182" y="71"/>
                    </a:lnTo>
                    <a:lnTo>
                      <a:pt x="183" y="71"/>
                    </a:lnTo>
                    <a:lnTo>
                      <a:pt x="186" y="72"/>
                    </a:lnTo>
                    <a:lnTo>
                      <a:pt x="187" y="73"/>
                    </a:lnTo>
                    <a:lnTo>
                      <a:pt x="187" y="74"/>
                    </a:lnTo>
                    <a:lnTo>
                      <a:pt x="186" y="75"/>
                    </a:lnTo>
                    <a:lnTo>
                      <a:pt x="183" y="75"/>
                    </a:lnTo>
                    <a:lnTo>
                      <a:pt x="181" y="77"/>
                    </a:lnTo>
                    <a:lnTo>
                      <a:pt x="179" y="78"/>
                    </a:lnTo>
                    <a:lnTo>
                      <a:pt x="177" y="78"/>
                    </a:lnTo>
                    <a:lnTo>
                      <a:pt x="176" y="80"/>
                    </a:lnTo>
                    <a:lnTo>
                      <a:pt x="175" y="82"/>
                    </a:lnTo>
                    <a:lnTo>
                      <a:pt x="175" y="83"/>
                    </a:lnTo>
                    <a:lnTo>
                      <a:pt x="176" y="83"/>
                    </a:lnTo>
                    <a:lnTo>
                      <a:pt x="176" y="84"/>
                    </a:lnTo>
                    <a:lnTo>
                      <a:pt x="177" y="85"/>
                    </a:lnTo>
                    <a:lnTo>
                      <a:pt x="178" y="86"/>
                    </a:lnTo>
                    <a:lnTo>
                      <a:pt x="180" y="86"/>
                    </a:lnTo>
                    <a:lnTo>
                      <a:pt x="182" y="87"/>
                    </a:lnTo>
                    <a:lnTo>
                      <a:pt x="183" y="88"/>
                    </a:lnTo>
                    <a:lnTo>
                      <a:pt x="185" y="88"/>
                    </a:lnTo>
                    <a:lnTo>
                      <a:pt x="186" y="88"/>
                    </a:lnTo>
                    <a:lnTo>
                      <a:pt x="188" y="87"/>
                    </a:lnTo>
                    <a:lnTo>
                      <a:pt x="189" y="85"/>
                    </a:lnTo>
                    <a:lnTo>
                      <a:pt x="190" y="83"/>
                    </a:lnTo>
                    <a:lnTo>
                      <a:pt x="190" y="82"/>
                    </a:lnTo>
                    <a:lnTo>
                      <a:pt x="191" y="82"/>
                    </a:lnTo>
                    <a:lnTo>
                      <a:pt x="192" y="81"/>
                    </a:lnTo>
                    <a:lnTo>
                      <a:pt x="192" y="82"/>
                    </a:lnTo>
                    <a:lnTo>
                      <a:pt x="192" y="83"/>
                    </a:lnTo>
                    <a:lnTo>
                      <a:pt x="193" y="84"/>
                    </a:lnTo>
                    <a:lnTo>
                      <a:pt x="193" y="85"/>
                    </a:lnTo>
                    <a:lnTo>
                      <a:pt x="193" y="87"/>
                    </a:lnTo>
                    <a:lnTo>
                      <a:pt x="193" y="88"/>
                    </a:lnTo>
                    <a:lnTo>
                      <a:pt x="193" y="89"/>
                    </a:lnTo>
                    <a:lnTo>
                      <a:pt x="194" y="90"/>
                    </a:lnTo>
                    <a:lnTo>
                      <a:pt x="194" y="91"/>
                    </a:lnTo>
                    <a:lnTo>
                      <a:pt x="195" y="91"/>
                    </a:lnTo>
                    <a:lnTo>
                      <a:pt x="195" y="93"/>
                    </a:lnTo>
                    <a:lnTo>
                      <a:pt x="196" y="93"/>
                    </a:lnTo>
                    <a:lnTo>
                      <a:pt x="198" y="94"/>
                    </a:lnTo>
                    <a:lnTo>
                      <a:pt x="199" y="94"/>
                    </a:lnTo>
                    <a:lnTo>
                      <a:pt x="200" y="94"/>
                    </a:lnTo>
                    <a:lnTo>
                      <a:pt x="201" y="94"/>
                    </a:lnTo>
                    <a:lnTo>
                      <a:pt x="202" y="94"/>
                    </a:lnTo>
                    <a:lnTo>
                      <a:pt x="203" y="94"/>
                    </a:lnTo>
                    <a:lnTo>
                      <a:pt x="204" y="93"/>
                    </a:lnTo>
                    <a:lnTo>
                      <a:pt x="205" y="93"/>
                    </a:lnTo>
                    <a:lnTo>
                      <a:pt x="207" y="91"/>
                    </a:lnTo>
                    <a:lnTo>
                      <a:pt x="208" y="90"/>
                    </a:lnTo>
                    <a:lnTo>
                      <a:pt x="209" y="90"/>
                    </a:lnTo>
                    <a:lnTo>
                      <a:pt x="211" y="90"/>
                    </a:lnTo>
                    <a:lnTo>
                      <a:pt x="212" y="89"/>
                    </a:lnTo>
                    <a:lnTo>
                      <a:pt x="213" y="90"/>
                    </a:lnTo>
                    <a:lnTo>
                      <a:pt x="214" y="90"/>
                    </a:lnTo>
                    <a:lnTo>
                      <a:pt x="214" y="91"/>
                    </a:lnTo>
                    <a:lnTo>
                      <a:pt x="215" y="91"/>
                    </a:lnTo>
                    <a:lnTo>
                      <a:pt x="219" y="90"/>
                    </a:lnTo>
                    <a:lnTo>
                      <a:pt x="224" y="89"/>
                    </a:lnTo>
                    <a:lnTo>
                      <a:pt x="225" y="89"/>
                    </a:lnTo>
                    <a:lnTo>
                      <a:pt x="237" y="86"/>
                    </a:lnTo>
                    <a:lnTo>
                      <a:pt x="246" y="84"/>
                    </a:lnTo>
                    <a:lnTo>
                      <a:pt x="255" y="82"/>
                    </a:lnTo>
                    <a:lnTo>
                      <a:pt x="259" y="81"/>
                    </a:lnTo>
                    <a:lnTo>
                      <a:pt x="270" y="78"/>
                    </a:lnTo>
                    <a:lnTo>
                      <a:pt x="276" y="76"/>
                    </a:lnTo>
                    <a:lnTo>
                      <a:pt x="280" y="75"/>
                    </a:lnTo>
                    <a:lnTo>
                      <a:pt x="285" y="74"/>
                    </a:lnTo>
                    <a:lnTo>
                      <a:pt x="289" y="73"/>
                    </a:lnTo>
                    <a:lnTo>
                      <a:pt x="308" y="69"/>
                    </a:lnTo>
                    <a:lnTo>
                      <a:pt x="316" y="67"/>
                    </a:lnTo>
                    <a:lnTo>
                      <a:pt x="324" y="64"/>
                    </a:lnTo>
                    <a:lnTo>
                      <a:pt x="325" y="64"/>
                    </a:lnTo>
                    <a:lnTo>
                      <a:pt x="328" y="64"/>
                    </a:lnTo>
                    <a:lnTo>
                      <a:pt x="345" y="60"/>
                    </a:lnTo>
                    <a:lnTo>
                      <a:pt x="350" y="59"/>
                    </a:lnTo>
                    <a:lnTo>
                      <a:pt x="368" y="55"/>
                    </a:lnTo>
                    <a:lnTo>
                      <a:pt x="372" y="54"/>
                    </a:lnTo>
                    <a:lnTo>
                      <a:pt x="377" y="51"/>
                    </a:lnTo>
                    <a:lnTo>
                      <a:pt x="396" y="48"/>
                    </a:lnTo>
                    <a:lnTo>
                      <a:pt x="397" y="47"/>
                    </a:lnTo>
                    <a:lnTo>
                      <a:pt x="415" y="43"/>
                    </a:lnTo>
                    <a:lnTo>
                      <a:pt x="427" y="42"/>
                    </a:lnTo>
                    <a:lnTo>
                      <a:pt x="431" y="41"/>
                    </a:lnTo>
                    <a:lnTo>
                      <a:pt x="434" y="39"/>
                    </a:lnTo>
                    <a:lnTo>
                      <a:pt x="467" y="32"/>
                    </a:lnTo>
                    <a:lnTo>
                      <a:pt x="473" y="31"/>
                    </a:lnTo>
                    <a:lnTo>
                      <a:pt x="482" y="29"/>
                    </a:lnTo>
                    <a:close/>
                  </a:path>
                </a:pathLst>
              </a:custGeom>
              <a:solidFill>
                <a:srgbClr val="4399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3" name="Freeform 311">
                <a:extLst>
                  <a:ext uri="{FF2B5EF4-FFF2-40B4-BE49-F238E27FC236}">
                    <a16:creationId xmlns:a16="http://schemas.microsoft.com/office/drawing/2014/main" id="{0C461728-049F-6453-5B41-157C2EB030AE}"/>
                  </a:ext>
                </a:extLst>
              </p:cNvPr>
              <p:cNvSpPr>
                <a:spLocks/>
              </p:cNvSpPr>
              <p:nvPr/>
            </p:nvSpPr>
            <p:spPr bwMode="auto">
              <a:xfrm>
                <a:off x="2185988" y="2536825"/>
                <a:ext cx="755650" cy="466725"/>
              </a:xfrm>
              <a:custGeom>
                <a:avLst/>
                <a:gdLst>
                  <a:gd name="T0" fmla="*/ 375 w 476"/>
                  <a:gd name="T1" fmla="*/ 11 h 294"/>
                  <a:gd name="T2" fmla="*/ 382 w 476"/>
                  <a:gd name="T3" fmla="*/ 19 h 294"/>
                  <a:gd name="T4" fmla="*/ 386 w 476"/>
                  <a:gd name="T5" fmla="*/ 25 h 294"/>
                  <a:gd name="T6" fmla="*/ 381 w 476"/>
                  <a:gd name="T7" fmla="*/ 32 h 294"/>
                  <a:gd name="T8" fmla="*/ 380 w 476"/>
                  <a:gd name="T9" fmla="*/ 43 h 294"/>
                  <a:gd name="T10" fmla="*/ 375 w 476"/>
                  <a:gd name="T11" fmla="*/ 54 h 294"/>
                  <a:gd name="T12" fmla="*/ 370 w 476"/>
                  <a:gd name="T13" fmla="*/ 57 h 294"/>
                  <a:gd name="T14" fmla="*/ 367 w 476"/>
                  <a:gd name="T15" fmla="*/ 67 h 294"/>
                  <a:gd name="T16" fmla="*/ 376 w 476"/>
                  <a:gd name="T17" fmla="*/ 71 h 294"/>
                  <a:gd name="T18" fmla="*/ 381 w 476"/>
                  <a:gd name="T19" fmla="*/ 79 h 294"/>
                  <a:gd name="T20" fmla="*/ 379 w 476"/>
                  <a:gd name="T21" fmla="*/ 84 h 294"/>
                  <a:gd name="T22" fmla="*/ 371 w 476"/>
                  <a:gd name="T23" fmla="*/ 89 h 294"/>
                  <a:gd name="T24" fmla="*/ 371 w 476"/>
                  <a:gd name="T25" fmla="*/ 100 h 294"/>
                  <a:gd name="T26" fmla="*/ 374 w 476"/>
                  <a:gd name="T27" fmla="*/ 111 h 294"/>
                  <a:gd name="T28" fmla="*/ 374 w 476"/>
                  <a:gd name="T29" fmla="*/ 118 h 294"/>
                  <a:gd name="T30" fmla="*/ 383 w 476"/>
                  <a:gd name="T31" fmla="*/ 120 h 294"/>
                  <a:gd name="T32" fmla="*/ 374 w 476"/>
                  <a:gd name="T33" fmla="*/ 124 h 294"/>
                  <a:gd name="T34" fmla="*/ 367 w 476"/>
                  <a:gd name="T35" fmla="*/ 129 h 294"/>
                  <a:gd name="T36" fmla="*/ 365 w 476"/>
                  <a:gd name="T37" fmla="*/ 131 h 294"/>
                  <a:gd name="T38" fmla="*/ 389 w 476"/>
                  <a:gd name="T39" fmla="*/ 145 h 294"/>
                  <a:gd name="T40" fmla="*/ 406 w 476"/>
                  <a:gd name="T41" fmla="*/ 155 h 294"/>
                  <a:gd name="T42" fmla="*/ 404 w 476"/>
                  <a:gd name="T43" fmla="*/ 160 h 294"/>
                  <a:gd name="T44" fmla="*/ 409 w 476"/>
                  <a:gd name="T45" fmla="*/ 174 h 294"/>
                  <a:gd name="T46" fmla="*/ 424 w 476"/>
                  <a:gd name="T47" fmla="*/ 184 h 294"/>
                  <a:gd name="T48" fmla="*/ 414 w 476"/>
                  <a:gd name="T49" fmla="*/ 188 h 294"/>
                  <a:gd name="T50" fmla="*/ 426 w 476"/>
                  <a:gd name="T51" fmla="*/ 187 h 294"/>
                  <a:gd name="T52" fmla="*/ 428 w 476"/>
                  <a:gd name="T53" fmla="*/ 200 h 294"/>
                  <a:gd name="T54" fmla="*/ 425 w 476"/>
                  <a:gd name="T55" fmla="*/ 210 h 294"/>
                  <a:gd name="T56" fmla="*/ 438 w 476"/>
                  <a:gd name="T57" fmla="*/ 217 h 294"/>
                  <a:gd name="T58" fmla="*/ 447 w 476"/>
                  <a:gd name="T59" fmla="*/ 217 h 294"/>
                  <a:gd name="T60" fmla="*/ 453 w 476"/>
                  <a:gd name="T61" fmla="*/ 231 h 294"/>
                  <a:gd name="T62" fmla="*/ 450 w 476"/>
                  <a:gd name="T63" fmla="*/ 220 h 294"/>
                  <a:gd name="T64" fmla="*/ 464 w 476"/>
                  <a:gd name="T65" fmla="*/ 219 h 294"/>
                  <a:gd name="T66" fmla="*/ 472 w 476"/>
                  <a:gd name="T67" fmla="*/ 227 h 294"/>
                  <a:gd name="T68" fmla="*/ 366 w 476"/>
                  <a:gd name="T69" fmla="*/ 254 h 294"/>
                  <a:gd name="T70" fmla="*/ 253 w 476"/>
                  <a:gd name="T71" fmla="*/ 281 h 294"/>
                  <a:gd name="T72" fmla="*/ 202 w 476"/>
                  <a:gd name="T73" fmla="*/ 290 h 294"/>
                  <a:gd name="T74" fmla="*/ 188 w 476"/>
                  <a:gd name="T75" fmla="*/ 290 h 294"/>
                  <a:gd name="T76" fmla="*/ 180 w 476"/>
                  <a:gd name="T77" fmla="*/ 288 h 294"/>
                  <a:gd name="T78" fmla="*/ 175 w 476"/>
                  <a:gd name="T79" fmla="*/ 277 h 294"/>
                  <a:gd name="T80" fmla="*/ 172 w 476"/>
                  <a:gd name="T81" fmla="*/ 261 h 294"/>
                  <a:gd name="T82" fmla="*/ 163 w 476"/>
                  <a:gd name="T83" fmla="*/ 249 h 294"/>
                  <a:gd name="T84" fmla="*/ 172 w 476"/>
                  <a:gd name="T85" fmla="*/ 230 h 294"/>
                  <a:gd name="T86" fmla="*/ 177 w 476"/>
                  <a:gd name="T87" fmla="*/ 217 h 294"/>
                  <a:gd name="T88" fmla="*/ 167 w 476"/>
                  <a:gd name="T89" fmla="*/ 218 h 294"/>
                  <a:gd name="T90" fmla="*/ 156 w 476"/>
                  <a:gd name="T91" fmla="*/ 198 h 294"/>
                  <a:gd name="T92" fmla="*/ 143 w 476"/>
                  <a:gd name="T93" fmla="*/ 190 h 294"/>
                  <a:gd name="T94" fmla="*/ 130 w 476"/>
                  <a:gd name="T95" fmla="*/ 178 h 294"/>
                  <a:gd name="T96" fmla="*/ 121 w 476"/>
                  <a:gd name="T97" fmla="*/ 164 h 294"/>
                  <a:gd name="T98" fmla="*/ 104 w 476"/>
                  <a:gd name="T99" fmla="*/ 143 h 294"/>
                  <a:gd name="T100" fmla="*/ 71 w 476"/>
                  <a:gd name="T101" fmla="*/ 135 h 294"/>
                  <a:gd name="T102" fmla="*/ 45 w 476"/>
                  <a:gd name="T103" fmla="*/ 127 h 294"/>
                  <a:gd name="T104" fmla="*/ 41 w 476"/>
                  <a:gd name="T105" fmla="*/ 107 h 294"/>
                  <a:gd name="T106" fmla="*/ 29 w 476"/>
                  <a:gd name="T107" fmla="*/ 93 h 294"/>
                  <a:gd name="T108" fmla="*/ 16 w 476"/>
                  <a:gd name="T109" fmla="*/ 87 h 294"/>
                  <a:gd name="T110" fmla="*/ 7 w 476"/>
                  <a:gd name="T111" fmla="*/ 69 h 294"/>
                  <a:gd name="T112" fmla="*/ 35 w 476"/>
                  <a:gd name="T113" fmla="*/ 63 h 294"/>
                  <a:gd name="T114" fmla="*/ 215 w 476"/>
                  <a:gd name="T115" fmla="*/ 51 h 294"/>
                  <a:gd name="T116" fmla="*/ 303 w 476"/>
                  <a:gd name="T11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6" h="294">
                    <a:moveTo>
                      <a:pt x="374" y="0"/>
                    </a:moveTo>
                    <a:lnTo>
                      <a:pt x="374" y="1"/>
                    </a:lnTo>
                    <a:lnTo>
                      <a:pt x="374" y="2"/>
                    </a:lnTo>
                    <a:lnTo>
                      <a:pt x="375" y="3"/>
                    </a:lnTo>
                    <a:lnTo>
                      <a:pt x="374" y="3"/>
                    </a:lnTo>
                    <a:lnTo>
                      <a:pt x="374" y="4"/>
                    </a:lnTo>
                    <a:lnTo>
                      <a:pt x="373" y="4"/>
                    </a:lnTo>
                    <a:lnTo>
                      <a:pt x="373" y="5"/>
                    </a:lnTo>
                    <a:lnTo>
                      <a:pt x="373" y="6"/>
                    </a:lnTo>
                    <a:lnTo>
                      <a:pt x="374" y="7"/>
                    </a:lnTo>
                    <a:lnTo>
                      <a:pt x="374" y="8"/>
                    </a:lnTo>
                    <a:lnTo>
                      <a:pt x="374" y="10"/>
                    </a:lnTo>
                    <a:lnTo>
                      <a:pt x="374" y="11"/>
                    </a:lnTo>
                    <a:lnTo>
                      <a:pt x="375" y="11"/>
                    </a:lnTo>
                    <a:lnTo>
                      <a:pt x="375" y="12"/>
                    </a:lnTo>
                    <a:lnTo>
                      <a:pt x="376" y="12"/>
                    </a:lnTo>
                    <a:lnTo>
                      <a:pt x="377" y="13"/>
                    </a:lnTo>
                    <a:lnTo>
                      <a:pt x="378" y="13"/>
                    </a:lnTo>
                    <a:lnTo>
                      <a:pt x="379" y="12"/>
                    </a:lnTo>
                    <a:lnTo>
                      <a:pt x="380" y="13"/>
                    </a:lnTo>
                    <a:lnTo>
                      <a:pt x="380" y="14"/>
                    </a:lnTo>
                    <a:lnTo>
                      <a:pt x="381" y="14"/>
                    </a:lnTo>
                    <a:lnTo>
                      <a:pt x="381" y="15"/>
                    </a:lnTo>
                    <a:lnTo>
                      <a:pt x="381" y="16"/>
                    </a:lnTo>
                    <a:lnTo>
                      <a:pt x="381" y="17"/>
                    </a:lnTo>
                    <a:lnTo>
                      <a:pt x="382" y="17"/>
                    </a:lnTo>
                    <a:lnTo>
                      <a:pt x="382" y="18"/>
                    </a:lnTo>
                    <a:lnTo>
                      <a:pt x="382" y="19"/>
                    </a:lnTo>
                    <a:lnTo>
                      <a:pt x="383" y="19"/>
                    </a:lnTo>
                    <a:lnTo>
                      <a:pt x="385" y="19"/>
                    </a:lnTo>
                    <a:lnTo>
                      <a:pt x="385" y="20"/>
                    </a:lnTo>
                    <a:lnTo>
                      <a:pt x="385" y="21"/>
                    </a:lnTo>
                    <a:lnTo>
                      <a:pt x="385" y="23"/>
                    </a:lnTo>
                    <a:lnTo>
                      <a:pt x="383" y="23"/>
                    </a:lnTo>
                    <a:lnTo>
                      <a:pt x="382" y="23"/>
                    </a:lnTo>
                    <a:lnTo>
                      <a:pt x="382" y="24"/>
                    </a:lnTo>
                    <a:lnTo>
                      <a:pt x="383" y="25"/>
                    </a:lnTo>
                    <a:lnTo>
                      <a:pt x="385" y="25"/>
                    </a:lnTo>
                    <a:lnTo>
                      <a:pt x="385" y="26"/>
                    </a:lnTo>
                    <a:lnTo>
                      <a:pt x="385" y="27"/>
                    </a:lnTo>
                    <a:lnTo>
                      <a:pt x="386" y="26"/>
                    </a:lnTo>
                    <a:lnTo>
                      <a:pt x="386" y="25"/>
                    </a:lnTo>
                    <a:lnTo>
                      <a:pt x="387" y="25"/>
                    </a:lnTo>
                    <a:lnTo>
                      <a:pt x="388" y="25"/>
                    </a:lnTo>
                    <a:lnTo>
                      <a:pt x="389" y="26"/>
                    </a:lnTo>
                    <a:lnTo>
                      <a:pt x="389" y="27"/>
                    </a:lnTo>
                    <a:lnTo>
                      <a:pt x="389" y="28"/>
                    </a:lnTo>
                    <a:lnTo>
                      <a:pt x="388" y="29"/>
                    </a:lnTo>
                    <a:lnTo>
                      <a:pt x="388" y="30"/>
                    </a:lnTo>
                    <a:lnTo>
                      <a:pt x="387" y="30"/>
                    </a:lnTo>
                    <a:lnTo>
                      <a:pt x="386" y="30"/>
                    </a:lnTo>
                    <a:lnTo>
                      <a:pt x="385" y="30"/>
                    </a:lnTo>
                    <a:lnTo>
                      <a:pt x="383" y="30"/>
                    </a:lnTo>
                    <a:lnTo>
                      <a:pt x="383" y="31"/>
                    </a:lnTo>
                    <a:lnTo>
                      <a:pt x="382" y="31"/>
                    </a:lnTo>
                    <a:lnTo>
                      <a:pt x="381" y="32"/>
                    </a:lnTo>
                    <a:lnTo>
                      <a:pt x="380" y="33"/>
                    </a:lnTo>
                    <a:lnTo>
                      <a:pt x="380" y="34"/>
                    </a:lnTo>
                    <a:lnTo>
                      <a:pt x="379" y="36"/>
                    </a:lnTo>
                    <a:lnTo>
                      <a:pt x="378" y="36"/>
                    </a:lnTo>
                    <a:lnTo>
                      <a:pt x="377" y="37"/>
                    </a:lnTo>
                    <a:lnTo>
                      <a:pt x="377" y="38"/>
                    </a:lnTo>
                    <a:lnTo>
                      <a:pt x="376" y="38"/>
                    </a:lnTo>
                    <a:lnTo>
                      <a:pt x="376" y="39"/>
                    </a:lnTo>
                    <a:lnTo>
                      <a:pt x="378" y="40"/>
                    </a:lnTo>
                    <a:lnTo>
                      <a:pt x="378" y="41"/>
                    </a:lnTo>
                    <a:lnTo>
                      <a:pt x="379" y="41"/>
                    </a:lnTo>
                    <a:lnTo>
                      <a:pt x="381" y="42"/>
                    </a:lnTo>
                    <a:lnTo>
                      <a:pt x="381" y="43"/>
                    </a:lnTo>
                    <a:lnTo>
                      <a:pt x="380" y="43"/>
                    </a:lnTo>
                    <a:lnTo>
                      <a:pt x="379" y="43"/>
                    </a:lnTo>
                    <a:lnTo>
                      <a:pt x="378" y="43"/>
                    </a:lnTo>
                    <a:lnTo>
                      <a:pt x="377" y="43"/>
                    </a:lnTo>
                    <a:lnTo>
                      <a:pt x="376" y="45"/>
                    </a:lnTo>
                    <a:lnTo>
                      <a:pt x="376" y="46"/>
                    </a:lnTo>
                    <a:lnTo>
                      <a:pt x="376" y="47"/>
                    </a:lnTo>
                    <a:lnTo>
                      <a:pt x="377" y="47"/>
                    </a:lnTo>
                    <a:lnTo>
                      <a:pt x="378" y="47"/>
                    </a:lnTo>
                    <a:lnTo>
                      <a:pt x="378" y="49"/>
                    </a:lnTo>
                    <a:lnTo>
                      <a:pt x="378" y="50"/>
                    </a:lnTo>
                    <a:lnTo>
                      <a:pt x="377" y="51"/>
                    </a:lnTo>
                    <a:lnTo>
                      <a:pt x="377" y="52"/>
                    </a:lnTo>
                    <a:lnTo>
                      <a:pt x="376" y="53"/>
                    </a:lnTo>
                    <a:lnTo>
                      <a:pt x="375" y="54"/>
                    </a:lnTo>
                    <a:lnTo>
                      <a:pt x="374" y="54"/>
                    </a:lnTo>
                    <a:lnTo>
                      <a:pt x="374" y="53"/>
                    </a:lnTo>
                    <a:lnTo>
                      <a:pt x="373" y="53"/>
                    </a:lnTo>
                    <a:lnTo>
                      <a:pt x="373" y="52"/>
                    </a:lnTo>
                    <a:lnTo>
                      <a:pt x="373" y="51"/>
                    </a:lnTo>
                    <a:lnTo>
                      <a:pt x="373" y="52"/>
                    </a:lnTo>
                    <a:lnTo>
                      <a:pt x="373" y="54"/>
                    </a:lnTo>
                    <a:lnTo>
                      <a:pt x="371" y="54"/>
                    </a:lnTo>
                    <a:lnTo>
                      <a:pt x="370" y="53"/>
                    </a:lnTo>
                    <a:lnTo>
                      <a:pt x="369" y="53"/>
                    </a:lnTo>
                    <a:lnTo>
                      <a:pt x="369" y="54"/>
                    </a:lnTo>
                    <a:lnTo>
                      <a:pt x="369" y="55"/>
                    </a:lnTo>
                    <a:lnTo>
                      <a:pt x="370" y="56"/>
                    </a:lnTo>
                    <a:lnTo>
                      <a:pt x="370" y="57"/>
                    </a:lnTo>
                    <a:lnTo>
                      <a:pt x="369" y="57"/>
                    </a:lnTo>
                    <a:lnTo>
                      <a:pt x="369" y="58"/>
                    </a:lnTo>
                    <a:lnTo>
                      <a:pt x="368" y="58"/>
                    </a:lnTo>
                    <a:lnTo>
                      <a:pt x="369" y="59"/>
                    </a:lnTo>
                    <a:lnTo>
                      <a:pt x="370" y="59"/>
                    </a:lnTo>
                    <a:lnTo>
                      <a:pt x="370" y="60"/>
                    </a:lnTo>
                    <a:lnTo>
                      <a:pt x="370" y="62"/>
                    </a:lnTo>
                    <a:lnTo>
                      <a:pt x="369" y="62"/>
                    </a:lnTo>
                    <a:lnTo>
                      <a:pt x="369" y="63"/>
                    </a:lnTo>
                    <a:lnTo>
                      <a:pt x="369" y="64"/>
                    </a:lnTo>
                    <a:lnTo>
                      <a:pt x="368" y="65"/>
                    </a:lnTo>
                    <a:lnTo>
                      <a:pt x="367" y="65"/>
                    </a:lnTo>
                    <a:lnTo>
                      <a:pt x="368" y="66"/>
                    </a:lnTo>
                    <a:lnTo>
                      <a:pt x="367" y="67"/>
                    </a:lnTo>
                    <a:lnTo>
                      <a:pt x="367" y="68"/>
                    </a:lnTo>
                    <a:lnTo>
                      <a:pt x="368" y="69"/>
                    </a:lnTo>
                    <a:lnTo>
                      <a:pt x="369" y="69"/>
                    </a:lnTo>
                    <a:lnTo>
                      <a:pt x="370" y="68"/>
                    </a:lnTo>
                    <a:lnTo>
                      <a:pt x="371" y="68"/>
                    </a:lnTo>
                    <a:lnTo>
                      <a:pt x="373" y="67"/>
                    </a:lnTo>
                    <a:lnTo>
                      <a:pt x="374" y="68"/>
                    </a:lnTo>
                    <a:lnTo>
                      <a:pt x="373" y="69"/>
                    </a:lnTo>
                    <a:lnTo>
                      <a:pt x="373" y="70"/>
                    </a:lnTo>
                    <a:lnTo>
                      <a:pt x="373" y="71"/>
                    </a:lnTo>
                    <a:lnTo>
                      <a:pt x="374" y="72"/>
                    </a:lnTo>
                    <a:lnTo>
                      <a:pt x="375" y="72"/>
                    </a:lnTo>
                    <a:lnTo>
                      <a:pt x="376" y="72"/>
                    </a:lnTo>
                    <a:lnTo>
                      <a:pt x="376" y="71"/>
                    </a:lnTo>
                    <a:lnTo>
                      <a:pt x="376" y="70"/>
                    </a:lnTo>
                    <a:lnTo>
                      <a:pt x="377" y="69"/>
                    </a:lnTo>
                    <a:lnTo>
                      <a:pt x="378" y="69"/>
                    </a:lnTo>
                    <a:lnTo>
                      <a:pt x="379" y="70"/>
                    </a:lnTo>
                    <a:lnTo>
                      <a:pt x="380" y="70"/>
                    </a:lnTo>
                    <a:lnTo>
                      <a:pt x="381" y="71"/>
                    </a:lnTo>
                    <a:lnTo>
                      <a:pt x="382" y="71"/>
                    </a:lnTo>
                    <a:lnTo>
                      <a:pt x="382" y="72"/>
                    </a:lnTo>
                    <a:lnTo>
                      <a:pt x="382" y="74"/>
                    </a:lnTo>
                    <a:lnTo>
                      <a:pt x="383" y="75"/>
                    </a:lnTo>
                    <a:lnTo>
                      <a:pt x="383" y="76"/>
                    </a:lnTo>
                    <a:lnTo>
                      <a:pt x="382" y="77"/>
                    </a:lnTo>
                    <a:lnTo>
                      <a:pt x="382" y="78"/>
                    </a:lnTo>
                    <a:lnTo>
                      <a:pt x="381" y="79"/>
                    </a:lnTo>
                    <a:lnTo>
                      <a:pt x="380" y="79"/>
                    </a:lnTo>
                    <a:lnTo>
                      <a:pt x="379" y="79"/>
                    </a:lnTo>
                    <a:lnTo>
                      <a:pt x="379" y="80"/>
                    </a:lnTo>
                    <a:lnTo>
                      <a:pt x="378" y="80"/>
                    </a:lnTo>
                    <a:lnTo>
                      <a:pt x="378" y="81"/>
                    </a:lnTo>
                    <a:lnTo>
                      <a:pt x="377" y="81"/>
                    </a:lnTo>
                    <a:lnTo>
                      <a:pt x="376" y="81"/>
                    </a:lnTo>
                    <a:lnTo>
                      <a:pt x="376" y="82"/>
                    </a:lnTo>
                    <a:lnTo>
                      <a:pt x="375" y="82"/>
                    </a:lnTo>
                    <a:lnTo>
                      <a:pt x="376" y="83"/>
                    </a:lnTo>
                    <a:lnTo>
                      <a:pt x="376" y="84"/>
                    </a:lnTo>
                    <a:lnTo>
                      <a:pt x="377" y="84"/>
                    </a:lnTo>
                    <a:lnTo>
                      <a:pt x="378" y="84"/>
                    </a:lnTo>
                    <a:lnTo>
                      <a:pt x="379" y="84"/>
                    </a:lnTo>
                    <a:lnTo>
                      <a:pt x="379" y="83"/>
                    </a:lnTo>
                    <a:lnTo>
                      <a:pt x="380" y="83"/>
                    </a:lnTo>
                    <a:lnTo>
                      <a:pt x="381" y="83"/>
                    </a:lnTo>
                    <a:lnTo>
                      <a:pt x="381" y="84"/>
                    </a:lnTo>
                    <a:lnTo>
                      <a:pt x="379" y="88"/>
                    </a:lnTo>
                    <a:lnTo>
                      <a:pt x="378" y="90"/>
                    </a:lnTo>
                    <a:lnTo>
                      <a:pt x="377" y="91"/>
                    </a:lnTo>
                    <a:lnTo>
                      <a:pt x="376" y="91"/>
                    </a:lnTo>
                    <a:lnTo>
                      <a:pt x="375" y="90"/>
                    </a:lnTo>
                    <a:lnTo>
                      <a:pt x="375" y="89"/>
                    </a:lnTo>
                    <a:lnTo>
                      <a:pt x="375" y="88"/>
                    </a:lnTo>
                    <a:lnTo>
                      <a:pt x="374" y="88"/>
                    </a:lnTo>
                    <a:lnTo>
                      <a:pt x="373" y="89"/>
                    </a:lnTo>
                    <a:lnTo>
                      <a:pt x="371" y="89"/>
                    </a:lnTo>
                    <a:lnTo>
                      <a:pt x="371" y="90"/>
                    </a:lnTo>
                    <a:lnTo>
                      <a:pt x="373" y="91"/>
                    </a:lnTo>
                    <a:lnTo>
                      <a:pt x="371" y="92"/>
                    </a:lnTo>
                    <a:lnTo>
                      <a:pt x="371" y="93"/>
                    </a:lnTo>
                    <a:lnTo>
                      <a:pt x="373" y="94"/>
                    </a:lnTo>
                    <a:lnTo>
                      <a:pt x="373" y="95"/>
                    </a:lnTo>
                    <a:lnTo>
                      <a:pt x="374" y="97"/>
                    </a:lnTo>
                    <a:lnTo>
                      <a:pt x="374" y="98"/>
                    </a:lnTo>
                    <a:lnTo>
                      <a:pt x="373" y="100"/>
                    </a:lnTo>
                    <a:lnTo>
                      <a:pt x="371" y="98"/>
                    </a:lnTo>
                    <a:lnTo>
                      <a:pt x="370" y="98"/>
                    </a:lnTo>
                    <a:lnTo>
                      <a:pt x="369" y="98"/>
                    </a:lnTo>
                    <a:lnTo>
                      <a:pt x="369" y="100"/>
                    </a:lnTo>
                    <a:lnTo>
                      <a:pt x="371" y="100"/>
                    </a:lnTo>
                    <a:lnTo>
                      <a:pt x="371" y="101"/>
                    </a:lnTo>
                    <a:lnTo>
                      <a:pt x="373" y="101"/>
                    </a:lnTo>
                    <a:lnTo>
                      <a:pt x="374" y="102"/>
                    </a:lnTo>
                    <a:lnTo>
                      <a:pt x="374" y="103"/>
                    </a:lnTo>
                    <a:lnTo>
                      <a:pt x="371" y="104"/>
                    </a:lnTo>
                    <a:lnTo>
                      <a:pt x="371" y="105"/>
                    </a:lnTo>
                    <a:lnTo>
                      <a:pt x="370" y="105"/>
                    </a:lnTo>
                    <a:lnTo>
                      <a:pt x="370" y="106"/>
                    </a:lnTo>
                    <a:lnTo>
                      <a:pt x="371" y="106"/>
                    </a:lnTo>
                    <a:lnTo>
                      <a:pt x="374" y="107"/>
                    </a:lnTo>
                    <a:lnTo>
                      <a:pt x="375" y="108"/>
                    </a:lnTo>
                    <a:lnTo>
                      <a:pt x="375" y="109"/>
                    </a:lnTo>
                    <a:lnTo>
                      <a:pt x="375" y="110"/>
                    </a:lnTo>
                    <a:lnTo>
                      <a:pt x="374" y="111"/>
                    </a:lnTo>
                    <a:lnTo>
                      <a:pt x="374" y="113"/>
                    </a:lnTo>
                    <a:lnTo>
                      <a:pt x="371" y="113"/>
                    </a:lnTo>
                    <a:lnTo>
                      <a:pt x="370" y="113"/>
                    </a:lnTo>
                    <a:lnTo>
                      <a:pt x="370" y="114"/>
                    </a:lnTo>
                    <a:lnTo>
                      <a:pt x="371" y="114"/>
                    </a:lnTo>
                    <a:lnTo>
                      <a:pt x="371" y="115"/>
                    </a:lnTo>
                    <a:lnTo>
                      <a:pt x="370" y="115"/>
                    </a:lnTo>
                    <a:lnTo>
                      <a:pt x="370" y="116"/>
                    </a:lnTo>
                    <a:lnTo>
                      <a:pt x="369" y="116"/>
                    </a:lnTo>
                    <a:lnTo>
                      <a:pt x="369" y="118"/>
                    </a:lnTo>
                    <a:lnTo>
                      <a:pt x="369" y="119"/>
                    </a:lnTo>
                    <a:lnTo>
                      <a:pt x="370" y="119"/>
                    </a:lnTo>
                    <a:lnTo>
                      <a:pt x="371" y="119"/>
                    </a:lnTo>
                    <a:lnTo>
                      <a:pt x="374" y="118"/>
                    </a:lnTo>
                    <a:lnTo>
                      <a:pt x="375" y="116"/>
                    </a:lnTo>
                    <a:lnTo>
                      <a:pt x="376" y="116"/>
                    </a:lnTo>
                    <a:lnTo>
                      <a:pt x="377" y="115"/>
                    </a:lnTo>
                    <a:lnTo>
                      <a:pt x="378" y="115"/>
                    </a:lnTo>
                    <a:lnTo>
                      <a:pt x="379" y="115"/>
                    </a:lnTo>
                    <a:lnTo>
                      <a:pt x="379" y="116"/>
                    </a:lnTo>
                    <a:lnTo>
                      <a:pt x="379" y="117"/>
                    </a:lnTo>
                    <a:lnTo>
                      <a:pt x="378" y="119"/>
                    </a:lnTo>
                    <a:lnTo>
                      <a:pt x="379" y="120"/>
                    </a:lnTo>
                    <a:lnTo>
                      <a:pt x="380" y="120"/>
                    </a:lnTo>
                    <a:lnTo>
                      <a:pt x="381" y="120"/>
                    </a:lnTo>
                    <a:lnTo>
                      <a:pt x="382" y="119"/>
                    </a:lnTo>
                    <a:lnTo>
                      <a:pt x="383" y="119"/>
                    </a:lnTo>
                    <a:lnTo>
                      <a:pt x="383" y="120"/>
                    </a:lnTo>
                    <a:lnTo>
                      <a:pt x="383" y="121"/>
                    </a:lnTo>
                    <a:lnTo>
                      <a:pt x="382" y="121"/>
                    </a:lnTo>
                    <a:lnTo>
                      <a:pt x="381" y="121"/>
                    </a:lnTo>
                    <a:lnTo>
                      <a:pt x="380" y="121"/>
                    </a:lnTo>
                    <a:lnTo>
                      <a:pt x="380" y="122"/>
                    </a:lnTo>
                    <a:lnTo>
                      <a:pt x="380" y="123"/>
                    </a:lnTo>
                    <a:lnTo>
                      <a:pt x="380" y="124"/>
                    </a:lnTo>
                    <a:lnTo>
                      <a:pt x="379" y="124"/>
                    </a:lnTo>
                    <a:lnTo>
                      <a:pt x="378" y="124"/>
                    </a:lnTo>
                    <a:lnTo>
                      <a:pt x="378" y="123"/>
                    </a:lnTo>
                    <a:lnTo>
                      <a:pt x="377" y="123"/>
                    </a:lnTo>
                    <a:lnTo>
                      <a:pt x="376" y="123"/>
                    </a:lnTo>
                    <a:lnTo>
                      <a:pt x="375" y="124"/>
                    </a:lnTo>
                    <a:lnTo>
                      <a:pt x="374" y="124"/>
                    </a:lnTo>
                    <a:lnTo>
                      <a:pt x="374" y="123"/>
                    </a:lnTo>
                    <a:lnTo>
                      <a:pt x="374" y="122"/>
                    </a:lnTo>
                    <a:lnTo>
                      <a:pt x="373" y="121"/>
                    </a:lnTo>
                    <a:lnTo>
                      <a:pt x="371" y="121"/>
                    </a:lnTo>
                    <a:lnTo>
                      <a:pt x="370" y="121"/>
                    </a:lnTo>
                    <a:lnTo>
                      <a:pt x="370" y="122"/>
                    </a:lnTo>
                    <a:lnTo>
                      <a:pt x="370" y="123"/>
                    </a:lnTo>
                    <a:lnTo>
                      <a:pt x="370" y="124"/>
                    </a:lnTo>
                    <a:lnTo>
                      <a:pt x="370" y="126"/>
                    </a:lnTo>
                    <a:lnTo>
                      <a:pt x="370" y="128"/>
                    </a:lnTo>
                    <a:lnTo>
                      <a:pt x="370" y="129"/>
                    </a:lnTo>
                    <a:lnTo>
                      <a:pt x="369" y="129"/>
                    </a:lnTo>
                    <a:lnTo>
                      <a:pt x="368" y="129"/>
                    </a:lnTo>
                    <a:lnTo>
                      <a:pt x="367" y="129"/>
                    </a:lnTo>
                    <a:lnTo>
                      <a:pt x="366" y="128"/>
                    </a:lnTo>
                    <a:lnTo>
                      <a:pt x="365" y="127"/>
                    </a:lnTo>
                    <a:lnTo>
                      <a:pt x="364" y="128"/>
                    </a:lnTo>
                    <a:lnTo>
                      <a:pt x="363" y="128"/>
                    </a:lnTo>
                    <a:lnTo>
                      <a:pt x="363" y="127"/>
                    </a:lnTo>
                    <a:lnTo>
                      <a:pt x="362" y="126"/>
                    </a:lnTo>
                    <a:lnTo>
                      <a:pt x="361" y="126"/>
                    </a:lnTo>
                    <a:lnTo>
                      <a:pt x="360" y="127"/>
                    </a:lnTo>
                    <a:lnTo>
                      <a:pt x="360" y="128"/>
                    </a:lnTo>
                    <a:lnTo>
                      <a:pt x="361" y="128"/>
                    </a:lnTo>
                    <a:lnTo>
                      <a:pt x="361" y="129"/>
                    </a:lnTo>
                    <a:lnTo>
                      <a:pt x="362" y="129"/>
                    </a:lnTo>
                    <a:lnTo>
                      <a:pt x="364" y="130"/>
                    </a:lnTo>
                    <a:lnTo>
                      <a:pt x="365" y="131"/>
                    </a:lnTo>
                    <a:lnTo>
                      <a:pt x="366" y="131"/>
                    </a:lnTo>
                    <a:lnTo>
                      <a:pt x="366" y="132"/>
                    </a:lnTo>
                    <a:lnTo>
                      <a:pt x="367" y="133"/>
                    </a:lnTo>
                    <a:lnTo>
                      <a:pt x="368" y="134"/>
                    </a:lnTo>
                    <a:lnTo>
                      <a:pt x="370" y="135"/>
                    </a:lnTo>
                    <a:lnTo>
                      <a:pt x="373" y="137"/>
                    </a:lnTo>
                    <a:lnTo>
                      <a:pt x="375" y="139"/>
                    </a:lnTo>
                    <a:lnTo>
                      <a:pt x="379" y="141"/>
                    </a:lnTo>
                    <a:lnTo>
                      <a:pt x="381" y="142"/>
                    </a:lnTo>
                    <a:lnTo>
                      <a:pt x="382" y="142"/>
                    </a:lnTo>
                    <a:lnTo>
                      <a:pt x="383" y="143"/>
                    </a:lnTo>
                    <a:lnTo>
                      <a:pt x="385" y="144"/>
                    </a:lnTo>
                    <a:lnTo>
                      <a:pt x="386" y="144"/>
                    </a:lnTo>
                    <a:lnTo>
                      <a:pt x="389" y="145"/>
                    </a:lnTo>
                    <a:lnTo>
                      <a:pt x="392" y="146"/>
                    </a:lnTo>
                    <a:lnTo>
                      <a:pt x="395" y="147"/>
                    </a:lnTo>
                    <a:lnTo>
                      <a:pt x="396" y="147"/>
                    </a:lnTo>
                    <a:lnTo>
                      <a:pt x="399" y="148"/>
                    </a:lnTo>
                    <a:lnTo>
                      <a:pt x="402" y="148"/>
                    </a:lnTo>
                    <a:lnTo>
                      <a:pt x="403" y="148"/>
                    </a:lnTo>
                    <a:lnTo>
                      <a:pt x="405" y="148"/>
                    </a:lnTo>
                    <a:lnTo>
                      <a:pt x="406" y="148"/>
                    </a:lnTo>
                    <a:lnTo>
                      <a:pt x="407" y="148"/>
                    </a:lnTo>
                    <a:lnTo>
                      <a:pt x="408" y="149"/>
                    </a:lnTo>
                    <a:lnTo>
                      <a:pt x="408" y="151"/>
                    </a:lnTo>
                    <a:lnTo>
                      <a:pt x="408" y="152"/>
                    </a:lnTo>
                    <a:lnTo>
                      <a:pt x="407" y="154"/>
                    </a:lnTo>
                    <a:lnTo>
                      <a:pt x="406" y="155"/>
                    </a:lnTo>
                    <a:lnTo>
                      <a:pt x="405" y="156"/>
                    </a:lnTo>
                    <a:lnTo>
                      <a:pt x="403" y="157"/>
                    </a:lnTo>
                    <a:lnTo>
                      <a:pt x="402" y="157"/>
                    </a:lnTo>
                    <a:lnTo>
                      <a:pt x="400" y="157"/>
                    </a:lnTo>
                    <a:lnTo>
                      <a:pt x="399" y="157"/>
                    </a:lnTo>
                    <a:lnTo>
                      <a:pt x="398" y="157"/>
                    </a:lnTo>
                    <a:lnTo>
                      <a:pt x="398" y="158"/>
                    </a:lnTo>
                    <a:lnTo>
                      <a:pt x="399" y="160"/>
                    </a:lnTo>
                    <a:lnTo>
                      <a:pt x="400" y="161"/>
                    </a:lnTo>
                    <a:lnTo>
                      <a:pt x="400" y="162"/>
                    </a:lnTo>
                    <a:lnTo>
                      <a:pt x="401" y="162"/>
                    </a:lnTo>
                    <a:lnTo>
                      <a:pt x="402" y="162"/>
                    </a:lnTo>
                    <a:lnTo>
                      <a:pt x="403" y="160"/>
                    </a:lnTo>
                    <a:lnTo>
                      <a:pt x="404" y="160"/>
                    </a:lnTo>
                    <a:lnTo>
                      <a:pt x="405" y="160"/>
                    </a:lnTo>
                    <a:lnTo>
                      <a:pt x="406" y="161"/>
                    </a:lnTo>
                    <a:lnTo>
                      <a:pt x="407" y="162"/>
                    </a:lnTo>
                    <a:lnTo>
                      <a:pt x="408" y="162"/>
                    </a:lnTo>
                    <a:lnTo>
                      <a:pt x="411" y="164"/>
                    </a:lnTo>
                    <a:lnTo>
                      <a:pt x="412" y="165"/>
                    </a:lnTo>
                    <a:lnTo>
                      <a:pt x="413" y="166"/>
                    </a:lnTo>
                    <a:lnTo>
                      <a:pt x="413" y="168"/>
                    </a:lnTo>
                    <a:lnTo>
                      <a:pt x="413" y="169"/>
                    </a:lnTo>
                    <a:lnTo>
                      <a:pt x="413" y="170"/>
                    </a:lnTo>
                    <a:lnTo>
                      <a:pt x="412" y="172"/>
                    </a:lnTo>
                    <a:lnTo>
                      <a:pt x="412" y="173"/>
                    </a:lnTo>
                    <a:lnTo>
                      <a:pt x="411" y="174"/>
                    </a:lnTo>
                    <a:lnTo>
                      <a:pt x="409" y="174"/>
                    </a:lnTo>
                    <a:lnTo>
                      <a:pt x="409" y="175"/>
                    </a:lnTo>
                    <a:lnTo>
                      <a:pt x="408" y="175"/>
                    </a:lnTo>
                    <a:lnTo>
                      <a:pt x="409" y="177"/>
                    </a:lnTo>
                    <a:lnTo>
                      <a:pt x="411" y="179"/>
                    </a:lnTo>
                    <a:lnTo>
                      <a:pt x="412" y="180"/>
                    </a:lnTo>
                    <a:lnTo>
                      <a:pt x="413" y="181"/>
                    </a:lnTo>
                    <a:lnTo>
                      <a:pt x="415" y="181"/>
                    </a:lnTo>
                    <a:lnTo>
                      <a:pt x="416" y="182"/>
                    </a:lnTo>
                    <a:lnTo>
                      <a:pt x="417" y="182"/>
                    </a:lnTo>
                    <a:lnTo>
                      <a:pt x="418" y="182"/>
                    </a:lnTo>
                    <a:lnTo>
                      <a:pt x="420" y="182"/>
                    </a:lnTo>
                    <a:lnTo>
                      <a:pt x="422" y="182"/>
                    </a:lnTo>
                    <a:lnTo>
                      <a:pt x="424" y="183"/>
                    </a:lnTo>
                    <a:lnTo>
                      <a:pt x="424" y="184"/>
                    </a:lnTo>
                    <a:lnTo>
                      <a:pt x="424" y="185"/>
                    </a:lnTo>
                    <a:lnTo>
                      <a:pt x="421" y="186"/>
                    </a:lnTo>
                    <a:lnTo>
                      <a:pt x="420" y="186"/>
                    </a:lnTo>
                    <a:lnTo>
                      <a:pt x="420" y="187"/>
                    </a:lnTo>
                    <a:lnTo>
                      <a:pt x="419" y="186"/>
                    </a:lnTo>
                    <a:lnTo>
                      <a:pt x="419" y="185"/>
                    </a:lnTo>
                    <a:lnTo>
                      <a:pt x="418" y="185"/>
                    </a:lnTo>
                    <a:lnTo>
                      <a:pt x="416" y="185"/>
                    </a:lnTo>
                    <a:lnTo>
                      <a:pt x="415" y="185"/>
                    </a:lnTo>
                    <a:lnTo>
                      <a:pt x="414" y="185"/>
                    </a:lnTo>
                    <a:lnTo>
                      <a:pt x="414" y="186"/>
                    </a:lnTo>
                    <a:lnTo>
                      <a:pt x="413" y="186"/>
                    </a:lnTo>
                    <a:lnTo>
                      <a:pt x="413" y="187"/>
                    </a:lnTo>
                    <a:lnTo>
                      <a:pt x="414" y="188"/>
                    </a:lnTo>
                    <a:lnTo>
                      <a:pt x="415" y="188"/>
                    </a:lnTo>
                    <a:lnTo>
                      <a:pt x="417" y="188"/>
                    </a:lnTo>
                    <a:lnTo>
                      <a:pt x="419" y="188"/>
                    </a:lnTo>
                    <a:lnTo>
                      <a:pt x="420" y="188"/>
                    </a:lnTo>
                    <a:lnTo>
                      <a:pt x="421" y="188"/>
                    </a:lnTo>
                    <a:lnTo>
                      <a:pt x="422" y="188"/>
                    </a:lnTo>
                    <a:lnTo>
                      <a:pt x="424" y="188"/>
                    </a:lnTo>
                    <a:lnTo>
                      <a:pt x="425" y="188"/>
                    </a:lnTo>
                    <a:lnTo>
                      <a:pt x="426" y="190"/>
                    </a:lnTo>
                    <a:lnTo>
                      <a:pt x="427" y="191"/>
                    </a:lnTo>
                    <a:lnTo>
                      <a:pt x="428" y="191"/>
                    </a:lnTo>
                    <a:lnTo>
                      <a:pt x="427" y="190"/>
                    </a:lnTo>
                    <a:lnTo>
                      <a:pt x="427" y="188"/>
                    </a:lnTo>
                    <a:lnTo>
                      <a:pt x="426" y="187"/>
                    </a:lnTo>
                    <a:lnTo>
                      <a:pt x="427" y="187"/>
                    </a:lnTo>
                    <a:lnTo>
                      <a:pt x="428" y="188"/>
                    </a:lnTo>
                    <a:lnTo>
                      <a:pt x="429" y="188"/>
                    </a:lnTo>
                    <a:lnTo>
                      <a:pt x="429" y="190"/>
                    </a:lnTo>
                    <a:lnTo>
                      <a:pt x="429" y="191"/>
                    </a:lnTo>
                    <a:lnTo>
                      <a:pt x="429" y="192"/>
                    </a:lnTo>
                    <a:lnTo>
                      <a:pt x="430" y="192"/>
                    </a:lnTo>
                    <a:lnTo>
                      <a:pt x="430" y="193"/>
                    </a:lnTo>
                    <a:lnTo>
                      <a:pt x="429" y="193"/>
                    </a:lnTo>
                    <a:lnTo>
                      <a:pt x="428" y="193"/>
                    </a:lnTo>
                    <a:lnTo>
                      <a:pt x="428" y="194"/>
                    </a:lnTo>
                    <a:lnTo>
                      <a:pt x="428" y="195"/>
                    </a:lnTo>
                    <a:lnTo>
                      <a:pt x="428" y="196"/>
                    </a:lnTo>
                    <a:lnTo>
                      <a:pt x="428" y="200"/>
                    </a:lnTo>
                    <a:lnTo>
                      <a:pt x="428" y="201"/>
                    </a:lnTo>
                    <a:lnTo>
                      <a:pt x="427" y="203"/>
                    </a:lnTo>
                    <a:lnTo>
                      <a:pt x="426" y="201"/>
                    </a:lnTo>
                    <a:lnTo>
                      <a:pt x="425" y="201"/>
                    </a:lnTo>
                    <a:lnTo>
                      <a:pt x="425" y="203"/>
                    </a:lnTo>
                    <a:lnTo>
                      <a:pt x="424" y="204"/>
                    </a:lnTo>
                    <a:lnTo>
                      <a:pt x="425" y="205"/>
                    </a:lnTo>
                    <a:lnTo>
                      <a:pt x="425" y="206"/>
                    </a:lnTo>
                    <a:lnTo>
                      <a:pt x="426" y="207"/>
                    </a:lnTo>
                    <a:lnTo>
                      <a:pt x="427" y="207"/>
                    </a:lnTo>
                    <a:lnTo>
                      <a:pt x="427" y="208"/>
                    </a:lnTo>
                    <a:lnTo>
                      <a:pt x="427" y="209"/>
                    </a:lnTo>
                    <a:lnTo>
                      <a:pt x="426" y="210"/>
                    </a:lnTo>
                    <a:lnTo>
                      <a:pt x="425" y="210"/>
                    </a:lnTo>
                    <a:lnTo>
                      <a:pt x="422" y="210"/>
                    </a:lnTo>
                    <a:lnTo>
                      <a:pt x="422" y="211"/>
                    </a:lnTo>
                    <a:lnTo>
                      <a:pt x="422" y="212"/>
                    </a:lnTo>
                    <a:lnTo>
                      <a:pt x="424" y="213"/>
                    </a:lnTo>
                    <a:lnTo>
                      <a:pt x="425" y="213"/>
                    </a:lnTo>
                    <a:lnTo>
                      <a:pt x="426" y="216"/>
                    </a:lnTo>
                    <a:lnTo>
                      <a:pt x="426" y="217"/>
                    </a:lnTo>
                    <a:lnTo>
                      <a:pt x="429" y="218"/>
                    </a:lnTo>
                    <a:lnTo>
                      <a:pt x="430" y="218"/>
                    </a:lnTo>
                    <a:lnTo>
                      <a:pt x="431" y="219"/>
                    </a:lnTo>
                    <a:lnTo>
                      <a:pt x="432" y="219"/>
                    </a:lnTo>
                    <a:lnTo>
                      <a:pt x="433" y="218"/>
                    </a:lnTo>
                    <a:lnTo>
                      <a:pt x="437" y="217"/>
                    </a:lnTo>
                    <a:lnTo>
                      <a:pt x="438" y="217"/>
                    </a:lnTo>
                    <a:lnTo>
                      <a:pt x="440" y="216"/>
                    </a:lnTo>
                    <a:lnTo>
                      <a:pt x="441" y="214"/>
                    </a:lnTo>
                    <a:lnTo>
                      <a:pt x="442" y="213"/>
                    </a:lnTo>
                    <a:lnTo>
                      <a:pt x="441" y="211"/>
                    </a:lnTo>
                    <a:lnTo>
                      <a:pt x="441" y="210"/>
                    </a:lnTo>
                    <a:lnTo>
                      <a:pt x="441" y="209"/>
                    </a:lnTo>
                    <a:lnTo>
                      <a:pt x="442" y="209"/>
                    </a:lnTo>
                    <a:lnTo>
                      <a:pt x="443" y="209"/>
                    </a:lnTo>
                    <a:lnTo>
                      <a:pt x="444" y="209"/>
                    </a:lnTo>
                    <a:lnTo>
                      <a:pt x="447" y="211"/>
                    </a:lnTo>
                    <a:lnTo>
                      <a:pt x="448" y="212"/>
                    </a:lnTo>
                    <a:lnTo>
                      <a:pt x="450" y="213"/>
                    </a:lnTo>
                    <a:lnTo>
                      <a:pt x="448" y="214"/>
                    </a:lnTo>
                    <a:lnTo>
                      <a:pt x="447" y="217"/>
                    </a:lnTo>
                    <a:lnTo>
                      <a:pt x="446" y="219"/>
                    </a:lnTo>
                    <a:lnTo>
                      <a:pt x="446" y="220"/>
                    </a:lnTo>
                    <a:lnTo>
                      <a:pt x="445" y="221"/>
                    </a:lnTo>
                    <a:lnTo>
                      <a:pt x="444" y="223"/>
                    </a:lnTo>
                    <a:lnTo>
                      <a:pt x="443" y="224"/>
                    </a:lnTo>
                    <a:lnTo>
                      <a:pt x="443" y="225"/>
                    </a:lnTo>
                    <a:lnTo>
                      <a:pt x="444" y="226"/>
                    </a:lnTo>
                    <a:lnTo>
                      <a:pt x="445" y="227"/>
                    </a:lnTo>
                    <a:lnTo>
                      <a:pt x="447" y="229"/>
                    </a:lnTo>
                    <a:lnTo>
                      <a:pt x="447" y="230"/>
                    </a:lnTo>
                    <a:lnTo>
                      <a:pt x="450" y="230"/>
                    </a:lnTo>
                    <a:lnTo>
                      <a:pt x="451" y="231"/>
                    </a:lnTo>
                    <a:lnTo>
                      <a:pt x="452" y="231"/>
                    </a:lnTo>
                    <a:lnTo>
                      <a:pt x="453" y="231"/>
                    </a:lnTo>
                    <a:lnTo>
                      <a:pt x="454" y="231"/>
                    </a:lnTo>
                    <a:lnTo>
                      <a:pt x="455" y="230"/>
                    </a:lnTo>
                    <a:lnTo>
                      <a:pt x="455" y="229"/>
                    </a:lnTo>
                    <a:lnTo>
                      <a:pt x="454" y="227"/>
                    </a:lnTo>
                    <a:lnTo>
                      <a:pt x="454" y="226"/>
                    </a:lnTo>
                    <a:lnTo>
                      <a:pt x="454" y="225"/>
                    </a:lnTo>
                    <a:lnTo>
                      <a:pt x="453" y="225"/>
                    </a:lnTo>
                    <a:lnTo>
                      <a:pt x="452" y="224"/>
                    </a:lnTo>
                    <a:lnTo>
                      <a:pt x="451" y="224"/>
                    </a:lnTo>
                    <a:lnTo>
                      <a:pt x="450" y="224"/>
                    </a:lnTo>
                    <a:lnTo>
                      <a:pt x="448" y="223"/>
                    </a:lnTo>
                    <a:lnTo>
                      <a:pt x="448" y="222"/>
                    </a:lnTo>
                    <a:lnTo>
                      <a:pt x="448" y="221"/>
                    </a:lnTo>
                    <a:lnTo>
                      <a:pt x="450" y="220"/>
                    </a:lnTo>
                    <a:lnTo>
                      <a:pt x="452" y="220"/>
                    </a:lnTo>
                    <a:lnTo>
                      <a:pt x="453" y="220"/>
                    </a:lnTo>
                    <a:lnTo>
                      <a:pt x="454" y="220"/>
                    </a:lnTo>
                    <a:lnTo>
                      <a:pt x="456" y="220"/>
                    </a:lnTo>
                    <a:lnTo>
                      <a:pt x="456" y="221"/>
                    </a:lnTo>
                    <a:lnTo>
                      <a:pt x="457" y="221"/>
                    </a:lnTo>
                    <a:lnTo>
                      <a:pt x="458" y="222"/>
                    </a:lnTo>
                    <a:lnTo>
                      <a:pt x="458" y="223"/>
                    </a:lnTo>
                    <a:lnTo>
                      <a:pt x="459" y="222"/>
                    </a:lnTo>
                    <a:lnTo>
                      <a:pt x="460" y="222"/>
                    </a:lnTo>
                    <a:lnTo>
                      <a:pt x="460" y="221"/>
                    </a:lnTo>
                    <a:lnTo>
                      <a:pt x="461" y="220"/>
                    </a:lnTo>
                    <a:lnTo>
                      <a:pt x="463" y="219"/>
                    </a:lnTo>
                    <a:lnTo>
                      <a:pt x="464" y="219"/>
                    </a:lnTo>
                    <a:lnTo>
                      <a:pt x="465" y="219"/>
                    </a:lnTo>
                    <a:lnTo>
                      <a:pt x="465" y="220"/>
                    </a:lnTo>
                    <a:lnTo>
                      <a:pt x="465" y="221"/>
                    </a:lnTo>
                    <a:lnTo>
                      <a:pt x="465" y="222"/>
                    </a:lnTo>
                    <a:lnTo>
                      <a:pt x="465" y="223"/>
                    </a:lnTo>
                    <a:lnTo>
                      <a:pt x="465" y="224"/>
                    </a:lnTo>
                    <a:lnTo>
                      <a:pt x="465" y="225"/>
                    </a:lnTo>
                    <a:lnTo>
                      <a:pt x="465" y="226"/>
                    </a:lnTo>
                    <a:lnTo>
                      <a:pt x="466" y="227"/>
                    </a:lnTo>
                    <a:lnTo>
                      <a:pt x="467" y="227"/>
                    </a:lnTo>
                    <a:lnTo>
                      <a:pt x="468" y="227"/>
                    </a:lnTo>
                    <a:lnTo>
                      <a:pt x="469" y="227"/>
                    </a:lnTo>
                    <a:lnTo>
                      <a:pt x="471" y="227"/>
                    </a:lnTo>
                    <a:lnTo>
                      <a:pt x="472" y="227"/>
                    </a:lnTo>
                    <a:lnTo>
                      <a:pt x="473" y="227"/>
                    </a:lnTo>
                    <a:lnTo>
                      <a:pt x="474" y="227"/>
                    </a:lnTo>
                    <a:lnTo>
                      <a:pt x="474" y="229"/>
                    </a:lnTo>
                    <a:lnTo>
                      <a:pt x="476" y="229"/>
                    </a:lnTo>
                    <a:lnTo>
                      <a:pt x="467" y="231"/>
                    </a:lnTo>
                    <a:lnTo>
                      <a:pt x="461" y="232"/>
                    </a:lnTo>
                    <a:lnTo>
                      <a:pt x="428" y="239"/>
                    </a:lnTo>
                    <a:lnTo>
                      <a:pt x="425" y="241"/>
                    </a:lnTo>
                    <a:lnTo>
                      <a:pt x="421" y="242"/>
                    </a:lnTo>
                    <a:lnTo>
                      <a:pt x="409" y="243"/>
                    </a:lnTo>
                    <a:lnTo>
                      <a:pt x="391" y="247"/>
                    </a:lnTo>
                    <a:lnTo>
                      <a:pt x="390" y="248"/>
                    </a:lnTo>
                    <a:lnTo>
                      <a:pt x="371" y="251"/>
                    </a:lnTo>
                    <a:lnTo>
                      <a:pt x="366" y="254"/>
                    </a:lnTo>
                    <a:lnTo>
                      <a:pt x="362" y="255"/>
                    </a:lnTo>
                    <a:lnTo>
                      <a:pt x="344" y="259"/>
                    </a:lnTo>
                    <a:lnTo>
                      <a:pt x="339" y="260"/>
                    </a:lnTo>
                    <a:lnTo>
                      <a:pt x="322" y="264"/>
                    </a:lnTo>
                    <a:lnTo>
                      <a:pt x="319" y="264"/>
                    </a:lnTo>
                    <a:lnTo>
                      <a:pt x="318" y="264"/>
                    </a:lnTo>
                    <a:lnTo>
                      <a:pt x="310" y="267"/>
                    </a:lnTo>
                    <a:lnTo>
                      <a:pt x="302" y="269"/>
                    </a:lnTo>
                    <a:lnTo>
                      <a:pt x="283" y="273"/>
                    </a:lnTo>
                    <a:lnTo>
                      <a:pt x="279" y="274"/>
                    </a:lnTo>
                    <a:lnTo>
                      <a:pt x="274" y="275"/>
                    </a:lnTo>
                    <a:lnTo>
                      <a:pt x="270" y="276"/>
                    </a:lnTo>
                    <a:lnTo>
                      <a:pt x="264" y="278"/>
                    </a:lnTo>
                    <a:lnTo>
                      <a:pt x="253" y="281"/>
                    </a:lnTo>
                    <a:lnTo>
                      <a:pt x="249" y="282"/>
                    </a:lnTo>
                    <a:lnTo>
                      <a:pt x="240" y="284"/>
                    </a:lnTo>
                    <a:lnTo>
                      <a:pt x="231" y="286"/>
                    </a:lnTo>
                    <a:lnTo>
                      <a:pt x="219" y="289"/>
                    </a:lnTo>
                    <a:lnTo>
                      <a:pt x="218" y="289"/>
                    </a:lnTo>
                    <a:lnTo>
                      <a:pt x="213" y="290"/>
                    </a:lnTo>
                    <a:lnTo>
                      <a:pt x="209" y="291"/>
                    </a:lnTo>
                    <a:lnTo>
                      <a:pt x="208" y="291"/>
                    </a:lnTo>
                    <a:lnTo>
                      <a:pt x="208" y="290"/>
                    </a:lnTo>
                    <a:lnTo>
                      <a:pt x="207" y="290"/>
                    </a:lnTo>
                    <a:lnTo>
                      <a:pt x="206" y="289"/>
                    </a:lnTo>
                    <a:lnTo>
                      <a:pt x="205" y="290"/>
                    </a:lnTo>
                    <a:lnTo>
                      <a:pt x="203" y="290"/>
                    </a:lnTo>
                    <a:lnTo>
                      <a:pt x="202" y="290"/>
                    </a:lnTo>
                    <a:lnTo>
                      <a:pt x="201" y="291"/>
                    </a:lnTo>
                    <a:lnTo>
                      <a:pt x="199" y="293"/>
                    </a:lnTo>
                    <a:lnTo>
                      <a:pt x="198" y="293"/>
                    </a:lnTo>
                    <a:lnTo>
                      <a:pt x="197" y="294"/>
                    </a:lnTo>
                    <a:lnTo>
                      <a:pt x="196" y="294"/>
                    </a:lnTo>
                    <a:lnTo>
                      <a:pt x="195" y="294"/>
                    </a:lnTo>
                    <a:lnTo>
                      <a:pt x="194" y="294"/>
                    </a:lnTo>
                    <a:lnTo>
                      <a:pt x="193" y="294"/>
                    </a:lnTo>
                    <a:lnTo>
                      <a:pt x="192" y="294"/>
                    </a:lnTo>
                    <a:lnTo>
                      <a:pt x="190" y="293"/>
                    </a:lnTo>
                    <a:lnTo>
                      <a:pt x="189" y="293"/>
                    </a:lnTo>
                    <a:lnTo>
                      <a:pt x="189" y="291"/>
                    </a:lnTo>
                    <a:lnTo>
                      <a:pt x="188" y="291"/>
                    </a:lnTo>
                    <a:lnTo>
                      <a:pt x="188" y="290"/>
                    </a:lnTo>
                    <a:lnTo>
                      <a:pt x="187" y="289"/>
                    </a:lnTo>
                    <a:lnTo>
                      <a:pt x="187" y="288"/>
                    </a:lnTo>
                    <a:lnTo>
                      <a:pt x="187" y="287"/>
                    </a:lnTo>
                    <a:lnTo>
                      <a:pt x="187" y="285"/>
                    </a:lnTo>
                    <a:lnTo>
                      <a:pt x="187" y="284"/>
                    </a:lnTo>
                    <a:lnTo>
                      <a:pt x="186" y="283"/>
                    </a:lnTo>
                    <a:lnTo>
                      <a:pt x="186" y="282"/>
                    </a:lnTo>
                    <a:lnTo>
                      <a:pt x="186" y="281"/>
                    </a:lnTo>
                    <a:lnTo>
                      <a:pt x="185" y="282"/>
                    </a:lnTo>
                    <a:lnTo>
                      <a:pt x="184" y="282"/>
                    </a:lnTo>
                    <a:lnTo>
                      <a:pt x="184" y="283"/>
                    </a:lnTo>
                    <a:lnTo>
                      <a:pt x="183" y="285"/>
                    </a:lnTo>
                    <a:lnTo>
                      <a:pt x="182" y="287"/>
                    </a:lnTo>
                    <a:lnTo>
                      <a:pt x="180" y="288"/>
                    </a:lnTo>
                    <a:lnTo>
                      <a:pt x="179" y="288"/>
                    </a:lnTo>
                    <a:lnTo>
                      <a:pt x="177" y="288"/>
                    </a:lnTo>
                    <a:lnTo>
                      <a:pt x="176" y="287"/>
                    </a:lnTo>
                    <a:lnTo>
                      <a:pt x="174" y="286"/>
                    </a:lnTo>
                    <a:lnTo>
                      <a:pt x="172" y="286"/>
                    </a:lnTo>
                    <a:lnTo>
                      <a:pt x="171" y="285"/>
                    </a:lnTo>
                    <a:lnTo>
                      <a:pt x="170" y="284"/>
                    </a:lnTo>
                    <a:lnTo>
                      <a:pt x="170" y="283"/>
                    </a:lnTo>
                    <a:lnTo>
                      <a:pt x="169" y="283"/>
                    </a:lnTo>
                    <a:lnTo>
                      <a:pt x="169" y="282"/>
                    </a:lnTo>
                    <a:lnTo>
                      <a:pt x="170" y="280"/>
                    </a:lnTo>
                    <a:lnTo>
                      <a:pt x="171" y="278"/>
                    </a:lnTo>
                    <a:lnTo>
                      <a:pt x="173" y="278"/>
                    </a:lnTo>
                    <a:lnTo>
                      <a:pt x="175" y="277"/>
                    </a:lnTo>
                    <a:lnTo>
                      <a:pt x="177" y="275"/>
                    </a:lnTo>
                    <a:lnTo>
                      <a:pt x="180" y="275"/>
                    </a:lnTo>
                    <a:lnTo>
                      <a:pt x="181" y="274"/>
                    </a:lnTo>
                    <a:lnTo>
                      <a:pt x="181" y="273"/>
                    </a:lnTo>
                    <a:lnTo>
                      <a:pt x="180" y="272"/>
                    </a:lnTo>
                    <a:lnTo>
                      <a:pt x="177" y="271"/>
                    </a:lnTo>
                    <a:lnTo>
                      <a:pt x="176" y="271"/>
                    </a:lnTo>
                    <a:lnTo>
                      <a:pt x="174" y="270"/>
                    </a:lnTo>
                    <a:lnTo>
                      <a:pt x="172" y="269"/>
                    </a:lnTo>
                    <a:lnTo>
                      <a:pt x="171" y="268"/>
                    </a:lnTo>
                    <a:lnTo>
                      <a:pt x="171" y="267"/>
                    </a:lnTo>
                    <a:lnTo>
                      <a:pt x="170" y="264"/>
                    </a:lnTo>
                    <a:lnTo>
                      <a:pt x="171" y="262"/>
                    </a:lnTo>
                    <a:lnTo>
                      <a:pt x="172" y="261"/>
                    </a:lnTo>
                    <a:lnTo>
                      <a:pt x="175" y="259"/>
                    </a:lnTo>
                    <a:lnTo>
                      <a:pt x="176" y="257"/>
                    </a:lnTo>
                    <a:lnTo>
                      <a:pt x="177" y="256"/>
                    </a:lnTo>
                    <a:lnTo>
                      <a:pt x="179" y="254"/>
                    </a:lnTo>
                    <a:lnTo>
                      <a:pt x="179" y="251"/>
                    </a:lnTo>
                    <a:lnTo>
                      <a:pt x="176" y="250"/>
                    </a:lnTo>
                    <a:lnTo>
                      <a:pt x="175" y="251"/>
                    </a:lnTo>
                    <a:lnTo>
                      <a:pt x="173" y="252"/>
                    </a:lnTo>
                    <a:lnTo>
                      <a:pt x="171" y="252"/>
                    </a:lnTo>
                    <a:lnTo>
                      <a:pt x="169" y="254"/>
                    </a:lnTo>
                    <a:lnTo>
                      <a:pt x="167" y="252"/>
                    </a:lnTo>
                    <a:lnTo>
                      <a:pt x="166" y="251"/>
                    </a:lnTo>
                    <a:lnTo>
                      <a:pt x="164" y="250"/>
                    </a:lnTo>
                    <a:lnTo>
                      <a:pt x="163" y="249"/>
                    </a:lnTo>
                    <a:lnTo>
                      <a:pt x="163" y="248"/>
                    </a:lnTo>
                    <a:lnTo>
                      <a:pt x="162" y="246"/>
                    </a:lnTo>
                    <a:lnTo>
                      <a:pt x="162" y="241"/>
                    </a:lnTo>
                    <a:lnTo>
                      <a:pt x="162" y="239"/>
                    </a:lnTo>
                    <a:lnTo>
                      <a:pt x="162" y="237"/>
                    </a:lnTo>
                    <a:lnTo>
                      <a:pt x="162" y="235"/>
                    </a:lnTo>
                    <a:lnTo>
                      <a:pt x="162" y="234"/>
                    </a:lnTo>
                    <a:lnTo>
                      <a:pt x="163" y="234"/>
                    </a:lnTo>
                    <a:lnTo>
                      <a:pt x="167" y="234"/>
                    </a:lnTo>
                    <a:lnTo>
                      <a:pt x="168" y="234"/>
                    </a:lnTo>
                    <a:lnTo>
                      <a:pt x="171" y="234"/>
                    </a:lnTo>
                    <a:lnTo>
                      <a:pt x="173" y="233"/>
                    </a:lnTo>
                    <a:lnTo>
                      <a:pt x="173" y="232"/>
                    </a:lnTo>
                    <a:lnTo>
                      <a:pt x="172" y="230"/>
                    </a:lnTo>
                    <a:lnTo>
                      <a:pt x="169" y="229"/>
                    </a:lnTo>
                    <a:lnTo>
                      <a:pt x="168" y="227"/>
                    </a:lnTo>
                    <a:lnTo>
                      <a:pt x="167" y="225"/>
                    </a:lnTo>
                    <a:lnTo>
                      <a:pt x="168" y="224"/>
                    </a:lnTo>
                    <a:lnTo>
                      <a:pt x="168" y="222"/>
                    </a:lnTo>
                    <a:lnTo>
                      <a:pt x="168" y="220"/>
                    </a:lnTo>
                    <a:lnTo>
                      <a:pt x="168" y="219"/>
                    </a:lnTo>
                    <a:lnTo>
                      <a:pt x="171" y="218"/>
                    </a:lnTo>
                    <a:lnTo>
                      <a:pt x="172" y="218"/>
                    </a:lnTo>
                    <a:lnTo>
                      <a:pt x="173" y="219"/>
                    </a:lnTo>
                    <a:lnTo>
                      <a:pt x="175" y="219"/>
                    </a:lnTo>
                    <a:lnTo>
                      <a:pt x="176" y="219"/>
                    </a:lnTo>
                    <a:lnTo>
                      <a:pt x="177" y="218"/>
                    </a:lnTo>
                    <a:lnTo>
                      <a:pt x="177" y="217"/>
                    </a:lnTo>
                    <a:lnTo>
                      <a:pt x="177" y="216"/>
                    </a:lnTo>
                    <a:lnTo>
                      <a:pt x="177" y="214"/>
                    </a:lnTo>
                    <a:lnTo>
                      <a:pt x="177" y="213"/>
                    </a:lnTo>
                    <a:lnTo>
                      <a:pt x="175" y="213"/>
                    </a:lnTo>
                    <a:lnTo>
                      <a:pt x="175" y="212"/>
                    </a:lnTo>
                    <a:lnTo>
                      <a:pt x="174" y="212"/>
                    </a:lnTo>
                    <a:lnTo>
                      <a:pt x="173" y="213"/>
                    </a:lnTo>
                    <a:lnTo>
                      <a:pt x="172" y="214"/>
                    </a:lnTo>
                    <a:lnTo>
                      <a:pt x="171" y="216"/>
                    </a:lnTo>
                    <a:lnTo>
                      <a:pt x="171" y="217"/>
                    </a:lnTo>
                    <a:lnTo>
                      <a:pt x="170" y="217"/>
                    </a:lnTo>
                    <a:lnTo>
                      <a:pt x="169" y="218"/>
                    </a:lnTo>
                    <a:lnTo>
                      <a:pt x="168" y="218"/>
                    </a:lnTo>
                    <a:lnTo>
                      <a:pt x="167" y="218"/>
                    </a:lnTo>
                    <a:lnTo>
                      <a:pt x="166" y="217"/>
                    </a:lnTo>
                    <a:lnTo>
                      <a:pt x="163" y="214"/>
                    </a:lnTo>
                    <a:lnTo>
                      <a:pt x="162" y="213"/>
                    </a:lnTo>
                    <a:lnTo>
                      <a:pt x="161" y="212"/>
                    </a:lnTo>
                    <a:lnTo>
                      <a:pt x="160" y="210"/>
                    </a:lnTo>
                    <a:lnTo>
                      <a:pt x="159" y="209"/>
                    </a:lnTo>
                    <a:lnTo>
                      <a:pt x="159" y="207"/>
                    </a:lnTo>
                    <a:lnTo>
                      <a:pt x="158" y="206"/>
                    </a:lnTo>
                    <a:lnTo>
                      <a:pt x="158" y="205"/>
                    </a:lnTo>
                    <a:lnTo>
                      <a:pt x="156" y="201"/>
                    </a:lnTo>
                    <a:lnTo>
                      <a:pt x="155" y="200"/>
                    </a:lnTo>
                    <a:lnTo>
                      <a:pt x="156" y="200"/>
                    </a:lnTo>
                    <a:lnTo>
                      <a:pt x="156" y="199"/>
                    </a:lnTo>
                    <a:lnTo>
                      <a:pt x="156" y="198"/>
                    </a:lnTo>
                    <a:lnTo>
                      <a:pt x="157" y="198"/>
                    </a:lnTo>
                    <a:lnTo>
                      <a:pt x="157" y="197"/>
                    </a:lnTo>
                    <a:lnTo>
                      <a:pt x="157" y="196"/>
                    </a:lnTo>
                    <a:lnTo>
                      <a:pt x="157" y="195"/>
                    </a:lnTo>
                    <a:lnTo>
                      <a:pt x="156" y="195"/>
                    </a:lnTo>
                    <a:lnTo>
                      <a:pt x="155" y="195"/>
                    </a:lnTo>
                    <a:lnTo>
                      <a:pt x="151" y="195"/>
                    </a:lnTo>
                    <a:lnTo>
                      <a:pt x="150" y="195"/>
                    </a:lnTo>
                    <a:lnTo>
                      <a:pt x="149" y="194"/>
                    </a:lnTo>
                    <a:lnTo>
                      <a:pt x="148" y="193"/>
                    </a:lnTo>
                    <a:lnTo>
                      <a:pt x="147" y="192"/>
                    </a:lnTo>
                    <a:lnTo>
                      <a:pt x="145" y="191"/>
                    </a:lnTo>
                    <a:lnTo>
                      <a:pt x="144" y="190"/>
                    </a:lnTo>
                    <a:lnTo>
                      <a:pt x="143" y="190"/>
                    </a:lnTo>
                    <a:lnTo>
                      <a:pt x="140" y="187"/>
                    </a:lnTo>
                    <a:lnTo>
                      <a:pt x="140" y="186"/>
                    </a:lnTo>
                    <a:lnTo>
                      <a:pt x="138" y="186"/>
                    </a:lnTo>
                    <a:lnTo>
                      <a:pt x="137" y="185"/>
                    </a:lnTo>
                    <a:lnTo>
                      <a:pt x="137" y="184"/>
                    </a:lnTo>
                    <a:lnTo>
                      <a:pt x="136" y="183"/>
                    </a:lnTo>
                    <a:lnTo>
                      <a:pt x="134" y="182"/>
                    </a:lnTo>
                    <a:lnTo>
                      <a:pt x="133" y="181"/>
                    </a:lnTo>
                    <a:lnTo>
                      <a:pt x="132" y="181"/>
                    </a:lnTo>
                    <a:lnTo>
                      <a:pt x="130" y="180"/>
                    </a:lnTo>
                    <a:lnTo>
                      <a:pt x="130" y="179"/>
                    </a:lnTo>
                    <a:lnTo>
                      <a:pt x="129" y="179"/>
                    </a:lnTo>
                    <a:lnTo>
                      <a:pt x="129" y="178"/>
                    </a:lnTo>
                    <a:lnTo>
                      <a:pt x="130" y="178"/>
                    </a:lnTo>
                    <a:lnTo>
                      <a:pt x="130" y="175"/>
                    </a:lnTo>
                    <a:lnTo>
                      <a:pt x="131" y="175"/>
                    </a:lnTo>
                    <a:lnTo>
                      <a:pt x="132" y="174"/>
                    </a:lnTo>
                    <a:lnTo>
                      <a:pt x="132" y="173"/>
                    </a:lnTo>
                    <a:lnTo>
                      <a:pt x="133" y="173"/>
                    </a:lnTo>
                    <a:lnTo>
                      <a:pt x="133" y="172"/>
                    </a:lnTo>
                    <a:lnTo>
                      <a:pt x="132" y="171"/>
                    </a:lnTo>
                    <a:lnTo>
                      <a:pt x="131" y="170"/>
                    </a:lnTo>
                    <a:lnTo>
                      <a:pt x="129" y="169"/>
                    </a:lnTo>
                    <a:lnTo>
                      <a:pt x="128" y="169"/>
                    </a:lnTo>
                    <a:lnTo>
                      <a:pt x="125" y="167"/>
                    </a:lnTo>
                    <a:lnTo>
                      <a:pt x="123" y="166"/>
                    </a:lnTo>
                    <a:lnTo>
                      <a:pt x="122" y="165"/>
                    </a:lnTo>
                    <a:lnTo>
                      <a:pt x="121" y="164"/>
                    </a:lnTo>
                    <a:lnTo>
                      <a:pt x="118" y="160"/>
                    </a:lnTo>
                    <a:lnTo>
                      <a:pt x="116" y="158"/>
                    </a:lnTo>
                    <a:lnTo>
                      <a:pt x="115" y="158"/>
                    </a:lnTo>
                    <a:lnTo>
                      <a:pt x="115" y="157"/>
                    </a:lnTo>
                    <a:lnTo>
                      <a:pt x="114" y="157"/>
                    </a:lnTo>
                    <a:lnTo>
                      <a:pt x="112" y="156"/>
                    </a:lnTo>
                    <a:lnTo>
                      <a:pt x="112" y="155"/>
                    </a:lnTo>
                    <a:lnTo>
                      <a:pt x="109" y="148"/>
                    </a:lnTo>
                    <a:lnTo>
                      <a:pt x="109" y="147"/>
                    </a:lnTo>
                    <a:lnTo>
                      <a:pt x="108" y="146"/>
                    </a:lnTo>
                    <a:lnTo>
                      <a:pt x="107" y="145"/>
                    </a:lnTo>
                    <a:lnTo>
                      <a:pt x="106" y="144"/>
                    </a:lnTo>
                    <a:lnTo>
                      <a:pt x="105" y="143"/>
                    </a:lnTo>
                    <a:lnTo>
                      <a:pt x="104" y="143"/>
                    </a:lnTo>
                    <a:lnTo>
                      <a:pt x="102" y="142"/>
                    </a:lnTo>
                    <a:lnTo>
                      <a:pt x="101" y="142"/>
                    </a:lnTo>
                    <a:lnTo>
                      <a:pt x="96" y="142"/>
                    </a:lnTo>
                    <a:lnTo>
                      <a:pt x="93" y="142"/>
                    </a:lnTo>
                    <a:lnTo>
                      <a:pt x="91" y="142"/>
                    </a:lnTo>
                    <a:lnTo>
                      <a:pt x="89" y="141"/>
                    </a:lnTo>
                    <a:lnTo>
                      <a:pt x="87" y="141"/>
                    </a:lnTo>
                    <a:lnTo>
                      <a:pt x="86" y="141"/>
                    </a:lnTo>
                    <a:lnTo>
                      <a:pt x="83" y="141"/>
                    </a:lnTo>
                    <a:lnTo>
                      <a:pt x="82" y="141"/>
                    </a:lnTo>
                    <a:lnTo>
                      <a:pt x="81" y="141"/>
                    </a:lnTo>
                    <a:lnTo>
                      <a:pt x="77" y="139"/>
                    </a:lnTo>
                    <a:lnTo>
                      <a:pt x="73" y="136"/>
                    </a:lnTo>
                    <a:lnTo>
                      <a:pt x="71" y="135"/>
                    </a:lnTo>
                    <a:lnTo>
                      <a:pt x="68" y="132"/>
                    </a:lnTo>
                    <a:lnTo>
                      <a:pt x="66" y="130"/>
                    </a:lnTo>
                    <a:lnTo>
                      <a:pt x="64" y="129"/>
                    </a:lnTo>
                    <a:lnTo>
                      <a:pt x="63" y="129"/>
                    </a:lnTo>
                    <a:lnTo>
                      <a:pt x="61" y="129"/>
                    </a:lnTo>
                    <a:lnTo>
                      <a:pt x="59" y="129"/>
                    </a:lnTo>
                    <a:lnTo>
                      <a:pt x="58" y="130"/>
                    </a:lnTo>
                    <a:lnTo>
                      <a:pt x="55" y="129"/>
                    </a:lnTo>
                    <a:lnTo>
                      <a:pt x="54" y="129"/>
                    </a:lnTo>
                    <a:lnTo>
                      <a:pt x="53" y="129"/>
                    </a:lnTo>
                    <a:lnTo>
                      <a:pt x="51" y="128"/>
                    </a:lnTo>
                    <a:lnTo>
                      <a:pt x="50" y="128"/>
                    </a:lnTo>
                    <a:lnTo>
                      <a:pt x="46" y="127"/>
                    </a:lnTo>
                    <a:lnTo>
                      <a:pt x="45" y="127"/>
                    </a:lnTo>
                    <a:lnTo>
                      <a:pt x="44" y="127"/>
                    </a:lnTo>
                    <a:lnTo>
                      <a:pt x="43" y="126"/>
                    </a:lnTo>
                    <a:lnTo>
                      <a:pt x="42" y="126"/>
                    </a:lnTo>
                    <a:lnTo>
                      <a:pt x="41" y="124"/>
                    </a:lnTo>
                    <a:lnTo>
                      <a:pt x="40" y="123"/>
                    </a:lnTo>
                    <a:lnTo>
                      <a:pt x="39" y="122"/>
                    </a:lnTo>
                    <a:lnTo>
                      <a:pt x="39" y="121"/>
                    </a:lnTo>
                    <a:lnTo>
                      <a:pt x="39" y="119"/>
                    </a:lnTo>
                    <a:lnTo>
                      <a:pt x="39" y="118"/>
                    </a:lnTo>
                    <a:lnTo>
                      <a:pt x="39" y="116"/>
                    </a:lnTo>
                    <a:lnTo>
                      <a:pt x="39" y="114"/>
                    </a:lnTo>
                    <a:lnTo>
                      <a:pt x="40" y="111"/>
                    </a:lnTo>
                    <a:lnTo>
                      <a:pt x="41" y="109"/>
                    </a:lnTo>
                    <a:lnTo>
                      <a:pt x="41" y="107"/>
                    </a:lnTo>
                    <a:lnTo>
                      <a:pt x="42" y="105"/>
                    </a:lnTo>
                    <a:lnTo>
                      <a:pt x="43" y="103"/>
                    </a:lnTo>
                    <a:lnTo>
                      <a:pt x="43" y="101"/>
                    </a:lnTo>
                    <a:lnTo>
                      <a:pt x="43" y="100"/>
                    </a:lnTo>
                    <a:lnTo>
                      <a:pt x="43" y="98"/>
                    </a:lnTo>
                    <a:lnTo>
                      <a:pt x="42" y="97"/>
                    </a:lnTo>
                    <a:lnTo>
                      <a:pt x="39" y="97"/>
                    </a:lnTo>
                    <a:lnTo>
                      <a:pt x="37" y="97"/>
                    </a:lnTo>
                    <a:lnTo>
                      <a:pt x="34" y="97"/>
                    </a:lnTo>
                    <a:lnTo>
                      <a:pt x="32" y="96"/>
                    </a:lnTo>
                    <a:lnTo>
                      <a:pt x="31" y="95"/>
                    </a:lnTo>
                    <a:lnTo>
                      <a:pt x="30" y="95"/>
                    </a:lnTo>
                    <a:lnTo>
                      <a:pt x="29" y="94"/>
                    </a:lnTo>
                    <a:lnTo>
                      <a:pt x="29" y="93"/>
                    </a:lnTo>
                    <a:lnTo>
                      <a:pt x="28" y="92"/>
                    </a:lnTo>
                    <a:lnTo>
                      <a:pt x="28" y="91"/>
                    </a:lnTo>
                    <a:lnTo>
                      <a:pt x="28" y="90"/>
                    </a:lnTo>
                    <a:lnTo>
                      <a:pt x="28" y="88"/>
                    </a:lnTo>
                    <a:lnTo>
                      <a:pt x="29" y="88"/>
                    </a:lnTo>
                    <a:lnTo>
                      <a:pt x="28" y="87"/>
                    </a:lnTo>
                    <a:lnTo>
                      <a:pt x="28" y="85"/>
                    </a:lnTo>
                    <a:lnTo>
                      <a:pt x="27" y="85"/>
                    </a:lnTo>
                    <a:lnTo>
                      <a:pt x="26" y="85"/>
                    </a:lnTo>
                    <a:lnTo>
                      <a:pt x="24" y="85"/>
                    </a:lnTo>
                    <a:lnTo>
                      <a:pt x="19" y="87"/>
                    </a:lnTo>
                    <a:lnTo>
                      <a:pt x="18" y="87"/>
                    </a:lnTo>
                    <a:lnTo>
                      <a:pt x="17" y="88"/>
                    </a:lnTo>
                    <a:lnTo>
                      <a:pt x="16" y="87"/>
                    </a:lnTo>
                    <a:lnTo>
                      <a:pt x="13" y="87"/>
                    </a:lnTo>
                    <a:lnTo>
                      <a:pt x="12" y="85"/>
                    </a:lnTo>
                    <a:lnTo>
                      <a:pt x="11" y="85"/>
                    </a:lnTo>
                    <a:lnTo>
                      <a:pt x="9" y="85"/>
                    </a:lnTo>
                    <a:lnTo>
                      <a:pt x="7" y="84"/>
                    </a:lnTo>
                    <a:lnTo>
                      <a:pt x="5" y="83"/>
                    </a:lnTo>
                    <a:lnTo>
                      <a:pt x="4" y="82"/>
                    </a:lnTo>
                    <a:lnTo>
                      <a:pt x="4" y="81"/>
                    </a:lnTo>
                    <a:lnTo>
                      <a:pt x="5" y="79"/>
                    </a:lnTo>
                    <a:lnTo>
                      <a:pt x="5" y="77"/>
                    </a:lnTo>
                    <a:lnTo>
                      <a:pt x="6" y="75"/>
                    </a:lnTo>
                    <a:lnTo>
                      <a:pt x="6" y="74"/>
                    </a:lnTo>
                    <a:lnTo>
                      <a:pt x="7" y="70"/>
                    </a:lnTo>
                    <a:lnTo>
                      <a:pt x="7" y="69"/>
                    </a:lnTo>
                    <a:lnTo>
                      <a:pt x="7" y="68"/>
                    </a:lnTo>
                    <a:lnTo>
                      <a:pt x="7" y="67"/>
                    </a:lnTo>
                    <a:lnTo>
                      <a:pt x="6" y="66"/>
                    </a:lnTo>
                    <a:lnTo>
                      <a:pt x="6" y="65"/>
                    </a:lnTo>
                    <a:lnTo>
                      <a:pt x="5" y="65"/>
                    </a:lnTo>
                    <a:lnTo>
                      <a:pt x="4" y="65"/>
                    </a:lnTo>
                    <a:lnTo>
                      <a:pt x="3" y="64"/>
                    </a:lnTo>
                    <a:lnTo>
                      <a:pt x="2" y="64"/>
                    </a:lnTo>
                    <a:lnTo>
                      <a:pt x="1" y="64"/>
                    </a:lnTo>
                    <a:lnTo>
                      <a:pt x="0" y="64"/>
                    </a:lnTo>
                    <a:lnTo>
                      <a:pt x="0" y="63"/>
                    </a:lnTo>
                    <a:lnTo>
                      <a:pt x="3" y="63"/>
                    </a:lnTo>
                    <a:lnTo>
                      <a:pt x="27" y="63"/>
                    </a:lnTo>
                    <a:lnTo>
                      <a:pt x="35" y="63"/>
                    </a:lnTo>
                    <a:lnTo>
                      <a:pt x="59" y="63"/>
                    </a:lnTo>
                    <a:lnTo>
                      <a:pt x="60" y="63"/>
                    </a:lnTo>
                    <a:lnTo>
                      <a:pt x="63" y="63"/>
                    </a:lnTo>
                    <a:lnTo>
                      <a:pt x="66" y="63"/>
                    </a:lnTo>
                    <a:lnTo>
                      <a:pt x="111" y="63"/>
                    </a:lnTo>
                    <a:lnTo>
                      <a:pt x="136" y="63"/>
                    </a:lnTo>
                    <a:lnTo>
                      <a:pt x="137" y="63"/>
                    </a:lnTo>
                    <a:lnTo>
                      <a:pt x="158" y="63"/>
                    </a:lnTo>
                    <a:lnTo>
                      <a:pt x="160" y="63"/>
                    </a:lnTo>
                    <a:lnTo>
                      <a:pt x="184" y="63"/>
                    </a:lnTo>
                    <a:lnTo>
                      <a:pt x="195" y="63"/>
                    </a:lnTo>
                    <a:lnTo>
                      <a:pt x="213" y="63"/>
                    </a:lnTo>
                    <a:lnTo>
                      <a:pt x="215" y="63"/>
                    </a:lnTo>
                    <a:lnTo>
                      <a:pt x="215" y="51"/>
                    </a:lnTo>
                    <a:lnTo>
                      <a:pt x="215" y="33"/>
                    </a:lnTo>
                    <a:lnTo>
                      <a:pt x="216" y="6"/>
                    </a:lnTo>
                    <a:lnTo>
                      <a:pt x="216" y="0"/>
                    </a:lnTo>
                    <a:lnTo>
                      <a:pt x="239" y="0"/>
                    </a:lnTo>
                    <a:lnTo>
                      <a:pt x="240" y="0"/>
                    </a:lnTo>
                    <a:lnTo>
                      <a:pt x="256" y="0"/>
                    </a:lnTo>
                    <a:lnTo>
                      <a:pt x="264" y="0"/>
                    </a:lnTo>
                    <a:lnTo>
                      <a:pt x="267" y="0"/>
                    </a:lnTo>
                    <a:lnTo>
                      <a:pt x="289" y="0"/>
                    </a:lnTo>
                    <a:lnTo>
                      <a:pt x="290" y="0"/>
                    </a:lnTo>
                    <a:lnTo>
                      <a:pt x="291" y="0"/>
                    </a:lnTo>
                    <a:lnTo>
                      <a:pt x="299" y="0"/>
                    </a:lnTo>
                    <a:lnTo>
                      <a:pt x="301" y="0"/>
                    </a:lnTo>
                    <a:lnTo>
                      <a:pt x="303" y="0"/>
                    </a:lnTo>
                    <a:lnTo>
                      <a:pt x="323" y="0"/>
                    </a:lnTo>
                    <a:lnTo>
                      <a:pt x="326" y="0"/>
                    </a:lnTo>
                    <a:lnTo>
                      <a:pt x="330" y="0"/>
                    </a:lnTo>
                    <a:lnTo>
                      <a:pt x="331" y="0"/>
                    </a:lnTo>
                    <a:lnTo>
                      <a:pt x="334" y="0"/>
                    </a:lnTo>
                    <a:lnTo>
                      <a:pt x="335" y="0"/>
                    </a:lnTo>
                    <a:lnTo>
                      <a:pt x="345" y="0"/>
                    </a:lnTo>
                    <a:lnTo>
                      <a:pt x="360" y="0"/>
                    </a:lnTo>
                    <a:lnTo>
                      <a:pt x="363" y="0"/>
                    </a:lnTo>
                    <a:lnTo>
                      <a:pt x="364" y="0"/>
                    </a:lnTo>
                    <a:lnTo>
                      <a:pt x="365" y="0"/>
                    </a:lnTo>
                    <a:lnTo>
                      <a:pt x="374" y="0"/>
                    </a:lnTo>
                    <a:close/>
                  </a:path>
                </a:pathLst>
              </a:custGeom>
              <a:solidFill>
                <a:srgbClr val="1F6BC5"/>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4" name="Freeform 312">
                <a:extLst>
                  <a:ext uri="{FF2B5EF4-FFF2-40B4-BE49-F238E27FC236}">
                    <a16:creationId xmlns:a16="http://schemas.microsoft.com/office/drawing/2014/main" id="{194B3B63-1821-72E8-1171-BBD84D8E6F13}"/>
                  </a:ext>
                </a:extLst>
              </p:cNvPr>
              <p:cNvSpPr>
                <a:spLocks/>
              </p:cNvSpPr>
              <p:nvPr/>
            </p:nvSpPr>
            <p:spPr bwMode="auto">
              <a:xfrm>
                <a:off x="2757488" y="2386013"/>
                <a:ext cx="369888" cy="690563"/>
              </a:xfrm>
              <a:custGeom>
                <a:avLst/>
                <a:gdLst>
                  <a:gd name="T0" fmla="*/ 230 w 233"/>
                  <a:gd name="T1" fmla="*/ 171 h 435"/>
                  <a:gd name="T2" fmla="*/ 230 w 233"/>
                  <a:gd name="T3" fmla="*/ 252 h 435"/>
                  <a:gd name="T4" fmla="*/ 230 w 233"/>
                  <a:gd name="T5" fmla="*/ 291 h 435"/>
                  <a:gd name="T6" fmla="*/ 230 w 233"/>
                  <a:gd name="T7" fmla="*/ 428 h 435"/>
                  <a:gd name="T8" fmla="*/ 222 w 233"/>
                  <a:gd name="T9" fmla="*/ 422 h 435"/>
                  <a:gd name="T10" fmla="*/ 204 w 233"/>
                  <a:gd name="T11" fmla="*/ 426 h 435"/>
                  <a:gd name="T12" fmla="*/ 186 w 233"/>
                  <a:gd name="T13" fmla="*/ 434 h 435"/>
                  <a:gd name="T14" fmla="*/ 185 w 233"/>
                  <a:gd name="T15" fmla="*/ 423 h 435"/>
                  <a:gd name="T16" fmla="*/ 186 w 233"/>
                  <a:gd name="T17" fmla="*/ 415 h 435"/>
                  <a:gd name="T18" fmla="*/ 184 w 233"/>
                  <a:gd name="T19" fmla="*/ 405 h 435"/>
                  <a:gd name="T20" fmla="*/ 175 w 233"/>
                  <a:gd name="T21" fmla="*/ 398 h 435"/>
                  <a:gd name="T22" fmla="*/ 167 w 233"/>
                  <a:gd name="T23" fmla="*/ 397 h 435"/>
                  <a:gd name="T24" fmla="*/ 164 w 233"/>
                  <a:gd name="T25" fmla="*/ 391 h 435"/>
                  <a:gd name="T26" fmla="*/ 155 w 233"/>
                  <a:gd name="T27" fmla="*/ 383 h 435"/>
                  <a:gd name="T28" fmla="*/ 143 w 233"/>
                  <a:gd name="T29" fmla="*/ 367 h 435"/>
                  <a:gd name="T30" fmla="*/ 138 w 233"/>
                  <a:gd name="T31" fmla="*/ 351 h 435"/>
                  <a:gd name="T32" fmla="*/ 134 w 233"/>
                  <a:gd name="T33" fmla="*/ 341 h 435"/>
                  <a:gd name="T34" fmla="*/ 134 w 233"/>
                  <a:gd name="T35" fmla="*/ 328 h 435"/>
                  <a:gd name="T36" fmla="*/ 123 w 233"/>
                  <a:gd name="T37" fmla="*/ 330 h 435"/>
                  <a:gd name="T38" fmla="*/ 108 w 233"/>
                  <a:gd name="T39" fmla="*/ 322 h 435"/>
                  <a:gd name="T40" fmla="*/ 100 w 233"/>
                  <a:gd name="T41" fmla="*/ 317 h 435"/>
                  <a:gd name="T42" fmla="*/ 91 w 233"/>
                  <a:gd name="T43" fmla="*/ 319 h 435"/>
                  <a:gd name="T44" fmla="*/ 85 w 233"/>
                  <a:gd name="T45" fmla="*/ 322 h 435"/>
                  <a:gd name="T46" fmla="*/ 82 w 233"/>
                  <a:gd name="T47" fmla="*/ 304 h 435"/>
                  <a:gd name="T48" fmla="*/ 66 w 233"/>
                  <a:gd name="T49" fmla="*/ 311 h 435"/>
                  <a:gd name="T50" fmla="*/ 65 w 233"/>
                  <a:gd name="T51" fmla="*/ 298 h 435"/>
                  <a:gd name="T52" fmla="*/ 69 w 233"/>
                  <a:gd name="T53" fmla="*/ 285 h 435"/>
                  <a:gd name="T54" fmla="*/ 59 w 233"/>
                  <a:gd name="T55" fmla="*/ 283 h 435"/>
                  <a:gd name="T56" fmla="*/ 61 w 233"/>
                  <a:gd name="T57" fmla="*/ 281 h 435"/>
                  <a:gd name="T58" fmla="*/ 49 w 233"/>
                  <a:gd name="T59" fmla="*/ 270 h 435"/>
                  <a:gd name="T60" fmla="*/ 44 w 233"/>
                  <a:gd name="T61" fmla="*/ 255 h 435"/>
                  <a:gd name="T62" fmla="*/ 47 w 233"/>
                  <a:gd name="T63" fmla="*/ 249 h 435"/>
                  <a:gd name="T64" fmla="*/ 25 w 233"/>
                  <a:gd name="T65" fmla="*/ 239 h 435"/>
                  <a:gd name="T66" fmla="*/ 1 w 233"/>
                  <a:gd name="T67" fmla="*/ 224 h 435"/>
                  <a:gd name="T68" fmla="*/ 10 w 233"/>
                  <a:gd name="T69" fmla="*/ 223 h 435"/>
                  <a:gd name="T70" fmla="*/ 18 w 233"/>
                  <a:gd name="T71" fmla="*/ 219 h 435"/>
                  <a:gd name="T72" fmla="*/ 18 w 233"/>
                  <a:gd name="T73" fmla="*/ 214 h 435"/>
                  <a:gd name="T74" fmla="*/ 10 w 233"/>
                  <a:gd name="T75" fmla="*/ 210 h 435"/>
                  <a:gd name="T76" fmla="*/ 11 w 233"/>
                  <a:gd name="T77" fmla="*/ 200 h 435"/>
                  <a:gd name="T78" fmla="*/ 13 w 233"/>
                  <a:gd name="T79" fmla="*/ 189 h 435"/>
                  <a:gd name="T80" fmla="*/ 21 w 233"/>
                  <a:gd name="T81" fmla="*/ 179 h 435"/>
                  <a:gd name="T82" fmla="*/ 19 w 233"/>
                  <a:gd name="T83" fmla="*/ 175 h 435"/>
                  <a:gd name="T84" fmla="*/ 17 w 233"/>
                  <a:gd name="T85" fmla="*/ 164 h 435"/>
                  <a:gd name="T86" fmla="*/ 7 w 233"/>
                  <a:gd name="T87" fmla="*/ 163 h 435"/>
                  <a:gd name="T88" fmla="*/ 10 w 233"/>
                  <a:gd name="T89" fmla="*/ 152 h 435"/>
                  <a:gd name="T90" fmla="*/ 16 w 233"/>
                  <a:gd name="T91" fmla="*/ 148 h 435"/>
                  <a:gd name="T92" fmla="*/ 21 w 233"/>
                  <a:gd name="T93" fmla="*/ 137 h 435"/>
                  <a:gd name="T94" fmla="*/ 23 w 233"/>
                  <a:gd name="T95" fmla="*/ 125 h 435"/>
                  <a:gd name="T96" fmla="*/ 25 w 233"/>
                  <a:gd name="T97" fmla="*/ 120 h 435"/>
                  <a:gd name="T98" fmla="*/ 21 w 233"/>
                  <a:gd name="T99" fmla="*/ 110 h 435"/>
                  <a:gd name="T100" fmla="*/ 13 w 233"/>
                  <a:gd name="T101" fmla="*/ 100 h 435"/>
                  <a:gd name="T102" fmla="*/ 16 w 233"/>
                  <a:gd name="T103" fmla="*/ 92 h 435"/>
                  <a:gd name="T104" fmla="*/ 20 w 233"/>
                  <a:gd name="T105" fmla="*/ 86 h 435"/>
                  <a:gd name="T106" fmla="*/ 27 w 233"/>
                  <a:gd name="T107" fmla="*/ 76 h 435"/>
                  <a:gd name="T108" fmla="*/ 27 w 233"/>
                  <a:gd name="T109" fmla="*/ 71 h 435"/>
                  <a:gd name="T110" fmla="*/ 30 w 233"/>
                  <a:gd name="T111" fmla="*/ 63 h 435"/>
                  <a:gd name="T112" fmla="*/ 30 w 233"/>
                  <a:gd name="T113" fmla="*/ 51 h 435"/>
                  <a:gd name="T114" fmla="*/ 38 w 233"/>
                  <a:gd name="T115" fmla="*/ 48 h 435"/>
                  <a:gd name="T116" fmla="*/ 36 w 233"/>
                  <a:gd name="T117" fmla="*/ 42 h 435"/>
                  <a:gd name="T118" fmla="*/ 38 w 233"/>
                  <a:gd name="T119" fmla="*/ 31 h 435"/>
                  <a:gd name="T120" fmla="*/ 41 w 233"/>
                  <a:gd name="T121" fmla="*/ 26 h 435"/>
                  <a:gd name="T122" fmla="*/ 113 w 233"/>
                  <a:gd name="T123"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 h="435">
                    <a:moveTo>
                      <a:pt x="233" y="0"/>
                    </a:moveTo>
                    <a:lnTo>
                      <a:pt x="232" y="22"/>
                    </a:lnTo>
                    <a:lnTo>
                      <a:pt x="232" y="38"/>
                    </a:lnTo>
                    <a:lnTo>
                      <a:pt x="232" y="46"/>
                    </a:lnTo>
                    <a:lnTo>
                      <a:pt x="232" y="58"/>
                    </a:lnTo>
                    <a:lnTo>
                      <a:pt x="232" y="95"/>
                    </a:lnTo>
                    <a:lnTo>
                      <a:pt x="230" y="95"/>
                    </a:lnTo>
                    <a:lnTo>
                      <a:pt x="230" y="103"/>
                    </a:lnTo>
                    <a:lnTo>
                      <a:pt x="230" y="128"/>
                    </a:lnTo>
                    <a:lnTo>
                      <a:pt x="230" y="131"/>
                    </a:lnTo>
                    <a:lnTo>
                      <a:pt x="230" y="140"/>
                    </a:lnTo>
                    <a:lnTo>
                      <a:pt x="230" y="142"/>
                    </a:lnTo>
                    <a:lnTo>
                      <a:pt x="230" y="164"/>
                    </a:lnTo>
                    <a:lnTo>
                      <a:pt x="230" y="170"/>
                    </a:lnTo>
                    <a:lnTo>
                      <a:pt x="230" y="171"/>
                    </a:lnTo>
                    <a:lnTo>
                      <a:pt x="230" y="176"/>
                    </a:lnTo>
                    <a:lnTo>
                      <a:pt x="230" y="193"/>
                    </a:lnTo>
                    <a:lnTo>
                      <a:pt x="230" y="218"/>
                    </a:lnTo>
                    <a:lnTo>
                      <a:pt x="230" y="223"/>
                    </a:lnTo>
                    <a:lnTo>
                      <a:pt x="230" y="224"/>
                    </a:lnTo>
                    <a:lnTo>
                      <a:pt x="230" y="225"/>
                    </a:lnTo>
                    <a:lnTo>
                      <a:pt x="230" y="226"/>
                    </a:lnTo>
                    <a:lnTo>
                      <a:pt x="230" y="229"/>
                    </a:lnTo>
                    <a:lnTo>
                      <a:pt x="230" y="230"/>
                    </a:lnTo>
                    <a:lnTo>
                      <a:pt x="230" y="231"/>
                    </a:lnTo>
                    <a:lnTo>
                      <a:pt x="230" y="232"/>
                    </a:lnTo>
                    <a:lnTo>
                      <a:pt x="230" y="243"/>
                    </a:lnTo>
                    <a:lnTo>
                      <a:pt x="230" y="246"/>
                    </a:lnTo>
                    <a:lnTo>
                      <a:pt x="230" y="250"/>
                    </a:lnTo>
                    <a:lnTo>
                      <a:pt x="230" y="252"/>
                    </a:lnTo>
                    <a:lnTo>
                      <a:pt x="230" y="257"/>
                    </a:lnTo>
                    <a:lnTo>
                      <a:pt x="230" y="265"/>
                    </a:lnTo>
                    <a:lnTo>
                      <a:pt x="230" y="272"/>
                    </a:lnTo>
                    <a:lnTo>
                      <a:pt x="230" y="274"/>
                    </a:lnTo>
                    <a:lnTo>
                      <a:pt x="230" y="275"/>
                    </a:lnTo>
                    <a:lnTo>
                      <a:pt x="230" y="276"/>
                    </a:lnTo>
                    <a:lnTo>
                      <a:pt x="230" y="278"/>
                    </a:lnTo>
                    <a:lnTo>
                      <a:pt x="230" y="279"/>
                    </a:lnTo>
                    <a:lnTo>
                      <a:pt x="230" y="280"/>
                    </a:lnTo>
                    <a:lnTo>
                      <a:pt x="230" y="281"/>
                    </a:lnTo>
                    <a:lnTo>
                      <a:pt x="230" y="282"/>
                    </a:lnTo>
                    <a:lnTo>
                      <a:pt x="230" y="285"/>
                    </a:lnTo>
                    <a:lnTo>
                      <a:pt x="230" y="287"/>
                    </a:lnTo>
                    <a:lnTo>
                      <a:pt x="230" y="289"/>
                    </a:lnTo>
                    <a:lnTo>
                      <a:pt x="230" y="291"/>
                    </a:lnTo>
                    <a:lnTo>
                      <a:pt x="230" y="302"/>
                    </a:lnTo>
                    <a:lnTo>
                      <a:pt x="230" y="305"/>
                    </a:lnTo>
                    <a:lnTo>
                      <a:pt x="230" y="307"/>
                    </a:lnTo>
                    <a:lnTo>
                      <a:pt x="230" y="315"/>
                    </a:lnTo>
                    <a:lnTo>
                      <a:pt x="230" y="358"/>
                    </a:lnTo>
                    <a:lnTo>
                      <a:pt x="230" y="380"/>
                    </a:lnTo>
                    <a:lnTo>
                      <a:pt x="230" y="383"/>
                    </a:lnTo>
                    <a:lnTo>
                      <a:pt x="230" y="385"/>
                    </a:lnTo>
                    <a:lnTo>
                      <a:pt x="230" y="397"/>
                    </a:lnTo>
                    <a:lnTo>
                      <a:pt x="230" y="399"/>
                    </a:lnTo>
                    <a:lnTo>
                      <a:pt x="230" y="402"/>
                    </a:lnTo>
                    <a:lnTo>
                      <a:pt x="230" y="419"/>
                    </a:lnTo>
                    <a:lnTo>
                      <a:pt x="230" y="426"/>
                    </a:lnTo>
                    <a:lnTo>
                      <a:pt x="230" y="427"/>
                    </a:lnTo>
                    <a:lnTo>
                      <a:pt x="230" y="428"/>
                    </a:lnTo>
                    <a:lnTo>
                      <a:pt x="230" y="433"/>
                    </a:lnTo>
                    <a:lnTo>
                      <a:pt x="228" y="433"/>
                    </a:lnTo>
                    <a:lnTo>
                      <a:pt x="228" y="432"/>
                    </a:lnTo>
                    <a:lnTo>
                      <a:pt x="227" y="432"/>
                    </a:lnTo>
                    <a:lnTo>
                      <a:pt x="226" y="431"/>
                    </a:lnTo>
                    <a:lnTo>
                      <a:pt x="225" y="431"/>
                    </a:lnTo>
                    <a:lnTo>
                      <a:pt x="223" y="431"/>
                    </a:lnTo>
                    <a:lnTo>
                      <a:pt x="222" y="430"/>
                    </a:lnTo>
                    <a:lnTo>
                      <a:pt x="222" y="429"/>
                    </a:lnTo>
                    <a:lnTo>
                      <a:pt x="222" y="428"/>
                    </a:lnTo>
                    <a:lnTo>
                      <a:pt x="223" y="428"/>
                    </a:lnTo>
                    <a:lnTo>
                      <a:pt x="222" y="427"/>
                    </a:lnTo>
                    <a:lnTo>
                      <a:pt x="221" y="426"/>
                    </a:lnTo>
                    <a:lnTo>
                      <a:pt x="221" y="424"/>
                    </a:lnTo>
                    <a:lnTo>
                      <a:pt x="222" y="422"/>
                    </a:lnTo>
                    <a:lnTo>
                      <a:pt x="221" y="421"/>
                    </a:lnTo>
                    <a:lnTo>
                      <a:pt x="220" y="421"/>
                    </a:lnTo>
                    <a:lnTo>
                      <a:pt x="219" y="420"/>
                    </a:lnTo>
                    <a:lnTo>
                      <a:pt x="217" y="420"/>
                    </a:lnTo>
                    <a:lnTo>
                      <a:pt x="216" y="420"/>
                    </a:lnTo>
                    <a:lnTo>
                      <a:pt x="215" y="421"/>
                    </a:lnTo>
                    <a:lnTo>
                      <a:pt x="214" y="421"/>
                    </a:lnTo>
                    <a:lnTo>
                      <a:pt x="213" y="421"/>
                    </a:lnTo>
                    <a:lnTo>
                      <a:pt x="212" y="421"/>
                    </a:lnTo>
                    <a:lnTo>
                      <a:pt x="211" y="422"/>
                    </a:lnTo>
                    <a:lnTo>
                      <a:pt x="211" y="423"/>
                    </a:lnTo>
                    <a:lnTo>
                      <a:pt x="211" y="424"/>
                    </a:lnTo>
                    <a:lnTo>
                      <a:pt x="210" y="426"/>
                    </a:lnTo>
                    <a:lnTo>
                      <a:pt x="209" y="426"/>
                    </a:lnTo>
                    <a:lnTo>
                      <a:pt x="204" y="426"/>
                    </a:lnTo>
                    <a:lnTo>
                      <a:pt x="203" y="426"/>
                    </a:lnTo>
                    <a:lnTo>
                      <a:pt x="201" y="427"/>
                    </a:lnTo>
                    <a:lnTo>
                      <a:pt x="198" y="429"/>
                    </a:lnTo>
                    <a:lnTo>
                      <a:pt x="197" y="430"/>
                    </a:lnTo>
                    <a:lnTo>
                      <a:pt x="196" y="430"/>
                    </a:lnTo>
                    <a:lnTo>
                      <a:pt x="194" y="432"/>
                    </a:lnTo>
                    <a:lnTo>
                      <a:pt x="193" y="432"/>
                    </a:lnTo>
                    <a:lnTo>
                      <a:pt x="191" y="432"/>
                    </a:lnTo>
                    <a:lnTo>
                      <a:pt x="189" y="432"/>
                    </a:lnTo>
                    <a:lnTo>
                      <a:pt x="188" y="433"/>
                    </a:lnTo>
                    <a:lnTo>
                      <a:pt x="188" y="434"/>
                    </a:lnTo>
                    <a:lnTo>
                      <a:pt x="188" y="435"/>
                    </a:lnTo>
                    <a:lnTo>
                      <a:pt x="187" y="435"/>
                    </a:lnTo>
                    <a:lnTo>
                      <a:pt x="186" y="435"/>
                    </a:lnTo>
                    <a:lnTo>
                      <a:pt x="186" y="434"/>
                    </a:lnTo>
                    <a:lnTo>
                      <a:pt x="186" y="433"/>
                    </a:lnTo>
                    <a:lnTo>
                      <a:pt x="186" y="431"/>
                    </a:lnTo>
                    <a:lnTo>
                      <a:pt x="186" y="430"/>
                    </a:lnTo>
                    <a:lnTo>
                      <a:pt x="185" y="430"/>
                    </a:lnTo>
                    <a:lnTo>
                      <a:pt x="184" y="430"/>
                    </a:lnTo>
                    <a:lnTo>
                      <a:pt x="184" y="429"/>
                    </a:lnTo>
                    <a:lnTo>
                      <a:pt x="184" y="428"/>
                    </a:lnTo>
                    <a:lnTo>
                      <a:pt x="184" y="427"/>
                    </a:lnTo>
                    <a:lnTo>
                      <a:pt x="183" y="427"/>
                    </a:lnTo>
                    <a:lnTo>
                      <a:pt x="182" y="426"/>
                    </a:lnTo>
                    <a:lnTo>
                      <a:pt x="182" y="424"/>
                    </a:lnTo>
                    <a:lnTo>
                      <a:pt x="182" y="423"/>
                    </a:lnTo>
                    <a:lnTo>
                      <a:pt x="183" y="423"/>
                    </a:lnTo>
                    <a:lnTo>
                      <a:pt x="184" y="423"/>
                    </a:lnTo>
                    <a:lnTo>
                      <a:pt x="185" y="423"/>
                    </a:lnTo>
                    <a:lnTo>
                      <a:pt x="186" y="423"/>
                    </a:lnTo>
                    <a:lnTo>
                      <a:pt x="187" y="423"/>
                    </a:lnTo>
                    <a:lnTo>
                      <a:pt x="187" y="422"/>
                    </a:lnTo>
                    <a:lnTo>
                      <a:pt x="188" y="422"/>
                    </a:lnTo>
                    <a:lnTo>
                      <a:pt x="189" y="422"/>
                    </a:lnTo>
                    <a:lnTo>
                      <a:pt x="190" y="421"/>
                    </a:lnTo>
                    <a:lnTo>
                      <a:pt x="191" y="421"/>
                    </a:lnTo>
                    <a:lnTo>
                      <a:pt x="191" y="420"/>
                    </a:lnTo>
                    <a:lnTo>
                      <a:pt x="190" y="419"/>
                    </a:lnTo>
                    <a:lnTo>
                      <a:pt x="189" y="417"/>
                    </a:lnTo>
                    <a:lnTo>
                      <a:pt x="188" y="418"/>
                    </a:lnTo>
                    <a:lnTo>
                      <a:pt x="187" y="418"/>
                    </a:lnTo>
                    <a:lnTo>
                      <a:pt x="187" y="417"/>
                    </a:lnTo>
                    <a:lnTo>
                      <a:pt x="186" y="416"/>
                    </a:lnTo>
                    <a:lnTo>
                      <a:pt x="186" y="415"/>
                    </a:lnTo>
                    <a:lnTo>
                      <a:pt x="187" y="415"/>
                    </a:lnTo>
                    <a:lnTo>
                      <a:pt x="188" y="415"/>
                    </a:lnTo>
                    <a:lnTo>
                      <a:pt x="189" y="415"/>
                    </a:lnTo>
                    <a:lnTo>
                      <a:pt x="189" y="414"/>
                    </a:lnTo>
                    <a:lnTo>
                      <a:pt x="189" y="413"/>
                    </a:lnTo>
                    <a:lnTo>
                      <a:pt x="188" y="413"/>
                    </a:lnTo>
                    <a:lnTo>
                      <a:pt x="188" y="411"/>
                    </a:lnTo>
                    <a:lnTo>
                      <a:pt x="187" y="411"/>
                    </a:lnTo>
                    <a:lnTo>
                      <a:pt x="186" y="411"/>
                    </a:lnTo>
                    <a:lnTo>
                      <a:pt x="185" y="410"/>
                    </a:lnTo>
                    <a:lnTo>
                      <a:pt x="185" y="409"/>
                    </a:lnTo>
                    <a:lnTo>
                      <a:pt x="185" y="408"/>
                    </a:lnTo>
                    <a:lnTo>
                      <a:pt x="185" y="407"/>
                    </a:lnTo>
                    <a:lnTo>
                      <a:pt x="185" y="405"/>
                    </a:lnTo>
                    <a:lnTo>
                      <a:pt x="184" y="405"/>
                    </a:lnTo>
                    <a:lnTo>
                      <a:pt x="183" y="404"/>
                    </a:lnTo>
                    <a:lnTo>
                      <a:pt x="182" y="405"/>
                    </a:lnTo>
                    <a:lnTo>
                      <a:pt x="181" y="405"/>
                    </a:lnTo>
                    <a:lnTo>
                      <a:pt x="181" y="404"/>
                    </a:lnTo>
                    <a:lnTo>
                      <a:pt x="180" y="404"/>
                    </a:lnTo>
                    <a:lnTo>
                      <a:pt x="180" y="405"/>
                    </a:lnTo>
                    <a:lnTo>
                      <a:pt x="178" y="404"/>
                    </a:lnTo>
                    <a:lnTo>
                      <a:pt x="178" y="403"/>
                    </a:lnTo>
                    <a:lnTo>
                      <a:pt x="178" y="402"/>
                    </a:lnTo>
                    <a:lnTo>
                      <a:pt x="177" y="402"/>
                    </a:lnTo>
                    <a:lnTo>
                      <a:pt x="177" y="401"/>
                    </a:lnTo>
                    <a:lnTo>
                      <a:pt x="177" y="399"/>
                    </a:lnTo>
                    <a:lnTo>
                      <a:pt x="176" y="399"/>
                    </a:lnTo>
                    <a:lnTo>
                      <a:pt x="176" y="398"/>
                    </a:lnTo>
                    <a:lnTo>
                      <a:pt x="175" y="398"/>
                    </a:lnTo>
                    <a:lnTo>
                      <a:pt x="174" y="397"/>
                    </a:lnTo>
                    <a:lnTo>
                      <a:pt x="173" y="397"/>
                    </a:lnTo>
                    <a:lnTo>
                      <a:pt x="173" y="396"/>
                    </a:lnTo>
                    <a:lnTo>
                      <a:pt x="172" y="396"/>
                    </a:lnTo>
                    <a:lnTo>
                      <a:pt x="172" y="397"/>
                    </a:lnTo>
                    <a:lnTo>
                      <a:pt x="171" y="396"/>
                    </a:lnTo>
                    <a:lnTo>
                      <a:pt x="171" y="397"/>
                    </a:lnTo>
                    <a:lnTo>
                      <a:pt x="170" y="397"/>
                    </a:lnTo>
                    <a:lnTo>
                      <a:pt x="170" y="398"/>
                    </a:lnTo>
                    <a:lnTo>
                      <a:pt x="169" y="399"/>
                    </a:lnTo>
                    <a:lnTo>
                      <a:pt x="168" y="398"/>
                    </a:lnTo>
                    <a:lnTo>
                      <a:pt x="168" y="399"/>
                    </a:lnTo>
                    <a:lnTo>
                      <a:pt x="168" y="398"/>
                    </a:lnTo>
                    <a:lnTo>
                      <a:pt x="167" y="398"/>
                    </a:lnTo>
                    <a:lnTo>
                      <a:pt x="167" y="397"/>
                    </a:lnTo>
                    <a:lnTo>
                      <a:pt x="167" y="398"/>
                    </a:lnTo>
                    <a:lnTo>
                      <a:pt x="165" y="398"/>
                    </a:lnTo>
                    <a:lnTo>
                      <a:pt x="165" y="397"/>
                    </a:lnTo>
                    <a:lnTo>
                      <a:pt x="164" y="397"/>
                    </a:lnTo>
                    <a:lnTo>
                      <a:pt x="164" y="396"/>
                    </a:lnTo>
                    <a:lnTo>
                      <a:pt x="163" y="396"/>
                    </a:lnTo>
                    <a:lnTo>
                      <a:pt x="163" y="395"/>
                    </a:lnTo>
                    <a:lnTo>
                      <a:pt x="162" y="395"/>
                    </a:lnTo>
                    <a:lnTo>
                      <a:pt x="161" y="394"/>
                    </a:lnTo>
                    <a:lnTo>
                      <a:pt x="162" y="394"/>
                    </a:lnTo>
                    <a:lnTo>
                      <a:pt x="162" y="393"/>
                    </a:lnTo>
                    <a:lnTo>
                      <a:pt x="163" y="393"/>
                    </a:lnTo>
                    <a:lnTo>
                      <a:pt x="163" y="392"/>
                    </a:lnTo>
                    <a:lnTo>
                      <a:pt x="164" y="392"/>
                    </a:lnTo>
                    <a:lnTo>
                      <a:pt x="164" y="391"/>
                    </a:lnTo>
                    <a:lnTo>
                      <a:pt x="165" y="391"/>
                    </a:lnTo>
                    <a:lnTo>
                      <a:pt x="165" y="390"/>
                    </a:lnTo>
                    <a:lnTo>
                      <a:pt x="164" y="390"/>
                    </a:lnTo>
                    <a:lnTo>
                      <a:pt x="163" y="390"/>
                    </a:lnTo>
                    <a:lnTo>
                      <a:pt x="163" y="389"/>
                    </a:lnTo>
                    <a:lnTo>
                      <a:pt x="162" y="389"/>
                    </a:lnTo>
                    <a:lnTo>
                      <a:pt x="161" y="389"/>
                    </a:lnTo>
                    <a:lnTo>
                      <a:pt x="159" y="389"/>
                    </a:lnTo>
                    <a:lnTo>
                      <a:pt x="158" y="389"/>
                    </a:lnTo>
                    <a:lnTo>
                      <a:pt x="157" y="388"/>
                    </a:lnTo>
                    <a:lnTo>
                      <a:pt x="157" y="386"/>
                    </a:lnTo>
                    <a:lnTo>
                      <a:pt x="156" y="385"/>
                    </a:lnTo>
                    <a:lnTo>
                      <a:pt x="155" y="385"/>
                    </a:lnTo>
                    <a:lnTo>
                      <a:pt x="155" y="384"/>
                    </a:lnTo>
                    <a:lnTo>
                      <a:pt x="155" y="383"/>
                    </a:lnTo>
                    <a:lnTo>
                      <a:pt x="153" y="383"/>
                    </a:lnTo>
                    <a:lnTo>
                      <a:pt x="153" y="382"/>
                    </a:lnTo>
                    <a:lnTo>
                      <a:pt x="151" y="381"/>
                    </a:lnTo>
                    <a:lnTo>
                      <a:pt x="150" y="380"/>
                    </a:lnTo>
                    <a:lnTo>
                      <a:pt x="148" y="379"/>
                    </a:lnTo>
                    <a:lnTo>
                      <a:pt x="147" y="378"/>
                    </a:lnTo>
                    <a:lnTo>
                      <a:pt x="145" y="377"/>
                    </a:lnTo>
                    <a:lnTo>
                      <a:pt x="144" y="376"/>
                    </a:lnTo>
                    <a:lnTo>
                      <a:pt x="144" y="375"/>
                    </a:lnTo>
                    <a:lnTo>
                      <a:pt x="144" y="373"/>
                    </a:lnTo>
                    <a:lnTo>
                      <a:pt x="143" y="372"/>
                    </a:lnTo>
                    <a:lnTo>
                      <a:pt x="144" y="370"/>
                    </a:lnTo>
                    <a:lnTo>
                      <a:pt x="144" y="369"/>
                    </a:lnTo>
                    <a:lnTo>
                      <a:pt x="143" y="368"/>
                    </a:lnTo>
                    <a:lnTo>
                      <a:pt x="143" y="367"/>
                    </a:lnTo>
                    <a:lnTo>
                      <a:pt x="142" y="365"/>
                    </a:lnTo>
                    <a:lnTo>
                      <a:pt x="138" y="364"/>
                    </a:lnTo>
                    <a:lnTo>
                      <a:pt x="138" y="363"/>
                    </a:lnTo>
                    <a:lnTo>
                      <a:pt x="138" y="362"/>
                    </a:lnTo>
                    <a:lnTo>
                      <a:pt x="138" y="360"/>
                    </a:lnTo>
                    <a:lnTo>
                      <a:pt x="138" y="359"/>
                    </a:lnTo>
                    <a:lnTo>
                      <a:pt x="137" y="357"/>
                    </a:lnTo>
                    <a:lnTo>
                      <a:pt x="137" y="356"/>
                    </a:lnTo>
                    <a:lnTo>
                      <a:pt x="136" y="356"/>
                    </a:lnTo>
                    <a:lnTo>
                      <a:pt x="136" y="355"/>
                    </a:lnTo>
                    <a:lnTo>
                      <a:pt x="136" y="354"/>
                    </a:lnTo>
                    <a:lnTo>
                      <a:pt x="136" y="353"/>
                    </a:lnTo>
                    <a:lnTo>
                      <a:pt x="137" y="352"/>
                    </a:lnTo>
                    <a:lnTo>
                      <a:pt x="137" y="351"/>
                    </a:lnTo>
                    <a:lnTo>
                      <a:pt x="138" y="351"/>
                    </a:lnTo>
                    <a:lnTo>
                      <a:pt x="138" y="350"/>
                    </a:lnTo>
                    <a:lnTo>
                      <a:pt x="138" y="349"/>
                    </a:lnTo>
                    <a:lnTo>
                      <a:pt x="139" y="349"/>
                    </a:lnTo>
                    <a:lnTo>
                      <a:pt x="140" y="347"/>
                    </a:lnTo>
                    <a:lnTo>
                      <a:pt x="140" y="346"/>
                    </a:lnTo>
                    <a:lnTo>
                      <a:pt x="140" y="345"/>
                    </a:lnTo>
                    <a:lnTo>
                      <a:pt x="140" y="344"/>
                    </a:lnTo>
                    <a:lnTo>
                      <a:pt x="140" y="343"/>
                    </a:lnTo>
                    <a:lnTo>
                      <a:pt x="139" y="343"/>
                    </a:lnTo>
                    <a:lnTo>
                      <a:pt x="139" y="342"/>
                    </a:lnTo>
                    <a:lnTo>
                      <a:pt x="138" y="342"/>
                    </a:lnTo>
                    <a:lnTo>
                      <a:pt x="137" y="342"/>
                    </a:lnTo>
                    <a:lnTo>
                      <a:pt x="136" y="341"/>
                    </a:lnTo>
                    <a:lnTo>
                      <a:pt x="135" y="341"/>
                    </a:lnTo>
                    <a:lnTo>
                      <a:pt x="134" y="341"/>
                    </a:lnTo>
                    <a:lnTo>
                      <a:pt x="133" y="340"/>
                    </a:lnTo>
                    <a:lnTo>
                      <a:pt x="132" y="340"/>
                    </a:lnTo>
                    <a:lnTo>
                      <a:pt x="132" y="339"/>
                    </a:lnTo>
                    <a:lnTo>
                      <a:pt x="132" y="338"/>
                    </a:lnTo>
                    <a:lnTo>
                      <a:pt x="133" y="337"/>
                    </a:lnTo>
                    <a:lnTo>
                      <a:pt x="134" y="336"/>
                    </a:lnTo>
                    <a:lnTo>
                      <a:pt x="135" y="334"/>
                    </a:lnTo>
                    <a:lnTo>
                      <a:pt x="136" y="333"/>
                    </a:lnTo>
                    <a:lnTo>
                      <a:pt x="137" y="332"/>
                    </a:lnTo>
                    <a:lnTo>
                      <a:pt x="137" y="331"/>
                    </a:lnTo>
                    <a:lnTo>
                      <a:pt x="136" y="331"/>
                    </a:lnTo>
                    <a:lnTo>
                      <a:pt x="135" y="330"/>
                    </a:lnTo>
                    <a:lnTo>
                      <a:pt x="135" y="329"/>
                    </a:lnTo>
                    <a:lnTo>
                      <a:pt x="135" y="328"/>
                    </a:lnTo>
                    <a:lnTo>
                      <a:pt x="134" y="328"/>
                    </a:lnTo>
                    <a:lnTo>
                      <a:pt x="133" y="329"/>
                    </a:lnTo>
                    <a:lnTo>
                      <a:pt x="132" y="330"/>
                    </a:lnTo>
                    <a:lnTo>
                      <a:pt x="131" y="330"/>
                    </a:lnTo>
                    <a:lnTo>
                      <a:pt x="130" y="330"/>
                    </a:lnTo>
                    <a:lnTo>
                      <a:pt x="129" y="330"/>
                    </a:lnTo>
                    <a:lnTo>
                      <a:pt x="127" y="329"/>
                    </a:lnTo>
                    <a:lnTo>
                      <a:pt x="126" y="328"/>
                    </a:lnTo>
                    <a:lnTo>
                      <a:pt x="126" y="327"/>
                    </a:lnTo>
                    <a:lnTo>
                      <a:pt x="125" y="326"/>
                    </a:lnTo>
                    <a:lnTo>
                      <a:pt x="124" y="326"/>
                    </a:lnTo>
                    <a:lnTo>
                      <a:pt x="123" y="326"/>
                    </a:lnTo>
                    <a:lnTo>
                      <a:pt x="123" y="327"/>
                    </a:lnTo>
                    <a:lnTo>
                      <a:pt x="123" y="328"/>
                    </a:lnTo>
                    <a:lnTo>
                      <a:pt x="123" y="329"/>
                    </a:lnTo>
                    <a:lnTo>
                      <a:pt x="123" y="330"/>
                    </a:lnTo>
                    <a:lnTo>
                      <a:pt x="122" y="330"/>
                    </a:lnTo>
                    <a:lnTo>
                      <a:pt x="121" y="331"/>
                    </a:lnTo>
                    <a:lnTo>
                      <a:pt x="120" y="331"/>
                    </a:lnTo>
                    <a:lnTo>
                      <a:pt x="119" y="331"/>
                    </a:lnTo>
                    <a:lnTo>
                      <a:pt x="118" y="330"/>
                    </a:lnTo>
                    <a:lnTo>
                      <a:pt x="117" y="327"/>
                    </a:lnTo>
                    <a:lnTo>
                      <a:pt x="116" y="325"/>
                    </a:lnTo>
                    <a:lnTo>
                      <a:pt x="116" y="324"/>
                    </a:lnTo>
                    <a:lnTo>
                      <a:pt x="114" y="324"/>
                    </a:lnTo>
                    <a:lnTo>
                      <a:pt x="114" y="322"/>
                    </a:lnTo>
                    <a:lnTo>
                      <a:pt x="113" y="322"/>
                    </a:lnTo>
                    <a:lnTo>
                      <a:pt x="112" y="322"/>
                    </a:lnTo>
                    <a:lnTo>
                      <a:pt x="111" y="322"/>
                    </a:lnTo>
                    <a:lnTo>
                      <a:pt x="109" y="322"/>
                    </a:lnTo>
                    <a:lnTo>
                      <a:pt x="108" y="322"/>
                    </a:lnTo>
                    <a:lnTo>
                      <a:pt x="107" y="322"/>
                    </a:lnTo>
                    <a:lnTo>
                      <a:pt x="106" y="322"/>
                    </a:lnTo>
                    <a:lnTo>
                      <a:pt x="105" y="321"/>
                    </a:lnTo>
                    <a:lnTo>
                      <a:pt x="105" y="320"/>
                    </a:lnTo>
                    <a:lnTo>
                      <a:pt x="105" y="319"/>
                    </a:lnTo>
                    <a:lnTo>
                      <a:pt x="105" y="318"/>
                    </a:lnTo>
                    <a:lnTo>
                      <a:pt x="105" y="317"/>
                    </a:lnTo>
                    <a:lnTo>
                      <a:pt x="105" y="316"/>
                    </a:lnTo>
                    <a:lnTo>
                      <a:pt x="105" y="315"/>
                    </a:lnTo>
                    <a:lnTo>
                      <a:pt x="105" y="314"/>
                    </a:lnTo>
                    <a:lnTo>
                      <a:pt x="104" y="314"/>
                    </a:lnTo>
                    <a:lnTo>
                      <a:pt x="103" y="314"/>
                    </a:lnTo>
                    <a:lnTo>
                      <a:pt x="101" y="315"/>
                    </a:lnTo>
                    <a:lnTo>
                      <a:pt x="100" y="316"/>
                    </a:lnTo>
                    <a:lnTo>
                      <a:pt x="100" y="317"/>
                    </a:lnTo>
                    <a:lnTo>
                      <a:pt x="99" y="317"/>
                    </a:lnTo>
                    <a:lnTo>
                      <a:pt x="98" y="318"/>
                    </a:lnTo>
                    <a:lnTo>
                      <a:pt x="98" y="317"/>
                    </a:lnTo>
                    <a:lnTo>
                      <a:pt x="97" y="316"/>
                    </a:lnTo>
                    <a:lnTo>
                      <a:pt x="96" y="316"/>
                    </a:lnTo>
                    <a:lnTo>
                      <a:pt x="96" y="315"/>
                    </a:lnTo>
                    <a:lnTo>
                      <a:pt x="94" y="315"/>
                    </a:lnTo>
                    <a:lnTo>
                      <a:pt x="93" y="315"/>
                    </a:lnTo>
                    <a:lnTo>
                      <a:pt x="92" y="315"/>
                    </a:lnTo>
                    <a:lnTo>
                      <a:pt x="90" y="315"/>
                    </a:lnTo>
                    <a:lnTo>
                      <a:pt x="88" y="316"/>
                    </a:lnTo>
                    <a:lnTo>
                      <a:pt x="88" y="317"/>
                    </a:lnTo>
                    <a:lnTo>
                      <a:pt x="88" y="318"/>
                    </a:lnTo>
                    <a:lnTo>
                      <a:pt x="90" y="319"/>
                    </a:lnTo>
                    <a:lnTo>
                      <a:pt x="91" y="319"/>
                    </a:lnTo>
                    <a:lnTo>
                      <a:pt x="92" y="319"/>
                    </a:lnTo>
                    <a:lnTo>
                      <a:pt x="93" y="320"/>
                    </a:lnTo>
                    <a:lnTo>
                      <a:pt x="94" y="320"/>
                    </a:lnTo>
                    <a:lnTo>
                      <a:pt x="94" y="321"/>
                    </a:lnTo>
                    <a:lnTo>
                      <a:pt x="94" y="322"/>
                    </a:lnTo>
                    <a:lnTo>
                      <a:pt x="95" y="324"/>
                    </a:lnTo>
                    <a:lnTo>
                      <a:pt x="95" y="325"/>
                    </a:lnTo>
                    <a:lnTo>
                      <a:pt x="94" y="326"/>
                    </a:lnTo>
                    <a:lnTo>
                      <a:pt x="93" y="326"/>
                    </a:lnTo>
                    <a:lnTo>
                      <a:pt x="92" y="326"/>
                    </a:lnTo>
                    <a:lnTo>
                      <a:pt x="91" y="326"/>
                    </a:lnTo>
                    <a:lnTo>
                      <a:pt x="90" y="325"/>
                    </a:lnTo>
                    <a:lnTo>
                      <a:pt x="87" y="325"/>
                    </a:lnTo>
                    <a:lnTo>
                      <a:pt x="87" y="324"/>
                    </a:lnTo>
                    <a:lnTo>
                      <a:pt x="85" y="322"/>
                    </a:lnTo>
                    <a:lnTo>
                      <a:pt x="84" y="321"/>
                    </a:lnTo>
                    <a:lnTo>
                      <a:pt x="83" y="320"/>
                    </a:lnTo>
                    <a:lnTo>
                      <a:pt x="83" y="319"/>
                    </a:lnTo>
                    <a:lnTo>
                      <a:pt x="84" y="318"/>
                    </a:lnTo>
                    <a:lnTo>
                      <a:pt x="85" y="316"/>
                    </a:lnTo>
                    <a:lnTo>
                      <a:pt x="86" y="315"/>
                    </a:lnTo>
                    <a:lnTo>
                      <a:pt x="86" y="314"/>
                    </a:lnTo>
                    <a:lnTo>
                      <a:pt x="87" y="312"/>
                    </a:lnTo>
                    <a:lnTo>
                      <a:pt x="88" y="309"/>
                    </a:lnTo>
                    <a:lnTo>
                      <a:pt x="90" y="308"/>
                    </a:lnTo>
                    <a:lnTo>
                      <a:pt x="88" y="307"/>
                    </a:lnTo>
                    <a:lnTo>
                      <a:pt x="87" y="306"/>
                    </a:lnTo>
                    <a:lnTo>
                      <a:pt x="84" y="304"/>
                    </a:lnTo>
                    <a:lnTo>
                      <a:pt x="83" y="304"/>
                    </a:lnTo>
                    <a:lnTo>
                      <a:pt x="82" y="304"/>
                    </a:lnTo>
                    <a:lnTo>
                      <a:pt x="81" y="304"/>
                    </a:lnTo>
                    <a:lnTo>
                      <a:pt x="81" y="305"/>
                    </a:lnTo>
                    <a:lnTo>
                      <a:pt x="81" y="306"/>
                    </a:lnTo>
                    <a:lnTo>
                      <a:pt x="82" y="308"/>
                    </a:lnTo>
                    <a:lnTo>
                      <a:pt x="81" y="309"/>
                    </a:lnTo>
                    <a:lnTo>
                      <a:pt x="80" y="311"/>
                    </a:lnTo>
                    <a:lnTo>
                      <a:pt x="78" y="312"/>
                    </a:lnTo>
                    <a:lnTo>
                      <a:pt x="77" y="312"/>
                    </a:lnTo>
                    <a:lnTo>
                      <a:pt x="73" y="313"/>
                    </a:lnTo>
                    <a:lnTo>
                      <a:pt x="72" y="314"/>
                    </a:lnTo>
                    <a:lnTo>
                      <a:pt x="71" y="314"/>
                    </a:lnTo>
                    <a:lnTo>
                      <a:pt x="70" y="313"/>
                    </a:lnTo>
                    <a:lnTo>
                      <a:pt x="69" y="313"/>
                    </a:lnTo>
                    <a:lnTo>
                      <a:pt x="66" y="312"/>
                    </a:lnTo>
                    <a:lnTo>
                      <a:pt x="66" y="311"/>
                    </a:lnTo>
                    <a:lnTo>
                      <a:pt x="65" y="308"/>
                    </a:lnTo>
                    <a:lnTo>
                      <a:pt x="64" y="308"/>
                    </a:lnTo>
                    <a:lnTo>
                      <a:pt x="62" y="307"/>
                    </a:lnTo>
                    <a:lnTo>
                      <a:pt x="62" y="306"/>
                    </a:lnTo>
                    <a:lnTo>
                      <a:pt x="62" y="305"/>
                    </a:lnTo>
                    <a:lnTo>
                      <a:pt x="65" y="305"/>
                    </a:lnTo>
                    <a:lnTo>
                      <a:pt x="66" y="305"/>
                    </a:lnTo>
                    <a:lnTo>
                      <a:pt x="67" y="304"/>
                    </a:lnTo>
                    <a:lnTo>
                      <a:pt x="67" y="303"/>
                    </a:lnTo>
                    <a:lnTo>
                      <a:pt x="67" y="302"/>
                    </a:lnTo>
                    <a:lnTo>
                      <a:pt x="66" y="302"/>
                    </a:lnTo>
                    <a:lnTo>
                      <a:pt x="65" y="301"/>
                    </a:lnTo>
                    <a:lnTo>
                      <a:pt x="65" y="300"/>
                    </a:lnTo>
                    <a:lnTo>
                      <a:pt x="64" y="299"/>
                    </a:lnTo>
                    <a:lnTo>
                      <a:pt x="65" y="298"/>
                    </a:lnTo>
                    <a:lnTo>
                      <a:pt x="65" y="296"/>
                    </a:lnTo>
                    <a:lnTo>
                      <a:pt x="66" y="296"/>
                    </a:lnTo>
                    <a:lnTo>
                      <a:pt x="67" y="298"/>
                    </a:lnTo>
                    <a:lnTo>
                      <a:pt x="68" y="296"/>
                    </a:lnTo>
                    <a:lnTo>
                      <a:pt x="68" y="295"/>
                    </a:lnTo>
                    <a:lnTo>
                      <a:pt x="68" y="291"/>
                    </a:lnTo>
                    <a:lnTo>
                      <a:pt x="68" y="290"/>
                    </a:lnTo>
                    <a:lnTo>
                      <a:pt x="68" y="289"/>
                    </a:lnTo>
                    <a:lnTo>
                      <a:pt x="68" y="288"/>
                    </a:lnTo>
                    <a:lnTo>
                      <a:pt x="69" y="288"/>
                    </a:lnTo>
                    <a:lnTo>
                      <a:pt x="70" y="288"/>
                    </a:lnTo>
                    <a:lnTo>
                      <a:pt x="70" y="287"/>
                    </a:lnTo>
                    <a:lnTo>
                      <a:pt x="69" y="287"/>
                    </a:lnTo>
                    <a:lnTo>
                      <a:pt x="69" y="286"/>
                    </a:lnTo>
                    <a:lnTo>
                      <a:pt x="69" y="285"/>
                    </a:lnTo>
                    <a:lnTo>
                      <a:pt x="69" y="283"/>
                    </a:lnTo>
                    <a:lnTo>
                      <a:pt x="68" y="283"/>
                    </a:lnTo>
                    <a:lnTo>
                      <a:pt x="67" y="282"/>
                    </a:lnTo>
                    <a:lnTo>
                      <a:pt x="66" y="282"/>
                    </a:lnTo>
                    <a:lnTo>
                      <a:pt x="67" y="283"/>
                    </a:lnTo>
                    <a:lnTo>
                      <a:pt x="67" y="285"/>
                    </a:lnTo>
                    <a:lnTo>
                      <a:pt x="68" y="286"/>
                    </a:lnTo>
                    <a:lnTo>
                      <a:pt x="67" y="286"/>
                    </a:lnTo>
                    <a:lnTo>
                      <a:pt x="66" y="285"/>
                    </a:lnTo>
                    <a:lnTo>
                      <a:pt x="65" y="283"/>
                    </a:lnTo>
                    <a:lnTo>
                      <a:pt x="64" y="283"/>
                    </a:lnTo>
                    <a:lnTo>
                      <a:pt x="62" y="283"/>
                    </a:lnTo>
                    <a:lnTo>
                      <a:pt x="61" y="283"/>
                    </a:lnTo>
                    <a:lnTo>
                      <a:pt x="60" y="283"/>
                    </a:lnTo>
                    <a:lnTo>
                      <a:pt x="59" y="283"/>
                    </a:lnTo>
                    <a:lnTo>
                      <a:pt x="57" y="283"/>
                    </a:lnTo>
                    <a:lnTo>
                      <a:pt x="55" y="283"/>
                    </a:lnTo>
                    <a:lnTo>
                      <a:pt x="54" y="283"/>
                    </a:lnTo>
                    <a:lnTo>
                      <a:pt x="53" y="282"/>
                    </a:lnTo>
                    <a:lnTo>
                      <a:pt x="53" y="281"/>
                    </a:lnTo>
                    <a:lnTo>
                      <a:pt x="54" y="281"/>
                    </a:lnTo>
                    <a:lnTo>
                      <a:pt x="54" y="280"/>
                    </a:lnTo>
                    <a:lnTo>
                      <a:pt x="55" y="280"/>
                    </a:lnTo>
                    <a:lnTo>
                      <a:pt x="56" y="280"/>
                    </a:lnTo>
                    <a:lnTo>
                      <a:pt x="58" y="280"/>
                    </a:lnTo>
                    <a:lnTo>
                      <a:pt x="59" y="280"/>
                    </a:lnTo>
                    <a:lnTo>
                      <a:pt x="59" y="281"/>
                    </a:lnTo>
                    <a:lnTo>
                      <a:pt x="60" y="282"/>
                    </a:lnTo>
                    <a:lnTo>
                      <a:pt x="60" y="281"/>
                    </a:lnTo>
                    <a:lnTo>
                      <a:pt x="61" y="281"/>
                    </a:lnTo>
                    <a:lnTo>
                      <a:pt x="64" y="280"/>
                    </a:lnTo>
                    <a:lnTo>
                      <a:pt x="64" y="279"/>
                    </a:lnTo>
                    <a:lnTo>
                      <a:pt x="64" y="278"/>
                    </a:lnTo>
                    <a:lnTo>
                      <a:pt x="62" y="277"/>
                    </a:lnTo>
                    <a:lnTo>
                      <a:pt x="60" y="277"/>
                    </a:lnTo>
                    <a:lnTo>
                      <a:pt x="58" y="277"/>
                    </a:lnTo>
                    <a:lnTo>
                      <a:pt x="57" y="277"/>
                    </a:lnTo>
                    <a:lnTo>
                      <a:pt x="56" y="277"/>
                    </a:lnTo>
                    <a:lnTo>
                      <a:pt x="55" y="276"/>
                    </a:lnTo>
                    <a:lnTo>
                      <a:pt x="53" y="276"/>
                    </a:lnTo>
                    <a:lnTo>
                      <a:pt x="52" y="275"/>
                    </a:lnTo>
                    <a:lnTo>
                      <a:pt x="51" y="274"/>
                    </a:lnTo>
                    <a:lnTo>
                      <a:pt x="49" y="272"/>
                    </a:lnTo>
                    <a:lnTo>
                      <a:pt x="48" y="270"/>
                    </a:lnTo>
                    <a:lnTo>
                      <a:pt x="49" y="270"/>
                    </a:lnTo>
                    <a:lnTo>
                      <a:pt x="49" y="269"/>
                    </a:lnTo>
                    <a:lnTo>
                      <a:pt x="51" y="269"/>
                    </a:lnTo>
                    <a:lnTo>
                      <a:pt x="52" y="268"/>
                    </a:lnTo>
                    <a:lnTo>
                      <a:pt x="52" y="267"/>
                    </a:lnTo>
                    <a:lnTo>
                      <a:pt x="53" y="265"/>
                    </a:lnTo>
                    <a:lnTo>
                      <a:pt x="53" y="264"/>
                    </a:lnTo>
                    <a:lnTo>
                      <a:pt x="53" y="263"/>
                    </a:lnTo>
                    <a:lnTo>
                      <a:pt x="53" y="261"/>
                    </a:lnTo>
                    <a:lnTo>
                      <a:pt x="52" y="260"/>
                    </a:lnTo>
                    <a:lnTo>
                      <a:pt x="51" y="259"/>
                    </a:lnTo>
                    <a:lnTo>
                      <a:pt x="48" y="257"/>
                    </a:lnTo>
                    <a:lnTo>
                      <a:pt x="47" y="257"/>
                    </a:lnTo>
                    <a:lnTo>
                      <a:pt x="46" y="256"/>
                    </a:lnTo>
                    <a:lnTo>
                      <a:pt x="45" y="255"/>
                    </a:lnTo>
                    <a:lnTo>
                      <a:pt x="44" y="255"/>
                    </a:lnTo>
                    <a:lnTo>
                      <a:pt x="43" y="255"/>
                    </a:lnTo>
                    <a:lnTo>
                      <a:pt x="42" y="257"/>
                    </a:lnTo>
                    <a:lnTo>
                      <a:pt x="41" y="257"/>
                    </a:lnTo>
                    <a:lnTo>
                      <a:pt x="40" y="257"/>
                    </a:lnTo>
                    <a:lnTo>
                      <a:pt x="40" y="256"/>
                    </a:lnTo>
                    <a:lnTo>
                      <a:pt x="39" y="255"/>
                    </a:lnTo>
                    <a:lnTo>
                      <a:pt x="38" y="253"/>
                    </a:lnTo>
                    <a:lnTo>
                      <a:pt x="38" y="252"/>
                    </a:lnTo>
                    <a:lnTo>
                      <a:pt x="39" y="252"/>
                    </a:lnTo>
                    <a:lnTo>
                      <a:pt x="40" y="252"/>
                    </a:lnTo>
                    <a:lnTo>
                      <a:pt x="42" y="252"/>
                    </a:lnTo>
                    <a:lnTo>
                      <a:pt x="43" y="252"/>
                    </a:lnTo>
                    <a:lnTo>
                      <a:pt x="45" y="251"/>
                    </a:lnTo>
                    <a:lnTo>
                      <a:pt x="46" y="250"/>
                    </a:lnTo>
                    <a:lnTo>
                      <a:pt x="47" y="249"/>
                    </a:lnTo>
                    <a:lnTo>
                      <a:pt x="48" y="247"/>
                    </a:lnTo>
                    <a:lnTo>
                      <a:pt x="48" y="246"/>
                    </a:lnTo>
                    <a:lnTo>
                      <a:pt x="48" y="244"/>
                    </a:lnTo>
                    <a:lnTo>
                      <a:pt x="47" y="243"/>
                    </a:lnTo>
                    <a:lnTo>
                      <a:pt x="46" y="243"/>
                    </a:lnTo>
                    <a:lnTo>
                      <a:pt x="45" y="243"/>
                    </a:lnTo>
                    <a:lnTo>
                      <a:pt x="43" y="243"/>
                    </a:lnTo>
                    <a:lnTo>
                      <a:pt x="42" y="243"/>
                    </a:lnTo>
                    <a:lnTo>
                      <a:pt x="39" y="243"/>
                    </a:lnTo>
                    <a:lnTo>
                      <a:pt x="36" y="242"/>
                    </a:lnTo>
                    <a:lnTo>
                      <a:pt x="35" y="242"/>
                    </a:lnTo>
                    <a:lnTo>
                      <a:pt x="32" y="241"/>
                    </a:lnTo>
                    <a:lnTo>
                      <a:pt x="29" y="240"/>
                    </a:lnTo>
                    <a:lnTo>
                      <a:pt x="26" y="239"/>
                    </a:lnTo>
                    <a:lnTo>
                      <a:pt x="25" y="239"/>
                    </a:lnTo>
                    <a:lnTo>
                      <a:pt x="23" y="238"/>
                    </a:lnTo>
                    <a:lnTo>
                      <a:pt x="22" y="237"/>
                    </a:lnTo>
                    <a:lnTo>
                      <a:pt x="21" y="237"/>
                    </a:lnTo>
                    <a:lnTo>
                      <a:pt x="19" y="236"/>
                    </a:lnTo>
                    <a:lnTo>
                      <a:pt x="15" y="234"/>
                    </a:lnTo>
                    <a:lnTo>
                      <a:pt x="13" y="232"/>
                    </a:lnTo>
                    <a:lnTo>
                      <a:pt x="10" y="230"/>
                    </a:lnTo>
                    <a:lnTo>
                      <a:pt x="8" y="229"/>
                    </a:lnTo>
                    <a:lnTo>
                      <a:pt x="7" y="228"/>
                    </a:lnTo>
                    <a:lnTo>
                      <a:pt x="6" y="227"/>
                    </a:lnTo>
                    <a:lnTo>
                      <a:pt x="6" y="226"/>
                    </a:lnTo>
                    <a:lnTo>
                      <a:pt x="5" y="226"/>
                    </a:lnTo>
                    <a:lnTo>
                      <a:pt x="4" y="225"/>
                    </a:lnTo>
                    <a:lnTo>
                      <a:pt x="2" y="224"/>
                    </a:lnTo>
                    <a:lnTo>
                      <a:pt x="1" y="224"/>
                    </a:lnTo>
                    <a:lnTo>
                      <a:pt x="1" y="223"/>
                    </a:lnTo>
                    <a:lnTo>
                      <a:pt x="0" y="223"/>
                    </a:lnTo>
                    <a:lnTo>
                      <a:pt x="0" y="222"/>
                    </a:lnTo>
                    <a:lnTo>
                      <a:pt x="1" y="221"/>
                    </a:lnTo>
                    <a:lnTo>
                      <a:pt x="2" y="221"/>
                    </a:lnTo>
                    <a:lnTo>
                      <a:pt x="3" y="222"/>
                    </a:lnTo>
                    <a:lnTo>
                      <a:pt x="3" y="223"/>
                    </a:lnTo>
                    <a:lnTo>
                      <a:pt x="4" y="223"/>
                    </a:lnTo>
                    <a:lnTo>
                      <a:pt x="5" y="222"/>
                    </a:lnTo>
                    <a:lnTo>
                      <a:pt x="6" y="223"/>
                    </a:lnTo>
                    <a:lnTo>
                      <a:pt x="7" y="224"/>
                    </a:lnTo>
                    <a:lnTo>
                      <a:pt x="8" y="224"/>
                    </a:lnTo>
                    <a:lnTo>
                      <a:pt x="9" y="224"/>
                    </a:lnTo>
                    <a:lnTo>
                      <a:pt x="10" y="224"/>
                    </a:lnTo>
                    <a:lnTo>
                      <a:pt x="10" y="223"/>
                    </a:lnTo>
                    <a:lnTo>
                      <a:pt x="10" y="221"/>
                    </a:lnTo>
                    <a:lnTo>
                      <a:pt x="10" y="219"/>
                    </a:lnTo>
                    <a:lnTo>
                      <a:pt x="10" y="218"/>
                    </a:lnTo>
                    <a:lnTo>
                      <a:pt x="10" y="217"/>
                    </a:lnTo>
                    <a:lnTo>
                      <a:pt x="10" y="216"/>
                    </a:lnTo>
                    <a:lnTo>
                      <a:pt x="11" y="216"/>
                    </a:lnTo>
                    <a:lnTo>
                      <a:pt x="13" y="216"/>
                    </a:lnTo>
                    <a:lnTo>
                      <a:pt x="14" y="217"/>
                    </a:lnTo>
                    <a:lnTo>
                      <a:pt x="14" y="218"/>
                    </a:lnTo>
                    <a:lnTo>
                      <a:pt x="14" y="219"/>
                    </a:lnTo>
                    <a:lnTo>
                      <a:pt x="15" y="219"/>
                    </a:lnTo>
                    <a:lnTo>
                      <a:pt x="16" y="218"/>
                    </a:lnTo>
                    <a:lnTo>
                      <a:pt x="17" y="218"/>
                    </a:lnTo>
                    <a:lnTo>
                      <a:pt x="18" y="218"/>
                    </a:lnTo>
                    <a:lnTo>
                      <a:pt x="18" y="219"/>
                    </a:lnTo>
                    <a:lnTo>
                      <a:pt x="19" y="219"/>
                    </a:lnTo>
                    <a:lnTo>
                      <a:pt x="20" y="219"/>
                    </a:lnTo>
                    <a:lnTo>
                      <a:pt x="20" y="218"/>
                    </a:lnTo>
                    <a:lnTo>
                      <a:pt x="20" y="217"/>
                    </a:lnTo>
                    <a:lnTo>
                      <a:pt x="20" y="216"/>
                    </a:lnTo>
                    <a:lnTo>
                      <a:pt x="21" y="216"/>
                    </a:lnTo>
                    <a:lnTo>
                      <a:pt x="22" y="216"/>
                    </a:lnTo>
                    <a:lnTo>
                      <a:pt x="23" y="216"/>
                    </a:lnTo>
                    <a:lnTo>
                      <a:pt x="23" y="215"/>
                    </a:lnTo>
                    <a:lnTo>
                      <a:pt x="23" y="214"/>
                    </a:lnTo>
                    <a:lnTo>
                      <a:pt x="22" y="214"/>
                    </a:lnTo>
                    <a:lnTo>
                      <a:pt x="21" y="215"/>
                    </a:lnTo>
                    <a:lnTo>
                      <a:pt x="20" y="215"/>
                    </a:lnTo>
                    <a:lnTo>
                      <a:pt x="19" y="215"/>
                    </a:lnTo>
                    <a:lnTo>
                      <a:pt x="18" y="214"/>
                    </a:lnTo>
                    <a:lnTo>
                      <a:pt x="19" y="212"/>
                    </a:lnTo>
                    <a:lnTo>
                      <a:pt x="19" y="211"/>
                    </a:lnTo>
                    <a:lnTo>
                      <a:pt x="19" y="210"/>
                    </a:lnTo>
                    <a:lnTo>
                      <a:pt x="18" y="210"/>
                    </a:lnTo>
                    <a:lnTo>
                      <a:pt x="17" y="210"/>
                    </a:lnTo>
                    <a:lnTo>
                      <a:pt x="16" y="211"/>
                    </a:lnTo>
                    <a:lnTo>
                      <a:pt x="15" y="211"/>
                    </a:lnTo>
                    <a:lnTo>
                      <a:pt x="14" y="213"/>
                    </a:lnTo>
                    <a:lnTo>
                      <a:pt x="11" y="214"/>
                    </a:lnTo>
                    <a:lnTo>
                      <a:pt x="10" y="214"/>
                    </a:lnTo>
                    <a:lnTo>
                      <a:pt x="9" y="214"/>
                    </a:lnTo>
                    <a:lnTo>
                      <a:pt x="9" y="213"/>
                    </a:lnTo>
                    <a:lnTo>
                      <a:pt x="9" y="211"/>
                    </a:lnTo>
                    <a:lnTo>
                      <a:pt x="10" y="211"/>
                    </a:lnTo>
                    <a:lnTo>
                      <a:pt x="10" y="210"/>
                    </a:lnTo>
                    <a:lnTo>
                      <a:pt x="11" y="210"/>
                    </a:lnTo>
                    <a:lnTo>
                      <a:pt x="11" y="209"/>
                    </a:lnTo>
                    <a:lnTo>
                      <a:pt x="10" y="209"/>
                    </a:lnTo>
                    <a:lnTo>
                      <a:pt x="10" y="208"/>
                    </a:lnTo>
                    <a:lnTo>
                      <a:pt x="11" y="208"/>
                    </a:lnTo>
                    <a:lnTo>
                      <a:pt x="14" y="208"/>
                    </a:lnTo>
                    <a:lnTo>
                      <a:pt x="14" y="206"/>
                    </a:lnTo>
                    <a:lnTo>
                      <a:pt x="15" y="205"/>
                    </a:lnTo>
                    <a:lnTo>
                      <a:pt x="15" y="204"/>
                    </a:lnTo>
                    <a:lnTo>
                      <a:pt x="15" y="203"/>
                    </a:lnTo>
                    <a:lnTo>
                      <a:pt x="14" y="202"/>
                    </a:lnTo>
                    <a:lnTo>
                      <a:pt x="11" y="201"/>
                    </a:lnTo>
                    <a:lnTo>
                      <a:pt x="10" y="201"/>
                    </a:lnTo>
                    <a:lnTo>
                      <a:pt x="10" y="200"/>
                    </a:lnTo>
                    <a:lnTo>
                      <a:pt x="11" y="200"/>
                    </a:lnTo>
                    <a:lnTo>
                      <a:pt x="11" y="199"/>
                    </a:lnTo>
                    <a:lnTo>
                      <a:pt x="14" y="198"/>
                    </a:lnTo>
                    <a:lnTo>
                      <a:pt x="14" y="197"/>
                    </a:lnTo>
                    <a:lnTo>
                      <a:pt x="13" y="196"/>
                    </a:lnTo>
                    <a:lnTo>
                      <a:pt x="11" y="196"/>
                    </a:lnTo>
                    <a:lnTo>
                      <a:pt x="11" y="195"/>
                    </a:lnTo>
                    <a:lnTo>
                      <a:pt x="9" y="195"/>
                    </a:lnTo>
                    <a:lnTo>
                      <a:pt x="9" y="193"/>
                    </a:lnTo>
                    <a:lnTo>
                      <a:pt x="10" y="193"/>
                    </a:lnTo>
                    <a:lnTo>
                      <a:pt x="11" y="193"/>
                    </a:lnTo>
                    <a:lnTo>
                      <a:pt x="13" y="195"/>
                    </a:lnTo>
                    <a:lnTo>
                      <a:pt x="14" y="193"/>
                    </a:lnTo>
                    <a:lnTo>
                      <a:pt x="14" y="192"/>
                    </a:lnTo>
                    <a:lnTo>
                      <a:pt x="13" y="190"/>
                    </a:lnTo>
                    <a:lnTo>
                      <a:pt x="13" y="189"/>
                    </a:lnTo>
                    <a:lnTo>
                      <a:pt x="11" y="188"/>
                    </a:lnTo>
                    <a:lnTo>
                      <a:pt x="11" y="187"/>
                    </a:lnTo>
                    <a:lnTo>
                      <a:pt x="13" y="186"/>
                    </a:lnTo>
                    <a:lnTo>
                      <a:pt x="11" y="185"/>
                    </a:lnTo>
                    <a:lnTo>
                      <a:pt x="11" y="184"/>
                    </a:lnTo>
                    <a:lnTo>
                      <a:pt x="13" y="184"/>
                    </a:lnTo>
                    <a:lnTo>
                      <a:pt x="14" y="183"/>
                    </a:lnTo>
                    <a:lnTo>
                      <a:pt x="15" y="183"/>
                    </a:lnTo>
                    <a:lnTo>
                      <a:pt x="15" y="184"/>
                    </a:lnTo>
                    <a:lnTo>
                      <a:pt x="15" y="185"/>
                    </a:lnTo>
                    <a:lnTo>
                      <a:pt x="16" y="186"/>
                    </a:lnTo>
                    <a:lnTo>
                      <a:pt x="17" y="186"/>
                    </a:lnTo>
                    <a:lnTo>
                      <a:pt x="18" y="185"/>
                    </a:lnTo>
                    <a:lnTo>
                      <a:pt x="19" y="183"/>
                    </a:lnTo>
                    <a:lnTo>
                      <a:pt x="21" y="179"/>
                    </a:lnTo>
                    <a:lnTo>
                      <a:pt x="21" y="178"/>
                    </a:lnTo>
                    <a:lnTo>
                      <a:pt x="20" y="178"/>
                    </a:lnTo>
                    <a:lnTo>
                      <a:pt x="19" y="178"/>
                    </a:lnTo>
                    <a:lnTo>
                      <a:pt x="19" y="179"/>
                    </a:lnTo>
                    <a:lnTo>
                      <a:pt x="18" y="179"/>
                    </a:lnTo>
                    <a:lnTo>
                      <a:pt x="17" y="179"/>
                    </a:lnTo>
                    <a:lnTo>
                      <a:pt x="16" y="179"/>
                    </a:lnTo>
                    <a:lnTo>
                      <a:pt x="16" y="178"/>
                    </a:lnTo>
                    <a:lnTo>
                      <a:pt x="15" y="177"/>
                    </a:lnTo>
                    <a:lnTo>
                      <a:pt x="16" y="177"/>
                    </a:lnTo>
                    <a:lnTo>
                      <a:pt x="16" y="176"/>
                    </a:lnTo>
                    <a:lnTo>
                      <a:pt x="17" y="176"/>
                    </a:lnTo>
                    <a:lnTo>
                      <a:pt x="18" y="176"/>
                    </a:lnTo>
                    <a:lnTo>
                      <a:pt x="18" y="175"/>
                    </a:lnTo>
                    <a:lnTo>
                      <a:pt x="19" y="175"/>
                    </a:lnTo>
                    <a:lnTo>
                      <a:pt x="19" y="174"/>
                    </a:lnTo>
                    <a:lnTo>
                      <a:pt x="20" y="174"/>
                    </a:lnTo>
                    <a:lnTo>
                      <a:pt x="21" y="174"/>
                    </a:lnTo>
                    <a:lnTo>
                      <a:pt x="22" y="173"/>
                    </a:lnTo>
                    <a:lnTo>
                      <a:pt x="22" y="172"/>
                    </a:lnTo>
                    <a:lnTo>
                      <a:pt x="23" y="171"/>
                    </a:lnTo>
                    <a:lnTo>
                      <a:pt x="23" y="170"/>
                    </a:lnTo>
                    <a:lnTo>
                      <a:pt x="22" y="169"/>
                    </a:lnTo>
                    <a:lnTo>
                      <a:pt x="22" y="167"/>
                    </a:lnTo>
                    <a:lnTo>
                      <a:pt x="22" y="166"/>
                    </a:lnTo>
                    <a:lnTo>
                      <a:pt x="21" y="166"/>
                    </a:lnTo>
                    <a:lnTo>
                      <a:pt x="20" y="165"/>
                    </a:lnTo>
                    <a:lnTo>
                      <a:pt x="19" y="165"/>
                    </a:lnTo>
                    <a:lnTo>
                      <a:pt x="18" y="164"/>
                    </a:lnTo>
                    <a:lnTo>
                      <a:pt x="17" y="164"/>
                    </a:lnTo>
                    <a:lnTo>
                      <a:pt x="16" y="165"/>
                    </a:lnTo>
                    <a:lnTo>
                      <a:pt x="16" y="166"/>
                    </a:lnTo>
                    <a:lnTo>
                      <a:pt x="16" y="167"/>
                    </a:lnTo>
                    <a:lnTo>
                      <a:pt x="15" y="167"/>
                    </a:lnTo>
                    <a:lnTo>
                      <a:pt x="14" y="167"/>
                    </a:lnTo>
                    <a:lnTo>
                      <a:pt x="13" y="166"/>
                    </a:lnTo>
                    <a:lnTo>
                      <a:pt x="13" y="165"/>
                    </a:lnTo>
                    <a:lnTo>
                      <a:pt x="13" y="164"/>
                    </a:lnTo>
                    <a:lnTo>
                      <a:pt x="14" y="163"/>
                    </a:lnTo>
                    <a:lnTo>
                      <a:pt x="13" y="162"/>
                    </a:lnTo>
                    <a:lnTo>
                      <a:pt x="11" y="163"/>
                    </a:lnTo>
                    <a:lnTo>
                      <a:pt x="10" y="163"/>
                    </a:lnTo>
                    <a:lnTo>
                      <a:pt x="9" y="164"/>
                    </a:lnTo>
                    <a:lnTo>
                      <a:pt x="8" y="164"/>
                    </a:lnTo>
                    <a:lnTo>
                      <a:pt x="7" y="163"/>
                    </a:lnTo>
                    <a:lnTo>
                      <a:pt x="7" y="162"/>
                    </a:lnTo>
                    <a:lnTo>
                      <a:pt x="8" y="161"/>
                    </a:lnTo>
                    <a:lnTo>
                      <a:pt x="7" y="160"/>
                    </a:lnTo>
                    <a:lnTo>
                      <a:pt x="8" y="160"/>
                    </a:lnTo>
                    <a:lnTo>
                      <a:pt x="9" y="159"/>
                    </a:lnTo>
                    <a:lnTo>
                      <a:pt x="9" y="158"/>
                    </a:lnTo>
                    <a:lnTo>
                      <a:pt x="9" y="157"/>
                    </a:lnTo>
                    <a:lnTo>
                      <a:pt x="10" y="157"/>
                    </a:lnTo>
                    <a:lnTo>
                      <a:pt x="10" y="155"/>
                    </a:lnTo>
                    <a:lnTo>
                      <a:pt x="10" y="154"/>
                    </a:lnTo>
                    <a:lnTo>
                      <a:pt x="9" y="154"/>
                    </a:lnTo>
                    <a:lnTo>
                      <a:pt x="8" y="153"/>
                    </a:lnTo>
                    <a:lnTo>
                      <a:pt x="9" y="153"/>
                    </a:lnTo>
                    <a:lnTo>
                      <a:pt x="9" y="152"/>
                    </a:lnTo>
                    <a:lnTo>
                      <a:pt x="10" y="152"/>
                    </a:lnTo>
                    <a:lnTo>
                      <a:pt x="10" y="151"/>
                    </a:lnTo>
                    <a:lnTo>
                      <a:pt x="9" y="150"/>
                    </a:lnTo>
                    <a:lnTo>
                      <a:pt x="9" y="149"/>
                    </a:lnTo>
                    <a:lnTo>
                      <a:pt x="9" y="148"/>
                    </a:lnTo>
                    <a:lnTo>
                      <a:pt x="10" y="148"/>
                    </a:lnTo>
                    <a:lnTo>
                      <a:pt x="11" y="149"/>
                    </a:lnTo>
                    <a:lnTo>
                      <a:pt x="13" y="149"/>
                    </a:lnTo>
                    <a:lnTo>
                      <a:pt x="13" y="147"/>
                    </a:lnTo>
                    <a:lnTo>
                      <a:pt x="13" y="146"/>
                    </a:lnTo>
                    <a:lnTo>
                      <a:pt x="13" y="147"/>
                    </a:lnTo>
                    <a:lnTo>
                      <a:pt x="13" y="148"/>
                    </a:lnTo>
                    <a:lnTo>
                      <a:pt x="14" y="148"/>
                    </a:lnTo>
                    <a:lnTo>
                      <a:pt x="14" y="149"/>
                    </a:lnTo>
                    <a:lnTo>
                      <a:pt x="15" y="149"/>
                    </a:lnTo>
                    <a:lnTo>
                      <a:pt x="16" y="148"/>
                    </a:lnTo>
                    <a:lnTo>
                      <a:pt x="17" y="147"/>
                    </a:lnTo>
                    <a:lnTo>
                      <a:pt x="17" y="146"/>
                    </a:lnTo>
                    <a:lnTo>
                      <a:pt x="18" y="145"/>
                    </a:lnTo>
                    <a:lnTo>
                      <a:pt x="18" y="144"/>
                    </a:lnTo>
                    <a:lnTo>
                      <a:pt x="18" y="142"/>
                    </a:lnTo>
                    <a:lnTo>
                      <a:pt x="17" y="142"/>
                    </a:lnTo>
                    <a:lnTo>
                      <a:pt x="16" y="142"/>
                    </a:lnTo>
                    <a:lnTo>
                      <a:pt x="16" y="141"/>
                    </a:lnTo>
                    <a:lnTo>
                      <a:pt x="16" y="140"/>
                    </a:lnTo>
                    <a:lnTo>
                      <a:pt x="17" y="138"/>
                    </a:lnTo>
                    <a:lnTo>
                      <a:pt x="18" y="138"/>
                    </a:lnTo>
                    <a:lnTo>
                      <a:pt x="19" y="138"/>
                    </a:lnTo>
                    <a:lnTo>
                      <a:pt x="20" y="138"/>
                    </a:lnTo>
                    <a:lnTo>
                      <a:pt x="21" y="138"/>
                    </a:lnTo>
                    <a:lnTo>
                      <a:pt x="21" y="137"/>
                    </a:lnTo>
                    <a:lnTo>
                      <a:pt x="19" y="136"/>
                    </a:lnTo>
                    <a:lnTo>
                      <a:pt x="18" y="136"/>
                    </a:lnTo>
                    <a:lnTo>
                      <a:pt x="18" y="135"/>
                    </a:lnTo>
                    <a:lnTo>
                      <a:pt x="16" y="134"/>
                    </a:lnTo>
                    <a:lnTo>
                      <a:pt x="16" y="133"/>
                    </a:lnTo>
                    <a:lnTo>
                      <a:pt x="17" y="133"/>
                    </a:lnTo>
                    <a:lnTo>
                      <a:pt x="17" y="132"/>
                    </a:lnTo>
                    <a:lnTo>
                      <a:pt x="18" y="131"/>
                    </a:lnTo>
                    <a:lnTo>
                      <a:pt x="19" y="131"/>
                    </a:lnTo>
                    <a:lnTo>
                      <a:pt x="20" y="129"/>
                    </a:lnTo>
                    <a:lnTo>
                      <a:pt x="20" y="128"/>
                    </a:lnTo>
                    <a:lnTo>
                      <a:pt x="21" y="127"/>
                    </a:lnTo>
                    <a:lnTo>
                      <a:pt x="22" y="126"/>
                    </a:lnTo>
                    <a:lnTo>
                      <a:pt x="23" y="126"/>
                    </a:lnTo>
                    <a:lnTo>
                      <a:pt x="23" y="125"/>
                    </a:lnTo>
                    <a:lnTo>
                      <a:pt x="25" y="125"/>
                    </a:lnTo>
                    <a:lnTo>
                      <a:pt x="26" y="125"/>
                    </a:lnTo>
                    <a:lnTo>
                      <a:pt x="27" y="125"/>
                    </a:lnTo>
                    <a:lnTo>
                      <a:pt x="28" y="125"/>
                    </a:lnTo>
                    <a:lnTo>
                      <a:pt x="28" y="124"/>
                    </a:lnTo>
                    <a:lnTo>
                      <a:pt x="29" y="123"/>
                    </a:lnTo>
                    <a:lnTo>
                      <a:pt x="29" y="122"/>
                    </a:lnTo>
                    <a:lnTo>
                      <a:pt x="29" y="121"/>
                    </a:lnTo>
                    <a:lnTo>
                      <a:pt x="28" y="120"/>
                    </a:lnTo>
                    <a:lnTo>
                      <a:pt x="27" y="120"/>
                    </a:lnTo>
                    <a:lnTo>
                      <a:pt x="26" y="120"/>
                    </a:lnTo>
                    <a:lnTo>
                      <a:pt x="26" y="121"/>
                    </a:lnTo>
                    <a:lnTo>
                      <a:pt x="25" y="122"/>
                    </a:lnTo>
                    <a:lnTo>
                      <a:pt x="25" y="121"/>
                    </a:lnTo>
                    <a:lnTo>
                      <a:pt x="25" y="120"/>
                    </a:lnTo>
                    <a:lnTo>
                      <a:pt x="23" y="120"/>
                    </a:lnTo>
                    <a:lnTo>
                      <a:pt x="22" y="119"/>
                    </a:lnTo>
                    <a:lnTo>
                      <a:pt x="22" y="118"/>
                    </a:lnTo>
                    <a:lnTo>
                      <a:pt x="23" y="118"/>
                    </a:lnTo>
                    <a:lnTo>
                      <a:pt x="25" y="118"/>
                    </a:lnTo>
                    <a:lnTo>
                      <a:pt x="25" y="116"/>
                    </a:lnTo>
                    <a:lnTo>
                      <a:pt x="25" y="115"/>
                    </a:lnTo>
                    <a:lnTo>
                      <a:pt x="25" y="114"/>
                    </a:lnTo>
                    <a:lnTo>
                      <a:pt x="23" y="114"/>
                    </a:lnTo>
                    <a:lnTo>
                      <a:pt x="22" y="114"/>
                    </a:lnTo>
                    <a:lnTo>
                      <a:pt x="22" y="113"/>
                    </a:lnTo>
                    <a:lnTo>
                      <a:pt x="22" y="112"/>
                    </a:lnTo>
                    <a:lnTo>
                      <a:pt x="21" y="112"/>
                    </a:lnTo>
                    <a:lnTo>
                      <a:pt x="21" y="111"/>
                    </a:lnTo>
                    <a:lnTo>
                      <a:pt x="21" y="110"/>
                    </a:lnTo>
                    <a:lnTo>
                      <a:pt x="21" y="109"/>
                    </a:lnTo>
                    <a:lnTo>
                      <a:pt x="20" y="109"/>
                    </a:lnTo>
                    <a:lnTo>
                      <a:pt x="20" y="108"/>
                    </a:lnTo>
                    <a:lnTo>
                      <a:pt x="19" y="107"/>
                    </a:lnTo>
                    <a:lnTo>
                      <a:pt x="18" y="108"/>
                    </a:lnTo>
                    <a:lnTo>
                      <a:pt x="17" y="108"/>
                    </a:lnTo>
                    <a:lnTo>
                      <a:pt x="16" y="107"/>
                    </a:lnTo>
                    <a:lnTo>
                      <a:pt x="15" y="107"/>
                    </a:lnTo>
                    <a:lnTo>
                      <a:pt x="15" y="106"/>
                    </a:lnTo>
                    <a:lnTo>
                      <a:pt x="14" y="106"/>
                    </a:lnTo>
                    <a:lnTo>
                      <a:pt x="14" y="105"/>
                    </a:lnTo>
                    <a:lnTo>
                      <a:pt x="14" y="103"/>
                    </a:lnTo>
                    <a:lnTo>
                      <a:pt x="14" y="102"/>
                    </a:lnTo>
                    <a:lnTo>
                      <a:pt x="13" y="101"/>
                    </a:lnTo>
                    <a:lnTo>
                      <a:pt x="13" y="100"/>
                    </a:lnTo>
                    <a:lnTo>
                      <a:pt x="13" y="99"/>
                    </a:lnTo>
                    <a:lnTo>
                      <a:pt x="14" y="99"/>
                    </a:lnTo>
                    <a:lnTo>
                      <a:pt x="14" y="98"/>
                    </a:lnTo>
                    <a:lnTo>
                      <a:pt x="15" y="98"/>
                    </a:lnTo>
                    <a:lnTo>
                      <a:pt x="14" y="97"/>
                    </a:lnTo>
                    <a:lnTo>
                      <a:pt x="14" y="96"/>
                    </a:lnTo>
                    <a:lnTo>
                      <a:pt x="14" y="95"/>
                    </a:lnTo>
                    <a:lnTo>
                      <a:pt x="14" y="94"/>
                    </a:lnTo>
                    <a:lnTo>
                      <a:pt x="15" y="94"/>
                    </a:lnTo>
                    <a:lnTo>
                      <a:pt x="16" y="94"/>
                    </a:lnTo>
                    <a:lnTo>
                      <a:pt x="16" y="93"/>
                    </a:lnTo>
                    <a:lnTo>
                      <a:pt x="14" y="93"/>
                    </a:lnTo>
                    <a:lnTo>
                      <a:pt x="14" y="92"/>
                    </a:lnTo>
                    <a:lnTo>
                      <a:pt x="15" y="92"/>
                    </a:lnTo>
                    <a:lnTo>
                      <a:pt x="16" y="92"/>
                    </a:lnTo>
                    <a:lnTo>
                      <a:pt x="16" y="90"/>
                    </a:lnTo>
                    <a:lnTo>
                      <a:pt x="17" y="90"/>
                    </a:lnTo>
                    <a:lnTo>
                      <a:pt x="17" y="89"/>
                    </a:lnTo>
                    <a:lnTo>
                      <a:pt x="17" y="88"/>
                    </a:lnTo>
                    <a:lnTo>
                      <a:pt x="16" y="88"/>
                    </a:lnTo>
                    <a:lnTo>
                      <a:pt x="15" y="88"/>
                    </a:lnTo>
                    <a:lnTo>
                      <a:pt x="14" y="88"/>
                    </a:lnTo>
                    <a:lnTo>
                      <a:pt x="14" y="87"/>
                    </a:lnTo>
                    <a:lnTo>
                      <a:pt x="14" y="86"/>
                    </a:lnTo>
                    <a:lnTo>
                      <a:pt x="15" y="86"/>
                    </a:lnTo>
                    <a:lnTo>
                      <a:pt x="17" y="86"/>
                    </a:lnTo>
                    <a:lnTo>
                      <a:pt x="17" y="85"/>
                    </a:lnTo>
                    <a:lnTo>
                      <a:pt x="18" y="86"/>
                    </a:lnTo>
                    <a:lnTo>
                      <a:pt x="19" y="86"/>
                    </a:lnTo>
                    <a:lnTo>
                      <a:pt x="20" y="86"/>
                    </a:lnTo>
                    <a:lnTo>
                      <a:pt x="22" y="85"/>
                    </a:lnTo>
                    <a:lnTo>
                      <a:pt x="22" y="84"/>
                    </a:lnTo>
                    <a:lnTo>
                      <a:pt x="22" y="83"/>
                    </a:lnTo>
                    <a:lnTo>
                      <a:pt x="23" y="82"/>
                    </a:lnTo>
                    <a:lnTo>
                      <a:pt x="26" y="81"/>
                    </a:lnTo>
                    <a:lnTo>
                      <a:pt x="27" y="82"/>
                    </a:lnTo>
                    <a:lnTo>
                      <a:pt x="27" y="83"/>
                    </a:lnTo>
                    <a:lnTo>
                      <a:pt x="27" y="82"/>
                    </a:lnTo>
                    <a:lnTo>
                      <a:pt x="27" y="81"/>
                    </a:lnTo>
                    <a:lnTo>
                      <a:pt x="28" y="80"/>
                    </a:lnTo>
                    <a:lnTo>
                      <a:pt x="28" y="79"/>
                    </a:lnTo>
                    <a:lnTo>
                      <a:pt x="27" y="80"/>
                    </a:lnTo>
                    <a:lnTo>
                      <a:pt x="26" y="79"/>
                    </a:lnTo>
                    <a:lnTo>
                      <a:pt x="27" y="77"/>
                    </a:lnTo>
                    <a:lnTo>
                      <a:pt x="27" y="76"/>
                    </a:lnTo>
                    <a:lnTo>
                      <a:pt x="26" y="76"/>
                    </a:lnTo>
                    <a:lnTo>
                      <a:pt x="26" y="75"/>
                    </a:lnTo>
                    <a:lnTo>
                      <a:pt x="27" y="74"/>
                    </a:lnTo>
                    <a:lnTo>
                      <a:pt x="28" y="74"/>
                    </a:lnTo>
                    <a:lnTo>
                      <a:pt x="28" y="75"/>
                    </a:lnTo>
                    <a:lnTo>
                      <a:pt x="28" y="76"/>
                    </a:lnTo>
                    <a:lnTo>
                      <a:pt x="29" y="76"/>
                    </a:lnTo>
                    <a:lnTo>
                      <a:pt x="30" y="76"/>
                    </a:lnTo>
                    <a:lnTo>
                      <a:pt x="30" y="75"/>
                    </a:lnTo>
                    <a:lnTo>
                      <a:pt x="29" y="75"/>
                    </a:lnTo>
                    <a:lnTo>
                      <a:pt x="29" y="74"/>
                    </a:lnTo>
                    <a:lnTo>
                      <a:pt x="28" y="73"/>
                    </a:lnTo>
                    <a:lnTo>
                      <a:pt x="27" y="73"/>
                    </a:lnTo>
                    <a:lnTo>
                      <a:pt x="27" y="72"/>
                    </a:lnTo>
                    <a:lnTo>
                      <a:pt x="27" y="71"/>
                    </a:lnTo>
                    <a:lnTo>
                      <a:pt x="27" y="70"/>
                    </a:lnTo>
                    <a:lnTo>
                      <a:pt x="27" y="69"/>
                    </a:lnTo>
                    <a:lnTo>
                      <a:pt x="28" y="69"/>
                    </a:lnTo>
                    <a:lnTo>
                      <a:pt x="29" y="69"/>
                    </a:lnTo>
                    <a:lnTo>
                      <a:pt x="29" y="68"/>
                    </a:lnTo>
                    <a:lnTo>
                      <a:pt x="28" y="68"/>
                    </a:lnTo>
                    <a:lnTo>
                      <a:pt x="28" y="67"/>
                    </a:lnTo>
                    <a:lnTo>
                      <a:pt x="29" y="67"/>
                    </a:lnTo>
                    <a:lnTo>
                      <a:pt x="30" y="65"/>
                    </a:lnTo>
                    <a:lnTo>
                      <a:pt x="31" y="65"/>
                    </a:lnTo>
                    <a:lnTo>
                      <a:pt x="31" y="64"/>
                    </a:lnTo>
                    <a:lnTo>
                      <a:pt x="31" y="63"/>
                    </a:lnTo>
                    <a:lnTo>
                      <a:pt x="31" y="64"/>
                    </a:lnTo>
                    <a:lnTo>
                      <a:pt x="30" y="64"/>
                    </a:lnTo>
                    <a:lnTo>
                      <a:pt x="30" y="63"/>
                    </a:lnTo>
                    <a:lnTo>
                      <a:pt x="30" y="62"/>
                    </a:lnTo>
                    <a:lnTo>
                      <a:pt x="31" y="61"/>
                    </a:lnTo>
                    <a:lnTo>
                      <a:pt x="31" y="60"/>
                    </a:lnTo>
                    <a:lnTo>
                      <a:pt x="32" y="59"/>
                    </a:lnTo>
                    <a:lnTo>
                      <a:pt x="32" y="58"/>
                    </a:lnTo>
                    <a:lnTo>
                      <a:pt x="34" y="58"/>
                    </a:lnTo>
                    <a:lnTo>
                      <a:pt x="34" y="57"/>
                    </a:lnTo>
                    <a:lnTo>
                      <a:pt x="33" y="57"/>
                    </a:lnTo>
                    <a:lnTo>
                      <a:pt x="32" y="57"/>
                    </a:lnTo>
                    <a:lnTo>
                      <a:pt x="30" y="56"/>
                    </a:lnTo>
                    <a:lnTo>
                      <a:pt x="29" y="55"/>
                    </a:lnTo>
                    <a:lnTo>
                      <a:pt x="29" y="54"/>
                    </a:lnTo>
                    <a:lnTo>
                      <a:pt x="29" y="52"/>
                    </a:lnTo>
                    <a:lnTo>
                      <a:pt x="30" y="52"/>
                    </a:lnTo>
                    <a:lnTo>
                      <a:pt x="30" y="51"/>
                    </a:lnTo>
                    <a:lnTo>
                      <a:pt x="31" y="51"/>
                    </a:lnTo>
                    <a:lnTo>
                      <a:pt x="31" y="50"/>
                    </a:lnTo>
                    <a:lnTo>
                      <a:pt x="32" y="49"/>
                    </a:lnTo>
                    <a:lnTo>
                      <a:pt x="32" y="50"/>
                    </a:lnTo>
                    <a:lnTo>
                      <a:pt x="33" y="50"/>
                    </a:lnTo>
                    <a:lnTo>
                      <a:pt x="34" y="51"/>
                    </a:lnTo>
                    <a:lnTo>
                      <a:pt x="35" y="51"/>
                    </a:lnTo>
                    <a:lnTo>
                      <a:pt x="36" y="51"/>
                    </a:lnTo>
                    <a:lnTo>
                      <a:pt x="35" y="50"/>
                    </a:lnTo>
                    <a:lnTo>
                      <a:pt x="35" y="49"/>
                    </a:lnTo>
                    <a:lnTo>
                      <a:pt x="36" y="49"/>
                    </a:lnTo>
                    <a:lnTo>
                      <a:pt x="36" y="48"/>
                    </a:lnTo>
                    <a:lnTo>
                      <a:pt x="35" y="48"/>
                    </a:lnTo>
                    <a:lnTo>
                      <a:pt x="36" y="48"/>
                    </a:lnTo>
                    <a:lnTo>
                      <a:pt x="38" y="48"/>
                    </a:lnTo>
                    <a:lnTo>
                      <a:pt x="39" y="48"/>
                    </a:lnTo>
                    <a:lnTo>
                      <a:pt x="39" y="47"/>
                    </a:lnTo>
                    <a:lnTo>
                      <a:pt x="38" y="47"/>
                    </a:lnTo>
                    <a:lnTo>
                      <a:pt x="36" y="46"/>
                    </a:lnTo>
                    <a:lnTo>
                      <a:pt x="38" y="46"/>
                    </a:lnTo>
                    <a:lnTo>
                      <a:pt x="39" y="46"/>
                    </a:lnTo>
                    <a:lnTo>
                      <a:pt x="39" y="45"/>
                    </a:lnTo>
                    <a:lnTo>
                      <a:pt x="38" y="45"/>
                    </a:lnTo>
                    <a:lnTo>
                      <a:pt x="39" y="44"/>
                    </a:lnTo>
                    <a:lnTo>
                      <a:pt x="38" y="44"/>
                    </a:lnTo>
                    <a:lnTo>
                      <a:pt x="36" y="44"/>
                    </a:lnTo>
                    <a:lnTo>
                      <a:pt x="36" y="43"/>
                    </a:lnTo>
                    <a:lnTo>
                      <a:pt x="38" y="43"/>
                    </a:lnTo>
                    <a:lnTo>
                      <a:pt x="38" y="42"/>
                    </a:lnTo>
                    <a:lnTo>
                      <a:pt x="36" y="42"/>
                    </a:lnTo>
                    <a:lnTo>
                      <a:pt x="36" y="41"/>
                    </a:lnTo>
                    <a:lnTo>
                      <a:pt x="38" y="41"/>
                    </a:lnTo>
                    <a:lnTo>
                      <a:pt x="38" y="39"/>
                    </a:lnTo>
                    <a:lnTo>
                      <a:pt x="36" y="39"/>
                    </a:lnTo>
                    <a:lnTo>
                      <a:pt x="38" y="39"/>
                    </a:lnTo>
                    <a:lnTo>
                      <a:pt x="39" y="38"/>
                    </a:lnTo>
                    <a:lnTo>
                      <a:pt x="39" y="37"/>
                    </a:lnTo>
                    <a:lnTo>
                      <a:pt x="39" y="36"/>
                    </a:lnTo>
                    <a:lnTo>
                      <a:pt x="39" y="35"/>
                    </a:lnTo>
                    <a:lnTo>
                      <a:pt x="39" y="34"/>
                    </a:lnTo>
                    <a:lnTo>
                      <a:pt x="40" y="33"/>
                    </a:lnTo>
                    <a:lnTo>
                      <a:pt x="40" y="32"/>
                    </a:lnTo>
                    <a:lnTo>
                      <a:pt x="39" y="32"/>
                    </a:lnTo>
                    <a:lnTo>
                      <a:pt x="39" y="31"/>
                    </a:lnTo>
                    <a:lnTo>
                      <a:pt x="38" y="31"/>
                    </a:lnTo>
                    <a:lnTo>
                      <a:pt x="36" y="30"/>
                    </a:lnTo>
                    <a:lnTo>
                      <a:pt x="38" y="30"/>
                    </a:lnTo>
                    <a:lnTo>
                      <a:pt x="39" y="30"/>
                    </a:lnTo>
                    <a:lnTo>
                      <a:pt x="39" y="29"/>
                    </a:lnTo>
                    <a:lnTo>
                      <a:pt x="38" y="30"/>
                    </a:lnTo>
                    <a:lnTo>
                      <a:pt x="38" y="29"/>
                    </a:lnTo>
                    <a:lnTo>
                      <a:pt x="38" y="28"/>
                    </a:lnTo>
                    <a:lnTo>
                      <a:pt x="39" y="28"/>
                    </a:lnTo>
                    <a:lnTo>
                      <a:pt x="39" y="26"/>
                    </a:lnTo>
                    <a:lnTo>
                      <a:pt x="40" y="26"/>
                    </a:lnTo>
                    <a:lnTo>
                      <a:pt x="39" y="25"/>
                    </a:lnTo>
                    <a:lnTo>
                      <a:pt x="40" y="25"/>
                    </a:lnTo>
                    <a:lnTo>
                      <a:pt x="40" y="26"/>
                    </a:lnTo>
                    <a:lnTo>
                      <a:pt x="41" y="25"/>
                    </a:lnTo>
                    <a:lnTo>
                      <a:pt x="41" y="26"/>
                    </a:lnTo>
                    <a:lnTo>
                      <a:pt x="42" y="26"/>
                    </a:lnTo>
                    <a:lnTo>
                      <a:pt x="43" y="26"/>
                    </a:lnTo>
                    <a:lnTo>
                      <a:pt x="43" y="25"/>
                    </a:lnTo>
                    <a:lnTo>
                      <a:pt x="43" y="24"/>
                    </a:lnTo>
                    <a:lnTo>
                      <a:pt x="43" y="23"/>
                    </a:lnTo>
                    <a:lnTo>
                      <a:pt x="44" y="23"/>
                    </a:lnTo>
                    <a:lnTo>
                      <a:pt x="44" y="0"/>
                    </a:lnTo>
                    <a:lnTo>
                      <a:pt x="51" y="0"/>
                    </a:lnTo>
                    <a:lnTo>
                      <a:pt x="62" y="0"/>
                    </a:lnTo>
                    <a:lnTo>
                      <a:pt x="64" y="0"/>
                    </a:lnTo>
                    <a:lnTo>
                      <a:pt x="82" y="0"/>
                    </a:lnTo>
                    <a:lnTo>
                      <a:pt x="84" y="0"/>
                    </a:lnTo>
                    <a:lnTo>
                      <a:pt x="106" y="0"/>
                    </a:lnTo>
                    <a:lnTo>
                      <a:pt x="112" y="0"/>
                    </a:lnTo>
                    <a:lnTo>
                      <a:pt x="113" y="0"/>
                    </a:lnTo>
                    <a:lnTo>
                      <a:pt x="114" y="0"/>
                    </a:lnTo>
                    <a:lnTo>
                      <a:pt x="119" y="0"/>
                    </a:lnTo>
                    <a:lnTo>
                      <a:pt x="120" y="0"/>
                    </a:lnTo>
                    <a:lnTo>
                      <a:pt x="123" y="0"/>
                    </a:lnTo>
                    <a:lnTo>
                      <a:pt x="143" y="0"/>
                    </a:lnTo>
                    <a:lnTo>
                      <a:pt x="149" y="0"/>
                    </a:lnTo>
                    <a:lnTo>
                      <a:pt x="150" y="0"/>
                    </a:lnTo>
                    <a:lnTo>
                      <a:pt x="159" y="0"/>
                    </a:lnTo>
                    <a:lnTo>
                      <a:pt x="188" y="0"/>
                    </a:lnTo>
                    <a:lnTo>
                      <a:pt x="214" y="0"/>
                    </a:lnTo>
                    <a:lnTo>
                      <a:pt x="222" y="0"/>
                    </a:lnTo>
                    <a:lnTo>
                      <a:pt x="233" y="0"/>
                    </a:lnTo>
                    <a:close/>
                  </a:path>
                </a:pathLst>
              </a:custGeom>
              <a:solidFill>
                <a:srgbClr val="03336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5" name="Freeform 313">
                <a:extLst>
                  <a:ext uri="{FF2B5EF4-FFF2-40B4-BE49-F238E27FC236}">
                    <a16:creationId xmlns:a16="http://schemas.microsoft.com/office/drawing/2014/main" id="{C27E28A7-2BB6-3FC3-4A41-5746ECFDFB0D}"/>
                  </a:ext>
                </a:extLst>
              </p:cNvPr>
              <p:cNvSpPr>
                <a:spLocks/>
              </p:cNvSpPr>
              <p:nvPr/>
            </p:nvSpPr>
            <p:spPr bwMode="auto">
              <a:xfrm>
                <a:off x="3108326" y="2336800"/>
                <a:ext cx="474663" cy="855663"/>
              </a:xfrm>
              <a:custGeom>
                <a:avLst/>
                <a:gdLst>
                  <a:gd name="T0" fmla="*/ 98 w 299"/>
                  <a:gd name="T1" fmla="*/ 3 h 539"/>
                  <a:gd name="T2" fmla="*/ 107 w 299"/>
                  <a:gd name="T3" fmla="*/ 13 h 539"/>
                  <a:gd name="T4" fmla="*/ 107 w 299"/>
                  <a:gd name="T5" fmla="*/ 18 h 539"/>
                  <a:gd name="T6" fmla="*/ 120 w 299"/>
                  <a:gd name="T7" fmla="*/ 26 h 539"/>
                  <a:gd name="T8" fmla="*/ 125 w 299"/>
                  <a:gd name="T9" fmla="*/ 38 h 539"/>
                  <a:gd name="T10" fmla="*/ 135 w 299"/>
                  <a:gd name="T11" fmla="*/ 41 h 539"/>
                  <a:gd name="T12" fmla="*/ 135 w 299"/>
                  <a:gd name="T13" fmla="*/ 53 h 539"/>
                  <a:gd name="T14" fmla="*/ 145 w 299"/>
                  <a:gd name="T15" fmla="*/ 61 h 539"/>
                  <a:gd name="T16" fmla="*/ 150 w 299"/>
                  <a:gd name="T17" fmla="*/ 70 h 539"/>
                  <a:gd name="T18" fmla="*/ 164 w 299"/>
                  <a:gd name="T19" fmla="*/ 62 h 539"/>
                  <a:gd name="T20" fmla="*/ 177 w 299"/>
                  <a:gd name="T21" fmla="*/ 65 h 539"/>
                  <a:gd name="T22" fmla="*/ 187 w 299"/>
                  <a:gd name="T23" fmla="*/ 54 h 539"/>
                  <a:gd name="T24" fmla="*/ 201 w 299"/>
                  <a:gd name="T25" fmla="*/ 46 h 539"/>
                  <a:gd name="T26" fmla="*/ 210 w 299"/>
                  <a:gd name="T27" fmla="*/ 34 h 539"/>
                  <a:gd name="T28" fmla="*/ 221 w 299"/>
                  <a:gd name="T29" fmla="*/ 24 h 539"/>
                  <a:gd name="T30" fmla="*/ 231 w 299"/>
                  <a:gd name="T31" fmla="*/ 8 h 539"/>
                  <a:gd name="T32" fmla="*/ 274 w 299"/>
                  <a:gd name="T33" fmla="*/ 64 h 539"/>
                  <a:gd name="T34" fmla="*/ 277 w 299"/>
                  <a:gd name="T35" fmla="*/ 78 h 539"/>
                  <a:gd name="T36" fmla="*/ 276 w 299"/>
                  <a:gd name="T37" fmla="*/ 134 h 539"/>
                  <a:gd name="T38" fmla="*/ 299 w 299"/>
                  <a:gd name="T39" fmla="*/ 168 h 539"/>
                  <a:gd name="T40" fmla="*/ 276 w 299"/>
                  <a:gd name="T41" fmla="*/ 169 h 539"/>
                  <a:gd name="T42" fmla="*/ 254 w 299"/>
                  <a:gd name="T43" fmla="*/ 154 h 539"/>
                  <a:gd name="T44" fmla="*/ 224 w 299"/>
                  <a:gd name="T45" fmla="*/ 176 h 539"/>
                  <a:gd name="T46" fmla="*/ 200 w 299"/>
                  <a:gd name="T47" fmla="*/ 172 h 539"/>
                  <a:gd name="T48" fmla="*/ 189 w 299"/>
                  <a:gd name="T49" fmla="*/ 215 h 539"/>
                  <a:gd name="T50" fmla="*/ 185 w 299"/>
                  <a:gd name="T51" fmla="*/ 248 h 539"/>
                  <a:gd name="T52" fmla="*/ 160 w 299"/>
                  <a:gd name="T53" fmla="*/ 239 h 539"/>
                  <a:gd name="T54" fmla="*/ 135 w 299"/>
                  <a:gd name="T55" fmla="*/ 244 h 539"/>
                  <a:gd name="T56" fmla="*/ 122 w 299"/>
                  <a:gd name="T57" fmla="*/ 266 h 539"/>
                  <a:gd name="T58" fmla="*/ 122 w 299"/>
                  <a:gd name="T59" fmla="*/ 291 h 539"/>
                  <a:gd name="T60" fmla="*/ 141 w 299"/>
                  <a:gd name="T61" fmla="*/ 308 h 539"/>
                  <a:gd name="T62" fmla="*/ 149 w 299"/>
                  <a:gd name="T63" fmla="*/ 333 h 539"/>
                  <a:gd name="T64" fmla="*/ 134 w 299"/>
                  <a:gd name="T65" fmla="*/ 353 h 539"/>
                  <a:gd name="T66" fmla="*/ 184 w 299"/>
                  <a:gd name="T67" fmla="*/ 371 h 539"/>
                  <a:gd name="T68" fmla="*/ 157 w 299"/>
                  <a:gd name="T69" fmla="*/ 387 h 539"/>
                  <a:gd name="T70" fmla="*/ 130 w 299"/>
                  <a:gd name="T71" fmla="*/ 370 h 539"/>
                  <a:gd name="T72" fmla="*/ 108 w 299"/>
                  <a:gd name="T73" fmla="*/ 337 h 539"/>
                  <a:gd name="T74" fmla="*/ 99 w 299"/>
                  <a:gd name="T75" fmla="*/ 357 h 539"/>
                  <a:gd name="T76" fmla="*/ 116 w 299"/>
                  <a:gd name="T77" fmla="*/ 410 h 539"/>
                  <a:gd name="T78" fmla="*/ 149 w 299"/>
                  <a:gd name="T79" fmla="*/ 424 h 539"/>
                  <a:gd name="T80" fmla="*/ 128 w 299"/>
                  <a:gd name="T81" fmla="*/ 430 h 539"/>
                  <a:gd name="T82" fmla="*/ 98 w 299"/>
                  <a:gd name="T83" fmla="*/ 441 h 539"/>
                  <a:gd name="T84" fmla="*/ 110 w 299"/>
                  <a:gd name="T85" fmla="*/ 488 h 539"/>
                  <a:gd name="T86" fmla="*/ 116 w 299"/>
                  <a:gd name="T87" fmla="*/ 506 h 539"/>
                  <a:gd name="T88" fmla="*/ 84 w 299"/>
                  <a:gd name="T89" fmla="*/ 490 h 539"/>
                  <a:gd name="T90" fmla="*/ 47 w 299"/>
                  <a:gd name="T91" fmla="*/ 505 h 539"/>
                  <a:gd name="T92" fmla="*/ 60 w 299"/>
                  <a:gd name="T93" fmla="*/ 527 h 539"/>
                  <a:gd name="T94" fmla="*/ 47 w 299"/>
                  <a:gd name="T95" fmla="*/ 537 h 539"/>
                  <a:gd name="T96" fmla="*/ 37 w 299"/>
                  <a:gd name="T97" fmla="*/ 529 h 539"/>
                  <a:gd name="T98" fmla="*/ 19 w 299"/>
                  <a:gd name="T99" fmla="*/ 527 h 539"/>
                  <a:gd name="T100" fmla="*/ 21 w 299"/>
                  <a:gd name="T101" fmla="*/ 519 h 539"/>
                  <a:gd name="T102" fmla="*/ 12 w 299"/>
                  <a:gd name="T103" fmla="*/ 507 h 539"/>
                  <a:gd name="T104" fmla="*/ 13 w 299"/>
                  <a:gd name="T105" fmla="*/ 504 h 539"/>
                  <a:gd name="T106" fmla="*/ 2 w 299"/>
                  <a:gd name="T107" fmla="*/ 497 h 539"/>
                  <a:gd name="T108" fmla="*/ 3 w 299"/>
                  <a:gd name="T109" fmla="*/ 483 h 539"/>
                  <a:gd name="T110" fmla="*/ 12 w 299"/>
                  <a:gd name="T111" fmla="*/ 485 h 539"/>
                  <a:gd name="T112" fmla="*/ 9 w 299"/>
                  <a:gd name="T113" fmla="*/ 475 h 539"/>
                  <a:gd name="T114" fmla="*/ 9 w 299"/>
                  <a:gd name="T115" fmla="*/ 428 h 539"/>
                  <a:gd name="T116" fmla="*/ 9 w 299"/>
                  <a:gd name="T117" fmla="*/ 309 h 539"/>
                  <a:gd name="T118" fmla="*/ 9 w 299"/>
                  <a:gd name="T119" fmla="*/ 255 h 539"/>
                  <a:gd name="T120" fmla="*/ 11 w 299"/>
                  <a:gd name="T121" fmla="*/ 6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9" h="539">
                    <a:moveTo>
                      <a:pt x="82" y="0"/>
                    </a:moveTo>
                    <a:lnTo>
                      <a:pt x="83" y="0"/>
                    </a:lnTo>
                    <a:lnTo>
                      <a:pt x="84" y="0"/>
                    </a:lnTo>
                    <a:lnTo>
                      <a:pt x="85" y="0"/>
                    </a:lnTo>
                    <a:lnTo>
                      <a:pt x="88" y="1"/>
                    </a:lnTo>
                    <a:lnTo>
                      <a:pt x="89" y="2"/>
                    </a:lnTo>
                    <a:lnTo>
                      <a:pt x="91" y="3"/>
                    </a:lnTo>
                    <a:lnTo>
                      <a:pt x="92" y="4"/>
                    </a:lnTo>
                    <a:lnTo>
                      <a:pt x="94" y="5"/>
                    </a:lnTo>
                    <a:lnTo>
                      <a:pt x="95" y="6"/>
                    </a:lnTo>
                    <a:lnTo>
                      <a:pt x="96" y="8"/>
                    </a:lnTo>
                    <a:lnTo>
                      <a:pt x="97" y="9"/>
                    </a:lnTo>
                    <a:lnTo>
                      <a:pt x="98" y="9"/>
                    </a:lnTo>
                    <a:lnTo>
                      <a:pt x="98" y="8"/>
                    </a:lnTo>
                    <a:lnTo>
                      <a:pt x="97" y="4"/>
                    </a:lnTo>
                    <a:lnTo>
                      <a:pt x="98" y="4"/>
                    </a:lnTo>
                    <a:lnTo>
                      <a:pt x="98" y="3"/>
                    </a:lnTo>
                    <a:lnTo>
                      <a:pt x="99" y="3"/>
                    </a:lnTo>
                    <a:lnTo>
                      <a:pt x="101" y="4"/>
                    </a:lnTo>
                    <a:lnTo>
                      <a:pt x="101" y="5"/>
                    </a:lnTo>
                    <a:lnTo>
                      <a:pt x="99" y="8"/>
                    </a:lnTo>
                    <a:lnTo>
                      <a:pt x="99" y="9"/>
                    </a:lnTo>
                    <a:lnTo>
                      <a:pt x="99" y="10"/>
                    </a:lnTo>
                    <a:lnTo>
                      <a:pt x="101" y="10"/>
                    </a:lnTo>
                    <a:lnTo>
                      <a:pt x="101" y="11"/>
                    </a:lnTo>
                    <a:lnTo>
                      <a:pt x="102" y="10"/>
                    </a:lnTo>
                    <a:lnTo>
                      <a:pt x="104" y="9"/>
                    </a:lnTo>
                    <a:lnTo>
                      <a:pt x="105" y="9"/>
                    </a:lnTo>
                    <a:lnTo>
                      <a:pt x="105" y="10"/>
                    </a:lnTo>
                    <a:lnTo>
                      <a:pt x="105" y="11"/>
                    </a:lnTo>
                    <a:lnTo>
                      <a:pt x="105" y="12"/>
                    </a:lnTo>
                    <a:lnTo>
                      <a:pt x="105" y="13"/>
                    </a:lnTo>
                    <a:lnTo>
                      <a:pt x="106" y="13"/>
                    </a:lnTo>
                    <a:lnTo>
                      <a:pt x="107" y="13"/>
                    </a:lnTo>
                    <a:lnTo>
                      <a:pt x="108" y="12"/>
                    </a:lnTo>
                    <a:lnTo>
                      <a:pt x="109" y="11"/>
                    </a:lnTo>
                    <a:lnTo>
                      <a:pt x="109" y="9"/>
                    </a:lnTo>
                    <a:lnTo>
                      <a:pt x="110" y="9"/>
                    </a:lnTo>
                    <a:lnTo>
                      <a:pt x="110" y="10"/>
                    </a:lnTo>
                    <a:lnTo>
                      <a:pt x="110" y="11"/>
                    </a:lnTo>
                    <a:lnTo>
                      <a:pt x="110" y="12"/>
                    </a:lnTo>
                    <a:lnTo>
                      <a:pt x="109" y="13"/>
                    </a:lnTo>
                    <a:lnTo>
                      <a:pt x="108" y="14"/>
                    </a:lnTo>
                    <a:lnTo>
                      <a:pt x="107" y="15"/>
                    </a:lnTo>
                    <a:lnTo>
                      <a:pt x="107" y="16"/>
                    </a:lnTo>
                    <a:lnTo>
                      <a:pt x="108" y="16"/>
                    </a:lnTo>
                    <a:lnTo>
                      <a:pt x="109" y="17"/>
                    </a:lnTo>
                    <a:lnTo>
                      <a:pt x="109" y="18"/>
                    </a:lnTo>
                    <a:lnTo>
                      <a:pt x="108" y="18"/>
                    </a:lnTo>
                    <a:lnTo>
                      <a:pt x="107" y="17"/>
                    </a:lnTo>
                    <a:lnTo>
                      <a:pt x="107" y="18"/>
                    </a:lnTo>
                    <a:lnTo>
                      <a:pt x="106" y="18"/>
                    </a:lnTo>
                    <a:lnTo>
                      <a:pt x="107" y="20"/>
                    </a:lnTo>
                    <a:lnTo>
                      <a:pt x="107" y="21"/>
                    </a:lnTo>
                    <a:lnTo>
                      <a:pt x="109" y="21"/>
                    </a:lnTo>
                    <a:lnTo>
                      <a:pt x="111" y="23"/>
                    </a:lnTo>
                    <a:lnTo>
                      <a:pt x="111" y="24"/>
                    </a:lnTo>
                    <a:lnTo>
                      <a:pt x="110" y="25"/>
                    </a:lnTo>
                    <a:lnTo>
                      <a:pt x="111" y="25"/>
                    </a:lnTo>
                    <a:lnTo>
                      <a:pt x="111" y="26"/>
                    </a:lnTo>
                    <a:lnTo>
                      <a:pt x="112" y="26"/>
                    </a:lnTo>
                    <a:lnTo>
                      <a:pt x="115" y="26"/>
                    </a:lnTo>
                    <a:lnTo>
                      <a:pt x="116" y="26"/>
                    </a:lnTo>
                    <a:lnTo>
                      <a:pt x="117" y="26"/>
                    </a:lnTo>
                    <a:lnTo>
                      <a:pt x="118" y="26"/>
                    </a:lnTo>
                    <a:lnTo>
                      <a:pt x="118" y="25"/>
                    </a:lnTo>
                    <a:lnTo>
                      <a:pt x="119" y="25"/>
                    </a:lnTo>
                    <a:lnTo>
                      <a:pt x="120" y="26"/>
                    </a:lnTo>
                    <a:lnTo>
                      <a:pt x="119" y="27"/>
                    </a:lnTo>
                    <a:lnTo>
                      <a:pt x="119" y="28"/>
                    </a:lnTo>
                    <a:lnTo>
                      <a:pt x="118" y="28"/>
                    </a:lnTo>
                    <a:lnTo>
                      <a:pt x="117" y="29"/>
                    </a:lnTo>
                    <a:lnTo>
                      <a:pt x="116" y="29"/>
                    </a:lnTo>
                    <a:lnTo>
                      <a:pt x="116" y="30"/>
                    </a:lnTo>
                    <a:lnTo>
                      <a:pt x="117" y="31"/>
                    </a:lnTo>
                    <a:lnTo>
                      <a:pt x="117" y="33"/>
                    </a:lnTo>
                    <a:lnTo>
                      <a:pt x="118" y="33"/>
                    </a:lnTo>
                    <a:lnTo>
                      <a:pt x="121" y="34"/>
                    </a:lnTo>
                    <a:lnTo>
                      <a:pt x="121" y="35"/>
                    </a:lnTo>
                    <a:lnTo>
                      <a:pt x="122" y="36"/>
                    </a:lnTo>
                    <a:lnTo>
                      <a:pt x="122" y="37"/>
                    </a:lnTo>
                    <a:lnTo>
                      <a:pt x="122" y="38"/>
                    </a:lnTo>
                    <a:lnTo>
                      <a:pt x="123" y="39"/>
                    </a:lnTo>
                    <a:lnTo>
                      <a:pt x="124" y="39"/>
                    </a:lnTo>
                    <a:lnTo>
                      <a:pt x="125" y="38"/>
                    </a:lnTo>
                    <a:lnTo>
                      <a:pt x="127" y="37"/>
                    </a:lnTo>
                    <a:lnTo>
                      <a:pt x="127" y="36"/>
                    </a:lnTo>
                    <a:lnTo>
                      <a:pt x="128" y="36"/>
                    </a:lnTo>
                    <a:lnTo>
                      <a:pt x="128" y="35"/>
                    </a:lnTo>
                    <a:lnTo>
                      <a:pt x="129" y="35"/>
                    </a:lnTo>
                    <a:lnTo>
                      <a:pt x="129" y="36"/>
                    </a:lnTo>
                    <a:lnTo>
                      <a:pt x="130" y="36"/>
                    </a:lnTo>
                    <a:lnTo>
                      <a:pt x="130" y="38"/>
                    </a:lnTo>
                    <a:lnTo>
                      <a:pt x="131" y="39"/>
                    </a:lnTo>
                    <a:lnTo>
                      <a:pt x="132" y="40"/>
                    </a:lnTo>
                    <a:lnTo>
                      <a:pt x="133" y="40"/>
                    </a:lnTo>
                    <a:lnTo>
                      <a:pt x="133" y="39"/>
                    </a:lnTo>
                    <a:lnTo>
                      <a:pt x="133" y="38"/>
                    </a:lnTo>
                    <a:lnTo>
                      <a:pt x="134" y="38"/>
                    </a:lnTo>
                    <a:lnTo>
                      <a:pt x="135" y="38"/>
                    </a:lnTo>
                    <a:lnTo>
                      <a:pt x="136" y="39"/>
                    </a:lnTo>
                    <a:lnTo>
                      <a:pt x="135" y="41"/>
                    </a:lnTo>
                    <a:lnTo>
                      <a:pt x="136" y="42"/>
                    </a:lnTo>
                    <a:lnTo>
                      <a:pt x="137" y="43"/>
                    </a:lnTo>
                    <a:lnTo>
                      <a:pt x="137" y="44"/>
                    </a:lnTo>
                    <a:lnTo>
                      <a:pt x="136" y="44"/>
                    </a:lnTo>
                    <a:lnTo>
                      <a:pt x="136" y="46"/>
                    </a:lnTo>
                    <a:lnTo>
                      <a:pt x="136" y="47"/>
                    </a:lnTo>
                    <a:lnTo>
                      <a:pt x="136" y="48"/>
                    </a:lnTo>
                    <a:lnTo>
                      <a:pt x="137" y="48"/>
                    </a:lnTo>
                    <a:lnTo>
                      <a:pt x="140" y="48"/>
                    </a:lnTo>
                    <a:lnTo>
                      <a:pt x="141" y="49"/>
                    </a:lnTo>
                    <a:lnTo>
                      <a:pt x="140" y="49"/>
                    </a:lnTo>
                    <a:lnTo>
                      <a:pt x="140" y="50"/>
                    </a:lnTo>
                    <a:lnTo>
                      <a:pt x="138" y="50"/>
                    </a:lnTo>
                    <a:lnTo>
                      <a:pt x="136" y="51"/>
                    </a:lnTo>
                    <a:lnTo>
                      <a:pt x="135" y="51"/>
                    </a:lnTo>
                    <a:lnTo>
                      <a:pt x="135" y="52"/>
                    </a:lnTo>
                    <a:lnTo>
                      <a:pt x="135" y="53"/>
                    </a:lnTo>
                    <a:lnTo>
                      <a:pt x="135" y="54"/>
                    </a:lnTo>
                    <a:lnTo>
                      <a:pt x="134" y="55"/>
                    </a:lnTo>
                    <a:lnTo>
                      <a:pt x="134" y="56"/>
                    </a:lnTo>
                    <a:lnTo>
                      <a:pt x="136" y="56"/>
                    </a:lnTo>
                    <a:lnTo>
                      <a:pt x="137" y="57"/>
                    </a:lnTo>
                    <a:lnTo>
                      <a:pt x="138" y="57"/>
                    </a:lnTo>
                    <a:lnTo>
                      <a:pt x="140" y="59"/>
                    </a:lnTo>
                    <a:lnTo>
                      <a:pt x="141" y="60"/>
                    </a:lnTo>
                    <a:lnTo>
                      <a:pt x="142" y="60"/>
                    </a:lnTo>
                    <a:lnTo>
                      <a:pt x="142" y="59"/>
                    </a:lnTo>
                    <a:lnTo>
                      <a:pt x="142" y="57"/>
                    </a:lnTo>
                    <a:lnTo>
                      <a:pt x="142" y="56"/>
                    </a:lnTo>
                    <a:lnTo>
                      <a:pt x="143" y="56"/>
                    </a:lnTo>
                    <a:lnTo>
                      <a:pt x="144" y="56"/>
                    </a:lnTo>
                    <a:lnTo>
                      <a:pt x="144" y="60"/>
                    </a:lnTo>
                    <a:lnTo>
                      <a:pt x="144" y="61"/>
                    </a:lnTo>
                    <a:lnTo>
                      <a:pt x="145" y="61"/>
                    </a:lnTo>
                    <a:lnTo>
                      <a:pt x="146" y="60"/>
                    </a:lnTo>
                    <a:lnTo>
                      <a:pt x="148" y="60"/>
                    </a:lnTo>
                    <a:lnTo>
                      <a:pt x="149" y="60"/>
                    </a:lnTo>
                    <a:lnTo>
                      <a:pt x="150" y="60"/>
                    </a:lnTo>
                    <a:lnTo>
                      <a:pt x="149" y="62"/>
                    </a:lnTo>
                    <a:lnTo>
                      <a:pt x="149" y="65"/>
                    </a:lnTo>
                    <a:lnTo>
                      <a:pt x="148" y="66"/>
                    </a:lnTo>
                    <a:lnTo>
                      <a:pt x="146" y="66"/>
                    </a:lnTo>
                    <a:lnTo>
                      <a:pt x="146" y="67"/>
                    </a:lnTo>
                    <a:lnTo>
                      <a:pt x="146" y="68"/>
                    </a:lnTo>
                    <a:lnTo>
                      <a:pt x="147" y="69"/>
                    </a:lnTo>
                    <a:lnTo>
                      <a:pt x="148" y="69"/>
                    </a:lnTo>
                    <a:lnTo>
                      <a:pt x="148" y="70"/>
                    </a:lnTo>
                    <a:lnTo>
                      <a:pt x="148" y="72"/>
                    </a:lnTo>
                    <a:lnTo>
                      <a:pt x="149" y="72"/>
                    </a:lnTo>
                    <a:lnTo>
                      <a:pt x="150" y="72"/>
                    </a:lnTo>
                    <a:lnTo>
                      <a:pt x="150" y="70"/>
                    </a:lnTo>
                    <a:lnTo>
                      <a:pt x="151" y="70"/>
                    </a:lnTo>
                    <a:lnTo>
                      <a:pt x="151" y="69"/>
                    </a:lnTo>
                    <a:lnTo>
                      <a:pt x="153" y="69"/>
                    </a:lnTo>
                    <a:lnTo>
                      <a:pt x="154" y="69"/>
                    </a:lnTo>
                    <a:lnTo>
                      <a:pt x="154" y="68"/>
                    </a:lnTo>
                    <a:lnTo>
                      <a:pt x="155" y="67"/>
                    </a:lnTo>
                    <a:lnTo>
                      <a:pt x="156" y="67"/>
                    </a:lnTo>
                    <a:lnTo>
                      <a:pt x="157" y="67"/>
                    </a:lnTo>
                    <a:lnTo>
                      <a:pt x="157" y="66"/>
                    </a:lnTo>
                    <a:lnTo>
                      <a:pt x="158" y="66"/>
                    </a:lnTo>
                    <a:lnTo>
                      <a:pt x="158" y="65"/>
                    </a:lnTo>
                    <a:lnTo>
                      <a:pt x="160" y="65"/>
                    </a:lnTo>
                    <a:lnTo>
                      <a:pt x="160" y="64"/>
                    </a:lnTo>
                    <a:lnTo>
                      <a:pt x="161" y="63"/>
                    </a:lnTo>
                    <a:lnTo>
                      <a:pt x="162" y="63"/>
                    </a:lnTo>
                    <a:lnTo>
                      <a:pt x="163" y="62"/>
                    </a:lnTo>
                    <a:lnTo>
                      <a:pt x="164" y="62"/>
                    </a:lnTo>
                    <a:lnTo>
                      <a:pt x="164" y="63"/>
                    </a:lnTo>
                    <a:lnTo>
                      <a:pt x="166" y="62"/>
                    </a:lnTo>
                    <a:lnTo>
                      <a:pt x="167" y="62"/>
                    </a:lnTo>
                    <a:lnTo>
                      <a:pt x="167" y="63"/>
                    </a:lnTo>
                    <a:lnTo>
                      <a:pt x="167" y="64"/>
                    </a:lnTo>
                    <a:lnTo>
                      <a:pt x="168" y="64"/>
                    </a:lnTo>
                    <a:lnTo>
                      <a:pt x="168" y="63"/>
                    </a:lnTo>
                    <a:lnTo>
                      <a:pt x="169" y="63"/>
                    </a:lnTo>
                    <a:lnTo>
                      <a:pt x="169" y="64"/>
                    </a:lnTo>
                    <a:lnTo>
                      <a:pt x="169" y="65"/>
                    </a:lnTo>
                    <a:lnTo>
                      <a:pt x="170" y="65"/>
                    </a:lnTo>
                    <a:lnTo>
                      <a:pt x="172" y="65"/>
                    </a:lnTo>
                    <a:lnTo>
                      <a:pt x="174" y="64"/>
                    </a:lnTo>
                    <a:lnTo>
                      <a:pt x="175" y="64"/>
                    </a:lnTo>
                    <a:lnTo>
                      <a:pt x="176" y="64"/>
                    </a:lnTo>
                    <a:lnTo>
                      <a:pt x="177" y="64"/>
                    </a:lnTo>
                    <a:lnTo>
                      <a:pt x="177" y="65"/>
                    </a:lnTo>
                    <a:lnTo>
                      <a:pt x="179" y="64"/>
                    </a:lnTo>
                    <a:lnTo>
                      <a:pt x="180" y="64"/>
                    </a:lnTo>
                    <a:lnTo>
                      <a:pt x="181" y="64"/>
                    </a:lnTo>
                    <a:lnTo>
                      <a:pt x="181" y="63"/>
                    </a:lnTo>
                    <a:lnTo>
                      <a:pt x="182" y="63"/>
                    </a:lnTo>
                    <a:lnTo>
                      <a:pt x="182" y="62"/>
                    </a:lnTo>
                    <a:lnTo>
                      <a:pt x="183" y="62"/>
                    </a:lnTo>
                    <a:lnTo>
                      <a:pt x="184" y="61"/>
                    </a:lnTo>
                    <a:lnTo>
                      <a:pt x="184" y="60"/>
                    </a:lnTo>
                    <a:lnTo>
                      <a:pt x="185" y="60"/>
                    </a:lnTo>
                    <a:lnTo>
                      <a:pt x="184" y="59"/>
                    </a:lnTo>
                    <a:lnTo>
                      <a:pt x="184" y="57"/>
                    </a:lnTo>
                    <a:lnTo>
                      <a:pt x="184" y="56"/>
                    </a:lnTo>
                    <a:lnTo>
                      <a:pt x="185" y="55"/>
                    </a:lnTo>
                    <a:lnTo>
                      <a:pt x="186" y="55"/>
                    </a:lnTo>
                    <a:lnTo>
                      <a:pt x="187" y="55"/>
                    </a:lnTo>
                    <a:lnTo>
                      <a:pt x="187" y="54"/>
                    </a:lnTo>
                    <a:lnTo>
                      <a:pt x="188" y="54"/>
                    </a:lnTo>
                    <a:lnTo>
                      <a:pt x="189" y="54"/>
                    </a:lnTo>
                    <a:lnTo>
                      <a:pt x="190" y="54"/>
                    </a:lnTo>
                    <a:lnTo>
                      <a:pt x="192" y="55"/>
                    </a:lnTo>
                    <a:lnTo>
                      <a:pt x="193" y="55"/>
                    </a:lnTo>
                    <a:lnTo>
                      <a:pt x="194" y="54"/>
                    </a:lnTo>
                    <a:lnTo>
                      <a:pt x="195" y="54"/>
                    </a:lnTo>
                    <a:lnTo>
                      <a:pt x="195" y="53"/>
                    </a:lnTo>
                    <a:lnTo>
                      <a:pt x="196" y="53"/>
                    </a:lnTo>
                    <a:lnTo>
                      <a:pt x="196" y="52"/>
                    </a:lnTo>
                    <a:lnTo>
                      <a:pt x="196" y="51"/>
                    </a:lnTo>
                    <a:lnTo>
                      <a:pt x="197" y="50"/>
                    </a:lnTo>
                    <a:lnTo>
                      <a:pt x="198" y="50"/>
                    </a:lnTo>
                    <a:lnTo>
                      <a:pt x="199" y="49"/>
                    </a:lnTo>
                    <a:lnTo>
                      <a:pt x="200" y="49"/>
                    </a:lnTo>
                    <a:lnTo>
                      <a:pt x="201" y="47"/>
                    </a:lnTo>
                    <a:lnTo>
                      <a:pt x="201" y="46"/>
                    </a:lnTo>
                    <a:lnTo>
                      <a:pt x="201" y="44"/>
                    </a:lnTo>
                    <a:lnTo>
                      <a:pt x="201" y="43"/>
                    </a:lnTo>
                    <a:lnTo>
                      <a:pt x="201" y="42"/>
                    </a:lnTo>
                    <a:lnTo>
                      <a:pt x="201" y="41"/>
                    </a:lnTo>
                    <a:lnTo>
                      <a:pt x="202" y="41"/>
                    </a:lnTo>
                    <a:lnTo>
                      <a:pt x="203" y="40"/>
                    </a:lnTo>
                    <a:lnTo>
                      <a:pt x="205" y="40"/>
                    </a:lnTo>
                    <a:lnTo>
                      <a:pt x="205" y="39"/>
                    </a:lnTo>
                    <a:lnTo>
                      <a:pt x="205" y="38"/>
                    </a:lnTo>
                    <a:lnTo>
                      <a:pt x="206" y="38"/>
                    </a:lnTo>
                    <a:lnTo>
                      <a:pt x="206" y="37"/>
                    </a:lnTo>
                    <a:lnTo>
                      <a:pt x="207" y="37"/>
                    </a:lnTo>
                    <a:lnTo>
                      <a:pt x="208" y="36"/>
                    </a:lnTo>
                    <a:lnTo>
                      <a:pt x="208" y="35"/>
                    </a:lnTo>
                    <a:lnTo>
                      <a:pt x="209" y="35"/>
                    </a:lnTo>
                    <a:lnTo>
                      <a:pt x="209" y="34"/>
                    </a:lnTo>
                    <a:lnTo>
                      <a:pt x="210" y="34"/>
                    </a:lnTo>
                    <a:lnTo>
                      <a:pt x="211" y="34"/>
                    </a:lnTo>
                    <a:lnTo>
                      <a:pt x="212" y="33"/>
                    </a:lnTo>
                    <a:lnTo>
                      <a:pt x="213" y="33"/>
                    </a:lnTo>
                    <a:lnTo>
                      <a:pt x="215" y="33"/>
                    </a:lnTo>
                    <a:lnTo>
                      <a:pt x="217" y="33"/>
                    </a:lnTo>
                    <a:lnTo>
                      <a:pt x="218" y="33"/>
                    </a:lnTo>
                    <a:lnTo>
                      <a:pt x="218" y="31"/>
                    </a:lnTo>
                    <a:lnTo>
                      <a:pt x="219" y="31"/>
                    </a:lnTo>
                    <a:lnTo>
                      <a:pt x="218" y="31"/>
                    </a:lnTo>
                    <a:lnTo>
                      <a:pt x="218" y="30"/>
                    </a:lnTo>
                    <a:lnTo>
                      <a:pt x="218" y="29"/>
                    </a:lnTo>
                    <a:lnTo>
                      <a:pt x="218" y="28"/>
                    </a:lnTo>
                    <a:lnTo>
                      <a:pt x="219" y="27"/>
                    </a:lnTo>
                    <a:lnTo>
                      <a:pt x="220" y="27"/>
                    </a:lnTo>
                    <a:lnTo>
                      <a:pt x="220" y="26"/>
                    </a:lnTo>
                    <a:lnTo>
                      <a:pt x="221" y="25"/>
                    </a:lnTo>
                    <a:lnTo>
                      <a:pt x="221" y="24"/>
                    </a:lnTo>
                    <a:lnTo>
                      <a:pt x="222" y="24"/>
                    </a:lnTo>
                    <a:lnTo>
                      <a:pt x="222" y="23"/>
                    </a:lnTo>
                    <a:lnTo>
                      <a:pt x="222" y="22"/>
                    </a:lnTo>
                    <a:lnTo>
                      <a:pt x="223" y="21"/>
                    </a:lnTo>
                    <a:lnTo>
                      <a:pt x="224" y="20"/>
                    </a:lnTo>
                    <a:lnTo>
                      <a:pt x="224" y="17"/>
                    </a:lnTo>
                    <a:lnTo>
                      <a:pt x="224" y="16"/>
                    </a:lnTo>
                    <a:lnTo>
                      <a:pt x="225" y="16"/>
                    </a:lnTo>
                    <a:lnTo>
                      <a:pt x="225" y="15"/>
                    </a:lnTo>
                    <a:lnTo>
                      <a:pt x="226" y="15"/>
                    </a:lnTo>
                    <a:lnTo>
                      <a:pt x="228" y="13"/>
                    </a:lnTo>
                    <a:lnTo>
                      <a:pt x="230" y="13"/>
                    </a:lnTo>
                    <a:lnTo>
                      <a:pt x="230" y="12"/>
                    </a:lnTo>
                    <a:lnTo>
                      <a:pt x="230" y="11"/>
                    </a:lnTo>
                    <a:lnTo>
                      <a:pt x="230" y="10"/>
                    </a:lnTo>
                    <a:lnTo>
                      <a:pt x="230" y="9"/>
                    </a:lnTo>
                    <a:lnTo>
                      <a:pt x="231" y="8"/>
                    </a:lnTo>
                    <a:lnTo>
                      <a:pt x="232" y="8"/>
                    </a:lnTo>
                    <a:lnTo>
                      <a:pt x="232" y="6"/>
                    </a:lnTo>
                    <a:lnTo>
                      <a:pt x="231" y="6"/>
                    </a:lnTo>
                    <a:lnTo>
                      <a:pt x="231" y="5"/>
                    </a:lnTo>
                    <a:lnTo>
                      <a:pt x="231" y="4"/>
                    </a:lnTo>
                    <a:lnTo>
                      <a:pt x="231" y="3"/>
                    </a:lnTo>
                    <a:lnTo>
                      <a:pt x="231" y="1"/>
                    </a:lnTo>
                    <a:lnTo>
                      <a:pt x="231" y="0"/>
                    </a:lnTo>
                    <a:lnTo>
                      <a:pt x="232" y="0"/>
                    </a:lnTo>
                    <a:lnTo>
                      <a:pt x="233" y="0"/>
                    </a:lnTo>
                    <a:lnTo>
                      <a:pt x="244" y="0"/>
                    </a:lnTo>
                    <a:lnTo>
                      <a:pt x="257" y="1"/>
                    </a:lnTo>
                    <a:lnTo>
                      <a:pt x="261" y="1"/>
                    </a:lnTo>
                    <a:lnTo>
                      <a:pt x="261" y="63"/>
                    </a:lnTo>
                    <a:lnTo>
                      <a:pt x="261" y="64"/>
                    </a:lnTo>
                    <a:lnTo>
                      <a:pt x="273" y="64"/>
                    </a:lnTo>
                    <a:lnTo>
                      <a:pt x="274" y="64"/>
                    </a:lnTo>
                    <a:lnTo>
                      <a:pt x="274" y="65"/>
                    </a:lnTo>
                    <a:lnTo>
                      <a:pt x="274" y="66"/>
                    </a:lnTo>
                    <a:lnTo>
                      <a:pt x="274" y="67"/>
                    </a:lnTo>
                    <a:lnTo>
                      <a:pt x="274" y="68"/>
                    </a:lnTo>
                    <a:lnTo>
                      <a:pt x="274" y="69"/>
                    </a:lnTo>
                    <a:lnTo>
                      <a:pt x="273" y="70"/>
                    </a:lnTo>
                    <a:lnTo>
                      <a:pt x="272" y="72"/>
                    </a:lnTo>
                    <a:lnTo>
                      <a:pt x="272" y="73"/>
                    </a:lnTo>
                    <a:lnTo>
                      <a:pt x="272" y="74"/>
                    </a:lnTo>
                    <a:lnTo>
                      <a:pt x="272" y="75"/>
                    </a:lnTo>
                    <a:lnTo>
                      <a:pt x="272" y="76"/>
                    </a:lnTo>
                    <a:lnTo>
                      <a:pt x="273" y="77"/>
                    </a:lnTo>
                    <a:lnTo>
                      <a:pt x="273" y="78"/>
                    </a:lnTo>
                    <a:lnTo>
                      <a:pt x="274" y="77"/>
                    </a:lnTo>
                    <a:lnTo>
                      <a:pt x="275" y="77"/>
                    </a:lnTo>
                    <a:lnTo>
                      <a:pt x="276" y="77"/>
                    </a:lnTo>
                    <a:lnTo>
                      <a:pt x="277" y="78"/>
                    </a:lnTo>
                    <a:lnTo>
                      <a:pt x="277" y="79"/>
                    </a:lnTo>
                    <a:lnTo>
                      <a:pt x="277" y="83"/>
                    </a:lnTo>
                    <a:lnTo>
                      <a:pt x="277" y="85"/>
                    </a:lnTo>
                    <a:lnTo>
                      <a:pt x="277" y="89"/>
                    </a:lnTo>
                    <a:lnTo>
                      <a:pt x="278" y="93"/>
                    </a:lnTo>
                    <a:lnTo>
                      <a:pt x="278" y="101"/>
                    </a:lnTo>
                    <a:lnTo>
                      <a:pt x="278" y="104"/>
                    </a:lnTo>
                    <a:lnTo>
                      <a:pt x="278" y="105"/>
                    </a:lnTo>
                    <a:lnTo>
                      <a:pt x="277" y="108"/>
                    </a:lnTo>
                    <a:lnTo>
                      <a:pt x="276" y="112"/>
                    </a:lnTo>
                    <a:lnTo>
                      <a:pt x="274" y="116"/>
                    </a:lnTo>
                    <a:lnTo>
                      <a:pt x="274" y="117"/>
                    </a:lnTo>
                    <a:lnTo>
                      <a:pt x="273" y="120"/>
                    </a:lnTo>
                    <a:lnTo>
                      <a:pt x="273" y="121"/>
                    </a:lnTo>
                    <a:lnTo>
                      <a:pt x="273" y="125"/>
                    </a:lnTo>
                    <a:lnTo>
                      <a:pt x="273" y="126"/>
                    </a:lnTo>
                    <a:lnTo>
                      <a:pt x="276" y="134"/>
                    </a:lnTo>
                    <a:lnTo>
                      <a:pt x="278" y="138"/>
                    </a:lnTo>
                    <a:lnTo>
                      <a:pt x="280" y="140"/>
                    </a:lnTo>
                    <a:lnTo>
                      <a:pt x="282" y="142"/>
                    </a:lnTo>
                    <a:lnTo>
                      <a:pt x="283" y="144"/>
                    </a:lnTo>
                    <a:lnTo>
                      <a:pt x="284" y="145"/>
                    </a:lnTo>
                    <a:lnTo>
                      <a:pt x="285" y="147"/>
                    </a:lnTo>
                    <a:lnTo>
                      <a:pt x="286" y="150"/>
                    </a:lnTo>
                    <a:lnTo>
                      <a:pt x="288" y="152"/>
                    </a:lnTo>
                    <a:lnTo>
                      <a:pt x="289" y="154"/>
                    </a:lnTo>
                    <a:lnTo>
                      <a:pt x="292" y="157"/>
                    </a:lnTo>
                    <a:lnTo>
                      <a:pt x="295" y="159"/>
                    </a:lnTo>
                    <a:lnTo>
                      <a:pt x="296" y="160"/>
                    </a:lnTo>
                    <a:lnTo>
                      <a:pt x="297" y="162"/>
                    </a:lnTo>
                    <a:lnTo>
                      <a:pt x="298" y="163"/>
                    </a:lnTo>
                    <a:lnTo>
                      <a:pt x="299" y="165"/>
                    </a:lnTo>
                    <a:lnTo>
                      <a:pt x="299" y="167"/>
                    </a:lnTo>
                    <a:lnTo>
                      <a:pt x="299" y="168"/>
                    </a:lnTo>
                    <a:lnTo>
                      <a:pt x="299" y="170"/>
                    </a:lnTo>
                    <a:lnTo>
                      <a:pt x="298" y="172"/>
                    </a:lnTo>
                    <a:lnTo>
                      <a:pt x="297" y="173"/>
                    </a:lnTo>
                    <a:lnTo>
                      <a:pt x="296" y="176"/>
                    </a:lnTo>
                    <a:lnTo>
                      <a:pt x="295" y="177"/>
                    </a:lnTo>
                    <a:lnTo>
                      <a:pt x="293" y="178"/>
                    </a:lnTo>
                    <a:lnTo>
                      <a:pt x="292" y="178"/>
                    </a:lnTo>
                    <a:lnTo>
                      <a:pt x="291" y="179"/>
                    </a:lnTo>
                    <a:lnTo>
                      <a:pt x="289" y="179"/>
                    </a:lnTo>
                    <a:lnTo>
                      <a:pt x="287" y="178"/>
                    </a:lnTo>
                    <a:lnTo>
                      <a:pt x="286" y="178"/>
                    </a:lnTo>
                    <a:lnTo>
                      <a:pt x="285" y="177"/>
                    </a:lnTo>
                    <a:lnTo>
                      <a:pt x="283" y="175"/>
                    </a:lnTo>
                    <a:lnTo>
                      <a:pt x="282" y="173"/>
                    </a:lnTo>
                    <a:lnTo>
                      <a:pt x="280" y="172"/>
                    </a:lnTo>
                    <a:lnTo>
                      <a:pt x="277" y="170"/>
                    </a:lnTo>
                    <a:lnTo>
                      <a:pt x="276" y="169"/>
                    </a:lnTo>
                    <a:lnTo>
                      <a:pt x="275" y="168"/>
                    </a:lnTo>
                    <a:lnTo>
                      <a:pt x="274" y="166"/>
                    </a:lnTo>
                    <a:lnTo>
                      <a:pt x="272" y="163"/>
                    </a:lnTo>
                    <a:lnTo>
                      <a:pt x="271" y="158"/>
                    </a:lnTo>
                    <a:lnTo>
                      <a:pt x="270" y="155"/>
                    </a:lnTo>
                    <a:lnTo>
                      <a:pt x="269" y="154"/>
                    </a:lnTo>
                    <a:lnTo>
                      <a:pt x="266" y="153"/>
                    </a:lnTo>
                    <a:lnTo>
                      <a:pt x="265" y="152"/>
                    </a:lnTo>
                    <a:lnTo>
                      <a:pt x="264" y="151"/>
                    </a:lnTo>
                    <a:lnTo>
                      <a:pt x="262" y="151"/>
                    </a:lnTo>
                    <a:lnTo>
                      <a:pt x="261" y="151"/>
                    </a:lnTo>
                    <a:lnTo>
                      <a:pt x="260" y="151"/>
                    </a:lnTo>
                    <a:lnTo>
                      <a:pt x="259" y="151"/>
                    </a:lnTo>
                    <a:lnTo>
                      <a:pt x="258" y="151"/>
                    </a:lnTo>
                    <a:lnTo>
                      <a:pt x="257" y="152"/>
                    </a:lnTo>
                    <a:lnTo>
                      <a:pt x="256" y="153"/>
                    </a:lnTo>
                    <a:lnTo>
                      <a:pt x="254" y="154"/>
                    </a:lnTo>
                    <a:lnTo>
                      <a:pt x="253" y="156"/>
                    </a:lnTo>
                    <a:lnTo>
                      <a:pt x="252" y="158"/>
                    </a:lnTo>
                    <a:lnTo>
                      <a:pt x="251" y="162"/>
                    </a:lnTo>
                    <a:lnTo>
                      <a:pt x="251" y="163"/>
                    </a:lnTo>
                    <a:lnTo>
                      <a:pt x="250" y="164"/>
                    </a:lnTo>
                    <a:lnTo>
                      <a:pt x="249" y="165"/>
                    </a:lnTo>
                    <a:lnTo>
                      <a:pt x="248" y="166"/>
                    </a:lnTo>
                    <a:lnTo>
                      <a:pt x="245" y="169"/>
                    </a:lnTo>
                    <a:lnTo>
                      <a:pt x="244" y="170"/>
                    </a:lnTo>
                    <a:lnTo>
                      <a:pt x="243" y="171"/>
                    </a:lnTo>
                    <a:lnTo>
                      <a:pt x="239" y="173"/>
                    </a:lnTo>
                    <a:lnTo>
                      <a:pt x="237" y="175"/>
                    </a:lnTo>
                    <a:lnTo>
                      <a:pt x="235" y="175"/>
                    </a:lnTo>
                    <a:lnTo>
                      <a:pt x="232" y="176"/>
                    </a:lnTo>
                    <a:lnTo>
                      <a:pt x="228" y="176"/>
                    </a:lnTo>
                    <a:lnTo>
                      <a:pt x="226" y="176"/>
                    </a:lnTo>
                    <a:lnTo>
                      <a:pt x="224" y="176"/>
                    </a:lnTo>
                    <a:lnTo>
                      <a:pt x="223" y="175"/>
                    </a:lnTo>
                    <a:lnTo>
                      <a:pt x="221" y="175"/>
                    </a:lnTo>
                    <a:lnTo>
                      <a:pt x="220" y="173"/>
                    </a:lnTo>
                    <a:lnTo>
                      <a:pt x="219" y="171"/>
                    </a:lnTo>
                    <a:lnTo>
                      <a:pt x="217" y="170"/>
                    </a:lnTo>
                    <a:lnTo>
                      <a:pt x="214" y="167"/>
                    </a:lnTo>
                    <a:lnTo>
                      <a:pt x="213" y="166"/>
                    </a:lnTo>
                    <a:lnTo>
                      <a:pt x="211" y="165"/>
                    </a:lnTo>
                    <a:lnTo>
                      <a:pt x="210" y="164"/>
                    </a:lnTo>
                    <a:lnTo>
                      <a:pt x="209" y="164"/>
                    </a:lnTo>
                    <a:lnTo>
                      <a:pt x="208" y="164"/>
                    </a:lnTo>
                    <a:lnTo>
                      <a:pt x="207" y="165"/>
                    </a:lnTo>
                    <a:lnTo>
                      <a:pt x="206" y="166"/>
                    </a:lnTo>
                    <a:lnTo>
                      <a:pt x="205" y="167"/>
                    </a:lnTo>
                    <a:lnTo>
                      <a:pt x="202" y="168"/>
                    </a:lnTo>
                    <a:lnTo>
                      <a:pt x="201" y="170"/>
                    </a:lnTo>
                    <a:lnTo>
                      <a:pt x="200" y="172"/>
                    </a:lnTo>
                    <a:lnTo>
                      <a:pt x="199" y="175"/>
                    </a:lnTo>
                    <a:lnTo>
                      <a:pt x="199" y="176"/>
                    </a:lnTo>
                    <a:lnTo>
                      <a:pt x="198" y="179"/>
                    </a:lnTo>
                    <a:lnTo>
                      <a:pt x="198" y="180"/>
                    </a:lnTo>
                    <a:lnTo>
                      <a:pt x="198" y="185"/>
                    </a:lnTo>
                    <a:lnTo>
                      <a:pt x="197" y="188"/>
                    </a:lnTo>
                    <a:lnTo>
                      <a:pt x="197" y="192"/>
                    </a:lnTo>
                    <a:lnTo>
                      <a:pt x="197" y="193"/>
                    </a:lnTo>
                    <a:lnTo>
                      <a:pt x="196" y="196"/>
                    </a:lnTo>
                    <a:lnTo>
                      <a:pt x="195" y="198"/>
                    </a:lnTo>
                    <a:lnTo>
                      <a:pt x="194" y="201"/>
                    </a:lnTo>
                    <a:lnTo>
                      <a:pt x="194" y="203"/>
                    </a:lnTo>
                    <a:lnTo>
                      <a:pt x="192" y="206"/>
                    </a:lnTo>
                    <a:lnTo>
                      <a:pt x="190" y="209"/>
                    </a:lnTo>
                    <a:lnTo>
                      <a:pt x="189" y="211"/>
                    </a:lnTo>
                    <a:lnTo>
                      <a:pt x="189" y="213"/>
                    </a:lnTo>
                    <a:lnTo>
                      <a:pt x="189" y="215"/>
                    </a:lnTo>
                    <a:lnTo>
                      <a:pt x="189" y="217"/>
                    </a:lnTo>
                    <a:lnTo>
                      <a:pt x="190" y="219"/>
                    </a:lnTo>
                    <a:lnTo>
                      <a:pt x="190" y="220"/>
                    </a:lnTo>
                    <a:lnTo>
                      <a:pt x="193" y="226"/>
                    </a:lnTo>
                    <a:lnTo>
                      <a:pt x="194" y="229"/>
                    </a:lnTo>
                    <a:lnTo>
                      <a:pt x="194" y="230"/>
                    </a:lnTo>
                    <a:lnTo>
                      <a:pt x="195" y="231"/>
                    </a:lnTo>
                    <a:lnTo>
                      <a:pt x="195" y="232"/>
                    </a:lnTo>
                    <a:lnTo>
                      <a:pt x="195" y="234"/>
                    </a:lnTo>
                    <a:lnTo>
                      <a:pt x="195" y="236"/>
                    </a:lnTo>
                    <a:lnTo>
                      <a:pt x="194" y="239"/>
                    </a:lnTo>
                    <a:lnTo>
                      <a:pt x="193" y="241"/>
                    </a:lnTo>
                    <a:lnTo>
                      <a:pt x="192" y="242"/>
                    </a:lnTo>
                    <a:lnTo>
                      <a:pt x="190" y="243"/>
                    </a:lnTo>
                    <a:lnTo>
                      <a:pt x="188" y="246"/>
                    </a:lnTo>
                    <a:lnTo>
                      <a:pt x="187" y="247"/>
                    </a:lnTo>
                    <a:lnTo>
                      <a:pt x="185" y="248"/>
                    </a:lnTo>
                    <a:lnTo>
                      <a:pt x="184" y="249"/>
                    </a:lnTo>
                    <a:lnTo>
                      <a:pt x="182" y="250"/>
                    </a:lnTo>
                    <a:lnTo>
                      <a:pt x="181" y="252"/>
                    </a:lnTo>
                    <a:lnTo>
                      <a:pt x="177" y="256"/>
                    </a:lnTo>
                    <a:lnTo>
                      <a:pt x="176" y="256"/>
                    </a:lnTo>
                    <a:lnTo>
                      <a:pt x="175" y="257"/>
                    </a:lnTo>
                    <a:lnTo>
                      <a:pt x="173" y="257"/>
                    </a:lnTo>
                    <a:lnTo>
                      <a:pt x="172" y="257"/>
                    </a:lnTo>
                    <a:lnTo>
                      <a:pt x="170" y="257"/>
                    </a:lnTo>
                    <a:lnTo>
                      <a:pt x="168" y="255"/>
                    </a:lnTo>
                    <a:lnTo>
                      <a:pt x="167" y="255"/>
                    </a:lnTo>
                    <a:lnTo>
                      <a:pt x="166" y="253"/>
                    </a:lnTo>
                    <a:lnTo>
                      <a:pt x="163" y="250"/>
                    </a:lnTo>
                    <a:lnTo>
                      <a:pt x="163" y="249"/>
                    </a:lnTo>
                    <a:lnTo>
                      <a:pt x="162" y="248"/>
                    </a:lnTo>
                    <a:lnTo>
                      <a:pt x="161" y="244"/>
                    </a:lnTo>
                    <a:lnTo>
                      <a:pt x="160" y="239"/>
                    </a:lnTo>
                    <a:lnTo>
                      <a:pt x="159" y="237"/>
                    </a:lnTo>
                    <a:lnTo>
                      <a:pt x="159" y="235"/>
                    </a:lnTo>
                    <a:lnTo>
                      <a:pt x="158" y="234"/>
                    </a:lnTo>
                    <a:lnTo>
                      <a:pt x="157" y="233"/>
                    </a:lnTo>
                    <a:lnTo>
                      <a:pt x="156" y="233"/>
                    </a:lnTo>
                    <a:lnTo>
                      <a:pt x="154" y="232"/>
                    </a:lnTo>
                    <a:lnTo>
                      <a:pt x="153" y="232"/>
                    </a:lnTo>
                    <a:lnTo>
                      <a:pt x="151" y="232"/>
                    </a:lnTo>
                    <a:lnTo>
                      <a:pt x="150" y="233"/>
                    </a:lnTo>
                    <a:lnTo>
                      <a:pt x="150" y="234"/>
                    </a:lnTo>
                    <a:lnTo>
                      <a:pt x="149" y="234"/>
                    </a:lnTo>
                    <a:lnTo>
                      <a:pt x="148" y="235"/>
                    </a:lnTo>
                    <a:lnTo>
                      <a:pt x="147" y="235"/>
                    </a:lnTo>
                    <a:lnTo>
                      <a:pt x="144" y="237"/>
                    </a:lnTo>
                    <a:lnTo>
                      <a:pt x="142" y="240"/>
                    </a:lnTo>
                    <a:lnTo>
                      <a:pt x="136" y="243"/>
                    </a:lnTo>
                    <a:lnTo>
                      <a:pt x="135" y="244"/>
                    </a:lnTo>
                    <a:lnTo>
                      <a:pt x="134" y="244"/>
                    </a:lnTo>
                    <a:lnTo>
                      <a:pt x="133" y="245"/>
                    </a:lnTo>
                    <a:lnTo>
                      <a:pt x="133" y="246"/>
                    </a:lnTo>
                    <a:lnTo>
                      <a:pt x="132" y="247"/>
                    </a:lnTo>
                    <a:lnTo>
                      <a:pt x="132" y="248"/>
                    </a:lnTo>
                    <a:lnTo>
                      <a:pt x="131" y="249"/>
                    </a:lnTo>
                    <a:lnTo>
                      <a:pt x="130" y="250"/>
                    </a:lnTo>
                    <a:lnTo>
                      <a:pt x="129" y="252"/>
                    </a:lnTo>
                    <a:lnTo>
                      <a:pt x="128" y="253"/>
                    </a:lnTo>
                    <a:lnTo>
                      <a:pt x="128" y="254"/>
                    </a:lnTo>
                    <a:lnTo>
                      <a:pt x="127" y="255"/>
                    </a:lnTo>
                    <a:lnTo>
                      <a:pt x="127" y="256"/>
                    </a:lnTo>
                    <a:lnTo>
                      <a:pt x="127" y="257"/>
                    </a:lnTo>
                    <a:lnTo>
                      <a:pt x="125" y="258"/>
                    </a:lnTo>
                    <a:lnTo>
                      <a:pt x="124" y="260"/>
                    </a:lnTo>
                    <a:lnTo>
                      <a:pt x="124" y="262"/>
                    </a:lnTo>
                    <a:lnTo>
                      <a:pt x="122" y="266"/>
                    </a:lnTo>
                    <a:lnTo>
                      <a:pt x="122" y="268"/>
                    </a:lnTo>
                    <a:lnTo>
                      <a:pt x="121" y="270"/>
                    </a:lnTo>
                    <a:lnTo>
                      <a:pt x="121" y="271"/>
                    </a:lnTo>
                    <a:lnTo>
                      <a:pt x="121" y="272"/>
                    </a:lnTo>
                    <a:lnTo>
                      <a:pt x="120" y="273"/>
                    </a:lnTo>
                    <a:lnTo>
                      <a:pt x="120" y="274"/>
                    </a:lnTo>
                    <a:lnTo>
                      <a:pt x="120" y="275"/>
                    </a:lnTo>
                    <a:lnTo>
                      <a:pt x="120" y="277"/>
                    </a:lnTo>
                    <a:lnTo>
                      <a:pt x="120" y="279"/>
                    </a:lnTo>
                    <a:lnTo>
                      <a:pt x="120" y="281"/>
                    </a:lnTo>
                    <a:lnTo>
                      <a:pt x="120" y="282"/>
                    </a:lnTo>
                    <a:lnTo>
                      <a:pt x="120" y="283"/>
                    </a:lnTo>
                    <a:lnTo>
                      <a:pt x="120" y="284"/>
                    </a:lnTo>
                    <a:lnTo>
                      <a:pt x="121" y="287"/>
                    </a:lnTo>
                    <a:lnTo>
                      <a:pt x="121" y="288"/>
                    </a:lnTo>
                    <a:lnTo>
                      <a:pt x="121" y="290"/>
                    </a:lnTo>
                    <a:lnTo>
                      <a:pt x="122" y="291"/>
                    </a:lnTo>
                    <a:lnTo>
                      <a:pt x="123" y="294"/>
                    </a:lnTo>
                    <a:lnTo>
                      <a:pt x="124" y="295"/>
                    </a:lnTo>
                    <a:lnTo>
                      <a:pt x="124" y="296"/>
                    </a:lnTo>
                    <a:lnTo>
                      <a:pt x="125" y="296"/>
                    </a:lnTo>
                    <a:lnTo>
                      <a:pt x="127" y="297"/>
                    </a:lnTo>
                    <a:lnTo>
                      <a:pt x="128" y="298"/>
                    </a:lnTo>
                    <a:lnTo>
                      <a:pt x="129" y="299"/>
                    </a:lnTo>
                    <a:lnTo>
                      <a:pt x="130" y="300"/>
                    </a:lnTo>
                    <a:lnTo>
                      <a:pt x="131" y="300"/>
                    </a:lnTo>
                    <a:lnTo>
                      <a:pt x="131" y="301"/>
                    </a:lnTo>
                    <a:lnTo>
                      <a:pt x="132" y="301"/>
                    </a:lnTo>
                    <a:lnTo>
                      <a:pt x="133" y="303"/>
                    </a:lnTo>
                    <a:lnTo>
                      <a:pt x="134" y="304"/>
                    </a:lnTo>
                    <a:lnTo>
                      <a:pt x="135" y="304"/>
                    </a:lnTo>
                    <a:lnTo>
                      <a:pt x="138" y="306"/>
                    </a:lnTo>
                    <a:lnTo>
                      <a:pt x="141" y="307"/>
                    </a:lnTo>
                    <a:lnTo>
                      <a:pt x="141" y="308"/>
                    </a:lnTo>
                    <a:lnTo>
                      <a:pt x="143" y="309"/>
                    </a:lnTo>
                    <a:lnTo>
                      <a:pt x="144" y="310"/>
                    </a:lnTo>
                    <a:lnTo>
                      <a:pt x="145" y="312"/>
                    </a:lnTo>
                    <a:lnTo>
                      <a:pt x="147" y="314"/>
                    </a:lnTo>
                    <a:lnTo>
                      <a:pt x="149" y="317"/>
                    </a:lnTo>
                    <a:lnTo>
                      <a:pt x="150" y="319"/>
                    </a:lnTo>
                    <a:lnTo>
                      <a:pt x="150" y="320"/>
                    </a:lnTo>
                    <a:lnTo>
                      <a:pt x="151" y="321"/>
                    </a:lnTo>
                    <a:lnTo>
                      <a:pt x="151" y="322"/>
                    </a:lnTo>
                    <a:lnTo>
                      <a:pt x="151" y="324"/>
                    </a:lnTo>
                    <a:lnTo>
                      <a:pt x="151" y="326"/>
                    </a:lnTo>
                    <a:lnTo>
                      <a:pt x="151" y="327"/>
                    </a:lnTo>
                    <a:lnTo>
                      <a:pt x="151" y="329"/>
                    </a:lnTo>
                    <a:lnTo>
                      <a:pt x="150" y="329"/>
                    </a:lnTo>
                    <a:lnTo>
                      <a:pt x="150" y="330"/>
                    </a:lnTo>
                    <a:lnTo>
                      <a:pt x="149" y="332"/>
                    </a:lnTo>
                    <a:lnTo>
                      <a:pt x="149" y="333"/>
                    </a:lnTo>
                    <a:lnTo>
                      <a:pt x="148" y="334"/>
                    </a:lnTo>
                    <a:lnTo>
                      <a:pt x="148" y="335"/>
                    </a:lnTo>
                    <a:lnTo>
                      <a:pt x="148" y="336"/>
                    </a:lnTo>
                    <a:lnTo>
                      <a:pt x="147" y="336"/>
                    </a:lnTo>
                    <a:lnTo>
                      <a:pt x="147" y="337"/>
                    </a:lnTo>
                    <a:lnTo>
                      <a:pt x="145" y="339"/>
                    </a:lnTo>
                    <a:lnTo>
                      <a:pt x="144" y="339"/>
                    </a:lnTo>
                    <a:lnTo>
                      <a:pt x="143" y="342"/>
                    </a:lnTo>
                    <a:lnTo>
                      <a:pt x="141" y="343"/>
                    </a:lnTo>
                    <a:lnTo>
                      <a:pt x="137" y="345"/>
                    </a:lnTo>
                    <a:lnTo>
                      <a:pt x="135" y="346"/>
                    </a:lnTo>
                    <a:lnTo>
                      <a:pt x="134" y="347"/>
                    </a:lnTo>
                    <a:lnTo>
                      <a:pt x="134" y="348"/>
                    </a:lnTo>
                    <a:lnTo>
                      <a:pt x="134" y="349"/>
                    </a:lnTo>
                    <a:lnTo>
                      <a:pt x="134" y="350"/>
                    </a:lnTo>
                    <a:lnTo>
                      <a:pt x="134" y="351"/>
                    </a:lnTo>
                    <a:lnTo>
                      <a:pt x="134" y="353"/>
                    </a:lnTo>
                    <a:lnTo>
                      <a:pt x="135" y="356"/>
                    </a:lnTo>
                    <a:lnTo>
                      <a:pt x="137" y="358"/>
                    </a:lnTo>
                    <a:lnTo>
                      <a:pt x="141" y="359"/>
                    </a:lnTo>
                    <a:lnTo>
                      <a:pt x="144" y="361"/>
                    </a:lnTo>
                    <a:lnTo>
                      <a:pt x="149" y="362"/>
                    </a:lnTo>
                    <a:lnTo>
                      <a:pt x="154" y="362"/>
                    </a:lnTo>
                    <a:lnTo>
                      <a:pt x="156" y="362"/>
                    </a:lnTo>
                    <a:lnTo>
                      <a:pt x="158" y="362"/>
                    </a:lnTo>
                    <a:lnTo>
                      <a:pt x="161" y="363"/>
                    </a:lnTo>
                    <a:lnTo>
                      <a:pt x="168" y="363"/>
                    </a:lnTo>
                    <a:lnTo>
                      <a:pt x="174" y="362"/>
                    </a:lnTo>
                    <a:lnTo>
                      <a:pt x="175" y="362"/>
                    </a:lnTo>
                    <a:lnTo>
                      <a:pt x="176" y="363"/>
                    </a:lnTo>
                    <a:lnTo>
                      <a:pt x="179" y="363"/>
                    </a:lnTo>
                    <a:lnTo>
                      <a:pt x="181" y="365"/>
                    </a:lnTo>
                    <a:lnTo>
                      <a:pt x="183" y="368"/>
                    </a:lnTo>
                    <a:lnTo>
                      <a:pt x="184" y="371"/>
                    </a:lnTo>
                    <a:lnTo>
                      <a:pt x="185" y="373"/>
                    </a:lnTo>
                    <a:lnTo>
                      <a:pt x="185" y="375"/>
                    </a:lnTo>
                    <a:lnTo>
                      <a:pt x="185" y="378"/>
                    </a:lnTo>
                    <a:lnTo>
                      <a:pt x="185" y="381"/>
                    </a:lnTo>
                    <a:lnTo>
                      <a:pt x="183" y="383"/>
                    </a:lnTo>
                    <a:lnTo>
                      <a:pt x="182" y="385"/>
                    </a:lnTo>
                    <a:lnTo>
                      <a:pt x="180" y="386"/>
                    </a:lnTo>
                    <a:lnTo>
                      <a:pt x="179" y="387"/>
                    </a:lnTo>
                    <a:lnTo>
                      <a:pt x="176" y="388"/>
                    </a:lnTo>
                    <a:lnTo>
                      <a:pt x="174" y="388"/>
                    </a:lnTo>
                    <a:lnTo>
                      <a:pt x="173" y="388"/>
                    </a:lnTo>
                    <a:lnTo>
                      <a:pt x="170" y="388"/>
                    </a:lnTo>
                    <a:lnTo>
                      <a:pt x="168" y="389"/>
                    </a:lnTo>
                    <a:lnTo>
                      <a:pt x="164" y="389"/>
                    </a:lnTo>
                    <a:lnTo>
                      <a:pt x="162" y="388"/>
                    </a:lnTo>
                    <a:lnTo>
                      <a:pt x="159" y="388"/>
                    </a:lnTo>
                    <a:lnTo>
                      <a:pt x="157" y="387"/>
                    </a:lnTo>
                    <a:lnTo>
                      <a:pt x="156" y="385"/>
                    </a:lnTo>
                    <a:lnTo>
                      <a:pt x="154" y="384"/>
                    </a:lnTo>
                    <a:lnTo>
                      <a:pt x="151" y="382"/>
                    </a:lnTo>
                    <a:lnTo>
                      <a:pt x="149" y="382"/>
                    </a:lnTo>
                    <a:lnTo>
                      <a:pt x="146" y="382"/>
                    </a:lnTo>
                    <a:lnTo>
                      <a:pt x="144" y="382"/>
                    </a:lnTo>
                    <a:lnTo>
                      <a:pt x="143" y="382"/>
                    </a:lnTo>
                    <a:lnTo>
                      <a:pt x="138" y="383"/>
                    </a:lnTo>
                    <a:lnTo>
                      <a:pt x="137" y="384"/>
                    </a:lnTo>
                    <a:lnTo>
                      <a:pt x="134" y="384"/>
                    </a:lnTo>
                    <a:lnTo>
                      <a:pt x="133" y="383"/>
                    </a:lnTo>
                    <a:lnTo>
                      <a:pt x="131" y="382"/>
                    </a:lnTo>
                    <a:lnTo>
                      <a:pt x="131" y="381"/>
                    </a:lnTo>
                    <a:lnTo>
                      <a:pt x="131" y="380"/>
                    </a:lnTo>
                    <a:lnTo>
                      <a:pt x="131" y="375"/>
                    </a:lnTo>
                    <a:lnTo>
                      <a:pt x="131" y="372"/>
                    </a:lnTo>
                    <a:lnTo>
                      <a:pt x="130" y="370"/>
                    </a:lnTo>
                    <a:lnTo>
                      <a:pt x="129" y="367"/>
                    </a:lnTo>
                    <a:lnTo>
                      <a:pt x="128" y="362"/>
                    </a:lnTo>
                    <a:lnTo>
                      <a:pt x="127" y="359"/>
                    </a:lnTo>
                    <a:lnTo>
                      <a:pt x="125" y="353"/>
                    </a:lnTo>
                    <a:lnTo>
                      <a:pt x="122" y="347"/>
                    </a:lnTo>
                    <a:lnTo>
                      <a:pt x="122" y="346"/>
                    </a:lnTo>
                    <a:lnTo>
                      <a:pt x="120" y="343"/>
                    </a:lnTo>
                    <a:lnTo>
                      <a:pt x="119" y="342"/>
                    </a:lnTo>
                    <a:lnTo>
                      <a:pt x="118" y="340"/>
                    </a:lnTo>
                    <a:lnTo>
                      <a:pt x="118" y="339"/>
                    </a:lnTo>
                    <a:lnTo>
                      <a:pt x="117" y="339"/>
                    </a:lnTo>
                    <a:lnTo>
                      <a:pt x="116" y="338"/>
                    </a:lnTo>
                    <a:lnTo>
                      <a:pt x="115" y="338"/>
                    </a:lnTo>
                    <a:lnTo>
                      <a:pt x="114" y="337"/>
                    </a:lnTo>
                    <a:lnTo>
                      <a:pt x="111" y="337"/>
                    </a:lnTo>
                    <a:lnTo>
                      <a:pt x="110" y="337"/>
                    </a:lnTo>
                    <a:lnTo>
                      <a:pt x="108" y="337"/>
                    </a:lnTo>
                    <a:lnTo>
                      <a:pt x="107" y="338"/>
                    </a:lnTo>
                    <a:lnTo>
                      <a:pt x="106" y="339"/>
                    </a:lnTo>
                    <a:lnTo>
                      <a:pt x="105" y="340"/>
                    </a:lnTo>
                    <a:lnTo>
                      <a:pt x="104" y="342"/>
                    </a:lnTo>
                    <a:lnTo>
                      <a:pt x="103" y="342"/>
                    </a:lnTo>
                    <a:lnTo>
                      <a:pt x="102" y="343"/>
                    </a:lnTo>
                    <a:lnTo>
                      <a:pt x="102" y="344"/>
                    </a:lnTo>
                    <a:lnTo>
                      <a:pt x="102" y="345"/>
                    </a:lnTo>
                    <a:lnTo>
                      <a:pt x="102" y="346"/>
                    </a:lnTo>
                    <a:lnTo>
                      <a:pt x="103" y="347"/>
                    </a:lnTo>
                    <a:lnTo>
                      <a:pt x="104" y="348"/>
                    </a:lnTo>
                    <a:lnTo>
                      <a:pt x="104" y="350"/>
                    </a:lnTo>
                    <a:lnTo>
                      <a:pt x="104" y="351"/>
                    </a:lnTo>
                    <a:lnTo>
                      <a:pt x="103" y="353"/>
                    </a:lnTo>
                    <a:lnTo>
                      <a:pt x="102" y="355"/>
                    </a:lnTo>
                    <a:lnTo>
                      <a:pt x="101" y="356"/>
                    </a:lnTo>
                    <a:lnTo>
                      <a:pt x="99" y="357"/>
                    </a:lnTo>
                    <a:lnTo>
                      <a:pt x="98" y="359"/>
                    </a:lnTo>
                    <a:lnTo>
                      <a:pt x="98" y="362"/>
                    </a:lnTo>
                    <a:lnTo>
                      <a:pt x="97" y="363"/>
                    </a:lnTo>
                    <a:lnTo>
                      <a:pt x="97" y="365"/>
                    </a:lnTo>
                    <a:lnTo>
                      <a:pt x="98" y="367"/>
                    </a:lnTo>
                    <a:lnTo>
                      <a:pt x="101" y="374"/>
                    </a:lnTo>
                    <a:lnTo>
                      <a:pt x="102" y="383"/>
                    </a:lnTo>
                    <a:lnTo>
                      <a:pt x="102" y="387"/>
                    </a:lnTo>
                    <a:lnTo>
                      <a:pt x="103" y="391"/>
                    </a:lnTo>
                    <a:lnTo>
                      <a:pt x="103" y="394"/>
                    </a:lnTo>
                    <a:lnTo>
                      <a:pt x="104" y="397"/>
                    </a:lnTo>
                    <a:lnTo>
                      <a:pt x="105" y="399"/>
                    </a:lnTo>
                    <a:lnTo>
                      <a:pt x="107" y="401"/>
                    </a:lnTo>
                    <a:lnTo>
                      <a:pt x="109" y="404"/>
                    </a:lnTo>
                    <a:lnTo>
                      <a:pt x="111" y="407"/>
                    </a:lnTo>
                    <a:lnTo>
                      <a:pt x="114" y="409"/>
                    </a:lnTo>
                    <a:lnTo>
                      <a:pt x="116" y="410"/>
                    </a:lnTo>
                    <a:lnTo>
                      <a:pt x="119" y="411"/>
                    </a:lnTo>
                    <a:lnTo>
                      <a:pt x="121" y="412"/>
                    </a:lnTo>
                    <a:lnTo>
                      <a:pt x="124" y="413"/>
                    </a:lnTo>
                    <a:lnTo>
                      <a:pt x="127" y="414"/>
                    </a:lnTo>
                    <a:lnTo>
                      <a:pt x="132" y="415"/>
                    </a:lnTo>
                    <a:lnTo>
                      <a:pt x="135" y="415"/>
                    </a:lnTo>
                    <a:lnTo>
                      <a:pt x="138" y="414"/>
                    </a:lnTo>
                    <a:lnTo>
                      <a:pt x="142" y="414"/>
                    </a:lnTo>
                    <a:lnTo>
                      <a:pt x="144" y="414"/>
                    </a:lnTo>
                    <a:lnTo>
                      <a:pt x="146" y="414"/>
                    </a:lnTo>
                    <a:lnTo>
                      <a:pt x="147" y="415"/>
                    </a:lnTo>
                    <a:lnTo>
                      <a:pt x="149" y="416"/>
                    </a:lnTo>
                    <a:lnTo>
                      <a:pt x="150" y="417"/>
                    </a:lnTo>
                    <a:lnTo>
                      <a:pt x="150" y="420"/>
                    </a:lnTo>
                    <a:lnTo>
                      <a:pt x="151" y="422"/>
                    </a:lnTo>
                    <a:lnTo>
                      <a:pt x="150" y="423"/>
                    </a:lnTo>
                    <a:lnTo>
                      <a:pt x="149" y="424"/>
                    </a:lnTo>
                    <a:lnTo>
                      <a:pt x="149" y="425"/>
                    </a:lnTo>
                    <a:lnTo>
                      <a:pt x="147" y="426"/>
                    </a:lnTo>
                    <a:lnTo>
                      <a:pt x="146" y="426"/>
                    </a:lnTo>
                    <a:lnTo>
                      <a:pt x="144" y="429"/>
                    </a:lnTo>
                    <a:lnTo>
                      <a:pt x="143" y="429"/>
                    </a:lnTo>
                    <a:lnTo>
                      <a:pt x="141" y="430"/>
                    </a:lnTo>
                    <a:lnTo>
                      <a:pt x="138" y="429"/>
                    </a:lnTo>
                    <a:lnTo>
                      <a:pt x="137" y="429"/>
                    </a:lnTo>
                    <a:lnTo>
                      <a:pt x="136" y="430"/>
                    </a:lnTo>
                    <a:lnTo>
                      <a:pt x="135" y="430"/>
                    </a:lnTo>
                    <a:lnTo>
                      <a:pt x="133" y="432"/>
                    </a:lnTo>
                    <a:lnTo>
                      <a:pt x="132" y="432"/>
                    </a:lnTo>
                    <a:lnTo>
                      <a:pt x="131" y="432"/>
                    </a:lnTo>
                    <a:lnTo>
                      <a:pt x="130" y="432"/>
                    </a:lnTo>
                    <a:lnTo>
                      <a:pt x="129" y="432"/>
                    </a:lnTo>
                    <a:lnTo>
                      <a:pt x="129" y="430"/>
                    </a:lnTo>
                    <a:lnTo>
                      <a:pt x="128" y="430"/>
                    </a:lnTo>
                    <a:lnTo>
                      <a:pt x="127" y="429"/>
                    </a:lnTo>
                    <a:lnTo>
                      <a:pt x="125" y="428"/>
                    </a:lnTo>
                    <a:lnTo>
                      <a:pt x="124" y="428"/>
                    </a:lnTo>
                    <a:lnTo>
                      <a:pt x="123" y="427"/>
                    </a:lnTo>
                    <a:lnTo>
                      <a:pt x="122" y="427"/>
                    </a:lnTo>
                    <a:lnTo>
                      <a:pt x="120" y="426"/>
                    </a:lnTo>
                    <a:lnTo>
                      <a:pt x="119" y="426"/>
                    </a:lnTo>
                    <a:lnTo>
                      <a:pt x="118" y="426"/>
                    </a:lnTo>
                    <a:lnTo>
                      <a:pt x="116" y="426"/>
                    </a:lnTo>
                    <a:lnTo>
                      <a:pt x="114" y="426"/>
                    </a:lnTo>
                    <a:lnTo>
                      <a:pt x="111" y="427"/>
                    </a:lnTo>
                    <a:lnTo>
                      <a:pt x="109" y="428"/>
                    </a:lnTo>
                    <a:lnTo>
                      <a:pt x="105" y="432"/>
                    </a:lnTo>
                    <a:lnTo>
                      <a:pt x="102" y="435"/>
                    </a:lnTo>
                    <a:lnTo>
                      <a:pt x="101" y="437"/>
                    </a:lnTo>
                    <a:lnTo>
                      <a:pt x="99" y="439"/>
                    </a:lnTo>
                    <a:lnTo>
                      <a:pt x="98" y="441"/>
                    </a:lnTo>
                    <a:lnTo>
                      <a:pt x="98" y="444"/>
                    </a:lnTo>
                    <a:lnTo>
                      <a:pt x="97" y="450"/>
                    </a:lnTo>
                    <a:lnTo>
                      <a:pt x="97" y="453"/>
                    </a:lnTo>
                    <a:lnTo>
                      <a:pt x="96" y="457"/>
                    </a:lnTo>
                    <a:lnTo>
                      <a:pt x="96" y="461"/>
                    </a:lnTo>
                    <a:lnTo>
                      <a:pt x="96" y="463"/>
                    </a:lnTo>
                    <a:lnTo>
                      <a:pt x="96" y="467"/>
                    </a:lnTo>
                    <a:lnTo>
                      <a:pt x="95" y="471"/>
                    </a:lnTo>
                    <a:lnTo>
                      <a:pt x="96" y="472"/>
                    </a:lnTo>
                    <a:lnTo>
                      <a:pt x="96" y="474"/>
                    </a:lnTo>
                    <a:lnTo>
                      <a:pt x="96" y="477"/>
                    </a:lnTo>
                    <a:lnTo>
                      <a:pt x="97" y="478"/>
                    </a:lnTo>
                    <a:lnTo>
                      <a:pt x="98" y="481"/>
                    </a:lnTo>
                    <a:lnTo>
                      <a:pt x="102" y="484"/>
                    </a:lnTo>
                    <a:lnTo>
                      <a:pt x="104" y="486"/>
                    </a:lnTo>
                    <a:lnTo>
                      <a:pt x="108" y="487"/>
                    </a:lnTo>
                    <a:lnTo>
                      <a:pt x="110" y="488"/>
                    </a:lnTo>
                    <a:lnTo>
                      <a:pt x="111" y="488"/>
                    </a:lnTo>
                    <a:lnTo>
                      <a:pt x="114" y="488"/>
                    </a:lnTo>
                    <a:lnTo>
                      <a:pt x="117" y="487"/>
                    </a:lnTo>
                    <a:lnTo>
                      <a:pt x="119" y="486"/>
                    </a:lnTo>
                    <a:lnTo>
                      <a:pt x="120" y="486"/>
                    </a:lnTo>
                    <a:lnTo>
                      <a:pt x="120" y="487"/>
                    </a:lnTo>
                    <a:lnTo>
                      <a:pt x="121" y="487"/>
                    </a:lnTo>
                    <a:lnTo>
                      <a:pt x="122" y="488"/>
                    </a:lnTo>
                    <a:lnTo>
                      <a:pt x="123" y="489"/>
                    </a:lnTo>
                    <a:lnTo>
                      <a:pt x="123" y="491"/>
                    </a:lnTo>
                    <a:lnTo>
                      <a:pt x="123" y="493"/>
                    </a:lnTo>
                    <a:lnTo>
                      <a:pt x="123" y="498"/>
                    </a:lnTo>
                    <a:lnTo>
                      <a:pt x="122" y="499"/>
                    </a:lnTo>
                    <a:lnTo>
                      <a:pt x="121" y="501"/>
                    </a:lnTo>
                    <a:lnTo>
                      <a:pt x="120" y="502"/>
                    </a:lnTo>
                    <a:lnTo>
                      <a:pt x="117" y="506"/>
                    </a:lnTo>
                    <a:lnTo>
                      <a:pt x="116" y="506"/>
                    </a:lnTo>
                    <a:lnTo>
                      <a:pt x="115" y="505"/>
                    </a:lnTo>
                    <a:lnTo>
                      <a:pt x="114" y="505"/>
                    </a:lnTo>
                    <a:lnTo>
                      <a:pt x="111" y="506"/>
                    </a:lnTo>
                    <a:lnTo>
                      <a:pt x="111" y="507"/>
                    </a:lnTo>
                    <a:lnTo>
                      <a:pt x="109" y="509"/>
                    </a:lnTo>
                    <a:lnTo>
                      <a:pt x="108" y="510"/>
                    </a:lnTo>
                    <a:lnTo>
                      <a:pt x="107" y="510"/>
                    </a:lnTo>
                    <a:lnTo>
                      <a:pt x="106" y="510"/>
                    </a:lnTo>
                    <a:lnTo>
                      <a:pt x="105" y="510"/>
                    </a:lnTo>
                    <a:lnTo>
                      <a:pt x="104" y="509"/>
                    </a:lnTo>
                    <a:lnTo>
                      <a:pt x="102" y="506"/>
                    </a:lnTo>
                    <a:lnTo>
                      <a:pt x="101" y="504"/>
                    </a:lnTo>
                    <a:lnTo>
                      <a:pt x="97" y="501"/>
                    </a:lnTo>
                    <a:lnTo>
                      <a:pt x="96" y="499"/>
                    </a:lnTo>
                    <a:lnTo>
                      <a:pt x="94" y="497"/>
                    </a:lnTo>
                    <a:lnTo>
                      <a:pt x="91" y="494"/>
                    </a:lnTo>
                    <a:lnTo>
                      <a:pt x="84" y="490"/>
                    </a:lnTo>
                    <a:lnTo>
                      <a:pt x="82" y="489"/>
                    </a:lnTo>
                    <a:lnTo>
                      <a:pt x="79" y="488"/>
                    </a:lnTo>
                    <a:lnTo>
                      <a:pt x="73" y="486"/>
                    </a:lnTo>
                    <a:lnTo>
                      <a:pt x="70" y="485"/>
                    </a:lnTo>
                    <a:lnTo>
                      <a:pt x="65" y="486"/>
                    </a:lnTo>
                    <a:lnTo>
                      <a:pt x="61" y="486"/>
                    </a:lnTo>
                    <a:lnTo>
                      <a:pt x="59" y="487"/>
                    </a:lnTo>
                    <a:lnTo>
                      <a:pt x="57" y="488"/>
                    </a:lnTo>
                    <a:lnTo>
                      <a:pt x="55" y="490"/>
                    </a:lnTo>
                    <a:lnTo>
                      <a:pt x="52" y="493"/>
                    </a:lnTo>
                    <a:lnTo>
                      <a:pt x="51" y="496"/>
                    </a:lnTo>
                    <a:lnTo>
                      <a:pt x="50" y="499"/>
                    </a:lnTo>
                    <a:lnTo>
                      <a:pt x="48" y="500"/>
                    </a:lnTo>
                    <a:lnTo>
                      <a:pt x="48" y="501"/>
                    </a:lnTo>
                    <a:lnTo>
                      <a:pt x="47" y="503"/>
                    </a:lnTo>
                    <a:lnTo>
                      <a:pt x="47" y="504"/>
                    </a:lnTo>
                    <a:lnTo>
                      <a:pt x="47" y="505"/>
                    </a:lnTo>
                    <a:lnTo>
                      <a:pt x="47" y="507"/>
                    </a:lnTo>
                    <a:lnTo>
                      <a:pt x="50" y="511"/>
                    </a:lnTo>
                    <a:lnTo>
                      <a:pt x="51" y="514"/>
                    </a:lnTo>
                    <a:lnTo>
                      <a:pt x="52" y="517"/>
                    </a:lnTo>
                    <a:lnTo>
                      <a:pt x="53" y="518"/>
                    </a:lnTo>
                    <a:lnTo>
                      <a:pt x="53" y="519"/>
                    </a:lnTo>
                    <a:lnTo>
                      <a:pt x="53" y="520"/>
                    </a:lnTo>
                    <a:lnTo>
                      <a:pt x="53" y="522"/>
                    </a:lnTo>
                    <a:lnTo>
                      <a:pt x="53" y="523"/>
                    </a:lnTo>
                    <a:lnTo>
                      <a:pt x="53" y="524"/>
                    </a:lnTo>
                    <a:lnTo>
                      <a:pt x="53" y="526"/>
                    </a:lnTo>
                    <a:lnTo>
                      <a:pt x="54" y="527"/>
                    </a:lnTo>
                    <a:lnTo>
                      <a:pt x="55" y="528"/>
                    </a:lnTo>
                    <a:lnTo>
                      <a:pt x="57" y="528"/>
                    </a:lnTo>
                    <a:lnTo>
                      <a:pt x="58" y="528"/>
                    </a:lnTo>
                    <a:lnTo>
                      <a:pt x="59" y="528"/>
                    </a:lnTo>
                    <a:lnTo>
                      <a:pt x="60" y="527"/>
                    </a:lnTo>
                    <a:lnTo>
                      <a:pt x="61" y="527"/>
                    </a:lnTo>
                    <a:lnTo>
                      <a:pt x="63" y="528"/>
                    </a:lnTo>
                    <a:lnTo>
                      <a:pt x="64" y="529"/>
                    </a:lnTo>
                    <a:lnTo>
                      <a:pt x="64" y="530"/>
                    </a:lnTo>
                    <a:lnTo>
                      <a:pt x="63" y="532"/>
                    </a:lnTo>
                    <a:lnTo>
                      <a:pt x="61" y="532"/>
                    </a:lnTo>
                    <a:lnTo>
                      <a:pt x="58" y="532"/>
                    </a:lnTo>
                    <a:lnTo>
                      <a:pt x="57" y="532"/>
                    </a:lnTo>
                    <a:lnTo>
                      <a:pt x="56" y="534"/>
                    </a:lnTo>
                    <a:lnTo>
                      <a:pt x="54" y="535"/>
                    </a:lnTo>
                    <a:lnTo>
                      <a:pt x="53" y="537"/>
                    </a:lnTo>
                    <a:lnTo>
                      <a:pt x="52" y="538"/>
                    </a:lnTo>
                    <a:lnTo>
                      <a:pt x="51" y="539"/>
                    </a:lnTo>
                    <a:lnTo>
                      <a:pt x="50" y="539"/>
                    </a:lnTo>
                    <a:lnTo>
                      <a:pt x="48" y="539"/>
                    </a:lnTo>
                    <a:lnTo>
                      <a:pt x="47" y="538"/>
                    </a:lnTo>
                    <a:lnTo>
                      <a:pt x="47" y="537"/>
                    </a:lnTo>
                    <a:lnTo>
                      <a:pt x="47" y="536"/>
                    </a:lnTo>
                    <a:lnTo>
                      <a:pt x="47" y="534"/>
                    </a:lnTo>
                    <a:lnTo>
                      <a:pt x="47" y="529"/>
                    </a:lnTo>
                    <a:lnTo>
                      <a:pt x="47" y="526"/>
                    </a:lnTo>
                    <a:lnTo>
                      <a:pt x="46" y="525"/>
                    </a:lnTo>
                    <a:lnTo>
                      <a:pt x="46" y="524"/>
                    </a:lnTo>
                    <a:lnTo>
                      <a:pt x="45" y="524"/>
                    </a:lnTo>
                    <a:lnTo>
                      <a:pt x="44" y="523"/>
                    </a:lnTo>
                    <a:lnTo>
                      <a:pt x="43" y="522"/>
                    </a:lnTo>
                    <a:lnTo>
                      <a:pt x="42" y="522"/>
                    </a:lnTo>
                    <a:lnTo>
                      <a:pt x="41" y="522"/>
                    </a:lnTo>
                    <a:lnTo>
                      <a:pt x="40" y="522"/>
                    </a:lnTo>
                    <a:lnTo>
                      <a:pt x="39" y="523"/>
                    </a:lnTo>
                    <a:lnTo>
                      <a:pt x="38" y="523"/>
                    </a:lnTo>
                    <a:lnTo>
                      <a:pt x="38" y="524"/>
                    </a:lnTo>
                    <a:lnTo>
                      <a:pt x="37" y="528"/>
                    </a:lnTo>
                    <a:lnTo>
                      <a:pt x="37" y="529"/>
                    </a:lnTo>
                    <a:lnTo>
                      <a:pt x="35" y="531"/>
                    </a:lnTo>
                    <a:lnTo>
                      <a:pt x="34" y="532"/>
                    </a:lnTo>
                    <a:lnTo>
                      <a:pt x="32" y="535"/>
                    </a:lnTo>
                    <a:lnTo>
                      <a:pt x="30" y="536"/>
                    </a:lnTo>
                    <a:lnTo>
                      <a:pt x="29" y="537"/>
                    </a:lnTo>
                    <a:lnTo>
                      <a:pt x="27" y="538"/>
                    </a:lnTo>
                    <a:lnTo>
                      <a:pt x="25" y="538"/>
                    </a:lnTo>
                    <a:lnTo>
                      <a:pt x="22" y="537"/>
                    </a:lnTo>
                    <a:lnTo>
                      <a:pt x="20" y="537"/>
                    </a:lnTo>
                    <a:lnTo>
                      <a:pt x="19" y="536"/>
                    </a:lnTo>
                    <a:lnTo>
                      <a:pt x="18" y="534"/>
                    </a:lnTo>
                    <a:lnTo>
                      <a:pt x="18" y="532"/>
                    </a:lnTo>
                    <a:lnTo>
                      <a:pt x="19" y="530"/>
                    </a:lnTo>
                    <a:lnTo>
                      <a:pt x="20" y="529"/>
                    </a:lnTo>
                    <a:lnTo>
                      <a:pt x="20" y="528"/>
                    </a:lnTo>
                    <a:lnTo>
                      <a:pt x="20" y="527"/>
                    </a:lnTo>
                    <a:lnTo>
                      <a:pt x="19" y="527"/>
                    </a:lnTo>
                    <a:lnTo>
                      <a:pt x="19" y="526"/>
                    </a:lnTo>
                    <a:lnTo>
                      <a:pt x="18" y="526"/>
                    </a:lnTo>
                    <a:lnTo>
                      <a:pt x="17" y="526"/>
                    </a:lnTo>
                    <a:lnTo>
                      <a:pt x="15" y="526"/>
                    </a:lnTo>
                    <a:lnTo>
                      <a:pt x="14" y="525"/>
                    </a:lnTo>
                    <a:lnTo>
                      <a:pt x="13" y="525"/>
                    </a:lnTo>
                    <a:lnTo>
                      <a:pt x="12" y="524"/>
                    </a:lnTo>
                    <a:lnTo>
                      <a:pt x="12" y="523"/>
                    </a:lnTo>
                    <a:lnTo>
                      <a:pt x="13" y="523"/>
                    </a:lnTo>
                    <a:lnTo>
                      <a:pt x="14" y="522"/>
                    </a:lnTo>
                    <a:lnTo>
                      <a:pt x="15" y="522"/>
                    </a:lnTo>
                    <a:lnTo>
                      <a:pt x="16" y="522"/>
                    </a:lnTo>
                    <a:lnTo>
                      <a:pt x="17" y="522"/>
                    </a:lnTo>
                    <a:lnTo>
                      <a:pt x="18" y="522"/>
                    </a:lnTo>
                    <a:lnTo>
                      <a:pt x="19" y="520"/>
                    </a:lnTo>
                    <a:lnTo>
                      <a:pt x="20" y="519"/>
                    </a:lnTo>
                    <a:lnTo>
                      <a:pt x="21" y="519"/>
                    </a:lnTo>
                    <a:lnTo>
                      <a:pt x="22" y="518"/>
                    </a:lnTo>
                    <a:lnTo>
                      <a:pt x="22" y="517"/>
                    </a:lnTo>
                    <a:lnTo>
                      <a:pt x="21" y="517"/>
                    </a:lnTo>
                    <a:lnTo>
                      <a:pt x="20" y="517"/>
                    </a:lnTo>
                    <a:lnTo>
                      <a:pt x="19" y="516"/>
                    </a:lnTo>
                    <a:lnTo>
                      <a:pt x="18" y="516"/>
                    </a:lnTo>
                    <a:lnTo>
                      <a:pt x="17" y="516"/>
                    </a:lnTo>
                    <a:lnTo>
                      <a:pt x="16" y="516"/>
                    </a:lnTo>
                    <a:lnTo>
                      <a:pt x="15" y="514"/>
                    </a:lnTo>
                    <a:lnTo>
                      <a:pt x="14" y="513"/>
                    </a:lnTo>
                    <a:lnTo>
                      <a:pt x="13" y="513"/>
                    </a:lnTo>
                    <a:lnTo>
                      <a:pt x="13" y="512"/>
                    </a:lnTo>
                    <a:lnTo>
                      <a:pt x="13" y="511"/>
                    </a:lnTo>
                    <a:lnTo>
                      <a:pt x="12" y="511"/>
                    </a:lnTo>
                    <a:lnTo>
                      <a:pt x="12" y="510"/>
                    </a:lnTo>
                    <a:lnTo>
                      <a:pt x="12" y="509"/>
                    </a:lnTo>
                    <a:lnTo>
                      <a:pt x="12" y="507"/>
                    </a:lnTo>
                    <a:lnTo>
                      <a:pt x="12" y="506"/>
                    </a:lnTo>
                    <a:lnTo>
                      <a:pt x="13" y="506"/>
                    </a:lnTo>
                    <a:lnTo>
                      <a:pt x="14" y="506"/>
                    </a:lnTo>
                    <a:lnTo>
                      <a:pt x="15" y="506"/>
                    </a:lnTo>
                    <a:lnTo>
                      <a:pt x="16" y="507"/>
                    </a:lnTo>
                    <a:lnTo>
                      <a:pt x="17" y="506"/>
                    </a:lnTo>
                    <a:lnTo>
                      <a:pt x="18" y="505"/>
                    </a:lnTo>
                    <a:lnTo>
                      <a:pt x="18" y="504"/>
                    </a:lnTo>
                    <a:lnTo>
                      <a:pt x="19" y="503"/>
                    </a:lnTo>
                    <a:lnTo>
                      <a:pt x="19" y="502"/>
                    </a:lnTo>
                    <a:lnTo>
                      <a:pt x="19" y="501"/>
                    </a:lnTo>
                    <a:lnTo>
                      <a:pt x="18" y="501"/>
                    </a:lnTo>
                    <a:lnTo>
                      <a:pt x="17" y="502"/>
                    </a:lnTo>
                    <a:lnTo>
                      <a:pt x="16" y="503"/>
                    </a:lnTo>
                    <a:lnTo>
                      <a:pt x="15" y="504"/>
                    </a:lnTo>
                    <a:lnTo>
                      <a:pt x="14" y="504"/>
                    </a:lnTo>
                    <a:lnTo>
                      <a:pt x="13" y="504"/>
                    </a:lnTo>
                    <a:lnTo>
                      <a:pt x="13" y="503"/>
                    </a:lnTo>
                    <a:lnTo>
                      <a:pt x="13" y="502"/>
                    </a:lnTo>
                    <a:lnTo>
                      <a:pt x="12" y="502"/>
                    </a:lnTo>
                    <a:lnTo>
                      <a:pt x="13" y="501"/>
                    </a:lnTo>
                    <a:lnTo>
                      <a:pt x="11" y="500"/>
                    </a:lnTo>
                    <a:lnTo>
                      <a:pt x="9" y="500"/>
                    </a:lnTo>
                    <a:lnTo>
                      <a:pt x="8" y="500"/>
                    </a:lnTo>
                    <a:lnTo>
                      <a:pt x="7" y="500"/>
                    </a:lnTo>
                    <a:lnTo>
                      <a:pt x="7" y="499"/>
                    </a:lnTo>
                    <a:lnTo>
                      <a:pt x="7" y="498"/>
                    </a:lnTo>
                    <a:lnTo>
                      <a:pt x="8" y="496"/>
                    </a:lnTo>
                    <a:lnTo>
                      <a:pt x="8" y="494"/>
                    </a:lnTo>
                    <a:lnTo>
                      <a:pt x="7" y="494"/>
                    </a:lnTo>
                    <a:lnTo>
                      <a:pt x="6" y="496"/>
                    </a:lnTo>
                    <a:lnTo>
                      <a:pt x="4" y="497"/>
                    </a:lnTo>
                    <a:lnTo>
                      <a:pt x="3" y="497"/>
                    </a:lnTo>
                    <a:lnTo>
                      <a:pt x="2" y="497"/>
                    </a:lnTo>
                    <a:lnTo>
                      <a:pt x="1" y="496"/>
                    </a:lnTo>
                    <a:lnTo>
                      <a:pt x="1" y="494"/>
                    </a:lnTo>
                    <a:lnTo>
                      <a:pt x="0" y="494"/>
                    </a:lnTo>
                    <a:lnTo>
                      <a:pt x="0" y="493"/>
                    </a:lnTo>
                    <a:lnTo>
                      <a:pt x="1" y="492"/>
                    </a:lnTo>
                    <a:lnTo>
                      <a:pt x="2" y="492"/>
                    </a:lnTo>
                    <a:lnTo>
                      <a:pt x="2" y="491"/>
                    </a:lnTo>
                    <a:lnTo>
                      <a:pt x="3" y="491"/>
                    </a:lnTo>
                    <a:lnTo>
                      <a:pt x="5" y="490"/>
                    </a:lnTo>
                    <a:lnTo>
                      <a:pt x="5" y="489"/>
                    </a:lnTo>
                    <a:lnTo>
                      <a:pt x="4" y="488"/>
                    </a:lnTo>
                    <a:lnTo>
                      <a:pt x="3" y="487"/>
                    </a:lnTo>
                    <a:lnTo>
                      <a:pt x="3" y="486"/>
                    </a:lnTo>
                    <a:lnTo>
                      <a:pt x="2" y="486"/>
                    </a:lnTo>
                    <a:lnTo>
                      <a:pt x="2" y="485"/>
                    </a:lnTo>
                    <a:lnTo>
                      <a:pt x="2" y="484"/>
                    </a:lnTo>
                    <a:lnTo>
                      <a:pt x="3" y="483"/>
                    </a:lnTo>
                    <a:lnTo>
                      <a:pt x="4" y="481"/>
                    </a:lnTo>
                    <a:lnTo>
                      <a:pt x="4" y="480"/>
                    </a:lnTo>
                    <a:lnTo>
                      <a:pt x="5" y="480"/>
                    </a:lnTo>
                    <a:lnTo>
                      <a:pt x="6" y="480"/>
                    </a:lnTo>
                    <a:lnTo>
                      <a:pt x="7" y="480"/>
                    </a:lnTo>
                    <a:lnTo>
                      <a:pt x="7" y="481"/>
                    </a:lnTo>
                    <a:lnTo>
                      <a:pt x="8" y="483"/>
                    </a:lnTo>
                    <a:lnTo>
                      <a:pt x="7" y="485"/>
                    </a:lnTo>
                    <a:lnTo>
                      <a:pt x="7" y="486"/>
                    </a:lnTo>
                    <a:lnTo>
                      <a:pt x="7" y="487"/>
                    </a:lnTo>
                    <a:lnTo>
                      <a:pt x="7" y="488"/>
                    </a:lnTo>
                    <a:lnTo>
                      <a:pt x="8" y="488"/>
                    </a:lnTo>
                    <a:lnTo>
                      <a:pt x="9" y="488"/>
                    </a:lnTo>
                    <a:lnTo>
                      <a:pt x="9" y="487"/>
                    </a:lnTo>
                    <a:lnTo>
                      <a:pt x="11" y="486"/>
                    </a:lnTo>
                    <a:lnTo>
                      <a:pt x="11" y="485"/>
                    </a:lnTo>
                    <a:lnTo>
                      <a:pt x="12" y="485"/>
                    </a:lnTo>
                    <a:lnTo>
                      <a:pt x="13" y="485"/>
                    </a:lnTo>
                    <a:lnTo>
                      <a:pt x="14" y="485"/>
                    </a:lnTo>
                    <a:lnTo>
                      <a:pt x="15" y="485"/>
                    </a:lnTo>
                    <a:lnTo>
                      <a:pt x="16" y="485"/>
                    </a:lnTo>
                    <a:lnTo>
                      <a:pt x="17" y="485"/>
                    </a:lnTo>
                    <a:lnTo>
                      <a:pt x="17" y="484"/>
                    </a:lnTo>
                    <a:lnTo>
                      <a:pt x="17" y="483"/>
                    </a:lnTo>
                    <a:lnTo>
                      <a:pt x="15" y="481"/>
                    </a:lnTo>
                    <a:lnTo>
                      <a:pt x="14" y="481"/>
                    </a:lnTo>
                    <a:lnTo>
                      <a:pt x="14" y="480"/>
                    </a:lnTo>
                    <a:lnTo>
                      <a:pt x="13" y="480"/>
                    </a:lnTo>
                    <a:lnTo>
                      <a:pt x="12" y="479"/>
                    </a:lnTo>
                    <a:lnTo>
                      <a:pt x="11" y="479"/>
                    </a:lnTo>
                    <a:lnTo>
                      <a:pt x="11" y="478"/>
                    </a:lnTo>
                    <a:lnTo>
                      <a:pt x="9" y="477"/>
                    </a:lnTo>
                    <a:lnTo>
                      <a:pt x="9" y="476"/>
                    </a:lnTo>
                    <a:lnTo>
                      <a:pt x="9" y="475"/>
                    </a:lnTo>
                    <a:lnTo>
                      <a:pt x="11" y="474"/>
                    </a:lnTo>
                    <a:lnTo>
                      <a:pt x="12" y="472"/>
                    </a:lnTo>
                    <a:lnTo>
                      <a:pt x="13" y="472"/>
                    </a:lnTo>
                    <a:lnTo>
                      <a:pt x="13" y="471"/>
                    </a:lnTo>
                    <a:lnTo>
                      <a:pt x="14" y="470"/>
                    </a:lnTo>
                    <a:lnTo>
                      <a:pt x="13" y="466"/>
                    </a:lnTo>
                    <a:lnTo>
                      <a:pt x="13" y="465"/>
                    </a:lnTo>
                    <a:lnTo>
                      <a:pt x="12" y="464"/>
                    </a:lnTo>
                    <a:lnTo>
                      <a:pt x="11" y="464"/>
                    </a:lnTo>
                    <a:lnTo>
                      <a:pt x="9" y="464"/>
                    </a:lnTo>
                    <a:lnTo>
                      <a:pt x="9" y="459"/>
                    </a:lnTo>
                    <a:lnTo>
                      <a:pt x="9" y="458"/>
                    </a:lnTo>
                    <a:lnTo>
                      <a:pt x="9" y="457"/>
                    </a:lnTo>
                    <a:lnTo>
                      <a:pt x="9" y="450"/>
                    </a:lnTo>
                    <a:lnTo>
                      <a:pt x="9" y="433"/>
                    </a:lnTo>
                    <a:lnTo>
                      <a:pt x="9" y="430"/>
                    </a:lnTo>
                    <a:lnTo>
                      <a:pt x="9" y="428"/>
                    </a:lnTo>
                    <a:lnTo>
                      <a:pt x="9" y="416"/>
                    </a:lnTo>
                    <a:lnTo>
                      <a:pt x="9" y="414"/>
                    </a:lnTo>
                    <a:lnTo>
                      <a:pt x="9" y="411"/>
                    </a:lnTo>
                    <a:lnTo>
                      <a:pt x="9" y="389"/>
                    </a:lnTo>
                    <a:lnTo>
                      <a:pt x="9" y="346"/>
                    </a:lnTo>
                    <a:lnTo>
                      <a:pt x="9" y="338"/>
                    </a:lnTo>
                    <a:lnTo>
                      <a:pt x="9" y="336"/>
                    </a:lnTo>
                    <a:lnTo>
                      <a:pt x="9" y="333"/>
                    </a:lnTo>
                    <a:lnTo>
                      <a:pt x="9" y="322"/>
                    </a:lnTo>
                    <a:lnTo>
                      <a:pt x="9" y="320"/>
                    </a:lnTo>
                    <a:lnTo>
                      <a:pt x="9" y="318"/>
                    </a:lnTo>
                    <a:lnTo>
                      <a:pt x="9" y="316"/>
                    </a:lnTo>
                    <a:lnTo>
                      <a:pt x="9" y="313"/>
                    </a:lnTo>
                    <a:lnTo>
                      <a:pt x="9" y="312"/>
                    </a:lnTo>
                    <a:lnTo>
                      <a:pt x="9" y="311"/>
                    </a:lnTo>
                    <a:lnTo>
                      <a:pt x="9" y="310"/>
                    </a:lnTo>
                    <a:lnTo>
                      <a:pt x="9" y="309"/>
                    </a:lnTo>
                    <a:lnTo>
                      <a:pt x="9" y="307"/>
                    </a:lnTo>
                    <a:lnTo>
                      <a:pt x="9" y="306"/>
                    </a:lnTo>
                    <a:lnTo>
                      <a:pt x="9" y="305"/>
                    </a:lnTo>
                    <a:lnTo>
                      <a:pt x="9" y="303"/>
                    </a:lnTo>
                    <a:lnTo>
                      <a:pt x="9" y="296"/>
                    </a:lnTo>
                    <a:lnTo>
                      <a:pt x="9" y="288"/>
                    </a:lnTo>
                    <a:lnTo>
                      <a:pt x="9" y="283"/>
                    </a:lnTo>
                    <a:lnTo>
                      <a:pt x="9" y="281"/>
                    </a:lnTo>
                    <a:lnTo>
                      <a:pt x="9" y="277"/>
                    </a:lnTo>
                    <a:lnTo>
                      <a:pt x="9" y="274"/>
                    </a:lnTo>
                    <a:lnTo>
                      <a:pt x="9" y="263"/>
                    </a:lnTo>
                    <a:lnTo>
                      <a:pt x="9" y="262"/>
                    </a:lnTo>
                    <a:lnTo>
                      <a:pt x="9" y="261"/>
                    </a:lnTo>
                    <a:lnTo>
                      <a:pt x="9" y="260"/>
                    </a:lnTo>
                    <a:lnTo>
                      <a:pt x="9" y="257"/>
                    </a:lnTo>
                    <a:lnTo>
                      <a:pt x="9" y="256"/>
                    </a:lnTo>
                    <a:lnTo>
                      <a:pt x="9" y="255"/>
                    </a:lnTo>
                    <a:lnTo>
                      <a:pt x="9" y="254"/>
                    </a:lnTo>
                    <a:lnTo>
                      <a:pt x="9" y="249"/>
                    </a:lnTo>
                    <a:lnTo>
                      <a:pt x="9" y="224"/>
                    </a:lnTo>
                    <a:lnTo>
                      <a:pt x="9" y="207"/>
                    </a:lnTo>
                    <a:lnTo>
                      <a:pt x="9" y="202"/>
                    </a:lnTo>
                    <a:lnTo>
                      <a:pt x="9" y="201"/>
                    </a:lnTo>
                    <a:lnTo>
                      <a:pt x="9" y="195"/>
                    </a:lnTo>
                    <a:lnTo>
                      <a:pt x="9" y="173"/>
                    </a:lnTo>
                    <a:lnTo>
                      <a:pt x="9" y="171"/>
                    </a:lnTo>
                    <a:lnTo>
                      <a:pt x="9" y="162"/>
                    </a:lnTo>
                    <a:lnTo>
                      <a:pt x="9" y="159"/>
                    </a:lnTo>
                    <a:lnTo>
                      <a:pt x="9" y="134"/>
                    </a:lnTo>
                    <a:lnTo>
                      <a:pt x="9" y="126"/>
                    </a:lnTo>
                    <a:lnTo>
                      <a:pt x="11" y="126"/>
                    </a:lnTo>
                    <a:lnTo>
                      <a:pt x="11" y="89"/>
                    </a:lnTo>
                    <a:lnTo>
                      <a:pt x="11" y="77"/>
                    </a:lnTo>
                    <a:lnTo>
                      <a:pt x="11" y="69"/>
                    </a:lnTo>
                    <a:lnTo>
                      <a:pt x="11" y="53"/>
                    </a:lnTo>
                    <a:lnTo>
                      <a:pt x="12" y="31"/>
                    </a:lnTo>
                    <a:lnTo>
                      <a:pt x="13" y="31"/>
                    </a:lnTo>
                    <a:lnTo>
                      <a:pt x="15" y="31"/>
                    </a:lnTo>
                    <a:lnTo>
                      <a:pt x="45" y="31"/>
                    </a:lnTo>
                    <a:lnTo>
                      <a:pt x="50" y="31"/>
                    </a:lnTo>
                    <a:lnTo>
                      <a:pt x="52" y="31"/>
                    </a:lnTo>
                    <a:lnTo>
                      <a:pt x="53" y="31"/>
                    </a:lnTo>
                    <a:lnTo>
                      <a:pt x="73" y="31"/>
                    </a:lnTo>
                    <a:lnTo>
                      <a:pt x="72" y="0"/>
                    </a:lnTo>
                    <a:lnTo>
                      <a:pt x="82" y="0"/>
                    </a:lnTo>
                    <a:close/>
                  </a:path>
                </a:pathLst>
              </a:custGeom>
              <a:solidFill>
                <a:srgbClr val="185FB1"/>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6" name="Freeform 314">
                <a:extLst>
                  <a:ext uri="{FF2B5EF4-FFF2-40B4-BE49-F238E27FC236}">
                    <a16:creationId xmlns:a16="http://schemas.microsoft.com/office/drawing/2014/main" id="{5E28CF85-04DF-BC43-8C29-C70BED484B22}"/>
                  </a:ext>
                </a:extLst>
              </p:cNvPr>
              <p:cNvSpPr>
                <a:spLocks/>
              </p:cNvSpPr>
              <p:nvPr/>
            </p:nvSpPr>
            <p:spPr bwMode="auto">
              <a:xfrm>
                <a:off x="3259138" y="2576513"/>
                <a:ext cx="476250" cy="901700"/>
              </a:xfrm>
              <a:custGeom>
                <a:avLst/>
                <a:gdLst>
                  <a:gd name="T0" fmla="*/ 275 w 300"/>
                  <a:gd name="T1" fmla="*/ 6 h 568"/>
                  <a:gd name="T2" fmla="*/ 298 w 300"/>
                  <a:gd name="T3" fmla="*/ 11 h 568"/>
                  <a:gd name="T4" fmla="*/ 287 w 300"/>
                  <a:gd name="T5" fmla="*/ 41 h 568"/>
                  <a:gd name="T6" fmla="*/ 288 w 300"/>
                  <a:gd name="T7" fmla="*/ 72 h 568"/>
                  <a:gd name="T8" fmla="*/ 288 w 300"/>
                  <a:gd name="T9" fmla="*/ 93 h 568"/>
                  <a:gd name="T10" fmla="*/ 269 w 300"/>
                  <a:gd name="T11" fmla="*/ 108 h 568"/>
                  <a:gd name="T12" fmla="*/ 246 w 300"/>
                  <a:gd name="T13" fmla="*/ 101 h 568"/>
                  <a:gd name="T14" fmla="*/ 229 w 300"/>
                  <a:gd name="T15" fmla="*/ 84 h 568"/>
                  <a:gd name="T16" fmla="*/ 217 w 300"/>
                  <a:gd name="T17" fmla="*/ 109 h 568"/>
                  <a:gd name="T18" fmla="*/ 240 w 300"/>
                  <a:gd name="T19" fmla="*/ 127 h 568"/>
                  <a:gd name="T20" fmla="*/ 273 w 300"/>
                  <a:gd name="T21" fmla="*/ 118 h 568"/>
                  <a:gd name="T22" fmla="*/ 279 w 300"/>
                  <a:gd name="T23" fmla="*/ 143 h 568"/>
                  <a:gd name="T24" fmla="*/ 246 w 300"/>
                  <a:gd name="T25" fmla="*/ 163 h 568"/>
                  <a:gd name="T26" fmla="*/ 223 w 300"/>
                  <a:gd name="T27" fmla="*/ 165 h 568"/>
                  <a:gd name="T28" fmla="*/ 216 w 300"/>
                  <a:gd name="T29" fmla="*/ 181 h 568"/>
                  <a:gd name="T30" fmla="*/ 222 w 300"/>
                  <a:gd name="T31" fmla="*/ 236 h 568"/>
                  <a:gd name="T32" fmla="*/ 239 w 300"/>
                  <a:gd name="T33" fmla="*/ 285 h 568"/>
                  <a:gd name="T34" fmla="*/ 205 w 300"/>
                  <a:gd name="T35" fmla="*/ 264 h 568"/>
                  <a:gd name="T36" fmla="*/ 198 w 300"/>
                  <a:gd name="T37" fmla="*/ 236 h 568"/>
                  <a:gd name="T38" fmla="*/ 189 w 300"/>
                  <a:gd name="T39" fmla="*/ 271 h 568"/>
                  <a:gd name="T40" fmla="*/ 195 w 300"/>
                  <a:gd name="T41" fmla="*/ 289 h 568"/>
                  <a:gd name="T42" fmla="*/ 211 w 300"/>
                  <a:gd name="T43" fmla="*/ 313 h 568"/>
                  <a:gd name="T44" fmla="*/ 211 w 300"/>
                  <a:gd name="T45" fmla="*/ 351 h 568"/>
                  <a:gd name="T46" fmla="*/ 149 w 300"/>
                  <a:gd name="T47" fmla="*/ 355 h 568"/>
                  <a:gd name="T48" fmla="*/ 149 w 300"/>
                  <a:gd name="T49" fmla="*/ 385 h 568"/>
                  <a:gd name="T50" fmla="*/ 162 w 300"/>
                  <a:gd name="T51" fmla="*/ 436 h 568"/>
                  <a:gd name="T52" fmla="*/ 165 w 300"/>
                  <a:gd name="T53" fmla="*/ 478 h 568"/>
                  <a:gd name="T54" fmla="*/ 180 w 300"/>
                  <a:gd name="T55" fmla="*/ 528 h 568"/>
                  <a:gd name="T56" fmla="*/ 133 w 300"/>
                  <a:gd name="T57" fmla="*/ 559 h 568"/>
                  <a:gd name="T58" fmla="*/ 129 w 300"/>
                  <a:gd name="T59" fmla="*/ 545 h 568"/>
                  <a:gd name="T60" fmla="*/ 127 w 300"/>
                  <a:gd name="T61" fmla="*/ 515 h 568"/>
                  <a:gd name="T62" fmla="*/ 99 w 300"/>
                  <a:gd name="T63" fmla="*/ 517 h 568"/>
                  <a:gd name="T64" fmla="*/ 92 w 300"/>
                  <a:gd name="T65" fmla="*/ 488 h 568"/>
                  <a:gd name="T66" fmla="*/ 97 w 300"/>
                  <a:gd name="T67" fmla="*/ 464 h 568"/>
                  <a:gd name="T68" fmla="*/ 105 w 300"/>
                  <a:gd name="T69" fmla="*/ 429 h 568"/>
                  <a:gd name="T70" fmla="*/ 113 w 300"/>
                  <a:gd name="T71" fmla="*/ 405 h 568"/>
                  <a:gd name="T72" fmla="*/ 85 w 300"/>
                  <a:gd name="T73" fmla="*/ 402 h 568"/>
                  <a:gd name="T74" fmla="*/ 50 w 300"/>
                  <a:gd name="T75" fmla="*/ 386 h 568"/>
                  <a:gd name="T76" fmla="*/ 25 w 300"/>
                  <a:gd name="T77" fmla="*/ 362 h 568"/>
                  <a:gd name="T78" fmla="*/ 19 w 300"/>
                  <a:gd name="T79" fmla="*/ 337 h 568"/>
                  <a:gd name="T80" fmla="*/ 3 w 300"/>
                  <a:gd name="T81" fmla="*/ 290 h 568"/>
                  <a:gd name="T82" fmla="*/ 34 w 300"/>
                  <a:gd name="T83" fmla="*/ 281 h 568"/>
                  <a:gd name="T84" fmla="*/ 55 w 300"/>
                  <a:gd name="T85" fmla="*/ 266 h 568"/>
                  <a:gd name="T86" fmla="*/ 9 w 300"/>
                  <a:gd name="T87" fmla="*/ 246 h 568"/>
                  <a:gd name="T88" fmla="*/ 7 w 300"/>
                  <a:gd name="T89" fmla="*/ 195 h 568"/>
                  <a:gd name="T90" fmla="*/ 25 w 300"/>
                  <a:gd name="T91" fmla="*/ 192 h 568"/>
                  <a:gd name="T92" fmla="*/ 51 w 300"/>
                  <a:gd name="T93" fmla="*/ 231 h 568"/>
                  <a:gd name="T94" fmla="*/ 90 w 300"/>
                  <a:gd name="T95" fmla="*/ 227 h 568"/>
                  <a:gd name="T96" fmla="*/ 40 w 300"/>
                  <a:gd name="T97" fmla="*/ 205 h 568"/>
                  <a:gd name="T98" fmla="*/ 54 w 300"/>
                  <a:gd name="T99" fmla="*/ 181 h 568"/>
                  <a:gd name="T100" fmla="*/ 40 w 300"/>
                  <a:gd name="T101" fmla="*/ 153 h 568"/>
                  <a:gd name="T102" fmla="*/ 25 w 300"/>
                  <a:gd name="T103" fmla="*/ 132 h 568"/>
                  <a:gd name="T104" fmla="*/ 33 w 300"/>
                  <a:gd name="T105" fmla="*/ 103 h 568"/>
                  <a:gd name="T106" fmla="*/ 56 w 300"/>
                  <a:gd name="T107" fmla="*/ 81 h 568"/>
                  <a:gd name="T108" fmla="*/ 80 w 300"/>
                  <a:gd name="T109" fmla="*/ 106 h 568"/>
                  <a:gd name="T110" fmla="*/ 98 w 300"/>
                  <a:gd name="T111" fmla="*/ 75 h 568"/>
                  <a:gd name="T112" fmla="*/ 104 w 300"/>
                  <a:gd name="T113" fmla="*/ 25 h 568"/>
                  <a:gd name="T114" fmla="*/ 129 w 300"/>
                  <a:gd name="T115" fmla="*/ 25 h 568"/>
                  <a:gd name="T116" fmla="*/ 162 w 300"/>
                  <a:gd name="T117" fmla="*/ 1 h 568"/>
                  <a:gd name="T118" fmla="*/ 188 w 300"/>
                  <a:gd name="T119" fmla="*/ 24 h 568"/>
                  <a:gd name="T120" fmla="*/ 200 w 300"/>
                  <a:gd name="T121" fmla="*/ 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0" h="568">
                    <a:moveTo>
                      <a:pt x="197" y="6"/>
                    </a:moveTo>
                    <a:lnTo>
                      <a:pt x="198" y="6"/>
                    </a:lnTo>
                    <a:lnTo>
                      <a:pt x="217" y="7"/>
                    </a:lnTo>
                    <a:lnTo>
                      <a:pt x="226" y="7"/>
                    </a:lnTo>
                    <a:lnTo>
                      <a:pt x="232" y="7"/>
                    </a:lnTo>
                    <a:lnTo>
                      <a:pt x="234" y="7"/>
                    </a:lnTo>
                    <a:lnTo>
                      <a:pt x="246" y="7"/>
                    </a:lnTo>
                    <a:lnTo>
                      <a:pt x="253" y="7"/>
                    </a:lnTo>
                    <a:lnTo>
                      <a:pt x="256" y="7"/>
                    </a:lnTo>
                    <a:lnTo>
                      <a:pt x="264" y="7"/>
                    </a:lnTo>
                    <a:lnTo>
                      <a:pt x="267" y="7"/>
                    </a:lnTo>
                    <a:lnTo>
                      <a:pt x="268" y="7"/>
                    </a:lnTo>
                    <a:lnTo>
                      <a:pt x="269" y="6"/>
                    </a:lnTo>
                    <a:lnTo>
                      <a:pt x="270" y="5"/>
                    </a:lnTo>
                    <a:lnTo>
                      <a:pt x="271" y="5"/>
                    </a:lnTo>
                    <a:lnTo>
                      <a:pt x="272" y="5"/>
                    </a:lnTo>
                    <a:lnTo>
                      <a:pt x="273" y="5"/>
                    </a:lnTo>
                    <a:lnTo>
                      <a:pt x="274" y="5"/>
                    </a:lnTo>
                    <a:lnTo>
                      <a:pt x="275" y="6"/>
                    </a:lnTo>
                    <a:lnTo>
                      <a:pt x="277" y="5"/>
                    </a:lnTo>
                    <a:lnTo>
                      <a:pt x="278" y="5"/>
                    </a:lnTo>
                    <a:lnTo>
                      <a:pt x="279" y="5"/>
                    </a:lnTo>
                    <a:lnTo>
                      <a:pt x="280" y="5"/>
                    </a:lnTo>
                    <a:lnTo>
                      <a:pt x="280" y="6"/>
                    </a:lnTo>
                    <a:lnTo>
                      <a:pt x="283" y="6"/>
                    </a:lnTo>
                    <a:lnTo>
                      <a:pt x="284" y="6"/>
                    </a:lnTo>
                    <a:lnTo>
                      <a:pt x="285" y="6"/>
                    </a:lnTo>
                    <a:lnTo>
                      <a:pt x="286" y="5"/>
                    </a:lnTo>
                    <a:lnTo>
                      <a:pt x="287" y="6"/>
                    </a:lnTo>
                    <a:lnTo>
                      <a:pt x="288" y="6"/>
                    </a:lnTo>
                    <a:lnTo>
                      <a:pt x="287" y="7"/>
                    </a:lnTo>
                    <a:lnTo>
                      <a:pt x="287" y="8"/>
                    </a:lnTo>
                    <a:lnTo>
                      <a:pt x="288" y="9"/>
                    </a:lnTo>
                    <a:lnTo>
                      <a:pt x="290" y="11"/>
                    </a:lnTo>
                    <a:lnTo>
                      <a:pt x="291" y="11"/>
                    </a:lnTo>
                    <a:lnTo>
                      <a:pt x="296" y="11"/>
                    </a:lnTo>
                    <a:lnTo>
                      <a:pt x="297" y="11"/>
                    </a:lnTo>
                    <a:lnTo>
                      <a:pt x="298" y="11"/>
                    </a:lnTo>
                    <a:lnTo>
                      <a:pt x="300" y="11"/>
                    </a:lnTo>
                    <a:lnTo>
                      <a:pt x="299" y="19"/>
                    </a:lnTo>
                    <a:lnTo>
                      <a:pt x="299" y="20"/>
                    </a:lnTo>
                    <a:lnTo>
                      <a:pt x="298" y="21"/>
                    </a:lnTo>
                    <a:lnTo>
                      <a:pt x="297" y="24"/>
                    </a:lnTo>
                    <a:lnTo>
                      <a:pt x="297" y="25"/>
                    </a:lnTo>
                    <a:lnTo>
                      <a:pt x="296" y="25"/>
                    </a:lnTo>
                    <a:lnTo>
                      <a:pt x="296" y="26"/>
                    </a:lnTo>
                    <a:lnTo>
                      <a:pt x="295" y="28"/>
                    </a:lnTo>
                    <a:lnTo>
                      <a:pt x="294" y="29"/>
                    </a:lnTo>
                    <a:lnTo>
                      <a:pt x="293" y="30"/>
                    </a:lnTo>
                    <a:lnTo>
                      <a:pt x="292" y="31"/>
                    </a:lnTo>
                    <a:lnTo>
                      <a:pt x="291" y="32"/>
                    </a:lnTo>
                    <a:lnTo>
                      <a:pt x="291" y="33"/>
                    </a:lnTo>
                    <a:lnTo>
                      <a:pt x="290" y="35"/>
                    </a:lnTo>
                    <a:lnTo>
                      <a:pt x="288" y="37"/>
                    </a:lnTo>
                    <a:lnTo>
                      <a:pt x="288" y="38"/>
                    </a:lnTo>
                    <a:lnTo>
                      <a:pt x="288" y="40"/>
                    </a:lnTo>
                    <a:lnTo>
                      <a:pt x="287" y="41"/>
                    </a:lnTo>
                    <a:lnTo>
                      <a:pt x="287" y="45"/>
                    </a:lnTo>
                    <a:lnTo>
                      <a:pt x="286" y="46"/>
                    </a:lnTo>
                    <a:lnTo>
                      <a:pt x="286" y="47"/>
                    </a:lnTo>
                    <a:lnTo>
                      <a:pt x="286" y="49"/>
                    </a:lnTo>
                    <a:lnTo>
                      <a:pt x="286" y="50"/>
                    </a:lnTo>
                    <a:lnTo>
                      <a:pt x="286" y="51"/>
                    </a:lnTo>
                    <a:lnTo>
                      <a:pt x="286" y="54"/>
                    </a:lnTo>
                    <a:lnTo>
                      <a:pt x="287" y="55"/>
                    </a:lnTo>
                    <a:lnTo>
                      <a:pt x="287" y="56"/>
                    </a:lnTo>
                    <a:lnTo>
                      <a:pt x="287" y="59"/>
                    </a:lnTo>
                    <a:lnTo>
                      <a:pt x="287" y="60"/>
                    </a:lnTo>
                    <a:lnTo>
                      <a:pt x="287" y="62"/>
                    </a:lnTo>
                    <a:lnTo>
                      <a:pt x="287" y="64"/>
                    </a:lnTo>
                    <a:lnTo>
                      <a:pt x="287" y="66"/>
                    </a:lnTo>
                    <a:lnTo>
                      <a:pt x="287" y="67"/>
                    </a:lnTo>
                    <a:lnTo>
                      <a:pt x="287" y="68"/>
                    </a:lnTo>
                    <a:lnTo>
                      <a:pt x="287" y="69"/>
                    </a:lnTo>
                    <a:lnTo>
                      <a:pt x="288" y="71"/>
                    </a:lnTo>
                    <a:lnTo>
                      <a:pt x="288" y="72"/>
                    </a:lnTo>
                    <a:lnTo>
                      <a:pt x="288" y="73"/>
                    </a:lnTo>
                    <a:lnTo>
                      <a:pt x="288" y="75"/>
                    </a:lnTo>
                    <a:lnTo>
                      <a:pt x="288" y="76"/>
                    </a:lnTo>
                    <a:lnTo>
                      <a:pt x="288" y="77"/>
                    </a:lnTo>
                    <a:lnTo>
                      <a:pt x="288" y="78"/>
                    </a:lnTo>
                    <a:lnTo>
                      <a:pt x="288" y="79"/>
                    </a:lnTo>
                    <a:lnTo>
                      <a:pt x="288" y="81"/>
                    </a:lnTo>
                    <a:lnTo>
                      <a:pt x="290" y="82"/>
                    </a:lnTo>
                    <a:lnTo>
                      <a:pt x="290" y="83"/>
                    </a:lnTo>
                    <a:lnTo>
                      <a:pt x="290" y="84"/>
                    </a:lnTo>
                    <a:lnTo>
                      <a:pt x="290" y="85"/>
                    </a:lnTo>
                    <a:lnTo>
                      <a:pt x="290" y="86"/>
                    </a:lnTo>
                    <a:lnTo>
                      <a:pt x="290" y="88"/>
                    </a:lnTo>
                    <a:lnTo>
                      <a:pt x="290" y="89"/>
                    </a:lnTo>
                    <a:lnTo>
                      <a:pt x="288" y="89"/>
                    </a:lnTo>
                    <a:lnTo>
                      <a:pt x="288" y="90"/>
                    </a:lnTo>
                    <a:lnTo>
                      <a:pt x="288" y="91"/>
                    </a:lnTo>
                    <a:lnTo>
                      <a:pt x="288" y="92"/>
                    </a:lnTo>
                    <a:lnTo>
                      <a:pt x="288" y="93"/>
                    </a:lnTo>
                    <a:lnTo>
                      <a:pt x="288" y="95"/>
                    </a:lnTo>
                    <a:lnTo>
                      <a:pt x="287" y="96"/>
                    </a:lnTo>
                    <a:lnTo>
                      <a:pt x="287" y="97"/>
                    </a:lnTo>
                    <a:lnTo>
                      <a:pt x="287" y="98"/>
                    </a:lnTo>
                    <a:lnTo>
                      <a:pt x="286" y="102"/>
                    </a:lnTo>
                    <a:lnTo>
                      <a:pt x="285" y="102"/>
                    </a:lnTo>
                    <a:lnTo>
                      <a:pt x="284" y="103"/>
                    </a:lnTo>
                    <a:lnTo>
                      <a:pt x="283" y="103"/>
                    </a:lnTo>
                    <a:lnTo>
                      <a:pt x="282" y="104"/>
                    </a:lnTo>
                    <a:lnTo>
                      <a:pt x="281" y="104"/>
                    </a:lnTo>
                    <a:lnTo>
                      <a:pt x="281" y="105"/>
                    </a:lnTo>
                    <a:lnTo>
                      <a:pt x="278" y="106"/>
                    </a:lnTo>
                    <a:lnTo>
                      <a:pt x="277" y="107"/>
                    </a:lnTo>
                    <a:lnTo>
                      <a:pt x="275" y="107"/>
                    </a:lnTo>
                    <a:lnTo>
                      <a:pt x="274" y="108"/>
                    </a:lnTo>
                    <a:lnTo>
                      <a:pt x="273" y="108"/>
                    </a:lnTo>
                    <a:lnTo>
                      <a:pt x="272" y="108"/>
                    </a:lnTo>
                    <a:lnTo>
                      <a:pt x="270" y="108"/>
                    </a:lnTo>
                    <a:lnTo>
                      <a:pt x="269" y="108"/>
                    </a:lnTo>
                    <a:lnTo>
                      <a:pt x="268" y="108"/>
                    </a:lnTo>
                    <a:lnTo>
                      <a:pt x="266" y="107"/>
                    </a:lnTo>
                    <a:lnTo>
                      <a:pt x="265" y="107"/>
                    </a:lnTo>
                    <a:lnTo>
                      <a:pt x="264" y="107"/>
                    </a:lnTo>
                    <a:lnTo>
                      <a:pt x="262" y="107"/>
                    </a:lnTo>
                    <a:lnTo>
                      <a:pt x="262" y="106"/>
                    </a:lnTo>
                    <a:lnTo>
                      <a:pt x="261" y="106"/>
                    </a:lnTo>
                    <a:lnTo>
                      <a:pt x="260" y="106"/>
                    </a:lnTo>
                    <a:lnTo>
                      <a:pt x="259" y="105"/>
                    </a:lnTo>
                    <a:lnTo>
                      <a:pt x="257" y="105"/>
                    </a:lnTo>
                    <a:lnTo>
                      <a:pt x="256" y="105"/>
                    </a:lnTo>
                    <a:lnTo>
                      <a:pt x="256" y="104"/>
                    </a:lnTo>
                    <a:lnTo>
                      <a:pt x="255" y="104"/>
                    </a:lnTo>
                    <a:lnTo>
                      <a:pt x="254" y="104"/>
                    </a:lnTo>
                    <a:lnTo>
                      <a:pt x="253" y="103"/>
                    </a:lnTo>
                    <a:lnTo>
                      <a:pt x="252" y="103"/>
                    </a:lnTo>
                    <a:lnTo>
                      <a:pt x="248" y="102"/>
                    </a:lnTo>
                    <a:lnTo>
                      <a:pt x="247" y="102"/>
                    </a:lnTo>
                    <a:lnTo>
                      <a:pt x="246" y="101"/>
                    </a:lnTo>
                    <a:lnTo>
                      <a:pt x="245" y="101"/>
                    </a:lnTo>
                    <a:lnTo>
                      <a:pt x="244" y="99"/>
                    </a:lnTo>
                    <a:lnTo>
                      <a:pt x="243" y="98"/>
                    </a:lnTo>
                    <a:lnTo>
                      <a:pt x="242" y="98"/>
                    </a:lnTo>
                    <a:lnTo>
                      <a:pt x="241" y="97"/>
                    </a:lnTo>
                    <a:lnTo>
                      <a:pt x="240" y="96"/>
                    </a:lnTo>
                    <a:lnTo>
                      <a:pt x="239" y="96"/>
                    </a:lnTo>
                    <a:lnTo>
                      <a:pt x="237" y="95"/>
                    </a:lnTo>
                    <a:lnTo>
                      <a:pt x="236" y="94"/>
                    </a:lnTo>
                    <a:lnTo>
                      <a:pt x="235" y="93"/>
                    </a:lnTo>
                    <a:lnTo>
                      <a:pt x="235" y="92"/>
                    </a:lnTo>
                    <a:lnTo>
                      <a:pt x="234" y="92"/>
                    </a:lnTo>
                    <a:lnTo>
                      <a:pt x="234" y="91"/>
                    </a:lnTo>
                    <a:lnTo>
                      <a:pt x="233" y="90"/>
                    </a:lnTo>
                    <a:lnTo>
                      <a:pt x="233" y="89"/>
                    </a:lnTo>
                    <a:lnTo>
                      <a:pt x="232" y="86"/>
                    </a:lnTo>
                    <a:lnTo>
                      <a:pt x="231" y="85"/>
                    </a:lnTo>
                    <a:lnTo>
                      <a:pt x="230" y="84"/>
                    </a:lnTo>
                    <a:lnTo>
                      <a:pt x="229" y="84"/>
                    </a:lnTo>
                    <a:lnTo>
                      <a:pt x="228" y="83"/>
                    </a:lnTo>
                    <a:lnTo>
                      <a:pt x="227" y="83"/>
                    </a:lnTo>
                    <a:lnTo>
                      <a:pt x="226" y="84"/>
                    </a:lnTo>
                    <a:lnTo>
                      <a:pt x="224" y="85"/>
                    </a:lnTo>
                    <a:lnTo>
                      <a:pt x="223" y="86"/>
                    </a:lnTo>
                    <a:lnTo>
                      <a:pt x="221" y="89"/>
                    </a:lnTo>
                    <a:lnTo>
                      <a:pt x="219" y="90"/>
                    </a:lnTo>
                    <a:lnTo>
                      <a:pt x="218" y="91"/>
                    </a:lnTo>
                    <a:lnTo>
                      <a:pt x="217" y="93"/>
                    </a:lnTo>
                    <a:lnTo>
                      <a:pt x="216" y="94"/>
                    </a:lnTo>
                    <a:lnTo>
                      <a:pt x="216" y="95"/>
                    </a:lnTo>
                    <a:lnTo>
                      <a:pt x="216" y="96"/>
                    </a:lnTo>
                    <a:lnTo>
                      <a:pt x="215" y="98"/>
                    </a:lnTo>
                    <a:lnTo>
                      <a:pt x="215" y="99"/>
                    </a:lnTo>
                    <a:lnTo>
                      <a:pt x="215" y="102"/>
                    </a:lnTo>
                    <a:lnTo>
                      <a:pt x="215" y="103"/>
                    </a:lnTo>
                    <a:lnTo>
                      <a:pt x="215" y="107"/>
                    </a:lnTo>
                    <a:lnTo>
                      <a:pt x="216" y="108"/>
                    </a:lnTo>
                    <a:lnTo>
                      <a:pt x="217" y="109"/>
                    </a:lnTo>
                    <a:lnTo>
                      <a:pt x="218" y="111"/>
                    </a:lnTo>
                    <a:lnTo>
                      <a:pt x="219" y="112"/>
                    </a:lnTo>
                    <a:lnTo>
                      <a:pt x="220" y="115"/>
                    </a:lnTo>
                    <a:lnTo>
                      <a:pt x="222" y="117"/>
                    </a:lnTo>
                    <a:lnTo>
                      <a:pt x="223" y="119"/>
                    </a:lnTo>
                    <a:lnTo>
                      <a:pt x="224" y="120"/>
                    </a:lnTo>
                    <a:lnTo>
                      <a:pt x="226" y="120"/>
                    </a:lnTo>
                    <a:lnTo>
                      <a:pt x="226" y="121"/>
                    </a:lnTo>
                    <a:lnTo>
                      <a:pt x="227" y="121"/>
                    </a:lnTo>
                    <a:lnTo>
                      <a:pt x="228" y="122"/>
                    </a:lnTo>
                    <a:lnTo>
                      <a:pt x="229" y="123"/>
                    </a:lnTo>
                    <a:lnTo>
                      <a:pt x="231" y="124"/>
                    </a:lnTo>
                    <a:lnTo>
                      <a:pt x="232" y="126"/>
                    </a:lnTo>
                    <a:lnTo>
                      <a:pt x="234" y="126"/>
                    </a:lnTo>
                    <a:lnTo>
                      <a:pt x="234" y="127"/>
                    </a:lnTo>
                    <a:lnTo>
                      <a:pt x="235" y="127"/>
                    </a:lnTo>
                    <a:lnTo>
                      <a:pt x="237" y="127"/>
                    </a:lnTo>
                    <a:lnTo>
                      <a:pt x="239" y="127"/>
                    </a:lnTo>
                    <a:lnTo>
                      <a:pt x="240" y="127"/>
                    </a:lnTo>
                    <a:lnTo>
                      <a:pt x="243" y="127"/>
                    </a:lnTo>
                    <a:lnTo>
                      <a:pt x="244" y="127"/>
                    </a:lnTo>
                    <a:lnTo>
                      <a:pt x="245" y="127"/>
                    </a:lnTo>
                    <a:lnTo>
                      <a:pt x="246" y="127"/>
                    </a:lnTo>
                    <a:lnTo>
                      <a:pt x="248" y="126"/>
                    </a:lnTo>
                    <a:lnTo>
                      <a:pt x="250" y="126"/>
                    </a:lnTo>
                    <a:lnTo>
                      <a:pt x="252" y="126"/>
                    </a:lnTo>
                    <a:lnTo>
                      <a:pt x="253" y="124"/>
                    </a:lnTo>
                    <a:lnTo>
                      <a:pt x="255" y="123"/>
                    </a:lnTo>
                    <a:lnTo>
                      <a:pt x="258" y="122"/>
                    </a:lnTo>
                    <a:lnTo>
                      <a:pt x="259" y="122"/>
                    </a:lnTo>
                    <a:lnTo>
                      <a:pt x="260" y="121"/>
                    </a:lnTo>
                    <a:lnTo>
                      <a:pt x="262" y="121"/>
                    </a:lnTo>
                    <a:lnTo>
                      <a:pt x="265" y="120"/>
                    </a:lnTo>
                    <a:lnTo>
                      <a:pt x="267" y="119"/>
                    </a:lnTo>
                    <a:lnTo>
                      <a:pt x="268" y="119"/>
                    </a:lnTo>
                    <a:lnTo>
                      <a:pt x="270" y="118"/>
                    </a:lnTo>
                    <a:lnTo>
                      <a:pt x="271" y="118"/>
                    </a:lnTo>
                    <a:lnTo>
                      <a:pt x="273" y="118"/>
                    </a:lnTo>
                    <a:lnTo>
                      <a:pt x="275" y="119"/>
                    </a:lnTo>
                    <a:lnTo>
                      <a:pt x="277" y="119"/>
                    </a:lnTo>
                    <a:lnTo>
                      <a:pt x="279" y="120"/>
                    </a:lnTo>
                    <a:lnTo>
                      <a:pt x="280" y="120"/>
                    </a:lnTo>
                    <a:lnTo>
                      <a:pt x="282" y="121"/>
                    </a:lnTo>
                    <a:lnTo>
                      <a:pt x="283" y="122"/>
                    </a:lnTo>
                    <a:lnTo>
                      <a:pt x="284" y="123"/>
                    </a:lnTo>
                    <a:lnTo>
                      <a:pt x="284" y="124"/>
                    </a:lnTo>
                    <a:lnTo>
                      <a:pt x="284" y="127"/>
                    </a:lnTo>
                    <a:lnTo>
                      <a:pt x="284" y="129"/>
                    </a:lnTo>
                    <a:lnTo>
                      <a:pt x="284" y="131"/>
                    </a:lnTo>
                    <a:lnTo>
                      <a:pt x="283" y="133"/>
                    </a:lnTo>
                    <a:lnTo>
                      <a:pt x="283" y="135"/>
                    </a:lnTo>
                    <a:lnTo>
                      <a:pt x="283" y="136"/>
                    </a:lnTo>
                    <a:lnTo>
                      <a:pt x="282" y="137"/>
                    </a:lnTo>
                    <a:lnTo>
                      <a:pt x="282" y="139"/>
                    </a:lnTo>
                    <a:lnTo>
                      <a:pt x="281" y="140"/>
                    </a:lnTo>
                    <a:lnTo>
                      <a:pt x="280" y="141"/>
                    </a:lnTo>
                    <a:lnTo>
                      <a:pt x="279" y="143"/>
                    </a:lnTo>
                    <a:lnTo>
                      <a:pt x="278" y="144"/>
                    </a:lnTo>
                    <a:lnTo>
                      <a:pt x="275" y="145"/>
                    </a:lnTo>
                    <a:lnTo>
                      <a:pt x="274" y="146"/>
                    </a:lnTo>
                    <a:lnTo>
                      <a:pt x="271" y="149"/>
                    </a:lnTo>
                    <a:lnTo>
                      <a:pt x="270" y="149"/>
                    </a:lnTo>
                    <a:lnTo>
                      <a:pt x="268" y="152"/>
                    </a:lnTo>
                    <a:lnTo>
                      <a:pt x="267" y="153"/>
                    </a:lnTo>
                    <a:lnTo>
                      <a:pt x="265" y="154"/>
                    </a:lnTo>
                    <a:lnTo>
                      <a:pt x="264" y="155"/>
                    </a:lnTo>
                    <a:lnTo>
                      <a:pt x="262" y="156"/>
                    </a:lnTo>
                    <a:lnTo>
                      <a:pt x="260" y="158"/>
                    </a:lnTo>
                    <a:lnTo>
                      <a:pt x="258" y="159"/>
                    </a:lnTo>
                    <a:lnTo>
                      <a:pt x="256" y="159"/>
                    </a:lnTo>
                    <a:lnTo>
                      <a:pt x="255" y="160"/>
                    </a:lnTo>
                    <a:lnTo>
                      <a:pt x="253" y="160"/>
                    </a:lnTo>
                    <a:lnTo>
                      <a:pt x="253" y="161"/>
                    </a:lnTo>
                    <a:lnTo>
                      <a:pt x="250" y="161"/>
                    </a:lnTo>
                    <a:lnTo>
                      <a:pt x="248" y="162"/>
                    </a:lnTo>
                    <a:lnTo>
                      <a:pt x="246" y="163"/>
                    </a:lnTo>
                    <a:lnTo>
                      <a:pt x="245" y="163"/>
                    </a:lnTo>
                    <a:lnTo>
                      <a:pt x="244" y="165"/>
                    </a:lnTo>
                    <a:lnTo>
                      <a:pt x="241" y="166"/>
                    </a:lnTo>
                    <a:lnTo>
                      <a:pt x="239" y="167"/>
                    </a:lnTo>
                    <a:lnTo>
                      <a:pt x="237" y="167"/>
                    </a:lnTo>
                    <a:lnTo>
                      <a:pt x="237" y="166"/>
                    </a:lnTo>
                    <a:lnTo>
                      <a:pt x="236" y="166"/>
                    </a:lnTo>
                    <a:lnTo>
                      <a:pt x="235" y="165"/>
                    </a:lnTo>
                    <a:lnTo>
                      <a:pt x="234" y="165"/>
                    </a:lnTo>
                    <a:lnTo>
                      <a:pt x="233" y="165"/>
                    </a:lnTo>
                    <a:lnTo>
                      <a:pt x="233" y="163"/>
                    </a:lnTo>
                    <a:lnTo>
                      <a:pt x="232" y="163"/>
                    </a:lnTo>
                    <a:lnTo>
                      <a:pt x="230" y="163"/>
                    </a:lnTo>
                    <a:lnTo>
                      <a:pt x="229" y="165"/>
                    </a:lnTo>
                    <a:lnTo>
                      <a:pt x="228" y="165"/>
                    </a:lnTo>
                    <a:lnTo>
                      <a:pt x="227" y="165"/>
                    </a:lnTo>
                    <a:lnTo>
                      <a:pt x="226" y="165"/>
                    </a:lnTo>
                    <a:lnTo>
                      <a:pt x="224" y="165"/>
                    </a:lnTo>
                    <a:lnTo>
                      <a:pt x="223" y="165"/>
                    </a:lnTo>
                    <a:lnTo>
                      <a:pt x="222" y="165"/>
                    </a:lnTo>
                    <a:lnTo>
                      <a:pt x="220" y="165"/>
                    </a:lnTo>
                    <a:lnTo>
                      <a:pt x="219" y="165"/>
                    </a:lnTo>
                    <a:lnTo>
                      <a:pt x="217" y="166"/>
                    </a:lnTo>
                    <a:lnTo>
                      <a:pt x="216" y="166"/>
                    </a:lnTo>
                    <a:lnTo>
                      <a:pt x="216" y="167"/>
                    </a:lnTo>
                    <a:lnTo>
                      <a:pt x="215" y="168"/>
                    </a:lnTo>
                    <a:lnTo>
                      <a:pt x="214" y="169"/>
                    </a:lnTo>
                    <a:lnTo>
                      <a:pt x="213" y="170"/>
                    </a:lnTo>
                    <a:lnTo>
                      <a:pt x="213" y="171"/>
                    </a:lnTo>
                    <a:lnTo>
                      <a:pt x="211" y="172"/>
                    </a:lnTo>
                    <a:lnTo>
                      <a:pt x="211" y="174"/>
                    </a:lnTo>
                    <a:lnTo>
                      <a:pt x="211" y="175"/>
                    </a:lnTo>
                    <a:lnTo>
                      <a:pt x="213" y="176"/>
                    </a:lnTo>
                    <a:lnTo>
                      <a:pt x="213" y="179"/>
                    </a:lnTo>
                    <a:lnTo>
                      <a:pt x="214" y="179"/>
                    </a:lnTo>
                    <a:lnTo>
                      <a:pt x="214" y="180"/>
                    </a:lnTo>
                    <a:lnTo>
                      <a:pt x="216" y="180"/>
                    </a:lnTo>
                    <a:lnTo>
                      <a:pt x="216" y="181"/>
                    </a:lnTo>
                    <a:lnTo>
                      <a:pt x="217" y="181"/>
                    </a:lnTo>
                    <a:lnTo>
                      <a:pt x="217" y="182"/>
                    </a:lnTo>
                    <a:lnTo>
                      <a:pt x="216" y="183"/>
                    </a:lnTo>
                    <a:lnTo>
                      <a:pt x="216" y="186"/>
                    </a:lnTo>
                    <a:lnTo>
                      <a:pt x="217" y="187"/>
                    </a:lnTo>
                    <a:lnTo>
                      <a:pt x="216" y="187"/>
                    </a:lnTo>
                    <a:lnTo>
                      <a:pt x="216" y="188"/>
                    </a:lnTo>
                    <a:lnTo>
                      <a:pt x="215" y="189"/>
                    </a:lnTo>
                    <a:lnTo>
                      <a:pt x="215" y="192"/>
                    </a:lnTo>
                    <a:lnTo>
                      <a:pt x="215" y="196"/>
                    </a:lnTo>
                    <a:lnTo>
                      <a:pt x="215" y="200"/>
                    </a:lnTo>
                    <a:lnTo>
                      <a:pt x="215" y="205"/>
                    </a:lnTo>
                    <a:lnTo>
                      <a:pt x="215" y="211"/>
                    </a:lnTo>
                    <a:lnTo>
                      <a:pt x="215" y="217"/>
                    </a:lnTo>
                    <a:lnTo>
                      <a:pt x="216" y="220"/>
                    </a:lnTo>
                    <a:lnTo>
                      <a:pt x="216" y="224"/>
                    </a:lnTo>
                    <a:lnTo>
                      <a:pt x="217" y="229"/>
                    </a:lnTo>
                    <a:lnTo>
                      <a:pt x="219" y="232"/>
                    </a:lnTo>
                    <a:lnTo>
                      <a:pt x="222" y="236"/>
                    </a:lnTo>
                    <a:lnTo>
                      <a:pt x="224" y="239"/>
                    </a:lnTo>
                    <a:lnTo>
                      <a:pt x="228" y="243"/>
                    </a:lnTo>
                    <a:lnTo>
                      <a:pt x="232" y="246"/>
                    </a:lnTo>
                    <a:lnTo>
                      <a:pt x="235" y="250"/>
                    </a:lnTo>
                    <a:lnTo>
                      <a:pt x="237" y="252"/>
                    </a:lnTo>
                    <a:lnTo>
                      <a:pt x="240" y="256"/>
                    </a:lnTo>
                    <a:lnTo>
                      <a:pt x="241" y="258"/>
                    </a:lnTo>
                    <a:lnTo>
                      <a:pt x="243" y="261"/>
                    </a:lnTo>
                    <a:lnTo>
                      <a:pt x="244" y="261"/>
                    </a:lnTo>
                    <a:lnTo>
                      <a:pt x="244" y="263"/>
                    </a:lnTo>
                    <a:lnTo>
                      <a:pt x="246" y="266"/>
                    </a:lnTo>
                    <a:lnTo>
                      <a:pt x="247" y="270"/>
                    </a:lnTo>
                    <a:lnTo>
                      <a:pt x="247" y="272"/>
                    </a:lnTo>
                    <a:lnTo>
                      <a:pt x="247" y="274"/>
                    </a:lnTo>
                    <a:lnTo>
                      <a:pt x="246" y="276"/>
                    </a:lnTo>
                    <a:lnTo>
                      <a:pt x="245" y="277"/>
                    </a:lnTo>
                    <a:lnTo>
                      <a:pt x="243" y="279"/>
                    </a:lnTo>
                    <a:lnTo>
                      <a:pt x="241" y="283"/>
                    </a:lnTo>
                    <a:lnTo>
                      <a:pt x="239" y="285"/>
                    </a:lnTo>
                    <a:lnTo>
                      <a:pt x="235" y="285"/>
                    </a:lnTo>
                    <a:lnTo>
                      <a:pt x="228" y="285"/>
                    </a:lnTo>
                    <a:lnTo>
                      <a:pt x="226" y="285"/>
                    </a:lnTo>
                    <a:lnTo>
                      <a:pt x="224" y="285"/>
                    </a:lnTo>
                    <a:lnTo>
                      <a:pt x="223" y="285"/>
                    </a:lnTo>
                    <a:lnTo>
                      <a:pt x="222" y="285"/>
                    </a:lnTo>
                    <a:lnTo>
                      <a:pt x="220" y="284"/>
                    </a:lnTo>
                    <a:lnTo>
                      <a:pt x="219" y="283"/>
                    </a:lnTo>
                    <a:lnTo>
                      <a:pt x="216" y="282"/>
                    </a:lnTo>
                    <a:lnTo>
                      <a:pt x="215" y="281"/>
                    </a:lnTo>
                    <a:lnTo>
                      <a:pt x="214" y="279"/>
                    </a:lnTo>
                    <a:lnTo>
                      <a:pt x="213" y="277"/>
                    </a:lnTo>
                    <a:lnTo>
                      <a:pt x="211" y="277"/>
                    </a:lnTo>
                    <a:lnTo>
                      <a:pt x="210" y="275"/>
                    </a:lnTo>
                    <a:lnTo>
                      <a:pt x="209" y="274"/>
                    </a:lnTo>
                    <a:lnTo>
                      <a:pt x="208" y="271"/>
                    </a:lnTo>
                    <a:lnTo>
                      <a:pt x="207" y="270"/>
                    </a:lnTo>
                    <a:lnTo>
                      <a:pt x="206" y="266"/>
                    </a:lnTo>
                    <a:lnTo>
                      <a:pt x="205" y="264"/>
                    </a:lnTo>
                    <a:lnTo>
                      <a:pt x="205" y="263"/>
                    </a:lnTo>
                    <a:lnTo>
                      <a:pt x="204" y="260"/>
                    </a:lnTo>
                    <a:lnTo>
                      <a:pt x="204" y="258"/>
                    </a:lnTo>
                    <a:lnTo>
                      <a:pt x="203" y="256"/>
                    </a:lnTo>
                    <a:lnTo>
                      <a:pt x="203" y="255"/>
                    </a:lnTo>
                    <a:lnTo>
                      <a:pt x="202" y="252"/>
                    </a:lnTo>
                    <a:lnTo>
                      <a:pt x="202" y="250"/>
                    </a:lnTo>
                    <a:lnTo>
                      <a:pt x="202" y="248"/>
                    </a:lnTo>
                    <a:lnTo>
                      <a:pt x="202" y="247"/>
                    </a:lnTo>
                    <a:lnTo>
                      <a:pt x="202" y="246"/>
                    </a:lnTo>
                    <a:lnTo>
                      <a:pt x="203" y="245"/>
                    </a:lnTo>
                    <a:lnTo>
                      <a:pt x="203" y="244"/>
                    </a:lnTo>
                    <a:lnTo>
                      <a:pt x="203" y="243"/>
                    </a:lnTo>
                    <a:lnTo>
                      <a:pt x="202" y="242"/>
                    </a:lnTo>
                    <a:lnTo>
                      <a:pt x="201" y="239"/>
                    </a:lnTo>
                    <a:lnTo>
                      <a:pt x="201" y="238"/>
                    </a:lnTo>
                    <a:lnTo>
                      <a:pt x="201" y="237"/>
                    </a:lnTo>
                    <a:lnTo>
                      <a:pt x="200" y="236"/>
                    </a:lnTo>
                    <a:lnTo>
                      <a:pt x="198" y="236"/>
                    </a:lnTo>
                    <a:lnTo>
                      <a:pt x="196" y="236"/>
                    </a:lnTo>
                    <a:lnTo>
                      <a:pt x="193" y="238"/>
                    </a:lnTo>
                    <a:lnTo>
                      <a:pt x="192" y="239"/>
                    </a:lnTo>
                    <a:lnTo>
                      <a:pt x="190" y="240"/>
                    </a:lnTo>
                    <a:lnTo>
                      <a:pt x="185" y="243"/>
                    </a:lnTo>
                    <a:lnTo>
                      <a:pt x="182" y="246"/>
                    </a:lnTo>
                    <a:lnTo>
                      <a:pt x="181" y="249"/>
                    </a:lnTo>
                    <a:lnTo>
                      <a:pt x="179" y="252"/>
                    </a:lnTo>
                    <a:lnTo>
                      <a:pt x="178" y="257"/>
                    </a:lnTo>
                    <a:lnTo>
                      <a:pt x="178" y="261"/>
                    </a:lnTo>
                    <a:lnTo>
                      <a:pt x="179" y="263"/>
                    </a:lnTo>
                    <a:lnTo>
                      <a:pt x="180" y="266"/>
                    </a:lnTo>
                    <a:lnTo>
                      <a:pt x="182" y="271"/>
                    </a:lnTo>
                    <a:lnTo>
                      <a:pt x="183" y="276"/>
                    </a:lnTo>
                    <a:lnTo>
                      <a:pt x="184" y="275"/>
                    </a:lnTo>
                    <a:lnTo>
                      <a:pt x="185" y="274"/>
                    </a:lnTo>
                    <a:lnTo>
                      <a:pt x="187" y="273"/>
                    </a:lnTo>
                    <a:lnTo>
                      <a:pt x="188" y="272"/>
                    </a:lnTo>
                    <a:lnTo>
                      <a:pt x="189" y="271"/>
                    </a:lnTo>
                    <a:lnTo>
                      <a:pt x="191" y="270"/>
                    </a:lnTo>
                    <a:lnTo>
                      <a:pt x="192" y="270"/>
                    </a:lnTo>
                    <a:lnTo>
                      <a:pt x="193" y="270"/>
                    </a:lnTo>
                    <a:lnTo>
                      <a:pt x="195" y="272"/>
                    </a:lnTo>
                    <a:lnTo>
                      <a:pt x="197" y="272"/>
                    </a:lnTo>
                    <a:lnTo>
                      <a:pt x="197" y="273"/>
                    </a:lnTo>
                    <a:lnTo>
                      <a:pt x="196" y="275"/>
                    </a:lnTo>
                    <a:lnTo>
                      <a:pt x="195" y="276"/>
                    </a:lnTo>
                    <a:lnTo>
                      <a:pt x="195" y="277"/>
                    </a:lnTo>
                    <a:lnTo>
                      <a:pt x="195" y="279"/>
                    </a:lnTo>
                    <a:lnTo>
                      <a:pt x="195" y="282"/>
                    </a:lnTo>
                    <a:lnTo>
                      <a:pt x="195" y="283"/>
                    </a:lnTo>
                    <a:lnTo>
                      <a:pt x="195" y="284"/>
                    </a:lnTo>
                    <a:lnTo>
                      <a:pt x="195" y="285"/>
                    </a:lnTo>
                    <a:lnTo>
                      <a:pt x="194" y="285"/>
                    </a:lnTo>
                    <a:lnTo>
                      <a:pt x="194" y="286"/>
                    </a:lnTo>
                    <a:lnTo>
                      <a:pt x="194" y="287"/>
                    </a:lnTo>
                    <a:lnTo>
                      <a:pt x="194" y="288"/>
                    </a:lnTo>
                    <a:lnTo>
                      <a:pt x="195" y="289"/>
                    </a:lnTo>
                    <a:lnTo>
                      <a:pt x="195" y="290"/>
                    </a:lnTo>
                    <a:lnTo>
                      <a:pt x="195" y="293"/>
                    </a:lnTo>
                    <a:lnTo>
                      <a:pt x="196" y="294"/>
                    </a:lnTo>
                    <a:lnTo>
                      <a:pt x="196" y="295"/>
                    </a:lnTo>
                    <a:lnTo>
                      <a:pt x="196" y="296"/>
                    </a:lnTo>
                    <a:lnTo>
                      <a:pt x="195" y="297"/>
                    </a:lnTo>
                    <a:lnTo>
                      <a:pt x="195" y="298"/>
                    </a:lnTo>
                    <a:lnTo>
                      <a:pt x="196" y="299"/>
                    </a:lnTo>
                    <a:lnTo>
                      <a:pt x="197" y="300"/>
                    </a:lnTo>
                    <a:lnTo>
                      <a:pt x="200" y="302"/>
                    </a:lnTo>
                    <a:lnTo>
                      <a:pt x="202" y="303"/>
                    </a:lnTo>
                    <a:lnTo>
                      <a:pt x="204" y="304"/>
                    </a:lnTo>
                    <a:lnTo>
                      <a:pt x="205" y="304"/>
                    </a:lnTo>
                    <a:lnTo>
                      <a:pt x="205" y="307"/>
                    </a:lnTo>
                    <a:lnTo>
                      <a:pt x="205" y="308"/>
                    </a:lnTo>
                    <a:lnTo>
                      <a:pt x="206" y="309"/>
                    </a:lnTo>
                    <a:lnTo>
                      <a:pt x="208" y="310"/>
                    </a:lnTo>
                    <a:lnTo>
                      <a:pt x="209" y="311"/>
                    </a:lnTo>
                    <a:lnTo>
                      <a:pt x="211" y="313"/>
                    </a:lnTo>
                    <a:lnTo>
                      <a:pt x="213" y="314"/>
                    </a:lnTo>
                    <a:lnTo>
                      <a:pt x="214" y="314"/>
                    </a:lnTo>
                    <a:lnTo>
                      <a:pt x="215" y="315"/>
                    </a:lnTo>
                    <a:lnTo>
                      <a:pt x="216" y="316"/>
                    </a:lnTo>
                    <a:lnTo>
                      <a:pt x="217" y="317"/>
                    </a:lnTo>
                    <a:lnTo>
                      <a:pt x="218" y="319"/>
                    </a:lnTo>
                    <a:lnTo>
                      <a:pt x="219" y="320"/>
                    </a:lnTo>
                    <a:lnTo>
                      <a:pt x="220" y="321"/>
                    </a:lnTo>
                    <a:lnTo>
                      <a:pt x="221" y="323"/>
                    </a:lnTo>
                    <a:lnTo>
                      <a:pt x="221" y="325"/>
                    </a:lnTo>
                    <a:lnTo>
                      <a:pt x="220" y="329"/>
                    </a:lnTo>
                    <a:lnTo>
                      <a:pt x="220" y="332"/>
                    </a:lnTo>
                    <a:lnTo>
                      <a:pt x="220" y="335"/>
                    </a:lnTo>
                    <a:lnTo>
                      <a:pt x="220" y="338"/>
                    </a:lnTo>
                    <a:lnTo>
                      <a:pt x="219" y="340"/>
                    </a:lnTo>
                    <a:lnTo>
                      <a:pt x="218" y="343"/>
                    </a:lnTo>
                    <a:lnTo>
                      <a:pt x="216" y="348"/>
                    </a:lnTo>
                    <a:lnTo>
                      <a:pt x="215" y="349"/>
                    </a:lnTo>
                    <a:lnTo>
                      <a:pt x="211" y="351"/>
                    </a:lnTo>
                    <a:lnTo>
                      <a:pt x="210" y="351"/>
                    </a:lnTo>
                    <a:lnTo>
                      <a:pt x="207" y="353"/>
                    </a:lnTo>
                    <a:lnTo>
                      <a:pt x="205" y="354"/>
                    </a:lnTo>
                    <a:lnTo>
                      <a:pt x="203" y="355"/>
                    </a:lnTo>
                    <a:lnTo>
                      <a:pt x="196" y="358"/>
                    </a:lnTo>
                    <a:lnTo>
                      <a:pt x="193" y="359"/>
                    </a:lnTo>
                    <a:lnTo>
                      <a:pt x="190" y="359"/>
                    </a:lnTo>
                    <a:lnTo>
                      <a:pt x="187" y="359"/>
                    </a:lnTo>
                    <a:lnTo>
                      <a:pt x="183" y="360"/>
                    </a:lnTo>
                    <a:lnTo>
                      <a:pt x="180" y="360"/>
                    </a:lnTo>
                    <a:lnTo>
                      <a:pt x="171" y="359"/>
                    </a:lnTo>
                    <a:lnTo>
                      <a:pt x="169" y="358"/>
                    </a:lnTo>
                    <a:lnTo>
                      <a:pt x="167" y="358"/>
                    </a:lnTo>
                    <a:lnTo>
                      <a:pt x="164" y="356"/>
                    </a:lnTo>
                    <a:lnTo>
                      <a:pt x="161" y="356"/>
                    </a:lnTo>
                    <a:lnTo>
                      <a:pt x="156" y="355"/>
                    </a:lnTo>
                    <a:lnTo>
                      <a:pt x="154" y="355"/>
                    </a:lnTo>
                    <a:lnTo>
                      <a:pt x="151" y="354"/>
                    </a:lnTo>
                    <a:lnTo>
                      <a:pt x="149" y="355"/>
                    </a:lnTo>
                    <a:lnTo>
                      <a:pt x="144" y="354"/>
                    </a:lnTo>
                    <a:lnTo>
                      <a:pt x="141" y="354"/>
                    </a:lnTo>
                    <a:lnTo>
                      <a:pt x="139" y="355"/>
                    </a:lnTo>
                    <a:lnTo>
                      <a:pt x="138" y="356"/>
                    </a:lnTo>
                    <a:lnTo>
                      <a:pt x="137" y="358"/>
                    </a:lnTo>
                    <a:lnTo>
                      <a:pt x="135" y="359"/>
                    </a:lnTo>
                    <a:lnTo>
                      <a:pt x="133" y="360"/>
                    </a:lnTo>
                    <a:lnTo>
                      <a:pt x="133" y="361"/>
                    </a:lnTo>
                    <a:lnTo>
                      <a:pt x="132" y="362"/>
                    </a:lnTo>
                    <a:lnTo>
                      <a:pt x="131" y="363"/>
                    </a:lnTo>
                    <a:lnTo>
                      <a:pt x="131" y="365"/>
                    </a:lnTo>
                    <a:lnTo>
                      <a:pt x="130" y="366"/>
                    </a:lnTo>
                    <a:lnTo>
                      <a:pt x="131" y="367"/>
                    </a:lnTo>
                    <a:lnTo>
                      <a:pt x="132" y="373"/>
                    </a:lnTo>
                    <a:lnTo>
                      <a:pt x="135" y="375"/>
                    </a:lnTo>
                    <a:lnTo>
                      <a:pt x="137" y="378"/>
                    </a:lnTo>
                    <a:lnTo>
                      <a:pt x="140" y="380"/>
                    </a:lnTo>
                    <a:lnTo>
                      <a:pt x="144" y="381"/>
                    </a:lnTo>
                    <a:lnTo>
                      <a:pt x="149" y="385"/>
                    </a:lnTo>
                    <a:lnTo>
                      <a:pt x="153" y="388"/>
                    </a:lnTo>
                    <a:lnTo>
                      <a:pt x="154" y="389"/>
                    </a:lnTo>
                    <a:lnTo>
                      <a:pt x="156" y="390"/>
                    </a:lnTo>
                    <a:lnTo>
                      <a:pt x="158" y="392"/>
                    </a:lnTo>
                    <a:lnTo>
                      <a:pt x="159" y="393"/>
                    </a:lnTo>
                    <a:lnTo>
                      <a:pt x="162" y="396"/>
                    </a:lnTo>
                    <a:lnTo>
                      <a:pt x="164" y="398"/>
                    </a:lnTo>
                    <a:lnTo>
                      <a:pt x="167" y="402"/>
                    </a:lnTo>
                    <a:lnTo>
                      <a:pt x="170" y="407"/>
                    </a:lnTo>
                    <a:lnTo>
                      <a:pt x="170" y="410"/>
                    </a:lnTo>
                    <a:lnTo>
                      <a:pt x="171" y="411"/>
                    </a:lnTo>
                    <a:lnTo>
                      <a:pt x="171" y="414"/>
                    </a:lnTo>
                    <a:lnTo>
                      <a:pt x="171" y="417"/>
                    </a:lnTo>
                    <a:lnTo>
                      <a:pt x="171" y="418"/>
                    </a:lnTo>
                    <a:lnTo>
                      <a:pt x="170" y="420"/>
                    </a:lnTo>
                    <a:lnTo>
                      <a:pt x="169" y="423"/>
                    </a:lnTo>
                    <a:lnTo>
                      <a:pt x="166" y="429"/>
                    </a:lnTo>
                    <a:lnTo>
                      <a:pt x="165" y="432"/>
                    </a:lnTo>
                    <a:lnTo>
                      <a:pt x="162" y="436"/>
                    </a:lnTo>
                    <a:lnTo>
                      <a:pt x="159" y="439"/>
                    </a:lnTo>
                    <a:lnTo>
                      <a:pt x="158" y="441"/>
                    </a:lnTo>
                    <a:lnTo>
                      <a:pt x="151" y="449"/>
                    </a:lnTo>
                    <a:lnTo>
                      <a:pt x="150" y="451"/>
                    </a:lnTo>
                    <a:lnTo>
                      <a:pt x="149" y="452"/>
                    </a:lnTo>
                    <a:lnTo>
                      <a:pt x="149" y="453"/>
                    </a:lnTo>
                    <a:lnTo>
                      <a:pt x="149" y="454"/>
                    </a:lnTo>
                    <a:lnTo>
                      <a:pt x="149" y="457"/>
                    </a:lnTo>
                    <a:lnTo>
                      <a:pt x="149" y="462"/>
                    </a:lnTo>
                    <a:lnTo>
                      <a:pt x="149" y="463"/>
                    </a:lnTo>
                    <a:lnTo>
                      <a:pt x="149" y="464"/>
                    </a:lnTo>
                    <a:lnTo>
                      <a:pt x="151" y="466"/>
                    </a:lnTo>
                    <a:lnTo>
                      <a:pt x="151" y="467"/>
                    </a:lnTo>
                    <a:lnTo>
                      <a:pt x="153" y="469"/>
                    </a:lnTo>
                    <a:lnTo>
                      <a:pt x="155" y="471"/>
                    </a:lnTo>
                    <a:lnTo>
                      <a:pt x="158" y="474"/>
                    </a:lnTo>
                    <a:lnTo>
                      <a:pt x="161" y="476"/>
                    </a:lnTo>
                    <a:lnTo>
                      <a:pt x="163" y="477"/>
                    </a:lnTo>
                    <a:lnTo>
                      <a:pt x="165" y="478"/>
                    </a:lnTo>
                    <a:lnTo>
                      <a:pt x="168" y="481"/>
                    </a:lnTo>
                    <a:lnTo>
                      <a:pt x="171" y="484"/>
                    </a:lnTo>
                    <a:lnTo>
                      <a:pt x="172" y="487"/>
                    </a:lnTo>
                    <a:lnTo>
                      <a:pt x="176" y="489"/>
                    </a:lnTo>
                    <a:lnTo>
                      <a:pt x="178" y="491"/>
                    </a:lnTo>
                    <a:lnTo>
                      <a:pt x="181" y="493"/>
                    </a:lnTo>
                    <a:lnTo>
                      <a:pt x="184" y="496"/>
                    </a:lnTo>
                    <a:lnTo>
                      <a:pt x="187" y="499"/>
                    </a:lnTo>
                    <a:lnTo>
                      <a:pt x="188" y="503"/>
                    </a:lnTo>
                    <a:lnTo>
                      <a:pt x="189" y="505"/>
                    </a:lnTo>
                    <a:lnTo>
                      <a:pt x="189" y="507"/>
                    </a:lnTo>
                    <a:lnTo>
                      <a:pt x="189" y="510"/>
                    </a:lnTo>
                    <a:lnTo>
                      <a:pt x="188" y="514"/>
                    </a:lnTo>
                    <a:lnTo>
                      <a:pt x="188" y="516"/>
                    </a:lnTo>
                    <a:lnTo>
                      <a:pt x="187" y="518"/>
                    </a:lnTo>
                    <a:lnTo>
                      <a:pt x="184" y="520"/>
                    </a:lnTo>
                    <a:lnTo>
                      <a:pt x="183" y="523"/>
                    </a:lnTo>
                    <a:lnTo>
                      <a:pt x="182" y="525"/>
                    </a:lnTo>
                    <a:lnTo>
                      <a:pt x="180" y="528"/>
                    </a:lnTo>
                    <a:lnTo>
                      <a:pt x="178" y="529"/>
                    </a:lnTo>
                    <a:lnTo>
                      <a:pt x="174" y="532"/>
                    </a:lnTo>
                    <a:lnTo>
                      <a:pt x="170" y="534"/>
                    </a:lnTo>
                    <a:lnTo>
                      <a:pt x="167" y="535"/>
                    </a:lnTo>
                    <a:lnTo>
                      <a:pt x="161" y="539"/>
                    </a:lnTo>
                    <a:lnTo>
                      <a:pt x="156" y="540"/>
                    </a:lnTo>
                    <a:lnTo>
                      <a:pt x="153" y="541"/>
                    </a:lnTo>
                    <a:lnTo>
                      <a:pt x="150" y="542"/>
                    </a:lnTo>
                    <a:lnTo>
                      <a:pt x="149" y="543"/>
                    </a:lnTo>
                    <a:lnTo>
                      <a:pt x="142" y="546"/>
                    </a:lnTo>
                    <a:lnTo>
                      <a:pt x="140" y="548"/>
                    </a:lnTo>
                    <a:lnTo>
                      <a:pt x="140" y="550"/>
                    </a:lnTo>
                    <a:lnTo>
                      <a:pt x="139" y="551"/>
                    </a:lnTo>
                    <a:lnTo>
                      <a:pt x="139" y="552"/>
                    </a:lnTo>
                    <a:lnTo>
                      <a:pt x="138" y="553"/>
                    </a:lnTo>
                    <a:lnTo>
                      <a:pt x="136" y="556"/>
                    </a:lnTo>
                    <a:lnTo>
                      <a:pt x="136" y="557"/>
                    </a:lnTo>
                    <a:lnTo>
                      <a:pt x="135" y="558"/>
                    </a:lnTo>
                    <a:lnTo>
                      <a:pt x="133" y="559"/>
                    </a:lnTo>
                    <a:lnTo>
                      <a:pt x="131" y="561"/>
                    </a:lnTo>
                    <a:lnTo>
                      <a:pt x="130" y="563"/>
                    </a:lnTo>
                    <a:lnTo>
                      <a:pt x="129" y="564"/>
                    </a:lnTo>
                    <a:lnTo>
                      <a:pt x="129" y="565"/>
                    </a:lnTo>
                    <a:lnTo>
                      <a:pt x="128" y="567"/>
                    </a:lnTo>
                    <a:lnTo>
                      <a:pt x="127" y="567"/>
                    </a:lnTo>
                    <a:lnTo>
                      <a:pt x="126" y="568"/>
                    </a:lnTo>
                    <a:lnTo>
                      <a:pt x="126" y="567"/>
                    </a:lnTo>
                    <a:lnTo>
                      <a:pt x="126" y="565"/>
                    </a:lnTo>
                    <a:lnTo>
                      <a:pt x="126" y="563"/>
                    </a:lnTo>
                    <a:lnTo>
                      <a:pt x="126" y="561"/>
                    </a:lnTo>
                    <a:lnTo>
                      <a:pt x="126" y="557"/>
                    </a:lnTo>
                    <a:lnTo>
                      <a:pt x="126" y="556"/>
                    </a:lnTo>
                    <a:lnTo>
                      <a:pt x="127" y="554"/>
                    </a:lnTo>
                    <a:lnTo>
                      <a:pt x="129" y="552"/>
                    </a:lnTo>
                    <a:lnTo>
                      <a:pt x="129" y="551"/>
                    </a:lnTo>
                    <a:lnTo>
                      <a:pt x="129" y="548"/>
                    </a:lnTo>
                    <a:lnTo>
                      <a:pt x="129" y="546"/>
                    </a:lnTo>
                    <a:lnTo>
                      <a:pt x="129" y="545"/>
                    </a:lnTo>
                    <a:lnTo>
                      <a:pt x="130" y="543"/>
                    </a:lnTo>
                    <a:lnTo>
                      <a:pt x="131" y="541"/>
                    </a:lnTo>
                    <a:lnTo>
                      <a:pt x="132" y="538"/>
                    </a:lnTo>
                    <a:lnTo>
                      <a:pt x="133" y="536"/>
                    </a:lnTo>
                    <a:lnTo>
                      <a:pt x="136" y="533"/>
                    </a:lnTo>
                    <a:lnTo>
                      <a:pt x="137" y="531"/>
                    </a:lnTo>
                    <a:lnTo>
                      <a:pt x="138" y="530"/>
                    </a:lnTo>
                    <a:lnTo>
                      <a:pt x="138" y="529"/>
                    </a:lnTo>
                    <a:lnTo>
                      <a:pt x="137" y="527"/>
                    </a:lnTo>
                    <a:lnTo>
                      <a:pt x="137" y="526"/>
                    </a:lnTo>
                    <a:lnTo>
                      <a:pt x="136" y="522"/>
                    </a:lnTo>
                    <a:lnTo>
                      <a:pt x="135" y="521"/>
                    </a:lnTo>
                    <a:lnTo>
                      <a:pt x="135" y="520"/>
                    </a:lnTo>
                    <a:lnTo>
                      <a:pt x="133" y="519"/>
                    </a:lnTo>
                    <a:lnTo>
                      <a:pt x="132" y="518"/>
                    </a:lnTo>
                    <a:lnTo>
                      <a:pt x="131" y="517"/>
                    </a:lnTo>
                    <a:lnTo>
                      <a:pt x="130" y="516"/>
                    </a:lnTo>
                    <a:lnTo>
                      <a:pt x="128" y="515"/>
                    </a:lnTo>
                    <a:lnTo>
                      <a:pt x="127" y="515"/>
                    </a:lnTo>
                    <a:lnTo>
                      <a:pt x="126" y="515"/>
                    </a:lnTo>
                    <a:lnTo>
                      <a:pt x="125" y="515"/>
                    </a:lnTo>
                    <a:lnTo>
                      <a:pt x="123" y="515"/>
                    </a:lnTo>
                    <a:lnTo>
                      <a:pt x="120" y="515"/>
                    </a:lnTo>
                    <a:lnTo>
                      <a:pt x="118" y="515"/>
                    </a:lnTo>
                    <a:lnTo>
                      <a:pt x="116" y="515"/>
                    </a:lnTo>
                    <a:lnTo>
                      <a:pt x="114" y="515"/>
                    </a:lnTo>
                    <a:lnTo>
                      <a:pt x="113" y="515"/>
                    </a:lnTo>
                    <a:lnTo>
                      <a:pt x="112" y="516"/>
                    </a:lnTo>
                    <a:lnTo>
                      <a:pt x="110" y="517"/>
                    </a:lnTo>
                    <a:lnTo>
                      <a:pt x="107" y="517"/>
                    </a:lnTo>
                    <a:lnTo>
                      <a:pt x="107" y="518"/>
                    </a:lnTo>
                    <a:lnTo>
                      <a:pt x="106" y="518"/>
                    </a:lnTo>
                    <a:lnTo>
                      <a:pt x="105" y="518"/>
                    </a:lnTo>
                    <a:lnTo>
                      <a:pt x="104" y="518"/>
                    </a:lnTo>
                    <a:lnTo>
                      <a:pt x="103" y="518"/>
                    </a:lnTo>
                    <a:lnTo>
                      <a:pt x="102" y="518"/>
                    </a:lnTo>
                    <a:lnTo>
                      <a:pt x="100" y="518"/>
                    </a:lnTo>
                    <a:lnTo>
                      <a:pt x="99" y="517"/>
                    </a:lnTo>
                    <a:lnTo>
                      <a:pt x="98" y="517"/>
                    </a:lnTo>
                    <a:lnTo>
                      <a:pt x="95" y="517"/>
                    </a:lnTo>
                    <a:lnTo>
                      <a:pt x="94" y="517"/>
                    </a:lnTo>
                    <a:lnTo>
                      <a:pt x="92" y="517"/>
                    </a:lnTo>
                    <a:lnTo>
                      <a:pt x="91" y="517"/>
                    </a:lnTo>
                    <a:lnTo>
                      <a:pt x="90" y="517"/>
                    </a:lnTo>
                    <a:lnTo>
                      <a:pt x="90" y="516"/>
                    </a:lnTo>
                    <a:lnTo>
                      <a:pt x="89" y="516"/>
                    </a:lnTo>
                    <a:lnTo>
                      <a:pt x="89" y="515"/>
                    </a:lnTo>
                    <a:lnTo>
                      <a:pt x="90" y="510"/>
                    </a:lnTo>
                    <a:lnTo>
                      <a:pt x="93" y="504"/>
                    </a:lnTo>
                    <a:lnTo>
                      <a:pt x="95" y="497"/>
                    </a:lnTo>
                    <a:lnTo>
                      <a:pt x="97" y="496"/>
                    </a:lnTo>
                    <a:lnTo>
                      <a:pt x="97" y="494"/>
                    </a:lnTo>
                    <a:lnTo>
                      <a:pt x="98" y="493"/>
                    </a:lnTo>
                    <a:lnTo>
                      <a:pt x="98" y="492"/>
                    </a:lnTo>
                    <a:lnTo>
                      <a:pt x="97" y="490"/>
                    </a:lnTo>
                    <a:lnTo>
                      <a:pt x="94" y="490"/>
                    </a:lnTo>
                    <a:lnTo>
                      <a:pt x="92" y="488"/>
                    </a:lnTo>
                    <a:lnTo>
                      <a:pt x="91" y="488"/>
                    </a:lnTo>
                    <a:lnTo>
                      <a:pt x="91" y="486"/>
                    </a:lnTo>
                    <a:lnTo>
                      <a:pt x="91" y="483"/>
                    </a:lnTo>
                    <a:lnTo>
                      <a:pt x="91" y="482"/>
                    </a:lnTo>
                    <a:lnTo>
                      <a:pt x="92" y="481"/>
                    </a:lnTo>
                    <a:lnTo>
                      <a:pt x="93" y="480"/>
                    </a:lnTo>
                    <a:lnTo>
                      <a:pt x="94" y="479"/>
                    </a:lnTo>
                    <a:lnTo>
                      <a:pt x="95" y="478"/>
                    </a:lnTo>
                    <a:lnTo>
                      <a:pt x="97" y="478"/>
                    </a:lnTo>
                    <a:lnTo>
                      <a:pt x="98" y="477"/>
                    </a:lnTo>
                    <a:lnTo>
                      <a:pt x="99" y="477"/>
                    </a:lnTo>
                    <a:lnTo>
                      <a:pt x="100" y="476"/>
                    </a:lnTo>
                    <a:lnTo>
                      <a:pt x="101" y="473"/>
                    </a:lnTo>
                    <a:lnTo>
                      <a:pt x="101" y="470"/>
                    </a:lnTo>
                    <a:lnTo>
                      <a:pt x="101" y="468"/>
                    </a:lnTo>
                    <a:lnTo>
                      <a:pt x="101" y="467"/>
                    </a:lnTo>
                    <a:lnTo>
                      <a:pt x="100" y="465"/>
                    </a:lnTo>
                    <a:lnTo>
                      <a:pt x="99" y="464"/>
                    </a:lnTo>
                    <a:lnTo>
                      <a:pt x="97" y="464"/>
                    </a:lnTo>
                    <a:lnTo>
                      <a:pt x="94" y="463"/>
                    </a:lnTo>
                    <a:lnTo>
                      <a:pt x="93" y="463"/>
                    </a:lnTo>
                    <a:lnTo>
                      <a:pt x="92" y="462"/>
                    </a:lnTo>
                    <a:lnTo>
                      <a:pt x="92" y="458"/>
                    </a:lnTo>
                    <a:lnTo>
                      <a:pt x="91" y="457"/>
                    </a:lnTo>
                    <a:lnTo>
                      <a:pt x="91" y="454"/>
                    </a:lnTo>
                    <a:lnTo>
                      <a:pt x="91" y="452"/>
                    </a:lnTo>
                    <a:lnTo>
                      <a:pt x="91" y="450"/>
                    </a:lnTo>
                    <a:lnTo>
                      <a:pt x="92" y="446"/>
                    </a:lnTo>
                    <a:lnTo>
                      <a:pt x="94" y="442"/>
                    </a:lnTo>
                    <a:lnTo>
                      <a:pt x="95" y="441"/>
                    </a:lnTo>
                    <a:lnTo>
                      <a:pt x="95" y="439"/>
                    </a:lnTo>
                    <a:lnTo>
                      <a:pt x="97" y="438"/>
                    </a:lnTo>
                    <a:lnTo>
                      <a:pt x="98" y="437"/>
                    </a:lnTo>
                    <a:lnTo>
                      <a:pt x="99" y="435"/>
                    </a:lnTo>
                    <a:lnTo>
                      <a:pt x="100" y="432"/>
                    </a:lnTo>
                    <a:lnTo>
                      <a:pt x="102" y="430"/>
                    </a:lnTo>
                    <a:lnTo>
                      <a:pt x="103" y="430"/>
                    </a:lnTo>
                    <a:lnTo>
                      <a:pt x="105" y="429"/>
                    </a:lnTo>
                    <a:lnTo>
                      <a:pt x="108" y="430"/>
                    </a:lnTo>
                    <a:lnTo>
                      <a:pt x="111" y="430"/>
                    </a:lnTo>
                    <a:lnTo>
                      <a:pt x="112" y="430"/>
                    </a:lnTo>
                    <a:lnTo>
                      <a:pt x="113" y="430"/>
                    </a:lnTo>
                    <a:lnTo>
                      <a:pt x="114" y="428"/>
                    </a:lnTo>
                    <a:lnTo>
                      <a:pt x="114" y="427"/>
                    </a:lnTo>
                    <a:lnTo>
                      <a:pt x="114" y="424"/>
                    </a:lnTo>
                    <a:lnTo>
                      <a:pt x="113" y="422"/>
                    </a:lnTo>
                    <a:lnTo>
                      <a:pt x="113" y="419"/>
                    </a:lnTo>
                    <a:lnTo>
                      <a:pt x="114" y="418"/>
                    </a:lnTo>
                    <a:lnTo>
                      <a:pt x="115" y="416"/>
                    </a:lnTo>
                    <a:lnTo>
                      <a:pt x="116" y="415"/>
                    </a:lnTo>
                    <a:lnTo>
                      <a:pt x="117" y="414"/>
                    </a:lnTo>
                    <a:lnTo>
                      <a:pt x="117" y="413"/>
                    </a:lnTo>
                    <a:lnTo>
                      <a:pt x="117" y="412"/>
                    </a:lnTo>
                    <a:lnTo>
                      <a:pt x="116" y="412"/>
                    </a:lnTo>
                    <a:lnTo>
                      <a:pt x="115" y="411"/>
                    </a:lnTo>
                    <a:lnTo>
                      <a:pt x="114" y="410"/>
                    </a:lnTo>
                    <a:lnTo>
                      <a:pt x="113" y="405"/>
                    </a:lnTo>
                    <a:lnTo>
                      <a:pt x="112" y="404"/>
                    </a:lnTo>
                    <a:lnTo>
                      <a:pt x="111" y="403"/>
                    </a:lnTo>
                    <a:lnTo>
                      <a:pt x="108" y="402"/>
                    </a:lnTo>
                    <a:lnTo>
                      <a:pt x="107" y="401"/>
                    </a:lnTo>
                    <a:lnTo>
                      <a:pt x="104" y="400"/>
                    </a:lnTo>
                    <a:lnTo>
                      <a:pt x="103" y="400"/>
                    </a:lnTo>
                    <a:lnTo>
                      <a:pt x="102" y="399"/>
                    </a:lnTo>
                    <a:lnTo>
                      <a:pt x="101" y="398"/>
                    </a:lnTo>
                    <a:lnTo>
                      <a:pt x="100" y="397"/>
                    </a:lnTo>
                    <a:lnTo>
                      <a:pt x="98" y="397"/>
                    </a:lnTo>
                    <a:lnTo>
                      <a:pt x="97" y="398"/>
                    </a:lnTo>
                    <a:lnTo>
                      <a:pt x="94" y="399"/>
                    </a:lnTo>
                    <a:lnTo>
                      <a:pt x="93" y="400"/>
                    </a:lnTo>
                    <a:lnTo>
                      <a:pt x="92" y="401"/>
                    </a:lnTo>
                    <a:lnTo>
                      <a:pt x="91" y="402"/>
                    </a:lnTo>
                    <a:lnTo>
                      <a:pt x="90" y="403"/>
                    </a:lnTo>
                    <a:lnTo>
                      <a:pt x="89" y="403"/>
                    </a:lnTo>
                    <a:lnTo>
                      <a:pt x="87" y="402"/>
                    </a:lnTo>
                    <a:lnTo>
                      <a:pt x="85" y="402"/>
                    </a:lnTo>
                    <a:lnTo>
                      <a:pt x="84" y="401"/>
                    </a:lnTo>
                    <a:lnTo>
                      <a:pt x="81" y="401"/>
                    </a:lnTo>
                    <a:lnTo>
                      <a:pt x="79" y="401"/>
                    </a:lnTo>
                    <a:lnTo>
                      <a:pt x="78" y="400"/>
                    </a:lnTo>
                    <a:lnTo>
                      <a:pt x="77" y="399"/>
                    </a:lnTo>
                    <a:lnTo>
                      <a:pt x="76" y="396"/>
                    </a:lnTo>
                    <a:lnTo>
                      <a:pt x="76" y="394"/>
                    </a:lnTo>
                    <a:lnTo>
                      <a:pt x="76" y="393"/>
                    </a:lnTo>
                    <a:lnTo>
                      <a:pt x="75" y="393"/>
                    </a:lnTo>
                    <a:lnTo>
                      <a:pt x="74" y="392"/>
                    </a:lnTo>
                    <a:lnTo>
                      <a:pt x="73" y="391"/>
                    </a:lnTo>
                    <a:lnTo>
                      <a:pt x="67" y="387"/>
                    </a:lnTo>
                    <a:lnTo>
                      <a:pt x="65" y="387"/>
                    </a:lnTo>
                    <a:lnTo>
                      <a:pt x="63" y="387"/>
                    </a:lnTo>
                    <a:lnTo>
                      <a:pt x="61" y="387"/>
                    </a:lnTo>
                    <a:lnTo>
                      <a:pt x="58" y="388"/>
                    </a:lnTo>
                    <a:lnTo>
                      <a:pt x="55" y="388"/>
                    </a:lnTo>
                    <a:lnTo>
                      <a:pt x="52" y="387"/>
                    </a:lnTo>
                    <a:lnTo>
                      <a:pt x="50" y="386"/>
                    </a:lnTo>
                    <a:lnTo>
                      <a:pt x="47" y="385"/>
                    </a:lnTo>
                    <a:lnTo>
                      <a:pt x="46" y="384"/>
                    </a:lnTo>
                    <a:lnTo>
                      <a:pt x="45" y="383"/>
                    </a:lnTo>
                    <a:lnTo>
                      <a:pt x="42" y="380"/>
                    </a:lnTo>
                    <a:lnTo>
                      <a:pt x="40" y="379"/>
                    </a:lnTo>
                    <a:lnTo>
                      <a:pt x="38" y="378"/>
                    </a:lnTo>
                    <a:lnTo>
                      <a:pt x="35" y="377"/>
                    </a:lnTo>
                    <a:lnTo>
                      <a:pt x="34" y="375"/>
                    </a:lnTo>
                    <a:lnTo>
                      <a:pt x="33" y="374"/>
                    </a:lnTo>
                    <a:lnTo>
                      <a:pt x="33" y="372"/>
                    </a:lnTo>
                    <a:lnTo>
                      <a:pt x="34" y="369"/>
                    </a:lnTo>
                    <a:lnTo>
                      <a:pt x="34" y="368"/>
                    </a:lnTo>
                    <a:lnTo>
                      <a:pt x="34" y="367"/>
                    </a:lnTo>
                    <a:lnTo>
                      <a:pt x="33" y="366"/>
                    </a:lnTo>
                    <a:lnTo>
                      <a:pt x="30" y="365"/>
                    </a:lnTo>
                    <a:lnTo>
                      <a:pt x="28" y="365"/>
                    </a:lnTo>
                    <a:lnTo>
                      <a:pt x="27" y="364"/>
                    </a:lnTo>
                    <a:lnTo>
                      <a:pt x="26" y="363"/>
                    </a:lnTo>
                    <a:lnTo>
                      <a:pt x="25" y="362"/>
                    </a:lnTo>
                    <a:lnTo>
                      <a:pt x="24" y="361"/>
                    </a:lnTo>
                    <a:lnTo>
                      <a:pt x="23" y="359"/>
                    </a:lnTo>
                    <a:lnTo>
                      <a:pt x="22" y="358"/>
                    </a:lnTo>
                    <a:lnTo>
                      <a:pt x="21" y="355"/>
                    </a:lnTo>
                    <a:lnTo>
                      <a:pt x="22" y="355"/>
                    </a:lnTo>
                    <a:lnTo>
                      <a:pt x="25" y="351"/>
                    </a:lnTo>
                    <a:lnTo>
                      <a:pt x="26" y="350"/>
                    </a:lnTo>
                    <a:lnTo>
                      <a:pt x="27" y="348"/>
                    </a:lnTo>
                    <a:lnTo>
                      <a:pt x="28" y="347"/>
                    </a:lnTo>
                    <a:lnTo>
                      <a:pt x="28" y="342"/>
                    </a:lnTo>
                    <a:lnTo>
                      <a:pt x="28" y="340"/>
                    </a:lnTo>
                    <a:lnTo>
                      <a:pt x="28" y="338"/>
                    </a:lnTo>
                    <a:lnTo>
                      <a:pt x="27" y="337"/>
                    </a:lnTo>
                    <a:lnTo>
                      <a:pt x="26" y="336"/>
                    </a:lnTo>
                    <a:lnTo>
                      <a:pt x="25" y="336"/>
                    </a:lnTo>
                    <a:lnTo>
                      <a:pt x="25" y="335"/>
                    </a:lnTo>
                    <a:lnTo>
                      <a:pt x="24" y="335"/>
                    </a:lnTo>
                    <a:lnTo>
                      <a:pt x="22" y="336"/>
                    </a:lnTo>
                    <a:lnTo>
                      <a:pt x="19" y="337"/>
                    </a:lnTo>
                    <a:lnTo>
                      <a:pt x="16" y="337"/>
                    </a:lnTo>
                    <a:lnTo>
                      <a:pt x="15" y="337"/>
                    </a:lnTo>
                    <a:lnTo>
                      <a:pt x="13" y="336"/>
                    </a:lnTo>
                    <a:lnTo>
                      <a:pt x="9" y="335"/>
                    </a:lnTo>
                    <a:lnTo>
                      <a:pt x="7" y="333"/>
                    </a:lnTo>
                    <a:lnTo>
                      <a:pt x="3" y="330"/>
                    </a:lnTo>
                    <a:lnTo>
                      <a:pt x="2" y="327"/>
                    </a:lnTo>
                    <a:lnTo>
                      <a:pt x="1" y="326"/>
                    </a:lnTo>
                    <a:lnTo>
                      <a:pt x="1" y="323"/>
                    </a:lnTo>
                    <a:lnTo>
                      <a:pt x="1" y="321"/>
                    </a:lnTo>
                    <a:lnTo>
                      <a:pt x="0" y="320"/>
                    </a:lnTo>
                    <a:lnTo>
                      <a:pt x="1" y="316"/>
                    </a:lnTo>
                    <a:lnTo>
                      <a:pt x="1" y="312"/>
                    </a:lnTo>
                    <a:lnTo>
                      <a:pt x="1" y="310"/>
                    </a:lnTo>
                    <a:lnTo>
                      <a:pt x="1" y="306"/>
                    </a:lnTo>
                    <a:lnTo>
                      <a:pt x="2" y="302"/>
                    </a:lnTo>
                    <a:lnTo>
                      <a:pt x="2" y="299"/>
                    </a:lnTo>
                    <a:lnTo>
                      <a:pt x="3" y="293"/>
                    </a:lnTo>
                    <a:lnTo>
                      <a:pt x="3" y="290"/>
                    </a:lnTo>
                    <a:lnTo>
                      <a:pt x="4" y="288"/>
                    </a:lnTo>
                    <a:lnTo>
                      <a:pt x="6" y="286"/>
                    </a:lnTo>
                    <a:lnTo>
                      <a:pt x="7" y="284"/>
                    </a:lnTo>
                    <a:lnTo>
                      <a:pt x="10" y="281"/>
                    </a:lnTo>
                    <a:lnTo>
                      <a:pt x="14" y="277"/>
                    </a:lnTo>
                    <a:lnTo>
                      <a:pt x="16" y="276"/>
                    </a:lnTo>
                    <a:lnTo>
                      <a:pt x="19" y="275"/>
                    </a:lnTo>
                    <a:lnTo>
                      <a:pt x="21" y="275"/>
                    </a:lnTo>
                    <a:lnTo>
                      <a:pt x="23" y="275"/>
                    </a:lnTo>
                    <a:lnTo>
                      <a:pt x="24" y="275"/>
                    </a:lnTo>
                    <a:lnTo>
                      <a:pt x="25" y="275"/>
                    </a:lnTo>
                    <a:lnTo>
                      <a:pt x="27" y="276"/>
                    </a:lnTo>
                    <a:lnTo>
                      <a:pt x="28" y="276"/>
                    </a:lnTo>
                    <a:lnTo>
                      <a:pt x="29" y="277"/>
                    </a:lnTo>
                    <a:lnTo>
                      <a:pt x="30" y="277"/>
                    </a:lnTo>
                    <a:lnTo>
                      <a:pt x="32" y="278"/>
                    </a:lnTo>
                    <a:lnTo>
                      <a:pt x="33" y="279"/>
                    </a:lnTo>
                    <a:lnTo>
                      <a:pt x="34" y="279"/>
                    </a:lnTo>
                    <a:lnTo>
                      <a:pt x="34" y="281"/>
                    </a:lnTo>
                    <a:lnTo>
                      <a:pt x="35" y="281"/>
                    </a:lnTo>
                    <a:lnTo>
                      <a:pt x="36" y="281"/>
                    </a:lnTo>
                    <a:lnTo>
                      <a:pt x="37" y="281"/>
                    </a:lnTo>
                    <a:lnTo>
                      <a:pt x="38" y="281"/>
                    </a:lnTo>
                    <a:lnTo>
                      <a:pt x="40" y="279"/>
                    </a:lnTo>
                    <a:lnTo>
                      <a:pt x="41" y="279"/>
                    </a:lnTo>
                    <a:lnTo>
                      <a:pt x="42" y="278"/>
                    </a:lnTo>
                    <a:lnTo>
                      <a:pt x="43" y="278"/>
                    </a:lnTo>
                    <a:lnTo>
                      <a:pt x="46" y="279"/>
                    </a:lnTo>
                    <a:lnTo>
                      <a:pt x="48" y="278"/>
                    </a:lnTo>
                    <a:lnTo>
                      <a:pt x="49" y="278"/>
                    </a:lnTo>
                    <a:lnTo>
                      <a:pt x="51" y="275"/>
                    </a:lnTo>
                    <a:lnTo>
                      <a:pt x="52" y="275"/>
                    </a:lnTo>
                    <a:lnTo>
                      <a:pt x="54" y="274"/>
                    </a:lnTo>
                    <a:lnTo>
                      <a:pt x="54" y="273"/>
                    </a:lnTo>
                    <a:lnTo>
                      <a:pt x="55" y="272"/>
                    </a:lnTo>
                    <a:lnTo>
                      <a:pt x="56" y="271"/>
                    </a:lnTo>
                    <a:lnTo>
                      <a:pt x="55" y="269"/>
                    </a:lnTo>
                    <a:lnTo>
                      <a:pt x="55" y="266"/>
                    </a:lnTo>
                    <a:lnTo>
                      <a:pt x="54" y="265"/>
                    </a:lnTo>
                    <a:lnTo>
                      <a:pt x="52" y="264"/>
                    </a:lnTo>
                    <a:lnTo>
                      <a:pt x="51" y="263"/>
                    </a:lnTo>
                    <a:lnTo>
                      <a:pt x="49" y="263"/>
                    </a:lnTo>
                    <a:lnTo>
                      <a:pt x="47" y="263"/>
                    </a:lnTo>
                    <a:lnTo>
                      <a:pt x="43" y="263"/>
                    </a:lnTo>
                    <a:lnTo>
                      <a:pt x="40" y="264"/>
                    </a:lnTo>
                    <a:lnTo>
                      <a:pt x="37" y="264"/>
                    </a:lnTo>
                    <a:lnTo>
                      <a:pt x="32" y="263"/>
                    </a:lnTo>
                    <a:lnTo>
                      <a:pt x="29" y="262"/>
                    </a:lnTo>
                    <a:lnTo>
                      <a:pt x="26" y="261"/>
                    </a:lnTo>
                    <a:lnTo>
                      <a:pt x="24" y="260"/>
                    </a:lnTo>
                    <a:lnTo>
                      <a:pt x="21" y="259"/>
                    </a:lnTo>
                    <a:lnTo>
                      <a:pt x="19" y="258"/>
                    </a:lnTo>
                    <a:lnTo>
                      <a:pt x="16" y="256"/>
                    </a:lnTo>
                    <a:lnTo>
                      <a:pt x="14" y="253"/>
                    </a:lnTo>
                    <a:lnTo>
                      <a:pt x="12" y="250"/>
                    </a:lnTo>
                    <a:lnTo>
                      <a:pt x="10" y="248"/>
                    </a:lnTo>
                    <a:lnTo>
                      <a:pt x="9" y="246"/>
                    </a:lnTo>
                    <a:lnTo>
                      <a:pt x="8" y="243"/>
                    </a:lnTo>
                    <a:lnTo>
                      <a:pt x="8" y="240"/>
                    </a:lnTo>
                    <a:lnTo>
                      <a:pt x="7" y="236"/>
                    </a:lnTo>
                    <a:lnTo>
                      <a:pt x="7" y="232"/>
                    </a:lnTo>
                    <a:lnTo>
                      <a:pt x="6" y="223"/>
                    </a:lnTo>
                    <a:lnTo>
                      <a:pt x="3" y="216"/>
                    </a:lnTo>
                    <a:lnTo>
                      <a:pt x="2" y="214"/>
                    </a:lnTo>
                    <a:lnTo>
                      <a:pt x="2" y="212"/>
                    </a:lnTo>
                    <a:lnTo>
                      <a:pt x="3" y="211"/>
                    </a:lnTo>
                    <a:lnTo>
                      <a:pt x="3" y="208"/>
                    </a:lnTo>
                    <a:lnTo>
                      <a:pt x="4" y="206"/>
                    </a:lnTo>
                    <a:lnTo>
                      <a:pt x="6" y="205"/>
                    </a:lnTo>
                    <a:lnTo>
                      <a:pt x="7" y="204"/>
                    </a:lnTo>
                    <a:lnTo>
                      <a:pt x="8" y="202"/>
                    </a:lnTo>
                    <a:lnTo>
                      <a:pt x="9" y="200"/>
                    </a:lnTo>
                    <a:lnTo>
                      <a:pt x="9" y="199"/>
                    </a:lnTo>
                    <a:lnTo>
                      <a:pt x="9" y="197"/>
                    </a:lnTo>
                    <a:lnTo>
                      <a:pt x="8" y="196"/>
                    </a:lnTo>
                    <a:lnTo>
                      <a:pt x="7" y="195"/>
                    </a:lnTo>
                    <a:lnTo>
                      <a:pt x="7" y="194"/>
                    </a:lnTo>
                    <a:lnTo>
                      <a:pt x="7" y="193"/>
                    </a:lnTo>
                    <a:lnTo>
                      <a:pt x="7" y="192"/>
                    </a:lnTo>
                    <a:lnTo>
                      <a:pt x="8" y="191"/>
                    </a:lnTo>
                    <a:lnTo>
                      <a:pt x="9" y="191"/>
                    </a:lnTo>
                    <a:lnTo>
                      <a:pt x="10" y="189"/>
                    </a:lnTo>
                    <a:lnTo>
                      <a:pt x="11" y="188"/>
                    </a:lnTo>
                    <a:lnTo>
                      <a:pt x="12" y="187"/>
                    </a:lnTo>
                    <a:lnTo>
                      <a:pt x="13" y="186"/>
                    </a:lnTo>
                    <a:lnTo>
                      <a:pt x="15" y="186"/>
                    </a:lnTo>
                    <a:lnTo>
                      <a:pt x="16" y="186"/>
                    </a:lnTo>
                    <a:lnTo>
                      <a:pt x="19" y="186"/>
                    </a:lnTo>
                    <a:lnTo>
                      <a:pt x="20" y="187"/>
                    </a:lnTo>
                    <a:lnTo>
                      <a:pt x="21" y="187"/>
                    </a:lnTo>
                    <a:lnTo>
                      <a:pt x="22" y="188"/>
                    </a:lnTo>
                    <a:lnTo>
                      <a:pt x="23" y="188"/>
                    </a:lnTo>
                    <a:lnTo>
                      <a:pt x="23" y="189"/>
                    </a:lnTo>
                    <a:lnTo>
                      <a:pt x="24" y="191"/>
                    </a:lnTo>
                    <a:lnTo>
                      <a:pt x="25" y="192"/>
                    </a:lnTo>
                    <a:lnTo>
                      <a:pt x="27" y="195"/>
                    </a:lnTo>
                    <a:lnTo>
                      <a:pt x="27" y="196"/>
                    </a:lnTo>
                    <a:lnTo>
                      <a:pt x="30" y="202"/>
                    </a:lnTo>
                    <a:lnTo>
                      <a:pt x="32" y="208"/>
                    </a:lnTo>
                    <a:lnTo>
                      <a:pt x="33" y="211"/>
                    </a:lnTo>
                    <a:lnTo>
                      <a:pt x="34" y="216"/>
                    </a:lnTo>
                    <a:lnTo>
                      <a:pt x="35" y="219"/>
                    </a:lnTo>
                    <a:lnTo>
                      <a:pt x="36" y="221"/>
                    </a:lnTo>
                    <a:lnTo>
                      <a:pt x="36" y="224"/>
                    </a:lnTo>
                    <a:lnTo>
                      <a:pt x="36" y="229"/>
                    </a:lnTo>
                    <a:lnTo>
                      <a:pt x="36" y="230"/>
                    </a:lnTo>
                    <a:lnTo>
                      <a:pt x="36" y="231"/>
                    </a:lnTo>
                    <a:lnTo>
                      <a:pt x="38" y="232"/>
                    </a:lnTo>
                    <a:lnTo>
                      <a:pt x="39" y="233"/>
                    </a:lnTo>
                    <a:lnTo>
                      <a:pt x="42" y="233"/>
                    </a:lnTo>
                    <a:lnTo>
                      <a:pt x="43" y="232"/>
                    </a:lnTo>
                    <a:lnTo>
                      <a:pt x="48" y="231"/>
                    </a:lnTo>
                    <a:lnTo>
                      <a:pt x="49" y="231"/>
                    </a:lnTo>
                    <a:lnTo>
                      <a:pt x="51" y="231"/>
                    </a:lnTo>
                    <a:lnTo>
                      <a:pt x="54" y="231"/>
                    </a:lnTo>
                    <a:lnTo>
                      <a:pt x="56" y="231"/>
                    </a:lnTo>
                    <a:lnTo>
                      <a:pt x="59" y="233"/>
                    </a:lnTo>
                    <a:lnTo>
                      <a:pt x="61" y="234"/>
                    </a:lnTo>
                    <a:lnTo>
                      <a:pt x="62" y="236"/>
                    </a:lnTo>
                    <a:lnTo>
                      <a:pt x="64" y="237"/>
                    </a:lnTo>
                    <a:lnTo>
                      <a:pt x="67" y="237"/>
                    </a:lnTo>
                    <a:lnTo>
                      <a:pt x="69" y="238"/>
                    </a:lnTo>
                    <a:lnTo>
                      <a:pt x="73" y="238"/>
                    </a:lnTo>
                    <a:lnTo>
                      <a:pt x="75" y="237"/>
                    </a:lnTo>
                    <a:lnTo>
                      <a:pt x="78" y="237"/>
                    </a:lnTo>
                    <a:lnTo>
                      <a:pt x="79" y="237"/>
                    </a:lnTo>
                    <a:lnTo>
                      <a:pt x="81" y="237"/>
                    </a:lnTo>
                    <a:lnTo>
                      <a:pt x="84" y="236"/>
                    </a:lnTo>
                    <a:lnTo>
                      <a:pt x="85" y="235"/>
                    </a:lnTo>
                    <a:lnTo>
                      <a:pt x="87" y="234"/>
                    </a:lnTo>
                    <a:lnTo>
                      <a:pt x="88" y="232"/>
                    </a:lnTo>
                    <a:lnTo>
                      <a:pt x="90" y="230"/>
                    </a:lnTo>
                    <a:lnTo>
                      <a:pt x="90" y="227"/>
                    </a:lnTo>
                    <a:lnTo>
                      <a:pt x="90" y="224"/>
                    </a:lnTo>
                    <a:lnTo>
                      <a:pt x="90" y="222"/>
                    </a:lnTo>
                    <a:lnTo>
                      <a:pt x="89" y="220"/>
                    </a:lnTo>
                    <a:lnTo>
                      <a:pt x="88" y="217"/>
                    </a:lnTo>
                    <a:lnTo>
                      <a:pt x="86" y="214"/>
                    </a:lnTo>
                    <a:lnTo>
                      <a:pt x="84" y="212"/>
                    </a:lnTo>
                    <a:lnTo>
                      <a:pt x="81" y="212"/>
                    </a:lnTo>
                    <a:lnTo>
                      <a:pt x="80" y="211"/>
                    </a:lnTo>
                    <a:lnTo>
                      <a:pt x="79" y="211"/>
                    </a:lnTo>
                    <a:lnTo>
                      <a:pt x="73" y="212"/>
                    </a:lnTo>
                    <a:lnTo>
                      <a:pt x="66" y="212"/>
                    </a:lnTo>
                    <a:lnTo>
                      <a:pt x="63" y="211"/>
                    </a:lnTo>
                    <a:lnTo>
                      <a:pt x="61" y="211"/>
                    </a:lnTo>
                    <a:lnTo>
                      <a:pt x="59" y="211"/>
                    </a:lnTo>
                    <a:lnTo>
                      <a:pt x="54" y="211"/>
                    </a:lnTo>
                    <a:lnTo>
                      <a:pt x="49" y="210"/>
                    </a:lnTo>
                    <a:lnTo>
                      <a:pt x="46" y="208"/>
                    </a:lnTo>
                    <a:lnTo>
                      <a:pt x="42" y="207"/>
                    </a:lnTo>
                    <a:lnTo>
                      <a:pt x="40" y="205"/>
                    </a:lnTo>
                    <a:lnTo>
                      <a:pt x="39" y="202"/>
                    </a:lnTo>
                    <a:lnTo>
                      <a:pt x="39" y="200"/>
                    </a:lnTo>
                    <a:lnTo>
                      <a:pt x="39" y="199"/>
                    </a:lnTo>
                    <a:lnTo>
                      <a:pt x="39" y="198"/>
                    </a:lnTo>
                    <a:lnTo>
                      <a:pt x="39" y="197"/>
                    </a:lnTo>
                    <a:lnTo>
                      <a:pt x="39" y="196"/>
                    </a:lnTo>
                    <a:lnTo>
                      <a:pt x="40" y="195"/>
                    </a:lnTo>
                    <a:lnTo>
                      <a:pt x="42" y="194"/>
                    </a:lnTo>
                    <a:lnTo>
                      <a:pt x="46" y="192"/>
                    </a:lnTo>
                    <a:lnTo>
                      <a:pt x="48" y="191"/>
                    </a:lnTo>
                    <a:lnTo>
                      <a:pt x="49" y="188"/>
                    </a:lnTo>
                    <a:lnTo>
                      <a:pt x="50" y="188"/>
                    </a:lnTo>
                    <a:lnTo>
                      <a:pt x="52" y="186"/>
                    </a:lnTo>
                    <a:lnTo>
                      <a:pt x="52" y="185"/>
                    </a:lnTo>
                    <a:lnTo>
                      <a:pt x="53" y="185"/>
                    </a:lnTo>
                    <a:lnTo>
                      <a:pt x="53" y="184"/>
                    </a:lnTo>
                    <a:lnTo>
                      <a:pt x="53" y="183"/>
                    </a:lnTo>
                    <a:lnTo>
                      <a:pt x="54" y="182"/>
                    </a:lnTo>
                    <a:lnTo>
                      <a:pt x="54" y="181"/>
                    </a:lnTo>
                    <a:lnTo>
                      <a:pt x="55" y="179"/>
                    </a:lnTo>
                    <a:lnTo>
                      <a:pt x="55" y="178"/>
                    </a:lnTo>
                    <a:lnTo>
                      <a:pt x="56" y="178"/>
                    </a:lnTo>
                    <a:lnTo>
                      <a:pt x="56" y="176"/>
                    </a:lnTo>
                    <a:lnTo>
                      <a:pt x="56" y="175"/>
                    </a:lnTo>
                    <a:lnTo>
                      <a:pt x="56" y="173"/>
                    </a:lnTo>
                    <a:lnTo>
                      <a:pt x="56" y="171"/>
                    </a:lnTo>
                    <a:lnTo>
                      <a:pt x="56" y="170"/>
                    </a:lnTo>
                    <a:lnTo>
                      <a:pt x="55" y="169"/>
                    </a:lnTo>
                    <a:lnTo>
                      <a:pt x="55" y="168"/>
                    </a:lnTo>
                    <a:lnTo>
                      <a:pt x="54" y="166"/>
                    </a:lnTo>
                    <a:lnTo>
                      <a:pt x="52" y="163"/>
                    </a:lnTo>
                    <a:lnTo>
                      <a:pt x="50" y="161"/>
                    </a:lnTo>
                    <a:lnTo>
                      <a:pt x="49" y="159"/>
                    </a:lnTo>
                    <a:lnTo>
                      <a:pt x="48" y="158"/>
                    </a:lnTo>
                    <a:lnTo>
                      <a:pt x="46" y="157"/>
                    </a:lnTo>
                    <a:lnTo>
                      <a:pt x="46" y="156"/>
                    </a:lnTo>
                    <a:lnTo>
                      <a:pt x="43" y="155"/>
                    </a:lnTo>
                    <a:lnTo>
                      <a:pt x="40" y="153"/>
                    </a:lnTo>
                    <a:lnTo>
                      <a:pt x="39" y="153"/>
                    </a:lnTo>
                    <a:lnTo>
                      <a:pt x="38" y="152"/>
                    </a:lnTo>
                    <a:lnTo>
                      <a:pt x="37" y="150"/>
                    </a:lnTo>
                    <a:lnTo>
                      <a:pt x="36" y="150"/>
                    </a:lnTo>
                    <a:lnTo>
                      <a:pt x="36" y="149"/>
                    </a:lnTo>
                    <a:lnTo>
                      <a:pt x="35" y="149"/>
                    </a:lnTo>
                    <a:lnTo>
                      <a:pt x="34" y="148"/>
                    </a:lnTo>
                    <a:lnTo>
                      <a:pt x="33" y="147"/>
                    </a:lnTo>
                    <a:lnTo>
                      <a:pt x="32" y="146"/>
                    </a:lnTo>
                    <a:lnTo>
                      <a:pt x="30" y="145"/>
                    </a:lnTo>
                    <a:lnTo>
                      <a:pt x="29" y="145"/>
                    </a:lnTo>
                    <a:lnTo>
                      <a:pt x="29" y="144"/>
                    </a:lnTo>
                    <a:lnTo>
                      <a:pt x="28" y="143"/>
                    </a:lnTo>
                    <a:lnTo>
                      <a:pt x="27" y="140"/>
                    </a:lnTo>
                    <a:lnTo>
                      <a:pt x="26" y="139"/>
                    </a:lnTo>
                    <a:lnTo>
                      <a:pt x="26" y="137"/>
                    </a:lnTo>
                    <a:lnTo>
                      <a:pt x="26" y="136"/>
                    </a:lnTo>
                    <a:lnTo>
                      <a:pt x="25" y="133"/>
                    </a:lnTo>
                    <a:lnTo>
                      <a:pt x="25" y="132"/>
                    </a:lnTo>
                    <a:lnTo>
                      <a:pt x="25" y="131"/>
                    </a:lnTo>
                    <a:lnTo>
                      <a:pt x="25" y="130"/>
                    </a:lnTo>
                    <a:lnTo>
                      <a:pt x="25" y="128"/>
                    </a:lnTo>
                    <a:lnTo>
                      <a:pt x="25" y="126"/>
                    </a:lnTo>
                    <a:lnTo>
                      <a:pt x="25" y="124"/>
                    </a:lnTo>
                    <a:lnTo>
                      <a:pt x="25" y="123"/>
                    </a:lnTo>
                    <a:lnTo>
                      <a:pt x="25" y="122"/>
                    </a:lnTo>
                    <a:lnTo>
                      <a:pt x="26" y="121"/>
                    </a:lnTo>
                    <a:lnTo>
                      <a:pt x="26" y="120"/>
                    </a:lnTo>
                    <a:lnTo>
                      <a:pt x="26" y="119"/>
                    </a:lnTo>
                    <a:lnTo>
                      <a:pt x="27" y="117"/>
                    </a:lnTo>
                    <a:lnTo>
                      <a:pt x="27" y="115"/>
                    </a:lnTo>
                    <a:lnTo>
                      <a:pt x="29" y="111"/>
                    </a:lnTo>
                    <a:lnTo>
                      <a:pt x="29" y="109"/>
                    </a:lnTo>
                    <a:lnTo>
                      <a:pt x="30" y="107"/>
                    </a:lnTo>
                    <a:lnTo>
                      <a:pt x="32" y="106"/>
                    </a:lnTo>
                    <a:lnTo>
                      <a:pt x="32" y="105"/>
                    </a:lnTo>
                    <a:lnTo>
                      <a:pt x="32" y="104"/>
                    </a:lnTo>
                    <a:lnTo>
                      <a:pt x="33" y="103"/>
                    </a:lnTo>
                    <a:lnTo>
                      <a:pt x="33" y="102"/>
                    </a:lnTo>
                    <a:lnTo>
                      <a:pt x="34" y="101"/>
                    </a:lnTo>
                    <a:lnTo>
                      <a:pt x="35" y="99"/>
                    </a:lnTo>
                    <a:lnTo>
                      <a:pt x="36" y="98"/>
                    </a:lnTo>
                    <a:lnTo>
                      <a:pt x="37" y="97"/>
                    </a:lnTo>
                    <a:lnTo>
                      <a:pt x="37" y="96"/>
                    </a:lnTo>
                    <a:lnTo>
                      <a:pt x="38" y="95"/>
                    </a:lnTo>
                    <a:lnTo>
                      <a:pt x="38" y="94"/>
                    </a:lnTo>
                    <a:lnTo>
                      <a:pt x="39" y="93"/>
                    </a:lnTo>
                    <a:lnTo>
                      <a:pt x="40" y="93"/>
                    </a:lnTo>
                    <a:lnTo>
                      <a:pt x="41" y="92"/>
                    </a:lnTo>
                    <a:lnTo>
                      <a:pt x="47" y="89"/>
                    </a:lnTo>
                    <a:lnTo>
                      <a:pt x="49" y="86"/>
                    </a:lnTo>
                    <a:lnTo>
                      <a:pt x="52" y="84"/>
                    </a:lnTo>
                    <a:lnTo>
                      <a:pt x="53" y="84"/>
                    </a:lnTo>
                    <a:lnTo>
                      <a:pt x="54" y="83"/>
                    </a:lnTo>
                    <a:lnTo>
                      <a:pt x="55" y="83"/>
                    </a:lnTo>
                    <a:lnTo>
                      <a:pt x="55" y="82"/>
                    </a:lnTo>
                    <a:lnTo>
                      <a:pt x="56" y="81"/>
                    </a:lnTo>
                    <a:lnTo>
                      <a:pt x="58" y="81"/>
                    </a:lnTo>
                    <a:lnTo>
                      <a:pt x="59" y="81"/>
                    </a:lnTo>
                    <a:lnTo>
                      <a:pt x="61" y="82"/>
                    </a:lnTo>
                    <a:lnTo>
                      <a:pt x="62" y="82"/>
                    </a:lnTo>
                    <a:lnTo>
                      <a:pt x="63" y="83"/>
                    </a:lnTo>
                    <a:lnTo>
                      <a:pt x="64" y="84"/>
                    </a:lnTo>
                    <a:lnTo>
                      <a:pt x="64" y="86"/>
                    </a:lnTo>
                    <a:lnTo>
                      <a:pt x="65" y="88"/>
                    </a:lnTo>
                    <a:lnTo>
                      <a:pt x="66" y="93"/>
                    </a:lnTo>
                    <a:lnTo>
                      <a:pt x="67" y="97"/>
                    </a:lnTo>
                    <a:lnTo>
                      <a:pt x="68" y="98"/>
                    </a:lnTo>
                    <a:lnTo>
                      <a:pt x="68" y="99"/>
                    </a:lnTo>
                    <a:lnTo>
                      <a:pt x="71" y="102"/>
                    </a:lnTo>
                    <a:lnTo>
                      <a:pt x="72" y="104"/>
                    </a:lnTo>
                    <a:lnTo>
                      <a:pt x="73" y="104"/>
                    </a:lnTo>
                    <a:lnTo>
                      <a:pt x="75" y="106"/>
                    </a:lnTo>
                    <a:lnTo>
                      <a:pt x="77" y="106"/>
                    </a:lnTo>
                    <a:lnTo>
                      <a:pt x="78" y="106"/>
                    </a:lnTo>
                    <a:lnTo>
                      <a:pt x="80" y="106"/>
                    </a:lnTo>
                    <a:lnTo>
                      <a:pt x="81" y="105"/>
                    </a:lnTo>
                    <a:lnTo>
                      <a:pt x="82" y="105"/>
                    </a:lnTo>
                    <a:lnTo>
                      <a:pt x="86" y="101"/>
                    </a:lnTo>
                    <a:lnTo>
                      <a:pt x="87" y="99"/>
                    </a:lnTo>
                    <a:lnTo>
                      <a:pt x="89" y="98"/>
                    </a:lnTo>
                    <a:lnTo>
                      <a:pt x="90" y="97"/>
                    </a:lnTo>
                    <a:lnTo>
                      <a:pt x="92" y="96"/>
                    </a:lnTo>
                    <a:lnTo>
                      <a:pt x="93" y="95"/>
                    </a:lnTo>
                    <a:lnTo>
                      <a:pt x="95" y="92"/>
                    </a:lnTo>
                    <a:lnTo>
                      <a:pt x="97" y="91"/>
                    </a:lnTo>
                    <a:lnTo>
                      <a:pt x="98" y="90"/>
                    </a:lnTo>
                    <a:lnTo>
                      <a:pt x="99" y="88"/>
                    </a:lnTo>
                    <a:lnTo>
                      <a:pt x="100" y="85"/>
                    </a:lnTo>
                    <a:lnTo>
                      <a:pt x="100" y="83"/>
                    </a:lnTo>
                    <a:lnTo>
                      <a:pt x="100" y="81"/>
                    </a:lnTo>
                    <a:lnTo>
                      <a:pt x="100" y="80"/>
                    </a:lnTo>
                    <a:lnTo>
                      <a:pt x="99" y="79"/>
                    </a:lnTo>
                    <a:lnTo>
                      <a:pt x="99" y="78"/>
                    </a:lnTo>
                    <a:lnTo>
                      <a:pt x="98" y="75"/>
                    </a:lnTo>
                    <a:lnTo>
                      <a:pt x="95" y="69"/>
                    </a:lnTo>
                    <a:lnTo>
                      <a:pt x="95" y="68"/>
                    </a:lnTo>
                    <a:lnTo>
                      <a:pt x="94" y="66"/>
                    </a:lnTo>
                    <a:lnTo>
                      <a:pt x="94" y="64"/>
                    </a:lnTo>
                    <a:lnTo>
                      <a:pt x="94" y="62"/>
                    </a:lnTo>
                    <a:lnTo>
                      <a:pt x="94" y="60"/>
                    </a:lnTo>
                    <a:lnTo>
                      <a:pt x="95" y="58"/>
                    </a:lnTo>
                    <a:lnTo>
                      <a:pt x="97" y="55"/>
                    </a:lnTo>
                    <a:lnTo>
                      <a:pt x="99" y="52"/>
                    </a:lnTo>
                    <a:lnTo>
                      <a:pt x="99" y="50"/>
                    </a:lnTo>
                    <a:lnTo>
                      <a:pt x="100" y="47"/>
                    </a:lnTo>
                    <a:lnTo>
                      <a:pt x="101" y="45"/>
                    </a:lnTo>
                    <a:lnTo>
                      <a:pt x="102" y="42"/>
                    </a:lnTo>
                    <a:lnTo>
                      <a:pt x="102" y="41"/>
                    </a:lnTo>
                    <a:lnTo>
                      <a:pt x="102" y="37"/>
                    </a:lnTo>
                    <a:lnTo>
                      <a:pt x="103" y="34"/>
                    </a:lnTo>
                    <a:lnTo>
                      <a:pt x="103" y="29"/>
                    </a:lnTo>
                    <a:lnTo>
                      <a:pt x="103" y="28"/>
                    </a:lnTo>
                    <a:lnTo>
                      <a:pt x="104" y="25"/>
                    </a:lnTo>
                    <a:lnTo>
                      <a:pt x="104" y="24"/>
                    </a:lnTo>
                    <a:lnTo>
                      <a:pt x="105" y="21"/>
                    </a:lnTo>
                    <a:lnTo>
                      <a:pt x="106" y="19"/>
                    </a:lnTo>
                    <a:lnTo>
                      <a:pt x="107" y="17"/>
                    </a:lnTo>
                    <a:lnTo>
                      <a:pt x="110" y="16"/>
                    </a:lnTo>
                    <a:lnTo>
                      <a:pt x="111" y="15"/>
                    </a:lnTo>
                    <a:lnTo>
                      <a:pt x="112" y="14"/>
                    </a:lnTo>
                    <a:lnTo>
                      <a:pt x="113" y="13"/>
                    </a:lnTo>
                    <a:lnTo>
                      <a:pt x="114" y="13"/>
                    </a:lnTo>
                    <a:lnTo>
                      <a:pt x="115" y="13"/>
                    </a:lnTo>
                    <a:lnTo>
                      <a:pt x="116" y="14"/>
                    </a:lnTo>
                    <a:lnTo>
                      <a:pt x="118" y="15"/>
                    </a:lnTo>
                    <a:lnTo>
                      <a:pt x="119" y="16"/>
                    </a:lnTo>
                    <a:lnTo>
                      <a:pt x="122" y="19"/>
                    </a:lnTo>
                    <a:lnTo>
                      <a:pt x="124" y="20"/>
                    </a:lnTo>
                    <a:lnTo>
                      <a:pt x="125" y="22"/>
                    </a:lnTo>
                    <a:lnTo>
                      <a:pt x="126" y="24"/>
                    </a:lnTo>
                    <a:lnTo>
                      <a:pt x="128" y="24"/>
                    </a:lnTo>
                    <a:lnTo>
                      <a:pt x="129" y="25"/>
                    </a:lnTo>
                    <a:lnTo>
                      <a:pt x="131" y="25"/>
                    </a:lnTo>
                    <a:lnTo>
                      <a:pt x="133" y="25"/>
                    </a:lnTo>
                    <a:lnTo>
                      <a:pt x="137" y="25"/>
                    </a:lnTo>
                    <a:lnTo>
                      <a:pt x="140" y="24"/>
                    </a:lnTo>
                    <a:lnTo>
                      <a:pt x="142" y="24"/>
                    </a:lnTo>
                    <a:lnTo>
                      <a:pt x="144" y="22"/>
                    </a:lnTo>
                    <a:lnTo>
                      <a:pt x="148" y="20"/>
                    </a:lnTo>
                    <a:lnTo>
                      <a:pt x="149" y="19"/>
                    </a:lnTo>
                    <a:lnTo>
                      <a:pt x="150" y="18"/>
                    </a:lnTo>
                    <a:lnTo>
                      <a:pt x="153" y="15"/>
                    </a:lnTo>
                    <a:lnTo>
                      <a:pt x="154" y="14"/>
                    </a:lnTo>
                    <a:lnTo>
                      <a:pt x="155" y="13"/>
                    </a:lnTo>
                    <a:lnTo>
                      <a:pt x="156" y="12"/>
                    </a:lnTo>
                    <a:lnTo>
                      <a:pt x="156" y="11"/>
                    </a:lnTo>
                    <a:lnTo>
                      <a:pt x="157" y="7"/>
                    </a:lnTo>
                    <a:lnTo>
                      <a:pt x="158" y="5"/>
                    </a:lnTo>
                    <a:lnTo>
                      <a:pt x="159" y="3"/>
                    </a:lnTo>
                    <a:lnTo>
                      <a:pt x="161" y="2"/>
                    </a:lnTo>
                    <a:lnTo>
                      <a:pt x="162" y="1"/>
                    </a:lnTo>
                    <a:lnTo>
                      <a:pt x="163" y="0"/>
                    </a:lnTo>
                    <a:lnTo>
                      <a:pt x="164" y="0"/>
                    </a:lnTo>
                    <a:lnTo>
                      <a:pt x="165" y="0"/>
                    </a:lnTo>
                    <a:lnTo>
                      <a:pt x="166" y="0"/>
                    </a:lnTo>
                    <a:lnTo>
                      <a:pt x="167" y="0"/>
                    </a:lnTo>
                    <a:lnTo>
                      <a:pt x="169" y="0"/>
                    </a:lnTo>
                    <a:lnTo>
                      <a:pt x="170" y="1"/>
                    </a:lnTo>
                    <a:lnTo>
                      <a:pt x="171" y="2"/>
                    </a:lnTo>
                    <a:lnTo>
                      <a:pt x="174" y="3"/>
                    </a:lnTo>
                    <a:lnTo>
                      <a:pt x="175" y="4"/>
                    </a:lnTo>
                    <a:lnTo>
                      <a:pt x="176" y="7"/>
                    </a:lnTo>
                    <a:lnTo>
                      <a:pt x="177" y="12"/>
                    </a:lnTo>
                    <a:lnTo>
                      <a:pt x="179" y="15"/>
                    </a:lnTo>
                    <a:lnTo>
                      <a:pt x="180" y="17"/>
                    </a:lnTo>
                    <a:lnTo>
                      <a:pt x="181" y="18"/>
                    </a:lnTo>
                    <a:lnTo>
                      <a:pt x="182" y="19"/>
                    </a:lnTo>
                    <a:lnTo>
                      <a:pt x="185" y="21"/>
                    </a:lnTo>
                    <a:lnTo>
                      <a:pt x="187" y="22"/>
                    </a:lnTo>
                    <a:lnTo>
                      <a:pt x="188" y="24"/>
                    </a:lnTo>
                    <a:lnTo>
                      <a:pt x="190" y="26"/>
                    </a:lnTo>
                    <a:lnTo>
                      <a:pt x="191" y="27"/>
                    </a:lnTo>
                    <a:lnTo>
                      <a:pt x="192" y="27"/>
                    </a:lnTo>
                    <a:lnTo>
                      <a:pt x="194" y="28"/>
                    </a:lnTo>
                    <a:lnTo>
                      <a:pt x="196" y="28"/>
                    </a:lnTo>
                    <a:lnTo>
                      <a:pt x="197" y="27"/>
                    </a:lnTo>
                    <a:lnTo>
                      <a:pt x="198" y="27"/>
                    </a:lnTo>
                    <a:lnTo>
                      <a:pt x="200" y="26"/>
                    </a:lnTo>
                    <a:lnTo>
                      <a:pt x="201" y="25"/>
                    </a:lnTo>
                    <a:lnTo>
                      <a:pt x="202" y="22"/>
                    </a:lnTo>
                    <a:lnTo>
                      <a:pt x="203" y="21"/>
                    </a:lnTo>
                    <a:lnTo>
                      <a:pt x="204" y="19"/>
                    </a:lnTo>
                    <a:lnTo>
                      <a:pt x="204" y="17"/>
                    </a:lnTo>
                    <a:lnTo>
                      <a:pt x="204" y="16"/>
                    </a:lnTo>
                    <a:lnTo>
                      <a:pt x="204" y="14"/>
                    </a:lnTo>
                    <a:lnTo>
                      <a:pt x="203" y="12"/>
                    </a:lnTo>
                    <a:lnTo>
                      <a:pt x="202" y="11"/>
                    </a:lnTo>
                    <a:lnTo>
                      <a:pt x="201" y="9"/>
                    </a:lnTo>
                    <a:lnTo>
                      <a:pt x="200" y="8"/>
                    </a:lnTo>
                    <a:lnTo>
                      <a:pt x="197" y="6"/>
                    </a:lnTo>
                    <a:close/>
                  </a:path>
                </a:pathLst>
              </a:custGeom>
              <a:solidFill>
                <a:srgbClr val="A1CC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7" name="Freeform 315">
                <a:extLst>
                  <a:ext uri="{FF2B5EF4-FFF2-40B4-BE49-F238E27FC236}">
                    <a16:creationId xmlns:a16="http://schemas.microsoft.com/office/drawing/2014/main" id="{283B4D61-E67A-F6B6-1BA4-8E94A16E8A4D}"/>
                  </a:ext>
                </a:extLst>
              </p:cNvPr>
              <p:cNvSpPr>
                <a:spLocks/>
              </p:cNvSpPr>
              <p:nvPr/>
            </p:nvSpPr>
            <p:spPr bwMode="auto">
              <a:xfrm>
                <a:off x="2859088" y="3052763"/>
                <a:ext cx="585788" cy="563563"/>
              </a:xfrm>
              <a:custGeom>
                <a:avLst/>
                <a:gdLst>
                  <a:gd name="T0" fmla="*/ 166 w 369"/>
                  <a:gd name="T1" fmla="*/ 25 h 355"/>
                  <a:gd name="T2" fmla="*/ 173 w 369"/>
                  <a:gd name="T3" fmla="*/ 34 h 355"/>
                  <a:gd name="T4" fmla="*/ 164 w 369"/>
                  <a:gd name="T5" fmla="*/ 35 h 355"/>
                  <a:gd name="T6" fmla="*/ 159 w 369"/>
                  <a:gd name="T7" fmla="*/ 35 h 355"/>
                  <a:gd name="T8" fmla="*/ 158 w 369"/>
                  <a:gd name="T9" fmla="*/ 43 h 355"/>
                  <a:gd name="T10" fmla="*/ 165 w 369"/>
                  <a:gd name="T11" fmla="*/ 49 h 355"/>
                  <a:gd name="T12" fmla="*/ 175 w 369"/>
                  <a:gd name="T13" fmla="*/ 50 h 355"/>
                  <a:gd name="T14" fmla="*/ 169 w 369"/>
                  <a:gd name="T15" fmla="*/ 56 h 355"/>
                  <a:gd name="T16" fmla="*/ 176 w 369"/>
                  <a:gd name="T17" fmla="*/ 65 h 355"/>
                  <a:gd name="T18" fmla="*/ 171 w 369"/>
                  <a:gd name="T19" fmla="*/ 71 h 355"/>
                  <a:gd name="T20" fmla="*/ 177 w 369"/>
                  <a:gd name="T21" fmla="*/ 77 h 355"/>
                  <a:gd name="T22" fmla="*/ 189 w 369"/>
                  <a:gd name="T23" fmla="*/ 84 h 355"/>
                  <a:gd name="T24" fmla="*/ 201 w 369"/>
                  <a:gd name="T25" fmla="*/ 72 h 355"/>
                  <a:gd name="T26" fmla="*/ 208 w 369"/>
                  <a:gd name="T27" fmla="*/ 88 h 355"/>
                  <a:gd name="T28" fmla="*/ 218 w 369"/>
                  <a:gd name="T29" fmla="*/ 76 h 355"/>
                  <a:gd name="T30" fmla="*/ 210 w 369"/>
                  <a:gd name="T31" fmla="*/ 68 h 355"/>
                  <a:gd name="T32" fmla="*/ 208 w 369"/>
                  <a:gd name="T33" fmla="*/ 45 h 355"/>
                  <a:gd name="T34" fmla="*/ 248 w 369"/>
                  <a:gd name="T35" fmla="*/ 43 h 355"/>
                  <a:gd name="T36" fmla="*/ 268 w 369"/>
                  <a:gd name="T37" fmla="*/ 56 h 355"/>
                  <a:gd name="T38" fmla="*/ 282 w 369"/>
                  <a:gd name="T39" fmla="*/ 65 h 355"/>
                  <a:gd name="T40" fmla="*/ 297 w 369"/>
                  <a:gd name="T41" fmla="*/ 83 h 355"/>
                  <a:gd name="T42" fmla="*/ 326 w 369"/>
                  <a:gd name="T43" fmla="*/ 92 h 355"/>
                  <a:gd name="T44" fmla="*/ 341 w 369"/>
                  <a:gd name="T45" fmla="*/ 103 h 355"/>
                  <a:gd name="T46" fmla="*/ 356 w 369"/>
                  <a:gd name="T47" fmla="*/ 100 h 355"/>
                  <a:gd name="T48" fmla="*/ 368 w 369"/>
                  <a:gd name="T49" fmla="*/ 115 h 355"/>
                  <a:gd name="T50" fmla="*/ 357 w 369"/>
                  <a:gd name="T51" fmla="*/ 129 h 355"/>
                  <a:gd name="T52" fmla="*/ 343 w 369"/>
                  <a:gd name="T53" fmla="*/ 152 h 355"/>
                  <a:gd name="T54" fmla="*/ 353 w 369"/>
                  <a:gd name="T55" fmla="*/ 170 h 355"/>
                  <a:gd name="T56" fmla="*/ 343 w 369"/>
                  <a:gd name="T57" fmla="*/ 186 h 355"/>
                  <a:gd name="T58" fmla="*/ 341 w 369"/>
                  <a:gd name="T59" fmla="*/ 215 h 355"/>
                  <a:gd name="T60" fmla="*/ 318 w 369"/>
                  <a:gd name="T61" fmla="*/ 238 h 355"/>
                  <a:gd name="T62" fmla="*/ 304 w 369"/>
                  <a:gd name="T63" fmla="*/ 257 h 355"/>
                  <a:gd name="T64" fmla="*/ 290 w 369"/>
                  <a:gd name="T65" fmla="*/ 269 h 355"/>
                  <a:gd name="T66" fmla="*/ 293 w 369"/>
                  <a:gd name="T67" fmla="*/ 299 h 355"/>
                  <a:gd name="T68" fmla="*/ 292 w 369"/>
                  <a:gd name="T69" fmla="*/ 336 h 355"/>
                  <a:gd name="T70" fmla="*/ 280 w 369"/>
                  <a:gd name="T71" fmla="*/ 348 h 355"/>
                  <a:gd name="T72" fmla="*/ 177 w 369"/>
                  <a:gd name="T73" fmla="*/ 354 h 355"/>
                  <a:gd name="T74" fmla="*/ 18 w 369"/>
                  <a:gd name="T75" fmla="*/ 315 h 355"/>
                  <a:gd name="T76" fmla="*/ 43 w 369"/>
                  <a:gd name="T77" fmla="*/ 273 h 355"/>
                  <a:gd name="T78" fmla="*/ 42 w 369"/>
                  <a:gd name="T79" fmla="*/ 261 h 355"/>
                  <a:gd name="T80" fmla="*/ 32 w 369"/>
                  <a:gd name="T81" fmla="*/ 187 h 355"/>
                  <a:gd name="T82" fmla="*/ 28 w 369"/>
                  <a:gd name="T83" fmla="*/ 152 h 355"/>
                  <a:gd name="T84" fmla="*/ 29 w 369"/>
                  <a:gd name="T85" fmla="*/ 139 h 355"/>
                  <a:gd name="T86" fmla="*/ 31 w 369"/>
                  <a:gd name="T87" fmla="*/ 15 h 355"/>
                  <a:gd name="T88" fmla="*/ 36 w 369"/>
                  <a:gd name="T89" fmla="*/ 9 h 355"/>
                  <a:gd name="T90" fmla="*/ 42 w 369"/>
                  <a:gd name="T91" fmla="*/ 11 h 355"/>
                  <a:gd name="T92" fmla="*/ 52 w 369"/>
                  <a:gd name="T93" fmla="*/ 10 h 355"/>
                  <a:gd name="T94" fmla="*/ 56 w 369"/>
                  <a:gd name="T95" fmla="*/ 10 h 355"/>
                  <a:gd name="T96" fmla="*/ 62 w 369"/>
                  <a:gd name="T97" fmla="*/ 14 h 355"/>
                  <a:gd name="T98" fmla="*/ 63 w 369"/>
                  <a:gd name="T99" fmla="*/ 24 h 355"/>
                  <a:gd name="T100" fmla="*/ 72 w 369"/>
                  <a:gd name="T101" fmla="*/ 32 h 355"/>
                  <a:gd name="T102" fmla="*/ 81 w 369"/>
                  <a:gd name="T103" fmla="*/ 29 h 355"/>
                  <a:gd name="T104" fmla="*/ 91 w 369"/>
                  <a:gd name="T105" fmla="*/ 26 h 355"/>
                  <a:gd name="T106" fmla="*/ 95 w 369"/>
                  <a:gd name="T107" fmla="*/ 24 h 355"/>
                  <a:gd name="T108" fmla="*/ 101 w 369"/>
                  <a:gd name="T109" fmla="*/ 21 h 355"/>
                  <a:gd name="T110" fmla="*/ 110 w 369"/>
                  <a:gd name="T111" fmla="*/ 16 h 355"/>
                  <a:gd name="T112" fmla="*/ 114 w 369"/>
                  <a:gd name="T113" fmla="*/ 7 h 355"/>
                  <a:gd name="T114" fmla="*/ 122 w 369"/>
                  <a:gd name="T115" fmla="*/ 10 h 355"/>
                  <a:gd name="T116" fmla="*/ 130 w 369"/>
                  <a:gd name="T117" fmla="*/ 12 h 355"/>
                  <a:gd name="T118" fmla="*/ 148 w 369"/>
                  <a:gd name="T119" fmla="*/ 1 h 355"/>
                  <a:gd name="T120" fmla="*/ 158 w 369"/>
                  <a:gd name="T121" fmla="*/ 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9" h="355">
                    <a:moveTo>
                      <a:pt x="166" y="13"/>
                    </a:moveTo>
                    <a:lnTo>
                      <a:pt x="168" y="13"/>
                    </a:lnTo>
                    <a:lnTo>
                      <a:pt x="169" y="13"/>
                    </a:lnTo>
                    <a:lnTo>
                      <a:pt x="170" y="14"/>
                    </a:lnTo>
                    <a:lnTo>
                      <a:pt x="170" y="15"/>
                    </a:lnTo>
                    <a:lnTo>
                      <a:pt x="171" y="19"/>
                    </a:lnTo>
                    <a:lnTo>
                      <a:pt x="170" y="20"/>
                    </a:lnTo>
                    <a:lnTo>
                      <a:pt x="170" y="21"/>
                    </a:lnTo>
                    <a:lnTo>
                      <a:pt x="169" y="21"/>
                    </a:lnTo>
                    <a:lnTo>
                      <a:pt x="168" y="23"/>
                    </a:lnTo>
                    <a:lnTo>
                      <a:pt x="166" y="24"/>
                    </a:lnTo>
                    <a:lnTo>
                      <a:pt x="166" y="25"/>
                    </a:lnTo>
                    <a:lnTo>
                      <a:pt x="166" y="26"/>
                    </a:lnTo>
                    <a:lnTo>
                      <a:pt x="168" y="27"/>
                    </a:lnTo>
                    <a:lnTo>
                      <a:pt x="168" y="28"/>
                    </a:lnTo>
                    <a:lnTo>
                      <a:pt x="169" y="28"/>
                    </a:lnTo>
                    <a:lnTo>
                      <a:pt x="170" y="29"/>
                    </a:lnTo>
                    <a:lnTo>
                      <a:pt x="171" y="29"/>
                    </a:lnTo>
                    <a:lnTo>
                      <a:pt x="171" y="30"/>
                    </a:lnTo>
                    <a:lnTo>
                      <a:pt x="172" y="30"/>
                    </a:lnTo>
                    <a:lnTo>
                      <a:pt x="174" y="32"/>
                    </a:lnTo>
                    <a:lnTo>
                      <a:pt x="174" y="33"/>
                    </a:lnTo>
                    <a:lnTo>
                      <a:pt x="174" y="34"/>
                    </a:lnTo>
                    <a:lnTo>
                      <a:pt x="173" y="34"/>
                    </a:lnTo>
                    <a:lnTo>
                      <a:pt x="172" y="34"/>
                    </a:lnTo>
                    <a:lnTo>
                      <a:pt x="171" y="34"/>
                    </a:lnTo>
                    <a:lnTo>
                      <a:pt x="170" y="34"/>
                    </a:lnTo>
                    <a:lnTo>
                      <a:pt x="169" y="34"/>
                    </a:lnTo>
                    <a:lnTo>
                      <a:pt x="168" y="34"/>
                    </a:lnTo>
                    <a:lnTo>
                      <a:pt x="168" y="35"/>
                    </a:lnTo>
                    <a:lnTo>
                      <a:pt x="166" y="36"/>
                    </a:lnTo>
                    <a:lnTo>
                      <a:pt x="166" y="37"/>
                    </a:lnTo>
                    <a:lnTo>
                      <a:pt x="165" y="37"/>
                    </a:lnTo>
                    <a:lnTo>
                      <a:pt x="164" y="37"/>
                    </a:lnTo>
                    <a:lnTo>
                      <a:pt x="164" y="36"/>
                    </a:lnTo>
                    <a:lnTo>
                      <a:pt x="164" y="35"/>
                    </a:lnTo>
                    <a:lnTo>
                      <a:pt x="164" y="34"/>
                    </a:lnTo>
                    <a:lnTo>
                      <a:pt x="165" y="32"/>
                    </a:lnTo>
                    <a:lnTo>
                      <a:pt x="164" y="30"/>
                    </a:lnTo>
                    <a:lnTo>
                      <a:pt x="164" y="29"/>
                    </a:lnTo>
                    <a:lnTo>
                      <a:pt x="163" y="29"/>
                    </a:lnTo>
                    <a:lnTo>
                      <a:pt x="162" y="29"/>
                    </a:lnTo>
                    <a:lnTo>
                      <a:pt x="161" y="29"/>
                    </a:lnTo>
                    <a:lnTo>
                      <a:pt x="161" y="30"/>
                    </a:lnTo>
                    <a:lnTo>
                      <a:pt x="160" y="32"/>
                    </a:lnTo>
                    <a:lnTo>
                      <a:pt x="159" y="33"/>
                    </a:lnTo>
                    <a:lnTo>
                      <a:pt x="159" y="34"/>
                    </a:lnTo>
                    <a:lnTo>
                      <a:pt x="159" y="35"/>
                    </a:lnTo>
                    <a:lnTo>
                      <a:pt x="160" y="35"/>
                    </a:lnTo>
                    <a:lnTo>
                      <a:pt x="160" y="36"/>
                    </a:lnTo>
                    <a:lnTo>
                      <a:pt x="161" y="37"/>
                    </a:lnTo>
                    <a:lnTo>
                      <a:pt x="162" y="38"/>
                    </a:lnTo>
                    <a:lnTo>
                      <a:pt x="162" y="39"/>
                    </a:lnTo>
                    <a:lnTo>
                      <a:pt x="160" y="40"/>
                    </a:lnTo>
                    <a:lnTo>
                      <a:pt x="159" y="40"/>
                    </a:lnTo>
                    <a:lnTo>
                      <a:pt x="159" y="41"/>
                    </a:lnTo>
                    <a:lnTo>
                      <a:pt x="158" y="41"/>
                    </a:lnTo>
                    <a:lnTo>
                      <a:pt x="157" y="42"/>
                    </a:lnTo>
                    <a:lnTo>
                      <a:pt x="157" y="43"/>
                    </a:lnTo>
                    <a:lnTo>
                      <a:pt x="158" y="43"/>
                    </a:lnTo>
                    <a:lnTo>
                      <a:pt x="158" y="45"/>
                    </a:lnTo>
                    <a:lnTo>
                      <a:pt x="159" y="46"/>
                    </a:lnTo>
                    <a:lnTo>
                      <a:pt x="160" y="46"/>
                    </a:lnTo>
                    <a:lnTo>
                      <a:pt x="161" y="46"/>
                    </a:lnTo>
                    <a:lnTo>
                      <a:pt x="163" y="45"/>
                    </a:lnTo>
                    <a:lnTo>
                      <a:pt x="164" y="43"/>
                    </a:lnTo>
                    <a:lnTo>
                      <a:pt x="165" y="43"/>
                    </a:lnTo>
                    <a:lnTo>
                      <a:pt x="165" y="45"/>
                    </a:lnTo>
                    <a:lnTo>
                      <a:pt x="164" y="47"/>
                    </a:lnTo>
                    <a:lnTo>
                      <a:pt x="164" y="48"/>
                    </a:lnTo>
                    <a:lnTo>
                      <a:pt x="164" y="49"/>
                    </a:lnTo>
                    <a:lnTo>
                      <a:pt x="165" y="49"/>
                    </a:lnTo>
                    <a:lnTo>
                      <a:pt x="166" y="49"/>
                    </a:lnTo>
                    <a:lnTo>
                      <a:pt x="168" y="49"/>
                    </a:lnTo>
                    <a:lnTo>
                      <a:pt x="170" y="50"/>
                    </a:lnTo>
                    <a:lnTo>
                      <a:pt x="169" y="51"/>
                    </a:lnTo>
                    <a:lnTo>
                      <a:pt x="170" y="51"/>
                    </a:lnTo>
                    <a:lnTo>
                      <a:pt x="170" y="52"/>
                    </a:lnTo>
                    <a:lnTo>
                      <a:pt x="170" y="53"/>
                    </a:lnTo>
                    <a:lnTo>
                      <a:pt x="171" y="53"/>
                    </a:lnTo>
                    <a:lnTo>
                      <a:pt x="172" y="53"/>
                    </a:lnTo>
                    <a:lnTo>
                      <a:pt x="173" y="52"/>
                    </a:lnTo>
                    <a:lnTo>
                      <a:pt x="174" y="51"/>
                    </a:lnTo>
                    <a:lnTo>
                      <a:pt x="175" y="50"/>
                    </a:lnTo>
                    <a:lnTo>
                      <a:pt x="176" y="50"/>
                    </a:lnTo>
                    <a:lnTo>
                      <a:pt x="176" y="51"/>
                    </a:lnTo>
                    <a:lnTo>
                      <a:pt x="176" y="52"/>
                    </a:lnTo>
                    <a:lnTo>
                      <a:pt x="175" y="53"/>
                    </a:lnTo>
                    <a:lnTo>
                      <a:pt x="175" y="54"/>
                    </a:lnTo>
                    <a:lnTo>
                      <a:pt x="174" y="55"/>
                    </a:lnTo>
                    <a:lnTo>
                      <a:pt x="173" y="56"/>
                    </a:lnTo>
                    <a:lnTo>
                      <a:pt x="172" y="55"/>
                    </a:lnTo>
                    <a:lnTo>
                      <a:pt x="171" y="55"/>
                    </a:lnTo>
                    <a:lnTo>
                      <a:pt x="170" y="55"/>
                    </a:lnTo>
                    <a:lnTo>
                      <a:pt x="169" y="55"/>
                    </a:lnTo>
                    <a:lnTo>
                      <a:pt x="169" y="56"/>
                    </a:lnTo>
                    <a:lnTo>
                      <a:pt x="169" y="58"/>
                    </a:lnTo>
                    <a:lnTo>
                      <a:pt x="169" y="59"/>
                    </a:lnTo>
                    <a:lnTo>
                      <a:pt x="169" y="60"/>
                    </a:lnTo>
                    <a:lnTo>
                      <a:pt x="170" y="60"/>
                    </a:lnTo>
                    <a:lnTo>
                      <a:pt x="170" y="61"/>
                    </a:lnTo>
                    <a:lnTo>
                      <a:pt x="170" y="62"/>
                    </a:lnTo>
                    <a:lnTo>
                      <a:pt x="171" y="62"/>
                    </a:lnTo>
                    <a:lnTo>
                      <a:pt x="172" y="63"/>
                    </a:lnTo>
                    <a:lnTo>
                      <a:pt x="173" y="65"/>
                    </a:lnTo>
                    <a:lnTo>
                      <a:pt x="174" y="65"/>
                    </a:lnTo>
                    <a:lnTo>
                      <a:pt x="175" y="65"/>
                    </a:lnTo>
                    <a:lnTo>
                      <a:pt x="176" y="65"/>
                    </a:lnTo>
                    <a:lnTo>
                      <a:pt x="177" y="66"/>
                    </a:lnTo>
                    <a:lnTo>
                      <a:pt x="178" y="66"/>
                    </a:lnTo>
                    <a:lnTo>
                      <a:pt x="179" y="66"/>
                    </a:lnTo>
                    <a:lnTo>
                      <a:pt x="179" y="67"/>
                    </a:lnTo>
                    <a:lnTo>
                      <a:pt x="178" y="68"/>
                    </a:lnTo>
                    <a:lnTo>
                      <a:pt x="177" y="68"/>
                    </a:lnTo>
                    <a:lnTo>
                      <a:pt x="176" y="69"/>
                    </a:lnTo>
                    <a:lnTo>
                      <a:pt x="175" y="71"/>
                    </a:lnTo>
                    <a:lnTo>
                      <a:pt x="174" y="71"/>
                    </a:lnTo>
                    <a:lnTo>
                      <a:pt x="173" y="71"/>
                    </a:lnTo>
                    <a:lnTo>
                      <a:pt x="172" y="71"/>
                    </a:lnTo>
                    <a:lnTo>
                      <a:pt x="171" y="71"/>
                    </a:lnTo>
                    <a:lnTo>
                      <a:pt x="170" y="72"/>
                    </a:lnTo>
                    <a:lnTo>
                      <a:pt x="169" y="72"/>
                    </a:lnTo>
                    <a:lnTo>
                      <a:pt x="169" y="73"/>
                    </a:lnTo>
                    <a:lnTo>
                      <a:pt x="170" y="74"/>
                    </a:lnTo>
                    <a:lnTo>
                      <a:pt x="171" y="74"/>
                    </a:lnTo>
                    <a:lnTo>
                      <a:pt x="172" y="75"/>
                    </a:lnTo>
                    <a:lnTo>
                      <a:pt x="174" y="75"/>
                    </a:lnTo>
                    <a:lnTo>
                      <a:pt x="175" y="75"/>
                    </a:lnTo>
                    <a:lnTo>
                      <a:pt x="176" y="75"/>
                    </a:lnTo>
                    <a:lnTo>
                      <a:pt x="176" y="76"/>
                    </a:lnTo>
                    <a:lnTo>
                      <a:pt x="177" y="76"/>
                    </a:lnTo>
                    <a:lnTo>
                      <a:pt x="177" y="77"/>
                    </a:lnTo>
                    <a:lnTo>
                      <a:pt x="177" y="78"/>
                    </a:lnTo>
                    <a:lnTo>
                      <a:pt x="176" y="79"/>
                    </a:lnTo>
                    <a:lnTo>
                      <a:pt x="175" y="81"/>
                    </a:lnTo>
                    <a:lnTo>
                      <a:pt x="175" y="83"/>
                    </a:lnTo>
                    <a:lnTo>
                      <a:pt x="176" y="85"/>
                    </a:lnTo>
                    <a:lnTo>
                      <a:pt x="177" y="86"/>
                    </a:lnTo>
                    <a:lnTo>
                      <a:pt x="179" y="86"/>
                    </a:lnTo>
                    <a:lnTo>
                      <a:pt x="182" y="87"/>
                    </a:lnTo>
                    <a:lnTo>
                      <a:pt x="184" y="87"/>
                    </a:lnTo>
                    <a:lnTo>
                      <a:pt x="186" y="86"/>
                    </a:lnTo>
                    <a:lnTo>
                      <a:pt x="187" y="85"/>
                    </a:lnTo>
                    <a:lnTo>
                      <a:pt x="189" y="84"/>
                    </a:lnTo>
                    <a:lnTo>
                      <a:pt x="191" y="81"/>
                    </a:lnTo>
                    <a:lnTo>
                      <a:pt x="192" y="80"/>
                    </a:lnTo>
                    <a:lnTo>
                      <a:pt x="194" y="78"/>
                    </a:lnTo>
                    <a:lnTo>
                      <a:pt x="194" y="77"/>
                    </a:lnTo>
                    <a:lnTo>
                      <a:pt x="195" y="73"/>
                    </a:lnTo>
                    <a:lnTo>
                      <a:pt x="195" y="72"/>
                    </a:lnTo>
                    <a:lnTo>
                      <a:pt x="196" y="72"/>
                    </a:lnTo>
                    <a:lnTo>
                      <a:pt x="197" y="71"/>
                    </a:lnTo>
                    <a:lnTo>
                      <a:pt x="198" y="71"/>
                    </a:lnTo>
                    <a:lnTo>
                      <a:pt x="199" y="71"/>
                    </a:lnTo>
                    <a:lnTo>
                      <a:pt x="200" y="71"/>
                    </a:lnTo>
                    <a:lnTo>
                      <a:pt x="201" y="72"/>
                    </a:lnTo>
                    <a:lnTo>
                      <a:pt x="202" y="73"/>
                    </a:lnTo>
                    <a:lnTo>
                      <a:pt x="203" y="73"/>
                    </a:lnTo>
                    <a:lnTo>
                      <a:pt x="203" y="74"/>
                    </a:lnTo>
                    <a:lnTo>
                      <a:pt x="204" y="75"/>
                    </a:lnTo>
                    <a:lnTo>
                      <a:pt x="204" y="78"/>
                    </a:lnTo>
                    <a:lnTo>
                      <a:pt x="204" y="83"/>
                    </a:lnTo>
                    <a:lnTo>
                      <a:pt x="204" y="85"/>
                    </a:lnTo>
                    <a:lnTo>
                      <a:pt x="204" y="86"/>
                    </a:lnTo>
                    <a:lnTo>
                      <a:pt x="204" y="87"/>
                    </a:lnTo>
                    <a:lnTo>
                      <a:pt x="205" y="88"/>
                    </a:lnTo>
                    <a:lnTo>
                      <a:pt x="207" y="88"/>
                    </a:lnTo>
                    <a:lnTo>
                      <a:pt x="208" y="88"/>
                    </a:lnTo>
                    <a:lnTo>
                      <a:pt x="209" y="87"/>
                    </a:lnTo>
                    <a:lnTo>
                      <a:pt x="210" y="86"/>
                    </a:lnTo>
                    <a:lnTo>
                      <a:pt x="211" y="84"/>
                    </a:lnTo>
                    <a:lnTo>
                      <a:pt x="213" y="83"/>
                    </a:lnTo>
                    <a:lnTo>
                      <a:pt x="214" y="81"/>
                    </a:lnTo>
                    <a:lnTo>
                      <a:pt x="215" y="81"/>
                    </a:lnTo>
                    <a:lnTo>
                      <a:pt x="218" y="81"/>
                    </a:lnTo>
                    <a:lnTo>
                      <a:pt x="220" y="81"/>
                    </a:lnTo>
                    <a:lnTo>
                      <a:pt x="221" y="79"/>
                    </a:lnTo>
                    <a:lnTo>
                      <a:pt x="221" y="78"/>
                    </a:lnTo>
                    <a:lnTo>
                      <a:pt x="220" y="77"/>
                    </a:lnTo>
                    <a:lnTo>
                      <a:pt x="218" y="76"/>
                    </a:lnTo>
                    <a:lnTo>
                      <a:pt x="217" y="76"/>
                    </a:lnTo>
                    <a:lnTo>
                      <a:pt x="216" y="77"/>
                    </a:lnTo>
                    <a:lnTo>
                      <a:pt x="215" y="77"/>
                    </a:lnTo>
                    <a:lnTo>
                      <a:pt x="214" y="77"/>
                    </a:lnTo>
                    <a:lnTo>
                      <a:pt x="212" y="77"/>
                    </a:lnTo>
                    <a:lnTo>
                      <a:pt x="211" y="76"/>
                    </a:lnTo>
                    <a:lnTo>
                      <a:pt x="210" y="75"/>
                    </a:lnTo>
                    <a:lnTo>
                      <a:pt x="210" y="73"/>
                    </a:lnTo>
                    <a:lnTo>
                      <a:pt x="210" y="72"/>
                    </a:lnTo>
                    <a:lnTo>
                      <a:pt x="210" y="71"/>
                    </a:lnTo>
                    <a:lnTo>
                      <a:pt x="210" y="69"/>
                    </a:lnTo>
                    <a:lnTo>
                      <a:pt x="210" y="68"/>
                    </a:lnTo>
                    <a:lnTo>
                      <a:pt x="210" y="67"/>
                    </a:lnTo>
                    <a:lnTo>
                      <a:pt x="209" y="66"/>
                    </a:lnTo>
                    <a:lnTo>
                      <a:pt x="208" y="63"/>
                    </a:lnTo>
                    <a:lnTo>
                      <a:pt x="207" y="60"/>
                    </a:lnTo>
                    <a:lnTo>
                      <a:pt x="204" y="56"/>
                    </a:lnTo>
                    <a:lnTo>
                      <a:pt x="204" y="54"/>
                    </a:lnTo>
                    <a:lnTo>
                      <a:pt x="204" y="53"/>
                    </a:lnTo>
                    <a:lnTo>
                      <a:pt x="204" y="52"/>
                    </a:lnTo>
                    <a:lnTo>
                      <a:pt x="205" y="50"/>
                    </a:lnTo>
                    <a:lnTo>
                      <a:pt x="205" y="49"/>
                    </a:lnTo>
                    <a:lnTo>
                      <a:pt x="207" y="48"/>
                    </a:lnTo>
                    <a:lnTo>
                      <a:pt x="208" y="45"/>
                    </a:lnTo>
                    <a:lnTo>
                      <a:pt x="209" y="42"/>
                    </a:lnTo>
                    <a:lnTo>
                      <a:pt x="212" y="39"/>
                    </a:lnTo>
                    <a:lnTo>
                      <a:pt x="214" y="37"/>
                    </a:lnTo>
                    <a:lnTo>
                      <a:pt x="216" y="36"/>
                    </a:lnTo>
                    <a:lnTo>
                      <a:pt x="218" y="35"/>
                    </a:lnTo>
                    <a:lnTo>
                      <a:pt x="222" y="35"/>
                    </a:lnTo>
                    <a:lnTo>
                      <a:pt x="227" y="34"/>
                    </a:lnTo>
                    <a:lnTo>
                      <a:pt x="230" y="35"/>
                    </a:lnTo>
                    <a:lnTo>
                      <a:pt x="236" y="37"/>
                    </a:lnTo>
                    <a:lnTo>
                      <a:pt x="239" y="38"/>
                    </a:lnTo>
                    <a:lnTo>
                      <a:pt x="241" y="39"/>
                    </a:lnTo>
                    <a:lnTo>
                      <a:pt x="248" y="43"/>
                    </a:lnTo>
                    <a:lnTo>
                      <a:pt x="251" y="46"/>
                    </a:lnTo>
                    <a:lnTo>
                      <a:pt x="253" y="48"/>
                    </a:lnTo>
                    <a:lnTo>
                      <a:pt x="254" y="50"/>
                    </a:lnTo>
                    <a:lnTo>
                      <a:pt x="258" y="53"/>
                    </a:lnTo>
                    <a:lnTo>
                      <a:pt x="259" y="55"/>
                    </a:lnTo>
                    <a:lnTo>
                      <a:pt x="261" y="58"/>
                    </a:lnTo>
                    <a:lnTo>
                      <a:pt x="262" y="59"/>
                    </a:lnTo>
                    <a:lnTo>
                      <a:pt x="263" y="59"/>
                    </a:lnTo>
                    <a:lnTo>
                      <a:pt x="264" y="59"/>
                    </a:lnTo>
                    <a:lnTo>
                      <a:pt x="265" y="59"/>
                    </a:lnTo>
                    <a:lnTo>
                      <a:pt x="266" y="58"/>
                    </a:lnTo>
                    <a:lnTo>
                      <a:pt x="268" y="56"/>
                    </a:lnTo>
                    <a:lnTo>
                      <a:pt x="268" y="55"/>
                    </a:lnTo>
                    <a:lnTo>
                      <a:pt x="271" y="54"/>
                    </a:lnTo>
                    <a:lnTo>
                      <a:pt x="272" y="54"/>
                    </a:lnTo>
                    <a:lnTo>
                      <a:pt x="273" y="55"/>
                    </a:lnTo>
                    <a:lnTo>
                      <a:pt x="274" y="58"/>
                    </a:lnTo>
                    <a:lnTo>
                      <a:pt x="275" y="59"/>
                    </a:lnTo>
                    <a:lnTo>
                      <a:pt x="276" y="61"/>
                    </a:lnTo>
                    <a:lnTo>
                      <a:pt x="277" y="62"/>
                    </a:lnTo>
                    <a:lnTo>
                      <a:pt x="278" y="63"/>
                    </a:lnTo>
                    <a:lnTo>
                      <a:pt x="279" y="64"/>
                    </a:lnTo>
                    <a:lnTo>
                      <a:pt x="280" y="65"/>
                    </a:lnTo>
                    <a:lnTo>
                      <a:pt x="282" y="65"/>
                    </a:lnTo>
                    <a:lnTo>
                      <a:pt x="285" y="66"/>
                    </a:lnTo>
                    <a:lnTo>
                      <a:pt x="286" y="67"/>
                    </a:lnTo>
                    <a:lnTo>
                      <a:pt x="286" y="68"/>
                    </a:lnTo>
                    <a:lnTo>
                      <a:pt x="286" y="69"/>
                    </a:lnTo>
                    <a:lnTo>
                      <a:pt x="285" y="72"/>
                    </a:lnTo>
                    <a:lnTo>
                      <a:pt x="285" y="74"/>
                    </a:lnTo>
                    <a:lnTo>
                      <a:pt x="286" y="75"/>
                    </a:lnTo>
                    <a:lnTo>
                      <a:pt x="287" y="77"/>
                    </a:lnTo>
                    <a:lnTo>
                      <a:pt x="290" y="78"/>
                    </a:lnTo>
                    <a:lnTo>
                      <a:pt x="292" y="79"/>
                    </a:lnTo>
                    <a:lnTo>
                      <a:pt x="294" y="80"/>
                    </a:lnTo>
                    <a:lnTo>
                      <a:pt x="297" y="83"/>
                    </a:lnTo>
                    <a:lnTo>
                      <a:pt x="298" y="84"/>
                    </a:lnTo>
                    <a:lnTo>
                      <a:pt x="299" y="85"/>
                    </a:lnTo>
                    <a:lnTo>
                      <a:pt x="302" y="86"/>
                    </a:lnTo>
                    <a:lnTo>
                      <a:pt x="304" y="87"/>
                    </a:lnTo>
                    <a:lnTo>
                      <a:pt x="307" y="88"/>
                    </a:lnTo>
                    <a:lnTo>
                      <a:pt x="310" y="88"/>
                    </a:lnTo>
                    <a:lnTo>
                      <a:pt x="313" y="87"/>
                    </a:lnTo>
                    <a:lnTo>
                      <a:pt x="315" y="87"/>
                    </a:lnTo>
                    <a:lnTo>
                      <a:pt x="317" y="87"/>
                    </a:lnTo>
                    <a:lnTo>
                      <a:pt x="319" y="87"/>
                    </a:lnTo>
                    <a:lnTo>
                      <a:pt x="325" y="91"/>
                    </a:lnTo>
                    <a:lnTo>
                      <a:pt x="326" y="92"/>
                    </a:lnTo>
                    <a:lnTo>
                      <a:pt x="327" y="93"/>
                    </a:lnTo>
                    <a:lnTo>
                      <a:pt x="328" y="93"/>
                    </a:lnTo>
                    <a:lnTo>
                      <a:pt x="328" y="94"/>
                    </a:lnTo>
                    <a:lnTo>
                      <a:pt x="328" y="96"/>
                    </a:lnTo>
                    <a:lnTo>
                      <a:pt x="329" y="99"/>
                    </a:lnTo>
                    <a:lnTo>
                      <a:pt x="330" y="100"/>
                    </a:lnTo>
                    <a:lnTo>
                      <a:pt x="331" y="101"/>
                    </a:lnTo>
                    <a:lnTo>
                      <a:pt x="333" y="101"/>
                    </a:lnTo>
                    <a:lnTo>
                      <a:pt x="336" y="101"/>
                    </a:lnTo>
                    <a:lnTo>
                      <a:pt x="337" y="102"/>
                    </a:lnTo>
                    <a:lnTo>
                      <a:pt x="339" y="102"/>
                    </a:lnTo>
                    <a:lnTo>
                      <a:pt x="341" y="103"/>
                    </a:lnTo>
                    <a:lnTo>
                      <a:pt x="342" y="103"/>
                    </a:lnTo>
                    <a:lnTo>
                      <a:pt x="343" y="102"/>
                    </a:lnTo>
                    <a:lnTo>
                      <a:pt x="344" y="101"/>
                    </a:lnTo>
                    <a:lnTo>
                      <a:pt x="345" y="100"/>
                    </a:lnTo>
                    <a:lnTo>
                      <a:pt x="346" y="99"/>
                    </a:lnTo>
                    <a:lnTo>
                      <a:pt x="349" y="98"/>
                    </a:lnTo>
                    <a:lnTo>
                      <a:pt x="350" y="97"/>
                    </a:lnTo>
                    <a:lnTo>
                      <a:pt x="352" y="97"/>
                    </a:lnTo>
                    <a:lnTo>
                      <a:pt x="353" y="98"/>
                    </a:lnTo>
                    <a:lnTo>
                      <a:pt x="354" y="99"/>
                    </a:lnTo>
                    <a:lnTo>
                      <a:pt x="355" y="100"/>
                    </a:lnTo>
                    <a:lnTo>
                      <a:pt x="356" y="100"/>
                    </a:lnTo>
                    <a:lnTo>
                      <a:pt x="359" y="101"/>
                    </a:lnTo>
                    <a:lnTo>
                      <a:pt x="360" y="102"/>
                    </a:lnTo>
                    <a:lnTo>
                      <a:pt x="363" y="103"/>
                    </a:lnTo>
                    <a:lnTo>
                      <a:pt x="364" y="104"/>
                    </a:lnTo>
                    <a:lnTo>
                      <a:pt x="365" y="105"/>
                    </a:lnTo>
                    <a:lnTo>
                      <a:pt x="366" y="110"/>
                    </a:lnTo>
                    <a:lnTo>
                      <a:pt x="367" y="111"/>
                    </a:lnTo>
                    <a:lnTo>
                      <a:pt x="368" y="112"/>
                    </a:lnTo>
                    <a:lnTo>
                      <a:pt x="369" y="112"/>
                    </a:lnTo>
                    <a:lnTo>
                      <a:pt x="369" y="113"/>
                    </a:lnTo>
                    <a:lnTo>
                      <a:pt x="369" y="114"/>
                    </a:lnTo>
                    <a:lnTo>
                      <a:pt x="368" y="115"/>
                    </a:lnTo>
                    <a:lnTo>
                      <a:pt x="367" y="116"/>
                    </a:lnTo>
                    <a:lnTo>
                      <a:pt x="366" y="118"/>
                    </a:lnTo>
                    <a:lnTo>
                      <a:pt x="365" y="119"/>
                    </a:lnTo>
                    <a:lnTo>
                      <a:pt x="365" y="122"/>
                    </a:lnTo>
                    <a:lnTo>
                      <a:pt x="366" y="124"/>
                    </a:lnTo>
                    <a:lnTo>
                      <a:pt x="366" y="127"/>
                    </a:lnTo>
                    <a:lnTo>
                      <a:pt x="366" y="128"/>
                    </a:lnTo>
                    <a:lnTo>
                      <a:pt x="365" y="130"/>
                    </a:lnTo>
                    <a:lnTo>
                      <a:pt x="364" y="130"/>
                    </a:lnTo>
                    <a:lnTo>
                      <a:pt x="363" y="130"/>
                    </a:lnTo>
                    <a:lnTo>
                      <a:pt x="360" y="130"/>
                    </a:lnTo>
                    <a:lnTo>
                      <a:pt x="357" y="129"/>
                    </a:lnTo>
                    <a:lnTo>
                      <a:pt x="355" y="130"/>
                    </a:lnTo>
                    <a:lnTo>
                      <a:pt x="354" y="130"/>
                    </a:lnTo>
                    <a:lnTo>
                      <a:pt x="352" y="132"/>
                    </a:lnTo>
                    <a:lnTo>
                      <a:pt x="351" y="135"/>
                    </a:lnTo>
                    <a:lnTo>
                      <a:pt x="350" y="137"/>
                    </a:lnTo>
                    <a:lnTo>
                      <a:pt x="349" y="138"/>
                    </a:lnTo>
                    <a:lnTo>
                      <a:pt x="347" y="139"/>
                    </a:lnTo>
                    <a:lnTo>
                      <a:pt x="347" y="141"/>
                    </a:lnTo>
                    <a:lnTo>
                      <a:pt x="346" y="142"/>
                    </a:lnTo>
                    <a:lnTo>
                      <a:pt x="344" y="146"/>
                    </a:lnTo>
                    <a:lnTo>
                      <a:pt x="343" y="150"/>
                    </a:lnTo>
                    <a:lnTo>
                      <a:pt x="343" y="152"/>
                    </a:lnTo>
                    <a:lnTo>
                      <a:pt x="343" y="154"/>
                    </a:lnTo>
                    <a:lnTo>
                      <a:pt x="343" y="157"/>
                    </a:lnTo>
                    <a:lnTo>
                      <a:pt x="344" y="158"/>
                    </a:lnTo>
                    <a:lnTo>
                      <a:pt x="344" y="162"/>
                    </a:lnTo>
                    <a:lnTo>
                      <a:pt x="345" y="163"/>
                    </a:lnTo>
                    <a:lnTo>
                      <a:pt x="346" y="163"/>
                    </a:lnTo>
                    <a:lnTo>
                      <a:pt x="349" y="164"/>
                    </a:lnTo>
                    <a:lnTo>
                      <a:pt x="351" y="164"/>
                    </a:lnTo>
                    <a:lnTo>
                      <a:pt x="352" y="165"/>
                    </a:lnTo>
                    <a:lnTo>
                      <a:pt x="353" y="167"/>
                    </a:lnTo>
                    <a:lnTo>
                      <a:pt x="353" y="168"/>
                    </a:lnTo>
                    <a:lnTo>
                      <a:pt x="353" y="170"/>
                    </a:lnTo>
                    <a:lnTo>
                      <a:pt x="353" y="173"/>
                    </a:lnTo>
                    <a:lnTo>
                      <a:pt x="352" y="176"/>
                    </a:lnTo>
                    <a:lnTo>
                      <a:pt x="351" y="177"/>
                    </a:lnTo>
                    <a:lnTo>
                      <a:pt x="350" y="177"/>
                    </a:lnTo>
                    <a:lnTo>
                      <a:pt x="349" y="178"/>
                    </a:lnTo>
                    <a:lnTo>
                      <a:pt x="347" y="178"/>
                    </a:lnTo>
                    <a:lnTo>
                      <a:pt x="346" y="179"/>
                    </a:lnTo>
                    <a:lnTo>
                      <a:pt x="345" y="180"/>
                    </a:lnTo>
                    <a:lnTo>
                      <a:pt x="344" y="181"/>
                    </a:lnTo>
                    <a:lnTo>
                      <a:pt x="343" y="182"/>
                    </a:lnTo>
                    <a:lnTo>
                      <a:pt x="343" y="183"/>
                    </a:lnTo>
                    <a:lnTo>
                      <a:pt x="343" y="186"/>
                    </a:lnTo>
                    <a:lnTo>
                      <a:pt x="343" y="188"/>
                    </a:lnTo>
                    <a:lnTo>
                      <a:pt x="344" y="188"/>
                    </a:lnTo>
                    <a:lnTo>
                      <a:pt x="346" y="190"/>
                    </a:lnTo>
                    <a:lnTo>
                      <a:pt x="349" y="190"/>
                    </a:lnTo>
                    <a:lnTo>
                      <a:pt x="350" y="192"/>
                    </a:lnTo>
                    <a:lnTo>
                      <a:pt x="350" y="193"/>
                    </a:lnTo>
                    <a:lnTo>
                      <a:pt x="349" y="194"/>
                    </a:lnTo>
                    <a:lnTo>
                      <a:pt x="349" y="196"/>
                    </a:lnTo>
                    <a:lnTo>
                      <a:pt x="347" y="197"/>
                    </a:lnTo>
                    <a:lnTo>
                      <a:pt x="345" y="204"/>
                    </a:lnTo>
                    <a:lnTo>
                      <a:pt x="342" y="210"/>
                    </a:lnTo>
                    <a:lnTo>
                      <a:pt x="341" y="215"/>
                    </a:lnTo>
                    <a:lnTo>
                      <a:pt x="340" y="216"/>
                    </a:lnTo>
                    <a:lnTo>
                      <a:pt x="339" y="218"/>
                    </a:lnTo>
                    <a:lnTo>
                      <a:pt x="334" y="222"/>
                    </a:lnTo>
                    <a:lnTo>
                      <a:pt x="330" y="226"/>
                    </a:lnTo>
                    <a:lnTo>
                      <a:pt x="329" y="227"/>
                    </a:lnTo>
                    <a:lnTo>
                      <a:pt x="327" y="228"/>
                    </a:lnTo>
                    <a:lnTo>
                      <a:pt x="326" y="230"/>
                    </a:lnTo>
                    <a:lnTo>
                      <a:pt x="326" y="231"/>
                    </a:lnTo>
                    <a:lnTo>
                      <a:pt x="325" y="233"/>
                    </a:lnTo>
                    <a:lnTo>
                      <a:pt x="321" y="235"/>
                    </a:lnTo>
                    <a:lnTo>
                      <a:pt x="321" y="236"/>
                    </a:lnTo>
                    <a:lnTo>
                      <a:pt x="318" y="238"/>
                    </a:lnTo>
                    <a:lnTo>
                      <a:pt x="316" y="239"/>
                    </a:lnTo>
                    <a:lnTo>
                      <a:pt x="314" y="240"/>
                    </a:lnTo>
                    <a:lnTo>
                      <a:pt x="312" y="241"/>
                    </a:lnTo>
                    <a:lnTo>
                      <a:pt x="311" y="243"/>
                    </a:lnTo>
                    <a:lnTo>
                      <a:pt x="310" y="244"/>
                    </a:lnTo>
                    <a:lnTo>
                      <a:pt x="308" y="250"/>
                    </a:lnTo>
                    <a:lnTo>
                      <a:pt x="308" y="251"/>
                    </a:lnTo>
                    <a:lnTo>
                      <a:pt x="308" y="253"/>
                    </a:lnTo>
                    <a:lnTo>
                      <a:pt x="307" y="255"/>
                    </a:lnTo>
                    <a:lnTo>
                      <a:pt x="306" y="256"/>
                    </a:lnTo>
                    <a:lnTo>
                      <a:pt x="305" y="256"/>
                    </a:lnTo>
                    <a:lnTo>
                      <a:pt x="304" y="257"/>
                    </a:lnTo>
                    <a:lnTo>
                      <a:pt x="301" y="257"/>
                    </a:lnTo>
                    <a:lnTo>
                      <a:pt x="298" y="258"/>
                    </a:lnTo>
                    <a:lnTo>
                      <a:pt x="297" y="258"/>
                    </a:lnTo>
                    <a:lnTo>
                      <a:pt x="295" y="259"/>
                    </a:lnTo>
                    <a:lnTo>
                      <a:pt x="294" y="260"/>
                    </a:lnTo>
                    <a:lnTo>
                      <a:pt x="293" y="261"/>
                    </a:lnTo>
                    <a:lnTo>
                      <a:pt x="291" y="263"/>
                    </a:lnTo>
                    <a:lnTo>
                      <a:pt x="291" y="264"/>
                    </a:lnTo>
                    <a:lnTo>
                      <a:pt x="290" y="265"/>
                    </a:lnTo>
                    <a:lnTo>
                      <a:pt x="290" y="266"/>
                    </a:lnTo>
                    <a:lnTo>
                      <a:pt x="290" y="268"/>
                    </a:lnTo>
                    <a:lnTo>
                      <a:pt x="290" y="269"/>
                    </a:lnTo>
                    <a:lnTo>
                      <a:pt x="291" y="270"/>
                    </a:lnTo>
                    <a:lnTo>
                      <a:pt x="291" y="273"/>
                    </a:lnTo>
                    <a:lnTo>
                      <a:pt x="292" y="276"/>
                    </a:lnTo>
                    <a:lnTo>
                      <a:pt x="292" y="277"/>
                    </a:lnTo>
                    <a:lnTo>
                      <a:pt x="292" y="282"/>
                    </a:lnTo>
                    <a:lnTo>
                      <a:pt x="292" y="286"/>
                    </a:lnTo>
                    <a:lnTo>
                      <a:pt x="292" y="289"/>
                    </a:lnTo>
                    <a:lnTo>
                      <a:pt x="292" y="290"/>
                    </a:lnTo>
                    <a:lnTo>
                      <a:pt x="292" y="292"/>
                    </a:lnTo>
                    <a:lnTo>
                      <a:pt x="292" y="293"/>
                    </a:lnTo>
                    <a:lnTo>
                      <a:pt x="293" y="298"/>
                    </a:lnTo>
                    <a:lnTo>
                      <a:pt x="293" y="299"/>
                    </a:lnTo>
                    <a:lnTo>
                      <a:pt x="293" y="300"/>
                    </a:lnTo>
                    <a:lnTo>
                      <a:pt x="293" y="306"/>
                    </a:lnTo>
                    <a:lnTo>
                      <a:pt x="293" y="307"/>
                    </a:lnTo>
                    <a:lnTo>
                      <a:pt x="293" y="308"/>
                    </a:lnTo>
                    <a:lnTo>
                      <a:pt x="293" y="317"/>
                    </a:lnTo>
                    <a:lnTo>
                      <a:pt x="293" y="319"/>
                    </a:lnTo>
                    <a:lnTo>
                      <a:pt x="293" y="320"/>
                    </a:lnTo>
                    <a:lnTo>
                      <a:pt x="293" y="323"/>
                    </a:lnTo>
                    <a:lnTo>
                      <a:pt x="292" y="330"/>
                    </a:lnTo>
                    <a:lnTo>
                      <a:pt x="292" y="332"/>
                    </a:lnTo>
                    <a:lnTo>
                      <a:pt x="293" y="335"/>
                    </a:lnTo>
                    <a:lnTo>
                      <a:pt x="292" y="336"/>
                    </a:lnTo>
                    <a:lnTo>
                      <a:pt x="292" y="337"/>
                    </a:lnTo>
                    <a:lnTo>
                      <a:pt x="292" y="340"/>
                    </a:lnTo>
                    <a:lnTo>
                      <a:pt x="292" y="341"/>
                    </a:lnTo>
                    <a:lnTo>
                      <a:pt x="292" y="343"/>
                    </a:lnTo>
                    <a:lnTo>
                      <a:pt x="291" y="344"/>
                    </a:lnTo>
                    <a:lnTo>
                      <a:pt x="290" y="345"/>
                    </a:lnTo>
                    <a:lnTo>
                      <a:pt x="288" y="345"/>
                    </a:lnTo>
                    <a:lnTo>
                      <a:pt x="284" y="345"/>
                    </a:lnTo>
                    <a:lnTo>
                      <a:pt x="281" y="345"/>
                    </a:lnTo>
                    <a:lnTo>
                      <a:pt x="280" y="346"/>
                    </a:lnTo>
                    <a:lnTo>
                      <a:pt x="280" y="347"/>
                    </a:lnTo>
                    <a:lnTo>
                      <a:pt x="280" y="348"/>
                    </a:lnTo>
                    <a:lnTo>
                      <a:pt x="280" y="349"/>
                    </a:lnTo>
                    <a:lnTo>
                      <a:pt x="280" y="350"/>
                    </a:lnTo>
                    <a:lnTo>
                      <a:pt x="284" y="354"/>
                    </a:lnTo>
                    <a:lnTo>
                      <a:pt x="285" y="355"/>
                    </a:lnTo>
                    <a:lnTo>
                      <a:pt x="282" y="355"/>
                    </a:lnTo>
                    <a:lnTo>
                      <a:pt x="271" y="355"/>
                    </a:lnTo>
                    <a:lnTo>
                      <a:pt x="264" y="355"/>
                    </a:lnTo>
                    <a:lnTo>
                      <a:pt x="260" y="355"/>
                    </a:lnTo>
                    <a:lnTo>
                      <a:pt x="254" y="355"/>
                    </a:lnTo>
                    <a:lnTo>
                      <a:pt x="248" y="355"/>
                    </a:lnTo>
                    <a:lnTo>
                      <a:pt x="203" y="355"/>
                    </a:lnTo>
                    <a:lnTo>
                      <a:pt x="177" y="354"/>
                    </a:lnTo>
                    <a:lnTo>
                      <a:pt x="172" y="354"/>
                    </a:lnTo>
                    <a:lnTo>
                      <a:pt x="153" y="354"/>
                    </a:lnTo>
                    <a:lnTo>
                      <a:pt x="137" y="354"/>
                    </a:lnTo>
                    <a:lnTo>
                      <a:pt x="110" y="354"/>
                    </a:lnTo>
                    <a:lnTo>
                      <a:pt x="109" y="354"/>
                    </a:lnTo>
                    <a:lnTo>
                      <a:pt x="105" y="354"/>
                    </a:lnTo>
                    <a:lnTo>
                      <a:pt x="95" y="354"/>
                    </a:lnTo>
                    <a:lnTo>
                      <a:pt x="41" y="355"/>
                    </a:lnTo>
                    <a:lnTo>
                      <a:pt x="32" y="355"/>
                    </a:lnTo>
                    <a:lnTo>
                      <a:pt x="26" y="355"/>
                    </a:lnTo>
                    <a:lnTo>
                      <a:pt x="26" y="323"/>
                    </a:lnTo>
                    <a:lnTo>
                      <a:pt x="18" y="315"/>
                    </a:lnTo>
                    <a:lnTo>
                      <a:pt x="0" y="292"/>
                    </a:lnTo>
                    <a:lnTo>
                      <a:pt x="0" y="277"/>
                    </a:lnTo>
                    <a:lnTo>
                      <a:pt x="0" y="271"/>
                    </a:lnTo>
                    <a:lnTo>
                      <a:pt x="18" y="271"/>
                    </a:lnTo>
                    <a:lnTo>
                      <a:pt x="30" y="271"/>
                    </a:lnTo>
                    <a:lnTo>
                      <a:pt x="39" y="271"/>
                    </a:lnTo>
                    <a:lnTo>
                      <a:pt x="40" y="271"/>
                    </a:lnTo>
                    <a:lnTo>
                      <a:pt x="41" y="271"/>
                    </a:lnTo>
                    <a:lnTo>
                      <a:pt x="41" y="272"/>
                    </a:lnTo>
                    <a:lnTo>
                      <a:pt x="42" y="272"/>
                    </a:lnTo>
                    <a:lnTo>
                      <a:pt x="42" y="273"/>
                    </a:lnTo>
                    <a:lnTo>
                      <a:pt x="43" y="273"/>
                    </a:lnTo>
                    <a:lnTo>
                      <a:pt x="44" y="273"/>
                    </a:lnTo>
                    <a:lnTo>
                      <a:pt x="44" y="272"/>
                    </a:lnTo>
                    <a:lnTo>
                      <a:pt x="44" y="271"/>
                    </a:lnTo>
                    <a:lnTo>
                      <a:pt x="44" y="269"/>
                    </a:lnTo>
                    <a:lnTo>
                      <a:pt x="46" y="266"/>
                    </a:lnTo>
                    <a:lnTo>
                      <a:pt x="46" y="265"/>
                    </a:lnTo>
                    <a:lnTo>
                      <a:pt x="45" y="265"/>
                    </a:lnTo>
                    <a:lnTo>
                      <a:pt x="43" y="265"/>
                    </a:lnTo>
                    <a:lnTo>
                      <a:pt x="42" y="265"/>
                    </a:lnTo>
                    <a:lnTo>
                      <a:pt x="42" y="264"/>
                    </a:lnTo>
                    <a:lnTo>
                      <a:pt x="42" y="263"/>
                    </a:lnTo>
                    <a:lnTo>
                      <a:pt x="42" y="261"/>
                    </a:lnTo>
                    <a:lnTo>
                      <a:pt x="42" y="260"/>
                    </a:lnTo>
                    <a:lnTo>
                      <a:pt x="42" y="258"/>
                    </a:lnTo>
                    <a:lnTo>
                      <a:pt x="42" y="256"/>
                    </a:lnTo>
                    <a:lnTo>
                      <a:pt x="42" y="255"/>
                    </a:lnTo>
                    <a:lnTo>
                      <a:pt x="41" y="255"/>
                    </a:lnTo>
                    <a:lnTo>
                      <a:pt x="41" y="254"/>
                    </a:lnTo>
                    <a:lnTo>
                      <a:pt x="40" y="254"/>
                    </a:lnTo>
                    <a:lnTo>
                      <a:pt x="40" y="253"/>
                    </a:lnTo>
                    <a:lnTo>
                      <a:pt x="39" y="253"/>
                    </a:lnTo>
                    <a:lnTo>
                      <a:pt x="39" y="246"/>
                    </a:lnTo>
                    <a:lnTo>
                      <a:pt x="32" y="193"/>
                    </a:lnTo>
                    <a:lnTo>
                      <a:pt x="32" y="187"/>
                    </a:lnTo>
                    <a:lnTo>
                      <a:pt x="32" y="186"/>
                    </a:lnTo>
                    <a:lnTo>
                      <a:pt x="30" y="167"/>
                    </a:lnTo>
                    <a:lnTo>
                      <a:pt x="30" y="166"/>
                    </a:lnTo>
                    <a:lnTo>
                      <a:pt x="30" y="164"/>
                    </a:lnTo>
                    <a:lnTo>
                      <a:pt x="29" y="163"/>
                    </a:lnTo>
                    <a:lnTo>
                      <a:pt x="29" y="162"/>
                    </a:lnTo>
                    <a:lnTo>
                      <a:pt x="29" y="161"/>
                    </a:lnTo>
                    <a:lnTo>
                      <a:pt x="29" y="158"/>
                    </a:lnTo>
                    <a:lnTo>
                      <a:pt x="29" y="157"/>
                    </a:lnTo>
                    <a:lnTo>
                      <a:pt x="28" y="155"/>
                    </a:lnTo>
                    <a:lnTo>
                      <a:pt x="28" y="154"/>
                    </a:lnTo>
                    <a:lnTo>
                      <a:pt x="28" y="152"/>
                    </a:lnTo>
                    <a:lnTo>
                      <a:pt x="29" y="151"/>
                    </a:lnTo>
                    <a:lnTo>
                      <a:pt x="30" y="149"/>
                    </a:lnTo>
                    <a:lnTo>
                      <a:pt x="31" y="149"/>
                    </a:lnTo>
                    <a:lnTo>
                      <a:pt x="31" y="148"/>
                    </a:lnTo>
                    <a:lnTo>
                      <a:pt x="32" y="148"/>
                    </a:lnTo>
                    <a:lnTo>
                      <a:pt x="33" y="145"/>
                    </a:lnTo>
                    <a:lnTo>
                      <a:pt x="34" y="145"/>
                    </a:lnTo>
                    <a:lnTo>
                      <a:pt x="34" y="144"/>
                    </a:lnTo>
                    <a:lnTo>
                      <a:pt x="34" y="143"/>
                    </a:lnTo>
                    <a:lnTo>
                      <a:pt x="32" y="141"/>
                    </a:lnTo>
                    <a:lnTo>
                      <a:pt x="30" y="139"/>
                    </a:lnTo>
                    <a:lnTo>
                      <a:pt x="29" y="139"/>
                    </a:lnTo>
                    <a:lnTo>
                      <a:pt x="29" y="138"/>
                    </a:lnTo>
                    <a:lnTo>
                      <a:pt x="29" y="113"/>
                    </a:lnTo>
                    <a:lnTo>
                      <a:pt x="29" y="107"/>
                    </a:lnTo>
                    <a:lnTo>
                      <a:pt x="29" y="96"/>
                    </a:lnTo>
                    <a:lnTo>
                      <a:pt x="29" y="68"/>
                    </a:lnTo>
                    <a:lnTo>
                      <a:pt x="29" y="67"/>
                    </a:lnTo>
                    <a:lnTo>
                      <a:pt x="29" y="63"/>
                    </a:lnTo>
                    <a:lnTo>
                      <a:pt x="29" y="50"/>
                    </a:lnTo>
                    <a:lnTo>
                      <a:pt x="29" y="19"/>
                    </a:lnTo>
                    <a:lnTo>
                      <a:pt x="29" y="15"/>
                    </a:lnTo>
                    <a:lnTo>
                      <a:pt x="30" y="15"/>
                    </a:lnTo>
                    <a:lnTo>
                      <a:pt x="31" y="15"/>
                    </a:lnTo>
                    <a:lnTo>
                      <a:pt x="31" y="14"/>
                    </a:lnTo>
                    <a:lnTo>
                      <a:pt x="32" y="14"/>
                    </a:lnTo>
                    <a:lnTo>
                      <a:pt x="32" y="13"/>
                    </a:lnTo>
                    <a:lnTo>
                      <a:pt x="33" y="13"/>
                    </a:lnTo>
                    <a:lnTo>
                      <a:pt x="33" y="12"/>
                    </a:lnTo>
                    <a:lnTo>
                      <a:pt x="34" y="13"/>
                    </a:lnTo>
                    <a:lnTo>
                      <a:pt x="34" y="12"/>
                    </a:lnTo>
                    <a:lnTo>
                      <a:pt x="34" y="11"/>
                    </a:lnTo>
                    <a:lnTo>
                      <a:pt x="34" y="10"/>
                    </a:lnTo>
                    <a:lnTo>
                      <a:pt x="35" y="10"/>
                    </a:lnTo>
                    <a:lnTo>
                      <a:pt x="35" y="9"/>
                    </a:lnTo>
                    <a:lnTo>
                      <a:pt x="36" y="9"/>
                    </a:lnTo>
                    <a:lnTo>
                      <a:pt x="36" y="10"/>
                    </a:lnTo>
                    <a:lnTo>
                      <a:pt x="36" y="11"/>
                    </a:lnTo>
                    <a:lnTo>
                      <a:pt x="37" y="11"/>
                    </a:lnTo>
                    <a:lnTo>
                      <a:pt x="37" y="10"/>
                    </a:lnTo>
                    <a:lnTo>
                      <a:pt x="37" y="9"/>
                    </a:lnTo>
                    <a:lnTo>
                      <a:pt x="36" y="9"/>
                    </a:lnTo>
                    <a:lnTo>
                      <a:pt x="37" y="9"/>
                    </a:lnTo>
                    <a:lnTo>
                      <a:pt x="39" y="9"/>
                    </a:lnTo>
                    <a:lnTo>
                      <a:pt x="39" y="10"/>
                    </a:lnTo>
                    <a:lnTo>
                      <a:pt x="40" y="10"/>
                    </a:lnTo>
                    <a:lnTo>
                      <a:pt x="41" y="10"/>
                    </a:lnTo>
                    <a:lnTo>
                      <a:pt x="42" y="11"/>
                    </a:lnTo>
                    <a:lnTo>
                      <a:pt x="42" y="12"/>
                    </a:lnTo>
                    <a:lnTo>
                      <a:pt x="43" y="12"/>
                    </a:lnTo>
                    <a:lnTo>
                      <a:pt x="44" y="12"/>
                    </a:lnTo>
                    <a:lnTo>
                      <a:pt x="45" y="12"/>
                    </a:lnTo>
                    <a:lnTo>
                      <a:pt x="45" y="11"/>
                    </a:lnTo>
                    <a:lnTo>
                      <a:pt x="46" y="10"/>
                    </a:lnTo>
                    <a:lnTo>
                      <a:pt x="47" y="11"/>
                    </a:lnTo>
                    <a:lnTo>
                      <a:pt x="47" y="10"/>
                    </a:lnTo>
                    <a:lnTo>
                      <a:pt x="48" y="10"/>
                    </a:lnTo>
                    <a:lnTo>
                      <a:pt x="49" y="10"/>
                    </a:lnTo>
                    <a:lnTo>
                      <a:pt x="50" y="10"/>
                    </a:lnTo>
                    <a:lnTo>
                      <a:pt x="52" y="10"/>
                    </a:lnTo>
                    <a:lnTo>
                      <a:pt x="52" y="9"/>
                    </a:lnTo>
                    <a:lnTo>
                      <a:pt x="50" y="9"/>
                    </a:lnTo>
                    <a:lnTo>
                      <a:pt x="52" y="9"/>
                    </a:lnTo>
                    <a:lnTo>
                      <a:pt x="52" y="8"/>
                    </a:lnTo>
                    <a:lnTo>
                      <a:pt x="53" y="8"/>
                    </a:lnTo>
                    <a:lnTo>
                      <a:pt x="54" y="8"/>
                    </a:lnTo>
                    <a:lnTo>
                      <a:pt x="54" y="9"/>
                    </a:lnTo>
                    <a:lnTo>
                      <a:pt x="54" y="8"/>
                    </a:lnTo>
                    <a:lnTo>
                      <a:pt x="55" y="8"/>
                    </a:lnTo>
                    <a:lnTo>
                      <a:pt x="55" y="9"/>
                    </a:lnTo>
                    <a:lnTo>
                      <a:pt x="56" y="9"/>
                    </a:lnTo>
                    <a:lnTo>
                      <a:pt x="56" y="10"/>
                    </a:lnTo>
                    <a:lnTo>
                      <a:pt x="56" y="11"/>
                    </a:lnTo>
                    <a:lnTo>
                      <a:pt x="56" y="12"/>
                    </a:lnTo>
                    <a:lnTo>
                      <a:pt x="57" y="12"/>
                    </a:lnTo>
                    <a:lnTo>
                      <a:pt x="58" y="12"/>
                    </a:lnTo>
                    <a:lnTo>
                      <a:pt x="59" y="12"/>
                    </a:lnTo>
                    <a:lnTo>
                      <a:pt x="60" y="11"/>
                    </a:lnTo>
                    <a:lnTo>
                      <a:pt x="61" y="11"/>
                    </a:lnTo>
                    <a:lnTo>
                      <a:pt x="61" y="12"/>
                    </a:lnTo>
                    <a:lnTo>
                      <a:pt x="61" y="13"/>
                    </a:lnTo>
                    <a:lnTo>
                      <a:pt x="60" y="13"/>
                    </a:lnTo>
                    <a:lnTo>
                      <a:pt x="61" y="14"/>
                    </a:lnTo>
                    <a:lnTo>
                      <a:pt x="62" y="14"/>
                    </a:lnTo>
                    <a:lnTo>
                      <a:pt x="62" y="15"/>
                    </a:lnTo>
                    <a:lnTo>
                      <a:pt x="62" y="16"/>
                    </a:lnTo>
                    <a:lnTo>
                      <a:pt x="62" y="17"/>
                    </a:lnTo>
                    <a:lnTo>
                      <a:pt x="62" y="19"/>
                    </a:lnTo>
                    <a:lnTo>
                      <a:pt x="62" y="20"/>
                    </a:lnTo>
                    <a:lnTo>
                      <a:pt x="62" y="21"/>
                    </a:lnTo>
                    <a:lnTo>
                      <a:pt x="63" y="21"/>
                    </a:lnTo>
                    <a:lnTo>
                      <a:pt x="65" y="21"/>
                    </a:lnTo>
                    <a:lnTo>
                      <a:pt x="65" y="22"/>
                    </a:lnTo>
                    <a:lnTo>
                      <a:pt x="63" y="22"/>
                    </a:lnTo>
                    <a:lnTo>
                      <a:pt x="63" y="23"/>
                    </a:lnTo>
                    <a:lnTo>
                      <a:pt x="63" y="24"/>
                    </a:lnTo>
                    <a:lnTo>
                      <a:pt x="65" y="24"/>
                    </a:lnTo>
                    <a:lnTo>
                      <a:pt x="65" y="25"/>
                    </a:lnTo>
                    <a:lnTo>
                      <a:pt x="66" y="25"/>
                    </a:lnTo>
                    <a:lnTo>
                      <a:pt x="67" y="26"/>
                    </a:lnTo>
                    <a:lnTo>
                      <a:pt x="68" y="27"/>
                    </a:lnTo>
                    <a:lnTo>
                      <a:pt x="69" y="27"/>
                    </a:lnTo>
                    <a:lnTo>
                      <a:pt x="70" y="27"/>
                    </a:lnTo>
                    <a:lnTo>
                      <a:pt x="70" y="28"/>
                    </a:lnTo>
                    <a:lnTo>
                      <a:pt x="71" y="28"/>
                    </a:lnTo>
                    <a:lnTo>
                      <a:pt x="71" y="29"/>
                    </a:lnTo>
                    <a:lnTo>
                      <a:pt x="72" y="30"/>
                    </a:lnTo>
                    <a:lnTo>
                      <a:pt x="72" y="32"/>
                    </a:lnTo>
                    <a:lnTo>
                      <a:pt x="72" y="33"/>
                    </a:lnTo>
                    <a:lnTo>
                      <a:pt x="73" y="33"/>
                    </a:lnTo>
                    <a:lnTo>
                      <a:pt x="73" y="32"/>
                    </a:lnTo>
                    <a:lnTo>
                      <a:pt x="73" y="30"/>
                    </a:lnTo>
                    <a:lnTo>
                      <a:pt x="74" y="30"/>
                    </a:lnTo>
                    <a:lnTo>
                      <a:pt x="75" y="30"/>
                    </a:lnTo>
                    <a:lnTo>
                      <a:pt x="76" y="30"/>
                    </a:lnTo>
                    <a:lnTo>
                      <a:pt x="78" y="29"/>
                    </a:lnTo>
                    <a:lnTo>
                      <a:pt x="78" y="28"/>
                    </a:lnTo>
                    <a:lnTo>
                      <a:pt x="79" y="29"/>
                    </a:lnTo>
                    <a:lnTo>
                      <a:pt x="80" y="29"/>
                    </a:lnTo>
                    <a:lnTo>
                      <a:pt x="81" y="29"/>
                    </a:lnTo>
                    <a:lnTo>
                      <a:pt x="82" y="30"/>
                    </a:lnTo>
                    <a:lnTo>
                      <a:pt x="83" y="29"/>
                    </a:lnTo>
                    <a:lnTo>
                      <a:pt x="84" y="29"/>
                    </a:lnTo>
                    <a:lnTo>
                      <a:pt x="84" y="28"/>
                    </a:lnTo>
                    <a:lnTo>
                      <a:pt x="85" y="28"/>
                    </a:lnTo>
                    <a:lnTo>
                      <a:pt x="86" y="28"/>
                    </a:lnTo>
                    <a:lnTo>
                      <a:pt x="86" y="27"/>
                    </a:lnTo>
                    <a:lnTo>
                      <a:pt x="86" y="26"/>
                    </a:lnTo>
                    <a:lnTo>
                      <a:pt x="87" y="26"/>
                    </a:lnTo>
                    <a:lnTo>
                      <a:pt x="88" y="26"/>
                    </a:lnTo>
                    <a:lnTo>
                      <a:pt x="89" y="26"/>
                    </a:lnTo>
                    <a:lnTo>
                      <a:pt x="91" y="26"/>
                    </a:lnTo>
                    <a:lnTo>
                      <a:pt x="91" y="25"/>
                    </a:lnTo>
                    <a:lnTo>
                      <a:pt x="91" y="26"/>
                    </a:lnTo>
                    <a:lnTo>
                      <a:pt x="91" y="27"/>
                    </a:lnTo>
                    <a:lnTo>
                      <a:pt x="92" y="27"/>
                    </a:lnTo>
                    <a:lnTo>
                      <a:pt x="92" y="28"/>
                    </a:lnTo>
                    <a:lnTo>
                      <a:pt x="92" y="27"/>
                    </a:lnTo>
                    <a:lnTo>
                      <a:pt x="93" y="27"/>
                    </a:lnTo>
                    <a:lnTo>
                      <a:pt x="94" y="27"/>
                    </a:lnTo>
                    <a:lnTo>
                      <a:pt x="95" y="27"/>
                    </a:lnTo>
                    <a:lnTo>
                      <a:pt x="95" y="26"/>
                    </a:lnTo>
                    <a:lnTo>
                      <a:pt x="96" y="25"/>
                    </a:lnTo>
                    <a:lnTo>
                      <a:pt x="95" y="24"/>
                    </a:lnTo>
                    <a:lnTo>
                      <a:pt x="96" y="24"/>
                    </a:lnTo>
                    <a:lnTo>
                      <a:pt x="96" y="23"/>
                    </a:lnTo>
                    <a:lnTo>
                      <a:pt x="96" y="24"/>
                    </a:lnTo>
                    <a:lnTo>
                      <a:pt x="97" y="23"/>
                    </a:lnTo>
                    <a:lnTo>
                      <a:pt x="97" y="22"/>
                    </a:lnTo>
                    <a:lnTo>
                      <a:pt x="98" y="21"/>
                    </a:lnTo>
                    <a:lnTo>
                      <a:pt x="98" y="22"/>
                    </a:lnTo>
                    <a:lnTo>
                      <a:pt x="98" y="23"/>
                    </a:lnTo>
                    <a:lnTo>
                      <a:pt x="99" y="23"/>
                    </a:lnTo>
                    <a:lnTo>
                      <a:pt x="99" y="24"/>
                    </a:lnTo>
                    <a:lnTo>
                      <a:pt x="101" y="23"/>
                    </a:lnTo>
                    <a:lnTo>
                      <a:pt x="101" y="21"/>
                    </a:lnTo>
                    <a:lnTo>
                      <a:pt x="103" y="20"/>
                    </a:lnTo>
                    <a:lnTo>
                      <a:pt x="105" y="20"/>
                    </a:lnTo>
                    <a:lnTo>
                      <a:pt x="105" y="19"/>
                    </a:lnTo>
                    <a:lnTo>
                      <a:pt x="104" y="19"/>
                    </a:lnTo>
                    <a:lnTo>
                      <a:pt x="104" y="17"/>
                    </a:lnTo>
                    <a:lnTo>
                      <a:pt x="105" y="17"/>
                    </a:lnTo>
                    <a:lnTo>
                      <a:pt x="106" y="17"/>
                    </a:lnTo>
                    <a:lnTo>
                      <a:pt x="106" y="16"/>
                    </a:lnTo>
                    <a:lnTo>
                      <a:pt x="107" y="16"/>
                    </a:lnTo>
                    <a:lnTo>
                      <a:pt x="108" y="15"/>
                    </a:lnTo>
                    <a:lnTo>
                      <a:pt x="109" y="15"/>
                    </a:lnTo>
                    <a:lnTo>
                      <a:pt x="110" y="16"/>
                    </a:lnTo>
                    <a:lnTo>
                      <a:pt x="111" y="16"/>
                    </a:lnTo>
                    <a:lnTo>
                      <a:pt x="111" y="15"/>
                    </a:lnTo>
                    <a:lnTo>
                      <a:pt x="112" y="15"/>
                    </a:lnTo>
                    <a:lnTo>
                      <a:pt x="112" y="14"/>
                    </a:lnTo>
                    <a:lnTo>
                      <a:pt x="112" y="13"/>
                    </a:lnTo>
                    <a:lnTo>
                      <a:pt x="112" y="12"/>
                    </a:lnTo>
                    <a:lnTo>
                      <a:pt x="113" y="11"/>
                    </a:lnTo>
                    <a:lnTo>
                      <a:pt x="114" y="10"/>
                    </a:lnTo>
                    <a:lnTo>
                      <a:pt x="114" y="9"/>
                    </a:lnTo>
                    <a:lnTo>
                      <a:pt x="113" y="8"/>
                    </a:lnTo>
                    <a:lnTo>
                      <a:pt x="114" y="8"/>
                    </a:lnTo>
                    <a:lnTo>
                      <a:pt x="114" y="7"/>
                    </a:lnTo>
                    <a:lnTo>
                      <a:pt x="116" y="7"/>
                    </a:lnTo>
                    <a:lnTo>
                      <a:pt x="116" y="6"/>
                    </a:lnTo>
                    <a:lnTo>
                      <a:pt x="117" y="6"/>
                    </a:lnTo>
                    <a:lnTo>
                      <a:pt x="117" y="7"/>
                    </a:lnTo>
                    <a:lnTo>
                      <a:pt x="118" y="7"/>
                    </a:lnTo>
                    <a:lnTo>
                      <a:pt x="119" y="7"/>
                    </a:lnTo>
                    <a:lnTo>
                      <a:pt x="120" y="7"/>
                    </a:lnTo>
                    <a:lnTo>
                      <a:pt x="120" y="8"/>
                    </a:lnTo>
                    <a:lnTo>
                      <a:pt x="120" y="9"/>
                    </a:lnTo>
                    <a:lnTo>
                      <a:pt x="120" y="10"/>
                    </a:lnTo>
                    <a:lnTo>
                      <a:pt x="121" y="10"/>
                    </a:lnTo>
                    <a:lnTo>
                      <a:pt x="122" y="10"/>
                    </a:lnTo>
                    <a:lnTo>
                      <a:pt x="122" y="11"/>
                    </a:lnTo>
                    <a:lnTo>
                      <a:pt x="122" y="13"/>
                    </a:lnTo>
                    <a:lnTo>
                      <a:pt x="122" y="14"/>
                    </a:lnTo>
                    <a:lnTo>
                      <a:pt x="122" y="15"/>
                    </a:lnTo>
                    <a:lnTo>
                      <a:pt x="123" y="15"/>
                    </a:lnTo>
                    <a:lnTo>
                      <a:pt x="124" y="15"/>
                    </a:lnTo>
                    <a:lnTo>
                      <a:pt x="124" y="14"/>
                    </a:lnTo>
                    <a:lnTo>
                      <a:pt x="124" y="13"/>
                    </a:lnTo>
                    <a:lnTo>
                      <a:pt x="125" y="12"/>
                    </a:lnTo>
                    <a:lnTo>
                      <a:pt x="127" y="12"/>
                    </a:lnTo>
                    <a:lnTo>
                      <a:pt x="129" y="12"/>
                    </a:lnTo>
                    <a:lnTo>
                      <a:pt x="130" y="12"/>
                    </a:lnTo>
                    <a:lnTo>
                      <a:pt x="132" y="10"/>
                    </a:lnTo>
                    <a:lnTo>
                      <a:pt x="133" y="10"/>
                    </a:lnTo>
                    <a:lnTo>
                      <a:pt x="134" y="9"/>
                    </a:lnTo>
                    <a:lnTo>
                      <a:pt x="137" y="7"/>
                    </a:lnTo>
                    <a:lnTo>
                      <a:pt x="139" y="6"/>
                    </a:lnTo>
                    <a:lnTo>
                      <a:pt x="140" y="6"/>
                    </a:lnTo>
                    <a:lnTo>
                      <a:pt x="145" y="6"/>
                    </a:lnTo>
                    <a:lnTo>
                      <a:pt x="146" y="6"/>
                    </a:lnTo>
                    <a:lnTo>
                      <a:pt x="147" y="4"/>
                    </a:lnTo>
                    <a:lnTo>
                      <a:pt x="147" y="3"/>
                    </a:lnTo>
                    <a:lnTo>
                      <a:pt x="147" y="2"/>
                    </a:lnTo>
                    <a:lnTo>
                      <a:pt x="148" y="1"/>
                    </a:lnTo>
                    <a:lnTo>
                      <a:pt x="149" y="1"/>
                    </a:lnTo>
                    <a:lnTo>
                      <a:pt x="150" y="1"/>
                    </a:lnTo>
                    <a:lnTo>
                      <a:pt x="151" y="1"/>
                    </a:lnTo>
                    <a:lnTo>
                      <a:pt x="152" y="0"/>
                    </a:lnTo>
                    <a:lnTo>
                      <a:pt x="153" y="0"/>
                    </a:lnTo>
                    <a:lnTo>
                      <a:pt x="155" y="0"/>
                    </a:lnTo>
                    <a:lnTo>
                      <a:pt x="156" y="1"/>
                    </a:lnTo>
                    <a:lnTo>
                      <a:pt x="157" y="1"/>
                    </a:lnTo>
                    <a:lnTo>
                      <a:pt x="158" y="2"/>
                    </a:lnTo>
                    <a:lnTo>
                      <a:pt x="157" y="4"/>
                    </a:lnTo>
                    <a:lnTo>
                      <a:pt x="157" y="6"/>
                    </a:lnTo>
                    <a:lnTo>
                      <a:pt x="158" y="7"/>
                    </a:lnTo>
                    <a:lnTo>
                      <a:pt x="159" y="8"/>
                    </a:lnTo>
                    <a:lnTo>
                      <a:pt x="158" y="8"/>
                    </a:lnTo>
                    <a:lnTo>
                      <a:pt x="158" y="9"/>
                    </a:lnTo>
                    <a:lnTo>
                      <a:pt x="158" y="10"/>
                    </a:lnTo>
                    <a:lnTo>
                      <a:pt x="159" y="11"/>
                    </a:lnTo>
                    <a:lnTo>
                      <a:pt x="161" y="11"/>
                    </a:lnTo>
                    <a:lnTo>
                      <a:pt x="162" y="11"/>
                    </a:lnTo>
                    <a:lnTo>
                      <a:pt x="163" y="12"/>
                    </a:lnTo>
                    <a:lnTo>
                      <a:pt x="164" y="12"/>
                    </a:lnTo>
                    <a:lnTo>
                      <a:pt x="164" y="13"/>
                    </a:lnTo>
                    <a:lnTo>
                      <a:pt x="166" y="13"/>
                    </a:lnTo>
                    <a:close/>
                  </a:path>
                </a:pathLst>
              </a:custGeom>
              <a:solidFill>
                <a:srgbClr val="53A2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8" name="Freeform 316">
                <a:extLst>
                  <a:ext uri="{FF2B5EF4-FFF2-40B4-BE49-F238E27FC236}">
                    <a16:creationId xmlns:a16="http://schemas.microsoft.com/office/drawing/2014/main" id="{673E07EA-EDAF-896B-6235-D07C2C3566B2}"/>
                  </a:ext>
                </a:extLst>
              </p:cNvPr>
              <p:cNvSpPr>
                <a:spLocks/>
              </p:cNvSpPr>
              <p:nvPr/>
            </p:nvSpPr>
            <p:spPr bwMode="auto">
              <a:xfrm>
                <a:off x="3540126" y="2016125"/>
                <a:ext cx="533400" cy="592138"/>
              </a:xfrm>
              <a:custGeom>
                <a:avLst/>
                <a:gdLst>
                  <a:gd name="T0" fmla="*/ 252 w 336"/>
                  <a:gd name="T1" fmla="*/ 44 h 373"/>
                  <a:gd name="T2" fmla="*/ 251 w 336"/>
                  <a:gd name="T3" fmla="*/ 79 h 373"/>
                  <a:gd name="T4" fmla="*/ 287 w 336"/>
                  <a:gd name="T5" fmla="*/ 90 h 373"/>
                  <a:gd name="T6" fmla="*/ 312 w 336"/>
                  <a:gd name="T7" fmla="*/ 86 h 373"/>
                  <a:gd name="T8" fmla="*/ 336 w 336"/>
                  <a:gd name="T9" fmla="*/ 98 h 373"/>
                  <a:gd name="T10" fmla="*/ 307 w 336"/>
                  <a:gd name="T11" fmla="*/ 145 h 373"/>
                  <a:gd name="T12" fmla="*/ 285 w 336"/>
                  <a:gd name="T13" fmla="*/ 139 h 373"/>
                  <a:gd name="T14" fmla="*/ 263 w 336"/>
                  <a:gd name="T15" fmla="*/ 123 h 373"/>
                  <a:gd name="T16" fmla="*/ 256 w 336"/>
                  <a:gd name="T17" fmla="*/ 138 h 373"/>
                  <a:gd name="T18" fmla="*/ 268 w 336"/>
                  <a:gd name="T19" fmla="*/ 148 h 373"/>
                  <a:gd name="T20" fmla="*/ 285 w 336"/>
                  <a:gd name="T21" fmla="*/ 152 h 373"/>
                  <a:gd name="T22" fmla="*/ 304 w 336"/>
                  <a:gd name="T23" fmla="*/ 161 h 373"/>
                  <a:gd name="T24" fmla="*/ 285 w 336"/>
                  <a:gd name="T25" fmla="*/ 190 h 373"/>
                  <a:gd name="T26" fmla="*/ 258 w 336"/>
                  <a:gd name="T27" fmla="*/ 193 h 373"/>
                  <a:gd name="T28" fmla="*/ 242 w 336"/>
                  <a:gd name="T29" fmla="*/ 206 h 373"/>
                  <a:gd name="T30" fmla="*/ 236 w 336"/>
                  <a:gd name="T31" fmla="*/ 226 h 373"/>
                  <a:gd name="T32" fmla="*/ 245 w 336"/>
                  <a:gd name="T33" fmla="*/ 240 h 373"/>
                  <a:gd name="T34" fmla="*/ 231 w 336"/>
                  <a:gd name="T35" fmla="*/ 248 h 373"/>
                  <a:gd name="T36" fmla="*/ 193 w 336"/>
                  <a:gd name="T37" fmla="*/ 278 h 373"/>
                  <a:gd name="T38" fmla="*/ 197 w 336"/>
                  <a:gd name="T39" fmla="*/ 294 h 373"/>
                  <a:gd name="T40" fmla="*/ 204 w 336"/>
                  <a:gd name="T41" fmla="*/ 307 h 373"/>
                  <a:gd name="T42" fmla="*/ 193 w 336"/>
                  <a:gd name="T43" fmla="*/ 319 h 373"/>
                  <a:gd name="T44" fmla="*/ 179 w 336"/>
                  <a:gd name="T45" fmla="*/ 307 h 373"/>
                  <a:gd name="T46" fmla="*/ 175 w 336"/>
                  <a:gd name="T47" fmla="*/ 282 h 373"/>
                  <a:gd name="T48" fmla="*/ 156 w 336"/>
                  <a:gd name="T49" fmla="*/ 285 h 373"/>
                  <a:gd name="T50" fmla="*/ 143 w 336"/>
                  <a:gd name="T51" fmla="*/ 297 h 373"/>
                  <a:gd name="T52" fmla="*/ 135 w 336"/>
                  <a:gd name="T53" fmla="*/ 323 h 373"/>
                  <a:gd name="T54" fmla="*/ 133 w 336"/>
                  <a:gd name="T55" fmla="*/ 355 h 373"/>
                  <a:gd name="T56" fmla="*/ 156 w 336"/>
                  <a:gd name="T57" fmla="*/ 353 h 373"/>
                  <a:gd name="T58" fmla="*/ 178 w 336"/>
                  <a:gd name="T59" fmla="*/ 346 h 373"/>
                  <a:gd name="T60" fmla="*/ 196 w 336"/>
                  <a:gd name="T61" fmla="*/ 355 h 373"/>
                  <a:gd name="T62" fmla="*/ 180 w 336"/>
                  <a:gd name="T63" fmla="*/ 365 h 373"/>
                  <a:gd name="T64" fmla="*/ 160 w 336"/>
                  <a:gd name="T65" fmla="*/ 361 h 373"/>
                  <a:gd name="T66" fmla="*/ 122 w 336"/>
                  <a:gd name="T67" fmla="*/ 373 h 373"/>
                  <a:gd name="T68" fmla="*/ 106 w 336"/>
                  <a:gd name="T69" fmla="*/ 359 h 373"/>
                  <a:gd name="T70" fmla="*/ 79 w 336"/>
                  <a:gd name="T71" fmla="*/ 360 h 373"/>
                  <a:gd name="T72" fmla="*/ 8 w 336"/>
                  <a:gd name="T73" fmla="*/ 342 h 373"/>
                  <a:gd name="T74" fmla="*/ 5 w 336"/>
                  <a:gd name="T75" fmla="*/ 287 h 373"/>
                  <a:gd name="T76" fmla="*/ 2 w 336"/>
                  <a:gd name="T77" fmla="*/ 270 h 373"/>
                  <a:gd name="T78" fmla="*/ 18 w 336"/>
                  <a:gd name="T79" fmla="*/ 246 h 373"/>
                  <a:gd name="T80" fmla="*/ 41 w 336"/>
                  <a:gd name="T81" fmla="*/ 230 h 373"/>
                  <a:gd name="T82" fmla="*/ 31 w 336"/>
                  <a:gd name="T83" fmla="*/ 211 h 373"/>
                  <a:gd name="T84" fmla="*/ 39 w 336"/>
                  <a:gd name="T85" fmla="*/ 192 h 373"/>
                  <a:gd name="T86" fmla="*/ 51 w 336"/>
                  <a:gd name="T87" fmla="*/ 181 h 373"/>
                  <a:gd name="T88" fmla="*/ 46 w 336"/>
                  <a:gd name="T89" fmla="*/ 168 h 373"/>
                  <a:gd name="T90" fmla="*/ 45 w 336"/>
                  <a:gd name="T91" fmla="*/ 153 h 373"/>
                  <a:gd name="T92" fmla="*/ 47 w 336"/>
                  <a:gd name="T93" fmla="*/ 135 h 373"/>
                  <a:gd name="T94" fmla="*/ 55 w 336"/>
                  <a:gd name="T95" fmla="*/ 126 h 373"/>
                  <a:gd name="T96" fmla="*/ 54 w 336"/>
                  <a:gd name="T97" fmla="*/ 113 h 373"/>
                  <a:gd name="T98" fmla="*/ 44 w 336"/>
                  <a:gd name="T99" fmla="*/ 105 h 373"/>
                  <a:gd name="T100" fmla="*/ 45 w 336"/>
                  <a:gd name="T101" fmla="*/ 97 h 373"/>
                  <a:gd name="T102" fmla="*/ 45 w 336"/>
                  <a:gd name="T103" fmla="*/ 83 h 373"/>
                  <a:gd name="T104" fmla="*/ 49 w 336"/>
                  <a:gd name="T105" fmla="*/ 75 h 373"/>
                  <a:gd name="T106" fmla="*/ 89 w 336"/>
                  <a:gd name="T107" fmla="*/ 34 h 373"/>
                  <a:gd name="T108" fmla="*/ 165 w 336"/>
                  <a:gd name="T109" fmla="*/ 27 h 373"/>
                  <a:gd name="T110" fmla="*/ 178 w 336"/>
                  <a:gd name="T111" fmla="*/ 23 h 373"/>
                  <a:gd name="T112" fmla="*/ 189 w 336"/>
                  <a:gd name="T113" fmla="*/ 13 h 373"/>
                  <a:gd name="T114" fmla="*/ 199 w 336"/>
                  <a:gd name="T115" fmla="*/ 24 h 373"/>
                  <a:gd name="T116" fmla="*/ 212 w 336"/>
                  <a:gd name="T117" fmla="*/ 26 h 373"/>
                  <a:gd name="T118" fmla="*/ 221 w 336"/>
                  <a:gd name="T119" fmla="*/ 15 h 373"/>
                  <a:gd name="T120" fmla="*/ 256 w 336"/>
                  <a:gd name="T121" fmla="*/ 5 h 373"/>
                  <a:gd name="T122" fmla="*/ 274 w 336"/>
                  <a:gd name="T123" fmla="*/ 1 h 373"/>
                  <a:gd name="T124" fmla="*/ 279 w 336"/>
                  <a:gd name="T125" fmla="*/ 1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6" h="373">
                    <a:moveTo>
                      <a:pt x="278" y="28"/>
                    </a:moveTo>
                    <a:lnTo>
                      <a:pt x="277" y="27"/>
                    </a:lnTo>
                    <a:lnTo>
                      <a:pt x="276" y="27"/>
                    </a:lnTo>
                    <a:lnTo>
                      <a:pt x="275" y="26"/>
                    </a:lnTo>
                    <a:lnTo>
                      <a:pt x="274" y="26"/>
                    </a:lnTo>
                    <a:lnTo>
                      <a:pt x="273" y="26"/>
                    </a:lnTo>
                    <a:lnTo>
                      <a:pt x="268" y="30"/>
                    </a:lnTo>
                    <a:lnTo>
                      <a:pt x="258" y="35"/>
                    </a:lnTo>
                    <a:lnTo>
                      <a:pt x="257" y="36"/>
                    </a:lnTo>
                    <a:lnTo>
                      <a:pt x="256" y="37"/>
                    </a:lnTo>
                    <a:lnTo>
                      <a:pt x="255" y="38"/>
                    </a:lnTo>
                    <a:lnTo>
                      <a:pt x="253" y="39"/>
                    </a:lnTo>
                    <a:lnTo>
                      <a:pt x="253" y="40"/>
                    </a:lnTo>
                    <a:lnTo>
                      <a:pt x="253" y="41"/>
                    </a:lnTo>
                    <a:lnTo>
                      <a:pt x="253" y="43"/>
                    </a:lnTo>
                    <a:lnTo>
                      <a:pt x="252" y="44"/>
                    </a:lnTo>
                    <a:lnTo>
                      <a:pt x="251" y="46"/>
                    </a:lnTo>
                    <a:lnTo>
                      <a:pt x="251" y="50"/>
                    </a:lnTo>
                    <a:lnTo>
                      <a:pt x="250" y="53"/>
                    </a:lnTo>
                    <a:lnTo>
                      <a:pt x="249" y="58"/>
                    </a:lnTo>
                    <a:lnTo>
                      <a:pt x="249" y="59"/>
                    </a:lnTo>
                    <a:lnTo>
                      <a:pt x="248" y="62"/>
                    </a:lnTo>
                    <a:lnTo>
                      <a:pt x="248" y="65"/>
                    </a:lnTo>
                    <a:lnTo>
                      <a:pt x="248" y="68"/>
                    </a:lnTo>
                    <a:lnTo>
                      <a:pt x="248" y="69"/>
                    </a:lnTo>
                    <a:lnTo>
                      <a:pt x="248" y="71"/>
                    </a:lnTo>
                    <a:lnTo>
                      <a:pt x="248" y="72"/>
                    </a:lnTo>
                    <a:lnTo>
                      <a:pt x="248" y="73"/>
                    </a:lnTo>
                    <a:lnTo>
                      <a:pt x="249" y="75"/>
                    </a:lnTo>
                    <a:lnTo>
                      <a:pt x="249" y="77"/>
                    </a:lnTo>
                    <a:lnTo>
                      <a:pt x="250" y="78"/>
                    </a:lnTo>
                    <a:lnTo>
                      <a:pt x="251" y="79"/>
                    </a:lnTo>
                    <a:lnTo>
                      <a:pt x="251" y="81"/>
                    </a:lnTo>
                    <a:lnTo>
                      <a:pt x="253" y="84"/>
                    </a:lnTo>
                    <a:lnTo>
                      <a:pt x="255" y="85"/>
                    </a:lnTo>
                    <a:lnTo>
                      <a:pt x="259" y="85"/>
                    </a:lnTo>
                    <a:lnTo>
                      <a:pt x="260" y="86"/>
                    </a:lnTo>
                    <a:lnTo>
                      <a:pt x="262" y="86"/>
                    </a:lnTo>
                    <a:lnTo>
                      <a:pt x="266" y="87"/>
                    </a:lnTo>
                    <a:lnTo>
                      <a:pt x="268" y="87"/>
                    </a:lnTo>
                    <a:lnTo>
                      <a:pt x="271" y="89"/>
                    </a:lnTo>
                    <a:lnTo>
                      <a:pt x="272" y="89"/>
                    </a:lnTo>
                    <a:lnTo>
                      <a:pt x="274" y="90"/>
                    </a:lnTo>
                    <a:lnTo>
                      <a:pt x="278" y="90"/>
                    </a:lnTo>
                    <a:lnTo>
                      <a:pt x="283" y="90"/>
                    </a:lnTo>
                    <a:lnTo>
                      <a:pt x="285" y="90"/>
                    </a:lnTo>
                    <a:lnTo>
                      <a:pt x="286" y="90"/>
                    </a:lnTo>
                    <a:lnTo>
                      <a:pt x="287" y="90"/>
                    </a:lnTo>
                    <a:lnTo>
                      <a:pt x="287" y="91"/>
                    </a:lnTo>
                    <a:lnTo>
                      <a:pt x="287" y="90"/>
                    </a:lnTo>
                    <a:lnTo>
                      <a:pt x="288" y="90"/>
                    </a:lnTo>
                    <a:lnTo>
                      <a:pt x="288" y="89"/>
                    </a:lnTo>
                    <a:lnTo>
                      <a:pt x="289" y="88"/>
                    </a:lnTo>
                    <a:lnTo>
                      <a:pt x="291" y="87"/>
                    </a:lnTo>
                    <a:lnTo>
                      <a:pt x="292" y="86"/>
                    </a:lnTo>
                    <a:lnTo>
                      <a:pt x="296" y="85"/>
                    </a:lnTo>
                    <a:lnTo>
                      <a:pt x="297" y="85"/>
                    </a:lnTo>
                    <a:lnTo>
                      <a:pt x="298" y="85"/>
                    </a:lnTo>
                    <a:lnTo>
                      <a:pt x="300" y="85"/>
                    </a:lnTo>
                    <a:lnTo>
                      <a:pt x="302" y="84"/>
                    </a:lnTo>
                    <a:lnTo>
                      <a:pt x="304" y="84"/>
                    </a:lnTo>
                    <a:lnTo>
                      <a:pt x="308" y="85"/>
                    </a:lnTo>
                    <a:lnTo>
                      <a:pt x="310" y="85"/>
                    </a:lnTo>
                    <a:lnTo>
                      <a:pt x="312" y="86"/>
                    </a:lnTo>
                    <a:lnTo>
                      <a:pt x="313" y="87"/>
                    </a:lnTo>
                    <a:lnTo>
                      <a:pt x="315" y="88"/>
                    </a:lnTo>
                    <a:lnTo>
                      <a:pt x="317" y="89"/>
                    </a:lnTo>
                    <a:lnTo>
                      <a:pt x="321" y="90"/>
                    </a:lnTo>
                    <a:lnTo>
                      <a:pt x="322" y="91"/>
                    </a:lnTo>
                    <a:lnTo>
                      <a:pt x="323" y="91"/>
                    </a:lnTo>
                    <a:lnTo>
                      <a:pt x="325" y="92"/>
                    </a:lnTo>
                    <a:lnTo>
                      <a:pt x="327" y="94"/>
                    </a:lnTo>
                    <a:lnTo>
                      <a:pt x="328" y="94"/>
                    </a:lnTo>
                    <a:lnTo>
                      <a:pt x="329" y="94"/>
                    </a:lnTo>
                    <a:lnTo>
                      <a:pt x="330" y="94"/>
                    </a:lnTo>
                    <a:lnTo>
                      <a:pt x="334" y="94"/>
                    </a:lnTo>
                    <a:lnTo>
                      <a:pt x="335" y="94"/>
                    </a:lnTo>
                    <a:lnTo>
                      <a:pt x="336" y="94"/>
                    </a:lnTo>
                    <a:lnTo>
                      <a:pt x="336" y="97"/>
                    </a:lnTo>
                    <a:lnTo>
                      <a:pt x="336" y="98"/>
                    </a:lnTo>
                    <a:lnTo>
                      <a:pt x="336" y="100"/>
                    </a:lnTo>
                    <a:lnTo>
                      <a:pt x="336" y="103"/>
                    </a:lnTo>
                    <a:lnTo>
                      <a:pt x="334" y="108"/>
                    </a:lnTo>
                    <a:lnTo>
                      <a:pt x="334" y="109"/>
                    </a:lnTo>
                    <a:lnTo>
                      <a:pt x="333" y="109"/>
                    </a:lnTo>
                    <a:lnTo>
                      <a:pt x="331" y="110"/>
                    </a:lnTo>
                    <a:lnTo>
                      <a:pt x="330" y="111"/>
                    </a:lnTo>
                    <a:lnTo>
                      <a:pt x="329" y="111"/>
                    </a:lnTo>
                    <a:lnTo>
                      <a:pt x="328" y="112"/>
                    </a:lnTo>
                    <a:lnTo>
                      <a:pt x="311" y="121"/>
                    </a:lnTo>
                    <a:lnTo>
                      <a:pt x="305" y="124"/>
                    </a:lnTo>
                    <a:lnTo>
                      <a:pt x="304" y="125"/>
                    </a:lnTo>
                    <a:lnTo>
                      <a:pt x="304" y="126"/>
                    </a:lnTo>
                    <a:lnTo>
                      <a:pt x="304" y="127"/>
                    </a:lnTo>
                    <a:lnTo>
                      <a:pt x="307" y="143"/>
                    </a:lnTo>
                    <a:lnTo>
                      <a:pt x="307" y="145"/>
                    </a:lnTo>
                    <a:lnTo>
                      <a:pt x="307" y="146"/>
                    </a:lnTo>
                    <a:lnTo>
                      <a:pt x="305" y="146"/>
                    </a:lnTo>
                    <a:lnTo>
                      <a:pt x="305" y="147"/>
                    </a:lnTo>
                    <a:lnTo>
                      <a:pt x="304" y="147"/>
                    </a:lnTo>
                    <a:lnTo>
                      <a:pt x="303" y="147"/>
                    </a:lnTo>
                    <a:lnTo>
                      <a:pt x="302" y="147"/>
                    </a:lnTo>
                    <a:lnTo>
                      <a:pt x="298" y="147"/>
                    </a:lnTo>
                    <a:lnTo>
                      <a:pt x="295" y="146"/>
                    </a:lnTo>
                    <a:lnTo>
                      <a:pt x="294" y="146"/>
                    </a:lnTo>
                    <a:lnTo>
                      <a:pt x="292" y="146"/>
                    </a:lnTo>
                    <a:lnTo>
                      <a:pt x="291" y="145"/>
                    </a:lnTo>
                    <a:lnTo>
                      <a:pt x="290" y="143"/>
                    </a:lnTo>
                    <a:lnTo>
                      <a:pt x="288" y="142"/>
                    </a:lnTo>
                    <a:lnTo>
                      <a:pt x="288" y="141"/>
                    </a:lnTo>
                    <a:lnTo>
                      <a:pt x="286" y="140"/>
                    </a:lnTo>
                    <a:lnTo>
                      <a:pt x="285" y="139"/>
                    </a:lnTo>
                    <a:lnTo>
                      <a:pt x="278" y="129"/>
                    </a:lnTo>
                    <a:lnTo>
                      <a:pt x="278" y="128"/>
                    </a:lnTo>
                    <a:lnTo>
                      <a:pt x="277" y="127"/>
                    </a:lnTo>
                    <a:lnTo>
                      <a:pt x="276" y="126"/>
                    </a:lnTo>
                    <a:lnTo>
                      <a:pt x="275" y="125"/>
                    </a:lnTo>
                    <a:lnTo>
                      <a:pt x="274" y="124"/>
                    </a:lnTo>
                    <a:lnTo>
                      <a:pt x="273" y="124"/>
                    </a:lnTo>
                    <a:lnTo>
                      <a:pt x="273" y="123"/>
                    </a:lnTo>
                    <a:lnTo>
                      <a:pt x="272" y="123"/>
                    </a:lnTo>
                    <a:lnTo>
                      <a:pt x="271" y="123"/>
                    </a:lnTo>
                    <a:lnTo>
                      <a:pt x="270" y="122"/>
                    </a:lnTo>
                    <a:lnTo>
                      <a:pt x="268" y="122"/>
                    </a:lnTo>
                    <a:lnTo>
                      <a:pt x="266" y="122"/>
                    </a:lnTo>
                    <a:lnTo>
                      <a:pt x="265" y="122"/>
                    </a:lnTo>
                    <a:lnTo>
                      <a:pt x="265" y="123"/>
                    </a:lnTo>
                    <a:lnTo>
                      <a:pt x="263" y="123"/>
                    </a:lnTo>
                    <a:lnTo>
                      <a:pt x="263" y="124"/>
                    </a:lnTo>
                    <a:lnTo>
                      <a:pt x="262" y="124"/>
                    </a:lnTo>
                    <a:lnTo>
                      <a:pt x="262" y="125"/>
                    </a:lnTo>
                    <a:lnTo>
                      <a:pt x="261" y="125"/>
                    </a:lnTo>
                    <a:lnTo>
                      <a:pt x="260" y="126"/>
                    </a:lnTo>
                    <a:lnTo>
                      <a:pt x="259" y="126"/>
                    </a:lnTo>
                    <a:lnTo>
                      <a:pt x="259" y="127"/>
                    </a:lnTo>
                    <a:lnTo>
                      <a:pt x="258" y="128"/>
                    </a:lnTo>
                    <a:lnTo>
                      <a:pt x="258" y="129"/>
                    </a:lnTo>
                    <a:lnTo>
                      <a:pt x="257" y="130"/>
                    </a:lnTo>
                    <a:lnTo>
                      <a:pt x="256" y="131"/>
                    </a:lnTo>
                    <a:lnTo>
                      <a:pt x="256" y="133"/>
                    </a:lnTo>
                    <a:lnTo>
                      <a:pt x="256" y="134"/>
                    </a:lnTo>
                    <a:lnTo>
                      <a:pt x="256" y="136"/>
                    </a:lnTo>
                    <a:lnTo>
                      <a:pt x="256" y="137"/>
                    </a:lnTo>
                    <a:lnTo>
                      <a:pt x="256" y="138"/>
                    </a:lnTo>
                    <a:lnTo>
                      <a:pt x="257" y="139"/>
                    </a:lnTo>
                    <a:lnTo>
                      <a:pt x="257" y="140"/>
                    </a:lnTo>
                    <a:lnTo>
                      <a:pt x="258" y="140"/>
                    </a:lnTo>
                    <a:lnTo>
                      <a:pt x="258" y="141"/>
                    </a:lnTo>
                    <a:lnTo>
                      <a:pt x="259" y="142"/>
                    </a:lnTo>
                    <a:lnTo>
                      <a:pt x="259" y="143"/>
                    </a:lnTo>
                    <a:lnTo>
                      <a:pt x="260" y="143"/>
                    </a:lnTo>
                    <a:lnTo>
                      <a:pt x="260" y="145"/>
                    </a:lnTo>
                    <a:lnTo>
                      <a:pt x="261" y="145"/>
                    </a:lnTo>
                    <a:lnTo>
                      <a:pt x="262" y="146"/>
                    </a:lnTo>
                    <a:lnTo>
                      <a:pt x="263" y="147"/>
                    </a:lnTo>
                    <a:lnTo>
                      <a:pt x="264" y="147"/>
                    </a:lnTo>
                    <a:lnTo>
                      <a:pt x="265" y="147"/>
                    </a:lnTo>
                    <a:lnTo>
                      <a:pt x="265" y="148"/>
                    </a:lnTo>
                    <a:lnTo>
                      <a:pt x="266" y="148"/>
                    </a:lnTo>
                    <a:lnTo>
                      <a:pt x="268" y="148"/>
                    </a:lnTo>
                    <a:lnTo>
                      <a:pt x="269" y="148"/>
                    </a:lnTo>
                    <a:lnTo>
                      <a:pt x="270" y="148"/>
                    </a:lnTo>
                    <a:lnTo>
                      <a:pt x="270" y="149"/>
                    </a:lnTo>
                    <a:lnTo>
                      <a:pt x="271" y="149"/>
                    </a:lnTo>
                    <a:lnTo>
                      <a:pt x="272" y="149"/>
                    </a:lnTo>
                    <a:lnTo>
                      <a:pt x="273" y="149"/>
                    </a:lnTo>
                    <a:lnTo>
                      <a:pt x="274" y="149"/>
                    </a:lnTo>
                    <a:lnTo>
                      <a:pt x="275" y="149"/>
                    </a:lnTo>
                    <a:lnTo>
                      <a:pt x="275" y="150"/>
                    </a:lnTo>
                    <a:lnTo>
                      <a:pt x="276" y="150"/>
                    </a:lnTo>
                    <a:lnTo>
                      <a:pt x="277" y="150"/>
                    </a:lnTo>
                    <a:lnTo>
                      <a:pt x="278" y="150"/>
                    </a:lnTo>
                    <a:lnTo>
                      <a:pt x="279" y="150"/>
                    </a:lnTo>
                    <a:lnTo>
                      <a:pt x="281" y="151"/>
                    </a:lnTo>
                    <a:lnTo>
                      <a:pt x="282" y="151"/>
                    </a:lnTo>
                    <a:lnTo>
                      <a:pt x="285" y="152"/>
                    </a:lnTo>
                    <a:lnTo>
                      <a:pt x="286" y="152"/>
                    </a:lnTo>
                    <a:lnTo>
                      <a:pt x="288" y="152"/>
                    </a:lnTo>
                    <a:lnTo>
                      <a:pt x="289" y="152"/>
                    </a:lnTo>
                    <a:lnTo>
                      <a:pt x="290" y="153"/>
                    </a:lnTo>
                    <a:lnTo>
                      <a:pt x="291" y="153"/>
                    </a:lnTo>
                    <a:lnTo>
                      <a:pt x="292" y="153"/>
                    </a:lnTo>
                    <a:lnTo>
                      <a:pt x="294" y="153"/>
                    </a:lnTo>
                    <a:lnTo>
                      <a:pt x="296" y="154"/>
                    </a:lnTo>
                    <a:lnTo>
                      <a:pt x="298" y="154"/>
                    </a:lnTo>
                    <a:lnTo>
                      <a:pt x="299" y="155"/>
                    </a:lnTo>
                    <a:lnTo>
                      <a:pt x="300" y="155"/>
                    </a:lnTo>
                    <a:lnTo>
                      <a:pt x="301" y="156"/>
                    </a:lnTo>
                    <a:lnTo>
                      <a:pt x="302" y="158"/>
                    </a:lnTo>
                    <a:lnTo>
                      <a:pt x="303" y="159"/>
                    </a:lnTo>
                    <a:lnTo>
                      <a:pt x="303" y="160"/>
                    </a:lnTo>
                    <a:lnTo>
                      <a:pt x="304" y="161"/>
                    </a:lnTo>
                    <a:lnTo>
                      <a:pt x="304" y="163"/>
                    </a:lnTo>
                    <a:lnTo>
                      <a:pt x="305" y="164"/>
                    </a:lnTo>
                    <a:lnTo>
                      <a:pt x="305" y="165"/>
                    </a:lnTo>
                    <a:lnTo>
                      <a:pt x="305" y="167"/>
                    </a:lnTo>
                    <a:lnTo>
                      <a:pt x="305" y="168"/>
                    </a:lnTo>
                    <a:lnTo>
                      <a:pt x="309" y="168"/>
                    </a:lnTo>
                    <a:lnTo>
                      <a:pt x="300" y="181"/>
                    </a:lnTo>
                    <a:lnTo>
                      <a:pt x="298" y="182"/>
                    </a:lnTo>
                    <a:lnTo>
                      <a:pt x="296" y="185"/>
                    </a:lnTo>
                    <a:lnTo>
                      <a:pt x="295" y="186"/>
                    </a:lnTo>
                    <a:lnTo>
                      <a:pt x="294" y="187"/>
                    </a:lnTo>
                    <a:lnTo>
                      <a:pt x="291" y="188"/>
                    </a:lnTo>
                    <a:lnTo>
                      <a:pt x="290" y="188"/>
                    </a:lnTo>
                    <a:lnTo>
                      <a:pt x="289" y="189"/>
                    </a:lnTo>
                    <a:lnTo>
                      <a:pt x="286" y="189"/>
                    </a:lnTo>
                    <a:lnTo>
                      <a:pt x="285" y="190"/>
                    </a:lnTo>
                    <a:lnTo>
                      <a:pt x="283" y="190"/>
                    </a:lnTo>
                    <a:lnTo>
                      <a:pt x="281" y="190"/>
                    </a:lnTo>
                    <a:lnTo>
                      <a:pt x="279" y="191"/>
                    </a:lnTo>
                    <a:lnTo>
                      <a:pt x="278" y="191"/>
                    </a:lnTo>
                    <a:lnTo>
                      <a:pt x="277" y="191"/>
                    </a:lnTo>
                    <a:lnTo>
                      <a:pt x="276" y="191"/>
                    </a:lnTo>
                    <a:lnTo>
                      <a:pt x="275" y="191"/>
                    </a:lnTo>
                    <a:lnTo>
                      <a:pt x="273" y="191"/>
                    </a:lnTo>
                    <a:lnTo>
                      <a:pt x="272" y="191"/>
                    </a:lnTo>
                    <a:lnTo>
                      <a:pt x="270" y="191"/>
                    </a:lnTo>
                    <a:lnTo>
                      <a:pt x="268" y="192"/>
                    </a:lnTo>
                    <a:lnTo>
                      <a:pt x="265" y="192"/>
                    </a:lnTo>
                    <a:lnTo>
                      <a:pt x="264" y="192"/>
                    </a:lnTo>
                    <a:lnTo>
                      <a:pt x="263" y="192"/>
                    </a:lnTo>
                    <a:lnTo>
                      <a:pt x="262" y="192"/>
                    </a:lnTo>
                    <a:lnTo>
                      <a:pt x="258" y="193"/>
                    </a:lnTo>
                    <a:lnTo>
                      <a:pt x="256" y="193"/>
                    </a:lnTo>
                    <a:lnTo>
                      <a:pt x="255" y="193"/>
                    </a:lnTo>
                    <a:lnTo>
                      <a:pt x="253" y="194"/>
                    </a:lnTo>
                    <a:lnTo>
                      <a:pt x="252" y="194"/>
                    </a:lnTo>
                    <a:lnTo>
                      <a:pt x="251" y="195"/>
                    </a:lnTo>
                    <a:lnTo>
                      <a:pt x="250" y="197"/>
                    </a:lnTo>
                    <a:lnTo>
                      <a:pt x="248" y="198"/>
                    </a:lnTo>
                    <a:lnTo>
                      <a:pt x="248" y="199"/>
                    </a:lnTo>
                    <a:lnTo>
                      <a:pt x="247" y="199"/>
                    </a:lnTo>
                    <a:lnTo>
                      <a:pt x="246" y="200"/>
                    </a:lnTo>
                    <a:lnTo>
                      <a:pt x="246" y="201"/>
                    </a:lnTo>
                    <a:lnTo>
                      <a:pt x="245" y="203"/>
                    </a:lnTo>
                    <a:lnTo>
                      <a:pt x="244" y="203"/>
                    </a:lnTo>
                    <a:lnTo>
                      <a:pt x="244" y="204"/>
                    </a:lnTo>
                    <a:lnTo>
                      <a:pt x="243" y="204"/>
                    </a:lnTo>
                    <a:lnTo>
                      <a:pt x="242" y="206"/>
                    </a:lnTo>
                    <a:lnTo>
                      <a:pt x="240" y="208"/>
                    </a:lnTo>
                    <a:lnTo>
                      <a:pt x="239" y="208"/>
                    </a:lnTo>
                    <a:lnTo>
                      <a:pt x="239" y="210"/>
                    </a:lnTo>
                    <a:lnTo>
                      <a:pt x="239" y="211"/>
                    </a:lnTo>
                    <a:lnTo>
                      <a:pt x="239" y="212"/>
                    </a:lnTo>
                    <a:lnTo>
                      <a:pt x="239" y="213"/>
                    </a:lnTo>
                    <a:lnTo>
                      <a:pt x="239" y="214"/>
                    </a:lnTo>
                    <a:lnTo>
                      <a:pt x="239" y="215"/>
                    </a:lnTo>
                    <a:lnTo>
                      <a:pt x="239" y="216"/>
                    </a:lnTo>
                    <a:lnTo>
                      <a:pt x="239" y="218"/>
                    </a:lnTo>
                    <a:lnTo>
                      <a:pt x="238" y="219"/>
                    </a:lnTo>
                    <a:lnTo>
                      <a:pt x="238" y="222"/>
                    </a:lnTo>
                    <a:lnTo>
                      <a:pt x="237" y="223"/>
                    </a:lnTo>
                    <a:lnTo>
                      <a:pt x="237" y="224"/>
                    </a:lnTo>
                    <a:lnTo>
                      <a:pt x="237" y="226"/>
                    </a:lnTo>
                    <a:lnTo>
                      <a:pt x="236" y="226"/>
                    </a:lnTo>
                    <a:lnTo>
                      <a:pt x="236" y="227"/>
                    </a:lnTo>
                    <a:lnTo>
                      <a:pt x="236" y="228"/>
                    </a:lnTo>
                    <a:lnTo>
                      <a:pt x="237" y="228"/>
                    </a:lnTo>
                    <a:lnTo>
                      <a:pt x="238" y="228"/>
                    </a:lnTo>
                    <a:lnTo>
                      <a:pt x="239" y="228"/>
                    </a:lnTo>
                    <a:lnTo>
                      <a:pt x="240" y="228"/>
                    </a:lnTo>
                    <a:lnTo>
                      <a:pt x="242" y="228"/>
                    </a:lnTo>
                    <a:lnTo>
                      <a:pt x="243" y="229"/>
                    </a:lnTo>
                    <a:lnTo>
                      <a:pt x="243" y="231"/>
                    </a:lnTo>
                    <a:lnTo>
                      <a:pt x="242" y="232"/>
                    </a:lnTo>
                    <a:lnTo>
                      <a:pt x="242" y="233"/>
                    </a:lnTo>
                    <a:lnTo>
                      <a:pt x="242" y="235"/>
                    </a:lnTo>
                    <a:lnTo>
                      <a:pt x="242" y="236"/>
                    </a:lnTo>
                    <a:lnTo>
                      <a:pt x="242" y="237"/>
                    </a:lnTo>
                    <a:lnTo>
                      <a:pt x="244" y="239"/>
                    </a:lnTo>
                    <a:lnTo>
                      <a:pt x="245" y="240"/>
                    </a:lnTo>
                    <a:lnTo>
                      <a:pt x="244" y="240"/>
                    </a:lnTo>
                    <a:lnTo>
                      <a:pt x="243" y="241"/>
                    </a:lnTo>
                    <a:lnTo>
                      <a:pt x="242" y="242"/>
                    </a:lnTo>
                    <a:lnTo>
                      <a:pt x="240" y="242"/>
                    </a:lnTo>
                    <a:lnTo>
                      <a:pt x="239" y="242"/>
                    </a:lnTo>
                    <a:lnTo>
                      <a:pt x="239" y="243"/>
                    </a:lnTo>
                    <a:lnTo>
                      <a:pt x="238" y="243"/>
                    </a:lnTo>
                    <a:lnTo>
                      <a:pt x="238" y="244"/>
                    </a:lnTo>
                    <a:lnTo>
                      <a:pt x="237" y="244"/>
                    </a:lnTo>
                    <a:lnTo>
                      <a:pt x="237" y="245"/>
                    </a:lnTo>
                    <a:lnTo>
                      <a:pt x="236" y="246"/>
                    </a:lnTo>
                    <a:lnTo>
                      <a:pt x="235" y="246"/>
                    </a:lnTo>
                    <a:lnTo>
                      <a:pt x="234" y="246"/>
                    </a:lnTo>
                    <a:lnTo>
                      <a:pt x="233" y="246"/>
                    </a:lnTo>
                    <a:lnTo>
                      <a:pt x="232" y="246"/>
                    </a:lnTo>
                    <a:lnTo>
                      <a:pt x="231" y="248"/>
                    </a:lnTo>
                    <a:lnTo>
                      <a:pt x="231" y="249"/>
                    </a:lnTo>
                    <a:lnTo>
                      <a:pt x="230" y="249"/>
                    </a:lnTo>
                    <a:lnTo>
                      <a:pt x="230" y="250"/>
                    </a:lnTo>
                    <a:lnTo>
                      <a:pt x="227" y="252"/>
                    </a:lnTo>
                    <a:lnTo>
                      <a:pt x="226" y="253"/>
                    </a:lnTo>
                    <a:lnTo>
                      <a:pt x="226" y="254"/>
                    </a:lnTo>
                    <a:lnTo>
                      <a:pt x="224" y="255"/>
                    </a:lnTo>
                    <a:lnTo>
                      <a:pt x="215" y="264"/>
                    </a:lnTo>
                    <a:lnTo>
                      <a:pt x="211" y="269"/>
                    </a:lnTo>
                    <a:lnTo>
                      <a:pt x="211" y="270"/>
                    </a:lnTo>
                    <a:lnTo>
                      <a:pt x="210" y="270"/>
                    </a:lnTo>
                    <a:lnTo>
                      <a:pt x="209" y="271"/>
                    </a:lnTo>
                    <a:lnTo>
                      <a:pt x="202" y="275"/>
                    </a:lnTo>
                    <a:lnTo>
                      <a:pt x="201" y="276"/>
                    </a:lnTo>
                    <a:lnTo>
                      <a:pt x="194" y="278"/>
                    </a:lnTo>
                    <a:lnTo>
                      <a:pt x="193" y="278"/>
                    </a:lnTo>
                    <a:lnTo>
                      <a:pt x="192" y="279"/>
                    </a:lnTo>
                    <a:lnTo>
                      <a:pt x="191" y="280"/>
                    </a:lnTo>
                    <a:lnTo>
                      <a:pt x="191" y="281"/>
                    </a:lnTo>
                    <a:lnTo>
                      <a:pt x="191" y="282"/>
                    </a:lnTo>
                    <a:lnTo>
                      <a:pt x="189" y="283"/>
                    </a:lnTo>
                    <a:lnTo>
                      <a:pt x="191" y="283"/>
                    </a:lnTo>
                    <a:lnTo>
                      <a:pt x="191" y="285"/>
                    </a:lnTo>
                    <a:lnTo>
                      <a:pt x="191" y="287"/>
                    </a:lnTo>
                    <a:lnTo>
                      <a:pt x="191" y="288"/>
                    </a:lnTo>
                    <a:lnTo>
                      <a:pt x="192" y="289"/>
                    </a:lnTo>
                    <a:lnTo>
                      <a:pt x="193" y="290"/>
                    </a:lnTo>
                    <a:lnTo>
                      <a:pt x="194" y="291"/>
                    </a:lnTo>
                    <a:lnTo>
                      <a:pt x="195" y="292"/>
                    </a:lnTo>
                    <a:lnTo>
                      <a:pt x="196" y="293"/>
                    </a:lnTo>
                    <a:lnTo>
                      <a:pt x="196" y="294"/>
                    </a:lnTo>
                    <a:lnTo>
                      <a:pt x="197" y="294"/>
                    </a:lnTo>
                    <a:lnTo>
                      <a:pt x="197" y="295"/>
                    </a:lnTo>
                    <a:lnTo>
                      <a:pt x="198" y="296"/>
                    </a:lnTo>
                    <a:lnTo>
                      <a:pt x="199" y="296"/>
                    </a:lnTo>
                    <a:lnTo>
                      <a:pt x="199" y="297"/>
                    </a:lnTo>
                    <a:lnTo>
                      <a:pt x="200" y="297"/>
                    </a:lnTo>
                    <a:lnTo>
                      <a:pt x="199" y="297"/>
                    </a:lnTo>
                    <a:lnTo>
                      <a:pt x="200" y="297"/>
                    </a:lnTo>
                    <a:lnTo>
                      <a:pt x="201" y="298"/>
                    </a:lnTo>
                    <a:lnTo>
                      <a:pt x="201" y="300"/>
                    </a:lnTo>
                    <a:lnTo>
                      <a:pt x="205" y="302"/>
                    </a:lnTo>
                    <a:lnTo>
                      <a:pt x="205" y="303"/>
                    </a:lnTo>
                    <a:lnTo>
                      <a:pt x="205" y="304"/>
                    </a:lnTo>
                    <a:lnTo>
                      <a:pt x="204" y="304"/>
                    </a:lnTo>
                    <a:lnTo>
                      <a:pt x="204" y="305"/>
                    </a:lnTo>
                    <a:lnTo>
                      <a:pt x="204" y="306"/>
                    </a:lnTo>
                    <a:lnTo>
                      <a:pt x="204" y="307"/>
                    </a:lnTo>
                    <a:lnTo>
                      <a:pt x="204" y="308"/>
                    </a:lnTo>
                    <a:lnTo>
                      <a:pt x="202" y="310"/>
                    </a:lnTo>
                    <a:lnTo>
                      <a:pt x="202" y="312"/>
                    </a:lnTo>
                    <a:lnTo>
                      <a:pt x="201" y="312"/>
                    </a:lnTo>
                    <a:lnTo>
                      <a:pt x="201" y="313"/>
                    </a:lnTo>
                    <a:lnTo>
                      <a:pt x="201" y="314"/>
                    </a:lnTo>
                    <a:lnTo>
                      <a:pt x="200" y="314"/>
                    </a:lnTo>
                    <a:lnTo>
                      <a:pt x="200" y="315"/>
                    </a:lnTo>
                    <a:lnTo>
                      <a:pt x="199" y="315"/>
                    </a:lnTo>
                    <a:lnTo>
                      <a:pt x="199" y="316"/>
                    </a:lnTo>
                    <a:lnTo>
                      <a:pt x="198" y="316"/>
                    </a:lnTo>
                    <a:lnTo>
                      <a:pt x="197" y="317"/>
                    </a:lnTo>
                    <a:lnTo>
                      <a:pt x="196" y="317"/>
                    </a:lnTo>
                    <a:lnTo>
                      <a:pt x="195" y="318"/>
                    </a:lnTo>
                    <a:lnTo>
                      <a:pt x="194" y="318"/>
                    </a:lnTo>
                    <a:lnTo>
                      <a:pt x="193" y="319"/>
                    </a:lnTo>
                    <a:lnTo>
                      <a:pt x="192" y="319"/>
                    </a:lnTo>
                    <a:lnTo>
                      <a:pt x="189" y="319"/>
                    </a:lnTo>
                    <a:lnTo>
                      <a:pt x="188" y="318"/>
                    </a:lnTo>
                    <a:lnTo>
                      <a:pt x="185" y="317"/>
                    </a:lnTo>
                    <a:lnTo>
                      <a:pt x="184" y="317"/>
                    </a:lnTo>
                    <a:lnTo>
                      <a:pt x="184" y="316"/>
                    </a:lnTo>
                    <a:lnTo>
                      <a:pt x="183" y="316"/>
                    </a:lnTo>
                    <a:lnTo>
                      <a:pt x="182" y="315"/>
                    </a:lnTo>
                    <a:lnTo>
                      <a:pt x="181" y="314"/>
                    </a:lnTo>
                    <a:lnTo>
                      <a:pt x="181" y="313"/>
                    </a:lnTo>
                    <a:lnTo>
                      <a:pt x="180" y="312"/>
                    </a:lnTo>
                    <a:lnTo>
                      <a:pt x="180" y="310"/>
                    </a:lnTo>
                    <a:lnTo>
                      <a:pt x="180" y="309"/>
                    </a:lnTo>
                    <a:lnTo>
                      <a:pt x="179" y="309"/>
                    </a:lnTo>
                    <a:lnTo>
                      <a:pt x="179" y="308"/>
                    </a:lnTo>
                    <a:lnTo>
                      <a:pt x="179" y="307"/>
                    </a:lnTo>
                    <a:lnTo>
                      <a:pt x="178" y="306"/>
                    </a:lnTo>
                    <a:lnTo>
                      <a:pt x="178" y="305"/>
                    </a:lnTo>
                    <a:lnTo>
                      <a:pt x="178" y="302"/>
                    </a:lnTo>
                    <a:lnTo>
                      <a:pt x="178" y="301"/>
                    </a:lnTo>
                    <a:lnTo>
                      <a:pt x="178" y="296"/>
                    </a:lnTo>
                    <a:lnTo>
                      <a:pt x="178" y="295"/>
                    </a:lnTo>
                    <a:lnTo>
                      <a:pt x="178" y="294"/>
                    </a:lnTo>
                    <a:lnTo>
                      <a:pt x="178" y="293"/>
                    </a:lnTo>
                    <a:lnTo>
                      <a:pt x="178" y="292"/>
                    </a:lnTo>
                    <a:lnTo>
                      <a:pt x="178" y="291"/>
                    </a:lnTo>
                    <a:lnTo>
                      <a:pt x="178" y="290"/>
                    </a:lnTo>
                    <a:lnTo>
                      <a:pt x="176" y="288"/>
                    </a:lnTo>
                    <a:lnTo>
                      <a:pt x="175" y="287"/>
                    </a:lnTo>
                    <a:lnTo>
                      <a:pt x="175" y="285"/>
                    </a:lnTo>
                    <a:lnTo>
                      <a:pt x="175" y="283"/>
                    </a:lnTo>
                    <a:lnTo>
                      <a:pt x="175" y="282"/>
                    </a:lnTo>
                    <a:lnTo>
                      <a:pt x="174" y="282"/>
                    </a:lnTo>
                    <a:lnTo>
                      <a:pt x="173" y="282"/>
                    </a:lnTo>
                    <a:lnTo>
                      <a:pt x="172" y="282"/>
                    </a:lnTo>
                    <a:lnTo>
                      <a:pt x="171" y="283"/>
                    </a:lnTo>
                    <a:lnTo>
                      <a:pt x="170" y="283"/>
                    </a:lnTo>
                    <a:lnTo>
                      <a:pt x="169" y="283"/>
                    </a:lnTo>
                    <a:lnTo>
                      <a:pt x="167" y="284"/>
                    </a:lnTo>
                    <a:lnTo>
                      <a:pt x="166" y="284"/>
                    </a:lnTo>
                    <a:lnTo>
                      <a:pt x="165" y="284"/>
                    </a:lnTo>
                    <a:lnTo>
                      <a:pt x="165" y="285"/>
                    </a:lnTo>
                    <a:lnTo>
                      <a:pt x="163" y="285"/>
                    </a:lnTo>
                    <a:lnTo>
                      <a:pt x="162" y="285"/>
                    </a:lnTo>
                    <a:lnTo>
                      <a:pt x="161" y="285"/>
                    </a:lnTo>
                    <a:lnTo>
                      <a:pt x="159" y="285"/>
                    </a:lnTo>
                    <a:lnTo>
                      <a:pt x="158" y="285"/>
                    </a:lnTo>
                    <a:lnTo>
                      <a:pt x="156" y="285"/>
                    </a:lnTo>
                    <a:lnTo>
                      <a:pt x="154" y="285"/>
                    </a:lnTo>
                    <a:lnTo>
                      <a:pt x="153" y="287"/>
                    </a:lnTo>
                    <a:lnTo>
                      <a:pt x="152" y="287"/>
                    </a:lnTo>
                    <a:lnTo>
                      <a:pt x="150" y="287"/>
                    </a:lnTo>
                    <a:lnTo>
                      <a:pt x="149" y="288"/>
                    </a:lnTo>
                    <a:lnTo>
                      <a:pt x="148" y="288"/>
                    </a:lnTo>
                    <a:lnTo>
                      <a:pt x="147" y="289"/>
                    </a:lnTo>
                    <a:lnTo>
                      <a:pt x="146" y="290"/>
                    </a:lnTo>
                    <a:lnTo>
                      <a:pt x="145" y="291"/>
                    </a:lnTo>
                    <a:lnTo>
                      <a:pt x="145" y="292"/>
                    </a:lnTo>
                    <a:lnTo>
                      <a:pt x="144" y="292"/>
                    </a:lnTo>
                    <a:lnTo>
                      <a:pt x="144" y="293"/>
                    </a:lnTo>
                    <a:lnTo>
                      <a:pt x="143" y="294"/>
                    </a:lnTo>
                    <a:lnTo>
                      <a:pt x="143" y="295"/>
                    </a:lnTo>
                    <a:lnTo>
                      <a:pt x="143" y="296"/>
                    </a:lnTo>
                    <a:lnTo>
                      <a:pt x="143" y="297"/>
                    </a:lnTo>
                    <a:lnTo>
                      <a:pt x="142" y="298"/>
                    </a:lnTo>
                    <a:lnTo>
                      <a:pt x="142" y="300"/>
                    </a:lnTo>
                    <a:lnTo>
                      <a:pt x="142" y="302"/>
                    </a:lnTo>
                    <a:lnTo>
                      <a:pt x="142" y="303"/>
                    </a:lnTo>
                    <a:lnTo>
                      <a:pt x="141" y="304"/>
                    </a:lnTo>
                    <a:lnTo>
                      <a:pt x="141" y="305"/>
                    </a:lnTo>
                    <a:lnTo>
                      <a:pt x="141" y="306"/>
                    </a:lnTo>
                    <a:lnTo>
                      <a:pt x="140" y="309"/>
                    </a:lnTo>
                    <a:lnTo>
                      <a:pt x="139" y="312"/>
                    </a:lnTo>
                    <a:lnTo>
                      <a:pt x="139" y="313"/>
                    </a:lnTo>
                    <a:lnTo>
                      <a:pt x="139" y="314"/>
                    </a:lnTo>
                    <a:lnTo>
                      <a:pt x="137" y="316"/>
                    </a:lnTo>
                    <a:lnTo>
                      <a:pt x="137" y="319"/>
                    </a:lnTo>
                    <a:lnTo>
                      <a:pt x="136" y="319"/>
                    </a:lnTo>
                    <a:lnTo>
                      <a:pt x="136" y="321"/>
                    </a:lnTo>
                    <a:lnTo>
                      <a:pt x="135" y="323"/>
                    </a:lnTo>
                    <a:lnTo>
                      <a:pt x="135" y="325"/>
                    </a:lnTo>
                    <a:lnTo>
                      <a:pt x="134" y="326"/>
                    </a:lnTo>
                    <a:lnTo>
                      <a:pt x="134" y="327"/>
                    </a:lnTo>
                    <a:lnTo>
                      <a:pt x="134" y="329"/>
                    </a:lnTo>
                    <a:lnTo>
                      <a:pt x="134" y="330"/>
                    </a:lnTo>
                    <a:lnTo>
                      <a:pt x="134" y="331"/>
                    </a:lnTo>
                    <a:lnTo>
                      <a:pt x="133" y="331"/>
                    </a:lnTo>
                    <a:lnTo>
                      <a:pt x="133" y="333"/>
                    </a:lnTo>
                    <a:lnTo>
                      <a:pt x="133" y="334"/>
                    </a:lnTo>
                    <a:lnTo>
                      <a:pt x="132" y="338"/>
                    </a:lnTo>
                    <a:lnTo>
                      <a:pt x="132" y="339"/>
                    </a:lnTo>
                    <a:lnTo>
                      <a:pt x="132" y="340"/>
                    </a:lnTo>
                    <a:lnTo>
                      <a:pt x="131" y="354"/>
                    </a:lnTo>
                    <a:lnTo>
                      <a:pt x="132" y="354"/>
                    </a:lnTo>
                    <a:lnTo>
                      <a:pt x="133" y="354"/>
                    </a:lnTo>
                    <a:lnTo>
                      <a:pt x="133" y="355"/>
                    </a:lnTo>
                    <a:lnTo>
                      <a:pt x="134" y="355"/>
                    </a:lnTo>
                    <a:lnTo>
                      <a:pt x="135" y="355"/>
                    </a:lnTo>
                    <a:lnTo>
                      <a:pt x="136" y="355"/>
                    </a:lnTo>
                    <a:lnTo>
                      <a:pt x="136" y="356"/>
                    </a:lnTo>
                    <a:lnTo>
                      <a:pt x="137" y="356"/>
                    </a:lnTo>
                    <a:lnTo>
                      <a:pt x="139" y="356"/>
                    </a:lnTo>
                    <a:lnTo>
                      <a:pt x="140" y="356"/>
                    </a:lnTo>
                    <a:lnTo>
                      <a:pt x="142" y="356"/>
                    </a:lnTo>
                    <a:lnTo>
                      <a:pt x="143" y="355"/>
                    </a:lnTo>
                    <a:lnTo>
                      <a:pt x="146" y="355"/>
                    </a:lnTo>
                    <a:lnTo>
                      <a:pt x="147" y="355"/>
                    </a:lnTo>
                    <a:lnTo>
                      <a:pt x="149" y="354"/>
                    </a:lnTo>
                    <a:lnTo>
                      <a:pt x="150" y="354"/>
                    </a:lnTo>
                    <a:lnTo>
                      <a:pt x="153" y="354"/>
                    </a:lnTo>
                    <a:lnTo>
                      <a:pt x="154" y="354"/>
                    </a:lnTo>
                    <a:lnTo>
                      <a:pt x="156" y="353"/>
                    </a:lnTo>
                    <a:lnTo>
                      <a:pt x="158" y="352"/>
                    </a:lnTo>
                    <a:lnTo>
                      <a:pt x="160" y="352"/>
                    </a:lnTo>
                    <a:lnTo>
                      <a:pt x="162" y="351"/>
                    </a:lnTo>
                    <a:lnTo>
                      <a:pt x="163" y="351"/>
                    </a:lnTo>
                    <a:lnTo>
                      <a:pt x="165" y="351"/>
                    </a:lnTo>
                    <a:lnTo>
                      <a:pt x="167" y="349"/>
                    </a:lnTo>
                    <a:lnTo>
                      <a:pt x="168" y="349"/>
                    </a:lnTo>
                    <a:lnTo>
                      <a:pt x="169" y="349"/>
                    </a:lnTo>
                    <a:lnTo>
                      <a:pt x="170" y="349"/>
                    </a:lnTo>
                    <a:lnTo>
                      <a:pt x="171" y="349"/>
                    </a:lnTo>
                    <a:lnTo>
                      <a:pt x="172" y="348"/>
                    </a:lnTo>
                    <a:lnTo>
                      <a:pt x="173" y="348"/>
                    </a:lnTo>
                    <a:lnTo>
                      <a:pt x="174" y="347"/>
                    </a:lnTo>
                    <a:lnTo>
                      <a:pt x="175" y="347"/>
                    </a:lnTo>
                    <a:lnTo>
                      <a:pt x="176" y="346"/>
                    </a:lnTo>
                    <a:lnTo>
                      <a:pt x="178" y="346"/>
                    </a:lnTo>
                    <a:lnTo>
                      <a:pt x="179" y="345"/>
                    </a:lnTo>
                    <a:lnTo>
                      <a:pt x="180" y="345"/>
                    </a:lnTo>
                    <a:lnTo>
                      <a:pt x="181" y="345"/>
                    </a:lnTo>
                    <a:lnTo>
                      <a:pt x="183" y="345"/>
                    </a:lnTo>
                    <a:lnTo>
                      <a:pt x="184" y="345"/>
                    </a:lnTo>
                    <a:lnTo>
                      <a:pt x="186" y="346"/>
                    </a:lnTo>
                    <a:lnTo>
                      <a:pt x="187" y="346"/>
                    </a:lnTo>
                    <a:lnTo>
                      <a:pt x="189" y="346"/>
                    </a:lnTo>
                    <a:lnTo>
                      <a:pt x="191" y="347"/>
                    </a:lnTo>
                    <a:lnTo>
                      <a:pt x="193" y="348"/>
                    </a:lnTo>
                    <a:lnTo>
                      <a:pt x="194" y="349"/>
                    </a:lnTo>
                    <a:lnTo>
                      <a:pt x="195" y="351"/>
                    </a:lnTo>
                    <a:lnTo>
                      <a:pt x="196" y="352"/>
                    </a:lnTo>
                    <a:lnTo>
                      <a:pt x="196" y="353"/>
                    </a:lnTo>
                    <a:lnTo>
                      <a:pt x="196" y="354"/>
                    </a:lnTo>
                    <a:lnTo>
                      <a:pt x="196" y="355"/>
                    </a:lnTo>
                    <a:lnTo>
                      <a:pt x="195" y="356"/>
                    </a:lnTo>
                    <a:lnTo>
                      <a:pt x="195" y="357"/>
                    </a:lnTo>
                    <a:lnTo>
                      <a:pt x="194" y="357"/>
                    </a:lnTo>
                    <a:lnTo>
                      <a:pt x="194" y="358"/>
                    </a:lnTo>
                    <a:lnTo>
                      <a:pt x="193" y="359"/>
                    </a:lnTo>
                    <a:lnTo>
                      <a:pt x="192" y="360"/>
                    </a:lnTo>
                    <a:lnTo>
                      <a:pt x="191" y="361"/>
                    </a:lnTo>
                    <a:lnTo>
                      <a:pt x="189" y="362"/>
                    </a:lnTo>
                    <a:lnTo>
                      <a:pt x="188" y="362"/>
                    </a:lnTo>
                    <a:lnTo>
                      <a:pt x="188" y="364"/>
                    </a:lnTo>
                    <a:lnTo>
                      <a:pt x="187" y="364"/>
                    </a:lnTo>
                    <a:lnTo>
                      <a:pt x="186" y="365"/>
                    </a:lnTo>
                    <a:lnTo>
                      <a:pt x="185" y="365"/>
                    </a:lnTo>
                    <a:lnTo>
                      <a:pt x="183" y="365"/>
                    </a:lnTo>
                    <a:lnTo>
                      <a:pt x="181" y="365"/>
                    </a:lnTo>
                    <a:lnTo>
                      <a:pt x="180" y="365"/>
                    </a:lnTo>
                    <a:lnTo>
                      <a:pt x="179" y="365"/>
                    </a:lnTo>
                    <a:lnTo>
                      <a:pt x="178" y="365"/>
                    </a:lnTo>
                    <a:lnTo>
                      <a:pt x="176" y="365"/>
                    </a:lnTo>
                    <a:lnTo>
                      <a:pt x="175" y="365"/>
                    </a:lnTo>
                    <a:lnTo>
                      <a:pt x="174" y="365"/>
                    </a:lnTo>
                    <a:lnTo>
                      <a:pt x="173" y="365"/>
                    </a:lnTo>
                    <a:lnTo>
                      <a:pt x="172" y="365"/>
                    </a:lnTo>
                    <a:lnTo>
                      <a:pt x="171" y="364"/>
                    </a:lnTo>
                    <a:lnTo>
                      <a:pt x="170" y="364"/>
                    </a:lnTo>
                    <a:lnTo>
                      <a:pt x="169" y="362"/>
                    </a:lnTo>
                    <a:lnTo>
                      <a:pt x="168" y="362"/>
                    </a:lnTo>
                    <a:lnTo>
                      <a:pt x="167" y="362"/>
                    </a:lnTo>
                    <a:lnTo>
                      <a:pt x="166" y="362"/>
                    </a:lnTo>
                    <a:lnTo>
                      <a:pt x="163" y="362"/>
                    </a:lnTo>
                    <a:lnTo>
                      <a:pt x="162" y="362"/>
                    </a:lnTo>
                    <a:lnTo>
                      <a:pt x="160" y="361"/>
                    </a:lnTo>
                    <a:lnTo>
                      <a:pt x="158" y="361"/>
                    </a:lnTo>
                    <a:lnTo>
                      <a:pt x="140" y="361"/>
                    </a:lnTo>
                    <a:lnTo>
                      <a:pt x="137" y="361"/>
                    </a:lnTo>
                    <a:lnTo>
                      <a:pt x="135" y="362"/>
                    </a:lnTo>
                    <a:lnTo>
                      <a:pt x="134" y="362"/>
                    </a:lnTo>
                    <a:lnTo>
                      <a:pt x="133" y="362"/>
                    </a:lnTo>
                    <a:lnTo>
                      <a:pt x="132" y="362"/>
                    </a:lnTo>
                    <a:lnTo>
                      <a:pt x="131" y="362"/>
                    </a:lnTo>
                    <a:lnTo>
                      <a:pt x="130" y="364"/>
                    </a:lnTo>
                    <a:lnTo>
                      <a:pt x="129" y="364"/>
                    </a:lnTo>
                    <a:lnTo>
                      <a:pt x="127" y="366"/>
                    </a:lnTo>
                    <a:lnTo>
                      <a:pt x="127" y="367"/>
                    </a:lnTo>
                    <a:lnTo>
                      <a:pt x="127" y="368"/>
                    </a:lnTo>
                    <a:lnTo>
                      <a:pt x="126" y="368"/>
                    </a:lnTo>
                    <a:lnTo>
                      <a:pt x="126" y="369"/>
                    </a:lnTo>
                    <a:lnTo>
                      <a:pt x="122" y="373"/>
                    </a:lnTo>
                    <a:lnTo>
                      <a:pt x="122" y="372"/>
                    </a:lnTo>
                    <a:lnTo>
                      <a:pt x="123" y="364"/>
                    </a:lnTo>
                    <a:lnTo>
                      <a:pt x="121" y="364"/>
                    </a:lnTo>
                    <a:lnTo>
                      <a:pt x="120" y="364"/>
                    </a:lnTo>
                    <a:lnTo>
                      <a:pt x="119" y="364"/>
                    </a:lnTo>
                    <a:lnTo>
                      <a:pt x="114" y="364"/>
                    </a:lnTo>
                    <a:lnTo>
                      <a:pt x="113" y="364"/>
                    </a:lnTo>
                    <a:lnTo>
                      <a:pt x="111" y="362"/>
                    </a:lnTo>
                    <a:lnTo>
                      <a:pt x="110" y="361"/>
                    </a:lnTo>
                    <a:lnTo>
                      <a:pt x="110" y="360"/>
                    </a:lnTo>
                    <a:lnTo>
                      <a:pt x="111" y="359"/>
                    </a:lnTo>
                    <a:lnTo>
                      <a:pt x="110" y="359"/>
                    </a:lnTo>
                    <a:lnTo>
                      <a:pt x="109" y="358"/>
                    </a:lnTo>
                    <a:lnTo>
                      <a:pt x="108" y="359"/>
                    </a:lnTo>
                    <a:lnTo>
                      <a:pt x="107" y="359"/>
                    </a:lnTo>
                    <a:lnTo>
                      <a:pt x="106" y="359"/>
                    </a:lnTo>
                    <a:lnTo>
                      <a:pt x="103" y="359"/>
                    </a:lnTo>
                    <a:lnTo>
                      <a:pt x="103" y="358"/>
                    </a:lnTo>
                    <a:lnTo>
                      <a:pt x="102" y="358"/>
                    </a:lnTo>
                    <a:lnTo>
                      <a:pt x="101" y="358"/>
                    </a:lnTo>
                    <a:lnTo>
                      <a:pt x="100" y="358"/>
                    </a:lnTo>
                    <a:lnTo>
                      <a:pt x="98" y="359"/>
                    </a:lnTo>
                    <a:lnTo>
                      <a:pt x="97" y="358"/>
                    </a:lnTo>
                    <a:lnTo>
                      <a:pt x="96" y="358"/>
                    </a:lnTo>
                    <a:lnTo>
                      <a:pt x="95" y="358"/>
                    </a:lnTo>
                    <a:lnTo>
                      <a:pt x="94" y="358"/>
                    </a:lnTo>
                    <a:lnTo>
                      <a:pt x="93" y="358"/>
                    </a:lnTo>
                    <a:lnTo>
                      <a:pt x="92" y="359"/>
                    </a:lnTo>
                    <a:lnTo>
                      <a:pt x="91" y="360"/>
                    </a:lnTo>
                    <a:lnTo>
                      <a:pt x="90" y="360"/>
                    </a:lnTo>
                    <a:lnTo>
                      <a:pt x="87" y="360"/>
                    </a:lnTo>
                    <a:lnTo>
                      <a:pt x="79" y="360"/>
                    </a:lnTo>
                    <a:lnTo>
                      <a:pt x="76" y="360"/>
                    </a:lnTo>
                    <a:lnTo>
                      <a:pt x="69" y="360"/>
                    </a:lnTo>
                    <a:lnTo>
                      <a:pt x="57" y="360"/>
                    </a:lnTo>
                    <a:lnTo>
                      <a:pt x="55" y="360"/>
                    </a:lnTo>
                    <a:lnTo>
                      <a:pt x="49" y="360"/>
                    </a:lnTo>
                    <a:lnTo>
                      <a:pt x="40" y="360"/>
                    </a:lnTo>
                    <a:lnTo>
                      <a:pt x="21" y="359"/>
                    </a:lnTo>
                    <a:lnTo>
                      <a:pt x="20" y="359"/>
                    </a:lnTo>
                    <a:lnTo>
                      <a:pt x="17" y="356"/>
                    </a:lnTo>
                    <a:lnTo>
                      <a:pt x="16" y="354"/>
                    </a:lnTo>
                    <a:lnTo>
                      <a:pt x="14" y="352"/>
                    </a:lnTo>
                    <a:lnTo>
                      <a:pt x="13" y="349"/>
                    </a:lnTo>
                    <a:lnTo>
                      <a:pt x="12" y="347"/>
                    </a:lnTo>
                    <a:lnTo>
                      <a:pt x="11" y="346"/>
                    </a:lnTo>
                    <a:lnTo>
                      <a:pt x="10" y="344"/>
                    </a:lnTo>
                    <a:lnTo>
                      <a:pt x="8" y="342"/>
                    </a:lnTo>
                    <a:lnTo>
                      <a:pt x="6" y="340"/>
                    </a:lnTo>
                    <a:lnTo>
                      <a:pt x="4" y="336"/>
                    </a:lnTo>
                    <a:lnTo>
                      <a:pt x="1" y="328"/>
                    </a:lnTo>
                    <a:lnTo>
                      <a:pt x="1" y="327"/>
                    </a:lnTo>
                    <a:lnTo>
                      <a:pt x="1" y="323"/>
                    </a:lnTo>
                    <a:lnTo>
                      <a:pt x="1" y="322"/>
                    </a:lnTo>
                    <a:lnTo>
                      <a:pt x="2" y="319"/>
                    </a:lnTo>
                    <a:lnTo>
                      <a:pt x="2" y="318"/>
                    </a:lnTo>
                    <a:lnTo>
                      <a:pt x="4" y="314"/>
                    </a:lnTo>
                    <a:lnTo>
                      <a:pt x="5" y="310"/>
                    </a:lnTo>
                    <a:lnTo>
                      <a:pt x="6" y="307"/>
                    </a:lnTo>
                    <a:lnTo>
                      <a:pt x="6" y="306"/>
                    </a:lnTo>
                    <a:lnTo>
                      <a:pt x="6" y="303"/>
                    </a:lnTo>
                    <a:lnTo>
                      <a:pt x="6" y="295"/>
                    </a:lnTo>
                    <a:lnTo>
                      <a:pt x="5" y="291"/>
                    </a:lnTo>
                    <a:lnTo>
                      <a:pt x="5" y="287"/>
                    </a:lnTo>
                    <a:lnTo>
                      <a:pt x="5" y="285"/>
                    </a:lnTo>
                    <a:lnTo>
                      <a:pt x="5" y="281"/>
                    </a:lnTo>
                    <a:lnTo>
                      <a:pt x="5" y="280"/>
                    </a:lnTo>
                    <a:lnTo>
                      <a:pt x="4" y="279"/>
                    </a:lnTo>
                    <a:lnTo>
                      <a:pt x="3" y="279"/>
                    </a:lnTo>
                    <a:lnTo>
                      <a:pt x="2" y="279"/>
                    </a:lnTo>
                    <a:lnTo>
                      <a:pt x="1" y="280"/>
                    </a:lnTo>
                    <a:lnTo>
                      <a:pt x="1" y="279"/>
                    </a:lnTo>
                    <a:lnTo>
                      <a:pt x="0" y="278"/>
                    </a:lnTo>
                    <a:lnTo>
                      <a:pt x="0" y="277"/>
                    </a:lnTo>
                    <a:lnTo>
                      <a:pt x="0" y="276"/>
                    </a:lnTo>
                    <a:lnTo>
                      <a:pt x="0" y="275"/>
                    </a:lnTo>
                    <a:lnTo>
                      <a:pt x="0" y="274"/>
                    </a:lnTo>
                    <a:lnTo>
                      <a:pt x="1" y="272"/>
                    </a:lnTo>
                    <a:lnTo>
                      <a:pt x="2" y="271"/>
                    </a:lnTo>
                    <a:lnTo>
                      <a:pt x="2" y="270"/>
                    </a:lnTo>
                    <a:lnTo>
                      <a:pt x="2" y="269"/>
                    </a:lnTo>
                    <a:lnTo>
                      <a:pt x="2" y="268"/>
                    </a:lnTo>
                    <a:lnTo>
                      <a:pt x="2" y="267"/>
                    </a:lnTo>
                    <a:lnTo>
                      <a:pt x="2" y="266"/>
                    </a:lnTo>
                    <a:lnTo>
                      <a:pt x="4" y="261"/>
                    </a:lnTo>
                    <a:lnTo>
                      <a:pt x="5" y="261"/>
                    </a:lnTo>
                    <a:lnTo>
                      <a:pt x="5" y="259"/>
                    </a:lnTo>
                    <a:lnTo>
                      <a:pt x="6" y="258"/>
                    </a:lnTo>
                    <a:lnTo>
                      <a:pt x="7" y="256"/>
                    </a:lnTo>
                    <a:lnTo>
                      <a:pt x="8" y="255"/>
                    </a:lnTo>
                    <a:lnTo>
                      <a:pt x="10" y="254"/>
                    </a:lnTo>
                    <a:lnTo>
                      <a:pt x="12" y="253"/>
                    </a:lnTo>
                    <a:lnTo>
                      <a:pt x="14" y="251"/>
                    </a:lnTo>
                    <a:lnTo>
                      <a:pt x="17" y="249"/>
                    </a:lnTo>
                    <a:lnTo>
                      <a:pt x="18" y="248"/>
                    </a:lnTo>
                    <a:lnTo>
                      <a:pt x="18" y="246"/>
                    </a:lnTo>
                    <a:lnTo>
                      <a:pt x="20" y="244"/>
                    </a:lnTo>
                    <a:lnTo>
                      <a:pt x="23" y="243"/>
                    </a:lnTo>
                    <a:lnTo>
                      <a:pt x="25" y="242"/>
                    </a:lnTo>
                    <a:lnTo>
                      <a:pt x="28" y="242"/>
                    </a:lnTo>
                    <a:lnTo>
                      <a:pt x="31" y="242"/>
                    </a:lnTo>
                    <a:lnTo>
                      <a:pt x="33" y="242"/>
                    </a:lnTo>
                    <a:lnTo>
                      <a:pt x="34" y="241"/>
                    </a:lnTo>
                    <a:lnTo>
                      <a:pt x="36" y="239"/>
                    </a:lnTo>
                    <a:lnTo>
                      <a:pt x="36" y="238"/>
                    </a:lnTo>
                    <a:lnTo>
                      <a:pt x="36" y="236"/>
                    </a:lnTo>
                    <a:lnTo>
                      <a:pt x="37" y="235"/>
                    </a:lnTo>
                    <a:lnTo>
                      <a:pt x="39" y="233"/>
                    </a:lnTo>
                    <a:lnTo>
                      <a:pt x="40" y="232"/>
                    </a:lnTo>
                    <a:lnTo>
                      <a:pt x="41" y="232"/>
                    </a:lnTo>
                    <a:lnTo>
                      <a:pt x="42" y="231"/>
                    </a:lnTo>
                    <a:lnTo>
                      <a:pt x="41" y="230"/>
                    </a:lnTo>
                    <a:lnTo>
                      <a:pt x="42" y="228"/>
                    </a:lnTo>
                    <a:lnTo>
                      <a:pt x="42" y="226"/>
                    </a:lnTo>
                    <a:lnTo>
                      <a:pt x="42" y="225"/>
                    </a:lnTo>
                    <a:lnTo>
                      <a:pt x="42" y="220"/>
                    </a:lnTo>
                    <a:lnTo>
                      <a:pt x="42" y="218"/>
                    </a:lnTo>
                    <a:lnTo>
                      <a:pt x="41" y="216"/>
                    </a:lnTo>
                    <a:lnTo>
                      <a:pt x="41" y="215"/>
                    </a:lnTo>
                    <a:lnTo>
                      <a:pt x="41" y="214"/>
                    </a:lnTo>
                    <a:lnTo>
                      <a:pt x="40" y="214"/>
                    </a:lnTo>
                    <a:lnTo>
                      <a:pt x="39" y="213"/>
                    </a:lnTo>
                    <a:lnTo>
                      <a:pt x="38" y="213"/>
                    </a:lnTo>
                    <a:lnTo>
                      <a:pt x="37" y="212"/>
                    </a:lnTo>
                    <a:lnTo>
                      <a:pt x="36" y="211"/>
                    </a:lnTo>
                    <a:lnTo>
                      <a:pt x="34" y="211"/>
                    </a:lnTo>
                    <a:lnTo>
                      <a:pt x="32" y="211"/>
                    </a:lnTo>
                    <a:lnTo>
                      <a:pt x="31" y="211"/>
                    </a:lnTo>
                    <a:lnTo>
                      <a:pt x="31" y="210"/>
                    </a:lnTo>
                    <a:lnTo>
                      <a:pt x="31" y="208"/>
                    </a:lnTo>
                    <a:lnTo>
                      <a:pt x="32" y="207"/>
                    </a:lnTo>
                    <a:lnTo>
                      <a:pt x="34" y="206"/>
                    </a:lnTo>
                    <a:lnTo>
                      <a:pt x="36" y="204"/>
                    </a:lnTo>
                    <a:lnTo>
                      <a:pt x="38" y="203"/>
                    </a:lnTo>
                    <a:lnTo>
                      <a:pt x="39" y="202"/>
                    </a:lnTo>
                    <a:lnTo>
                      <a:pt x="38" y="201"/>
                    </a:lnTo>
                    <a:lnTo>
                      <a:pt x="38" y="200"/>
                    </a:lnTo>
                    <a:lnTo>
                      <a:pt x="39" y="200"/>
                    </a:lnTo>
                    <a:lnTo>
                      <a:pt x="40" y="199"/>
                    </a:lnTo>
                    <a:lnTo>
                      <a:pt x="41" y="199"/>
                    </a:lnTo>
                    <a:lnTo>
                      <a:pt x="41" y="198"/>
                    </a:lnTo>
                    <a:lnTo>
                      <a:pt x="40" y="197"/>
                    </a:lnTo>
                    <a:lnTo>
                      <a:pt x="40" y="194"/>
                    </a:lnTo>
                    <a:lnTo>
                      <a:pt x="39" y="192"/>
                    </a:lnTo>
                    <a:lnTo>
                      <a:pt x="40" y="191"/>
                    </a:lnTo>
                    <a:lnTo>
                      <a:pt x="41" y="190"/>
                    </a:lnTo>
                    <a:lnTo>
                      <a:pt x="42" y="189"/>
                    </a:lnTo>
                    <a:lnTo>
                      <a:pt x="43" y="188"/>
                    </a:lnTo>
                    <a:lnTo>
                      <a:pt x="44" y="187"/>
                    </a:lnTo>
                    <a:lnTo>
                      <a:pt x="45" y="187"/>
                    </a:lnTo>
                    <a:lnTo>
                      <a:pt x="46" y="187"/>
                    </a:lnTo>
                    <a:lnTo>
                      <a:pt x="47" y="187"/>
                    </a:lnTo>
                    <a:lnTo>
                      <a:pt x="49" y="188"/>
                    </a:lnTo>
                    <a:lnTo>
                      <a:pt x="50" y="188"/>
                    </a:lnTo>
                    <a:lnTo>
                      <a:pt x="50" y="187"/>
                    </a:lnTo>
                    <a:lnTo>
                      <a:pt x="51" y="187"/>
                    </a:lnTo>
                    <a:lnTo>
                      <a:pt x="51" y="186"/>
                    </a:lnTo>
                    <a:lnTo>
                      <a:pt x="50" y="184"/>
                    </a:lnTo>
                    <a:lnTo>
                      <a:pt x="50" y="182"/>
                    </a:lnTo>
                    <a:lnTo>
                      <a:pt x="51" y="181"/>
                    </a:lnTo>
                    <a:lnTo>
                      <a:pt x="52" y="180"/>
                    </a:lnTo>
                    <a:lnTo>
                      <a:pt x="52" y="179"/>
                    </a:lnTo>
                    <a:lnTo>
                      <a:pt x="52" y="178"/>
                    </a:lnTo>
                    <a:lnTo>
                      <a:pt x="51" y="178"/>
                    </a:lnTo>
                    <a:lnTo>
                      <a:pt x="49" y="178"/>
                    </a:lnTo>
                    <a:lnTo>
                      <a:pt x="47" y="178"/>
                    </a:lnTo>
                    <a:lnTo>
                      <a:pt x="47" y="177"/>
                    </a:lnTo>
                    <a:lnTo>
                      <a:pt x="47" y="176"/>
                    </a:lnTo>
                    <a:lnTo>
                      <a:pt x="49" y="176"/>
                    </a:lnTo>
                    <a:lnTo>
                      <a:pt x="50" y="176"/>
                    </a:lnTo>
                    <a:lnTo>
                      <a:pt x="51" y="176"/>
                    </a:lnTo>
                    <a:lnTo>
                      <a:pt x="51" y="175"/>
                    </a:lnTo>
                    <a:lnTo>
                      <a:pt x="51" y="174"/>
                    </a:lnTo>
                    <a:lnTo>
                      <a:pt x="50" y="173"/>
                    </a:lnTo>
                    <a:lnTo>
                      <a:pt x="49" y="172"/>
                    </a:lnTo>
                    <a:lnTo>
                      <a:pt x="46" y="168"/>
                    </a:lnTo>
                    <a:lnTo>
                      <a:pt x="44" y="168"/>
                    </a:lnTo>
                    <a:lnTo>
                      <a:pt x="43" y="167"/>
                    </a:lnTo>
                    <a:lnTo>
                      <a:pt x="42" y="166"/>
                    </a:lnTo>
                    <a:lnTo>
                      <a:pt x="42" y="165"/>
                    </a:lnTo>
                    <a:lnTo>
                      <a:pt x="43" y="163"/>
                    </a:lnTo>
                    <a:lnTo>
                      <a:pt x="44" y="162"/>
                    </a:lnTo>
                    <a:lnTo>
                      <a:pt x="44" y="161"/>
                    </a:lnTo>
                    <a:lnTo>
                      <a:pt x="45" y="160"/>
                    </a:lnTo>
                    <a:lnTo>
                      <a:pt x="45" y="159"/>
                    </a:lnTo>
                    <a:lnTo>
                      <a:pt x="44" y="158"/>
                    </a:lnTo>
                    <a:lnTo>
                      <a:pt x="44" y="156"/>
                    </a:lnTo>
                    <a:lnTo>
                      <a:pt x="43" y="156"/>
                    </a:lnTo>
                    <a:lnTo>
                      <a:pt x="43" y="155"/>
                    </a:lnTo>
                    <a:lnTo>
                      <a:pt x="44" y="154"/>
                    </a:lnTo>
                    <a:lnTo>
                      <a:pt x="45" y="154"/>
                    </a:lnTo>
                    <a:lnTo>
                      <a:pt x="45" y="153"/>
                    </a:lnTo>
                    <a:lnTo>
                      <a:pt x="45" y="152"/>
                    </a:lnTo>
                    <a:lnTo>
                      <a:pt x="45" y="151"/>
                    </a:lnTo>
                    <a:lnTo>
                      <a:pt x="45" y="150"/>
                    </a:lnTo>
                    <a:lnTo>
                      <a:pt x="46" y="149"/>
                    </a:lnTo>
                    <a:lnTo>
                      <a:pt x="47" y="148"/>
                    </a:lnTo>
                    <a:lnTo>
                      <a:pt x="47" y="147"/>
                    </a:lnTo>
                    <a:lnTo>
                      <a:pt x="47" y="146"/>
                    </a:lnTo>
                    <a:lnTo>
                      <a:pt x="46" y="145"/>
                    </a:lnTo>
                    <a:lnTo>
                      <a:pt x="45" y="143"/>
                    </a:lnTo>
                    <a:lnTo>
                      <a:pt x="46" y="142"/>
                    </a:lnTo>
                    <a:lnTo>
                      <a:pt x="46" y="141"/>
                    </a:lnTo>
                    <a:lnTo>
                      <a:pt x="47" y="141"/>
                    </a:lnTo>
                    <a:lnTo>
                      <a:pt x="47" y="140"/>
                    </a:lnTo>
                    <a:lnTo>
                      <a:pt x="47" y="139"/>
                    </a:lnTo>
                    <a:lnTo>
                      <a:pt x="47" y="136"/>
                    </a:lnTo>
                    <a:lnTo>
                      <a:pt x="47" y="135"/>
                    </a:lnTo>
                    <a:lnTo>
                      <a:pt x="47" y="133"/>
                    </a:lnTo>
                    <a:lnTo>
                      <a:pt x="49" y="131"/>
                    </a:lnTo>
                    <a:lnTo>
                      <a:pt x="50" y="131"/>
                    </a:lnTo>
                    <a:lnTo>
                      <a:pt x="51" y="131"/>
                    </a:lnTo>
                    <a:lnTo>
                      <a:pt x="52" y="130"/>
                    </a:lnTo>
                    <a:lnTo>
                      <a:pt x="53" y="130"/>
                    </a:lnTo>
                    <a:lnTo>
                      <a:pt x="54" y="130"/>
                    </a:lnTo>
                    <a:lnTo>
                      <a:pt x="54" y="129"/>
                    </a:lnTo>
                    <a:lnTo>
                      <a:pt x="53" y="128"/>
                    </a:lnTo>
                    <a:lnTo>
                      <a:pt x="52" y="128"/>
                    </a:lnTo>
                    <a:lnTo>
                      <a:pt x="52" y="127"/>
                    </a:lnTo>
                    <a:lnTo>
                      <a:pt x="52" y="126"/>
                    </a:lnTo>
                    <a:lnTo>
                      <a:pt x="52" y="125"/>
                    </a:lnTo>
                    <a:lnTo>
                      <a:pt x="53" y="125"/>
                    </a:lnTo>
                    <a:lnTo>
                      <a:pt x="54" y="126"/>
                    </a:lnTo>
                    <a:lnTo>
                      <a:pt x="55" y="126"/>
                    </a:lnTo>
                    <a:lnTo>
                      <a:pt x="55" y="125"/>
                    </a:lnTo>
                    <a:lnTo>
                      <a:pt x="55" y="124"/>
                    </a:lnTo>
                    <a:lnTo>
                      <a:pt x="55" y="123"/>
                    </a:lnTo>
                    <a:lnTo>
                      <a:pt x="54" y="123"/>
                    </a:lnTo>
                    <a:lnTo>
                      <a:pt x="54" y="122"/>
                    </a:lnTo>
                    <a:lnTo>
                      <a:pt x="53" y="122"/>
                    </a:lnTo>
                    <a:lnTo>
                      <a:pt x="53" y="121"/>
                    </a:lnTo>
                    <a:lnTo>
                      <a:pt x="53" y="120"/>
                    </a:lnTo>
                    <a:lnTo>
                      <a:pt x="54" y="120"/>
                    </a:lnTo>
                    <a:lnTo>
                      <a:pt x="54" y="118"/>
                    </a:lnTo>
                    <a:lnTo>
                      <a:pt x="54" y="117"/>
                    </a:lnTo>
                    <a:lnTo>
                      <a:pt x="55" y="116"/>
                    </a:lnTo>
                    <a:lnTo>
                      <a:pt x="55" y="115"/>
                    </a:lnTo>
                    <a:lnTo>
                      <a:pt x="55" y="114"/>
                    </a:lnTo>
                    <a:lnTo>
                      <a:pt x="54" y="114"/>
                    </a:lnTo>
                    <a:lnTo>
                      <a:pt x="54" y="113"/>
                    </a:lnTo>
                    <a:lnTo>
                      <a:pt x="53" y="113"/>
                    </a:lnTo>
                    <a:lnTo>
                      <a:pt x="52" y="113"/>
                    </a:lnTo>
                    <a:lnTo>
                      <a:pt x="51" y="112"/>
                    </a:lnTo>
                    <a:lnTo>
                      <a:pt x="50" y="111"/>
                    </a:lnTo>
                    <a:lnTo>
                      <a:pt x="49" y="111"/>
                    </a:lnTo>
                    <a:lnTo>
                      <a:pt x="47" y="110"/>
                    </a:lnTo>
                    <a:lnTo>
                      <a:pt x="46" y="111"/>
                    </a:lnTo>
                    <a:lnTo>
                      <a:pt x="45" y="111"/>
                    </a:lnTo>
                    <a:lnTo>
                      <a:pt x="45" y="110"/>
                    </a:lnTo>
                    <a:lnTo>
                      <a:pt x="43" y="111"/>
                    </a:lnTo>
                    <a:lnTo>
                      <a:pt x="43" y="110"/>
                    </a:lnTo>
                    <a:lnTo>
                      <a:pt x="42" y="109"/>
                    </a:lnTo>
                    <a:lnTo>
                      <a:pt x="42" y="108"/>
                    </a:lnTo>
                    <a:lnTo>
                      <a:pt x="43" y="107"/>
                    </a:lnTo>
                    <a:lnTo>
                      <a:pt x="43" y="105"/>
                    </a:lnTo>
                    <a:lnTo>
                      <a:pt x="44" y="105"/>
                    </a:lnTo>
                    <a:lnTo>
                      <a:pt x="45" y="105"/>
                    </a:lnTo>
                    <a:lnTo>
                      <a:pt x="45" y="104"/>
                    </a:lnTo>
                    <a:lnTo>
                      <a:pt x="46" y="105"/>
                    </a:lnTo>
                    <a:lnTo>
                      <a:pt x="46" y="104"/>
                    </a:lnTo>
                    <a:lnTo>
                      <a:pt x="47" y="104"/>
                    </a:lnTo>
                    <a:lnTo>
                      <a:pt x="47" y="105"/>
                    </a:lnTo>
                    <a:lnTo>
                      <a:pt x="47" y="104"/>
                    </a:lnTo>
                    <a:lnTo>
                      <a:pt x="47" y="103"/>
                    </a:lnTo>
                    <a:lnTo>
                      <a:pt x="47" y="102"/>
                    </a:lnTo>
                    <a:lnTo>
                      <a:pt x="47" y="101"/>
                    </a:lnTo>
                    <a:lnTo>
                      <a:pt x="47" y="100"/>
                    </a:lnTo>
                    <a:lnTo>
                      <a:pt x="47" y="99"/>
                    </a:lnTo>
                    <a:lnTo>
                      <a:pt x="46" y="99"/>
                    </a:lnTo>
                    <a:lnTo>
                      <a:pt x="46" y="98"/>
                    </a:lnTo>
                    <a:lnTo>
                      <a:pt x="45" y="98"/>
                    </a:lnTo>
                    <a:lnTo>
                      <a:pt x="45" y="97"/>
                    </a:lnTo>
                    <a:lnTo>
                      <a:pt x="45" y="96"/>
                    </a:lnTo>
                    <a:lnTo>
                      <a:pt x="45" y="95"/>
                    </a:lnTo>
                    <a:lnTo>
                      <a:pt x="45" y="94"/>
                    </a:lnTo>
                    <a:lnTo>
                      <a:pt x="45" y="92"/>
                    </a:lnTo>
                    <a:lnTo>
                      <a:pt x="45" y="91"/>
                    </a:lnTo>
                    <a:lnTo>
                      <a:pt x="45" y="90"/>
                    </a:lnTo>
                    <a:lnTo>
                      <a:pt x="44" y="89"/>
                    </a:lnTo>
                    <a:lnTo>
                      <a:pt x="44" y="88"/>
                    </a:lnTo>
                    <a:lnTo>
                      <a:pt x="45" y="88"/>
                    </a:lnTo>
                    <a:lnTo>
                      <a:pt x="45" y="87"/>
                    </a:lnTo>
                    <a:lnTo>
                      <a:pt x="46" y="87"/>
                    </a:lnTo>
                    <a:lnTo>
                      <a:pt x="46" y="86"/>
                    </a:lnTo>
                    <a:lnTo>
                      <a:pt x="46" y="85"/>
                    </a:lnTo>
                    <a:lnTo>
                      <a:pt x="45" y="85"/>
                    </a:lnTo>
                    <a:lnTo>
                      <a:pt x="45" y="84"/>
                    </a:lnTo>
                    <a:lnTo>
                      <a:pt x="45" y="83"/>
                    </a:lnTo>
                    <a:lnTo>
                      <a:pt x="46" y="83"/>
                    </a:lnTo>
                    <a:lnTo>
                      <a:pt x="46" y="82"/>
                    </a:lnTo>
                    <a:lnTo>
                      <a:pt x="46" y="81"/>
                    </a:lnTo>
                    <a:lnTo>
                      <a:pt x="45" y="79"/>
                    </a:lnTo>
                    <a:lnTo>
                      <a:pt x="46" y="79"/>
                    </a:lnTo>
                    <a:lnTo>
                      <a:pt x="45" y="78"/>
                    </a:lnTo>
                    <a:lnTo>
                      <a:pt x="44" y="78"/>
                    </a:lnTo>
                    <a:lnTo>
                      <a:pt x="44" y="77"/>
                    </a:lnTo>
                    <a:lnTo>
                      <a:pt x="44" y="76"/>
                    </a:lnTo>
                    <a:lnTo>
                      <a:pt x="45" y="76"/>
                    </a:lnTo>
                    <a:lnTo>
                      <a:pt x="45" y="75"/>
                    </a:lnTo>
                    <a:lnTo>
                      <a:pt x="45" y="76"/>
                    </a:lnTo>
                    <a:lnTo>
                      <a:pt x="46" y="76"/>
                    </a:lnTo>
                    <a:lnTo>
                      <a:pt x="47" y="76"/>
                    </a:lnTo>
                    <a:lnTo>
                      <a:pt x="49" y="76"/>
                    </a:lnTo>
                    <a:lnTo>
                      <a:pt x="49" y="75"/>
                    </a:lnTo>
                    <a:lnTo>
                      <a:pt x="50" y="74"/>
                    </a:lnTo>
                    <a:lnTo>
                      <a:pt x="51" y="74"/>
                    </a:lnTo>
                    <a:lnTo>
                      <a:pt x="52" y="74"/>
                    </a:lnTo>
                    <a:lnTo>
                      <a:pt x="52" y="73"/>
                    </a:lnTo>
                    <a:lnTo>
                      <a:pt x="51" y="72"/>
                    </a:lnTo>
                    <a:lnTo>
                      <a:pt x="52" y="72"/>
                    </a:lnTo>
                    <a:lnTo>
                      <a:pt x="52" y="71"/>
                    </a:lnTo>
                    <a:lnTo>
                      <a:pt x="52" y="70"/>
                    </a:lnTo>
                    <a:lnTo>
                      <a:pt x="52" y="69"/>
                    </a:lnTo>
                    <a:lnTo>
                      <a:pt x="53" y="68"/>
                    </a:lnTo>
                    <a:lnTo>
                      <a:pt x="54" y="63"/>
                    </a:lnTo>
                    <a:lnTo>
                      <a:pt x="53" y="62"/>
                    </a:lnTo>
                    <a:lnTo>
                      <a:pt x="53" y="45"/>
                    </a:lnTo>
                    <a:lnTo>
                      <a:pt x="53" y="34"/>
                    </a:lnTo>
                    <a:lnTo>
                      <a:pt x="59" y="34"/>
                    </a:lnTo>
                    <a:lnTo>
                      <a:pt x="89" y="34"/>
                    </a:lnTo>
                    <a:lnTo>
                      <a:pt x="100" y="34"/>
                    </a:lnTo>
                    <a:lnTo>
                      <a:pt x="116" y="34"/>
                    </a:lnTo>
                    <a:lnTo>
                      <a:pt x="126" y="34"/>
                    </a:lnTo>
                    <a:lnTo>
                      <a:pt x="142" y="35"/>
                    </a:lnTo>
                    <a:lnTo>
                      <a:pt x="158" y="35"/>
                    </a:lnTo>
                    <a:lnTo>
                      <a:pt x="158" y="34"/>
                    </a:lnTo>
                    <a:lnTo>
                      <a:pt x="159" y="33"/>
                    </a:lnTo>
                    <a:lnTo>
                      <a:pt x="159" y="32"/>
                    </a:lnTo>
                    <a:lnTo>
                      <a:pt x="159" y="31"/>
                    </a:lnTo>
                    <a:lnTo>
                      <a:pt x="160" y="31"/>
                    </a:lnTo>
                    <a:lnTo>
                      <a:pt x="161" y="31"/>
                    </a:lnTo>
                    <a:lnTo>
                      <a:pt x="162" y="30"/>
                    </a:lnTo>
                    <a:lnTo>
                      <a:pt x="161" y="30"/>
                    </a:lnTo>
                    <a:lnTo>
                      <a:pt x="161" y="28"/>
                    </a:lnTo>
                    <a:lnTo>
                      <a:pt x="162" y="27"/>
                    </a:lnTo>
                    <a:lnTo>
                      <a:pt x="165" y="27"/>
                    </a:lnTo>
                    <a:lnTo>
                      <a:pt x="166" y="27"/>
                    </a:lnTo>
                    <a:lnTo>
                      <a:pt x="166" y="26"/>
                    </a:lnTo>
                    <a:lnTo>
                      <a:pt x="167" y="26"/>
                    </a:lnTo>
                    <a:lnTo>
                      <a:pt x="169" y="25"/>
                    </a:lnTo>
                    <a:lnTo>
                      <a:pt x="170" y="24"/>
                    </a:lnTo>
                    <a:lnTo>
                      <a:pt x="170" y="23"/>
                    </a:lnTo>
                    <a:lnTo>
                      <a:pt x="171" y="23"/>
                    </a:lnTo>
                    <a:lnTo>
                      <a:pt x="172" y="23"/>
                    </a:lnTo>
                    <a:lnTo>
                      <a:pt x="172" y="22"/>
                    </a:lnTo>
                    <a:lnTo>
                      <a:pt x="173" y="22"/>
                    </a:lnTo>
                    <a:lnTo>
                      <a:pt x="174" y="22"/>
                    </a:lnTo>
                    <a:lnTo>
                      <a:pt x="175" y="22"/>
                    </a:lnTo>
                    <a:lnTo>
                      <a:pt x="176" y="23"/>
                    </a:lnTo>
                    <a:lnTo>
                      <a:pt x="176" y="22"/>
                    </a:lnTo>
                    <a:lnTo>
                      <a:pt x="178" y="22"/>
                    </a:lnTo>
                    <a:lnTo>
                      <a:pt x="178" y="23"/>
                    </a:lnTo>
                    <a:lnTo>
                      <a:pt x="179" y="24"/>
                    </a:lnTo>
                    <a:lnTo>
                      <a:pt x="179" y="23"/>
                    </a:lnTo>
                    <a:lnTo>
                      <a:pt x="180" y="23"/>
                    </a:lnTo>
                    <a:lnTo>
                      <a:pt x="180" y="22"/>
                    </a:lnTo>
                    <a:lnTo>
                      <a:pt x="181" y="22"/>
                    </a:lnTo>
                    <a:lnTo>
                      <a:pt x="182" y="21"/>
                    </a:lnTo>
                    <a:lnTo>
                      <a:pt x="183" y="21"/>
                    </a:lnTo>
                    <a:lnTo>
                      <a:pt x="184" y="20"/>
                    </a:lnTo>
                    <a:lnTo>
                      <a:pt x="185" y="19"/>
                    </a:lnTo>
                    <a:lnTo>
                      <a:pt x="185" y="18"/>
                    </a:lnTo>
                    <a:lnTo>
                      <a:pt x="185" y="15"/>
                    </a:lnTo>
                    <a:lnTo>
                      <a:pt x="186" y="15"/>
                    </a:lnTo>
                    <a:lnTo>
                      <a:pt x="187" y="14"/>
                    </a:lnTo>
                    <a:lnTo>
                      <a:pt x="188" y="14"/>
                    </a:lnTo>
                    <a:lnTo>
                      <a:pt x="188" y="13"/>
                    </a:lnTo>
                    <a:lnTo>
                      <a:pt x="189" y="13"/>
                    </a:lnTo>
                    <a:lnTo>
                      <a:pt x="189" y="14"/>
                    </a:lnTo>
                    <a:lnTo>
                      <a:pt x="189" y="15"/>
                    </a:lnTo>
                    <a:lnTo>
                      <a:pt x="189" y="17"/>
                    </a:lnTo>
                    <a:lnTo>
                      <a:pt x="191" y="18"/>
                    </a:lnTo>
                    <a:lnTo>
                      <a:pt x="191" y="19"/>
                    </a:lnTo>
                    <a:lnTo>
                      <a:pt x="192" y="19"/>
                    </a:lnTo>
                    <a:lnTo>
                      <a:pt x="193" y="20"/>
                    </a:lnTo>
                    <a:lnTo>
                      <a:pt x="193" y="21"/>
                    </a:lnTo>
                    <a:lnTo>
                      <a:pt x="194" y="21"/>
                    </a:lnTo>
                    <a:lnTo>
                      <a:pt x="195" y="22"/>
                    </a:lnTo>
                    <a:lnTo>
                      <a:pt x="196" y="22"/>
                    </a:lnTo>
                    <a:lnTo>
                      <a:pt x="197" y="22"/>
                    </a:lnTo>
                    <a:lnTo>
                      <a:pt x="197" y="23"/>
                    </a:lnTo>
                    <a:lnTo>
                      <a:pt x="198" y="23"/>
                    </a:lnTo>
                    <a:lnTo>
                      <a:pt x="198" y="24"/>
                    </a:lnTo>
                    <a:lnTo>
                      <a:pt x="199" y="24"/>
                    </a:lnTo>
                    <a:lnTo>
                      <a:pt x="200" y="24"/>
                    </a:lnTo>
                    <a:lnTo>
                      <a:pt x="200" y="25"/>
                    </a:lnTo>
                    <a:lnTo>
                      <a:pt x="200" y="24"/>
                    </a:lnTo>
                    <a:lnTo>
                      <a:pt x="201" y="24"/>
                    </a:lnTo>
                    <a:lnTo>
                      <a:pt x="202" y="24"/>
                    </a:lnTo>
                    <a:lnTo>
                      <a:pt x="204" y="24"/>
                    </a:lnTo>
                    <a:lnTo>
                      <a:pt x="205" y="25"/>
                    </a:lnTo>
                    <a:lnTo>
                      <a:pt x="206" y="25"/>
                    </a:lnTo>
                    <a:lnTo>
                      <a:pt x="206" y="26"/>
                    </a:lnTo>
                    <a:lnTo>
                      <a:pt x="207" y="27"/>
                    </a:lnTo>
                    <a:lnTo>
                      <a:pt x="208" y="28"/>
                    </a:lnTo>
                    <a:lnTo>
                      <a:pt x="209" y="28"/>
                    </a:lnTo>
                    <a:lnTo>
                      <a:pt x="210" y="30"/>
                    </a:lnTo>
                    <a:lnTo>
                      <a:pt x="211" y="30"/>
                    </a:lnTo>
                    <a:lnTo>
                      <a:pt x="211" y="27"/>
                    </a:lnTo>
                    <a:lnTo>
                      <a:pt x="212" y="26"/>
                    </a:lnTo>
                    <a:lnTo>
                      <a:pt x="212" y="25"/>
                    </a:lnTo>
                    <a:lnTo>
                      <a:pt x="213" y="25"/>
                    </a:lnTo>
                    <a:lnTo>
                      <a:pt x="213" y="23"/>
                    </a:lnTo>
                    <a:lnTo>
                      <a:pt x="214" y="23"/>
                    </a:lnTo>
                    <a:lnTo>
                      <a:pt x="214" y="22"/>
                    </a:lnTo>
                    <a:lnTo>
                      <a:pt x="214" y="21"/>
                    </a:lnTo>
                    <a:lnTo>
                      <a:pt x="215" y="21"/>
                    </a:lnTo>
                    <a:lnTo>
                      <a:pt x="215" y="20"/>
                    </a:lnTo>
                    <a:lnTo>
                      <a:pt x="217" y="19"/>
                    </a:lnTo>
                    <a:lnTo>
                      <a:pt x="217" y="18"/>
                    </a:lnTo>
                    <a:lnTo>
                      <a:pt x="218" y="18"/>
                    </a:lnTo>
                    <a:lnTo>
                      <a:pt x="218" y="17"/>
                    </a:lnTo>
                    <a:lnTo>
                      <a:pt x="219" y="17"/>
                    </a:lnTo>
                    <a:lnTo>
                      <a:pt x="219" y="15"/>
                    </a:lnTo>
                    <a:lnTo>
                      <a:pt x="220" y="15"/>
                    </a:lnTo>
                    <a:lnTo>
                      <a:pt x="221" y="15"/>
                    </a:lnTo>
                    <a:lnTo>
                      <a:pt x="221" y="14"/>
                    </a:lnTo>
                    <a:lnTo>
                      <a:pt x="223" y="12"/>
                    </a:lnTo>
                    <a:lnTo>
                      <a:pt x="224" y="11"/>
                    </a:lnTo>
                    <a:lnTo>
                      <a:pt x="226" y="10"/>
                    </a:lnTo>
                    <a:lnTo>
                      <a:pt x="231" y="8"/>
                    </a:lnTo>
                    <a:lnTo>
                      <a:pt x="237" y="5"/>
                    </a:lnTo>
                    <a:lnTo>
                      <a:pt x="239" y="5"/>
                    </a:lnTo>
                    <a:lnTo>
                      <a:pt x="242" y="4"/>
                    </a:lnTo>
                    <a:lnTo>
                      <a:pt x="243" y="4"/>
                    </a:lnTo>
                    <a:lnTo>
                      <a:pt x="245" y="4"/>
                    </a:lnTo>
                    <a:lnTo>
                      <a:pt x="246" y="4"/>
                    </a:lnTo>
                    <a:lnTo>
                      <a:pt x="248" y="4"/>
                    </a:lnTo>
                    <a:lnTo>
                      <a:pt x="250" y="4"/>
                    </a:lnTo>
                    <a:lnTo>
                      <a:pt x="252" y="5"/>
                    </a:lnTo>
                    <a:lnTo>
                      <a:pt x="253" y="5"/>
                    </a:lnTo>
                    <a:lnTo>
                      <a:pt x="256" y="5"/>
                    </a:lnTo>
                    <a:lnTo>
                      <a:pt x="257" y="5"/>
                    </a:lnTo>
                    <a:lnTo>
                      <a:pt x="258" y="4"/>
                    </a:lnTo>
                    <a:lnTo>
                      <a:pt x="259" y="4"/>
                    </a:lnTo>
                    <a:lnTo>
                      <a:pt x="261" y="2"/>
                    </a:lnTo>
                    <a:lnTo>
                      <a:pt x="262" y="2"/>
                    </a:lnTo>
                    <a:lnTo>
                      <a:pt x="264" y="1"/>
                    </a:lnTo>
                    <a:lnTo>
                      <a:pt x="265" y="1"/>
                    </a:lnTo>
                    <a:lnTo>
                      <a:pt x="266" y="1"/>
                    </a:lnTo>
                    <a:lnTo>
                      <a:pt x="268" y="1"/>
                    </a:lnTo>
                    <a:lnTo>
                      <a:pt x="269" y="0"/>
                    </a:lnTo>
                    <a:lnTo>
                      <a:pt x="270" y="0"/>
                    </a:lnTo>
                    <a:lnTo>
                      <a:pt x="271" y="0"/>
                    </a:lnTo>
                    <a:lnTo>
                      <a:pt x="272" y="0"/>
                    </a:lnTo>
                    <a:lnTo>
                      <a:pt x="273" y="0"/>
                    </a:lnTo>
                    <a:lnTo>
                      <a:pt x="273" y="1"/>
                    </a:lnTo>
                    <a:lnTo>
                      <a:pt x="274" y="1"/>
                    </a:lnTo>
                    <a:lnTo>
                      <a:pt x="275" y="2"/>
                    </a:lnTo>
                    <a:lnTo>
                      <a:pt x="277" y="5"/>
                    </a:lnTo>
                    <a:lnTo>
                      <a:pt x="278" y="6"/>
                    </a:lnTo>
                    <a:lnTo>
                      <a:pt x="279" y="7"/>
                    </a:lnTo>
                    <a:lnTo>
                      <a:pt x="281" y="8"/>
                    </a:lnTo>
                    <a:lnTo>
                      <a:pt x="281" y="9"/>
                    </a:lnTo>
                    <a:lnTo>
                      <a:pt x="279" y="10"/>
                    </a:lnTo>
                    <a:lnTo>
                      <a:pt x="279" y="11"/>
                    </a:lnTo>
                    <a:lnTo>
                      <a:pt x="278" y="11"/>
                    </a:lnTo>
                    <a:lnTo>
                      <a:pt x="278" y="12"/>
                    </a:lnTo>
                    <a:lnTo>
                      <a:pt x="279" y="12"/>
                    </a:lnTo>
                    <a:lnTo>
                      <a:pt x="279" y="13"/>
                    </a:lnTo>
                    <a:lnTo>
                      <a:pt x="279" y="14"/>
                    </a:lnTo>
                    <a:lnTo>
                      <a:pt x="279" y="15"/>
                    </a:lnTo>
                    <a:lnTo>
                      <a:pt x="279" y="17"/>
                    </a:lnTo>
                    <a:lnTo>
                      <a:pt x="279" y="18"/>
                    </a:lnTo>
                    <a:lnTo>
                      <a:pt x="279" y="19"/>
                    </a:lnTo>
                    <a:lnTo>
                      <a:pt x="279" y="20"/>
                    </a:lnTo>
                    <a:lnTo>
                      <a:pt x="279" y="21"/>
                    </a:lnTo>
                    <a:lnTo>
                      <a:pt x="278" y="22"/>
                    </a:lnTo>
                    <a:lnTo>
                      <a:pt x="279" y="22"/>
                    </a:lnTo>
                    <a:lnTo>
                      <a:pt x="279" y="23"/>
                    </a:lnTo>
                    <a:lnTo>
                      <a:pt x="279" y="24"/>
                    </a:lnTo>
                    <a:lnTo>
                      <a:pt x="279" y="25"/>
                    </a:lnTo>
                    <a:lnTo>
                      <a:pt x="281" y="25"/>
                    </a:lnTo>
                    <a:lnTo>
                      <a:pt x="281" y="26"/>
                    </a:lnTo>
                    <a:lnTo>
                      <a:pt x="281" y="27"/>
                    </a:lnTo>
                    <a:lnTo>
                      <a:pt x="279" y="27"/>
                    </a:lnTo>
                    <a:lnTo>
                      <a:pt x="278" y="28"/>
                    </a:lnTo>
                    <a:close/>
                  </a:path>
                </a:pathLst>
              </a:custGeom>
              <a:solidFill>
                <a:srgbClr val="267BDE"/>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89" name="Freeform 317">
                <a:extLst>
                  <a:ext uri="{FF2B5EF4-FFF2-40B4-BE49-F238E27FC236}">
                    <a16:creationId xmlns:a16="http://schemas.microsoft.com/office/drawing/2014/main" id="{DCC699F0-DE61-BAA3-1D1B-C75957DCC53F}"/>
                  </a:ext>
                </a:extLst>
              </p:cNvPr>
              <p:cNvSpPr>
                <a:spLocks noEditPoints="1"/>
              </p:cNvSpPr>
              <p:nvPr/>
            </p:nvSpPr>
            <p:spPr bwMode="auto">
              <a:xfrm>
                <a:off x="3562351" y="1657350"/>
                <a:ext cx="661988" cy="508000"/>
              </a:xfrm>
              <a:custGeom>
                <a:avLst/>
                <a:gdLst>
                  <a:gd name="T0" fmla="*/ 265 w 417"/>
                  <a:gd name="T1" fmla="*/ 241 h 320"/>
                  <a:gd name="T2" fmla="*/ 259 w 417"/>
                  <a:gd name="T3" fmla="*/ 226 h 320"/>
                  <a:gd name="T4" fmla="*/ 238 w 417"/>
                  <a:gd name="T5" fmla="*/ 231 h 320"/>
                  <a:gd name="T6" fmla="*/ 205 w 417"/>
                  <a:gd name="T7" fmla="*/ 241 h 320"/>
                  <a:gd name="T8" fmla="*/ 197 w 417"/>
                  <a:gd name="T9" fmla="*/ 256 h 320"/>
                  <a:gd name="T10" fmla="*/ 184 w 417"/>
                  <a:gd name="T11" fmla="*/ 249 h 320"/>
                  <a:gd name="T12" fmla="*/ 174 w 417"/>
                  <a:gd name="T13" fmla="*/ 240 h 320"/>
                  <a:gd name="T14" fmla="*/ 162 w 417"/>
                  <a:gd name="T15" fmla="*/ 248 h 320"/>
                  <a:gd name="T16" fmla="*/ 147 w 417"/>
                  <a:gd name="T17" fmla="*/ 254 h 320"/>
                  <a:gd name="T18" fmla="*/ 39 w 417"/>
                  <a:gd name="T19" fmla="*/ 260 h 320"/>
                  <a:gd name="T20" fmla="*/ 7 w 417"/>
                  <a:gd name="T21" fmla="*/ 258 h 320"/>
                  <a:gd name="T22" fmla="*/ 16 w 417"/>
                  <a:gd name="T23" fmla="*/ 247 h 320"/>
                  <a:gd name="T24" fmla="*/ 28 w 417"/>
                  <a:gd name="T25" fmla="*/ 233 h 320"/>
                  <a:gd name="T26" fmla="*/ 19 w 417"/>
                  <a:gd name="T27" fmla="*/ 237 h 320"/>
                  <a:gd name="T28" fmla="*/ 0 w 417"/>
                  <a:gd name="T29" fmla="*/ 225 h 320"/>
                  <a:gd name="T30" fmla="*/ 17 w 417"/>
                  <a:gd name="T31" fmla="*/ 226 h 320"/>
                  <a:gd name="T32" fmla="*/ 19 w 417"/>
                  <a:gd name="T33" fmla="*/ 205 h 320"/>
                  <a:gd name="T34" fmla="*/ 23 w 417"/>
                  <a:gd name="T35" fmla="*/ 188 h 320"/>
                  <a:gd name="T36" fmla="*/ 32 w 417"/>
                  <a:gd name="T37" fmla="*/ 187 h 320"/>
                  <a:gd name="T38" fmla="*/ 44 w 417"/>
                  <a:gd name="T39" fmla="*/ 177 h 320"/>
                  <a:gd name="T40" fmla="*/ 50 w 417"/>
                  <a:gd name="T41" fmla="*/ 166 h 320"/>
                  <a:gd name="T42" fmla="*/ 40 w 417"/>
                  <a:gd name="T43" fmla="*/ 161 h 320"/>
                  <a:gd name="T44" fmla="*/ 40 w 417"/>
                  <a:gd name="T45" fmla="*/ 148 h 320"/>
                  <a:gd name="T46" fmla="*/ 46 w 417"/>
                  <a:gd name="T47" fmla="*/ 149 h 320"/>
                  <a:gd name="T48" fmla="*/ 63 w 417"/>
                  <a:gd name="T49" fmla="*/ 149 h 320"/>
                  <a:gd name="T50" fmla="*/ 54 w 417"/>
                  <a:gd name="T51" fmla="*/ 132 h 320"/>
                  <a:gd name="T52" fmla="*/ 44 w 417"/>
                  <a:gd name="T53" fmla="*/ 119 h 320"/>
                  <a:gd name="T54" fmla="*/ 45 w 417"/>
                  <a:gd name="T55" fmla="*/ 111 h 320"/>
                  <a:gd name="T56" fmla="*/ 43 w 417"/>
                  <a:gd name="T57" fmla="*/ 92 h 320"/>
                  <a:gd name="T58" fmla="*/ 52 w 417"/>
                  <a:gd name="T59" fmla="*/ 91 h 320"/>
                  <a:gd name="T60" fmla="*/ 50 w 417"/>
                  <a:gd name="T61" fmla="*/ 79 h 320"/>
                  <a:gd name="T62" fmla="*/ 45 w 417"/>
                  <a:gd name="T63" fmla="*/ 65 h 320"/>
                  <a:gd name="T64" fmla="*/ 45 w 417"/>
                  <a:gd name="T65" fmla="*/ 51 h 320"/>
                  <a:gd name="T66" fmla="*/ 45 w 417"/>
                  <a:gd name="T67" fmla="*/ 43 h 320"/>
                  <a:gd name="T68" fmla="*/ 51 w 417"/>
                  <a:gd name="T69" fmla="*/ 31 h 320"/>
                  <a:gd name="T70" fmla="*/ 54 w 417"/>
                  <a:gd name="T71" fmla="*/ 19 h 320"/>
                  <a:gd name="T72" fmla="*/ 210 w 417"/>
                  <a:gd name="T73" fmla="*/ 18 h 320"/>
                  <a:gd name="T74" fmla="*/ 303 w 417"/>
                  <a:gd name="T75" fmla="*/ 18 h 320"/>
                  <a:gd name="T76" fmla="*/ 347 w 417"/>
                  <a:gd name="T77" fmla="*/ 54 h 320"/>
                  <a:gd name="T78" fmla="*/ 317 w 417"/>
                  <a:gd name="T79" fmla="*/ 52 h 320"/>
                  <a:gd name="T80" fmla="*/ 284 w 417"/>
                  <a:gd name="T81" fmla="*/ 9 h 320"/>
                  <a:gd name="T82" fmla="*/ 269 w 417"/>
                  <a:gd name="T83" fmla="*/ 50 h 320"/>
                  <a:gd name="T84" fmla="*/ 280 w 417"/>
                  <a:gd name="T85" fmla="*/ 71 h 320"/>
                  <a:gd name="T86" fmla="*/ 300 w 417"/>
                  <a:gd name="T87" fmla="*/ 86 h 320"/>
                  <a:gd name="T88" fmla="*/ 335 w 417"/>
                  <a:gd name="T89" fmla="*/ 86 h 320"/>
                  <a:gd name="T90" fmla="*/ 358 w 417"/>
                  <a:gd name="T91" fmla="*/ 87 h 320"/>
                  <a:gd name="T92" fmla="*/ 352 w 417"/>
                  <a:gd name="T93" fmla="*/ 111 h 320"/>
                  <a:gd name="T94" fmla="*/ 338 w 417"/>
                  <a:gd name="T95" fmla="*/ 142 h 320"/>
                  <a:gd name="T96" fmla="*/ 384 w 417"/>
                  <a:gd name="T97" fmla="*/ 158 h 320"/>
                  <a:gd name="T98" fmla="*/ 411 w 417"/>
                  <a:gd name="T99" fmla="*/ 136 h 320"/>
                  <a:gd name="T100" fmla="*/ 401 w 417"/>
                  <a:gd name="T101" fmla="*/ 173 h 320"/>
                  <a:gd name="T102" fmla="*/ 370 w 417"/>
                  <a:gd name="T103" fmla="*/ 201 h 320"/>
                  <a:gd name="T104" fmla="*/ 352 w 417"/>
                  <a:gd name="T105" fmla="*/ 196 h 320"/>
                  <a:gd name="T106" fmla="*/ 359 w 417"/>
                  <a:gd name="T107" fmla="*/ 223 h 320"/>
                  <a:gd name="T108" fmla="*/ 351 w 417"/>
                  <a:gd name="T109" fmla="*/ 241 h 320"/>
                  <a:gd name="T110" fmla="*/ 338 w 417"/>
                  <a:gd name="T111" fmla="*/ 249 h 320"/>
                  <a:gd name="T112" fmla="*/ 307 w 417"/>
                  <a:gd name="T113" fmla="*/ 245 h 320"/>
                  <a:gd name="T114" fmla="*/ 321 w 417"/>
                  <a:gd name="T115" fmla="*/ 320 h 320"/>
                  <a:gd name="T116" fmla="*/ 311 w 417"/>
                  <a:gd name="T117" fmla="*/ 297 h 320"/>
                  <a:gd name="T118" fmla="*/ 324 w 417"/>
                  <a:gd name="T119" fmla="*/ 288 h 320"/>
                  <a:gd name="T120" fmla="*/ 329 w 417"/>
                  <a:gd name="T121" fmla="*/ 3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7" h="320">
                    <a:moveTo>
                      <a:pt x="264" y="254"/>
                    </a:moveTo>
                    <a:lnTo>
                      <a:pt x="265" y="253"/>
                    </a:lnTo>
                    <a:lnTo>
                      <a:pt x="267" y="253"/>
                    </a:lnTo>
                    <a:lnTo>
                      <a:pt x="267" y="252"/>
                    </a:lnTo>
                    <a:lnTo>
                      <a:pt x="267" y="251"/>
                    </a:lnTo>
                    <a:lnTo>
                      <a:pt x="265" y="251"/>
                    </a:lnTo>
                    <a:lnTo>
                      <a:pt x="265" y="250"/>
                    </a:lnTo>
                    <a:lnTo>
                      <a:pt x="265" y="249"/>
                    </a:lnTo>
                    <a:lnTo>
                      <a:pt x="265" y="248"/>
                    </a:lnTo>
                    <a:lnTo>
                      <a:pt x="264" y="248"/>
                    </a:lnTo>
                    <a:lnTo>
                      <a:pt x="265" y="247"/>
                    </a:lnTo>
                    <a:lnTo>
                      <a:pt x="265" y="246"/>
                    </a:lnTo>
                    <a:lnTo>
                      <a:pt x="265" y="245"/>
                    </a:lnTo>
                    <a:lnTo>
                      <a:pt x="265" y="244"/>
                    </a:lnTo>
                    <a:lnTo>
                      <a:pt x="265" y="243"/>
                    </a:lnTo>
                    <a:lnTo>
                      <a:pt x="265" y="241"/>
                    </a:lnTo>
                    <a:lnTo>
                      <a:pt x="265" y="240"/>
                    </a:lnTo>
                    <a:lnTo>
                      <a:pt x="265" y="239"/>
                    </a:lnTo>
                    <a:lnTo>
                      <a:pt x="265" y="238"/>
                    </a:lnTo>
                    <a:lnTo>
                      <a:pt x="264" y="238"/>
                    </a:lnTo>
                    <a:lnTo>
                      <a:pt x="264" y="237"/>
                    </a:lnTo>
                    <a:lnTo>
                      <a:pt x="265" y="237"/>
                    </a:lnTo>
                    <a:lnTo>
                      <a:pt x="265" y="236"/>
                    </a:lnTo>
                    <a:lnTo>
                      <a:pt x="267" y="235"/>
                    </a:lnTo>
                    <a:lnTo>
                      <a:pt x="267" y="234"/>
                    </a:lnTo>
                    <a:lnTo>
                      <a:pt x="265" y="233"/>
                    </a:lnTo>
                    <a:lnTo>
                      <a:pt x="264" y="232"/>
                    </a:lnTo>
                    <a:lnTo>
                      <a:pt x="263" y="231"/>
                    </a:lnTo>
                    <a:lnTo>
                      <a:pt x="261" y="228"/>
                    </a:lnTo>
                    <a:lnTo>
                      <a:pt x="260" y="227"/>
                    </a:lnTo>
                    <a:lnTo>
                      <a:pt x="259" y="227"/>
                    </a:lnTo>
                    <a:lnTo>
                      <a:pt x="259" y="226"/>
                    </a:lnTo>
                    <a:lnTo>
                      <a:pt x="258" y="226"/>
                    </a:lnTo>
                    <a:lnTo>
                      <a:pt x="257" y="226"/>
                    </a:lnTo>
                    <a:lnTo>
                      <a:pt x="256" y="226"/>
                    </a:lnTo>
                    <a:lnTo>
                      <a:pt x="255" y="226"/>
                    </a:lnTo>
                    <a:lnTo>
                      <a:pt x="254" y="227"/>
                    </a:lnTo>
                    <a:lnTo>
                      <a:pt x="252" y="227"/>
                    </a:lnTo>
                    <a:lnTo>
                      <a:pt x="251" y="227"/>
                    </a:lnTo>
                    <a:lnTo>
                      <a:pt x="250" y="227"/>
                    </a:lnTo>
                    <a:lnTo>
                      <a:pt x="248" y="228"/>
                    </a:lnTo>
                    <a:lnTo>
                      <a:pt x="247" y="228"/>
                    </a:lnTo>
                    <a:lnTo>
                      <a:pt x="245" y="230"/>
                    </a:lnTo>
                    <a:lnTo>
                      <a:pt x="244" y="230"/>
                    </a:lnTo>
                    <a:lnTo>
                      <a:pt x="243" y="231"/>
                    </a:lnTo>
                    <a:lnTo>
                      <a:pt x="242" y="231"/>
                    </a:lnTo>
                    <a:lnTo>
                      <a:pt x="239" y="231"/>
                    </a:lnTo>
                    <a:lnTo>
                      <a:pt x="238" y="231"/>
                    </a:lnTo>
                    <a:lnTo>
                      <a:pt x="236" y="230"/>
                    </a:lnTo>
                    <a:lnTo>
                      <a:pt x="234" y="230"/>
                    </a:lnTo>
                    <a:lnTo>
                      <a:pt x="232" y="230"/>
                    </a:lnTo>
                    <a:lnTo>
                      <a:pt x="231" y="230"/>
                    </a:lnTo>
                    <a:lnTo>
                      <a:pt x="229" y="230"/>
                    </a:lnTo>
                    <a:lnTo>
                      <a:pt x="228" y="230"/>
                    </a:lnTo>
                    <a:lnTo>
                      <a:pt x="225" y="231"/>
                    </a:lnTo>
                    <a:lnTo>
                      <a:pt x="223" y="231"/>
                    </a:lnTo>
                    <a:lnTo>
                      <a:pt x="217" y="234"/>
                    </a:lnTo>
                    <a:lnTo>
                      <a:pt x="212" y="236"/>
                    </a:lnTo>
                    <a:lnTo>
                      <a:pt x="210" y="237"/>
                    </a:lnTo>
                    <a:lnTo>
                      <a:pt x="209" y="238"/>
                    </a:lnTo>
                    <a:lnTo>
                      <a:pt x="207" y="240"/>
                    </a:lnTo>
                    <a:lnTo>
                      <a:pt x="207" y="241"/>
                    </a:lnTo>
                    <a:lnTo>
                      <a:pt x="206" y="241"/>
                    </a:lnTo>
                    <a:lnTo>
                      <a:pt x="205" y="241"/>
                    </a:lnTo>
                    <a:lnTo>
                      <a:pt x="205" y="243"/>
                    </a:lnTo>
                    <a:lnTo>
                      <a:pt x="204" y="243"/>
                    </a:lnTo>
                    <a:lnTo>
                      <a:pt x="204" y="244"/>
                    </a:lnTo>
                    <a:lnTo>
                      <a:pt x="203" y="244"/>
                    </a:lnTo>
                    <a:lnTo>
                      <a:pt x="203" y="245"/>
                    </a:lnTo>
                    <a:lnTo>
                      <a:pt x="201" y="246"/>
                    </a:lnTo>
                    <a:lnTo>
                      <a:pt x="201" y="247"/>
                    </a:lnTo>
                    <a:lnTo>
                      <a:pt x="200" y="247"/>
                    </a:lnTo>
                    <a:lnTo>
                      <a:pt x="200" y="248"/>
                    </a:lnTo>
                    <a:lnTo>
                      <a:pt x="200" y="249"/>
                    </a:lnTo>
                    <a:lnTo>
                      <a:pt x="199" y="249"/>
                    </a:lnTo>
                    <a:lnTo>
                      <a:pt x="199" y="251"/>
                    </a:lnTo>
                    <a:lnTo>
                      <a:pt x="198" y="251"/>
                    </a:lnTo>
                    <a:lnTo>
                      <a:pt x="198" y="252"/>
                    </a:lnTo>
                    <a:lnTo>
                      <a:pt x="197" y="253"/>
                    </a:lnTo>
                    <a:lnTo>
                      <a:pt x="197" y="256"/>
                    </a:lnTo>
                    <a:lnTo>
                      <a:pt x="196" y="256"/>
                    </a:lnTo>
                    <a:lnTo>
                      <a:pt x="195" y="254"/>
                    </a:lnTo>
                    <a:lnTo>
                      <a:pt x="194" y="254"/>
                    </a:lnTo>
                    <a:lnTo>
                      <a:pt x="193" y="253"/>
                    </a:lnTo>
                    <a:lnTo>
                      <a:pt x="192" y="252"/>
                    </a:lnTo>
                    <a:lnTo>
                      <a:pt x="192" y="251"/>
                    </a:lnTo>
                    <a:lnTo>
                      <a:pt x="191" y="251"/>
                    </a:lnTo>
                    <a:lnTo>
                      <a:pt x="190" y="250"/>
                    </a:lnTo>
                    <a:lnTo>
                      <a:pt x="188" y="250"/>
                    </a:lnTo>
                    <a:lnTo>
                      <a:pt x="187" y="250"/>
                    </a:lnTo>
                    <a:lnTo>
                      <a:pt x="186" y="250"/>
                    </a:lnTo>
                    <a:lnTo>
                      <a:pt x="186" y="251"/>
                    </a:lnTo>
                    <a:lnTo>
                      <a:pt x="186" y="250"/>
                    </a:lnTo>
                    <a:lnTo>
                      <a:pt x="185" y="250"/>
                    </a:lnTo>
                    <a:lnTo>
                      <a:pt x="184" y="250"/>
                    </a:lnTo>
                    <a:lnTo>
                      <a:pt x="184" y="249"/>
                    </a:lnTo>
                    <a:lnTo>
                      <a:pt x="183" y="249"/>
                    </a:lnTo>
                    <a:lnTo>
                      <a:pt x="183" y="248"/>
                    </a:lnTo>
                    <a:lnTo>
                      <a:pt x="182" y="248"/>
                    </a:lnTo>
                    <a:lnTo>
                      <a:pt x="181" y="248"/>
                    </a:lnTo>
                    <a:lnTo>
                      <a:pt x="180" y="247"/>
                    </a:lnTo>
                    <a:lnTo>
                      <a:pt x="179" y="247"/>
                    </a:lnTo>
                    <a:lnTo>
                      <a:pt x="179" y="246"/>
                    </a:lnTo>
                    <a:lnTo>
                      <a:pt x="178" y="245"/>
                    </a:lnTo>
                    <a:lnTo>
                      <a:pt x="177" y="245"/>
                    </a:lnTo>
                    <a:lnTo>
                      <a:pt x="177" y="244"/>
                    </a:lnTo>
                    <a:lnTo>
                      <a:pt x="175" y="243"/>
                    </a:lnTo>
                    <a:lnTo>
                      <a:pt x="175" y="241"/>
                    </a:lnTo>
                    <a:lnTo>
                      <a:pt x="175" y="240"/>
                    </a:lnTo>
                    <a:lnTo>
                      <a:pt x="175" y="239"/>
                    </a:lnTo>
                    <a:lnTo>
                      <a:pt x="174" y="239"/>
                    </a:lnTo>
                    <a:lnTo>
                      <a:pt x="174" y="240"/>
                    </a:lnTo>
                    <a:lnTo>
                      <a:pt x="173" y="240"/>
                    </a:lnTo>
                    <a:lnTo>
                      <a:pt x="172" y="241"/>
                    </a:lnTo>
                    <a:lnTo>
                      <a:pt x="171" y="241"/>
                    </a:lnTo>
                    <a:lnTo>
                      <a:pt x="171" y="244"/>
                    </a:lnTo>
                    <a:lnTo>
                      <a:pt x="171" y="245"/>
                    </a:lnTo>
                    <a:lnTo>
                      <a:pt x="170" y="246"/>
                    </a:lnTo>
                    <a:lnTo>
                      <a:pt x="169" y="247"/>
                    </a:lnTo>
                    <a:lnTo>
                      <a:pt x="168" y="247"/>
                    </a:lnTo>
                    <a:lnTo>
                      <a:pt x="167" y="248"/>
                    </a:lnTo>
                    <a:lnTo>
                      <a:pt x="166" y="248"/>
                    </a:lnTo>
                    <a:lnTo>
                      <a:pt x="166" y="249"/>
                    </a:lnTo>
                    <a:lnTo>
                      <a:pt x="165" y="249"/>
                    </a:lnTo>
                    <a:lnTo>
                      <a:pt x="165" y="250"/>
                    </a:lnTo>
                    <a:lnTo>
                      <a:pt x="164" y="249"/>
                    </a:lnTo>
                    <a:lnTo>
                      <a:pt x="164" y="248"/>
                    </a:lnTo>
                    <a:lnTo>
                      <a:pt x="162" y="248"/>
                    </a:lnTo>
                    <a:lnTo>
                      <a:pt x="162" y="249"/>
                    </a:lnTo>
                    <a:lnTo>
                      <a:pt x="161" y="248"/>
                    </a:lnTo>
                    <a:lnTo>
                      <a:pt x="160" y="248"/>
                    </a:lnTo>
                    <a:lnTo>
                      <a:pt x="159" y="248"/>
                    </a:lnTo>
                    <a:lnTo>
                      <a:pt x="158" y="248"/>
                    </a:lnTo>
                    <a:lnTo>
                      <a:pt x="158" y="249"/>
                    </a:lnTo>
                    <a:lnTo>
                      <a:pt x="157" y="249"/>
                    </a:lnTo>
                    <a:lnTo>
                      <a:pt x="156" y="249"/>
                    </a:lnTo>
                    <a:lnTo>
                      <a:pt x="156" y="250"/>
                    </a:lnTo>
                    <a:lnTo>
                      <a:pt x="155" y="251"/>
                    </a:lnTo>
                    <a:lnTo>
                      <a:pt x="153" y="252"/>
                    </a:lnTo>
                    <a:lnTo>
                      <a:pt x="152" y="252"/>
                    </a:lnTo>
                    <a:lnTo>
                      <a:pt x="152" y="253"/>
                    </a:lnTo>
                    <a:lnTo>
                      <a:pt x="151" y="253"/>
                    </a:lnTo>
                    <a:lnTo>
                      <a:pt x="148" y="253"/>
                    </a:lnTo>
                    <a:lnTo>
                      <a:pt x="147" y="254"/>
                    </a:lnTo>
                    <a:lnTo>
                      <a:pt x="147" y="256"/>
                    </a:lnTo>
                    <a:lnTo>
                      <a:pt x="148" y="256"/>
                    </a:lnTo>
                    <a:lnTo>
                      <a:pt x="147" y="257"/>
                    </a:lnTo>
                    <a:lnTo>
                      <a:pt x="146" y="257"/>
                    </a:lnTo>
                    <a:lnTo>
                      <a:pt x="145" y="257"/>
                    </a:lnTo>
                    <a:lnTo>
                      <a:pt x="145" y="258"/>
                    </a:lnTo>
                    <a:lnTo>
                      <a:pt x="145" y="259"/>
                    </a:lnTo>
                    <a:lnTo>
                      <a:pt x="144" y="260"/>
                    </a:lnTo>
                    <a:lnTo>
                      <a:pt x="144" y="261"/>
                    </a:lnTo>
                    <a:lnTo>
                      <a:pt x="128" y="261"/>
                    </a:lnTo>
                    <a:lnTo>
                      <a:pt x="112" y="260"/>
                    </a:lnTo>
                    <a:lnTo>
                      <a:pt x="102" y="260"/>
                    </a:lnTo>
                    <a:lnTo>
                      <a:pt x="86" y="260"/>
                    </a:lnTo>
                    <a:lnTo>
                      <a:pt x="75" y="260"/>
                    </a:lnTo>
                    <a:lnTo>
                      <a:pt x="45" y="260"/>
                    </a:lnTo>
                    <a:lnTo>
                      <a:pt x="39" y="260"/>
                    </a:lnTo>
                    <a:lnTo>
                      <a:pt x="35" y="260"/>
                    </a:lnTo>
                    <a:lnTo>
                      <a:pt x="33" y="260"/>
                    </a:lnTo>
                    <a:lnTo>
                      <a:pt x="32" y="260"/>
                    </a:lnTo>
                    <a:lnTo>
                      <a:pt x="31" y="260"/>
                    </a:lnTo>
                    <a:lnTo>
                      <a:pt x="28" y="259"/>
                    </a:lnTo>
                    <a:lnTo>
                      <a:pt x="27" y="259"/>
                    </a:lnTo>
                    <a:lnTo>
                      <a:pt x="13" y="260"/>
                    </a:lnTo>
                    <a:lnTo>
                      <a:pt x="13" y="259"/>
                    </a:lnTo>
                    <a:lnTo>
                      <a:pt x="12" y="259"/>
                    </a:lnTo>
                    <a:lnTo>
                      <a:pt x="12" y="258"/>
                    </a:lnTo>
                    <a:lnTo>
                      <a:pt x="12" y="257"/>
                    </a:lnTo>
                    <a:lnTo>
                      <a:pt x="11" y="257"/>
                    </a:lnTo>
                    <a:lnTo>
                      <a:pt x="10" y="257"/>
                    </a:lnTo>
                    <a:lnTo>
                      <a:pt x="9" y="257"/>
                    </a:lnTo>
                    <a:lnTo>
                      <a:pt x="9" y="258"/>
                    </a:lnTo>
                    <a:lnTo>
                      <a:pt x="7" y="258"/>
                    </a:lnTo>
                    <a:lnTo>
                      <a:pt x="6" y="258"/>
                    </a:lnTo>
                    <a:lnTo>
                      <a:pt x="5" y="258"/>
                    </a:lnTo>
                    <a:lnTo>
                      <a:pt x="5" y="257"/>
                    </a:lnTo>
                    <a:lnTo>
                      <a:pt x="5" y="256"/>
                    </a:lnTo>
                    <a:lnTo>
                      <a:pt x="6" y="256"/>
                    </a:lnTo>
                    <a:lnTo>
                      <a:pt x="6" y="254"/>
                    </a:lnTo>
                    <a:lnTo>
                      <a:pt x="7" y="253"/>
                    </a:lnTo>
                    <a:lnTo>
                      <a:pt x="9" y="252"/>
                    </a:lnTo>
                    <a:lnTo>
                      <a:pt x="9" y="251"/>
                    </a:lnTo>
                    <a:lnTo>
                      <a:pt x="9" y="250"/>
                    </a:lnTo>
                    <a:lnTo>
                      <a:pt x="10" y="249"/>
                    </a:lnTo>
                    <a:lnTo>
                      <a:pt x="11" y="248"/>
                    </a:lnTo>
                    <a:lnTo>
                      <a:pt x="12" y="248"/>
                    </a:lnTo>
                    <a:lnTo>
                      <a:pt x="12" y="247"/>
                    </a:lnTo>
                    <a:lnTo>
                      <a:pt x="13" y="247"/>
                    </a:lnTo>
                    <a:lnTo>
                      <a:pt x="16" y="247"/>
                    </a:lnTo>
                    <a:lnTo>
                      <a:pt x="17" y="247"/>
                    </a:lnTo>
                    <a:lnTo>
                      <a:pt x="18" y="247"/>
                    </a:lnTo>
                    <a:lnTo>
                      <a:pt x="19" y="247"/>
                    </a:lnTo>
                    <a:lnTo>
                      <a:pt x="20" y="247"/>
                    </a:lnTo>
                    <a:lnTo>
                      <a:pt x="22" y="246"/>
                    </a:lnTo>
                    <a:lnTo>
                      <a:pt x="23" y="246"/>
                    </a:lnTo>
                    <a:lnTo>
                      <a:pt x="24" y="244"/>
                    </a:lnTo>
                    <a:lnTo>
                      <a:pt x="25" y="243"/>
                    </a:lnTo>
                    <a:lnTo>
                      <a:pt x="25" y="241"/>
                    </a:lnTo>
                    <a:lnTo>
                      <a:pt x="26" y="240"/>
                    </a:lnTo>
                    <a:lnTo>
                      <a:pt x="26" y="239"/>
                    </a:lnTo>
                    <a:lnTo>
                      <a:pt x="26" y="237"/>
                    </a:lnTo>
                    <a:lnTo>
                      <a:pt x="26" y="236"/>
                    </a:lnTo>
                    <a:lnTo>
                      <a:pt x="26" y="235"/>
                    </a:lnTo>
                    <a:lnTo>
                      <a:pt x="27" y="233"/>
                    </a:lnTo>
                    <a:lnTo>
                      <a:pt x="28" y="233"/>
                    </a:lnTo>
                    <a:lnTo>
                      <a:pt x="28" y="232"/>
                    </a:lnTo>
                    <a:lnTo>
                      <a:pt x="29" y="231"/>
                    </a:lnTo>
                    <a:lnTo>
                      <a:pt x="29" y="230"/>
                    </a:lnTo>
                    <a:lnTo>
                      <a:pt x="28" y="230"/>
                    </a:lnTo>
                    <a:lnTo>
                      <a:pt x="28" y="228"/>
                    </a:lnTo>
                    <a:lnTo>
                      <a:pt x="27" y="228"/>
                    </a:lnTo>
                    <a:lnTo>
                      <a:pt x="27" y="230"/>
                    </a:lnTo>
                    <a:lnTo>
                      <a:pt x="27" y="231"/>
                    </a:lnTo>
                    <a:lnTo>
                      <a:pt x="26" y="232"/>
                    </a:lnTo>
                    <a:lnTo>
                      <a:pt x="26" y="233"/>
                    </a:lnTo>
                    <a:lnTo>
                      <a:pt x="25" y="233"/>
                    </a:lnTo>
                    <a:lnTo>
                      <a:pt x="24" y="235"/>
                    </a:lnTo>
                    <a:lnTo>
                      <a:pt x="23" y="236"/>
                    </a:lnTo>
                    <a:lnTo>
                      <a:pt x="22" y="237"/>
                    </a:lnTo>
                    <a:lnTo>
                      <a:pt x="20" y="237"/>
                    </a:lnTo>
                    <a:lnTo>
                      <a:pt x="19" y="237"/>
                    </a:lnTo>
                    <a:lnTo>
                      <a:pt x="17" y="237"/>
                    </a:lnTo>
                    <a:lnTo>
                      <a:pt x="16" y="237"/>
                    </a:lnTo>
                    <a:lnTo>
                      <a:pt x="14" y="237"/>
                    </a:lnTo>
                    <a:lnTo>
                      <a:pt x="13" y="236"/>
                    </a:lnTo>
                    <a:lnTo>
                      <a:pt x="11" y="236"/>
                    </a:lnTo>
                    <a:lnTo>
                      <a:pt x="10" y="235"/>
                    </a:lnTo>
                    <a:lnTo>
                      <a:pt x="9" y="235"/>
                    </a:lnTo>
                    <a:lnTo>
                      <a:pt x="7" y="234"/>
                    </a:lnTo>
                    <a:lnTo>
                      <a:pt x="5" y="231"/>
                    </a:lnTo>
                    <a:lnTo>
                      <a:pt x="4" y="231"/>
                    </a:lnTo>
                    <a:lnTo>
                      <a:pt x="3" y="230"/>
                    </a:lnTo>
                    <a:lnTo>
                      <a:pt x="3" y="228"/>
                    </a:lnTo>
                    <a:lnTo>
                      <a:pt x="2" y="228"/>
                    </a:lnTo>
                    <a:lnTo>
                      <a:pt x="0" y="227"/>
                    </a:lnTo>
                    <a:lnTo>
                      <a:pt x="0" y="226"/>
                    </a:lnTo>
                    <a:lnTo>
                      <a:pt x="0" y="225"/>
                    </a:lnTo>
                    <a:lnTo>
                      <a:pt x="0" y="223"/>
                    </a:lnTo>
                    <a:lnTo>
                      <a:pt x="1" y="223"/>
                    </a:lnTo>
                    <a:lnTo>
                      <a:pt x="2" y="221"/>
                    </a:lnTo>
                    <a:lnTo>
                      <a:pt x="3" y="220"/>
                    </a:lnTo>
                    <a:lnTo>
                      <a:pt x="4" y="220"/>
                    </a:lnTo>
                    <a:lnTo>
                      <a:pt x="7" y="220"/>
                    </a:lnTo>
                    <a:lnTo>
                      <a:pt x="9" y="220"/>
                    </a:lnTo>
                    <a:lnTo>
                      <a:pt x="11" y="221"/>
                    </a:lnTo>
                    <a:lnTo>
                      <a:pt x="12" y="222"/>
                    </a:lnTo>
                    <a:lnTo>
                      <a:pt x="13" y="222"/>
                    </a:lnTo>
                    <a:lnTo>
                      <a:pt x="13" y="223"/>
                    </a:lnTo>
                    <a:lnTo>
                      <a:pt x="13" y="224"/>
                    </a:lnTo>
                    <a:lnTo>
                      <a:pt x="13" y="225"/>
                    </a:lnTo>
                    <a:lnTo>
                      <a:pt x="14" y="226"/>
                    </a:lnTo>
                    <a:lnTo>
                      <a:pt x="15" y="226"/>
                    </a:lnTo>
                    <a:lnTo>
                      <a:pt x="17" y="226"/>
                    </a:lnTo>
                    <a:lnTo>
                      <a:pt x="18" y="226"/>
                    </a:lnTo>
                    <a:lnTo>
                      <a:pt x="19" y="226"/>
                    </a:lnTo>
                    <a:lnTo>
                      <a:pt x="19" y="225"/>
                    </a:lnTo>
                    <a:lnTo>
                      <a:pt x="20" y="224"/>
                    </a:lnTo>
                    <a:lnTo>
                      <a:pt x="20" y="222"/>
                    </a:lnTo>
                    <a:lnTo>
                      <a:pt x="19" y="220"/>
                    </a:lnTo>
                    <a:lnTo>
                      <a:pt x="19" y="219"/>
                    </a:lnTo>
                    <a:lnTo>
                      <a:pt x="19" y="217"/>
                    </a:lnTo>
                    <a:lnTo>
                      <a:pt x="19" y="214"/>
                    </a:lnTo>
                    <a:lnTo>
                      <a:pt x="19" y="213"/>
                    </a:lnTo>
                    <a:lnTo>
                      <a:pt x="19" y="212"/>
                    </a:lnTo>
                    <a:lnTo>
                      <a:pt x="19" y="210"/>
                    </a:lnTo>
                    <a:lnTo>
                      <a:pt x="19" y="209"/>
                    </a:lnTo>
                    <a:lnTo>
                      <a:pt x="20" y="207"/>
                    </a:lnTo>
                    <a:lnTo>
                      <a:pt x="19" y="206"/>
                    </a:lnTo>
                    <a:lnTo>
                      <a:pt x="19" y="205"/>
                    </a:lnTo>
                    <a:lnTo>
                      <a:pt x="19" y="204"/>
                    </a:lnTo>
                    <a:lnTo>
                      <a:pt x="18" y="201"/>
                    </a:lnTo>
                    <a:lnTo>
                      <a:pt x="18" y="200"/>
                    </a:lnTo>
                    <a:lnTo>
                      <a:pt x="17" y="199"/>
                    </a:lnTo>
                    <a:lnTo>
                      <a:pt x="17" y="198"/>
                    </a:lnTo>
                    <a:lnTo>
                      <a:pt x="17" y="196"/>
                    </a:lnTo>
                    <a:lnTo>
                      <a:pt x="16" y="195"/>
                    </a:lnTo>
                    <a:lnTo>
                      <a:pt x="16" y="194"/>
                    </a:lnTo>
                    <a:lnTo>
                      <a:pt x="17" y="192"/>
                    </a:lnTo>
                    <a:lnTo>
                      <a:pt x="17" y="191"/>
                    </a:lnTo>
                    <a:lnTo>
                      <a:pt x="18" y="191"/>
                    </a:lnTo>
                    <a:lnTo>
                      <a:pt x="18" y="189"/>
                    </a:lnTo>
                    <a:lnTo>
                      <a:pt x="19" y="188"/>
                    </a:lnTo>
                    <a:lnTo>
                      <a:pt x="20" y="188"/>
                    </a:lnTo>
                    <a:lnTo>
                      <a:pt x="22" y="188"/>
                    </a:lnTo>
                    <a:lnTo>
                      <a:pt x="23" y="188"/>
                    </a:lnTo>
                    <a:lnTo>
                      <a:pt x="24" y="189"/>
                    </a:lnTo>
                    <a:lnTo>
                      <a:pt x="26" y="191"/>
                    </a:lnTo>
                    <a:lnTo>
                      <a:pt x="27" y="191"/>
                    </a:lnTo>
                    <a:lnTo>
                      <a:pt x="28" y="191"/>
                    </a:lnTo>
                    <a:lnTo>
                      <a:pt x="28" y="192"/>
                    </a:lnTo>
                    <a:lnTo>
                      <a:pt x="29" y="193"/>
                    </a:lnTo>
                    <a:lnTo>
                      <a:pt x="30" y="194"/>
                    </a:lnTo>
                    <a:lnTo>
                      <a:pt x="30" y="195"/>
                    </a:lnTo>
                    <a:lnTo>
                      <a:pt x="31" y="195"/>
                    </a:lnTo>
                    <a:lnTo>
                      <a:pt x="32" y="195"/>
                    </a:lnTo>
                    <a:lnTo>
                      <a:pt x="32" y="194"/>
                    </a:lnTo>
                    <a:lnTo>
                      <a:pt x="32" y="192"/>
                    </a:lnTo>
                    <a:lnTo>
                      <a:pt x="32" y="191"/>
                    </a:lnTo>
                    <a:lnTo>
                      <a:pt x="32" y="189"/>
                    </a:lnTo>
                    <a:lnTo>
                      <a:pt x="32" y="188"/>
                    </a:lnTo>
                    <a:lnTo>
                      <a:pt x="32" y="187"/>
                    </a:lnTo>
                    <a:lnTo>
                      <a:pt x="33" y="186"/>
                    </a:lnTo>
                    <a:lnTo>
                      <a:pt x="33" y="185"/>
                    </a:lnTo>
                    <a:lnTo>
                      <a:pt x="32" y="184"/>
                    </a:lnTo>
                    <a:lnTo>
                      <a:pt x="32" y="182"/>
                    </a:lnTo>
                    <a:lnTo>
                      <a:pt x="32" y="181"/>
                    </a:lnTo>
                    <a:lnTo>
                      <a:pt x="32" y="180"/>
                    </a:lnTo>
                    <a:lnTo>
                      <a:pt x="33" y="179"/>
                    </a:lnTo>
                    <a:lnTo>
                      <a:pt x="35" y="179"/>
                    </a:lnTo>
                    <a:lnTo>
                      <a:pt x="36" y="179"/>
                    </a:lnTo>
                    <a:lnTo>
                      <a:pt x="37" y="179"/>
                    </a:lnTo>
                    <a:lnTo>
                      <a:pt x="38" y="179"/>
                    </a:lnTo>
                    <a:lnTo>
                      <a:pt x="39" y="179"/>
                    </a:lnTo>
                    <a:lnTo>
                      <a:pt x="41" y="179"/>
                    </a:lnTo>
                    <a:lnTo>
                      <a:pt x="41" y="177"/>
                    </a:lnTo>
                    <a:lnTo>
                      <a:pt x="43" y="177"/>
                    </a:lnTo>
                    <a:lnTo>
                      <a:pt x="44" y="177"/>
                    </a:lnTo>
                    <a:lnTo>
                      <a:pt x="45" y="177"/>
                    </a:lnTo>
                    <a:lnTo>
                      <a:pt x="46" y="177"/>
                    </a:lnTo>
                    <a:lnTo>
                      <a:pt x="48" y="177"/>
                    </a:lnTo>
                    <a:lnTo>
                      <a:pt x="49" y="177"/>
                    </a:lnTo>
                    <a:lnTo>
                      <a:pt x="50" y="179"/>
                    </a:lnTo>
                    <a:lnTo>
                      <a:pt x="51" y="179"/>
                    </a:lnTo>
                    <a:lnTo>
                      <a:pt x="52" y="177"/>
                    </a:lnTo>
                    <a:lnTo>
                      <a:pt x="52" y="176"/>
                    </a:lnTo>
                    <a:lnTo>
                      <a:pt x="52" y="175"/>
                    </a:lnTo>
                    <a:lnTo>
                      <a:pt x="52" y="174"/>
                    </a:lnTo>
                    <a:lnTo>
                      <a:pt x="52" y="173"/>
                    </a:lnTo>
                    <a:lnTo>
                      <a:pt x="51" y="171"/>
                    </a:lnTo>
                    <a:lnTo>
                      <a:pt x="51" y="169"/>
                    </a:lnTo>
                    <a:lnTo>
                      <a:pt x="50" y="168"/>
                    </a:lnTo>
                    <a:lnTo>
                      <a:pt x="50" y="167"/>
                    </a:lnTo>
                    <a:lnTo>
                      <a:pt x="50" y="166"/>
                    </a:lnTo>
                    <a:lnTo>
                      <a:pt x="50" y="164"/>
                    </a:lnTo>
                    <a:lnTo>
                      <a:pt x="51" y="163"/>
                    </a:lnTo>
                    <a:lnTo>
                      <a:pt x="51" y="162"/>
                    </a:lnTo>
                    <a:lnTo>
                      <a:pt x="51" y="161"/>
                    </a:lnTo>
                    <a:lnTo>
                      <a:pt x="51" y="160"/>
                    </a:lnTo>
                    <a:lnTo>
                      <a:pt x="50" y="160"/>
                    </a:lnTo>
                    <a:lnTo>
                      <a:pt x="50" y="159"/>
                    </a:lnTo>
                    <a:lnTo>
                      <a:pt x="49" y="159"/>
                    </a:lnTo>
                    <a:lnTo>
                      <a:pt x="48" y="159"/>
                    </a:lnTo>
                    <a:lnTo>
                      <a:pt x="45" y="159"/>
                    </a:lnTo>
                    <a:lnTo>
                      <a:pt x="44" y="160"/>
                    </a:lnTo>
                    <a:lnTo>
                      <a:pt x="43" y="160"/>
                    </a:lnTo>
                    <a:lnTo>
                      <a:pt x="42" y="160"/>
                    </a:lnTo>
                    <a:lnTo>
                      <a:pt x="42" y="161"/>
                    </a:lnTo>
                    <a:lnTo>
                      <a:pt x="41" y="161"/>
                    </a:lnTo>
                    <a:lnTo>
                      <a:pt x="40" y="161"/>
                    </a:lnTo>
                    <a:lnTo>
                      <a:pt x="39" y="162"/>
                    </a:lnTo>
                    <a:lnTo>
                      <a:pt x="38" y="162"/>
                    </a:lnTo>
                    <a:lnTo>
                      <a:pt x="37" y="161"/>
                    </a:lnTo>
                    <a:lnTo>
                      <a:pt x="36" y="160"/>
                    </a:lnTo>
                    <a:lnTo>
                      <a:pt x="35" y="159"/>
                    </a:lnTo>
                    <a:lnTo>
                      <a:pt x="33" y="158"/>
                    </a:lnTo>
                    <a:lnTo>
                      <a:pt x="33" y="157"/>
                    </a:lnTo>
                    <a:lnTo>
                      <a:pt x="33" y="156"/>
                    </a:lnTo>
                    <a:lnTo>
                      <a:pt x="35" y="156"/>
                    </a:lnTo>
                    <a:lnTo>
                      <a:pt x="35" y="155"/>
                    </a:lnTo>
                    <a:lnTo>
                      <a:pt x="36" y="154"/>
                    </a:lnTo>
                    <a:lnTo>
                      <a:pt x="36" y="153"/>
                    </a:lnTo>
                    <a:lnTo>
                      <a:pt x="37" y="151"/>
                    </a:lnTo>
                    <a:lnTo>
                      <a:pt x="38" y="149"/>
                    </a:lnTo>
                    <a:lnTo>
                      <a:pt x="39" y="149"/>
                    </a:lnTo>
                    <a:lnTo>
                      <a:pt x="40" y="148"/>
                    </a:lnTo>
                    <a:lnTo>
                      <a:pt x="41" y="148"/>
                    </a:lnTo>
                    <a:lnTo>
                      <a:pt x="41" y="147"/>
                    </a:lnTo>
                    <a:lnTo>
                      <a:pt x="41" y="146"/>
                    </a:lnTo>
                    <a:lnTo>
                      <a:pt x="42" y="146"/>
                    </a:lnTo>
                    <a:lnTo>
                      <a:pt x="42" y="144"/>
                    </a:lnTo>
                    <a:lnTo>
                      <a:pt x="43" y="144"/>
                    </a:lnTo>
                    <a:lnTo>
                      <a:pt x="43" y="143"/>
                    </a:lnTo>
                    <a:lnTo>
                      <a:pt x="43" y="142"/>
                    </a:lnTo>
                    <a:lnTo>
                      <a:pt x="44" y="142"/>
                    </a:lnTo>
                    <a:lnTo>
                      <a:pt x="45" y="142"/>
                    </a:lnTo>
                    <a:lnTo>
                      <a:pt x="45" y="143"/>
                    </a:lnTo>
                    <a:lnTo>
                      <a:pt x="45" y="144"/>
                    </a:lnTo>
                    <a:lnTo>
                      <a:pt x="45" y="145"/>
                    </a:lnTo>
                    <a:lnTo>
                      <a:pt x="45" y="146"/>
                    </a:lnTo>
                    <a:lnTo>
                      <a:pt x="45" y="148"/>
                    </a:lnTo>
                    <a:lnTo>
                      <a:pt x="46" y="149"/>
                    </a:lnTo>
                    <a:lnTo>
                      <a:pt x="46" y="150"/>
                    </a:lnTo>
                    <a:lnTo>
                      <a:pt x="48" y="150"/>
                    </a:lnTo>
                    <a:lnTo>
                      <a:pt x="48" y="151"/>
                    </a:lnTo>
                    <a:lnTo>
                      <a:pt x="49" y="151"/>
                    </a:lnTo>
                    <a:lnTo>
                      <a:pt x="49" y="153"/>
                    </a:lnTo>
                    <a:lnTo>
                      <a:pt x="51" y="153"/>
                    </a:lnTo>
                    <a:lnTo>
                      <a:pt x="52" y="153"/>
                    </a:lnTo>
                    <a:lnTo>
                      <a:pt x="53" y="153"/>
                    </a:lnTo>
                    <a:lnTo>
                      <a:pt x="55" y="153"/>
                    </a:lnTo>
                    <a:lnTo>
                      <a:pt x="56" y="153"/>
                    </a:lnTo>
                    <a:lnTo>
                      <a:pt x="57" y="153"/>
                    </a:lnTo>
                    <a:lnTo>
                      <a:pt x="59" y="150"/>
                    </a:lnTo>
                    <a:lnTo>
                      <a:pt x="61" y="150"/>
                    </a:lnTo>
                    <a:lnTo>
                      <a:pt x="61" y="149"/>
                    </a:lnTo>
                    <a:lnTo>
                      <a:pt x="62" y="149"/>
                    </a:lnTo>
                    <a:lnTo>
                      <a:pt x="63" y="149"/>
                    </a:lnTo>
                    <a:lnTo>
                      <a:pt x="64" y="148"/>
                    </a:lnTo>
                    <a:lnTo>
                      <a:pt x="64" y="147"/>
                    </a:lnTo>
                    <a:lnTo>
                      <a:pt x="65" y="146"/>
                    </a:lnTo>
                    <a:lnTo>
                      <a:pt x="65" y="145"/>
                    </a:lnTo>
                    <a:lnTo>
                      <a:pt x="65" y="143"/>
                    </a:lnTo>
                    <a:lnTo>
                      <a:pt x="65" y="142"/>
                    </a:lnTo>
                    <a:lnTo>
                      <a:pt x="64" y="141"/>
                    </a:lnTo>
                    <a:lnTo>
                      <a:pt x="64" y="140"/>
                    </a:lnTo>
                    <a:lnTo>
                      <a:pt x="63" y="138"/>
                    </a:lnTo>
                    <a:lnTo>
                      <a:pt x="62" y="137"/>
                    </a:lnTo>
                    <a:lnTo>
                      <a:pt x="61" y="136"/>
                    </a:lnTo>
                    <a:lnTo>
                      <a:pt x="58" y="136"/>
                    </a:lnTo>
                    <a:lnTo>
                      <a:pt x="58" y="135"/>
                    </a:lnTo>
                    <a:lnTo>
                      <a:pt x="56" y="134"/>
                    </a:lnTo>
                    <a:lnTo>
                      <a:pt x="54" y="133"/>
                    </a:lnTo>
                    <a:lnTo>
                      <a:pt x="54" y="132"/>
                    </a:lnTo>
                    <a:lnTo>
                      <a:pt x="53" y="132"/>
                    </a:lnTo>
                    <a:lnTo>
                      <a:pt x="52" y="131"/>
                    </a:lnTo>
                    <a:lnTo>
                      <a:pt x="51" y="130"/>
                    </a:lnTo>
                    <a:lnTo>
                      <a:pt x="50" y="130"/>
                    </a:lnTo>
                    <a:lnTo>
                      <a:pt x="50" y="129"/>
                    </a:lnTo>
                    <a:lnTo>
                      <a:pt x="49" y="128"/>
                    </a:lnTo>
                    <a:lnTo>
                      <a:pt x="49" y="127"/>
                    </a:lnTo>
                    <a:lnTo>
                      <a:pt x="49" y="125"/>
                    </a:lnTo>
                    <a:lnTo>
                      <a:pt x="49" y="124"/>
                    </a:lnTo>
                    <a:lnTo>
                      <a:pt x="48" y="123"/>
                    </a:lnTo>
                    <a:lnTo>
                      <a:pt x="48" y="122"/>
                    </a:lnTo>
                    <a:lnTo>
                      <a:pt x="48" y="121"/>
                    </a:lnTo>
                    <a:lnTo>
                      <a:pt x="48" y="120"/>
                    </a:lnTo>
                    <a:lnTo>
                      <a:pt x="46" y="120"/>
                    </a:lnTo>
                    <a:lnTo>
                      <a:pt x="45" y="120"/>
                    </a:lnTo>
                    <a:lnTo>
                      <a:pt x="44" y="119"/>
                    </a:lnTo>
                    <a:lnTo>
                      <a:pt x="43" y="119"/>
                    </a:lnTo>
                    <a:lnTo>
                      <a:pt x="43" y="118"/>
                    </a:lnTo>
                    <a:lnTo>
                      <a:pt x="43" y="117"/>
                    </a:lnTo>
                    <a:lnTo>
                      <a:pt x="44" y="117"/>
                    </a:lnTo>
                    <a:lnTo>
                      <a:pt x="44" y="116"/>
                    </a:lnTo>
                    <a:lnTo>
                      <a:pt x="45" y="116"/>
                    </a:lnTo>
                    <a:lnTo>
                      <a:pt x="46" y="116"/>
                    </a:lnTo>
                    <a:lnTo>
                      <a:pt x="48" y="116"/>
                    </a:lnTo>
                    <a:lnTo>
                      <a:pt x="49" y="116"/>
                    </a:lnTo>
                    <a:lnTo>
                      <a:pt x="50" y="116"/>
                    </a:lnTo>
                    <a:lnTo>
                      <a:pt x="50" y="115"/>
                    </a:lnTo>
                    <a:lnTo>
                      <a:pt x="50" y="114"/>
                    </a:lnTo>
                    <a:lnTo>
                      <a:pt x="49" y="114"/>
                    </a:lnTo>
                    <a:lnTo>
                      <a:pt x="49" y="112"/>
                    </a:lnTo>
                    <a:lnTo>
                      <a:pt x="46" y="111"/>
                    </a:lnTo>
                    <a:lnTo>
                      <a:pt x="45" y="111"/>
                    </a:lnTo>
                    <a:lnTo>
                      <a:pt x="45" y="110"/>
                    </a:lnTo>
                    <a:lnTo>
                      <a:pt x="44" y="109"/>
                    </a:lnTo>
                    <a:lnTo>
                      <a:pt x="43" y="108"/>
                    </a:lnTo>
                    <a:lnTo>
                      <a:pt x="42" y="108"/>
                    </a:lnTo>
                    <a:lnTo>
                      <a:pt x="42" y="107"/>
                    </a:lnTo>
                    <a:lnTo>
                      <a:pt x="43" y="107"/>
                    </a:lnTo>
                    <a:lnTo>
                      <a:pt x="44" y="106"/>
                    </a:lnTo>
                    <a:lnTo>
                      <a:pt x="44" y="105"/>
                    </a:lnTo>
                    <a:lnTo>
                      <a:pt x="44" y="104"/>
                    </a:lnTo>
                    <a:lnTo>
                      <a:pt x="44" y="103"/>
                    </a:lnTo>
                    <a:lnTo>
                      <a:pt x="43" y="102"/>
                    </a:lnTo>
                    <a:lnTo>
                      <a:pt x="42" y="99"/>
                    </a:lnTo>
                    <a:lnTo>
                      <a:pt x="42" y="98"/>
                    </a:lnTo>
                    <a:lnTo>
                      <a:pt x="43" y="96"/>
                    </a:lnTo>
                    <a:lnTo>
                      <a:pt x="43" y="94"/>
                    </a:lnTo>
                    <a:lnTo>
                      <a:pt x="43" y="92"/>
                    </a:lnTo>
                    <a:lnTo>
                      <a:pt x="43" y="91"/>
                    </a:lnTo>
                    <a:lnTo>
                      <a:pt x="44" y="90"/>
                    </a:lnTo>
                    <a:lnTo>
                      <a:pt x="45" y="90"/>
                    </a:lnTo>
                    <a:lnTo>
                      <a:pt x="46" y="90"/>
                    </a:lnTo>
                    <a:lnTo>
                      <a:pt x="48" y="91"/>
                    </a:lnTo>
                    <a:lnTo>
                      <a:pt x="49" y="91"/>
                    </a:lnTo>
                    <a:lnTo>
                      <a:pt x="50" y="91"/>
                    </a:lnTo>
                    <a:lnTo>
                      <a:pt x="50" y="92"/>
                    </a:lnTo>
                    <a:lnTo>
                      <a:pt x="49" y="93"/>
                    </a:lnTo>
                    <a:lnTo>
                      <a:pt x="49" y="94"/>
                    </a:lnTo>
                    <a:lnTo>
                      <a:pt x="50" y="94"/>
                    </a:lnTo>
                    <a:lnTo>
                      <a:pt x="51" y="94"/>
                    </a:lnTo>
                    <a:lnTo>
                      <a:pt x="51" y="93"/>
                    </a:lnTo>
                    <a:lnTo>
                      <a:pt x="52" y="93"/>
                    </a:lnTo>
                    <a:lnTo>
                      <a:pt x="52" y="92"/>
                    </a:lnTo>
                    <a:lnTo>
                      <a:pt x="52" y="91"/>
                    </a:lnTo>
                    <a:lnTo>
                      <a:pt x="51" y="91"/>
                    </a:lnTo>
                    <a:lnTo>
                      <a:pt x="52" y="90"/>
                    </a:lnTo>
                    <a:lnTo>
                      <a:pt x="52" y="89"/>
                    </a:lnTo>
                    <a:lnTo>
                      <a:pt x="51" y="89"/>
                    </a:lnTo>
                    <a:lnTo>
                      <a:pt x="50" y="87"/>
                    </a:lnTo>
                    <a:lnTo>
                      <a:pt x="50" y="86"/>
                    </a:lnTo>
                    <a:lnTo>
                      <a:pt x="50" y="85"/>
                    </a:lnTo>
                    <a:lnTo>
                      <a:pt x="49" y="84"/>
                    </a:lnTo>
                    <a:lnTo>
                      <a:pt x="48" y="84"/>
                    </a:lnTo>
                    <a:lnTo>
                      <a:pt x="48" y="83"/>
                    </a:lnTo>
                    <a:lnTo>
                      <a:pt x="48" y="82"/>
                    </a:lnTo>
                    <a:lnTo>
                      <a:pt x="49" y="82"/>
                    </a:lnTo>
                    <a:lnTo>
                      <a:pt x="50" y="82"/>
                    </a:lnTo>
                    <a:lnTo>
                      <a:pt x="50" y="81"/>
                    </a:lnTo>
                    <a:lnTo>
                      <a:pt x="50" y="80"/>
                    </a:lnTo>
                    <a:lnTo>
                      <a:pt x="50" y="79"/>
                    </a:lnTo>
                    <a:lnTo>
                      <a:pt x="50" y="78"/>
                    </a:lnTo>
                    <a:lnTo>
                      <a:pt x="50" y="77"/>
                    </a:lnTo>
                    <a:lnTo>
                      <a:pt x="49" y="76"/>
                    </a:lnTo>
                    <a:lnTo>
                      <a:pt x="49" y="74"/>
                    </a:lnTo>
                    <a:lnTo>
                      <a:pt x="49" y="73"/>
                    </a:lnTo>
                    <a:lnTo>
                      <a:pt x="49" y="72"/>
                    </a:lnTo>
                    <a:lnTo>
                      <a:pt x="48" y="71"/>
                    </a:lnTo>
                    <a:lnTo>
                      <a:pt x="48" y="70"/>
                    </a:lnTo>
                    <a:lnTo>
                      <a:pt x="46" y="70"/>
                    </a:lnTo>
                    <a:lnTo>
                      <a:pt x="46" y="69"/>
                    </a:lnTo>
                    <a:lnTo>
                      <a:pt x="46" y="68"/>
                    </a:lnTo>
                    <a:lnTo>
                      <a:pt x="46" y="67"/>
                    </a:lnTo>
                    <a:lnTo>
                      <a:pt x="45" y="67"/>
                    </a:lnTo>
                    <a:lnTo>
                      <a:pt x="44" y="66"/>
                    </a:lnTo>
                    <a:lnTo>
                      <a:pt x="44" y="65"/>
                    </a:lnTo>
                    <a:lnTo>
                      <a:pt x="45" y="65"/>
                    </a:lnTo>
                    <a:lnTo>
                      <a:pt x="45" y="64"/>
                    </a:lnTo>
                    <a:lnTo>
                      <a:pt x="45" y="63"/>
                    </a:lnTo>
                    <a:lnTo>
                      <a:pt x="44" y="63"/>
                    </a:lnTo>
                    <a:lnTo>
                      <a:pt x="43" y="63"/>
                    </a:lnTo>
                    <a:lnTo>
                      <a:pt x="43" y="61"/>
                    </a:lnTo>
                    <a:lnTo>
                      <a:pt x="43" y="60"/>
                    </a:lnTo>
                    <a:lnTo>
                      <a:pt x="43" y="59"/>
                    </a:lnTo>
                    <a:lnTo>
                      <a:pt x="43" y="58"/>
                    </a:lnTo>
                    <a:lnTo>
                      <a:pt x="44" y="58"/>
                    </a:lnTo>
                    <a:lnTo>
                      <a:pt x="43" y="56"/>
                    </a:lnTo>
                    <a:lnTo>
                      <a:pt x="43" y="55"/>
                    </a:lnTo>
                    <a:lnTo>
                      <a:pt x="43" y="54"/>
                    </a:lnTo>
                    <a:lnTo>
                      <a:pt x="44" y="53"/>
                    </a:lnTo>
                    <a:lnTo>
                      <a:pt x="44" y="52"/>
                    </a:lnTo>
                    <a:lnTo>
                      <a:pt x="45" y="52"/>
                    </a:lnTo>
                    <a:lnTo>
                      <a:pt x="45" y="51"/>
                    </a:lnTo>
                    <a:lnTo>
                      <a:pt x="44" y="50"/>
                    </a:lnTo>
                    <a:lnTo>
                      <a:pt x="44" y="48"/>
                    </a:lnTo>
                    <a:lnTo>
                      <a:pt x="43" y="48"/>
                    </a:lnTo>
                    <a:lnTo>
                      <a:pt x="44" y="48"/>
                    </a:lnTo>
                    <a:lnTo>
                      <a:pt x="44" y="47"/>
                    </a:lnTo>
                    <a:lnTo>
                      <a:pt x="45" y="47"/>
                    </a:lnTo>
                    <a:lnTo>
                      <a:pt x="45" y="46"/>
                    </a:lnTo>
                    <a:lnTo>
                      <a:pt x="46" y="46"/>
                    </a:lnTo>
                    <a:lnTo>
                      <a:pt x="46" y="45"/>
                    </a:lnTo>
                    <a:lnTo>
                      <a:pt x="45" y="46"/>
                    </a:lnTo>
                    <a:lnTo>
                      <a:pt x="44" y="45"/>
                    </a:lnTo>
                    <a:lnTo>
                      <a:pt x="44" y="44"/>
                    </a:lnTo>
                    <a:lnTo>
                      <a:pt x="43" y="43"/>
                    </a:lnTo>
                    <a:lnTo>
                      <a:pt x="44" y="42"/>
                    </a:lnTo>
                    <a:lnTo>
                      <a:pt x="45" y="42"/>
                    </a:lnTo>
                    <a:lnTo>
                      <a:pt x="45" y="43"/>
                    </a:lnTo>
                    <a:lnTo>
                      <a:pt x="45" y="44"/>
                    </a:lnTo>
                    <a:lnTo>
                      <a:pt x="46" y="44"/>
                    </a:lnTo>
                    <a:lnTo>
                      <a:pt x="46" y="42"/>
                    </a:lnTo>
                    <a:lnTo>
                      <a:pt x="46" y="41"/>
                    </a:lnTo>
                    <a:lnTo>
                      <a:pt x="48" y="41"/>
                    </a:lnTo>
                    <a:lnTo>
                      <a:pt x="48" y="40"/>
                    </a:lnTo>
                    <a:lnTo>
                      <a:pt x="48" y="39"/>
                    </a:lnTo>
                    <a:lnTo>
                      <a:pt x="49" y="39"/>
                    </a:lnTo>
                    <a:lnTo>
                      <a:pt x="49" y="38"/>
                    </a:lnTo>
                    <a:lnTo>
                      <a:pt x="49" y="37"/>
                    </a:lnTo>
                    <a:lnTo>
                      <a:pt x="49" y="35"/>
                    </a:lnTo>
                    <a:lnTo>
                      <a:pt x="50" y="35"/>
                    </a:lnTo>
                    <a:lnTo>
                      <a:pt x="50" y="34"/>
                    </a:lnTo>
                    <a:lnTo>
                      <a:pt x="51" y="33"/>
                    </a:lnTo>
                    <a:lnTo>
                      <a:pt x="51" y="32"/>
                    </a:lnTo>
                    <a:lnTo>
                      <a:pt x="51" y="31"/>
                    </a:lnTo>
                    <a:lnTo>
                      <a:pt x="51" y="30"/>
                    </a:lnTo>
                    <a:lnTo>
                      <a:pt x="52" y="30"/>
                    </a:lnTo>
                    <a:lnTo>
                      <a:pt x="53" y="29"/>
                    </a:lnTo>
                    <a:lnTo>
                      <a:pt x="53" y="28"/>
                    </a:lnTo>
                    <a:lnTo>
                      <a:pt x="52" y="27"/>
                    </a:lnTo>
                    <a:lnTo>
                      <a:pt x="53" y="26"/>
                    </a:lnTo>
                    <a:lnTo>
                      <a:pt x="54" y="26"/>
                    </a:lnTo>
                    <a:lnTo>
                      <a:pt x="54" y="25"/>
                    </a:lnTo>
                    <a:lnTo>
                      <a:pt x="54" y="24"/>
                    </a:lnTo>
                    <a:lnTo>
                      <a:pt x="53" y="24"/>
                    </a:lnTo>
                    <a:lnTo>
                      <a:pt x="53" y="22"/>
                    </a:lnTo>
                    <a:lnTo>
                      <a:pt x="52" y="22"/>
                    </a:lnTo>
                    <a:lnTo>
                      <a:pt x="53" y="21"/>
                    </a:lnTo>
                    <a:lnTo>
                      <a:pt x="53" y="20"/>
                    </a:lnTo>
                    <a:lnTo>
                      <a:pt x="54" y="20"/>
                    </a:lnTo>
                    <a:lnTo>
                      <a:pt x="54" y="19"/>
                    </a:lnTo>
                    <a:lnTo>
                      <a:pt x="56" y="19"/>
                    </a:lnTo>
                    <a:lnTo>
                      <a:pt x="57" y="19"/>
                    </a:lnTo>
                    <a:lnTo>
                      <a:pt x="59" y="18"/>
                    </a:lnTo>
                    <a:lnTo>
                      <a:pt x="61" y="18"/>
                    </a:lnTo>
                    <a:lnTo>
                      <a:pt x="61" y="17"/>
                    </a:lnTo>
                    <a:lnTo>
                      <a:pt x="80" y="17"/>
                    </a:lnTo>
                    <a:lnTo>
                      <a:pt x="97" y="17"/>
                    </a:lnTo>
                    <a:lnTo>
                      <a:pt x="99" y="17"/>
                    </a:lnTo>
                    <a:lnTo>
                      <a:pt x="102" y="17"/>
                    </a:lnTo>
                    <a:lnTo>
                      <a:pt x="109" y="17"/>
                    </a:lnTo>
                    <a:lnTo>
                      <a:pt x="115" y="17"/>
                    </a:lnTo>
                    <a:lnTo>
                      <a:pt x="116" y="17"/>
                    </a:lnTo>
                    <a:lnTo>
                      <a:pt x="133" y="17"/>
                    </a:lnTo>
                    <a:lnTo>
                      <a:pt x="153" y="17"/>
                    </a:lnTo>
                    <a:lnTo>
                      <a:pt x="187" y="18"/>
                    </a:lnTo>
                    <a:lnTo>
                      <a:pt x="210" y="18"/>
                    </a:lnTo>
                    <a:lnTo>
                      <a:pt x="236" y="17"/>
                    </a:lnTo>
                    <a:lnTo>
                      <a:pt x="242" y="17"/>
                    </a:lnTo>
                    <a:lnTo>
                      <a:pt x="249" y="17"/>
                    </a:lnTo>
                    <a:lnTo>
                      <a:pt x="259" y="17"/>
                    </a:lnTo>
                    <a:lnTo>
                      <a:pt x="261" y="12"/>
                    </a:lnTo>
                    <a:lnTo>
                      <a:pt x="264" y="10"/>
                    </a:lnTo>
                    <a:lnTo>
                      <a:pt x="273" y="5"/>
                    </a:lnTo>
                    <a:lnTo>
                      <a:pt x="274" y="4"/>
                    </a:lnTo>
                    <a:lnTo>
                      <a:pt x="274" y="0"/>
                    </a:lnTo>
                    <a:lnTo>
                      <a:pt x="281" y="0"/>
                    </a:lnTo>
                    <a:lnTo>
                      <a:pt x="298" y="0"/>
                    </a:lnTo>
                    <a:lnTo>
                      <a:pt x="297" y="1"/>
                    </a:lnTo>
                    <a:lnTo>
                      <a:pt x="291" y="4"/>
                    </a:lnTo>
                    <a:lnTo>
                      <a:pt x="295" y="10"/>
                    </a:lnTo>
                    <a:lnTo>
                      <a:pt x="298" y="15"/>
                    </a:lnTo>
                    <a:lnTo>
                      <a:pt x="303" y="18"/>
                    </a:lnTo>
                    <a:lnTo>
                      <a:pt x="308" y="21"/>
                    </a:lnTo>
                    <a:lnTo>
                      <a:pt x="311" y="24"/>
                    </a:lnTo>
                    <a:lnTo>
                      <a:pt x="316" y="26"/>
                    </a:lnTo>
                    <a:lnTo>
                      <a:pt x="327" y="30"/>
                    </a:lnTo>
                    <a:lnTo>
                      <a:pt x="332" y="31"/>
                    </a:lnTo>
                    <a:lnTo>
                      <a:pt x="334" y="33"/>
                    </a:lnTo>
                    <a:lnTo>
                      <a:pt x="337" y="34"/>
                    </a:lnTo>
                    <a:lnTo>
                      <a:pt x="340" y="38"/>
                    </a:lnTo>
                    <a:lnTo>
                      <a:pt x="345" y="40"/>
                    </a:lnTo>
                    <a:lnTo>
                      <a:pt x="347" y="45"/>
                    </a:lnTo>
                    <a:lnTo>
                      <a:pt x="348" y="45"/>
                    </a:lnTo>
                    <a:lnTo>
                      <a:pt x="348" y="47"/>
                    </a:lnTo>
                    <a:lnTo>
                      <a:pt x="348" y="50"/>
                    </a:lnTo>
                    <a:lnTo>
                      <a:pt x="348" y="52"/>
                    </a:lnTo>
                    <a:lnTo>
                      <a:pt x="348" y="53"/>
                    </a:lnTo>
                    <a:lnTo>
                      <a:pt x="347" y="54"/>
                    </a:lnTo>
                    <a:lnTo>
                      <a:pt x="345" y="55"/>
                    </a:lnTo>
                    <a:lnTo>
                      <a:pt x="342" y="56"/>
                    </a:lnTo>
                    <a:lnTo>
                      <a:pt x="341" y="57"/>
                    </a:lnTo>
                    <a:lnTo>
                      <a:pt x="340" y="58"/>
                    </a:lnTo>
                    <a:lnTo>
                      <a:pt x="338" y="58"/>
                    </a:lnTo>
                    <a:lnTo>
                      <a:pt x="336" y="58"/>
                    </a:lnTo>
                    <a:lnTo>
                      <a:pt x="336" y="57"/>
                    </a:lnTo>
                    <a:lnTo>
                      <a:pt x="330" y="57"/>
                    </a:lnTo>
                    <a:lnTo>
                      <a:pt x="329" y="56"/>
                    </a:lnTo>
                    <a:lnTo>
                      <a:pt x="328" y="56"/>
                    </a:lnTo>
                    <a:lnTo>
                      <a:pt x="326" y="56"/>
                    </a:lnTo>
                    <a:lnTo>
                      <a:pt x="325" y="55"/>
                    </a:lnTo>
                    <a:lnTo>
                      <a:pt x="323" y="54"/>
                    </a:lnTo>
                    <a:lnTo>
                      <a:pt x="320" y="53"/>
                    </a:lnTo>
                    <a:lnTo>
                      <a:pt x="319" y="53"/>
                    </a:lnTo>
                    <a:lnTo>
                      <a:pt x="317" y="52"/>
                    </a:lnTo>
                    <a:lnTo>
                      <a:pt x="315" y="51"/>
                    </a:lnTo>
                    <a:lnTo>
                      <a:pt x="313" y="50"/>
                    </a:lnTo>
                    <a:lnTo>
                      <a:pt x="313" y="48"/>
                    </a:lnTo>
                    <a:lnTo>
                      <a:pt x="311" y="46"/>
                    </a:lnTo>
                    <a:lnTo>
                      <a:pt x="310" y="45"/>
                    </a:lnTo>
                    <a:lnTo>
                      <a:pt x="308" y="42"/>
                    </a:lnTo>
                    <a:lnTo>
                      <a:pt x="306" y="39"/>
                    </a:lnTo>
                    <a:lnTo>
                      <a:pt x="303" y="35"/>
                    </a:lnTo>
                    <a:lnTo>
                      <a:pt x="301" y="32"/>
                    </a:lnTo>
                    <a:lnTo>
                      <a:pt x="300" y="31"/>
                    </a:lnTo>
                    <a:lnTo>
                      <a:pt x="299" y="28"/>
                    </a:lnTo>
                    <a:lnTo>
                      <a:pt x="298" y="25"/>
                    </a:lnTo>
                    <a:lnTo>
                      <a:pt x="296" y="22"/>
                    </a:lnTo>
                    <a:lnTo>
                      <a:pt x="295" y="20"/>
                    </a:lnTo>
                    <a:lnTo>
                      <a:pt x="294" y="19"/>
                    </a:lnTo>
                    <a:lnTo>
                      <a:pt x="284" y="9"/>
                    </a:lnTo>
                    <a:lnTo>
                      <a:pt x="283" y="9"/>
                    </a:lnTo>
                    <a:lnTo>
                      <a:pt x="281" y="13"/>
                    </a:lnTo>
                    <a:lnTo>
                      <a:pt x="281" y="14"/>
                    </a:lnTo>
                    <a:lnTo>
                      <a:pt x="281" y="16"/>
                    </a:lnTo>
                    <a:lnTo>
                      <a:pt x="281" y="18"/>
                    </a:lnTo>
                    <a:lnTo>
                      <a:pt x="281" y="21"/>
                    </a:lnTo>
                    <a:lnTo>
                      <a:pt x="280" y="24"/>
                    </a:lnTo>
                    <a:lnTo>
                      <a:pt x="278" y="27"/>
                    </a:lnTo>
                    <a:lnTo>
                      <a:pt x="277" y="29"/>
                    </a:lnTo>
                    <a:lnTo>
                      <a:pt x="276" y="31"/>
                    </a:lnTo>
                    <a:lnTo>
                      <a:pt x="275" y="34"/>
                    </a:lnTo>
                    <a:lnTo>
                      <a:pt x="271" y="41"/>
                    </a:lnTo>
                    <a:lnTo>
                      <a:pt x="270" y="45"/>
                    </a:lnTo>
                    <a:lnTo>
                      <a:pt x="269" y="46"/>
                    </a:lnTo>
                    <a:lnTo>
                      <a:pt x="269" y="48"/>
                    </a:lnTo>
                    <a:lnTo>
                      <a:pt x="269" y="50"/>
                    </a:lnTo>
                    <a:lnTo>
                      <a:pt x="269" y="51"/>
                    </a:lnTo>
                    <a:lnTo>
                      <a:pt x="269" y="52"/>
                    </a:lnTo>
                    <a:lnTo>
                      <a:pt x="269" y="54"/>
                    </a:lnTo>
                    <a:lnTo>
                      <a:pt x="270" y="55"/>
                    </a:lnTo>
                    <a:lnTo>
                      <a:pt x="270" y="57"/>
                    </a:lnTo>
                    <a:lnTo>
                      <a:pt x="270" y="58"/>
                    </a:lnTo>
                    <a:lnTo>
                      <a:pt x="271" y="59"/>
                    </a:lnTo>
                    <a:lnTo>
                      <a:pt x="271" y="60"/>
                    </a:lnTo>
                    <a:lnTo>
                      <a:pt x="272" y="61"/>
                    </a:lnTo>
                    <a:lnTo>
                      <a:pt x="272" y="63"/>
                    </a:lnTo>
                    <a:lnTo>
                      <a:pt x="274" y="65"/>
                    </a:lnTo>
                    <a:lnTo>
                      <a:pt x="275" y="66"/>
                    </a:lnTo>
                    <a:lnTo>
                      <a:pt x="276" y="68"/>
                    </a:lnTo>
                    <a:lnTo>
                      <a:pt x="277" y="69"/>
                    </a:lnTo>
                    <a:lnTo>
                      <a:pt x="278" y="70"/>
                    </a:lnTo>
                    <a:lnTo>
                      <a:pt x="280" y="71"/>
                    </a:lnTo>
                    <a:lnTo>
                      <a:pt x="280" y="72"/>
                    </a:lnTo>
                    <a:lnTo>
                      <a:pt x="281" y="72"/>
                    </a:lnTo>
                    <a:lnTo>
                      <a:pt x="281" y="73"/>
                    </a:lnTo>
                    <a:lnTo>
                      <a:pt x="283" y="74"/>
                    </a:lnTo>
                    <a:lnTo>
                      <a:pt x="284" y="76"/>
                    </a:lnTo>
                    <a:lnTo>
                      <a:pt x="286" y="78"/>
                    </a:lnTo>
                    <a:lnTo>
                      <a:pt x="287" y="79"/>
                    </a:lnTo>
                    <a:lnTo>
                      <a:pt x="289" y="80"/>
                    </a:lnTo>
                    <a:lnTo>
                      <a:pt x="290" y="80"/>
                    </a:lnTo>
                    <a:lnTo>
                      <a:pt x="290" y="81"/>
                    </a:lnTo>
                    <a:lnTo>
                      <a:pt x="293" y="82"/>
                    </a:lnTo>
                    <a:lnTo>
                      <a:pt x="295" y="83"/>
                    </a:lnTo>
                    <a:lnTo>
                      <a:pt x="297" y="84"/>
                    </a:lnTo>
                    <a:lnTo>
                      <a:pt x="298" y="84"/>
                    </a:lnTo>
                    <a:lnTo>
                      <a:pt x="299" y="85"/>
                    </a:lnTo>
                    <a:lnTo>
                      <a:pt x="300" y="86"/>
                    </a:lnTo>
                    <a:lnTo>
                      <a:pt x="309" y="90"/>
                    </a:lnTo>
                    <a:lnTo>
                      <a:pt x="311" y="91"/>
                    </a:lnTo>
                    <a:lnTo>
                      <a:pt x="314" y="91"/>
                    </a:lnTo>
                    <a:lnTo>
                      <a:pt x="320" y="92"/>
                    </a:lnTo>
                    <a:lnTo>
                      <a:pt x="321" y="93"/>
                    </a:lnTo>
                    <a:lnTo>
                      <a:pt x="322" y="93"/>
                    </a:lnTo>
                    <a:lnTo>
                      <a:pt x="323" y="93"/>
                    </a:lnTo>
                    <a:lnTo>
                      <a:pt x="324" y="93"/>
                    </a:lnTo>
                    <a:lnTo>
                      <a:pt x="325" y="93"/>
                    </a:lnTo>
                    <a:lnTo>
                      <a:pt x="326" y="92"/>
                    </a:lnTo>
                    <a:lnTo>
                      <a:pt x="327" y="91"/>
                    </a:lnTo>
                    <a:lnTo>
                      <a:pt x="328" y="90"/>
                    </a:lnTo>
                    <a:lnTo>
                      <a:pt x="329" y="90"/>
                    </a:lnTo>
                    <a:lnTo>
                      <a:pt x="329" y="89"/>
                    </a:lnTo>
                    <a:lnTo>
                      <a:pt x="330" y="89"/>
                    </a:lnTo>
                    <a:lnTo>
                      <a:pt x="335" y="86"/>
                    </a:lnTo>
                    <a:lnTo>
                      <a:pt x="338" y="84"/>
                    </a:lnTo>
                    <a:lnTo>
                      <a:pt x="340" y="83"/>
                    </a:lnTo>
                    <a:lnTo>
                      <a:pt x="340" y="82"/>
                    </a:lnTo>
                    <a:lnTo>
                      <a:pt x="341" y="81"/>
                    </a:lnTo>
                    <a:lnTo>
                      <a:pt x="342" y="81"/>
                    </a:lnTo>
                    <a:lnTo>
                      <a:pt x="343" y="81"/>
                    </a:lnTo>
                    <a:lnTo>
                      <a:pt x="345" y="81"/>
                    </a:lnTo>
                    <a:lnTo>
                      <a:pt x="347" y="81"/>
                    </a:lnTo>
                    <a:lnTo>
                      <a:pt x="350" y="82"/>
                    </a:lnTo>
                    <a:lnTo>
                      <a:pt x="351" y="82"/>
                    </a:lnTo>
                    <a:lnTo>
                      <a:pt x="352" y="82"/>
                    </a:lnTo>
                    <a:lnTo>
                      <a:pt x="353" y="83"/>
                    </a:lnTo>
                    <a:lnTo>
                      <a:pt x="354" y="83"/>
                    </a:lnTo>
                    <a:lnTo>
                      <a:pt x="354" y="84"/>
                    </a:lnTo>
                    <a:lnTo>
                      <a:pt x="357" y="85"/>
                    </a:lnTo>
                    <a:lnTo>
                      <a:pt x="358" y="87"/>
                    </a:lnTo>
                    <a:lnTo>
                      <a:pt x="360" y="89"/>
                    </a:lnTo>
                    <a:lnTo>
                      <a:pt x="360" y="90"/>
                    </a:lnTo>
                    <a:lnTo>
                      <a:pt x="361" y="92"/>
                    </a:lnTo>
                    <a:lnTo>
                      <a:pt x="361" y="93"/>
                    </a:lnTo>
                    <a:lnTo>
                      <a:pt x="361" y="94"/>
                    </a:lnTo>
                    <a:lnTo>
                      <a:pt x="361" y="97"/>
                    </a:lnTo>
                    <a:lnTo>
                      <a:pt x="362" y="99"/>
                    </a:lnTo>
                    <a:lnTo>
                      <a:pt x="362" y="100"/>
                    </a:lnTo>
                    <a:lnTo>
                      <a:pt x="361" y="103"/>
                    </a:lnTo>
                    <a:lnTo>
                      <a:pt x="361" y="104"/>
                    </a:lnTo>
                    <a:lnTo>
                      <a:pt x="360" y="106"/>
                    </a:lnTo>
                    <a:lnTo>
                      <a:pt x="359" y="107"/>
                    </a:lnTo>
                    <a:lnTo>
                      <a:pt x="358" y="107"/>
                    </a:lnTo>
                    <a:lnTo>
                      <a:pt x="357" y="109"/>
                    </a:lnTo>
                    <a:lnTo>
                      <a:pt x="355" y="109"/>
                    </a:lnTo>
                    <a:lnTo>
                      <a:pt x="352" y="111"/>
                    </a:lnTo>
                    <a:lnTo>
                      <a:pt x="349" y="114"/>
                    </a:lnTo>
                    <a:lnTo>
                      <a:pt x="345" y="115"/>
                    </a:lnTo>
                    <a:lnTo>
                      <a:pt x="345" y="116"/>
                    </a:lnTo>
                    <a:lnTo>
                      <a:pt x="345" y="120"/>
                    </a:lnTo>
                    <a:lnTo>
                      <a:pt x="343" y="123"/>
                    </a:lnTo>
                    <a:lnTo>
                      <a:pt x="343" y="127"/>
                    </a:lnTo>
                    <a:lnTo>
                      <a:pt x="342" y="129"/>
                    </a:lnTo>
                    <a:lnTo>
                      <a:pt x="340" y="131"/>
                    </a:lnTo>
                    <a:lnTo>
                      <a:pt x="340" y="132"/>
                    </a:lnTo>
                    <a:lnTo>
                      <a:pt x="340" y="133"/>
                    </a:lnTo>
                    <a:lnTo>
                      <a:pt x="339" y="134"/>
                    </a:lnTo>
                    <a:lnTo>
                      <a:pt x="339" y="135"/>
                    </a:lnTo>
                    <a:lnTo>
                      <a:pt x="339" y="137"/>
                    </a:lnTo>
                    <a:lnTo>
                      <a:pt x="338" y="138"/>
                    </a:lnTo>
                    <a:lnTo>
                      <a:pt x="338" y="140"/>
                    </a:lnTo>
                    <a:lnTo>
                      <a:pt x="338" y="142"/>
                    </a:lnTo>
                    <a:lnTo>
                      <a:pt x="338" y="143"/>
                    </a:lnTo>
                    <a:lnTo>
                      <a:pt x="338" y="144"/>
                    </a:lnTo>
                    <a:lnTo>
                      <a:pt x="338" y="145"/>
                    </a:lnTo>
                    <a:lnTo>
                      <a:pt x="339" y="145"/>
                    </a:lnTo>
                    <a:lnTo>
                      <a:pt x="339" y="146"/>
                    </a:lnTo>
                    <a:lnTo>
                      <a:pt x="340" y="148"/>
                    </a:lnTo>
                    <a:lnTo>
                      <a:pt x="342" y="149"/>
                    </a:lnTo>
                    <a:lnTo>
                      <a:pt x="345" y="150"/>
                    </a:lnTo>
                    <a:lnTo>
                      <a:pt x="349" y="153"/>
                    </a:lnTo>
                    <a:lnTo>
                      <a:pt x="354" y="154"/>
                    </a:lnTo>
                    <a:lnTo>
                      <a:pt x="368" y="157"/>
                    </a:lnTo>
                    <a:lnTo>
                      <a:pt x="371" y="157"/>
                    </a:lnTo>
                    <a:lnTo>
                      <a:pt x="373" y="157"/>
                    </a:lnTo>
                    <a:lnTo>
                      <a:pt x="376" y="157"/>
                    </a:lnTo>
                    <a:lnTo>
                      <a:pt x="378" y="157"/>
                    </a:lnTo>
                    <a:lnTo>
                      <a:pt x="384" y="158"/>
                    </a:lnTo>
                    <a:lnTo>
                      <a:pt x="387" y="159"/>
                    </a:lnTo>
                    <a:lnTo>
                      <a:pt x="389" y="159"/>
                    </a:lnTo>
                    <a:lnTo>
                      <a:pt x="394" y="161"/>
                    </a:lnTo>
                    <a:lnTo>
                      <a:pt x="397" y="159"/>
                    </a:lnTo>
                    <a:lnTo>
                      <a:pt x="398" y="157"/>
                    </a:lnTo>
                    <a:lnTo>
                      <a:pt x="401" y="154"/>
                    </a:lnTo>
                    <a:lnTo>
                      <a:pt x="404" y="150"/>
                    </a:lnTo>
                    <a:lnTo>
                      <a:pt x="405" y="146"/>
                    </a:lnTo>
                    <a:lnTo>
                      <a:pt x="406" y="143"/>
                    </a:lnTo>
                    <a:lnTo>
                      <a:pt x="406" y="141"/>
                    </a:lnTo>
                    <a:lnTo>
                      <a:pt x="406" y="140"/>
                    </a:lnTo>
                    <a:lnTo>
                      <a:pt x="407" y="138"/>
                    </a:lnTo>
                    <a:lnTo>
                      <a:pt x="407" y="137"/>
                    </a:lnTo>
                    <a:lnTo>
                      <a:pt x="409" y="137"/>
                    </a:lnTo>
                    <a:lnTo>
                      <a:pt x="410" y="136"/>
                    </a:lnTo>
                    <a:lnTo>
                      <a:pt x="411" y="136"/>
                    </a:lnTo>
                    <a:lnTo>
                      <a:pt x="414" y="136"/>
                    </a:lnTo>
                    <a:lnTo>
                      <a:pt x="415" y="136"/>
                    </a:lnTo>
                    <a:lnTo>
                      <a:pt x="416" y="136"/>
                    </a:lnTo>
                    <a:lnTo>
                      <a:pt x="417" y="136"/>
                    </a:lnTo>
                    <a:lnTo>
                      <a:pt x="417" y="138"/>
                    </a:lnTo>
                    <a:lnTo>
                      <a:pt x="416" y="140"/>
                    </a:lnTo>
                    <a:lnTo>
                      <a:pt x="416" y="142"/>
                    </a:lnTo>
                    <a:lnTo>
                      <a:pt x="415" y="144"/>
                    </a:lnTo>
                    <a:lnTo>
                      <a:pt x="412" y="150"/>
                    </a:lnTo>
                    <a:lnTo>
                      <a:pt x="411" y="154"/>
                    </a:lnTo>
                    <a:lnTo>
                      <a:pt x="409" y="157"/>
                    </a:lnTo>
                    <a:lnTo>
                      <a:pt x="406" y="160"/>
                    </a:lnTo>
                    <a:lnTo>
                      <a:pt x="404" y="164"/>
                    </a:lnTo>
                    <a:lnTo>
                      <a:pt x="402" y="168"/>
                    </a:lnTo>
                    <a:lnTo>
                      <a:pt x="402" y="171"/>
                    </a:lnTo>
                    <a:lnTo>
                      <a:pt x="401" y="173"/>
                    </a:lnTo>
                    <a:lnTo>
                      <a:pt x="400" y="175"/>
                    </a:lnTo>
                    <a:lnTo>
                      <a:pt x="399" y="179"/>
                    </a:lnTo>
                    <a:lnTo>
                      <a:pt x="399" y="180"/>
                    </a:lnTo>
                    <a:lnTo>
                      <a:pt x="398" y="180"/>
                    </a:lnTo>
                    <a:lnTo>
                      <a:pt x="397" y="182"/>
                    </a:lnTo>
                    <a:lnTo>
                      <a:pt x="394" y="184"/>
                    </a:lnTo>
                    <a:lnTo>
                      <a:pt x="392" y="187"/>
                    </a:lnTo>
                    <a:lnTo>
                      <a:pt x="388" y="191"/>
                    </a:lnTo>
                    <a:lnTo>
                      <a:pt x="385" y="195"/>
                    </a:lnTo>
                    <a:lnTo>
                      <a:pt x="381" y="197"/>
                    </a:lnTo>
                    <a:lnTo>
                      <a:pt x="376" y="200"/>
                    </a:lnTo>
                    <a:lnTo>
                      <a:pt x="374" y="201"/>
                    </a:lnTo>
                    <a:lnTo>
                      <a:pt x="373" y="202"/>
                    </a:lnTo>
                    <a:lnTo>
                      <a:pt x="372" y="202"/>
                    </a:lnTo>
                    <a:lnTo>
                      <a:pt x="371" y="202"/>
                    </a:lnTo>
                    <a:lnTo>
                      <a:pt x="370" y="201"/>
                    </a:lnTo>
                    <a:lnTo>
                      <a:pt x="368" y="200"/>
                    </a:lnTo>
                    <a:lnTo>
                      <a:pt x="367" y="198"/>
                    </a:lnTo>
                    <a:lnTo>
                      <a:pt x="367" y="197"/>
                    </a:lnTo>
                    <a:lnTo>
                      <a:pt x="366" y="197"/>
                    </a:lnTo>
                    <a:lnTo>
                      <a:pt x="365" y="196"/>
                    </a:lnTo>
                    <a:lnTo>
                      <a:pt x="364" y="195"/>
                    </a:lnTo>
                    <a:lnTo>
                      <a:pt x="364" y="194"/>
                    </a:lnTo>
                    <a:lnTo>
                      <a:pt x="363" y="193"/>
                    </a:lnTo>
                    <a:lnTo>
                      <a:pt x="362" y="192"/>
                    </a:lnTo>
                    <a:lnTo>
                      <a:pt x="360" y="192"/>
                    </a:lnTo>
                    <a:lnTo>
                      <a:pt x="358" y="192"/>
                    </a:lnTo>
                    <a:lnTo>
                      <a:pt x="357" y="192"/>
                    </a:lnTo>
                    <a:lnTo>
                      <a:pt x="355" y="193"/>
                    </a:lnTo>
                    <a:lnTo>
                      <a:pt x="354" y="194"/>
                    </a:lnTo>
                    <a:lnTo>
                      <a:pt x="353" y="195"/>
                    </a:lnTo>
                    <a:lnTo>
                      <a:pt x="352" y="196"/>
                    </a:lnTo>
                    <a:lnTo>
                      <a:pt x="352" y="198"/>
                    </a:lnTo>
                    <a:lnTo>
                      <a:pt x="351" y="200"/>
                    </a:lnTo>
                    <a:lnTo>
                      <a:pt x="351" y="202"/>
                    </a:lnTo>
                    <a:lnTo>
                      <a:pt x="350" y="205"/>
                    </a:lnTo>
                    <a:lnTo>
                      <a:pt x="350" y="207"/>
                    </a:lnTo>
                    <a:lnTo>
                      <a:pt x="351" y="208"/>
                    </a:lnTo>
                    <a:lnTo>
                      <a:pt x="351" y="211"/>
                    </a:lnTo>
                    <a:lnTo>
                      <a:pt x="351" y="212"/>
                    </a:lnTo>
                    <a:lnTo>
                      <a:pt x="352" y="213"/>
                    </a:lnTo>
                    <a:lnTo>
                      <a:pt x="352" y="214"/>
                    </a:lnTo>
                    <a:lnTo>
                      <a:pt x="354" y="217"/>
                    </a:lnTo>
                    <a:lnTo>
                      <a:pt x="355" y="218"/>
                    </a:lnTo>
                    <a:lnTo>
                      <a:pt x="357" y="219"/>
                    </a:lnTo>
                    <a:lnTo>
                      <a:pt x="358" y="220"/>
                    </a:lnTo>
                    <a:lnTo>
                      <a:pt x="359" y="221"/>
                    </a:lnTo>
                    <a:lnTo>
                      <a:pt x="359" y="223"/>
                    </a:lnTo>
                    <a:lnTo>
                      <a:pt x="360" y="224"/>
                    </a:lnTo>
                    <a:lnTo>
                      <a:pt x="360" y="225"/>
                    </a:lnTo>
                    <a:lnTo>
                      <a:pt x="359" y="225"/>
                    </a:lnTo>
                    <a:lnTo>
                      <a:pt x="358" y="226"/>
                    </a:lnTo>
                    <a:lnTo>
                      <a:pt x="355" y="227"/>
                    </a:lnTo>
                    <a:lnTo>
                      <a:pt x="354" y="228"/>
                    </a:lnTo>
                    <a:lnTo>
                      <a:pt x="354" y="230"/>
                    </a:lnTo>
                    <a:lnTo>
                      <a:pt x="353" y="230"/>
                    </a:lnTo>
                    <a:lnTo>
                      <a:pt x="353" y="231"/>
                    </a:lnTo>
                    <a:lnTo>
                      <a:pt x="352" y="232"/>
                    </a:lnTo>
                    <a:lnTo>
                      <a:pt x="352" y="233"/>
                    </a:lnTo>
                    <a:lnTo>
                      <a:pt x="352" y="234"/>
                    </a:lnTo>
                    <a:lnTo>
                      <a:pt x="352" y="235"/>
                    </a:lnTo>
                    <a:lnTo>
                      <a:pt x="351" y="238"/>
                    </a:lnTo>
                    <a:lnTo>
                      <a:pt x="351" y="239"/>
                    </a:lnTo>
                    <a:lnTo>
                      <a:pt x="351" y="241"/>
                    </a:lnTo>
                    <a:lnTo>
                      <a:pt x="351" y="244"/>
                    </a:lnTo>
                    <a:lnTo>
                      <a:pt x="351" y="245"/>
                    </a:lnTo>
                    <a:lnTo>
                      <a:pt x="351" y="247"/>
                    </a:lnTo>
                    <a:lnTo>
                      <a:pt x="351" y="251"/>
                    </a:lnTo>
                    <a:lnTo>
                      <a:pt x="351" y="253"/>
                    </a:lnTo>
                    <a:lnTo>
                      <a:pt x="350" y="257"/>
                    </a:lnTo>
                    <a:lnTo>
                      <a:pt x="348" y="259"/>
                    </a:lnTo>
                    <a:lnTo>
                      <a:pt x="346" y="264"/>
                    </a:lnTo>
                    <a:lnTo>
                      <a:pt x="345" y="265"/>
                    </a:lnTo>
                    <a:lnTo>
                      <a:pt x="345" y="266"/>
                    </a:lnTo>
                    <a:lnTo>
                      <a:pt x="343" y="267"/>
                    </a:lnTo>
                    <a:lnTo>
                      <a:pt x="341" y="269"/>
                    </a:lnTo>
                    <a:lnTo>
                      <a:pt x="340" y="269"/>
                    </a:lnTo>
                    <a:lnTo>
                      <a:pt x="339" y="264"/>
                    </a:lnTo>
                    <a:lnTo>
                      <a:pt x="338" y="253"/>
                    </a:lnTo>
                    <a:lnTo>
                      <a:pt x="338" y="249"/>
                    </a:lnTo>
                    <a:lnTo>
                      <a:pt x="339" y="246"/>
                    </a:lnTo>
                    <a:lnTo>
                      <a:pt x="337" y="245"/>
                    </a:lnTo>
                    <a:lnTo>
                      <a:pt x="336" y="244"/>
                    </a:lnTo>
                    <a:lnTo>
                      <a:pt x="335" y="244"/>
                    </a:lnTo>
                    <a:lnTo>
                      <a:pt x="334" y="243"/>
                    </a:lnTo>
                    <a:lnTo>
                      <a:pt x="333" y="241"/>
                    </a:lnTo>
                    <a:lnTo>
                      <a:pt x="332" y="240"/>
                    </a:lnTo>
                    <a:lnTo>
                      <a:pt x="327" y="236"/>
                    </a:lnTo>
                    <a:lnTo>
                      <a:pt x="324" y="234"/>
                    </a:lnTo>
                    <a:lnTo>
                      <a:pt x="320" y="233"/>
                    </a:lnTo>
                    <a:lnTo>
                      <a:pt x="316" y="232"/>
                    </a:lnTo>
                    <a:lnTo>
                      <a:pt x="312" y="233"/>
                    </a:lnTo>
                    <a:lnTo>
                      <a:pt x="310" y="235"/>
                    </a:lnTo>
                    <a:lnTo>
                      <a:pt x="309" y="237"/>
                    </a:lnTo>
                    <a:lnTo>
                      <a:pt x="308" y="243"/>
                    </a:lnTo>
                    <a:lnTo>
                      <a:pt x="307" y="245"/>
                    </a:lnTo>
                    <a:lnTo>
                      <a:pt x="303" y="249"/>
                    </a:lnTo>
                    <a:lnTo>
                      <a:pt x="297" y="244"/>
                    </a:lnTo>
                    <a:lnTo>
                      <a:pt x="295" y="243"/>
                    </a:lnTo>
                    <a:lnTo>
                      <a:pt x="289" y="244"/>
                    </a:lnTo>
                    <a:lnTo>
                      <a:pt x="284" y="245"/>
                    </a:lnTo>
                    <a:lnTo>
                      <a:pt x="280" y="249"/>
                    </a:lnTo>
                    <a:lnTo>
                      <a:pt x="274" y="257"/>
                    </a:lnTo>
                    <a:lnTo>
                      <a:pt x="272" y="258"/>
                    </a:lnTo>
                    <a:lnTo>
                      <a:pt x="271" y="258"/>
                    </a:lnTo>
                    <a:lnTo>
                      <a:pt x="270" y="258"/>
                    </a:lnTo>
                    <a:lnTo>
                      <a:pt x="269" y="258"/>
                    </a:lnTo>
                    <a:lnTo>
                      <a:pt x="268" y="257"/>
                    </a:lnTo>
                    <a:lnTo>
                      <a:pt x="267" y="256"/>
                    </a:lnTo>
                    <a:lnTo>
                      <a:pt x="264" y="254"/>
                    </a:lnTo>
                    <a:close/>
                    <a:moveTo>
                      <a:pt x="322" y="320"/>
                    </a:moveTo>
                    <a:lnTo>
                      <a:pt x="321" y="320"/>
                    </a:lnTo>
                    <a:lnTo>
                      <a:pt x="320" y="320"/>
                    </a:lnTo>
                    <a:lnTo>
                      <a:pt x="316" y="320"/>
                    </a:lnTo>
                    <a:lnTo>
                      <a:pt x="315" y="320"/>
                    </a:lnTo>
                    <a:lnTo>
                      <a:pt x="314" y="320"/>
                    </a:lnTo>
                    <a:lnTo>
                      <a:pt x="313" y="320"/>
                    </a:lnTo>
                    <a:lnTo>
                      <a:pt x="311" y="318"/>
                    </a:lnTo>
                    <a:lnTo>
                      <a:pt x="309" y="317"/>
                    </a:lnTo>
                    <a:lnTo>
                      <a:pt x="308" y="317"/>
                    </a:lnTo>
                    <a:lnTo>
                      <a:pt x="309" y="316"/>
                    </a:lnTo>
                    <a:lnTo>
                      <a:pt x="310" y="303"/>
                    </a:lnTo>
                    <a:lnTo>
                      <a:pt x="310" y="302"/>
                    </a:lnTo>
                    <a:lnTo>
                      <a:pt x="310" y="301"/>
                    </a:lnTo>
                    <a:lnTo>
                      <a:pt x="311" y="300"/>
                    </a:lnTo>
                    <a:lnTo>
                      <a:pt x="311" y="299"/>
                    </a:lnTo>
                    <a:lnTo>
                      <a:pt x="311" y="298"/>
                    </a:lnTo>
                    <a:lnTo>
                      <a:pt x="311" y="297"/>
                    </a:lnTo>
                    <a:lnTo>
                      <a:pt x="311" y="295"/>
                    </a:lnTo>
                    <a:lnTo>
                      <a:pt x="310" y="294"/>
                    </a:lnTo>
                    <a:lnTo>
                      <a:pt x="307" y="288"/>
                    </a:lnTo>
                    <a:lnTo>
                      <a:pt x="304" y="283"/>
                    </a:lnTo>
                    <a:lnTo>
                      <a:pt x="304" y="276"/>
                    </a:lnTo>
                    <a:lnTo>
                      <a:pt x="310" y="278"/>
                    </a:lnTo>
                    <a:lnTo>
                      <a:pt x="314" y="281"/>
                    </a:lnTo>
                    <a:lnTo>
                      <a:pt x="315" y="281"/>
                    </a:lnTo>
                    <a:lnTo>
                      <a:pt x="316" y="282"/>
                    </a:lnTo>
                    <a:lnTo>
                      <a:pt x="317" y="283"/>
                    </a:lnTo>
                    <a:lnTo>
                      <a:pt x="319" y="284"/>
                    </a:lnTo>
                    <a:lnTo>
                      <a:pt x="320" y="284"/>
                    </a:lnTo>
                    <a:lnTo>
                      <a:pt x="320" y="285"/>
                    </a:lnTo>
                    <a:lnTo>
                      <a:pt x="321" y="286"/>
                    </a:lnTo>
                    <a:lnTo>
                      <a:pt x="322" y="286"/>
                    </a:lnTo>
                    <a:lnTo>
                      <a:pt x="324" y="288"/>
                    </a:lnTo>
                    <a:lnTo>
                      <a:pt x="325" y="289"/>
                    </a:lnTo>
                    <a:lnTo>
                      <a:pt x="330" y="290"/>
                    </a:lnTo>
                    <a:lnTo>
                      <a:pt x="337" y="290"/>
                    </a:lnTo>
                    <a:lnTo>
                      <a:pt x="339" y="290"/>
                    </a:lnTo>
                    <a:lnTo>
                      <a:pt x="338" y="301"/>
                    </a:lnTo>
                    <a:lnTo>
                      <a:pt x="338" y="303"/>
                    </a:lnTo>
                    <a:lnTo>
                      <a:pt x="337" y="304"/>
                    </a:lnTo>
                    <a:lnTo>
                      <a:pt x="336" y="307"/>
                    </a:lnTo>
                    <a:lnTo>
                      <a:pt x="335" y="310"/>
                    </a:lnTo>
                    <a:lnTo>
                      <a:pt x="334" y="312"/>
                    </a:lnTo>
                    <a:lnTo>
                      <a:pt x="333" y="313"/>
                    </a:lnTo>
                    <a:lnTo>
                      <a:pt x="332" y="314"/>
                    </a:lnTo>
                    <a:lnTo>
                      <a:pt x="330" y="315"/>
                    </a:lnTo>
                    <a:lnTo>
                      <a:pt x="330" y="316"/>
                    </a:lnTo>
                    <a:lnTo>
                      <a:pt x="329" y="316"/>
                    </a:lnTo>
                    <a:lnTo>
                      <a:pt x="329" y="317"/>
                    </a:lnTo>
                    <a:lnTo>
                      <a:pt x="328" y="317"/>
                    </a:lnTo>
                    <a:lnTo>
                      <a:pt x="324" y="320"/>
                    </a:lnTo>
                    <a:lnTo>
                      <a:pt x="323" y="320"/>
                    </a:lnTo>
                    <a:lnTo>
                      <a:pt x="322" y="320"/>
                    </a:lnTo>
                    <a:close/>
                  </a:path>
                </a:pathLst>
              </a:custGeom>
              <a:solidFill>
                <a:srgbClr val="1D68C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0" name="Freeform 318">
                <a:extLst>
                  <a:ext uri="{FF2B5EF4-FFF2-40B4-BE49-F238E27FC236}">
                    <a16:creationId xmlns:a16="http://schemas.microsoft.com/office/drawing/2014/main" id="{B5DDCD9A-DE9C-9315-D9AD-AE51452A6D41}"/>
                  </a:ext>
                </a:extLst>
              </p:cNvPr>
              <p:cNvSpPr>
                <a:spLocks/>
              </p:cNvSpPr>
              <p:nvPr/>
            </p:nvSpPr>
            <p:spPr bwMode="auto">
              <a:xfrm>
                <a:off x="2827338" y="1985963"/>
                <a:ext cx="431800" cy="400050"/>
              </a:xfrm>
              <a:custGeom>
                <a:avLst/>
                <a:gdLst>
                  <a:gd name="T0" fmla="*/ 196 w 272"/>
                  <a:gd name="T1" fmla="*/ 4 h 252"/>
                  <a:gd name="T2" fmla="*/ 191 w 272"/>
                  <a:gd name="T3" fmla="*/ 14 h 252"/>
                  <a:gd name="T4" fmla="*/ 199 w 272"/>
                  <a:gd name="T5" fmla="*/ 17 h 252"/>
                  <a:gd name="T6" fmla="*/ 193 w 272"/>
                  <a:gd name="T7" fmla="*/ 25 h 252"/>
                  <a:gd name="T8" fmla="*/ 189 w 272"/>
                  <a:gd name="T9" fmla="*/ 31 h 252"/>
                  <a:gd name="T10" fmla="*/ 192 w 272"/>
                  <a:gd name="T11" fmla="*/ 34 h 252"/>
                  <a:gd name="T12" fmla="*/ 196 w 272"/>
                  <a:gd name="T13" fmla="*/ 40 h 252"/>
                  <a:gd name="T14" fmla="*/ 191 w 272"/>
                  <a:gd name="T15" fmla="*/ 46 h 252"/>
                  <a:gd name="T16" fmla="*/ 199 w 272"/>
                  <a:gd name="T17" fmla="*/ 42 h 252"/>
                  <a:gd name="T18" fmla="*/ 205 w 272"/>
                  <a:gd name="T19" fmla="*/ 42 h 252"/>
                  <a:gd name="T20" fmla="*/ 193 w 272"/>
                  <a:gd name="T21" fmla="*/ 52 h 252"/>
                  <a:gd name="T22" fmla="*/ 185 w 272"/>
                  <a:gd name="T23" fmla="*/ 60 h 252"/>
                  <a:gd name="T24" fmla="*/ 195 w 272"/>
                  <a:gd name="T25" fmla="*/ 59 h 252"/>
                  <a:gd name="T26" fmla="*/ 206 w 272"/>
                  <a:gd name="T27" fmla="*/ 52 h 252"/>
                  <a:gd name="T28" fmla="*/ 206 w 272"/>
                  <a:gd name="T29" fmla="*/ 58 h 252"/>
                  <a:gd name="T30" fmla="*/ 203 w 272"/>
                  <a:gd name="T31" fmla="*/ 64 h 252"/>
                  <a:gd name="T32" fmla="*/ 206 w 272"/>
                  <a:gd name="T33" fmla="*/ 71 h 252"/>
                  <a:gd name="T34" fmla="*/ 204 w 272"/>
                  <a:gd name="T35" fmla="*/ 80 h 252"/>
                  <a:gd name="T36" fmla="*/ 216 w 272"/>
                  <a:gd name="T37" fmla="*/ 78 h 252"/>
                  <a:gd name="T38" fmla="*/ 223 w 272"/>
                  <a:gd name="T39" fmla="*/ 76 h 252"/>
                  <a:gd name="T40" fmla="*/ 228 w 272"/>
                  <a:gd name="T41" fmla="*/ 77 h 252"/>
                  <a:gd name="T42" fmla="*/ 236 w 272"/>
                  <a:gd name="T43" fmla="*/ 80 h 252"/>
                  <a:gd name="T44" fmla="*/ 245 w 272"/>
                  <a:gd name="T45" fmla="*/ 79 h 252"/>
                  <a:gd name="T46" fmla="*/ 253 w 272"/>
                  <a:gd name="T47" fmla="*/ 81 h 252"/>
                  <a:gd name="T48" fmla="*/ 256 w 272"/>
                  <a:gd name="T49" fmla="*/ 85 h 252"/>
                  <a:gd name="T50" fmla="*/ 255 w 272"/>
                  <a:gd name="T51" fmla="*/ 90 h 252"/>
                  <a:gd name="T52" fmla="*/ 255 w 272"/>
                  <a:gd name="T53" fmla="*/ 95 h 252"/>
                  <a:gd name="T54" fmla="*/ 256 w 272"/>
                  <a:gd name="T55" fmla="*/ 101 h 252"/>
                  <a:gd name="T56" fmla="*/ 263 w 272"/>
                  <a:gd name="T57" fmla="*/ 105 h 252"/>
                  <a:gd name="T58" fmla="*/ 262 w 272"/>
                  <a:gd name="T59" fmla="*/ 114 h 252"/>
                  <a:gd name="T60" fmla="*/ 269 w 272"/>
                  <a:gd name="T61" fmla="*/ 109 h 252"/>
                  <a:gd name="T62" fmla="*/ 269 w 272"/>
                  <a:gd name="T63" fmla="*/ 119 h 252"/>
                  <a:gd name="T64" fmla="*/ 270 w 272"/>
                  <a:gd name="T65" fmla="*/ 127 h 252"/>
                  <a:gd name="T66" fmla="*/ 272 w 272"/>
                  <a:gd name="T67" fmla="*/ 133 h 252"/>
                  <a:gd name="T68" fmla="*/ 263 w 272"/>
                  <a:gd name="T69" fmla="*/ 136 h 252"/>
                  <a:gd name="T70" fmla="*/ 259 w 272"/>
                  <a:gd name="T71" fmla="*/ 140 h 252"/>
                  <a:gd name="T72" fmla="*/ 253 w 272"/>
                  <a:gd name="T73" fmla="*/ 144 h 252"/>
                  <a:gd name="T74" fmla="*/ 250 w 272"/>
                  <a:gd name="T75" fmla="*/ 140 h 252"/>
                  <a:gd name="T76" fmla="*/ 244 w 272"/>
                  <a:gd name="T77" fmla="*/ 140 h 252"/>
                  <a:gd name="T78" fmla="*/ 240 w 272"/>
                  <a:gd name="T79" fmla="*/ 144 h 252"/>
                  <a:gd name="T80" fmla="*/ 232 w 272"/>
                  <a:gd name="T81" fmla="*/ 152 h 252"/>
                  <a:gd name="T82" fmla="*/ 240 w 272"/>
                  <a:gd name="T83" fmla="*/ 154 h 252"/>
                  <a:gd name="T84" fmla="*/ 246 w 272"/>
                  <a:gd name="T85" fmla="*/ 155 h 252"/>
                  <a:gd name="T86" fmla="*/ 246 w 272"/>
                  <a:gd name="T87" fmla="*/ 164 h 252"/>
                  <a:gd name="T88" fmla="*/ 254 w 272"/>
                  <a:gd name="T89" fmla="*/ 171 h 252"/>
                  <a:gd name="T90" fmla="*/ 253 w 272"/>
                  <a:gd name="T91" fmla="*/ 174 h 252"/>
                  <a:gd name="T92" fmla="*/ 253 w 272"/>
                  <a:gd name="T93" fmla="*/ 184 h 252"/>
                  <a:gd name="T94" fmla="*/ 254 w 272"/>
                  <a:gd name="T95" fmla="*/ 193 h 252"/>
                  <a:gd name="T96" fmla="*/ 255 w 272"/>
                  <a:gd name="T97" fmla="*/ 200 h 252"/>
                  <a:gd name="T98" fmla="*/ 254 w 272"/>
                  <a:gd name="T99" fmla="*/ 207 h 252"/>
                  <a:gd name="T100" fmla="*/ 259 w 272"/>
                  <a:gd name="T101" fmla="*/ 217 h 252"/>
                  <a:gd name="T102" fmla="*/ 222 w 272"/>
                  <a:gd name="T103" fmla="*/ 252 h 252"/>
                  <a:gd name="T104" fmla="*/ 105 w 272"/>
                  <a:gd name="T105" fmla="*/ 252 h 252"/>
                  <a:gd name="T106" fmla="*/ 40 w 272"/>
                  <a:gd name="T107" fmla="*/ 252 h 252"/>
                  <a:gd name="T108" fmla="*/ 0 w 272"/>
                  <a:gd name="T109" fmla="*/ 206 h 252"/>
                  <a:gd name="T110" fmla="*/ 0 w 272"/>
                  <a:gd name="T111" fmla="*/ 49 h 252"/>
                  <a:gd name="T112" fmla="*/ 0 w 272"/>
                  <a:gd name="T113" fmla="*/ 7 h 252"/>
                  <a:gd name="T114" fmla="*/ 91 w 272"/>
                  <a:gd name="T115" fmla="*/ 2 h 252"/>
                  <a:gd name="T116" fmla="*/ 99 w 272"/>
                  <a:gd name="T117" fmla="*/ 11 h 252"/>
                  <a:gd name="T118" fmla="*/ 137 w 272"/>
                  <a:gd name="T119"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252">
                    <a:moveTo>
                      <a:pt x="170" y="0"/>
                    </a:moveTo>
                    <a:lnTo>
                      <a:pt x="171" y="0"/>
                    </a:lnTo>
                    <a:lnTo>
                      <a:pt x="191" y="0"/>
                    </a:lnTo>
                    <a:lnTo>
                      <a:pt x="192" y="0"/>
                    </a:lnTo>
                    <a:lnTo>
                      <a:pt x="193" y="0"/>
                    </a:lnTo>
                    <a:lnTo>
                      <a:pt x="195" y="0"/>
                    </a:lnTo>
                    <a:lnTo>
                      <a:pt x="196" y="1"/>
                    </a:lnTo>
                    <a:lnTo>
                      <a:pt x="196" y="3"/>
                    </a:lnTo>
                    <a:lnTo>
                      <a:pt x="196" y="4"/>
                    </a:lnTo>
                    <a:lnTo>
                      <a:pt x="196" y="6"/>
                    </a:lnTo>
                    <a:lnTo>
                      <a:pt x="196" y="7"/>
                    </a:lnTo>
                    <a:lnTo>
                      <a:pt x="196" y="8"/>
                    </a:lnTo>
                    <a:lnTo>
                      <a:pt x="196" y="10"/>
                    </a:lnTo>
                    <a:lnTo>
                      <a:pt x="195" y="10"/>
                    </a:lnTo>
                    <a:lnTo>
                      <a:pt x="194" y="11"/>
                    </a:lnTo>
                    <a:lnTo>
                      <a:pt x="193" y="12"/>
                    </a:lnTo>
                    <a:lnTo>
                      <a:pt x="192" y="13"/>
                    </a:lnTo>
                    <a:lnTo>
                      <a:pt x="191" y="14"/>
                    </a:lnTo>
                    <a:lnTo>
                      <a:pt x="191" y="15"/>
                    </a:lnTo>
                    <a:lnTo>
                      <a:pt x="191" y="16"/>
                    </a:lnTo>
                    <a:lnTo>
                      <a:pt x="192" y="17"/>
                    </a:lnTo>
                    <a:lnTo>
                      <a:pt x="193" y="18"/>
                    </a:lnTo>
                    <a:lnTo>
                      <a:pt x="195" y="18"/>
                    </a:lnTo>
                    <a:lnTo>
                      <a:pt x="196" y="17"/>
                    </a:lnTo>
                    <a:lnTo>
                      <a:pt x="197" y="17"/>
                    </a:lnTo>
                    <a:lnTo>
                      <a:pt x="198" y="17"/>
                    </a:lnTo>
                    <a:lnTo>
                      <a:pt x="199" y="17"/>
                    </a:lnTo>
                    <a:lnTo>
                      <a:pt x="201" y="18"/>
                    </a:lnTo>
                    <a:lnTo>
                      <a:pt x="199" y="18"/>
                    </a:lnTo>
                    <a:lnTo>
                      <a:pt x="199" y="19"/>
                    </a:lnTo>
                    <a:lnTo>
                      <a:pt x="197" y="19"/>
                    </a:lnTo>
                    <a:lnTo>
                      <a:pt x="194" y="21"/>
                    </a:lnTo>
                    <a:lnTo>
                      <a:pt x="193" y="21"/>
                    </a:lnTo>
                    <a:lnTo>
                      <a:pt x="193" y="23"/>
                    </a:lnTo>
                    <a:lnTo>
                      <a:pt x="193" y="24"/>
                    </a:lnTo>
                    <a:lnTo>
                      <a:pt x="193" y="25"/>
                    </a:lnTo>
                    <a:lnTo>
                      <a:pt x="193" y="26"/>
                    </a:lnTo>
                    <a:lnTo>
                      <a:pt x="193" y="28"/>
                    </a:lnTo>
                    <a:lnTo>
                      <a:pt x="193" y="29"/>
                    </a:lnTo>
                    <a:lnTo>
                      <a:pt x="192" y="29"/>
                    </a:lnTo>
                    <a:lnTo>
                      <a:pt x="192" y="30"/>
                    </a:lnTo>
                    <a:lnTo>
                      <a:pt x="192" y="31"/>
                    </a:lnTo>
                    <a:lnTo>
                      <a:pt x="191" y="31"/>
                    </a:lnTo>
                    <a:lnTo>
                      <a:pt x="190" y="31"/>
                    </a:lnTo>
                    <a:lnTo>
                      <a:pt x="189" y="31"/>
                    </a:lnTo>
                    <a:lnTo>
                      <a:pt x="188" y="31"/>
                    </a:lnTo>
                    <a:lnTo>
                      <a:pt x="188" y="32"/>
                    </a:lnTo>
                    <a:lnTo>
                      <a:pt x="186" y="32"/>
                    </a:lnTo>
                    <a:lnTo>
                      <a:pt x="186" y="33"/>
                    </a:lnTo>
                    <a:lnTo>
                      <a:pt x="188" y="33"/>
                    </a:lnTo>
                    <a:lnTo>
                      <a:pt x="189" y="34"/>
                    </a:lnTo>
                    <a:lnTo>
                      <a:pt x="190" y="34"/>
                    </a:lnTo>
                    <a:lnTo>
                      <a:pt x="191" y="34"/>
                    </a:lnTo>
                    <a:lnTo>
                      <a:pt x="192" y="34"/>
                    </a:lnTo>
                    <a:lnTo>
                      <a:pt x="193" y="34"/>
                    </a:lnTo>
                    <a:lnTo>
                      <a:pt x="194" y="34"/>
                    </a:lnTo>
                    <a:lnTo>
                      <a:pt x="195" y="36"/>
                    </a:lnTo>
                    <a:lnTo>
                      <a:pt x="196" y="36"/>
                    </a:lnTo>
                    <a:lnTo>
                      <a:pt x="196" y="37"/>
                    </a:lnTo>
                    <a:lnTo>
                      <a:pt x="197" y="37"/>
                    </a:lnTo>
                    <a:lnTo>
                      <a:pt x="197" y="38"/>
                    </a:lnTo>
                    <a:lnTo>
                      <a:pt x="197" y="39"/>
                    </a:lnTo>
                    <a:lnTo>
                      <a:pt x="196" y="40"/>
                    </a:lnTo>
                    <a:lnTo>
                      <a:pt x="196" y="41"/>
                    </a:lnTo>
                    <a:lnTo>
                      <a:pt x="195" y="42"/>
                    </a:lnTo>
                    <a:lnTo>
                      <a:pt x="194" y="42"/>
                    </a:lnTo>
                    <a:lnTo>
                      <a:pt x="194" y="43"/>
                    </a:lnTo>
                    <a:lnTo>
                      <a:pt x="192" y="43"/>
                    </a:lnTo>
                    <a:lnTo>
                      <a:pt x="192" y="44"/>
                    </a:lnTo>
                    <a:lnTo>
                      <a:pt x="191" y="44"/>
                    </a:lnTo>
                    <a:lnTo>
                      <a:pt x="191" y="45"/>
                    </a:lnTo>
                    <a:lnTo>
                      <a:pt x="191" y="46"/>
                    </a:lnTo>
                    <a:lnTo>
                      <a:pt x="192" y="46"/>
                    </a:lnTo>
                    <a:lnTo>
                      <a:pt x="192" y="47"/>
                    </a:lnTo>
                    <a:lnTo>
                      <a:pt x="193" y="47"/>
                    </a:lnTo>
                    <a:lnTo>
                      <a:pt x="194" y="46"/>
                    </a:lnTo>
                    <a:lnTo>
                      <a:pt x="196" y="46"/>
                    </a:lnTo>
                    <a:lnTo>
                      <a:pt x="197" y="45"/>
                    </a:lnTo>
                    <a:lnTo>
                      <a:pt x="198" y="44"/>
                    </a:lnTo>
                    <a:lnTo>
                      <a:pt x="199" y="43"/>
                    </a:lnTo>
                    <a:lnTo>
                      <a:pt x="199" y="42"/>
                    </a:lnTo>
                    <a:lnTo>
                      <a:pt x="201" y="41"/>
                    </a:lnTo>
                    <a:lnTo>
                      <a:pt x="201" y="40"/>
                    </a:lnTo>
                    <a:lnTo>
                      <a:pt x="201" y="39"/>
                    </a:lnTo>
                    <a:lnTo>
                      <a:pt x="202" y="38"/>
                    </a:lnTo>
                    <a:lnTo>
                      <a:pt x="203" y="38"/>
                    </a:lnTo>
                    <a:lnTo>
                      <a:pt x="204" y="39"/>
                    </a:lnTo>
                    <a:lnTo>
                      <a:pt x="204" y="40"/>
                    </a:lnTo>
                    <a:lnTo>
                      <a:pt x="205" y="41"/>
                    </a:lnTo>
                    <a:lnTo>
                      <a:pt x="205" y="42"/>
                    </a:lnTo>
                    <a:lnTo>
                      <a:pt x="205" y="43"/>
                    </a:lnTo>
                    <a:lnTo>
                      <a:pt x="205" y="44"/>
                    </a:lnTo>
                    <a:lnTo>
                      <a:pt x="204" y="45"/>
                    </a:lnTo>
                    <a:lnTo>
                      <a:pt x="199" y="46"/>
                    </a:lnTo>
                    <a:lnTo>
                      <a:pt x="198" y="46"/>
                    </a:lnTo>
                    <a:lnTo>
                      <a:pt x="197" y="47"/>
                    </a:lnTo>
                    <a:lnTo>
                      <a:pt x="196" y="47"/>
                    </a:lnTo>
                    <a:lnTo>
                      <a:pt x="194" y="51"/>
                    </a:lnTo>
                    <a:lnTo>
                      <a:pt x="193" y="52"/>
                    </a:lnTo>
                    <a:lnTo>
                      <a:pt x="192" y="52"/>
                    </a:lnTo>
                    <a:lnTo>
                      <a:pt x="191" y="53"/>
                    </a:lnTo>
                    <a:lnTo>
                      <a:pt x="190" y="53"/>
                    </a:lnTo>
                    <a:lnTo>
                      <a:pt x="188" y="54"/>
                    </a:lnTo>
                    <a:lnTo>
                      <a:pt x="186" y="55"/>
                    </a:lnTo>
                    <a:lnTo>
                      <a:pt x="186" y="56"/>
                    </a:lnTo>
                    <a:lnTo>
                      <a:pt x="186" y="57"/>
                    </a:lnTo>
                    <a:lnTo>
                      <a:pt x="185" y="58"/>
                    </a:lnTo>
                    <a:lnTo>
                      <a:pt x="185" y="60"/>
                    </a:lnTo>
                    <a:lnTo>
                      <a:pt x="186" y="60"/>
                    </a:lnTo>
                    <a:lnTo>
                      <a:pt x="186" y="62"/>
                    </a:lnTo>
                    <a:lnTo>
                      <a:pt x="188" y="62"/>
                    </a:lnTo>
                    <a:lnTo>
                      <a:pt x="188" y="63"/>
                    </a:lnTo>
                    <a:lnTo>
                      <a:pt x="189" y="63"/>
                    </a:lnTo>
                    <a:lnTo>
                      <a:pt x="192" y="63"/>
                    </a:lnTo>
                    <a:lnTo>
                      <a:pt x="192" y="62"/>
                    </a:lnTo>
                    <a:lnTo>
                      <a:pt x="193" y="60"/>
                    </a:lnTo>
                    <a:lnTo>
                      <a:pt x="195" y="59"/>
                    </a:lnTo>
                    <a:lnTo>
                      <a:pt x="197" y="57"/>
                    </a:lnTo>
                    <a:lnTo>
                      <a:pt x="198" y="57"/>
                    </a:lnTo>
                    <a:lnTo>
                      <a:pt x="199" y="56"/>
                    </a:lnTo>
                    <a:lnTo>
                      <a:pt x="202" y="55"/>
                    </a:lnTo>
                    <a:lnTo>
                      <a:pt x="202" y="54"/>
                    </a:lnTo>
                    <a:lnTo>
                      <a:pt x="204" y="53"/>
                    </a:lnTo>
                    <a:lnTo>
                      <a:pt x="205" y="53"/>
                    </a:lnTo>
                    <a:lnTo>
                      <a:pt x="205" y="52"/>
                    </a:lnTo>
                    <a:lnTo>
                      <a:pt x="206" y="52"/>
                    </a:lnTo>
                    <a:lnTo>
                      <a:pt x="207" y="52"/>
                    </a:lnTo>
                    <a:lnTo>
                      <a:pt x="207" y="53"/>
                    </a:lnTo>
                    <a:lnTo>
                      <a:pt x="208" y="53"/>
                    </a:lnTo>
                    <a:lnTo>
                      <a:pt x="208" y="54"/>
                    </a:lnTo>
                    <a:lnTo>
                      <a:pt x="208" y="55"/>
                    </a:lnTo>
                    <a:lnTo>
                      <a:pt x="208" y="56"/>
                    </a:lnTo>
                    <a:lnTo>
                      <a:pt x="208" y="57"/>
                    </a:lnTo>
                    <a:lnTo>
                      <a:pt x="207" y="58"/>
                    </a:lnTo>
                    <a:lnTo>
                      <a:pt x="206" y="58"/>
                    </a:lnTo>
                    <a:lnTo>
                      <a:pt x="206" y="59"/>
                    </a:lnTo>
                    <a:lnTo>
                      <a:pt x="205" y="59"/>
                    </a:lnTo>
                    <a:lnTo>
                      <a:pt x="204" y="59"/>
                    </a:lnTo>
                    <a:lnTo>
                      <a:pt x="203" y="59"/>
                    </a:lnTo>
                    <a:lnTo>
                      <a:pt x="203" y="60"/>
                    </a:lnTo>
                    <a:lnTo>
                      <a:pt x="202" y="60"/>
                    </a:lnTo>
                    <a:lnTo>
                      <a:pt x="202" y="62"/>
                    </a:lnTo>
                    <a:lnTo>
                      <a:pt x="202" y="63"/>
                    </a:lnTo>
                    <a:lnTo>
                      <a:pt x="203" y="64"/>
                    </a:lnTo>
                    <a:lnTo>
                      <a:pt x="204" y="64"/>
                    </a:lnTo>
                    <a:lnTo>
                      <a:pt x="204" y="65"/>
                    </a:lnTo>
                    <a:lnTo>
                      <a:pt x="204" y="66"/>
                    </a:lnTo>
                    <a:lnTo>
                      <a:pt x="205" y="67"/>
                    </a:lnTo>
                    <a:lnTo>
                      <a:pt x="205" y="68"/>
                    </a:lnTo>
                    <a:lnTo>
                      <a:pt x="205" y="69"/>
                    </a:lnTo>
                    <a:lnTo>
                      <a:pt x="206" y="69"/>
                    </a:lnTo>
                    <a:lnTo>
                      <a:pt x="206" y="70"/>
                    </a:lnTo>
                    <a:lnTo>
                      <a:pt x="206" y="71"/>
                    </a:lnTo>
                    <a:lnTo>
                      <a:pt x="206" y="72"/>
                    </a:lnTo>
                    <a:lnTo>
                      <a:pt x="206" y="74"/>
                    </a:lnTo>
                    <a:lnTo>
                      <a:pt x="205" y="75"/>
                    </a:lnTo>
                    <a:lnTo>
                      <a:pt x="205" y="76"/>
                    </a:lnTo>
                    <a:lnTo>
                      <a:pt x="204" y="76"/>
                    </a:lnTo>
                    <a:lnTo>
                      <a:pt x="204" y="77"/>
                    </a:lnTo>
                    <a:lnTo>
                      <a:pt x="203" y="78"/>
                    </a:lnTo>
                    <a:lnTo>
                      <a:pt x="203" y="79"/>
                    </a:lnTo>
                    <a:lnTo>
                      <a:pt x="204" y="80"/>
                    </a:lnTo>
                    <a:lnTo>
                      <a:pt x="205" y="80"/>
                    </a:lnTo>
                    <a:lnTo>
                      <a:pt x="207" y="80"/>
                    </a:lnTo>
                    <a:lnTo>
                      <a:pt x="208" y="79"/>
                    </a:lnTo>
                    <a:lnTo>
                      <a:pt x="210" y="78"/>
                    </a:lnTo>
                    <a:lnTo>
                      <a:pt x="211" y="77"/>
                    </a:lnTo>
                    <a:lnTo>
                      <a:pt x="212" y="77"/>
                    </a:lnTo>
                    <a:lnTo>
                      <a:pt x="214" y="78"/>
                    </a:lnTo>
                    <a:lnTo>
                      <a:pt x="215" y="78"/>
                    </a:lnTo>
                    <a:lnTo>
                      <a:pt x="216" y="78"/>
                    </a:lnTo>
                    <a:lnTo>
                      <a:pt x="217" y="77"/>
                    </a:lnTo>
                    <a:lnTo>
                      <a:pt x="218" y="76"/>
                    </a:lnTo>
                    <a:lnTo>
                      <a:pt x="219" y="75"/>
                    </a:lnTo>
                    <a:lnTo>
                      <a:pt x="220" y="75"/>
                    </a:lnTo>
                    <a:lnTo>
                      <a:pt x="220" y="74"/>
                    </a:lnTo>
                    <a:lnTo>
                      <a:pt x="221" y="74"/>
                    </a:lnTo>
                    <a:lnTo>
                      <a:pt x="221" y="75"/>
                    </a:lnTo>
                    <a:lnTo>
                      <a:pt x="222" y="75"/>
                    </a:lnTo>
                    <a:lnTo>
                      <a:pt x="223" y="76"/>
                    </a:lnTo>
                    <a:lnTo>
                      <a:pt x="224" y="76"/>
                    </a:lnTo>
                    <a:lnTo>
                      <a:pt x="225" y="76"/>
                    </a:lnTo>
                    <a:lnTo>
                      <a:pt x="225" y="75"/>
                    </a:lnTo>
                    <a:lnTo>
                      <a:pt x="225" y="74"/>
                    </a:lnTo>
                    <a:lnTo>
                      <a:pt x="227" y="74"/>
                    </a:lnTo>
                    <a:lnTo>
                      <a:pt x="228" y="74"/>
                    </a:lnTo>
                    <a:lnTo>
                      <a:pt x="228" y="75"/>
                    </a:lnTo>
                    <a:lnTo>
                      <a:pt x="228" y="76"/>
                    </a:lnTo>
                    <a:lnTo>
                      <a:pt x="228" y="77"/>
                    </a:lnTo>
                    <a:lnTo>
                      <a:pt x="229" y="78"/>
                    </a:lnTo>
                    <a:lnTo>
                      <a:pt x="230" y="79"/>
                    </a:lnTo>
                    <a:lnTo>
                      <a:pt x="231" y="79"/>
                    </a:lnTo>
                    <a:lnTo>
                      <a:pt x="231" y="80"/>
                    </a:lnTo>
                    <a:lnTo>
                      <a:pt x="232" y="80"/>
                    </a:lnTo>
                    <a:lnTo>
                      <a:pt x="233" y="80"/>
                    </a:lnTo>
                    <a:lnTo>
                      <a:pt x="233" y="81"/>
                    </a:lnTo>
                    <a:lnTo>
                      <a:pt x="234" y="80"/>
                    </a:lnTo>
                    <a:lnTo>
                      <a:pt x="236" y="80"/>
                    </a:lnTo>
                    <a:lnTo>
                      <a:pt x="237" y="80"/>
                    </a:lnTo>
                    <a:lnTo>
                      <a:pt x="237" y="79"/>
                    </a:lnTo>
                    <a:lnTo>
                      <a:pt x="238" y="79"/>
                    </a:lnTo>
                    <a:lnTo>
                      <a:pt x="240" y="79"/>
                    </a:lnTo>
                    <a:lnTo>
                      <a:pt x="241" y="79"/>
                    </a:lnTo>
                    <a:lnTo>
                      <a:pt x="242" y="80"/>
                    </a:lnTo>
                    <a:lnTo>
                      <a:pt x="243" y="80"/>
                    </a:lnTo>
                    <a:lnTo>
                      <a:pt x="244" y="80"/>
                    </a:lnTo>
                    <a:lnTo>
                      <a:pt x="245" y="79"/>
                    </a:lnTo>
                    <a:lnTo>
                      <a:pt x="245" y="78"/>
                    </a:lnTo>
                    <a:lnTo>
                      <a:pt x="246" y="78"/>
                    </a:lnTo>
                    <a:lnTo>
                      <a:pt x="247" y="79"/>
                    </a:lnTo>
                    <a:lnTo>
                      <a:pt x="247" y="80"/>
                    </a:lnTo>
                    <a:lnTo>
                      <a:pt x="248" y="80"/>
                    </a:lnTo>
                    <a:lnTo>
                      <a:pt x="249" y="80"/>
                    </a:lnTo>
                    <a:lnTo>
                      <a:pt x="250" y="80"/>
                    </a:lnTo>
                    <a:lnTo>
                      <a:pt x="251" y="80"/>
                    </a:lnTo>
                    <a:lnTo>
                      <a:pt x="253" y="81"/>
                    </a:lnTo>
                    <a:lnTo>
                      <a:pt x="254" y="81"/>
                    </a:lnTo>
                    <a:lnTo>
                      <a:pt x="256" y="82"/>
                    </a:lnTo>
                    <a:lnTo>
                      <a:pt x="257" y="82"/>
                    </a:lnTo>
                    <a:lnTo>
                      <a:pt x="258" y="83"/>
                    </a:lnTo>
                    <a:lnTo>
                      <a:pt x="257" y="84"/>
                    </a:lnTo>
                    <a:lnTo>
                      <a:pt x="256" y="84"/>
                    </a:lnTo>
                    <a:lnTo>
                      <a:pt x="255" y="84"/>
                    </a:lnTo>
                    <a:lnTo>
                      <a:pt x="255" y="85"/>
                    </a:lnTo>
                    <a:lnTo>
                      <a:pt x="256" y="85"/>
                    </a:lnTo>
                    <a:lnTo>
                      <a:pt x="257" y="85"/>
                    </a:lnTo>
                    <a:lnTo>
                      <a:pt x="257" y="87"/>
                    </a:lnTo>
                    <a:lnTo>
                      <a:pt x="257" y="88"/>
                    </a:lnTo>
                    <a:lnTo>
                      <a:pt x="255" y="88"/>
                    </a:lnTo>
                    <a:lnTo>
                      <a:pt x="254" y="89"/>
                    </a:lnTo>
                    <a:lnTo>
                      <a:pt x="253" y="89"/>
                    </a:lnTo>
                    <a:lnTo>
                      <a:pt x="253" y="90"/>
                    </a:lnTo>
                    <a:lnTo>
                      <a:pt x="254" y="90"/>
                    </a:lnTo>
                    <a:lnTo>
                      <a:pt x="255" y="90"/>
                    </a:lnTo>
                    <a:lnTo>
                      <a:pt x="256" y="90"/>
                    </a:lnTo>
                    <a:lnTo>
                      <a:pt x="256" y="91"/>
                    </a:lnTo>
                    <a:lnTo>
                      <a:pt x="256" y="92"/>
                    </a:lnTo>
                    <a:lnTo>
                      <a:pt x="255" y="92"/>
                    </a:lnTo>
                    <a:lnTo>
                      <a:pt x="255" y="93"/>
                    </a:lnTo>
                    <a:lnTo>
                      <a:pt x="254" y="93"/>
                    </a:lnTo>
                    <a:lnTo>
                      <a:pt x="254" y="94"/>
                    </a:lnTo>
                    <a:lnTo>
                      <a:pt x="255" y="94"/>
                    </a:lnTo>
                    <a:lnTo>
                      <a:pt x="255" y="95"/>
                    </a:lnTo>
                    <a:lnTo>
                      <a:pt x="255" y="96"/>
                    </a:lnTo>
                    <a:lnTo>
                      <a:pt x="254" y="96"/>
                    </a:lnTo>
                    <a:lnTo>
                      <a:pt x="254" y="97"/>
                    </a:lnTo>
                    <a:lnTo>
                      <a:pt x="255" y="97"/>
                    </a:lnTo>
                    <a:lnTo>
                      <a:pt x="255" y="98"/>
                    </a:lnTo>
                    <a:lnTo>
                      <a:pt x="256" y="98"/>
                    </a:lnTo>
                    <a:lnTo>
                      <a:pt x="255" y="100"/>
                    </a:lnTo>
                    <a:lnTo>
                      <a:pt x="256" y="100"/>
                    </a:lnTo>
                    <a:lnTo>
                      <a:pt x="256" y="101"/>
                    </a:lnTo>
                    <a:lnTo>
                      <a:pt x="257" y="101"/>
                    </a:lnTo>
                    <a:lnTo>
                      <a:pt x="258" y="100"/>
                    </a:lnTo>
                    <a:lnTo>
                      <a:pt x="259" y="101"/>
                    </a:lnTo>
                    <a:lnTo>
                      <a:pt x="260" y="102"/>
                    </a:lnTo>
                    <a:lnTo>
                      <a:pt x="260" y="103"/>
                    </a:lnTo>
                    <a:lnTo>
                      <a:pt x="261" y="103"/>
                    </a:lnTo>
                    <a:lnTo>
                      <a:pt x="262" y="104"/>
                    </a:lnTo>
                    <a:lnTo>
                      <a:pt x="263" y="104"/>
                    </a:lnTo>
                    <a:lnTo>
                      <a:pt x="263" y="105"/>
                    </a:lnTo>
                    <a:lnTo>
                      <a:pt x="262" y="106"/>
                    </a:lnTo>
                    <a:lnTo>
                      <a:pt x="262" y="107"/>
                    </a:lnTo>
                    <a:lnTo>
                      <a:pt x="262" y="108"/>
                    </a:lnTo>
                    <a:lnTo>
                      <a:pt x="262" y="109"/>
                    </a:lnTo>
                    <a:lnTo>
                      <a:pt x="262" y="110"/>
                    </a:lnTo>
                    <a:lnTo>
                      <a:pt x="262" y="111"/>
                    </a:lnTo>
                    <a:lnTo>
                      <a:pt x="261" y="113"/>
                    </a:lnTo>
                    <a:lnTo>
                      <a:pt x="261" y="114"/>
                    </a:lnTo>
                    <a:lnTo>
                      <a:pt x="262" y="114"/>
                    </a:lnTo>
                    <a:lnTo>
                      <a:pt x="263" y="114"/>
                    </a:lnTo>
                    <a:lnTo>
                      <a:pt x="263" y="113"/>
                    </a:lnTo>
                    <a:lnTo>
                      <a:pt x="265" y="111"/>
                    </a:lnTo>
                    <a:lnTo>
                      <a:pt x="265" y="110"/>
                    </a:lnTo>
                    <a:lnTo>
                      <a:pt x="266" y="109"/>
                    </a:lnTo>
                    <a:lnTo>
                      <a:pt x="266" y="108"/>
                    </a:lnTo>
                    <a:lnTo>
                      <a:pt x="267" y="108"/>
                    </a:lnTo>
                    <a:lnTo>
                      <a:pt x="268" y="108"/>
                    </a:lnTo>
                    <a:lnTo>
                      <a:pt x="269" y="109"/>
                    </a:lnTo>
                    <a:lnTo>
                      <a:pt x="269" y="110"/>
                    </a:lnTo>
                    <a:lnTo>
                      <a:pt x="269" y="111"/>
                    </a:lnTo>
                    <a:lnTo>
                      <a:pt x="269" y="113"/>
                    </a:lnTo>
                    <a:lnTo>
                      <a:pt x="271" y="114"/>
                    </a:lnTo>
                    <a:lnTo>
                      <a:pt x="271" y="115"/>
                    </a:lnTo>
                    <a:lnTo>
                      <a:pt x="271" y="116"/>
                    </a:lnTo>
                    <a:lnTo>
                      <a:pt x="271" y="117"/>
                    </a:lnTo>
                    <a:lnTo>
                      <a:pt x="270" y="118"/>
                    </a:lnTo>
                    <a:lnTo>
                      <a:pt x="269" y="119"/>
                    </a:lnTo>
                    <a:lnTo>
                      <a:pt x="269" y="120"/>
                    </a:lnTo>
                    <a:lnTo>
                      <a:pt x="268" y="120"/>
                    </a:lnTo>
                    <a:lnTo>
                      <a:pt x="268" y="121"/>
                    </a:lnTo>
                    <a:lnTo>
                      <a:pt x="268" y="122"/>
                    </a:lnTo>
                    <a:lnTo>
                      <a:pt x="268" y="123"/>
                    </a:lnTo>
                    <a:lnTo>
                      <a:pt x="268" y="124"/>
                    </a:lnTo>
                    <a:lnTo>
                      <a:pt x="269" y="124"/>
                    </a:lnTo>
                    <a:lnTo>
                      <a:pt x="269" y="126"/>
                    </a:lnTo>
                    <a:lnTo>
                      <a:pt x="270" y="127"/>
                    </a:lnTo>
                    <a:lnTo>
                      <a:pt x="271" y="127"/>
                    </a:lnTo>
                    <a:lnTo>
                      <a:pt x="272" y="128"/>
                    </a:lnTo>
                    <a:lnTo>
                      <a:pt x="272" y="129"/>
                    </a:lnTo>
                    <a:lnTo>
                      <a:pt x="271" y="129"/>
                    </a:lnTo>
                    <a:lnTo>
                      <a:pt x="271" y="130"/>
                    </a:lnTo>
                    <a:lnTo>
                      <a:pt x="271" y="131"/>
                    </a:lnTo>
                    <a:lnTo>
                      <a:pt x="271" y="132"/>
                    </a:lnTo>
                    <a:lnTo>
                      <a:pt x="272" y="132"/>
                    </a:lnTo>
                    <a:lnTo>
                      <a:pt x="272" y="133"/>
                    </a:lnTo>
                    <a:lnTo>
                      <a:pt x="272" y="134"/>
                    </a:lnTo>
                    <a:lnTo>
                      <a:pt x="271" y="134"/>
                    </a:lnTo>
                    <a:lnTo>
                      <a:pt x="270" y="134"/>
                    </a:lnTo>
                    <a:lnTo>
                      <a:pt x="269" y="135"/>
                    </a:lnTo>
                    <a:lnTo>
                      <a:pt x="269" y="136"/>
                    </a:lnTo>
                    <a:lnTo>
                      <a:pt x="268" y="136"/>
                    </a:lnTo>
                    <a:lnTo>
                      <a:pt x="267" y="136"/>
                    </a:lnTo>
                    <a:lnTo>
                      <a:pt x="266" y="136"/>
                    </a:lnTo>
                    <a:lnTo>
                      <a:pt x="263" y="136"/>
                    </a:lnTo>
                    <a:lnTo>
                      <a:pt x="262" y="136"/>
                    </a:lnTo>
                    <a:lnTo>
                      <a:pt x="260" y="135"/>
                    </a:lnTo>
                    <a:lnTo>
                      <a:pt x="259" y="135"/>
                    </a:lnTo>
                    <a:lnTo>
                      <a:pt x="258" y="135"/>
                    </a:lnTo>
                    <a:lnTo>
                      <a:pt x="258" y="136"/>
                    </a:lnTo>
                    <a:lnTo>
                      <a:pt x="258" y="137"/>
                    </a:lnTo>
                    <a:lnTo>
                      <a:pt x="258" y="139"/>
                    </a:lnTo>
                    <a:lnTo>
                      <a:pt x="259" y="139"/>
                    </a:lnTo>
                    <a:lnTo>
                      <a:pt x="259" y="140"/>
                    </a:lnTo>
                    <a:lnTo>
                      <a:pt x="258" y="140"/>
                    </a:lnTo>
                    <a:lnTo>
                      <a:pt x="257" y="140"/>
                    </a:lnTo>
                    <a:lnTo>
                      <a:pt x="257" y="139"/>
                    </a:lnTo>
                    <a:lnTo>
                      <a:pt x="256" y="137"/>
                    </a:lnTo>
                    <a:lnTo>
                      <a:pt x="255" y="137"/>
                    </a:lnTo>
                    <a:lnTo>
                      <a:pt x="254" y="139"/>
                    </a:lnTo>
                    <a:lnTo>
                      <a:pt x="254" y="140"/>
                    </a:lnTo>
                    <a:lnTo>
                      <a:pt x="253" y="142"/>
                    </a:lnTo>
                    <a:lnTo>
                      <a:pt x="253" y="144"/>
                    </a:lnTo>
                    <a:lnTo>
                      <a:pt x="253" y="145"/>
                    </a:lnTo>
                    <a:lnTo>
                      <a:pt x="251" y="146"/>
                    </a:lnTo>
                    <a:lnTo>
                      <a:pt x="250" y="145"/>
                    </a:lnTo>
                    <a:lnTo>
                      <a:pt x="250" y="144"/>
                    </a:lnTo>
                    <a:lnTo>
                      <a:pt x="250" y="143"/>
                    </a:lnTo>
                    <a:lnTo>
                      <a:pt x="251" y="142"/>
                    </a:lnTo>
                    <a:lnTo>
                      <a:pt x="251" y="141"/>
                    </a:lnTo>
                    <a:lnTo>
                      <a:pt x="251" y="140"/>
                    </a:lnTo>
                    <a:lnTo>
                      <a:pt x="250" y="140"/>
                    </a:lnTo>
                    <a:lnTo>
                      <a:pt x="250" y="141"/>
                    </a:lnTo>
                    <a:lnTo>
                      <a:pt x="249" y="142"/>
                    </a:lnTo>
                    <a:lnTo>
                      <a:pt x="248" y="142"/>
                    </a:lnTo>
                    <a:lnTo>
                      <a:pt x="247" y="141"/>
                    </a:lnTo>
                    <a:lnTo>
                      <a:pt x="246" y="140"/>
                    </a:lnTo>
                    <a:lnTo>
                      <a:pt x="246" y="139"/>
                    </a:lnTo>
                    <a:lnTo>
                      <a:pt x="245" y="139"/>
                    </a:lnTo>
                    <a:lnTo>
                      <a:pt x="244" y="139"/>
                    </a:lnTo>
                    <a:lnTo>
                      <a:pt x="244" y="140"/>
                    </a:lnTo>
                    <a:lnTo>
                      <a:pt x="245" y="140"/>
                    </a:lnTo>
                    <a:lnTo>
                      <a:pt x="245" y="141"/>
                    </a:lnTo>
                    <a:lnTo>
                      <a:pt x="245" y="142"/>
                    </a:lnTo>
                    <a:lnTo>
                      <a:pt x="244" y="143"/>
                    </a:lnTo>
                    <a:lnTo>
                      <a:pt x="244" y="144"/>
                    </a:lnTo>
                    <a:lnTo>
                      <a:pt x="243" y="144"/>
                    </a:lnTo>
                    <a:lnTo>
                      <a:pt x="242" y="143"/>
                    </a:lnTo>
                    <a:lnTo>
                      <a:pt x="241" y="143"/>
                    </a:lnTo>
                    <a:lnTo>
                      <a:pt x="240" y="144"/>
                    </a:lnTo>
                    <a:lnTo>
                      <a:pt x="238" y="145"/>
                    </a:lnTo>
                    <a:lnTo>
                      <a:pt x="237" y="145"/>
                    </a:lnTo>
                    <a:lnTo>
                      <a:pt x="236" y="145"/>
                    </a:lnTo>
                    <a:lnTo>
                      <a:pt x="236" y="146"/>
                    </a:lnTo>
                    <a:lnTo>
                      <a:pt x="235" y="147"/>
                    </a:lnTo>
                    <a:lnTo>
                      <a:pt x="235" y="148"/>
                    </a:lnTo>
                    <a:lnTo>
                      <a:pt x="234" y="149"/>
                    </a:lnTo>
                    <a:lnTo>
                      <a:pt x="233" y="150"/>
                    </a:lnTo>
                    <a:lnTo>
                      <a:pt x="232" y="152"/>
                    </a:lnTo>
                    <a:lnTo>
                      <a:pt x="232" y="153"/>
                    </a:lnTo>
                    <a:lnTo>
                      <a:pt x="233" y="153"/>
                    </a:lnTo>
                    <a:lnTo>
                      <a:pt x="234" y="153"/>
                    </a:lnTo>
                    <a:lnTo>
                      <a:pt x="235" y="153"/>
                    </a:lnTo>
                    <a:lnTo>
                      <a:pt x="236" y="152"/>
                    </a:lnTo>
                    <a:lnTo>
                      <a:pt x="238" y="152"/>
                    </a:lnTo>
                    <a:lnTo>
                      <a:pt x="240" y="152"/>
                    </a:lnTo>
                    <a:lnTo>
                      <a:pt x="240" y="153"/>
                    </a:lnTo>
                    <a:lnTo>
                      <a:pt x="240" y="154"/>
                    </a:lnTo>
                    <a:lnTo>
                      <a:pt x="240" y="155"/>
                    </a:lnTo>
                    <a:lnTo>
                      <a:pt x="241" y="157"/>
                    </a:lnTo>
                    <a:lnTo>
                      <a:pt x="242" y="158"/>
                    </a:lnTo>
                    <a:lnTo>
                      <a:pt x="242" y="159"/>
                    </a:lnTo>
                    <a:lnTo>
                      <a:pt x="243" y="159"/>
                    </a:lnTo>
                    <a:lnTo>
                      <a:pt x="243" y="158"/>
                    </a:lnTo>
                    <a:lnTo>
                      <a:pt x="244" y="158"/>
                    </a:lnTo>
                    <a:lnTo>
                      <a:pt x="245" y="156"/>
                    </a:lnTo>
                    <a:lnTo>
                      <a:pt x="246" y="155"/>
                    </a:lnTo>
                    <a:lnTo>
                      <a:pt x="247" y="156"/>
                    </a:lnTo>
                    <a:lnTo>
                      <a:pt x="247" y="157"/>
                    </a:lnTo>
                    <a:lnTo>
                      <a:pt x="246" y="158"/>
                    </a:lnTo>
                    <a:lnTo>
                      <a:pt x="245" y="158"/>
                    </a:lnTo>
                    <a:lnTo>
                      <a:pt x="245" y="159"/>
                    </a:lnTo>
                    <a:lnTo>
                      <a:pt x="244" y="160"/>
                    </a:lnTo>
                    <a:lnTo>
                      <a:pt x="245" y="161"/>
                    </a:lnTo>
                    <a:lnTo>
                      <a:pt x="245" y="162"/>
                    </a:lnTo>
                    <a:lnTo>
                      <a:pt x="246" y="164"/>
                    </a:lnTo>
                    <a:lnTo>
                      <a:pt x="246" y="165"/>
                    </a:lnTo>
                    <a:lnTo>
                      <a:pt x="247" y="165"/>
                    </a:lnTo>
                    <a:lnTo>
                      <a:pt x="247" y="166"/>
                    </a:lnTo>
                    <a:lnTo>
                      <a:pt x="247" y="167"/>
                    </a:lnTo>
                    <a:lnTo>
                      <a:pt x="250" y="168"/>
                    </a:lnTo>
                    <a:lnTo>
                      <a:pt x="251" y="169"/>
                    </a:lnTo>
                    <a:lnTo>
                      <a:pt x="251" y="170"/>
                    </a:lnTo>
                    <a:lnTo>
                      <a:pt x="253" y="170"/>
                    </a:lnTo>
                    <a:lnTo>
                      <a:pt x="254" y="171"/>
                    </a:lnTo>
                    <a:lnTo>
                      <a:pt x="254" y="172"/>
                    </a:lnTo>
                    <a:lnTo>
                      <a:pt x="253" y="172"/>
                    </a:lnTo>
                    <a:lnTo>
                      <a:pt x="251" y="171"/>
                    </a:lnTo>
                    <a:lnTo>
                      <a:pt x="250" y="171"/>
                    </a:lnTo>
                    <a:lnTo>
                      <a:pt x="250" y="172"/>
                    </a:lnTo>
                    <a:lnTo>
                      <a:pt x="250" y="173"/>
                    </a:lnTo>
                    <a:lnTo>
                      <a:pt x="250" y="174"/>
                    </a:lnTo>
                    <a:lnTo>
                      <a:pt x="251" y="174"/>
                    </a:lnTo>
                    <a:lnTo>
                      <a:pt x="253" y="174"/>
                    </a:lnTo>
                    <a:lnTo>
                      <a:pt x="254" y="175"/>
                    </a:lnTo>
                    <a:lnTo>
                      <a:pt x="254" y="177"/>
                    </a:lnTo>
                    <a:lnTo>
                      <a:pt x="253" y="178"/>
                    </a:lnTo>
                    <a:lnTo>
                      <a:pt x="253" y="179"/>
                    </a:lnTo>
                    <a:lnTo>
                      <a:pt x="251" y="180"/>
                    </a:lnTo>
                    <a:lnTo>
                      <a:pt x="250" y="182"/>
                    </a:lnTo>
                    <a:lnTo>
                      <a:pt x="251" y="182"/>
                    </a:lnTo>
                    <a:lnTo>
                      <a:pt x="251" y="183"/>
                    </a:lnTo>
                    <a:lnTo>
                      <a:pt x="253" y="184"/>
                    </a:lnTo>
                    <a:lnTo>
                      <a:pt x="253" y="185"/>
                    </a:lnTo>
                    <a:lnTo>
                      <a:pt x="253" y="186"/>
                    </a:lnTo>
                    <a:lnTo>
                      <a:pt x="253" y="187"/>
                    </a:lnTo>
                    <a:lnTo>
                      <a:pt x="254" y="187"/>
                    </a:lnTo>
                    <a:lnTo>
                      <a:pt x="255" y="188"/>
                    </a:lnTo>
                    <a:lnTo>
                      <a:pt x="255" y="190"/>
                    </a:lnTo>
                    <a:lnTo>
                      <a:pt x="256" y="191"/>
                    </a:lnTo>
                    <a:lnTo>
                      <a:pt x="256" y="193"/>
                    </a:lnTo>
                    <a:lnTo>
                      <a:pt x="254" y="193"/>
                    </a:lnTo>
                    <a:lnTo>
                      <a:pt x="253" y="194"/>
                    </a:lnTo>
                    <a:lnTo>
                      <a:pt x="254" y="194"/>
                    </a:lnTo>
                    <a:lnTo>
                      <a:pt x="254" y="195"/>
                    </a:lnTo>
                    <a:lnTo>
                      <a:pt x="253" y="196"/>
                    </a:lnTo>
                    <a:lnTo>
                      <a:pt x="253" y="197"/>
                    </a:lnTo>
                    <a:lnTo>
                      <a:pt x="254" y="198"/>
                    </a:lnTo>
                    <a:lnTo>
                      <a:pt x="254" y="199"/>
                    </a:lnTo>
                    <a:lnTo>
                      <a:pt x="255" y="199"/>
                    </a:lnTo>
                    <a:lnTo>
                      <a:pt x="255" y="200"/>
                    </a:lnTo>
                    <a:lnTo>
                      <a:pt x="253" y="201"/>
                    </a:lnTo>
                    <a:lnTo>
                      <a:pt x="251" y="203"/>
                    </a:lnTo>
                    <a:lnTo>
                      <a:pt x="251" y="204"/>
                    </a:lnTo>
                    <a:lnTo>
                      <a:pt x="251" y="205"/>
                    </a:lnTo>
                    <a:lnTo>
                      <a:pt x="253" y="205"/>
                    </a:lnTo>
                    <a:lnTo>
                      <a:pt x="254" y="205"/>
                    </a:lnTo>
                    <a:lnTo>
                      <a:pt x="255" y="206"/>
                    </a:lnTo>
                    <a:lnTo>
                      <a:pt x="254" y="206"/>
                    </a:lnTo>
                    <a:lnTo>
                      <a:pt x="254" y="207"/>
                    </a:lnTo>
                    <a:lnTo>
                      <a:pt x="253" y="208"/>
                    </a:lnTo>
                    <a:lnTo>
                      <a:pt x="255" y="211"/>
                    </a:lnTo>
                    <a:lnTo>
                      <a:pt x="256" y="211"/>
                    </a:lnTo>
                    <a:lnTo>
                      <a:pt x="257" y="211"/>
                    </a:lnTo>
                    <a:lnTo>
                      <a:pt x="257" y="212"/>
                    </a:lnTo>
                    <a:lnTo>
                      <a:pt x="257" y="213"/>
                    </a:lnTo>
                    <a:lnTo>
                      <a:pt x="257" y="214"/>
                    </a:lnTo>
                    <a:lnTo>
                      <a:pt x="258" y="216"/>
                    </a:lnTo>
                    <a:lnTo>
                      <a:pt x="259" y="217"/>
                    </a:lnTo>
                    <a:lnTo>
                      <a:pt x="258" y="219"/>
                    </a:lnTo>
                    <a:lnTo>
                      <a:pt x="258" y="220"/>
                    </a:lnTo>
                    <a:lnTo>
                      <a:pt x="259" y="221"/>
                    </a:lnTo>
                    <a:lnTo>
                      <a:pt x="249" y="221"/>
                    </a:lnTo>
                    <a:lnTo>
                      <a:pt x="250" y="252"/>
                    </a:lnTo>
                    <a:lnTo>
                      <a:pt x="230" y="252"/>
                    </a:lnTo>
                    <a:lnTo>
                      <a:pt x="229" y="252"/>
                    </a:lnTo>
                    <a:lnTo>
                      <a:pt x="227" y="252"/>
                    </a:lnTo>
                    <a:lnTo>
                      <a:pt x="222" y="252"/>
                    </a:lnTo>
                    <a:lnTo>
                      <a:pt x="192" y="252"/>
                    </a:lnTo>
                    <a:lnTo>
                      <a:pt x="190" y="252"/>
                    </a:lnTo>
                    <a:lnTo>
                      <a:pt x="189" y="252"/>
                    </a:lnTo>
                    <a:lnTo>
                      <a:pt x="178" y="252"/>
                    </a:lnTo>
                    <a:lnTo>
                      <a:pt x="170" y="252"/>
                    </a:lnTo>
                    <a:lnTo>
                      <a:pt x="144" y="252"/>
                    </a:lnTo>
                    <a:lnTo>
                      <a:pt x="115" y="252"/>
                    </a:lnTo>
                    <a:lnTo>
                      <a:pt x="106" y="252"/>
                    </a:lnTo>
                    <a:lnTo>
                      <a:pt x="105" y="252"/>
                    </a:lnTo>
                    <a:lnTo>
                      <a:pt x="99" y="252"/>
                    </a:lnTo>
                    <a:lnTo>
                      <a:pt x="79" y="252"/>
                    </a:lnTo>
                    <a:lnTo>
                      <a:pt x="76" y="252"/>
                    </a:lnTo>
                    <a:lnTo>
                      <a:pt x="75" y="252"/>
                    </a:lnTo>
                    <a:lnTo>
                      <a:pt x="70" y="252"/>
                    </a:lnTo>
                    <a:lnTo>
                      <a:pt x="69" y="252"/>
                    </a:lnTo>
                    <a:lnTo>
                      <a:pt x="68" y="252"/>
                    </a:lnTo>
                    <a:lnTo>
                      <a:pt x="62" y="252"/>
                    </a:lnTo>
                    <a:lnTo>
                      <a:pt x="40" y="252"/>
                    </a:lnTo>
                    <a:lnTo>
                      <a:pt x="38" y="252"/>
                    </a:lnTo>
                    <a:lnTo>
                      <a:pt x="20" y="252"/>
                    </a:lnTo>
                    <a:lnTo>
                      <a:pt x="18" y="252"/>
                    </a:lnTo>
                    <a:lnTo>
                      <a:pt x="7" y="252"/>
                    </a:lnTo>
                    <a:lnTo>
                      <a:pt x="0" y="252"/>
                    </a:lnTo>
                    <a:lnTo>
                      <a:pt x="0" y="243"/>
                    </a:lnTo>
                    <a:lnTo>
                      <a:pt x="0" y="241"/>
                    </a:lnTo>
                    <a:lnTo>
                      <a:pt x="0" y="213"/>
                    </a:lnTo>
                    <a:lnTo>
                      <a:pt x="0" y="206"/>
                    </a:lnTo>
                    <a:lnTo>
                      <a:pt x="0" y="166"/>
                    </a:lnTo>
                    <a:lnTo>
                      <a:pt x="1" y="134"/>
                    </a:lnTo>
                    <a:lnTo>
                      <a:pt x="0" y="119"/>
                    </a:lnTo>
                    <a:lnTo>
                      <a:pt x="0" y="109"/>
                    </a:lnTo>
                    <a:lnTo>
                      <a:pt x="0" y="100"/>
                    </a:lnTo>
                    <a:lnTo>
                      <a:pt x="0" y="94"/>
                    </a:lnTo>
                    <a:lnTo>
                      <a:pt x="0" y="92"/>
                    </a:lnTo>
                    <a:lnTo>
                      <a:pt x="0" y="65"/>
                    </a:lnTo>
                    <a:lnTo>
                      <a:pt x="0" y="49"/>
                    </a:lnTo>
                    <a:lnTo>
                      <a:pt x="0" y="47"/>
                    </a:lnTo>
                    <a:lnTo>
                      <a:pt x="0" y="46"/>
                    </a:lnTo>
                    <a:lnTo>
                      <a:pt x="0" y="43"/>
                    </a:lnTo>
                    <a:lnTo>
                      <a:pt x="1" y="39"/>
                    </a:lnTo>
                    <a:lnTo>
                      <a:pt x="0" y="26"/>
                    </a:lnTo>
                    <a:lnTo>
                      <a:pt x="0" y="21"/>
                    </a:lnTo>
                    <a:lnTo>
                      <a:pt x="0" y="19"/>
                    </a:lnTo>
                    <a:lnTo>
                      <a:pt x="0" y="13"/>
                    </a:lnTo>
                    <a:lnTo>
                      <a:pt x="0" y="7"/>
                    </a:lnTo>
                    <a:lnTo>
                      <a:pt x="0" y="0"/>
                    </a:lnTo>
                    <a:lnTo>
                      <a:pt x="7" y="0"/>
                    </a:lnTo>
                    <a:lnTo>
                      <a:pt x="31" y="0"/>
                    </a:lnTo>
                    <a:lnTo>
                      <a:pt x="38" y="0"/>
                    </a:lnTo>
                    <a:lnTo>
                      <a:pt x="39" y="0"/>
                    </a:lnTo>
                    <a:lnTo>
                      <a:pt x="42" y="0"/>
                    </a:lnTo>
                    <a:lnTo>
                      <a:pt x="90" y="0"/>
                    </a:lnTo>
                    <a:lnTo>
                      <a:pt x="91" y="0"/>
                    </a:lnTo>
                    <a:lnTo>
                      <a:pt x="91" y="2"/>
                    </a:lnTo>
                    <a:lnTo>
                      <a:pt x="91" y="3"/>
                    </a:lnTo>
                    <a:lnTo>
                      <a:pt x="92" y="4"/>
                    </a:lnTo>
                    <a:lnTo>
                      <a:pt x="93" y="5"/>
                    </a:lnTo>
                    <a:lnTo>
                      <a:pt x="94" y="6"/>
                    </a:lnTo>
                    <a:lnTo>
                      <a:pt x="95" y="7"/>
                    </a:lnTo>
                    <a:lnTo>
                      <a:pt x="96" y="7"/>
                    </a:lnTo>
                    <a:lnTo>
                      <a:pt x="98" y="8"/>
                    </a:lnTo>
                    <a:lnTo>
                      <a:pt x="99" y="10"/>
                    </a:lnTo>
                    <a:lnTo>
                      <a:pt x="99" y="11"/>
                    </a:lnTo>
                    <a:lnTo>
                      <a:pt x="98" y="12"/>
                    </a:lnTo>
                    <a:lnTo>
                      <a:pt x="98" y="13"/>
                    </a:lnTo>
                    <a:lnTo>
                      <a:pt x="99" y="13"/>
                    </a:lnTo>
                    <a:lnTo>
                      <a:pt x="115" y="13"/>
                    </a:lnTo>
                    <a:lnTo>
                      <a:pt x="121" y="13"/>
                    </a:lnTo>
                    <a:lnTo>
                      <a:pt x="127" y="13"/>
                    </a:lnTo>
                    <a:lnTo>
                      <a:pt x="127" y="0"/>
                    </a:lnTo>
                    <a:lnTo>
                      <a:pt x="136" y="0"/>
                    </a:lnTo>
                    <a:lnTo>
                      <a:pt x="137" y="0"/>
                    </a:lnTo>
                    <a:lnTo>
                      <a:pt x="138" y="0"/>
                    </a:lnTo>
                    <a:lnTo>
                      <a:pt x="139" y="0"/>
                    </a:lnTo>
                    <a:lnTo>
                      <a:pt x="158" y="0"/>
                    </a:lnTo>
                    <a:lnTo>
                      <a:pt x="170" y="0"/>
                    </a:lnTo>
                    <a:close/>
                  </a:path>
                </a:pathLst>
              </a:custGeom>
              <a:solidFill>
                <a:srgbClr val="013066"/>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1" name="Freeform 319">
                <a:extLst>
                  <a:ext uri="{FF2B5EF4-FFF2-40B4-BE49-F238E27FC236}">
                    <a16:creationId xmlns:a16="http://schemas.microsoft.com/office/drawing/2014/main" id="{18F027A9-E9AF-585E-1A5E-C95D99E8512F}"/>
                  </a:ext>
                </a:extLst>
              </p:cNvPr>
              <p:cNvSpPr>
                <a:spLocks/>
              </p:cNvSpPr>
              <p:nvPr/>
            </p:nvSpPr>
            <p:spPr bwMode="auto">
              <a:xfrm>
                <a:off x="3195638" y="1838325"/>
                <a:ext cx="469900" cy="612775"/>
              </a:xfrm>
              <a:custGeom>
                <a:avLst/>
                <a:gdLst>
                  <a:gd name="T0" fmla="*/ 280 w 296"/>
                  <a:gd name="T1" fmla="*/ 14 h 386"/>
                  <a:gd name="T2" fmla="*/ 292 w 296"/>
                  <a:gd name="T3" fmla="*/ 35 h 386"/>
                  <a:gd name="T4" fmla="*/ 274 w 296"/>
                  <a:gd name="T5" fmla="*/ 30 h 386"/>
                  <a:gd name="T6" fmla="*/ 273 w 296"/>
                  <a:gd name="T7" fmla="*/ 47 h 386"/>
                  <a:gd name="T8" fmla="*/ 282 w 296"/>
                  <a:gd name="T9" fmla="*/ 65 h 386"/>
                  <a:gd name="T10" fmla="*/ 263 w 296"/>
                  <a:gd name="T11" fmla="*/ 75 h 386"/>
                  <a:gd name="T12" fmla="*/ 248 w 296"/>
                  <a:gd name="T13" fmla="*/ 82 h 386"/>
                  <a:gd name="T14" fmla="*/ 245 w 296"/>
                  <a:gd name="T15" fmla="*/ 112 h 386"/>
                  <a:gd name="T16" fmla="*/ 241 w 296"/>
                  <a:gd name="T17" fmla="*/ 121 h 386"/>
                  <a:gd name="T18" fmla="*/ 257 w 296"/>
                  <a:gd name="T19" fmla="*/ 121 h 386"/>
                  <a:gd name="T20" fmla="*/ 237 w 296"/>
                  <a:gd name="T21" fmla="*/ 140 h 386"/>
                  <a:gd name="T22" fmla="*/ 270 w 296"/>
                  <a:gd name="T23" fmla="*/ 174 h 386"/>
                  <a:gd name="T24" fmla="*/ 262 w 296"/>
                  <a:gd name="T25" fmla="*/ 191 h 386"/>
                  <a:gd name="T26" fmla="*/ 264 w 296"/>
                  <a:gd name="T27" fmla="*/ 211 h 386"/>
                  <a:gd name="T28" fmla="*/ 267 w 296"/>
                  <a:gd name="T29" fmla="*/ 223 h 386"/>
                  <a:gd name="T30" fmla="*/ 269 w 296"/>
                  <a:gd name="T31" fmla="*/ 238 h 386"/>
                  <a:gd name="T32" fmla="*/ 263 w 296"/>
                  <a:gd name="T33" fmla="*/ 261 h 386"/>
                  <a:gd name="T34" fmla="*/ 268 w 296"/>
                  <a:gd name="T35" fmla="*/ 287 h 386"/>
                  <a:gd name="T36" fmla="*/ 260 w 296"/>
                  <a:gd name="T37" fmla="*/ 300 h 386"/>
                  <a:gd name="T38" fmla="*/ 254 w 296"/>
                  <a:gd name="T39" fmla="*/ 324 h 386"/>
                  <a:gd name="T40" fmla="*/ 245 w 296"/>
                  <a:gd name="T41" fmla="*/ 354 h 386"/>
                  <a:gd name="T42" fmla="*/ 177 w 296"/>
                  <a:gd name="T43" fmla="*/ 314 h 386"/>
                  <a:gd name="T44" fmla="*/ 167 w 296"/>
                  <a:gd name="T45" fmla="*/ 337 h 386"/>
                  <a:gd name="T46" fmla="*/ 152 w 296"/>
                  <a:gd name="T47" fmla="*/ 351 h 386"/>
                  <a:gd name="T48" fmla="*/ 138 w 296"/>
                  <a:gd name="T49" fmla="*/ 369 h 386"/>
                  <a:gd name="T50" fmla="*/ 121 w 296"/>
                  <a:gd name="T51" fmla="*/ 378 h 386"/>
                  <a:gd name="T52" fmla="*/ 102 w 296"/>
                  <a:gd name="T53" fmla="*/ 381 h 386"/>
                  <a:gd name="T54" fmla="*/ 91 w 296"/>
                  <a:gd name="T55" fmla="*/ 374 h 386"/>
                  <a:gd name="T56" fmla="*/ 85 w 296"/>
                  <a:gd name="T57" fmla="*/ 363 h 386"/>
                  <a:gd name="T58" fmla="*/ 73 w 296"/>
                  <a:gd name="T59" fmla="*/ 349 h 386"/>
                  <a:gd name="T60" fmla="*/ 63 w 296"/>
                  <a:gd name="T61" fmla="*/ 340 h 386"/>
                  <a:gd name="T62" fmla="*/ 55 w 296"/>
                  <a:gd name="T63" fmla="*/ 326 h 386"/>
                  <a:gd name="T64" fmla="*/ 43 w 296"/>
                  <a:gd name="T65" fmla="*/ 317 h 386"/>
                  <a:gd name="T66" fmla="*/ 25 w 296"/>
                  <a:gd name="T67" fmla="*/ 304 h 386"/>
                  <a:gd name="T68" fmla="*/ 24 w 296"/>
                  <a:gd name="T69" fmla="*/ 284 h 386"/>
                  <a:gd name="T70" fmla="*/ 22 w 296"/>
                  <a:gd name="T71" fmla="*/ 265 h 386"/>
                  <a:gd name="T72" fmla="*/ 10 w 296"/>
                  <a:gd name="T73" fmla="*/ 252 h 386"/>
                  <a:gd name="T74" fmla="*/ 10 w 296"/>
                  <a:gd name="T75" fmla="*/ 236 h 386"/>
                  <a:gd name="T76" fmla="*/ 21 w 296"/>
                  <a:gd name="T77" fmla="*/ 238 h 386"/>
                  <a:gd name="T78" fmla="*/ 37 w 296"/>
                  <a:gd name="T79" fmla="*/ 228 h 386"/>
                  <a:gd name="T80" fmla="*/ 39 w 296"/>
                  <a:gd name="T81" fmla="*/ 210 h 386"/>
                  <a:gd name="T82" fmla="*/ 30 w 296"/>
                  <a:gd name="T83" fmla="*/ 199 h 386"/>
                  <a:gd name="T84" fmla="*/ 23 w 296"/>
                  <a:gd name="T85" fmla="*/ 185 h 386"/>
                  <a:gd name="T86" fmla="*/ 36 w 296"/>
                  <a:gd name="T87" fmla="*/ 170 h 386"/>
                  <a:gd name="T88" fmla="*/ 49 w 296"/>
                  <a:gd name="T89" fmla="*/ 165 h 386"/>
                  <a:gd name="T90" fmla="*/ 60 w 296"/>
                  <a:gd name="T91" fmla="*/ 161 h 386"/>
                  <a:gd name="T92" fmla="*/ 67 w 296"/>
                  <a:gd name="T93" fmla="*/ 152 h 386"/>
                  <a:gd name="T94" fmla="*/ 75 w 296"/>
                  <a:gd name="T95" fmla="*/ 134 h 386"/>
                  <a:gd name="T96" fmla="*/ 87 w 296"/>
                  <a:gd name="T97" fmla="*/ 125 h 386"/>
                  <a:gd name="T98" fmla="*/ 96 w 296"/>
                  <a:gd name="T99" fmla="*/ 118 h 386"/>
                  <a:gd name="T100" fmla="*/ 100 w 296"/>
                  <a:gd name="T101" fmla="*/ 105 h 386"/>
                  <a:gd name="T102" fmla="*/ 102 w 296"/>
                  <a:gd name="T103" fmla="*/ 90 h 386"/>
                  <a:gd name="T104" fmla="*/ 105 w 296"/>
                  <a:gd name="T105" fmla="*/ 78 h 386"/>
                  <a:gd name="T106" fmla="*/ 107 w 296"/>
                  <a:gd name="T107" fmla="*/ 63 h 386"/>
                  <a:gd name="T108" fmla="*/ 113 w 296"/>
                  <a:gd name="T109" fmla="*/ 50 h 386"/>
                  <a:gd name="T110" fmla="*/ 129 w 296"/>
                  <a:gd name="T111" fmla="*/ 50 h 386"/>
                  <a:gd name="T112" fmla="*/ 143 w 296"/>
                  <a:gd name="T113" fmla="*/ 35 h 386"/>
                  <a:gd name="T114" fmla="*/ 154 w 296"/>
                  <a:gd name="T115" fmla="*/ 23 h 386"/>
                  <a:gd name="T116" fmla="*/ 163 w 296"/>
                  <a:gd name="T117" fmla="*/ 13 h 386"/>
                  <a:gd name="T118" fmla="*/ 178 w 296"/>
                  <a:gd name="T119" fmla="*/ 8 h 386"/>
                  <a:gd name="T120" fmla="*/ 218 w 296"/>
                  <a:gd name="T121"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386">
                    <a:moveTo>
                      <a:pt x="280" y="0"/>
                    </a:moveTo>
                    <a:lnTo>
                      <a:pt x="281" y="0"/>
                    </a:lnTo>
                    <a:lnTo>
                      <a:pt x="281" y="1"/>
                    </a:lnTo>
                    <a:lnTo>
                      <a:pt x="281" y="2"/>
                    </a:lnTo>
                    <a:lnTo>
                      <a:pt x="280" y="2"/>
                    </a:lnTo>
                    <a:lnTo>
                      <a:pt x="279" y="2"/>
                    </a:lnTo>
                    <a:lnTo>
                      <a:pt x="277" y="2"/>
                    </a:lnTo>
                    <a:lnTo>
                      <a:pt x="276" y="2"/>
                    </a:lnTo>
                    <a:lnTo>
                      <a:pt x="275" y="2"/>
                    </a:lnTo>
                    <a:lnTo>
                      <a:pt x="275" y="3"/>
                    </a:lnTo>
                    <a:lnTo>
                      <a:pt x="274" y="3"/>
                    </a:lnTo>
                    <a:lnTo>
                      <a:pt x="274" y="4"/>
                    </a:lnTo>
                    <a:lnTo>
                      <a:pt x="274" y="5"/>
                    </a:lnTo>
                    <a:lnTo>
                      <a:pt x="275" y="5"/>
                    </a:lnTo>
                    <a:lnTo>
                      <a:pt x="276" y="6"/>
                    </a:lnTo>
                    <a:lnTo>
                      <a:pt x="277" y="6"/>
                    </a:lnTo>
                    <a:lnTo>
                      <a:pt x="279" y="6"/>
                    </a:lnTo>
                    <a:lnTo>
                      <a:pt x="279" y="7"/>
                    </a:lnTo>
                    <a:lnTo>
                      <a:pt x="279" y="8"/>
                    </a:lnTo>
                    <a:lnTo>
                      <a:pt x="279" y="9"/>
                    </a:lnTo>
                    <a:lnTo>
                      <a:pt x="280" y="10"/>
                    </a:lnTo>
                    <a:lnTo>
                      <a:pt x="280" y="11"/>
                    </a:lnTo>
                    <a:lnTo>
                      <a:pt x="280" y="13"/>
                    </a:lnTo>
                    <a:lnTo>
                      <a:pt x="280" y="14"/>
                    </a:lnTo>
                    <a:lnTo>
                      <a:pt x="281" y="15"/>
                    </a:lnTo>
                    <a:lnTo>
                      <a:pt x="281" y="16"/>
                    </a:lnTo>
                    <a:lnTo>
                      <a:pt x="282" y="16"/>
                    </a:lnTo>
                    <a:lnTo>
                      <a:pt x="283" y="17"/>
                    </a:lnTo>
                    <a:lnTo>
                      <a:pt x="284" y="18"/>
                    </a:lnTo>
                    <a:lnTo>
                      <a:pt x="285" y="18"/>
                    </a:lnTo>
                    <a:lnTo>
                      <a:pt x="285" y="19"/>
                    </a:lnTo>
                    <a:lnTo>
                      <a:pt x="287" y="20"/>
                    </a:lnTo>
                    <a:lnTo>
                      <a:pt x="289" y="21"/>
                    </a:lnTo>
                    <a:lnTo>
                      <a:pt x="289" y="22"/>
                    </a:lnTo>
                    <a:lnTo>
                      <a:pt x="292" y="22"/>
                    </a:lnTo>
                    <a:lnTo>
                      <a:pt x="293" y="23"/>
                    </a:lnTo>
                    <a:lnTo>
                      <a:pt x="294" y="24"/>
                    </a:lnTo>
                    <a:lnTo>
                      <a:pt x="295" y="26"/>
                    </a:lnTo>
                    <a:lnTo>
                      <a:pt x="295" y="27"/>
                    </a:lnTo>
                    <a:lnTo>
                      <a:pt x="296" y="28"/>
                    </a:lnTo>
                    <a:lnTo>
                      <a:pt x="296" y="29"/>
                    </a:lnTo>
                    <a:lnTo>
                      <a:pt x="296" y="31"/>
                    </a:lnTo>
                    <a:lnTo>
                      <a:pt x="296" y="32"/>
                    </a:lnTo>
                    <a:lnTo>
                      <a:pt x="295" y="33"/>
                    </a:lnTo>
                    <a:lnTo>
                      <a:pt x="295" y="34"/>
                    </a:lnTo>
                    <a:lnTo>
                      <a:pt x="294" y="35"/>
                    </a:lnTo>
                    <a:lnTo>
                      <a:pt x="293" y="35"/>
                    </a:lnTo>
                    <a:lnTo>
                      <a:pt x="292" y="35"/>
                    </a:lnTo>
                    <a:lnTo>
                      <a:pt x="292" y="36"/>
                    </a:lnTo>
                    <a:lnTo>
                      <a:pt x="290" y="36"/>
                    </a:lnTo>
                    <a:lnTo>
                      <a:pt x="288" y="39"/>
                    </a:lnTo>
                    <a:lnTo>
                      <a:pt x="287" y="39"/>
                    </a:lnTo>
                    <a:lnTo>
                      <a:pt x="286" y="39"/>
                    </a:lnTo>
                    <a:lnTo>
                      <a:pt x="284" y="39"/>
                    </a:lnTo>
                    <a:lnTo>
                      <a:pt x="283" y="39"/>
                    </a:lnTo>
                    <a:lnTo>
                      <a:pt x="282" y="39"/>
                    </a:lnTo>
                    <a:lnTo>
                      <a:pt x="280" y="39"/>
                    </a:lnTo>
                    <a:lnTo>
                      <a:pt x="280" y="37"/>
                    </a:lnTo>
                    <a:lnTo>
                      <a:pt x="279" y="37"/>
                    </a:lnTo>
                    <a:lnTo>
                      <a:pt x="279" y="36"/>
                    </a:lnTo>
                    <a:lnTo>
                      <a:pt x="277" y="36"/>
                    </a:lnTo>
                    <a:lnTo>
                      <a:pt x="277" y="35"/>
                    </a:lnTo>
                    <a:lnTo>
                      <a:pt x="276" y="34"/>
                    </a:lnTo>
                    <a:lnTo>
                      <a:pt x="276" y="32"/>
                    </a:lnTo>
                    <a:lnTo>
                      <a:pt x="276" y="31"/>
                    </a:lnTo>
                    <a:lnTo>
                      <a:pt x="276" y="30"/>
                    </a:lnTo>
                    <a:lnTo>
                      <a:pt x="276" y="29"/>
                    </a:lnTo>
                    <a:lnTo>
                      <a:pt x="276" y="28"/>
                    </a:lnTo>
                    <a:lnTo>
                      <a:pt x="275" y="28"/>
                    </a:lnTo>
                    <a:lnTo>
                      <a:pt x="274" y="28"/>
                    </a:lnTo>
                    <a:lnTo>
                      <a:pt x="274" y="29"/>
                    </a:lnTo>
                    <a:lnTo>
                      <a:pt x="274" y="30"/>
                    </a:lnTo>
                    <a:lnTo>
                      <a:pt x="273" y="30"/>
                    </a:lnTo>
                    <a:lnTo>
                      <a:pt x="273" y="32"/>
                    </a:lnTo>
                    <a:lnTo>
                      <a:pt x="272" y="32"/>
                    </a:lnTo>
                    <a:lnTo>
                      <a:pt x="272" y="33"/>
                    </a:lnTo>
                    <a:lnTo>
                      <a:pt x="272" y="34"/>
                    </a:lnTo>
                    <a:lnTo>
                      <a:pt x="271" y="34"/>
                    </a:lnTo>
                    <a:lnTo>
                      <a:pt x="270" y="35"/>
                    </a:lnTo>
                    <a:lnTo>
                      <a:pt x="269" y="35"/>
                    </a:lnTo>
                    <a:lnTo>
                      <a:pt x="268" y="37"/>
                    </a:lnTo>
                    <a:lnTo>
                      <a:pt x="267" y="39"/>
                    </a:lnTo>
                    <a:lnTo>
                      <a:pt x="267" y="40"/>
                    </a:lnTo>
                    <a:lnTo>
                      <a:pt x="266" y="41"/>
                    </a:lnTo>
                    <a:lnTo>
                      <a:pt x="266" y="42"/>
                    </a:lnTo>
                    <a:lnTo>
                      <a:pt x="264" y="42"/>
                    </a:lnTo>
                    <a:lnTo>
                      <a:pt x="264" y="43"/>
                    </a:lnTo>
                    <a:lnTo>
                      <a:pt x="264" y="44"/>
                    </a:lnTo>
                    <a:lnTo>
                      <a:pt x="266" y="45"/>
                    </a:lnTo>
                    <a:lnTo>
                      <a:pt x="267" y="46"/>
                    </a:lnTo>
                    <a:lnTo>
                      <a:pt x="268" y="47"/>
                    </a:lnTo>
                    <a:lnTo>
                      <a:pt x="269" y="48"/>
                    </a:lnTo>
                    <a:lnTo>
                      <a:pt x="270" y="48"/>
                    </a:lnTo>
                    <a:lnTo>
                      <a:pt x="271" y="47"/>
                    </a:lnTo>
                    <a:lnTo>
                      <a:pt x="272" y="47"/>
                    </a:lnTo>
                    <a:lnTo>
                      <a:pt x="273" y="47"/>
                    </a:lnTo>
                    <a:lnTo>
                      <a:pt x="273" y="46"/>
                    </a:lnTo>
                    <a:lnTo>
                      <a:pt x="274" y="46"/>
                    </a:lnTo>
                    <a:lnTo>
                      <a:pt x="275" y="46"/>
                    </a:lnTo>
                    <a:lnTo>
                      <a:pt x="276" y="45"/>
                    </a:lnTo>
                    <a:lnTo>
                      <a:pt x="279" y="45"/>
                    </a:lnTo>
                    <a:lnTo>
                      <a:pt x="280" y="45"/>
                    </a:lnTo>
                    <a:lnTo>
                      <a:pt x="281" y="45"/>
                    </a:lnTo>
                    <a:lnTo>
                      <a:pt x="281" y="46"/>
                    </a:lnTo>
                    <a:lnTo>
                      <a:pt x="282" y="46"/>
                    </a:lnTo>
                    <a:lnTo>
                      <a:pt x="282" y="47"/>
                    </a:lnTo>
                    <a:lnTo>
                      <a:pt x="282" y="48"/>
                    </a:lnTo>
                    <a:lnTo>
                      <a:pt x="282" y="49"/>
                    </a:lnTo>
                    <a:lnTo>
                      <a:pt x="281" y="50"/>
                    </a:lnTo>
                    <a:lnTo>
                      <a:pt x="281" y="52"/>
                    </a:lnTo>
                    <a:lnTo>
                      <a:pt x="281" y="53"/>
                    </a:lnTo>
                    <a:lnTo>
                      <a:pt x="281" y="54"/>
                    </a:lnTo>
                    <a:lnTo>
                      <a:pt x="282" y="55"/>
                    </a:lnTo>
                    <a:lnTo>
                      <a:pt x="282" y="57"/>
                    </a:lnTo>
                    <a:lnTo>
                      <a:pt x="283" y="59"/>
                    </a:lnTo>
                    <a:lnTo>
                      <a:pt x="283" y="60"/>
                    </a:lnTo>
                    <a:lnTo>
                      <a:pt x="283" y="61"/>
                    </a:lnTo>
                    <a:lnTo>
                      <a:pt x="283" y="62"/>
                    </a:lnTo>
                    <a:lnTo>
                      <a:pt x="283" y="63"/>
                    </a:lnTo>
                    <a:lnTo>
                      <a:pt x="282" y="65"/>
                    </a:lnTo>
                    <a:lnTo>
                      <a:pt x="281" y="65"/>
                    </a:lnTo>
                    <a:lnTo>
                      <a:pt x="280" y="63"/>
                    </a:lnTo>
                    <a:lnTo>
                      <a:pt x="279" y="63"/>
                    </a:lnTo>
                    <a:lnTo>
                      <a:pt x="277" y="63"/>
                    </a:lnTo>
                    <a:lnTo>
                      <a:pt x="276" y="63"/>
                    </a:lnTo>
                    <a:lnTo>
                      <a:pt x="275" y="63"/>
                    </a:lnTo>
                    <a:lnTo>
                      <a:pt x="274" y="63"/>
                    </a:lnTo>
                    <a:lnTo>
                      <a:pt x="272" y="63"/>
                    </a:lnTo>
                    <a:lnTo>
                      <a:pt x="272" y="65"/>
                    </a:lnTo>
                    <a:lnTo>
                      <a:pt x="270" y="65"/>
                    </a:lnTo>
                    <a:lnTo>
                      <a:pt x="269" y="65"/>
                    </a:lnTo>
                    <a:lnTo>
                      <a:pt x="268" y="65"/>
                    </a:lnTo>
                    <a:lnTo>
                      <a:pt x="267" y="65"/>
                    </a:lnTo>
                    <a:lnTo>
                      <a:pt x="266" y="65"/>
                    </a:lnTo>
                    <a:lnTo>
                      <a:pt x="264" y="65"/>
                    </a:lnTo>
                    <a:lnTo>
                      <a:pt x="263" y="66"/>
                    </a:lnTo>
                    <a:lnTo>
                      <a:pt x="263" y="67"/>
                    </a:lnTo>
                    <a:lnTo>
                      <a:pt x="263" y="68"/>
                    </a:lnTo>
                    <a:lnTo>
                      <a:pt x="263" y="70"/>
                    </a:lnTo>
                    <a:lnTo>
                      <a:pt x="264" y="71"/>
                    </a:lnTo>
                    <a:lnTo>
                      <a:pt x="264" y="72"/>
                    </a:lnTo>
                    <a:lnTo>
                      <a:pt x="263" y="73"/>
                    </a:lnTo>
                    <a:lnTo>
                      <a:pt x="263" y="74"/>
                    </a:lnTo>
                    <a:lnTo>
                      <a:pt x="263" y="75"/>
                    </a:lnTo>
                    <a:lnTo>
                      <a:pt x="263" y="77"/>
                    </a:lnTo>
                    <a:lnTo>
                      <a:pt x="263" y="78"/>
                    </a:lnTo>
                    <a:lnTo>
                      <a:pt x="263" y="80"/>
                    </a:lnTo>
                    <a:lnTo>
                      <a:pt x="263" y="81"/>
                    </a:lnTo>
                    <a:lnTo>
                      <a:pt x="262" y="81"/>
                    </a:lnTo>
                    <a:lnTo>
                      <a:pt x="261" y="81"/>
                    </a:lnTo>
                    <a:lnTo>
                      <a:pt x="261" y="80"/>
                    </a:lnTo>
                    <a:lnTo>
                      <a:pt x="260" y="79"/>
                    </a:lnTo>
                    <a:lnTo>
                      <a:pt x="259" y="78"/>
                    </a:lnTo>
                    <a:lnTo>
                      <a:pt x="259" y="77"/>
                    </a:lnTo>
                    <a:lnTo>
                      <a:pt x="258" y="77"/>
                    </a:lnTo>
                    <a:lnTo>
                      <a:pt x="257" y="77"/>
                    </a:lnTo>
                    <a:lnTo>
                      <a:pt x="255" y="75"/>
                    </a:lnTo>
                    <a:lnTo>
                      <a:pt x="254" y="74"/>
                    </a:lnTo>
                    <a:lnTo>
                      <a:pt x="253" y="74"/>
                    </a:lnTo>
                    <a:lnTo>
                      <a:pt x="251" y="74"/>
                    </a:lnTo>
                    <a:lnTo>
                      <a:pt x="250" y="74"/>
                    </a:lnTo>
                    <a:lnTo>
                      <a:pt x="249" y="75"/>
                    </a:lnTo>
                    <a:lnTo>
                      <a:pt x="249" y="77"/>
                    </a:lnTo>
                    <a:lnTo>
                      <a:pt x="248" y="77"/>
                    </a:lnTo>
                    <a:lnTo>
                      <a:pt x="248" y="78"/>
                    </a:lnTo>
                    <a:lnTo>
                      <a:pt x="247" y="80"/>
                    </a:lnTo>
                    <a:lnTo>
                      <a:pt x="247" y="81"/>
                    </a:lnTo>
                    <a:lnTo>
                      <a:pt x="248" y="82"/>
                    </a:lnTo>
                    <a:lnTo>
                      <a:pt x="248" y="84"/>
                    </a:lnTo>
                    <a:lnTo>
                      <a:pt x="248" y="85"/>
                    </a:lnTo>
                    <a:lnTo>
                      <a:pt x="249" y="86"/>
                    </a:lnTo>
                    <a:lnTo>
                      <a:pt x="249" y="87"/>
                    </a:lnTo>
                    <a:lnTo>
                      <a:pt x="250" y="90"/>
                    </a:lnTo>
                    <a:lnTo>
                      <a:pt x="250" y="91"/>
                    </a:lnTo>
                    <a:lnTo>
                      <a:pt x="250" y="92"/>
                    </a:lnTo>
                    <a:lnTo>
                      <a:pt x="251" y="93"/>
                    </a:lnTo>
                    <a:lnTo>
                      <a:pt x="250" y="95"/>
                    </a:lnTo>
                    <a:lnTo>
                      <a:pt x="250" y="96"/>
                    </a:lnTo>
                    <a:lnTo>
                      <a:pt x="250" y="98"/>
                    </a:lnTo>
                    <a:lnTo>
                      <a:pt x="250" y="99"/>
                    </a:lnTo>
                    <a:lnTo>
                      <a:pt x="250" y="100"/>
                    </a:lnTo>
                    <a:lnTo>
                      <a:pt x="250" y="103"/>
                    </a:lnTo>
                    <a:lnTo>
                      <a:pt x="250" y="105"/>
                    </a:lnTo>
                    <a:lnTo>
                      <a:pt x="250" y="106"/>
                    </a:lnTo>
                    <a:lnTo>
                      <a:pt x="251" y="108"/>
                    </a:lnTo>
                    <a:lnTo>
                      <a:pt x="251" y="110"/>
                    </a:lnTo>
                    <a:lnTo>
                      <a:pt x="250" y="111"/>
                    </a:lnTo>
                    <a:lnTo>
                      <a:pt x="250" y="112"/>
                    </a:lnTo>
                    <a:lnTo>
                      <a:pt x="249" y="112"/>
                    </a:lnTo>
                    <a:lnTo>
                      <a:pt x="248" y="112"/>
                    </a:lnTo>
                    <a:lnTo>
                      <a:pt x="246" y="112"/>
                    </a:lnTo>
                    <a:lnTo>
                      <a:pt x="245" y="112"/>
                    </a:lnTo>
                    <a:lnTo>
                      <a:pt x="244" y="111"/>
                    </a:lnTo>
                    <a:lnTo>
                      <a:pt x="244" y="110"/>
                    </a:lnTo>
                    <a:lnTo>
                      <a:pt x="244" y="109"/>
                    </a:lnTo>
                    <a:lnTo>
                      <a:pt x="244" y="108"/>
                    </a:lnTo>
                    <a:lnTo>
                      <a:pt x="243" y="108"/>
                    </a:lnTo>
                    <a:lnTo>
                      <a:pt x="242" y="107"/>
                    </a:lnTo>
                    <a:lnTo>
                      <a:pt x="240" y="106"/>
                    </a:lnTo>
                    <a:lnTo>
                      <a:pt x="238" y="106"/>
                    </a:lnTo>
                    <a:lnTo>
                      <a:pt x="235" y="106"/>
                    </a:lnTo>
                    <a:lnTo>
                      <a:pt x="234" y="106"/>
                    </a:lnTo>
                    <a:lnTo>
                      <a:pt x="233" y="107"/>
                    </a:lnTo>
                    <a:lnTo>
                      <a:pt x="232" y="109"/>
                    </a:lnTo>
                    <a:lnTo>
                      <a:pt x="231" y="109"/>
                    </a:lnTo>
                    <a:lnTo>
                      <a:pt x="231" y="111"/>
                    </a:lnTo>
                    <a:lnTo>
                      <a:pt x="231" y="112"/>
                    </a:lnTo>
                    <a:lnTo>
                      <a:pt x="231" y="113"/>
                    </a:lnTo>
                    <a:lnTo>
                      <a:pt x="233" y="114"/>
                    </a:lnTo>
                    <a:lnTo>
                      <a:pt x="234" y="114"/>
                    </a:lnTo>
                    <a:lnTo>
                      <a:pt x="234" y="116"/>
                    </a:lnTo>
                    <a:lnTo>
                      <a:pt x="235" y="117"/>
                    </a:lnTo>
                    <a:lnTo>
                      <a:pt x="236" y="117"/>
                    </a:lnTo>
                    <a:lnTo>
                      <a:pt x="238" y="120"/>
                    </a:lnTo>
                    <a:lnTo>
                      <a:pt x="240" y="121"/>
                    </a:lnTo>
                    <a:lnTo>
                      <a:pt x="241" y="121"/>
                    </a:lnTo>
                    <a:lnTo>
                      <a:pt x="242" y="122"/>
                    </a:lnTo>
                    <a:lnTo>
                      <a:pt x="244" y="122"/>
                    </a:lnTo>
                    <a:lnTo>
                      <a:pt x="245" y="123"/>
                    </a:lnTo>
                    <a:lnTo>
                      <a:pt x="247" y="123"/>
                    </a:lnTo>
                    <a:lnTo>
                      <a:pt x="248" y="123"/>
                    </a:lnTo>
                    <a:lnTo>
                      <a:pt x="250" y="123"/>
                    </a:lnTo>
                    <a:lnTo>
                      <a:pt x="251" y="123"/>
                    </a:lnTo>
                    <a:lnTo>
                      <a:pt x="253" y="123"/>
                    </a:lnTo>
                    <a:lnTo>
                      <a:pt x="254" y="122"/>
                    </a:lnTo>
                    <a:lnTo>
                      <a:pt x="255" y="121"/>
                    </a:lnTo>
                    <a:lnTo>
                      <a:pt x="256" y="119"/>
                    </a:lnTo>
                    <a:lnTo>
                      <a:pt x="257" y="119"/>
                    </a:lnTo>
                    <a:lnTo>
                      <a:pt x="257" y="118"/>
                    </a:lnTo>
                    <a:lnTo>
                      <a:pt x="258" y="117"/>
                    </a:lnTo>
                    <a:lnTo>
                      <a:pt x="258" y="116"/>
                    </a:lnTo>
                    <a:lnTo>
                      <a:pt x="258" y="114"/>
                    </a:lnTo>
                    <a:lnTo>
                      <a:pt x="259" y="114"/>
                    </a:lnTo>
                    <a:lnTo>
                      <a:pt x="259" y="116"/>
                    </a:lnTo>
                    <a:lnTo>
                      <a:pt x="260" y="116"/>
                    </a:lnTo>
                    <a:lnTo>
                      <a:pt x="260" y="117"/>
                    </a:lnTo>
                    <a:lnTo>
                      <a:pt x="259" y="118"/>
                    </a:lnTo>
                    <a:lnTo>
                      <a:pt x="259" y="119"/>
                    </a:lnTo>
                    <a:lnTo>
                      <a:pt x="258" y="119"/>
                    </a:lnTo>
                    <a:lnTo>
                      <a:pt x="257" y="121"/>
                    </a:lnTo>
                    <a:lnTo>
                      <a:pt x="257" y="122"/>
                    </a:lnTo>
                    <a:lnTo>
                      <a:pt x="257" y="123"/>
                    </a:lnTo>
                    <a:lnTo>
                      <a:pt x="257" y="125"/>
                    </a:lnTo>
                    <a:lnTo>
                      <a:pt x="257" y="126"/>
                    </a:lnTo>
                    <a:lnTo>
                      <a:pt x="256" y="127"/>
                    </a:lnTo>
                    <a:lnTo>
                      <a:pt x="256" y="129"/>
                    </a:lnTo>
                    <a:lnTo>
                      <a:pt x="255" y="130"/>
                    </a:lnTo>
                    <a:lnTo>
                      <a:pt x="254" y="132"/>
                    </a:lnTo>
                    <a:lnTo>
                      <a:pt x="253" y="132"/>
                    </a:lnTo>
                    <a:lnTo>
                      <a:pt x="251" y="133"/>
                    </a:lnTo>
                    <a:lnTo>
                      <a:pt x="250" y="133"/>
                    </a:lnTo>
                    <a:lnTo>
                      <a:pt x="249" y="133"/>
                    </a:lnTo>
                    <a:lnTo>
                      <a:pt x="248" y="133"/>
                    </a:lnTo>
                    <a:lnTo>
                      <a:pt x="247" y="133"/>
                    </a:lnTo>
                    <a:lnTo>
                      <a:pt x="244" y="133"/>
                    </a:lnTo>
                    <a:lnTo>
                      <a:pt x="243" y="133"/>
                    </a:lnTo>
                    <a:lnTo>
                      <a:pt x="243" y="134"/>
                    </a:lnTo>
                    <a:lnTo>
                      <a:pt x="242" y="134"/>
                    </a:lnTo>
                    <a:lnTo>
                      <a:pt x="241" y="135"/>
                    </a:lnTo>
                    <a:lnTo>
                      <a:pt x="240" y="136"/>
                    </a:lnTo>
                    <a:lnTo>
                      <a:pt x="240" y="137"/>
                    </a:lnTo>
                    <a:lnTo>
                      <a:pt x="240" y="138"/>
                    </a:lnTo>
                    <a:lnTo>
                      <a:pt x="238" y="139"/>
                    </a:lnTo>
                    <a:lnTo>
                      <a:pt x="237" y="140"/>
                    </a:lnTo>
                    <a:lnTo>
                      <a:pt x="237" y="142"/>
                    </a:lnTo>
                    <a:lnTo>
                      <a:pt x="236" y="142"/>
                    </a:lnTo>
                    <a:lnTo>
                      <a:pt x="236" y="143"/>
                    </a:lnTo>
                    <a:lnTo>
                      <a:pt x="236" y="144"/>
                    </a:lnTo>
                    <a:lnTo>
                      <a:pt x="237" y="144"/>
                    </a:lnTo>
                    <a:lnTo>
                      <a:pt x="238" y="144"/>
                    </a:lnTo>
                    <a:lnTo>
                      <a:pt x="240" y="144"/>
                    </a:lnTo>
                    <a:lnTo>
                      <a:pt x="240" y="143"/>
                    </a:lnTo>
                    <a:lnTo>
                      <a:pt x="241" y="143"/>
                    </a:lnTo>
                    <a:lnTo>
                      <a:pt x="242" y="143"/>
                    </a:lnTo>
                    <a:lnTo>
                      <a:pt x="243" y="143"/>
                    </a:lnTo>
                    <a:lnTo>
                      <a:pt x="243" y="144"/>
                    </a:lnTo>
                    <a:lnTo>
                      <a:pt x="243" y="145"/>
                    </a:lnTo>
                    <a:lnTo>
                      <a:pt x="244" y="145"/>
                    </a:lnTo>
                    <a:lnTo>
                      <a:pt x="244" y="146"/>
                    </a:lnTo>
                    <a:lnTo>
                      <a:pt x="258" y="145"/>
                    </a:lnTo>
                    <a:lnTo>
                      <a:pt x="259" y="145"/>
                    </a:lnTo>
                    <a:lnTo>
                      <a:pt x="262" y="146"/>
                    </a:lnTo>
                    <a:lnTo>
                      <a:pt x="263" y="146"/>
                    </a:lnTo>
                    <a:lnTo>
                      <a:pt x="264" y="146"/>
                    </a:lnTo>
                    <a:lnTo>
                      <a:pt x="266" y="146"/>
                    </a:lnTo>
                    <a:lnTo>
                      <a:pt x="270" y="146"/>
                    </a:lnTo>
                    <a:lnTo>
                      <a:pt x="270" y="157"/>
                    </a:lnTo>
                    <a:lnTo>
                      <a:pt x="270" y="174"/>
                    </a:lnTo>
                    <a:lnTo>
                      <a:pt x="271" y="175"/>
                    </a:lnTo>
                    <a:lnTo>
                      <a:pt x="270" y="180"/>
                    </a:lnTo>
                    <a:lnTo>
                      <a:pt x="269" y="181"/>
                    </a:lnTo>
                    <a:lnTo>
                      <a:pt x="269" y="182"/>
                    </a:lnTo>
                    <a:lnTo>
                      <a:pt x="269" y="183"/>
                    </a:lnTo>
                    <a:lnTo>
                      <a:pt x="269" y="184"/>
                    </a:lnTo>
                    <a:lnTo>
                      <a:pt x="268" y="184"/>
                    </a:lnTo>
                    <a:lnTo>
                      <a:pt x="269" y="185"/>
                    </a:lnTo>
                    <a:lnTo>
                      <a:pt x="269" y="186"/>
                    </a:lnTo>
                    <a:lnTo>
                      <a:pt x="268" y="186"/>
                    </a:lnTo>
                    <a:lnTo>
                      <a:pt x="267" y="186"/>
                    </a:lnTo>
                    <a:lnTo>
                      <a:pt x="266" y="187"/>
                    </a:lnTo>
                    <a:lnTo>
                      <a:pt x="266" y="188"/>
                    </a:lnTo>
                    <a:lnTo>
                      <a:pt x="264" y="188"/>
                    </a:lnTo>
                    <a:lnTo>
                      <a:pt x="263" y="188"/>
                    </a:lnTo>
                    <a:lnTo>
                      <a:pt x="262" y="188"/>
                    </a:lnTo>
                    <a:lnTo>
                      <a:pt x="262" y="187"/>
                    </a:lnTo>
                    <a:lnTo>
                      <a:pt x="262" y="188"/>
                    </a:lnTo>
                    <a:lnTo>
                      <a:pt x="261" y="188"/>
                    </a:lnTo>
                    <a:lnTo>
                      <a:pt x="261" y="189"/>
                    </a:lnTo>
                    <a:lnTo>
                      <a:pt x="261" y="190"/>
                    </a:lnTo>
                    <a:lnTo>
                      <a:pt x="262" y="190"/>
                    </a:lnTo>
                    <a:lnTo>
                      <a:pt x="263" y="191"/>
                    </a:lnTo>
                    <a:lnTo>
                      <a:pt x="262" y="191"/>
                    </a:lnTo>
                    <a:lnTo>
                      <a:pt x="263" y="193"/>
                    </a:lnTo>
                    <a:lnTo>
                      <a:pt x="263" y="194"/>
                    </a:lnTo>
                    <a:lnTo>
                      <a:pt x="263" y="195"/>
                    </a:lnTo>
                    <a:lnTo>
                      <a:pt x="262" y="195"/>
                    </a:lnTo>
                    <a:lnTo>
                      <a:pt x="262" y="196"/>
                    </a:lnTo>
                    <a:lnTo>
                      <a:pt x="262" y="197"/>
                    </a:lnTo>
                    <a:lnTo>
                      <a:pt x="263" y="197"/>
                    </a:lnTo>
                    <a:lnTo>
                      <a:pt x="263" y="198"/>
                    </a:lnTo>
                    <a:lnTo>
                      <a:pt x="263" y="199"/>
                    </a:lnTo>
                    <a:lnTo>
                      <a:pt x="262" y="199"/>
                    </a:lnTo>
                    <a:lnTo>
                      <a:pt x="262" y="200"/>
                    </a:lnTo>
                    <a:lnTo>
                      <a:pt x="261" y="200"/>
                    </a:lnTo>
                    <a:lnTo>
                      <a:pt x="261" y="201"/>
                    </a:lnTo>
                    <a:lnTo>
                      <a:pt x="262" y="202"/>
                    </a:lnTo>
                    <a:lnTo>
                      <a:pt x="262" y="203"/>
                    </a:lnTo>
                    <a:lnTo>
                      <a:pt x="262" y="204"/>
                    </a:lnTo>
                    <a:lnTo>
                      <a:pt x="262" y="206"/>
                    </a:lnTo>
                    <a:lnTo>
                      <a:pt x="262" y="207"/>
                    </a:lnTo>
                    <a:lnTo>
                      <a:pt x="262" y="208"/>
                    </a:lnTo>
                    <a:lnTo>
                      <a:pt x="262" y="209"/>
                    </a:lnTo>
                    <a:lnTo>
                      <a:pt x="262" y="210"/>
                    </a:lnTo>
                    <a:lnTo>
                      <a:pt x="263" y="210"/>
                    </a:lnTo>
                    <a:lnTo>
                      <a:pt x="263" y="211"/>
                    </a:lnTo>
                    <a:lnTo>
                      <a:pt x="264" y="211"/>
                    </a:lnTo>
                    <a:lnTo>
                      <a:pt x="264" y="212"/>
                    </a:lnTo>
                    <a:lnTo>
                      <a:pt x="264" y="213"/>
                    </a:lnTo>
                    <a:lnTo>
                      <a:pt x="264" y="214"/>
                    </a:lnTo>
                    <a:lnTo>
                      <a:pt x="264" y="215"/>
                    </a:lnTo>
                    <a:lnTo>
                      <a:pt x="264" y="216"/>
                    </a:lnTo>
                    <a:lnTo>
                      <a:pt x="264" y="217"/>
                    </a:lnTo>
                    <a:lnTo>
                      <a:pt x="264" y="216"/>
                    </a:lnTo>
                    <a:lnTo>
                      <a:pt x="263" y="216"/>
                    </a:lnTo>
                    <a:lnTo>
                      <a:pt x="263" y="217"/>
                    </a:lnTo>
                    <a:lnTo>
                      <a:pt x="262" y="216"/>
                    </a:lnTo>
                    <a:lnTo>
                      <a:pt x="262" y="217"/>
                    </a:lnTo>
                    <a:lnTo>
                      <a:pt x="261" y="217"/>
                    </a:lnTo>
                    <a:lnTo>
                      <a:pt x="260" y="217"/>
                    </a:lnTo>
                    <a:lnTo>
                      <a:pt x="260" y="219"/>
                    </a:lnTo>
                    <a:lnTo>
                      <a:pt x="259" y="220"/>
                    </a:lnTo>
                    <a:lnTo>
                      <a:pt x="259" y="221"/>
                    </a:lnTo>
                    <a:lnTo>
                      <a:pt x="260" y="222"/>
                    </a:lnTo>
                    <a:lnTo>
                      <a:pt x="260" y="223"/>
                    </a:lnTo>
                    <a:lnTo>
                      <a:pt x="262" y="222"/>
                    </a:lnTo>
                    <a:lnTo>
                      <a:pt x="262" y="223"/>
                    </a:lnTo>
                    <a:lnTo>
                      <a:pt x="263" y="223"/>
                    </a:lnTo>
                    <a:lnTo>
                      <a:pt x="264" y="222"/>
                    </a:lnTo>
                    <a:lnTo>
                      <a:pt x="266" y="223"/>
                    </a:lnTo>
                    <a:lnTo>
                      <a:pt x="267" y="223"/>
                    </a:lnTo>
                    <a:lnTo>
                      <a:pt x="268" y="224"/>
                    </a:lnTo>
                    <a:lnTo>
                      <a:pt x="269" y="225"/>
                    </a:lnTo>
                    <a:lnTo>
                      <a:pt x="270" y="225"/>
                    </a:lnTo>
                    <a:lnTo>
                      <a:pt x="271" y="225"/>
                    </a:lnTo>
                    <a:lnTo>
                      <a:pt x="271" y="226"/>
                    </a:lnTo>
                    <a:lnTo>
                      <a:pt x="272" y="226"/>
                    </a:lnTo>
                    <a:lnTo>
                      <a:pt x="272" y="227"/>
                    </a:lnTo>
                    <a:lnTo>
                      <a:pt x="272" y="228"/>
                    </a:lnTo>
                    <a:lnTo>
                      <a:pt x="271" y="229"/>
                    </a:lnTo>
                    <a:lnTo>
                      <a:pt x="271" y="230"/>
                    </a:lnTo>
                    <a:lnTo>
                      <a:pt x="271" y="232"/>
                    </a:lnTo>
                    <a:lnTo>
                      <a:pt x="270" y="232"/>
                    </a:lnTo>
                    <a:lnTo>
                      <a:pt x="270" y="233"/>
                    </a:lnTo>
                    <a:lnTo>
                      <a:pt x="270" y="234"/>
                    </a:lnTo>
                    <a:lnTo>
                      <a:pt x="271" y="234"/>
                    </a:lnTo>
                    <a:lnTo>
                      <a:pt x="271" y="235"/>
                    </a:lnTo>
                    <a:lnTo>
                      <a:pt x="272" y="235"/>
                    </a:lnTo>
                    <a:lnTo>
                      <a:pt x="272" y="236"/>
                    </a:lnTo>
                    <a:lnTo>
                      <a:pt x="272" y="237"/>
                    </a:lnTo>
                    <a:lnTo>
                      <a:pt x="272" y="238"/>
                    </a:lnTo>
                    <a:lnTo>
                      <a:pt x="271" y="238"/>
                    </a:lnTo>
                    <a:lnTo>
                      <a:pt x="270" y="237"/>
                    </a:lnTo>
                    <a:lnTo>
                      <a:pt x="269" y="237"/>
                    </a:lnTo>
                    <a:lnTo>
                      <a:pt x="269" y="238"/>
                    </a:lnTo>
                    <a:lnTo>
                      <a:pt x="269" y="239"/>
                    </a:lnTo>
                    <a:lnTo>
                      <a:pt x="269" y="240"/>
                    </a:lnTo>
                    <a:lnTo>
                      <a:pt x="270" y="240"/>
                    </a:lnTo>
                    <a:lnTo>
                      <a:pt x="271" y="241"/>
                    </a:lnTo>
                    <a:lnTo>
                      <a:pt x="271" y="242"/>
                    </a:lnTo>
                    <a:lnTo>
                      <a:pt x="270" y="242"/>
                    </a:lnTo>
                    <a:lnTo>
                      <a:pt x="269" y="242"/>
                    </a:lnTo>
                    <a:lnTo>
                      <a:pt x="268" y="243"/>
                    </a:lnTo>
                    <a:lnTo>
                      <a:pt x="267" y="243"/>
                    </a:lnTo>
                    <a:lnTo>
                      <a:pt x="266" y="243"/>
                    </a:lnTo>
                    <a:lnTo>
                      <a:pt x="264" y="245"/>
                    </a:lnTo>
                    <a:lnTo>
                      <a:pt x="264" y="247"/>
                    </a:lnTo>
                    <a:lnTo>
                      <a:pt x="264" y="248"/>
                    </a:lnTo>
                    <a:lnTo>
                      <a:pt x="264" y="251"/>
                    </a:lnTo>
                    <a:lnTo>
                      <a:pt x="264" y="252"/>
                    </a:lnTo>
                    <a:lnTo>
                      <a:pt x="264" y="253"/>
                    </a:lnTo>
                    <a:lnTo>
                      <a:pt x="263" y="253"/>
                    </a:lnTo>
                    <a:lnTo>
                      <a:pt x="263" y="254"/>
                    </a:lnTo>
                    <a:lnTo>
                      <a:pt x="262" y="255"/>
                    </a:lnTo>
                    <a:lnTo>
                      <a:pt x="263" y="257"/>
                    </a:lnTo>
                    <a:lnTo>
                      <a:pt x="264" y="258"/>
                    </a:lnTo>
                    <a:lnTo>
                      <a:pt x="264" y="259"/>
                    </a:lnTo>
                    <a:lnTo>
                      <a:pt x="264" y="260"/>
                    </a:lnTo>
                    <a:lnTo>
                      <a:pt x="263" y="261"/>
                    </a:lnTo>
                    <a:lnTo>
                      <a:pt x="262" y="262"/>
                    </a:lnTo>
                    <a:lnTo>
                      <a:pt x="262" y="263"/>
                    </a:lnTo>
                    <a:lnTo>
                      <a:pt x="262" y="264"/>
                    </a:lnTo>
                    <a:lnTo>
                      <a:pt x="262" y="265"/>
                    </a:lnTo>
                    <a:lnTo>
                      <a:pt x="262" y="266"/>
                    </a:lnTo>
                    <a:lnTo>
                      <a:pt x="261" y="266"/>
                    </a:lnTo>
                    <a:lnTo>
                      <a:pt x="260" y="267"/>
                    </a:lnTo>
                    <a:lnTo>
                      <a:pt x="260" y="268"/>
                    </a:lnTo>
                    <a:lnTo>
                      <a:pt x="261" y="268"/>
                    </a:lnTo>
                    <a:lnTo>
                      <a:pt x="261" y="270"/>
                    </a:lnTo>
                    <a:lnTo>
                      <a:pt x="262" y="271"/>
                    </a:lnTo>
                    <a:lnTo>
                      <a:pt x="262" y="272"/>
                    </a:lnTo>
                    <a:lnTo>
                      <a:pt x="261" y="273"/>
                    </a:lnTo>
                    <a:lnTo>
                      <a:pt x="261" y="274"/>
                    </a:lnTo>
                    <a:lnTo>
                      <a:pt x="260" y="275"/>
                    </a:lnTo>
                    <a:lnTo>
                      <a:pt x="259" y="277"/>
                    </a:lnTo>
                    <a:lnTo>
                      <a:pt x="259" y="278"/>
                    </a:lnTo>
                    <a:lnTo>
                      <a:pt x="260" y="279"/>
                    </a:lnTo>
                    <a:lnTo>
                      <a:pt x="261" y="280"/>
                    </a:lnTo>
                    <a:lnTo>
                      <a:pt x="263" y="280"/>
                    </a:lnTo>
                    <a:lnTo>
                      <a:pt x="266" y="284"/>
                    </a:lnTo>
                    <a:lnTo>
                      <a:pt x="267" y="285"/>
                    </a:lnTo>
                    <a:lnTo>
                      <a:pt x="268" y="286"/>
                    </a:lnTo>
                    <a:lnTo>
                      <a:pt x="268" y="287"/>
                    </a:lnTo>
                    <a:lnTo>
                      <a:pt x="268" y="288"/>
                    </a:lnTo>
                    <a:lnTo>
                      <a:pt x="267" y="288"/>
                    </a:lnTo>
                    <a:lnTo>
                      <a:pt x="266" y="288"/>
                    </a:lnTo>
                    <a:lnTo>
                      <a:pt x="264" y="288"/>
                    </a:lnTo>
                    <a:lnTo>
                      <a:pt x="264" y="289"/>
                    </a:lnTo>
                    <a:lnTo>
                      <a:pt x="264" y="290"/>
                    </a:lnTo>
                    <a:lnTo>
                      <a:pt x="266" y="290"/>
                    </a:lnTo>
                    <a:lnTo>
                      <a:pt x="268" y="290"/>
                    </a:lnTo>
                    <a:lnTo>
                      <a:pt x="269" y="290"/>
                    </a:lnTo>
                    <a:lnTo>
                      <a:pt x="269" y="291"/>
                    </a:lnTo>
                    <a:lnTo>
                      <a:pt x="269" y="292"/>
                    </a:lnTo>
                    <a:lnTo>
                      <a:pt x="268" y="293"/>
                    </a:lnTo>
                    <a:lnTo>
                      <a:pt x="267" y="294"/>
                    </a:lnTo>
                    <a:lnTo>
                      <a:pt x="267" y="296"/>
                    </a:lnTo>
                    <a:lnTo>
                      <a:pt x="268" y="298"/>
                    </a:lnTo>
                    <a:lnTo>
                      <a:pt x="268" y="299"/>
                    </a:lnTo>
                    <a:lnTo>
                      <a:pt x="267" y="299"/>
                    </a:lnTo>
                    <a:lnTo>
                      <a:pt x="267" y="300"/>
                    </a:lnTo>
                    <a:lnTo>
                      <a:pt x="266" y="300"/>
                    </a:lnTo>
                    <a:lnTo>
                      <a:pt x="264" y="299"/>
                    </a:lnTo>
                    <a:lnTo>
                      <a:pt x="263" y="299"/>
                    </a:lnTo>
                    <a:lnTo>
                      <a:pt x="262" y="299"/>
                    </a:lnTo>
                    <a:lnTo>
                      <a:pt x="261" y="299"/>
                    </a:lnTo>
                    <a:lnTo>
                      <a:pt x="260" y="300"/>
                    </a:lnTo>
                    <a:lnTo>
                      <a:pt x="259" y="301"/>
                    </a:lnTo>
                    <a:lnTo>
                      <a:pt x="258" y="302"/>
                    </a:lnTo>
                    <a:lnTo>
                      <a:pt x="257" y="303"/>
                    </a:lnTo>
                    <a:lnTo>
                      <a:pt x="256" y="304"/>
                    </a:lnTo>
                    <a:lnTo>
                      <a:pt x="257" y="306"/>
                    </a:lnTo>
                    <a:lnTo>
                      <a:pt x="257" y="309"/>
                    </a:lnTo>
                    <a:lnTo>
                      <a:pt x="258" y="310"/>
                    </a:lnTo>
                    <a:lnTo>
                      <a:pt x="258" y="311"/>
                    </a:lnTo>
                    <a:lnTo>
                      <a:pt x="257" y="311"/>
                    </a:lnTo>
                    <a:lnTo>
                      <a:pt x="256" y="312"/>
                    </a:lnTo>
                    <a:lnTo>
                      <a:pt x="255" y="312"/>
                    </a:lnTo>
                    <a:lnTo>
                      <a:pt x="255" y="313"/>
                    </a:lnTo>
                    <a:lnTo>
                      <a:pt x="256" y="314"/>
                    </a:lnTo>
                    <a:lnTo>
                      <a:pt x="255" y="315"/>
                    </a:lnTo>
                    <a:lnTo>
                      <a:pt x="253" y="316"/>
                    </a:lnTo>
                    <a:lnTo>
                      <a:pt x="251" y="318"/>
                    </a:lnTo>
                    <a:lnTo>
                      <a:pt x="249" y="319"/>
                    </a:lnTo>
                    <a:lnTo>
                      <a:pt x="248" y="320"/>
                    </a:lnTo>
                    <a:lnTo>
                      <a:pt x="248" y="322"/>
                    </a:lnTo>
                    <a:lnTo>
                      <a:pt x="248" y="323"/>
                    </a:lnTo>
                    <a:lnTo>
                      <a:pt x="249" y="323"/>
                    </a:lnTo>
                    <a:lnTo>
                      <a:pt x="251" y="323"/>
                    </a:lnTo>
                    <a:lnTo>
                      <a:pt x="253" y="323"/>
                    </a:lnTo>
                    <a:lnTo>
                      <a:pt x="254" y="324"/>
                    </a:lnTo>
                    <a:lnTo>
                      <a:pt x="255" y="325"/>
                    </a:lnTo>
                    <a:lnTo>
                      <a:pt x="256" y="325"/>
                    </a:lnTo>
                    <a:lnTo>
                      <a:pt x="257" y="326"/>
                    </a:lnTo>
                    <a:lnTo>
                      <a:pt x="258" y="326"/>
                    </a:lnTo>
                    <a:lnTo>
                      <a:pt x="258" y="327"/>
                    </a:lnTo>
                    <a:lnTo>
                      <a:pt x="258" y="328"/>
                    </a:lnTo>
                    <a:lnTo>
                      <a:pt x="259" y="330"/>
                    </a:lnTo>
                    <a:lnTo>
                      <a:pt x="259" y="332"/>
                    </a:lnTo>
                    <a:lnTo>
                      <a:pt x="259" y="337"/>
                    </a:lnTo>
                    <a:lnTo>
                      <a:pt x="259" y="338"/>
                    </a:lnTo>
                    <a:lnTo>
                      <a:pt x="259" y="340"/>
                    </a:lnTo>
                    <a:lnTo>
                      <a:pt x="258" y="342"/>
                    </a:lnTo>
                    <a:lnTo>
                      <a:pt x="259" y="343"/>
                    </a:lnTo>
                    <a:lnTo>
                      <a:pt x="258" y="344"/>
                    </a:lnTo>
                    <a:lnTo>
                      <a:pt x="257" y="344"/>
                    </a:lnTo>
                    <a:lnTo>
                      <a:pt x="256" y="345"/>
                    </a:lnTo>
                    <a:lnTo>
                      <a:pt x="254" y="347"/>
                    </a:lnTo>
                    <a:lnTo>
                      <a:pt x="253" y="348"/>
                    </a:lnTo>
                    <a:lnTo>
                      <a:pt x="253" y="350"/>
                    </a:lnTo>
                    <a:lnTo>
                      <a:pt x="253" y="351"/>
                    </a:lnTo>
                    <a:lnTo>
                      <a:pt x="251" y="353"/>
                    </a:lnTo>
                    <a:lnTo>
                      <a:pt x="250" y="354"/>
                    </a:lnTo>
                    <a:lnTo>
                      <a:pt x="248" y="354"/>
                    </a:lnTo>
                    <a:lnTo>
                      <a:pt x="245" y="354"/>
                    </a:lnTo>
                    <a:lnTo>
                      <a:pt x="242" y="354"/>
                    </a:lnTo>
                    <a:lnTo>
                      <a:pt x="240" y="355"/>
                    </a:lnTo>
                    <a:lnTo>
                      <a:pt x="237" y="356"/>
                    </a:lnTo>
                    <a:lnTo>
                      <a:pt x="235" y="358"/>
                    </a:lnTo>
                    <a:lnTo>
                      <a:pt x="235" y="360"/>
                    </a:lnTo>
                    <a:lnTo>
                      <a:pt x="234" y="361"/>
                    </a:lnTo>
                    <a:lnTo>
                      <a:pt x="231" y="363"/>
                    </a:lnTo>
                    <a:lnTo>
                      <a:pt x="229" y="365"/>
                    </a:lnTo>
                    <a:lnTo>
                      <a:pt x="227" y="366"/>
                    </a:lnTo>
                    <a:lnTo>
                      <a:pt x="225" y="367"/>
                    </a:lnTo>
                    <a:lnTo>
                      <a:pt x="224" y="368"/>
                    </a:lnTo>
                    <a:lnTo>
                      <a:pt x="223" y="370"/>
                    </a:lnTo>
                    <a:lnTo>
                      <a:pt x="222" y="371"/>
                    </a:lnTo>
                    <a:lnTo>
                      <a:pt x="222" y="373"/>
                    </a:lnTo>
                    <a:lnTo>
                      <a:pt x="221" y="373"/>
                    </a:lnTo>
                    <a:lnTo>
                      <a:pt x="219" y="378"/>
                    </a:lnTo>
                    <a:lnTo>
                      <a:pt x="218" y="378"/>
                    </a:lnTo>
                    <a:lnTo>
                      <a:pt x="206" y="378"/>
                    </a:lnTo>
                    <a:lnTo>
                      <a:pt x="206" y="377"/>
                    </a:lnTo>
                    <a:lnTo>
                      <a:pt x="206" y="315"/>
                    </a:lnTo>
                    <a:lnTo>
                      <a:pt x="202" y="315"/>
                    </a:lnTo>
                    <a:lnTo>
                      <a:pt x="189" y="314"/>
                    </a:lnTo>
                    <a:lnTo>
                      <a:pt x="178" y="314"/>
                    </a:lnTo>
                    <a:lnTo>
                      <a:pt x="177" y="314"/>
                    </a:lnTo>
                    <a:lnTo>
                      <a:pt x="176" y="314"/>
                    </a:lnTo>
                    <a:lnTo>
                      <a:pt x="176" y="315"/>
                    </a:lnTo>
                    <a:lnTo>
                      <a:pt x="176" y="317"/>
                    </a:lnTo>
                    <a:lnTo>
                      <a:pt x="176" y="318"/>
                    </a:lnTo>
                    <a:lnTo>
                      <a:pt x="176" y="319"/>
                    </a:lnTo>
                    <a:lnTo>
                      <a:pt x="176" y="320"/>
                    </a:lnTo>
                    <a:lnTo>
                      <a:pt x="177" y="320"/>
                    </a:lnTo>
                    <a:lnTo>
                      <a:pt x="177" y="322"/>
                    </a:lnTo>
                    <a:lnTo>
                      <a:pt x="176" y="322"/>
                    </a:lnTo>
                    <a:lnTo>
                      <a:pt x="175" y="323"/>
                    </a:lnTo>
                    <a:lnTo>
                      <a:pt x="175" y="324"/>
                    </a:lnTo>
                    <a:lnTo>
                      <a:pt x="175" y="325"/>
                    </a:lnTo>
                    <a:lnTo>
                      <a:pt x="175" y="326"/>
                    </a:lnTo>
                    <a:lnTo>
                      <a:pt x="175" y="327"/>
                    </a:lnTo>
                    <a:lnTo>
                      <a:pt x="173" y="327"/>
                    </a:lnTo>
                    <a:lnTo>
                      <a:pt x="171" y="329"/>
                    </a:lnTo>
                    <a:lnTo>
                      <a:pt x="170" y="329"/>
                    </a:lnTo>
                    <a:lnTo>
                      <a:pt x="170" y="330"/>
                    </a:lnTo>
                    <a:lnTo>
                      <a:pt x="169" y="330"/>
                    </a:lnTo>
                    <a:lnTo>
                      <a:pt x="169" y="331"/>
                    </a:lnTo>
                    <a:lnTo>
                      <a:pt x="169" y="334"/>
                    </a:lnTo>
                    <a:lnTo>
                      <a:pt x="168" y="335"/>
                    </a:lnTo>
                    <a:lnTo>
                      <a:pt x="167" y="336"/>
                    </a:lnTo>
                    <a:lnTo>
                      <a:pt x="167" y="337"/>
                    </a:lnTo>
                    <a:lnTo>
                      <a:pt x="167" y="338"/>
                    </a:lnTo>
                    <a:lnTo>
                      <a:pt x="166" y="338"/>
                    </a:lnTo>
                    <a:lnTo>
                      <a:pt x="166" y="339"/>
                    </a:lnTo>
                    <a:lnTo>
                      <a:pt x="165" y="340"/>
                    </a:lnTo>
                    <a:lnTo>
                      <a:pt x="165" y="341"/>
                    </a:lnTo>
                    <a:lnTo>
                      <a:pt x="164" y="341"/>
                    </a:lnTo>
                    <a:lnTo>
                      <a:pt x="163" y="342"/>
                    </a:lnTo>
                    <a:lnTo>
                      <a:pt x="163" y="343"/>
                    </a:lnTo>
                    <a:lnTo>
                      <a:pt x="163" y="344"/>
                    </a:lnTo>
                    <a:lnTo>
                      <a:pt x="163" y="345"/>
                    </a:lnTo>
                    <a:lnTo>
                      <a:pt x="164" y="345"/>
                    </a:lnTo>
                    <a:lnTo>
                      <a:pt x="163" y="345"/>
                    </a:lnTo>
                    <a:lnTo>
                      <a:pt x="163" y="347"/>
                    </a:lnTo>
                    <a:lnTo>
                      <a:pt x="162" y="347"/>
                    </a:lnTo>
                    <a:lnTo>
                      <a:pt x="160" y="347"/>
                    </a:lnTo>
                    <a:lnTo>
                      <a:pt x="158" y="347"/>
                    </a:lnTo>
                    <a:lnTo>
                      <a:pt x="157" y="347"/>
                    </a:lnTo>
                    <a:lnTo>
                      <a:pt x="156" y="348"/>
                    </a:lnTo>
                    <a:lnTo>
                      <a:pt x="155" y="348"/>
                    </a:lnTo>
                    <a:lnTo>
                      <a:pt x="154" y="348"/>
                    </a:lnTo>
                    <a:lnTo>
                      <a:pt x="154" y="349"/>
                    </a:lnTo>
                    <a:lnTo>
                      <a:pt x="153" y="349"/>
                    </a:lnTo>
                    <a:lnTo>
                      <a:pt x="153" y="350"/>
                    </a:lnTo>
                    <a:lnTo>
                      <a:pt x="152" y="351"/>
                    </a:lnTo>
                    <a:lnTo>
                      <a:pt x="151" y="351"/>
                    </a:lnTo>
                    <a:lnTo>
                      <a:pt x="151" y="352"/>
                    </a:lnTo>
                    <a:lnTo>
                      <a:pt x="150" y="352"/>
                    </a:lnTo>
                    <a:lnTo>
                      <a:pt x="150" y="353"/>
                    </a:lnTo>
                    <a:lnTo>
                      <a:pt x="150" y="354"/>
                    </a:lnTo>
                    <a:lnTo>
                      <a:pt x="148" y="354"/>
                    </a:lnTo>
                    <a:lnTo>
                      <a:pt x="147" y="355"/>
                    </a:lnTo>
                    <a:lnTo>
                      <a:pt x="146" y="355"/>
                    </a:lnTo>
                    <a:lnTo>
                      <a:pt x="146" y="356"/>
                    </a:lnTo>
                    <a:lnTo>
                      <a:pt x="146" y="357"/>
                    </a:lnTo>
                    <a:lnTo>
                      <a:pt x="146" y="358"/>
                    </a:lnTo>
                    <a:lnTo>
                      <a:pt x="146" y="360"/>
                    </a:lnTo>
                    <a:lnTo>
                      <a:pt x="146" y="361"/>
                    </a:lnTo>
                    <a:lnTo>
                      <a:pt x="145" y="363"/>
                    </a:lnTo>
                    <a:lnTo>
                      <a:pt x="144" y="363"/>
                    </a:lnTo>
                    <a:lnTo>
                      <a:pt x="143" y="364"/>
                    </a:lnTo>
                    <a:lnTo>
                      <a:pt x="142" y="364"/>
                    </a:lnTo>
                    <a:lnTo>
                      <a:pt x="141" y="365"/>
                    </a:lnTo>
                    <a:lnTo>
                      <a:pt x="141" y="366"/>
                    </a:lnTo>
                    <a:lnTo>
                      <a:pt x="141" y="367"/>
                    </a:lnTo>
                    <a:lnTo>
                      <a:pt x="140" y="367"/>
                    </a:lnTo>
                    <a:lnTo>
                      <a:pt x="140" y="368"/>
                    </a:lnTo>
                    <a:lnTo>
                      <a:pt x="139" y="368"/>
                    </a:lnTo>
                    <a:lnTo>
                      <a:pt x="138" y="369"/>
                    </a:lnTo>
                    <a:lnTo>
                      <a:pt x="137" y="369"/>
                    </a:lnTo>
                    <a:lnTo>
                      <a:pt x="135" y="368"/>
                    </a:lnTo>
                    <a:lnTo>
                      <a:pt x="134" y="368"/>
                    </a:lnTo>
                    <a:lnTo>
                      <a:pt x="133" y="368"/>
                    </a:lnTo>
                    <a:lnTo>
                      <a:pt x="132" y="368"/>
                    </a:lnTo>
                    <a:lnTo>
                      <a:pt x="132" y="369"/>
                    </a:lnTo>
                    <a:lnTo>
                      <a:pt x="131" y="369"/>
                    </a:lnTo>
                    <a:lnTo>
                      <a:pt x="130" y="369"/>
                    </a:lnTo>
                    <a:lnTo>
                      <a:pt x="129" y="370"/>
                    </a:lnTo>
                    <a:lnTo>
                      <a:pt x="129" y="371"/>
                    </a:lnTo>
                    <a:lnTo>
                      <a:pt x="129" y="373"/>
                    </a:lnTo>
                    <a:lnTo>
                      <a:pt x="130" y="374"/>
                    </a:lnTo>
                    <a:lnTo>
                      <a:pt x="129" y="374"/>
                    </a:lnTo>
                    <a:lnTo>
                      <a:pt x="129" y="375"/>
                    </a:lnTo>
                    <a:lnTo>
                      <a:pt x="128" y="376"/>
                    </a:lnTo>
                    <a:lnTo>
                      <a:pt x="127" y="376"/>
                    </a:lnTo>
                    <a:lnTo>
                      <a:pt x="127" y="377"/>
                    </a:lnTo>
                    <a:lnTo>
                      <a:pt x="126" y="377"/>
                    </a:lnTo>
                    <a:lnTo>
                      <a:pt x="126" y="378"/>
                    </a:lnTo>
                    <a:lnTo>
                      <a:pt x="125" y="378"/>
                    </a:lnTo>
                    <a:lnTo>
                      <a:pt x="124" y="378"/>
                    </a:lnTo>
                    <a:lnTo>
                      <a:pt x="122" y="379"/>
                    </a:lnTo>
                    <a:lnTo>
                      <a:pt x="122" y="378"/>
                    </a:lnTo>
                    <a:lnTo>
                      <a:pt x="121" y="378"/>
                    </a:lnTo>
                    <a:lnTo>
                      <a:pt x="120" y="378"/>
                    </a:lnTo>
                    <a:lnTo>
                      <a:pt x="119" y="378"/>
                    </a:lnTo>
                    <a:lnTo>
                      <a:pt x="117" y="379"/>
                    </a:lnTo>
                    <a:lnTo>
                      <a:pt x="115" y="379"/>
                    </a:lnTo>
                    <a:lnTo>
                      <a:pt x="114" y="379"/>
                    </a:lnTo>
                    <a:lnTo>
                      <a:pt x="114" y="378"/>
                    </a:lnTo>
                    <a:lnTo>
                      <a:pt x="114" y="377"/>
                    </a:lnTo>
                    <a:lnTo>
                      <a:pt x="113" y="377"/>
                    </a:lnTo>
                    <a:lnTo>
                      <a:pt x="113" y="378"/>
                    </a:lnTo>
                    <a:lnTo>
                      <a:pt x="112" y="378"/>
                    </a:lnTo>
                    <a:lnTo>
                      <a:pt x="112" y="377"/>
                    </a:lnTo>
                    <a:lnTo>
                      <a:pt x="112" y="376"/>
                    </a:lnTo>
                    <a:lnTo>
                      <a:pt x="111" y="376"/>
                    </a:lnTo>
                    <a:lnTo>
                      <a:pt x="109" y="377"/>
                    </a:lnTo>
                    <a:lnTo>
                      <a:pt x="109" y="376"/>
                    </a:lnTo>
                    <a:lnTo>
                      <a:pt x="108" y="376"/>
                    </a:lnTo>
                    <a:lnTo>
                      <a:pt x="107" y="377"/>
                    </a:lnTo>
                    <a:lnTo>
                      <a:pt x="106" y="377"/>
                    </a:lnTo>
                    <a:lnTo>
                      <a:pt x="105" y="378"/>
                    </a:lnTo>
                    <a:lnTo>
                      <a:pt x="105" y="379"/>
                    </a:lnTo>
                    <a:lnTo>
                      <a:pt x="103" y="379"/>
                    </a:lnTo>
                    <a:lnTo>
                      <a:pt x="103" y="380"/>
                    </a:lnTo>
                    <a:lnTo>
                      <a:pt x="102" y="380"/>
                    </a:lnTo>
                    <a:lnTo>
                      <a:pt x="102" y="381"/>
                    </a:lnTo>
                    <a:lnTo>
                      <a:pt x="101" y="381"/>
                    </a:lnTo>
                    <a:lnTo>
                      <a:pt x="100" y="381"/>
                    </a:lnTo>
                    <a:lnTo>
                      <a:pt x="99" y="382"/>
                    </a:lnTo>
                    <a:lnTo>
                      <a:pt x="99" y="383"/>
                    </a:lnTo>
                    <a:lnTo>
                      <a:pt x="98" y="383"/>
                    </a:lnTo>
                    <a:lnTo>
                      <a:pt x="96" y="383"/>
                    </a:lnTo>
                    <a:lnTo>
                      <a:pt x="96" y="384"/>
                    </a:lnTo>
                    <a:lnTo>
                      <a:pt x="95" y="384"/>
                    </a:lnTo>
                    <a:lnTo>
                      <a:pt x="95" y="386"/>
                    </a:lnTo>
                    <a:lnTo>
                      <a:pt x="94" y="386"/>
                    </a:lnTo>
                    <a:lnTo>
                      <a:pt x="93" y="386"/>
                    </a:lnTo>
                    <a:lnTo>
                      <a:pt x="93" y="384"/>
                    </a:lnTo>
                    <a:lnTo>
                      <a:pt x="93" y="383"/>
                    </a:lnTo>
                    <a:lnTo>
                      <a:pt x="92" y="383"/>
                    </a:lnTo>
                    <a:lnTo>
                      <a:pt x="91" y="382"/>
                    </a:lnTo>
                    <a:lnTo>
                      <a:pt x="91" y="381"/>
                    </a:lnTo>
                    <a:lnTo>
                      <a:pt x="91" y="380"/>
                    </a:lnTo>
                    <a:lnTo>
                      <a:pt x="93" y="380"/>
                    </a:lnTo>
                    <a:lnTo>
                      <a:pt x="94" y="379"/>
                    </a:lnTo>
                    <a:lnTo>
                      <a:pt x="94" y="376"/>
                    </a:lnTo>
                    <a:lnTo>
                      <a:pt x="95" y="374"/>
                    </a:lnTo>
                    <a:lnTo>
                      <a:pt x="94" y="374"/>
                    </a:lnTo>
                    <a:lnTo>
                      <a:pt x="93" y="374"/>
                    </a:lnTo>
                    <a:lnTo>
                      <a:pt x="91" y="374"/>
                    </a:lnTo>
                    <a:lnTo>
                      <a:pt x="90" y="375"/>
                    </a:lnTo>
                    <a:lnTo>
                      <a:pt x="89" y="375"/>
                    </a:lnTo>
                    <a:lnTo>
                      <a:pt x="89" y="374"/>
                    </a:lnTo>
                    <a:lnTo>
                      <a:pt x="89" y="370"/>
                    </a:lnTo>
                    <a:lnTo>
                      <a:pt x="88" y="370"/>
                    </a:lnTo>
                    <a:lnTo>
                      <a:pt x="87" y="370"/>
                    </a:lnTo>
                    <a:lnTo>
                      <a:pt x="87" y="371"/>
                    </a:lnTo>
                    <a:lnTo>
                      <a:pt x="87" y="373"/>
                    </a:lnTo>
                    <a:lnTo>
                      <a:pt x="87" y="374"/>
                    </a:lnTo>
                    <a:lnTo>
                      <a:pt x="86" y="374"/>
                    </a:lnTo>
                    <a:lnTo>
                      <a:pt x="85" y="373"/>
                    </a:lnTo>
                    <a:lnTo>
                      <a:pt x="83" y="371"/>
                    </a:lnTo>
                    <a:lnTo>
                      <a:pt x="82" y="371"/>
                    </a:lnTo>
                    <a:lnTo>
                      <a:pt x="81" y="370"/>
                    </a:lnTo>
                    <a:lnTo>
                      <a:pt x="79" y="370"/>
                    </a:lnTo>
                    <a:lnTo>
                      <a:pt x="79" y="369"/>
                    </a:lnTo>
                    <a:lnTo>
                      <a:pt x="80" y="368"/>
                    </a:lnTo>
                    <a:lnTo>
                      <a:pt x="80" y="367"/>
                    </a:lnTo>
                    <a:lnTo>
                      <a:pt x="80" y="366"/>
                    </a:lnTo>
                    <a:lnTo>
                      <a:pt x="80" y="365"/>
                    </a:lnTo>
                    <a:lnTo>
                      <a:pt x="81" y="365"/>
                    </a:lnTo>
                    <a:lnTo>
                      <a:pt x="83" y="364"/>
                    </a:lnTo>
                    <a:lnTo>
                      <a:pt x="85" y="364"/>
                    </a:lnTo>
                    <a:lnTo>
                      <a:pt x="85" y="363"/>
                    </a:lnTo>
                    <a:lnTo>
                      <a:pt x="86" y="363"/>
                    </a:lnTo>
                    <a:lnTo>
                      <a:pt x="85" y="362"/>
                    </a:lnTo>
                    <a:lnTo>
                      <a:pt x="82" y="362"/>
                    </a:lnTo>
                    <a:lnTo>
                      <a:pt x="81" y="362"/>
                    </a:lnTo>
                    <a:lnTo>
                      <a:pt x="81" y="361"/>
                    </a:lnTo>
                    <a:lnTo>
                      <a:pt x="81" y="360"/>
                    </a:lnTo>
                    <a:lnTo>
                      <a:pt x="81" y="358"/>
                    </a:lnTo>
                    <a:lnTo>
                      <a:pt x="82" y="358"/>
                    </a:lnTo>
                    <a:lnTo>
                      <a:pt x="82" y="357"/>
                    </a:lnTo>
                    <a:lnTo>
                      <a:pt x="81" y="356"/>
                    </a:lnTo>
                    <a:lnTo>
                      <a:pt x="80" y="355"/>
                    </a:lnTo>
                    <a:lnTo>
                      <a:pt x="81" y="353"/>
                    </a:lnTo>
                    <a:lnTo>
                      <a:pt x="80" y="352"/>
                    </a:lnTo>
                    <a:lnTo>
                      <a:pt x="79" y="352"/>
                    </a:lnTo>
                    <a:lnTo>
                      <a:pt x="78" y="352"/>
                    </a:lnTo>
                    <a:lnTo>
                      <a:pt x="78" y="353"/>
                    </a:lnTo>
                    <a:lnTo>
                      <a:pt x="78" y="354"/>
                    </a:lnTo>
                    <a:lnTo>
                      <a:pt x="77" y="354"/>
                    </a:lnTo>
                    <a:lnTo>
                      <a:pt x="76" y="353"/>
                    </a:lnTo>
                    <a:lnTo>
                      <a:pt x="75" y="352"/>
                    </a:lnTo>
                    <a:lnTo>
                      <a:pt x="75" y="350"/>
                    </a:lnTo>
                    <a:lnTo>
                      <a:pt x="74" y="350"/>
                    </a:lnTo>
                    <a:lnTo>
                      <a:pt x="74" y="349"/>
                    </a:lnTo>
                    <a:lnTo>
                      <a:pt x="73" y="349"/>
                    </a:lnTo>
                    <a:lnTo>
                      <a:pt x="73" y="350"/>
                    </a:lnTo>
                    <a:lnTo>
                      <a:pt x="72" y="350"/>
                    </a:lnTo>
                    <a:lnTo>
                      <a:pt x="72" y="351"/>
                    </a:lnTo>
                    <a:lnTo>
                      <a:pt x="70" y="352"/>
                    </a:lnTo>
                    <a:lnTo>
                      <a:pt x="69" y="353"/>
                    </a:lnTo>
                    <a:lnTo>
                      <a:pt x="68" y="353"/>
                    </a:lnTo>
                    <a:lnTo>
                      <a:pt x="67" y="352"/>
                    </a:lnTo>
                    <a:lnTo>
                      <a:pt x="67" y="351"/>
                    </a:lnTo>
                    <a:lnTo>
                      <a:pt x="67" y="350"/>
                    </a:lnTo>
                    <a:lnTo>
                      <a:pt x="66" y="349"/>
                    </a:lnTo>
                    <a:lnTo>
                      <a:pt x="66" y="348"/>
                    </a:lnTo>
                    <a:lnTo>
                      <a:pt x="63" y="347"/>
                    </a:lnTo>
                    <a:lnTo>
                      <a:pt x="62" y="347"/>
                    </a:lnTo>
                    <a:lnTo>
                      <a:pt x="62" y="345"/>
                    </a:lnTo>
                    <a:lnTo>
                      <a:pt x="61" y="344"/>
                    </a:lnTo>
                    <a:lnTo>
                      <a:pt x="61" y="343"/>
                    </a:lnTo>
                    <a:lnTo>
                      <a:pt x="62" y="343"/>
                    </a:lnTo>
                    <a:lnTo>
                      <a:pt x="63" y="342"/>
                    </a:lnTo>
                    <a:lnTo>
                      <a:pt x="64" y="342"/>
                    </a:lnTo>
                    <a:lnTo>
                      <a:pt x="64" y="341"/>
                    </a:lnTo>
                    <a:lnTo>
                      <a:pt x="65" y="340"/>
                    </a:lnTo>
                    <a:lnTo>
                      <a:pt x="64" y="339"/>
                    </a:lnTo>
                    <a:lnTo>
                      <a:pt x="63" y="339"/>
                    </a:lnTo>
                    <a:lnTo>
                      <a:pt x="63" y="340"/>
                    </a:lnTo>
                    <a:lnTo>
                      <a:pt x="62" y="340"/>
                    </a:lnTo>
                    <a:lnTo>
                      <a:pt x="61" y="340"/>
                    </a:lnTo>
                    <a:lnTo>
                      <a:pt x="60" y="340"/>
                    </a:lnTo>
                    <a:lnTo>
                      <a:pt x="57" y="340"/>
                    </a:lnTo>
                    <a:lnTo>
                      <a:pt x="56" y="340"/>
                    </a:lnTo>
                    <a:lnTo>
                      <a:pt x="56" y="339"/>
                    </a:lnTo>
                    <a:lnTo>
                      <a:pt x="55" y="339"/>
                    </a:lnTo>
                    <a:lnTo>
                      <a:pt x="56" y="338"/>
                    </a:lnTo>
                    <a:lnTo>
                      <a:pt x="56" y="337"/>
                    </a:lnTo>
                    <a:lnTo>
                      <a:pt x="54" y="335"/>
                    </a:lnTo>
                    <a:lnTo>
                      <a:pt x="52" y="335"/>
                    </a:lnTo>
                    <a:lnTo>
                      <a:pt x="52" y="334"/>
                    </a:lnTo>
                    <a:lnTo>
                      <a:pt x="51" y="332"/>
                    </a:lnTo>
                    <a:lnTo>
                      <a:pt x="52" y="332"/>
                    </a:lnTo>
                    <a:lnTo>
                      <a:pt x="52" y="331"/>
                    </a:lnTo>
                    <a:lnTo>
                      <a:pt x="53" y="332"/>
                    </a:lnTo>
                    <a:lnTo>
                      <a:pt x="54" y="332"/>
                    </a:lnTo>
                    <a:lnTo>
                      <a:pt x="54" y="331"/>
                    </a:lnTo>
                    <a:lnTo>
                      <a:pt x="53" y="330"/>
                    </a:lnTo>
                    <a:lnTo>
                      <a:pt x="52" y="330"/>
                    </a:lnTo>
                    <a:lnTo>
                      <a:pt x="52" y="329"/>
                    </a:lnTo>
                    <a:lnTo>
                      <a:pt x="53" y="328"/>
                    </a:lnTo>
                    <a:lnTo>
                      <a:pt x="54" y="327"/>
                    </a:lnTo>
                    <a:lnTo>
                      <a:pt x="55" y="326"/>
                    </a:lnTo>
                    <a:lnTo>
                      <a:pt x="55" y="325"/>
                    </a:lnTo>
                    <a:lnTo>
                      <a:pt x="55" y="324"/>
                    </a:lnTo>
                    <a:lnTo>
                      <a:pt x="55" y="323"/>
                    </a:lnTo>
                    <a:lnTo>
                      <a:pt x="54" y="323"/>
                    </a:lnTo>
                    <a:lnTo>
                      <a:pt x="54" y="325"/>
                    </a:lnTo>
                    <a:lnTo>
                      <a:pt x="53" y="326"/>
                    </a:lnTo>
                    <a:lnTo>
                      <a:pt x="52" y="327"/>
                    </a:lnTo>
                    <a:lnTo>
                      <a:pt x="51" y="327"/>
                    </a:lnTo>
                    <a:lnTo>
                      <a:pt x="50" y="327"/>
                    </a:lnTo>
                    <a:lnTo>
                      <a:pt x="50" y="326"/>
                    </a:lnTo>
                    <a:lnTo>
                      <a:pt x="50" y="325"/>
                    </a:lnTo>
                    <a:lnTo>
                      <a:pt x="50" y="324"/>
                    </a:lnTo>
                    <a:lnTo>
                      <a:pt x="50" y="323"/>
                    </a:lnTo>
                    <a:lnTo>
                      <a:pt x="49" y="323"/>
                    </a:lnTo>
                    <a:lnTo>
                      <a:pt x="47" y="324"/>
                    </a:lnTo>
                    <a:lnTo>
                      <a:pt x="46" y="325"/>
                    </a:lnTo>
                    <a:lnTo>
                      <a:pt x="46" y="324"/>
                    </a:lnTo>
                    <a:lnTo>
                      <a:pt x="44" y="324"/>
                    </a:lnTo>
                    <a:lnTo>
                      <a:pt x="44" y="323"/>
                    </a:lnTo>
                    <a:lnTo>
                      <a:pt x="44" y="322"/>
                    </a:lnTo>
                    <a:lnTo>
                      <a:pt x="46" y="319"/>
                    </a:lnTo>
                    <a:lnTo>
                      <a:pt x="46" y="318"/>
                    </a:lnTo>
                    <a:lnTo>
                      <a:pt x="44" y="317"/>
                    </a:lnTo>
                    <a:lnTo>
                      <a:pt x="43" y="317"/>
                    </a:lnTo>
                    <a:lnTo>
                      <a:pt x="43" y="318"/>
                    </a:lnTo>
                    <a:lnTo>
                      <a:pt x="42" y="318"/>
                    </a:lnTo>
                    <a:lnTo>
                      <a:pt x="43" y="322"/>
                    </a:lnTo>
                    <a:lnTo>
                      <a:pt x="43" y="323"/>
                    </a:lnTo>
                    <a:lnTo>
                      <a:pt x="42" y="323"/>
                    </a:lnTo>
                    <a:lnTo>
                      <a:pt x="41" y="322"/>
                    </a:lnTo>
                    <a:lnTo>
                      <a:pt x="40" y="320"/>
                    </a:lnTo>
                    <a:lnTo>
                      <a:pt x="39" y="319"/>
                    </a:lnTo>
                    <a:lnTo>
                      <a:pt x="37" y="318"/>
                    </a:lnTo>
                    <a:lnTo>
                      <a:pt x="36" y="317"/>
                    </a:lnTo>
                    <a:lnTo>
                      <a:pt x="34" y="316"/>
                    </a:lnTo>
                    <a:lnTo>
                      <a:pt x="33" y="315"/>
                    </a:lnTo>
                    <a:lnTo>
                      <a:pt x="30" y="314"/>
                    </a:lnTo>
                    <a:lnTo>
                      <a:pt x="29" y="314"/>
                    </a:lnTo>
                    <a:lnTo>
                      <a:pt x="28" y="314"/>
                    </a:lnTo>
                    <a:lnTo>
                      <a:pt x="27" y="314"/>
                    </a:lnTo>
                    <a:lnTo>
                      <a:pt x="26" y="313"/>
                    </a:lnTo>
                    <a:lnTo>
                      <a:pt x="26" y="312"/>
                    </a:lnTo>
                    <a:lnTo>
                      <a:pt x="27" y="310"/>
                    </a:lnTo>
                    <a:lnTo>
                      <a:pt x="26" y="309"/>
                    </a:lnTo>
                    <a:lnTo>
                      <a:pt x="25" y="307"/>
                    </a:lnTo>
                    <a:lnTo>
                      <a:pt x="25" y="306"/>
                    </a:lnTo>
                    <a:lnTo>
                      <a:pt x="25" y="305"/>
                    </a:lnTo>
                    <a:lnTo>
                      <a:pt x="25" y="304"/>
                    </a:lnTo>
                    <a:lnTo>
                      <a:pt x="24" y="304"/>
                    </a:lnTo>
                    <a:lnTo>
                      <a:pt x="23" y="304"/>
                    </a:lnTo>
                    <a:lnTo>
                      <a:pt x="21" y="301"/>
                    </a:lnTo>
                    <a:lnTo>
                      <a:pt x="22" y="300"/>
                    </a:lnTo>
                    <a:lnTo>
                      <a:pt x="22" y="299"/>
                    </a:lnTo>
                    <a:lnTo>
                      <a:pt x="23" y="299"/>
                    </a:lnTo>
                    <a:lnTo>
                      <a:pt x="22" y="298"/>
                    </a:lnTo>
                    <a:lnTo>
                      <a:pt x="21" y="298"/>
                    </a:lnTo>
                    <a:lnTo>
                      <a:pt x="19" y="298"/>
                    </a:lnTo>
                    <a:lnTo>
                      <a:pt x="19" y="297"/>
                    </a:lnTo>
                    <a:lnTo>
                      <a:pt x="19" y="296"/>
                    </a:lnTo>
                    <a:lnTo>
                      <a:pt x="21" y="294"/>
                    </a:lnTo>
                    <a:lnTo>
                      <a:pt x="23" y="293"/>
                    </a:lnTo>
                    <a:lnTo>
                      <a:pt x="23" y="292"/>
                    </a:lnTo>
                    <a:lnTo>
                      <a:pt x="22" y="292"/>
                    </a:lnTo>
                    <a:lnTo>
                      <a:pt x="22" y="291"/>
                    </a:lnTo>
                    <a:lnTo>
                      <a:pt x="21" y="290"/>
                    </a:lnTo>
                    <a:lnTo>
                      <a:pt x="21" y="289"/>
                    </a:lnTo>
                    <a:lnTo>
                      <a:pt x="22" y="288"/>
                    </a:lnTo>
                    <a:lnTo>
                      <a:pt x="22" y="287"/>
                    </a:lnTo>
                    <a:lnTo>
                      <a:pt x="21" y="287"/>
                    </a:lnTo>
                    <a:lnTo>
                      <a:pt x="22" y="286"/>
                    </a:lnTo>
                    <a:lnTo>
                      <a:pt x="24" y="286"/>
                    </a:lnTo>
                    <a:lnTo>
                      <a:pt x="24" y="284"/>
                    </a:lnTo>
                    <a:lnTo>
                      <a:pt x="23" y="283"/>
                    </a:lnTo>
                    <a:lnTo>
                      <a:pt x="23" y="281"/>
                    </a:lnTo>
                    <a:lnTo>
                      <a:pt x="22" y="280"/>
                    </a:lnTo>
                    <a:lnTo>
                      <a:pt x="21" y="280"/>
                    </a:lnTo>
                    <a:lnTo>
                      <a:pt x="21" y="279"/>
                    </a:lnTo>
                    <a:lnTo>
                      <a:pt x="21" y="278"/>
                    </a:lnTo>
                    <a:lnTo>
                      <a:pt x="21" y="277"/>
                    </a:lnTo>
                    <a:lnTo>
                      <a:pt x="19" y="276"/>
                    </a:lnTo>
                    <a:lnTo>
                      <a:pt x="19" y="275"/>
                    </a:lnTo>
                    <a:lnTo>
                      <a:pt x="18" y="275"/>
                    </a:lnTo>
                    <a:lnTo>
                      <a:pt x="19" y="273"/>
                    </a:lnTo>
                    <a:lnTo>
                      <a:pt x="21" y="272"/>
                    </a:lnTo>
                    <a:lnTo>
                      <a:pt x="21" y="271"/>
                    </a:lnTo>
                    <a:lnTo>
                      <a:pt x="22" y="270"/>
                    </a:lnTo>
                    <a:lnTo>
                      <a:pt x="22" y="268"/>
                    </a:lnTo>
                    <a:lnTo>
                      <a:pt x="21" y="267"/>
                    </a:lnTo>
                    <a:lnTo>
                      <a:pt x="19" y="267"/>
                    </a:lnTo>
                    <a:lnTo>
                      <a:pt x="18" y="267"/>
                    </a:lnTo>
                    <a:lnTo>
                      <a:pt x="18" y="266"/>
                    </a:lnTo>
                    <a:lnTo>
                      <a:pt x="18" y="265"/>
                    </a:lnTo>
                    <a:lnTo>
                      <a:pt x="18" y="264"/>
                    </a:lnTo>
                    <a:lnTo>
                      <a:pt x="19" y="264"/>
                    </a:lnTo>
                    <a:lnTo>
                      <a:pt x="21" y="265"/>
                    </a:lnTo>
                    <a:lnTo>
                      <a:pt x="22" y="265"/>
                    </a:lnTo>
                    <a:lnTo>
                      <a:pt x="22" y="264"/>
                    </a:lnTo>
                    <a:lnTo>
                      <a:pt x="21" y="263"/>
                    </a:lnTo>
                    <a:lnTo>
                      <a:pt x="19" y="263"/>
                    </a:lnTo>
                    <a:lnTo>
                      <a:pt x="19" y="262"/>
                    </a:lnTo>
                    <a:lnTo>
                      <a:pt x="18" y="261"/>
                    </a:lnTo>
                    <a:lnTo>
                      <a:pt x="15" y="260"/>
                    </a:lnTo>
                    <a:lnTo>
                      <a:pt x="15" y="259"/>
                    </a:lnTo>
                    <a:lnTo>
                      <a:pt x="15" y="258"/>
                    </a:lnTo>
                    <a:lnTo>
                      <a:pt x="14" y="258"/>
                    </a:lnTo>
                    <a:lnTo>
                      <a:pt x="14" y="257"/>
                    </a:lnTo>
                    <a:lnTo>
                      <a:pt x="13" y="255"/>
                    </a:lnTo>
                    <a:lnTo>
                      <a:pt x="13" y="254"/>
                    </a:lnTo>
                    <a:lnTo>
                      <a:pt x="12" y="253"/>
                    </a:lnTo>
                    <a:lnTo>
                      <a:pt x="13" y="252"/>
                    </a:lnTo>
                    <a:lnTo>
                      <a:pt x="13" y="251"/>
                    </a:lnTo>
                    <a:lnTo>
                      <a:pt x="14" y="251"/>
                    </a:lnTo>
                    <a:lnTo>
                      <a:pt x="15" y="250"/>
                    </a:lnTo>
                    <a:lnTo>
                      <a:pt x="15" y="249"/>
                    </a:lnTo>
                    <a:lnTo>
                      <a:pt x="14" y="248"/>
                    </a:lnTo>
                    <a:lnTo>
                      <a:pt x="13" y="249"/>
                    </a:lnTo>
                    <a:lnTo>
                      <a:pt x="12" y="251"/>
                    </a:lnTo>
                    <a:lnTo>
                      <a:pt x="11" y="251"/>
                    </a:lnTo>
                    <a:lnTo>
                      <a:pt x="11" y="252"/>
                    </a:lnTo>
                    <a:lnTo>
                      <a:pt x="10" y="252"/>
                    </a:lnTo>
                    <a:lnTo>
                      <a:pt x="10" y="251"/>
                    </a:lnTo>
                    <a:lnTo>
                      <a:pt x="9" y="250"/>
                    </a:lnTo>
                    <a:lnTo>
                      <a:pt x="8" y="248"/>
                    </a:lnTo>
                    <a:lnTo>
                      <a:pt x="8" y="247"/>
                    </a:lnTo>
                    <a:lnTo>
                      <a:pt x="8" y="246"/>
                    </a:lnTo>
                    <a:lnTo>
                      <a:pt x="8" y="245"/>
                    </a:lnTo>
                    <a:lnTo>
                      <a:pt x="6" y="245"/>
                    </a:lnTo>
                    <a:lnTo>
                      <a:pt x="4" y="245"/>
                    </a:lnTo>
                    <a:lnTo>
                      <a:pt x="3" y="246"/>
                    </a:lnTo>
                    <a:lnTo>
                      <a:pt x="2" y="246"/>
                    </a:lnTo>
                    <a:lnTo>
                      <a:pt x="1" y="246"/>
                    </a:lnTo>
                    <a:lnTo>
                      <a:pt x="0" y="246"/>
                    </a:lnTo>
                    <a:lnTo>
                      <a:pt x="0" y="245"/>
                    </a:lnTo>
                    <a:lnTo>
                      <a:pt x="1" y="243"/>
                    </a:lnTo>
                    <a:lnTo>
                      <a:pt x="2" y="242"/>
                    </a:lnTo>
                    <a:lnTo>
                      <a:pt x="3" y="241"/>
                    </a:lnTo>
                    <a:lnTo>
                      <a:pt x="3" y="240"/>
                    </a:lnTo>
                    <a:lnTo>
                      <a:pt x="4" y="239"/>
                    </a:lnTo>
                    <a:lnTo>
                      <a:pt x="4" y="238"/>
                    </a:lnTo>
                    <a:lnTo>
                      <a:pt x="5" y="238"/>
                    </a:lnTo>
                    <a:lnTo>
                      <a:pt x="6" y="238"/>
                    </a:lnTo>
                    <a:lnTo>
                      <a:pt x="8" y="237"/>
                    </a:lnTo>
                    <a:lnTo>
                      <a:pt x="9" y="236"/>
                    </a:lnTo>
                    <a:lnTo>
                      <a:pt x="10" y="236"/>
                    </a:lnTo>
                    <a:lnTo>
                      <a:pt x="11" y="237"/>
                    </a:lnTo>
                    <a:lnTo>
                      <a:pt x="12" y="237"/>
                    </a:lnTo>
                    <a:lnTo>
                      <a:pt x="12" y="236"/>
                    </a:lnTo>
                    <a:lnTo>
                      <a:pt x="13" y="235"/>
                    </a:lnTo>
                    <a:lnTo>
                      <a:pt x="13" y="234"/>
                    </a:lnTo>
                    <a:lnTo>
                      <a:pt x="13" y="233"/>
                    </a:lnTo>
                    <a:lnTo>
                      <a:pt x="12" y="233"/>
                    </a:lnTo>
                    <a:lnTo>
                      <a:pt x="12" y="232"/>
                    </a:lnTo>
                    <a:lnTo>
                      <a:pt x="13" y="232"/>
                    </a:lnTo>
                    <a:lnTo>
                      <a:pt x="14" y="232"/>
                    </a:lnTo>
                    <a:lnTo>
                      <a:pt x="14" y="233"/>
                    </a:lnTo>
                    <a:lnTo>
                      <a:pt x="15" y="234"/>
                    </a:lnTo>
                    <a:lnTo>
                      <a:pt x="16" y="235"/>
                    </a:lnTo>
                    <a:lnTo>
                      <a:pt x="17" y="235"/>
                    </a:lnTo>
                    <a:lnTo>
                      <a:pt x="18" y="234"/>
                    </a:lnTo>
                    <a:lnTo>
                      <a:pt x="18" y="233"/>
                    </a:lnTo>
                    <a:lnTo>
                      <a:pt x="19" y="233"/>
                    </a:lnTo>
                    <a:lnTo>
                      <a:pt x="19" y="234"/>
                    </a:lnTo>
                    <a:lnTo>
                      <a:pt x="19" y="235"/>
                    </a:lnTo>
                    <a:lnTo>
                      <a:pt x="18" y="236"/>
                    </a:lnTo>
                    <a:lnTo>
                      <a:pt x="18" y="237"/>
                    </a:lnTo>
                    <a:lnTo>
                      <a:pt x="18" y="238"/>
                    </a:lnTo>
                    <a:lnTo>
                      <a:pt x="19" y="239"/>
                    </a:lnTo>
                    <a:lnTo>
                      <a:pt x="21" y="238"/>
                    </a:lnTo>
                    <a:lnTo>
                      <a:pt x="21" y="237"/>
                    </a:lnTo>
                    <a:lnTo>
                      <a:pt x="21" y="235"/>
                    </a:lnTo>
                    <a:lnTo>
                      <a:pt x="22" y="233"/>
                    </a:lnTo>
                    <a:lnTo>
                      <a:pt x="22" y="232"/>
                    </a:lnTo>
                    <a:lnTo>
                      <a:pt x="23" y="230"/>
                    </a:lnTo>
                    <a:lnTo>
                      <a:pt x="24" y="230"/>
                    </a:lnTo>
                    <a:lnTo>
                      <a:pt x="25" y="232"/>
                    </a:lnTo>
                    <a:lnTo>
                      <a:pt x="25" y="233"/>
                    </a:lnTo>
                    <a:lnTo>
                      <a:pt x="26" y="233"/>
                    </a:lnTo>
                    <a:lnTo>
                      <a:pt x="27" y="233"/>
                    </a:lnTo>
                    <a:lnTo>
                      <a:pt x="27" y="232"/>
                    </a:lnTo>
                    <a:lnTo>
                      <a:pt x="26" y="232"/>
                    </a:lnTo>
                    <a:lnTo>
                      <a:pt x="26" y="230"/>
                    </a:lnTo>
                    <a:lnTo>
                      <a:pt x="26" y="229"/>
                    </a:lnTo>
                    <a:lnTo>
                      <a:pt x="26" y="228"/>
                    </a:lnTo>
                    <a:lnTo>
                      <a:pt x="27" y="228"/>
                    </a:lnTo>
                    <a:lnTo>
                      <a:pt x="28" y="228"/>
                    </a:lnTo>
                    <a:lnTo>
                      <a:pt x="30" y="229"/>
                    </a:lnTo>
                    <a:lnTo>
                      <a:pt x="31" y="229"/>
                    </a:lnTo>
                    <a:lnTo>
                      <a:pt x="34" y="229"/>
                    </a:lnTo>
                    <a:lnTo>
                      <a:pt x="35" y="229"/>
                    </a:lnTo>
                    <a:lnTo>
                      <a:pt x="36" y="229"/>
                    </a:lnTo>
                    <a:lnTo>
                      <a:pt x="37" y="229"/>
                    </a:lnTo>
                    <a:lnTo>
                      <a:pt x="37" y="228"/>
                    </a:lnTo>
                    <a:lnTo>
                      <a:pt x="38" y="227"/>
                    </a:lnTo>
                    <a:lnTo>
                      <a:pt x="39" y="227"/>
                    </a:lnTo>
                    <a:lnTo>
                      <a:pt x="40" y="227"/>
                    </a:lnTo>
                    <a:lnTo>
                      <a:pt x="40" y="226"/>
                    </a:lnTo>
                    <a:lnTo>
                      <a:pt x="40" y="225"/>
                    </a:lnTo>
                    <a:lnTo>
                      <a:pt x="39" y="225"/>
                    </a:lnTo>
                    <a:lnTo>
                      <a:pt x="39" y="224"/>
                    </a:lnTo>
                    <a:lnTo>
                      <a:pt x="39" y="223"/>
                    </a:lnTo>
                    <a:lnTo>
                      <a:pt x="39" y="222"/>
                    </a:lnTo>
                    <a:lnTo>
                      <a:pt x="40" y="222"/>
                    </a:lnTo>
                    <a:lnTo>
                      <a:pt x="40" y="221"/>
                    </a:lnTo>
                    <a:lnTo>
                      <a:pt x="39" y="220"/>
                    </a:lnTo>
                    <a:lnTo>
                      <a:pt x="38" y="220"/>
                    </a:lnTo>
                    <a:lnTo>
                      <a:pt x="37" y="219"/>
                    </a:lnTo>
                    <a:lnTo>
                      <a:pt x="37" y="217"/>
                    </a:lnTo>
                    <a:lnTo>
                      <a:pt x="36" y="217"/>
                    </a:lnTo>
                    <a:lnTo>
                      <a:pt x="36" y="216"/>
                    </a:lnTo>
                    <a:lnTo>
                      <a:pt x="36" y="215"/>
                    </a:lnTo>
                    <a:lnTo>
                      <a:pt x="36" y="214"/>
                    </a:lnTo>
                    <a:lnTo>
                      <a:pt x="36" y="213"/>
                    </a:lnTo>
                    <a:lnTo>
                      <a:pt x="37" y="213"/>
                    </a:lnTo>
                    <a:lnTo>
                      <a:pt x="37" y="212"/>
                    </a:lnTo>
                    <a:lnTo>
                      <a:pt x="38" y="211"/>
                    </a:lnTo>
                    <a:lnTo>
                      <a:pt x="39" y="210"/>
                    </a:lnTo>
                    <a:lnTo>
                      <a:pt x="39" y="209"/>
                    </a:lnTo>
                    <a:lnTo>
                      <a:pt x="39" y="208"/>
                    </a:lnTo>
                    <a:lnTo>
                      <a:pt x="39" y="207"/>
                    </a:lnTo>
                    <a:lnTo>
                      <a:pt x="37" y="206"/>
                    </a:lnTo>
                    <a:lnTo>
                      <a:pt x="37" y="204"/>
                    </a:lnTo>
                    <a:lnTo>
                      <a:pt x="37" y="203"/>
                    </a:lnTo>
                    <a:lnTo>
                      <a:pt x="37" y="202"/>
                    </a:lnTo>
                    <a:lnTo>
                      <a:pt x="36" y="201"/>
                    </a:lnTo>
                    <a:lnTo>
                      <a:pt x="35" y="201"/>
                    </a:lnTo>
                    <a:lnTo>
                      <a:pt x="34" y="201"/>
                    </a:lnTo>
                    <a:lnTo>
                      <a:pt x="34" y="202"/>
                    </a:lnTo>
                    <a:lnTo>
                      <a:pt x="33" y="203"/>
                    </a:lnTo>
                    <a:lnTo>
                      <a:pt x="33" y="204"/>
                    </a:lnTo>
                    <a:lnTo>
                      <a:pt x="31" y="206"/>
                    </a:lnTo>
                    <a:lnTo>
                      <a:pt x="31" y="207"/>
                    </a:lnTo>
                    <a:lnTo>
                      <a:pt x="30" y="207"/>
                    </a:lnTo>
                    <a:lnTo>
                      <a:pt x="29" y="207"/>
                    </a:lnTo>
                    <a:lnTo>
                      <a:pt x="29" y="206"/>
                    </a:lnTo>
                    <a:lnTo>
                      <a:pt x="30" y="204"/>
                    </a:lnTo>
                    <a:lnTo>
                      <a:pt x="30" y="203"/>
                    </a:lnTo>
                    <a:lnTo>
                      <a:pt x="30" y="202"/>
                    </a:lnTo>
                    <a:lnTo>
                      <a:pt x="30" y="201"/>
                    </a:lnTo>
                    <a:lnTo>
                      <a:pt x="30" y="200"/>
                    </a:lnTo>
                    <a:lnTo>
                      <a:pt x="30" y="199"/>
                    </a:lnTo>
                    <a:lnTo>
                      <a:pt x="31" y="198"/>
                    </a:lnTo>
                    <a:lnTo>
                      <a:pt x="31" y="197"/>
                    </a:lnTo>
                    <a:lnTo>
                      <a:pt x="30" y="197"/>
                    </a:lnTo>
                    <a:lnTo>
                      <a:pt x="29" y="196"/>
                    </a:lnTo>
                    <a:lnTo>
                      <a:pt x="28" y="196"/>
                    </a:lnTo>
                    <a:lnTo>
                      <a:pt x="28" y="195"/>
                    </a:lnTo>
                    <a:lnTo>
                      <a:pt x="27" y="194"/>
                    </a:lnTo>
                    <a:lnTo>
                      <a:pt x="26" y="193"/>
                    </a:lnTo>
                    <a:lnTo>
                      <a:pt x="25" y="194"/>
                    </a:lnTo>
                    <a:lnTo>
                      <a:pt x="24" y="194"/>
                    </a:lnTo>
                    <a:lnTo>
                      <a:pt x="24" y="193"/>
                    </a:lnTo>
                    <a:lnTo>
                      <a:pt x="23" y="193"/>
                    </a:lnTo>
                    <a:lnTo>
                      <a:pt x="24" y="191"/>
                    </a:lnTo>
                    <a:lnTo>
                      <a:pt x="23" y="191"/>
                    </a:lnTo>
                    <a:lnTo>
                      <a:pt x="23" y="190"/>
                    </a:lnTo>
                    <a:lnTo>
                      <a:pt x="22" y="190"/>
                    </a:lnTo>
                    <a:lnTo>
                      <a:pt x="22" y="189"/>
                    </a:lnTo>
                    <a:lnTo>
                      <a:pt x="23" y="189"/>
                    </a:lnTo>
                    <a:lnTo>
                      <a:pt x="23" y="188"/>
                    </a:lnTo>
                    <a:lnTo>
                      <a:pt x="23" y="187"/>
                    </a:lnTo>
                    <a:lnTo>
                      <a:pt x="22" y="187"/>
                    </a:lnTo>
                    <a:lnTo>
                      <a:pt x="22" y="186"/>
                    </a:lnTo>
                    <a:lnTo>
                      <a:pt x="23" y="186"/>
                    </a:lnTo>
                    <a:lnTo>
                      <a:pt x="23" y="185"/>
                    </a:lnTo>
                    <a:lnTo>
                      <a:pt x="24" y="185"/>
                    </a:lnTo>
                    <a:lnTo>
                      <a:pt x="24" y="184"/>
                    </a:lnTo>
                    <a:lnTo>
                      <a:pt x="24" y="183"/>
                    </a:lnTo>
                    <a:lnTo>
                      <a:pt x="25" y="182"/>
                    </a:lnTo>
                    <a:lnTo>
                      <a:pt x="26" y="182"/>
                    </a:lnTo>
                    <a:lnTo>
                      <a:pt x="26" y="181"/>
                    </a:lnTo>
                    <a:lnTo>
                      <a:pt x="26" y="180"/>
                    </a:lnTo>
                    <a:lnTo>
                      <a:pt x="27" y="178"/>
                    </a:lnTo>
                    <a:lnTo>
                      <a:pt x="28" y="177"/>
                    </a:lnTo>
                    <a:lnTo>
                      <a:pt x="28" y="176"/>
                    </a:lnTo>
                    <a:lnTo>
                      <a:pt x="28" y="175"/>
                    </a:lnTo>
                    <a:lnTo>
                      <a:pt x="29" y="175"/>
                    </a:lnTo>
                    <a:lnTo>
                      <a:pt x="30" y="175"/>
                    </a:lnTo>
                    <a:lnTo>
                      <a:pt x="30" y="174"/>
                    </a:lnTo>
                    <a:lnTo>
                      <a:pt x="29" y="174"/>
                    </a:lnTo>
                    <a:lnTo>
                      <a:pt x="29" y="173"/>
                    </a:lnTo>
                    <a:lnTo>
                      <a:pt x="30" y="171"/>
                    </a:lnTo>
                    <a:lnTo>
                      <a:pt x="31" y="171"/>
                    </a:lnTo>
                    <a:lnTo>
                      <a:pt x="33" y="171"/>
                    </a:lnTo>
                    <a:lnTo>
                      <a:pt x="33" y="170"/>
                    </a:lnTo>
                    <a:lnTo>
                      <a:pt x="33" y="169"/>
                    </a:lnTo>
                    <a:lnTo>
                      <a:pt x="34" y="169"/>
                    </a:lnTo>
                    <a:lnTo>
                      <a:pt x="35" y="170"/>
                    </a:lnTo>
                    <a:lnTo>
                      <a:pt x="36" y="170"/>
                    </a:lnTo>
                    <a:lnTo>
                      <a:pt x="36" y="169"/>
                    </a:lnTo>
                    <a:lnTo>
                      <a:pt x="36" y="168"/>
                    </a:lnTo>
                    <a:lnTo>
                      <a:pt x="37" y="168"/>
                    </a:lnTo>
                    <a:lnTo>
                      <a:pt x="37" y="169"/>
                    </a:lnTo>
                    <a:lnTo>
                      <a:pt x="38" y="169"/>
                    </a:lnTo>
                    <a:lnTo>
                      <a:pt x="39" y="168"/>
                    </a:lnTo>
                    <a:lnTo>
                      <a:pt x="39" y="167"/>
                    </a:lnTo>
                    <a:lnTo>
                      <a:pt x="39" y="168"/>
                    </a:lnTo>
                    <a:lnTo>
                      <a:pt x="40" y="168"/>
                    </a:lnTo>
                    <a:lnTo>
                      <a:pt x="40" y="169"/>
                    </a:lnTo>
                    <a:lnTo>
                      <a:pt x="41" y="168"/>
                    </a:lnTo>
                    <a:lnTo>
                      <a:pt x="41" y="169"/>
                    </a:lnTo>
                    <a:lnTo>
                      <a:pt x="42" y="169"/>
                    </a:lnTo>
                    <a:lnTo>
                      <a:pt x="42" y="168"/>
                    </a:lnTo>
                    <a:lnTo>
                      <a:pt x="43" y="168"/>
                    </a:lnTo>
                    <a:lnTo>
                      <a:pt x="44" y="168"/>
                    </a:lnTo>
                    <a:lnTo>
                      <a:pt x="46" y="169"/>
                    </a:lnTo>
                    <a:lnTo>
                      <a:pt x="46" y="168"/>
                    </a:lnTo>
                    <a:lnTo>
                      <a:pt x="47" y="168"/>
                    </a:lnTo>
                    <a:lnTo>
                      <a:pt x="48" y="168"/>
                    </a:lnTo>
                    <a:lnTo>
                      <a:pt x="48" y="167"/>
                    </a:lnTo>
                    <a:lnTo>
                      <a:pt x="47" y="167"/>
                    </a:lnTo>
                    <a:lnTo>
                      <a:pt x="48" y="165"/>
                    </a:lnTo>
                    <a:lnTo>
                      <a:pt x="49" y="165"/>
                    </a:lnTo>
                    <a:lnTo>
                      <a:pt x="49" y="167"/>
                    </a:lnTo>
                    <a:lnTo>
                      <a:pt x="49" y="168"/>
                    </a:lnTo>
                    <a:lnTo>
                      <a:pt x="50" y="167"/>
                    </a:lnTo>
                    <a:lnTo>
                      <a:pt x="51" y="167"/>
                    </a:lnTo>
                    <a:lnTo>
                      <a:pt x="51" y="168"/>
                    </a:lnTo>
                    <a:lnTo>
                      <a:pt x="52" y="168"/>
                    </a:lnTo>
                    <a:lnTo>
                      <a:pt x="53" y="168"/>
                    </a:lnTo>
                    <a:lnTo>
                      <a:pt x="54" y="167"/>
                    </a:lnTo>
                    <a:lnTo>
                      <a:pt x="54" y="165"/>
                    </a:lnTo>
                    <a:lnTo>
                      <a:pt x="55" y="165"/>
                    </a:lnTo>
                    <a:lnTo>
                      <a:pt x="55" y="167"/>
                    </a:lnTo>
                    <a:lnTo>
                      <a:pt x="56" y="167"/>
                    </a:lnTo>
                    <a:lnTo>
                      <a:pt x="56" y="165"/>
                    </a:lnTo>
                    <a:lnTo>
                      <a:pt x="56" y="164"/>
                    </a:lnTo>
                    <a:lnTo>
                      <a:pt x="57" y="164"/>
                    </a:lnTo>
                    <a:lnTo>
                      <a:pt x="59" y="164"/>
                    </a:lnTo>
                    <a:lnTo>
                      <a:pt x="59" y="165"/>
                    </a:lnTo>
                    <a:lnTo>
                      <a:pt x="60" y="165"/>
                    </a:lnTo>
                    <a:lnTo>
                      <a:pt x="60" y="164"/>
                    </a:lnTo>
                    <a:lnTo>
                      <a:pt x="61" y="164"/>
                    </a:lnTo>
                    <a:lnTo>
                      <a:pt x="61" y="163"/>
                    </a:lnTo>
                    <a:lnTo>
                      <a:pt x="60" y="163"/>
                    </a:lnTo>
                    <a:lnTo>
                      <a:pt x="60" y="162"/>
                    </a:lnTo>
                    <a:lnTo>
                      <a:pt x="60" y="161"/>
                    </a:lnTo>
                    <a:lnTo>
                      <a:pt x="61" y="161"/>
                    </a:lnTo>
                    <a:lnTo>
                      <a:pt x="61" y="162"/>
                    </a:lnTo>
                    <a:lnTo>
                      <a:pt x="61" y="163"/>
                    </a:lnTo>
                    <a:lnTo>
                      <a:pt x="62" y="163"/>
                    </a:lnTo>
                    <a:lnTo>
                      <a:pt x="63" y="163"/>
                    </a:lnTo>
                    <a:lnTo>
                      <a:pt x="63" y="162"/>
                    </a:lnTo>
                    <a:lnTo>
                      <a:pt x="62" y="161"/>
                    </a:lnTo>
                    <a:lnTo>
                      <a:pt x="62" y="160"/>
                    </a:lnTo>
                    <a:lnTo>
                      <a:pt x="63" y="160"/>
                    </a:lnTo>
                    <a:lnTo>
                      <a:pt x="63" y="159"/>
                    </a:lnTo>
                    <a:lnTo>
                      <a:pt x="63" y="158"/>
                    </a:lnTo>
                    <a:lnTo>
                      <a:pt x="63" y="157"/>
                    </a:lnTo>
                    <a:lnTo>
                      <a:pt x="64" y="157"/>
                    </a:lnTo>
                    <a:lnTo>
                      <a:pt x="65" y="156"/>
                    </a:lnTo>
                    <a:lnTo>
                      <a:pt x="65" y="153"/>
                    </a:lnTo>
                    <a:lnTo>
                      <a:pt x="66" y="153"/>
                    </a:lnTo>
                    <a:lnTo>
                      <a:pt x="66" y="155"/>
                    </a:lnTo>
                    <a:lnTo>
                      <a:pt x="67" y="155"/>
                    </a:lnTo>
                    <a:lnTo>
                      <a:pt x="67" y="156"/>
                    </a:lnTo>
                    <a:lnTo>
                      <a:pt x="68" y="156"/>
                    </a:lnTo>
                    <a:lnTo>
                      <a:pt x="68" y="155"/>
                    </a:lnTo>
                    <a:lnTo>
                      <a:pt x="68" y="153"/>
                    </a:lnTo>
                    <a:lnTo>
                      <a:pt x="67" y="153"/>
                    </a:lnTo>
                    <a:lnTo>
                      <a:pt x="67" y="152"/>
                    </a:lnTo>
                    <a:lnTo>
                      <a:pt x="67" y="151"/>
                    </a:lnTo>
                    <a:lnTo>
                      <a:pt x="66" y="151"/>
                    </a:lnTo>
                    <a:lnTo>
                      <a:pt x="67" y="151"/>
                    </a:lnTo>
                    <a:lnTo>
                      <a:pt x="67" y="150"/>
                    </a:lnTo>
                    <a:lnTo>
                      <a:pt x="67" y="149"/>
                    </a:lnTo>
                    <a:lnTo>
                      <a:pt x="67" y="148"/>
                    </a:lnTo>
                    <a:lnTo>
                      <a:pt x="67" y="147"/>
                    </a:lnTo>
                    <a:lnTo>
                      <a:pt x="67" y="146"/>
                    </a:lnTo>
                    <a:lnTo>
                      <a:pt x="68" y="145"/>
                    </a:lnTo>
                    <a:lnTo>
                      <a:pt x="69" y="145"/>
                    </a:lnTo>
                    <a:lnTo>
                      <a:pt x="70" y="145"/>
                    </a:lnTo>
                    <a:lnTo>
                      <a:pt x="70" y="144"/>
                    </a:lnTo>
                    <a:lnTo>
                      <a:pt x="69" y="144"/>
                    </a:lnTo>
                    <a:lnTo>
                      <a:pt x="69" y="143"/>
                    </a:lnTo>
                    <a:lnTo>
                      <a:pt x="69" y="142"/>
                    </a:lnTo>
                    <a:lnTo>
                      <a:pt x="69" y="140"/>
                    </a:lnTo>
                    <a:lnTo>
                      <a:pt x="69" y="139"/>
                    </a:lnTo>
                    <a:lnTo>
                      <a:pt x="69" y="138"/>
                    </a:lnTo>
                    <a:lnTo>
                      <a:pt x="70" y="138"/>
                    </a:lnTo>
                    <a:lnTo>
                      <a:pt x="73" y="137"/>
                    </a:lnTo>
                    <a:lnTo>
                      <a:pt x="74" y="136"/>
                    </a:lnTo>
                    <a:lnTo>
                      <a:pt x="74" y="135"/>
                    </a:lnTo>
                    <a:lnTo>
                      <a:pt x="75" y="135"/>
                    </a:lnTo>
                    <a:lnTo>
                      <a:pt x="75" y="134"/>
                    </a:lnTo>
                    <a:lnTo>
                      <a:pt x="74" y="133"/>
                    </a:lnTo>
                    <a:lnTo>
                      <a:pt x="75" y="132"/>
                    </a:lnTo>
                    <a:lnTo>
                      <a:pt x="75" y="133"/>
                    </a:lnTo>
                    <a:lnTo>
                      <a:pt x="76" y="133"/>
                    </a:lnTo>
                    <a:lnTo>
                      <a:pt x="76" y="134"/>
                    </a:lnTo>
                    <a:lnTo>
                      <a:pt x="75" y="135"/>
                    </a:lnTo>
                    <a:lnTo>
                      <a:pt x="76" y="135"/>
                    </a:lnTo>
                    <a:lnTo>
                      <a:pt x="77" y="135"/>
                    </a:lnTo>
                    <a:lnTo>
                      <a:pt x="77" y="134"/>
                    </a:lnTo>
                    <a:lnTo>
                      <a:pt x="76" y="133"/>
                    </a:lnTo>
                    <a:lnTo>
                      <a:pt x="77" y="133"/>
                    </a:lnTo>
                    <a:lnTo>
                      <a:pt x="78" y="133"/>
                    </a:lnTo>
                    <a:lnTo>
                      <a:pt x="79" y="133"/>
                    </a:lnTo>
                    <a:lnTo>
                      <a:pt x="80" y="132"/>
                    </a:lnTo>
                    <a:lnTo>
                      <a:pt x="81" y="132"/>
                    </a:lnTo>
                    <a:lnTo>
                      <a:pt x="82" y="131"/>
                    </a:lnTo>
                    <a:lnTo>
                      <a:pt x="83" y="131"/>
                    </a:lnTo>
                    <a:lnTo>
                      <a:pt x="86" y="131"/>
                    </a:lnTo>
                    <a:lnTo>
                      <a:pt x="87" y="131"/>
                    </a:lnTo>
                    <a:lnTo>
                      <a:pt x="87" y="130"/>
                    </a:lnTo>
                    <a:lnTo>
                      <a:pt x="87" y="129"/>
                    </a:lnTo>
                    <a:lnTo>
                      <a:pt x="86" y="127"/>
                    </a:lnTo>
                    <a:lnTo>
                      <a:pt x="87" y="126"/>
                    </a:lnTo>
                    <a:lnTo>
                      <a:pt x="87" y="125"/>
                    </a:lnTo>
                    <a:lnTo>
                      <a:pt x="88" y="125"/>
                    </a:lnTo>
                    <a:lnTo>
                      <a:pt x="89" y="125"/>
                    </a:lnTo>
                    <a:lnTo>
                      <a:pt x="89" y="124"/>
                    </a:lnTo>
                    <a:lnTo>
                      <a:pt x="90" y="123"/>
                    </a:lnTo>
                    <a:lnTo>
                      <a:pt x="91" y="123"/>
                    </a:lnTo>
                    <a:lnTo>
                      <a:pt x="91" y="122"/>
                    </a:lnTo>
                    <a:lnTo>
                      <a:pt x="91" y="121"/>
                    </a:lnTo>
                    <a:lnTo>
                      <a:pt x="90" y="121"/>
                    </a:lnTo>
                    <a:lnTo>
                      <a:pt x="90" y="120"/>
                    </a:lnTo>
                    <a:lnTo>
                      <a:pt x="91" y="120"/>
                    </a:lnTo>
                    <a:lnTo>
                      <a:pt x="92" y="119"/>
                    </a:lnTo>
                    <a:lnTo>
                      <a:pt x="93" y="119"/>
                    </a:lnTo>
                    <a:lnTo>
                      <a:pt x="94" y="119"/>
                    </a:lnTo>
                    <a:lnTo>
                      <a:pt x="94" y="120"/>
                    </a:lnTo>
                    <a:lnTo>
                      <a:pt x="94" y="121"/>
                    </a:lnTo>
                    <a:lnTo>
                      <a:pt x="95" y="121"/>
                    </a:lnTo>
                    <a:lnTo>
                      <a:pt x="96" y="120"/>
                    </a:lnTo>
                    <a:lnTo>
                      <a:pt x="96" y="119"/>
                    </a:lnTo>
                    <a:lnTo>
                      <a:pt x="95" y="119"/>
                    </a:lnTo>
                    <a:lnTo>
                      <a:pt x="94" y="119"/>
                    </a:lnTo>
                    <a:lnTo>
                      <a:pt x="94" y="118"/>
                    </a:lnTo>
                    <a:lnTo>
                      <a:pt x="94" y="117"/>
                    </a:lnTo>
                    <a:lnTo>
                      <a:pt x="95" y="117"/>
                    </a:lnTo>
                    <a:lnTo>
                      <a:pt x="96" y="118"/>
                    </a:lnTo>
                    <a:lnTo>
                      <a:pt x="98" y="118"/>
                    </a:lnTo>
                    <a:lnTo>
                      <a:pt x="98" y="117"/>
                    </a:lnTo>
                    <a:lnTo>
                      <a:pt x="96" y="117"/>
                    </a:lnTo>
                    <a:lnTo>
                      <a:pt x="96" y="116"/>
                    </a:lnTo>
                    <a:lnTo>
                      <a:pt x="98" y="114"/>
                    </a:lnTo>
                    <a:lnTo>
                      <a:pt x="99" y="113"/>
                    </a:lnTo>
                    <a:lnTo>
                      <a:pt x="100" y="113"/>
                    </a:lnTo>
                    <a:lnTo>
                      <a:pt x="100" y="112"/>
                    </a:lnTo>
                    <a:lnTo>
                      <a:pt x="99" y="112"/>
                    </a:lnTo>
                    <a:lnTo>
                      <a:pt x="99" y="111"/>
                    </a:lnTo>
                    <a:lnTo>
                      <a:pt x="99" y="110"/>
                    </a:lnTo>
                    <a:lnTo>
                      <a:pt x="98" y="110"/>
                    </a:lnTo>
                    <a:lnTo>
                      <a:pt x="98" y="109"/>
                    </a:lnTo>
                    <a:lnTo>
                      <a:pt x="99" y="109"/>
                    </a:lnTo>
                    <a:lnTo>
                      <a:pt x="100" y="109"/>
                    </a:lnTo>
                    <a:lnTo>
                      <a:pt x="100" y="108"/>
                    </a:lnTo>
                    <a:lnTo>
                      <a:pt x="101" y="108"/>
                    </a:lnTo>
                    <a:lnTo>
                      <a:pt x="101" y="107"/>
                    </a:lnTo>
                    <a:lnTo>
                      <a:pt x="100" y="107"/>
                    </a:lnTo>
                    <a:lnTo>
                      <a:pt x="99" y="107"/>
                    </a:lnTo>
                    <a:lnTo>
                      <a:pt x="99" y="106"/>
                    </a:lnTo>
                    <a:lnTo>
                      <a:pt x="99" y="105"/>
                    </a:lnTo>
                    <a:lnTo>
                      <a:pt x="100" y="106"/>
                    </a:lnTo>
                    <a:lnTo>
                      <a:pt x="100" y="105"/>
                    </a:lnTo>
                    <a:lnTo>
                      <a:pt x="101" y="105"/>
                    </a:lnTo>
                    <a:lnTo>
                      <a:pt x="100" y="105"/>
                    </a:lnTo>
                    <a:lnTo>
                      <a:pt x="100" y="104"/>
                    </a:lnTo>
                    <a:lnTo>
                      <a:pt x="99" y="104"/>
                    </a:lnTo>
                    <a:lnTo>
                      <a:pt x="99" y="103"/>
                    </a:lnTo>
                    <a:lnTo>
                      <a:pt x="98" y="103"/>
                    </a:lnTo>
                    <a:lnTo>
                      <a:pt x="98" y="101"/>
                    </a:lnTo>
                    <a:lnTo>
                      <a:pt x="98" y="100"/>
                    </a:lnTo>
                    <a:lnTo>
                      <a:pt x="98" y="99"/>
                    </a:lnTo>
                    <a:lnTo>
                      <a:pt x="99" y="98"/>
                    </a:lnTo>
                    <a:lnTo>
                      <a:pt x="99" y="97"/>
                    </a:lnTo>
                    <a:lnTo>
                      <a:pt x="100" y="97"/>
                    </a:lnTo>
                    <a:lnTo>
                      <a:pt x="100" y="96"/>
                    </a:lnTo>
                    <a:lnTo>
                      <a:pt x="99" y="96"/>
                    </a:lnTo>
                    <a:lnTo>
                      <a:pt x="98" y="96"/>
                    </a:lnTo>
                    <a:lnTo>
                      <a:pt x="98" y="95"/>
                    </a:lnTo>
                    <a:lnTo>
                      <a:pt x="98" y="94"/>
                    </a:lnTo>
                    <a:lnTo>
                      <a:pt x="98" y="93"/>
                    </a:lnTo>
                    <a:lnTo>
                      <a:pt x="99" y="92"/>
                    </a:lnTo>
                    <a:lnTo>
                      <a:pt x="99" y="91"/>
                    </a:lnTo>
                    <a:lnTo>
                      <a:pt x="100" y="91"/>
                    </a:lnTo>
                    <a:lnTo>
                      <a:pt x="100" y="90"/>
                    </a:lnTo>
                    <a:lnTo>
                      <a:pt x="101" y="90"/>
                    </a:lnTo>
                    <a:lnTo>
                      <a:pt x="102" y="90"/>
                    </a:lnTo>
                    <a:lnTo>
                      <a:pt x="102" y="88"/>
                    </a:lnTo>
                    <a:lnTo>
                      <a:pt x="101" y="88"/>
                    </a:lnTo>
                    <a:lnTo>
                      <a:pt x="101" y="87"/>
                    </a:lnTo>
                    <a:lnTo>
                      <a:pt x="101" y="86"/>
                    </a:lnTo>
                    <a:lnTo>
                      <a:pt x="102" y="85"/>
                    </a:lnTo>
                    <a:lnTo>
                      <a:pt x="102" y="84"/>
                    </a:lnTo>
                    <a:lnTo>
                      <a:pt x="103" y="84"/>
                    </a:lnTo>
                    <a:lnTo>
                      <a:pt x="103" y="83"/>
                    </a:lnTo>
                    <a:lnTo>
                      <a:pt x="104" y="83"/>
                    </a:lnTo>
                    <a:lnTo>
                      <a:pt x="104" y="82"/>
                    </a:lnTo>
                    <a:lnTo>
                      <a:pt x="105" y="81"/>
                    </a:lnTo>
                    <a:lnTo>
                      <a:pt x="105" y="80"/>
                    </a:lnTo>
                    <a:lnTo>
                      <a:pt x="104" y="79"/>
                    </a:lnTo>
                    <a:lnTo>
                      <a:pt x="104" y="80"/>
                    </a:lnTo>
                    <a:lnTo>
                      <a:pt x="103" y="80"/>
                    </a:lnTo>
                    <a:lnTo>
                      <a:pt x="102" y="80"/>
                    </a:lnTo>
                    <a:lnTo>
                      <a:pt x="101" y="80"/>
                    </a:lnTo>
                    <a:lnTo>
                      <a:pt x="101" y="79"/>
                    </a:lnTo>
                    <a:lnTo>
                      <a:pt x="102" y="79"/>
                    </a:lnTo>
                    <a:lnTo>
                      <a:pt x="102" y="78"/>
                    </a:lnTo>
                    <a:lnTo>
                      <a:pt x="103" y="78"/>
                    </a:lnTo>
                    <a:lnTo>
                      <a:pt x="104" y="78"/>
                    </a:lnTo>
                    <a:lnTo>
                      <a:pt x="105" y="77"/>
                    </a:lnTo>
                    <a:lnTo>
                      <a:pt x="105" y="78"/>
                    </a:lnTo>
                    <a:lnTo>
                      <a:pt x="105" y="77"/>
                    </a:lnTo>
                    <a:lnTo>
                      <a:pt x="105" y="75"/>
                    </a:lnTo>
                    <a:lnTo>
                      <a:pt x="104" y="74"/>
                    </a:lnTo>
                    <a:lnTo>
                      <a:pt x="104" y="75"/>
                    </a:lnTo>
                    <a:lnTo>
                      <a:pt x="102" y="75"/>
                    </a:lnTo>
                    <a:lnTo>
                      <a:pt x="103" y="73"/>
                    </a:lnTo>
                    <a:lnTo>
                      <a:pt x="103" y="72"/>
                    </a:lnTo>
                    <a:lnTo>
                      <a:pt x="104" y="72"/>
                    </a:lnTo>
                    <a:lnTo>
                      <a:pt x="105" y="72"/>
                    </a:lnTo>
                    <a:lnTo>
                      <a:pt x="106" y="72"/>
                    </a:lnTo>
                    <a:lnTo>
                      <a:pt x="106" y="71"/>
                    </a:lnTo>
                    <a:lnTo>
                      <a:pt x="106" y="70"/>
                    </a:lnTo>
                    <a:lnTo>
                      <a:pt x="106" y="69"/>
                    </a:lnTo>
                    <a:lnTo>
                      <a:pt x="107" y="69"/>
                    </a:lnTo>
                    <a:lnTo>
                      <a:pt x="106" y="68"/>
                    </a:lnTo>
                    <a:lnTo>
                      <a:pt x="104" y="69"/>
                    </a:lnTo>
                    <a:lnTo>
                      <a:pt x="103" y="69"/>
                    </a:lnTo>
                    <a:lnTo>
                      <a:pt x="103" y="68"/>
                    </a:lnTo>
                    <a:lnTo>
                      <a:pt x="103" y="67"/>
                    </a:lnTo>
                    <a:lnTo>
                      <a:pt x="104" y="67"/>
                    </a:lnTo>
                    <a:lnTo>
                      <a:pt x="105" y="66"/>
                    </a:lnTo>
                    <a:lnTo>
                      <a:pt x="106" y="66"/>
                    </a:lnTo>
                    <a:lnTo>
                      <a:pt x="106" y="65"/>
                    </a:lnTo>
                    <a:lnTo>
                      <a:pt x="107" y="63"/>
                    </a:lnTo>
                    <a:lnTo>
                      <a:pt x="107" y="62"/>
                    </a:lnTo>
                    <a:lnTo>
                      <a:pt x="107" y="61"/>
                    </a:lnTo>
                    <a:lnTo>
                      <a:pt x="106" y="61"/>
                    </a:lnTo>
                    <a:lnTo>
                      <a:pt x="106" y="60"/>
                    </a:lnTo>
                    <a:lnTo>
                      <a:pt x="106" y="59"/>
                    </a:lnTo>
                    <a:lnTo>
                      <a:pt x="106" y="58"/>
                    </a:lnTo>
                    <a:lnTo>
                      <a:pt x="105" y="58"/>
                    </a:lnTo>
                    <a:lnTo>
                      <a:pt x="104" y="58"/>
                    </a:lnTo>
                    <a:lnTo>
                      <a:pt x="105" y="58"/>
                    </a:lnTo>
                    <a:lnTo>
                      <a:pt x="105" y="57"/>
                    </a:lnTo>
                    <a:lnTo>
                      <a:pt x="105" y="56"/>
                    </a:lnTo>
                    <a:lnTo>
                      <a:pt x="104" y="55"/>
                    </a:lnTo>
                    <a:lnTo>
                      <a:pt x="104" y="54"/>
                    </a:lnTo>
                    <a:lnTo>
                      <a:pt x="105" y="53"/>
                    </a:lnTo>
                    <a:lnTo>
                      <a:pt x="105" y="52"/>
                    </a:lnTo>
                    <a:lnTo>
                      <a:pt x="105" y="50"/>
                    </a:lnTo>
                    <a:lnTo>
                      <a:pt x="106" y="50"/>
                    </a:lnTo>
                    <a:lnTo>
                      <a:pt x="107" y="50"/>
                    </a:lnTo>
                    <a:lnTo>
                      <a:pt x="108" y="50"/>
                    </a:lnTo>
                    <a:lnTo>
                      <a:pt x="108" y="52"/>
                    </a:lnTo>
                    <a:lnTo>
                      <a:pt x="109" y="52"/>
                    </a:lnTo>
                    <a:lnTo>
                      <a:pt x="111" y="50"/>
                    </a:lnTo>
                    <a:lnTo>
                      <a:pt x="112" y="50"/>
                    </a:lnTo>
                    <a:lnTo>
                      <a:pt x="113" y="50"/>
                    </a:lnTo>
                    <a:lnTo>
                      <a:pt x="113" y="49"/>
                    </a:lnTo>
                    <a:lnTo>
                      <a:pt x="114" y="49"/>
                    </a:lnTo>
                    <a:lnTo>
                      <a:pt x="115" y="49"/>
                    </a:lnTo>
                    <a:lnTo>
                      <a:pt x="115" y="48"/>
                    </a:lnTo>
                    <a:lnTo>
                      <a:pt x="115" y="47"/>
                    </a:lnTo>
                    <a:lnTo>
                      <a:pt x="116" y="47"/>
                    </a:lnTo>
                    <a:lnTo>
                      <a:pt x="116" y="48"/>
                    </a:lnTo>
                    <a:lnTo>
                      <a:pt x="117" y="48"/>
                    </a:lnTo>
                    <a:lnTo>
                      <a:pt x="117" y="49"/>
                    </a:lnTo>
                    <a:lnTo>
                      <a:pt x="117" y="50"/>
                    </a:lnTo>
                    <a:lnTo>
                      <a:pt x="117" y="52"/>
                    </a:lnTo>
                    <a:lnTo>
                      <a:pt x="118" y="52"/>
                    </a:lnTo>
                    <a:lnTo>
                      <a:pt x="120" y="52"/>
                    </a:lnTo>
                    <a:lnTo>
                      <a:pt x="121" y="52"/>
                    </a:lnTo>
                    <a:lnTo>
                      <a:pt x="122" y="52"/>
                    </a:lnTo>
                    <a:lnTo>
                      <a:pt x="124" y="50"/>
                    </a:lnTo>
                    <a:lnTo>
                      <a:pt x="125" y="50"/>
                    </a:lnTo>
                    <a:lnTo>
                      <a:pt x="125" y="52"/>
                    </a:lnTo>
                    <a:lnTo>
                      <a:pt x="126" y="52"/>
                    </a:lnTo>
                    <a:lnTo>
                      <a:pt x="127" y="50"/>
                    </a:lnTo>
                    <a:lnTo>
                      <a:pt x="128" y="50"/>
                    </a:lnTo>
                    <a:lnTo>
                      <a:pt x="128" y="52"/>
                    </a:lnTo>
                    <a:lnTo>
                      <a:pt x="129" y="52"/>
                    </a:lnTo>
                    <a:lnTo>
                      <a:pt x="129" y="50"/>
                    </a:lnTo>
                    <a:lnTo>
                      <a:pt x="131" y="50"/>
                    </a:lnTo>
                    <a:lnTo>
                      <a:pt x="131" y="49"/>
                    </a:lnTo>
                    <a:lnTo>
                      <a:pt x="132" y="48"/>
                    </a:lnTo>
                    <a:lnTo>
                      <a:pt x="132" y="47"/>
                    </a:lnTo>
                    <a:lnTo>
                      <a:pt x="133" y="47"/>
                    </a:lnTo>
                    <a:lnTo>
                      <a:pt x="133" y="46"/>
                    </a:lnTo>
                    <a:lnTo>
                      <a:pt x="133" y="45"/>
                    </a:lnTo>
                    <a:lnTo>
                      <a:pt x="134" y="45"/>
                    </a:lnTo>
                    <a:lnTo>
                      <a:pt x="137" y="45"/>
                    </a:lnTo>
                    <a:lnTo>
                      <a:pt x="138" y="44"/>
                    </a:lnTo>
                    <a:lnTo>
                      <a:pt x="139" y="45"/>
                    </a:lnTo>
                    <a:lnTo>
                      <a:pt x="140" y="45"/>
                    </a:lnTo>
                    <a:lnTo>
                      <a:pt x="141" y="45"/>
                    </a:lnTo>
                    <a:lnTo>
                      <a:pt x="142" y="44"/>
                    </a:lnTo>
                    <a:lnTo>
                      <a:pt x="142" y="43"/>
                    </a:lnTo>
                    <a:lnTo>
                      <a:pt x="142" y="42"/>
                    </a:lnTo>
                    <a:lnTo>
                      <a:pt x="142" y="41"/>
                    </a:lnTo>
                    <a:lnTo>
                      <a:pt x="143" y="40"/>
                    </a:lnTo>
                    <a:lnTo>
                      <a:pt x="143" y="39"/>
                    </a:lnTo>
                    <a:lnTo>
                      <a:pt x="143" y="37"/>
                    </a:lnTo>
                    <a:lnTo>
                      <a:pt x="144" y="37"/>
                    </a:lnTo>
                    <a:lnTo>
                      <a:pt x="144" y="36"/>
                    </a:lnTo>
                    <a:lnTo>
                      <a:pt x="143" y="36"/>
                    </a:lnTo>
                    <a:lnTo>
                      <a:pt x="143" y="35"/>
                    </a:lnTo>
                    <a:lnTo>
                      <a:pt x="142" y="35"/>
                    </a:lnTo>
                    <a:lnTo>
                      <a:pt x="142" y="34"/>
                    </a:lnTo>
                    <a:lnTo>
                      <a:pt x="141" y="33"/>
                    </a:lnTo>
                    <a:lnTo>
                      <a:pt x="141" y="32"/>
                    </a:lnTo>
                    <a:lnTo>
                      <a:pt x="142" y="32"/>
                    </a:lnTo>
                    <a:lnTo>
                      <a:pt x="142" y="31"/>
                    </a:lnTo>
                    <a:lnTo>
                      <a:pt x="143" y="31"/>
                    </a:lnTo>
                    <a:lnTo>
                      <a:pt x="144" y="31"/>
                    </a:lnTo>
                    <a:lnTo>
                      <a:pt x="145" y="31"/>
                    </a:lnTo>
                    <a:lnTo>
                      <a:pt x="145" y="30"/>
                    </a:lnTo>
                    <a:lnTo>
                      <a:pt x="145" y="29"/>
                    </a:lnTo>
                    <a:lnTo>
                      <a:pt x="144" y="28"/>
                    </a:lnTo>
                    <a:lnTo>
                      <a:pt x="144" y="27"/>
                    </a:lnTo>
                    <a:lnTo>
                      <a:pt x="144" y="26"/>
                    </a:lnTo>
                    <a:lnTo>
                      <a:pt x="144" y="24"/>
                    </a:lnTo>
                    <a:lnTo>
                      <a:pt x="145" y="24"/>
                    </a:lnTo>
                    <a:lnTo>
                      <a:pt x="147" y="26"/>
                    </a:lnTo>
                    <a:lnTo>
                      <a:pt x="148" y="26"/>
                    </a:lnTo>
                    <a:lnTo>
                      <a:pt x="148" y="23"/>
                    </a:lnTo>
                    <a:lnTo>
                      <a:pt x="150" y="23"/>
                    </a:lnTo>
                    <a:lnTo>
                      <a:pt x="152" y="24"/>
                    </a:lnTo>
                    <a:lnTo>
                      <a:pt x="153" y="24"/>
                    </a:lnTo>
                    <a:lnTo>
                      <a:pt x="153" y="23"/>
                    </a:lnTo>
                    <a:lnTo>
                      <a:pt x="154" y="23"/>
                    </a:lnTo>
                    <a:lnTo>
                      <a:pt x="155" y="23"/>
                    </a:lnTo>
                    <a:lnTo>
                      <a:pt x="155" y="22"/>
                    </a:lnTo>
                    <a:lnTo>
                      <a:pt x="156" y="22"/>
                    </a:lnTo>
                    <a:lnTo>
                      <a:pt x="156" y="21"/>
                    </a:lnTo>
                    <a:lnTo>
                      <a:pt x="156" y="20"/>
                    </a:lnTo>
                    <a:lnTo>
                      <a:pt x="156" y="19"/>
                    </a:lnTo>
                    <a:lnTo>
                      <a:pt x="156" y="18"/>
                    </a:lnTo>
                    <a:lnTo>
                      <a:pt x="156" y="17"/>
                    </a:lnTo>
                    <a:lnTo>
                      <a:pt x="156" y="16"/>
                    </a:lnTo>
                    <a:lnTo>
                      <a:pt x="155" y="16"/>
                    </a:lnTo>
                    <a:lnTo>
                      <a:pt x="155" y="15"/>
                    </a:lnTo>
                    <a:lnTo>
                      <a:pt x="156" y="15"/>
                    </a:lnTo>
                    <a:lnTo>
                      <a:pt x="157" y="15"/>
                    </a:lnTo>
                    <a:lnTo>
                      <a:pt x="157" y="16"/>
                    </a:lnTo>
                    <a:lnTo>
                      <a:pt x="158" y="16"/>
                    </a:lnTo>
                    <a:lnTo>
                      <a:pt x="159" y="16"/>
                    </a:lnTo>
                    <a:lnTo>
                      <a:pt x="160" y="16"/>
                    </a:lnTo>
                    <a:lnTo>
                      <a:pt x="162" y="16"/>
                    </a:lnTo>
                    <a:lnTo>
                      <a:pt x="162" y="15"/>
                    </a:lnTo>
                    <a:lnTo>
                      <a:pt x="160" y="14"/>
                    </a:lnTo>
                    <a:lnTo>
                      <a:pt x="160" y="13"/>
                    </a:lnTo>
                    <a:lnTo>
                      <a:pt x="162" y="13"/>
                    </a:lnTo>
                    <a:lnTo>
                      <a:pt x="162" y="11"/>
                    </a:lnTo>
                    <a:lnTo>
                      <a:pt x="163" y="13"/>
                    </a:lnTo>
                    <a:lnTo>
                      <a:pt x="164" y="13"/>
                    </a:lnTo>
                    <a:lnTo>
                      <a:pt x="164" y="11"/>
                    </a:lnTo>
                    <a:lnTo>
                      <a:pt x="165" y="11"/>
                    </a:lnTo>
                    <a:lnTo>
                      <a:pt x="166" y="11"/>
                    </a:lnTo>
                    <a:lnTo>
                      <a:pt x="166" y="13"/>
                    </a:lnTo>
                    <a:lnTo>
                      <a:pt x="167" y="13"/>
                    </a:lnTo>
                    <a:lnTo>
                      <a:pt x="168" y="13"/>
                    </a:lnTo>
                    <a:lnTo>
                      <a:pt x="168" y="14"/>
                    </a:lnTo>
                    <a:lnTo>
                      <a:pt x="169" y="14"/>
                    </a:lnTo>
                    <a:lnTo>
                      <a:pt x="169" y="13"/>
                    </a:lnTo>
                    <a:lnTo>
                      <a:pt x="169" y="10"/>
                    </a:lnTo>
                    <a:lnTo>
                      <a:pt x="170" y="10"/>
                    </a:lnTo>
                    <a:lnTo>
                      <a:pt x="170" y="11"/>
                    </a:lnTo>
                    <a:lnTo>
                      <a:pt x="171" y="11"/>
                    </a:lnTo>
                    <a:lnTo>
                      <a:pt x="172" y="11"/>
                    </a:lnTo>
                    <a:lnTo>
                      <a:pt x="173" y="11"/>
                    </a:lnTo>
                    <a:lnTo>
                      <a:pt x="175" y="11"/>
                    </a:lnTo>
                    <a:lnTo>
                      <a:pt x="175" y="10"/>
                    </a:lnTo>
                    <a:lnTo>
                      <a:pt x="173" y="9"/>
                    </a:lnTo>
                    <a:lnTo>
                      <a:pt x="173" y="8"/>
                    </a:lnTo>
                    <a:lnTo>
                      <a:pt x="175" y="8"/>
                    </a:lnTo>
                    <a:lnTo>
                      <a:pt x="176" y="8"/>
                    </a:lnTo>
                    <a:lnTo>
                      <a:pt x="177" y="8"/>
                    </a:lnTo>
                    <a:lnTo>
                      <a:pt x="178" y="8"/>
                    </a:lnTo>
                    <a:lnTo>
                      <a:pt x="178" y="7"/>
                    </a:lnTo>
                    <a:lnTo>
                      <a:pt x="178" y="6"/>
                    </a:lnTo>
                    <a:lnTo>
                      <a:pt x="179" y="5"/>
                    </a:lnTo>
                    <a:lnTo>
                      <a:pt x="179" y="4"/>
                    </a:lnTo>
                    <a:lnTo>
                      <a:pt x="179" y="3"/>
                    </a:lnTo>
                    <a:lnTo>
                      <a:pt x="179" y="2"/>
                    </a:lnTo>
                    <a:lnTo>
                      <a:pt x="180" y="2"/>
                    </a:lnTo>
                    <a:lnTo>
                      <a:pt x="180" y="3"/>
                    </a:lnTo>
                    <a:lnTo>
                      <a:pt x="181" y="3"/>
                    </a:lnTo>
                    <a:lnTo>
                      <a:pt x="182" y="3"/>
                    </a:lnTo>
                    <a:lnTo>
                      <a:pt x="183" y="2"/>
                    </a:lnTo>
                    <a:lnTo>
                      <a:pt x="184" y="2"/>
                    </a:lnTo>
                    <a:lnTo>
                      <a:pt x="185" y="2"/>
                    </a:lnTo>
                    <a:lnTo>
                      <a:pt x="185" y="1"/>
                    </a:lnTo>
                    <a:lnTo>
                      <a:pt x="185" y="0"/>
                    </a:lnTo>
                    <a:lnTo>
                      <a:pt x="184" y="0"/>
                    </a:lnTo>
                    <a:lnTo>
                      <a:pt x="183" y="0"/>
                    </a:lnTo>
                    <a:lnTo>
                      <a:pt x="189" y="0"/>
                    </a:lnTo>
                    <a:lnTo>
                      <a:pt x="194" y="0"/>
                    </a:lnTo>
                    <a:lnTo>
                      <a:pt x="202" y="0"/>
                    </a:lnTo>
                    <a:lnTo>
                      <a:pt x="207" y="0"/>
                    </a:lnTo>
                    <a:lnTo>
                      <a:pt x="208" y="0"/>
                    </a:lnTo>
                    <a:lnTo>
                      <a:pt x="211" y="0"/>
                    </a:lnTo>
                    <a:lnTo>
                      <a:pt x="218" y="0"/>
                    </a:lnTo>
                    <a:lnTo>
                      <a:pt x="228" y="0"/>
                    </a:lnTo>
                    <a:lnTo>
                      <a:pt x="235" y="0"/>
                    </a:lnTo>
                    <a:lnTo>
                      <a:pt x="238" y="0"/>
                    </a:lnTo>
                    <a:lnTo>
                      <a:pt x="246" y="0"/>
                    </a:lnTo>
                    <a:lnTo>
                      <a:pt x="264" y="0"/>
                    </a:lnTo>
                    <a:lnTo>
                      <a:pt x="272" y="0"/>
                    </a:lnTo>
                    <a:lnTo>
                      <a:pt x="274" y="0"/>
                    </a:lnTo>
                    <a:lnTo>
                      <a:pt x="277" y="0"/>
                    </a:lnTo>
                    <a:lnTo>
                      <a:pt x="279" y="0"/>
                    </a:lnTo>
                    <a:lnTo>
                      <a:pt x="280" y="0"/>
                    </a:lnTo>
                    <a:close/>
                  </a:path>
                </a:pathLst>
              </a:custGeom>
              <a:solidFill>
                <a:srgbClr val="2D88F2"/>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2" name="Freeform 320">
                <a:extLst>
                  <a:ext uri="{FF2B5EF4-FFF2-40B4-BE49-F238E27FC236}">
                    <a16:creationId xmlns:a16="http://schemas.microsoft.com/office/drawing/2014/main" id="{E94B1667-8B24-876A-5DB9-8B10E432BA0B}"/>
                  </a:ext>
                </a:extLst>
              </p:cNvPr>
              <p:cNvSpPr>
                <a:spLocks/>
              </p:cNvSpPr>
              <p:nvPr/>
            </p:nvSpPr>
            <p:spPr bwMode="auto">
              <a:xfrm>
                <a:off x="2182813" y="2133600"/>
                <a:ext cx="646113" cy="503238"/>
              </a:xfrm>
              <a:custGeom>
                <a:avLst/>
                <a:gdLst>
                  <a:gd name="T0" fmla="*/ 250 w 407"/>
                  <a:gd name="T1" fmla="*/ 1 h 317"/>
                  <a:gd name="T2" fmla="*/ 351 w 407"/>
                  <a:gd name="T3" fmla="*/ 1 h 317"/>
                  <a:gd name="T4" fmla="*/ 406 w 407"/>
                  <a:gd name="T5" fmla="*/ 120 h 317"/>
                  <a:gd name="T6" fmla="*/ 402 w 407"/>
                  <a:gd name="T7" fmla="*/ 185 h 317"/>
                  <a:gd name="T8" fmla="*/ 398 w 407"/>
                  <a:gd name="T9" fmla="*/ 189 h 317"/>
                  <a:gd name="T10" fmla="*/ 398 w 407"/>
                  <a:gd name="T11" fmla="*/ 198 h 317"/>
                  <a:gd name="T12" fmla="*/ 401 w 407"/>
                  <a:gd name="T13" fmla="*/ 204 h 317"/>
                  <a:gd name="T14" fmla="*/ 397 w 407"/>
                  <a:gd name="T15" fmla="*/ 208 h 317"/>
                  <a:gd name="T16" fmla="*/ 391 w 407"/>
                  <a:gd name="T17" fmla="*/ 211 h 317"/>
                  <a:gd name="T18" fmla="*/ 392 w 407"/>
                  <a:gd name="T19" fmla="*/ 221 h 317"/>
                  <a:gd name="T20" fmla="*/ 391 w 407"/>
                  <a:gd name="T21" fmla="*/ 228 h 317"/>
                  <a:gd name="T22" fmla="*/ 391 w 407"/>
                  <a:gd name="T23" fmla="*/ 235 h 317"/>
                  <a:gd name="T24" fmla="*/ 390 w 407"/>
                  <a:gd name="T25" fmla="*/ 239 h 317"/>
                  <a:gd name="T26" fmla="*/ 380 w 407"/>
                  <a:gd name="T27" fmla="*/ 245 h 317"/>
                  <a:gd name="T28" fmla="*/ 378 w 407"/>
                  <a:gd name="T29" fmla="*/ 249 h 317"/>
                  <a:gd name="T30" fmla="*/ 365 w 407"/>
                  <a:gd name="T31" fmla="*/ 254 h 317"/>
                  <a:gd name="T32" fmla="*/ 293 w 407"/>
                  <a:gd name="T33" fmla="*/ 254 h 317"/>
                  <a:gd name="T34" fmla="*/ 217 w 407"/>
                  <a:gd name="T35" fmla="*/ 317 h 317"/>
                  <a:gd name="T36" fmla="*/ 61 w 407"/>
                  <a:gd name="T37" fmla="*/ 317 h 317"/>
                  <a:gd name="T38" fmla="*/ 2 w 407"/>
                  <a:gd name="T39" fmla="*/ 308 h 317"/>
                  <a:gd name="T40" fmla="*/ 4 w 407"/>
                  <a:gd name="T41" fmla="*/ 290 h 317"/>
                  <a:gd name="T42" fmla="*/ 3 w 407"/>
                  <a:gd name="T43" fmla="*/ 280 h 317"/>
                  <a:gd name="T44" fmla="*/ 5 w 407"/>
                  <a:gd name="T45" fmla="*/ 265 h 317"/>
                  <a:gd name="T46" fmla="*/ 15 w 407"/>
                  <a:gd name="T47" fmla="*/ 261 h 317"/>
                  <a:gd name="T48" fmla="*/ 16 w 407"/>
                  <a:gd name="T49" fmla="*/ 254 h 317"/>
                  <a:gd name="T50" fmla="*/ 20 w 407"/>
                  <a:gd name="T51" fmla="*/ 241 h 317"/>
                  <a:gd name="T52" fmla="*/ 18 w 407"/>
                  <a:gd name="T53" fmla="*/ 232 h 317"/>
                  <a:gd name="T54" fmla="*/ 21 w 407"/>
                  <a:gd name="T55" fmla="*/ 228 h 317"/>
                  <a:gd name="T56" fmla="*/ 17 w 407"/>
                  <a:gd name="T57" fmla="*/ 221 h 317"/>
                  <a:gd name="T58" fmla="*/ 17 w 407"/>
                  <a:gd name="T59" fmla="*/ 213 h 317"/>
                  <a:gd name="T60" fmla="*/ 24 w 407"/>
                  <a:gd name="T61" fmla="*/ 213 h 317"/>
                  <a:gd name="T62" fmla="*/ 36 w 407"/>
                  <a:gd name="T63" fmla="*/ 214 h 317"/>
                  <a:gd name="T64" fmla="*/ 46 w 407"/>
                  <a:gd name="T65" fmla="*/ 210 h 317"/>
                  <a:gd name="T66" fmla="*/ 44 w 407"/>
                  <a:gd name="T67" fmla="*/ 200 h 317"/>
                  <a:gd name="T68" fmla="*/ 47 w 407"/>
                  <a:gd name="T69" fmla="*/ 182 h 317"/>
                  <a:gd name="T70" fmla="*/ 50 w 407"/>
                  <a:gd name="T71" fmla="*/ 167 h 317"/>
                  <a:gd name="T72" fmla="*/ 54 w 407"/>
                  <a:gd name="T73" fmla="*/ 158 h 317"/>
                  <a:gd name="T74" fmla="*/ 60 w 407"/>
                  <a:gd name="T75" fmla="*/ 149 h 317"/>
                  <a:gd name="T76" fmla="*/ 60 w 407"/>
                  <a:gd name="T77" fmla="*/ 144 h 317"/>
                  <a:gd name="T78" fmla="*/ 57 w 407"/>
                  <a:gd name="T79" fmla="*/ 133 h 317"/>
                  <a:gd name="T80" fmla="*/ 56 w 407"/>
                  <a:gd name="T81" fmla="*/ 121 h 317"/>
                  <a:gd name="T82" fmla="*/ 50 w 407"/>
                  <a:gd name="T83" fmla="*/ 115 h 317"/>
                  <a:gd name="T84" fmla="*/ 46 w 407"/>
                  <a:gd name="T85" fmla="*/ 115 h 317"/>
                  <a:gd name="T86" fmla="*/ 48 w 407"/>
                  <a:gd name="T87" fmla="*/ 107 h 317"/>
                  <a:gd name="T88" fmla="*/ 56 w 407"/>
                  <a:gd name="T89" fmla="*/ 99 h 317"/>
                  <a:gd name="T90" fmla="*/ 55 w 407"/>
                  <a:gd name="T91" fmla="*/ 93 h 317"/>
                  <a:gd name="T92" fmla="*/ 55 w 407"/>
                  <a:gd name="T93" fmla="*/ 88 h 317"/>
                  <a:gd name="T94" fmla="*/ 53 w 407"/>
                  <a:gd name="T95" fmla="*/ 85 h 317"/>
                  <a:gd name="T96" fmla="*/ 49 w 407"/>
                  <a:gd name="T97" fmla="*/ 77 h 317"/>
                  <a:gd name="T98" fmla="*/ 48 w 407"/>
                  <a:gd name="T99" fmla="*/ 74 h 317"/>
                  <a:gd name="T100" fmla="*/ 48 w 407"/>
                  <a:gd name="T101" fmla="*/ 67 h 317"/>
                  <a:gd name="T102" fmla="*/ 45 w 407"/>
                  <a:gd name="T103" fmla="*/ 62 h 317"/>
                  <a:gd name="T104" fmla="*/ 43 w 407"/>
                  <a:gd name="T105" fmla="*/ 57 h 317"/>
                  <a:gd name="T106" fmla="*/ 40 w 407"/>
                  <a:gd name="T107" fmla="*/ 52 h 317"/>
                  <a:gd name="T108" fmla="*/ 44 w 407"/>
                  <a:gd name="T109" fmla="*/ 48 h 317"/>
                  <a:gd name="T110" fmla="*/ 44 w 407"/>
                  <a:gd name="T111" fmla="*/ 42 h 317"/>
                  <a:gd name="T112" fmla="*/ 41 w 407"/>
                  <a:gd name="T113" fmla="*/ 38 h 317"/>
                  <a:gd name="T114" fmla="*/ 37 w 407"/>
                  <a:gd name="T115" fmla="*/ 33 h 317"/>
                  <a:gd name="T116" fmla="*/ 32 w 407"/>
                  <a:gd name="T117" fmla="*/ 26 h 317"/>
                  <a:gd name="T118" fmla="*/ 28 w 407"/>
                  <a:gd name="T119" fmla="*/ 18 h 317"/>
                  <a:gd name="T120" fmla="*/ 27 w 407"/>
                  <a:gd name="T121" fmla="*/ 14 h 317"/>
                  <a:gd name="T122" fmla="*/ 27 w 407"/>
                  <a:gd name="T123" fmla="*/ 9 h 317"/>
                  <a:gd name="T124" fmla="*/ 22 w 407"/>
                  <a:gd name="T12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7" h="317">
                    <a:moveTo>
                      <a:pt x="99" y="1"/>
                    </a:moveTo>
                    <a:lnTo>
                      <a:pt x="106" y="1"/>
                    </a:lnTo>
                    <a:lnTo>
                      <a:pt x="113" y="1"/>
                    </a:lnTo>
                    <a:lnTo>
                      <a:pt x="138" y="1"/>
                    </a:lnTo>
                    <a:lnTo>
                      <a:pt x="139" y="1"/>
                    </a:lnTo>
                    <a:lnTo>
                      <a:pt x="169" y="1"/>
                    </a:lnTo>
                    <a:lnTo>
                      <a:pt x="170" y="1"/>
                    </a:lnTo>
                    <a:lnTo>
                      <a:pt x="177" y="1"/>
                    </a:lnTo>
                    <a:lnTo>
                      <a:pt x="215" y="1"/>
                    </a:lnTo>
                    <a:lnTo>
                      <a:pt x="229" y="1"/>
                    </a:lnTo>
                    <a:lnTo>
                      <a:pt x="246" y="1"/>
                    </a:lnTo>
                    <a:lnTo>
                      <a:pt x="250" y="1"/>
                    </a:lnTo>
                    <a:lnTo>
                      <a:pt x="252" y="1"/>
                    </a:lnTo>
                    <a:lnTo>
                      <a:pt x="271" y="1"/>
                    </a:lnTo>
                    <a:lnTo>
                      <a:pt x="290" y="1"/>
                    </a:lnTo>
                    <a:lnTo>
                      <a:pt x="303" y="1"/>
                    </a:lnTo>
                    <a:lnTo>
                      <a:pt x="310" y="1"/>
                    </a:lnTo>
                    <a:lnTo>
                      <a:pt x="319" y="1"/>
                    </a:lnTo>
                    <a:lnTo>
                      <a:pt x="327" y="1"/>
                    </a:lnTo>
                    <a:lnTo>
                      <a:pt x="333" y="1"/>
                    </a:lnTo>
                    <a:lnTo>
                      <a:pt x="338" y="1"/>
                    </a:lnTo>
                    <a:lnTo>
                      <a:pt x="347" y="1"/>
                    </a:lnTo>
                    <a:lnTo>
                      <a:pt x="349" y="1"/>
                    </a:lnTo>
                    <a:lnTo>
                      <a:pt x="351" y="1"/>
                    </a:lnTo>
                    <a:lnTo>
                      <a:pt x="368" y="1"/>
                    </a:lnTo>
                    <a:lnTo>
                      <a:pt x="382" y="1"/>
                    </a:lnTo>
                    <a:lnTo>
                      <a:pt x="390" y="2"/>
                    </a:lnTo>
                    <a:lnTo>
                      <a:pt x="394" y="2"/>
                    </a:lnTo>
                    <a:lnTo>
                      <a:pt x="406" y="1"/>
                    </a:lnTo>
                    <a:lnTo>
                      <a:pt x="406" y="7"/>
                    </a:lnTo>
                    <a:lnTo>
                      <a:pt x="406" y="16"/>
                    </a:lnTo>
                    <a:lnTo>
                      <a:pt x="406" y="26"/>
                    </a:lnTo>
                    <a:lnTo>
                      <a:pt x="407" y="41"/>
                    </a:lnTo>
                    <a:lnTo>
                      <a:pt x="406" y="73"/>
                    </a:lnTo>
                    <a:lnTo>
                      <a:pt x="406" y="113"/>
                    </a:lnTo>
                    <a:lnTo>
                      <a:pt x="406" y="120"/>
                    </a:lnTo>
                    <a:lnTo>
                      <a:pt x="406" y="148"/>
                    </a:lnTo>
                    <a:lnTo>
                      <a:pt x="406" y="150"/>
                    </a:lnTo>
                    <a:lnTo>
                      <a:pt x="406" y="159"/>
                    </a:lnTo>
                    <a:lnTo>
                      <a:pt x="406" y="182"/>
                    </a:lnTo>
                    <a:lnTo>
                      <a:pt x="405" y="182"/>
                    </a:lnTo>
                    <a:lnTo>
                      <a:pt x="405" y="183"/>
                    </a:lnTo>
                    <a:lnTo>
                      <a:pt x="405" y="184"/>
                    </a:lnTo>
                    <a:lnTo>
                      <a:pt x="405" y="185"/>
                    </a:lnTo>
                    <a:lnTo>
                      <a:pt x="404" y="185"/>
                    </a:lnTo>
                    <a:lnTo>
                      <a:pt x="403" y="185"/>
                    </a:lnTo>
                    <a:lnTo>
                      <a:pt x="403" y="184"/>
                    </a:lnTo>
                    <a:lnTo>
                      <a:pt x="402" y="185"/>
                    </a:lnTo>
                    <a:lnTo>
                      <a:pt x="402" y="184"/>
                    </a:lnTo>
                    <a:lnTo>
                      <a:pt x="401" y="184"/>
                    </a:lnTo>
                    <a:lnTo>
                      <a:pt x="402" y="185"/>
                    </a:lnTo>
                    <a:lnTo>
                      <a:pt x="401" y="185"/>
                    </a:lnTo>
                    <a:lnTo>
                      <a:pt x="401" y="187"/>
                    </a:lnTo>
                    <a:lnTo>
                      <a:pt x="400" y="187"/>
                    </a:lnTo>
                    <a:lnTo>
                      <a:pt x="400" y="188"/>
                    </a:lnTo>
                    <a:lnTo>
                      <a:pt x="400" y="189"/>
                    </a:lnTo>
                    <a:lnTo>
                      <a:pt x="401" y="188"/>
                    </a:lnTo>
                    <a:lnTo>
                      <a:pt x="401" y="189"/>
                    </a:lnTo>
                    <a:lnTo>
                      <a:pt x="400" y="189"/>
                    </a:lnTo>
                    <a:lnTo>
                      <a:pt x="398" y="189"/>
                    </a:lnTo>
                    <a:lnTo>
                      <a:pt x="400" y="190"/>
                    </a:lnTo>
                    <a:lnTo>
                      <a:pt x="401" y="190"/>
                    </a:lnTo>
                    <a:lnTo>
                      <a:pt x="401" y="191"/>
                    </a:lnTo>
                    <a:lnTo>
                      <a:pt x="402" y="191"/>
                    </a:lnTo>
                    <a:lnTo>
                      <a:pt x="402" y="192"/>
                    </a:lnTo>
                    <a:lnTo>
                      <a:pt x="401" y="193"/>
                    </a:lnTo>
                    <a:lnTo>
                      <a:pt x="401" y="194"/>
                    </a:lnTo>
                    <a:lnTo>
                      <a:pt x="401" y="195"/>
                    </a:lnTo>
                    <a:lnTo>
                      <a:pt x="401" y="196"/>
                    </a:lnTo>
                    <a:lnTo>
                      <a:pt x="401" y="197"/>
                    </a:lnTo>
                    <a:lnTo>
                      <a:pt x="400" y="198"/>
                    </a:lnTo>
                    <a:lnTo>
                      <a:pt x="398" y="198"/>
                    </a:lnTo>
                    <a:lnTo>
                      <a:pt x="400" y="198"/>
                    </a:lnTo>
                    <a:lnTo>
                      <a:pt x="400" y="200"/>
                    </a:lnTo>
                    <a:lnTo>
                      <a:pt x="398" y="200"/>
                    </a:lnTo>
                    <a:lnTo>
                      <a:pt x="398" y="201"/>
                    </a:lnTo>
                    <a:lnTo>
                      <a:pt x="400" y="201"/>
                    </a:lnTo>
                    <a:lnTo>
                      <a:pt x="400" y="202"/>
                    </a:lnTo>
                    <a:lnTo>
                      <a:pt x="398" y="202"/>
                    </a:lnTo>
                    <a:lnTo>
                      <a:pt x="398" y="203"/>
                    </a:lnTo>
                    <a:lnTo>
                      <a:pt x="400" y="203"/>
                    </a:lnTo>
                    <a:lnTo>
                      <a:pt x="401" y="203"/>
                    </a:lnTo>
                    <a:lnTo>
                      <a:pt x="400" y="204"/>
                    </a:lnTo>
                    <a:lnTo>
                      <a:pt x="401" y="204"/>
                    </a:lnTo>
                    <a:lnTo>
                      <a:pt x="401" y="205"/>
                    </a:lnTo>
                    <a:lnTo>
                      <a:pt x="400" y="205"/>
                    </a:lnTo>
                    <a:lnTo>
                      <a:pt x="398" y="205"/>
                    </a:lnTo>
                    <a:lnTo>
                      <a:pt x="400" y="206"/>
                    </a:lnTo>
                    <a:lnTo>
                      <a:pt x="401" y="206"/>
                    </a:lnTo>
                    <a:lnTo>
                      <a:pt x="401" y="207"/>
                    </a:lnTo>
                    <a:lnTo>
                      <a:pt x="400" y="207"/>
                    </a:lnTo>
                    <a:lnTo>
                      <a:pt x="398" y="207"/>
                    </a:lnTo>
                    <a:lnTo>
                      <a:pt x="397" y="207"/>
                    </a:lnTo>
                    <a:lnTo>
                      <a:pt x="398" y="207"/>
                    </a:lnTo>
                    <a:lnTo>
                      <a:pt x="398" y="208"/>
                    </a:lnTo>
                    <a:lnTo>
                      <a:pt x="397" y="208"/>
                    </a:lnTo>
                    <a:lnTo>
                      <a:pt x="397" y="209"/>
                    </a:lnTo>
                    <a:lnTo>
                      <a:pt x="398" y="210"/>
                    </a:lnTo>
                    <a:lnTo>
                      <a:pt x="397" y="210"/>
                    </a:lnTo>
                    <a:lnTo>
                      <a:pt x="396" y="210"/>
                    </a:lnTo>
                    <a:lnTo>
                      <a:pt x="395" y="209"/>
                    </a:lnTo>
                    <a:lnTo>
                      <a:pt x="394" y="209"/>
                    </a:lnTo>
                    <a:lnTo>
                      <a:pt x="394" y="208"/>
                    </a:lnTo>
                    <a:lnTo>
                      <a:pt x="393" y="209"/>
                    </a:lnTo>
                    <a:lnTo>
                      <a:pt x="393" y="210"/>
                    </a:lnTo>
                    <a:lnTo>
                      <a:pt x="392" y="210"/>
                    </a:lnTo>
                    <a:lnTo>
                      <a:pt x="392" y="211"/>
                    </a:lnTo>
                    <a:lnTo>
                      <a:pt x="391" y="211"/>
                    </a:lnTo>
                    <a:lnTo>
                      <a:pt x="391" y="213"/>
                    </a:lnTo>
                    <a:lnTo>
                      <a:pt x="391" y="214"/>
                    </a:lnTo>
                    <a:lnTo>
                      <a:pt x="392" y="215"/>
                    </a:lnTo>
                    <a:lnTo>
                      <a:pt x="394" y="216"/>
                    </a:lnTo>
                    <a:lnTo>
                      <a:pt x="395" y="216"/>
                    </a:lnTo>
                    <a:lnTo>
                      <a:pt x="396" y="216"/>
                    </a:lnTo>
                    <a:lnTo>
                      <a:pt x="396" y="217"/>
                    </a:lnTo>
                    <a:lnTo>
                      <a:pt x="394" y="217"/>
                    </a:lnTo>
                    <a:lnTo>
                      <a:pt x="394" y="218"/>
                    </a:lnTo>
                    <a:lnTo>
                      <a:pt x="393" y="219"/>
                    </a:lnTo>
                    <a:lnTo>
                      <a:pt x="393" y="220"/>
                    </a:lnTo>
                    <a:lnTo>
                      <a:pt x="392" y="221"/>
                    </a:lnTo>
                    <a:lnTo>
                      <a:pt x="392" y="222"/>
                    </a:lnTo>
                    <a:lnTo>
                      <a:pt x="392" y="223"/>
                    </a:lnTo>
                    <a:lnTo>
                      <a:pt x="393" y="223"/>
                    </a:lnTo>
                    <a:lnTo>
                      <a:pt x="393" y="222"/>
                    </a:lnTo>
                    <a:lnTo>
                      <a:pt x="393" y="223"/>
                    </a:lnTo>
                    <a:lnTo>
                      <a:pt x="393" y="224"/>
                    </a:lnTo>
                    <a:lnTo>
                      <a:pt x="392" y="224"/>
                    </a:lnTo>
                    <a:lnTo>
                      <a:pt x="391" y="226"/>
                    </a:lnTo>
                    <a:lnTo>
                      <a:pt x="390" y="226"/>
                    </a:lnTo>
                    <a:lnTo>
                      <a:pt x="390" y="227"/>
                    </a:lnTo>
                    <a:lnTo>
                      <a:pt x="391" y="227"/>
                    </a:lnTo>
                    <a:lnTo>
                      <a:pt x="391" y="228"/>
                    </a:lnTo>
                    <a:lnTo>
                      <a:pt x="390" y="228"/>
                    </a:lnTo>
                    <a:lnTo>
                      <a:pt x="389" y="228"/>
                    </a:lnTo>
                    <a:lnTo>
                      <a:pt x="389" y="229"/>
                    </a:lnTo>
                    <a:lnTo>
                      <a:pt x="389" y="230"/>
                    </a:lnTo>
                    <a:lnTo>
                      <a:pt x="389" y="231"/>
                    </a:lnTo>
                    <a:lnTo>
                      <a:pt x="389" y="232"/>
                    </a:lnTo>
                    <a:lnTo>
                      <a:pt x="390" y="232"/>
                    </a:lnTo>
                    <a:lnTo>
                      <a:pt x="391" y="233"/>
                    </a:lnTo>
                    <a:lnTo>
                      <a:pt x="391" y="234"/>
                    </a:lnTo>
                    <a:lnTo>
                      <a:pt x="392" y="234"/>
                    </a:lnTo>
                    <a:lnTo>
                      <a:pt x="392" y="235"/>
                    </a:lnTo>
                    <a:lnTo>
                      <a:pt x="391" y="235"/>
                    </a:lnTo>
                    <a:lnTo>
                      <a:pt x="390" y="235"/>
                    </a:lnTo>
                    <a:lnTo>
                      <a:pt x="390" y="234"/>
                    </a:lnTo>
                    <a:lnTo>
                      <a:pt x="390" y="233"/>
                    </a:lnTo>
                    <a:lnTo>
                      <a:pt x="389" y="233"/>
                    </a:lnTo>
                    <a:lnTo>
                      <a:pt x="388" y="234"/>
                    </a:lnTo>
                    <a:lnTo>
                      <a:pt x="388" y="235"/>
                    </a:lnTo>
                    <a:lnTo>
                      <a:pt x="389" y="235"/>
                    </a:lnTo>
                    <a:lnTo>
                      <a:pt x="389" y="236"/>
                    </a:lnTo>
                    <a:lnTo>
                      <a:pt x="388" y="238"/>
                    </a:lnTo>
                    <a:lnTo>
                      <a:pt x="389" y="239"/>
                    </a:lnTo>
                    <a:lnTo>
                      <a:pt x="390" y="238"/>
                    </a:lnTo>
                    <a:lnTo>
                      <a:pt x="390" y="239"/>
                    </a:lnTo>
                    <a:lnTo>
                      <a:pt x="389" y="240"/>
                    </a:lnTo>
                    <a:lnTo>
                      <a:pt x="389" y="241"/>
                    </a:lnTo>
                    <a:lnTo>
                      <a:pt x="389" y="242"/>
                    </a:lnTo>
                    <a:lnTo>
                      <a:pt x="389" y="241"/>
                    </a:lnTo>
                    <a:lnTo>
                      <a:pt x="388" y="240"/>
                    </a:lnTo>
                    <a:lnTo>
                      <a:pt x="385" y="241"/>
                    </a:lnTo>
                    <a:lnTo>
                      <a:pt x="384" y="242"/>
                    </a:lnTo>
                    <a:lnTo>
                      <a:pt x="384" y="243"/>
                    </a:lnTo>
                    <a:lnTo>
                      <a:pt x="384" y="244"/>
                    </a:lnTo>
                    <a:lnTo>
                      <a:pt x="382" y="245"/>
                    </a:lnTo>
                    <a:lnTo>
                      <a:pt x="381" y="245"/>
                    </a:lnTo>
                    <a:lnTo>
                      <a:pt x="380" y="245"/>
                    </a:lnTo>
                    <a:lnTo>
                      <a:pt x="379" y="244"/>
                    </a:lnTo>
                    <a:lnTo>
                      <a:pt x="379" y="245"/>
                    </a:lnTo>
                    <a:lnTo>
                      <a:pt x="377" y="245"/>
                    </a:lnTo>
                    <a:lnTo>
                      <a:pt x="376" y="245"/>
                    </a:lnTo>
                    <a:lnTo>
                      <a:pt x="376" y="246"/>
                    </a:lnTo>
                    <a:lnTo>
                      <a:pt x="376" y="247"/>
                    </a:lnTo>
                    <a:lnTo>
                      <a:pt x="377" y="247"/>
                    </a:lnTo>
                    <a:lnTo>
                      <a:pt x="378" y="247"/>
                    </a:lnTo>
                    <a:lnTo>
                      <a:pt x="379" y="247"/>
                    </a:lnTo>
                    <a:lnTo>
                      <a:pt x="379" y="248"/>
                    </a:lnTo>
                    <a:lnTo>
                      <a:pt x="379" y="249"/>
                    </a:lnTo>
                    <a:lnTo>
                      <a:pt x="378" y="249"/>
                    </a:lnTo>
                    <a:lnTo>
                      <a:pt x="378" y="251"/>
                    </a:lnTo>
                    <a:lnTo>
                      <a:pt x="377" y="251"/>
                    </a:lnTo>
                    <a:lnTo>
                      <a:pt x="376" y="251"/>
                    </a:lnTo>
                    <a:lnTo>
                      <a:pt x="376" y="252"/>
                    </a:lnTo>
                    <a:lnTo>
                      <a:pt x="378" y="252"/>
                    </a:lnTo>
                    <a:lnTo>
                      <a:pt x="378" y="253"/>
                    </a:lnTo>
                    <a:lnTo>
                      <a:pt x="377" y="253"/>
                    </a:lnTo>
                    <a:lnTo>
                      <a:pt x="376" y="253"/>
                    </a:lnTo>
                    <a:lnTo>
                      <a:pt x="376" y="254"/>
                    </a:lnTo>
                    <a:lnTo>
                      <a:pt x="367" y="254"/>
                    </a:lnTo>
                    <a:lnTo>
                      <a:pt x="366" y="254"/>
                    </a:lnTo>
                    <a:lnTo>
                      <a:pt x="365" y="254"/>
                    </a:lnTo>
                    <a:lnTo>
                      <a:pt x="362" y="254"/>
                    </a:lnTo>
                    <a:lnTo>
                      <a:pt x="347" y="254"/>
                    </a:lnTo>
                    <a:lnTo>
                      <a:pt x="337" y="254"/>
                    </a:lnTo>
                    <a:lnTo>
                      <a:pt x="336" y="254"/>
                    </a:lnTo>
                    <a:lnTo>
                      <a:pt x="333" y="254"/>
                    </a:lnTo>
                    <a:lnTo>
                      <a:pt x="332" y="254"/>
                    </a:lnTo>
                    <a:lnTo>
                      <a:pt x="328" y="254"/>
                    </a:lnTo>
                    <a:lnTo>
                      <a:pt x="325" y="254"/>
                    </a:lnTo>
                    <a:lnTo>
                      <a:pt x="305" y="254"/>
                    </a:lnTo>
                    <a:lnTo>
                      <a:pt x="303" y="254"/>
                    </a:lnTo>
                    <a:lnTo>
                      <a:pt x="301" y="254"/>
                    </a:lnTo>
                    <a:lnTo>
                      <a:pt x="293" y="254"/>
                    </a:lnTo>
                    <a:lnTo>
                      <a:pt x="292" y="254"/>
                    </a:lnTo>
                    <a:lnTo>
                      <a:pt x="291" y="254"/>
                    </a:lnTo>
                    <a:lnTo>
                      <a:pt x="269" y="254"/>
                    </a:lnTo>
                    <a:lnTo>
                      <a:pt x="266" y="254"/>
                    </a:lnTo>
                    <a:lnTo>
                      <a:pt x="258" y="254"/>
                    </a:lnTo>
                    <a:lnTo>
                      <a:pt x="242" y="254"/>
                    </a:lnTo>
                    <a:lnTo>
                      <a:pt x="241" y="254"/>
                    </a:lnTo>
                    <a:lnTo>
                      <a:pt x="218" y="254"/>
                    </a:lnTo>
                    <a:lnTo>
                      <a:pt x="218" y="260"/>
                    </a:lnTo>
                    <a:lnTo>
                      <a:pt x="217" y="287"/>
                    </a:lnTo>
                    <a:lnTo>
                      <a:pt x="217" y="305"/>
                    </a:lnTo>
                    <a:lnTo>
                      <a:pt x="217" y="317"/>
                    </a:lnTo>
                    <a:lnTo>
                      <a:pt x="215" y="317"/>
                    </a:lnTo>
                    <a:lnTo>
                      <a:pt x="197" y="317"/>
                    </a:lnTo>
                    <a:lnTo>
                      <a:pt x="186" y="317"/>
                    </a:lnTo>
                    <a:lnTo>
                      <a:pt x="162" y="317"/>
                    </a:lnTo>
                    <a:lnTo>
                      <a:pt x="160" y="317"/>
                    </a:lnTo>
                    <a:lnTo>
                      <a:pt x="139" y="317"/>
                    </a:lnTo>
                    <a:lnTo>
                      <a:pt x="138" y="317"/>
                    </a:lnTo>
                    <a:lnTo>
                      <a:pt x="113" y="317"/>
                    </a:lnTo>
                    <a:lnTo>
                      <a:pt x="68" y="317"/>
                    </a:lnTo>
                    <a:lnTo>
                      <a:pt x="65" y="317"/>
                    </a:lnTo>
                    <a:lnTo>
                      <a:pt x="62" y="317"/>
                    </a:lnTo>
                    <a:lnTo>
                      <a:pt x="61" y="317"/>
                    </a:lnTo>
                    <a:lnTo>
                      <a:pt x="37" y="317"/>
                    </a:lnTo>
                    <a:lnTo>
                      <a:pt x="29" y="317"/>
                    </a:lnTo>
                    <a:lnTo>
                      <a:pt x="5" y="317"/>
                    </a:lnTo>
                    <a:lnTo>
                      <a:pt x="2" y="317"/>
                    </a:lnTo>
                    <a:lnTo>
                      <a:pt x="1" y="317"/>
                    </a:lnTo>
                    <a:lnTo>
                      <a:pt x="1" y="316"/>
                    </a:lnTo>
                    <a:lnTo>
                      <a:pt x="0" y="314"/>
                    </a:lnTo>
                    <a:lnTo>
                      <a:pt x="1" y="313"/>
                    </a:lnTo>
                    <a:lnTo>
                      <a:pt x="1" y="312"/>
                    </a:lnTo>
                    <a:lnTo>
                      <a:pt x="1" y="310"/>
                    </a:lnTo>
                    <a:lnTo>
                      <a:pt x="2" y="309"/>
                    </a:lnTo>
                    <a:lnTo>
                      <a:pt x="2" y="308"/>
                    </a:lnTo>
                    <a:lnTo>
                      <a:pt x="3" y="308"/>
                    </a:lnTo>
                    <a:lnTo>
                      <a:pt x="3" y="306"/>
                    </a:lnTo>
                    <a:lnTo>
                      <a:pt x="4" y="304"/>
                    </a:lnTo>
                    <a:lnTo>
                      <a:pt x="4" y="301"/>
                    </a:lnTo>
                    <a:lnTo>
                      <a:pt x="5" y="300"/>
                    </a:lnTo>
                    <a:lnTo>
                      <a:pt x="5" y="298"/>
                    </a:lnTo>
                    <a:lnTo>
                      <a:pt x="4" y="297"/>
                    </a:lnTo>
                    <a:lnTo>
                      <a:pt x="4" y="296"/>
                    </a:lnTo>
                    <a:lnTo>
                      <a:pt x="5" y="295"/>
                    </a:lnTo>
                    <a:lnTo>
                      <a:pt x="5" y="293"/>
                    </a:lnTo>
                    <a:lnTo>
                      <a:pt x="4" y="292"/>
                    </a:lnTo>
                    <a:lnTo>
                      <a:pt x="4" y="290"/>
                    </a:lnTo>
                    <a:lnTo>
                      <a:pt x="4" y="287"/>
                    </a:lnTo>
                    <a:lnTo>
                      <a:pt x="4" y="286"/>
                    </a:lnTo>
                    <a:lnTo>
                      <a:pt x="4" y="285"/>
                    </a:lnTo>
                    <a:lnTo>
                      <a:pt x="3" y="285"/>
                    </a:lnTo>
                    <a:lnTo>
                      <a:pt x="3" y="284"/>
                    </a:lnTo>
                    <a:lnTo>
                      <a:pt x="2" y="284"/>
                    </a:lnTo>
                    <a:lnTo>
                      <a:pt x="2" y="283"/>
                    </a:lnTo>
                    <a:lnTo>
                      <a:pt x="3" y="283"/>
                    </a:lnTo>
                    <a:lnTo>
                      <a:pt x="3" y="282"/>
                    </a:lnTo>
                    <a:lnTo>
                      <a:pt x="4" y="282"/>
                    </a:lnTo>
                    <a:lnTo>
                      <a:pt x="4" y="281"/>
                    </a:lnTo>
                    <a:lnTo>
                      <a:pt x="3" y="280"/>
                    </a:lnTo>
                    <a:lnTo>
                      <a:pt x="3" y="278"/>
                    </a:lnTo>
                    <a:lnTo>
                      <a:pt x="3" y="277"/>
                    </a:lnTo>
                    <a:lnTo>
                      <a:pt x="4" y="275"/>
                    </a:lnTo>
                    <a:lnTo>
                      <a:pt x="4" y="274"/>
                    </a:lnTo>
                    <a:lnTo>
                      <a:pt x="4" y="273"/>
                    </a:lnTo>
                    <a:lnTo>
                      <a:pt x="5" y="272"/>
                    </a:lnTo>
                    <a:lnTo>
                      <a:pt x="5" y="271"/>
                    </a:lnTo>
                    <a:lnTo>
                      <a:pt x="5" y="270"/>
                    </a:lnTo>
                    <a:lnTo>
                      <a:pt x="5" y="269"/>
                    </a:lnTo>
                    <a:lnTo>
                      <a:pt x="5" y="268"/>
                    </a:lnTo>
                    <a:lnTo>
                      <a:pt x="5" y="266"/>
                    </a:lnTo>
                    <a:lnTo>
                      <a:pt x="5" y="265"/>
                    </a:lnTo>
                    <a:lnTo>
                      <a:pt x="6" y="265"/>
                    </a:lnTo>
                    <a:lnTo>
                      <a:pt x="6" y="266"/>
                    </a:lnTo>
                    <a:lnTo>
                      <a:pt x="8" y="267"/>
                    </a:lnTo>
                    <a:lnTo>
                      <a:pt x="9" y="267"/>
                    </a:lnTo>
                    <a:lnTo>
                      <a:pt x="10" y="267"/>
                    </a:lnTo>
                    <a:lnTo>
                      <a:pt x="11" y="267"/>
                    </a:lnTo>
                    <a:lnTo>
                      <a:pt x="11" y="266"/>
                    </a:lnTo>
                    <a:lnTo>
                      <a:pt x="13" y="265"/>
                    </a:lnTo>
                    <a:lnTo>
                      <a:pt x="14" y="265"/>
                    </a:lnTo>
                    <a:lnTo>
                      <a:pt x="15" y="264"/>
                    </a:lnTo>
                    <a:lnTo>
                      <a:pt x="15" y="262"/>
                    </a:lnTo>
                    <a:lnTo>
                      <a:pt x="15" y="261"/>
                    </a:lnTo>
                    <a:lnTo>
                      <a:pt x="15" y="260"/>
                    </a:lnTo>
                    <a:lnTo>
                      <a:pt x="15" y="259"/>
                    </a:lnTo>
                    <a:lnTo>
                      <a:pt x="14" y="259"/>
                    </a:lnTo>
                    <a:lnTo>
                      <a:pt x="15" y="259"/>
                    </a:lnTo>
                    <a:lnTo>
                      <a:pt x="15" y="258"/>
                    </a:lnTo>
                    <a:lnTo>
                      <a:pt x="15" y="257"/>
                    </a:lnTo>
                    <a:lnTo>
                      <a:pt x="15" y="256"/>
                    </a:lnTo>
                    <a:lnTo>
                      <a:pt x="15" y="255"/>
                    </a:lnTo>
                    <a:lnTo>
                      <a:pt x="16" y="255"/>
                    </a:lnTo>
                    <a:lnTo>
                      <a:pt x="15" y="255"/>
                    </a:lnTo>
                    <a:lnTo>
                      <a:pt x="15" y="254"/>
                    </a:lnTo>
                    <a:lnTo>
                      <a:pt x="16" y="254"/>
                    </a:lnTo>
                    <a:lnTo>
                      <a:pt x="17" y="253"/>
                    </a:lnTo>
                    <a:lnTo>
                      <a:pt x="18" y="252"/>
                    </a:lnTo>
                    <a:lnTo>
                      <a:pt x="18" y="251"/>
                    </a:lnTo>
                    <a:lnTo>
                      <a:pt x="18" y="249"/>
                    </a:lnTo>
                    <a:lnTo>
                      <a:pt x="18" y="246"/>
                    </a:lnTo>
                    <a:lnTo>
                      <a:pt x="17" y="245"/>
                    </a:lnTo>
                    <a:lnTo>
                      <a:pt x="17" y="244"/>
                    </a:lnTo>
                    <a:lnTo>
                      <a:pt x="18" y="244"/>
                    </a:lnTo>
                    <a:lnTo>
                      <a:pt x="19" y="243"/>
                    </a:lnTo>
                    <a:lnTo>
                      <a:pt x="20" y="241"/>
                    </a:lnTo>
                    <a:lnTo>
                      <a:pt x="21" y="241"/>
                    </a:lnTo>
                    <a:lnTo>
                      <a:pt x="20" y="241"/>
                    </a:lnTo>
                    <a:lnTo>
                      <a:pt x="20" y="240"/>
                    </a:lnTo>
                    <a:lnTo>
                      <a:pt x="19" y="240"/>
                    </a:lnTo>
                    <a:lnTo>
                      <a:pt x="17" y="239"/>
                    </a:lnTo>
                    <a:lnTo>
                      <a:pt x="17" y="238"/>
                    </a:lnTo>
                    <a:lnTo>
                      <a:pt x="16" y="236"/>
                    </a:lnTo>
                    <a:lnTo>
                      <a:pt x="15" y="235"/>
                    </a:lnTo>
                    <a:lnTo>
                      <a:pt x="15" y="234"/>
                    </a:lnTo>
                    <a:lnTo>
                      <a:pt x="15" y="233"/>
                    </a:lnTo>
                    <a:lnTo>
                      <a:pt x="16" y="233"/>
                    </a:lnTo>
                    <a:lnTo>
                      <a:pt x="16" y="232"/>
                    </a:lnTo>
                    <a:lnTo>
                      <a:pt x="17" y="232"/>
                    </a:lnTo>
                    <a:lnTo>
                      <a:pt x="18" y="232"/>
                    </a:lnTo>
                    <a:lnTo>
                      <a:pt x="18" y="233"/>
                    </a:lnTo>
                    <a:lnTo>
                      <a:pt x="20" y="234"/>
                    </a:lnTo>
                    <a:lnTo>
                      <a:pt x="21" y="235"/>
                    </a:lnTo>
                    <a:lnTo>
                      <a:pt x="22" y="235"/>
                    </a:lnTo>
                    <a:lnTo>
                      <a:pt x="23" y="235"/>
                    </a:lnTo>
                    <a:lnTo>
                      <a:pt x="23" y="234"/>
                    </a:lnTo>
                    <a:lnTo>
                      <a:pt x="22" y="233"/>
                    </a:lnTo>
                    <a:lnTo>
                      <a:pt x="22" y="232"/>
                    </a:lnTo>
                    <a:lnTo>
                      <a:pt x="22" y="231"/>
                    </a:lnTo>
                    <a:lnTo>
                      <a:pt x="23" y="230"/>
                    </a:lnTo>
                    <a:lnTo>
                      <a:pt x="22" y="229"/>
                    </a:lnTo>
                    <a:lnTo>
                      <a:pt x="21" y="228"/>
                    </a:lnTo>
                    <a:lnTo>
                      <a:pt x="21" y="227"/>
                    </a:lnTo>
                    <a:lnTo>
                      <a:pt x="21" y="226"/>
                    </a:lnTo>
                    <a:lnTo>
                      <a:pt x="21" y="224"/>
                    </a:lnTo>
                    <a:lnTo>
                      <a:pt x="20" y="224"/>
                    </a:lnTo>
                    <a:lnTo>
                      <a:pt x="19" y="226"/>
                    </a:lnTo>
                    <a:lnTo>
                      <a:pt x="19" y="224"/>
                    </a:lnTo>
                    <a:lnTo>
                      <a:pt x="18" y="224"/>
                    </a:lnTo>
                    <a:lnTo>
                      <a:pt x="17" y="224"/>
                    </a:lnTo>
                    <a:lnTo>
                      <a:pt x="17" y="223"/>
                    </a:lnTo>
                    <a:lnTo>
                      <a:pt x="16" y="223"/>
                    </a:lnTo>
                    <a:lnTo>
                      <a:pt x="17" y="222"/>
                    </a:lnTo>
                    <a:lnTo>
                      <a:pt x="17" y="221"/>
                    </a:lnTo>
                    <a:lnTo>
                      <a:pt x="18" y="221"/>
                    </a:lnTo>
                    <a:lnTo>
                      <a:pt x="18" y="220"/>
                    </a:lnTo>
                    <a:lnTo>
                      <a:pt x="17" y="219"/>
                    </a:lnTo>
                    <a:lnTo>
                      <a:pt x="17" y="218"/>
                    </a:lnTo>
                    <a:lnTo>
                      <a:pt x="16" y="218"/>
                    </a:lnTo>
                    <a:lnTo>
                      <a:pt x="15" y="216"/>
                    </a:lnTo>
                    <a:lnTo>
                      <a:pt x="16" y="216"/>
                    </a:lnTo>
                    <a:lnTo>
                      <a:pt x="17" y="216"/>
                    </a:lnTo>
                    <a:lnTo>
                      <a:pt x="18" y="216"/>
                    </a:lnTo>
                    <a:lnTo>
                      <a:pt x="18" y="215"/>
                    </a:lnTo>
                    <a:lnTo>
                      <a:pt x="18" y="214"/>
                    </a:lnTo>
                    <a:lnTo>
                      <a:pt x="17" y="213"/>
                    </a:lnTo>
                    <a:lnTo>
                      <a:pt x="16" y="211"/>
                    </a:lnTo>
                    <a:lnTo>
                      <a:pt x="16" y="210"/>
                    </a:lnTo>
                    <a:lnTo>
                      <a:pt x="17" y="210"/>
                    </a:lnTo>
                    <a:lnTo>
                      <a:pt x="18" y="210"/>
                    </a:lnTo>
                    <a:lnTo>
                      <a:pt x="19" y="210"/>
                    </a:lnTo>
                    <a:lnTo>
                      <a:pt x="19" y="211"/>
                    </a:lnTo>
                    <a:lnTo>
                      <a:pt x="20" y="211"/>
                    </a:lnTo>
                    <a:lnTo>
                      <a:pt x="20" y="213"/>
                    </a:lnTo>
                    <a:lnTo>
                      <a:pt x="21" y="213"/>
                    </a:lnTo>
                    <a:lnTo>
                      <a:pt x="22" y="213"/>
                    </a:lnTo>
                    <a:lnTo>
                      <a:pt x="23" y="213"/>
                    </a:lnTo>
                    <a:lnTo>
                      <a:pt x="24" y="213"/>
                    </a:lnTo>
                    <a:lnTo>
                      <a:pt x="26" y="213"/>
                    </a:lnTo>
                    <a:lnTo>
                      <a:pt x="27" y="213"/>
                    </a:lnTo>
                    <a:lnTo>
                      <a:pt x="28" y="213"/>
                    </a:lnTo>
                    <a:lnTo>
                      <a:pt x="29" y="213"/>
                    </a:lnTo>
                    <a:lnTo>
                      <a:pt x="30" y="211"/>
                    </a:lnTo>
                    <a:lnTo>
                      <a:pt x="31" y="211"/>
                    </a:lnTo>
                    <a:lnTo>
                      <a:pt x="31" y="213"/>
                    </a:lnTo>
                    <a:lnTo>
                      <a:pt x="32" y="213"/>
                    </a:lnTo>
                    <a:lnTo>
                      <a:pt x="33" y="213"/>
                    </a:lnTo>
                    <a:lnTo>
                      <a:pt x="34" y="213"/>
                    </a:lnTo>
                    <a:lnTo>
                      <a:pt x="35" y="213"/>
                    </a:lnTo>
                    <a:lnTo>
                      <a:pt x="36" y="214"/>
                    </a:lnTo>
                    <a:lnTo>
                      <a:pt x="36" y="215"/>
                    </a:lnTo>
                    <a:lnTo>
                      <a:pt x="37" y="214"/>
                    </a:lnTo>
                    <a:lnTo>
                      <a:pt x="39" y="214"/>
                    </a:lnTo>
                    <a:lnTo>
                      <a:pt x="39" y="215"/>
                    </a:lnTo>
                    <a:lnTo>
                      <a:pt x="40" y="215"/>
                    </a:lnTo>
                    <a:lnTo>
                      <a:pt x="40" y="214"/>
                    </a:lnTo>
                    <a:lnTo>
                      <a:pt x="41" y="215"/>
                    </a:lnTo>
                    <a:lnTo>
                      <a:pt x="42" y="215"/>
                    </a:lnTo>
                    <a:lnTo>
                      <a:pt x="43" y="214"/>
                    </a:lnTo>
                    <a:lnTo>
                      <a:pt x="45" y="211"/>
                    </a:lnTo>
                    <a:lnTo>
                      <a:pt x="45" y="210"/>
                    </a:lnTo>
                    <a:lnTo>
                      <a:pt x="46" y="210"/>
                    </a:lnTo>
                    <a:lnTo>
                      <a:pt x="47" y="210"/>
                    </a:lnTo>
                    <a:lnTo>
                      <a:pt x="47" y="209"/>
                    </a:lnTo>
                    <a:lnTo>
                      <a:pt x="47" y="208"/>
                    </a:lnTo>
                    <a:lnTo>
                      <a:pt x="46" y="207"/>
                    </a:lnTo>
                    <a:lnTo>
                      <a:pt x="46" y="206"/>
                    </a:lnTo>
                    <a:lnTo>
                      <a:pt x="45" y="205"/>
                    </a:lnTo>
                    <a:lnTo>
                      <a:pt x="44" y="204"/>
                    </a:lnTo>
                    <a:lnTo>
                      <a:pt x="43" y="204"/>
                    </a:lnTo>
                    <a:lnTo>
                      <a:pt x="43" y="203"/>
                    </a:lnTo>
                    <a:lnTo>
                      <a:pt x="43" y="202"/>
                    </a:lnTo>
                    <a:lnTo>
                      <a:pt x="43" y="201"/>
                    </a:lnTo>
                    <a:lnTo>
                      <a:pt x="44" y="200"/>
                    </a:lnTo>
                    <a:lnTo>
                      <a:pt x="44" y="198"/>
                    </a:lnTo>
                    <a:lnTo>
                      <a:pt x="45" y="197"/>
                    </a:lnTo>
                    <a:lnTo>
                      <a:pt x="45" y="196"/>
                    </a:lnTo>
                    <a:lnTo>
                      <a:pt x="45" y="194"/>
                    </a:lnTo>
                    <a:lnTo>
                      <a:pt x="45" y="193"/>
                    </a:lnTo>
                    <a:lnTo>
                      <a:pt x="45" y="191"/>
                    </a:lnTo>
                    <a:lnTo>
                      <a:pt x="45" y="190"/>
                    </a:lnTo>
                    <a:lnTo>
                      <a:pt x="45" y="188"/>
                    </a:lnTo>
                    <a:lnTo>
                      <a:pt x="45" y="185"/>
                    </a:lnTo>
                    <a:lnTo>
                      <a:pt x="46" y="185"/>
                    </a:lnTo>
                    <a:lnTo>
                      <a:pt x="46" y="183"/>
                    </a:lnTo>
                    <a:lnTo>
                      <a:pt x="47" y="182"/>
                    </a:lnTo>
                    <a:lnTo>
                      <a:pt x="49" y="181"/>
                    </a:lnTo>
                    <a:lnTo>
                      <a:pt x="50" y="180"/>
                    </a:lnTo>
                    <a:lnTo>
                      <a:pt x="50" y="178"/>
                    </a:lnTo>
                    <a:lnTo>
                      <a:pt x="52" y="177"/>
                    </a:lnTo>
                    <a:lnTo>
                      <a:pt x="52" y="176"/>
                    </a:lnTo>
                    <a:lnTo>
                      <a:pt x="50" y="175"/>
                    </a:lnTo>
                    <a:lnTo>
                      <a:pt x="50" y="174"/>
                    </a:lnTo>
                    <a:lnTo>
                      <a:pt x="50" y="171"/>
                    </a:lnTo>
                    <a:lnTo>
                      <a:pt x="50" y="170"/>
                    </a:lnTo>
                    <a:lnTo>
                      <a:pt x="49" y="169"/>
                    </a:lnTo>
                    <a:lnTo>
                      <a:pt x="50" y="168"/>
                    </a:lnTo>
                    <a:lnTo>
                      <a:pt x="50" y="167"/>
                    </a:lnTo>
                    <a:lnTo>
                      <a:pt x="49" y="167"/>
                    </a:lnTo>
                    <a:lnTo>
                      <a:pt x="50" y="166"/>
                    </a:lnTo>
                    <a:lnTo>
                      <a:pt x="50" y="165"/>
                    </a:lnTo>
                    <a:lnTo>
                      <a:pt x="50" y="164"/>
                    </a:lnTo>
                    <a:lnTo>
                      <a:pt x="50" y="163"/>
                    </a:lnTo>
                    <a:lnTo>
                      <a:pt x="52" y="163"/>
                    </a:lnTo>
                    <a:lnTo>
                      <a:pt x="52" y="162"/>
                    </a:lnTo>
                    <a:lnTo>
                      <a:pt x="52" y="161"/>
                    </a:lnTo>
                    <a:lnTo>
                      <a:pt x="52" y="159"/>
                    </a:lnTo>
                    <a:lnTo>
                      <a:pt x="53" y="159"/>
                    </a:lnTo>
                    <a:lnTo>
                      <a:pt x="54" y="159"/>
                    </a:lnTo>
                    <a:lnTo>
                      <a:pt x="54" y="158"/>
                    </a:lnTo>
                    <a:lnTo>
                      <a:pt x="55" y="157"/>
                    </a:lnTo>
                    <a:lnTo>
                      <a:pt x="54" y="156"/>
                    </a:lnTo>
                    <a:lnTo>
                      <a:pt x="54" y="155"/>
                    </a:lnTo>
                    <a:lnTo>
                      <a:pt x="55" y="154"/>
                    </a:lnTo>
                    <a:lnTo>
                      <a:pt x="56" y="153"/>
                    </a:lnTo>
                    <a:lnTo>
                      <a:pt x="56" y="152"/>
                    </a:lnTo>
                    <a:lnTo>
                      <a:pt x="56" y="151"/>
                    </a:lnTo>
                    <a:lnTo>
                      <a:pt x="57" y="151"/>
                    </a:lnTo>
                    <a:lnTo>
                      <a:pt x="58" y="150"/>
                    </a:lnTo>
                    <a:lnTo>
                      <a:pt x="59" y="150"/>
                    </a:lnTo>
                    <a:lnTo>
                      <a:pt x="59" y="149"/>
                    </a:lnTo>
                    <a:lnTo>
                      <a:pt x="60" y="149"/>
                    </a:lnTo>
                    <a:lnTo>
                      <a:pt x="60" y="150"/>
                    </a:lnTo>
                    <a:lnTo>
                      <a:pt x="60" y="149"/>
                    </a:lnTo>
                    <a:lnTo>
                      <a:pt x="61" y="149"/>
                    </a:lnTo>
                    <a:lnTo>
                      <a:pt x="62" y="149"/>
                    </a:lnTo>
                    <a:lnTo>
                      <a:pt x="62" y="148"/>
                    </a:lnTo>
                    <a:lnTo>
                      <a:pt x="62" y="146"/>
                    </a:lnTo>
                    <a:lnTo>
                      <a:pt x="63" y="146"/>
                    </a:lnTo>
                    <a:lnTo>
                      <a:pt x="63" y="145"/>
                    </a:lnTo>
                    <a:lnTo>
                      <a:pt x="63" y="144"/>
                    </a:lnTo>
                    <a:lnTo>
                      <a:pt x="62" y="144"/>
                    </a:lnTo>
                    <a:lnTo>
                      <a:pt x="61" y="144"/>
                    </a:lnTo>
                    <a:lnTo>
                      <a:pt x="60" y="144"/>
                    </a:lnTo>
                    <a:lnTo>
                      <a:pt x="60" y="143"/>
                    </a:lnTo>
                    <a:lnTo>
                      <a:pt x="59" y="142"/>
                    </a:lnTo>
                    <a:lnTo>
                      <a:pt x="58" y="142"/>
                    </a:lnTo>
                    <a:lnTo>
                      <a:pt x="57" y="142"/>
                    </a:lnTo>
                    <a:lnTo>
                      <a:pt x="57" y="141"/>
                    </a:lnTo>
                    <a:lnTo>
                      <a:pt x="57" y="140"/>
                    </a:lnTo>
                    <a:lnTo>
                      <a:pt x="56" y="140"/>
                    </a:lnTo>
                    <a:lnTo>
                      <a:pt x="56" y="139"/>
                    </a:lnTo>
                    <a:lnTo>
                      <a:pt x="56" y="137"/>
                    </a:lnTo>
                    <a:lnTo>
                      <a:pt x="56" y="136"/>
                    </a:lnTo>
                    <a:lnTo>
                      <a:pt x="56" y="134"/>
                    </a:lnTo>
                    <a:lnTo>
                      <a:pt x="57" y="133"/>
                    </a:lnTo>
                    <a:lnTo>
                      <a:pt x="56" y="132"/>
                    </a:lnTo>
                    <a:lnTo>
                      <a:pt x="56" y="131"/>
                    </a:lnTo>
                    <a:lnTo>
                      <a:pt x="56" y="130"/>
                    </a:lnTo>
                    <a:lnTo>
                      <a:pt x="57" y="129"/>
                    </a:lnTo>
                    <a:lnTo>
                      <a:pt x="57" y="128"/>
                    </a:lnTo>
                    <a:lnTo>
                      <a:pt x="56" y="128"/>
                    </a:lnTo>
                    <a:lnTo>
                      <a:pt x="56" y="127"/>
                    </a:lnTo>
                    <a:lnTo>
                      <a:pt x="56" y="126"/>
                    </a:lnTo>
                    <a:lnTo>
                      <a:pt x="56" y="125"/>
                    </a:lnTo>
                    <a:lnTo>
                      <a:pt x="56" y="124"/>
                    </a:lnTo>
                    <a:lnTo>
                      <a:pt x="56" y="123"/>
                    </a:lnTo>
                    <a:lnTo>
                      <a:pt x="56" y="121"/>
                    </a:lnTo>
                    <a:lnTo>
                      <a:pt x="57" y="121"/>
                    </a:lnTo>
                    <a:lnTo>
                      <a:pt x="57" y="120"/>
                    </a:lnTo>
                    <a:lnTo>
                      <a:pt x="56" y="119"/>
                    </a:lnTo>
                    <a:lnTo>
                      <a:pt x="56" y="120"/>
                    </a:lnTo>
                    <a:lnTo>
                      <a:pt x="55" y="119"/>
                    </a:lnTo>
                    <a:lnTo>
                      <a:pt x="55" y="118"/>
                    </a:lnTo>
                    <a:lnTo>
                      <a:pt x="55" y="117"/>
                    </a:lnTo>
                    <a:lnTo>
                      <a:pt x="54" y="116"/>
                    </a:lnTo>
                    <a:lnTo>
                      <a:pt x="53" y="116"/>
                    </a:lnTo>
                    <a:lnTo>
                      <a:pt x="52" y="116"/>
                    </a:lnTo>
                    <a:lnTo>
                      <a:pt x="50" y="116"/>
                    </a:lnTo>
                    <a:lnTo>
                      <a:pt x="50" y="115"/>
                    </a:lnTo>
                    <a:lnTo>
                      <a:pt x="50" y="116"/>
                    </a:lnTo>
                    <a:lnTo>
                      <a:pt x="49" y="116"/>
                    </a:lnTo>
                    <a:lnTo>
                      <a:pt x="49" y="115"/>
                    </a:lnTo>
                    <a:lnTo>
                      <a:pt x="48" y="115"/>
                    </a:lnTo>
                    <a:lnTo>
                      <a:pt x="48" y="116"/>
                    </a:lnTo>
                    <a:lnTo>
                      <a:pt x="48" y="115"/>
                    </a:lnTo>
                    <a:lnTo>
                      <a:pt x="47" y="115"/>
                    </a:lnTo>
                    <a:lnTo>
                      <a:pt x="47" y="116"/>
                    </a:lnTo>
                    <a:lnTo>
                      <a:pt x="47" y="115"/>
                    </a:lnTo>
                    <a:lnTo>
                      <a:pt x="46" y="116"/>
                    </a:lnTo>
                    <a:lnTo>
                      <a:pt x="45" y="115"/>
                    </a:lnTo>
                    <a:lnTo>
                      <a:pt x="46" y="115"/>
                    </a:lnTo>
                    <a:lnTo>
                      <a:pt x="46" y="114"/>
                    </a:lnTo>
                    <a:lnTo>
                      <a:pt x="46" y="113"/>
                    </a:lnTo>
                    <a:lnTo>
                      <a:pt x="45" y="113"/>
                    </a:lnTo>
                    <a:lnTo>
                      <a:pt x="45" y="112"/>
                    </a:lnTo>
                    <a:lnTo>
                      <a:pt x="46" y="112"/>
                    </a:lnTo>
                    <a:lnTo>
                      <a:pt x="45" y="111"/>
                    </a:lnTo>
                    <a:lnTo>
                      <a:pt x="46" y="111"/>
                    </a:lnTo>
                    <a:lnTo>
                      <a:pt x="46" y="110"/>
                    </a:lnTo>
                    <a:lnTo>
                      <a:pt x="47" y="110"/>
                    </a:lnTo>
                    <a:lnTo>
                      <a:pt x="48" y="110"/>
                    </a:lnTo>
                    <a:lnTo>
                      <a:pt x="48" y="108"/>
                    </a:lnTo>
                    <a:lnTo>
                      <a:pt x="48" y="107"/>
                    </a:lnTo>
                    <a:lnTo>
                      <a:pt x="49" y="107"/>
                    </a:lnTo>
                    <a:lnTo>
                      <a:pt x="50" y="107"/>
                    </a:lnTo>
                    <a:lnTo>
                      <a:pt x="50" y="106"/>
                    </a:lnTo>
                    <a:lnTo>
                      <a:pt x="52" y="105"/>
                    </a:lnTo>
                    <a:lnTo>
                      <a:pt x="52" y="104"/>
                    </a:lnTo>
                    <a:lnTo>
                      <a:pt x="53" y="103"/>
                    </a:lnTo>
                    <a:lnTo>
                      <a:pt x="54" y="102"/>
                    </a:lnTo>
                    <a:lnTo>
                      <a:pt x="54" y="101"/>
                    </a:lnTo>
                    <a:lnTo>
                      <a:pt x="54" y="100"/>
                    </a:lnTo>
                    <a:lnTo>
                      <a:pt x="54" y="99"/>
                    </a:lnTo>
                    <a:lnTo>
                      <a:pt x="55" y="99"/>
                    </a:lnTo>
                    <a:lnTo>
                      <a:pt x="56" y="99"/>
                    </a:lnTo>
                    <a:lnTo>
                      <a:pt x="56" y="98"/>
                    </a:lnTo>
                    <a:lnTo>
                      <a:pt x="55" y="98"/>
                    </a:lnTo>
                    <a:lnTo>
                      <a:pt x="54" y="98"/>
                    </a:lnTo>
                    <a:lnTo>
                      <a:pt x="54" y="97"/>
                    </a:lnTo>
                    <a:lnTo>
                      <a:pt x="54" y="95"/>
                    </a:lnTo>
                    <a:lnTo>
                      <a:pt x="55" y="95"/>
                    </a:lnTo>
                    <a:lnTo>
                      <a:pt x="54" y="95"/>
                    </a:lnTo>
                    <a:lnTo>
                      <a:pt x="55" y="95"/>
                    </a:lnTo>
                    <a:lnTo>
                      <a:pt x="55" y="94"/>
                    </a:lnTo>
                    <a:lnTo>
                      <a:pt x="55" y="93"/>
                    </a:lnTo>
                    <a:lnTo>
                      <a:pt x="55" y="92"/>
                    </a:lnTo>
                    <a:lnTo>
                      <a:pt x="55" y="93"/>
                    </a:lnTo>
                    <a:lnTo>
                      <a:pt x="55" y="92"/>
                    </a:lnTo>
                    <a:lnTo>
                      <a:pt x="55" y="91"/>
                    </a:lnTo>
                    <a:lnTo>
                      <a:pt x="54" y="91"/>
                    </a:lnTo>
                    <a:lnTo>
                      <a:pt x="55" y="91"/>
                    </a:lnTo>
                    <a:lnTo>
                      <a:pt x="55" y="90"/>
                    </a:lnTo>
                    <a:lnTo>
                      <a:pt x="54" y="90"/>
                    </a:lnTo>
                    <a:lnTo>
                      <a:pt x="54" y="91"/>
                    </a:lnTo>
                    <a:lnTo>
                      <a:pt x="54" y="90"/>
                    </a:lnTo>
                    <a:lnTo>
                      <a:pt x="54" y="89"/>
                    </a:lnTo>
                    <a:lnTo>
                      <a:pt x="55" y="89"/>
                    </a:lnTo>
                    <a:lnTo>
                      <a:pt x="54" y="89"/>
                    </a:lnTo>
                    <a:lnTo>
                      <a:pt x="55" y="88"/>
                    </a:lnTo>
                    <a:lnTo>
                      <a:pt x="54" y="89"/>
                    </a:lnTo>
                    <a:lnTo>
                      <a:pt x="54" y="88"/>
                    </a:lnTo>
                    <a:lnTo>
                      <a:pt x="55" y="88"/>
                    </a:lnTo>
                    <a:lnTo>
                      <a:pt x="54" y="88"/>
                    </a:lnTo>
                    <a:lnTo>
                      <a:pt x="55" y="87"/>
                    </a:lnTo>
                    <a:lnTo>
                      <a:pt x="54" y="87"/>
                    </a:lnTo>
                    <a:lnTo>
                      <a:pt x="54" y="86"/>
                    </a:lnTo>
                    <a:lnTo>
                      <a:pt x="55" y="87"/>
                    </a:lnTo>
                    <a:lnTo>
                      <a:pt x="55" y="86"/>
                    </a:lnTo>
                    <a:lnTo>
                      <a:pt x="54" y="85"/>
                    </a:lnTo>
                    <a:lnTo>
                      <a:pt x="54" y="86"/>
                    </a:lnTo>
                    <a:lnTo>
                      <a:pt x="53" y="85"/>
                    </a:lnTo>
                    <a:lnTo>
                      <a:pt x="53" y="84"/>
                    </a:lnTo>
                    <a:lnTo>
                      <a:pt x="53" y="82"/>
                    </a:lnTo>
                    <a:lnTo>
                      <a:pt x="52" y="82"/>
                    </a:lnTo>
                    <a:lnTo>
                      <a:pt x="52" y="81"/>
                    </a:lnTo>
                    <a:lnTo>
                      <a:pt x="50" y="81"/>
                    </a:lnTo>
                    <a:lnTo>
                      <a:pt x="50" y="80"/>
                    </a:lnTo>
                    <a:lnTo>
                      <a:pt x="49" y="80"/>
                    </a:lnTo>
                    <a:lnTo>
                      <a:pt x="49" y="79"/>
                    </a:lnTo>
                    <a:lnTo>
                      <a:pt x="49" y="78"/>
                    </a:lnTo>
                    <a:lnTo>
                      <a:pt x="49" y="77"/>
                    </a:lnTo>
                    <a:lnTo>
                      <a:pt x="48" y="77"/>
                    </a:lnTo>
                    <a:lnTo>
                      <a:pt x="49" y="77"/>
                    </a:lnTo>
                    <a:lnTo>
                      <a:pt x="49" y="76"/>
                    </a:lnTo>
                    <a:lnTo>
                      <a:pt x="48" y="76"/>
                    </a:lnTo>
                    <a:lnTo>
                      <a:pt x="49" y="76"/>
                    </a:lnTo>
                    <a:lnTo>
                      <a:pt x="48" y="75"/>
                    </a:lnTo>
                    <a:lnTo>
                      <a:pt x="47" y="75"/>
                    </a:lnTo>
                    <a:lnTo>
                      <a:pt x="47" y="74"/>
                    </a:lnTo>
                    <a:lnTo>
                      <a:pt x="48" y="74"/>
                    </a:lnTo>
                    <a:lnTo>
                      <a:pt x="49" y="74"/>
                    </a:lnTo>
                    <a:lnTo>
                      <a:pt x="49" y="73"/>
                    </a:lnTo>
                    <a:lnTo>
                      <a:pt x="48" y="74"/>
                    </a:lnTo>
                    <a:lnTo>
                      <a:pt x="48" y="73"/>
                    </a:lnTo>
                    <a:lnTo>
                      <a:pt x="48" y="74"/>
                    </a:lnTo>
                    <a:lnTo>
                      <a:pt x="48" y="73"/>
                    </a:lnTo>
                    <a:lnTo>
                      <a:pt x="48" y="72"/>
                    </a:lnTo>
                    <a:lnTo>
                      <a:pt x="49" y="72"/>
                    </a:lnTo>
                    <a:lnTo>
                      <a:pt x="49" y="71"/>
                    </a:lnTo>
                    <a:lnTo>
                      <a:pt x="48" y="71"/>
                    </a:lnTo>
                    <a:lnTo>
                      <a:pt x="49" y="71"/>
                    </a:lnTo>
                    <a:lnTo>
                      <a:pt x="48" y="71"/>
                    </a:lnTo>
                    <a:lnTo>
                      <a:pt x="49" y="69"/>
                    </a:lnTo>
                    <a:lnTo>
                      <a:pt x="48" y="69"/>
                    </a:lnTo>
                    <a:lnTo>
                      <a:pt x="48" y="68"/>
                    </a:lnTo>
                    <a:lnTo>
                      <a:pt x="49" y="67"/>
                    </a:lnTo>
                    <a:lnTo>
                      <a:pt x="48" y="67"/>
                    </a:lnTo>
                    <a:lnTo>
                      <a:pt x="48" y="66"/>
                    </a:lnTo>
                    <a:lnTo>
                      <a:pt x="47" y="66"/>
                    </a:lnTo>
                    <a:lnTo>
                      <a:pt x="47" y="65"/>
                    </a:lnTo>
                    <a:lnTo>
                      <a:pt x="46" y="65"/>
                    </a:lnTo>
                    <a:lnTo>
                      <a:pt x="45" y="65"/>
                    </a:lnTo>
                    <a:lnTo>
                      <a:pt x="45" y="64"/>
                    </a:lnTo>
                    <a:lnTo>
                      <a:pt x="46" y="64"/>
                    </a:lnTo>
                    <a:lnTo>
                      <a:pt x="46" y="63"/>
                    </a:lnTo>
                    <a:lnTo>
                      <a:pt x="45" y="63"/>
                    </a:lnTo>
                    <a:lnTo>
                      <a:pt x="46" y="63"/>
                    </a:lnTo>
                    <a:lnTo>
                      <a:pt x="45" y="63"/>
                    </a:lnTo>
                    <a:lnTo>
                      <a:pt x="45" y="62"/>
                    </a:lnTo>
                    <a:lnTo>
                      <a:pt x="45" y="63"/>
                    </a:lnTo>
                    <a:lnTo>
                      <a:pt x="45" y="62"/>
                    </a:lnTo>
                    <a:lnTo>
                      <a:pt x="44" y="62"/>
                    </a:lnTo>
                    <a:lnTo>
                      <a:pt x="45" y="62"/>
                    </a:lnTo>
                    <a:lnTo>
                      <a:pt x="44" y="62"/>
                    </a:lnTo>
                    <a:lnTo>
                      <a:pt x="45" y="62"/>
                    </a:lnTo>
                    <a:lnTo>
                      <a:pt x="45" y="61"/>
                    </a:lnTo>
                    <a:lnTo>
                      <a:pt x="45" y="60"/>
                    </a:lnTo>
                    <a:lnTo>
                      <a:pt x="45" y="59"/>
                    </a:lnTo>
                    <a:lnTo>
                      <a:pt x="45" y="57"/>
                    </a:lnTo>
                    <a:lnTo>
                      <a:pt x="44" y="57"/>
                    </a:lnTo>
                    <a:lnTo>
                      <a:pt x="43" y="57"/>
                    </a:lnTo>
                    <a:lnTo>
                      <a:pt x="43" y="56"/>
                    </a:lnTo>
                    <a:lnTo>
                      <a:pt x="42" y="56"/>
                    </a:lnTo>
                    <a:lnTo>
                      <a:pt x="42" y="55"/>
                    </a:lnTo>
                    <a:lnTo>
                      <a:pt x="41" y="55"/>
                    </a:lnTo>
                    <a:lnTo>
                      <a:pt x="41" y="54"/>
                    </a:lnTo>
                    <a:lnTo>
                      <a:pt x="42" y="54"/>
                    </a:lnTo>
                    <a:lnTo>
                      <a:pt x="41" y="54"/>
                    </a:lnTo>
                    <a:lnTo>
                      <a:pt x="42" y="54"/>
                    </a:lnTo>
                    <a:lnTo>
                      <a:pt x="41" y="54"/>
                    </a:lnTo>
                    <a:lnTo>
                      <a:pt x="41" y="53"/>
                    </a:lnTo>
                    <a:lnTo>
                      <a:pt x="40" y="53"/>
                    </a:lnTo>
                    <a:lnTo>
                      <a:pt x="40" y="52"/>
                    </a:lnTo>
                    <a:lnTo>
                      <a:pt x="40" y="51"/>
                    </a:lnTo>
                    <a:lnTo>
                      <a:pt x="40" y="50"/>
                    </a:lnTo>
                    <a:lnTo>
                      <a:pt x="40" y="49"/>
                    </a:lnTo>
                    <a:lnTo>
                      <a:pt x="41" y="49"/>
                    </a:lnTo>
                    <a:lnTo>
                      <a:pt x="42" y="49"/>
                    </a:lnTo>
                    <a:lnTo>
                      <a:pt x="41" y="49"/>
                    </a:lnTo>
                    <a:lnTo>
                      <a:pt x="41" y="48"/>
                    </a:lnTo>
                    <a:lnTo>
                      <a:pt x="42" y="48"/>
                    </a:lnTo>
                    <a:lnTo>
                      <a:pt x="43" y="48"/>
                    </a:lnTo>
                    <a:lnTo>
                      <a:pt x="43" y="49"/>
                    </a:lnTo>
                    <a:lnTo>
                      <a:pt x="43" y="48"/>
                    </a:lnTo>
                    <a:lnTo>
                      <a:pt x="44" y="48"/>
                    </a:lnTo>
                    <a:lnTo>
                      <a:pt x="43" y="48"/>
                    </a:lnTo>
                    <a:lnTo>
                      <a:pt x="43" y="47"/>
                    </a:lnTo>
                    <a:lnTo>
                      <a:pt x="43" y="46"/>
                    </a:lnTo>
                    <a:lnTo>
                      <a:pt x="43" y="44"/>
                    </a:lnTo>
                    <a:lnTo>
                      <a:pt x="44" y="43"/>
                    </a:lnTo>
                    <a:lnTo>
                      <a:pt x="43" y="43"/>
                    </a:lnTo>
                    <a:lnTo>
                      <a:pt x="44" y="43"/>
                    </a:lnTo>
                    <a:lnTo>
                      <a:pt x="43" y="43"/>
                    </a:lnTo>
                    <a:lnTo>
                      <a:pt x="43" y="42"/>
                    </a:lnTo>
                    <a:lnTo>
                      <a:pt x="43" y="41"/>
                    </a:lnTo>
                    <a:lnTo>
                      <a:pt x="43" y="42"/>
                    </a:lnTo>
                    <a:lnTo>
                      <a:pt x="44" y="42"/>
                    </a:lnTo>
                    <a:lnTo>
                      <a:pt x="44" y="41"/>
                    </a:lnTo>
                    <a:lnTo>
                      <a:pt x="43" y="41"/>
                    </a:lnTo>
                    <a:lnTo>
                      <a:pt x="42" y="41"/>
                    </a:lnTo>
                    <a:lnTo>
                      <a:pt x="42" y="40"/>
                    </a:lnTo>
                    <a:lnTo>
                      <a:pt x="41" y="40"/>
                    </a:lnTo>
                    <a:lnTo>
                      <a:pt x="42" y="40"/>
                    </a:lnTo>
                    <a:lnTo>
                      <a:pt x="42" y="39"/>
                    </a:lnTo>
                    <a:lnTo>
                      <a:pt x="41" y="39"/>
                    </a:lnTo>
                    <a:lnTo>
                      <a:pt x="41" y="40"/>
                    </a:lnTo>
                    <a:lnTo>
                      <a:pt x="41" y="39"/>
                    </a:lnTo>
                    <a:lnTo>
                      <a:pt x="40" y="39"/>
                    </a:lnTo>
                    <a:lnTo>
                      <a:pt x="41" y="38"/>
                    </a:lnTo>
                    <a:lnTo>
                      <a:pt x="40" y="38"/>
                    </a:lnTo>
                    <a:lnTo>
                      <a:pt x="40" y="37"/>
                    </a:lnTo>
                    <a:lnTo>
                      <a:pt x="40" y="36"/>
                    </a:lnTo>
                    <a:lnTo>
                      <a:pt x="39" y="36"/>
                    </a:lnTo>
                    <a:lnTo>
                      <a:pt x="40" y="36"/>
                    </a:lnTo>
                    <a:lnTo>
                      <a:pt x="40" y="35"/>
                    </a:lnTo>
                    <a:lnTo>
                      <a:pt x="40" y="34"/>
                    </a:lnTo>
                    <a:lnTo>
                      <a:pt x="39" y="34"/>
                    </a:lnTo>
                    <a:lnTo>
                      <a:pt x="39" y="33"/>
                    </a:lnTo>
                    <a:lnTo>
                      <a:pt x="40" y="33"/>
                    </a:lnTo>
                    <a:lnTo>
                      <a:pt x="39" y="33"/>
                    </a:lnTo>
                    <a:lnTo>
                      <a:pt x="37" y="33"/>
                    </a:lnTo>
                    <a:lnTo>
                      <a:pt x="37" y="31"/>
                    </a:lnTo>
                    <a:lnTo>
                      <a:pt x="37" y="30"/>
                    </a:lnTo>
                    <a:lnTo>
                      <a:pt x="36" y="30"/>
                    </a:lnTo>
                    <a:lnTo>
                      <a:pt x="36" y="29"/>
                    </a:lnTo>
                    <a:lnTo>
                      <a:pt x="35" y="29"/>
                    </a:lnTo>
                    <a:lnTo>
                      <a:pt x="35" y="28"/>
                    </a:lnTo>
                    <a:lnTo>
                      <a:pt x="34" y="27"/>
                    </a:lnTo>
                    <a:lnTo>
                      <a:pt x="34" y="28"/>
                    </a:lnTo>
                    <a:lnTo>
                      <a:pt x="33" y="28"/>
                    </a:lnTo>
                    <a:lnTo>
                      <a:pt x="33" y="27"/>
                    </a:lnTo>
                    <a:lnTo>
                      <a:pt x="32" y="27"/>
                    </a:lnTo>
                    <a:lnTo>
                      <a:pt x="32" y="26"/>
                    </a:lnTo>
                    <a:lnTo>
                      <a:pt x="31" y="26"/>
                    </a:lnTo>
                    <a:lnTo>
                      <a:pt x="32" y="25"/>
                    </a:lnTo>
                    <a:lnTo>
                      <a:pt x="31" y="25"/>
                    </a:lnTo>
                    <a:lnTo>
                      <a:pt x="31" y="24"/>
                    </a:lnTo>
                    <a:lnTo>
                      <a:pt x="30" y="23"/>
                    </a:lnTo>
                    <a:lnTo>
                      <a:pt x="31" y="23"/>
                    </a:lnTo>
                    <a:lnTo>
                      <a:pt x="31" y="22"/>
                    </a:lnTo>
                    <a:lnTo>
                      <a:pt x="30" y="22"/>
                    </a:lnTo>
                    <a:lnTo>
                      <a:pt x="30" y="21"/>
                    </a:lnTo>
                    <a:lnTo>
                      <a:pt x="29" y="20"/>
                    </a:lnTo>
                    <a:lnTo>
                      <a:pt x="29" y="18"/>
                    </a:lnTo>
                    <a:lnTo>
                      <a:pt x="28" y="18"/>
                    </a:lnTo>
                    <a:lnTo>
                      <a:pt x="27" y="18"/>
                    </a:lnTo>
                    <a:lnTo>
                      <a:pt x="27" y="17"/>
                    </a:lnTo>
                    <a:lnTo>
                      <a:pt x="28" y="17"/>
                    </a:lnTo>
                    <a:lnTo>
                      <a:pt x="27" y="17"/>
                    </a:lnTo>
                    <a:lnTo>
                      <a:pt x="28" y="16"/>
                    </a:lnTo>
                    <a:lnTo>
                      <a:pt x="27" y="16"/>
                    </a:lnTo>
                    <a:lnTo>
                      <a:pt x="28" y="16"/>
                    </a:lnTo>
                    <a:lnTo>
                      <a:pt x="27" y="16"/>
                    </a:lnTo>
                    <a:lnTo>
                      <a:pt x="27" y="15"/>
                    </a:lnTo>
                    <a:lnTo>
                      <a:pt x="28" y="15"/>
                    </a:lnTo>
                    <a:lnTo>
                      <a:pt x="28" y="14"/>
                    </a:lnTo>
                    <a:lnTo>
                      <a:pt x="27" y="14"/>
                    </a:lnTo>
                    <a:lnTo>
                      <a:pt x="27" y="13"/>
                    </a:lnTo>
                    <a:lnTo>
                      <a:pt x="27" y="14"/>
                    </a:lnTo>
                    <a:lnTo>
                      <a:pt x="28" y="14"/>
                    </a:lnTo>
                    <a:lnTo>
                      <a:pt x="27" y="13"/>
                    </a:lnTo>
                    <a:lnTo>
                      <a:pt x="28" y="13"/>
                    </a:lnTo>
                    <a:lnTo>
                      <a:pt x="27" y="13"/>
                    </a:lnTo>
                    <a:lnTo>
                      <a:pt x="27" y="12"/>
                    </a:lnTo>
                    <a:lnTo>
                      <a:pt x="27" y="11"/>
                    </a:lnTo>
                    <a:lnTo>
                      <a:pt x="27" y="10"/>
                    </a:lnTo>
                    <a:lnTo>
                      <a:pt x="27" y="9"/>
                    </a:lnTo>
                    <a:lnTo>
                      <a:pt x="26" y="9"/>
                    </a:lnTo>
                    <a:lnTo>
                      <a:pt x="27" y="9"/>
                    </a:lnTo>
                    <a:lnTo>
                      <a:pt x="27" y="8"/>
                    </a:lnTo>
                    <a:lnTo>
                      <a:pt x="26" y="8"/>
                    </a:lnTo>
                    <a:lnTo>
                      <a:pt x="26" y="7"/>
                    </a:lnTo>
                    <a:lnTo>
                      <a:pt x="24" y="7"/>
                    </a:lnTo>
                    <a:lnTo>
                      <a:pt x="24" y="5"/>
                    </a:lnTo>
                    <a:lnTo>
                      <a:pt x="23" y="4"/>
                    </a:lnTo>
                    <a:lnTo>
                      <a:pt x="24" y="4"/>
                    </a:lnTo>
                    <a:lnTo>
                      <a:pt x="23" y="3"/>
                    </a:lnTo>
                    <a:lnTo>
                      <a:pt x="23" y="2"/>
                    </a:lnTo>
                    <a:lnTo>
                      <a:pt x="23" y="1"/>
                    </a:lnTo>
                    <a:lnTo>
                      <a:pt x="22" y="1"/>
                    </a:lnTo>
                    <a:lnTo>
                      <a:pt x="22" y="0"/>
                    </a:lnTo>
                    <a:lnTo>
                      <a:pt x="33" y="0"/>
                    </a:lnTo>
                    <a:lnTo>
                      <a:pt x="45" y="0"/>
                    </a:lnTo>
                    <a:lnTo>
                      <a:pt x="53" y="0"/>
                    </a:lnTo>
                    <a:lnTo>
                      <a:pt x="55" y="0"/>
                    </a:lnTo>
                    <a:lnTo>
                      <a:pt x="61" y="0"/>
                    </a:lnTo>
                    <a:lnTo>
                      <a:pt x="83" y="0"/>
                    </a:lnTo>
                    <a:lnTo>
                      <a:pt x="99" y="1"/>
                    </a:lnTo>
                    <a:close/>
                  </a:path>
                </a:pathLst>
              </a:custGeom>
              <a:solidFill>
                <a:srgbClr val="002D62"/>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3" name="Freeform 321">
                <a:extLst>
                  <a:ext uri="{FF2B5EF4-FFF2-40B4-BE49-F238E27FC236}">
                    <a16:creationId xmlns:a16="http://schemas.microsoft.com/office/drawing/2014/main" id="{5CD59D85-23BB-7B74-2660-4BE33DD765E3}"/>
                  </a:ext>
                </a:extLst>
              </p:cNvPr>
              <p:cNvSpPr>
                <a:spLocks/>
              </p:cNvSpPr>
              <p:nvPr/>
            </p:nvSpPr>
            <p:spPr bwMode="auto">
              <a:xfrm>
                <a:off x="2332038" y="1731963"/>
                <a:ext cx="496888" cy="404813"/>
              </a:xfrm>
              <a:custGeom>
                <a:avLst/>
                <a:gdLst>
                  <a:gd name="T0" fmla="*/ 249 w 313"/>
                  <a:gd name="T1" fmla="*/ 22 h 255"/>
                  <a:gd name="T2" fmla="*/ 278 w 313"/>
                  <a:gd name="T3" fmla="*/ 94 h 255"/>
                  <a:gd name="T4" fmla="*/ 312 w 313"/>
                  <a:gd name="T5" fmla="*/ 167 h 255"/>
                  <a:gd name="T6" fmla="*/ 313 w 313"/>
                  <a:gd name="T7" fmla="*/ 199 h 255"/>
                  <a:gd name="T8" fmla="*/ 312 w 313"/>
                  <a:gd name="T9" fmla="*/ 225 h 255"/>
                  <a:gd name="T10" fmla="*/ 288 w 313"/>
                  <a:gd name="T11" fmla="*/ 254 h 255"/>
                  <a:gd name="T12" fmla="*/ 244 w 313"/>
                  <a:gd name="T13" fmla="*/ 254 h 255"/>
                  <a:gd name="T14" fmla="*/ 209 w 313"/>
                  <a:gd name="T15" fmla="*/ 254 h 255"/>
                  <a:gd name="T16" fmla="*/ 152 w 313"/>
                  <a:gd name="T17" fmla="*/ 254 h 255"/>
                  <a:gd name="T18" fmla="*/ 75 w 313"/>
                  <a:gd name="T19" fmla="*/ 254 h 255"/>
                  <a:gd name="T20" fmla="*/ 5 w 313"/>
                  <a:gd name="T21" fmla="*/ 254 h 255"/>
                  <a:gd name="T22" fmla="*/ 2 w 313"/>
                  <a:gd name="T23" fmla="*/ 252 h 255"/>
                  <a:gd name="T24" fmla="*/ 2 w 313"/>
                  <a:gd name="T25" fmla="*/ 250 h 255"/>
                  <a:gd name="T26" fmla="*/ 2 w 313"/>
                  <a:gd name="T27" fmla="*/ 247 h 255"/>
                  <a:gd name="T28" fmla="*/ 0 w 313"/>
                  <a:gd name="T29" fmla="*/ 242 h 255"/>
                  <a:gd name="T30" fmla="*/ 2 w 313"/>
                  <a:gd name="T31" fmla="*/ 242 h 255"/>
                  <a:gd name="T32" fmla="*/ 4 w 313"/>
                  <a:gd name="T33" fmla="*/ 242 h 255"/>
                  <a:gd name="T34" fmla="*/ 5 w 313"/>
                  <a:gd name="T35" fmla="*/ 240 h 255"/>
                  <a:gd name="T36" fmla="*/ 6 w 313"/>
                  <a:gd name="T37" fmla="*/ 239 h 255"/>
                  <a:gd name="T38" fmla="*/ 9 w 313"/>
                  <a:gd name="T39" fmla="*/ 238 h 255"/>
                  <a:gd name="T40" fmla="*/ 9 w 313"/>
                  <a:gd name="T41" fmla="*/ 235 h 255"/>
                  <a:gd name="T42" fmla="*/ 12 w 313"/>
                  <a:gd name="T43" fmla="*/ 232 h 255"/>
                  <a:gd name="T44" fmla="*/ 13 w 313"/>
                  <a:gd name="T45" fmla="*/ 230 h 255"/>
                  <a:gd name="T46" fmla="*/ 13 w 313"/>
                  <a:gd name="T47" fmla="*/ 227 h 255"/>
                  <a:gd name="T48" fmla="*/ 14 w 313"/>
                  <a:gd name="T49" fmla="*/ 224 h 255"/>
                  <a:gd name="T50" fmla="*/ 14 w 313"/>
                  <a:gd name="T51" fmla="*/ 222 h 255"/>
                  <a:gd name="T52" fmla="*/ 14 w 313"/>
                  <a:gd name="T53" fmla="*/ 218 h 255"/>
                  <a:gd name="T54" fmla="*/ 13 w 313"/>
                  <a:gd name="T55" fmla="*/ 216 h 255"/>
                  <a:gd name="T56" fmla="*/ 15 w 313"/>
                  <a:gd name="T57" fmla="*/ 214 h 255"/>
                  <a:gd name="T58" fmla="*/ 14 w 313"/>
                  <a:gd name="T59" fmla="*/ 212 h 255"/>
                  <a:gd name="T60" fmla="*/ 13 w 313"/>
                  <a:gd name="T61" fmla="*/ 210 h 255"/>
                  <a:gd name="T62" fmla="*/ 14 w 313"/>
                  <a:gd name="T63" fmla="*/ 206 h 255"/>
                  <a:gd name="T64" fmla="*/ 15 w 313"/>
                  <a:gd name="T65" fmla="*/ 206 h 255"/>
                  <a:gd name="T66" fmla="*/ 18 w 313"/>
                  <a:gd name="T67" fmla="*/ 204 h 255"/>
                  <a:gd name="T68" fmla="*/ 22 w 313"/>
                  <a:gd name="T69" fmla="*/ 204 h 255"/>
                  <a:gd name="T70" fmla="*/ 24 w 313"/>
                  <a:gd name="T71" fmla="*/ 202 h 255"/>
                  <a:gd name="T72" fmla="*/ 24 w 313"/>
                  <a:gd name="T73" fmla="*/ 199 h 255"/>
                  <a:gd name="T74" fmla="*/ 25 w 313"/>
                  <a:gd name="T75" fmla="*/ 197 h 255"/>
                  <a:gd name="T76" fmla="*/ 27 w 313"/>
                  <a:gd name="T77" fmla="*/ 193 h 255"/>
                  <a:gd name="T78" fmla="*/ 29 w 313"/>
                  <a:gd name="T79" fmla="*/ 190 h 255"/>
                  <a:gd name="T80" fmla="*/ 29 w 313"/>
                  <a:gd name="T81" fmla="*/ 189 h 255"/>
                  <a:gd name="T82" fmla="*/ 29 w 313"/>
                  <a:gd name="T83" fmla="*/ 137 h 255"/>
                  <a:gd name="T84" fmla="*/ 29 w 313"/>
                  <a:gd name="T85" fmla="*/ 112 h 255"/>
                  <a:gd name="T86" fmla="*/ 29 w 313"/>
                  <a:gd name="T87" fmla="*/ 80 h 255"/>
                  <a:gd name="T88" fmla="*/ 28 w 313"/>
                  <a:gd name="T89" fmla="*/ 49 h 255"/>
                  <a:gd name="T90" fmla="*/ 84 w 313"/>
                  <a:gd name="T91" fmla="*/ 32 h 255"/>
                  <a:gd name="T92" fmla="*/ 122 w 313"/>
                  <a:gd name="T93" fmla="*/ 31 h 255"/>
                  <a:gd name="T94" fmla="*/ 122 w 313"/>
                  <a:gd name="T95" fmla="*/ 18 h 255"/>
                  <a:gd name="T96" fmla="*/ 122 w 313"/>
                  <a:gd name="T97" fmla="*/ 0 h 255"/>
                  <a:gd name="T98" fmla="*/ 157 w 313"/>
                  <a:gd name="T99" fmla="*/ 0 h 255"/>
                  <a:gd name="T100" fmla="*/ 168 w 313"/>
                  <a:gd name="T101" fmla="*/ 0 h 255"/>
                  <a:gd name="T102" fmla="*/ 196 w 313"/>
                  <a:gd name="T103" fmla="*/ 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3" h="255">
                    <a:moveTo>
                      <a:pt x="249" y="1"/>
                    </a:moveTo>
                    <a:lnTo>
                      <a:pt x="249" y="3"/>
                    </a:lnTo>
                    <a:lnTo>
                      <a:pt x="249" y="6"/>
                    </a:lnTo>
                    <a:lnTo>
                      <a:pt x="249" y="19"/>
                    </a:lnTo>
                    <a:lnTo>
                      <a:pt x="249" y="22"/>
                    </a:lnTo>
                    <a:lnTo>
                      <a:pt x="249" y="40"/>
                    </a:lnTo>
                    <a:lnTo>
                      <a:pt x="249" y="64"/>
                    </a:lnTo>
                    <a:lnTo>
                      <a:pt x="252" y="68"/>
                    </a:lnTo>
                    <a:lnTo>
                      <a:pt x="259" y="75"/>
                    </a:lnTo>
                    <a:lnTo>
                      <a:pt x="278" y="94"/>
                    </a:lnTo>
                    <a:lnTo>
                      <a:pt x="306" y="122"/>
                    </a:lnTo>
                    <a:lnTo>
                      <a:pt x="307" y="122"/>
                    </a:lnTo>
                    <a:lnTo>
                      <a:pt x="312" y="128"/>
                    </a:lnTo>
                    <a:lnTo>
                      <a:pt x="312" y="160"/>
                    </a:lnTo>
                    <a:lnTo>
                      <a:pt x="312" y="167"/>
                    </a:lnTo>
                    <a:lnTo>
                      <a:pt x="312" y="173"/>
                    </a:lnTo>
                    <a:lnTo>
                      <a:pt x="312" y="179"/>
                    </a:lnTo>
                    <a:lnTo>
                      <a:pt x="312" y="181"/>
                    </a:lnTo>
                    <a:lnTo>
                      <a:pt x="312" y="186"/>
                    </a:lnTo>
                    <a:lnTo>
                      <a:pt x="313" y="199"/>
                    </a:lnTo>
                    <a:lnTo>
                      <a:pt x="312" y="203"/>
                    </a:lnTo>
                    <a:lnTo>
                      <a:pt x="312" y="206"/>
                    </a:lnTo>
                    <a:lnTo>
                      <a:pt x="312" y="207"/>
                    </a:lnTo>
                    <a:lnTo>
                      <a:pt x="312" y="209"/>
                    </a:lnTo>
                    <a:lnTo>
                      <a:pt x="312" y="225"/>
                    </a:lnTo>
                    <a:lnTo>
                      <a:pt x="312" y="252"/>
                    </a:lnTo>
                    <a:lnTo>
                      <a:pt x="312" y="254"/>
                    </a:lnTo>
                    <a:lnTo>
                      <a:pt x="300" y="255"/>
                    </a:lnTo>
                    <a:lnTo>
                      <a:pt x="296" y="255"/>
                    </a:lnTo>
                    <a:lnTo>
                      <a:pt x="288" y="254"/>
                    </a:lnTo>
                    <a:lnTo>
                      <a:pt x="274" y="254"/>
                    </a:lnTo>
                    <a:lnTo>
                      <a:pt x="257" y="254"/>
                    </a:lnTo>
                    <a:lnTo>
                      <a:pt x="255" y="254"/>
                    </a:lnTo>
                    <a:lnTo>
                      <a:pt x="253" y="254"/>
                    </a:lnTo>
                    <a:lnTo>
                      <a:pt x="244" y="254"/>
                    </a:lnTo>
                    <a:lnTo>
                      <a:pt x="239" y="254"/>
                    </a:lnTo>
                    <a:lnTo>
                      <a:pt x="233" y="254"/>
                    </a:lnTo>
                    <a:lnTo>
                      <a:pt x="225" y="254"/>
                    </a:lnTo>
                    <a:lnTo>
                      <a:pt x="216" y="254"/>
                    </a:lnTo>
                    <a:lnTo>
                      <a:pt x="209" y="254"/>
                    </a:lnTo>
                    <a:lnTo>
                      <a:pt x="196" y="254"/>
                    </a:lnTo>
                    <a:lnTo>
                      <a:pt x="177" y="254"/>
                    </a:lnTo>
                    <a:lnTo>
                      <a:pt x="158" y="254"/>
                    </a:lnTo>
                    <a:lnTo>
                      <a:pt x="156" y="254"/>
                    </a:lnTo>
                    <a:lnTo>
                      <a:pt x="152" y="254"/>
                    </a:lnTo>
                    <a:lnTo>
                      <a:pt x="135" y="254"/>
                    </a:lnTo>
                    <a:lnTo>
                      <a:pt x="121" y="254"/>
                    </a:lnTo>
                    <a:lnTo>
                      <a:pt x="83" y="254"/>
                    </a:lnTo>
                    <a:lnTo>
                      <a:pt x="76" y="254"/>
                    </a:lnTo>
                    <a:lnTo>
                      <a:pt x="75" y="254"/>
                    </a:lnTo>
                    <a:lnTo>
                      <a:pt x="45" y="254"/>
                    </a:lnTo>
                    <a:lnTo>
                      <a:pt x="44" y="254"/>
                    </a:lnTo>
                    <a:lnTo>
                      <a:pt x="19" y="254"/>
                    </a:lnTo>
                    <a:lnTo>
                      <a:pt x="12" y="254"/>
                    </a:lnTo>
                    <a:lnTo>
                      <a:pt x="5" y="254"/>
                    </a:lnTo>
                    <a:lnTo>
                      <a:pt x="4" y="254"/>
                    </a:lnTo>
                    <a:lnTo>
                      <a:pt x="4" y="253"/>
                    </a:lnTo>
                    <a:lnTo>
                      <a:pt x="3" y="253"/>
                    </a:lnTo>
                    <a:lnTo>
                      <a:pt x="3" y="252"/>
                    </a:lnTo>
                    <a:lnTo>
                      <a:pt x="2" y="252"/>
                    </a:lnTo>
                    <a:lnTo>
                      <a:pt x="2" y="251"/>
                    </a:lnTo>
                    <a:lnTo>
                      <a:pt x="1" y="251"/>
                    </a:lnTo>
                    <a:lnTo>
                      <a:pt x="1" y="250"/>
                    </a:lnTo>
                    <a:lnTo>
                      <a:pt x="2" y="251"/>
                    </a:lnTo>
                    <a:lnTo>
                      <a:pt x="2" y="250"/>
                    </a:lnTo>
                    <a:lnTo>
                      <a:pt x="2" y="249"/>
                    </a:lnTo>
                    <a:lnTo>
                      <a:pt x="3" y="249"/>
                    </a:lnTo>
                    <a:lnTo>
                      <a:pt x="3" y="248"/>
                    </a:lnTo>
                    <a:lnTo>
                      <a:pt x="2" y="248"/>
                    </a:lnTo>
                    <a:lnTo>
                      <a:pt x="2" y="247"/>
                    </a:lnTo>
                    <a:lnTo>
                      <a:pt x="2" y="245"/>
                    </a:lnTo>
                    <a:lnTo>
                      <a:pt x="1" y="244"/>
                    </a:lnTo>
                    <a:lnTo>
                      <a:pt x="1" y="243"/>
                    </a:lnTo>
                    <a:lnTo>
                      <a:pt x="1" y="242"/>
                    </a:lnTo>
                    <a:lnTo>
                      <a:pt x="0" y="242"/>
                    </a:lnTo>
                    <a:lnTo>
                      <a:pt x="1" y="241"/>
                    </a:lnTo>
                    <a:lnTo>
                      <a:pt x="1" y="242"/>
                    </a:lnTo>
                    <a:lnTo>
                      <a:pt x="1" y="241"/>
                    </a:lnTo>
                    <a:lnTo>
                      <a:pt x="1" y="242"/>
                    </a:lnTo>
                    <a:lnTo>
                      <a:pt x="2" y="242"/>
                    </a:lnTo>
                    <a:lnTo>
                      <a:pt x="1" y="242"/>
                    </a:lnTo>
                    <a:lnTo>
                      <a:pt x="2" y="242"/>
                    </a:lnTo>
                    <a:lnTo>
                      <a:pt x="2" y="243"/>
                    </a:lnTo>
                    <a:lnTo>
                      <a:pt x="3" y="243"/>
                    </a:lnTo>
                    <a:lnTo>
                      <a:pt x="4" y="242"/>
                    </a:lnTo>
                    <a:lnTo>
                      <a:pt x="3" y="242"/>
                    </a:lnTo>
                    <a:lnTo>
                      <a:pt x="3" y="241"/>
                    </a:lnTo>
                    <a:lnTo>
                      <a:pt x="4" y="241"/>
                    </a:lnTo>
                    <a:lnTo>
                      <a:pt x="4" y="240"/>
                    </a:lnTo>
                    <a:lnTo>
                      <a:pt x="5" y="240"/>
                    </a:lnTo>
                    <a:lnTo>
                      <a:pt x="5" y="239"/>
                    </a:lnTo>
                    <a:lnTo>
                      <a:pt x="5" y="238"/>
                    </a:lnTo>
                    <a:lnTo>
                      <a:pt x="6" y="239"/>
                    </a:lnTo>
                    <a:lnTo>
                      <a:pt x="6" y="238"/>
                    </a:lnTo>
                    <a:lnTo>
                      <a:pt x="6" y="239"/>
                    </a:lnTo>
                    <a:lnTo>
                      <a:pt x="6" y="238"/>
                    </a:lnTo>
                    <a:lnTo>
                      <a:pt x="7" y="238"/>
                    </a:lnTo>
                    <a:lnTo>
                      <a:pt x="9" y="238"/>
                    </a:lnTo>
                    <a:lnTo>
                      <a:pt x="9" y="239"/>
                    </a:lnTo>
                    <a:lnTo>
                      <a:pt x="9" y="238"/>
                    </a:lnTo>
                    <a:lnTo>
                      <a:pt x="9" y="237"/>
                    </a:lnTo>
                    <a:lnTo>
                      <a:pt x="10" y="237"/>
                    </a:lnTo>
                    <a:lnTo>
                      <a:pt x="10" y="236"/>
                    </a:lnTo>
                    <a:lnTo>
                      <a:pt x="9" y="236"/>
                    </a:lnTo>
                    <a:lnTo>
                      <a:pt x="9" y="235"/>
                    </a:lnTo>
                    <a:lnTo>
                      <a:pt x="10" y="235"/>
                    </a:lnTo>
                    <a:lnTo>
                      <a:pt x="10" y="234"/>
                    </a:lnTo>
                    <a:lnTo>
                      <a:pt x="11" y="234"/>
                    </a:lnTo>
                    <a:lnTo>
                      <a:pt x="12" y="234"/>
                    </a:lnTo>
                    <a:lnTo>
                      <a:pt x="12" y="232"/>
                    </a:lnTo>
                    <a:lnTo>
                      <a:pt x="11" y="232"/>
                    </a:lnTo>
                    <a:lnTo>
                      <a:pt x="12" y="232"/>
                    </a:lnTo>
                    <a:lnTo>
                      <a:pt x="12" y="231"/>
                    </a:lnTo>
                    <a:lnTo>
                      <a:pt x="13" y="231"/>
                    </a:lnTo>
                    <a:lnTo>
                      <a:pt x="13" y="230"/>
                    </a:lnTo>
                    <a:lnTo>
                      <a:pt x="14" y="230"/>
                    </a:lnTo>
                    <a:lnTo>
                      <a:pt x="14" y="229"/>
                    </a:lnTo>
                    <a:lnTo>
                      <a:pt x="14" y="228"/>
                    </a:lnTo>
                    <a:lnTo>
                      <a:pt x="13" y="228"/>
                    </a:lnTo>
                    <a:lnTo>
                      <a:pt x="13" y="227"/>
                    </a:lnTo>
                    <a:lnTo>
                      <a:pt x="13" y="226"/>
                    </a:lnTo>
                    <a:lnTo>
                      <a:pt x="14" y="226"/>
                    </a:lnTo>
                    <a:lnTo>
                      <a:pt x="13" y="225"/>
                    </a:lnTo>
                    <a:lnTo>
                      <a:pt x="13" y="224"/>
                    </a:lnTo>
                    <a:lnTo>
                      <a:pt x="14" y="224"/>
                    </a:lnTo>
                    <a:lnTo>
                      <a:pt x="13" y="223"/>
                    </a:lnTo>
                    <a:lnTo>
                      <a:pt x="14" y="223"/>
                    </a:lnTo>
                    <a:lnTo>
                      <a:pt x="15" y="223"/>
                    </a:lnTo>
                    <a:lnTo>
                      <a:pt x="15" y="222"/>
                    </a:lnTo>
                    <a:lnTo>
                      <a:pt x="14" y="222"/>
                    </a:lnTo>
                    <a:lnTo>
                      <a:pt x="13" y="222"/>
                    </a:lnTo>
                    <a:lnTo>
                      <a:pt x="13" y="220"/>
                    </a:lnTo>
                    <a:lnTo>
                      <a:pt x="13" y="219"/>
                    </a:lnTo>
                    <a:lnTo>
                      <a:pt x="14" y="219"/>
                    </a:lnTo>
                    <a:lnTo>
                      <a:pt x="14" y="218"/>
                    </a:lnTo>
                    <a:lnTo>
                      <a:pt x="13" y="218"/>
                    </a:lnTo>
                    <a:lnTo>
                      <a:pt x="14" y="218"/>
                    </a:lnTo>
                    <a:lnTo>
                      <a:pt x="14" y="217"/>
                    </a:lnTo>
                    <a:lnTo>
                      <a:pt x="13" y="217"/>
                    </a:lnTo>
                    <a:lnTo>
                      <a:pt x="13" y="216"/>
                    </a:lnTo>
                    <a:lnTo>
                      <a:pt x="14" y="217"/>
                    </a:lnTo>
                    <a:lnTo>
                      <a:pt x="14" y="216"/>
                    </a:lnTo>
                    <a:lnTo>
                      <a:pt x="14" y="215"/>
                    </a:lnTo>
                    <a:lnTo>
                      <a:pt x="14" y="214"/>
                    </a:lnTo>
                    <a:lnTo>
                      <a:pt x="15" y="214"/>
                    </a:lnTo>
                    <a:lnTo>
                      <a:pt x="14" y="214"/>
                    </a:lnTo>
                    <a:lnTo>
                      <a:pt x="15" y="214"/>
                    </a:lnTo>
                    <a:lnTo>
                      <a:pt x="15" y="213"/>
                    </a:lnTo>
                    <a:lnTo>
                      <a:pt x="14" y="213"/>
                    </a:lnTo>
                    <a:lnTo>
                      <a:pt x="14" y="212"/>
                    </a:lnTo>
                    <a:lnTo>
                      <a:pt x="13" y="212"/>
                    </a:lnTo>
                    <a:lnTo>
                      <a:pt x="13" y="211"/>
                    </a:lnTo>
                    <a:lnTo>
                      <a:pt x="14" y="211"/>
                    </a:lnTo>
                    <a:lnTo>
                      <a:pt x="13" y="211"/>
                    </a:lnTo>
                    <a:lnTo>
                      <a:pt x="13" y="210"/>
                    </a:lnTo>
                    <a:lnTo>
                      <a:pt x="13" y="209"/>
                    </a:lnTo>
                    <a:lnTo>
                      <a:pt x="14" y="209"/>
                    </a:lnTo>
                    <a:lnTo>
                      <a:pt x="13" y="207"/>
                    </a:lnTo>
                    <a:lnTo>
                      <a:pt x="14" y="207"/>
                    </a:lnTo>
                    <a:lnTo>
                      <a:pt x="14" y="206"/>
                    </a:lnTo>
                    <a:lnTo>
                      <a:pt x="15" y="206"/>
                    </a:lnTo>
                    <a:lnTo>
                      <a:pt x="15" y="207"/>
                    </a:lnTo>
                    <a:lnTo>
                      <a:pt x="16" y="207"/>
                    </a:lnTo>
                    <a:lnTo>
                      <a:pt x="15" y="207"/>
                    </a:lnTo>
                    <a:lnTo>
                      <a:pt x="15" y="206"/>
                    </a:lnTo>
                    <a:lnTo>
                      <a:pt x="16" y="206"/>
                    </a:lnTo>
                    <a:lnTo>
                      <a:pt x="17" y="206"/>
                    </a:lnTo>
                    <a:lnTo>
                      <a:pt x="17" y="205"/>
                    </a:lnTo>
                    <a:lnTo>
                      <a:pt x="18" y="205"/>
                    </a:lnTo>
                    <a:lnTo>
                      <a:pt x="18" y="204"/>
                    </a:lnTo>
                    <a:lnTo>
                      <a:pt x="19" y="204"/>
                    </a:lnTo>
                    <a:lnTo>
                      <a:pt x="19" y="205"/>
                    </a:lnTo>
                    <a:lnTo>
                      <a:pt x="19" y="204"/>
                    </a:lnTo>
                    <a:lnTo>
                      <a:pt x="20" y="205"/>
                    </a:lnTo>
                    <a:lnTo>
                      <a:pt x="22" y="204"/>
                    </a:lnTo>
                    <a:lnTo>
                      <a:pt x="20" y="204"/>
                    </a:lnTo>
                    <a:lnTo>
                      <a:pt x="22" y="203"/>
                    </a:lnTo>
                    <a:lnTo>
                      <a:pt x="22" y="202"/>
                    </a:lnTo>
                    <a:lnTo>
                      <a:pt x="23" y="202"/>
                    </a:lnTo>
                    <a:lnTo>
                      <a:pt x="24" y="202"/>
                    </a:lnTo>
                    <a:lnTo>
                      <a:pt x="25" y="202"/>
                    </a:lnTo>
                    <a:lnTo>
                      <a:pt x="25" y="201"/>
                    </a:lnTo>
                    <a:lnTo>
                      <a:pt x="24" y="201"/>
                    </a:lnTo>
                    <a:lnTo>
                      <a:pt x="24" y="200"/>
                    </a:lnTo>
                    <a:lnTo>
                      <a:pt x="24" y="199"/>
                    </a:lnTo>
                    <a:lnTo>
                      <a:pt x="25" y="199"/>
                    </a:lnTo>
                    <a:lnTo>
                      <a:pt x="24" y="199"/>
                    </a:lnTo>
                    <a:lnTo>
                      <a:pt x="24" y="198"/>
                    </a:lnTo>
                    <a:lnTo>
                      <a:pt x="24" y="197"/>
                    </a:lnTo>
                    <a:lnTo>
                      <a:pt x="25" y="197"/>
                    </a:lnTo>
                    <a:lnTo>
                      <a:pt x="25" y="196"/>
                    </a:lnTo>
                    <a:lnTo>
                      <a:pt x="26" y="196"/>
                    </a:lnTo>
                    <a:lnTo>
                      <a:pt x="26" y="194"/>
                    </a:lnTo>
                    <a:lnTo>
                      <a:pt x="27" y="194"/>
                    </a:lnTo>
                    <a:lnTo>
                      <a:pt x="27" y="193"/>
                    </a:lnTo>
                    <a:lnTo>
                      <a:pt x="28" y="193"/>
                    </a:lnTo>
                    <a:lnTo>
                      <a:pt x="28" y="192"/>
                    </a:lnTo>
                    <a:lnTo>
                      <a:pt x="28" y="191"/>
                    </a:lnTo>
                    <a:lnTo>
                      <a:pt x="29" y="191"/>
                    </a:lnTo>
                    <a:lnTo>
                      <a:pt x="29" y="190"/>
                    </a:lnTo>
                    <a:lnTo>
                      <a:pt x="29" y="191"/>
                    </a:lnTo>
                    <a:lnTo>
                      <a:pt x="29" y="190"/>
                    </a:lnTo>
                    <a:lnTo>
                      <a:pt x="30" y="190"/>
                    </a:lnTo>
                    <a:lnTo>
                      <a:pt x="30" y="189"/>
                    </a:lnTo>
                    <a:lnTo>
                      <a:pt x="29" y="189"/>
                    </a:lnTo>
                    <a:lnTo>
                      <a:pt x="29" y="179"/>
                    </a:lnTo>
                    <a:lnTo>
                      <a:pt x="30" y="172"/>
                    </a:lnTo>
                    <a:lnTo>
                      <a:pt x="30" y="159"/>
                    </a:lnTo>
                    <a:lnTo>
                      <a:pt x="30" y="154"/>
                    </a:lnTo>
                    <a:lnTo>
                      <a:pt x="29" y="137"/>
                    </a:lnTo>
                    <a:lnTo>
                      <a:pt x="29" y="135"/>
                    </a:lnTo>
                    <a:lnTo>
                      <a:pt x="29" y="128"/>
                    </a:lnTo>
                    <a:lnTo>
                      <a:pt x="29" y="127"/>
                    </a:lnTo>
                    <a:lnTo>
                      <a:pt x="29" y="115"/>
                    </a:lnTo>
                    <a:lnTo>
                      <a:pt x="29" y="112"/>
                    </a:lnTo>
                    <a:lnTo>
                      <a:pt x="29" y="106"/>
                    </a:lnTo>
                    <a:lnTo>
                      <a:pt x="29" y="89"/>
                    </a:lnTo>
                    <a:lnTo>
                      <a:pt x="29" y="88"/>
                    </a:lnTo>
                    <a:lnTo>
                      <a:pt x="29" y="81"/>
                    </a:lnTo>
                    <a:lnTo>
                      <a:pt x="29" y="80"/>
                    </a:lnTo>
                    <a:lnTo>
                      <a:pt x="29" y="78"/>
                    </a:lnTo>
                    <a:lnTo>
                      <a:pt x="29" y="77"/>
                    </a:lnTo>
                    <a:lnTo>
                      <a:pt x="29" y="71"/>
                    </a:lnTo>
                    <a:lnTo>
                      <a:pt x="28" y="61"/>
                    </a:lnTo>
                    <a:lnTo>
                      <a:pt x="28" y="49"/>
                    </a:lnTo>
                    <a:lnTo>
                      <a:pt x="28" y="32"/>
                    </a:lnTo>
                    <a:lnTo>
                      <a:pt x="31" y="32"/>
                    </a:lnTo>
                    <a:lnTo>
                      <a:pt x="44" y="32"/>
                    </a:lnTo>
                    <a:lnTo>
                      <a:pt x="45" y="32"/>
                    </a:lnTo>
                    <a:lnTo>
                      <a:pt x="84" y="32"/>
                    </a:lnTo>
                    <a:lnTo>
                      <a:pt x="102" y="32"/>
                    </a:lnTo>
                    <a:lnTo>
                      <a:pt x="111" y="32"/>
                    </a:lnTo>
                    <a:lnTo>
                      <a:pt x="121" y="32"/>
                    </a:lnTo>
                    <a:lnTo>
                      <a:pt x="122" y="32"/>
                    </a:lnTo>
                    <a:lnTo>
                      <a:pt x="122" y="31"/>
                    </a:lnTo>
                    <a:lnTo>
                      <a:pt x="122" y="27"/>
                    </a:lnTo>
                    <a:lnTo>
                      <a:pt x="122" y="23"/>
                    </a:lnTo>
                    <a:lnTo>
                      <a:pt x="122" y="22"/>
                    </a:lnTo>
                    <a:lnTo>
                      <a:pt x="122" y="20"/>
                    </a:lnTo>
                    <a:lnTo>
                      <a:pt x="122" y="18"/>
                    </a:lnTo>
                    <a:lnTo>
                      <a:pt x="122" y="17"/>
                    </a:lnTo>
                    <a:lnTo>
                      <a:pt x="122" y="16"/>
                    </a:lnTo>
                    <a:lnTo>
                      <a:pt x="122" y="12"/>
                    </a:lnTo>
                    <a:lnTo>
                      <a:pt x="122" y="10"/>
                    </a:lnTo>
                    <a:lnTo>
                      <a:pt x="122" y="0"/>
                    </a:lnTo>
                    <a:lnTo>
                      <a:pt x="127" y="0"/>
                    </a:lnTo>
                    <a:lnTo>
                      <a:pt x="131" y="0"/>
                    </a:lnTo>
                    <a:lnTo>
                      <a:pt x="145" y="0"/>
                    </a:lnTo>
                    <a:lnTo>
                      <a:pt x="148" y="0"/>
                    </a:lnTo>
                    <a:lnTo>
                      <a:pt x="157" y="0"/>
                    </a:lnTo>
                    <a:lnTo>
                      <a:pt x="159" y="0"/>
                    </a:lnTo>
                    <a:lnTo>
                      <a:pt x="162" y="0"/>
                    </a:lnTo>
                    <a:lnTo>
                      <a:pt x="166" y="0"/>
                    </a:lnTo>
                    <a:lnTo>
                      <a:pt x="167" y="0"/>
                    </a:lnTo>
                    <a:lnTo>
                      <a:pt x="168" y="0"/>
                    </a:lnTo>
                    <a:lnTo>
                      <a:pt x="171" y="0"/>
                    </a:lnTo>
                    <a:lnTo>
                      <a:pt x="177" y="0"/>
                    </a:lnTo>
                    <a:lnTo>
                      <a:pt x="178" y="0"/>
                    </a:lnTo>
                    <a:lnTo>
                      <a:pt x="185" y="0"/>
                    </a:lnTo>
                    <a:lnTo>
                      <a:pt x="196" y="1"/>
                    </a:lnTo>
                    <a:lnTo>
                      <a:pt x="203" y="1"/>
                    </a:lnTo>
                    <a:lnTo>
                      <a:pt x="213" y="1"/>
                    </a:lnTo>
                    <a:lnTo>
                      <a:pt x="249" y="1"/>
                    </a:lnTo>
                    <a:close/>
                  </a:path>
                </a:pathLst>
              </a:custGeom>
              <a:solidFill>
                <a:srgbClr val="093F7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4" name="Freeform 322">
                <a:extLst>
                  <a:ext uri="{FF2B5EF4-FFF2-40B4-BE49-F238E27FC236}">
                    <a16:creationId xmlns:a16="http://schemas.microsoft.com/office/drawing/2014/main" id="{D13003CA-2B7E-F6BC-B188-F7CFD0799720}"/>
                  </a:ext>
                </a:extLst>
              </p:cNvPr>
              <p:cNvSpPr>
                <a:spLocks/>
              </p:cNvSpPr>
              <p:nvPr/>
            </p:nvSpPr>
            <p:spPr bwMode="auto">
              <a:xfrm>
                <a:off x="2727326" y="1471613"/>
                <a:ext cx="496888" cy="534988"/>
              </a:xfrm>
              <a:custGeom>
                <a:avLst/>
                <a:gdLst>
                  <a:gd name="T0" fmla="*/ 298 w 313"/>
                  <a:gd name="T1" fmla="*/ 167 h 337"/>
                  <a:gd name="T2" fmla="*/ 294 w 313"/>
                  <a:gd name="T3" fmla="*/ 175 h 337"/>
                  <a:gd name="T4" fmla="*/ 291 w 313"/>
                  <a:gd name="T5" fmla="*/ 185 h 337"/>
                  <a:gd name="T6" fmla="*/ 290 w 313"/>
                  <a:gd name="T7" fmla="*/ 196 h 337"/>
                  <a:gd name="T8" fmla="*/ 284 w 313"/>
                  <a:gd name="T9" fmla="*/ 203 h 337"/>
                  <a:gd name="T10" fmla="*/ 275 w 313"/>
                  <a:gd name="T11" fmla="*/ 214 h 337"/>
                  <a:gd name="T12" fmla="*/ 270 w 313"/>
                  <a:gd name="T13" fmla="*/ 221 h 337"/>
                  <a:gd name="T14" fmla="*/ 262 w 313"/>
                  <a:gd name="T15" fmla="*/ 229 h 337"/>
                  <a:gd name="T16" fmla="*/ 257 w 313"/>
                  <a:gd name="T17" fmla="*/ 238 h 337"/>
                  <a:gd name="T18" fmla="*/ 252 w 313"/>
                  <a:gd name="T19" fmla="*/ 253 h 337"/>
                  <a:gd name="T20" fmla="*/ 249 w 313"/>
                  <a:gd name="T21" fmla="*/ 264 h 337"/>
                  <a:gd name="T22" fmla="*/ 247 w 313"/>
                  <a:gd name="T23" fmla="*/ 276 h 337"/>
                  <a:gd name="T24" fmla="*/ 243 w 313"/>
                  <a:gd name="T25" fmla="*/ 290 h 337"/>
                  <a:gd name="T26" fmla="*/ 242 w 313"/>
                  <a:gd name="T27" fmla="*/ 309 h 337"/>
                  <a:gd name="T28" fmla="*/ 221 w 313"/>
                  <a:gd name="T29" fmla="*/ 324 h 337"/>
                  <a:gd name="T30" fmla="*/ 161 w 313"/>
                  <a:gd name="T31" fmla="*/ 336 h 337"/>
                  <a:gd name="T32" fmla="*/ 154 w 313"/>
                  <a:gd name="T33" fmla="*/ 324 h 337"/>
                  <a:gd name="T34" fmla="*/ 29 w 313"/>
                  <a:gd name="T35" fmla="*/ 258 h 337"/>
                  <a:gd name="T36" fmla="*/ 0 w 313"/>
                  <a:gd name="T37" fmla="*/ 150 h 337"/>
                  <a:gd name="T38" fmla="*/ 39 w 313"/>
                  <a:gd name="T39" fmla="*/ 101 h 337"/>
                  <a:gd name="T40" fmla="*/ 72 w 313"/>
                  <a:gd name="T41" fmla="*/ 98 h 337"/>
                  <a:gd name="T42" fmla="*/ 81 w 313"/>
                  <a:gd name="T43" fmla="*/ 101 h 337"/>
                  <a:gd name="T44" fmla="*/ 90 w 313"/>
                  <a:gd name="T45" fmla="*/ 100 h 337"/>
                  <a:gd name="T46" fmla="*/ 100 w 313"/>
                  <a:gd name="T47" fmla="*/ 100 h 337"/>
                  <a:gd name="T48" fmla="*/ 109 w 313"/>
                  <a:gd name="T49" fmla="*/ 97 h 337"/>
                  <a:gd name="T50" fmla="*/ 117 w 313"/>
                  <a:gd name="T51" fmla="*/ 95 h 337"/>
                  <a:gd name="T52" fmla="*/ 117 w 313"/>
                  <a:gd name="T53" fmla="*/ 87 h 337"/>
                  <a:gd name="T54" fmla="*/ 158 w 313"/>
                  <a:gd name="T55" fmla="*/ 54 h 337"/>
                  <a:gd name="T56" fmla="*/ 174 w 313"/>
                  <a:gd name="T57" fmla="*/ 34 h 337"/>
                  <a:gd name="T58" fmla="*/ 188 w 313"/>
                  <a:gd name="T59" fmla="*/ 29 h 337"/>
                  <a:gd name="T60" fmla="*/ 201 w 313"/>
                  <a:gd name="T61" fmla="*/ 21 h 337"/>
                  <a:gd name="T62" fmla="*/ 213 w 313"/>
                  <a:gd name="T63" fmla="*/ 1 h 337"/>
                  <a:gd name="T64" fmla="*/ 226 w 313"/>
                  <a:gd name="T65" fmla="*/ 2 h 337"/>
                  <a:gd name="T66" fmla="*/ 214 w 313"/>
                  <a:gd name="T67" fmla="*/ 9 h 337"/>
                  <a:gd name="T68" fmla="*/ 221 w 313"/>
                  <a:gd name="T69" fmla="*/ 6 h 337"/>
                  <a:gd name="T70" fmla="*/ 220 w 313"/>
                  <a:gd name="T71" fmla="*/ 14 h 337"/>
                  <a:gd name="T72" fmla="*/ 229 w 313"/>
                  <a:gd name="T73" fmla="*/ 17 h 337"/>
                  <a:gd name="T74" fmla="*/ 223 w 313"/>
                  <a:gd name="T75" fmla="*/ 27 h 337"/>
                  <a:gd name="T76" fmla="*/ 235 w 313"/>
                  <a:gd name="T77" fmla="*/ 18 h 337"/>
                  <a:gd name="T78" fmla="*/ 229 w 313"/>
                  <a:gd name="T79" fmla="*/ 8 h 337"/>
                  <a:gd name="T80" fmla="*/ 239 w 313"/>
                  <a:gd name="T81" fmla="*/ 15 h 337"/>
                  <a:gd name="T82" fmla="*/ 247 w 313"/>
                  <a:gd name="T83" fmla="*/ 13 h 337"/>
                  <a:gd name="T84" fmla="*/ 258 w 313"/>
                  <a:gd name="T85" fmla="*/ 14 h 337"/>
                  <a:gd name="T86" fmla="*/ 268 w 313"/>
                  <a:gd name="T87" fmla="*/ 9 h 337"/>
                  <a:gd name="T88" fmla="*/ 272 w 313"/>
                  <a:gd name="T89" fmla="*/ 16 h 337"/>
                  <a:gd name="T90" fmla="*/ 275 w 313"/>
                  <a:gd name="T91" fmla="*/ 27 h 337"/>
                  <a:gd name="T92" fmla="*/ 283 w 313"/>
                  <a:gd name="T93" fmla="*/ 35 h 337"/>
                  <a:gd name="T94" fmla="*/ 294 w 313"/>
                  <a:gd name="T95" fmla="*/ 46 h 337"/>
                  <a:gd name="T96" fmla="*/ 304 w 313"/>
                  <a:gd name="T97" fmla="*/ 41 h 337"/>
                  <a:gd name="T98" fmla="*/ 310 w 313"/>
                  <a:gd name="T99" fmla="*/ 52 h 337"/>
                  <a:gd name="T100" fmla="*/ 301 w 313"/>
                  <a:gd name="T101" fmla="*/ 56 h 337"/>
                  <a:gd name="T102" fmla="*/ 303 w 313"/>
                  <a:gd name="T103" fmla="*/ 67 h 337"/>
                  <a:gd name="T104" fmla="*/ 299 w 313"/>
                  <a:gd name="T105" fmla="*/ 77 h 337"/>
                  <a:gd name="T106" fmla="*/ 297 w 313"/>
                  <a:gd name="T107" fmla="*/ 97 h 337"/>
                  <a:gd name="T108" fmla="*/ 299 w 313"/>
                  <a:gd name="T109" fmla="*/ 111 h 337"/>
                  <a:gd name="T110" fmla="*/ 303 w 313"/>
                  <a:gd name="T111" fmla="*/ 123 h 337"/>
                  <a:gd name="T112" fmla="*/ 307 w 313"/>
                  <a:gd name="T113" fmla="*/ 133 h 337"/>
                  <a:gd name="T114" fmla="*/ 313 w 313"/>
                  <a:gd name="T115" fmla="*/ 14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 h="337">
                    <a:moveTo>
                      <a:pt x="308" y="158"/>
                    </a:moveTo>
                    <a:lnTo>
                      <a:pt x="305" y="162"/>
                    </a:lnTo>
                    <a:lnTo>
                      <a:pt x="305" y="163"/>
                    </a:lnTo>
                    <a:lnTo>
                      <a:pt x="304" y="163"/>
                    </a:lnTo>
                    <a:lnTo>
                      <a:pt x="303" y="164"/>
                    </a:lnTo>
                    <a:lnTo>
                      <a:pt x="301" y="164"/>
                    </a:lnTo>
                    <a:lnTo>
                      <a:pt x="301" y="165"/>
                    </a:lnTo>
                    <a:lnTo>
                      <a:pt x="300" y="165"/>
                    </a:lnTo>
                    <a:lnTo>
                      <a:pt x="299" y="165"/>
                    </a:lnTo>
                    <a:lnTo>
                      <a:pt x="299" y="167"/>
                    </a:lnTo>
                    <a:lnTo>
                      <a:pt x="298" y="167"/>
                    </a:lnTo>
                    <a:lnTo>
                      <a:pt x="297" y="167"/>
                    </a:lnTo>
                    <a:lnTo>
                      <a:pt x="296" y="167"/>
                    </a:lnTo>
                    <a:lnTo>
                      <a:pt x="296" y="168"/>
                    </a:lnTo>
                    <a:lnTo>
                      <a:pt x="295" y="168"/>
                    </a:lnTo>
                    <a:lnTo>
                      <a:pt x="295" y="169"/>
                    </a:lnTo>
                    <a:lnTo>
                      <a:pt x="295" y="170"/>
                    </a:lnTo>
                    <a:lnTo>
                      <a:pt x="294" y="172"/>
                    </a:lnTo>
                    <a:lnTo>
                      <a:pt x="294" y="173"/>
                    </a:lnTo>
                    <a:lnTo>
                      <a:pt x="295" y="173"/>
                    </a:lnTo>
                    <a:lnTo>
                      <a:pt x="295" y="174"/>
                    </a:lnTo>
                    <a:lnTo>
                      <a:pt x="294" y="175"/>
                    </a:lnTo>
                    <a:lnTo>
                      <a:pt x="294" y="176"/>
                    </a:lnTo>
                    <a:lnTo>
                      <a:pt x="293" y="176"/>
                    </a:lnTo>
                    <a:lnTo>
                      <a:pt x="293" y="177"/>
                    </a:lnTo>
                    <a:lnTo>
                      <a:pt x="292" y="178"/>
                    </a:lnTo>
                    <a:lnTo>
                      <a:pt x="292" y="180"/>
                    </a:lnTo>
                    <a:lnTo>
                      <a:pt x="291" y="181"/>
                    </a:lnTo>
                    <a:lnTo>
                      <a:pt x="291" y="182"/>
                    </a:lnTo>
                    <a:lnTo>
                      <a:pt x="291" y="183"/>
                    </a:lnTo>
                    <a:lnTo>
                      <a:pt x="292" y="183"/>
                    </a:lnTo>
                    <a:lnTo>
                      <a:pt x="291" y="184"/>
                    </a:lnTo>
                    <a:lnTo>
                      <a:pt x="291" y="185"/>
                    </a:lnTo>
                    <a:lnTo>
                      <a:pt x="291" y="186"/>
                    </a:lnTo>
                    <a:lnTo>
                      <a:pt x="290" y="186"/>
                    </a:lnTo>
                    <a:lnTo>
                      <a:pt x="290" y="187"/>
                    </a:lnTo>
                    <a:lnTo>
                      <a:pt x="288" y="188"/>
                    </a:lnTo>
                    <a:lnTo>
                      <a:pt x="287" y="190"/>
                    </a:lnTo>
                    <a:lnTo>
                      <a:pt x="288" y="191"/>
                    </a:lnTo>
                    <a:lnTo>
                      <a:pt x="288" y="193"/>
                    </a:lnTo>
                    <a:lnTo>
                      <a:pt x="290" y="193"/>
                    </a:lnTo>
                    <a:lnTo>
                      <a:pt x="291" y="194"/>
                    </a:lnTo>
                    <a:lnTo>
                      <a:pt x="291" y="195"/>
                    </a:lnTo>
                    <a:lnTo>
                      <a:pt x="290" y="196"/>
                    </a:lnTo>
                    <a:lnTo>
                      <a:pt x="288" y="197"/>
                    </a:lnTo>
                    <a:lnTo>
                      <a:pt x="288" y="198"/>
                    </a:lnTo>
                    <a:lnTo>
                      <a:pt x="288" y="199"/>
                    </a:lnTo>
                    <a:lnTo>
                      <a:pt x="287" y="199"/>
                    </a:lnTo>
                    <a:lnTo>
                      <a:pt x="286" y="199"/>
                    </a:lnTo>
                    <a:lnTo>
                      <a:pt x="286" y="200"/>
                    </a:lnTo>
                    <a:lnTo>
                      <a:pt x="285" y="200"/>
                    </a:lnTo>
                    <a:lnTo>
                      <a:pt x="285" y="201"/>
                    </a:lnTo>
                    <a:lnTo>
                      <a:pt x="285" y="202"/>
                    </a:lnTo>
                    <a:lnTo>
                      <a:pt x="284" y="202"/>
                    </a:lnTo>
                    <a:lnTo>
                      <a:pt x="284" y="203"/>
                    </a:lnTo>
                    <a:lnTo>
                      <a:pt x="284" y="204"/>
                    </a:lnTo>
                    <a:lnTo>
                      <a:pt x="283" y="204"/>
                    </a:lnTo>
                    <a:lnTo>
                      <a:pt x="282" y="204"/>
                    </a:lnTo>
                    <a:lnTo>
                      <a:pt x="281" y="206"/>
                    </a:lnTo>
                    <a:lnTo>
                      <a:pt x="279" y="208"/>
                    </a:lnTo>
                    <a:lnTo>
                      <a:pt x="278" y="209"/>
                    </a:lnTo>
                    <a:lnTo>
                      <a:pt x="277" y="210"/>
                    </a:lnTo>
                    <a:lnTo>
                      <a:pt x="277" y="211"/>
                    </a:lnTo>
                    <a:lnTo>
                      <a:pt x="277" y="212"/>
                    </a:lnTo>
                    <a:lnTo>
                      <a:pt x="275" y="213"/>
                    </a:lnTo>
                    <a:lnTo>
                      <a:pt x="275" y="214"/>
                    </a:lnTo>
                    <a:lnTo>
                      <a:pt x="274" y="215"/>
                    </a:lnTo>
                    <a:lnTo>
                      <a:pt x="274" y="216"/>
                    </a:lnTo>
                    <a:lnTo>
                      <a:pt x="273" y="216"/>
                    </a:lnTo>
                    <a:lnTo>
                      <a:pt x="272" y="215"/>
                    </a:lnTo>
                    <a:lnTo>
                      <a:pt x="271" y="217"/>
                    </a:lnTo>
                    <a:lnTo>
                      <a:pt x="271" y="219"/>
                    </a:lnTo>
                    <a:lnTo>
                      <a:pt x="272" y="219"/>
                    </a:lnTo>
                    <a:lnTo>
                      <a:pt x="272" y="220"/>
                    </a:lnTo>
                    <a:lnTo>
                      <a:pt x="271" y="220"/>
                    </a:lnTo>
                    <a:lnTo>
                      <a:pt x="271" y="221"/>
                    </a:lnTo>
                    <a:lnTo>
                      <a:pt x="270" y="221"/>
                    </a:lnTo>
                    <a:lnTo>
                      <a:pt x="271" y="221"/>
                    </a:lnTo>
                    <a:lnTo>
                      <a:pt x="270" y="222"/>
                    </a:lnTo>
                    <a:lnTo>
                      <a:pt x="269" y="222"/>
                    </a:lnTo>
                    <a:lnTo>
                      <a:pt x="269" y="223"/>
                    </a:lnTo>
                    <a:lnTo>
                      <a:pt x="268" y="223"/>
                    </a:lnTo>
                    <a:lnTo>
                      <a:pt x="268" y="222"/>
                    </a:lnTo>
                    <a:lnTo>
                      <a:pt x="267" y="223"/>
                    </a:lnTo>
                    <a:lnTo>
                      <a:pt x="266" y="223"/>
                    </a:lnTo>
                    <a:lnTo>
                      <a:pt x="265" y="224"/>
                    </a:lnTo>
                    <a:lnTo>
                      <a:pt x="264" y="226"/>
                    </a:lnTo>
                    <a:lnTo>
                      <a:pt x="262" y="229"/>
                    </a:lnTo>
                    <a:lnTo>
                      <a:pt x="262" y="231"/>
                    </a:lnTo>
                    <a:lnTo>
                      <a:pt x="261" y="231"/>
                    </a:lnTo>
                    <a:lnTo>
                      <a:pt x="260" y="232"/>
                    </a:lnTo>
                    <a:lnTo>
                      <a:pt x="260" y="233"/>
                    </a:lnTo>
                    <a:lnTo>
                      <a:pt x="259" y="233"/>
                    </a:lnTo>
                    <a:lnTo>
                      <a:pt x="258" y="233"/>
                    </a:lnTo>
                    <a:lnTo>
                      <a:pt x="258" y="234"/>
                    </a:lnTo>
                    <a:lnTo>
                      <a:pt x="258" y="235"/>
                    </a:lnTo>
                    <a:lnTo>
                      <a:pt x="258" y="236"/>
                    </a:lnTo>
                    <a:lnTo>
                      <a:pt x="258" y="237"/>
                    </a:lnTo>
                    <a:lnTo>
                      <a:pt x="257" y="238"/>
                    </a:lnTo>
                    <a:lnTo>
                      <a:pt x="257" y="239"/>
                    </a:lnTo>
                    <a:lnTo>
                      <a:pt x="257" y="240"/>
                    </a:lnTo>
                    <a:lnTo>
                      <a:pt x="256" y="240"/>
                    </a:lnTo>
                    <a:lnTo>
                      <a:pt x="256" y="241"/>
                    </a:lnTo>
                    <a:lnTo>
                      <a:pt x="256" y="242"/>
                    </a:lnTo>
                    <a:lnTo>
                      <a:pt x="255" y="244"/>
                    </a:lnTo>
                    <a:lnTo>
                      <a:pt x="254" y="246"/>
                    </a:lnTo>
                    <a:lnTo>
                      <a:pt x="252" y="249"/>
                    </a:lnTo>
                    <a:lnTo>
                      <a:pt x="252" y="250"/>
                    </a:lnTo>
                    <a:lnTo>
                      <a:pt x="252" y="252"/>
                    </a:lnTo>
                    <a:lnTo>
                      <a:pt x="252" y="253"/>
                    </a:lnTo>
                    <a:lnTo>
                      <a:pt x="251" y="254"/>
                    </a:lnTo>
                    <a:lnTo>
                      <a:pt x="251" y="255"/>
                    </a:lnTo>
                    <a:lnTo>
                      <a:pt x="249" y="255"/>
                    </a:lnTo>
                    <a:lnTo>
                      <a:pt x="249" y="259"/>
                    </a:lnTo>
                    <a:lnTo>
                      <a:pt x="249" y="260"/>
                    </a:lnTo>
                    <a:lnTo>
                      <a:pt x="248" y="260"/>
                    </a:lnTo>
                    <a:lnTo>
                      <a:pt x="247" y="261"/>
                    </a:lnTo>
                    <a:lnTo>
                      <a:pt x="247" y="262"/>
                    </a:lnTo>
                    <a:lnTo>
                      <a:pt x="248" y="262"/>
                    </a:lnTo>
                    <a:lnTo>
                      <a:pt x="249" y="263"/>
                    </a:lnTo>
                    <a:lnTo>
                      <a:pt x="249" y="264"/>
                    </a:lnTo>
                    <a:lnTo>
                      <a:pt x="251" y="265"/>
                    </a:lnTo>
                    <a:lnTo>
                      <a:pt x="251" y="267"/>
                    </a:lnTo>
                    <a:lnTo>
                      <a:pt x="251" y="268"/>
                    </a:lnTo>
                    <a:lnTo>
                      <a:pt x="249" y="270"/>
                    </a:lnTo>
                    <a:lnTo>
                      <a:pt x="248" y="270"/>
                    </a:lnTo>
                    <a:lnTo>
                      <a:pt x="248" y="271"/>
                    </a:lnTo>
                    <a:lnTo>
                      <a:pt x="247" y="272"/>
                    </a:lnTo>
                    <a:lnTo>
                      <a:pt x="247" y="273"/>
                    </a:lnTo>
                    <a:lnTo>
                      <a:pt x="247" y="274"/>
                    </a:lnTo>
                    <a:lnTo>
                      <a:pt x="247" y="275"/>
                    </a:lnTo>
                    <a:lnTo>
                      <a:pt x="247" y="276"/>
                    </a:lnTo>
                    <a:lnTo>
                      <a:pt x="248" y="278"/>
                    </a:lnTo>
                    <a:lnTo>
                      <a:pt x="248" y="279"/>
                    </a:lnTo>
                    <a:lnTo>
                      <a:pt x="248" y="281"/>
                    </a:lnTo>
                    <a:lnTo>
                      <a:pt x="247" y="284"/>
                    </a:lnTo>
                    <a:lnTo>
                      <a:pt x="247" y="285"/>
                    </a:lnTo>
                    <a:lnTo>
                      <a:pt x="247" y="287"/>
                    </a:lnTo>
                    <a:lnTo>
                      <a:pt x="246" y="289"/>
                    </a:lnTo>
                    <a:lnTo>
                      <a:pt x="245" y="289"/>
                    </a:lnTo>
                    <a:lnTo>
                      <a:pt x="244" y="289"/>
                    </a:lnTo>
                    <a:lnTo>
                      <a:pt x="244" y="290"/>
                    </a:lnTo>
                    <a:lnTo>
                      <a:pt x="243" y="290"/>
                    </a:lnTo>
                    <a:lnTo>
                      <a:pt x="243" y="291"/>
                    </a:lnTo>
                    <a:lnTo>
                      <a:pt x="243" y="292"/>
                    </a:lnTo>
                    <a:lnTo>
                      <a:pt x="243" y="293"/>
                    </a:lnTo>
                    <a:lnTo>
                      <a:pt x="244" y="293"/>
                    </a:lnTo>
                    <a:lnTo>
                      <a:pt x="245" y="293"/>
                    </a:lnTo>
                    <a:lnTo>
                      <a:pt x="244" y="298"/>
                    </a:lnTo>
                    <a:lnTo>
                      <a:pt x="244" y="301"/>
                    </a:lnTo>
                    <a:lnTo>
                      <a:pt x="243" y="303"/>
                    </a:lnTo>
                    <a:lnTo>
                      <a:pt x="243" y="304"/>
                    </a:lnTo>
                    <a:lnTo>
                      <a:pt x="243" y="306"/>
                    </a:lnTo>
                    <a:lnTo>
                      <a:pt x="242" y="309"/>
                    </a:lnTo>
                    <a:lnTo>
                      <a:pt x="242" y="310"/>
                    </a:lnTo>
                    <a:lnTo>
                      <a:pt x="241" y="312"/>
                    </a:lnTo>
                    <a:lnTo>
                      <a:pt x="240" y="313"/>
                    </a:lnTo>
                    <a:lnTo>
                      <a:pt x="240" y="315"/>
                    </a:lnTo>
                    <a:lnTo>
                      <a:pt x="239" y="317"/>
                    </a:lnTo>
                    <a:lnTo>
                      <a:pt x="238" y="318"/>
                    </a:lnTo>
                    <a:lnTo>
                      <a:pt x="235" y="321"/>
                    </a:lnTo>
                    <a:lnTo>
                      <a:pt x="234" y="322"/>
                    </a:lnTo>
                    <a:lnTo>
                      <a:pt x="233" y="323"/>
                    </a:lnTo>
                    <a:lnTo>
                      <a:pt x="233" y="324"/>
                    </a:lnTo>
                    <a:lnTo>
                      <a:pt x="221" y="324"/>
                    </a:lnTo>
                    <a:lnTo>
                      <a:pt x="202" y="324"/>
                    </a:lnTo>
                    <a:lnTo>
                      <a:pt x="201" y="324"/>
                    </a:lnTo>
                    <a:lnTo>
                      <a:pt x="200" y="324"/>
                    </a:lnTo>
                    <a:lnTo>
                      <a:pt x="199" y="324"/>
                    </a:lnTo>
                    <a:lnTo>
                      <a:pt x="190" y="324"/>
                    </a:lnTo>
                    <a:lnTo>
                      <a:pt x="190" y="337"/>
                    </a:lnTo>
                    <a:lnTo>
                      <a:pt x="184" y="337"/>
                    </a:lnTo>
                    <a:lnTo>
                      <a:pt x="178" y="337"/>
                    </a:lnTo>
                    <a:lnTo>
                      <a:pt x="162" y="337"/>
                    </a:lnTo>
                    <a:lnTo>
                      <a:pt x="161" y="337"/>
                    </a:lnTo>
                    <a:lnTo>
                      <a:pt x="161" y="336"/>
                    </a:lnTo>
                    <a:lnTo>
                      <a:pt x="162" y="335"/>
                    </a:lnTo>
                    <a:lnTo>
                      <a:pt x="162" y="334"/>
                    </a:lnTo>
                    <a:lnTo>
                      <a:pt x="161" y="332"/>
                    </a:lnTo>
                    <a:lnTo>
                      <a:pt x="159" y="331"/>
                    </a:lnTo>
                    <a:lnTo>
                      <a:pt x="158" y="331"/>
                    </a:lnTo>
                    <a:lnTo>
                      <a:pt x="157" y="330"/>
                    </a:lnTo>
                    <a:lnTo>
                      <a:pt x="156" y="329"/>
                    </a:lnTo>
                    <a:lnTo>
                      <a:pt x="155" y="328"/>
                    </a:lnTo>
                    <a:lnTo>
                      <a:pt x="154" y="327"/>
                    </a:lnTo>
                    <a:lnTo>
                      <a:pt x="154" y="326"/>
                    </a:lnTo>
                    <a:lnTo>
                      <a:pt x="154" y="324"/>
                    </a:lnTo>
                    <a:lnTo>
                      <a:pt x="153" y="324"/>
                    </a:lnTo>
                    <a:lnTo>
                      <a:pt x="105" y="324"/>
                    </a:lnTo>
                    <a:lnTo>
                      <a:pt x="102" y="324"/>
                    </a:lnTo>
                    <a:lnTo>
                      <a:pt x="101" y="324"/>
                    </a:lnTo>
                    <a:lnTo>
                      <a:pt x="94" y="324"/>
                    </a:lnTo>
                    <a:lnTo>
                      <a:pt x="70" y="324"/>
                    </a:lnTo>
                    <a:lnTo>
                      <a:pt x="63" y="324"/>
                    </a:lnTo>
                    <a:lnTo>
                      <a:pt x="63" y="292"/>
                    </a:lnTo>
                    <a:lnTo>
                      <a:pt x="58" y="286"/>
                    </a:lnTo>
                    <a:lnTo>
                      <a:pt x="57" y="286"/>
                    </a:lnTo>
                    <a:lnTo>
                      <a:pt x="29" y="258"/>
                    </a:lnTo>
                    <a:lnTo>
                      <a:pt x="10" y="239"/>
                    </a:lnTo>
                    <a:lnTo>
                      <a:pt x="3" y="232"/>
                    </a:lnTo>
                    <a:lnTo>
                      <a:pt x="0" y="228"/>
                    </a:lnTo>
                    <a:lnTo>
                      <a:pt x="0" y="204"/>
                    </a:lnTo>
                    <a:lnTo>
                      <a:pt x="0" y="186"/>
                    </a:lnTo>
                    <a:lnTo>
                      <a:pt x="0" y="183"/>
                    </a:lnTo>
                    <a:lnTo>
                      <a:pt x="0" y="170"/>
                    </a:lnTo>
                    <a:lnTo>
                      <a:pt x="0" y="167"/>
                    </a:lnTo>
                    <a:lnTo>
                      <a:pt x="0" y="165"/>
                    </a:lnTo>
                    <a:lnTo>
                      <a:pt x="0" y="157"/>
                    </a:lnTo>
                    <a:lnTo>
                      <a:pt x="0" y="150"/>
                    </a:lnTo>
                    <a:lnTo>
                      <a:pt x="0" y="146"/>
                    </a:lnTo>
                    <a:lnTo>
                      <a:pt x="0" y="137"/>
                    </a:lnTo>
                    <a:lnTo>
                      <a:pt x="0" y="127"/>
                    </a:lnTo>
                    <a:lnTo>
                      <a:pt x="0" y="122"/>
                    </a:lnTo>
                    <a:lnTo>
                      <a:pt x="0" y="101"/>
                    </a:lnTo>
                    <a:lnTo>
                      <a:pt x="19" y="101"/>
                    </a:lnTo>
                    <a:lnTo>
                      <a:pt x="24" y="101"/>
                    </a:lnTo>
                    <a:lnTo>
                      <a:pt x="25" y="101"/>
                    </a:lnTo>
                    <a:lnTo>
                      <a:pt x="26" y="101"/>
                    </a:lnTo>
                    <a:lnTo>
                      <a:pt x="32" y="101"/>
                    </a:lnTo>
                    <a:lnTo>
                      <a:pt x="39" y="101"/>
                    </a:lnTo>
                    <a:lnTo>
                      <a:pt x="53" y="101"/>
                    </a:lnTo>
                    <a:lnTo>
                      <a:pt x="67" y="101"/>
                    </a:lnTo>
                    <a:lnTo>
                      <a:pt x="68" y="101"/>
                    </a:lnTo>
                    <a:lnTo>
                      <a:pt x="68" y="100"/>
                    </a:lnTo>
                    <a:lnTo>
                      <a:pt x="68" y="101"/>
                    </a:lnTo>
                    <a:lnTo>
                      <a:pt x="70" y="101"/>
                    </a:lnTo>
                    <a:lnTo>
                      <a:pt x="71" y="101"/>
                    </a:lnTo>
                    <a:lnTo>
                      <a:pt x="71" y="100"/>
                    </a:lnTo>
                    <a:lnTo>
                      <a:pt x="71" y="99"/>
                    </a:lnTo>
                    <a:lnTo>
                      <a:pt x="72" y="99"/>
                    </a:lnTo>
                    <a:lnTo>
                      <a:pt x="72" y="98"/>
                    </a:lnTo>
                    <a:lnTo>
                      <a:pt x="73" y="98"/>
                    </a:lnTo>
                    <a:lnTo>
                      <a:pt x="74" y="98"/>
                    </a:lnTo>
                    <a:lnTo>
                      <a:pt x="75" y="99"/>
                    </a:lnTo>
                    <a:lnTo>
                      <a:pt x="76" y="99"/>
                    </a:lnTo>
                    <a:lnTo>
                      <a:pt x="77" y="100"/>
                    </a:lnTo>
                    <a:lnTo>
                      <a:pt x="78" y="101"/>
                    </a:lnTo>
                    <a:lnTo>
                      <a:pt x="79" y="101"/>
                    </a:lnTo>
                    <a:lnTo>
                      <a:pt x="79" y="100"/>
                    </a:lnTo>
                    <a:lnTo>
                      <a:pt x="80" y="100"/>
                    </a:lnTo>
                    <a:lnTo>
                      <a:pt x="80" y="101"/>
                    </a:lnTo>
                    <a:lnTo>
                      <a:pt x="81" y="101"/>
                    </a:lnTo>
                    <a:lnTo>
                      <a:pt x="83" y="101"/>
                    </a:lnTo>
                    <a:lnTo>
                      <a:pt x="84" y="101"/>
                    </a:lnTo>
                    <a:lnTo>
                      <a:pt x="85" y="101"/>
                    </a:lnTo>
                    <a:lnTo>
                      <a:pt x="84" y="103"/>
                    </a:lnTo>
                    <a:lnTo>
                      <a:pt x="85" y="103"/>
                    </a:lnTo>
                    <a:lnTo>
                      <a:pt x="86" y="103"/>
                    </a:lnTo>
                    <a:lnTo>
                      <a:pt x="87" y="103"/>
                    </a:lnTo>
                    <a:lnTo>
                      <a:pt x="88" y="103"/>
                    </a:lnTo>
                    <a:lnTo>
                      <a:pt x="89" y="101"/>
                    </a:lnTo>
                    <a:lnTo>
                      <a:pt x="90" y="101"/>
                    </a:lnTo>
                    <a:lnTo>
                      <a:pt x="90" y="100"/>
                    </a:lnTo>
                    <a:lnTo>
                      <a:pt x="91" y="101"/>
                    </a:lnTo>
                    <a:lnTo>
                      <a:pt x="92" y="101"/>
                    </a:lnTo>
                    <a:lnTo>
                      <a:pt x="93" y="101"/>
                    </a:lnTo>
                    <a:lnTo>
                      <a:pt x="93" y="103"/>
                    </a:lnTo>
                    <a:lnTo>
                      <a:pt x="94" y="103"/>
                    </a:lnTo>
                    <a:lnTo>
                      <a:pt x="96" y="101"/>
                    </a:lnTo>
                    <a:lnTo>
                      <a:pt x="97" y="101"/>
                    </a:lnTo>
                    <a:lnTo>
                      <a:pt x="98" y="101"/>
                    </a:lnTo>
                    <a:lnTo>
                      <a:pt x="98" y="100"/>
                    </a:lnTo>
                    <a:lnTo>
                      <a:pt x="99" y="100"/>
                    </a:lnTo>
                    <a:lnTo>
                      <a:pt x="100" y="100"/>
                    </a:lnTo>
                    <a:lnTo>
                      <a:pt x="101" y="99"/>
                    </a:lnTo>
                    <a:lnTo>
                      <a:pt x="101" y="98"/>
                    </a:lnTo>
                    <a:lnTo>
                      <a:pt x="101" y="97"/>
                    </a:lnTo>
                    <a:lnTo>
                      <a:pt x="102" y="98"/>
                    </a:lnTo>
                    <a:lnTo>
                      <a:pt x="102" y="97"/>
                    </a:lnTo>
                    <a:lnTo>
                      <a:pt x="103" y="97"/>
                    </a:lnTo>
                    <a:lnTo>
                      <a:pt x="104" y="97"/>
                    </a:lnTo>
                    <a:lnTo>
                      <a:pt x="105" y="97"/>
                    </a:lnTo>
                    <a:lnTo>
                      <a:pt x="106" y="97"/>
                    </a:lnTo>
                    <a:lnTo>
                      <a:pt x="107" y="97"/>
                    </a:lnTo>
                    <a:lnTo>
                      <a:pt x="109" y="97"/>
                    </a:lnTo>
                    <a:lnTo>
                      <a:pt x="110" y="97"/>
                    </a:lnTo>
                    <a:lnTo>
                      <a:pt x="111" y="97"/>
                    </a:lnTo>
                    <a:lnTo>
                      <a:pt x="112" y="98"/>
                    </a:lnTo>
                    <a:lnTo>
                      <a:pt x="113" y="97"/>
                    </a:lnTo>
                    <a:lnTo>
                      <a:pt x="114" y="97"/>
                    </a:lnTo>
                    <a:lnTo>
                      <a:pt x="114" y="96"/>
                    </a:lnTo>
                    <a:lnTo>
                      <a:pt x="115" y="97"/>
                    </a:lnTo>
                    <a:lnTo>
                      <a:pt x="115" y="96"/>
                    </a:lnTo>
                    <a:lnTo>
                      <a:pt x="116" y="96"/>
                    </a:lnTo>
                    <a:lnTo>
                      <a:pt x="117" y="96"/>
                    </a:lnTo>
                    <a:lnTo>
                      <a:pt x="117" y="95"/>
                    </a:lnTo>
                    <a:lnTo>
                      <a:pt x="118" y="95"/>
                    </a:lnTo>
                    <a:lnTo>
                      <a:pt x="118" y="94"/>
                    </a:lnTo>
                    <a:lnTo>
                      <a:pt x="118" y="93"/>
                    </a:lnTo>
                    <a:lnTo>
                      <a:pt x="117" y="93"/>
                    </a:lnTo>
                    <a:lnTo>
                      <a:pt x="118" y="92"/>
                    </a:lnTo>
                    <a:lnTo>
                      <a:pt x="117" y="92"/>
                    </a:lnTo>
                    <a:lnTo>
                      <a:pt x="117" y="91"/>
                    </a:lnTo>
                    <a:lnTo>
                      <a:pt x="117" y="90"/>
                    </a:lnTo>
                    <a:lnTo>
                      <a:pt x="118" y="90"/>
                    </a:lnTo>
                    <a:lnTo>
                      <a:pt x="117" y="88"/>
                    </a:lnTo>
                    <a:lnTo>
                      <a:pt x="117" y="87"/>
                    </a:lnTo>
                    <a:lnTo>
                      <a:pt x="117" y="86"/>
                    </a:lnTo>
                    <a:lnTo>
                      <a:pt x="117" y="85"/>
                    </a:lnTo>
                    <a:lnTo>
                      <a:pt x="118" y="85"/>
                    </a:lnTo>
                    <a:lnTo>
                      <a:pt x="118" y="84"/>
                    </a:lnTo>
                    <a:lnTo>
                      <a:pt x="118" y="83"/>
                    </a:lnTo>
                    <a:lnTo>
                      <a:pt x="118" y="82"/>
                    </a:lnTo>
                    <a:lnTo>
                      <a:pt x="119" y="82"/>
                    </a:lnTo>
                    <a:lnTo>
                      <a:pt x="119" y="81"/>
                    </a:lnTo>
                    <a:lnTo>
                      <a:pt x="120" y="81"/>
                    </a:lnTo>
                    <a:lnTo>
                      <a:pt x="154" y="57"/>
                    </a:lnTo>
                    <a:lnTo>
                      <a:pt x="158" y="54"/>
                    </a:lnTo>
                    <a:lnTo>
                      <a:pt x="169" y="45"/>
                    </a:lnTo>
                    <a:lnTo>
                      <a:pt x="170" y="45"/>
                    </a:lnTo>
                    <a:lnTo>
                      <a:pt x="168" y="42"/>
                    </a:lnTo>
                    <a:lnTo>
                      <a:pt x="168" y="41"/>
                    </a:lnTo>
                    <a:lnTo>
                      <a:pt x="168" y="40"/>
                    </a:lnTo>
                    <a:lnTo>
                      <a:pt x="168" y="37"/>
                    </a:lnTo>
                    <a:lnTo>
                      <a:pt x="168" y="35"/>
                    </a:lnTo>
                    <a:lnTo>
                      <a:pt x="169" y="34"/>
                    </a:lnTo>
                    <a:lnTo>
                      <a:pt x="170" y="34"/>
                    </a:lnTo>
                    <a:lnTo>
                      <a:pt x="172" y="34"/>
                    </a:lnTo>
                    <a:lnTo>
                      <a:pt x="174" y="34"/>
                    </a:lnTo>
                    <a:lnTo>
                      <a:pt x="175" y="34"/>
                    </a:lnTo>
                    <a:lnTo>
                      <a:pt x="176" y="34"/>
                    </a:lnTo>
                    <a:lnTo>
                      <a:pt x="179" y="35"/>
                    </a:lnTo>
                    <a:lnTo>
                      <a:pt x="180" y="35"/>
                    </a:lnTo>
                    <a:lnTo>
                      <a:pt x="181" y="35"/>
                    </a:lnTo>
                    <a:lnTo>
                      <a:pt x="182" y="35"/>
                    </a:lnTo>
                    <a:lnTo>
                      <a:pt x="182" y="34"/>
                    </a:lnTo>
                    <a:lnTo>
                      <a:pt x="184" y="33"/>
                    </a:lnTo>
                    <a:lnTo>
                      <a:pt x="186" y="32"/>
                    </a:lnTo>
                    <a:lnTo>
                      <a:pt x="187" y="30"/>
                    </a:lnTo>
                    <a:lnTo>
                      <a:pt x="188" y="29"/>
                    </a:lnTo>
                    <a:lnTo>
                      <a:pt x="189" y="29"/>
                    </a:lnTo>
                    <a:lnTo>
                      <a:pt x="190" y="29"/>
                    </a:lnTo>
                    <a:lnTo>
                      <a:pt x="192" y="29"/>
                    </a:lnTo>
                    <a:lnTo>
                      <a:pt x="193" y="29"/>
                    </a:lnTo>
                    <a:lnTo>
                      <a:pt x="195" y="28"/>
                    </a:lnTo>
                    <a:lnTo>
                      <a:pt x="197" y="27"/>
                    </a:lnTo>
                    <a:lnTo>
                      <a:pt x="199" y="27"/>
                    </a:lnTo>
                    <a:lnTo>
                      <a:pt x="200" y="26"/>
                    </a:lnTo>
                    <a:lnTo>
                      <a:pt x="200" y="24"/>
                    </a:lnTo>
                    <a:lnTo>
                      <a:pt x="200" y="23"/>
                    </a:lnTo>
                    <a:lnTo>
                      <a:pt x="201" y="21"/>
                    </a:lnTo>
                    <a:lnTo>
                      <a:pt x="201" y="20"/>
                    </a:lnTo>
                    <a:lnTo>
                      <a:pt x="202" y="18"/>
                    </a:lnTo>
                    <a:lnTo>
                      <a:pt x="203" y="16"/>
                    </a:lnTo>
                    <a:lnTo>
                      <a:pt x="204" y="14"/>
                    </a:lnTo>
                    <a:lnTo>
                      <a:pt x="206" y="13"/>
                    </a:lnTo>
                    <a:lnTo>
                      <a:pt x="207" y="10"/>
                    </a:lnTo>
                    <a:lnTo>
                      <a:pt x="208" y="9"/>
                    </a:lnTo>
                    <a:lnTo>
                      <a:pt x="209" y="7"/>
                    </a:lnTo>
                    <a:lnTo>
                      <a:pt x="210" y="5"/>
                    </a:lnTo>
                    <a:lnTo>
                      <a:pt x="212" y="3"/>
                    </a:lnTo>
                    <a:lnTo>
                      <a:pt x="213" y="1"/>
                    </a:lnTo>
                    <a:lnTo>
                      <a:pt x="214" y="1"/>
                    </a:lnTo>
                    <a:lnTo>
                      <a:pt x="215" y="0"/>
                    </a:lnTo>
                    <a:lnTo>
                      <a:pt x="216" y="0"/>
                    </a:lnTo>
                    <a:lnTo>
                      <a:pt x="218" y="1"/>
                    </a:lnTo>
                    <a:lnTo>
                      <a:pt x="219" y="1"/>
                    </a:lnTo>
                    <a:lnTo>
                      <a:pt x="219" y="2"/>
                    </a:lnTo>
                    <a:lnTo>
                      <a:pt x="220" y="2"/>
                    </a:lnTo>
                    <a:lnTo>
                      <a:pt x="222" y="2"/>
                    </a:lnTo>
                    <a:lnTo>
                      <a:pt x="223" y="2"/>
                    </a:lnTo>
                    <a:lnTo>
                      <a:pt x="225" y="2"/>
                    </a:lnTo>
                    <a:lnTo>
                      <a:pt x="226" y="2"/>
                    </a:lnTo>
                    <a:lnTo>
                      <a:pt x="225" y="3"/>
                    </a:lnTo>
                    <a:lnTo>
                      <a:pt x="225" y="4"/>
                    </a:lnTo>
                    <a:lnTo>
                      <a:pt x="223" y="3"/>
                    </a:lnTo>
                    <a:lnTo>
                      <a:pt x="222" y="3"/>
                    </a:lnTo>
                    <a:lnTo>
                      <a:pt x="221" y="3"/>
                    </a:lnTo>
                    <a:lnTo>
                      <a:pt x="220" y="3"/>
                    </a:lnTo>
                    <a:lnTo>
                      <a:pt x="219" y="4"/>
                    </a:lnTo>
                    <a:lnTo>
                      <a:pt x="218" y="5"/>
                    </a:lnTo>
                    <a:lnTo>
                      <a:pt x="217" y="6"/>
                    </a:lnTo>
                    <a:lnTo>
                      <a:pt x="215" y="9"/>
                    </a:lnTo>
                    <a:lnTo>
                      <a:pt x="214" y="9"/>
                    </a:lnTo>
                    <a:lnTo>
                      <a:pt x="214" y="10"/>
                    </a:lnTo>
                    <a:lnTo>
                      <a:pt x="215" y="10"/>
                    </a:lnTo>
                    <a:lnTo>
                      <a:pt x="216" y="10"/>
                    </a:lnTo>
                    <a:lnTo>
                      <a:pt x="216" y="9"/>
                    </a:lnTo>
                    <a:lnTo>
                      <a:pt x="216" y="8"/>
                    </a:lnTo>
                    <a:lnTo>
                      <a:pt x="217" y="8"/>
                    </a:lnTo>
                    <a:lnTo>
                      <a:pt x="217" y="7"/>
                    </a:lnTo>
                    <a:lnTo>
                      <a:pt x="218" y="7"/>
                    </a:lnTo>
                    <a:lnTo>
                      <a:pt x="219" y="7"/>
                    </a:lnTo>
                    <a:lnTo>
                      <a:pt x="220" y="6"/>
                    </a:lnTo>
                    <a:lnTo>
                      <a:pt x="221" y="6"/>
                    </a:lnTo>
                    <a:lnTo>
                      <a:pt x="221" y="5"/>
                    </a:lnTo>
                    <a:lnTo>
                      <a:pt x="222" y="5"/>
                    </a:lnTo>
                    <a:lnTo>
                      <a:pt x="222" y="6"/>
                    </a:lnTo>
                    <a:lnTo>
                      <a:pt x="222" y="7"/>
                    </a:lnTo>
                    <a:lnTo>
                      <a:pt x="220" y="8"/>
                    </a:lnTo>
                    <a:lnTo>
                      <a:pt x="219" y="9"/>
                    </a:lnTo>
                    <a:lnTo>
                      <a:pt x="219" y="10"/>
                    </a:lnTo>
                    <a:lnTo>
                      <a:pt x="219" y="11"/>
                    </a:lnTo>
                    <a:lnTo>
                      <a:pt x="219" y="13"/>
                    </a:lnTo>
                    <a:lnTo>
                      <a:pt x="220" y="13"/>
                    </a:lnTo>
                    <a:lnTo>
                      <a:pt x="220" y="14"/>
                    </a:lnTo>
                    <a:lnTo>
                      <a:pt x="220" y="15"/>
                    </a:lnTo>
                    <a:lnTo>
                      <a:pt x="221" y="15"/>
                    </a:lnTo>
                    <a:lnTo>
                      <a:pt x="221" y="16"/>
                    </a:lnTo>
                    <a:lnTo>
                      <a:pt x="220" y="17"/>
                    </a:lnTo>
                    <a:lnTo>
                      <a:pt x="220" y="18"/>
                    </a:lnTo>
                    <a:lnTo>
                      <a:pt x="221" y="18"/>
                    </a:lnTo>
                    <a:lnTo>
                      <a:pt x="222" y="18"/>
                    </a:lnTo>
                    <a:lnTo>
                      <a:pt x="223" y="18"/>
                    </a:lnTo>
                    <a:lnTo>
                      <a:pt x="227" y="16"/>
                    </a:lnTo>
                    <a:lnTo>
                      <a:pt x="228" y="16"/>
                    </a:lnTo>
                    <a:lnTo>
                      <a:pt x="229" y="17"/>
                    </a:lnTo>
                    <a:lnTo>
                      <a:pt x="228" y="17"/>
                    </a:lnTo>
                    <a:lnTo>
                      <a:pt x="227" y="19"/>
                    </a:lnTo>
                    <a:lnTo>
                      <a:pt x="226" y="19"/>
                    </a:lnTo>
                    <a:lnTo>
                      <a:pt x="226" y="20"/>
                    </a:lnTo>
                    <a:lnTo>
                      <a:pt x="226" y="21"/>
                    </a:lnTo>
                    <a:lnTo>
                      <a:pt x="225" y="22"/>
                    </a:lnTo>
                    <a:lnTo>
                      <a:pt x="223" y="22"/>
                    </a:lnTo>
                    <a:lnTo>
                      <a:pt x="223" y="23"/>
                    </a:lnTo>
                    <a:lnTo>
                      <a:pt x="223" y="24"/>
                    </a:lnTo>
                    <a:lnTo>
                      <a:pt x="223" y="26"/>
                    </a:lnTo>
                    <a:lnTo>
                      <a:pt x="223" y="27"/>
                    </a:lnTo>
                    <a:lnTo>
                      <a:pt x="225" y="27"/>
                    </a:lnTo>
                    <a:lnTo>
                      <a:pt x="226" y="27"/>
                    </a:lnTo>
                    <a:lnTo>
                      <a:pt x="226" y="26"/>
                    </a:lnTo>
                    <a:lnTo>
                      <a:pt x="227" y="26"/>
                    </a:lnTo>
                    <a:lnTo>
                      <a:pt x="227" y="24"/>
                    </a:lnTo>
                    <a:lnTo>
                      <a:pt x="228" y="23"/>
                    </a:lnTo>
                    <a:lnTo>
                      <a:pt x="229" y="23"/>
                    </a:lnTo>
                    <a:lnTo>
                      <a:pt x="233" y="21"/>
                    </a:lnTo>
                    <a:lnTo>
                      <a:pt x="234" y="20"/>
                    </a:lnTo>
                    <a:lnTo>
                      <a:pt x="235" y="19"/>
                    </a:lnTo>
                    <a:lnTo>
                      <a:pt x="235" y="18"/>
                    </a:lnTo>
                    <a:lnTo>
                      <a:pt x="235" y="17"/>
                    </a:lnTo>
                    <a:lnTo>
                      <a:pt x="235" y="16"/>
                    </a:lnTo>
                    <a:lnTo>
                      <a:pt x="233" y="16"/>
                    </a:lnTo>
                    <a:lnTo>
                      <a:pt x="231" y="16"/>
                    </a:lnTo>
                    <a:lnTo>
                      <a:pt x="229" y="15"/>
                    </a:lnTo>
                    <a:lnTo>
                      <a:pt x="228" y="14"/>
                    </a:lnTo>
                    <a:lnTo>
                      <a:pt x="228" y="13"/>
                    </a:lnTo>
                    <a:lnTo>
                      <a:pt x="228" y="11"/>
                    </a:lnTo>
                    <a:lnTo>
                      <a:pt x="228" y="10"/>
                    </a:lnTo>
                    <a:lnTo>
                      <a:pt x="228" y="9"/>
                    </a:lnTo>
                    <a:lnTo>
                      <a:pt x="229" y="8"/>
                    </a:lnTo>
                    <a:lnTo>
                      <a:pt x="230" y="7"/>
                    </a:lnTo>
                    <a:lnTo>
                      <a:pt x="231" y="7"/>
                    </a:lnTo>
                    <a:lnTo>
                      <a:pt x="232" y="7"/>
                    </a:lnTo>
                    <a:lnTo>
                      <a:pt x="233" y="7"/>
                    </a:lnTo>
                    <a:lnTo>
                      <a:pt x="234" y="7"/>
                    </a:lnTo>
                    <a:lnTo>
                      <a:pt x="234" y="8"/>
                    </a:lnTo>
                    <a:lnTo>
                      <a:pt x="234" y="9"/>
                    </a:lnTo>
                    <a:lnTo>
                      <a:pt x="235" y="10"/>
                    </a:lnTo>
                    <a:lnTo>
                      <a:pt x="236" y="13"/>
                    </a:lnTo>
                    <a:lnTo>
                      <a:pt x="238" y="14"/>
                    </a:lnTo>
                    <a:lnTo>
                      <a:pt x="239" y="15"/>
                    </a:lnTo>
                    <a:lnTo>
                      <a:pt x="240" y="16"/>
                    </a:lnTo>
                    <a:lnTo>
                      <a:pt x="241" y="16"/>
                    </a:lnTo>
                    <a:lnTo>
                      <a:pt x="242" y="16"/>
                    </a:lnTo>
                    <a:lnTo>
                      <a:pt x="243" y="16"/>
                    </a:lnTo>
                    <a:lnTo>
                      <a:pt x="244" y="16"/>
                    </a:lnTo>
                    <a:lnTo>
                      <a:pt x="245" y="16"/>
                    </a:lnTo>
                    <a:lnTo>
                      <a:pt x="245" y="15"/>
                    </a:lnTo>
                    <a:lnTo>
                      <a:pt x="246" y="15"/>
                    </a:lnTo>
                    <a:lnTo>
                      <a:pt x="246" y="14"/>
                    </a:lnTo>
                    <a:lnTo>
                      <a:pt x="247" y="14"/>
                    </a:lnTo>
                    <a:lnTo>
                      <a:pt x="247" y="13"/>
                    </a:lnTo>
                    <a:lnTo>
                      <a:pt x="248" y="11"/>
                    </a:lnTo>
                    <a:lnTo>
                      <a:pt x="248" y="10"/>
                    </a:lnTo>
                    <a:lnTo>
                      <a:pt x="249" y="10"/>
                    </a:lnTo>
                    <a:lnTo>
                      <a:pt x="251" y="10"/>
                    </a:lnTo>
                    <a:lnTo>
                      <a:pt x="252" y="10"/>
                    </a:lnTo>
                    <a:lnTo>
                      <a:pt x="252" y="11"/>
                    </a:lnTo>
                    <a:lnTo>
                      <a:pt x="253" y="11"/>
                    </a:lnTo>
                    <a:lnTo>
                      <a:pt x="255" y="13"/>
                    </a:lnTo>
                    <a:lnTo>
                      <a:pt x="256" y="13"/>
                    </a:lnTo>
                    <a:lnTo>
                      <a:pt x="257" y="14"/>
                    </a:lnTo>
                    <a:lnTo>
                      <a:pt x="258" y="14"/>
                    </a:lnTo>
                    <a:lnTo>
                      <a:pt x="260" y="13"/>
                    </a:lnTo>
                    <a:lnTo>
                      <a:pt x="260" y="11"/>
                    </a:lnTo>
                    <a:lnTo>
                      <a:pt x="261" y="11"/>
                    </a:lnTo>
                    <a:lnTo>
                      <a:pt x="262" y="11"/>
                    </a:lnTo>
                    <a:lnTo>
                      <a:pt x="264" y="11"/>
                    </a:lnTo>
                    <a:lnTo>
                      <a:pt x="265" y="11"/>
                    </a:lnTo>
                    <a:lnTo>
                      <a:pt x="266" y="10"/>
                    </a:lnTo>
                    <a:lnTo>
                      <a:pt x="266" y="11"/>
                    </a:lnTo>
                    <a:lnTo>
                      <a:pt x="267" y="10"/>
                    </a:lnTo>
                    <a:lnTo>
                      <a:pt x="268" y="10"/>
                    </a:lnTo>
                    <a:lnTo>
                      <a:pt x="268" y="9"/>
                    </a:lnTo>
                    <a:lnTo>
                      <a:pt x="269" y="9"/>
                    </a:lnTo>
                    <a:lnTo>
                      <a:pt x="268" y="9"/>
                    </a:lnTo>
                    <a:lnTo>
                      <a:pt x="269" y="9"/>
                    </a:lnTo>
                    <a:lnTo>
                      <a:pt x="268" y="8"/>
                    </a:lnTo>
                    <a:lnTo>
                      <a:pt x="269" y="8"/>
                    </a:lnTo>
                    <a:lnTo>
                      <a:pt x="270" y="8"/>
                    </a:lnTo>
                    <a:lnTo>
                      <a:pt x="270" y="9"/>
                    </a:lnTo>
                    <a:lnTo>
                      <a:pt x="272" y="11"/>
                    </a:lnTo>
                    <a:lnTo>
                      <a:pt x="272" y="13"/>
                    </a:lnTo>
                    <a:lnTo>
                      <a:pt x="272" y="15"/>
                    </a:lnTo>
                    <a:lnTo>
                      <a:pt x="272" y="16"/>
                    </a:lnTo>
                    <a:lnTo>
                      <a:pt x="272" y="17"/>
                    </a:lnTo>
                    <a:lnTo>
                      <a:pt x="272" y="18"/>
                    </a:lnTo>
                    <a:lnTo>
                      <a:pt x="272" y="19"/>
                    </a:lnTo>
                    <a:lnTo>
                      <a:pt x="273" y="21"/>
                    </a:lnTo>
                    <a:lnTo>
                      <a:pt x="273" y="22"/>
                    </a:lnTo>
                    <a:lnTo>
                      <a:pt x="273" y="23"/>
                    </a:lnTo>
                    <a:lnTo>
                      <a:pt x="273" y="24"/>
                    </a:lnTo>
                    <a:lnTo>
                      <a:pt x="274" y="24"/>
                    </a:lnTo>
                    <a:lnTo>
                      <a:pt x="274" y="26"/>
                    </a:lnTo>
                    <a:lnTo>
                      <a:pt x="274" y="27"/>
                    </a:lnTo>
                    <a:lnTo>
                      <a:pt x="275" y="27"/>
                    </a:lnTo>
                    <a:lnTo>
                      <a:pt x="275" y="28"/>
                    </a:lnTo>
                    <a:lnTo>
                      <a:pt x="275" y="29"/>
                    </a:lnTo>
                    <a:lnTo>
                      <a:pt x="277" y="30"/>
                    </a:lnTo>
                    <a:lnTo>
                      <a:pt x="277" y="31"/>
                    </a:lnTo>
                    <a:lnTo>
                      <a:pt x="278" y="31"/>
                    </a:lnTo>
                    <a:lnTo>
                      <a:pt x="278" y="32"/>
                    </a:lnTo>
                    <a:lnTo>
                      <a:pt x="278" y="33"/>
                    </a:lnTo>
                    <a:lnTo>
                      <a:pt x="280" y="34"/>
                    </a:lnTo>
                    <a:lnTo>
                      <a:pt x="281" y="35"/>
                    </a:lnTo>
                    <a:lnTo>
                      <a:pt x="282" y="35"/>
                    </a:lnTo>
                    <a:lnTo>
                      <a:pt x="283" y="35"/>
                    </a:lnTo>
                    <a:lnTo>
                      <a:pt x="283" y="36"/>
                    </a:lnTo>
                    <a:lnTo>
                      <a:pt x="284" y="37"/>
                    </a:lnTo>
                    <a:lnTo>
                      <a:pt x="285" y="40"/>
                    </a:lnTo>
                    <a:lnTo>
                      <a:pt x="286" y="40"/>
                    </a:lnTo>
                    <a:lnTo>
                      <a:pt x="286" y="42"/>
                    </a:lnTo>
                    <a:lnTo>
                      <a:pt x="286" y="43"/>
                    </a:lnTo>
                    <a:lnTo>
                      <a:pt x="287" y="43"/>
                    </a:lnTo>
                    <a:lnTo>
                      <a:pt x="288" y="43"/>
                    </a:lnTo>
                    <a:lnTo>
                      <a:pt x="290" y="44"/>
                    </a:lnTo>
                    <a:lnTo>
                      <a:pt x="292" y="45"/>
                    </a:lnTo>
                    <a:lnTo>
                      <a:pt x="294" y="46"/>
                    </a:lnTo>
                    <a:lnTo>
                      <a:pt x="295" y="46"/>
                    </a:lnTo>
                    <a:lnTo>
                      <a:pt x="296" y="44"/>
                    </a:lnTo>
                    <a:lnTo>
                      <a:pt x="296" y="43"/>
                    </a:lnTo>
                    <a:lnTo>
                      <a:pt x="296" y="42"/>
                    </a:lnTo>
                    <a:lnTo>
                      <a:pt x="297" y="42"/>
                    </a:lnTo>
                    <a:lnTo>
                      <a:pt x="297" y="41"/>
                    </a:lnTo>
                    <a:lnTo>
                      <a:pt x="299" y="41"/>
                    </a:lnTo>
                    <a:lnTo>
                      <a:pt x="300" y="40"/>
                    </a:lnTo>
                    <a:lnTo>
                      <a:pt x="301" y="40"/>
                    </a:lnTo>
                    <a:lnTo>
                      <a:pt x="303" y="41"/>
                    </a:lnTo>
                    <a:lnTo>
                      <a:pt x="304" y="41"/>
                    </a:lnTo>
                    <a:lnTo>
                      <a:pt x="306" y="43"/>
                    </a:lnTo>
                    <a:lnTo>
                      <a:pt x="307" y="43"/>
                    </a:lnTo>
                    <a:lnTo>
                      <a:pt x="307" y="44"/>
                    </a:lnTo>
                    <a:lnTo>
                      <a:pt x="308" y="44"/>
                    </a:lnTo>
                    <a:lnTo>
                      <a:pt x="308" y="45"/>
                    </a:lnTo>
                    <a:lnTo>
                      <a:pt x="309" y="45"/>
                    </a:lnTo>
                    <a:lnTo>
                      <a:pt x="309" y="46"/>
                    </a:lnTo>
                    <a:lnTo>
                      <a:pt x="310" y="48"/>
                    </a:lnTo>
                    <a:lnTo>
                      <a:pt x="310" y="49"/>
                    </a:lnTo>
                    <a:lnTo>
                      <a:pt x="310" y="51"/>
                    </a:lnTo>
                    <a:lnTo>
                      <a:pt x="310" y="52"/>
                    </a:lnTo>
                    <a:lnTo>
                      <a:pt x="309" y="52"/>
                    </a:lnTo>
                    <a:lnTo>
                      <a:pt x="309" y="53"/>
                    </a:lnTo>
                    <a:lnTo>
                      <a:pt x="308" y="53"/>
                    </a:lnTo>
                    <a:lnTo>
                      <a:pt x="308" y="54"/>
                    </a:lnTo>
                    <a:lnTo>
                      <a:pt x="307" y="54"/>
                    </a:lnTo>
                    <a:lnTo>
                      <a:pt x="306" y="53"/>
                    </a:lnTo>
                    <a:lnTo>
                      <a:pt x="305" y="53"/>
                    </a:lnTo>
                    <a:lnTo>
                      <a:pt x="304" y="54"/>
                    </a:lnTo>
                    <a:lnTo>
                      <a:pt x="303" y="55"/>
                    </a:lnTo>
                    <a:lnTo>
                      <a:pt x="301" y="55"/>
                    </a:lnTo>
                    <a:lnTo>
                      <a:pt x="301" y="56"/>
                    </a:lnTo>
                    <a:lnTo>
                      <a:pt x="300" y="56"/>
                    </a:lnTo>
                    <a:lnTo>
                      <a:pt x="300" y="57"/>
                    </a:lnTo>
                    <a:lnTo>
                      <a:pt x="300" y="58"/>
                    </a:lnTo>
                    <a:lnTo>
                      <a:pt x="300" y="60"/>
                    </a:lnTo>
                    <a:lnTo>
                      <a:pt x="300" y="61"/>
                    </a:lnTo>
                    <a:lnTo>
                      <a:pt x="300" y="62"/>
                    </a:lnTo>
                    <a:lnTo>
                      <a:pt x="301" y="62"/>
                    </a:lnTo>
                    <a:lnTo>
                      <a:pt x="301" y="65"/>
                    </a:lnTo>
                    <a:lnTo>
                      <a:pt x="301" y="66"/>
                    </a:lnTo>
                    <a:lnTo>
                      <a:pt x="301" y="67"/>
                    </a:lnTo>
                    <a:lnTo>
                      <a:pt x="303" y="67"/>
                    </a:lnTo>
                    <a:lnTo>
                      <a:pt x="303" y="68"/>
                    </a:lnTo>
                    <a:lnTo>
                      <a:pt x="303" y="69"/>
                    </a:lnTo>
                    <a:lnTo>
                      <a:pt x="303" y="71"/>
                    </a:lnTo>
                    <a:lnTo>
                      <a:pt x="303" y="72"/>
                    </a:lnTo>
                    <a:lnTo>
                      <a:pt x="301" y="72"/>
                    </a:lnTo>
                    <a:lnTo>
                      <a:pt x="301" y="73"/>
                    </a:lnTo>
                    <a:lnTo>
                      <a:pt x="300" y="73"/>
                    </a:lnTo>
                    <a:lnTo>
                      <a:pt x="300" y="74"/>
                    </a:lnTo>
                    <a:lnTo>
                      <a:pt x="300" y="75"/>
                    </a:lnTo>
                    <a:lnTo>
                      <a:pt x="300" y="77"/>
                    </a:lnTo>
                    <a:lnTo>
                      <a:pt x="299" y="77"/>
                    </a:lnTo>
                    <a:lnTo>
                      <a:pt x="299" y="78"/>
                    </a:lnTo>
                    <a:lnTo>
                      <a:pt x="299" y="79"/>
                    </a:lnTo>
                    <a:lnTo>
                      <a:pt x="298" y="79"/>
                    </a:lnTo>
                    <a:lnTo>
                      <a:pt x="297" y="80"/>
                    </a:lnTo>
                    <a:lnTo>
                      <a:pt x="297" y="81"/>
                    </a:lnTo>
                    <a:lnTo>
                      <a:pt x="297" y="82"/>
                    </a:lnTo>
                    <a:lnTo>
                      <a:pt x="296" y="82"/>
                    </a:lnTo>
                    <a:lnTo>
                      <a:pt x="296" y="83"/>
                    </a:lnTo>
                    <a:lnTo>
                      <a:pt x="296" y="84"/>
                    </a:lnTo>
                    <a:lnTo>
                      <a:pt x="297" y="91"/>
                    </a:lnTo>
                    <a:lnTo>
                      <a:pt x="297" y="97"/>
                    </a:lnTo>
                    <a:lnTo>
                      <a:pt x="298" y="100"/>
                    </a:lnTo>
                    <a:lnTo>
                      <a:pt x="300" y="101"/>
                    </a:lnTo>
                    <a:lnTo>
                      <a:pt x="301" y="103"/>
                    </a:lnTo>
                    <a:lnTo>
                      <a:pt x="301" y="104"/>
                    </a:lnTo>
                    <a:lnTo>
                      <a:pt x="301" y="105"/>
                    </a:lnTo>
                    <a:lnTo>
                      <a:pt x="301" y="106"/>
                    </a:lnTo>
                    <a:lnTo>
                      <a:pt x="301" y="107"/>
                    </a:lnTo>
                    <a:lnTo>
                      <a:pt x="300" y="108"/>
                    </a:lnTo>
                    <a:lnTo>
                      <a:pt x="299" y="109"/>
                    </a:lnTo>
                    <a:lnTo>
                      <a:pt x="299" y="110"/>
                    </a:lnTo>
                    <a:lnTo>
                      <a:pt x="299" y="111"/>
                    </a:lnTo>
                    <a:lnTo>
                      <a:pt x="299" y="112"/>
                    </a:lnTo>
                    <a:lnTo>
                      <a:pt x="299" y="114"/>
                    </a:lnTo>
                    <a:lnTo>
                      <a:pt x="300" y="116"/>
                    </a:lnTo>
                    <a:lnTo>
                      <a:pt x="300" y="117"/>
                    </a:lnTo>
                    <a:lnTo>
                      <a:pt x="300" y="118"/>
                    </a:lnTo>
                    <a:lnTo>
                      <a:pt x="301" y="119"/>
                    </a:lnTo>
                    <a:lnTo>
                      <a:pt x="303" y="120"/>
                    </a:lnTo>
                    <a:lnTo>
                      <a:pt x="301" y="121"/>
                    </a:lnTo>
                    <a:lnTo>
                      <a:pt x="301" y="122"/>
                    </a:lnTo>
                    <a:lnTo>
                      <a:pt x="303" y="122"/>
                    </a:lnTo>
                    <a:lnTo>
                      <a:pt x="303" y="123"/>
                    </a:lnTo>
                    <a:lnTo>
                      <a:pt x="303" y="125"/>
                    </a:lnTo>
                    <a:lnTo>
                      <a:pt x="303" y="126"/>
                    </a:lnTo>
                    <a:lnTo>
                      <a:pt x="303" y="127"/>
                    </a:lnTo>
                    <a:lnTo>
                      <a:pt x="304" y="129"/>
                    </a:lnTo>
                    <a:lnTo>
                      <a:pt x="304" y="130"/>
                    </a:lnTo>
                    <a:lnTo>
                      <a:pt x="305" y="130"/>
                    </a:lnTo>
                    <a:lnTo>
                      <a:pt x="305" y="131"/>
                    </a:lnTo>
                    <a:lnTo>
                      <a:pt x="305" y="132"/>
                    </a:lnTo>
                    <a:lnTo>
                      <a:pt x="306" y="132"/>
                    </a:lnTo>
                    <a:lnTo>
                      <a:pt x="306" y="133"/>
                    </a:lnTo>
                    <a:lnTo>
                      <a:pt x="307" y="133"/>
                    </a:lnTo>
                    <a:lnTo>
                      <a:pt x="308" y="134"/>
                    </a:lnTo>
                    <a:lnTo>
                      <a:pt x="310" y="135"/>
                    </a:lnTo>
                    <a:lnTo>
                      <a:pt x="311" y="136"/>
                    </a:lnTo>
                    <a:lnTo>
                      <a:pt x="311" y="137"/>
                    </a:lnTo>
                    <a:lnTo>
                      <a:pt x="310" y="137"/>
                    </a:lnTo>
                    <a:lnTo>
                      <a:pt x="310" y="138"/>
                    </a:lnTo>
                    <a:lnTo>
                      <a:pt x="311" y="139"/>
                    </a:lnTo>
                    <a:lnTo>
                      <a:pt x="311" y="141"/>
                    </a:lnTo>
                    <a:lnTo>
                      <a:pt x="312" y="141"/>
                    </a:lnTo>
                    <a:lnTo>
                      <a:pt x="312" y="142"/>
                    </a:lnTo>
                    <a:lnTo>
                      <a:pt x="313" y="142"/>
                    </a:lnTo>
                    <a:lnTo>
                      <a:pt x="313" y="147"/>
                    </a:lnTo>
                    <a:lnTo>
                      <a:pt x="313" y="148"/>
                    </a:lnTo>
                    <a:lnTo>
                      <a:pt x="313" y="149"/>
                    </a:lnTo>
                    <a:lnTo>
                      <a:pt x="313" y="150"/>
                    </a:lnTo>
                    <a:lnTo>
                      <a:pt x="313" y="151"/>
                    </a:lnTo>
                    <a:lnTo>
                      <a:pt x="312" y="151"/>
                    </a:lnTo>
                    <a:lnTo>
                      <a:pt x="312" y="152"/>
                    </a:lnTo>
                    <a:lnTo>
                      <a:pt x="311" y="152"/>
                    </a:lnTo>
                    <a:lnTo>
                      <a:pt x="311" y="154"/>
                    </a:lnTo>
                    <a:lnTo>
                      <a:pt x="308" y="158"/>
                    </a:lnTo>
                    <a:close/>
                  </a:path>
                </a:pathLst>
              </a:custGeom>
              <a:solidFill>
                <a:srgbClr val="97C7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5" name="Freeform 323">
                <a:extLst>
                  <a:ext uri="{FF2B5EF4-FFF2-40B4-BE49-F238E27FC236}">
                    <a16:creationId xmlns:a16="http://schemas.microsoft.com/office/drawing/2014/main" id="{C76FEE65-503B-13C2-8DA3-AAFB11186079}"/>
                  </a:ext>
                </a:extLst>
              </p:cNvPr>
              <p:cNvSpPr>
                <a:spLocks/>
              </p:cNvSpPr>
              <p:nvPr/>
            </p:nvSpPr>
            <p:spPr bwMode="auto">
              <a:xfrm>
                <a:off x="2274888" y="1427163"/>
                <a:ext cx="452438" cy="355600"/>
              </a:xfrm>
              <a:custGeom>
                <a:avLst/>
                <a:gdLst>
                  <a:gd name="T0" fmla="*/ 285 w 285"/>
                  <a:gd name="T1" fmla="*/ 178 h 224"/>
                  <a:gd name="T2" fmla="*/ 221 w 285"/>
                  <a:gd name="T3" fmla="*/ 192 h 224"/>
                  <a:gd name="T4" fmla="*/ 202 w 285"/>
                  <a:gd name="T5" fmla="*/ 192 h 224"/>
                  <a:gd name="T6" fmla="*/ 167 w 285"/>
                  <a:gd name="T7" fmla="*/ 192 h 224"/>
                  <a:gd name="T8" fmla="*/ 158 w 285"/>
                  <a:gd name="T9" fmla="*/ 209 h 224"/>
                  <a:gd name="T10" fmla="*/ 158 w 285"/>
                  <a:gd name="T11" fmla="*/ 223 h 224"/>
                  <a:gd name="T12" fmla="*/ 81 w 285"/>
                  <a:gd name="T13" fmla="*/ 224 h 224"/>
                  <a:gd name="T14" fmla="*/ 12 w 285"/>
                  <a:gd name="T15" fmla="*/ 223 h 224"/>
                  <a:gd name="T16" fmla="*/ 1 w 285"/>
                  <a:gd name="T17" fmla="*/ 208 h 224"/>
                  <a:gd name="T18" fmla="*/ 1 w 285"/>
                  <a:gd name="T19" fmla="*/ 159 h 224"/>
                  <a:gd name="T20" fmla="*/ 0 w 285"/>
                  <a:gd name="T21" fmla="*/ 128 h 224"/>
                  <a:gd name="T22" fmla="*/ 0 w 285"/>
                  <a:gd name="T23" fmla="*/ 118 h 224"/>
                  <a:gd name="T24" fmla="*/ 5 w 285"/>
                  <a:gd name="T25" fmla="*/ 115 h 224"/>
                  <a:gd name="T26" fmla="*/ 9 w 285"/>
                  <a:gd name="T27" fmla="*/ 111 h 224"/>
                  <a:gd name="T28" fmla="*/ 10 w 285"/>
                  <a:gd name="T29" fmla="*/ 105 h 224"/>
                  <a:gd name="T30" fmla="*/ 11 w 285"/>
                  <a:gd name="T31" fmla="*/ 99 h 224"/>
                  <a:gd name="T32" fmla="*/ 12 w 285"/>
                  <a:gd name="T33" fmla="*/ 95 h 224"/>
                  <a:gd name="T34" fmla="*/ 12 w 285"/>
                  <a:gd name="T35" fmla="*/ 90 h 224"/>
                  <a:gd name="T36" fmla="*/ 12 w 285"/>
                  <a:gd name="T37" fmla="*/ 88 h 224"/>
                  <a:gd name="T38" fmla="*/ 11 w 285"/>
                  <a:gd name="T39" fmla="*/ 85 h 224"/>
                  <a:gd name="T40" fmla="*/ 11 w 285"/>
                  <a:gd name="T41" fmla="*/ 80 h 224"/>
                  <a:gd name="T42" fmla="*/ 10 w 285"/>
                  <a:gd name="T43" fmla="*/ 79 h 224"/>
                  <a:gd name="T44" fmla="*/ 10 w 285"/>
                  <a:gd name="T45" fmla="*/ 74 h 224"/>
                  <a:gd name="T46" fmla="*/ 10 w 285"/>
                  <a:gd name="T47" fmla="*/ 68 h 224"/>
                  <a:gd name="T48" fmla="*/ 9 w 285"/>
                  <a:gd name="T49" fmla="*/ 64 h 224"/>
                  <a:gd name="T50" fmla="*/ 10 w 285"/>
                  <a:gd name="T51" fmla="*/ 59 h 224"/>
                  <a:gd name="T52" fmla="*/ 10 w 285"/>
                  <a:gd name="T53" fmla="*/ 54 h 224"/>
                  <a:gd name="T54" fmla="*/ 14 w 285"/>
                  <a:gd name="T55" fmla="*/ 50 h 224"/>
                  <a:gd name="T56" fmla="*/ 18 w 285"/>
                  <a:gd name="T57" fmla="*/ 48 h 224"/>
                  <a:gd name="T58" fmla="*/ 21 w 285"/>
                  <a:gd name="T59" fmla="*/ 45 h 224"/>
                  <a:gd name="T60" fmla="*/ 23 w 285"/>
                  <a:gd name="T61" fmla="*/ 42 h 224"/>
                  <a:gd name="T62" fmla="*/ 25 w 285"/>
                  <a:gd name="T63" fmla="*/ 37 h 224"/>
                  <a:gd name="T64" fmla="*/ 30 w 285"/>
                  <a:gd name="T65" fmla="*/ 35 h 224"/>
                  <a:gd name="T66" fmla="*/ 33 w 285"/>
                  <a:gd name="T67" fmla="*/ 21 h 224"/>
                  <a:gd name="T68" fmla="*/ 80 w 285"/>
                  <a:gd name="T69" fmla="*/ 0 h 224"/>
                  <a:gd name="T70" fmla="*/ 151 w 285"/>
                  <a:gd name="T71" fmla="*/ 2 h 224"/>
                  <a:gd name="T72" fmla="*/ 155 w 285"/>
                  <a:gd name="T73" fmla="*/ 2 h 224"/>
                  <a:gd name="T74" fmla="*/ 159 w 285"/>
                  <a:gd name="T75" fmla="*/ 4 h 224"/>
                  <a:gd name="T76" fmla="*/ 165 w 285"/>
                  <a:gd name="T77" fmla="*/ 6 h 224"/>
                  <a:gd name="T78" fmla="*/ 170 w 285"/>
                  <a:gd name="T79" fmla="*/ 5 h 224"/>
                  <a:gd name="T80" fmla="*/ 175 w 285"/>
                  <a:gd name="T81" fmla="*/ 5 h 224"/>
                  <a:gd name="T82" fmla="*/ 179 w 285"/>
                  <a:gd name="T83" fmla="*/ 8 h 224"/>
                  <a:gd name="T84" fmla="*/ 184 w 285"/>
                  <a:gd name="T85" fmla="*/ 10 h 224"/>
                  <a:gd name="T86" fmla="*/ 190 w 285"/>
                  <a:gd name="T87" fmla="*/ 9 h 224"/>
                  <a:gd name="T88" fmla="*/ 192 w 285"/>
                  <a:gd name="T89" fmla="*/ 13 h 224"/>
                  <a:gd name="T90" fmla="*/ 196 w 285"/>
                  <a:gd name="T91" fmla="*/ 17 h 224"/>
                  <a:gd name="T92" fmla="*/ 200 w 285"/>
                  <a:gd name="T93" fmla="*/ 20 h 224"/>
                  <a:gd name="T94" fmla="*/ 203 w 285"/>
                  <a:gd name="T95" fmla="*/ 26 h 224"/>
                  <a:gd name="T96" fmla="*/ 204 w 285"/>
                  <a:gd name="T97" fmla="*/ 30 h 224"/>
                  <a:gd name="T98" fmla="*/ 208 w 285"/>
                  <a:gd name="T99" fmla="*/ 32 h 224"/>
                  <a:gd name="T100" fmla="*/ 210 w 285"/>
                  <a:gd name="T101" fmla="*/ 31 h 224"/>
                  <a:gd name="T102" fmla="*/ 215 w 285"/>
                  <a:gd name="T103" fmla="*/ 30 h 224"/>
                  <a:gd name="T104" fmla="*/ 222 w 285"/>
                  <a:gd name="T105" fmla="*/ 39 h 224"/>
                  <a:gd name="T106" fmla="*/ 242 w 285"/>
                  <a:gd name="T107" fmla="*/ 65 h 224"/>
                  <a:gd name="T108" fmla="*/ 285 w 285"/>
                  <a:gd name="T109" fmla="*/ 9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5" h="224">
                    <a:moveTo>
                      <a:pt x="285" y="129"/>
                    </a:moveTo>
                    <a:lnTo>
                      <a:pt x="285" y="150"/>
                    </a:lnTo>
                    <a:lnTo>
                      <a:pt x="285" y="155"/>
                    </a:lnTo>
                    <a:lnTo>
                      <a:pt x="285" y="165"/>
                    </a:lnTo>
                    <a:lnTo>
                      <a:pt x="285" y="174"/>
                    </a:lnTo>
                    <a:lnTo>
                      <a:pt x="285" y="178"/>
                    </a:lnTo>
                    <a:lnTo>
                      <a:pt x="285" y="185"/>
                    </a:lnTo>
                    <a:lnTo>
                      <a:pt x="285" y="193"/>
                    </a:lnTo>
                    <a:lnTo>
                      <a:pt x="249" y="193"/>
                    </a:lnTo>
                    <a:lnTo>
                      <a:pt x="239" y="193"/>
                    </a:lnTo>
                    <a:lnTo>
                      <a:pt x="232" y="193"/>
                    </a:lnTo>
                    <a:lnTo>
                      <a:pt x="221" y="192"/>
                    </a:lnTo>
                    <a:lnTo>
                      <a:pt x="214" y="192"/>
                    </a:lnTo>
                    <a:lnTo>
                      <a:pt x="213" y="192"/>
                    </a:lnTo>
                    <a:lnTo>
                      <a:pt x="207" y="192"/>
                    </a:lnTo>
                    <a:lnTo>
                      <a:pt x="204" y="192"/>
                    </a:lnTo>
                    <a:lnTo>
                      <a:pt x="203" y="192"/>
                    </a:lnTo>
                    <a:lnTo>
                      <a:pt x="202" y="192"/>
                    </a:lnTo>
                    <a:lnTo>
                      <a:pt x="198" y="192"/>
                    </a:lnTo>
                    <a:lnTo>
                      <a:pt x="195" y="192"/>
                    </a:lnTo>
                    <a:lnTo>
                      <a:pt x="193" y="192"/>
                    </a:lnTo>
                    <a:lnTo>
                      <a:pt x="184" y="192"/>
                    </a:lnTo>
                    <a:lnTo>
                      <a:pt x="181" y="192"/>
                    </a:lnTo>
                    <a:lnTo>
                      <a:pt x="167" y="192"/>
                    </a:lnTo>
                    <a:lnTo>
                      <a:pt x="163" y="192"/>
                    </a:lnTo>
                    <a:lnTo>
                      <a:pt x="158" y="192"/>
                    </a:lnTo>
                    <a:lnTo>
                      <a:pt x="158" y="202"/>
                    </a:lnTo>
                    <a:lnTo>
                      <a:pt x="158" y="204"/>
                    </a:lnTo>
                    <a:lnTo>
                      <a:pt x="158" y="208"/>
                    </a:lnTo>
                    <a:lnTo>
                      <a:pt x="158" y="209"/>
                    </a:lnTo>
                    <a:lnTo>
                      <a:pt x="158" y="210"/>
                    </a:lnTo>
                    <a:lnTo>
                      <a:pt x="158" y="212"/>
                    </a:lnTo>
                    <a:lnTo>
                      <a:pt x="158" y="214"/>
                    </a:lnTo>
                    <a:lnTo>
                      <a:pt x="158" y="215"/>
                    </a:lnTo>
                    <a:lnTo>
                      <a:pt x="158" y="219"/>
                    </a:lnTo>
                    <a:lnTo>
                      <a:pt x="158" y="223"/>
                    </a:lnTo>
                    <a:lnTo>
                      <a:pt x="158" y="224"/>
                    </a:lnTo>
                    <a:lnTo>
                      <a:pt x="157" y="224"/>
                    </a:lnTo>
                    <a:lnTo>
                      <a:pt x="147" y="224"/>
                    </a:lnTo>
                    <a:lnTo>
                      <a:pt x="138" y="224"/>
                    </a:lnTo>
                    <a:lnTo>
                      <a:pt x="120" y="224"/>
                    </a:lnTo>
                    <a:lnTo>
                      <a:pt x="81" y="224"/>
                    </a:lnTo>
                    <a:lnTo>
                      <a:pt x="80" y="224"/>
                    </a:lnTo>
                    <a:lnTo>
                      <a:pt x="67" y="224"/>
                    </a:lnTo>
                    <a:lnTo>
                      <a:pt x="64" y="224"/>
                    </a:lnTo>
                    <a:lnTo>
                      <a:pt x="55" y="224"/>
                    </a:lnTo>
                    <a:lnTo>
                      <a:pt x="47" y="224"/>
                    </a:lnTo>
                    <a:lnTo>
                      <a:pt x="12" y="223"/>
                    </a:lnTo>
                    <a:lnTo>
                      <a:pt x="8" y="223"/>
                    </a:lnTo>
                    <a:lnTo>
                      <a:pt x="3" y="223"/>
                    </a:lnTo>
                    <a:lnTo>
                      <a:pt x="1" y="223"/>
                    </a:lnTo>
                    <a:lnTo>
                      <a:pt x="1" y="216"/>
                    </a:lnTo>
                    <a:lnTo>
                      <a:pt x="1" y="213"/>
                    </a:lnTo>
                    <a:lnTo>
                      <a:pt x="1" y="208"/>
                    </a:lnTo>
                    <a:lnTo>
                      <a:pt x="1" y="202"/>
                    </a:lnTo>
                    <a:lnTo>
                      <a:pt x="1" y="190"/>
                    </a:lnTo>
                    <a:lnTo>
                      <a:pt x="1" y="183"/>
                    </a:lnTo>
                    <a:lnTo>
                      <a:pt x="1" y="173"/>
                    </a:lnTo>
                    <a:lnTo>
                      <a:pt x="1" y="172"/>
                    </a:lnTo>
                    <a:lnTo>
                      <a:pt x="1" y="159"/>
                    </a:lnTo>
                    <a:lnTo>
                      <a:pt x="0" y="153"/>
                    </a:lnTo>
                    <a:lnTo>
                      <a:pt x="0" y="151"/>
                    </a:lnTo>
                    <a:lnTo>
                      <a:pt x="1" y="150"/>
                    </a:lnTo>
                    <a:lnTo>
                      <a:pt x="0" y="150"/>
                    </a:lnTo>
                    <a:lnTo>
                      <a:pt x="0" y="148"/>
                    </a:lnTo>
                    <a:lnTo>
                      <a:pt x="0" y="128"/>
                    </a:lnTo>
                    <a:lnTo>
                      <a:pt x="0" y="126"/>
                    </a:lnTo>
                    <a:lnTo>
                      <a:pt x="0" y="125"/>
                    </a:lnTo>
                    <a:lnTo>
                      <a:pt x="0" y="124"/>
                    </a:lnTo>
                    <a:lnTo>
                      <a:pt x="0" y="123"/>
                    </a:lnTo>
                    <a:lnTo>
                      <a:pt x="0" y="121"/>
                    </a:lnTo>
                    <a:lnTo>
                      <a:pt x="0" y="118"/>
                    </a:lnTo>
                    <a:lnTo>
                      <a:pt x="1" y="116"/>
                    </a:lnTo>
                    <a:lnTo>
                      <a:pt x="2" y="116"/>
                    </a:lnTo>
                    <a:lnTo>
                      <a:pt x="3" y="116"/>
                    </a:lnTo>
                    <a:lnTo>
                      <a:pt x="3" y="115"/>
                    </a:lnTo>
                    <a:lnTo>
                      <a:pt x="4" y="115"/>
                    </a:lnTo>
                    <a:lnTo>
                      <a:pt x="5" y="115"/>
                    </a:lnTo>
                    <a:lnTo>
                      <a:pt x="5" y="114"/>
                    </a:lnTo>
                    <a:lnTo>
                      <a:pt x="7" y="114"/>
                    </a:lnTo>
                    <a:lnTo>
                      <a:pt x="7" y="113"/>
                    </a:lnTo>
                    <a:lnTo>
                      <a:pt x="8" y="112"/>
                    </a:lnTo>
                    <a:lnTo>
                      <a:pt x="9" y="112"/>
                    </a:lnTo>
                    <a:lnTo>
                      <a:pt x="9" y="111"/>
                    </a:lnTo>
                    <a:lnTo>
                      <a:pt x="9" y="110"/>
                    </a:lnTo>
                    <a:lnTo>
                      <a:pt x="10" y="109"/>
                    </a:lnTo>
                    <a:lnTo>
                      <a:pt x="10" y="108"/>
                    </a:lnTo>
                    <a:lnTo>
                      <a:pt x="10" y="107"/>
                    </a:lnTo>
                    <a:lnTo>
                      <a:pt x="10" y="106"/>
                    </a:lnTo>
                    <a:lnTo>
                      <a:pt x="10" y="105"/>
                    </a:lnTo>
                    <a:lnTo>
                      <a:pt x="11" y="105"/>
                    </a:lnTo>
                    <a:lnTo>
                      <a:pt x="11" y="103"/>
                    </a:lnTo>
                    <a:lnTo>
                      <a:pt x="11" y="102"/>
                    </a:lnTo>
                    <a:lnTo>
                      <a:pt x="11" y="101"/>
                    </a:lnTo>
                    <a:lnTo>
                      <a:pt x="11" y="100"/>
                    </a:lnTo>
                    <a:lnTo>
                      <a:pt x="11" y="99"/>
                    </a:lnTo>
                    <a:lnTo>
                      <a:pt x="12" y="99"/>
                    </a:lnTo>
                    <a:lnTo>
                      <a:pt x="11" y="98"/>
                    </a:lnTo>
                    <a:lnTo>
                      <a:pt x="11" y="97"/>
                    </a:lnTo>
                    <a:lnTo>
                      <a:pt x="12" y="97"/>
                    </a:lnTo>
                    <a:lnTo>
                      <a:pt x="12" y="96"/>
                    </a:lnTo>
                    <a:lnTo>
                      <a:pt x="12" y="95"/>
                    </a:lnTo>
                    <a:lnTo>
                      <a:pt x="13" y="95"/>
                    </a:lnTo>
                    <a:lnTo>
                      <a:pt x="13" y="94"/>
                    </a:lnTo>
                    <a:lnTo>
                      <a:pt x="12" y="94"/>
                    </a:lnTo>
                    <a:lnTo>
                      <a:pt x="12" y="93"/>
                    </a:lnTo>
                    <a:lnTo>
                      <a:pt x="12" y="92"/>
                    </a:lnTo>
                    <a:lnTo>
                      <a:pt x="12" y="90"/>
                    </a:lnTo>
                    <a:lnTo>
                      <a:pt x="13" y="90"/>
                    </a:lnTo>
                    <a:lnTo>
                      <a:pt x="13" y="89"/>
                    </a:lnTo>
                    <a:lnTo>
                      <a:pt x="12" y="89"/>
                    </a:lnTo>
                    <a:lnTo>
                      <a:pt x="13" y="89"/>
                    </a:lnTo>
                    <a:lnTo>
                      <a:pt x="13" y="88"/>
                    </a:lnTo>
                    <a:lnTo>
                      <a:pt x="12" y="88"/>
                    </a:lnTo>
                    <a:lnTo>
                      <a:pt x="12" y="87"/>
                    </a:lnTo>
                    <a:lnTo>
                      <a:pt x="13" y="87"/>
                    </a:lnTo>
                    <a:lnTo>
                      <a:pt x="12" y="87"/>
                    </a:lnTo>
                    <a:lnTo>
                      <a:pt x="12" y="86"/>
                    </a:lnTo>
                    <a:lnTo>
                      <a:pt x="12" y="85"/>
                    </a:lnTo>
                    <a:lnTo>
                      <a:pt x="11" y="85"/>
                    </a:lnTo>
                    <a:lnTo>
                      <a:pt x="12" y="85"/>
                    </a:lnTo>
                    <a:lnTo>
                      <a:pt x="11" y="84"/>
                    </a:lnTo>
                    <a:lnTo>
                      <a:pt x="11" y="83"/>
                    </a:lnTo>
                    <a:lnTo>
                      <a:pt x="11" y="82"/>
                    </a:lnTo>
                    <a:lnTo>
                      <a:pt x="11" y="81"/>
                    </a:lnTo>
                    <a:lnTo>
                      <a:pt x="11" y="80"/>
                    </a:lnTo>
                    <a:lnTo>
                      <a:pt x="10" y="80"/>
                    </a:lnTo>
                    <a:lnTo>
                      <a:pt x="10" y="79"/>
                    </a:lnTo>
                    <a:lnTo>
                      <a:pt x="10" y="80"/>
                    </a:lnTo>
                    <a:lnTo>
                      <a:pt x="9" y="80"/>
                    </a:lnTo>
                    <a:lnTo>
                      <a:pt x="9" y="79"/>
                    </a:lnTo>
                    <a:lnTo>
                      <a:pt x="10" y="79"/>
                    </a:lnTo>
                    <a:lnTo>
                      <a:pt x="10" y="77"/>
                    </a:lnTo>
                    <a:lnTo>
                      <a:pt x="10" y="76"/>
                    </a:lnTo>
                    <a:lnTo>
                      <a:pt x="9" y="76"/>
                    </a:lnTo>
                    <a:lnTo>
                      <a:pt x="9" y="75"/>
                    </a:lnTo>
                    <a:lnTo>
                      <a:pt x="10" y="75"/>
                    </a:lnTo>
                    <a:lnTo>
                      <a:pt x="10" y="74"/>
                    </a:lnTo>
                    <a:lnTo>
                      <a:pt x="10" y="73"/>
                    </a:lnTo>
                    <a:lnTo>
                      <a:pt x="10" y="72"/>
                    </a:lnTo>
                    <a:lnTo>
                      <a:pt x="10" y="71"/>
                    </a:lnTo>
                    <a:lnTo>
                      <a:pt x="10" y="70"/>
                    </a:lnTo>
                    <a:lnTo>
                      <a:pt x="10" y="69"/>
                    </a:lnTo>
                    <a:lnTo>
                      <a:pt x="10" y="68"/>
                    </a:lnTo>
                    <a:lnTo>
                      <a:pt x="9" y="68"/>
                    </a:lnTo>
                    <a:lnTo>
                      <a:pt x="9" y="67"/>
                    </a:lnTo>
                    <a:lnTo>
                      <a:pt x="8" y="67"/>
                    </a:lnTo>
                    <a:lnTo>
                      <a:pt x="9" y="67"/>
                    </a:lnTo>
                    <a:lnTo>
                      <a:pt x="9" y="65"/>
                    </a:lnTo>
                    <a:lnTo>
                      <a:pt x="9" y="64"/>
                    </a:lnTo>
                    <a:lnTo>
                      <a:pt x="9" y="63"/>
                    </a:lnTo>
                    <a:lnTo>
                      <a:pt x="9" y="62"/>
                    </a:lnTo>
                    <a:lnTo>
                      <a:pt x="10" y="61"/>
                    </a:lnTo>
                    <a:lnTo>
                      <a:pt x="9" y="61"/>
                    </a:lnTo>
                    <a:lnTo>
                      <a:pt x="10" y="60"/>
                    </a:lnTo>
                    <a:lnTo>
                      <a:pt x="10" y="59"/>
                    </a:lnTo>
                    <a:lnTo>
                      <a:pt x="11" y="58"/>
                    </a:lnTo>
                    <a:lnTo>
                      <a:pt x="11" y="57"/>
                    </a:lnTo>
                    <a:lnTo>
                      <a:pt x="11" y="56"/>
                    </a:lnTo>
                    <a:lnTo>
                      <a:pt x="11" y="55"/>
                    </a:lnTo>
                    <a:lnTo>
                      <a:pt x="11" y="54"/>
                    </a:lnTo>
                    <a:lnTo>
                      <a:pt x="10" y="54"/>
                    </a:lnTo>
                    <a:lnTo>
                      <a:pt x="11" y="54"/>
                    </a:lnTo>
                    <a:lnTo>
                      <a:pt x="11" y="52"/>
                    </a:lnTo>
                    <a:lnTo>
                      <a:pt x="12" y="52"/>
                    </a:lnTo>
                    <a:lnTo>
                      <a:pt x="14" y="52"/>
                    </a:lnTo>
                    <a:lnTo>
                      <a:pt x="14" y="51"/>
                    </a:lnTo>
                    <a:lnTo>
                      <a:pt x="14" y="50"/>
                    </a:lnTo>
                    <a:lnTo>
                      <a:pt x="15" y="51"/>
                    </a:lnTo>
                    <a:lnTo>
                      <a:pt x="16" y="51"/>
                    </a:lnTo>
                    <a:lnTo>
                      <a:pt x="17" y="51"/>
                    </a:lnTo>
                    <a:lnTo>
                      <a:pt x="17" y="50"/>
                    </a:lnTo>
                    <a:lnTo>
                      <a:pt x="18" y="49"/>
                    </a:lnTo>
                    <a:lnTo>
                      <a:pt x="18" y="48"/>
                    </a:lnTo>
                    <a:lnTo>
                      <a:pt x="17" y="48"/>
                    </a:lnTo>
                    <a:lnTo>
                      <a:pt x="18" y="47"/>
                    </a:lnTo>
                    <a:lnTo>
                      <a:pt x="18" y="46"/>
                    </a:lnTo>
                    <a:lnTo>
                      <a:pt x="20" y="46"/>
                    </a:lnTo>
                    <a:lnTo>
                      <a:pt x="21" y="46"/>
                    </a:lnTo>
                    <a:lnTo>
                      <a:pt x="21" y="45"/>
                    </a:lnTo>
                    <a:lnTo>
                      <a:pt x="21" y="44"/>
                    </a:lnTo>
                    <a:lnTo>
                      <a:pt x="22" y="45"/>
                    </a:lnTo>
                    <a:lnTo>
                      <a:pt x="22" y="44"/>
                    </a:lnTo>
                    <a:lnTo>
                      <a:pt x="22" y="43"/>
                    </a:lnTo>
                    <a:lnTo>
                      <a:pt x="23" y="43"/>
                    </a:lnTo>
                    <a:lnTo>
                      <a:pt x="23" y="42"/>
                    </a:lnTo>
                    <a:lnTo>
                      <a:pt x="22" y="42"/>
                    </a:lnTo>
                    <a:lnTo>
                      <a:pt x="22" y="41"/>
                    </a:lnTo>
                    <a:lnTo>
                      <a:pt x="23" y="41"/>
                    </a:lnTo>
                    <a:lnTo>
                      <a:pt x="24" y="41"/>
                    </a:lnTo>
                    <a:lnTo>
                      <a:pt x="25" y="38"/>
                    </a:lnTo>
                    <a:lnTo>
                      <a:pt x="25" y="37"/>
                    </a:lnTo>
                    <a:lnTo>
                      <a:pt x="26" y="37"/>
                    </a:lnTo>
                    <a:lnTo>
                      <a:pt x="27" y="37"/>
                    </a:lnTo>
                    <a:lnTo>
                      <a:pt x="28" y="37"/>
                    </a:lnTo>
                    <a:lnTo>
                      <a:pt x="29" y="37"/>
                    </a:lnTo>
                    <a:lnTo>
                      <a:pt x="29" y="36"/>
                    </a:lnTo>
                    <a:lnTo>
                      <a:pt x="30" y="35"/>
                    </a:lnTo>
                    <a:lnTo>
                      <a:pt x="30" y="34"/>
                    </a:lnTo>
                    <a:lnTo>
                      <a:pt x="31" y="35"/>
                    </a:lnTo>
                    <a:lnTo>
                      <a:pt x="33" y="35"/>
                    </a:lnTo>
                    <a:lnTo>
                      <a:pt x="33" y="36"/>
                    </a:lnTo>
                    <a:lnTo>
                      <a:pt x="33" y="33"/>
                    </a:lnTo>
                    <a:lnTo>
                      <a:pt x="33" y="21"/>
                    </a:lnTo>
                    <a:lnTo>
                      <a:pt x="33" y="8"/>
                    </a:lnTo>
                    <a:lnTo>
                      <a:pt x="33" y="2"/>
                    </a:lnTo>
                    <a:lnTo>
                      <a:pt x="43" y="2"/>
                    </a:lnTo>
                    <a:lnTo>
                      <a:pt x="45" y="2"/>
                    </a:lnTo>
                    <a:lnTo>
                      <a:pt x="63" y="2"/>
                    </a:lnTo>
                    <a:lnTo>
                      <a:pt x="80" y="0"/>
                    </a:lnTo>
                    <a:lnTo>
                      <a:pt x="85" y="2"/>
                    </a:lnTo>
                    <a:lnTo>
                      <a:pt x="95" y="2"/>
                    </a:lnTo>
                    <a:lnTo>
                      <a:pt x="126" y="2"/>
                    </a:lnTo>
                    <a:lnTo>
                      <a:pt x="137" y="2"/>
                    </a:lnTo>
                    <a:lnTo>
                      <a:pt x="150" y="2"/>
                    </a:lnTo>
                    <a:lnTo>
                      <a:pt x="151" y="2"/>
                    </a:lnTo>
                    <a:lnTo>
                      <a:pt x="152" y="2"/>
                    </a:lnTo>
                    <a:lnTo>
                      <a:pt x="152" y="0"/>
                    </a:lnTo>
                    <a:lnTo>
                      <a:pt x="153" y="0"/>
                    </a:lnTo>
                    <a:lnTo>
                      <a:pt x="154" y="0"/>
                    </a:lnTo>
                    <a:lnTo>
                      <a:pt x="155" y="0"/>
                    </a:lnTo>
                    <a:lnTo>
                      <a:pt x="155" y="2"/>
                    </a:lnTo>
                    <a:lnTo>
                      <a:pt x="156" y="2"/>
                    </a:lnTo>
                    <a:lnTo>
                      <a:pt x="156" y="3"/>
                    </a:lnTo>
                    <a:lnTo>
                      <a:pt x="156" y="4"/>
                    </a:lnTo>
                    <a:lnTo>
                      <a:pt x="157" y="4"/>
                    </a:lnTo>
                    <a:lnTo>
                      <a:pt x="158" y="4"/>
                    </a:lnTo>
                    <a:lnTo>
                      <a:pt x="159" y="4"/>
                    </a:lnTo>
                    <a:lnTo>
                      <a:pt x="160" y="4"/>
                    </a:lnTo>
                    <a:lnTo>
                      <a:pt x="160" y="5"/>
                    </a:lnTo>
                    <a:lnTo>
                      <a:pt x="162" y="5"/>
                    </a:lnTo>
                    <a:lnTo>
                      <a:pt x="163" y="6"/>
                    </a:lnTo>
                    <a:lnTo>
                      <a:pt x="164" y="6"/>
                    </a:lnTo>
                    <a:lnTo>
                      <a:pt x="165" y="6"/>
                    </a:lnTo>
                    <a:lnTo>
                      <a:pt x="166" y="6"/>
                    </a:lnTo>
                    <a:lnTo>
                      <a:pt x="167" y="6"/>
                    </a:lnTo>
                    <a:lnTo>
                      <a:pt x="167" y="5"/>
                    </a:lnTo>
                    <a:lnTo>
                      <a:pt x="168" y="5"/>
                    </a:lnTo>
                    <a:lnTo>
                      <a:pt x="169" y="5"/>
                    </a:lnTo>
                    <a:lnTo>
                      <a:pt x="170" y="5"/>
                    </a:lnTo>
                    <a:lnTo>
                      <a:pt x="170" y="6"/>
                    </a:lnTo>
                    <a:lnTo>
                      <a:pt x="171" y="5"/>
                    </a:lnTo>
                    <a:lnTo>
                      <a:pt x="172" y="5"/>
                    </a:lnTo>
                    <a:lnTo>
                      <a:pt x="172" y="4"/>
                    </a:lnTo>
                    <a:lnTo>
                      <a:pt x="175" y="4"/>
                    </a:lnTo>
                    <a:lnTo>
                      <a:pt x="175" y="5"/>
                    </a:lnTo>
                    <a:lnTo>
                      <a:pt x="176" y="4"/>
                    </a:lnTo>
                    <a:lnTo>
                      <a:pt x="177" y="5"/>
                    </a:lnTo>
                    <a:lnTo>
                      <a:pt x="178" y="5"/>
                    </a:lnTo>
                    <a:lnTo>
                      <a:pt x="178" y="6"/>
                    </a:lnTo>
                    <a:lnTo>
                      <a:pt x="178" y="7"/>
                    </a:lnTo>
                    <a:lnTo>
                      <a:pt x="179" y="8"/>
                    </a:lnTo>
                    <a:lnTo>
                      <a:pt x="180" y="8"/>
                    </a:lnTo>
                    <a:lnTo>
                      <a:pt x="180" y="9"/>
                    </a:lnTo>
                    <a:lnTo>
                      <a:pt x="181" y="9"/>
                    </a:lnTo>
                    <a:lnTo>
                      <a:pt x="182" y="10"/>
                    </a:lnTo>
                    <a:lnTo>
                      <a:pt x="183" y="10"/>
                    </a:lnTo>
                    <a:lnTo>
                      <a:pt x="184" y="10"/>
                    </a:lnTo>
                    <a:lnTo>
                      <a:pt x="185" y="10"/>
                    </a:lnTo>
                    <a:lnTo>
                      <a:pt x="187" y="10"/>
                    </a:lnTo>
                    <a:lnTo>
                      <a:pt x="188" y="10"/>
                    </a:lnTo>
                    <a:lnTo>
                      <a:pt x="189" y="10"/>
                    </a:lnTo>
                    <a:lnTo>
                      <a:pt x="190" y="10"/>
                    </a:lnTo>
                    <a:lnTo>
                      <a:pt x="190" y="9"/>
                    </a:lnTo>
                    <a:lnTo>
                      <a:pt x="191" y="9"/>
                    </a:lnTo>
                    <a:lnTo>
                      <a:pt x="191" y="10"/>
                    </a:lnTo>
                    <a:lnTo>
                      <a:pt x="192" y="10"/>
                    </a:lnTo>
                    <a:lnTo>
                      <a:pt x="192" y="11"/>
                    </a:lnTo>
                    <a:lnTo>
                      <a:pt x="192" y="12"/>
                    </a:lnTo>
                    <a:lnTo>
                      <a:pt x="192" y="13"/>
                    </a:lnTo>
                    <a:lnTo>
                      <a:pt x="193" y="13"/>
                    </a:lnTo>
                    <a:lnTo>
                      <a:pt x="194" y="15"/>
                    </a:lnTo>
                    <a:lnTo>
                      <a:pt x="194" y="16"/>
                    </a:lnTo>
                    <a:lnTo>
                      <a:pt x="195" y="16"/>
                    </a:lnTo>
                    <a:lnTo>
                      <a:pt x="195" y="17"/>
                    </a:lnTo>
                    <a:lnTo>
                      <a:pt x="196" y="17"/>
                    </a:lnTo>
                    <a:lnTo>
                      <a:pt x="197" y="18"/>
                    </a:lnTo>
                    <a:lnTo>
                      <a:pt x="196" y="18"/>
                    </a:lnTo>
                    <a:lnTo>
                      <a:pt x="196" y="19"/>
                    </a:lnTo>
                    <a:lnTo>
                      <a:pt x="197" y="20"/>
                    </a:lnTo>
                    <a:lnTo>
                      <a:pt x="198" y="20"/>
                    </a:lnTo>
                    <a:lnTo>
                      <a:pt x="200" y="20"/>
                    </a:lnTo>
                    <a:lnTo>
                      <a:pt x="201" y="21"/>
                    </a:lnTo>
                    <a:lnTo>
                      <a:pt x="201" y="22"/>
                    </a:lnTo>
                    <a:lnTo>
                      <a:pt x="201" y="23"/>
                    </a:lnTo>
                    <a:lnTo>
                      <a:pt x="202" y="24"/>
                    </a:lnTo>
                    <a:lnTo>
                      <a:pt x="202" y="25"/>
                    </a:lnTo>
                    <a:lnTo>
                      <a:pt x="203" y="26"/>
                    </a:lnTo>
                    <a:lnTo>
                      <a:pt x="203" y="28"/>
                    </a:lnTo>
                    <a:lnTo>
                      <a:pt x="202" y="28"/>
                    </a:lnTo>
                    <a:lnTo>
                      <a:pt x="203" y="28"/>
                    </a:lnTo>
                    <a:lnTo>
                      <a:pt x="203" y="29"/>
                    </a:lnTo>
                    <a:lnTo>
                      <a:pt x="204" y="29"/>
                    </a:lnTo>
                    <a:lnTo>
                      <a:pt x="204" y="30"/>
                    </a:lnTo>
                    <a:lnTo>
                      <a:pt x="204" y="31"/>
                    </a:lnTo>
                    <a:lnTo>
                      <a:pt x="205" y="31"/>
                    </a:lnTo>
                    <a:lnTo>
                      <a:pt x="206" y="31"/>
                    </a:lnTo>
                    <a:lnTo>
                      <a:pt x="207" y="31"/>
                    </a:lnTo>
                    <a:lnTo>
                      <a:pt x="208" y="31"/>
                    </a:lnTo>
                    <a:lnTo>
                      <a:pt x="208" y="32"/>
                    </a:lnTo>
                    <a:lnTo>
                      <a:pt x="208" y="31"/>
                    </a:lnTo>
                    <a:lnTo>
                      <a:pt x="208" y="30"/>
                    </a:lnTo>
                    <a:lnTo>
                      <a:pt x="209" y="31"/>
                    </a:lnTo>
                    <a:lnTo>
                      <a:pt x="209" y="30"/>
                    </a:lnTo>
                    <a:lnTo>
                      <a:pt x="210" y="30"/>
                    </a:lnTo>
                    <a:lnTo>
                      <a:pt x="210" y="31"/>
                    </a:lnTo>
                    <a:lnTo>
                      <a:pt x="210" y="30"/>
                    </a:lnTo>
                    <a:lnTo>
                      <a:pt x="211" y="30"/>
                    </a:lnTo>
                    <a:lnTo>
                      <a:pt x="211" y="29"/>
                    </a:lnTo>
                    <a:lnTo>
                      <a:pt x="213" y="29"/>
                    </a:lnTo>
                    <a:lnTo>
                      <a:pt x="214" y="30"/>
                    </a:lnTo>
                    <a:lnTo>
                      <a:pt x="215" y="30"/>
                    </a:lnTo>
                    <a:lnTo>
                      <a:pt x="217" y="30"/>
                    </a:lnTo>
                    <a:lnTo>
                      <a:pt x="218" y="30"/>
                    </a:lnTo>
                    <a:lnTo>
                      <a:pt x="219" y="30"/>
                    </a:lnTo>
                    <a:lnTo>
                      <a:pt x="220" y="30"/>
                    </a:lnTo>
                    <a:lnTo>
                      <a:pt x="221" y="30"/>
                    </a:lnTo>
                    <a:lnTo>
                      <a:pt x="222" y="39"/>
                    </a:lnTo>
                    <a:lnTo>
                      <a:pt x="222" y="55"/>
                    </a:lnTo>
                    <a:lnTo>
                      <a:pt x="222" y="60"/>
                    </a:lnTo>
                    <a:lnTo>
                      <a:pt x="222" y="62"/>
                    </a:lnTo>
                    <a:lnTo>
                      <a:pt x="222" y="65"/>
                    </a:lnTo>
                    <a:lnTo>
                      <a:pt x="228" y="65"/>
                    </a:lnTo>
                    <a:lnTo>
                      <a:pt x="242" y="65"/>
                    </a:lnTo>
                    <a:lnTo>
                      <a:pt x="268" y="67"/>
                    </a:lnTo>
                    <a:lnTo>
                      <a:pt x="285" y="67"/>
                    </a:lnTo>
                    <a:lnTo>
                      <a:pt x="285" y="72"/>
                    </a:lnTo>
                    <a:lnTo>
                      <a:pt x="285" y="76"/>
                    </a:lnTo>
                    <a:lnTo>
                      <a:pt x="285" y="83"/>
                    </a:lnTo>
                    <a:lnTo>
                      <a:pt x="285" y="95"/>
                    </a:lnTo>
                    <a:lnTo>
                      <a:pt x="285" y="96"/>
                    </a:lnTo>
                    <a:lnTo>
                      <a:pt x="285" y="99"/>
                    </a:lnTo>
                    <a:lnTo>
                      <a:pt x="285" y="100"/>
                    </a:lnTo>
                    <a:lnTo>
                      <a:pt x="285" y="113"/>
                    </a:lnTo>
                    <a:lnTo>
                      <a:pt x="285" y="129"/>
                    </a:lnTo>
                    <a:close/>
                  </a:path>
                </a:pathLst>
              </a:custGeom>
              <a:solidFill>
                <a:srgbClr val="58A5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6" name="Freeform 324">
                <a:extLst>
                  <a:ext uri="{FF2B5EF4-FFF2-40B4-BE49-F238E27FC236}">
                    <a16:creationId xmlns:a16="http://schemas.microsoft.com/office/drawing/2014/main" id="{FD4B1937-ECB7-4E80-F169-B5CE7DF462FE}"/>
                  </a:ext>
                </a:extLst>
              </p:cNvPr>
              <p:cNvSpPr>
                <a:spLocks/>
              </p:cNvSpPr>
              <p:nvPr/>
            </p:nvSpPr>
            <p:spPr bwMode="auto">
              <a:xfrm>
                <a:off x="2417763" y="1133475"/>
                <a:ext cx="661988" cy="501650"/>
              </a:xfrm>
              <a:custGeom>
                <a:avLst/>
                <a:gdLst>
                  <a:gd name="T0" fmla="*/ 405 w 417"/>
                  <a:gd name="T1" fmla="*/ 14 h 316"/>
                  <a:gd name="T2" fmla="*/ 399 w 417"/>
                  <a:gd name="T3" fmla="*/ 24 h 316"/>
                  <a:gd name="T4" fmla="*/ 399 w 417"/>
                  <a:gd name="T5" fmla="*/ 34 h 316"/>
                  <a:gd name="T6" fmla="*/ 398 w 417"/>
                  <a:gd name="T7" fmla="*/ 42 h 316"/>
                  <a:gd name="T8" fmla="*/ 402 w 417"/>
                  <a:gd name="T9" fmla="*/ 51 h 316"/>
                  <a:gd name="T10" fmla="*/ 404 w 417"/>
                  <a:gd name="T11" fmla="*/ 67 h 316"/>
                  <a:gd name="T12" fmla="*/ 404 w 417"/>
                  <a:gd name="T13" fmla="*/ 73 h 316"/>
                  <a:gd name="T14" fmla="*/ 401 w 417"/>
                  <a:gd name="T15" fmla="*/ 78 h 316"/>
                  <a:gd name="T16" fmla="*/ 400 w 417"/>
                  <a:gd name="T17" fmla="*/ 82 h 316"/>
                  <a:gd name="T18" fmla="*/ 400 w 417"/>
                  <a:gd name="T19" fmla="*/ 92 h 316"/>
                  <a:gd name="T20" fmla="*/ 401 w 417"/>
                  <a:gd name="T21" fmla="*/ 108 h 316"/>
                  <a:gd name="T22" fmla="*/ 415 w 417"/>
                  <a:gd name="T23" fmla="*/ 129 h 316"/>
                  <a:gd name="T24" fmla="*/ 411 w 417"/>
                  <a:gd name="T25" fmla="*/ 137 h 316"/>
                  <a:gd name="T26" fmla="*/ 412 w 417"/>
                  <a:gd name="T27" fmla="*/ 151 h 316"/>
                  <a:gd name="T28" fmla="*/ 416 w 417"/>
                  <a:gd name="T29" fmla="*/ 171 h 316"/>
                  <a:gd name="T30" fmla="*/ 412 w 417"/>
                  <a:gd name="T31" fmla="*/ 193 h 316"/>
                  <a:gd name="T32" fmla="*/ 417 w 417"/>
                  <a:gd name="T33" fmla="*/ 201 h 316"/>
                  <a:gd name="T34" fmla="*/ 408 w 417"/>
                  <a:gd name="T35" fmla="*/ 206 h 316"/>
                  <a:gd name="T36" fmla="*/ 410 w 417"/>
                  <a:gd name="T37" fmla="*/ 213 h 316"/>
                  <a:gd name="T38" fmla="*/ 399 w 417"/>
                  <a:gd name="T39" fmla="*/ 227 h 316"/>
                  <a:gd name="T40" fmla="*/ 392 w 417"/>
                  <a:gd name="T41" fmla="*/ 240 h 316"/>
                  <a:gd name="T42" fmla="*/ 379 w 417"/>
                  <a:gd name="T43" fmla="*/ 246 h 316"/>
                  <a:gd name="T44" fmla="*/ 367 w 417"/>
                  <a:gd name="T45" fmla="*/ 247 h 316"/>
                  <a:gd name="T46" fmla="*/ 364 w 417"/>
                  <a:gd name="T47" fmla="*/ 258 h 316"/>
                  <a:gd name="T48" fmla="*/ 313 w 417"/>
                  <a:gd name="T49" fmla="*/ 298 h 316"/>
                  <a:gd name="T50" fmla="*/ 313 w 417"/>
                  <a:gd name="T51" fmla="*/ 305 h 316"/>
                  <a:gd name="T52" fmla="*/ 310 w 417"/>
                  <a:gd name="T53" fmla="*/ 310 h 316"/>
                  <a:gd name="T54" fmla="*/ 301 w 417"/>
                  <a:gd name="T55" fmla="*/ 310 h 316"/>
                  <a:gd name="T56" fmla="*/ 295 w 417"/>
                  <a:gd name="T57" fmla="*/ 313 h 316"/>
                  <a:gd name="T58" fmla="*/ 287 w 417"/>
                  <a:gd name="T59" fmla="*/ 314 h 316"/>
                  <a:gd name="T60" fmla="*/ 279 w 417"/>
                  <a:gd name="T61" fmla="*/ 316 h 316"/>
                  <a:gd name="T62" fmla="*/ 273 w 417"/>
                  <a:gd name="T63" fmla="*/ 314 h 316"/>
                  <a:gd name="T64" fmla="*/ 266 w 417"/>
                  <a:gd name="T65" fmla="*/ 313 h 316"/>
                  <a:gd name="T66" fmla="*/ 227 w 417"/>
                  <a:gd name="T67" fmla="*/ 314 h 316"/>
                  <a:gd name="T68" fmla="*/ 195 w 417"/>
                  <a:gd name="T69" fmla="*/ 281 h 316"/>
                  <a:gd name="T70" fmla="*/ 132 w 417"/>
                  <a:gd name="T71" fmla="*/ 250 h 316"/>
                  <a:gd name="T72" fmla="*/ 127 w 417"/>
                  <a:gd name="T73" fmla="*/ 215 h 316"/>
                  <a:gd name="T74" fmla="*/ 119 w 417"/>
                  <a:gd name="T75" fmla="*/ 215 h 316"/>
                  <a:gd name="T76" fmla="*/ 114 w 417"/>
                  <a:gd name="T77" fmla="*/ 216 h 316"/>
                  <a:gd name="T78" fmla="*/ 112 w 417"/>
                  <a:gd name="T79" fmla="*/ 209 h 316"/>
                  <a:gd name="T80" fmla="*/ 107 w 417"/>
                  <a:gd name="T81" fmla="*/ 203 h 316"/>
                  <a:gd name="T82" fmla="*/ 102 w 417"/>
                  <a:gd name="T83" fmla="*/ 196 h 316"/>
                  <a:gd name="T84" fmla="*/ 95 w 417"/>
                  <a:gd name="T85" fmla="*/ 195 h 316"/>
                  <a:gd name="T86" fmla="*/ 88 w 417"/>
                  <a:gd name="T87" fmla="*/ 191 h 316"/>
                  <a:gd name="T88" fmla="*/ 80 w 417"/>
                  <a:gd name="T89" fmla="*/ 191 h 316"/>
                  <a:gd name="T90" fmla="*/ 73 w 417"/>
                  <a:gd name="T91" fmla="*/ 191 h 316"/>
                  <a:gd name="T92" fmla="*/ 66 w 417"/>
                  <a:gd name="T93" fmla="*/ 187 h 316"/>
                  <a:gd name="T94" fmla="*/ 47 w 417"/>
                  <a:gd name="T95" fmla="*/ 187 h 316"/>
                  <a:gd name="T96" fmla="*/ 5 w 417"/>
                  <a:gd name="T97" fmla="*/ 126 h 316"/>
                  <a:gd name="T98" fmla="*/ 5 w 417"/>
                  <a:gd name="T99" fmla="*/ 67 h 316"/>
                  <a:gd name="T100" fmla="*/ 5 w 417"/>
                  <a:gd name="T101" fmla="*/ 3 h 316"/>
                  <a:gd name="T102" fmla="*/ 18 w 417"/>
                  <a:gd name="T103" fmla="*/ 0 h 316"/>
                  <a:gd name="T104" fmla="*/ 107 w 417"/>
                  <a:gd name="T105" fmla="*/ 1 h 316"/>
                  <a:gd name="T106" fmla="*/ 150 w 417"/>
                  <a:gd name="T107" fmla="*/ 2 h 316"/>
                  <a:gd name="T108" fmla="*/ 228 w 417"/>
                  <a:gd name="T109" fmla="*/ 3 h 316"/>
                  <a:gd name="T110" fmla="*/ 284 w 417"/>
                  <a:gd name="T111" fmla="*/ 3 h 316"/>
                  <a:gd name="T112" fmla="*/ 363 w 417"/>
                  <a:gd name="T113" fmla="*/ 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7" h="316">
                    <a:moveTo>
                      <a:pt x="408" y="4"/>
                    </a:moveTo>
                    <a:lnTo>
                      <a:pt x="408" y="5"/>
                    </a:lnTo>
                    <a:lnTo>
                      <a:pt x="409" y="9"/>
                    </a:lnTo>
                    <a:lnTo>
                      <a:pt x="409" y="10"/>
                    </a:lnTo>
                    <a:lnTo>
                      <a:pt x="408" y="11"/>
                    </a:lnTo>
                    <a:lnTo>
                      <a:pt x="407" y="12"/>
                    </a:lnTo>
                    <a:lnTo>
                      <a:pt x="405" y="12"/>
                    </a:lnTo>
                    <a:lnTo>
                      <a:pt x="405" y="13"/>
                    </a:lnTo>
                    <a:lnTo>
                      <a:pt x="405" y="14"/>
                    </a:lnTo>
                    <a:lnTo>
                      <a:pt x="405" y="15"/>
                    </a:lnTo>
                    <a:lnTo>
                      <a:pt x="407" y="17"/>
                    </a:lnTo>
                    <a:lnTo>
                      <a:pt x="405" y="20"/>
                    </a:lnTo>
                    <a:lnTo>
                      <a:pt x="405" y="21"/>
                    </a:lnTo>
                    <a:lnTo>
                      <a:pt x="404" y="21"/>
                    </a:lnTo>
                    <a:lnTo>
                      <a:pt x="402" y="22"/>
                    </a:lnTo>
                    <a:lnTo>
                      <a:pt x="401" y="22"/>
                    </a:lnTo>
                    <a:lnTo>
                      <a:pt x="400" y="23"/>
                    </a:lnTo>
                    <a:lnTo>
                      <a:pt x="399" y="24"/>
                    </a:lnTo>
                    <a:lnTo>
                      <a:pt x="399" y="25"/>
                    </a:lnTo>
                    <a:lnTo>
                      <a:pt x="400" y="25"/>
                    </a:lnTo>
                    <a:lnTo>
                      <a:pt x="403" y="30"/>
                    </a:lnTo>
                    <a:lnTo>
                      <a:pt x="403" y="31"/>
                    </a:lnTo>
                    <a:lnTo>
                      <a:pt x="403" y="33"/>
                    </a:lnTo>
                    <a:lnTo>
                      <a:pt x="402" y="34"/>
                    </a:lnTo>
                    <a:lnTo>
                      <a:pt x="401" y="34"/>
                    </a:lnTo>
                    <a:lnTo>
                      <a:pt x="400" y="34"/>
                    </a:lnTo>
                    <a:lnTo>
                      <a:pt x="399" y="34"/>
                    </a:lnTo>
                    <a:lnTo>
                      <a:pt x="398" y="34"/>
                    </a:lnTo>
                    <a:lnTo>
                      <a:pt x="398" y="36"/>
                    </a:lnTo>
                    <a:lnTo>
                      <a:pt x="397" y="36"/>
                    </a:lnTo>
                    <a:lnTo>
                      <a:pt x="397" y="37"/>
                    </a:lnTo>
                    <a:lnTo>
                      <a:pt x="398" y="38"/>
                    </a:lnTo>
                    <a:lnTo>
                      <a:pt x="398" y="39"/>
                    </a:lnTo>
                    <a:lnTo>
                      <a:pt x="398" y="40"/>
                    </a:lnTo>
                    <a:lnTo>
                      <a:pt x="398" y="41"/>
                    </a:lnTo>
                    <a:lnTo>
                      <a:pt x="398" y="42"/>
                    </a:lnTo>
                    <a:lnTo>
                      <a:pt x="399" y="42"/>
                    </a:lnTo>
                    <a:lnTo>
                      <a:pt x="400" y="42"/>
                    </a:lnTo>
                    <a:lnTo>
                      <a:pt x="401" y="42"/>
                    </a:lnTo>
                    <a:lnTo>
                      <a:pt x="401" y="43"/>
                    </a:lnTo>
                    <a:lnTo>
                      <a:pt x="400" y="47"/>
                    </a:lnTo>
                    <a:lnTo>
                      <a:pt x="400" y="48"/>
                    </a:lnTo>
                    <a:lnTo>
                      <a:pt x="400" y="49"/>
                    </a:lnTo>
                    <a:lnTo>
                      <a:pt x="402" y="50"/>
                    </a:lnTo>
                    <a:lnTo>
                      <a:pt x="402" y="51"/>
                    </a:lnTo>
                    <a:lnTo>
                      <a:pt x="401" y="53"/>
                    </a:lnTo>
                    <a:lnTo>
                      <a:pt x="401" y="54"/>
                    </a:lnTo>
                    <a:lnTo>
                      <a:pt x="402" y="56"/>
                    </a:lnTo>
                    <a:lnTo>
                      <a:pt x="402" y="59"/>
                    </a:lnTo>
                    <a:lnTo>
                      <a:pt x="403" y="62"/>
                    </a:lnTo>
                    <a:lnTo>
                      <a:pt x="404" y="64"/>
                    </a:lnTo>
                    <a:lnTo>
                      <a:pt x="405" y="65"/>
                    </a:lnTo>
                    <a:lnTo>
                      <a:pt x="404" y="66"/>
                    </a:lnTo>
                    <a:lnTo>
                      <a:pt x="404" y="67"/>
                    </a:lnTo>
                    <a:lnTo>
                      <a:pt x="403" y="67"/>
                    </a:lnTo>
                    <a:lnTo>
                      <a:pt x="402" y="67"/>
                    </a:lnTo>
                    <a:lnTo>
                      <a:pt x="401" y="67"/>
                    </a:lnTo>
                    <a:lnTo>
                      <a:pt x="401" y="68"/>
                    </a:lnTo>
                    <a:lnTo>
                      <a:pt x="401" y="69"/>
                    </a:lnTo>
                    <a:lnTo>
                      <a:pt x="402" y="70"/>
                    </a:lnTo>
                    <a:lnTo>
                      <a:pt x="403" y="70"/>
                    </a:lnTo>
                    <a:lnTo>
                      <a:pt x="404" y="72"/>
                    </a:lnTo>
                    <a:lnTo>
                      <a:pt x="404" y="73"/>
                    </a:lnTo>
                    <a:lnTo>
                      <a:pt x="403" y="74"/>
                    </a:lnTo>
                    <a:lnTo>
                      <a:pt x="401" y="73"/>
                    </a:lnTo>
                    <a:lnTo>
                      <a:pt x="400" y="73"/>
                    </a:lnTo>
                    <a:lnTo>
                      <a:pt x="400" y="74"/>
                    </a:lnTo>
                    <a:lnTo>
                      <a:pt x="400" y="75"/>
                    </a:lnTo>
                    <a:lnTo>
                      <a:pt x="401" y="76"/>
                    </a:lnTo>
                    <a:lnTo>
                      <a:pt x="402" y="77"/>
                    </a:lnTo>
                    <a:lnTo>
                      <a:pt x="401" y="77"/>
                    </a:lnTo>
                    <a:lnTo>
                      <a:pt x="401" y="78"/>
                    </a:lnTo>
                    <a:lnTo>
                      <a:pt x="400" y="79"/>
                    </a:lnTo>
                    <a:lnTo>
                      <a:pt x="399" y="79"/>
                    </a:lnTo>
                    <a:lnTo>
                      <a:pt x="399" y="80"/>
                    </a:lnTo>
                    <a:lnTo>
                      <a:pt x="400" y="80"/>
                    </a:lnTo>
                    <a:lnTo>
                      <a:pt x="401" y="80"/>
                    </a:lnTo>
                    <a:lnTo>
                      <a:pt x="402" y="80"/>
                    </a:lnTo>
                    <a:lnTo>
                      <a:pt x="402" y="81"/>
                    </a:lnTo>
                    <a:lnTo>
                      <a:pt x="401" y="81"/>
                    </a:lnTo>
                    <a:lnTo>
                      <a:pt x="400" y="82"/>
                    </a:lnTo>
                    <a:lnTo>
                      <a:pt x="399" y="83"/>
                    </a:lnTo>
                    <a:lnTo>
                      <a:pt x="400" y="83"/>
                    </a:lnTo>
                    <a:lnTo>
                      <a:pt x="400" y="85"/>
                    </a:lnTo>
                    <a:lnTo>
                      <a:pt x="401" y="86"/>
                    </a:lnTo>
                    <a:lnTo>
                      <a:pt x="401" y="87"/>
                    </a:lnTo>
                    <a:lnTo>
                      <a:pt x="402" y="88"/>
                    </a:lnTo>
                    <a:lnTo>
                      <a:pt x="402" y="89"/>
                    </a:lnTo>
                    <a:lnTo>
                      <a:pt x="400" y="91"/>
                    </a:lnTo>
                    <a:lnTo>
                      <a:pt x="400" y="92"/>
                    </a:lnTo>
                    <a:lnTo>
                      <a:pt x="399" y="94"/>
                    </a:lnTo>
                    <a:lnTo>
                      <a:pt x="398" y="95"/>
                    </a:lnTo>
                    <a:lnTo>
                      <a:pt x="398" y="97"/>
                    </a:lnTo>
                    <a:lnTo>
                      <a:pt x="398" y="98"/>
                    </a:lnTo>
                    <a:lnTo>
                      <a:pt x="398" y="100"/>
                    </a:lnTo>
                    <a:lnTo>
                      <a:pt x="398" y="101"/>
                    </a:lnTo>
                    <a:lnTo>
                      <a:pt x="398" y="102"/>
                    </a:lnTo>
                    <a:lnTo>
                      <a:pt x="401" y="107"/>
                    </a:lnTo>
                    <a:lnTo>
                      <a:pt x="401" y="108"/>
                    </a:lnTo>
                    <a:lnTo>
                      <a:pt x="401" y="110"/>
                    </a:lnTo>
                    <a:lnTo>
                      <a:pt x="405" y="115"/>
                    </a:lnTo>
                    <a:lnTo>
                      <a:pt x="408" y="118"/>
                    </a:lnTo>
                    <a:lnTo>
                      <a:pt x="409" y="120"/>
                    </a:lnTo>
                    <a:lnTo>
                      <a:pt x="411" y="121"/>
                    </a:lnTo>
                    <a:lnTo>
                      <a:pt x="414" y="124"/>
                    </a:lnTo>
                    <a:lnTo>
                      <a:pt x="415" y="126"/>
                    </a:lnTo>
                    <a:lnTo>
                      <a:pt x="415" y="128"/>
                    </a:lnTo>
                    <a:lnTo>
                      <a:pt x="415" y="129"/>
                    </a:lnTo>
                    <a:lnTo>
                      <a:pt x="414" y="130"/>
                    </a:lnTo>
                    <a:lnTo>
                      <a:pt x="413" y="130"/>
                    </a:lnTo>
                    <a:lnTo>
                      <a:pt x="411" y="130"/>
                    </a:lnTo>
                    <a:lnTo>
                      <a:pt x="410" y="131"/>
                    </a:lnTo>
                    <a:lnTo>
                      <a:pt x="409" y="132"/>
                    </a:lnTo>
                    <a:lnTo>
                      <a:pt x="408" y="133"/>
                    </a:lnTo>
                    <a:lnTo>
                      <a:pt x="409" y="133"/>
                    </a:lnTo>
                    <a:lnTo>
                      <a:pt x="409" y="136"/>
                    </a:lnTo>
                    <a:lnTo>
                      <a:pt x="411" y="137"/>
                    </a:lnTo>
                    <a:lnTo>
                      <a:pt x="412" y="137"/>
                    </a:lnTo>
                    <a:lnTo>
                      <a:pt x="412" y="138"/>
                    </a:lnTo>
                    <a:lnTo>
                      <a:pt x="412" y="139"/>
                    </a:lnTo>
                    <a:lnTo>
                      <a:pt x="411" y="140"/>
                    </a:lnTo>
                    <a:lnTo>
                      <a:pt x="410" y="141"/>
                    </a:lnTo>
                    <a:lnTo>
                      <a:pt x="409" y="141"/>
                    </a:lnTo>
                    <a:lnTo>
                      <a:pt x="409" y="142"/>
                    </a:lnTo>
                    <a:lnTo>
                      <a:pt x="412" y="149"/>
                    </a:lnTo>
                    <a:lnTo>
                      <a:pt x="412" y="151"/>
                    </a:lnTo>
                    <a:lnTo>
                      <a:pt x="413" y="153"/>
                    </a:lnTo>
                    <a:lnTo>
                      <a:pt x="416" y="156"/>
                    </a:lnTo>
                    <a:lnTo>
                      <a:pt x="416" y="158"/>
                    </a:lnTo>
                    <a:lnTo>
                      <a:pt x="417" y="160"/>
                    </a:lnTo>
                    <a:lnTo>
                      <a:pt x="417" y="163"/>
                    </a:lnTo>
                    <a:lnTo>
                      <a:pt x="416" y="165"/>
                    </a:lnTo>
                    <a:lnTo>
                      <a:pt x="416" y="166"/>
                    </a:lnTo>
                    <a:lnTo>
                      <a:pt x="416" y="169"/>
                    </a:lnTo>
                    <a:lnTo>
                      <a:pt x="416" y="171"/>
                    </a:lnTo>
                    <a:lnTo>
                      <a:pt x="416" y="172"/>
                    </a:lnTo>
                    <a:lnTo>
                      <a:pt x="414" y="178"/>
                    </a:lnTo>
                    <a:lnTo>
                      <a:pt x="413" y="180"/>
                    </a:lnTo>
                    <a:lnTo>
                      <a:pt x="412" y="181"/>
                    </a:lnTo>
                    <a:lnTo>
                      <a:pt x="411" y="183"/>
                    </a:lnTo>
                    <a:lnTo>
                      <a:pt x="411" y="184"/>
                    </a:lnTo>
                    <a:lnTo>
                      <a:pt x="411" y="187"/>
                    </a:lnTo>
                    <a:lnTo>
                      <a:pt x="411" y="190"/>
                    </a:lnTo>
                    <a:lnTo>
                      <a:pt x="412" y="193"/>
                    </a:lnTo>
                    <a:lnTo>
                      <a:pt x="413" y="194"/>
                    </a:lnTo>
                    <a:lnTo>
                      <a:pt x="413" y="195"/>
                    </a:lnTo>
                    <a:lnTo>
                      <a:pt x="414" y="195"/>
                    </a:lnTo>
                    <a:lnTo>
                      <a:pt x="415" y="196"/>
                    </a:lnTo>
                    <a:lnTo>
                      <a:pt x="416" y="196"/>
                    </a:lnTo>
                    <a:lnTo>
                      <a:pt x="417" y="197"/>
                    </a:lnTo>
                    <a:lnTo>
                      <a:pt x="417" y="198"/>
                    </a:lnTo>
                    <a:lnTo>
                      <a:pt x="417" y="200"/>
                    </a:lnTo>
                    <a:lnTo>
                      <a:pt x="417" y="201"/>
                    </a:lnTo>
                    <a:lnTo>
                      <a:pt x="417" y="203"/>
                    </a:lnTo>
                    <a:lnTo>
                      <a:pt x="416" y="204"/>
                    </a:lnTo>
                    <a:lnTo>
                      <a:pt x="415" y="204"/>
                    </a:lnTo>
                    <a:lnTo>
                      <a:pt x="411" y="204"/>
                    </a:lnTo>
                    <a:lnTo>
                      <a:pt x="409" y="204"/>
                    </a:lnTo>
                    <a:lnTo>
                      <a:pt x="408" y="204"/>
                    </a:lnTo>
                    <a:lnTo>
                      <a:pt x="407" y="205"/>
                    </a:lnTo>
                    <a:lnTo>
                      <a:pt x="407" y="206"/>
                    </a:lnTo>
                    <a:lnTo>
                      <a:pt x="408" y="206"/>
                    </a:lnTo>
                    <a:lnTo>
                      <a:pt x="409" y="206"/>
                    </a:lnTo>
                    <a:lnTo>
                      <a:pt x="411" y="206"/>
                    </a:lnTo>
                    <a:lnTo>
                      <a:pt x="412" y="206"/>
                    </a:lnTo>
                    <a:lnTo>
                      <a:pt x="412" y="207"/>
                    </a:lnTo>
                    <a:lnTo>
                      <a:pt x="413" y="208"/>
                    </a:lnTo>
                    <a:lnTo>
                      <a:pt x="413" y="209"/>
                    </a:lnTo>
                    <a:lnTo>
                      <a:pt x="412" y="210"/>
                    </a:lnTo>
                    <a:lnTo>
                      <a:pt x="412" y="211"/>
                    </a:lnTo>
                    <a:lnTo>
                      <a:pt x="410" y="213"/>
                    </a:lnTo>
                    <a:lnTo>
                      <a:pt x="409" y="214"/>
                    </a:lnTo>
                    <a:lnTo>
                      <a:pt x="408" y="214"/>
                    </a:lnTo>
                    <a:lnTo>
                      <a:pt x="407" y="216"/>
                    </a:lnTo>
                    <a:lnTo>
                      <a:pt x="405" y="218"/>
                    </a:lnTo>
                    <a:lnTo>
                      <a:pt x="404" y="220"/>
                    </a:lnTo>
                    <a:lnTo>
                      <a:pt x="403" y="222"/>
                    </a:lnTo>
                    <a:lnTo>
                      <a:pt x="402" y="223"/>
                    </a:lnTo>
                    <a:lnTo>
                      <a:pt x="401" y="226"/>
                    </a:lnTo>
                    <a:lnTo>
                      <a:pt x="399" y="227"/>
                    </a:lnTo>
                    <a:lnTo>
                      <a:pt x="398" y="229"/>
                    </a:lnTo>
                    <a:lnTo>
                      <a:pt x="397" y="231"/>
                    </a:lnTo>
                    <a:lnTo>
                      <a:pt x="396" y="233"/>
                    </a:lnTo>
                    <a:lnTo>
                      <a:pt x="396" y="234"/>
                    </a:lnTo>
                    <a:lnTo>
                      <a:pt x="395" y="236"/>
                    </a:lnTo>
                    <a:lnTo>
                      <a:pt x="395" y="237"/>
                    </a:lnTo>
                    <a:lnTo>
                      <a:pt x="395" y="239"/>
                    </a:lnTo>
                    <a:lnTo>
                      <a:pt x="394" y="240"/>
                    </a:lnTo>
                    <a:lnTo>
                      <a:pt x="392" y="240"/>
                    </a:lnTo>
                    <a:lnTo>
                      <a:pt x="390" y="241"/>
                    </a:lnTo>
                    <a:lnTo>
                      <a:pt x="388" y="242"/>
                    </a:lnTo>
                    <a:lnTo>
                      <a:pt x="387" y="242"/>
                    </a:lnTo>
                    <a:lnTo>
                      <a:pt x="385" y="242"/>
                    </a:lnTo>
                    <a:lnTo>
                      <a:pt x="384" y="242"/>
                    </a:lnTo>
                    <a:lnTo>
                      <a:pt x="383" y="242"/>
                    </a:lnTo>
                    <a:lnTo>
                      <a:pt x="382" y="243"/>
                    </a:lnTo>
                    <a:lnTo>
                      <a:pt x="381" y="245"/>
                    </a:lnTo>
                    <a:lnTo>
                      <a:pt x="379" y="246"/>
                    </a:lnTo>
                    <a:lnTo>
                      <a:pt x="377" y="247"/>
                    </a:lnTo>
                    <a:lnTo>
                      <a:pt x="377" y="248"/>
                    </a:lnTo>
                    <a:lnTo>
                      <a:pt x="376" y="248"/>
                    </a:lnTo>
                    <a:lnTo>
                      <a:pt x="375" y="248"/>
                    </a:lnTo>
                    <a:lnTo>
                      <a:pt x="374" y="248"/>
                    </a:lnTo>
                    <a:lnTo>
                      <a:pt x="371" y="247"/>
                    </a:lnTo>
                    <a:lnTo>
                      <a:pt x="370" y="247"/>
                    </a:lnTo>
                    <a:lnTo>
                      <a:pt x="369" y="247"/>
                    </a:lnTo>
                    <a:lnTo>
                      <a:pt x="367" y="247"/>
                    </a:lnTo>
                    <a:lnTo>
                      <a:pt x="365" y="247"/>
                    </a:lnTo>
                    <a:lnTo>
                      <a:pt x="364" y="247"/>
                    </a:lnTo>
                    <a:lnTo>
                      <a:pt x="363" y="248"/>
                    </a:lnTo>
                    <a:lnTo>
                      <a:pt x="363" y="250"/>
                    </a:lnTo>
                    <a:lnTo>
                      <a:pt x="363" y="253"/>
                    </a:lnTo>
                    <a:lnTo>
                      <a:pt x="363" y="254"/>
                    </a:lnTo>
                    <a:lnTo>
                      <a:pt x="363" y="255"/>
                    </a:lnTo>
                    <a:lnTo>
                      <a:pt x="365" y="258"/>
                    </a:lnTo>
                    <a:lnTo>
                      <a:pt x="364" y="258"/>
                    </a:lnTo>
                    <a:lnTo>
                      <a:pt x="353" y="267"/>
                    </a:lnTo>
                    <a:lnTo>
                      <a:pt x="349" y="270"/>
                    </a:lnTo>
                    <a:lnTo>
                      <a:pt x="315" y="294"/>
                    </a:lnTo>
                    <a:lnTo>
                      <a:pt x="314" y="294"/>
                    </a:lnTo>
                    <a:lnTo>
                      <a:pt x="314" y="295"/>
                    </a:lnTo>
                    <a:lnTo>
                      <a:pt x="313" y="295"/>
                    </a:lnTo>
                    <a:lnTo>
                      <a:pt x="313" y="296"/>
                    </a:lnTo>
                    <a:lnTo>
                      <a:pt x="313" y="297"/>
                    </a:lnTo>
                    <a:lnTo>
                      <a:pt x="313" y="298"/>
                    </a:lnTo>
                    <a:lnTo>
                      <a:pt x="312" y="298"/>
                    </a:lnTo>
                    <a:lnTo>
                      <a:pt x="312" y="299"/>
                    </a:lnTo>
                    <a:lnTo>
                      <a:pt x="312" y="300"/>
                    </a:lnTo>
                    <a:lnTo>
                      <a:pt x="312" y="301"/>
                    </a:lnTo>
                    <a:lnTo>
                      <a:pt x="313" y="303"/>
                    </a:lnTo>
                    <a:lnTo>
                      <a:pt x="312" y="303"/>
                    </a:lnTo>
                    <a:lnTo>
                      <a:pt x="312" y="304"/>
                    </a:lnTo>
                    <a:lnTo>
                      <a:pt x="312" y="305"/>
                    </a:lnTo>
                    <a:lnTo>
                      <a:pt x="313" y="305"/>
                    </a:lnTo>
                    <a:lnTo>
                      <a:pt x="312" y="306"/>
                    </a:lnTo>
                    <a:lnTo>
                      <a:pt x="313" y="306"/>
                    </a:lnTo>
                    <a:lnTo>
                      <a:pt x="313" y="307"/>
                    </a:lnTo>
                    <a:lnTo>
                      <a:pt x="313" y="308"/>
                    </a:lnTo>
                    <a:lnTo>
                      <a:pt x="312" y="308"/>
                    </a:lnTo>
                    <a:lnTo>
                      <a:pt x="312" y="309"/>
                    </a:lnTo>
                    <a:lnTo>
                      <a:pt x="311" y="309"/>
                    </a:lnTo>
                    <a:lnTo>
                      <a:pt x="310" y="309"/>
                    </a:lnTo>
                    <a:lnTo>
                      <a:pt x="310" y="310"/>
                    </a:lnTo>
                    <a:lnTo>
                      <a:pt x="309" y="309"/>
                    </a:lnTo>
                    <a:lnTo>
                      <a:pt x="309" y="310"/>
                    </a:lnTo>
                    <a:lnTo>
                      <a:pt x="308" y="310"/>
                    </a:lnTo>
                    <a:lnTo>
                      <a:pt x="307" y="311"/>
                    </a:lnTo>
                    <a:lnTo>
                      <a:pt x="306" y="310"/>
                    </a:lnTo>
                    <a:lnTo>
                      <a:pt x="305" y="310"/>
                    </a:lnTo>
                    <a:lnTo>
                      <a:pt x="304" y="310"/>
                    </a:lnTo>
                    <a:lnTo>
                      <a:pt x="302" y="310"/>
                    </a:lnTo>
                    <a:lnTo>
                      <a:pt x="301" y="310"/>
                    </a:lnTo>
                    <a:lnTo>
                      <a:pt x="300" y="310"/>
                    </a:lnTo>
                    <a:lnTo>
                      <a:pt x="299" y="310"/>
                    </a:lnTo>
                    <a:lnTo>
                      <a:pt x="298" y="310"/>
                    </a:lnTo>
                    <a:lnTo>
                      <a:pt x="297" y="310"/>
                    </a:lnTo>
                    <a:lnTo>
                      <a:pt x="297" y="311"/>
                    </a:lnTo>
                    <a:lnTo>
                      <a:pt x="296" y="310"/>
                    </a:lnTo>
                    <a:lnTo>
                      <a:pt x="296" y="311"/>
                    </a:lnTo>
                    <a:lnTo>
                      <a:pt x="296" y="312"/>
                    </a:lnTo>
                    <a:lnTo>
                      <a:pt x="295" y="313"/>
                    </a:lnTo>
                    <a:lnTo>
                      <a:pt x="294" y="313"/>
                    </a:lnTo>
                    <a:lnTo>
                      <a:pt x="293" y="313"/>
                    </a:lnTo>
                    <a:lnTo>
                      <a:pt x="293" y="314"/>
                    </a:lnTo>
                    <a:lnTo>
                      <a:pt x="292" y="314"/>
                    </a:lnTo>
                    <a:lnTo>
                      <a:pt x="291" y="314"/>
                    </a:lnTo>
                    <a:lnTo>
                      <a:pt x="289" y="316"/>
                    </a:lnTo>
                    <a:lnTo>
                      <a:pt x="288" y="316"/>
                    </a:lnTo>
                    <a:lnTo>
                      <a:pt x="288" y="314"/>
                    </a:lnTo>
                    <a:lnTo>
                      <a:pt x="287" y="314"/>
                    </a:lnTo>
                    <a:lnTo>
                      <a:pt x="286" y="314"/>
                    </a:lnTo>
                    <a:lnTo>
                      <a:pt x="285" y="313"/>
                    </a:lnTo>
                    <a:lnTo>
                      <a:pt x="285" y="314"/>
                    </a:lnTo>
                    <a:lnTo>
                      <a:pt x="284" y="314"/>
                    </a:lnTo>
                    <a:lnTo>
                      <a:pt x="283" y="316"/>
                    </a:lnTo>
                    <a:lnTo>
                      <a:pt x="282" y="316"/>
                    </a:lnTo>
                    <a:lnTo>
                      <a:pt x="281" y="316"/>
                    </a:lnTo>
                    <a:lnTo>
                      <a:pt x="280" y="316"/>
                    </a:lnTo>
                    <a:lnTo>
                      <a:pt x="279" y="316"/>
                    </a:lnTo>
                    <a:lnTo>
                      <a:pt x="280" y="314"/>
                    </a:lnTo>
                    <a:lnTo>
                      <a:pt x="279" y="314"/>
                    </a:lnTo>
                    <a:lnTo>
                      <a:pt x="278" y="314"/>
                    </a:lnTo>
                    <a:lnTo>
                      <a:pt x="276" y="314"/>
                    </a:lnTo>
                    <a:lnTo>
                      <a:pt x="275" y="314"/>
                    </a:lnTo>
                    <a:lnTo>
                      <a:pt x="275" y="313"/>
                    </a:lnTo>
                    <a:lnTo>
                      <a:pt x="274" y="313"/>
                    </a:lnTo>
                    <a:lnTo>
                      <a:pt x="274" y="314"/>
                    </a:lnTo>
                    <a:lnTo>
                      <a:pt x="273" y="314"/>
                    </a:lnTo>
                    <a:lnTo>
                      <a:pt x="272" y="313"/>
                    </a:lnTo>
                    <a:lnTo>
                      <a:pt x="271" y="312"/>
                    </a:lnTo>
                    <a:lnTo>
                      <a:pt x="270" y="312"/>
                    </a:lnTo>
                    <a:lnTo>
                      <a:pt x="269" y="311"/>
                    </a:lnTo>
                    <a:lnTo>
                      <a:pt x="268" y="311"/>
                    </a:lnTo>
                    <a:lnTo>
                      <a:pt x="267" y="311"/>
                    </a:lnTo>
                    <a:lnTo>
                      <a:pt x="267" y="312"/>
                    </a:lnTo>
                    <a:lnTo>
                      <a:pt x="266" y="312"/>
                    </a:lnTo>
                    <a:lnTo>
                      <a:pt x="266" y="313"/>
                    </a:lnTo>
                    <a:lnTo>
                      <a:pt x="266" y="314"/>
                    </a:lnTo>
                    <a:lnTo>
                      <a:pt x="265" y="314"/>
                    </a:lnTo>
                    <a:lnTo>
                      <a:pt x="263" y="314"/>
                    </a:lnTo>
                    <a:lnTo>
                      <a:pt x="263" y="313"/>
                    </a:lnTo>
                    <a:lnTo>
                      <a:pt x="263" y="314"/>
                    </a:lnTo>
                    <a:lnTo>
                      <a:pt x="262" y="314"/>
                    </a:lnTo>
                    <a:lnTo>
                      <a:pt x="248" y="314"/>
                    </a:lnTo>
                    <a:lnTo>
                      <a:pt x="234" y="314"/>
                    </a:lnTo>
                    <a:lnTo>
                      <a:pt x="227" y="314"/>
                    </a:lnTo>
                    <a:lnTo>
                      <a:pt x="221" y="314"/>
                    </a:lnTo>
                    <a:lnTo>
                      <a:pt x="220" y="314"/>
                    </a:lnTo>
                    <a:lnTo>
                      <a:pt x="219" y="314"/>
                    </a:lnTo>
                    <a:lnTo>
                      <a:pt x="214" y="314"/>
                    </a:lnTo>
                    <a:lnTo>
                      <a:pt x="195" y="314"/>
                    </a:lnTo>
                    <a:lnTo>
                      <a:pt x="195" y="298"/>
                    </a:lnTo>
                    <a:lnTo>
                      <a:pt x="195" y="285"/>
                    </a:lnTo>
                    <a:lnTo>
                      <a:pt x="195" y="284"/>
                    </a:lnTo>
                    <a:lnTo>
                      <a:pt x="195" y="281"/>
                    </a:lnTo>
                    <a:lnTo>
                      <a:pt x="195" y="280"/>
                    </a:lnTo>
                    <a:lnTo>
                      <a:pt x="195" y="268"/>
                    </a:lnTo>
                    <a:lnTo>
                      <a:pt x="195" y="261"/>
                    </a:lnTo>
                    <a:lnTo>
                      <a:pt x="195" y="257"/>
                    </a:lnTo>
                    <a:lnTo>
                      <a:pt x="195" y="252"/>
                    </a:lnTo>
                    <a:lnTo>
                      <a:pt x="178" y="252"/>
                    </a:lnTo>
                    <a:lnTo>
                      <a:pt x="152" y="250"/>
                    </a:lnTo>
                    <a:lnTo>
                      <a:pt x="138" y="250"/>
                    </a:lnTo>
                    <a:lnTo>
                      <a:pt x="132" y="250"/>
                    </a:lnTo>
                    <a:lnTo>
                      <a:pt x="132" y="247"/>
                    </a:lnTo>
                    <a:lnTo>
                      <a:pt x="132" y="245"/>
                    </a:lnTo>
                    <a:lnTo>
                      <a:pt x="132" y="240"/>
                    </a:lnTo>
                    <a:lnTo>
                      <a:pt x="132" y="224"/>
                    </a:lnTo>
                    <a:lnTo>
                      <a:pt x="131" y="215"/>
                    </a:lnTo>
                    <a:lnTo>
                      <a:pt x="130" y="215"/>
                    </a:lnTo>
                    <a:lnTo>
                      <a:pt x="129" y="215"/>
                    </a:lnTo>
                    <a:lnTo>
                      <a:pt x="128" y="215"/>
                    </a:lnTo>
                    <a:lnTo>
                      <a:pt x="127" y="215"/>
                    </a:lnTo>
                    <a:lnTo>
                      <a:pt x="125" y="215"/>
                    </a:lnTo>
                    <a:lnTo>
                      <a:pt x="124" y="215"/>
                    </a:lnTo>
                    <a:lnTo>
                      <a:pt x="123" y="214"/>
                    </a:lnTo>
                    <a:lnTo>
                      <a:pt x="121" y="214"/>
                    </a:lnTo>
                    <a:lnTo>
                      <a:pt x="121" y="215"/>
                    </a:lnTo>
                    <a:lnTo>
                      <a:pt x="120" y="215"/>
                    </a:lnTo>
                    <a:lnTo>
                      <a:pt x="120" y="216"/>
                    </a:lnTo>
                    <a:lnTo>
                      <a:pt x="120" y="215"/>
                    </a:lnTo>
                    <a:lnTo>
                      <a:pt x="119" y="215"/>
                    </a:lnTo>
                    <a:lnTo>
                      <a:pt x="119" y="216"/>
                    </a:lnTo>
                    <a:lnTo>
                      <a:pt x="118" y="215"/>
                    </a:lnTo>
                    <a:lnTo>
                      <a:pt x="118" y="216"/>
                    </a:lnTo>
                    <a:lnTo>
                      <a:pt x="118" y="217"/>
                    </a:lnTo>
                    <a:lnTo>
                      <a:pt x="118" y="216"/>
                    </a:lnTo>
                    <a:lnTo>
                      <a:pt x="117" y="216"/>
                    </a:lnTo>
                    <a:lnTo>
                      <a:pt x="116" y="216"/>
                    </a:lnTo>
                    <a:lnTo>
                      <a:pt x="115" y="216"/>
                    </a:lnTo>
                    <a:lnTo>
                      <a:pt x="114" y="216"/>
                    </a:lnTo>
                    <a:lnTo>
                      <a:pt x="114" y="215"/>
                    </a:lnTo>
                    <a:lnTo>
                      <a:pt x="114" y="214"/>
                    </a:lnTo>
                    <a:lnTo>
                      <a:pt x="113" y="214"/>
                    </a:lnTo>
                    <a:lnTo>
                      <a:pt x="113" y="213"/>
                    </a:lnTo>
                    <a:lnTo>
                      <a:pt x="112" y="213"/>
                    </a:lnTo>
                    <a:lnTo>
                      <a:pt x="113" y="213"/>
                    </a:lnTo>
                    <a:lnTo>
                      <a:pt x="113" y="211"/>
                    </a:lnTo>
                    <a:lnTo>
                      <a:pt x="112" y="210"/>
                    </a:lnTo>
                    <a:lnTo>
                      <a:pt x="112" y="209"/>
                    </a:lnTo>
                    <a:lnTo>
                      <a:pt x="111" y="208"/>
                    </a:lnTo>
                    <a:lnTo>
                      <a:pt x="111" y="207"/>
                    </a:lnTo>
                    <a:lnTo>
                      <a:pt x="111" y="206"/>
                    </a:lnTo>
                    <a:lnTo>
                      <a:pt x="110" y="205"/>
                    </a:lnTo>
                    <a:lnTo>
                      <a:pt x="108" y="205"/>
                    </a:lnTo>
                    <a:lnTo>
                      <a:pt x="107" y="205"/>
                    </a:lnTo>
                    <a:lnTo>
                      <a:pt x="106" y="204"/>
                    </a:lnTo>
                    <a:lnTo>
                      <a:pt x="106" y="203"/>
                    </a:lnTo>
                    <a:lnTo>
                      <a:pt x="107" y="203"/>
                    </a:lnTo>
                    <a:lnTo>
                      <a:pt x="106" y="202"/>
                    </a:lnTo>
                    <a:lnTo>
                      <a:pt x="105" y="202"/>
                    </a:lnTo>
                    <a:lnTo>
                      <a:pt x="105" y="201"/>
                    </a:lnTo>
                    <a:lnTo>
                      <a:pt x="104" y="201"/>
                    </a:lnTo>
                    <a:lnTo>
                      <a:pt x="104" y="200"/>
                    </a:lnTo>
                    <a:lnTo>
                      <a:pt x="103" y="198"/>
                    </a:lnTo>
                    <a:lnTo>
                      <a:pt x="102" y="198"/>
                    </a:lnTo>
                    <a:lnTo>
                      <a:pt x="102" y="197"/>
                    </a:lnTo>
                    <a:lnTo>
                      <a:pt x="102" y="196"/>
                    </a:lnTo>
                    <a:lnTo>
                      <a:pt x="102" y="195"/>
                    </a:lnTo>
                    <a:lnTo>
                      <a:pt x="101" y="195"/>
                    </a:lnTo>
                    <a:lnTo>
                      <a:pt x="101" y="194"/>
                    </a:lnTo>
                    <a:lnTo>
                      <a:pt x="100" y="194"/>
                    </a:lnTo>
                    <a:lnTo>
                      <a:pt x="100" y="195"/>
                    </a:lnTo>
                    <a:lnTo>
                      <a:pt x="99" y="195"/>
                    </a:lnTo>
                    <a:lnTo>
                      <a:pt x="98" y="195"/>
                    </a:lnTo>
                    <a:lnTo>
                      <a:pt x="97" y="195"/>
                    </a:lnTo>
                    <a:lnTo>
                      <a:pt x="95" y="195"/>
                    </a:lnTo>
                    <a:lnTo>
                      <a:pt x="94" y="195"/>
                    </a:lnTo>
                    <a:lnTo>
                      <a:pt x="93" y="195"/>
                    </a:lnTo>
                    <a:lnTo>
                      <a:pt x="92" y="195"/>
                    </a:lnTo>
                    <a:lnTo>
                      <a:pt x="91" y="194"/>
                    </a:lnTo>
                    <a:lnTo>
                      <a:pt x="90" y="194"/>
                    </a:lnTo>
                    <a:lnTo>
                      <a:pt x="90" y="193"/>
                    </a:lnTo>
                    <a:lnTo>
                      <a:pt x="89" y="193"/>
                    </a:lnTo>
                    <a:lnTo>
                      <a:pt x="88" y="192"/>
                    </a:lnTo>
                    <a:lnTo>
                      <a:pt x="88" y="191"/>
                    </a:lnTo>
                    <a:lnTo>
                      <a:pt x="88" y="190"/>
                    </a:lnTo>
                    <a:lnTo>
                      <a:pt x="87" y="190"/>
                    </a:lnTo>
                    <a:lnTo>
                      <a:pt x="86" y="189"/>
                    </a:lnTo>
                    <a:lnTo>
                      <a:pt x="85" y="190"/>
                    </a:lnTo>
                    <a:lnTo>
                      <a:pt x="85" y="189"/>
                    </a:lnTo>
                    <a:lnTo>
                      <a:pt x="82" y="189"/>
                    </a:lnTo>
                    <a:lnTo>
                      <a:pt x="82" y="190"/>
                    </a:lnTo>
                    <a:lnTo>
                      <a:pt x="81" y="190"/>
                    </a:lnTo>
                    <a:lnTo>
                      <a:pt x="80" y="191"/>
                    </a:lnTo>
                    <a:lnTo>
                      <a:pt x="80" y="190"/>
                    </a:lnTo>
                    <a:lnTo>
                      <a:pt x="79" y="190"/>
                    </a:lnTo>
                    <a:lnTo>
                      <a:pt x="78" y="190"/>
                    </a:lnTo>
                    <a:lnTo>
                      <a:pt x="77" y="190"/>
                    </a:lnTo>
                    <a:lnTo>
                      <a:pt x="77" y="191"/>
                    </a:lnTo>
                    <a:lnTo>
                      <a:pt x="76" y="191"/>
                    </a:lnTo>
                    <a:lnTo>
                      <a:pt x="75" y="191"/>
                    </a:lnTo>
                    <a:lnTo>
                      <a:pt x="74" y="191"/>
                    </a:lnTo>
                    <a:lnTo>
                      <a:pt x="73" y="191"/>
                    </a:lnTo>
                    <a:lnTo>
                      <a:pt x="72" y="190"/>
                    </a:lnTo>
                    <a:lnTo>
                      <a:pt x="70" y="190"/>
                    </a:lnTo>
                    <a:lnTo>
                      <a:pt x="70" y="189"/>
                    </a:lnTo>
                    <a:lnTo>
                      <a:pt x="69" y="189"/>
                    </a:lnTo>
                    <a:lnTo>
                      <a:pt x="68" y="189"/>
                    </a:lnTo>
                    <a:lnTo>
                      <a:pt x="67" y="189"/>
                    </a:lnTo>
                    <a:lnTo>
                      <a:pt x="66" y="189"/>
                    </a:lnTo>
                    <a:lnTo>
                      <a:pt x="66" y="188"/>
                    </a:lnTo>
                    <a:lnTo>
                      <a:pt x="66" y="187"/>
                    </a:lnTo>
                    <a:lnTo>
                      <a:pt x="65" y="187"/>
                    </a:lnTo>
                    <a:lnTo>
                      <a:pt x="65" y="185"/>
                    </a:lnTo>
                    <a:lnTo>
                      <a:pt x="64" y="185"/>
                    </a:lnTo>
                    <a:lnTo>
                      <a:pt x="63" y="185"/>
                    </a:lnTo>
                    <a:lnTo>
                      <a:pt x="62" y="185"/>
                    </a:lnTo>
                    <a:lnTo>
                      <a:pt x="62" y="187"/>
                    </a:lnTo>
                    <a:lnTo>
                      <a:pt x="61" y="187"/>
                    </a:lnTo>
                    <a:lnTo>
                      <a:pt x="60" y="187"/>
                    </a:lnTo>
                    <a:lnTo>
                      <a:pt x="47" y="187"/>
                    </a:lnTo>
                    <a:lnTo>
                      <a:pt x="36" y="187"/>
                    </a:lnTo>
                    <a:lnTo>
                      <a:pt x="5" y="187"/>
                    </a:lnTo>
                    <a:lnTo>
                      <a:pt x="5" y="158"/>
                    </a:lnTo>
                    <a:lnTo>
                      <a:pt x="5" y="154"/>
                    </a:lnTo>
                    <a:lnTo>
                      <a:pt x="0" y="154"/>
                    </a:lnTo>
                    <a:lnTo>
                      <a:pt x="0" y="153"/>
                    </a:lnTo>
                    <a:lnTo>
                      <a:pt x="0" y="143"/>
                    </a:lnTo>
                    <a:lnTo>
                      <a:pt x="5" y="143"/>
                    </a:lnTo>
                    <a:lnTo>
                      <a:pt x="5" y="126"/>
                    </a:lnTo>
                    <a:lnTo>
                      <a:pt x="5" y="115"/>
                    </a:lnTo>
                    <a:lnTo>
                      <a:pt x="5" y="114"/>
                    </a:lnTo>
                    <a:lnTo>
                      <a:pt x="5" y="110"/>
                    </a:lnTo>
                    <a:lnTo>
                      <a:pt x="5" y="106"/>
                    </a:lnTo>
                    <a:lnTo>
                      <a:pt x="5" y="104"/>
                    </a:lnTo>
                    <a:lnTo>
                      <a:pt x="5" y="102"/>
                    </a:lnTo>
                    <a:lnTo>
                      <a:pt x="5" y="85"/>
                    </a:lnTo>
                    <a:lnTo>
                      <a:pt x="5" y="72"/>
                    </a:lnTo>
                    <a:lnTo>
                      <a:pt x="5" y="67"/>
                    </a:lnTo>
                    <a:lnTo>
                      <a:pt x="5" y="66"/>
                    </a:lnTo>
                    <a:lnTo>
                      <a:pt x="5" y="55"/>
                    </a:lnTo>
                    <a:lnTo>
                      <a:pt x="5" y="41"/>
                    </a:lnTo>
                    <a:lnTo>
                      <a:pt x="5" y="26"/>
                    </a:lnTo>
                    <a:lnTo>
                      <a:pt x="5" y="11"/>
                    </a:lnTo>
                    <a:lnTo>
                      <a:pt x="5" y="7"/>
                    </a:lnTo>
                    <a:lnTo>
                      <a:pt x="5" y="5"/>
                    </a:lnTo>
                    <a:lnTo>
                      <a:pt x="5" y="4"/>
                    </a:lnTo>
                    <a:lnTo>
                      <a:pt x="5" y="3"/>
                    </a:lnTo>
                    <a:lnTo>
                      <a:pt x="5" y="2"/>
                    </a:lnTo>
                    <a:lnTo>
                      <a:pt x="5" y="1"/>
                    </a:lnTo>
                    <a:lnTo>
                      <a:pt x="5" y="0"/>
                    </a:lnTo>
                    <a:lnTo>
                      <a:pt x="10" y="0"/>
                    </a:lnTo>
                    <a:lnTo>
                      <a:pt x="11" y="0"/>
                    </a:lnTo>
                    <a:lnTo>
                      <a:pt x="12" y="0"/>
                    </a:lnTo>
                    <a:lnTo>
                      <a:pt x="14" y="0"/>
                    </a:lnTo>
                    <a:lnTo>
                      <a:pt x="16" y="0"/>
                    </a:lnTo>
                    <a:lnTo>
                      <a:pt x="18" y="0"/>
                    </a:lnTo>
                    <a:lnTo>
                      <a:pt x="26" y="0"/>
                    </a:lnTo>
                    <a:lnTo>
                      <a:pt x="56" y="1"/>
                    </a:lnTo>
                    <a:lnTo>
                      <a:pt x="65" y="1"/>
                    </a:lnTo>
                    <a:lnTo>
                      <a:pt x="77" y="1"/>
                    </a:lnTo>
                    <a:lnTo>
                      <a:pt x="86" y="1"/>
                    </a:lnTo>
                    <a:lnTo>
                      <a:pt x="91" y="1"/>
                    </a:lnTo>
                    <a:lnTo>
                      <a:pt x="99" y="1"/>
                    </a:lnTo>
                    <a:lnTo>
                      <a:pt x="104" y="1"/>
                    </a:lnTo>
                    <a:lnTo>
                      <a:pt x="107" y="1"/>
                    </a:lnTo>
                    <a:lnTo>
                      <a:pt x="119" y="1"/>
                    </a:lnTo>
                    <a:lnTo>
                      <a:pt x="126" y="1"/>
                    </a:lnTo>
                    <a:lnTo>
                      <a:pt x="128" y="1"/>
                    </a:lnTo>
                    <a:lnTo>
                      <a:pt x="137" y="2"/>
                    </a:lnTo>
                    <a:lnTo>
                      <a:pt x="141" y="2"/>
                    </a:lnTo>
                    <a:lnTo>
                      <a:pt x="143" y="2"/>
                    </a:lnTo>
                    <a:lnTo>
                      <a:pt x="144" y="2"/>
                    </a:lnTo>
                    <a:lnTo>
                      <a:pt x="146" y="2"/>
                    </a:lnTo>
                    <a:lnTo>
                      <a:pt x="150" y="2"/>
                    </a:lnTo>
                    <a:lnTo>
                      <a:pt x="156" y="2"/>
                    </a:lnTo>
                    <a:lnTo>
                      <a:pt x="168" y="2"/>
                    </a:lnTo>
                    <a:lnTo>
                      <a:pt x="189" y="2"/>
                    </a:lnTo>
                    <a:lnTo>
                      <a:pt x="203" y="2"/>
                    </a:lnTo>
                    <a:lnTo>
                      <a:pt x="205" y="2"/>
                    </a:lnTo>
                    <a:lnTo>
                      <a:pt x="220" y="3"/>
                    </a:lnTo>
                    <a:lnTo>
                      <a:pt x="222" y="3"/>
                    </a:lnTo>
                    <a:lnTo>
                      <a:pt x="224" y="3"/>
                    </a:lnTo>
                    <a:lnTo>
                      <a:pt x="228" y="3"/>
                    </a:lnTo>
                    <a:lnTo>
                      <a:pt x="239" y="3"/>
                    </a:lnTo>
                    <a:lnTo>
                      <a:pt x="243" y="3"/>
                    </a:lnTo>
                    <a:lnTo>
                      <a:pt x="244" y="3"/>
                    </a:lnTo>
                    <a:lnTo>
                      <a:pt x="249" y="3"/>
                    </a:lnTo>
                    <a:lnTo>
                      <a:pt x="268" y="3"/>
                    </a:lnTo>
                    <a:lnTo>
                      <a:pt x="270" y="3"/>
                    </a:lnTo>
                    <a:lnTo>
                      <a:pt x="272" y="3"/>
                    </a:lnTo>
                    <a:lnTo>
                      <a:pt x="283" y="3"/>
                    </a:lnTo>
                    <a:lnTo>
                      <a:pt x="284" y="3"/>
                    </a:lnTo>
                    <a:lnTo>
                      <a:pt x="288" y="3"/>
                    </a:lnTo>
                    <a:lnTo>
                      <a:pt x="289" y="3"/>
                    </a:lnTo>
                    <a:lnTo>
                      <a:pt x="291" y="4"/>
                    </a:lnTo>
                    <a:lnTo>
                      <a:pt x="296" y="4"/>
                    </a:lnTo>
                    <a:lnTo>
                      <a:pt x="313" y="4"/>
                    </a:lnTo>
                    <a:lnTo>
                      <a:pt x="314" y="4"/>
                    </a:lnTo>
                    <a:lnTo>
                      <a:pt x="328" y="4"/>
                    </a:lnTo>
                    <a:lnTo>
                      <a:pt x="351" y="4"/>
                    </a:lnTo>
                    <a:lnTo>
                      <a:pt x="363" y="4"/>
                    </a:lnTo>
                    <a:lnTo>
                      <a:pt x="407" y="4"/>
                    </a:lnTo>
                    <a:lnTo>
                      <a:pt x="408" y="4"/>
                    </a:lnTo>
                    <a:close/>
                  </a:path>
                </a:pathLst>
              </a:custGeom>
              <a:solidFill>
                <a:srgbClr val="2A81E8"/>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7" name="Freeform 325">
                <a:extLst>
                  <a:ext uri="{FF2B5EF4-FFF2-40B4-BE49-F238E27FC236}">
                    <a16:creationId xmlns:a16="http://schemas.microsoft.com/office/drawing/2014/main" id="{4C4EA0D3-3897-E3B7-52DA-765F276217BA}"/>
                  </a:ext>
                </a:extLst>
              </p:cNvPr>
              <p:cNvSpPr>
                <a:spLocks/>
              </p:cNvSpPr>
              <p:nvPr/>
            </p:nvSpPr>
            <p:spPr bwMode="auto">
              <a:xfrm>
                <a:off x="3048001" y="1139825"/>
                <a:ext cx="635000" cy="582613"/>
              </a:xfrm>
              <a:custGeom>
                <a:avLst/>
                <a:gdLst>
                  <a:gd name="T0" fmla="*/ 394 w 400"/>
                  <a:gd name="T1" fmla="*/ 14 h 367"/>
                  <a:gd name="T2" fmla="*/ 393 w 400"/>
                  <a:gd name="T3" fmla="*/ 19 h 367"/>
                  <a:gd name="T4" fmla="*/ 382 w 400"/>
                  <a:gd name="T5" fmla="*/ 35 h 367"/>
                  <a:gd name="T6" fmla="*/ 374 w 400"/>
                  <a:gd name="T7" fmla="*/ 59 h 367"/>
                  <a:gd name="T8" fmla="*/ 361 w 400"/>
                  <a:gd name="T9" fmla="*/ 84 h 367"/>
                  <a:gd name="T10" fmla="*/ 344 w 400"/>
                  <a:gd name="T11" fmla="*/ 97 h 367"/>
                  <a:gd name="T12" fmla="*/ 325 w 400"/>
                  <a:gd name="T13" fmla="*/ 107 h 367"/>
                  <a:gd name="T14" fmla="*/ 313 w 400"/>
                  <a:gd name="T15" fmla="*/ 124 h 367"/>
                  <a:gd name="T16" fmla="*/ 307 w 400"/>
                  <a:gd name="T17" fmla="*/ 139 h 367"/>
                  <a:gd name="T18" fmla="*/ 304 w 400"/>
                  <a:gd name="T19" fmla="*/ 152 h 367"/>
                  <a:gd name="T20" fmla="*/ 295 w 400"/>
                  <a:gd name="T21" fmla="*/ 164 h 367"/>
                  <a:gd name="T22" fmla="*/ 300 w 400"/>
                  <a:gd name="T23" fmla="*/ 183 h 367"/>
                  <a:gd name="T24" fmla="*/ 290 w 400"/>
                  <a:gd name="T25" fmla="*/ 200 h 367"/>
                  <a:gd name="T26" fmla="*/ 281 w 400"/>
                  <a:gd name="T27" fmla="*/ 212 h 367"/>
                  <a:gd name="T28" fmla="*/ 279 w 400"/>
                  <a:gd name="T29" fmla="*/ 227 h 367"/>
                  <a:gd name="T30" fmla="*/ 281 w 400"/>
                  <a:gd name="T31" fmla="*/ 243 h 367"/>
                  <a:gd name="T32" fmla="*/ 273 w 400"/>
                  <a:gd name="T33" fmla="*/ 256 h 367"/>
                  <a:gd name="T34" fmla="*/ 263 w 400"/>
                  <a:gd name="T35" fmla="*/ 277 h 367"/>
                  <a:gd name="T36" fmla="*/ 245 w 400"/>
                  <a:gd name="T37" fmla="*/ 287 h 367"/>
                  <a:gd name="T38" fmla="*/ 230 w 400"/>
                  <a:gd name="T39" fmla="*/ 290 h 367"/>
                  <a:gd name="T40" fmla="*/ 214 w 400"/>
                  <a:gd name="T41" fmla="*/ 310 h 367"/>
                  <a:gd name="T42" fmla="*/ 206 w 400"/>
                  <a:gd name="T43" fmla="*/ 329 h 367"/>
                  <a:gd name="T44" fmla="*/ 193 w 400"/>
                  <a:gd name="T45" fmla="*/ 331 h 367"/>
                  <a:gd name="T46" fmla="*/ 183 w 400"/>
                  <a:gd name="T47" fmla="*/ 325 h 367"/>
                  <a:gd name="T48" fmla="*/ 168 w 400"/>
                  <a:gd name="T49" fmla="*/ 320 h 367"/>
                  <a:gd name="T50" fmla="*/ 160 w 400"/>
                  <a:gd name="T51" fmla="*/ 332 h 367"/>
                  <a:gd name="T52" fmla="*/ 150 w 400"/>
                  <a:gd name="T53" fmla="*/ 346 h 367"/>
                  <a:gd name="T54" fmla="*/ 148 w 400"/>
                  <a:gd name="T55" fmla="*/ 357 h 367"/>
                  <a:gd name="T56" fmla="*/ 132 w 400"/>
                  <a:gd name="T57" fmla="*/ 353 h 367"/>
                  <a:gd name="T58" fmla="*/ 121 w 400"/>
                  <a:gd name="T59" fmla="*/ 339 h 367"/>
                  <a:gd name="T60" fmla="*/ 115 w 400"/>
                  <a:gd name="T61" fmla="*/ 354 h 367"/>
                  <a:gd name="T62" fmla="*/ 106 w 400"/>
                  <a:gd name="T63" fmla="*/ 367 h 367"/>
                  <a:gd name="T64" fmla="*/ 109 w 400"/>
                  <a:gd name="T65" fmla="*/ 345 h 367"/>
                  <a:gd name="T66" fmla="*/ 101 w 400"/>
                  <a:gd name="T67" fmla="*/ 329 h 367"/>
                  <a:gd name="T68" fmla="*/ 95 w 400"/>
                  <a:gd name="T69" fmla="*/ 306 h 367"/>
                  <a:gd name="T70" fmla="*/ 101 w 400"/>
                  <a:gd name="T71" fmla="*/ 281 h 367"/>
                  <a:gd name="T72" fmla="*/ 102 w 400"/>
                  <a:gd name="T73" fmla="*/ 263 h 367"/>
                  <a:gd name="T74" fmla="*/ 104 w 400"/>
                  <a:gd name="T75" fmla="*/ 252 h 367"/>
                  <a:gd name="T76" fmla="*/ 84 w 400"/>
                  <a:gd name="T77" fmla="*/ 251 h 367"/>
                  <a:gd name="T78" fmla="*/ 72 w 400"/>
                  <a:gd name="T79" fmla="*/ 235 h 367"/>
                  <a:gd name="T80" fmla="*/ 66 w 400"/>
                  <a:gd name="T81" fmla="*/ 218 h 367"/>
                  <a:gd name="T82" fmla="*/ 50 w 400"/>
                  <a:gd name="T83" fmla="*/ 220 h 367"/>
                  <a:gd name="T84" fmla="*/ 36 w 400"/>
                  <a:gd name="T85" fmla="*/ 223 h 367"/>
                  <a:gd name="T86" fmla="*/ 31 w 400"/>
                  <a:gd name="T87" fmla="*/ 225 h 367"/>
                  <a:gd name="T88" fmla="*/ 21 w 400"/>
                  <a:gd name="T89" fmla="*/ 231 h 367"/>
                  <a:gd name="T90" fmla="*/ 18 w 400"/>
                  <a:gd name="T91" fmla="*/ 223 h 367"/>
                  <a:gd name="T92" fmla="*/ 14 w 400"/>
                  <a:gd name="T93" fmla="*/ 218 h 367"/>
                  <a:gd name="T94" fmla="*/ 20 w 400"/>
                  <a:gd name="T95" fmla="*/ 211 h 367"/>
                  <a:gd name="T96" fmla="*/ 11 w 400"/>
                  <a:gd name="T97" fmla="*/ 200 h 367"/>
                  <a:gd name="T98" fmla="*/ 14 w 400"/>
                  <a:gd name="T99" fmla="*/ 180 h 367"/>
                  <a:gd name="T100" fmla="*/ 12 w 400"/>
                  <a:gd name="T101" fmla="*/ 137 h 367"/>
                  <a:gd name="T102" fmla="*/ 17 w 400"/>
                  <a:gd name="T103" fmla="*/ 120 h 367"/>
                  <a:gd name="T104" fmla="*/ 5 w 400"/>
                  <a:gd name="T105" fmla="*/ 84 h 367"/>
                  <a:gd name="T106" fmla="*/ 4 w 400"/>
                  <a:gd name="T107" fmla="*/ 72 h 367"/>
                  <a:gd name="T108" fmla="*/ 7 w 400"/>
                  <a:gd name="T109" fmla="*/ 60 h 367"/>
                  <a:gd name="T110" fmla="*/ 1 w 400"/>
                  <a:gd name="T111" fmla="*/ 35 h 367"/>
                  <a:gd name="T112" fmla="*/ 5 w 400"/>
                  <a:gd name="T113" fmla="*/ 18 h 367"/>
                  <a:gd name="T114" fmla="*/ 53 w 400"/>
                  <a:gd name="T115" fmla="*/ 1 h 367"/>
                  <a:gd name="T116" fmla="*/ 202 w 400"/>
                  <a:gd name="T117" fmla="*/ 1 h 367"/>
                  <a:gd name="T118" fmla="*/ 310 w 400"/>
                  <a:gd name="T119" fmla="*/ 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67">
                    <a:moveTo>
                      <a:pt x="382" y="3"/>
                    </a:moveTo>
                    <a:lnTo>
                      <a:pt x="387" y="3"/>
                    </a:lnTo>
                    <a:lnTo>
                      <a:pt x="398" y="3"/>
                    </a:lnTo>
                    <a:lnTo>
                      <a:pt x="398" y="4"/>
                    </a:lnTo>
                    <a:lnTo>
                      <a:pt x="397" y="5"/>
                    </a:lnTo>
                    <a:lnTo>
                      <a:pt x="398" y="5"/>
                    </a:lnTo>
                    <a:lnTo>
                      <a:pt x="399" y="4"/>
                    </a:lnTo>
                    <a:lnTo>
                      <a:pt x="399" y="5"/>
                    </a:lnTo>
                    <a:lnTo>
                      <a:pt x="400" y="6"/>
                    </a:lnTo>
                    <a:lnTo>
                      <a:pt x="399" y="6"/>
                    </a:lnTo>
                    <a:lnTo>
                      <a:pt x="398" y="7"/>
                    </a:lnTo>
                    <a:lnTo>
                      <a:pt x="397" y="7"/>
                    </a:lnTo>
                    <a:lnTo>
                      <a:pt x="397" y="8"/>
                    </a:lnTo>
                    <a:lnTo>
                      <a:pt x="397" y="9"/>
                    </a:lnTo>
                    <a:lnTo>
                      <a:pt x="397" y="12"/>
                    </a:lnTo>
                    <a:lnTo>
                      <a:pt x="397" y="13"/>
                    </a:lnTo>
                    <a:lnTo>
                      <a:pt x="395" y="13"/>
                    </a:lnTo>
                    <a:lnTo>
                      <a:pt x="394" y="14"/>
                    </a:lnTo>
                    <a:lnTo>
                      <a:pt x="394" y="13"/>
                    </a:lnTo>
                    <a:lnTo>
                      <a:pt x="393" y="13"/>
                    </a:lnTo>
                    <a:lnTo>
                      <a:pt x="391" y="12"/>
                    </a:lnTo>
                    <a:lnTo>
                      <a:pt x="390" y="12"/>
                    </a:lnTo>
                    <a:lnTo>
                      <a:pt x="390" y="14"/>
                    </a:lnTo>
                    <a:lnTo>
                      <a:pt x="390" y="16"/>
                    </a:lnTo>
                    <a:lnTo>
                      <a:pt x="391" y="14"/>
                    </a:lnTo>
                    <a:lnTo>
                      <a:pt x="392" y="16"/>
                    </a:lnTo>
                    <a:lnTo>
                      <a:pt x="391" y="17"/>
                    </a:lnTo>
                    <a:lnTo>
                      <a:pt x="390" y="17"/>
                    </a:lnTo>
                    <a:lnTo>
                      <a:pt x="390" y="18"/>
                    </a:lnTo>
                    <a:lnTo>
                      <a:pt x="390" y="19"/>
                    </a:lnTo>
                    <a:lnTo>
                      <a:pt x="389" y="19"/>
                    </a:lnTo>
                    <a:lnTo>
                      <a:pt x="390" y="19"/>
                    </a:lnTo>
                    <a:lnTo>
                      <a:pt x="392" y="19"/>
                    </a:lnTo>
                    <a:lnTo>
                      <a:pt x="392" y="20"/>
                    </a:lnTo>
                    <a:lnTo>
                      <a:pt x="393" y="20"/>
                    </a:lnTo>
                    <a:lnTo>
                      <a:pt x="393" y="19"/>
                    </a:lnTo>
                    <a:lnTo>
                      <a:pt x="393" y="18"/>
                    </a:lnTo>
                    <a:lnTo>
                      <a:pt x="394" y="18"/>
                    </a:lnTo>
                    <a:lnTo>
                      <a:pt x="395" y="18"/>
                    </a:lnTo>
                    <a:lnTo>
                      <a:pt x="397" y="19"/>
                    </a:lnTo>
                    <a:lnTo>
                      <a:pt x="397" y="20"/>
                    </a:lnTo>
                    <a:lnTo>
                      <a:pt x="397" y="21"/>
                    </a:lnTo>
                    <a:lnTo>
                      <a:pt x="397" y="22"/>
                    </a:lnTo>
                    <a:lnTo>
                      <a:pt x="394" y="25"/>
                    </a:lnTo>
                    <a:lnTo>
                      <a:pt x="393" y="26"/>
                    </a:lnTo>
                    <a:lnTo>
                      <a:pt x="393" y="27"/>
                    </a:lnTo>
                    <a:lnTo>
                      <a:pt x="389" y="30"/>
                    </a:lnTo>
                    <a:lnTo>
                      <a:pt x="387" y="31"/>
                    </a:lnTo>
                    <a:lnTo>
                      <a:pt x="386" y="32"/>
                    </a:lnTo>
                    <a:lnTo>
                      <a:pt x="385" y="32"/>
                    </a:lnTo>
                    <a:lnTo>
                      <a:pt x="385" y="33"/>
                    </a:lnTo>
                    <a:lnTo>
                      <a:pt x="385" y="34"/>
                    </a:lnTo>
                    <a:lnTo>
                      <a:pt x="383" y="34"/>
                    </a:lnTo>
                    <a:lnTo>
                      <a:pt x="382" y="35"/>
                    </a:lnTo>
                    <a:lnTo>
                      <a:pt x="382" y="37"/>
                    </a:lnTo>
                    <a:lnTo>
                      <a:pt x="381" y="38"/>
                    </a:lnTo>
                    <a:lnTo>
                      <a:pt x="380" y="40"/>
                    </a:lnTo>
                    <a:lnTo>
                      <a:pt x="380" y="42"/>
                    </a:lnTo>
                    <a:lnTo>
                      <a:pt x="380" y="43"/>
                    </a:lnTo>
                    <a:lnTo>
                      <a:pt x="379" y="44"/>
                    </a:lnTo>
                    <a:lnTo>
                      <a:pt x="378" y="44"/>
                    </a:lnTo>
                    <a:lnTo>
                      <a:pt x="378" y="45"/>
                    </a:lnTo>
                    <a:lnTo>
                      <a:pt x="377" y="46"/>
                    </a:lnTo>
                    <a:lnTo>
                      <a:pt x="376" y="46"/>
                    </a:lnTo>
                    <a:lnTo>
                      <a:pt x="375" y="47"/>
                    </a:lnTo>
                    <a:lnTo>
                      <a:pt x="374" y="48"/>
                    </a:lnTo>
                    <a:lnTo>
                      <a:pt x="373" y="49"/>
                    </a:lnTo>
                    <a:lnTo>
                      <a:pt x="372" y="50"/>
                    </a:lnTo>
                    <a:lnTo>
                      <a:pt x="370" y="52"/>
                    </a:lnTo>
                    <a:lnTo>
                      <a:pt x="370" y="53"/>
                    </a:lnTo>
                    <a:lnTo>
                      <a:pt x="374" y="58"/>
                    </a:lnTo>
                    <a:lnTo>
                      <a:pt x="374" y="59"/>
                    </a:lnTo>
                    <a:lnTo>
                      <a:pt x="374" y="60"/>
                    </a:lnTo>
                    <a:lnTo>
                      <a:pt x="373" y="61"/>
                    </a:lnTo>
                    <a:lnTo>
                      <a:pt x="370" y="62"/>
                    </a:lnTo>
                    <a:lnTo>
                      <a:pt x="369" y="63"/>
                    </a:lnTo>
                    <a:lnTo>
                      <a:pt x="368" y="65"/>
                    </a:lnTo>
                    <a:lnTo>
                      <a:pt x="367" y="66"/>
                    </a:lnTo>
                    <a:lnTo>
                      <a:pt x="366" y="69"/>
                    </a:lnTo>
                    <a:lnTo>
                      <a:pt x="366" y="70"/>
                    </a:lnTo>
                    <a:lnTo>
                      <a:pt x="365" y="71"/>
                    </a:lnTo>
                    <a:lnTo>
                      <a:pt x="364" y="72"/>
                    </a:lnTo>
                    <a:lnTo>
                      <a:pt x="363" y="73"/>
                    </a:lnTo>
                    <a:lnTo>
                      <a:pt x="361" y="74"/>
                    </a:lnTo>
                    <a:lnTo>
                      <a:pt x="361" y="75"/>
                    </a:lnTo>
                    <a:lnTo>
                      <a:pt x="360" y="75"/>
                    </a:lnTo>
                    <a:lnTo>
                      <a:pt x="360" y="77"/>
                    </a:lnTo>
                    <a:lnTo>
                      <a:pt x="360" y="78"/>
                    </a:lnTo>
                    <a:lnTo>
                      <a:pt x="360" y="81"/>
                    </a:lnTo>
                    <a:lnTo>
                      <a:pt x="361" y="84"/>
                    </a:lnTo>
                    <a:lnTo>
                      <a:pt x="361" y="85"/>
                    </a:lnTo>
                    <a:lnTo>
                      <a:pt x="362" y="86"/>
                    </a:lnTo>
                    <a:lnTo>
                      <a:pt x="362" y="87"/>
                    </a:lnTo>
                    <a:lnTo>
                      <a:pt x="361" y="87"/>
                    </a:lnTo>
                    <a:lnTo>
                      <a:pt x="360" y="87"/>
                    </a:lnTo>
                    <a:lnTo>
                      <a:pt x="359" y="88"/>
                    </a:lnTo>
                    <a:lnTo>
                      <a:pt x="359" y="89"/>
                    </a:lnTo>
                    <a:lnTo>
                      <a:pt x="357" y="89"/>
                    </a:lnTo>
                    <a:lnTo>
                      <a:pt x="357" y="91"/>
                    </a:lnTo>
                    <a:lnTo>
                      <a:pt x="356" y="91"/>
                    </a:lnTo>
                    <a:lnTo>
                      <a:pt x="354" y="93"/>
                    </a:lnTo>
                    <a:lnTo>
                      <a:pt x="352" y="95"/>
                    </a:lnTo>
                    <a:lnTo>
                      <a:pt x="350" y="96"/>
                    </a:lnTo>
                    <a:lnTo>
                      <a:pt x="349" y="96"/>
                    </a:lnTo>
                    <a:lnTo>
                      <a:pt x="348" y="97"/>
                    </a:lnTo>
                    <a:lnTo>
                      <a:pt x="347" y="97"/>
                    </a:lnTo>
                    <a:lnTo>
                      <a:pt x="346" y="97"/>
                    </a:lnTo>
                    <a:lnTo>
                      <a:pt x="344" y="97"/>
                    </a:lnTo>
                    <a:lnTo>
                      <a:pt x="343" y="98"/>
                    </a:lnTo>
                    <a:lnTo>
                      <a:pt x="341" y="97"/>
                    </a:lnTo>
                    <a:lnTo>
                      <a:pt x="340" y="97"/>
                    </a:lnTo>
                    <a:lnTo>
                      <a:pt x="337" y="96"/>
                    </a:lnTo>
                    <a:lnTo>
                      <a:pt x="336" y="97"/>
                    </a:lnTo>
                    <a:lnTo>
                      <a:pt x="335" y="97"/>
                    </a:lnTo>
                    <a:lnTo>
                      <a:pt x="334" y="97"/>
                    </a:lnTo>
                    <a:lnTo>
                      <a:pt x="333" y="97"/>
                    </a:lnTo>
                    <a:lnTo>
                      <a:pt x="333" y="98"/>
                    </a:lnTo>
                    <a:lnTo>
                      <a:pt x="330" y="99"/>
                    </a:lnTo>
                    <a:lnTo>
                      <a:pt x="329" y="100"/>
                    </a:lnTo>
                    <a:lnTo>
                      <a:pt x="329" y="101"/>
                    </a:lnTo>
                    <a:lnTo>
                      <a:pt x="329" y="102"/>
                    </a:lnTo>
                    <a:lnTo>
                      <a:pt x="328" y="103"/>
                    </a:lnTo>
                    <a:lnTo>
                      <a:pt x="327" y="104"/>
                    </a:lnTo>
                    <a:lnTo>
                      <a:pt x="327" y="106"/>
                    </a:lnTo>
                    <a:lnTo>
                      <a:pt x="326" y="107"/>
                    </a:lnTo>
                    <a:lnTo>
                      <a:pt x="325" y="107"/>
                    </a:lnTo>
                    <a:lnTo>
                      <a:pt x="324" y="108"/>
                    </a:lnTo>
                    <a:lnTo>
                      <a:pt x="323" y="109"/>
                    </a:lnTo>
                    <a:lnTo>
                      <a:pt x="322" y="110"/>
                    </a:lnTo>
                    <a:lnTo>
                      <a:pt x="321" y="111"/>
                    </a:lnTo>
                    <a:lnTo>
                      <a:pt x="320" y="112"/>
                    </a:lnTo>
                    <a:lnTo>
                      <a:pt x="318" y="112"/>
                    </a:lnTo>
                    <a:lnTo>
                      <a:pt x="317" y="112"/>
                    </a:lnTo>
                    <a:lnTo>
                      <a:pt x="317" y="113"/>
                    </a:lnTo>
                    <a:lnTo>
                      <a:pt x="317" y="114"/>
                    </a:lnTo>
                    <a:lnTo>
                      <a:pt x="317" y="115"/>
                    </a:lnTo>
                    <a:lnTo>
                      <a:pt x="316" y="116"/>
                    </a:lnTo>
                    <a:lnTo>
                      <a:pt x="316" y="117"/>
                    </a:lnTo>
                    <a:lnTo>
                      <a:pt x="316" y="119"/>
                    </a:lnTo>
                    <a:lnTo>
                      <a:pt x="316" y="120"/>
                    </a:lnTo>
                    <a:lnTo>
                      <a:pt x="315" y="121"/>
                    </a:lnTo>
                    <a:lnTo>
                      <a:pt x="314" y="122"/>
                    </a:lnTo>
                    <a:lnTo>
                      <a:pt x="313" y="123"/>
                    </a:lnTo>
                    <a:lnTo>
                      <a:pt x="313" y="124"/>
                    </a:lnTo>
                    <a:lnTo>
                      <a:pt x="313" y="127"/>
                    </a:lnTo>
                    <a:lnTo>
                      <a:pt x="313" y="129"/>
                    </a:lnTo>
                    <a:lnTo>
                      <a:pt x="312" y="129"/>
                    </a:lnTo>
                    <a:lnTo>
                      <a:pt x="311" y="129"/>
                    </a:lnTo>
                    <a:lnTo>
                      <a:pt x="311" y="130"/>
                    </a:lnTo>
                    <a:lnTo>
                      <a:pt x="311" y="132"/>
                    </a:lnTo>
                    <a:lnTo>
                      <a:pt x="312" y="132"/>
                    </a:lnTo>
                    <a:lnTo>
                      <a:pt x="313" y="132"/>
                    </a:lnTo>
                    <a:lnTo>
                      <a:pt x="314" y="132"/>
                    </a:lnTo>
                    <a:lnTo>
                      <a:pt x="314" y="133"/>
                    </a:lnTo>
                    <a:lnTo>
                      <a:pt x="313" y="134"/>
                    </a:lnTo>
                    <a:lnTo>
                      <a:pt x="312" y="136"/>
                    </a:lnTo>
                    <a:lnTo>
                      <a:pt x="310" y="137"/>
                    </a:lnTo>
                    <a:lnTo>
                      <a:pt x="310" y="138"/>
                    </a:lnTo>
                    <a:lnTo>
                      <a:pt x="310" y="139"/>
                    </a:lnTo>
                    <a:lnTo>
                      <a:pt x="309" y="139"/>
                    </a:lnTo>
                    <a:lnTo>
                      <a:pt x="308" y="139"/>
                    </a:lnTo>
                    <a:lnTo>
                      <a:pt x="307" y="139"/>
                    </a:lnTo>
                    <a:lnTo>
                      <a:pt x="307" y="140"/>
                    </a:lnTo>
                    <a:lnTo>
                      <a:pt x="307" y="141"/>
                    </a:lnTo>
                    <a:lnTo>
                      <a:pt x="308" y="141"/>
                    </a:lnTo>
                    <a:lnTo>
                      <a:pt x="307" y="141"/>
                    </a:lnTo>
                    <a:lnTo>
                      <a:pt x="305" y="142"/>
                    </a:lnTo>
                    <a:lnTo>
                      <a:pt x="305" y="143"/>
                    </a:lnTo>
                    <a:lnTo>
                      <a:pt x="304" y="145"/>
                    </a:lnTo>
                    <a:lnTo>
                      <a:pt x="305" y="145"/>
                    </a:lnTo>
                    <a:lnTo>
                      <a:pt x="305" y="146"/>
                    </a:lnTo>
                    <a:lnTo>
                      <a:pt x="304" y="146"/>
                    </a:lnTo>
                    <a:lnTo>
                      <a:pt x="303" y="146"/>
                    </a:lnTo>
                    <a:lnTo>
                      <a:pt x="303" y="147"/>
                    </a:lnTo>
                    <a:lnTo>
                      <a:pt x="303" y="148"/>
                    </a:lnTo>
                    <a:lnTo>
                      <a:pt x="303" y="149"/>
                    </a:lnTo>
                    <a:lnTo>
                      <a:pt x="303" y="150"/>
                    </a:lnTo>
                    <a:lnTo>
                      <a:pt x="303" y="151"/>
                    </a:lnTo>
                    <a:lnTo>
                      <a:pt x="304" y="151"/>
                    </a:lnTo>
                    <a:lnTo>
                      <a:pt x="304" y="152"/>
                    </a:lnTo>
                    <a:lnTo>
                      <a:pt x="303" y="152"/>
                    </a:lnTo>
                    <a:lnTo>
                      <a:pt x="303" y="153"/>
                    </a:lnTo>
                    <a:lnTo>
                      <a:pt x="304" y="154"/>
                    </a:lnTo>
                    <a:lnTo>
                      <a:pt x="303" y="155"/>
                    </a:lnTo>
                    <a:lnTo>
                      <a:pt x="302" y="155"/>
                    </a:lnTo>
                    <a:lnTo>
                      <a:pt x="301" y="155"/>
                    </a:lnTo>
                    <a:lnTo>
                      <a:pt x="302" y="156"/>
                    </a:lnTo>
                    <a:lnTo>
                      <a:pt x="302" y="158"/>
                    </a:lnTo>
                    <a:lnTo>
                      <a:pt x="301" y="158"/>
                    </a:lnTo>
                    <a:lnTo>
                      <a:pt x="300" y="158"/>
                    </a:lnTo>
                    <a:lnTo>
                      <a:pt x="300" y="159"/>
                    </a:lnTo>
                    <a:lnTo>
                      <a:pt x="299" y="160"/>
                    </a:lnTo>
                    <a:lnTo>
                      <a:pt x="298" y="160"/>
                    </a:lnTo>
                    <a:lnTo>
                      <a:pt x="297" y="161"/>
                    </a:lnTo>
                    <a:lnTo>
                      <a:pt x="297" y="162"/>
                    </a:lnTo>
                    <a:lnTo>
                      <a:pt x="296" y="162"/>
                    </a:lnTo>
                    <a:lnTo>
                      <a:pt x="295" y="163"/>
                    </a:lnTo>
                    <a:lnTo>
                      <a:pt x="295" y="164"/>
                    </a:lnTo>
                    <a:lnTo>
                      <a:pt x="295" y="165"/>
                    </a:lnTo>
                    <a:lnTo>
                      <a:pt x="295" y="166"/>
                    </a:lnTo>
                    <a:lnTo>
                      <a:pt x="296" y="166"/>
                    </a:lnTo>
                    <a:lnTo>
                      <a:pt x="297" y="165"/>
                    </a:lnTo>
                    <a:lnTo>
                      <a:pt x="297" y="166"/>
                    </a:lnTo>
                    <a:lnTo>
                      <a:pt x="297" y="167"/>
                    </a:lnTo>
                    <a:lnTo>
                      <a:pt x="297" y="168"/>
                    </a:lnTo>
                    <a:lnTo>
                      <a:pt x="298" y="171"/>
                    </a:lnTo>
                    <a:lnTo>
                      <a:pt x="299" y="171"/>
                    </a:lnTo>
                    <a:lnTo>
                      <a:pt x="299" y="172"/>
                    </a:lnTo>
                    <a:lnTo>
                      <a:pt x="300" y="173"/>
                    </a:lnTo>
                    <a:lnTo>
                      <a:pt x="300" y="174"/>
                    </a:lnTo>
                    <a:lnTo>
                      <a:pt x="300" y="176"/>
                    </a:lnTo>
                    <a:lnTo>
                      <a:pt x="300" y="177"/>
                    </a:lnTo>
                    <a:lnTo>
                      <a:pt x="300" y="179"/>
                    </a:lnTo>
                    <a:lnTo>
                      <a:pt x="300" y="180"/>
                    </a:lnTo>
                    <a:lnTo>
                      <a:pt x="300" y="181"/>
                    </a:lnTo>
                    <a:lnTo>
                      <a:pt x="300" y="183"/>
                    </a:lnTo>
                    <a:lnTo>
                      <a:pt x="300" y="185"/>
                    </a:lnTo>
                    <a:lnTo>
                      <a:pt x="300" y="186"/>
                    </a:lnTo>
                    <a:lnTo>
                      <a:pt x="300" y="188"/>
                    </a:lnTo>
                    <a:lnTo>
                      <a:pt x="300" y="189"/>
                    </a:lnTo>
                    <a:lnTo>
                      <a:pt x="299" y="190"/>
                    </a:lnTo>
                    <a:lnTo>
                      <a:pt x="298" y="190"/>
                    </a:lnTo>
                    <a:lnTo>
                      <a:pt x="298" y="191"/>
                    </a:lnTo>
                    <a:lnTo>
                      <a:pt x="297" y="192"/>
                    </a:lnTo>
                    <a:lnTo>
                      <a:pt x="297" y="193"/>
                    </a:lnTo>
                    <a:lnTo>
                      <a:pt x="296" y="193"/>
                    </a:lnTo>
                    <a:lnTo>
                      <a:pt x="295" y="196"/>
                    </a:lnTo>
                    <a:lnTo>
                      <a:pt x="294" y="197"/>
                    </a:lnTo>
                    <a:lnTo>
                      <a:pt x="294" y="198"/>
                    </a:lnTo>
                    <a:lnTo>
                      <a:pt x="292" y="198"/>
                    </a:lnTo>
                    <a:lnTo>
                      <a:pt x="291" y="198"/>
                    </a:lnTo>
                    <a:lnTo>
                      <a:pt x="290" y="198"/>
                    </a:lnTo>
                    <a:lnTo>
                      <a:pt x="290" y="199"/>
                    </a:lnTo>
                    <a:lnTo>
                      <a:pt x="290" y="200"/>
                    </a:lnTo>
                    <a:lnTo>
                      <a:pt x="290" y="201"/>
                    </a:lnTo>
                    <a:lnTo>
                      <a:pt x="290" y="202"/>
                    </a:lnTo>
                    <a:lnTo>
                      <a:pt x="290" y="203"/>
                    </a:lnTo>
                    <a:lnTo>
                      <a:pt x="289" y="203"/>
                    </a:lnTo>
                    <a:lnTo>
                      <a:pt x="288" y="203"/>
                    </a:lnTo>
                    <a:lnTo>
                      <a:pt x="288" y="205"/>
                    </a:lnTo>
                    <a:lnTo>
                      <a:pt x="287" y="205"/>
                    </a:lnTo>
                    <a:lnTo>
                      <a:pt x="287" y="206"/>
                    </a:lnTo>
                    <a:lnTo>
                      <a:pt x="287" y="207"/>
                    </a:lnTo>
                    <a:lnTo>
                      <a:pt x="287" y="209"/>
                    </a:lnTo>
                    <a:lnTo>
                      <a:pt x="287" y="210"/>
                    </a:lnTo>
                    <a:lnTo>
                      <a:pt x="287" y="211"/>
                    </a:lnTo>
                    <a:lnTo>
                      <a:pt x="286" y="211"/>
                    </a:lnTo>
                    <a:lnTo>
                      <a:pt x="284" y="210"/>
                    </a:lnTo>
                    <a:lnTo>
                      <a:pt x="284" y="211"/>
                    </a:lnTo>
                    <a:lnTo>
                      <a:pt x="283" y="211"/>
                    </a:lnTo>
                    <a:lnTo>
                      <a:pt x="282" y="212"/>
                    </a:lnTo>
                    <a:lnTo>
                      <a:pt x="281" y="212"/>
                    </a:lnTo>
                    <a:lnTo>
                      <a:pt x="279" y="212"/>
                    </a:lnTo>
                    <a:lnTo>
                      <a:pt x="279" y="213"/>
                    </a:lnTo>
                    <a:lnTo>
                      <a:pt x="278" y="214"/>
                    </a:lnTo>
                    <a:lnTo>
                      <a:pt x="277" y="215"/>
                    </a:lnTo>
                    <a:lnTo>
                      <a:pt x="277" y="216"/>
                    </a:lnTo>
                    <a:lnTo>
                      <a:pt x="276" y="218"/>
                    </a:lnTo>
                    <a:lnTo>
                      <a:pt x="276" y="219"/>
                    </a:lnTo>
                    <a:lnTo>
                      <a:pt x="276" y="220"/>
                    </a:lnTo>
                    <a:lnTo>
                      <a:pt x="275" y="220"/>
                    </a:lnTo>
                    <a:lnTo>
                      <a:pt x="274" y="222"/>
                    </a:lnTo>
                    <a:lnTo>
                      <a:pt x="274" y="223"/>
                    </a:lnTo>
                    <a:lnTo>
                      <a:pt x="274" y="224"/>
                    </a:lnTo>
                    <a:lnTo>
                      <a:pt x="274" y="225"/>
                    </a:lnTo>
                    <a:lnTo>
                      <a:pt x="275" y="225"/>
                    </a:lnTo>
                    <a:lnTo>
                      <a:pt x="276" y="225"/>
                    </a:lnTo>
                    <a:lnTo>
                      <a:pt x="277" y="225"/>
                    </a:lnTo>
                    <a:lnTo>
                      <a:pt x="278" y="226"/>
                    </a:lnTo>
                    <a:lnTo>
                      <a:pt x="279" y="227"/>
                    </a:lnTo>
                    <a:lnTo>
                      <a:pt x="279" y="228"/>
                    </a:lnTo>
                    <a:lnTo>
                      <a:pt x="279" y="229"/>
                    </a:lnTo>
                    <a:lnTo>
                      <a:pt x="281" y="229"/>
                    </a:lnTo>
                    <a:lnTo>
                      <a:pt x="282" y="229"/>
                    </a:lnTo>
                    <a:lnTo>
                      <a:pt x="283" y="228"/>
                    </a:lnTo>
                    <a:lnTo>
                      <a:pt x="283" y="229"/>
                    </a:lnTo>
                    <a:lnTo>
                      <a:pt x="283" y="230"/>
                    </a:lnTo>
                    <a:lnTo>
                      <a:pt x="283" y="231"/>
                    </a:lnTo>
                    <a:lnTo>
                      <a:pt x="284" y="231"/>
                    </a:lnTo>
                    <a:lnTo>
                      <a:pt x="284" y="232"/>
                    </a:lnTo>
                    <a:lnTo>
                      <a:pt x="285" y="233"/>
                    </a:lnTo>
                    <a:lnTo>
                      <a:pt x="285" y="235"/>
                    </a:lnTo>
                    <a:lnTo>
                      <a:pt x="283" y="236"/>
                    </a:lnTo>
                    <a:lnTo>
                      <a:pt x="283" y="237"/>
                    </a:lnTo>
                    <a:lnTo>
                      <a:pt x="284" y="239"/>
                    </a:lnTo>
                    <a:lnTo>
                      <a:pt x="284" y="240"/>
                    </a:lnTo>
                    <a:lnTo>
                      <a:pt x="282" y="242"/>
                    </a:lnTo>
                    <a:lnTo>
                      <a:pt x="281" y="243"/>
                    </a:lnTo>
                    <a:lnTo>
                      <a:pt x="279" y="243"/>
                    </a:lnTo>
                    <a:lnTo>
                      <a:pt x="279" y="244"/>
                    </a:lnTo>
                    <a:lnTo>
                      <a:pt x="279" y="245"/>
                    </a:lnTo>
                    <a:lnTo>
                      <a:pt x="278" y="245"/>
                    </a:lnTo>
                    <a:lnTo>
                      <a:pt x="278" y="246"/>
                    </a:lnTo>
                    <a:lnTo>
                      <a:pt x="277" y="248"/>
                    </a:lnTo>
                    <a:lnTo>
                      <a:pt x="276" y="248"/>
                    </a:lnTo>
                    <a:lnTo>
                      <a:pt x="275" y="248"/>
                    </a:lnTo>
                    <a:lnTo>
                      <a:pt x="274" y="249"/>
                    </a:lnTo>
                    <a:lnTo>
                      <a:pt x="274" y="250"/>
                    </a:lnTo>
                    <a:lnTo>
                      <a:pt x="275" y="251"/>
                    </a:lnTo>
                    <a:lnTo>
                      <a:pt x="275" y="252"/>
                    </a:lnTo>
                    <a:lnTo>
                      <a:pt x="275" y="253"/>
                    </a:lnTo>
                    <a:lnTo>
                      <a:pt x="274" y="253"/>
                    </a:lnTo>
                    <a:lnTo>
                      <a:pt x="273" y="254"/>
                    </a:lnTo>
                    <a:lnTo>
                      <a:pt x="275" y="255"/>
                    </a:lnTo>
                    <a:lnTo>
                      <a:pt x="275" y="256"/>
                    </a:lnTo>
                    <a:lnTo>
                      <a:pt x="273" y="256"/>
                    </a:lnTo>
                    <a:lnTo>
                      <a:pt x="273" y="257"/>
                    </a:lnTo>
                    <a:lnTo>
                      <a:pt x="272" y="260"/>
                    </a:lnTo>
                    <a:lnTo>
                      <a:pt x="272" y="261"/>
                    </a:lnTo>
                    <a:lnTo>
                      <a:pt x="271" y="262"/>
                    </a:lnTo>
                    <a:lnTo>
                      <a:pt x="271" y="264"/>
                    </a:lnTo>
                    <a:lnTo>
                      <a:pt x="270" y="266"/>
                    </a:lnTo>
                    <a:lnTo>
                      <a:pt x="270" y="267"/>
                    </a:lnTo>
                    <a:lnTo>
                      <a:pt x="269" y="269"/>
                    </a:lnTo>
                    <a:lnTo>
                      <a:pt x="268" y="270"/>
                    </a:lnTo>
                    <a:lnTo>
                      <a:pt x="266" y="270"/>
                    </a:lnTo>
                    <a:lnTo>
                      <a:pt x="265" y="270"/>
                    </a:lnTo>
                    <a:lnTo>
                      <a:pt x="264" y="271"/>
                    </a:lnTo>
                    <a:lnTo>
                      <a:pt x="264" y="273"/>
                    </a:lnTo>
                    <a:lnTo>
                      <a:pt x="264" y="274"/>
                    </a:lnTo>
                    <a:lnTo>
                      <a:pt x="265" y="275"/>
                    </a:lnTo>
                    <a:lnTo>
                      <a:pt x="264" y="275"/>
                    </a:lnTo>
                    <a:lnTo>
                      <a:pt x="263" y="276"/>
                    </a:lnTo>
                    <a:lnTo>
                      <a:pt x="263" y="277"/>
                    </a:lnTo>
                    <a:lnTo>
                      <a:pt x="262" y="278"/>
                    </a:lnTo>
                    <a:lnTo>
                      <a:pt x="261" y="279"/>
                    </a:lnTo>
                    <a:lnTo>
                      <a:pt x="261" y="280"/>
                    </a:lnTo>
                    <a:lnTo>
                      <a:pt x="260" y="282"/>
                    </a:lnTo>
                    <a:lnTo>
                      <a:pt x="260" y="283"/>
                    </a:lnTo>
                    <a:lnTo>
                      <a:pt x="259" y="284"/>
                    </a:lnTo>
                    <a:lnTo>
                      <a:pt x="257" y="286"/>
                    </a:lnTo>
                    <a:lnTo>
                      <a:pt x="256" y="288"/>
                    </a:lnTo>
                    <a:lnTo>
                      <a:pt x="255" y="288"/>
                    </a:lnTo>
                    <a:lnTo>
                      <a:pt x="253" y="290"/>
                    </a:lnTo>
                    <a:lnTo>
                      <a:pt x="252" y="290"/>
                    </a:lnTo>
                    <a:lnTo>
                      <a:pt x="251" y="289"/>
                    </a:lnTo>
                    <a:lnTo>
                      <a:pt x="250" y="289"/>
                    </a:lnTo>
                    <a:lnTo>
                      <a:pt x="249" y="289"/>
                    </a:lnTo>
                    <a:lnTo>
                      <a:pt x="248" y="288"/>
                    </a:lnTo>
                    <a:lnTo>
                      <a:pt x="247" y="288"/>
                    </a:lnTo>
                    <a:lnTo>
                      <a:pt x="246" y="288"/>
                    </a:lnTo>
                    <a:lnTo>
                      <a:pt x="245" y="287"/>
                    </a:lnTo>
                    <a:lnTo>
                      <a:pt x="245" y="288"/>
                    </a:lnTo>
                    <a:lnTo>
                      <a:pt x="244" y="288"/>
                    </a:lnTo>
                    <a:lnTo>
                      <a:pt x="244" y="289"/>
                    </a:lnTo>
                    <a:lnTo>
                      <a:pt x="244" y="290"/>
                    </a:lnTo>
                    <a:lnTo>
                      <a:pt x="244" y="291"/>
                    </a:lnTo>
                    <a:lnTo>
                      <a:pt x="243" y="292"/>
                    </a:lnTo>
                    <a:lnTo>
                      <a:pt x="241" y="292"/>
                    </a:lnTo>
                    <a:lnTo>
                      <a:pt x="239" y="292"/>
                    </a:lnTo>
                    <a:lnTo>
                      <a:pt x="238" y="292"/>
                    </a:lnTo>
                    <a:lnTo>
                      <a:pt x="237" y="292"/>
                    </a:lnTo>
                    <a:lnTo>
                      <a:pt x="237" y="291"/>
                    </a:lnTo>
                    <a:lnTo>
                      <a:pt x="237" y="290"/>
                    </a:lnTo>
                    <a:lnTo>
                      <a:pt x="235" y="290"/>
                    </a:lnTo>
                    <a:lnTo>
                      <a:pt x="234" y="289"/>
                    </a:lnTo>
                    <a:lnTo>
                      <a:pt x="233" y="289"/>
                    </a:lnTo>
                    <a:lnTo>
                      <a:pt x="232" y="289"/>
                    </a:lnTo>
                    <a:lnTo>
                      <a:pt x="231" y="290"/>
                    </a:lnTo>
                    <a:lnTo>
                      <a:pt x="230" y="290"/>
                    </a:lnTo>
                    <a:lnTo>
                      <a:pt x="227" y="291"/>
                    </a:lnTo>
                    <a:lnTo>
                      <a:pt x="227" y="292"/>
                    </a:lnTo>
                    <a:lnTo>
                      <a:pt x="225" y="293"/>
                    </a:lnTo>
                    <a:lnTo>
                      <a:pt x="224" y="294"/>
                    </a:lnTo>
                    <a:lnTo>
                      <a:pt x="223" y="295"/>
                    </a:lnTo>
                    <a:lnTo>
                      <a:pt x="222" y="296"/>
                    </a:lnTo>
                    <a:lnTo>
                      <a:pt x="222" y="297"/>
                    </a:lnTo>
                    <a:lnTo>
                      <a:pt x="221" y="299"/>
                    </a:lnTo>
                    <a:lnTo>
                      <a:pt x="219" y="301"/>
                    </a:lnTo>
                    <a:lnTo>
                      <a:pt x="219" y="302"/>
                    </a:lnTo>
                    <a:lnTo>
                      <a:pt x="219" y="303"/>
                    </a:lnTo>
                    <a:lnTo>
                      <a:pt x="218" y="304"/>
                    </a:lnTo>
                    <a:lnTo>
                      <a:pt x="218" y="305"/>
                    </a:lnTo>
                    <a:lnTo>
                      <a:pt x="215" y="306"/>
                    </a:lnTo>
                    <a:lnTo>
                      <a:pt x="214" y="307"/>
                    </a:lnTo>
                    <a:lnTo>
                      <a:pt x="214" y="308"/>
                    </a:lnTo>
                    <a:lnTo>
                      <a:pt x="214" y="309"/>
                    </a:lnTo>
                    <a:lnTo>
                      <a:pt x="214" y="310"/>
                    </a:lnTo>
                    <a:lnTo>
                      <a:pt x="213" y="313"/>
                    </a:lnTo>
                    <a:lnTo>
                      <a:pt x="213" y="314"/>
                    </a:lnTo>
                    <a:lnTo>
                      <a:pt x="212" y="314"/>
                    </a:lnTo>
                    <a:lnTo>
                      <a:pt x="212" y="315"/>
                    </a:lnTo>
                    <a:lnTo>
                      <a:pt x="213" y="315"/>
                    </a:lnTo>
                    <a:lnTo>
                      <a:pt x="214" y="316"/>
                    </a:lnTo>
                    <a:lnTo>
                      <a:pt x="214" y="319"/>
                    </a:lnTo>
                    <a:lnTo>
                      <a:pt x="214" y="320"/>
                    </a:lnTo>
                    <a:lnTo>
                      <a:pt x="213" y="321"/>
                    </a:lnTo>
                    <a:lnTo>
                      <a:pt x="213" y="322"/>
                    </a:lnTo>
                    <a:lnTo>
                      <a:pt x="212" y="326"/>
                    </a:lnTo>
                    <a:lnTo>
                      <a:pt x="212" y="327"/>
                    </a:lnTo>
                    <a:lnTo>
                      <a:pt x="211" y="328"/>
                    </a:lnTo>
                    <a:lnTo>
                      <a:pt x="210" y="328"/>
                    </a:lnTo>
                    <a:lnTo>
                      <a:pt x="209" y="328"/>
                    </a:lnTo>
                    <a:lnTo>
                      <a:pt x="208" y="329"/>
                    </a:lnTo>
                    <a:lnTo>
                      <a:pt x="207" y="329"/>
                    </a:lnTo>
                    <a:lnTo>
                      <a:pt x="206" y="329"/>
                    </a:lnTo>
                    <a:lnTo>
                      <a:pt x="205" y="329"/>
                    </a:lnTo>
                    <a:lnTo>
                      <a:pt x="204" y="329"/>
                    </a:lnTo>
                    <a:lnTo>
                      <a:pt x="202" y="329"/>
                    </a:lnTo>
                    <a:lnTo>
                      <a:pt x="202" y="328"/>
                    </a:lnTo>
                    <a:lnTo>
                      <a:pt x="204" y="328"/>
                    </a:lnTo>
                    <a:lnTo>
                      <a:pt x="204" y="327"/>
                    </a:lnTo>
                    <a:lnTo>
                      <a:pt x="202" y="327"/>
                    </a:lnTo>
                    <a:lnTo>
                      <a:pt x="201" y="327"/>
                    </a:lnTo>
                    <a:lnTo>
                      <a:pt x="201" y="328"/>
                    </a:lnTo>
                    <a:lnTo>
                      <a:pt x="200" y="328"/>
                    </a:lnTo>
                    <a:lnTo>
                      <a:pt x="199" y="328"/>
                    </a:lnTo>
                    <a:lnTo>
                      <a:pt x="199" y="329"/>
                    </a:lnTo>
                    <a:lnTo>
                      <a:pt x="198" y="329"/>
                    </a:lnTo>
                    <a:lnTo>
                      <a:pt x="197" y="330"/>
                    </a:lnTo>
                    <a:lnTo>
                      <a:pt x="196" y="331"/>
                    </a:lnTo>
                    <a:lnTo>
                      <a:pt x="195" y="331"/>
                    </a:lnTo>
                    <a:lnTo>
                      <a:pt x="194" y="331"/>
                    </a:lnTo>
                    <a:lnTo>
                      <a:pt x="193" y="331"/>
                    </a:lnTo>
                    <a:lnTo>
                      <a:pt x="192" y="330"/>
                    </a:lnTo>
                    <a:lnTo>
                      <a:pt x="192" y="329"/>
                    </a:lnTo>
                    <a:lnTo>
                      <a:pt x="191" y="329"/>
                    </a:lnTo>
                    <a:lnTo>
                      <a:pt x="191" y="328"/>
                    </a:lnTo>
                    <a:lnTo>
                      <a:pt x="191" y="327"/>
                    </a:lnTo>
                    <a:lnTo>
                      <a:pt x="189" y="327"/>
                    </a:lnTo>
                    <a:lnTo>
                      <a:pt x="189" y="326"/>
                    </a:lnTo>
                    <a:lnTo>
                      <a:pt x="188" y="326"/>
                    </a:lnTo>
                    <a:lnTo>
                      <a:pt x="188" y="327"/>
                    </a:lnTo>
                    <a:lnTo>
                      <a:pt x="187" y="327"/>
                    </a:lnTo>
                    <a:lnTo>
                      <a:pt x="187" y="328"/>
                    </a:lnTo>
                    <a:lnTo>
                      <a:pt x="186" y="328"/>
                    </a:lnTo>
                    <a:lnTo>
                      <a:pt x="185" y="328"/>
                    </a:lnTo>
                    <a:lnTo>
                      <a:pt x="184" y="328"/>
                    </a:lnTo>
                    <a:lnTo>
                      <a:pt x="184" y="327"/>
                    </a:lnTo>
                    <a:lnTo>
                      <a:pt x="184" y="326"/>
                    </a:lnTo>
                    <a:lnTo>
                      <a:pt x="184" y="325"/>
                    </a:lnTo>
                    <a:lnTo>
                      <a:pt x="183" y="325"/>
                    </a:lnTo>
                    <a:lnTo>
                      <a:pt x="183" y="323"/>
                    </a:lnTo>
                    <a:lnTo>
                      <a:pt x="182" y="323"/>
                    </a:lnTo>
                    <a:lnTo>
                      <a:pt x="181" y="323"/>
                    </a:lnTo>
                    <a:lnTo>
                      <a:pt x="180" y="323"/>
                    </a:lnTo>
                    <a:lnTo>
                      <a:pt x="180" y="325"/>
                    </a:lnTo>
                    <a:lnTo>
                      <a:pt x="179" y="325"/>
                    </a:lnTo>
                    <a:lnTo>
                      <a:pt x="179" y="323"/>
                    </a:lnTo>
                    <a:lnTo>
                      <a:pt x="178" y="323"/>
                    </a:lnTo>
                    <a:lnTo>
                      <a:pt x="176" y="322"/>
                    </a:lnTo>
                    <a:lnTo>
                      <a:pt x="176" y="321"/>
                    </a:lnTo>
                    <a:lnTo>
                      <a:pt x="176" y="320"/>
                    </a:lnTo>
                    <a:lnTo>
                      <a:pt x="176" y="319"/>
                    </a:lnTo>
                    <a:lnTo>
                      <a:pt x="175" y="320"/>
                    </a:lnTo>
                    <a:lnTo>
                      <a:pt x="174" y="320"/>
                    </a:lnTo>
                    <a:lnTo>
                      <a:pt x="173" y="320"/>
                    </a:lnTo>
                    <a:lnTo>
                      <a:pt x="173" y="319"/>
                    </a:lnTo>
                    <a:lnTo>
                      <a:pt x="172" y="319"/>
                    </a:lnTo>
                    <a:lnTo>
                      <a:pt x="168" y="320"/>
                    </a:lnTo>
                    <a:lnTo>
                      <a:pt x="168" y="321"/>
                    </a:lnTo>
                    <a:lnTo>
                      <a:pt x="167" y="321"/>
                    </a:lnTo>
                    <a:lnTo>
                      <a:pt x="166" y="322"/>
                    </a:lnTo>
                    <a:lnTo>
                      <a:pt x="165" y="322"/>
                    </a:lnTo>
                    <a:lnTo>
                      <a:pt x="165" y="323"/>
                    </a:lnTo>
                    <a:lnTo>
                      <a:pt x="165" y="325"/>
                    </a:lnTo>
                    <a:lnTo>
                      <a:pt x="166" y="325"/>
                    </a:lnTo>
                    <a:lnTo>
                      <a:pt x="166" y="326"/>
                    </a:lnTo>
                    <a:lnTo>
                      <a:pt x="166" y="327"/>
                    </a:lnTo>
                    <a:lnTo>
                      <a:pt x="166" y="328"/>
                    </a:lnTo>
                    <a:lnTo>
                      <a:pt x="166" y="329"/>
                    </a:lnTo>
                    <a:lnTo>
                      <a:pt x="166" y="330"/>
                    </a:lnTo>
                    <a:lnTo>
                      <a:pt x="165" y="330"/>
                    </a:lnTo>
                    <a:lnTo>
                      <a:pt x="165" y="331"/>
                    </a:lnTo>
                    <a:lnTo>
                      <a:pt x="163" y="332"/>
                    </a:lnTo>
                    <a:lnTo>
                      <a:pt x="162" y="332"/>
                    </a:lnTo>
                    <a:lnTo>
                      <a:pt x="161" y="332"/>
                    </a:lnTo>
                    <a:lnTo>
                      <a:pt x="160" y="332"/>
                    </a:lnTo>
                    <a:lnTo>
                      <a:pt x="159" y="332"/>
                    </a:lnTo>
                    <a:lnTo>
                      <a:pt x="158" y="332"/>
                    </a:lnTo>
                    <a:lnTo>
                      <a:pt x="158" y="333"/>
                    </a:lnTo>
                    <a:lnTo>
                      <a:pt x="157" y="333"/>
                    </a:lnTo>
                    <a:lnTo>
                      <a:pt x="156" y="334"/>
                    </a:lnTo>
                    <a:lnTo>
                      <a:pt x="156" y="335"/>
                    </a:lnTo>
                    <a:lnTo>
                      <a:pt x="155" y="336"/>
                    </a:lnTo>
                    <a:lnTo>
                      <a:pt x="155" y="338"/>
                    </a:lnTo>
                    <a:lnTo>
                      <a:pt x="154" y="338"/>
                    </a:lnTo>
                    <a:lnTo>
                      <a:pt x="153" y="338"/>
                    </a:lnTo>
                    <a:lnTo>
                      <a:pt x="153" y="339"/>
                    </a:lnTo>
                    <a:lnTo>
                      <a:pt x="152" y="340"/>
                    </a:lnTo>
                    <a:lnTo>
                      <a:pt x="152" y="341"/>
                    </a:lnTo>
                    <a:lnTo>
                      <a:pt x="152" y="342"/>
                    </a:lnTo>
                    <a:lnTo>
                      <a:pt x="150" y="343"/>
                    </a:lnTo>
                    <a:lnTo>
                      <a:pt x="150" y="344"/>
                    </a:lnTo>
                    <a:lnTo>
                      <a:pt x="150" y="345"/>
                    </a:lnTo>
                    <a:lnTo>
                      <a:pt x="150" y="346"/>
                    </a:lnTo>
                    <a:lnTo>
                      <a:pt x="152" y="346"/>
                    </a:lnTo>
                    <a:lnTo>
                      <a:pt x="150" y="347"/>
                    </a:lnTo>
                    <a:lnTo>
                      <a:pt x="152" y="347"/>
                    </a:lnTo>
                    <a:lnTo>
                      <a:pt x="152" y="348"/>
                    </a:lnTo>
                    <a:lnTo>
                      <a:pt x="152" y="350"/>
                    </a:lnTo>
                    <a:lnTo>
                      <a:pt x="152" y="351"/>
                    </a:lnTo>
                    <a:lnTo>
                      <a:pt x="153" y="351"/>
                    </a:lnTo>
                    <a:lnTo>
                      <a:pt x="153" y="352"/>
                    </a:lnTo>
                    <a:lnTo>
                      <a:pt x="152" y="352"/>
                    </a:lnTo>
                    <a:lnTo>
                      <a:pt x="152" y="353"/>
                    </a:lnTo>
                    <a:lnTo>
                      <a:pt x="152" y="354"/>
                    </a:lnTo>
                    <a:lnTo>
                      <a:pt x="150" y="355"/>
                    </a:lnTo>
                    <a:lnTo>
                      <a:pt x="150" y="356"/>
                    </a:lnTo>
                    <a:lnTo>
                      <a:pt x="152" y="356"/>
                    </a:lnTo>
                    <a:lnTo>
                      <a:pt x="152" y="357"/>
                    </a:lnTo>
                    <a:lnTo>
                      <a:pt x="150" y="357"/>
                    </a:lnTo>
                    <a:lnTo>
                      <a:pt x="149" y="358"/>
                    </a:lnTo>
                    <a:lnTo>
                      <a:pt x="148" y="357"/>
                    </a:lnTo>
                    <a:lnTo>
                      <a:pt x="148" y="358"/>
                    </a:lnTo>
                    <a:lnTo>
                      <a:pt x="147" y="358"/>
                    </a:lnTo>
                    <a:lnTo>
                      <a:pt x="146" y="358"/>
                    </a:lnTo>
                    <a:lnTo>
                      <a:pt x="145" y="358"/>
                    </a:lnTo>
                    <a:lnTo>
                      <a:pt x="144" y="358"/>
                    </a:lnTo>
                    <a:lnTo>
                      <a:pt x="143" y="358"/>
                    </a:lnTo>
                    <a:lnTo>
                      <a:pt x="142" y="358"/>
                    </a:lnTo>
                    <a:lnTo>
                      <a:pt x="140" y="357"/>
                    </a:lnTo>
                    <a:lnTo>
                      <a:pt x="139" y="356"/>
                    </a:lnTo>
                    <a:lnTo>
                      <a:pt x="137" y="356"/>
                    </a:lnTo>
                    <a:lnTo>
                      <a:pt x="137" y="355"/>
                    </a:lnTo>
                    <a:lnTo>
                      <a:pt x="136" y="355"/>
                    </a:lnTo>
                    <a:lnTo>
                      <a:pt x="135" y="355"/>
                    </a:lnTo>
                    <a:lnTo>
                      <a:pt x="134" y="355"/>
                    </a:lnTo>
                    <a:lnTo>
                      <a:pt x="134" y="354"/>
                    </a:lnTo>
                    <a:lnTo>
                      <a:pt x="134" y="353"/>
                    </a:lnTo>
                    <a:lnTo>
                      <a:pt x="133" y="353"/>
                    </a:lnTo>
                    <a:lnTo>
                      <a:pt x="132" y="353"/>
                    </a:lnTo>
                    <a:lnTo>
                      <a:pt x="132" y="352"/>
                    </a:lnTo>
                    <a:lnTo>
                      <a:pt x="131" y="351"/>
                    </a:lnTo>
                    <a:lnTo>
                      <a:pt x="130" y="350"/>
                    </a:lnTo>
                    <a:lnTo>
                      <a:pt x="130" y="348"/>
                    </a:lnTo>
                    <a:lnTo>
                      <a:pt x="129" y="348"/>
                    </a:lnTo>
                    <a:lnTo>
                      <a:pt x="129" y="347"/>
                    </a:lnTo>
                    <a:lnTo>
                      <a:pt x="128" y="347"/>
                    </a:lnTo>
                    <a:lnTo>
                      <a:pt x="128" y="346"/>
                    </a:lnTo>
                    <a:lnTo>
                      <a:pt x="128" y="345"/>
                    </a:lnTo>
                    <a:lnTo>
                      <a:pt x="128" y="344"/>
                    </a:lnTo>
                    <a:lnTo>
                      <a:pt x="127" y="343"/>
                    </a:lnTo>
                    <a:lnTo>
                      <a:pt x="126" y="343"/>
                    </a:lnTo>
                    <a:lnTo>
                      <a:pt x="126" y="342"/>
                    </a:lnTo>
                    <a:lnTo>
                      <a:pt x="126" y="341"/>
                    </a:lnTo>
                    <a:lnTo>
                      <a:pt x="124" y="341"/>
                    </a:lnTo>
                    <a:lnTo>
                      <a:pt x="123" y="341"/>
                    </a:lnTo>
                    <a:lnTo>
                      <a:pt x="123" y="340"/>
                    </a:lnTo>
                    <a:lnTo>
                      <a:pt x="121" y="339"/>
                    </a:lnTo>
                    <a:lnTo>
                      <a:pt x="121" y="340"/>
                    </a:lnTo>
                    <a:lnTo>
                      <a:pt x="120" y="340"/>
                    </a:lnTo>
                    <a:lnTo>
                      <a:pt x="119" y="341"/>
                    </a:lnTo>
                    <a:lnTo>
                      <a:pt x="119" y="342"/>
                    </a:lnTo>
                    <a:lnTo>
                      <a:pt x="118" y="342"/>
                    </a:lnTo>
                    <a:lnTo>
                      <a:pt x="118" y="343"/>
                    </a:lnTo>
                    <a:lnTo>
                      <a:pt x="117" y="343"/>
                    </a:lnTo>
                    <a:lnTo>
                      <a:pt x="116" y="343"/>
                    </a:lnTo>
                    <a:lnTo>
                      <a:pt x="116" y="344"/>
                    </a:lnTo>
                    <a:lnTo>
                      <a:pt x="115" y="345"/>
                    </a:lnTo>
                    <a:lnTo>
                      <a:pt x="115" y="347"/>
                    </a:lnTo>
                    <a:lnTo>
                      <a:pt x="115" y="348"/>
                    </a:lnTo>
                    <a:lnTo>
                      <a:pt x="114" y="350"/>
                    </a:lnTo>
                    <a:lnTo>
                      <a:pt x="114" y="351"/>
                    </a:lnTo>
                    <a:lnTo>
                      <a:pt x="115" y="351"/>
                    </a:lnTo>
                    <a:lnTo>
                      <a:pt x="115" y="352"/>
                    </a:lnTo>
                    <a:lnTo>
                      <a:pt x="115" y="353"/>
                    </a:lnTo>
                    <a:lnTo>
                      <a:pt x="115" y="354"/>
                    </a:lnTo>
                    <a:lnTo>
                      <a:pt x="114" y="355"/>
                    </a:lnTo>
                    <a:lnTo>
                      <a:pt x="114" y="356"/>
                    </a:lnTo>
                    <a:lnTo>
                      <a:pt x="114" y="357"/>
                    </a:lnTo>
                    <a:lnTo>
                      <a:pt x="114" y="358"/>
                    </a:lnTo>
                    <a:lnTo>
                      <a:pt x="114" y="359"/>
                    </a:lnTo>
                    <a:lnTo>
                      <a:pt x="114" y="360"/>
                    </a:lnTo>
                    <a:lnTo>
                      <a:pt x="114" y="361"/>
                    </a:lnTo>
                    <a:lnTo>
                      <a:pt x="112" y="361"/>
                    </a:lnTo>
                    <a:lnTo>
                      <a:pt x="112" y="363"/>
                    </a:lnTo>
                    <a:lnTo>
                      <a:pt x="111" y="363"/>
                    </a:lnTo>
                    <a:lnTo>
                      <a:pt x="111" y="364"/>
                    </a:lnTo>
                    <a:lnTo>
                      <a:pt x="111" y="365"/>
                    </a:lnTo>
                    <a:lnTo>
                      <a:pt x="110" y="365"/>
                    </a:lnTo>
                    <a:lnTo>
                      <a:pt x="109" y="366"/>
                    </a:lnTo>
                    <a:lnTo>
                      <a:pt x="108" y="366"/>
                    </a:lnTo>
                    <a:lnTo>
                      <a:pt x="108" y="367"/>
                    </a:lnTo>
                    <a:lnTo>
                      <a:pt x="107" y="367"/>
                    </a:lnTo>
                    <a:lnTo>
                      <a:pt x="106" y="367"/>
                    </a:lnTo>
                    <a:lnTo>
                      <a:pt x="109" y="363"/>
                    </a:lnTo>
                    <a:lnTo>
                      <a:pt x="109" y="361"/>
                    </a:lnTo>
                    <a:lnTo>
                      <a:pt x="110" y="361"/>
                    </a:lnTo>
                    <a:lnTo>
                      <a:pt x="110" y="360"/>
                    </a:lnTo>
                    <a:lnTo>
                      <a:pt x="111" y="360"/>
                    </a:lnTo>
                    <a:lnTo>
                      <a:pt x="111" y="359"/>
                    </a:lnTo>
                    <a:lnTo>
                      <a:pt x="111" y="358"/>
                    </a:lnTo>
                    <a:lnTo>
                      <a:pt x="111" y="357"/>
                    </a:lnTo>
                    <a:lnTo>
                      <a:pt x="111" y="356"/>
                    </a:lnTo>
                    <a:lnTo>
                      <a:pt x="111" y="351"/>
                    </a:lnTo>
                    <a:lnTo>
                      <a:pt x="110" y="351"/>
                    </a:lnTo>
                    <a:lnTo>
                      <a:pt x="110" y="350"/>
                    </a:lnTo>
                    <a:lnTo>
                      <a:pt x="109" y="350"/>
                    </a:lnTo>
                    <a:lnTo>
                      <a:pt x="109" y="348"/>
                    </a:lnTo>
                    <a:lnTo>
                      <a:pt x="108" y="347"/>
                    </a:lnTo>
                    <a:lnTo>
                      <a:pt x="108" y="346"/>
                    </a:lnTo>
                    <a:lnTo>
                      <a:pt x="109" y="346"/>
                    </a:lnTo>
                    <a:lnTo>
                      <a:pt x="109" y="345"/>
                    </a:lnTo>
                    <a:lnTo>
                      <a:pt x="108" y="344"/>
                    </a:lnTo>
                    <a:lnTo>
                      <a:pt x="106" y="343"/>
                    </a:lnTo>
                    <a:lnTo>
                      <a:pt x="105" y="342"/>
                    </a:lnTo>
                    <a:lnTo>
                      <a:pt x="104" y="342"/>
                    </a:lnTo>
                    <a:lnTo>
                      <a:pt x="104" y="341"/>
                    </a:lnTo>
                    <a:lnTo>
                      <a:pt x="103" y="341"/>
                    </a:lnTo>
                    <a:lnTo>
                      <a:pt x="103" y="340"/>
                    </a:lnTo>
                    <a:lnTo>
                      <a:pt x="103" y="339"/>
                    </a:lnTo>
                    <a:lnTo>
                      <a:pt x="102" y="339"/>
                    </a:lnTo>
                    <a:lnTo>
                      <a:pt x="102" y="338"/>
                    </a:lnTo>
                    <a:lnTo>
                      <a:pt x="101" y="336"/>
                    </a:lnTo>
                    <a:lnTo>
                      <a:pt x="101" y="335"/>
                    </a:lnTo>
                    <a:lnTo>
                      <a:pt x="101" y="334"/>
                    </a:lnTo>
                    <a:lnTo>
                      <a:pt x="101" y="332"/>
                    </a:lnTo>
                    <a:lnTo>
                      <a:pt x="101" y="331"/>
                    </a:lnTo>
                    <a:lnTo>
                      <a:pt x="99" y="331"/>
                    </a:lnTo>
                    <a:lnTo>
                      <a:pt x="99" y="330"/>
                    </a:lnTo>
                    <a:lnTo>
                      <a:pt x="101" y="329"/>
                    </a:lnTo>
                    <a:lnTo>
                      <a:pt x="99" y="328"/>
                    </a:lnTo>
                    <a:lnTo>
                      <a:pt x="98" y="327"/>
                    </a:lnTo>
                    <a:lnTo>
                      <a:pt x="98" y="326"/>
                    </a:lnTo>
                    <a:lnTo>
                      <a:pt x="98" y="325"/>
                    </a:lnTo>
                    <a:lnTo>
                      <a:pt x="97" y="323"/>
                    </a:lnTo>
                    <a:lnTo>
                      <a:pt x="97" y="321"/>
                    </a:lnTo>
                    <a:lnTo>
                      <a:pt x="97" y="320"/>
                    </a:lnTo>
                    <a:lnTo>
                      <a:pt x="97" y="319"/>
                    </a:lnTo>
                    <a:lnTo>
                      <a:pt x="97" y="318"/>
                    </a:lnTo>
                    <a:lnTo>
                      <a:pt x="98" y="317"/>
                    </a:lnTo>
                    <a:lnTo>
                      <a:pt x="99" y="316"/>
                    </a:lnTo>
                    <a:lnTo>
                      <a:pt x="99" y="315"/>
                    </a:lnTo>
                    <a:lnTo>
                      <a:pt x="99" y="314"/>
                    </a:lnTo>
                    <a:lnTo>
                      <a:pt x="99" y="313"/>
                    </a:lnTo>
                    <a:lnTo>
                      <a:pt x="99" y="312"/>
                    </a:lnTo>
                    <a:lnTo>
                      <a:pt x="98" y="310"/>
                    </a:lnTo>
                    <a:lnTo>
                      <a:pt x="96" y="309"/>
                    </a:lnTo>
                    <a:lnTo>
                      <a:pt x="95" y="306"/>
                    </a:lnTo>
                    <a:lnTo>
                      <a:pt x="95" y="300"/>
                    </a:lnTo>
                    <a:lnTo>
                      <a:pt x="94" y="293"/>
                    </a:lnTo>
                    <a:lnTo>
                      <a:pt x="94" y="292"/>
                    </a:lnTo>
                    <a:lnTo>
                      <a:pt x="94" y="291"/>
                    </a:lnTo>
                    <a:lnTo>
                      <a:pt x="95" y="291"/>
                    </a:lnTo>
                    <a:lnTo>
                      <a:pt x="95" y="290"/>
                    </a:lnTo>
                    <a:lnTo>
                      <a:pt x="95" y="289"/>
                    </a:lnTo>
                    <a:lnTo>
                      <a:pt x="96" y="288"/>
                    </a:lnTo>
                    <a:lnTo>
                      <a:pt x="97" y="288"/>
                    </a:lnTo>
                    <a:lnTo>
                      <a:pt x="97" y="287"/>
                    </a:lnTo>
                    <a:lnTo>
                      <a:pt x="97" y="286"/>
                    </a:lnTo>
                    <a:lnTo>
                      <a:pt x="98" y="286"/>
                    </a:lnTo>
                    <a:lnTo>
                      <a:pt x="98" y="284"/>
                    </a:lnTo>
                    <a:lnTo>
                      <a:pt x="98" y="283"/>
                    </a:lnTo>
                    <a:lnTo>
                      <a:pt x="98" y="282"/>
                    </a:lnTo>
                    <a:lnTo>
                      <a:pt x="99" y="282"/>
                    </a:lnTo>
                    <a:lnTo>
                      <a:pt x="99" y="281"/>
                    </a:lnTo>
                    <a:lnTo>
                      <a:pt x="101" y="281"/>
                    </a:lnTo>
                    <a:lnTo>
                      <a:pt x="101" y="280"/>
                    </a:lnTo>
                    <a:lnTo>
                      <a:pt x="101" y="278"/>
                    </a:lnTo>
                    <a:lnTo>
                      <a:pt x="101" y="277"/>
                    </a:lnTo>
                    <a:lnTo>
                      <a:pt x="101" y="276"/>
                    </a:lnTo>
                    <a:lnTo>
                      <a:pt x="99" y="276"/>
                    </a:lnTo>
                    <a:lnTo>
                      <a:pt x="99" y="275"/>
                    </a:lnTo>
                    <a:lnTo>
                      <a:pt x="99" y="274"/>
                    </a:lnTo>
                    <a:lnTo>
                      <a:pt x="99" y="271"/>
                    </a:lnTo>
                    <a:lnTo>
                      <a:pt x="98" y="271"/>
                    </a:lnTo>
                    <a:lnTo>
                      <a:pt x="98" y="270"/>
                    </a:lnTo>
                    <a:lnTo>
                      <a:pt x="98" y="269"/>
                    </a:lnTo>
                    <a:lnTo>
                      <a:pt x="98" y="267"/>
                    </a:lnTo>
                    <a:lnTo>
                      <a:pt x="98" y="266"/>
                    </a:lnTo>
                    <a:lnTo>
                      <a:pt x="98" y="265"/>
                    </a:lnTo>
                    <a:lnTo>
                      <a:pt x="99" y="265"/>
                    </a:lnTo>
                    <a:lnTo>
                      <a:pt x="99" y="264"/>
                    </a:lnTo>
                    <a:lnTo>
                      <a:pt x="101" y="264"/>
                    </a:lnTo>
                    <a:lnTo>
                      <a:pt x="102" y="263"/>
                    </a:lnTo>
                    <a:lnTo>
                      <a:pt x="103" y="262"/>
                    </a:lnTo>
                    <a:lnTo>
                      <a:pt x="104" y="262"/>
                    </a:lnTo>
                    <a:lnTo>
                      <a:pt x="105" y="263"/>
                    </a:lnTo>
                    <a:lnTo>
                      <a:pt x="106" y="263"/>
                    </a:lnTo>
                    <a:lnTo>
                      <a:pt x="106" y="262"/>
                    </a:lnTo>
                    <a:lnTo>
                      <a:pt x="107" y="262"/>
                    </a:lnTo>
                    <a:lnTo>
                      <a:pt x="107" y="261"/>
                    </a:lnTo>
                    <a:lnTo>
                      <a:pt x="108" y="261"/>
                    </a:lnTo>
                    <a:lnTo>
                      <a:pt x="108" y="260"/>
                    </a:lnTo>
                    <a:lnTo>
                      <a:pt x="108" y="258"/>
                    </a:lnTo>
                    <a:lnTo>
                      <a:pt x="108" y="257"/>
                    </a:lnTo>
                    <a:lnTo>
                      <a:pt x="107" y="255"/>
                    </a:lnTo>
                    <a:lnTo>
                      <a:pt x="107" y="254"/>
                    </a:lnTo>
                    <a:lnTo>
                      <a:pt x="106" y="254"/>
                    </a:lnTo>
                    <a:lnTo>
                      <a:pt x="106" y="253"/>
                    </a:lnTo>
                    <a:lnTo>
                      <a:pt x="105" y="253"/>
                    </a:lnTo>
                    <a:lnTo>
                      <a:pt x="105" y="252"/>
                    </a:lnTo>
                    <a:lnTo>
                      <a:pt x="104" y="252"/>
                    </a:lnTo>
                    <a:lnTo>
                      <a:pt x="102" y="250"/>
                    </a:lnTo>
                    <a:lnTo>
                      <a:pt x="101" y="250"/>
                    </a:lnTo>
                    <a:lnTo>
                      <a:pt x="99" y="249"/>
                    </a:lnTo>
                    <a:lnTo>
                      <a:pt x="98" y="249"/>
                    </a:lnTo>
                    <a:lnTo>
                      <a:pt x="97" y="250"/>
                    </a:lnTo>
                    <a:lnTo>
                      <a:pt x="95" y="250"/>
                    </a:lnTo>
                    <a:lnTo>
                      <a:pt x="95" y="251"/>
                    </a:lnTo>
                    <a:lnTo>
                      <a:pt x="94" y="251"/>
                    </a:lnTo>
                    <a:lnTo>
                      <a:pt x="94" y="252"/>
                    </a:lnTo>
                    <a:lnTo>
                      <a:pt x="94" y="253"/>
                    </a:lnTo>
                    <a:lnTo>
                      <a:pt x="93" y="255"/>
                    </a:lnTo>
                    <a:lnTo>
                      <a:pt x="92" y="255"/>
                    </a:lnTo>
                    <a:lnTo>
                      <a:pt x="90" y="254"/>
                    </a:lnTo>
                    <a:lnTo>
                      <a:pt x="88" y="253"/>
                    </a:lnTo>
                    <a:lnTo>
                      <a:pt x="86" y="252"/>
                    </a:lnTo>
                    <a:lnTo>
                      <a:pt x="85" y="252"/>
                    </a:lnTo>
                    <a:lnTo>
                      <a:pt x="84" y="252"/>
                    </a:lnTo>
                    <a:lnTo>
                      <a:pt x="84" y="251"/>
                    </a:lnTo>
                    <a:lnTo>
                      <a:pt x="84" y="249"/>
                    </a:lnTo>
                    <a:lnTo>
                      <a:pt x="83" y="249"/>
                    </a:lnTo>
                    <a:lnTo>
                      <a:pt x="82" y="246"/>
                    </a:lnTo>
                    <a:lnTo>
                      <a:pt x="81" y="245"/>
                    </a:lnTo>
                    <a:lnTo>
                      <a:pt x="81" y="244"/>
                    </a:lnTo>
                    <a:lnTo>
                      <a:pt x="80" y="244"/>
                    </a:lnTo>
                    <a:lnTo>
                      <a:pt x="79" y="244"/>
                    </a:lnTo>
                    <a:lnTo>
                      <a:pt x="78" y="243"/>
                    </a:lnTo>
                    <a:lnTo>
                      <a:pt x="76" y="242"/>
                    </a:lnTo>
                    <a:lnTo>
                      <a:pt x="76" y="241"/>
                    </a:lnTo>
                    <a:lnTo>
                      <a:pt x="76" y="240"/>
                    </a:lnTo>
                    <a:lnTo>
                      <a:pt x="75" y="240"/>
                    </a:lnTo>
                    <a:lnTo>
                      <a:pt x="75" y="239"/>
                    </a:lnTo>
                    <a:lnTo>
                      <a:pt x="73" y="238"/>
                    </a:lnTo>
                    <a:lnTo>
                      <a:pt x="73" y="237"/>
                    </a:lnTo>
                    <a:lnTo>
                      <a:pt x="73" y="236"/>
                    </a:lnTo>
                    <a:lnTo>
                      <a:pt x="72" y="236"/>
                    </a:lnTo>
                    <a:lnTo>
                      <a:pt x="72" y="235"/>
                    </a:lnTo>
                    <a:lnTo>
                      <a:pt x="72" y="233"/>
                    </a:lnTo>
                    <a:lnTo>
                      <a:pt x="71" y="233"/>
                    </a:lnTo>
                    <a:lnTo>
                      <a:pt x="71" y="232"/>
                    </a:lnTo>
                    <a:lnTo>
                      <a:pt x="71" y="231"/>
                    </a:lnTo>
                    <a:lnTo>
                      <a:pt x="71" y="230"/>
                    </a:lnTo>
                    <a:lnTo>
                      <a:pt x="70" y="228"/>
                    </a:lnTo>
                    <a:lnTo>
                      <a:pt x="70" y="227"/>
                    </a:lnTo>
                    <a:lnTo>
                      <a:pt x="70" y="226"/>
                    </a:lnTo>
                    <a:lnTo>
                      <a:pt x="70" y="225"/>
                    </a:lnTo>
                    <a:lnTo>
                      <a:pt x="70" y="224"/>
                    </a:lnTo>
                    <a:lnTo>
                      <a:pt x="70" y="222"/>
                    </a:lnTo>
                    <a:lnTo>
                      <a:pt x="70" y="220"/>
                    </a:lnTo>
                    <a:lnTo>
                      <a:pt x="68" y="218"/>
                    </a:lnTo>
                    <a:lnTo>
                      <a:pt x="68" y="217"/>
                    </a:lnTo>
                    <a:lnTo>
                      <a:pt x="67" y="217"/>
                    </a:lnTo>
                    <a:lnTo>
                      <a:pt x="66" y="217"/>
                    </a:lnTo>
                    <a:lnTo>
                      <a:pt x="67" y="218"/>
                    </a:lnTo>
                    <a:lnTo>
                      <a:pt x="66" y="218"/>
                    </a:lnTo>
                    <a:lnTo>
                      <a:pt x="67" y="218"/>
                    </a:lnTo>
                    <a:lnTo>
                      <a:pt x="66" y="218"/>
                    </a:lnTo>
                    <a:lnTo>
                      <a:pt x="66" y="219"/>
                    </a:lnTo>
                    <a:lnTo>
                      <a:pt x="65" y="219"/>
                    </a:lnTo>
                    <a:lnTo>
                      <a:pt x="64" y="220"/>
                    </a:lnTo>
                    <a:lnTo>
                      <a:pt x="64" y="219"/>
                    </a:lnTo>
                    <a:lnTo>
                      <a:pt x="63" y="220"/>
                    </a:lnTo>
                    <a:lnTo>
                      <a:pt x="62" y="220"/>
                    </a:lnTo>
                    <a:lnTo>
                      <a:pt x="60" y="220"/>
                    </a:lnTo>
                    <a:lnTo>
                      <a:pt x="59" y="220"/>
                    </a:lnTo>
                    <a:lnTo>
                      <a:pt x="58" y="220"/>
                    </a:lnTo>
                    <a:lnTo>
                      <a:pt x="58" y="222"/>
                    </a:lnTo>
                    <a:lnTo>
                      <a:pt x="56" y="223"/>
                    </a:lnTo>
                    <a:lnTo>
                      <a:pt x="55" y="223"/>
                    </a:lnTo>
                    <a:lnTo>
                      <a:pt x="54" y="222"/>
                    </a:lnTo>
                    <a:lnTo>
                      <a:pt x="53" y="222"/>
                    </a:lnTo>
                    <a:lnTo>
                      <a:pt x="51" y="220"/>
                    </a:lnTo>
                    <a:lnTo>
                      <a:pt x="50" y="220"/>
                    </a:lnTo>
                    <a:lnTo>
                      <a:pt x="50" y="219"/>
                    </a:lnTo>
                    <a:lnTo>
                      <a:pt x="49" y="219"/>
                    </a:lnTo>
                    <a:lnTo>
                      <a:pt x="47" y="219"/>
                    </a:lnTo>
                    <a:lnTo>
                      <a:pt x="46" y="219"/>
                    </a:lnTo>
                    <a:lnTo>
                      <a:pt x="46" y="220"/>
                    </a:lnTo>
                    <a:lnTo>
                      <a:pt x="45" y="222"/>
                    </a:lnTo>
                    <a:lnTo>
                      <a:pt x="45" y="223"/>
                    </a:lnTo>
                    <a:lnTo>
                      <a:pt x="44" y="223"/>
                    </a:lnTo>
                    <a:lnTo>
                      <a:pt x="44" y="224"/>
                    </a:lnTo>
                    <a:lnTo>
                      <a:pt x="43" y="224"/>
                    </a:lnTo>
                    <a:lnTo>
                      <a:pt x="43" y="225"/>
                    </a:lnTo>
                    <a:lnTo>
                      <a:pt x="42" y="225"/>
                    </a:lnTo>
                    <a:lnTo>
                      <a:pt x="41" y="225"/>
                    </a:lnTo>
                    <a:lnTo>
                      <a:pt x="40" y="225"/>
                    </a:lnTo>
                    <a:lnTo>
                      <a:pt x="39" y="225"/>
                    </a:lnTo>
                    <a:lnTo>
                      <a:pt x="38" y="225"/>
                    </a:lnTo>
                    <a:lnTo>
                      <a:pt x="37" y="224"/>
                    </a:lnTo>
                    <a:lnTo>
                      <a:pt x="36" y="223"/>
                    </a:lnTo>
                    <a:lnTo>
                      <a:pt x="34" y="222"/>
                    </a:lnTo>
                    <a:lnTo>
                      <a:pt x="33" y="219"/>
                    </a:lnTo>
                    <a:lnTo>
                      <a:pt x="32" y="218"/>
                    </a:lnTo>
                    <a:lnTo>
                      <a:pt x="32" y="217"/>
                    </a:lnTo>
                    <a:lnTo>
                      <a:pt x="32" y="216"/>
                    </a:lnTo>
                    <a:lnTo>
                      <a:pt x="31" y="216"/>
                    </a:lnTo>
                    <a:lnTo>
                      <a:pt x="30" y="216"/>
                    </a:lnTo>
                    <a:lnTo>
                      <a:pt x="29" y="216"/>
                    </a:lnTo>
                    <a:lnTo>
                      <a:pt x="28" y="216"/>
                    </a:lnTo>
                    <a:lnTo>
                      <a:pt x="27" y="217"/>
                    </a:lnTo>
                    <a:lnTo>
                      <a:pt x="26" y="218"/>
                    </a:lnTo>
                    <a:lnTo>
                      <a:pt x="26" y="219"/>
                    </a:lnTo>
                    <a:lnTo>
                      <a:pt x="26" y="220"/>
                    </a:lnTo>
                    <a:lnTo>
                      <a:pt x="26" y="222"/>
                    </a:lnTo>
                    <a:lnTo>
                      <a:pt x="26" y="223"/>
                    </a:lnTo>
                    <a:lnTo>
                      <a:pt x="27" y="224"/>
                    </a:lnTo>
                    <a:lnTo>
                      <a:pt x="29" y="225"/>
                    </a:lnTo>
                    <a:lnTo>
                      <a:pt x="31" y="225"/>
                    </a:lnTo>
                    <a:lnTo>
                      <a:pt x="33" y="225"/>
                    </a:lnTo>
                    <a:lnTo>
                      <a:pt x="33" y="226"/>
                    </a:lnTo>
                    <a:lnTo>
                      <a:pt x="33" y="227"/>
                    </a:lnTo>
                    <a:lnTo>
                      <a:pt x="33" y="228"/>
                    </a:lnTo>
                    <a:lnTo>
                      <a:pt x="32" y="229"/>
                    </a:lnTo>
                    <a:lnTo>
                      <a:pt x="31" y="230"/>
                    </a:lnTo>
                    <a:lnTo>
                      <a:pt x="27" y="232"/>
                    </a:lnTo>
                    <a:lnTo>
                      <a:pt x="26" y="232"/>
                    </a:lnTo>
                    <a:lnTo>
                      <a:pt x="25" y="233"/>
                    </a:lnTo>
                    <a:lnTo>
                      <a:pt x="25" y="235"/>
                    </a:lnTo>
                    <a:lnTo>
                      <a:pt x="24" y="235"/>
                    </a:lnTo>
                    <a:lnTo>
                      <a:pt x="24" y="236"/>
                    </a:lnTo>
                    <a:lnTo>
                      <a:pt x="23" y="236"/>
                    </a:lnTo>
                    <a:lnTo>
                      <a:pt x="21" y="236"/>
                    </a:lnTo>
                    <a:lnTo>
                      <a:pt x="21" y="235"/>
                    </a:lnTo>
                    <a:lnTo>
                      <a:pt x="21" y="233"/>
                    </a:lnTo>
                    <a:lnTo>
                      <a:pt x="21" y="232"/>
                    </a:lnTo>
                    <a:lnTo>
                      <a:pt x="21" y="231"/>
                    </a:lnTo>
                    <a:lnTo>
                      <a:pt x="23" y="231"/>
                    </a:lnTo>
                    <a:lnTo>
                      <a:pt x="24" y="230"/>
                    </a:lnTo>
                    <a:lnTo>
                      <a:pt x="24" y="229"/>
                    </a:lnTo>
                    <a:lnTo>
                      <a:pt x="24" y="228"/>
                    </a:lnTo>
                    <a:lnTo>
                      <a:pt x="25" y="228"/>
                    </a:lnTo>
                    <a:lnTo>
                      <a:pt x="26" y="226"/>
                    </a:lnTo>
                    <a:lnTo>
                      <a:pt x="27" y="226"/>
                    </a:lnTo>
                    <a:lnTo>
                      <a:pt x="26" y="225"/>
                    </a:lnTo>
                    <a:lnTo>
                      <a:pt x="25" y="225"/>
                    </a:lnTo>
                    <a:lnTo>
                      <a:pt x="21" y="227"/>
                    </a:lnTo>
                    <a:lnTo>
                      <a:pt x="20" y="227"/>
                    </a:lnTo>
                    <a:lnTo>
                      <a:pt x="19" y="227"/>
                    </a:lnTo>
                    <a:lnTo>
                      <a:pt x="18" y="227"/>
                    </a:lnTo>
                    <a:lnTo>
                      <a:pt x="18" y="226"/>
                    </a:lnTo>
                    <a:lnTo>
                      <a:pt x="19" y="225"/>
                    </a:lnTo>
                    <a:lnTo>
                      <a:pt x="19" y="224"/>
                    </a:lnTo>
                    <a:lnTo>
                      <a:pt x="18" y="224"/>
                    </a:lnTo>
                    <a:lnTo>
                      <a:pt x="18" y="223"/>
                    </a:lnTo>
                    <a:lnTo>
                      <a:pt x="18" y="222"/>
                    </a:lnTo>
                    <a:lnTo>
                      <a:pt x="17" y="222"/>
                    </a:lnTo>
                    <a:lnTo>
                      <a:pt x="17" y="220"/>
                    </a:lnTo>
                    <a:lnTo>
                      <a:pt x="17" y="219"/>
                    </a:lnTo>
                    <a:lnTo>
                      <a:pt x="17" y="218"/>
                    </a:lnTo>
                    <a:lnTo>
                      <a:pt x="18" y="217"/>
                    </a:lnTo>
                    <a:lnTo>
                      <a:pt x="20" y="216"/>
                    </a:lnTo>
                    <a:lnTo>
                      <a:pt x="20" y="215"/>
                    </a:lnTo>
                    <a:lnTo>
                      <a:pt x="20" y="214"/>
                    </a:lnTo>
                    <a:lnTo>
                      <a:pt x="19" y="214"/>
                    </a:lnTo>
                    <a:lnTo>
                      <a:pt x="19" y="215"/>
                    </a:lnTo>
                    <a:lnTo>
                      <a:pt x="18" y="215"/>
                    </a:lnTo>
                    <a:lnTo>
                      <a:pt x="17" y="216"/>
                    </a:lnTo>
                    <a:lnTo>
                      <a:pt x="16" y="216"/>
                    </a:lnTo>
                    <a:lnTo>
                      <a:pt x="15" y="216"/>
                    </a:lnTo>
                    <a:lnTo>
                      <a:pt x="15" y="217"/>
                    </a:lnTo>
                    <a:lnTo>
                      <a:pt x="14" y="217"/>
                    </a:lnTo>
                    <a:lnTo>
                      <a:pt x="14" y="218"/>
                    </a:lnTo>
                    <a:lnTo>
                      <a:pt x="14" y="219"/>
                    </a:lnTo>
                    <a:lnTo>
                      <a:pt x="13" y="219"/>
                    </a:lnTo>
                    <a:lnTo>
                      <a:pt x="12" y="219"/>
                    </a:lnTo>
                    <a:lnTo>
                      <a:pt x="12" y="218"/>
                    </a:lnTo>
                    <a:lnTo>
                      <a:pt x="13" y="218"/>
                    </a:lnTo>
                    <a:lnTo>
                      <a:pt x="15" y="215"/>
                    </a:lnTo>
                    <a:lnTo>
                      <a:pt x="16" y="214"/>
                    </a:lnTo>
                    <a:lnTo>
                      <a:pt x="17" y="213"/>
                    </a:lnTo>
                    <a:lnTo>
                      <a:pt x="18" y="212"/>
                    </a:lnTo>
                    <a:lnTo>
                      <a:pt x="19" y="212"/>
                    </a:lnTo>
                    <a:lnTo>
                      <a:pt x="20" y="212"/>
                    </a:lnTo>
                    <a:lnTo>
                      <a:pt x="21" y="212"/>
                    </a:lnTo>
                    <a:lnTo>
                      <a:pt x="23" y="213"/>
                    </a:lnTo>
                    <a:lnTo>
                      <a:pt x="23" y="212"/>
                    </a:lnTo>
                    <a:lnTo>
                      <a:pt x="24" y="211"/>
                    </a:lnTo>
                    <a:lnTo>
                      <a:pt x="23" y="211"/>
                    </a:lnTo>
                    <a:lnTo>
                      <a:pt x="21" y="211"/>
                    </a:lnTo>
                    <a:lnTo>
                      <a:pt x="20" y="211"/>
                    </a:lnTo>
                    <a:lnTo>
                      <a:pt x="18" y="211"/>
                    </a:lnTo>
                    <a:lnTo>
                      <a:pt x="17" y="211"/>
                    </a:lnTo>
                    <a:lnTo>
                      <a:pt x="17" y="210"/>
                    </a:lnTo>
                    <a:lnTo>
                      <a:pt x="16" y="210"/>
                    </a:lnTo>
                    <a:lnTo>
                      <a:pt x="14" y="209"/>
                    </a:lnTo>
                    <a:lnTo>
                      <a:pt x="13" y="209"/>
                    </a:lnTo>
                    <a:lnTo>
                      <a:pt x="15" y="207"/>
                    </a:lnTo>
                    <a:lnTo>
                      <a:pt x="15" y="206"/>
                    </a:lnTo>
                    <a:lnTo>
                      <a:pt x="16" y="205"/>
                    </a:lnTo>
                    <a:lnTo>
                      <a:pt x="16" y="204"/>
                    </a:lnTo>
                    <a:lnTo>
                      <a:pt x="15" y="203"/>
                    </a:lnTo>
                    <a:lnTo>
                      <a:pt x="15" y="202"/>
                    </a:lnTo>
                    <a:lnTo>
                      <a:pt x="14" y="202"/>
                    </a:lnTo>
                    <a:lnTo>
                      <a:pt x="12" y="202"/>
                    </a:lnTo>
                    <a:lnTo>
                      <a:pt x="11" y="202"/>
                    </a:lnTo>
                    <a:lnTo>
                      <a:pt x="10" y="202"/>
                    </a:lnTo>
                    <a:lnTo>
                      <a:pt x="10" y="201"/>
                    </a:lnTo>
                    <a:lnTo>
                      <a:pt x="11" y="200"/>
                    </a:lnTo>
                    <a:lnTo>
                      <a:pt x="12" y="200"/>
                    </a:lnTo>
                    <a:lnTo>
                      <a:pt x="14" y="200"/>
                    </a:lnTo>
                    <a:lnTo>
                      <a:pt x="18" y="200"/>
                    </a:lnTo>
                    <a:lnTo>
                      <a:pt x="19" y="200"/>
                    </a:lnTo>
                    <a:lnTo>
                      <a:pt x="20" y="199"/>
                    </a:lnTo>
                    <a:lnTo>
                      <a:pt x="20" y="197"/>
                    </a:lnTo>
                    <a:lnTo>
                      <a:pt x="20" y="196"/>
                    </a:lnTo>
                    <a:lnTo>
                      <a:pt x="20" y="194"/>
                    </a:lnTo>
                    <a:lnTo>
                      <a:pt x="20" y="193"/>
                    </a:lnTo>
                    <a:lnTo>
                      <a:pt x="19" y="192"/>
                    </a:lnTo>
                    <a:lnTo>
                      <a:pt x="18" y="192"/>
                    </a:lnTo>
                    <a:lnTo>
                      <a:pt x="17" y="191"/>
                    </a:lnTo>
                    <a:lnTo>
                      <a:pt x="16" y="191"/>
                    </a:lnTo>
                    <a:lnTo>
                      <a:pt x="16" y="190"/>
                    </a:lnTo>
                    <a:lnTo>
                      <a:pt x="15" y="189"/>
                    </a:lnTo>
                    <a:lnTo>
                      <a:pt x="14" y="186"/>
                    </a:lnTo>
                    <a:lnTo>
                      <a:pt x="14" y="183"/>
                    </a:lnTo>
                    <a:lnTo>
                      <a:pt x="14" y="180"/>
                    </a:lnTo>
                    <a:lnTo>
                      <a:pt x="14" y="179"/>
                    </a:lnTo>
                    <a:lnTo>
                      <a:pt x="15" y="177"/>
                    </a:lnTo>
                    <a:lnTo>
                      <a:pt x="16" y="176"/>
                    </a:lnTo>
                    <a:lnTo>
                      <a:pt x="17" y="174"/>
                    </a:lnTo>
                    <a:lnTo>
                      <a:pt x="19" y="168"/>
                    </a:lnTo>
                    <a:lnTo>
                      <a:pt x="19" y="167"/>
                    </a:lnTo>
                    <a:lnTo>
                      <a:pt x="19" y="165"/>
                    </a:lnTo>
                    <a:lnTo>
                      <a:pt x="19" y="162"/>
                    </a:lnTo>
                    <a:lnTo>
                      <a:pt x="19" y="161"/>
                    </a:lnTo>
                    <a:lnTo>
                      <a:pt x="20" y="159"/>
                    </a:lnTo>
                    <a:lnTo>
                      <a:pt x="20" y="156"/>
                    </a:lnTo>
                    <a:lnTo>
                      <a:pt x="19" y="154"/>
                    </a:lnTo>
                    <a:lnTo>
                      <a:pt x="19" y="152"/>
                    </a:lnTo>
                    <a:lnTo>
                      <a:pt x="16" y="149"/>
                    </a:lnTo>
                    <a:lnTo>
                      <a:pt x="15" y="147"/>
                    </a:lnTo>
                    <a:lnTo>
                      <a:pt x="15" y="145"/>
                    </a:lnTo>
                    <a:lnTo>
                      <a:pt x="12" y="138"/>
                    </a:lnTo>
                    <a:lnTo>
                      <a:pt x="12" y="137"/>
                    </a:lnTo>
                    <a:lnTo>
                      <a:pt x="13" y="137"/>
                    </a:lnTo>
                    <a:lnTo>
                      <a:pt x="14" y="136"/>
                    </a:lnTo>
                    <a:lnTo>
                      <a:pt x="15" y="135"/>
                    </a:lnTo>
                    <a:lnTo>
                      <a:pt x="15" y="134"/>
                    </a:lnTo>
                    <a:lnTo>
                      <a:pt x="15" y="133"/>
                    </a:lnTo>
                    <a:lnTo>
                      <a:pt x="14" y="133"/>
                    </a:lnTo>
                    <a:lnTo>
                      <a:pt x="12" y="132"/>
                    </a:lnTo>
                    <a:lnTo>
                      <a:pt x="12" y="129"/>
                    </a:lnTo>
                    <a:lnTo>
                      <a:pt x="11" y="129"/>
                    </a:lnTo>
                    <a:lnTo>
                      <a:pt x="12" y="128"/>
                    </a:lnTo>
                    <a:lnTo>
                      <a:pt x="13" y="127"/>
                    </a:lnTo>
                    <a:lnTo>
                      <a:pt x="14" y="126"/>
                    </a:lnTo>
                    <a:lnTo>
                      <a:pt x="16" y="126"/>
                    </a:lnTo>
                    <a:lnTo>
                      <a:pt x="17" y="126"/>
                    </a:lnTo>
                    <a:lnTo>
                      <a:pt x="18" y="125"/>
                    </a:lnTo>
                    <a:lnTo>
                      <a:pt x="18" y="124"/>
                    </a:lnTo>
                    <a:lnTo>
                      <a:pt x="18" y="122"/>
                    </a:lnTo>
                    <a:lnTo>
                      <a:pt x="17" y="120"/>
                    </a:lnTo>
                    <a:lnTo>
                      <a:pt x="14" y="117"/>
                    </a:lnTo>
                    <a:lnTo>
                      <a:pt x="12" y="116"/>
                    </a:lnTo>
                    <a:lnTo>
                      <a:pt x="11" y="114"/>
                    </a:lnTo>
                    <a:lnTo>
                      <a:pt x="8" y="111"/>
                    </a:lnTo>
                    <a:lnTo>
                      <a:pt x="4" y="106"/>
                    </a:lnTo>
                    <a:lnTo>
                      <a:pt x="4" y="104"/>
                    </a:lnTo>
                    <a:lnTo>
                      <a:pt x="4" y="103"/>
                    </a:lnTo>
                    <a:lnTo>
                      <a:pt x="1" y="98"/>
                    </a:lnTo>
                    <a:lnTo>
                      <a:pt x="1" y="97"/>
                    </a:lnTo>
                    <a:lnTo>
                      <a:pt x="1" y="96"/>
                    </a:lnTo>
                    <a:lnTo>
                      <a:pt x="1" y="94"/>
                    </a:lnTo>
                    <a:lnTo>
                      <a:pt x="1" y="93"/>
                    </a:lnTo>
                    <a:lnTo>
                      <a:pt x="1" y="91"/>
                    </a:lnTo>
                    <a:lnTo>
                      <a:pt x="2" y="90"/>
                    </a:lnTo>
                    <a:lnTo>
                      <a:pt x="3" y="88"/>
                    </a:lnTo>
                    <a:lnTo>
                      <a:pt x="3" y="87"/>
                    </a:lnTo>
                    <a:lnTo>
                      <a:pt x="5" y="85"/>
                    </a:lnTo>
                    <a:lnTo>
                      <a:pt x="5" y="84"/>
                    </a:lnTo>
                    <a:lnTo>
                      <a:pt x="4" y="83"/>
                    </a:lnTo>
                    <a:lnTo>
                      <a:pt x="4" y="82"/>
                    </a:lnTo>
                    <a:lnTo>
                      <a:pt x="3" y="81"/>
                    </a:lnTo>
                    <a:lnTo>
                      <a:pt x="3" y="79"/>
                    </a:lnTo>
                    <a:lnTo>
                      <a:pt x="2" y="79"/>
                    </a:lnTo>
                    <a:lnTo>
                      <a:pt x="3" y="78"/>
                    </a:lnTo>
                    <a:lnTo>
                      <a:pt x="4" y="77"/>
                    </a:lnTo>
                    <a:lnTo>
                      <a:pt x="5" y="77"/>
                    </a:lnTo>
                    <a:lnTo>
                      <a:pt x="5" y="76"/>
                    </a:lnTo>
                    <a:lnTo>
                      <a:pt x="4" y="76"/>
                    </a:lnTo>
                    <a:lnTo>
                      <a:pt x="3" y="76"/>
                    </a:lnTo>
                    <a:lnTo>
                      <a:pt x="2" y="76"/>
                    </a:lnTo>
                    <a:lnTo>
                      <a:pt x="2" y="75"/>
                    </a:lnTo>
                    <a:lnTo>
                      <a:pt x="3" y="75"/>
                    </a:lnTo>
                    <a:lnTo>
                      <a:pt x="4" y="74"/>
                    </a:lnTo>
                    <a:lnTo>
                      <a:pt x="4" y="73"/>
                    </a:lnTo>
                    <a:lnTo>
                      <a:pt x="5" y="73"/>
                    </a:lnTo>
                    <a:lnTo>
                      <a:pt x="4" y="72"/>
                    </a:lnTo>
                    <a:lnTo>
                      <a:pt x="3" y="71"/>
                    </a:lnTo>
                    <a:lnTo>
                      <a:pt x="3" y="70"/>
                    </a:lnTo>
                    <a:lnTo>
                      <a:pt x="3" y="69"/>
                    </a:lnTo>
                    <a:lnTo>
                      <a:pt x="4" y="69"/>
                    </a:lnTo>
                    <a:lnTo>
                      <a:pt x="6" y="70"/>
                    </a:lnTo>
                    <a:lnTo>
                      <a:pt x="7" y="69"/>
                    </a:lnTo>
                    <a:lnTo>
                      <a:pt x="7" y="68"/>
                    </a:lnTo>
                    <a:lnTo>
                      <a:pt x="6" y="66"/>
                    </a:lnTo>
                    <a:lnTo>
                      <a:pt x="5" y="66"/>
                    </a:lnTo>
                    <a:lnTo>
                      <a:pt x="4" y="65"/>
                    </a:lnTo>
                    <a:lnTo>
                      <a:pt x="4" y="64"/>
                    </a:lnTo>
                    <a:lnTo>
                      <a:pt x="4" y="63"/>
                    </a:lnTo>
                    <a:lnTo>
                      <a:pt x="5" y="63"/>
                    </a:lnTo>
                    <a:lnTo>
                      <a:pt x="6" y="63"/>
                    </a:lnTo>
                    <a:lnTo>
                      <a:pt x="7" y="63"/>
                    </a:lnTo>
                    <a:lnTo>
                      <a:pt x="7" y="62"/>
                    </a:lnTo>
                    <a:lnTo>
                      <a:pt x="8" y="61"/>
                    </a:lnTo>
                    <a:lnTo>
                      <a:pt x="7" y="60"/>
                    </a:lnTo>
                    <a:lnTo>
                      <a:pt x="6" y="58"/>
                    </a:lnTo>
                    <a:lnTo>
                      <a:pt x="5" y="55"/>
                    </a:lnTo>
                    <a:lnTo>
                      <a:pt x="5" y="52"/>
                    </a:lnTo>
                    <a:lnTo>
                      <a:pt x="4" y="50"/>
                    </a:lnTo>
                    <a:lnTo>
                      <a:pt x="4" y="49"/>
                    </a:lnTo>
                    <a:lnTo>
                      <a:pt x="5" y="47"/>
                    </a:lnTo>
                    <a:lnTo>
                      <a:pt x="5" y="46"/>
                    </a:lnTo>
                    <a:lnTo>
                      <a:pt x="3" y="45"/>
                    </a:lnTo>
                    <a:lnTo>
                      <a:pt x="3" y="44"/>
                    </a:lnTo>
                    <a:lnTo>
                      <a:pt x="3" y="43"/>
                    </a:lnTo>
                    <a:lnTo>
                      <a:pt x="4" y="39"/>
                    </a:lnTo>
                    <a:lnTo>
                      <a:pt x="4" y="38"/>
                    </a:lnTo>
                    <a:lnTo>
                      <a:pt x="3" y="38"/>
                    </a:lnTo>
                    <a:lnTo>
                      <a:pt x="2" y="38"/>
                    </a:lnTo>
                    <a:lnTo>
                      <a:pt x="1" y="38"/>
                    </a:lnTo>
                    <a:lnTo>
                      <a:pt x="1" y="37"/>
                    </a:lnTo>
                    <a:lnTo>
                      <a:pt x="1" y="36"/>
                    </a:lnTo>
                    <a:lnTo>
                      <a:pt x="1" y="35"/>
                    </a:lnTo>
                    <a:lnTo>
                      <a:pt x="1" y="34"/>
                    </a:lnTo>
                    <a:lnTo>
                      <a:pt x="0" y="33"/>
                    </a:lnTo>
                    <a:lnTo>
                      <a:pt x="0" y="32"/>
                    </a:lnTo>
                    <a:lnTo>
                      <a:pt x="1" y="32"/>
                    </a:lnTo>
                    <a:lnTo>
                      <a:pt x="1" y="30"/>
                    </a:lnTo>
                    <a:lnTo>
                      <a:pt x="2" y="30"/>
                    </a:lnTo>
                    <a:lnTo>
                      <a:pt x="3" y="30"/>
                    </a:lnTo>
                    <a:lnTo>
                      <a:pt x="4" y="30"/>
                    </a:lnTo>
                    <a:lnTo>
                      <a:pt x="5" y="30"/>
                    </a:lnTo>
                    <a:lnTo>
                      <a:pt x="6" y="29"/>
                    </a:lnTo>
                    <a:lnTo>
                      <a:pt x="6" y="27"/>
                    </a:lnTo>
                    <a:lnTo>
                      <a:pt x="6" y="26"/>
                    </a:lnTo>
                    <a:lnTo>
                      <a:pt x="3" y="21"/>
                    </a:lnTo>
                    <a:lnTo>
                      <a:pt x="2" y="21"/>
                    </a:lnTo>
                    <a:lnTo>
                      <a:pt x="2" y="20"/>
                    </a:lnTo>
                    <a:lnTo>
                      <a:pt x="3" y="19"/>
                    </a:lnTo>
                    <a:lnTo>
                      <a:pt x="4" y="18"/>
                    </a:lnTo>
                    <a:lnTo>
                      <a:pt x="5" y="18"/>
                    </a:lnTo>
                    <a:lnTo>
                      <a:pt x="7" y="17"/>
                    </a:lnTo>
                    <a:lnTo>
                      <a:pt x="8" y="17"/>
                    </a:lnTo>
                    <a:lnTo>
                      <a:pt x="8" y="16"/>
                    </a:lnTo>
                    <a:lnTo>
                      <a:pt x="10" y="13"/>
                    </a:lnTo>
                    <a:lnTo>
                      <a:pt x="8" y="11"/>
                    </a:lnTo>
                    <a:lnTo>
                      <a:pt x="8" y="10"/>
                    </a:lnTo>
                    <a:lnTo>
                      <a:pt x="8" y="9"/>
                    </a:lnTo>
                    <a:lnTo>
                      <a:pt x="8" y="8"/>
                    </a:lnTo>
                    <a:lnTo>
                      <a:pt x="10" y="8"/>
                    </a:lnTo>
                    <a:lnTo>
                      <a:pt x="11" y="7"/>
                    </a:lnTo>
                    <a:lnTo>
                      <a:pt x="12" y="6"/>
                    </a:lnTo>
                    <a:lnTo>
                      <a:pt x="12" y="5"/>
                    </a:lnTo>
                    <a:lnTo>
                      <a:pt x="11" y="1"/>
                    </a:lnTo>
                    <a:lnTo>
                      <a:pt x="11" y="0"/>
                    </a:lnTo>
                    <a:lnTo>
                      <a:pt x="14" y="0"/>
                    </a:lnTo>
                    <a:lnTo>
                      <a:pt x="27" y="1"/>
                    </a:lnTo>
                    <a:lnTo>
                      <a:pt x="52" y="1"/>
                    </a:lnTo>
                    <a:lnTo>
                      <a:pt x="53" y="1"/>
                    </a:lnTo>
                    <a:lnTo>
                      <a:pt x="56" y="1"/>
                    </a:lnTo>
                    <a:lnTo>
                      <a:pt x="75" y="1"/>
                    </a:lnTo>
                    <a:lnTo>
                      <a:pt x="79" y="1"/>
                    </a:lnTo>
                    <a:lnTo>
                      <a:pt x="82" y="1"/>
                    </a:lnTo>
                    <a:lnTo>
                      <a:pt x="94" y="1"/>
                    </a:lnTo>
                    <a:lnTo>
                      <a:pt x="95" y="1"/>
                    </a:lnTo>
                    <a:lnTo>
                      <a:pt x="97" y="1"/>
                    </a:lnTo>
                    <a:lnTo>
                      <a:pt x="99" y="1"/>
                    </a:lnTo>
                    <a:lnTo>
                      <a:pt x="102" y="1"/>
                    </a:lnTo>
                    <a:lnTo>
                      <a:pt x="108" y="1"/>
                    </a:lnTo>
                    <a:lnTo>
                      <a:pt x="114" y="1"/>
                    </a:lnTo>
                    <a:lnTo>
                      <a:pt x="115" y="1"/>
                    </a:lnTo>
                    <a:lnTo>
                      <a:pt x="129" y="1"/>
                    </a:lnTo>
                    <a:lnTo>
                      <a:pt x="132" y="1"/>
                    </a:lnTo>
                    <a:lnTo>
                      <a:pt x="141" y="1"/>
                    </a:lnTo>
                    <a:lnTo>
                      <a:pt x="152" y="1"/>
                    </a:lnTo>
                    <a:lnTo>
                      <a:pt x="173" y="1"/>
                    </a:lnTo>
                    <a:lnTo>
                      <a:pt x="202" y="1"/>
                    </a:lnTo>
                    <a:lnTo>
                      <a:pt x="205" y="1"/>
                    </a:lnTo>
                    <a:lnTo>
                      <a:pt x="214" y="1"/>
                    </a:lnTo>
                    <a:lnTo>
                      <a:pt x="218" y="1"/>
                    </a:lnTo>
                    <a:lnTo>
                      <a:pt x="223" y="1"/>
                    </a:lnTo>
                    <a:lnTo>
                      <a:pt x="237" y="1"/>
                    </a:lnTo>
                    <a:lnTo>
                      <a:pt x="243" y="1"/>
                    </a:lnTo>
                    <a:lnTo>
                      <a:pt x="248" y="1"/>
                    </a:lnTo>
                    <a:lnTo>
                      <a:pt x="261" y="1"/>
                    </a:lnTo>
                    <a:lnTo>
                      <a:pt x="281" y="1"/>
                    </a:lnTo>
                    <a:lnTo>
                      <a:pt x="282" y="3"/>
                    </a:lnTo>
                    <a:lnTo>
                      <a:pt x="284" y="1"/>
                    </a:lnTo>
                    <a:lnTo>
                      <a:pt x="287" y="1"/>
                    </a:lnTo>
                    <a:lnTo>
                      <a:pt x="291" y="3"/>
                    </a:lnTo>
                    <a:lnTo>
                      <a:pt x="296" y="1"/>
                    </a:lnTo>
                    <a:lnTo>
                      <a:pt x="303" y="3"/>
                    </a:lnTo>
                    <a:lnTo>
                      <a:pt x="305" y="3"/>
                    </a:lnTo>
                    <a:lnTo>
                      <a:pt x="308" y="1"/>
                    </a:lnTo>
                    <a:lnTo>
                      <a:pt x="310" y="3"/>
                    </a:lnTo>
                    <a:lnTo>
                      <a:pt x="314" y="1"/>
                    </a:lnTo>
                    <a:lnTo>
                      <a:pt x="320" y="1"/>
                    </a:lnTo>
                    <a:lnTo>
                      <a:pt x="322" y="1"/>
                    </a:lnTo>
                    <a:lnTo>
                      <a:pt x="359" y="1"/>
                    </a:lnTo>
                    <a:lnTo>
                      <a:pt x="365" y="3"/>
                    </a:lnTo>
                    <a:lnTo>
                      <a:pt x="376" y="3"/>
                    </a:lnTo>
                    <a:lnTo>
                      <a:pt x="381" y="3"/>
                    </a:lnTo>
                    <a:lnTo>
                      <a:pt x="382" y="3"/>
                    </a:lnTo>
                    <a:close/>
                  </a:path>
                </a:pathLst>
              </a:custGeom>
              <a:solidFill>
                <a:srgbClr val="1C65B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8" name="Freeform 326">
                <a:extLst>
                  <a:ext uri="{FF2B5EF4-FFF2-40B4-BE49-F238E27FC236}">
                    <a16:creationId xmlns:a16="http://schemas.microsoft.com/office/drawing/2014/main" id="{6801FE3B-9538-33EE-256B-BFA6204EB57B}"/>
                  </a:ext>
                </a:extLst>
              </p:cNvPr>
              <p:cNvSpPr>
                <a:spLocks/>
              </p:cNvSpPr>
              <p:nvPr/>
            </p:nvSpPr>
            <p:spPr bwMode="auto">
              <a:xfrm>
                <a:off x="3482976" y="1144588"/>
                <a:ext cx="366713" cy="490538"/>
              </a:xfrm>
              <a:custGeom>
                <a:avLst/>
                <a:gdLst>
                  <a:gd name="T0" fmla="*/ 227 w 231"/>
                  <a:gd name="T1" fmla="*/ 10 h 309"/>
                  <a:gd name="T2" fmla="*/ 225 w 231"/>
                  <a:gd name="T3" fmla="*/ 23 h 309"/>
                  <a:gd name="T4" fmla="*/ 222 w 231"/>
                  <a:gd name="T5" fmla="*/ 28 h 309"/>
                  <a:gd name="T6" fmla="*/ 218 w 231"/>
                  <a:gd name="T7" fmla="*/ 40 h 309"/>
                  <a:gd name="T8" fmla="*/ 209 w 231"/>
                  <a:gd name="T9" fmla="*/ 42 h 309"/>
                  <a:gd name="T10" fmla="*/ 202 w 231"/>
                  <a:gd name="T11" fmla="*/ 52 h 309"/>
                  <a:gd name="T12" fmla="*/ 204 w 231"/>
                  <a:gd name="T13" fmla="*/ 59 h 309"/>
                  <a:gd name="T14" fmla="*/ 199 w 231"/>
                  <a:gd name="T15" fmla="*/ 72 h 309"/>
                  <a:gd name="T16" fmla="*/ 199 w 231"/>
                  <a:gd name="T17" fmla="*/ 86 h 309"/>
                  <a:gd name="T18" fmla="*/ 199 w 231"/>
                  <a:gd name="T19" fmla="*/ 95 h 309"/>
                  <a:gd name="T20" fmla="*/ 193 w 231"/>
                  <a:gd name="T21" fmla="*/ 100 h 309"/>
                  <a:gd name="T22" fmla="*/ 188 w 231"/>
                  <a:gd name="T23" fmla="*/ 101 h 309"/>
                  <a:gd name="T24" fmla="*/ 182 w 231"/>
                  <a:gd name="T25" fmla="*/ 108 h 309"/>
                  <a:gd name="T26" fmla="*/ 180 w 231"/>
                  <a:gd name="T27" fmla="*/ 121 h 309"/>
                  <a:gd name="T28" fmla="*/ 181 w 231"/>
                  <a:gd name="T29" fmla="*/ 133 h 309"/>
                  <a:gd name="T30" fmla="*/ 181 w 231"/>
                  <a:gd name="T31" fmla="*/ 144 h 309"/>
                  <a:gd name="T32" fmla="*/ 181 w 231"/>
                  <a:gd name="T33" fmla="*/ 164 h 309"/>
                  <a:gd name="T34" fmla="*/ 181 w 231"/>
                  <a:gd name="T35" fmla="*/ 176 h 309"/>
                  <a:gd name="T36" fmla="*/ 176 w 231"/>
                  <a:gd name="T37" fmla="*/ 190 h 309"/>
                  <a:gd name="T38" fmla="*/ 163 w 231"/>
                  <a:gd name="T39" fmla="*/ 208 h 309"/>
                  <a:gd name="T40" fmla="*/ 159 w 231"/>
                  <a:gd name="T41" fmla="*/ 217 h 309"/>
                  <a:gd name="T42" fmla="*/ 160 w 231"/>
                  <a:gd name="T43" fmla="*/ 227 h 309"/>
                  <a:gd name="T44" fmla="*/ 157 w 231"/>
                  <a:gd name="T45" fmla="*/ 229 h 309"/>
                  <a:gd name="T46" fmla="*/ 146 w 231"/>
                  <a:gd name="T47" fmla="*/ 228 h 309"/>
                  <a:gd name="T48" fmla="*/ 144 w 231"/>
                  <a:gd name="T49" fmla="*/ 238 h 309"/>
                  <a:gd name="T50" fmla="*/ 147 w 231"/>
                  <a:gd name="T51" fmla="*/ 250 h 309"/>
                  <a:gd name="T52" fmla="*/ 147 w 231"/>
                  <a:gd name="T53" fmla="*/ 257 h 309"/>
                  <a:gd name="T54" fmla="*/ 149 w 231"/>
                  <a:gd name="T55" fmla="*/ 265 h 309"/>
                  <a:gd name="T56" fmla="*/ 144 w 231"/>
                  <a:gd name="T57" fmla="*/ 274 h 309"/>
                  <a:gd name="T58" fmla="*/ 147 w 231"/>
                  <a:gd name="T59" fmla="*/ 285 h 309"/>
                  <a:gd name="T60" fmla="*/ 141 w 231"/>
                  <a:gd name="T61" fmla="*/ 292 h 309"/>
                  <a:gd name="T62" fmla="*/ 129 w 231"/>
                  <a:gd name="T63" fmla="*/ 297 h 309"/>
                  <a:gd name="T64" fmla="*/ 118 w 231"/>
                  <a:gd name="T65" fmla="*/ 306 h 309"/>
                  <a:gd name="T66" fmla="*/ 56 w 231"/>
                  <a:gd name="T67" fmla="*/ 309 h 309"/>
                  <a:gd name="T68" fmla="*/ 26 w 231"/>
                  <a:gd name="T69" fmla="*/ 300 h 309"/>
                  <a:gd name="T70" fmla="*/ 0 w 231"/>
                  <a:gd name="T71" fmla="*/ 246 h 309"/>
                  <a:gd name="T72" fmla="*/ 9 w 231"/>
                  <a:gd name="T73" fmla="*/ 234 h 309"/>
                  <a:gd name="T74" fmla="*/ 5 w 231"/>
                  <a:gd name="T75" fmla="*/ 225 h 309"/>
                  <a:gd name="T76" fmla="*/ 2 w 231"/>
                  <a:gd name="T77" fmla="*/ 215 h 309"/>
                  <a:gd name="T78" fmla="*/ 13 w 231"/>
                  <a:gd name="T79" fmla="*/ 207 h 309"/>
                  <a:gd name="T80" fmla="*/ 16 w 231"/>
                  <a:gd name="T81" fmla="*/ 195 h 309"/>
                  <a:gd name="T82" fmla="*/ 26 w 231"/>
                  <a:gd name="T83" fmla="*/ 185 h 309"/>
                  <a:gd name="T84" fmla="*/ 24 w 231"/>
                  <a:gd name="T85" fmla="*/ 168 h 309"/>
                  <a:gd name="T86" fmla="*/ 24 w 231"/>
                  <a:gd name="T87" fmla="*/ 157 h 309"/>
                  <a:gd name="T88" fmla="*/ 30 w 231"/>
                  <a:gd name="T89" fmla="*/ 149 h 309"/>
                  <a:gd name="T90" fmla="*/ 31 w 231"/>
                  <a:gd name="T91" fmla="*/ 139 h 309"/>
                  <a:gd name="T92" fmla="*/ 40 w 231"/>
                  <a:gd name="T93" fmla="*/ 130 h 309"/>
                  <a:gd name="T94" fmla="*/ 41 w 231"/>
                  <a:gd name="T95" fmla="*/ 118 h 309"/>
                  <a:gd name="T96" fmla="*/ 49 w 231"/>
                  <a:gd name="T97" fmla="*/ 106 h 309"/>
                  <a:gd name="T98" fmla="*/ 60 w 231"/>
                  <a:gd name="T99" fmla="*/ 94 h 309"/>
                  <a:gd name="T100" fmla="*/ 78 w 231"/>
                  <a:gd name="T101" fmla="*/ 92 h 309"/>
                  <a:gd name="T102" fmla="*/ 86 w 231"/>
                  <a:gd name="T103" fmla="*/ 78 h 309"/>
                  <a:gd name="T104" fmla="*/ 95 w 231"/>
                  <a:gd name="T105" fmla="*/ 60 h 309"/>
                  <a:gd name="T106" fmla="*/ 103 w 231"/>
                  <a:gd name="T107" fmla="*/ 43 h 309"/>
                  <a:gd name="T108" fmla="*/ 111 w 231"/>
                  <a:gd name="T109" fmla="*/ 29 h 309"/>
                  <a:gd name="T110" fmla="*/ 119 w 231"/>
                  <a:gd name="T111" fmla="*/ 15 h 309"/>
                  <a:gd name="T112" fmla="*/ 116 w 231"/>
                  <a:gd name="T113" fmla="*/ 13 h 309"/>
                  <a:gd name="T114" fmla="*/ 124 w 231"/>
                  <a:gd name="T115" fmla="*/ 4 h 309"/>
                  <a:gd name="T116" fmla="*/ 141 w 231"/>
                  <a:gd name="T117" fmla="*/ 0 h 309"/>
                  <a:gd name="T118" fmla="*/ 188 w 231"/>
                  <a:gd name="T119" fmla="*/ 0 h 309"/>
                  <a:gd name="T120" fmla="*/ 215 w 231"/>
                  <a:gd name="T12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1" h="309">
                    <a:moveTo>
                      <a:pt x="229" y="1"/>
                    </a:moveTo>
                    <a:lnTo>
                      <a:pt x="231" y="2"/>
                    </a:lnTo>
                    <a:lnTo>
                      <a:pt x="231" y="3"/>
                    </a:lnTo>
                    <a:lnTo>
                      <a:pt x="231" y="4"/>
                    </a:lnTo>
                    <a:lnTo>
                      <a:pt x="230" y="5"/>
                    </a:lnTo>
                    <a:lnTo>
                      <a:pt x="230" y="6"/>
                    </a:lnTo>
                    <a:lnTo>
                      <a:pt x="230" y="7"/>
                    </a:lnTo>
                    <a:lnTo>
                      <a:pt x="230" y="8"/>
                    </a:lnTo>
                    <a:lnTo>
                      <a:pt x="230" y="9"/>
                    </a:lnTo>
                    <a:lnTo>
                      <a:pt x="230" y="10"/>
                    </a:lnTo>
                    <a:lnTo>
                      <a:pt x="229" y="10"/>
                    </a:lnTo>
                    <a:lnTo>
                      <a:pt x="228" y="10"/>
                    </a:lnTo>
                    <a:lnTo>
                      <a:pt x="227" y="10"/>
                    </a:lnTo>
                    <a:lnTo>
                      <a:pt x="225" y="11"/>
                    </a:lnTo>
                    <a:lnTo>
                      <a:pt x="223" y="13"/>
                    </a:lnTo>
                    <a:lnTo>
                      <a:pt x="223" y="14"/>
                    </a:lnTo>
                    <a:lnTo>
                      <a:pt x="224" y="14"/>
                    </a:lnTo>
                    <a:lnTo>
                      <a:pt x="224" y="15"/>
                    </a:lnTo>
                    <a:lnTo>
                      <a:pt x="224" y="17"/>
                    </a:lnTo>
                    <a:lnTo>
                      <a:pt x="224" y="18"/>
                    </a:lnTo>
                    <a:lnTo>
                      <a:pt x="225" y="18"/>
                    </a:lnTo>
                    <a:lnTo>
                      <a:pt x="225" y="19"/>
                    </a:lnTo>
                    <a:lnTo>
                      <a:pt x="227" y="20"/>
                    </a:lnTo>
                    <a:lnTo>
                      <a:pt x="227" y="21"/>
                    </a:lnTo>
                    <a:lnTo>
                      <a:pt x="227" y="22"/>
                    </a:lnTo>
                    <a:lnTo>
                      <a:pt x="225" y="23"/>
                    </a:lnTo>
                    <a:lnTo>
                      <a:pt x="224" y="23"/>
                    </a:lnTo>
                    <a:lnTo>
                      <a:pt x="223" y="23"/>
                    </a:lnTo>
                    <a:lnTo>
                      <a:pt x="223" y="22"/>
                    </a:lnTo>
                    <a:lnTo>
                      <a:pt x="223" y="21"/>
                    </a:lnTo>
                    <a:lnTo>
                      <a:pt x="222" y="21"/>
                    </a:lnTo>
                    <a:lnTo>
                      <a:pt x="221" y="21"/>
                    </a:lnTo>
                    <a:lnTo>
                      <a:pt x="221" y="22"/>
                    </a:lnTo>
                    <a:lnTo>
                      <a:pt x="220" y="23"/>
                    </a:lnTo>
                    <a:lnTo>
                      <a:pt x="220" y="24"/>
                    </a:lnTo>
                    <a:lnTo>
                      <a:pt x="221" y="24"/>
                    </a:lnTo>
                    <a:lnTo>
                      <a:pt x="221" y="26"/>
                    </a:lnTo>
                    <a:lnTo>
                      <a:pt x="222" y="27"/>
                    </a:lnTo>
                    <a:lnTo>
                      <a:pt x="222" y="28"/>
                    </a:lnTo>
                    <a:lnTo>
                      <a:pt x="222" y="29"/>
                    </a:lnTo>
                    <a:lnTo>
                      <a:pt x="223" y="29"/>
                    </a:lnTo>
                    <a:lnTo>
                      <a:pt x="223" y="30"/>
                    </a:lnTo>
                    <a:lnTo>
                      <a:pt x="222" y="31"/>
                    </a:lnTo>
                    <a:lnTo>
                      <a:pt x="222" y="32"/>
                    </a:lnTo>
                    <a:lnTo>
                      <a:pt x="222" y="33"/>
                    </a:lnTo>
                    <a:lnTo>
                      <a:pt x="222" y="34"/>
                    </a:lnTo>
                    <a:lnTo>
                      <a:pt x="222" y="35"/>
                    </a:lnTo>
                    <a:lnTo>
                      <a:pt x="222" y="36"/>
                    </a:lnTo>
                    <a:lnTo>
                      <a:pt x="221" y="37"/>
                    </a:lnTo>
                    <a:lnTo>
                      <a:pt x="220" y="39"/>
                    </a:lnTo>
                    <a:lnTo>
                      <a:pt x="219" y="40"/>
                    </a:lnTo>
                    <a:lnTo>
                      <a:pt x="218" y="40"/>
                    </a:lnTo>
                    <a:lnTo>
                      <a:pt x="217" y="40"/>
                    </a:lnTo>
                    <a:lnTo>
                      <a:pt x="216" y="41"/>
                    </a:lnTo>
                    <a:lnTo>
                      <a:pt x="215" y="41"/>
                    </a:lnTo>
                    <a:lnTo>
                      <a:pt x="214" y="41"/>
                    </a:lnTo>
                    <a:lnTo>
                      <a:pt x="212" y="40"/>
                    </a:lnTo>
                    <a:lnTo>
                      <a:pt x="212" y="39"/>
                    </a:lnTo>
                    <a:lnTo>
                      <a:pt x="211" y="39"/>
                    </a:lnTo>
                    <a:lnTo>
                      <a:pt x="211" y="40"/>
                    </a:lnTo>
                    <a:lnTo>
                      <a:pt x="211" y="42"/>
                    </a:lnTo>
                    <a:lnTo>
                      <a:pt x="211" y="43"/>
                    </a:lnTo>
                    <a:lnTo>
                      <a:pt x="210" y="43"/>
                    </a:lnTo>
                    <a:lnTo>
                      <a:pt x="209" y="43"/>
                    </a:lnTo>
                    <a:lnTo>
                      <a:pt x="209" y="42"/>
                    </a:lnTo>
                    <a:lnTo>
                      <a:pt x="209" y="41"/>
                    </a:lnTo>
                    <a:lnTo>
                      <a:pt x="208" y="41"/>
                    </a:lnTo>
                    <a:lnTo>
                      <a:pt x="208" y="42"/>
                    </a:lnTo>
                    <a:lnTo>
                      <a:pt x="207" y="42"/>
                    </a:lnTo>
                    <a:lnTo>
                      <a:pt x="208" y="43"/>
                    </a:lnTo>
                    <a:lnTo>
                      <a:pt x="207" y="44"/>
                    </a:lnTo>
                    <a:lnTo>
                      <a:pt x="206" y="46"/>
                    </a:lnTo>
                    <a:lnTo>
                      <a:pt x="205" y="48"/>
                    </a:lnTo>
                    <a:lnTo>
                      <a:pt x="204" y="48"/>
                    </a:lnTo>
                    <a:lnTo>
                      <a:pt x="204" y="49"/>
                    </a:lnTo>
                    <a:lnTo>
                      <a:pt x="203" y="49"/>
                    </a:lnTo>
                    <a:lnTo>
                      <a:pt x="202" y="50"/>
                    </a:lnTo>
                    <a:lnTo>
                      <a:pt x="202" y="52"/>
                    </a:lnTo>
                    <a:lnTo>
                      <a:pt x="203" y="53"/>
                    </a:lnTo>
                    <a:lnTo>
                      <a:pt x="204" y="53"/>
                    </a:lnTo>
                    <a:lnTo>
                      <a:pt x="204" y="54"/>
                    </a:lnTo>
                    <a:lnTo>
                      <a:pt x="203" y="54"/>
                    </a:lnTo>
                    <a:lnTo>
                      <a:pt x="203" y="55"/>
                    </a:lnTo>
                    <a:lnTo>
                      <a:pt x="203" y="56"/>
                    </a:lnTo>
                    <a:lnTo>
                      <a:pt x="204" y="56"/>
                    </a:lnTo>
                    <a:lnTo>
                      <a:pt x="205" y="56"/>
                    </a:lnTo>
                    <a:lnTo>
                      <a:pt x="206" y="57"/>
                    </a:lnTo>
                    <a:lnTo>
                      <a:pt x="206" y="58"/>
                    </a:lnTo>
                    <a:lnTo>
                      <a:pt x="205" y="58"/>
                    </a:lnTo>
                    <a:lnTo>
                      <a:pt x="204" y="58"/>
                    </a:lnTo>
                    <a:lnTo>
                      <a:pt x="204" y="59"/>
                    </a:lnTo>
                    <a:lnTo>
                      <a:pt x="203" y="59"/>
                    </a:lnTo>
                    <a:lnTo>
                      <a:pt x="203" y="61"/>
                    </a:lnTo>
                    <a:lnTo>
                      <a:pt x="203" y="62"/>
                    </a:lnTo>
                    <a:lnTo>
                      <a:pt x="202" y="62"/>
                    </a:lnTo>
                    <a:lnTo>
                      <a:pt x="202" y="63"/>
                    </a:lnTo>
                    <a:lnTo>
                      <a:pt x="202" y="65"/>
                    </a:lnTo>
                    <a:lnTo>
                      <a:pt x="202" y="66"/>
                    </a:lnTo>
                    <a:lnTo>
                      <a:pt x="201" y="66"/>
                    </a:lnTo>
                    <a:lnTo>
                      <a:pt x="199" y="67"/>
                    </a:lnTo>
                    <a:lnTo>
                      <a:pt x="199" y="68"/>
                    </a:lnTo>
                    <a:lnTo>
                      <a:pt x="199" y="69"/>
                    </a:lnTo>
                    <a:lnTo>
                      <a:pt x="199" y="71"/>
                    </a:lnTo>
                    <a:lnTo>
                      <a:pt x="199" y="72"/>
                    </a:lnTo>
                    <a:lnTo>
                      <a:pt x="199" y="73"/>
                    </a:lnTo>
                    <a:lnTo>
                      <a:pt x="199" y="74"/>
                    </a:lnTo>
                    <a:lnTo>
                      <a:pt x="199" y="75"/>
                    </a:lnTo>
                    <a:lnTo>
                      <a:pt x="199" y="78"/>
                    </a:lnTo>
                    <a:lnTo>
                      <a:pt x="199" y="79"/>
                    </a:lnTo>
                    <a:lnTo>
                      <a:pt x="199" y="80"/>
                    </a:lnTo>
                    <a:lnTo>
                      <a:pt x="199" y="81"/>
                    </a:lnTo>
                    <a:lnTo>
                      <a:pt x="199" y="82"/>
                    </a:lnTo>
                    <a:lnTo>
                      <a:pt x="201" y="82"/>
                    </a:lnTo>
                    <a:lnTo>
                      <a:pt x="201" y="83"/>
                    </a:lnTo>
                    <a:lnTo>
                      <a:pt x="201" y="84"/>
                    </a:lnTo>
                    <a:lnTo>
                      <a:pt x="201" y="85"/>
                    </a:lnTo>
                    <a:lnTo>
                      <a:pt x="199" y="86"/>
                    </a:lnTo>
                    <a:lnTo>
                      <a:pt x="199" y="87"/>
                    </a:lnTo>
                    <a:lnTo>
                      <a:pt x="201" y="88"/>
                    </a:lnTo>
                    <a:lnTo>
                      <a:pt x="202" y="88"/>
                    </a:lnTo>
                    <a:lnTo>
                      <a:pt x="203" y="88"/>
                    </a:lnTo>
                    <a:lnTo>
                      <a:pt x="203" y="90"/>
                    </a:lnTo>
                    <a:lnTo>
                      <a:pt x="203" y="91"/>
                    </a:lnTo>
                    <a:lnTo>
                      <a:pt x="203" y="92"/>
                    </a:lnTo>
                    <a:lnTo>
                      <a:pt x="202" y="92"/>
                    </a:lnTo>
                    <a:lnTo>
                      <a:pt x="201" y="92"/>
                    </a:lnTo>
                    <a:lnTo>
                      <a:pt x="199" y="92"/>
                    </a:lnTo>
                    <a:lnTo>
                      <a:pt x="199" y="93"/>
                    </a:lnTo>
                    <a:lnTo>
                      <a:pt x="199" y="94"/>
                    </a:lnTo>
                    <a:lnTo>
                      <a:pt x="199" y="95"/>
                    </a:lnTo>
                    <a:lnTo>
                      <a:pt x="198" y="96"/>
                    </a:lnTo>
                    <a:lnTo>
                      <a:pt x="198" y="97"/>
                    </a:lnTo>
                    <a:lnTo>
                      <a:pt x="197" y="98"/>
                    </a:lnTo>
                    <a:lnTo>
                      <a:pt x="196" y="98"/>
                    </a:lnTo>
                    <a:lnTo>
                      <a:pt x="195" y="99"/>
                    </a:lnTo>
                    <a:lnTo>
                      <a:pt x="196" y="100"/>
                    </a:lnTo>
                    <a:lnTo>
                      <a:pt x="196" y="101"/>
                    </a:lnTo>
                    <a:lnTo>
                      <a:pt x="195" y="103"/>
                    </a:lnTo>
                    <a:lnTo>
                      <a:pt x="194" y="104"/>
                    </a:lnTo>
                    <a:lnTo>
                      <a:pt x="194" y="103"/>
                    </a:lnTo>
                    <a:lnTo>
                      <a:pt x="194" y="101"/>
                    </a:lnTo>
                    <a:lnTo>
                      <a:pt x="193" y="101"/>
                    </a:lnTo>
                    <a:lnTo>
                      <a:pt x="193" y="100"/>
                    </a:lnTo>
                    <a:lnTo>
                      <a:pt x="192" y="99"/>
                    </a:lnTo>
                    <a:lnTo>
                      <a:pt x="192" y="98"/>
                    </a:lnTo>
                    <a:lnTo>
                      <a:pt x="191" y="98"/>
                    </a:lnTo>
                    <a:lnTo>
                      <a:pt x="191" y="97"/>
                    </a:lnTo>
                    <a:lnTo>
                      <a:pt x="190" y="97"/>
                    </a:lnTo>
                    <a:lnTo>
                      <a:pt x="189" y="97"/>
                    </a:lnTo>
                    <a:lnTo>
                      <a:pt x="189" y="98"/>
                    </a:lnTo>
                    <a:lnTo>
                      <a:pt x="188" y="98"/>
                    </a:lnTo>
                    <a:lnTo>
                      <a:pt x="188" y="99"/>
                    </a:lnTo>
                    <a:lnTo>
                      <a:pt x="189" y="99"/>
                    </a:lnTo>
                    <a:lnTo>
                      <a:pt x="189" y="100"/>
                    </a:lnTo>
                    <a:lnTo>
                      <a:pt x="188" y="100"/>
                    </a:lnTo>
                    <a:lnTo>
                      <a:pt x="188" y="101"/>
                    </a:lnTo>
                    <a:lnTo>
                      <a:pt x="186" y="101"/>
                    </a:lnTo>
                    <a:lnTo>
                      <a:pt x="185" y="101"/>
                    </a:lnTo>
                    <a:lnTo>
                      <a:pt x="185" y="103"/>
                    </a:lnTo>
                    <a:lnTo>
                      <a:pt x="185" y="104"/>
                    </a:lnTo>
                    <a:lnTo>
                      <a:pt x="186" y="104"/>
                    </a:lnTo>
                    <a:lnTo>
                      <a:pt x="186" y="105"/>
                    </a:lnTo>
                    <a:lnTo>
                      <a:pt x="185" y="106"/>
                    </a:lnTo>
                    <a:lnTo>
                      <a:pt x="184" y="105"/>
                    </a:lnTo>
                    <a:lnTo>
                      <a:pt x="183" y="105"/>
                    </a:lnTo>
                    <a:lnTo>
                      <a:pt x="182" y="105"/>
                    </a:lnTo>
                    <a:lnTo>
                      <a:pt x="182" y="106"/>
                    </a:lnTo>
                    <a:lnTo>
                      <a:pt x="182" y="107"/>
                    </a:lnTo>
                    <a:lnTo>
                      <a:pt x="182" y="108"/>
                    </a:lnTo>
                    <a:lnTo>
                      <a:pt x="182" y="109"/>
                    </a:lnTo>
                    <a:lnTo>
                      <a:pt x="183" y="109"/>
                    </a:lnTo>
                    <a:lnTo>
                      <a:pt x="183" y="110"/>
                    </a:lnTo>
                    <a:lnTo>
                      <a:pt x="183" y="111"/>
                    </a:lnTo>
                    <a:lnTo>
                      <a:pt x="183" y="112"/>
                    </a:lnTo>
                    <a:lnTo>
                      <a:pt x="182" y="113"/>
                    </a:lnTo>
                    <a:lnTo>
                      <a:pt x="181" y="116"/>
                    </a:lnTo>
                    <a:lnTo>
                      <a:pt x="181" y="117"/>
                    </a:lnTo>
                    <a:lnTo>
                      <a:pt x="181" y="118"/>
                    </a:lnTo>
                    <a:lnTo>
                      <a:pt x="180" y="118"/>
                    </a:lnTo>
                    <a:lnTo>
                      <a:pt x="180" y="119"/>
                    </a:lnTo>
                    <a:lnTo>
                      <a:pt x="180" y="120"/>
                    </a:lnTo>
                    <a:lnTo>
                      <a:pt x="180" y="121"/>
                    </a:lnTo>
                    <a:lnTo>
                      <a:pt x="179" y="123"/>
                    </a:lnTo>
                    <a:lnTo>
                      <a:pt x="179" y="124"/>
                    </a:lnTo>
                    <a:lnTo>
                      <a:pt x="178" y="126"/>
                    </a:lnTo>
                    <a:lnTo>
                      <a:pt x="178" y="129"/>
                    </a:lnTo>
                    <a:lnTo>
                      <a:pt x="178" y="130"/>
                    </a:lnTo>
                    <a:lnTo>
                      <a:pt x="178" y="131"/>
                    </a:lnTo>
                    <a:lnTo>
                      <a:pt x="178" y="132"/>
                    </a:lnTo>
                    <a:lnTo>
                      <a:pt x="178" y="133"/>
                    </a:lnTo>
                    <a:lnTo>
                      <a:pt x="178" y="134"/>
                    </a:lnTo>
                    <a:lnTo>
                      <a:pt x="179" y="134"/>
                    </a:lnTo>
                    <a:lnTo>
                      <a:pt x="180" y="134"/>
                    </a:lnTo>
                    <a:lnTo>
                      <a:pt x="180" y="133"/>
                    </a:lnTo>
                    <a:lnTo>
                      <a:pt x="181" y="133"/>
                    </a:lnTo>
                    <a:lnTo>
                      <a:pt x="182" y="133"/>
                    </a:lnTo>
                    <a:lnTo>
                      <a:pt x="182" y="134"/>
                    </a:lnTo>
                    <a:lnTo>
                      <a:pt x="183" y="134"/>
                    </a:lnTo>
                    <a:lnTo>
                      <a:pt x="182" y="135"/>
                    </a:lnTo>
                    <a:lnTo>
                      <a:pt x="182" y="136"/>
                    </a:lnTo>
                    <a:lnTo>
                      <a:pt x="182" y="137"/>
                    </a:lnTo>
                    <a:lnTo>
                      <a:pt x="182" y="138"/>
                    </a:lnTo>
                    <a:lnTo>
                      <a:pt x="182" y="139"/>
                    </a:lnTo>
                    <a:lnTo>
                      <a:pt x="181" y="140"/>
                    </a:lnTo>
                    <a:lnTo>
                      <a:pt x="181" y="142"/>
                    </a:lnTo>
                    <a:lnTo>
                      <a:pt x="182" y="142"/>
                    </a:lnTo>
                    <a:lnTo>
                      <a:pt x="182" y="143"/>
                    </a:lnTo>
                    <a:lnTo>
                      <a:pt x="181" y="144"/>
                    </a:lnTo>
                    <a:lnTo>
                      <a:pt x="182" y="145"/>
                    </a:lnTo>
                    <a:lnTo>
                      <a:pt x="182" y="146"/>
                    </a:lnTo>
                    <a:lnTo>
                      <a:pt x="182" y="147"/>
                    </a:lnTo>
                    <a:lnTo>
                      <a:pt x="182" y="148"/>
                    </a:lnTo>
                    <a:lnTo>
                      <a:pt x="182" y="149"/>
                    </a:lnTo>
                    <a:lnTo>
                      <a:pt x="182" y="150"/>
                    </a:lnTo>
                    <a:lnTo>
                      <a:pt x="182" y="153"/>
                    </a:lnTo>
                    <a:lnTo>
                      <a:pt x="181" y="155"/>
                    </a:lnTo>
                    <a:lnTo>
                      <a:pt x="181" y="160"/>
                    </a:lnTo>
                    <a:lnTo>
                      <a:pt x="181" y="161"/>
                    </a:lnTo>
                    <a:lnTo>
                      <a:pt x="181" y="162"/>
                    </a:lnTo>
                    <a:lnTo>
                      <a:pt x="181" y="163"/>
                    </a:lnTo>
                    <a:lnTo>
                      <a:pt x="181" y="164"/>
                    </a:lnTo>
                    <a:lnTo>
                      <a:pt x="181" y="166"/>
                    </a:lnTo>
                    <a:lnTo>
                      <a:pt x="180" y="169"/>
                    </a:lnTo>
                    <a:lnTo>
                      <a:pt x="180" y="170"/>
                    </a:lnTo>
                    <a:lnTo>
                      <a:pt x="181" y="170"/>
                    </a:lnTo>
                    <a:lnTo>
                      <a:pt x="181" y="171"/>
                    </a:lnTo>
                    <a:lnTo>
                      <a:pt x="181" y="172"/>
                    </a:lnTo>
                    <a:lnTo>
                      <a:pt x="182" y="172"/>
                    </a:lnTo>
                    <a:lnTo>
                      <a:pt x="182" y="173"/>
                    </a:lnTo>
                    <a:lnTo>
                      <a:pt x="181" y="173"/>
                    </a:lnTo>
                    <a:lnTo>
                      <a:pt x="180" y="174"/>
                    </a:lnTo>
                    <a:lnTo>
                      <a:pt x="180" y="175"/>
                    </a:lnTo>
                    <a:lnTo>
                      <a:pt x="181" y="175"/>
                    </a:lnTo>
                    <a:lnTo>
                      <a:pt x="181" y="176"/>
                    </a:lnTo>
                    <a:lnTo>
                      <a:pt x="180" y="177"/>
                    </a:lnTo>
                    <a:lnTo>
                      <a:pt x="180" y="178"/>
                    </a:lnTo>
                    <a:lnTo>
                      <a:pt x="180" y="182"/>
                    </a:lnTo>
                    <a:lnTo>
                      <a:pt x="180" y="183"/>
                    </a:lnTo>
                    <a:lnTo>
                      <a:pt x="180" y="184"/>
                    </a:lnTo>
                    <a:lnTo>
                      <a:pt x="180" y="185"/>
                    </a:lnTo>
                    <a:lnTo>
                      <a:pt x="181" y="185"/>
                    </a:lnTo>
                    <a:lnTo>
                      <a:pt x="181" y="186"/>
                    </a:lnTo>
                    <a:lnTo>
                      <a:pt x="180" y="187"/>
                    </a:lnTo>
                    <a:lnTo>
                      <a:pt x="179" y="188"/>
                    </a:lnTo>
                    <a:lnTo>
                      <a:pt x="178" y="188"/>
                    </a:lnTo>
                    <a:lnTo>
                      <a:pt x="177" y="189"/>
                    </a:lnTo>
                    <a:lnTo>
                      <a:pt x="176" y="190"/>
                    </a:lnTo>
                    <a:lnTo>
                      <a:pt x="173" y="191"/>
                    </a:lnTo>
                    <a:lnTo>
                      <a:pt x="173" y="193"/>
                    </a:lnTo>
                    <a:lnTo>
                      <a:pt x="172" y="193"/>
                    </a:lnTo>
                    <a:lnTo>
                      <a:pt x="171" y="195"/>
                    </a:lnTo>
                    <a:lnTo>
                      <a:pt x="169" y="199"/>
                    </a:lnTo>
                    <a:lnTo>
                      <a:pt x="169" y="200"/>
                    </a:lnTo>
                    <a:lnTo>
                      <a:pt x="168" y="201"/>
                    </a:lnTo>
                    <a:lnTo>
                      <a:pt x="167" y="202"/>
                    </a:lnTo>
                    <a:lnTo>
                      <a:pt x="166" y="203"/>
                    </a:lnTo>
                    <a:lnTo>
                      <a:pt x="166" y="204"/>
                    </a:lnTo>
                    <a:lnTo>
                      <a:pt x="165" y="207"/>
                    </a:lnTo>
                    <a:lnTo>
                      <a:pt x="164" y="208"/>
                    </a:lnTo>
                    <a:lnTo>
                      <a:pt x="163" y="208"/>
                    </a:lnTo>
                    <a:lnTo>
                      <a:pt x="163" y="209"/>
                    </a:lnTo>
                    <a:lnTo>
                      <a:pt x="162" y="209"/>
                    </a:lnTo>
                    <a:lnTo>
                      <a:pt x="162" y="210"/>
                    </a:lnTo>
                    <a:lnTo>
                      <a:pt x="163" y="211"/>
                    </a:lnTo>
                    <a:lnTo>
                      <a:pt x="164" y="211"/>
                    </a:lnTo>
                    <a:lnTo>
                      <a:pt x="163" y="211"/>
                    </a:lnTo>
                    <a:lnTo>
                      <a:pt x="163" y="212"/>
                    </a:lnTo>
                    <a:lnTo>
                      <a:pt x="162" y="212"/>
                    </a:lnTo>
                    <a:lnTo>
                      <a:pt x="162" y="213"/>
                    </a:lnTo>
                    <a:lnTo>
                      <a:pt x="162" y="214"/>
                    </a:lnTo>
                    <a:lnTo>
                      <a:pt x="162" y="215"/>
                    </a:lnTo>
                    <a:lnTo>
                      <a:pt x="160" y="216"/>
                    </a:lnTo>
                    <a:lnTo>
                      <a:pt x="159" y="217"/>
                    </a:lnTo>
                    <a:lnTo>
                      <a:pt x="159" y="219"/>
                    </a:lnTo>
                    <a:lnTo>
                      <a:pt x="159" y="220"/>
                    </a:lnTo>
                    <a:lnTo>
                      <a:pt x="160" y="220"/>
                    </a:lnTo>
                    <a:lnTo>
                      <a:pt x="160" y="221"/>
                    </a:lnTo>
                    <a:lnTo>
                      <a:pt x="160" y="222"/>
                    </a:lnTo>
                    <a:lnTo>
                      <a:pt x="159" y="222"/>
                    </a:lnTo>
                    <a:lnTo>
                      <a:pt x="159" y="223"/>
                    </a:lnTo>
                    <a:lnTo>
                      <a:pt x="162" y="224"/>
                    </a:lnTo>
                    <a:lnTo>
                      <a:pt x="162" y="225"/>
                    </a:lnTo>
                    <a:lnTo>
                      <a:pt x="163" y="225"/>
                    </a:lnTo>
                    <a:lnTo>
                      <a:pt x="162" y="226"/>
                    </a:lnTo>
                    <a:lnTo>
                      <a:pt x="160" y="226"/>
                    </a:lnTo>
                    <a:lnTo>
                      <a:pt x="160" y="227"/>
                    </a:lnTo>
                    <a:lnTo>
                      <a:pt x="162" y="228"/>
                    </a:lnTo>
                    <a:lnTo>
                      <a:pt x="162" y="229"/>
                    </a:lnTo>
                    <a:lnTo>
                      <a:pt x="162" y="230"/>
                    </a:lnTo>
                    <a:lnTo>
                      <a:pt x="160" y="230"/>
                    </a:lnTo>
                    <a:lnTo>
                      <a:pt x="159" y="230"/>
                    </a:lnTo>
                    <a:lnTo>
                      <a:pt x="158" y="230"/>
                    </a:lnTo>
                    <a:lnTo>
                      <a:pt x="158" y="229"/>
                    </a:lnTo>
                    <a:lnTo>
                      <a:pt x="159" y="228"/>
                    </a:lnTo>
                    <a:lnTo>
                      <a:pt x="159" y="227"/>
                    </a:lnTo>
                    <a:lnTo>
                      <a:pt x="158" y="227"/>
                    </a:lnTo>
                    <a:lnTo>
                      <a:pt x="157" y="227"/>
                    </a:lnTo>
                    <a:lnTo>
                      <a:pt x="157" y="228"/>
                    </a:lnTo>
                    <a:lnTo>
                      <a:pt x="157" y="229"/>
                    </a:lnTo>
                    <a:lnTo>
                      <a:pt x="156" y="229"/>
                    </a:lnTo>
                    <a:lnTo>
                      <a:pt x="155" y="229"/>
                    </a:lnTo>
                    <a:lnTo>
                      <a:pt x="154" y="228"/>
                    </a:lnTo>
                    <a:lnTo>
                      <a:pt x="153" y="228"/>
                    </a:lnTo>
                    <a:lnTo>
                      <a:pt x="152" y="228"/>
                    </a:lnTo>
                    <a:lnTo>
                      <a:pt x="152" y="227"/>
                    </a:lnTo>
                    <a:lnTo>
                      <a:pt x="151" y="227"/>
                    </a:lnTo>
                    <a:lnTo>
                      <a:pt x="150" y="228"/>
                    </a:lnTo>
                    <a:lnTo>
                      <a:pt x="150" y="227"/>
                    </a:lnTo>
                    <a:lnTo>
                      <a:pt x="149" y="227"/>
                    </a:lnTo>
                    <a:lnTo>
                      <a:pt x="147" y="227"/>
                    </a:lnTo>
                    <a:lnTo>
                      <a:pt x="146" y="227"/>
                    </a:lnTo>
                    <a:lnTo>
                      <a:pt x="146" y="228"/>
                    </a:lnTo>
                    <a:lnTo>
                      <a:pt x="146" y="229"/>
                    </a:lnTo>
                    <a:lnTo>
                      <a:pt x="147" y="230"/>
                    </a:lnTo>
                    <a:lnTo>
                      <a:pt x="146" y="232"/>
                    </a:lnTo>
                    <a:lnTo>
                      <a:pt x="146" y="233"/>
                    </a:lnTo>
                    <a:lnTo>
                      <a:pt x="147" y="234"/>
                    </a:lnTo>
                    <a:lnTo>
                      <a:pt x="147" y="235"/>
                    </a:lnTo>
                    <a:lnTo>
                      <a:pt x="146" y="235"/>
                    </a:lnTo>
                    <a:lnTo>
                      <a:pt x="145" y="235"/>
                    </a:lnTo>
                    <a:lnTo>
                      <a:pt x="144" y="236"/>
                    </a:lnTo>
                    <a:lnTo>
                      <a:pt x="143" y="236"/>
                    </a:lnTo>
                    <a:lnTo>
                      <a:pt x="143" y="237"/>
                    </a:lnTo>
                    <a:lnTo>
                      <a:pt x="144" y="237"/>
                    </a:lnTo>
                    <a:lnTo>
                      <a:pt x="144" y="238"/>
                    </a:lnTo>
                    <a:lnTo>
                      <a:pt x="144" y="239"/>
                    </a:lnTo>
                    <a:lnTo>
                      <a:pt x="145" y="239"/>
                    </a:lnTo>
                    <a:lnTo>
                      <a:pt x="145" y="240"/>
                    </a:lnTo>
                    <a:lnTo>
                      <a:pt x="145" y="241"/>
                    </a:lnTo>
                    <a:lnTo>
                      <a:pt x="145" y="242"/>
                    </a:lnTo>
                    <a:lnTo>
                      <a:pt x="145" y="245"/>
                    </a:lnTo>
                    <a:lnTo>
                      <a:pt x="145" y="246"/>
                    </a:lnTo>
                    <a:lnTo>
                      <a:pt x="145" y="247"/>
                    </a:lnTo>
                    <a:lnTo>
                      <a:pt x="145" y="248"/>
                    </a:lnTo>
                    <a:lnTo>
                      <a:pt x="146" y="248"/>
                    </a:lnTo>
                    <a:lnTo>
                      <a:pt x="146" y="249"/>
                    </a:lnTo>
                    <a:lnTo>
                      <a:pt x="146" y="250"/>
                    </a:lnTo>
                    <a:lnTo>
                      <a:pt x="147" y="250"/>
                    </a:lnTo>
                    <a:lnTo>
                      <a:pt x="146" y="250"/>
                    </a:lnTo>
                    <a:lnTo>
                      <a:pt x="146" y="251"/>
                    </a:lnTo>
                    <a:lnTo>
                      <a:pt x="145" y="252"/>
                    </a:lnTo>
                    <a:lnTo>
                      <a:pt x="145" y="253"/>
                    </a:lnTo>
                    <a:lnTo>
                      <a:pt x="146" y="254"/>
                    </a:lnTo>
                    <a:lnTo>
                      <a:pt x="147" y="254"/>
                    </a:lnTo>
                    <a:lnTo>
                      <a:pt x="147" y="253"/>
                    </a:lnTo>
                    <a:lnTo>
                      <a:pt x="149" y="253"/>
                    </a:lnTo>
                    <a:lnTo>
                      <a:pt x="150" y="254"/>
                    </a:lnTo>
                    <a:lnTo>
                      <a:pt x="149" y="254"/>
                    </a:lnTo>
                    <a:lnTo>
                      <a:pt x="149" y="255"/>
                    </a:lnTo>
                    <a:lnTo>
                      <a:pt x="149" y="257"/>
                    </a:lnTo>
                    <a:lnTo>
                      <a:pt x="147" y="257"/>
                    </a:lnTo>
                    <a:lnTo>
                      <a:pt x="147" y="258"/>
                    </a:lnTo>
                    <a:lnTo>
                      <a:pt x="147" y="259"/>
                    </a:lnTo>
                    <a:lnTo>
                      <a:pt x="146" y="259"/>
                    </a:lnTo>
                    <a:lnTo>
                      <a:pt x="146" y="260"/>
                    </a:lnTo>
                    <a:lnTo>
                      <a:pt x="147" y="261"/>
                    </a:lnTo>
                    <a:lnTo>
                      <a:pt x="149" y="262"/>
                    </a:lnTo>
                    <a:lnTo>
                      <a:pt x="150" y="262"/>
                    </a:lnTo>
                    <a:lnTo>
                      <a:pt x="150" y="263"/>
                    </a:lnTo>
                    <a:lnTo>
                      <a:pt x="149" y="263"/>
                    </a:lnTo>
                    <a:lnTo>
                      <a:pt x="147" y="263"/>
                    </a:lnTo>
                    <a:lnTo>
                      <a:pt x="147" y="264"/>
                    </a:lnTo>
                    <a:lnTo>
                      <a:pt x="149" y="264"/>
                    </a:lnTo>
                    <a:lnTo>
                      <a:pt x="149" y="265"/>
                    </a:lnTo>
                    <a:lnTo>
                      <a:pt x="147" y="266"/>
                    </a:lnTo>
                    <a:lnTo>
                      <a:pt x="146" y="266"/>
                    </a:lnTo>
                    <a:lnTo>
                      <a:pt x="145" y="265"/>
                    </a:lnTo>
                    <a:lnTo>
                      <a:pt x="144" y="265"/>
                    </a:lnTo>
                    <a:lnTo>
                      <a:pt x="144" y="266"/>
                    </a:lnTo>
                    <a:lnTo>
                      <a:pt x="144" y="268"/>
                    </a:lnTo>
                    <a:lnTo>
                      <a:pt x="144" y="270"/>
                    </a:lnTo>
                    <a:lnTo>
                      <a:pt x="145" y="270"/>
                    </a:lnTo>
                    <a:lnTo>
                      <a:pt x="145" y="271"/>
                    </a:lnTo>
                    <a:lnTo>
                      <a:pt x="145" y="272"/>
                    </a:lnTo>
                    <a:lnTo>
                      <a:pt x="145" y="273"/>
                    </a:lnTo>
                    <a:lnTo>
                      <a:pt x="145" y="274"/>
                    </a:lnTo>
                    <a:lnTo>
                      <a:pt x="144" y="274"/>
                    </a:lnTo>
                    <a:lnTo>
                      <a:pt x="144" y="275"/>
                    </a:lnTo>
                    <a:lnTo>
                      <a:pt x="143" y="275"/>
                    </a:lnTo>
                    <a:lnTo>
                      <a:pt x="143" y="276"/>
                    </a:lnTo>
                    <a:lnTo>
                      <a:pt x="142" y="276"/>
                    </a:lnTo>
                    <a:lnTo>
                      <a:pt x="142" y="277"/>
                    </a:lnTo>
                    <a:lnTo>
                      <a:pt x="142" y="279"/>
                    </a:lnTo>
                    <a:lnTo>
                      <a:pt x="142" y="280"/>
                    </a:lnTo>
                    <a:lnTo>
                      <a:pt x="143" y="281"/>
                    </a:lnTo>
                    <a:lnTo>
                      <a:pt x="143" y="283"/>
                    </a:lnTo>
                    <a:lnTo>
                      <a:pt x="143" y="284"/>
                    </a:lnTo>
                    <a:lnTo>
                      <a:pt x="144" y="284"/>
                    </a:lnTo>
                    <a:lnTo>
                      <a:pt x="145" y="285"/>
                    </a:lnTo>
                    <a:lnTo>
                      <a:pt x="147" y="285"/>
                    </a:lnTo>
                    <a:lnTo>
                      <a:pt x="149" y="285"/>
                    </a:lnTo>
                    <a:lnTo>
                      <a:pt x="149" y="286"/>
                    </a:lnTo>
                    <a:lnTo>
                      <a:pt x="149" y="287"/>
                    </a:lnTo>
                    <a:lnTo>
                      <a:pt x="147" y="288"/>
                    </a:lnTo>
                    <a:lnTo>
                      <a:pt x="147" y="289"/>
                    </a:lnTo>
                    <a:lnTo>
                      <a:pt x="146" y="289"/>
                    </a:lnTo>
                    <a:lnTo>
                      <a:pt x="146" y="290"/>
                    </a:lnTo>
                    <a:lnTo>
                      <a:pt x="145" y="290"/>
                    </a:lnTo>
                    <a:lnTo>
                      <a:pt x="145" y="291"/>
                    </a:lnTo>
                    <a:lnTo>
                      <a:pt x="144" y="291"/>
                    </a:lnTo>
                    <a:lnTo>
                      <a:pt x="143" y="291"/>
                    </a:lnTo>
                    <a:lnTo>
                      <a:pt x="142" y="292"/>
                    </a:lnTo>
                    <a:lnTo>
                      <a:pt x="141" y="292"/>
                    </a:lnTo>
                    <a:lnTo>
                      <a:pt x="140" y="292"/>
                    </a:lnTo>
                    <a:lnTo>
                      <a:pt x="139" y="292"/>
                    </a:lnTo>
                    <a:lnTo>
                      <a:pt x="137" y="292"/>
                    </a:lnTo>
                    <a:lnTo>
                      <a:pt x="136" y="293"/>
                    </a:lnTo>
                    <a:lnTo>
                      <a:pt x="134" y="294"/>
                    </a:lnTo>
                    <a:lnTo>
                      <a:pt x="134" y="296"/>
                    </a:lnTo>
                    <a:lnTo>
                      <a:pt x="133" y="296"/>
                    </a:lnTo>
                    <a:lnTo>
                      <a:pt x="133" y="294"/>
                    </a:lnTo>
                    <a:lnTo>
                      <a:pt x="131" y="294"/>
                    </a:lnTo>
                    <a:lnTo>
                      <a:pt x="130" y="294"/>
                    </a:lnTo>
                    <a:lnTo>
                      <a:pt x="130" y="296"/>
                    </a:lnTo>
                    <a:lnTo>
                      <a:pt x="129" y="296"/>
                    </a:lnTo>
                    <a:lnTo>
                      <a:pt x="129" y="297"/>
                    </a:lnTo>
                    <a:lnTo>
                      <a:pt x="128" y="297"/>
                    </a:lnTo>
                    <a:lnTo>
                      <a:pt x="127" y="298"/>
                    </a:lnTo>
                    <a:lnTo>
                      <a:pt x="127" y="299"/>
                    </a:lnTo>
                    <a:lnTo>
                      <a:pt x="126" y="300"/>
                    </a:lnTo>
                    <a:lnTo>
                      <a:pt x="126" y="301"/>
                    </a:lnTo>
                    <a:lnTo>
                      <a:pt x="125" y="301"/>
                    </a:lnTo>
                    <a:lnTo>
                      <a:pt x="124" y="302"/>
                    </a:lnTo>
                    <a:lnTo>
                      <a:pt x="121" y="303"/>
                    </a:lnTo>
                    <a:lnTo>
                      <a:pt x="120" y="304"/>
                    </a:lnTo>
                    <a:lnTo>
                      <a:pt x="120" y="305"/>
                    </a:lnTo>
                    <a:lnTo>
                      <a:pt x="119" y="305"/>
                    </a:lnTo>
                    <a:lnTo>
                      <a:pt x="119" y="306"/>
                    </a:lnTo>
                    <a:lnTo>
                      <a:pt x="118" y="306"/>
                    </a:lnTo>
                    <a:lnTo>
                      <a:pt x="118" y="307"/>
                    </a:lnTo>
                    <a:lnTo>
                      <a:pt x="118" y="309"/>
                    </a:lnTo>
                    <a:lnTo>
                      <a:pt x="105" y="309"/>
                    </a:lnTo>
                    <a:lnTo>
                      <a:pt x="85" y="309"/>
                    </a:lnTo>
                    <a:lnTo>
                      <a:pt x="77" y="309"/>
                    </a:lnTo>
                    <a:lnTo>
                      <a:pt x="75" y="309"/>
                    </a:lnTo>
                    <a:lnTo>
                      <a:pt x="70" y="309"/>
                    </a:lnTo>
                    <a:lnTo>
                      <a:pt x="67" y="309"/>
                    </a:lnTo>
                    <a:lnTo>
                      <a:pt x="65" y="309"/>
                    </a:lnTo>
                    <a:lnTo>
                      <a:pt x="64" y="309"/>
                    </a:lnTo>
                    <a:lnTo>
                      <a:pt x="63" y="309"/>
                    </a:lnTo>
                    <a:lnTo>
                      <a:pt x="57" y="309"/>
                    </a:lnTo>
                    <a:lnTo>
                      <a:pt x="56" y="309"/>
                    </a:lnTo>
                    <a:lnTo>
                      <a:pt x="53" y="309"/>
                    </a:lnTo>
                    <a:lnTo>
                      <a:pt x="52" y="307"/>
                    </a:lnTo>
                    <a:lnTo>
                      <a:pt x="51" y="309"/>
                    </a:lnTo>
                    <a:lnTo>
                      <a:pt x="50" y="309"/>
                    </a:lnTo>
                    <a:lnTo>
                      <a:pt x="49" y="309"/>
                    </a:lnTo>
                    <a:lnTo>
                      <a:pt x="46" y="309"/>
                    </a:lnTo>
                    <a:lnTo>
                      <a:pt x="42" y="309"/>
                    </a:lnTo>
                    <a:lnTo>
                      <a:pt x="37" y="309"/>
                    </a:lnTo>
                    <a:lnTo>
                      <a:pt x="34" y="309"/>
                    </a:lnTo>
                    <a:lnTo>
                      <a:pt x="33" y="309"/>
                    </a:lnTo>
                    <a:lnTo>
                      <a:pt x="27" y="309"/>
                    </a:lnTo>
                    <a:lnTo>
                      <a:pt x="26" y="309"/>
                    </a:lnTo>
                    <a:lnTo>
                      <a:pt x="26" y="300"/>
                    </a:lnTo>
                    <a:lnTo>
                      <a:pt x="26" y="286"/>
                    </a:lnTo>
                    <a:lnTo>
                      <a:pt x="25" y="281"/>
                    </a:lnTo>
                    <a:lnTo>
                      <a:pt x="25" y="272"/>
                    </a:lnTo>
                    <a:lnTo>
                      <a:pt x="25" y="265"/>
                    </a:lnTo>
                    <a:lnTo>
                      <a:pt x="25" y="261"/>
                    </a:lnTo>
                    <a:lnTo>
                      <a:pt x="25" y="259"/>
                    </a:lnTo>
                    <a:lnTo>
                      <a:pt x="25" y="253"/>
                    </a:lnTo>
                    <a:lnTo>
                      <a:pt x="25" y="247"/>
                    </a:lnTo>
                    <a:lnTo>
                      <a:pt x="24" y="247"/>
                    </a:lnTo>
                    <a:lnTo>
                      <a:pt x="13" y="247"/>
                    </a:lnTo>
                    <a:lnTo>
                      <a:pt x="1" y="247"/>
                    </a:lnTo>
                    <a:lnTo>
                      <a:pt x="0" y="247"/>
                    </a:lnTo>
                    <a:lnTo>
                      <a:pt x="0" y="246"/>
                    </a:lnTo>
                    <a:lnTo>
                      <a:pt x="1" y="245"/>
                    </a:lnTo>
                    <a:lnTo>
                      <a:pt x="2" y="245"/>
                    </a:lnTo>
                    <a:lnTo>
                      <a:pt x="3" y="245"/>
                    </a:lnTo>
                    <a:lnTo>
                      <a:pt x="4" y="243"/>
                    </a:lnTo>
                    <a:lnTo>
                      <a:pt x="4" y="242"/>
                    </a:lnTo>
                    <a:lnTo>
                      <a:pt x="5" y="242"/>
                    </a:lnTo>
                    <a:lnTo>
                      <a:pt x="5" y="241"/>
                    </a:lnTo>
                    <a:lnTo>
                      <a:pt x="5" y="240"/>
                    </a:lnTo>
                    <a:lnTo>
                      <a:pt x="7" y="240"/>
                    </a:lnTo>
                    <a:lnTo>
                      <a:pt x="8" y="239"/>
                    </a:lnTo>
                    <a:lnTo>
                      <a:pt x="10" y="237"/>
                    </a:lnTo>
                    <a:lnTo>
                      <a:pt x="10" y="236"/>
                    </a:lnTo>
                    <a:lnTo>
                      <a:pt x="9" y="234"/>
                    </a:lnTo>
                    <a:lnTo>
                      <a:pt x="9" y="233"/>
                    </a:lnTo>
                    <a:lnTo>
                      <a:pt x="11" y="232"/>
                    </a:lnTo>
                    <a:lnTo>
                      <a:pt x="11" y="230"/>
                    </a:lnTo>
                    <a:lnTo>
                      <a:pt x="10" y="229"/>
                    </a:lnTo>
                    <a:lnTo>
                      <a:pt x="10" y="228"/>
                    </a:lnTo>
                    <a:lnTo>
                      <a:pt x="9" y="228"/>
                    </a:lnTo>
                    <a:lnTo>
                      <a:pt x="9" y="227"/>
                    </a:lnTo>
                    <a:lnTo>
                      <a:pt x="9" y="226"/>
                    </a:lnTo>
                    <a:lnTo>
                      <a:pt x="9" y="225"/>
                    </a:lnTo>
                    <a:lnTo>
                      <a:pt x="8" y="226"/>
                    </a:lnTo>
                    <a:lnTo>
                      <a:pt x="7" y="226"/>
                    </a:lnTo>
                    <a:lnTo>
                      <a:pt x="5" y="226"/>
                    </a:lnTo>
                    <a:lnTo>
                      <a:pt x="5" y="225"/>
                    </a:lnTo>
                    <a:lnTo>
                      <a:pt x="5" y="224"/>
                    </a:lnTo>
                    <a:lnTo>
                      <a:pt x="4" y="223"/>
                    </a:lnTo>
                    <a:lnTo>
                      <a:pt x="3" y="222"/>
                    </a:lnTo>
                    <a:lnTo>
                      <a:pt x="2" y="222"/>
                    </a:lnTo>
                    <a:lnTo>
                      <a:pt x="1" y="222"/>
                    </a:lnTo>
                    <a:lnTo>
                      <a:pt x="0" y="222"/>
                    </a:lnTo>
                    <a:lnTo>
                      <a:pt x="0" y="221"/>
                    </a:lnTo>
                    <a:lnTo>
                      <a:pt x="0" y="220"/>
                    </a:lnTo>
                    <a:lnTo>
                      <a:pt x="0" y="219"/>
                    </a:lnTo>
                    <a:lnTo>
                      <a:pt x="1" y="217"/>
                    </a:lnTo>
                    <a:lnTo>
                      <a:pt x="2" y="217"/>
                    </a:lnTo>
                    <a:lnTo>
                      <a:pt x="2" y="216"/>
                    </a:lnTo>
                    <a:lnTo>
                      <a:pt x="2" y="215"/>
                    </a:lnTo>
                    <a:lnTo>
                      <a:pt x="3" y="213"/>
                    </a:lnTo>
                    <a:lnTo>
                      <a:pt x="3" y="212"/>
                    </a:lnTo>
                    <a:lnTo>
                      <a:pt x="4" y="211"/>
                    </a:lnTo>
                    <a:lnTo>
                      <a:pt x="5" y="210"/>
                    </a:lnTo>
                    <a:lnTo>
                      <a:pt x="5" y="209"/>
                    </a:lnTo>
                    <a:lnTo>
                      <a:pt x="7" y="209"/>
                    </a:lnTo>
                    <a:lnTo>
                      <a:pt x="8" y="209"/>
                    </a:lnTo>
                    <a:lnTo>
                      <a:pt x="9" y="208"/>
                    </a:lnTo>
                    <a:lnTo>
                      <a:pt x="10" y="208"/>
                    </a:lnTo>
                    <a:lnTo>
                      <a:pt x="10" y="207"/>
                    </a:lnTo>
                    <a:lnTo>
                      <a:pt x="12" y="208"/>
                    </a:lnTo>
                    <a:lnTo>
                      <a:pt x="13" y="208"/>
                    </a:lnTo>
                    <a:lnTo>
                      <a:pt x="13" y="207"/>
                    </a:lnTo>
                    <a:lnTo>
                      <a:pt x="13" y="206"/>
                    </a:lnTo>
                    <a:lnTo>
                      <a:pt x="13" y="204"/>
                    </a:lnTo>
                    <a:lnTo>
                      <a:pt x="13" y="203"/>
                    </a:lnTo>
                    <a:lnTo>
                      <a:pt x="13" y="202"/>
                    </a:lnTo>
                    <a:lnTo>
                      <a:pt x="14" y="202"/>
                    </a:lnTo>
                    <a:lnTo>
                      <a:pt x="14" y="200"/>
                    </a:lnTo>
                    <a:lnTo>
                      <a:pt x="15" y="200"/>
                    </a:lnTo>
                    <a:lnTo>
                      <a:pt x="16" y="200"/>
                    </a:lnTo>
                    <a:lnTo>
                      <a:pt x="16" y="199"/>
                    </a:lnTo>
                    <a:lnTo>
                      <a:pt x="16" y="198"/>
                    </a:lnTo>
                    <a:lnTo>
                      <a:pt x="16" y="197"/>
                    </a:lnTo>
                    <a:lnTo>
                      <a:pt x="16" y="196"/>
                    </a:lnTo>
                    <a:lnTo>
                      <a:pt x="16" y="195"/>
                    </a:lnTo>
                    <a:lnTo>
                      <a:pt x="17" y="195"/>
                    </a:lnTo>
                    <a:lnTo>
                      <a:pt x="18" y="195"/>
                    </a:lnTo>
                    <a:lnTo>
                      <a:pt x="20" y="195"/>
                    </a:lnTo>
                    <a:lnTo>
                      <a:pt x="20" y="194"/>
                    </a:lnTo>
                    <a:lnTo>
                      <a:pt x="21" y="193"/>
                    </a:lnTo>
                    <a:lnTo>
                      <a:pt x="22" y="190"/>
                    </a:lnTo>
                    <a:lnTo>
                      <a:pt x="23" y="190"/>
                    </a:lnTo>
                    <a:lnTo>
                      <a:pt x="23" y="189"/>
                    </a:lnTo>
                    <a:lnTo>
                      <a:pt x="24" y="188"/>
                    </a:lnTo>
                    <a:lnTo>
                      <a:pt x="24" y="187"/>
                    </a:lnTo>
                    <a:lnTo>
                      <a:pt x="25" y="187"/>
                    </a:lnTo>
                    <a:lnTo>
                      <a:pt x="26" y="186"/>
                    </a:lnTo>
                    <a:lnTo>
                      <a:pt x="26" y="185"/>
                    </a:lnTo>
                    <a:lnTo>
                      <a:pt x="26" y="183"/>
                    </a:lnTo>
                    <a:lnTo>
                      <a:pt x="26" y="182"/>
                    </a:lnTo>
                    <a:lnTo>
                      <a:pt x="26" y="180"/>
                    </a:lnTo>
                    <a:lnTo>
                      <a:pt x="26" y="178"/>
                    </a:lnTo>
                    <a:lnTo>
                      <a:pt x="26" y="177"/>
                    </a:lnTo>
                    <a:lnTo>
                      <a:pt x="26" y="176"/>
                    </a:lnTo>
                    <a:lnTo>
                      <a:pt x="26" y="174"/>
                    </a:lnTo>
                    <a:lnTo>
                      <a:pt x="26" y="173"/>
                    </a:lnTo>
                    <a:lnTo>
                      <a:pt x="26" y="171"/>
                    </a:lnTo>
                    <a:lnTo>
                      <a:pt x="26" y="170"/>
                    </a:lnTo>
                    <a:lnTo>
                      <a:pt x="25" y="169"/>
                    </a:lnTo>
                    <a:lnTo>
                      <a:pt x="25" y="168"/>
                    </a:lnTo>
                    <a:lnTo>
                      <a:pt x="24" y="168"/>
                    </a:lnTo>
                    <a:lnTo>
                      <a:pt x="23" y="165"/>
                    </a:lnTo>
                    <a:lnTo>
                      <a:pt x="23" y="164"/>
                    </a:lnTo>
                    <a:lnTo>
                      <a:pt x="23" y="163"/>
                    </a:lnTo>
                    <a:lnTo>
                      <a:pt x="23" y="162"/>
                    </a:lnTo>
                    <a:lnTo>
                      <a:pt x="22" y="163"/>
                    </a:lnTo>
                    <a:lnTo>
                      <a:pt x="21" y="163"/>
                    </a:lnTo>
                    <a:lnTo>
                      <a:pt x="21" y="162"/>
                    </a:lnTo>
                    <a:lnTo>
                      <a:pt x="21" y="161"/>
                    </a:lnTo>
                    <a:lnTo>
                      <a:pt x="21" y="160"/>
                    </a:lnTo>
                    <a:lnTo>
                      <a:pt x="22" y="159"/>
                    </a:lnTo>
                    <a:lnTo>
                      <a:pt x="23" y="159"/>
                    </a:lnTo>
                    <a:lnTo>
                      <a:pt x="23" y="158"/>
                    </a:lnTo>
                    <a:lnTo>
                      <a:pt x="24" y="157"/>
                    </a:lnTo>
                    <a:lnTo>
                      <a:pt x="25" y="157"/>
                    </a:lnTo>
                    <a:lnTo>
                      <a:pt x="26" y="156"/>
                    </a:lnTo>
                    <a:lnTo>
                      <a:pt x="26" y="155"/>
                    </a:lnTo>
                    <a:lnTo>
                      <a:pt x="27" y="155"/>
                    </a:lnTo>
                    <a:lnTo>
                      <a:pt x="28" y="155"/>
                    </a:lnTo>
                    <a:lnTo>
                      <a:pt x="28" y="153"/>
                    </a:lnTo>
                    <a:lnTo>
                      <a:pt x="27" y="152"/>
                    </a:lnTo>
                    <a:lnTo>
                      <a:pt x="28" y="152"/>
                    </a:lnTo>
                    <a:lnTo>
                      <a:pt x="29" y="152"/>
                    </a:lnTo>
                    <a:lnTo>
                      <a:pt x="30" y="151"/>
                    </a:lnTo>
                    <a:lnTo>
                      <a:pt x="29" y="150"/>
                    </a:lnTo>
                    <a:lnTo>
                      <a:pt x="29" y="149"/>
                    </a:lnTo>
                    <a:lnTo>
                      <a:pt x="30" y="149"/>
                    </a:lnTo>
                    <a:lnTo>
                      <a:pt x="30" y="148"/>
                    </a:lnTo>
                    <a:lnTo>
                      <a:pt x="29" y="148"/>
                    </a:lnTo>
                    <a:lnTo>
                      <a:pt x="29" y="147"/>
                    </a:lnTo>
                    <a:lnTo>
                      <a:pt x="29" y="146"/>
                    </a:lnTo>
                    <a:lnTo>
                      <a:pt x="29" y="145"/>
                    </a:lnTo>
                    <a:lnTo>
                      <a:pt x="29" y="144"/>
                    </a:lnTo>
                    <a:lnTo>
                      <a:pt x="29" y="143"/>
                    </a:lnTo>
                    <a:lnTo>
                      <a:pt x="30" y="143"/>
                    </a:lnTo>
                    <a:lnTo>
                      <a:pt x="31" y="143"/>
                    </a:lnTo>
                    <a:lnTo>
                      <a:pt x="31" y="142"/>
                    </a:lnTo>
                    <a:lnTo>
                      <a:pt x="30" y="142"/>
                    </a:lnTo>
                    <a:lnTo>
                      <a:pt x="31" y="140"/>
                    </a:lnTo>
                    <a:lnTo>
                      <a:pt x="31" y="139"/>
                    </a:lnTo>
                    <a:lnTo>
                      <a:pt x="33" y="138"/>
                    </a:lnTo>
                    <a:lnTo>
                      <a:pt x="34" y="138"/>
                    </a:lnTo>
                    <a:lnTo>
                      <a:pt x="33" y="138"/>
                    </a:lnTo>
                    <a:lnTo>
                      <a:pt x="33" y="137"/>
                    </a:lnTo>
                    <a:lnTo>
                      <a:pt x="33" y="136"/>
                    </a:lnTo>
                    <a:lnTo>
                      <a:pt x="34" y="136"/>
                    </a:lnTo>
                    <a:lnTo>
                      <a:pt x="35" y="136"/>
                    </a:lnTo>
                    <a:lnTo>
                      <a:pt x="36" y="136"/>
                    </a:lnTo>
                    <a:lnTo>
                      <a:pt x="36" y="135"/>
                    </a:lnTo>
                    <a:lnTo>
                      <a:pt x="36" y="134"/>
                    </a:lnTo>
                    <a:lnTo>
                      <a:pt x="38" y="133"/>
                    </a:lnTo>
                    <a:lnTo>
                      <a:pt x="39" y="131"/>
                    </a:lnTo>
                    <a:lnTo>
                      <a:pt x="40" y="130"/>
                    </a:lnTo>
                    <a:lnTo>
                      <a:pt x="40" y="129"/>
                    </a:lnTo>
                    <a:lnTo>
                      <a:pt x="39" y="129"/>
                    </a:lnTo>
                    <a:lnTo>
                      <a:pt x="38" y="129"/>
                    </a:lnTo>
                    <a:lnTo>
                      <a:pt x="37" y="129"/>
                    </a:lnTo>
                    <a:lnTo>
                      <a:pt x="37" y="127"/>
                    </a:lnTo>
                    <a:lnTo>
                      <a:pt x="37" y="126"/>
                    </a:lnTo>
                    <a:lnTo>
                      <a:pt x="38" y="126"/>
                    </a:lnTo>
                    <a:lnTo>
                      <a:pt x="39" y="126"/>
                    </a:lnTo>
                    <a:lnTo>
                      <a:pt x="39" y="124"/>
                    </a:lnTo>
                    <a:lnTo>
                      <a:pt x="39" y="121"/>
                    </a:lnTo>
                    <a:lnTo>
                      <a:pt x="39" y="120"/>
                    </a:lnTo>
                    <a:lnTo>
                      <a:pt x="40" y="119"/>
                    </a:lnTo>
                    <a:lnTo>
                      <a:pt x="41" y="118"/>
                    </a:lnTo>
                    <a:lnTo>
                      <a:pt x="42" y="117"/>
                    </a:lnTo>
                    <a:lnTo>
                      <a:pt x="42" y="116"/>
                    </a:lnTo>
                    <a:lnTo>
                      <a:pt x="42" y="114"/>
                    </a:lnTo>
                    <a:lnTo>
                      <a:pt x="42" y="113"/>
                    </a:lnTo>
                    <a:lnTo>
                      <a:pt x="43" y="112"/>
                    </a:lnTo>
                    <a:lnTo>
                      <a:pt x="43" y="111"/>
                    </a:lnTo>
                    <a:lnTo>
                      <a:pt x="43" y="110"/>
                    </a:lnTo>
                    <a:lnTo>
                      <a:pt x="43" y="109"/>
                    </a:lnTo>
                    <a:lnTo>
                      <a:pt x="44" y="109"/>
                    </a:lnTo>
                    <a:lnTo>
                      <a:pt x="46" y="109"/>
                    </a:lnTo>
                    <a:lnTo>
                      <a:pt x="47" y="108"/>
                    </a:lnTo>
                    <a:lnTo>
                      <a:pt x="48" y="107"/>
                    </a:lnTo>
                    <a:lnTo>
                      <a:pt x="49" y="106"/>
                    </a:lnTo>
                    <a:lnTo>
                      <a:pt x="50" y="105"/>
                    </a:lnTo>
                    <a:lnTo>
                      <a:pt x="51" y="104"/>
                    </a:lnTo>
                    <a:lnTo>
                      <a:pt x="52" y="104"/>
                    </a:lnTo>
                    <a:lnTo>
                      <a:pt x="53" y="103"/>
                    </a:lnTo>
                    <a:lnTo>
                      <a:pt x="53" y="101"/>
                    </a:lnTo>
                    <a:lnTo>
                      <a:pt x="54" y="100"/>
                    </a:lnTo>
                    <a:lnTo>
                      <a:pt x="55" y="99"/>
                    </a:lnTo>
                    <a:lnTo>
                      <a:pt x="55" y="98"/>
                    </a:lnTo>
                    <a:lnTo>
                      <a:pt x="55" y="97"/>
                    </a:lnTo>
                    <a:lnTo>
                      <a:pt x="56" y="96"/>
                    </a:lnTo>
                    <a:lnTo>
                      <a:pt x="59" y="95"/>
                    </a:lnTo>
                    <a:lnTo>
                      <a:pt x="59" y="94"/>
                    </a:lnTo>
                    <a:lnTo>
                      <a:pt x="60" y="94"/>
                    </a:lnTo>
                    <a:lnTo>
                      <a:pt x="61" y="94"/>
                    </a:lnTo>
                    <a:lnTo>
                      <a:pt x="62" y="94"/>
                    </a:lnTo>
                    <a:lnTo>
                      <a:pt x="63" y="93"/>
                    </a:lnTo>
                    <a:lnTo>
                      <a:pt x="66" y="94"/>
                    </a:lnTo>
                    <a:lnTo>
                      <a:pt x="67" y="94"/>
                    </a:lnTo>
                    <a:lnTo>
                      <a:pt x="69" y="95"/>
                    </a:lnTo>
                    <a:lnTo>
                      <a:pt x="70" y="94"/>
                    </a:lnTo>
                    <a:lnTo>
                      <a:pt x="72" y="94"/>
                    </a:lnTo>
                    <a:lnTo>
                      <a:pt x="73" y="94"/>
                    </a:lnTo>
                    <a:lnTo>
                      <a:pt x="74" y="94"/>
                    </a:lnTo>
                    <a:lnTo>
                      <a:pt x="75" y="93"/>
                    </a:lnTo>
                    <a:lnTo>
                      <a:pt x="76" y="93"/>
                    </a:lnTo>
                    <a:lnTo>
                      <a:pt x="78" y="92"/>
                    </a:lnTo>
                    <a:lnTo>
                      <a:pt x="80" y="90"/>
                    </a:lnTo>
                    <a:lnTo>
                      <a:pt x="82" y="88"/>
                    </a:lnTo>
                    <a:lnTo>
                      <a:pt x="83" y="88"/>
                    </a:lnTo>
                    <a:lnTo>
                      <a:pt x="83" y="86"/>
                    </a:lnTo>
                    <a:lnTo>
                      <a:pt x="85" y="86"/>
                    </a:lnTo>
                    <a:lnTo>
                      <a:pt x="85" y="85"/>
                    </a:lnTo>
                    <a:lnTo>
                      <a:pt x="86" y="84"/>
                    </a:lnTo>
                    <a:lnTo>
                      <a:pt x="87" y="84"/>
                    </a:lnTo>
                    <a:lnTo>
                      <a:pt x="88" y="84"/>
                    </a:lnTo>
                    <a:lnTo>
                      <a:pt x="88" y="83"/>
                    </a:lnTo>
                    <a:lnTo>
                      <a:pt x="87" y="82"/>
                    </a:lnTo>
                    <a:lnTo>
                      <a:pt x="87" y="81"/>
                    </a:lnTo>
                    <a:lnTo>
                      <a:pt x="86" y="78"/>
                    </a:lnTo>
                    <a:lnTo>
                      <a:pt x="86" y="75"/>
                    </a:lnTo>
                    <a:lnTo>
                      <a:pt x="86" y="74"/>
                    </a:lnTo>
                    <a:lnTo>
                      <a:pt x="86" y="72"/>
                    </a:lnTo>
                    <a:lnTo>
                      <a:pt x="87" y="72"/>
                    </a:lnTo>
                    <a:lnTo>
                      <a:pt x="87" y="71"/>
                    </a:lnTo>
                    <a:lnTo>
                      <a:pt x="89" y="70"/>
                    </a:lnTo>
                    <a:lnTo>
                      <a:pt x="90" y="69"/>
                    </a:lnTo>
                    <a:lnTo>
                      <a:pt x="91" y="68"/>
                    </a:lnTo>
                    <a:lnTo>
                      <a:pt x="92" y="67"/>
                    </a:lnTo>
                    <a:lnTo>
                      <a:pt x="92" y="66"/>
                    </a:lnTo>
                    <a:lnTo>
                      <a:pt x="93" y="63"/>
                    </a:lnTo>
                    <a:lnTo>
                      <a:pt x="94" y="62"/>
                    </a:lnTo>
                    <a:lnTo>
                      <a:pt x="95" y="60"/>
                    </a:lnTo>
                    <a:lnTo>
                      <a:pt x="96" y="59"/>
                    </a:lnTo>
                    <a:lnTo>
                      <a:pt x="99" y="58"/>
                    </a:lnTo>
                    <a:lnTo>
                      <a:pt x="100" y="57"/>
                    </a:lnTo>
                    <a:lnTo>
                      <a:pt x="100" y="56"/>
                    </a:lnTo>
                    <a:lnTo>
                      <a:pt x="100" y="55"/>
                    </a:lnTo>
                    <a:lnTo>
                      <a:pt x="96" y="50"/>
                    </a:lnTo>
                    <a:lnTo>
                      <a:pt x="96" y="49"/>
                    </a:lnTo>
                    <a:lnTo>
                      <a:pt x="98" y="47"/>
                    </a:lnTo>
                    <a:lnTo>
                      <a:pt x="99" y="46"/>
                    </a:lnTo>
                    <a:lnTo>
                      <a:pt x="100" y="45"/>
                    </a:lnTo>
                    <a:lnTo>
                      <a:pt x="101" y="44"/>
                    </a:lnTo>
                    <a:lnTo>
                      <a:pt x="102" y="43"/>
                    </a:lnTo>
                    <a:lnTo>
                      <a:pt x="103" y="43"/>
                    </a:lnTo>
                    <a:lnTo>
                      <a:pt x="104" y="42"/>
                    </a:lnTo>
                    <a:lnTo>
                      <a:pt x="104" y="41"/>
                    </a:lnTo>
                    <a:lnTo>
                      <a:pt x="105" y="41"/>
                    </a:lnTo>
                    <a:lnTo>
                      <a:pt x="106" y="40"/>
                    </a:lnTo>
                    <a:lnTo>
                      <a:pt x="106" y="39"/>
                    </a:lnTo>
                    <a:lnTo>
                      <a:pt x="106" y="37"/>
                    </a:lnTo>
                    <a:lnTo>
                      <a:pt x="107" y="35"/>
                    </a:lnTo>
                    <a:lnTo>
                      <a:pt x="108" y="34"/>
                    </a:lnTo>
                    <a:lnTo>
                      <a:pt x="108" y="32"/>
                    </a:lnTo>
                    <a:lnTo>
                      <a:pt x="109" y="31"/>
                    </a:lnTo>
                    <a:lnTo>
                      <a:pt x="111" y="31"/>
                    </a:lnTo>
                    <a:lnTo>
                      <a:pt x="111" y="30"/>
                    </a:lnTo>
                    <a:lnTo>
                      <a:pt x="111" y="29"/>
                    </a:lnTo>
                    <a:lnTo>
                      <a:pt x="112" y="29"/>
                    </a:lnTo>
                    <a:lnTo>
                      <a:pt x="113" y="28"/>
                    </a:lnTo>
                    <a:lnTo>
                      <a:pt x="115" y="27"/>
                    </a:lnTo>
                    <a:lnTo>
                      <a:pt x="119" y="24"/>
                    </a:lnTo>
                    <a:lnTo>
                      <a:pt x="119" y="23"/>
                    </a:lnTo>
                    <a:lnTo>
                      <a:pt x="120" y="22"/>
                    </a:lnTo>
                    <a:lnTo>
                      <a:pt x="123" y="19"/>
                    </a:lnTo>
                    <a:lnTo>
                      <a:pt x="123" y="18"/>
                    </a:lnTo>
                    <a:lnTo>
                      <a:pt x="123" y="17"/>
                    </a:lnTo>
                    <a:lnTo>
                      <a:pt x="123" y="16"/>
                    </a:lnTo>
                    <a:lnTo>
                      <a:pt x="121" y="15"/>
                    </a:lnTo>
                    <a:lnTo>
                      <a:pt x="120" y="15"/>
                    </a:lnTo>
                    <a:lnTo>
                      <a:pt x="119" y="15"/>
                    </a:lnTo>
                    <a:lnTo>
                      <a:pt x="119" y="16"/>
                    </a:lnTo>
                    <a:lnTo>
                      <a:pt x="119" y="17"/>
                    </a:lnTo>
                    <a:lnTo>
                      <a:pt x="118" y="17"/>
                    </a:lnTo>
                    <a:lnTo>
                      <a:pt x="118" y="16"/>
                    </a:lnTo>
                    <a:lnTo>
                      <a:pt x="116" y="16"/>
                    </a:lnTo>
                    <a:lnTo>
                      <a:pt x="115" y="16"/>
                    </a:lnTo>
                    <a:lnTo>
                      <a:pt x="116" y="16"/>
                    </a:lnTo>
                    <a:lnTo>
                      <a:pt x="116" y="15"/>
                    </a:lnTo>
                    <a:lnTo>
                      <a:pt x="116" y="14"/>
                    </a:lnTo>
                    <a:lnTo>
                      <a:pt x="117" y="14"/>
                    </a:lnTo>
                    <a:lnTo>
                      <a:pt x="118" y="13"/>
                    </a:lnTo>
                    <a:lnTo>
                      <a:pt x="117" y="11"/>
                    </a:lnTo>
                    <a:lnTo>
                      <a:pt x="116" y="13"/>
                    </a:lnTo>
                    <a:lnTo>
                      <a:pt x="116" y="11"/>
                    </a:lnTo>
                    <a:lnTo>
                      <a:pt x="116" y="9"/>
                    </a:lnTo>
                    <a:lnTo>
                      <a:pt x="117" y="9"/>
                    </a:lnTo>
                    <a:lnTo>
                      <a:pt x="119" y="10"/>
                    </a:lnTo>
                    <a:lnTo>
                      <a:pt x="120" y="10"/>
                    </a:lnTo>
                    <a:lnTo>
                      <a:pt x="120" y="11"/>
                    </a:lnTo>
                    <a:lnTo>
                      <a:pt x="121" y="10"/>
                    </a:lnTo>
                    <a:lnTo>
                      <a:pt x="123" y="10"/>
                    </a:lnTo>
                    <a:lnTo>
                      <a:pt x="123" y="9"/>
                    </a:lnTo>
                    <a:lnTo>
                      <a:pt x="123" y="6"/>
                    </a:lnTo>
                    <a:lnTo>
                      <a:pt x="123" y="5"/>
                    </a:lnTo>
                    <a:lnTo>
                      <a:pt x="123" y="4"/>
                    </a:lnTo>
                    <a:lnTo>
                      <a:pt x="124" y="4"/>
                    </a:lnTo>
                    <a:lnTo>
                      <a:pt x="125" y="3"/>
                    </a:lnTo>
                    <a:lnTo>
                      <a:pt x="126" y="3"/>
                    </a:lnTo>
                    <a:lnTo>
                      <a:pt x="125" y="2"/>
                    </a:lnTo>
                    <a:lnTo>
                      <a:pt x="125" y="1"/>
                    </a:lnTo>
                    <a:lnTo>
                      <a:pt x="124" y="2"/>
                    </a:lnTo>
                    <a:lnTo>
                      <a:pt x="123" y="2"/>
                    </a:lnTo>
                    <a:lnTo>
                      <a:pt x="124" y="1"/>
                    </a:lnTo>
                    <a:lnTo>
                      <a:pt x="124" y="0"/>
                    </a:lnTo>
                    <a:lnTo>
                      <a:pt x="125" y="0"/>
                    </a:lnTo>
                    <a:lnTo>
                      <a:pt x="133" y="0"/>
                    </a:lnTo>
                    <a:lnTo>
                      <a:pt x="139" y="0"/>
                    </a:lnTo>
                    <a:lnTo>
                      <a:pt x="140" y="0"/>
                    </a:lnTo>
                    <a:lnTo>
                      <a:pt x="141" y="0"/>
                    </a:lnTo>
                    <a:lnTo>
                      <a:pt x="146" y="0"/>
                    </a:lnTo>
                    <a:lnTo>
                      <a:pt x="147" y="0"/>
                    </a:lnTo>
                    <a:lnTo>
                      <a:pt x="149" y="0"/>
                    </a:lnTo>
                    <a:lnTo>
                      <a:pt x="150" y="0"/>
                    </a:lnTo>
                    <a:lnTo>
                      <a:pt x="154" y="0"/>
                    </a:lnTo>
                    <a:lnTo>
                      <a:pt x="157" y="0"/>
                    </a:lnTo>
                    <a:lnTo>
                      <a:pt x="166" y="0"/>
                    </a:lnTo>
                    <a:lnTo>
                      <a:pt x="167" y="0"/>
                    </a:lnTo>
                    <a:lnTo>
                      <a:pt x="169" y="0"/>
                    </a:lnTo>
                    <a:lnTo>
                      <a:pt x="171" y="0"/>
                    </a:lnTo>
                    <a:lnTo>
                      <a:pt x="182" y="0"/>
                    </a:lnTo>
                    <a:lnTo>
                      <a:pt x="183" y="0"/>
                    </a:lnTo>
                    <a:lnTo>
                      <a:pt x="188" y="0"/>
                    </a:lnTo>
                    <a:lnTo>
                      <a:pt x="189" y="0"/>
                    </a:lnTo>
                    <a:lnTo>
                      <a:pt x="190" y="0"/>
                    </a:lnTo>
                    <a:lnTo>
                      <a:pt x="192" y="0"/>
                    </a:lnTo>
                    <a:lnTo>
                      <a:pt x="194" y="0"/>
                    </a:lnTo>
                    <a:lnTo>
                      <a:pt x="199" y="0"/>
                    </a:lnTo>
                    <a:lnTo>
                      <a:pt x="201" y="0"/>
                    </a:lnTo>
                    <a:lnTo>
                      <a:pt x="205" y="0"/>
                    </a:lnTo>
                    <a:lnTo>
                      <a:pt x="208" y="0"/>
                    </a:lnTo>
                    <a:lnTo>
                      <a:pt x="209" y="0"/>
                    </a:lnTo>
                    <a:lnTo>
                      <a:pt x="210" y="0"/>
                    </a:lnTo>
                    <a:lnTo>
                      <a:pt x="212" y="0"/>
                    </a:lnTo>
                    <a:lnTo>
                      <a:pt x="214" y="0"/>
                    </a:lnTo>
                    <a:lnTo>
                      <a:pt x="215" y="0"/>
                    </a:lnTo>
                    <a:lnTo>
                      <a:pt x="217" y="0"/>
                    </a:lnTo>
                    <a:lnTo>
                      <a:pt x="222" y="1"/>
                    </a:lnTo>
                    <a:lnTo>
                      <a:pt x="229" y="1"/>
                    </a:lnTo>
                    <a:close/>
                  </a:path>
                </a:pathLst>
              </a:custGeom>
              <a:solidFill>
                <a:srgbClr val="175CAC"/>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99" name="Freeform 327">
                <a:extLst>
                  <a:ext uri="{FF2B5EF4-FFF2-40B4-BE49-F238E27FC236}">
                    <a16:creationId xmlns:a16="http://schemas.microsoft.com/office/drawing/2014/main" id="{B44D5C9E-6842-9EE9-FB79-CCE0EF876730}"/>
                  </a:ext>
                </a:extLst>
              </p:cNvPr>
              <p:cNvSpPr>
                <a:spLocks/>
              </p:cNvSpPr>
              <p:nvPr/>
            </p:nvSpPr>
            <p:spPr bwMode="auto">
              <a:xfrm>
                <a:off x="3097213" y="1536700"/>
                <a:ext cx="587375" cy="593725"/>
              </a:xfrm>
              <a:custGeom>
                <a:avLst/>
                <a:gdLst>
                  <a:gd name="T0" fmla="*/ 367 w 370"/>
                  <a:gd name="T1" fmla="*/ 80 h 374"/>
                  <a:gd name="T2" fmla="*/ 354 w 370"/>
                  <a:gd name="T3" fmla="*/ 94 h 374"/>
                  <a:gd name="T4" fmla="*/ 344 w 370"/>
                  <a:gd name="T5" fmla="*/ 108 h 374"/>
                  <a:gd name="T6" fmla="*/ 338 w 370"/>
                  <a:gd name="T7" fmla="*/ 122 h 374"/>
                  <a:gd name="T8" fmla="*/ 336 w 370"/>
                  <a:gd name="T9" fmla="*/ 137 h 374"/>
                  <a:gd name="T10" fmla="*/ 343 w 370"/>
                  <a:gd name="T11" fmla="*/ 155 h 374"/>
                  <a:gd name="T12" fmla="*/ 343 w 370"/>
                  <a:gd name="T13" fmla="*/ 170 h 374"/>
                  <a:gd name="T14" fmla="*/ 336 w 370"/>
                  <a:gd name="T15" fmla="*/ 183 h 374"/>
                  <a:gd name="T16" fmla="*/ 270 w 370"/>
                  <a:gd name="T17" fmla="*/ 190 h 374"/>
                  <a:gd name="T18" fmla="*/ 240 w 370"/>
                  <a:gd name="T19" fmla="*/ 197 h 374"/>
                  <a:gd name="T20" fmla="*/ 228 w 370"/>
                  <a:gd name="T21" fmla="*/ 201 h 374"/>
                  <a:gd name="T22" fmla="*/ 218 w 370"/>
                  <a:gd name="T23" fmla="*/ 208 h 374"/>
                  <a:gd name="T24" fmla="*/ 207 w 370"/>
                  <a:gd name="T25" fmla="*/ 220 h 374"/>
                  <a:gd name="T26" fmla="*/ 203 w 370"/>
                  <a:gd name="T27" fmla="*/ 235 h 374"/>
                  <a:gd name="T28" fmla="*/ 186 w 370"/>
                  <a:gd name="T29" fmla="*/ 240 h 374"/>
                  <a:gd name="T30" fmla="*/ 170 w 370"/>
                  <a:gd name="T31" fmla="*/ 240 h 374"/>
                  <a:gd name="T32" fmla="*/ 168 w 370"/>
                  <a:gd name="T33" fmla="*/ 256 h 374"/>
                  <a:gd name="T34" fmla="*/ 167 w 370"/>
                  <a:gd name="T35" fmla="*/ 267 h 374"/>
                  <a:gd name="T36" fmla="*/ 163 w 370"/>
                  <a:gd name="T37" fmla="*/ 276 h 374"/>
                  <a:gd name="T38" fmla="*/ 160 w 370"/>
                  <a:gd name="T39" fmla="*/ 291 h 374"/>
                  <a:gd name="T40" fmla="*/ 161 w 370"/>
                  <a:gd name="T41" fmla="*/ 301 h 374"/>
                  <a:gd name="T42" fmla="*/ 156 w 370"/>
                  <a:gd name="T43" fmla="*/ 309 h 374"/>
                  <a:gd name="T44" fmla="*/ 144 w 370"/>
                  <a:gd name="T45" fmla="*/ 321 h 374"/>
                  <a:gd name="T46" fmla="*/ 132 w 370"/>
                  <a:gd name="T47" fmla="*/ 328 h 374"/>
                  <a:gd name="T48" fmla="*/ 130 w 370"/>
                  <a:gd name="T49" fmla="*/ 343 h 374"/>
                  <a:gd name="T50" fmla="*/ 123 w 370"/>
                  <a:gd name="T51" fmla="*/ 351 h 374"/>
                  <a:gd name="T52" fmla="*/ 113 w 370"/>
                  <a:gd name="T53" fmla="*/ 357 h 374"/>
                  <a:gd name="T54" fmla="*/ 101 w 370"/>
                  <a:gd name="T55" fmla="*/ 357 h 374"/>
                  <a:gd name="T56" fmla="*/ 90 w 370"/>
                  <a:gd name="T57" fmla="*/ 366 h 374"/>
                  <a:gd name="T58" fmla="*/ 85 w 370"/>
                  <a:gd name="T59" fmla="*/ 367 h 374"/>
                  <a:gd name="T60" fmla="*/ 70 w 370"/>
                  <a:gd name="T61" fmla="*/ 362 h 374"/>
                  <a:gd name="T62" fmla="*/ 54 w 370"/>
                  <a:gd name="T63" fmla="*/ 359 h 374"/>
                  <a:gd name="T64" fmla="*/ 33 w 370"/>
                  <a:gd name="T65" fmla="*/ 361 h 374"/>
                  <a:gd name="T66" fmla="*/ 33 w 370"/>
                  <a:gd name="T67" fmla="*/ 342 h 374"/>
                  <a:gd name="T68" fmla="*/ 27 w 370"/>
                  <a:gd name="T69" fmla="*/ 340 h 374"/>
                  <a:gd name="T70" fmla="*/ 26 w 370"/>
                  <a:gd name="T71" fmla="*/ 330 h 374"/>
                  <a:gd name="T72" fmla="*/ 24 w 370"/>
                  <a:gd name="T73" fmla="*/ 329 h 374"/>
                  <a:gd name="T74" fmla="*/ 23 w 370"/>
                  <a:gd name="T75" fmla="*/ 317 h 374"/>
                  <a:gd name="T76" fmla="*/ 23 w 370"/>
                  <a:gd name="T77" fmla="*/ 306 h 374"/>
                  <a:gd name="T78" fmla="*/ 26 w 370"/>
                  <a:gd name="T79" fmla="*/ 293 h 374"/>
                  <a:gd name="T80" fmla="*/ 9 w 370"/>
                  <a:gd name="T81" fmla="*/ 269 h 374"/>
                  <a:gd name="T82" fmla="*/ 15 w 370"/>
                  <a:gd name="T83" fmla="*/ 238 h 374"/>
                  <a:gd name="T84" fmla="*/ 16 w 370"/>
                  <a:gd name="T85" fmla="*/ 214 h 374"/>
                  <a:gd name="T86" fmla="*/ 27 w 370"/>
                  <a:gd name="T87" fmla="*/ 192 h 374"/>
                  <a:gd name="T88" fmla="*/ 38 w 370"/>
                  <a:gd name="T89" fmla="*/ 176 h 374"/>
                  <a:gd name="T90" fmla="*/ 53 w 370"/>
                  <a:gd name="T91" fmla="*/ 159 h 374"/>
                  <a:gd name="T92" fmla="*/ 58 w 370"/>
                  <a:gd name="T93" fmla="*/ 141 h 374"/>
                  <a:gd name="T94" fmla="*/ 67 w 370"/>
                  <a:gd name="T95" fmla="*/ 124 h 374"/>
                  <a:gd name="T96" fmla="*/ 83 w 370"/>
                  <a:gd name="T97" fmla="*/ 108 h 374"/>
                  <a:gd name="T98" fmla="*/ 90 w 370"/>
                  <a:gd name="T99" fmla="*/ 90 h 374"/>
                  <a:gd name="T100" fmla="*/ 103 w 370"/>
                  <a:gd name="T101" fmla="*/ 103 h 374"/>
                  <a:gd name="T102" fmla="*/ 119 w 370"/>
                  <a:gd name="T103" fmla="*/ 106 h 374"/>
                  <a:gd name="T104" fmla="*/ 122 w 370"/>
                  <a:gd name="T105" fmla="*/ 88 h 374"/>
                  <a:gd name="T106" fmla="*/ 135 w 370"/>
                  <a:gd name="T107" fmla="*/ 75 h 374"/>
                  <a:gd name="T108" fmla="*/ 149 w 370"/>
                  <a:gd name="T109" fmla="*/ 73 h 374"/>
                  <a:gd name="T110" fmla="*/ 161 w 370"/>
                  <a:gd name="T111" fmla="*/ 80 h 374"/>
                  <a:gd name="T112" fmla="*/ 177 w 370"/>
                  <a:gd name="T113" fmla="*/ 79 h 374"/>
                  <a:gd name="T114" fmla="*/ 187 w 370"/>
                  <a:gd name="T115" fmla="*/ 55 h 374"/>
                  <a:gd name="T116" fmla="*/ 206 w 370"/>
                  <a:gd name="T117" fmla="*/ 42 h 374"/>
                  <a:gd name="T118" fmla="*/ 226 w 370"/>
                  <a:gd name="T119" fmla="*/ 36 h 374"/>
                  <a:gd name="T120" fmla="*/ 240 w 370"/>
                  <a:gd name="T121" fmla="*/ 12 h 374"/>
                  <a:gd name="T122" fmla="*/ 268 w 370"/>
                  <a:gd name="T123" fmla="*/ 25 h 374"/>
                  <a:gd name="T124" fmla="*/ 310 w 370"/>
                  <a:gd name="T125" fmla="*/ 62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0" h="374">
                    <a:moveTo>
                      <a:pt x="361" y="62"/>
                    </a:moveTo>
                    <a:lnTo>
                      <a:pt x="361" y="63"/>
                    </a:lnTo>
                    <a:lnTo>
                      <a:pt x="361" y="64"/>
                    </a:lnTo>
                    <a:lnTo>
                      <a:pt x="362" y="65"/>
                    </a:lnTo>
                    <a:lnTo>
                      <a:pt x="362" y="66"/>
                    </a:lnTo>
                    <a:lnTo>
                      <a:pt x="363" y="66"/>
                    </a:lnTo>
                    <a:lnTo>
                      <a:pt x="364" y="67"/>
                    </a:lnTo>
                    <a:lnTo>
                      <a:pt x="364" y="68"/>
                    </a:lnTo>
                    <a:lnTo>
                      <a:pt x="366" y="68"/>
                    </a:lnTo>
                    <a:lnTo>
                      <a:pt x="366" y="69"/>
                    </a:lnTo>
                    <a:lnTo>
                      <a:pt x="366" y="70"/>
                    </a:lnTo>
                    <a:lnTo>
                      <a:pt x="367" y="71"/>
                    </a:lnTo>
                    <a:lnTo>
                      <a:pt x="367" y="72"/>
                    </a:lnTo>
                    <a:lnTo>
                      <a:pt x="369" y="75"/>
                    </a:lnTo>
                    <a:lnTo>
                      <a:pt x="370" y="76"/>
                    </a:lnTo>
                    <a:lnTo>
                      <a:pt x="370" y="77"/>
                    </a:lnTo>
                    <a:lnTo>
                      <a:pt x="370" y="78"/>
                    </a:lnTo>
                    <a:lnTo>
                      <a:pt x="369" y="78"/>
                    </a:lnTo>
                    <a:lnTo>
                      <a:pt x="369" y="79"/>
                    </a:lnTo>
                    <a:lnTo>
                      <a:pt x="368" y="79"/>
                    </a:lnTo>
                    <a:lnTo>
                      <a:pt x="367" y="80"/>
                    </a:lnTo>
                    <a:lnTo>
                      <a:pt x="363" y="82"/>
                    </a:lnTo>
                    <a:lnTo>
                      <a:pt x="363" y="83"/>
                    </a:lnTo>
                    <a:lnTo>
                      <a:pt x="363" y="84"/>
                    </a:lnTo>
                    <a:lnTo>
                      <a:pt x="364" y="85"/>
                    </a:lnTo>
                    <a:lnTo>
                      <a:pt x="366" y="86"/>
                    </a:lnTo>
                    <a:lnTo>
                      <a:pt x="366" y="88"/>
                    </a:lnTo>
                    <a:lnTo>
                      <a:pt x="364" y="89"/>
                    </a:lnTo>
                    <a:lnTo>
                      <a:pt x="364" y="90"/>
                    </a:lnTo>
                    <a:lnTo>
                      <a:pt x="363" y="90"/>
                    </a:lnTo>
                    <a:lnTo>
                      <a:pt x="362" y="90"/>
                    </a:lnTo>
                    <a:lnTo>
                      <a:pt x="361" y="90"/>
                    </a:lnTo>
                    <a:lnTo>
                      <a:pt x="360" y="90"/>
                    </a:lnTo>
                    <a:lnTo>
                      <a:pt x="359" y="91"/>
                    </a:lnTo>
                    <a:lnTo>
                      <a:pt x="358" y="91"/>
                    </a:lnTo>
                    <a:lnTo>
                      <a:pt x="358" y="92"/>
                    </a:lnTo>
                    <a:lnTo>
                      <a:pt x="357" y="91"/>
                    </a:lnTo>
                    <a:lnTo>
                      <a:pt x="356" y="91"/>
                    </a:lnTo>
                    <a:lnTo>
                      <a:pt x="355" y="91"/>
                    </a:lnTo>
                    <a:lnTo>
                      <a:pt x="355" y="92"/>
                    </a:lnTo>
                    <a:lnTo>
                      <a:pt x="354" y="93"/>
                    </a:lnTo>
                    <a:lnTo>
                      <a:pt x="354" y="94"/>
                    </a:lnTo>
                    <a:lnTo>
                      <a:pt x="352" y="94"/>
                    </a:lnTo>
                    <a:lnTo>
                      <a:pt x="350" y="95"/>
                    </a:lnTo>
                    <a:lnTo>
                      <a:pt x="349" y="95"/>
                    </a:lnTo>
                    <a:lnTo>
                      <a:pt x="347" y="95"/>
                    </a:lnTo>
                    <a:lnTo>
                      <a:pt x="347" y="96"/>
                    </a:lnTo>
                    <a:lnTo>
                      <a:pt x="346" y="96"/>
                    </a:lnTo>
                    <a:lnTo>
                      <a:pt x="346" y="97"/>
                    </a:lnTo>
                    <a:lnTo>
                      <a:pt x="345" y="98"/>
                    </a:lnTo>
                    <a:lnTo>
                      <a:pt x="346" y="98"/>
                    </a:lnTo>
                    <a:lnTo>
                      <a:pt x="346" y="100"/>
                    </a:lnTo>
                    <a:lnTo>
                      <a:pt x="347" y="100"/>
                    </a:lnTo>
                    <a:lnTo>
                      <a:pt x="347" y="101"/>
                    </a:lnTo>
                    <a:lnTo>
                      <a:pt x="347" y="102"/>
                    </a:lnTo>
                    <a:lnTo>
                      <a:pt x="346" y="102"/>
                    </a:lnTo>
                    <a:lnTo>
                      <a:pt x="345" y="103"/>
                    </a:lnTo>
                    <a:lnTo>
                      <a:pt x="346" y="104"/>
                    </a:lnTo>
                    <a:lnTo>
                      <a:pt x="346" y="105"/>
                    </a:lnTo>
                    <a:lnTo>
                      <a:pt x="345" y="106"/>
                    </a:lnTo>
                    <a:lnTo>
                      <a:pt x="344" y="106"/>
                    </a:lnTo>
                    <a:lnTo>
                      <a:pt x="344" y="107"/>
                    </a:lnTo>
                    <a:lnTo>
                      <a:pt x="344" y="108"/>
                    </a:lnTo>
                    <a:lnTo>
                      <a:pt x="344" y="109"/>
                    </a:lnTo>
                    <a:lnTo>
                      <a:pt x="343" y="110"/>
                    </a:lnTo>
                    <a:lnTo>
                      <a:pt x="343" y="111"/>
                    </a:lnTo>
                    <a:lnTo>
                      <a:pt x="342" y="111"/>
                    </a:lnTo>
                    <a:lnTo>
                      <a:pt x="342" y="113"/>
                    </a:lnTo>
                    <a:lnTo>
                      <a:pt x="342" y="114"/>
                    </a:lnTo>
                    <a:lnTo>
                      <a:pt x="342" y="115"/>
                    </a:lnTo>
                    <a:lnTo>
                      <a:pt x="341" y="115"/>
                    </a:lnTo>
                    <a:lnTo>
                      <a:pt x="341" y="116"/>
                    </a:lnTo>
                    <a:lnTo>
                      <a:pt x="341" y="117"/>
                    </a:lnTo>
                    <a:lnTo>
                      <a:pt x="339" y="117"/>
                    </a:lnTo>
                    <a:lnTo>
                      <a:pt x="339" y="118"/>
                    </a:lnTo>
                    <a:lnTo>
                      <a:pt x="339" y="120"/>
                    </a:lnTo>
                    <a:lnTo>
                      <a:pt x="338" y="120"/>
                    </a:lnTo>
                    <a:lnTo>
                      <a:pt x="338" y="119"/>
                    </a:lnTo>
                    <a:lnTo>
                      <a:pt x="338" y="118"/>
                    </a:lnTo>
                    <a:lnTo>
                      <a:pt x="337" y="118"/>
                    </a:lnTo>
                    <a:lnTo>
                      <a:pt x="336" y="119"/>
                    </a:lnTo>
                    <a:lnTo>
                      <a:pt x="337" y="120"/>
                    </a:lnTo>
                    <a:lnTo>
                      <a:pt x="337" y="121"/>
                    </a:lnTo>
                    <a:lnTo>
                      <a:pt x="338" y="122"/>
                    </a:lnTo>
                    <a:lnTo>
                      <a:pt x="339" y="121"/>
                    </a:lnTo>
                    <a:lnTo>
                      <a:pt x="339" y="122"/>
                    </a:lnTo>
                    <a:lnTo>
                      <a:pt x="338" y="122"/>
                    </a:lnTo>
                    <a:lnTo>
                      <a:pt x="338" y="123"/>
                    </a:lnTo>
                    <a:lnTo>
                      <a:pt x="337" y="123"/>
                    </a:lnTo>
                    <a:lnTo>
                      <a:pt x="337" y="124"/>
                    </a:lnTo>
                    <a:lnTo>
                      <a:pt x="336" y="124"/>
                    </a:lnTo>
                    <a:lnTo>
                      <a:pt x="337" y="124"/>
                    </a:lnTo>
                    <a:lnTo>
                      <a:pt x="337" y="126"/>
                    </a:lnTo>
                    <a:lnTo>
                      <a:pt x="338" y="127"/>
                    </a:lnTo>
                    <a:lnTo>
                      <a:pt x="338" y="128"/>
                    </a:lnTo>
                    <a:lnTo>
                      <a:pt x="337" y="128"/>
                    </a:lnTo>
                    <a:lnTo>
                      <a:pt x="337" y="129"/>
                    </a:lnTo>
                    <a:lnTo>
                      <a:pt x="336" y="130"/>
                    </a:lnTo>
                    <a:lnTo>
                      <a:pt x="336" y="131"/>
                    </a:lnTo>
                    <a:lnTo>
                      <a:pt x="336" y="132"/>
                    </a:lnTo>
                    <a:lnTo>
                      <a:pt x="337" y="134"/>
                    </a:lnTo>
                    <a:lnTo>
                      <a:pt x="336" y="134"/>
                    </a:lnTo>
                    <a:lnTo>
                      <a:pt x="336" y="135"/>
                    </a:lnTo>
                    <a:lnTo>
                      <a:pt x="336" y="136"/>
                    </a:lnTo>
                    <a:lnTo>
                      <a:pt x="336" y="137"/>
                    </a:lnTo>
                    <a:lnTo>
                      <a:pt x="336" y="139"/>
                    </a:lnTo>
                    <a:lnTo>
                      <a:pt x="337" y="139"/>
                    </a:lnTo>
                    <a:lnTo>
                      <a:pt x="338" y="139"/>
                    </a:lnTo>
                    <a:lnTo>
                      <a:pt x="338" y="140"/>
                    </a:lnTo>
                    <a:lnTo>
                      <a:pt x="338" y="141"/>
                    </a:lnTo>
                    <a:lnTo>
                      <a:pt x="337" y="141"/>
                    </a:lnTo>
                    <a:lnTo>
                      <a:pt x="337" y="142"/>
                    </a:lnTo>
                    <a:lnTo>
                      <a:pt x="338" y="143"/>
                    </a:lnTo>
                    <a:lnTo>
                      <a:pt x="339" y="143"/>
                    </a:lnTo>
                    <a:lnTo>
                      <a:pt x="339" y="144"/>
                    </a:lnTo>
                    <a:lnTo>
                      <a:pt x="339" y="145"/>
                    </a:lnTo>
                    <a:lnTo>
                      <a:pt x="339" y="146"/>
                    </a:lnTo>
                    <a:lnTo>
                      <a:pt x="341" y="146"/>
                    </a:lnTo>
                    <a:lnTo>
                      <a:pt x="341" y="147"/>
                    </a:lnTo>
                    <a:lnTo>
                      <a:pt x="342" y="148"/>
                    </a:lnTo>
                    <a:lnTo>
                      <a:pt x="342" y="149"/>
                    </a:lnTo>
                    <a:lnTo>
                      <a:pt x="342" y="150"/>
                    </a:lnTo>
                    <a:lnTo>
                      <a:pt x="342" y="152"/>
                    </a:lnTo>
                    <a:lnTo>
                      <a:pt x="343" y="153"/>
                    </a:lnTo>
                    <a:lnTo>
                      <a:pt x="343" y="154"/>
                    </a:lnTo>
                    <a:lnTo>
                      <a:pt x="343" y="155"/>
                    </a:lnTo>
                    <a:lnTo>
                      <a:pt x="343" y="156"/>
                    </a:lnTo>
                    <a:lnTo>
                      <a:pt x="343" y="157"/>
                    </a:lnTo>
                    <a:lnTo>
                      <a:pt x="343" y="158"/>
                    </a:lnTo>
                    <a:lnTo>
                      <a:pt x="342" y="158"/>
                    </a:lnTo>
                    <a:lnTo>
                      <a:pt x="341" y="158"/>
                    </a:lnTo>
                    <a:lnTo>
                      <a:pt x="341" y="159"/>
                    </a:lnTo>
                    <a:lnTo>
                      <a:pt x="341" y="160"/>
                    </a:lnTo>
                    <a:lnTo>
                      <a:pt x="342" y="160"/>
                    </a:lnTo>
                    <a:lnTo>
                      <a:pt x="343" y="161"/>
                    </a:lnTo>
                    <a:lnTo>
                      <a:pt x="343" y="162"/>
                    </a:lnTo>
                    <a:lnTo>
                      <a:pt x="343" y="163"/>
                    </a:lnTo>
                    <a:lnTo>
                      <a:pt x="344" y="165"/>
                    </a:lnTo>
                    <a:lnTo>
                      <a:pt x="345" y="165"/>
                    </a:lnTo>
                    <a:lnTo>
                      <a:pt x="345" y="166"/>
                    </a:lnTo>
                    <a:lnTo>
                      <a:pt x="344" y="167"/>
                    </a:lnTo>
                    <a:lnTo>
                      <a:pt x="345" y="167"/>
                    </a:lnTo>
                    <a:lnTo>
                      <a:pt x="345" y="168"/>
                    </a:lnTo>
                    <a:lnTo>
                      <a:pt x="345" y="169"/>
                    </a:lnTo>
                    <a:lnTo>
                      <a:pt x="344" y="169"/>
                    </a:lnTo>
                    <a:lnTo>
                      <a:pt x="344" y="170"/>
                    </a:lnTo>
                    <a:lnTo>
                      <a:pt x="343" y="170"/>
                    </a:lnTo>
                    <a:lnTo>
                      <a:pt x="342" y="170"/>
                    </a:lnTo>
                    <a:lnTo>
                      <a:pt x="342" y="169"/>
                    </a:lnTo>
                    <a:lnTo>
                      <a:pt x="343" y="168"/>
                    </a:lnTo>
                    <a:lnTo>
                      <a:pt x="343" y="167"/>
                    </a:lnTo>
                    <a:lnTo>
                      <a:pt x="342" y="167"/>
                    </a:lnTo>
                    <a:lnTo>
                      <a:pt x="341" y="167"/>
                    </a:lnTo>
                    <a:lnTo>
                      <a:pt x="339" y="166"/>
                    </a:lnTo>
                    <a:lnTo>
                      <a:pt x="338" y="166"/>
                    </a:lnTo>
                    <a:lnTo>
                      <a:pt x="337" y="166"/>
                    </a:lnTo>
                    <a:lnTo>
                      <a:pt x="336" y="167"/>
                    </a:lnTo>
                    <a:lnTo>
                      <a:pt x="336" y="168"/>
                    </a:lnTo>
                    <a:lnTo>
                      <a:pt x="336" y="170"/>
                    </a:lnTo>
                    <a:lnTo>
                      <a:pt x="336" y="172"/>
                    </a:lnTo>
                    <a:lnTo>
                      <a:pt x="335" y="174"/>
                    </a:lnTo>
                    <a:lnTo>
                      <a:pt x="335" y="175"/>
                    </a:lnTo>
                    <a:lnTo>
                      <a:pt x="336" y="178"/>
                    </a:lnTo>
                    <a:lnTo>
                      <a:pt x="337" y="179"/>
                    </a:lnTo>
                    <a:lnTo>
                      <a:pt x="337" y="180"/>
                    </a:lnTo>
                    <a:lnTo>
                      <a:pt x="337" y="181"/>
                    </a:lnTo>
                    <a:lnTo>
                      <a:pt x="337" y="182"/>
                    </a:lnTo>
                    <a:lnTo>
                      <a:pt x="336" y="183"/>
                    </a:lnTo>
                    <a:lnTo>
                      <a:pt x="335" y="183"/>
                    </a:lnTo>
                    <a:lnTo>
                      <a:pt x="335" y="184"/>
                    </a:lnTo>
                    <a:lnTo>
                      <a:pt x="336" y="184"/>
                    </a:lnTo>
                    <a:lnTo>
                      <a:pt x="337" y="185"/>
                    </a:lnTo>
                    <a:lnTo>
                      <a:pt x="338" y="186"/>
                    </a:lnTo>
                    <a:lnTo>
                      <a:pt x="338" y="187"/>
                    </a:lnTo>
                    <a:lnTo>
                      <a:pt x="339" y="187"/>
                    </a:lnTo>
                    <a:lnTo>
                      <a:pt x="342" y="188"/>
                    </a:lnTo>
                    <a:lnTo>
                      <a:pt x="342" y="190"/>
                    </a:lnTo>
                    <a:lnTo>
                      <a:pt x="341" y="190"/>
                    </a:lnTo>
                    <a:lnTo>
                      <a:pt x="339" y="190"/>
                    </a:lnTo>
                    <a:lnTo>
                      <a:pt x="336" y="190"/>
                    </a:lnTo>
                    <a:lnTo>
                      <a:pt x="334" y="190"/>
                    </a:lnTo>
                    <a:lnTo>
                      <a:pt x="326" y="190"/>
                    </a:lnTo>
                    <a:lnTo>
                      <a:pt x="308" y="190"/>
                    </a:lnTo>
                    <a:lnTo>
                      <a:pt x="300" y="190"/>
                    </a:lnTo>
                    <a:lnTo>
                      <a:pt x="297" y="190"/>
                    </a:lnTo>
                    <a:lnTo>
                      <a:pt x="290" y="190"/>
                    </a:lnTo>
                    <a:lnTo>
                      <a:pt x="280" y="190"/>
                    </a:lnTo>
                    <a:lnTo>
                      <a:pt x="273" y="190"/>
                    </a:lnTo>
                    <a:lnTo>
                      <a:pt x="270" y="190"/>
                    </a:lnTo>
                    <a:lnTo>
                      <a:pt x="269" y="190"/>
                    </a:lnTo>
                    <a:lnTo>
                      <a:pt x="264" y="190"/>
                    </a:lnTo>
                    <a:lnTo>
                      <a:pt x="256" y="190"/>
                    </a:lnTo>
                    <a:lnTo>
                      <a:pt x="251" y="190"/>
                    </a:lnTo>
                    <a:lnTo>
                      <a:pt x="245" y="190"/>
                    </a:lnTo>
                    <a:lnTo>
                      <a:pt x="246" y="190"/>
                    </a:lnTo>
                    <a:lnTo>
                      <a:pt x="247" y="190"/>
                    </a:lnTo>
                    <a:lnTo>
                      <a:pt x="247" y="191"/>
                    </a:lnTo>
                    <a:lnTo>
                      <a:pt x="247" y="192"/>
                    </a:lnTo>
                    <a:lnTo>
                      <a:pt x="246" y="192"/>
                    </a:lnTo>
                    <a:lnTo>
                      <a:pt x="245" y="192"/>
                    </a:lnTo>
                    <a:lnTo>
                      <a:pt x="244" y="193"/>
                    </a:lnTo>
                    <a:lnTo>
                      <a:pt x="243" y="193"/>
                    </a:lnTo>
                    <a:lnTo>
                      <a:pt x="242" y="193"/>
                    </a:lnTo>
                    <a:lnTo>
                      <a:pt x="242" y="192"/>
                    </a:lnTo>
                    <a:lnTo>
                      <a:pt x="241" y="192"/>
                    </a:lnTo>
                    <a:lnTo>
                      <a:pt x="241" y="193"/>
                    </a:lnTo>
                    <a:lnTo>
                      <a:pt x="241" y="194"/>
                    </a:lnTo>
                    <a:lnTo>
                      <a:pt x="241" y="195"/>
                    </a:lnTo>
                    <a:lnTo>
                      <a:pt x="240" y="196"/>
                    </a:lnTo>
                    <a:lnTo>
                      <a:pt x="240" y="197"/>
                    </a:lnTo>
                    <a:lnTo>
                      <a:pt x="240" y="198"/>
                    </a:lnTo>
                    <a:lnTo>
                      <a:pt x="239" y="198"/>
                    </a:lnTo>
                    <a:lnTo>
                      <a:pt x="238" y="198"/>
                    </a:lnTo>
                    <a:lnTo>
                      <a:pt x="237" y="198"/>
                    </a:lnTo>
                    <a:lnTo>
                      <a:pt x="235" y="198"/>
                    </a:lnTo>
                    <a:lnTo>
                      <a:pt x="235" y="199"/>
                    </a:lnTo>
                    <a:lnTo>
                      <a:pt x="237" y="200"/>
                    </a:lnTo>
                    <a:lnTo>
                      <a:pt x="237" y="201"/>
                    </a:lnTo>
                    <a:lnTo>
                      <a:pt x="235" y="201"/>
                    </a:lnTo>
                    <a:lnTo>
                      <a:pt x="234" y="201"/>
                    </a:lnTo>
                    <a:lnTo>
                      <a:pt x="233" y="201"/>
                    </a:lnTo>
                    <a:lnTo>
                      <a:pt x="232" y="201"/>
                    </a:lnTo>
                    <a:lnTo>
                      <a:pt x="232" y="200"/>
                    </a:lnTo>
                    <a:lnTo>
                      <a:pt x="231" y="200"/>
                    </a:lnTo>
                    <a:lnTo>
                      <a:pt x="231" y="203"/>
                    </a:lnTo>
                    <a:lnTo>
                      <a:pt x="231" y="204"/>
                    </a:lnTo>
                    <a:lnTo>
                      <a:pt x="230" y="204"/>
                    </a:lnTo>
                    <a:lnTo>
                      <a:pt x="230" y="203"/>
                    </a:lnTo>
                    <a:lnTo>
                      <a:pt x="229" y="203"/>
                    </a:lnTo>
                    <a:lnTo>
                      <a:pt x="228" y="203"/>
                    </a:lnTo>
                    <a:lnTo>
                      <a:pt x="228" y="201"/>
                    </a:lnTo>
                    <a:lnTo>
                      <a:pt x="227" y="201"/>
                    </a:lnTo>
                    <a:lnTo>
                      <a:pt x="226" y="201"/>
                    </a:lnTo>
                    <a:lnTo>
                      <a:pt x="226" y="203"/>
                    </a:lnTo>
                    <a:lnTo>
                      <a:pt x="225" y="203"/>
                    </a:lnTo>
                    <a:lnTo>
                      <a:pt x="224" y="201"/>
                    </a:lnTo>
                    <a:lnTo>
                      <a:pt x="224" y="203"/>
                    </a:lnTo>
                    <a:lnTo>
                      <a:pt x="222" y="203"/>
                    </a:lnTo>
                    <a:lnTo>
                      <a:pt x="222" y="204"/>
                    </a:lnTo>
                    <a:lnTo>
                      <a:pt x="224" y="205"/>
                    </a:lnTo>
                    <a:lnTo>
                      <a:pt x="224" y="206"/>
                    </a:lnTo>
                    <a:lnTo>
                      <a:pt x="222" y="206"/>
                    </a:lnTo>
                    <a:lnTo>
                      <a:pt x="221" y="206"/>
                    </a:lnTo>
                    <a:lnTo>
                      <a:pt x="220" y="206"/>
                    </a:lnTo>
                    <a:lnTo>
                      <a:pt x="219" y="206"/>
                    </a:lnTo>
                    <a:lnTo>
                      <a:pt x="219" y="205"/>
                    </a:lnTo>
                    <a:lnTo>
                      <a:pt x="218" y="205"/>
                    </a:lnTo>
                    <a:lnTo>
                      <a:pt x="217" y="205"/>
                    </a:lnTo>
                    <a:lnTo>
                      <a:pt x="217" y="206"/>
                    </a:lnTo>
                    <a:lnTo>
                      <a:pt x="218" y="206"/>
                    </a:lnTo>
                    <a:lnTo>
                      <a:pt x="218" y="207"/>
                    </a:lnTo>
                    <a:lnTo>
                      <a:pt x="218" y="208"/>
                    </a:lnTo>
                    <a:lnTo>
                      <a:pt x="218" y="209"/>
                    </a:lnTo>
                    <a:lnTo>
                      <a:pt x="218" y="210"/>
                    </a:lnTo>
                    <a:lnTo>
                      <a:pt x="218" y="211"/>
                    </a:lnTo>
                    <a:lnTo>
                      <a:pt x="218" y="212"/>
                    </a:lnTo>
                    <a:lnTo>
                      <a:pt x="217" y="212"/>
                    </a:lnTo>
                    <a:lnTo>
                      <a:pt x="217" y="213"/>
                    </a:lnTo>
                    <a:lnTo>
                      <a:pt x="216" y="213"/>
                    </a:lnTo>
                    <a:lnTo>
                      <a:pt x="215" y="213"/>
                    </a:lnTo>
                    <a:lnTo>
                      <a:pt x="215" y="214"/>
                    </a:lnTo>
                    <a:lnTo>
                      <a:pt x="214" y="214"/>
                    </a:lnTo>
                    <a:lnTo>
                      <a:pt x="212" y="213"/>
                    </a:lnTo>
                    <a:lnTo>
                      <a:pt x="210" y="213"/>
                    </a:lnTo>
                    <a:lnTo>
                      <a:pt x="210" y="216"/>
                    </a:lnTo>
                    <a:lnTo>
                      <a:pt x="209" y="216"/>
                    </a:lnTo>
                    <a:lnTo>
                      <a:pt x="207" y="214"/>
                    </a:lnTo>
                    <a:lnTo>
                      <a:pt x="206" y="214"/>
                    </a:lnTo>
                    <a:lnTo>
                      <a:pt x="206" y="216"/>
                    </a:lnTo>
                    <a:lnTo>
                      <a:pt x="206" y="217"/>
                    </a:lnTo>
                    <a:lnTo>
                      <a:pt x="206" y="218"/>
                    </a:lnTo>
                    <a:lnTo>
                      <a:pt x="207" y="219"/>
                    </a:lnTo>
                    <a:lnTo>
                      <a:pt x="207" y="220"/>
                    </a:lnTo>
                    <a:lnTo>
                      <a:pt x="207" y="221"/>
                    </a:lnTo>
                    <a:lnTo>
                      <a:pt x="206" y="221"/>
                    </a:lnTo>
                    <a:lnTo>
                      <a:pt x="205" y="221"/>
                    </a:lnTo>
                    <a:lnTo>
                      <a:pt x="204" y="221"/>
                    </a:lnTo>
                    <a:lnTo>
                      <a:pt x="204" y="222"/>
                    </a:lnTo>
                    <a:lnTo>
                      <a:pt x="203" y="222"/>
                    </a:lnTo>
                    <a:lnTo>
                      <a:pt x="203" y="223"/>
                    </a:lnTo>
                    <a:lnTo>
                      <a:pt x="204" y="224"/>
                    </a:lnTo>
                    <a:lnTo>
                      <a:pt x="204" y="225"/>
                    </a:lnTo>
                    <a:lnTo>
                      <a:pt x="205" y="225"/>
                    </a:lnTo>
                    <a:lnTo>
                      <a:pt x="205" y="226"/>
                    </a:lnTo>
                    <a:lnTo>
                      <a:pt x="206" y="226"/>
                    </a:lnTo>
                    <a:lnTo>
                      <a:pt x="206" y="227"/>
                    </a:lnTo>
                    <a:lnTo>
                      <a:pt x="205" y="227"/>
                    </a:lnTo>
                    <a:lnTo>
                      <a:pt x="205" y="229"/>
                    </a:lnTo>
                    <a:lnTo>
                      <a:pt x="205" y="230"/>
                    </a:lnTo>
                    <a:lnTo>
                      <a:pt x="204" y="231"/>
                    </a:lnTo>
                    <a:lnTo>
                      <a:pt x="204" y="232"/>
                    </a:lnTo>
                    <a:lnTo>
                      <a:pt x="204" y="233"/>
                    </a:lnTo>
                    <a:lnTo>
                      <a:pt x="204" y="234"/>
                    </a:lnTo>
                    <a:lnTo>
                      <a:pt x="203" y="235"/>
                    </a:lnTo>
                    <a:lnTo>
                      <a:pt x="202" y="235"/>
                    </a:lnTo>
                    <a:lnTo>
                      <a:pt x="201" y="235"/>
                    </a:lnTo>
                    <a:lnTo>
                      <a:pt x="200" y="234"/>
                    </a:lnTo>
                    <a:lnTo>
                      <a:pt x="199" y="235"/>
                    </a:lnTo>
                    <a:lnTo>
                      <a:pt x="196" y="235"/>
                    </a:lnTo>
                    <a:lnTo>
                      <a:pt x="195" y="235"/>
                    </a:lnTo>
                    <a:lnTo>
                      <a:pt x="195" y="236"/>
                    </a:lnTo>
                    <a:lnTo>
                      <a:pt x="195" y="237"/>
                    </a:lnTo>
                    <a:lnTo>
                      <a:pt x="194" y="237"/>
                    </a:lnTo>
                    <a:lnTo>
                      <a:pt x="194" y="238"/>
                    </a:lnTo>
                    <a:lnTo>
                      <a:pt x="193" y="239"/>
                    </a:lnTo>
                    <a:lnTo>
                      <a:pt x="193" y="240"/>
                    </a:lnTo>
                    <a:lnTo>
                      <a:pt x="191" y="240"/>
                    </a:lnTo>
                    <a:lnTo>
                      <a:pt x="191" y="242"/>
                    </a:lnTo>
                    <a:lnTo>
                      <a:pt x="190" y="242"/>
                    </a:lnTo>
                    <a:lnTo>
                      <a:pt x="190" y="240"/>
                    </a:lnTo>
                    <a:lnTo>
                      <a:pt x="189" y="240"/>
                    </a:lnTo>
                    <a:lnTo>
                      <a:pt x="188" y="242"/>
                    </a:lnTo>
                    <a:lnTo>
                      <a:pt x="187" y="242"/>
                    </a:lnTo>
                    <a:lnTo>
                      <a:pt x="187" y="240"/>
                    </a:lnTo>
                    <a:lnTo>
                      <a:pt x="186" y="240"/>
                    </a:lnTo>
                    <a:lnTo>
                      <a:pt x="184" y="242"/>
                    </a:lnTo>
                    <a:lnTo>
                      <a:pt x="183" y="242"/>
                    </a:lnTo>
                    <a:lnTo>
                      <a:pt x="182" y="242"/>
                    </a:lnTo>
                    <a:lnTo>
                      <a:pt x="180" y="242"/>
                    </a:lnTo>
                    <a:lnTo>
                      <a:pt x="179" y="242"/>
                    </a:lnTo>
                    <a:lnTo>
                      <a:pt x="179" y="240"/>
                    </a:lnTo>
                    <a:lnTo>
                      <a:pt x="179" y="239"/>
                    </a:lnTo>
                    <a:lnTo>
                      <a:pt x="179" y="238"/>
                    </a:lnTo>
                    <a:lnTo>
                      <a:pt x="178" y="238"/>
                    </a:lnTo>
                    <a:lnTo>
                      <a:pt x="178" y="237"/>
                    </a:lnTo>
                    <a:lnTo>
                      <a:pt x="177" y="237"/>
                    </a:lnTo>
                    <a:lnTo>
                      <a:pt x="177" y="238"/>
                    </a:lnTo>
                    <a:lnTo>
                      <a:pt x="177" y="239"/>
                    </a:lnTo>
                    <a:lnTo>
                      <a:pt x="176" y="239"/>
                    </a:lnTo>
                    <a:lnTo>
                      <a:pt x="175" y="239"/>
                    </a:lnTo>
                    <a:lnTo>
                      <a:pt x="175" y="240"/>
                    </a:lnTo>
                    <a:lnTo>
                      <a:pt x="174" y="240"/>
                    </a:lnTo>
                    <a:lnTo>
                      <a:pt x="173" y="240"/>
                    </a:lnTo>
                    <a:lnTo>
                      <a:pt x="171" y="242"/>
                    </a:lnTo>
                    <a:lnTo>
                      <a:pt x="170" y="242"/>
                    </a:lnTo>
                    <a:lnTo>
                      <a:pt x="170" y="240"/>
                    </a:lnTo>
                    <a:lnTo>
                      <a:pt x="169" y="240"/>
                    </a:lnTo>
                    <a:lnTo>
                      <a:pt x="168" y="240"/>
                    </a:lnTo>
                    <a:lnTo>
                      <a:pt x="167" y="240"/>
                    </a:lnTo>
                    <a:lnTo>
                      <a:pt x="167" y="242"/>
                    </a:lnTo>
                    <a:lnTo>
                      <a:pt x="167" y="243"/>
                    </a:lnTo>
                    <a:lnTo>
                      <a:pt x="166" y="244"/>
                    </a:lnTo>
                    <a:lnTo>
                      <a:pt x="166" y="245"/>
                    </a:lnTo>
                    <a:lnTo>
                      <a:pt x="167" y="246"/>
                    </a:lnTo>
                    <a:lnTo>
                      <a:pt x="167" y="247"/>
                    </a:lnTo>
                    <a:lnTo>
                      <a:pt x="167" y="248"/>
                    </a:lnTo>
                    <a:lnTo>
                      <a:pt x="166" y="248"/>
                    </a:lnTo>
                    <a:lnTo>
                      <a:pt x="167" y="248"/>
                    </a:lnTo>
                    <a:lnTo>
                      <a:pt x="168" y="248"/>
                    </a:lnTo>
                    <a:lnTo>
                      <a:pt x="168" y="249"/>
                    </a:lnTo>
                    <a:lnTo>
                      <a:pt x="168" y="250"/>
                    </a:lnTo>
                    <a:lnTo>
                      <a:pt x="168" y="251"/>
                    </a:lnTo>
                    <a:lnTo>
                      <a:pt x="169" y="251"/>
                    </a:lnTo>
                    <a:lnTo>
                      <a:pt x="169" y="252"/>
                    </a:lnTo>
                    <a:lnTo>
                      <a:pt x="169" y="253"/>
                    </a:lnTo>
                    <a:lnTo>
                      <a:pt x="168" y="255"/>
                    </a:lnTo>
                    <a:lnTo>
                      <a:pt x="168" y="256"/>
                    </a:lnTo>
                    <a:lnTo>
                      <a:pt x="167" y="256"/>
                    </a:lnTo>
                    <a:lnTo>
                      <a:pt x="166" y="257"/>
                    </a:lnTo>
                    <a:lnTo>
                      <a:pt x="165" y="257"/>
                    </a:lnTo>
                    <a:lnTo>
                      <a:pt x="165" y="258"/>
                    </a:lnTo>
                    <a:lnTo>
                      <a:pt x="165" y="259"/>
                    </a:lnTo>
                    <a:lnTo>
                      <a:pt x="166" y="259"/>
                    </a:lnTo>
                    <a:lnTo>
                      <a:pt x="168" y="258"/>
                    </a:lnTo>
                    <a:lnTo>
                      <a:pt x="169" y="259"/>
                    </a:lnTo>
                    <a:lnTo>
                      <a:pt x="168" y="259"/>
                    </a:lnTo>
                    <a:lnTo>
                      <a:pt x="168" y="260"/>
                    </a:lnTo>
                    <a:lnTo>
                      <a:pt x="168" y="261"/>
                    </a:lnTo>
                    <a:lnTo>
                      <a:pt x="168" y="262"/>
                    </a:lnTo>
                    <a:lnTo>
                      <a:pt x="167" y="262"/>
                    </a:lnTo>
                    <a:lnTo>
                      <a:pt x="166" y="262"/>
                    </a:lnTo>
                    <a:lnTo>
                      <a:pt x="165" y="262"/>
                    </a:lnTo>
                    <a:lnTo>
                      <a:pt x="165" y="263"/>
                    </a:lnTo>
                    <a:lnTo>
                      <a:pt x="164" y="265"/>
                    </a:lnTo>
                    <a:lnTo>
                      <a:pt x="166" y="265"/>
                    </a:lnTo>
                    <a:lnTo>
                      <a:pt x="166" y="264"/>
                    </a:lnTo>
                    <a:lnTo>
                      <a:pt x="167" y="265"/>
                    </a:lnTo>
                    <a:lnTo>
                      <a:pt x="167" y="267"/>
                    </a:lnTo>
                    <a:lnTo>
                      <a:pt x="167" y="268"/>
                    </a:lnTo>
                    <a:lnTo>
                      <a:pt x="167" y="267"/>
                    </a:lnTo>
                    <a:lnTo>
                      <a:pt x="166" y="268"/>
                    </a:lnTo>
                    <a:lnTo>
                      <a:pt x="165" y="268"/>
                    </a:lnTo>
                    <a:lnTo>
                      <a:pt x="164" y="268"/>
                    </a:lnTo>
                    <a:lnTo>
                      <a:pt x="164" y="269"/>
                    </a:lnTo>
                    <a:lnTo>
                      <a:pt x="163" y="269"/>
                    </a:lnTo>
                    <a:lnTo>
                      <a:pt x="163" y="270"/>
                    </a:lnTo>
                    <a:lnTo>
                      <a:pt x="164" y="270"/>
                    </a:lnTo>
                    <a:lnTo>
                      <a:pt x="165" y="270"/>
                    </a:lnTo>
                    <a:lnTo>
                      <a:pt x="166" y="270"/>
                    </a:lnTo>
                    <a:lnTo>
                      <a:pt x="166" y="269"/>
                    </a:lnTo>
                    <a:lnTo>
                      <a:pt x="167" y="270"/>
                    </a:lnTo>
                    <a:lnTo>
                      <a:pt x="167" y="271"/>
                    </a:lnTo>
                    <a:lnTo>
                      <a:pt x="166" y="272"/>
                    </a:lnTo>
                    <a:lnTo>
                      <a:pt x="166" y="273"/>
                    </a:lnTo>
                    <a:lnTo>
                      <a:pt x="165" y="273"/>
                    </a:lnTo>
                    <a:lnTo>
                      <a:pt x="165" y="274"/>
                    </a:lnTo>
                    <a:lnTo>
                      <a:pt x="164" y="274"/>
                    </a:lnTo>
                    <a:lnTo>
                      <a:pt x="164" y="275"/>
                    </a:lnTo>
                    <a:lnTo>
                      <a:pt x="163" y="276"/>
                    </a:lnTo>
                    <a:lnTo>
                      <a:pt x="163" y="277"/>
                    </a:lnTo>
                    <a:lnTo>
                      <a:pt x="163" y="278"/>
                    </a:lnTo>
                    <a:lnTo>
                      <a:pt x="164" y="278"/>
                    </a:lnTo>
                    <a:lnTo>
                      <a:pt x="164" y="280"/>
                    </a:lnTo>
                    <a:lnTo>
                      <a:pt x="163" y="280"/>
                    </a:lnTo>
                    <a:lnTo>
                      <a:pt x="162" y="280"/>
                    </a:lnTo>
                    <a:lnTo>
                      <a:pt x="162" y="281"/>
                    </a:lnTo>
                    <a:lnTo>
                      <a:pt x="161" y="281"/>
                    </a:lnTo>
                    <a:lnTo>
                      <a:pt x="161" y="282"/>
                    </a:lnTo>
                    <a:lnTo>
                      <a:pt x="160" y="283"/>
                    </a:lnTo>
                    <a:lnTo>
                      <a:pt x="160" y="284"/>
                    </a:lnTo>
                    <a:lnTo>
                      <a:pt x="160" y="285"/>
                    </a:lnTo>
                    <a:lnTo>
                      <a:pt x="160" y="286"/>
                    </a:lnTo>
                    <a:lnTo>
                      <a:pt x="161" y="286"/>
                    </a:lnTo>
                    <a:lnTo>
                      <a:pt x="162" y="286"/>
                    </a:lnTo>
                    <a:lnTo>
                      <a:pt x="162" y="287"/>
                    </a:lnTo>
                    <a:lnTo>
                      <a:pt x="161" y="287"/>
                    </a:lnTo>
                    <a:lnTo>
                      <a:pt x="161" y="288"/>
                    </a:lnTo>
                    <a:lnTo>
                      <a:pt x="160" y="289"/>
                    </a:lnTo>
                    <a:lnTo>
                      <a:pt x="160" y="290"/>
                    </a:lnTo>
                    <a:lnTo>
                      <a:pt x="160" y="291"/>
                    </a:lnTo>
                    <a:lnTo>
                      <a:pt x="160" y="293"/>
                    </a:lnTo>
                    <a:lnTo>
                      <a:pt x="161" y="293"/>
                    </a:lnTo>
                    <a:lnTo>
                      <a:pt x="161" y="294"/>
                    </a:lnTo>
                    <a:lnTo>
                      <a:pt x="162" y="294"/>
                    </a:lnTo>
                    <a:lnTo>
                      <a:pt x="162" y="295"/>
                    </a:lnTo>
                    <a:lnTo>
                      <a:pt x="163" y="295"/>
                    </a:lnTo>
                    <a:lnTo>
                      <a:pt x="162" y="295"/>
                    </a:lnTo>
                    <a:lnTo>
                      <a:pt x="162" y="296"/>
                    </a:lnTo>
                    <a:lnTo>
                      <a:pt x="161" y="295"/>
                    </a:lnTo>
                    <a:lnTo>
                      <a:pt x="161" y="296"/>
                    </a:lnTo>
                    <a:lnTo>
                      <a:pt x="161" y="297"/>
                    </a:lnTo>
                    <a:lnTo>
                      <a:pt x="162" y="297"/>
                    </a:lnTo>
                    <a:lnTo>
                      <a:pt x="163" y="297"/>
                    </a:lnTo>
                    <a:lnTo>
                      <a:pt x="163" y="298"/>
                    </a:lnTo>
                    <a:lnTo>
                      <a:pt x="162" y="298"/>
                    </a:lnTo>
                    <a:lnTo>
                      <a:pt x="162" y="299"/>
                    </a:lnTo>
                    <a:lnTo>
                      <a:pt x="161" y="299"/>
                    </a:lnTo>
                    <a:lnTo>
                      <a:pt x="160" y="299"/>
                    </a:lnTo>
                    <a:lnTo>
                      <a:pt x="160" y="300"/>
                    </a:lnTo>
                    <a:lnTo>
                      <a:pt x="161" y="300"/>
                    </a:lnTo>
                    <a:lnTo>
                      <a:pt x="161" y="301"/>
                    </a:lnTo>
                    <a:lnTo>
                      <a:pt x="161" y="302"/>
                    </a:lnTo>
                    <a:lnTo>
                      <a:pt x="162" y="302"/>
                    </a:lnTo>
                    <a:lnTo>
                      <a:pt x="162" y="303"/>
                    </a:lnTo>
                    <a:lnTo>
                      <a:pt x="161" y="303"/>
                    </a:lnTo>
                    <a:lnTo>
                      <a:pt x="160" y="304"/>
                    </a:lnTo>
                    <a:lnTo>
                      <a:pt x="158" y="306"/>
                    </a:lnTo>
                    <a:lnTo>
                      <a:pt x="158" y="307"/>
                    </a:lnTo>
                    <a:lnTo>
                      <a:pt x="160" y="307"/>
                    </a:lnTo>
                    <a:lnTo>
                      <a:pt x="160" y="308"/>
                    </a:lnTo>
                    <a:lnTo>
                      <a:pt x="158" y="308"/>
                    </a:lnTo>
                    <a:lnTo>
                      <a:pt x="157" y="307"/>
                    </a:lnTo>
                    <a:lnTo>
                      <a:pt x="156" y="307"/>
                    </a:lnTo>
                    <a:lnTo>
                      <a:pt x="156" y="308"/>
                    </a:lnTo>
                    <a:lnTo>
                      <a:pt x="156" y="309"/>
                    </a:lnTo>
                    <a:lnTo>
                      <a:pt x="157" y="309"/>
                    </a:lnTo>
                    <a:lnTo>
                      <a:pt x="158" y="309"/>
                    </a:lnTo>
                    <a:lnTo>
                      <a:pt x="158" y="310"/>
                    </a:lnTo>
                    <a:lnTo>
                      <a:pt x="157" y="311"/>
                    </a:lnTo>
                    <a:lnTo>
                      <a:pt x="156" y="311"/>
                    </a:lnTo>
                    <a:lnTo>
                      <a:pt x="156" y="310"/>
                    </a:lnTo>
                    <a:lnTo>
                      <a:pt x="156" y="309"/>
                    </a:lnTo>
                    <a:lnTo>
                      <a:pt x="155" y="309"/>
                    </a:lnTo>
                    <a:lnTo>
                      <a:pt x="154" y="309"/>
                    </a:lnTo>
                    <a:lnTo>
                      <a:pt x="153" y="310"/>
                    </a:lnTo>
                    <a:lnTo>
                      <a:pt x="152" y="310"/>
                    </a:lnTo>
                    <a:lnTo>
                      <a:pt x="152" y="311"/>
                    </a:lnTo>
                    <a:lnTo>
                      <a:pt x="153" y="311"/>
                    </a:lnTo>
                    <a:lnTo>
                      <a:pt x="153" y="312"/>
                    </a:lnTo>
                    <a:lnTo>
                      <a:pt x="153" y="313"/>
                    </a:lnTo>
                    <a:lnTo>
                      <a:pt x="152" y="313"/>
                    </a:lnTo>
                    <a:lnTo>
                      <a:pt x="151" y="314"/>
                    </a:lnTo>
                    <a:lnTo>
                      <a:pt x="151" y="315"/>
                    </a:lnTo>
                    <a:lnTo>
                      <a:pt x="150" y="315"/>
                    </a:lnTo>
                    <a:lnTo>
                      <a:pt x="149" y="315"/>
                    </a:lnTo>
                    <a:lnTo>
                      <a:pt x="149" y="316"/>
                    </a:lnTo>
                    <a:lnTo>
                      <a:pt x="148" y="317"/>
                    </a:lnTo>
                    <a:lnTo>
                      <a:pt x="149" y="319"/>
                    </a:lnTo>
                    <a:lnTo>
                      <a:pt x="149" y="320"/>
                    </a:lnTo>
                    <a:lnTo>
                      <a:pt x="149" y="321"/>
                    </a:lnTo>
                    <a:lnTo>
                      <a:pt x="148" y="321"/>
                    </a:lnTo>
                    <a:lnTo>
                      <a:pt x="145" y="321"/>
                    </a:lnTo>
                    <a:lnTo>
                      <a:pt x="144" y="321"/>
                    </a:lnTo>
                    <a:lnTo>
                      <a:pt x="143" y="322"/>
                    </a:lnTo>
                    <a:lnTo>
                      <a:pt x="142" y="322"/>
                    </a:lnTo>
                    <a:lnTo>
                      <a:pt x="141" y="323"/>
                    </a:lnTo>
                    <a:lnTo>
                      <a:pt x="140" y="323"/>
                    </a:lnTo>
                    <a:lnTo>
                      <a:pt x="139" y="323"/>
                    </a:lnTo>
                    <a:lnTo>
                      <a:pt x="138" y="323"/>
                    </a:lnTo>
                    <a:lnTo>
                      <a:pt x="139" y="324"/>
                    </a:lnTo>
                    <a:lnTo>
                      <a:pt x="139" y="325"/>
                    </a:lnTo>
                    <a:lnTo>
                      <a:pt x="138" y="325"/>
                    </a:lnTo>
                    <a:lnTo>
                      <a:pt x="137" y="325"/>
                    </a:lnTo>
                    <a:lnTo>
                      <a:pt x="138" y="324"/>
                    </a:lnTo>
                    <a:lnTo>
                      <a:pt x="138" y="323"/>
                    </a:lnTo>
                    <a:lnTo>
                      <a:pt x="137" y="323"/>
                    </a:lnTo>
                    <a:lnTo>
                      <a:pt x="137" y="322"/>
                    </a:lnTo>
                    <a:lnTo>
                      <a:pt x="136" y="323"/>
                    </a:lnTo>
                    <a:lnTo>
                      <a:pt x="137" y="324"/>
                    </a:lnTo>
                    <a:lnTo>
                      <a:pt x="137" y="325"/>
                    </a:lnTo>
                    <a:lnTo>
                      <a:pt x="136" y="325"/>
                    </a:lnTo>
                    <a:lnTo>
                      <a:pt x="136" y="326"/>
                    </a:lnTo>
                    <a:lnTo>
                      <a:pt x="135" y="327"/>
                    </a:lnTo>
                    <a:lnTo>
                      <a:pt x="132" y="328"/>
                    </a:lnTo>
                    <a:lnTo>
                      <a:pt x="131" y="328"/>
                    </a:lnTo>
                    <a:lnTo>
                      <a:pt x="131" y="329"/>
                    </a:lnTo>
                    <a:lnTo>
                      <a:pt x="131" y="330"/>
                    </a:lnTo>
                    <a:lnTo>
                      <a:pt x="131" y="332"/>
                    </a:lnTo>
                    <a:lnTo>
                      <a:pt x="131" y="333"/>
                    </a:lnTo>
                    <a:lnTo>
                      <a:pt x="131" y="334"/>
                    </a:lnTo>
                    <a:lnTo>
                      <a:pt x="132" y="334"/>
                    </a:lnTo>
                    <a:lnTo>
                      <a:pt x="132" y="335"/>
                    </a:lnTo>
                    <a:lnTo>
                      <a:pt x="131" y="335"/>
                    </a:lnTo>
                    <a:lnTo>
                      <a:pt x="130" y="335"/>
                    </a:lnTo>
                    <a:lnTo>
                      <a:pt x="129" y="336"/>
                    </a:lnTo>
                    <a:lnTo>
                      <a:pt x="129" y="337"/>
                    </a:lnTo>
                    <a:lnTo>
                      <a:pt x="129" y="338"/>
                    </a:lnTo>
                    <a:lnTo>
                      <a:pt x="129" y="339"/>
                    </a:lnTo>
                    <a:lnTo>
                      <a:pt x="129" y="340"/>
                    </a:lnTo>
                    <a:lnTo>
                      <a:pt x="129" y="341"/>
                    </a:lnTo>
                    <a:lnTo>
                      <a:pt x="128" y="341"/>
                    </a:lnTo>
                    <a:lnTo>
                      <a:pt x="129" y="341"/>
                    </a:lnTo>
                    <a:lnTo>
                      <a:pt x="129" y="342"/>
                    </a:lnTo>
                    <a:lnTo>
                      <a:pt x="129" y="343"/>
                    </a:lnTo>
                    <a:lnTo>
                      <a:pt x="130" y="343"/>
                    </a:lnTo>
                    <a:lnTo>
                      <a:pt x="130" y="345"/>
                    </a:lnTo>
                    <a:lnTo>
                      <a:pt x="130" y="346"/>
                    </a:lnTo>
                    <a:lnTo>
                      <a:pt x="129" y="346"/>
                    </a:lnTo>
                    <a:lnTo>
                      <a:pt x="129" y="345"/>
                    </a:lnTo>
                    <a:lnTo>
                      <a:pt x="128" y="345"/>
                    </a:lnTo>
                    <a:lnTo>
                      <a:pt x="128" y="343"/>
                    </a:lnTo>
                    <a:lnTo>
                      <a:pt x="127" y="343"/>
                    </a:lnTo>
                    <a:lnTo>
                      <a:pt x="127" y="346"/>
                    </a:lnTo>
                    <a:lnTo>
                      <a:pt x="126" y="347"/>
                    </a:lnTo>
                    <a:lnTo>
                      <a:pt x="125" y="347"/>
                    </a:lnTo>
                    <a:lnTo>
                      <a:pt x="125" y="348"/>
                    </a:lnTo>
                    <a:lnTo>
                      <a:pt x="125" y="349"/>
                    </a:lnTo>
                    <a:lnTo>
                      <a:pt x="125" y="350"/>
                    </a:lnTo>
                    <a:lnTo>
                      <a:pt x="124" y="350"/>
                    </a:lnTo>
                    <a:lnTo>
                      <a:pt x="124" y="351"/>
                    </a:lnTo>
                    <a:lnTo>
                      <a:pt x="125" y="352"/>
                    </a:lnTo>
                    <a:lnTo>
                      <a:pt x="125" y="353"/>
                    </a:lnTo>
                    <a:lnTo>
                      <a:pt x="124" y="353"/>
                    </a:lnTo>
                    <a:lnTo>
                      <a:pt x="123" y="353"/>
                    </a:lnTo>
                    <a:lnTo>
                      <a:pt x="123" y="352"/>
                    </a:lnTo>
                    <a:lnTo>
                      <a:pt x="123" y="351"/>
                    </a:lnTo>
                    <a:lnTo>
                      <a:pt x="122" y="351"/>
                    </a:lnTo>
                    <a:lnTo>
                      <a:pt x="122" y="352"/>
                    </a:lnTo>
                    <a:lnTo>
                      <a:pt x="122" y="353"/>
                    </a:lnTo>
                    <a:lnTo>
                      <a:pt x="123" y="353"/>
                    </a:lnTo>
                    <a:lnTo>
                      <a:pt x="123" y="354"/>
                    </a:lnTo>
                    <a:lnTo>
                      <a:pt x="122" y="354"/>
                    </a:lnTo>
                    <a:lnTo>
                      <a:pt x="122" y="355"/>
                    </a:lnTo>
                    <a:lnTo>
                      <a:pt x="121" y="355"/>
                    </a:lnTo>
                    <a:lnTo>
                      <a:pt x="121" y="354"/>
                    </a:lnTo>
                    <a:lnTo>
                      <a:pt x="119" y="354"/>
                    </a:lnTo>
                    <a:lnTo>
                      <a:pt x="118" y="354"/>
                    </a:lnTo>
                    <a:lnTo>
                      <a:pt x="118" y="355"/>
                    </a:lnTo>
                    <a:lnTo>
                      <a:pt x="118" y="357"/>
                    </a:lnTo>
                    <a:lnTo>
                      <a:pt x="117" y="357"/>
                    </a:lnTo>
                    <a:lnTo>
                      <a:pt x="117" y="355"/>
                    </a:lnTo>
                    <a:lnTo>
                      <a:pt x="116" y="355"/>
                    </a:lnTo>
                    <a:lnTo>
                      <a:pt x="116" y="357"/>
                    </a:lnTo>
                    <a:lnTo>
                      <a:pt x="115" y="358"/>
                    </a:lnTo>
                    <a:lnTo>
                      <a:pt x="114" y="358"/>
                    </a:lnTo>
                    <a:lnTo>
                      <a:pt x="113" y="358"/>
                    </a:lnTo>
                    <a:lnTo>
                      <a:pt x="113" y="357"/>
                    </a:lnTo>
                    <a:lnTo>
                      <a:pt x="112" y="357"/>
                    </a:lnTo>
                    <a:lnTo>
                      <a:pt x="111" y="358"/>
                    </a:lnTo>
                    <a:lnTo>
                      <a:pt x="111" y="357"/>
                    </a:lnTo>
                    <a:lnTo>
                      <a:pt x="111" y="355"/>
                    </a:lnTo>
                    <a:lnTo>
                      <a:pt x="110" y="355"/>
                    </a:lnTo>
                    <a:lnTo>
                      <a:pt x="109" y="357"/>
                    </a:lnTo>
                    <a:lnTo>
                      <a:pt x="110" y="357"/>
                    </a:lnTo>
                    <a:lnTo>
                      <a:pt x="110" y="358"/>
                    </a:lnTo>
                    <a:lnTo>
                      <a:pt x="109" y="358"/>
                    </a:lnTo>
                    <a:lnTo>
                      <a:pt x="108" y="358"/>
                    </a:lnTo>
                    <a:lnTo>
                      <a:pt x="108" y="359"/>
                    </a:lnTo>
                    <a:lnTo>
                      <a:pt x="106" y="358"/>
                    </a:lnTo>
                    <a:lnTo>
                      <a:pt x="105" y="358"/>
                    </a:lnTo>
                    <a:lnTo>
                      <a:pt x="104" y="358"/>
                    </a:lnTo>
                    <a:lnTo>
                      <a:pt x="104" y="359"/>
                    </a:lnTo>
                    <a:lnTo>
                      <a:pt x="103" y="359"/>
                    </a:lnTo>
                    <a:lnTo>
                      <a:pt x="103" y="358"/>
                    </a:lnTo>
                    <a:lnTo>
                      <a:pt x="102" y="359"/>
                    </a:lnTo>
                    <a:lnTo>
                      <a:pt x="102" y="358"/>
                    </a:lnTo>
                    <a:lnTo>
                      <a:pt x="101" y="358"/>
                    </a:lnTo>
                    <a:lnTo>
                      <a:pt x="101" y="357"/>
                    </a:lnTo>
                    <a:lnTo>
                      <a:pt x="101" y="358"/>
                    </a:lnTo>
                    <a:lnTo>
                      <a:pt x="100" y="359"/>
                    </a:lnTo>
                    <a:lnTo>
                      <a:pt x="99" y="359"/>
                    </a:lnTo>
                    <a:lnTo>
                      <a:pt x="99" y="358"/>
                    </a:lnTo>
                    <a:lnTo>
                      <a:pt x="98" y="358"/>
                    </a:lnTo>
                    <a:lnTo>
                      <a:pt x="98" y="359"/>
                    </a:lnTo>
                    <a:lnTo>
                      <a:pt x="98" y="360"/>
                    </a:lnTo>
                    <a:lnTo>
                      <a:pt x="97" y="360"/>
                    </a:lnTo>
                    <a:lnTo>
                      <a:pt x="96" y="359"/>
                    </a:lnTo>
                    <a:lnTo>
                      <a:pt x="95" y="359"/>
                    </a:lnTo>
                    <a:lnTo>
                      <a:pt x="95" y="360"/>
                    </a:lnTo>
                    <a:lnTo>
                      <a:pt x="95" y="361"/>
                    </a:lnTo>
                    <a:lnTo>
                      <a:pt x="93" y="361"/>
                    </a:lnTo>
                    <a:lnTo>
                      <a:pt x="92" y="361"/>
                    </a:lnTo>
                    <a:lnTo>
                      <a:pt x="91" y="363"/>
                    </a:lnTo>
                    <a:lnTo>
                      <a:pt x="91" y="364"/>
                    </a:lnTo>
                    <a:lnTo>
                      <a:pt x="92" y="364"/>
                    </a:lnTo>
                    <a:lnTo>
                      <a:pt x="92" y="365"/>
                    </a:lnTo>
                    <a:lnTo>
                      <a:pt x="91" y="365"/>
                    </a:lnTo>
                    <a:lnTo>
                      <a:pt x="90" y="365"/>
                    </a:lnTo>
                    <a:lnTo>
                      <a:pt x="90" y="366"/>
                    </a:lnTo>
                    <a:lnTo>
                      <a:pt x="90" y="367"/>
                    </a:lnTo>
                    <a:lnTo>
                      <a:pt x="89" y="368"/>
                    </a:lnTo>
                    <a:lnTo>
                      <a:pt x="88" y="370"/>
                    </a:lnTo>
                    <a:lnTo>
                      <a:pt x="88" y="371"/>
                    </a:lnTo>
                    <a:lnTo>
                      <a:pt x="88" y="372"/>
                    </a:lnTo>
                    <a:lnTo>
                      <a:pt x="87" y="372"/>
                    </a:lnTo>
                    <a:lnTo>
                      <a:pt x="86" y="373"/>
                    </a:lnTo>
                    <a:lnTo>
                      <a:pt x="86" y="374"/>
                    </a:lnTo>
                    <a:lnTo>
                      <a:pt x="86" y="373"/>
                    </a:lnTo>
                    <a:lnTo>
                      <a:pt x="85" y="373"/>
                    </a:lnTo>
                    <a:lnTo>
                      <a:pt x="84" y="373"/>
                    </a:lnTo>
                    <a:lnTo>
                      <a:pt x="83" y="373"/>
                    </a:lnTo>
                    <a:lnTo>
                      <a:pt x="83" y="372"/>
                    </a:lnTo>
                    <a:lnTo>
                      <a:pt x="84" y="372"/>
                    </a:lnTo>
                    <a:lnTo>
                      <a:pt x="85" y="371"/>
                    </a:lnTo>
                    <a:lnTo>
                      <a:pt x="87" y="371"/>
                    </a:lnTo>
                    <a:lnTo>
                      <a:pt x="87" y="370"/>
                    </a:lnTo>
                    <a:lnTo>
                      <a:pt x="87" y="368"/>
                    </a:lnTo>
                    <a:lnTo>
                      <a:pt x="86" y="368"/>
                    </a:lnTo>
                    <a:lnTo>
                      <a:pt x="85" y="368"/>
                    </a:lnTo>
                    <a:lnTo>
                      <a:pt x="85" y="367"/>
                    </a:lnTo>
                    <a:lnTo>
                      <a:pt x="86" y="367"/>
                    </a:lnTo>
                    <a:lnTo>
                      <a:pt x="87" y="367"/>
                    </a:lnTo>
                    <a:lnTo>
                      <a:pt x="88" y="366"/>
                    </a:lnTo>
                    <a:lnTo>
                      <a:pt x="87" y="365"/>
                    </a:lnTo>
                    <a:lnTo>
                      <a:pt x="86" y="365"/>
                    </a:lnTo>
                    <a:lnTo>
                      <a:pt x="84" y="364"/>
                    </a:lnTo>
                    <a:lnTo>
                      <a:pt x="83" y="364"/>
                    </a:lnTo>
                    <a:lnTo>
                      <a:pt x="81" y="363"/>
                    </a:lnTo>
                    <a:lnTo>
                      <a:pt x="80" y="363"/>
                    </a:lnTo>
                    <a:lnTo>
                      <a:pt x="79" y="363"/>
                    </a:lnTo>
                    <a:lnTo>
                      <a:pt x="78" y="363"/>
                    </a:lnTo>
                    <a:lnTo>
                      <a:pt x="77" y="363"/>
                    </a:lnTo>
                    <a:lnTo>
                      <a:pt x="77" y="362"/>
                    </a:lnTo>
                    <a:lnTo>
                      <a:pt x="76" y="361"/>
                    </a:lnTo>
                    <a:lnTo>
                      <a:pt x="75" y="361"/>
                    </a:lnTo>
                    <a:lnTo>
                      <a:pt x="75" y="362"/>
                    </a:lnTo>
                    <a:lnTo>
                      <a:pt x="74" y="363"/>
                    </a:lnTo>
                    <a:lnTo>
                      <a:pt x="73" y="363"/>
                    </a:lnTo>
                    <a:lnTo>
                      <a:pt x="72" y="363"/>
                    </a:lnTo>
                    <a:lnTo>
                      <a:pt x="71" y="362"/>
                    </a:lnTo>
                    <a:lnTo>
                      <a:pt x="70" y="362"/>
                    </a:lnTo>
                    <a:lnTo>
                      <a:pt x="68" y="362"/>
                    </a:lnTo>
                    <a:lnTo>
                      <a:pt x="67" y="362"/>
                    </a:lnTo>
                    <a:lnTo>
                      <a:pt x="67" y="363"/>
                    </a:lnTo>
                    <a:lnTo>
                      <a:pt x="66" y="363"/>
                    </a:lnTo>
                    <a:lnTo>
                      <a:pt x="64" y="363"/>
                    </a:lnTo>
                    <a:lnTo>
                      <a:pt x="63" y="364"/>
                    </a:lnTo>
                    <a:lnTo>
                      <a:pt x="63" y="363"/>
                    </a:lnTo>
                    <a:lnTo>
                      <a:pt x="62" y="363"/>
                    </a:lnTo>
                    <a:lnTo>
                      <a:pt x="61" y="363"/>
                    </a:lnTo>
                    <a:lnTo>
                      <a:pt x="61" y="362"/>
                    </a:lnTo>
                    <a:lnTo>
                      <a:pt x="60" y="362"/>
                    </a:lnTo>
                    <a:lnTo>
                      <a:pt x="59" y="361"/>
                    </a:lnTo>
                    <a:lnTo>
                      <a:pt x="58" y="360"/>
                    </a:lnTo>
                    <a:lnTo>
                      <a:pt x="58" y="359"/>
                    </a:lnTo>
                    <a:lnTo>
                      <a:pt x="58" y="358"/>
                    </a:lnTo>
                    <a:lnTo>
                      <a:pt x="58" y="357"/>
                    </a:lnTo>
                    <a:lnTo>
                      <a:pt x="57" y="357"/>
                    </a:lnTo>
                    <a:lnTo>
                      <a:pt x="55" y="357"/>
                    </a:lnTo>
                    <a:lnTo>
                      <a:pt x="55" y="358"/>
                    </a:lnTo>
                    <a:lnTo>
                      <a:pt x="55" y="359"/>
                    </a:lnTo>
                    <a:lnTo>
                      <a:pt x="54" y="359"/>
                    </a:lnTo>
                    <a:lnTo>
                      <a:pt x="53" y="359"/>
                    </a:lnTo>
                    <a:lnTo>
                      <a:pt x="52" y="358"/>
                    </a:lnTo>
                    <a:lnTo>
                      <a:pt x="51" y="358"/>
                    </a:lnTo>
                    <a:lnTo>
                      <a:pt x="51" y="357"/>
                    </a:lnTo>
                    <a:lnTo>
                      <a:pt x="50" y="357"/>
                    </a:lnTo>
                    <a:lnTo>
                      <a:pt x="50" y="358"/>
                    </a:lnTo>
                    <a:lnTo>
                      <a:pt x="49" y="358"/>
                    </a:lnTo>
                    <a:lnTo>
                      <a:pt x="48" y="359"/>
                    </a:lnTo>
                    <a:lnTo>
                      <a:pt x="47" y="360"/>
                    </a:lnTo>
                    <a:lnTo>
                      <a:pt x="46" y="361"/>
                    </a:lnTo>
                    <a:lnTo>
                      <a:pt x="45" y="361"/>
                    </a:lnTo>
                    <a:lnTo>
                      <a:pt x="44" y="361"/>
                    </a:lnTo>
                    <a:lnTo>
                      <a:pt x="42" y="360"/>
                    </a:lnTo>
                    <a:lnTo>
                      <a:pt x="41" y="360"/>
                    </a:lnTo>
                    <a:lnTo>
                      <a:pt x="40" y="361"/>
                    </a:lnTo>
                    <a:lnTo>
                      <a:pt x="38" y="362"/>
                    </a:lnTo>
                    <a:lnTo>
                      <a:pt x="37" y="363"/>
                    </a:lnTo>
                    <a:lnTo>
                      <a:pt x="35" y="363"/>
                    </a:lnTo>
                    <a:lnTo>
                      <a:pt x="34" y="363"/>
                    </a:lnTo>
                    <a:lnTo>
                      <a:pt x="33" y="362"/>
                    </a:lnTo>
                    <a:lnTo>
                      <a:pt x="33" y="361"/>
                    </a:lnTo>
                    <a:lnTo>
                      <a:pt x="34" y="360"/>
                    </a:lnTo>
                    <a:lnTo>
                      <a:pt x="34" y="359"/>
                    </a:lnTo>
                    <a:lnTo>
                      <a:pt x="35" y="359"/>
                    </a:lnTo>
                    <a:lnTo>
                      <a:pt x="35" y="358"/>
                    </a:lnTo>
                    <a:lnTo>
                      <a:pt x="36" y="357"/>
                    </a:lnTo>
                    <a:lnTo>
                      <a:pt x="36" y="355"/>
                    </a:lnTo>
                    <a:lnTo>
                      <a:pt x="36" y="354"/>
                    </a:lnTo>
                    <a:lnTo>
                      <a:pt x="36" y="353"/>
                    </a:lnTo>
                    <a:lnTo>
                      <a:pt x="36" y="352"/>
                    </a:lnTo>
                    <a:lnTo>
                      <a:pt x="35" y="352"/>
                    </a:lnTo>
                    <a:lnTo>
                      <a:pt x="35" y="351"/>
                    </a:lnTo>
                    <a:lnTo>
                      <a:pt x="35" y="350"/>
                    </a:lnTo>
                    <a:lnTo>
                      <a:pt x="34" y="349"/>
                    </a:lnTo>
                    <a:lnTo>
                      <a:pt x="34" y="348"/>
                    </a:lnTo>
                    <a:lnTo>
                      <a:pt x="34" y="347"/>
                    </a:lnTo>
                    <a:lnTo>
                      <a:pt x="33" y="347"/>
                    </a:lnTo>
                    <a:lnTo>
                      <a:pt x="32" y="346"/>
                    </a:lnTo>
                    <a:lnTo>
                      <a:pt x="32" y="345"/>
                    </a:lnTo>
                    <a:lnTo>
                      <a:pt x="32" y="343"/>
                    </a:lnTo>
                    <a:lnTo>
                      <a:pt x="33" y="343"/>
                    </a:lnTo>
                    <a:lnTo>
                      <a:pt x="33" y="342"/>
                    </a:lnTo>
                    <a:lnTo>
                      <a:pt x="34" y="342"/>
                    </a:lnTo>
                    <a:lnTo>
                      <a:pt x="35" y="342"/>
                    </a:lnTo>
                    <a:lnTo>
                      <a:pt x="36" y="342"/>
                    </a:lnTo>
                    <a:lnTo>
                      <a:pt x="36" y="341"/>
                    </a:lnTo>
                    <a:lnTo>
                      <a:pt x="37" y="341"/>
                    </a:lnTo>
                    <a:lnTo>
                      <a:pt x="38" y="340"/>
                    </a:lnTo>
                    <a:lnTo>
                      <a:pt x="38" y="339"/>
                    </a:lnTo>
                    <a:lnTo>
                      <a:pt x="38" y="338"/>
                    </a:lnTo>
                    <a:lnTo>
                      <a:pt x="38" y="337"/>
                    </a:lnTo>
                    <a:lnTo>
                      <a:pt x="38" y="336"/>
                    </a:lnTo>
                    <a:lnTo>
                      <a:pt x="37" y="336"/>
                    </a:lnTo>
                    <a:lnTo>
                      <a:pt x="37" y="335"/>
                    </a:lnTo>
                    <a:lnTo>
                      <a:pt x="36" y="335"/>
                    </a:lnTo>
                    <a:lnTo>
                      <a:pt x="35" y="335"/>
                    </a:lnTo>
                    <a:lnTo>
                      <a:pt x="35" y="336"/>
                    </a:lnTo>
                    <a:lnTo>
                      <a:pt x="34" y="336"/>
                    </a:lnTo>
                    <a:lnTo>
                      <a:pt x="32" y="337"/>
                    </a:lnTo>
                    <a:lnTo>
                      <a:pt x="32" y="338"/>
                    </a:lnTo>
                    <a:lnTo>
                      <a:pt x="29" y="339"/>
                    </a:lnTo>
                    <a:lnTo>
                      <a:pt x="28" y="340"/>
                    </a:lnTo>
                    <a:lnTo>
                      <a:pt x="27" y="340"/>
                    </a:lnTo>
                    <a:lnTo>
                      <a:pt x="25" y="342"/>
                    </a:lnTo>
                    <a:lnTo>
                      <a:pt x="23" y="343"/>
                    </a:lnTo>
                    <a:lnTo>
                      <a:pt x="22" y="345"/>
                    </a:lnTo>
                    <a:lnTo>
                      <a:pt x="22" y="346"/>
                    </a:lnTo>
                    <a:lnTo>
                      <a:pt x="19" y="346"/>
                    </a:lnTo>
                    <a:lnTo>
                      <a:pt x="18" y="346"/>
                    </a:lnTo>
                    <a:lnTo>
                      <a:pt x="18" y="345"/>
                    </a:lnTo>
                    <a:lnTo>
                      <a:pt x="16" y="345"/>
                    </a:lnTo>
                    <a:lnTo>
                      <a:pt x="16" y="343"/>
                    </a:lnTo>
                    <a:lnTo>
                      <a:pt x="15" y="343"/>
                    </a:lnTo>
                    <a:lnTo>
                      <a:pt x="15" y="341"/>
                    </a:lnTo>
                    <a:lnTo>
                      <a:pt x="16" y="340"/>
                    </a:lnTo>
                    <a:lnTo>
                      <a:pt x="16" y="339"/>
                    </a:lnTo>
                    <a:lnTo>
                      <a:pt x="16" y="338"/>
                    </a:lnTo>
                    <a:lnTo>
                      <a:pt x="18" y="337"/>
                    </a:lnTo>
                    <a:lnTo>
                      <a:pt x="20" y="336"/>
                    </a:lnTo>
                    <a:lnTo>
                      <a:pt x="21" y="336"/>
                    </a:lnTo>
                    <a:lnTo>
                      <a:pt x="22" y="335"/>
                    </a:lnTo>
                    <a:lnTo>
                      <a:pt x="23" y="335"/>
                    </a:lnTo>
                    <a:lnTo>
                      <a:pt x="24" y="334"/>
                    </a:lnTo>
                    <a:lnTo>
                      <a:pt x="26" y="330"/>
                    </a:lnTo>
                    <a:lnTo>
                      <a:pt x="27" y="330"/>
                    </a:lnTo>
                    <a:lnTo>
                      <a:pt x="28" y="329"/>
                    </a:lnTo>
                    <a:lnTo>
                      <a:pt x="29" y="329"/>
                    </a:lnTo>
                    <a:lnTo>
                      <a:pt x="34" y="328"/>
                    </a:lnTo>
                    <a:lnTo>
                      <a:pt x="35" y="327"/>
                    </a:lnTo>
                    <a:lnTo>
                      <a:pt x="35" y="326"/>
                    </a:lnTo>
                    <a:lnTo>
                      <a:pt x="35" y="325"/>
                    </a:lnTo>
                    <a:lnTo>
                      <a:pt x="35" y="324"/>
                    </a:lnTo>
                    <a:lnTo>
                      <a:pt x="34" y="323"/>
                    </a:lnTo>
                    <a:lnTo>
                      <a:pt x="34" y="322"/>
                    </a:lnTo>
                    <a:lnTo>
                      <a:pt x="33" y="321"/>
                    </a:lnTo>
                    <a:lnTo>
                      <a:pt x="32" y="321"/>
                    </a:lnTo>
                    <a:lnTo>
                      <a:pt x="31" y="322"/>
                    </a:lnTo>
                    <a:lnTo>
                      <a:pt x="31" y="323"/>
                    </a:lnTo>
                    <a:lnTo>
                      <a:pt x="31" y="324"/>
                    </a:lnTo>
                    <a:lnTo>
                      <a:pt x="29" y="325"/>
                    </a:lnTo>
                    <a:lnTo>
                      <a:pt x="29" y="326"/>
                    </a:lnTo>
                    <a:lnTo>
                      <a:pt x="28" y="327"/>
                    </a:lnTo>
                    <a:lnTo>
                      <a:pt x="27" y="328"/>
                    </a:lnTo>
                    <a:lnTo>
                      <a:pt x="26" y="329"/>
                    </a:lnTo>
                    <a:lnTo>
                      <a:pt x="24" y="329"/>
                    </a:lnTo>
                    <a:lnTo>
                      <a:pt x="23" y="330"/>
                    </a:lnTo>
                    <a:lnTo>
                      <a:pt x="22" y="330"/>
                    </a:lnTo>
                    <a:lnTo>
                      <a:pt x="22" y="329"/>
                    </a:lnTo>
                    <a:lnTo>
                      <a:pt x="21" y="329"/>
                    </a:lnTo>
                    <a:lnTo>
                      <a:pt x="21" y="328"/>
                    </a:lnTo>
                    <a:lnTo>
                      <a:pt x="21" y="327"/>
                    </a:lnTo>
                    <a:lnTo>
                      <a:pt x="22" y="327"/>
                    </a:lnTo>
                    <a:lnTo>
                      <a:pt x="22" y="326"/>
                    </a:lnTo>
                    <a:lnTo>
                      <a:pt x="24" y="326"/>
                    </a:lnTo>
                    <a:lnTo>
                      <a:pt x="24" y="325"/>
                    </a:lnTo>
                    <a:lnTo>
                      <a:pt x="25" y="325"/>
                    </a:lnTo>
                    <a:lnTo>
                      <a:pt x="26" y="324"/>
                    </a:lnTo>
                    <a:lnTo>
                      <a:pt x="26" y="323"/>
                    </a:lnTo>
                    <a:lnTo>
                      <a:pt x="27" y="322"/>
                    </a:lnTo>
                    <a:lnTo>
                      <a:pt x="27" y="321"/>
                    </a:lnTo>
                    <a:lnTo>
                      <a:pt x="27" y="320"/>
                    </a:lnTo>
                    <a:lnTo>
                      <a:pt x="26" y="320"/>
                    </a:lnTo>
                    <a:lnTo>
                      <a:pt x="26" y="319"/>
                    </a:lnTo>
                    <a:lnTo>
                      <a:pt x="25" y="319"/>
                    </a:lnTo>
                    <a:lnTo>
                      <a:pt x="24" y="317"/>
                    </a:lnTo>
                    <a:lnTo>
                      <a:pt x="23" y="317"/>
                    </a:lnTo>
                    <a:lnTo>
                      <a:pt x="22" y="317"/>
                    </a:lnTo>
                    <a:lnTo>
                      <a:pt x="21" y="317"/>
                    </a:lnTo>
                    <a:lnTo>
                      <a:pt x="20" y="317"/>
                    </a:lnTo>
                    <a:lnTo>
                      <a:pt x="19" y="317"/>
                    </a:lnTo>
                    <a:lnTo>
                      <a:pt x="18" y="316"/>
                    </a:lnTo>
                    <a:lnTo>
                      <a:pt x="16" y="316"/>
                    </a:lnTo>
                    <a:lnTo>
                      <a:pt x="16" y="315"/>
                    </a:lnTo>
                    <a:lnTo>
                      <a:pt x="18" y="315"/>
                    </a:lnTo>
                    <a:lnTo>
                      <a:pt x="18" y="314"/>
                    </a:lnTo>
                    <a:lnTo>
                      <a:pt x="19" y="314"/>
                    </a:lnTo>
                    <a:lnTo>
                      <a:pt x="20" y="314"/>
                    </a:lnTo>
                    <a:lnTo>
                      <a:pt x="21" y="314"/>
                    </a:lnTo>
                    <a:lnTo>
                      <a:pt x="22" y="314"/>
                    </a:lnTo>
                    <a:lnTo>
                      <a:pt x="22" y="313"/>
                    </a:lnTo>
                    <a:lnTo>
                      <a:pt x="22" y="312"/>
                    </a:lnTo>
                    <a:lnTo>
                      <a:pt x="23" y="312"/>
                    </a:lnTo>
                    <a:lnTo>
                      <a:pt x="23" y="311"/>
                    </a:lnTo>
                    <a:lnTo>
                      <a:pt x="23" y="309"/>
                    </a:lnTo>
                    <a:lnTo>
                      <a:pt x="23" y="308"/>
                    </a:lnTo>
                    <a:lnTo>
                      <a:pt x="23" y="307"/>
                    </a:lnTo>
                    <a:lnTo>
                      <a:pt x="23" y="306"/>
                    </a:lnTo>
                    <a:lnTo>
                      <a:pt x="23" y="304"/>
                    </a:lnTo>
                    <a:lnTo>
                      <a:pt x="24" y="304"/>
                    </a:lnTo>
                    <a:lnTo>
                      <a:pt x="27" y="302"/>
                    </a:lnTo>
                    <a:lnTo>
                      <a:pt x="29" y="302"/>
                    </a:lnTo>
                    <a:lnTo>
                      <a:pt x="29" y="301"/>
                    </a:lnTo>
                    <a:lnTo>
                      <a:pt x="31" y="301"/>
                    </a:lnTo>
                    <a:lnTo>
                      <a:pt x="29" y="300"/>
                    </a:lnTo>
                    <a:lnTo>
                      <a:pt x="28" y="300"/>
                    </a:lnTo>
                    <a:lnTo>
                      <a:pt x="27" y="300"/>
                    </a:lnTo>
                    <a:lnTo>
                      <a:pt x="26" y="300"/>
                    </a:lnTo>
                    <a:lnTo>
                      <a:pt x="25" y="301"/>
                    </a:lnTo>
                    <a:lnTo>
                      <a:pt x="23" y="301"/>
                    </a:lnTo>
                    <a:lnTo>
                      <a:pt x="22" y="300"/>
                    </a:lnTo>
                    <a:lnTo>
                      <a:pt x="21" y="299"/>
                    </a:lnTo>
                    <a:lnTo>
                      <a:pt x="21" y="298"/>
                    </a:lnTo>
                    <a:lnTo>
                      <a:pt x="21" y="297"/>
                    </a:lnTo>
                    <a:lnTo>
                      <a:pt x="22" y="296"/>
                    </a:lnTo>
                    <a:lnTo>
                      <a:pt x="23" y="295"/>
                    </a:lnTo>
                    <a:lnTo>
                      <a:pt x="24" y="294"/>
                    </a:lnTo>
                    <a:lnTo>
                      <a:pt x="25" y="293"/>
                    </a:lnTo>
                    <a:lnTo>
                      <a:pt x="26" y="293"/>
                    </a:lnTo>
                    <a:lnTo>
                      <a:pt x="26" y="291"/>
                    </a:lnTo>
                    <a:lnTo>
                      <a:pt x="26" y="290"/>
                    </a:lnTo>
                    <a:lnTo>
                      <a:pt x="26" y="289"/>
                    </a:lnTo>
                    <a:lnTo>
                      <a:pt x="26" y="287"/>
                    </a:lnTo>
                    <a:lnTo>
                      <a:pt x="26" y="286"/>
                    </a:lnTo>
                    <a:lnTo>
                      <a:pt x="26" y="284"/>
                    </a:lnTo>
                    <a:lnTo>
                      <a:pt x="25" y="283"/>
                    </a:lnTo>
                    <a:lnTo>
                      <a:pt x="23" y="283"/>
                    </a:lnTo>
                    <a:lnTo>
                      <a:pt x="22" y="283"/>
                    </a:lnTo>
                    <a:lnTo>
                      <a:pt x="21" y="283"/>
                    </a:lnTo>
                    <a:lnTo>
                      <a:pt x="1" y="283"/>
                    </a:lnTo>
                    <a:lnTo>
                      <a:pt x="0" y="283"/>
                    </a:lnTo>
                    <a:lnTo>
                      <a:pt x="0" y="282"/>
                    </a:lnTo>
                    <a:lnTo>
                      <a:pt x="1" y="281"/>
                    </a:lnTo>
                    <a:lnTo>
                      <a:pt x="2" y="280"/>
                    </a:lnTo>
                    <a:lnTo>
                      <a:pt x="5" y="277"/>
                    </a:lnTo>
                    <a:lnTo>
                      <a:pt x="6" y="276"/>
                    </a:lnTo>
                    <a:lnTo>
                      <a:pt x="7" y="274"/>
                    </a:lnTo>
                    <a:lnTo>
                      <a:pt x="7" y="272"/>
                    </a:lnTo>
                    <a:lnTo>
                      <a:pt x="8" y="271"/>
                    </a:lnTo>
                    <a:lnTo>
                      <a:pt x="9" y="269"/>
                    </a:lnTo>
                    <a:lnTo>
                      <a:pt x="9" y="268"/>
                    </a:lnTo>
                    <a:lnTo>
                      <a:pt x="10" y="265"/>
                    </a:lnTo>
                    <a:lnTo>
                      <a:pt x="10" y="263"/>
                    </a:lnTo>
                    <a:lnTo>
                      <a:pt x="10" y="262"/>
                    </a:lnTo>
                    <a:lnTo>
                      <a:pt x="11" y="260"/>
                    </a:lnTo>
                    <a:lnTo>
                      <a:pt x="11" y="257"/>
                    </a:lnTo>
                    <a:lnTo>
                      <a:pt x="12" y="252"/>
                    </a:lnTo>
                    <a:lnTo>
                      <a:pt x="11" y="252"/>
                    </a:lnTo>
                    <a:lnTo>
                      <a:pt x="10" y="252"/>
                    </a:lnTo>
                    <a:lnTo>
                      <a:pt x="10" y="251"/>
                    </a:lnTo>
                    <a:lnTo>
                      <a:pt x="10" y="250"/>
                    </a:lnTo>
                    <a:lnTo>
                      <a:pt x="10" y="249"/>
                    </a:lnTo>
                    <a:lnTo>
                      <a:pt x="11" y="249"/>
                    </a:lnTo>
                    <a:lnTo>
                      <a:pt x="11" y="248"/>
                    </a:lnTo>
                    <a:lnTo>
                      <a:pt x="12" y="248"/>
                    </a:lnTo>
                    <a:lnTo>
                      <a:pt x="13" y="248"/>
                    </a:lnTo>
                    <a:lnTo>
                      <a:pt x="14" y="246"/>
                    </a:lnTo>
                    <a:lnTo>
                      <a:pt x="14" y="244"/>
                    </a:lnTo>
                    <a:lnTo>
                      <a:pt x="14" y="243"/>
                    </a:lnTo>
                    <a:lnTo>
                      <a:pt x="15" y="240"/>
                    </a:lnTo>
                    <a:lnTo>
                      <a:pt x="15" y="238"/>
                    </a:lnTo>
                    <a:lnTo>
                      <a:pt x="15" y="237"/>
                    </a:lnTo>
                    <a:lnTo>
                      <a:pt x="14" y="235"/>
                    </a:lnTo>
                    <a:lnTo>
                      <a:pt x="14" y="234"/>
                    </a:lnTo>
                    <a:lnTo>
                      <a:pt x="14" y="233"/>
                    </a:lnTo>
                    <a:lnTo>
                      <a:pt x="14" y="232"/>
                    </a:lnTo>
                    <a:lnTo>
                      <a:pt x="14" y="231"/>
                    </a:lnTo>
                    <a:lnTo>
                      <a:pt x="15" y="230"/>
                    </a:lnTo>
                    <a:lnTo>
                      <a:pt x="15" y="229"/>
                    </a:lnTo>
                    <a:lnTo>
                      <a:pt x="16" y="229"/>
                    </a:lnTo>
                    <a:lnTo>
                      <a:pt x="18" y="227"/>
                    </a:lnTo>
                    <a:lnTo>
                      <a:pt x="18" y="226"/>
                    </a:lnTo>
                    <a:lnTo>
                      <a:pt x="18" y="224"/>
                    </a:lnTo>
                    <a:lnTo>
                      <a:pt x="16" y="223"/>
                    </a:lnTo>
                    <a:lnTo>
                      <a:pt x="16" y="222"/>
                    </a:lnTo>
                    <a:lnTo>
                      <a:pt x="15" y="221"/>
                    </a:lnTo>
                    <a:lnTo>
                      <a:pt x="14" y="221"/>
                    </a:lnTo>
                    <a:lnTo>
                      <a:pt x="14" y="220"/>
                    </a:lnTo>
                    <a:lnTo>
                      <a:pt x="15" y="219"/>
                    </a:lnTo>
                    <a:lnTo>
                      <a:pt x="16" y="219"/>
                    </a:lnTo>
                    <a:lnTo>
                      <a:pt x="16" y="218"/>
                    </a:lnTo>
                    <a:lnTo>
                      <a:pt x="16" y="214"/>
                    </a:lnTo>
                    <a:lnTo>
                      <a:pt x="18" y="214"/>
                    </a:lnTo>
                    <a:lnTo>
                      <a:pt x="18" y="213"/>
                    </a:lnTo>
                    <a:lnTo>
                      <a:pt x="19" y="212"/>
                    </a:lnTo>
                    <a:lnTo>
                      <a:pt x="19" y="211"/>
                    </a:lnTo>
                    <a:lnTo>
                      <a:pt x="19" y="209"/>
                    </a:lnTo>
                    <a:lnTo>
                      <a:pt x="19" y="208"/>
                    </a:lnTo>
                    <a:lnTo>
                      <a:pt x="21" y="205"/>
                    </a:lnTo>
                    <a:lnTo>
                      <a:pt x="22" y="203"/>
                    </a:lnTo>
                    <a:lnTo>
                      <a:pt x="23" y="201"/>
                    </a:lnTo>
                    <a:lnTo>
                      <a:pt x="23" y="200"/>
                    </a:lnTo>
                    <a:lnTo>
                      <a:pt x="23" y="199"/>
                    </a:lnTo>
                    <a:lnTo>
                      <a:pt x="24" y="199"/>
                    </a:lnTo>
                    <a:lnTo>
                      <a:pt x="24" y="198"/>
                    </a:lnTo>
                    <a:lnTo>
                      <a:pt x="24" y="197"/>
                    </a:lnTo>
                    <a:lnTo>
                      <a:pt x="25" y="196"/>
                    </a:lnTo>
                    <a:lnTo>
                      <a:pt x="25" y="195"/>
                    </a:lnTo>
                    <a:lnTo>
                      <a:pt x="25" y="194"/>
                    </a:lnTo>
                    <a:lnTo>
                      <a:pt x="25" y="193"/>
                    </a:lnTo>
                    <a:lnTo>
                      <a:pt x="25" y="192"/>
                    </a:lnTo>
                    <a:lnTo>
                      <a:pt x="26" y="192"/>
                    </a:lnTo>
                    <a:lnTo>
                      <a:pt x="27" y="192"/>
                    </a:lnTo>
                    <a:lnTo>
                      <a:pt x="27" y="191"/>
                    </a:lnTo>
                    <a:lnTo>
                      <a:pt x="28" y="190"/>
                    </a:lnTo>
                    <a:lnTo>
                      <a:pt x="29" y="190"/>
                    </a:lnTo>
                    <a:lnTo>
                      <a:pt x="29" y="188"/>
                    </a:lnTo>
                    <a:lnTo>
                      <a:pt x="31" y="185"/>
                    </a:lnTo>
                    <a:lnTo>
                      <a:pt x="32" y="183"/>
                    </a:lnTo>
                    <a:lnTo>
                      <a:pt x="33" y="182"/>
                    </a:lnTo>
                    <a:lnTo>
                      <a:pt x="34" y="182"/>
                    </a:lnTo>
                    <a:lnTo>
                      <a:pt x="35" y="181"/>
                    </a:lnTo>
                    <a:lnTo>
                      <a:pt x="35" y="182"/>
                    </a:lnTo>
                    <a:lnTo>
                      <a:pt x="36" y="182"/>
                    </a:lnTo>
                    <a:lnTo>
                      <a:pt x="36" y="181"/>
                    </a:lnTo>
                    <a:lnTo>
                      <a:pt x="37" y="181"/>
                    </a:lnTo>
                    <a:lnTo>
                      <a:pt x="38" y="180"/>
                    </a:lnTo>
                    <a:lnTo>
                      <a:pt x="37" y="180"/>
                    </a:lnTo>
                    <a:lnTo>
                      <a:pt x="38" y="180"/>
                    </a:lnTo>
                    <a:lnTo>
                      <a:pt x="38" y="179"/>
                    </a:lnTo>
                    <a:lnTo>
                      <a:pt x="39" y="179"/>
                    </a:lnTo>
                    <a:lnTo>
                      <a:pt x="39" y="178"/>
                    </a:lnTo>
                    <a:lnTo>
                      <a:pt x="38" y="178"/>
                    </a:lnTo>
                    <a:lnTo>
                      <a:pt x="38" y="176"/>
                    </a:lnTo>
                    <a:lnTo>
                      <a:pt x="39" y="174"/>
                    </a:lnTo>
                    <a:lnTo>
                      <a:pt x="40" y="175"/>
                    </a:lnTo>
                    <a:lnTo>
                      <a:pt x="41" y="175"/>
                    </a:lnTo>
                    <a:lnTo>
                      <a:pt x="41" y="174"/>
                    </a:lnTo>
                    <a:lnTo>
                      <a:pt x="42" y="173"/>
                    </a:lnTo>
                    <a:lnTo>
                      <a:pt x="42" y="172"/>
                    </a:lnTo>
                    <a:lnTo>
                      <a:pt x="44" y="171"/>
                    </a:lnTo>
                    <a:lnTo>
                      <a:pt x="44" y="170"/>
                    </a:lnTo>
                    <a:lnTo>
                      <a:pt x="44" y="169"/>
                    </a:lnTo>
                    <a:lnTo>
                      <a:pt x="45" y="168"/>
                    </a:lnTo>
                    <a:lnTo>
                      <a:pt x="46" y="167"/>
                    </a:lnTo>
                    <a:lnTo>
                      <a:pt x="48" y="165"/>
                    </a:lnTo>
                    <a:lnTo>
                      <a:pt x="49" y="163"/>
                    </a:lnTo>
                    <a:lnTo>
                      <a:pt x="50" y="163"/>
                    </a:lnTo>
                    <a:lnTo>
                      <a:pt x="51" y="163"/>
                    </a:lnTo>
                    <a:lnTo>
                      <a:pt x="51" y="162"/>
                    </a:lnTo>
                    <a:lnTo>
                      <a:pt x="51" y="161"/>
                    </a:lnTo>
                    <a:lnTo>
                      <a:pt x="52" y="161"/>
                    </a:lnTo>
                    <a:lnTo>
                      <a:pt x="52" y="160"/>
                    </a:lnTo>
                    <a:lnTo>
                      <a:pt x="52" y="159"/>
                    </a:lnTo>
                    <a:lnTo>
                      <a:pt x="53" y="159"/>
                    </a:lnTo>
                    <a:lnTo>
                      <a:pt x="53" y="158"/>
                    </a:lnTo>
                    <a:lnTo>
                      <a:pt x="54" y="158"/>
                    </a:lnTo>
                    <a:lnTo>
                      <a:pt x="55" y="158"/>
                    </a:lnTo>
                    <a:lnTo>
                      <a:pt x="55" y="157"/>
                    </a:lnTo>
                    <a:lnTo>
                      <a:pt x="55" y="156"/>
                    </a:lnTo>
                    <a:lnTo>
                      <a:pt x="57" y="155"/>
                    </a:lnTo>
                    <a:lnTo>
                      <a:pt x="58" y="154"/>
                    </a:lnTo>
                    <a:lnTo>
                      <a:pt x="58" y="153"/>
                    </a:lnTo>
                    <a:lnTo>
                      <a:pt x="57" y="152"/>
                    </a:lnTo>
                    <a:lnTo>
                      <a:pt x="55" y="152"/>
                    </a:lnTo>
                    <a:lnTo>
                      <a:pt x="55" y="150"/>
                    </a:lnTo>
                    <a:lnTo>
                      <a:pt x="54" y="149"/>
                    </a:lnTo>
                    <a:lnTo>
                      <a:pt x="55" y="147"/>
                    </a:lnTo>
                    <a:lnTo>
                      <a:pt x="57" y="146"/>
                    </a:lnTo>
                    <a:lnTo>
                      <a:pt x="57" y="145"/>
                    </a:lnTo>
                    <a:lnTo>
                      <a:pt x="58" y="145"/>
                    </a:lnTo>
                    <a:lnTo>
                      <a:pt x="58" y="144"/>
                    </a:lnTo>
                    <a:lnTo>
                      <a:pt x="58" y="143"/>
                    </a:lnTo>
                    <a:lnTo>
                      <a:pt x="59" y="142"/>
                    </a:lnTo>
                    <a:lnTo>
                      <a:pt x="58" y="142"/>
                    </a:lnTo>
                    <a:lnTo>
                      <a:pt x="58" y="141"/>
                    </a:lnTo>
                    <a:lnTo>
                      <a:pt x="58" y="140"/>
                    </a:lnTo>
                    <a:lnTo>
                      <a:pt x="59" y="139"/>
                    </a:lnTo>
                    <a:lnTo>
                      <a:pt x="59" y="137"/>
                    </a:lnTo>
                    <a:lnTo>
                      <a:pt x="60" y="136"/>
                    </a:lnTo>
                    <a:lnTo>
                      <a:pt x="60" y="135"/>
                    </a:lnTo>
                    <a:lnTo>
                      <a:pt x="61" y="135"/>
                    </a:lnTo>
                    <a:lnTo>
                      <a:pt x="61" y="134"/>
                    </a:lnTo>
                    <a:lnTo>
                      <a:pt x="62" y="133"/>
                    </a:lnTo>
                    <a:lnTo>
                      <a:pt x="62" y="132"/>
                    </a:lnTo>
                    <a:lnTo>
                      <a:pt x="61" y="132"/>
                    </a:lnTo>
                    <a:lnTo>
                      <a:pt x="61" y="131"/>
                    </a:lnTo>
                    <a:lnTo>
                      <a:pt x="62" y="129"/>
                    </a:lnTo>
                    <a:lnTo>
                      <a:pt x="62" y="128"/>
                    </a:lnTo>
                    <a:lnTo>
                      <a:pt x="62" y="127"/>
                    </a:lnTo>
                    <a:lnTo>
                      <a:pt x="63" y="127"/>
                    </a:lnTo>
                    <a:lnTo>
                      <a:pt x="63" y="126"/>
                    </a:lnTo>
                    <a:lnTo>
                      <a:pt x="64" y="126"/>
                    </a:lnTo>
                    <a:lnTo>
                      <a:pt x="65" y="126"/>
                    </a:lnTo>
                    <a:lnTo>
                      <a:pt x="66" y="126"/>
                    </a:lnTo>
                    <a:lnTo>
                      <a:pt x="66" y="124"/>
                    </a:lnTo>
                    <a:lnTo>
                      <a:pt x="67" y="124"/>
                    </a:lnTo>
                    <a:lnTo>
                      <a:pt x="68" y="124"/>
                    </a:lnTo>
                    <a:lnTo>
                      <a:pt x="68" y="123"/>
                    </a:lnTo>
                    <a:lnTo>
                      <a:pt x="70" y="123"/>
                    </a:lnTo>
                    <a:lnTo>
                      <a:pt x="71" y="122"/>
                    </a:lnTo>
                    <a:lnTo>
                      <a:pt x="72" y="122"/>
                    </a:lnTo>
                    <a:lnTo>
                      <a:pt x="72" y="121"/>
                    </a:lnTo>
                    <a:lnTo>
                      <a:pt x="75" y="117"/>
                    </a:lnTo>
                    <a:lnTo>
                      <a:pt x="76" y="117"/>
                    </a:lnTo>
                    <a:lnTo>
                      <a:pt x="77" y="117"/>
                    </a:lnTo>
                    <a:lnTo>
                      <a:pt x="77" y="116"/>
                    </a:lnTo>
                    <a:lnTo>
                      <a:pt x="78" y="116"/>
                    </a:lnTo>
                    <a:lnTo>
                      <a:pt x="79" y="115"/>
                    </a:lnTo>
                    <a:lnTo>
                      <a:pt x="80" y="115"/>
                    </a:lnTo>
                    <a:lnTo>
                      <a:pt x="80" y="114"/>
                    </a:lnTo>
                    <a:lnTo>
                      <a:pt x="80" y="113"/>
                    </a:lnTo>
                    <a:lnTo>
                      <a:pt x="81" y="113"/>
                    </a:lnTo>
                    <a:lnTo>
                      <a:pt x="81" y="111"/>
                    </a:lnTo>
                    <a:lnTo>
                      <a:pt x="83" y="111"/>
                    </a:lnTo>
                    <a:lnTo>
                      <a:pt x="83" y="110"/>
                    </a:lnTo>
                    <a:lnTo>
                      <a:pt x="83" y="109"/>
                    </a:lnTo>
                    <a:lnTo>
                      <a:pt x="83" y="108"/>
                    </a:lnTo>
                    <a:lnTo>
                      <a:pt x="83" y="107"/>
                    </a:lnTo>
                    <a:lnTo>
                      <a:pt x="83" y="106"/>
                    </a:lnTo>
                    <a:lnTo>
                      <a:pt x="83" y="105"/>
                    </a:lnTo>
                    <a:lnTo>
                      <a:pt x="84" y="104"/>
                    </a:lnTo>
                    <a:lnTo>
                      <a:pt x="84" y="103"/>
                    </a:lnTo>
                    <a:lnTo>
                      <a:pt x="84" y="102"/>
                    </a:lnTo>
                    <a:lnTo>
                      <a:pt x="84" y="101"/>
                    </a:lnTo>
                    <a:lnTo>
                      <a:pt x="83" y="101"/>
                    </a:lnTo>
                    <a:lnTo>
                      <a:pt x="83" y="100"/>
                    </a:lnTo>
                    <a:lnTo>
                      <a:pt x="84" y="98"/>
                    </a:lnTo>
                    <a:lnTo>
                      <a:pt x="84" y="97"/>
                    </a:lnTo>
                    <a:lnTo>
                      <a:pt x="84" y="95"/>
                    </a:lnTo>
                    <a:lnTo>
                      <a:pt x="85" y="94"/>
                    </a:lnTo>
                    <a:lnTo>
                      <a:pt x="85" y="93"/>
                    </a:lnTo>
                    <a:lnTo>
                      <a:pt x="86" y="93"/>
                    </a:lnTo>
                    <a:lnTo>
                      <a:pt x="87" y="93"/>
                    </a:lnTo>
                    <a:lnTo>
                      <a:pt x="87" y="92"/>
                    </a:lnTo>
                    <a:lnTo>
                      <a:pt x="88" y="92"/>
                    </a:lnTo>
                    <a:lnTo>
                      <a:pt x="88" y="91"/>
                    </a:lnTo>
                    <a:lnTo>
                      <a:pt x="89" y="90"/>
                    </a:lnTo>
                    <a:lnTo>
                      <a:pt x="90" y="90"/>
                    </a:lnTo>
                    <a:lnTo>
                      <a:pt x="90" y="89"/>
                    </a:lnTo>
                    <a:lnTo>
                      <a:pt x="92" y="90"/>
                    </a:lnTo>
                    <a:lnTo>
                      <a:pt x="92" y="91"/>
                    </a:lnTo>
                    <a:lnTo>
                      <a:pt x="93" y="91"/>
                    </a:lnTo>
                    <a:lnTo>
                      <a:pt x="95" y="91"/>
                    </a:lnTo>
                    <a:lnTo>
                      <a:pt x="95" y="92"/>
                    </a:lnTo>
                    <a:lnTo>
                      <a:pt x="95" y="93"/>
                    </a:lnTo>
                    <a:lnTo>
                      <a:pt x="96" y="93"/>
                    </a:lnTo>
                    <a:lnTo>
                      <a:pt x="97" y="94"/>
                    </a:lnTo>
                    <a:lnTo>
                      <a:pt x="97" y="95"/>
                    </a:lnTo>
                    <a:lnTo>
                      <a:pt x="97" y="96"/>
                    </a:lnTo>
                    <a:lnTo>
                      <a:pt x="97" y="97"/>
                    </a:lnTo>
                    <a:lnTo>
                      <a:pt x="98" y="97"/>
                    </a:lnTo>
                    <a:lnTo>
                      <a:pt x="98" y="98"/>
                    </a:lnTo>
                    <a:lnTo>
                      <a:pt x="99" y="98"/>
                    </a:lnTo>
                    <a:lnTo>
                      <a:pt x="99" y="100"/>
                    </a:lnTo>
                    <a:lnTo>
                      <a:pt x="100" y="101"/>
                    </a:lnTo>
                    <a:lnTo>
                      <a:pt x="101" y="102"/>
                    </a:lnTo>
                    <a:lnTo>
                      <a:pt x="101" y="103"/>
                    </a:lnTo>
                    <a:lnTo>
                      <a:pt x="102" y="103"/>
                    </a:lnTo>
                    <a:lnTo>
                      <a:pt x="103" y="103"/>
                    </a:lnTo>
                    <a:lnTo>
                      <a:pt x="103" y="104"/>
                    </a:lnTo>
                    <a:lnTo>
                      <a:pt x="103" y="105"/>
                    </a:lnTo>
                    <a:lnTo>
                      <a:pt x="104" y="105"/>
                    </a:lnTo>
                    <a:lnTo>
                      <a:pt x="105" y="105"/>
                    </a:lnTo>
                    <a:lnTo>
                      <a:pt x="106" y="105"/>
                    </a:lnTo>
                    <a:lnTo>
                      <a:pt x="106" y="106"/>
                    </a:lnTo>
                    <a:lnTo>
                      <a:pt x="108" y="106"/>
                    </a:lnTo>
                    <a:lnTo>
                      <a:pt x="109" y="107"/>
                    </a:lnTo>
                    <a:lnTo>
                      <a:pt x="111" y="108"/>
                    </a:lnTo>
                    <a:lnTo>
                      <a:pt x="112" y="108"/>
                    </a:lnTo>
                    <a:lnTo>
                      <a:pt x="113" y="108"/>
                    </a:lnTo>
                    <a:lnTo>
                      <a:pt x="114" y="108"/>
                    </a:lnTo>
                    <a:lnTo>
                      <a:pt x="115" y="108"/>
                    </a:lnTo>
                    <a:lnTo>
                      <a:pt x="116" y="108"/>
                    </a:lnTo>
                    <a:lnTo>
                      <a:pt x="117" y="108"/>
                    </a:lnTo>
                    <a:lnTo>
                      <a:pt x="117" y="107"/>
                    </a:lnTo>
                    <a:lnTo>
                      <a:pt x="118" y="108"/>
                    </a:lnTo>
                    <a:lnTo>
                      <a:pt x="119" y="107"/>
                    </a:lnTo>
                    <a:lnTo>
                      <a:pt x="121" y="107"/>
                    </a:lnTo>
                    <a:lnTo>
                      <a:pt x="121" y="106"/>
                    </a:lnTo>
                    <a:lnTo>
                      <a:pt x="119" y="106"/>
                    </a:lnTo>
                    <a:lnTo>
                      <a:pt x="119" y="105"/>
                    </a:lnTo>
                    <a:lnTo>
                      <a:pt x="121" y="104"/>
                    </a:lnTo>
                    <a:lnTo>
                      <a:pt x="121" y="103"/>
                    </a:lnTo>
                    <a:lnTo>
                      <a:pt x="121" y="102"/>
                    </a:lnTo>
                    <a:lnTo>
                      <a:pt x="122" y="102"/>
                    </a:lnTo>
                    <a:lnTo>
                      <a:pt x="122" y="101"/>
                    </a:lnTo>
                    <a:lnTo>
                      <a:pt x="121" y="101"/>
                    </a:lnTo>
                    <a:lnTo>
                      <a:pt x="121" y="100"/>
                    </a:lnTo>
                    <a:lnTo>
                      <a:pt x="121" y="98"/>
                    </a:lnTo>
                    <a:lnTo>
                      <a:pt x="121" y="97"/>
                    </a:lnTo>
                    <a:lnTo>
                      <a:pt x="119" y="97"/>
                    </a:lnTo>
                    <a:lnTo>
                      <a:pt x="121" y="96"/>
                    </a:lnTo>
                    <a:lnTo>
                      <a:pt x="119" y="96"/>
                    </a:lnTo>
                    <a:lnTo>
                      <a:pt x="119" y="95"/>
                    </a:lnTo>
                    <a:lnTo>
                      <a:pt x="119" y="94"/>
                    </a:lnTo>
                    <a:lnTo>
                      <a:pt x="119" y="93"/>
                    </a:lnTo>
                    <a:lnTo>
                      <a:pt x="121" y="92"/>
                    </a:lnTo>
                    <a:lnTo>
                      <a:pt x="121" y="91"/>
                    </a:lnTo>
                    <a:lnTo>
                      <a:pt x="121" y="90"/>
                    </a:lnTo>
                    <a:lnTo>
                      <a:pt x="122" y="89"/>
                    </a:lnTo>
                    <a:lnTo>
                      <a:pt x="122" y="88"/>
                    </a:lnTo>
                    <a:lnTo>
                      <a:pt x="123" y="88"/>
                    </a:lnTo>
                    <a:lnTo>
                      <a:pt x="124" y="88"/>
                    </a:lnTo>
                    <a:lnTo>
                      <a:pt x="124" y="86"/>
                    </a:lnTo>
                    <a:lnTo>
                      <a:pt x="125" y="85"/>
                    </a:lnTo>
                    <a:lnTo>
                      <a:pt x="125" y="84"/>
                    </a:lnTo>
                    <a:lnTo>
                      <a:pt x="126" y="83"/>
                    </a:lnTo>
                    <a:lnTo>
                      <a:pt x="127" y="83"/>
                    </a:lnTo>
                    <a:lnTo>
                      <a:pt x="127" y="82"/>
                    </a:lnTo>
                    <a:lnTo>
                      <a:pt x="128" y="82"/>
                    </a:lnTo>
                    <a:lnTo>
                      <a:pt x="129" y="82"/>
                    </a:lnTo>
                    <a:lnTo>
                      <a:pt x="130" y="82"/>
                    </a:lnTo>
                    <a:lnTo>
                      <a:pt x="131" y="82"/>
                    </a:lnTo>
                    <a:lnTo>
                      <a:pt x="132" y="82"/>
                    </a:lnTo>
                    <a:lnTo>
                      <a:pt x="134" y="81"/>
                    </a:lnTo>
                    <a:lnTo>
                      <a:pt x="134" y="80"/>
                    </a:lnTo>
                    <a:lnTo>
                      <a:pt x="135" y="80"/>
                    </a:lnTo>
                    <a:lnTo>
                      <a:pt x="135" y="79"/>
                    </a:lnTo>
                    <a:lnTo>
                      <a:pt x="135" y="78"/>
                    </a:lnTo>
                    <a:lnTo>
                      <a:pt x="135" y="77"/>
                    </a:lnTo>
                    <a:lnTo>
                      <a:pt x="135" y="76"/>
                    </a:lnTo>
                    <a:lnTo>
                      <a:pt x="135" y="75"/>
                    </a:lnTo>
                    <a:lnTo>
                      <a:pt x="134" y="75"/>
                    </a:lnTo>
                    <a:lnTo>
                      <a:pt x="134" y="73"/>
                    </a:lnTo>
                    <a:lnTo>
                      <a:pt x="134" y="72"/>
                    </a:lnTo>
                    <a:lnTo>
                      <a:pt x="135" y="72"/>
                    </a:lnTo>
                    <a:lnTo>
                      <a:pt x="136" y="71"/>
                    </a:lnTo>
                    <a:lnTo>
                      <a:pt x="137" y="71"/>
                    </a:lnTo>
                    <a:lnTo>
                      <a:pt x="137" y="70"/>
                    </a:lnTo>
                    <a:lnTo>
                      <a:pt x="141" y="69"/>
                    </a:lnTo>
                    <a:lnTo>
                      <a:pt x="142" y="69"/>
                    </a:lnTo>
                    <a:lnTo>
                      <a:pt x="142" y="70"/>
                    </a:lnTo>
                    <a:lnTo>
                      <a:pt x="143" y="70"/>
                    </a:lnTo>
                    <a:lnTo>
                      <a:pt x="144" y="70"/>
                    </a:lnTo>
                    <a:lnTo>
                      <a:pt x="145" y="69"/>
                    </a:lnTo>
                    <a:lnTo>
                      <a:pt x="145" y="70"/>
                    </a:lnTo>
                    <a:lnTo>
                      <a:pt x="145" y="71"/>
                    </a:lnTo>
                    <a:lnTo>
                      <a:pt x="145" y="72"/>
                    </a:lnTo>
                    <a:lnTo>
                      <a:pt x="147" y="73"/>
                    </a:lnTo>
                    <a:lnTo>
                      <a:pt x="148" y="73"/>
                    </a:lnTo>
                    <a:lnTo>
                      <a:pt x="148" y="75"/>
                    </a:lnTo>
                    <a:lnTo>
                      <a:pt x="149" y="75"/>
                    </a:lnTo>
                    <a:lnTo>
                      <a:pt x="149" y="73"/>
                    </a:lnTo>
                    <a:lnTo>
                      <a:pt x="150" y="73"/>
                    </a:lnTo>
                    <a:lnTo>
                      <a:pt x="151" y="73"/>
                    </a:lnTo>
                    <a:lnTo>
                      <a:pt x="152" y="73"/>
                    </a:lnTo>
                    <a:lnTo>
                      <a:pt x="152" y="75"/>
                    </a:lnTo>
                    <a:lnTo>
                      <a:pt x="153" y="75"/>
                    </a:lnTo>
                    <a:lnTo>
                      <a:pt x="153" y="76"/>
                    </a:lnTo>
                    <a:lnTo>
                      <a:pt x="153" y="77"/>
                    </a:lnTo>
                    <a:lnTo>
                      <a:pt x="153" y="78"/>
                    </a:lnTo>
                    <a:lnTo>
                      <a:pt x="154" y="78"/>
                    </a:lnTo>
                    <a:lnTo>
                      <a:pt x="155" y="78"/>
                    </a:lnTo>
                    <a:lnTo>
                      <a:pt x="156" y="78"/>
                    </a:lnTo>
                    <a:lnTo>
                      <a:pt x="156" y="77"/>
                    </a:lnTo>
                    <a:lnTo>
                      <a:pt x="157" y="77"/>
                    </a:lnTo>
                    <a:lnTo>
                      <a:pt x="157" y="76"/>
                    </a:lnTo>
                    <a:lnTo>
                      <a:pt x="158" y="76"/>
                    </a:lnTo>
                    <a:lnTo>
                      <a:pt x="158" y="77"/>
                    </a:lnTo>
                    <a:lnTo>
                      <a:pt x="160" y="77"/>
                    </a:lnTo>
                    <a:lnTo>
                      <a:pt x="160" y="78"/>
                    </a:lnTo>
                    <a:lnTo>
                      <a:pt x="160" y="79"/>
                    </a:lnTo>
                    <a:lnTo>
                      <a:pt x="161" y="79"/>
                    </a:lnTo>
                    <a:lnTo>
                      <a:pt x="161" y="80"/>
                    </a:lnTo>
                    <a:lnTo>
                      <a:pt x="162" y="81"/>
                    </a:lnTo>
                    <a:lnTo>
                      <a:pt x="163" y="81"/>
                    </a:lnTo>
                    <a:lnTo>
                      <a:pt x="164" y="81"/>
                    </a:lnTo>
                    <a:lnTo>
                      <a:pt x="165" y="81"/>
                    </a:lnTo>
                    <a:lnTo>
                      <a:pt x="166" y="80"/>
                    </a:lnTo>
                    <a:lnTo>
                      <a:pt x="167" y="79"/>
                    </a:lnTo>
                    <a:lnTo>
                      <a:pt x="168" y="79"/>
                    </a:lnTo>
                    <a:lnTo>
                      <a:pt x="168" y="78"/>
                    </a:lnTo>
                    <a:lnTo>
                      <a:pt x="169" y="78"/>
                    </a:lnTo>
                    <a:lnTo>
                      <a:pt x="170" y="78"/>
                    </a:lnTo>
                    <a:lnTo>
                      <a:pt x="170" y="77"/>
                    </a:lnTo>
                    <a:lnTo>
                      <a:pt x="171" y="77"/>
                    </a:lnTo>
                    <a:lnTo>
                      <a:pt x="173" y="77"/>
                    </a:lnTo>
                    <a:lnTo>
                      <a:pt x="173" y="78"/>
                    </a:lnTo>
                    <a:lnTo>
                      <a:pt x="171" y="78"/>
                    </a:lnTo>
                    <a:lnTo>
                      <a:pt x="171" y="79"/>
                    </a:lnTo>
                    <a:lnTo>
                      <a:pt x="173" y="79"/>
                    </a:lnTo>
                    <a:lnTo>
                      <a:pt x="174" y="79"/>
                    </a:lnTo>
                    <a:lnTo>
                      <a:pt x="175" y="79"/>
                    </a:lnTo>
                    <a:lnTo>
                      <a:pt x="176" y="79"/>
                    </a:lnTo>
                    <a:lnTo>
                      <a:pt x="177" y="79"/>
                    </a:lnTo>
                    <a:lnTo>
                      <a:pt x="178" y="78"/>
                    </a:lnTo>
                    <a:lnTo>
                      <a:pt x="179" y="78"/>
                    </a:lnTo>
                    <a:lnTo>
                      <a:pt x="180" y="78"/>
                    </a:lnTo>
                    <a:lnTo>
                      <a:pt x="181" y="77"/>
                    </a:lnTo>
                    <a:lnTo>
                      <a:pt x="181" y="76"/>
                    </a:lnTo>
                    <a:lnTo>
                      <a:pt x="182" y="72"/>
                    </a:lnTo>
                    <a:lnTo>
                      <a:pt x="182" y="71"/>
                    </a:lnTo>
                    <a:lnTo>
                      <a:pt x="183" y="70"/>
                    </a:lnTo>
                    <a:lnTo>
                      <a:pt x="183" y="69"/>
                    </a:lnTo>
                    <a:lnTo>
                      <a:pt x="183" y="66"/>
                    </a:lnTo>
                    <a:lnTo>
                      <a:pt x="182" y="65"/>
                    </a:lnTo>
                    <a:lnTo>
                      <a:pt x="181" y="65"/>
                    </a:lnTo>
                    <a:lnTo>
                      <a:pt x="181" y="64"/>
                    </a:lnTo>
                    <a:lnTo>
                      <a:pt x="182" y="64"/>
                    </a:lnTo>
                    <a:lnTo>
                      <a:pt x="182" y="63"/>
                    </a:lnTo>
                    <a:lnTo>
                      <a:pt x="183" y="60"/>
                    </a:lnTo>
                    <a:lnTo>
                      <a:pt x="183" y="59"/>
                    </a:lnTo>
                    <a:lnTo>
                      <a:pt x="183" y="58"/>
                    </a:lnTo>
                    <a:lnTo>
                      <a:pt x="183" y="57"/>
                    </a:lnTo>
                    <a:lnTo>
                      <a:pt x="184" y="56"/>
                    </a:lnTo>
                    <a:lnTo>
                      <a:pt x="187" y="55"/>
                    </a:lnTo>
                    <a:lnTo>
                      <a:pt x="187" y="54"/>
                    </a:lnTo>
                    <a:lnTo>
                      <a:pt x="188" y="53"/>
                    </a:lnTo>
                    <a:lnTo>
                      <a:pt x="188" y="52"/>
                    </a:lnTo>
                    <a:lnTo>
                      <a:pt x="188" y="51"/>
                    </a:lnTo>
                    <a:lnTo>
                      <a:pt x="190" y="49"/>
                    </a:lnTo>
                    <a:lnTo>
                      <a:pt x="191" y="47"/>
                    </a:lnTo>
                    <a:lnTo>
                      <a:pt x="191" y="46"/>
                    </a:lnTo>
                    <a:lnTo>
                      <a:pt x="192" y="45"/>
                    </a:lnTo>
                    <a:lnTo>
                      <a:pt x="193" y="44"/>
                    </a:lnTo>
                    <a:lnTo>
                      <a:pt x="194" y="43"/>
                    </a:lnTo>
                    <a:lnTo>
                      <a:pt x="196" y="42"/>
                    </a:lnTo>
                    <a:lnTo>
                      <a:pt x="196" y="41"/>
                    </a:lnTo>
                    <a:lnTo>
                      <a:pt x="199" y="40"/>
                    </a:lnTo>
                    <a:lnTo>
                      <a:pt x="200" y="40"/>
                    </a:lnTo>
                    <a:lnTo>
                      <a:pt x="201" y="39"/>
                    </a:lnTo>
                    <a:lnTo>
                      <a:pt x="202" y="39"/>
                    </a:lnTo>
                    <a:lnTo>
                      <a:pt x="203" y="39"/>
                    </a:lnTo>
                    <a:lnTo>
                      <a:pt x="204" y="40"/>
                    </a:lnTo>
                    <a:lnTo>
                      <a:pt x="206" y="40"/>
                    </a:lnTo>
                    <a:lnTo>
                      <a:pt x="206" y="41"/>
                    </a:lnTo>
                    <a:lnTo>
                      <a:pt x="206" y="42"/>
                    </a:lnTo>
                    <a:lnTo>
                      <a:pt x="207" y="42"/>
                    </a:lnTo>
                    <a:lnTo>
                      <a:pt x="208" y="42"/>
                    </a:lnTo>
                    <a:lnTo>
                      <a:pt x="210" y="42"/>
                    </a:lnTo>
                    <a:lnTo>
                      <a:pt x="212" y="42"/>
                    </a:lnTo>
                    <a:lnTo>
                      <a:pt x="213" y="41"/>
                    </a:lnTo>
                    <a:lnTo>
                      <a:pt x="213" y="40"/>
                    </a:lnTo>
                    <a:lnTo>
                      <a:pt x="213" y="39"/>
                    </a:lnTo>
                    <a:lnTo>
                      <a:pt x="213" y="38"/>
                    </a:lnTo>
                    <a:lnTo>
                      <a:pt x="214" y="38"/>
                    </a:lnTo>
                    <a:lnTo>
                      <a:pt x="214" y="37"/>
                    </a:lnTo>
                    <a:lnTo>
                      <a:pt x="215" y="38"/>
                    </a:lnTo>
                    <a:lnTo>
                      <a:pt x="216" y="38"/>
                    </a:lnTo>
                    <a:lnTo>
                      <a:pt x="217" y="38"/>
                    </a:lnTo>
                    <a:lnTo>
                      <a:pt x="218" y="39"/>
                    </a:lnTo>
                    <a:lnTo>
                      <a:pt x="219" y="39"/>
                    </a:lnTo>
                    <a:lnTo>
                      <a:pt x="220" y="39"/>
                    </a:lnTo>
                    <a:lnTo>
                      <a:pt x="221" y="40"/>
                    </a:lnTo>
                    <a:lnTo>
                      <a:pt x="222" y="40"/>
                    </a:lnTo>
                    <a:lnTo>
                      <a:pt x="224" y="38"/>
                    </a:lnTo>
                    <a:lnTo>
                      <a:pt x="225" y="38"/>
                    </a:lnTo>
                    <a:lnTo>
                      <a:pt x="226" y="36"/>
                    </a:lnTo>
                    <a:lnTo>
                      <a:pt x="228" y="34"/>
                    </a:lnTo>
                    <a:lnTo>
                      <a:pt x="229" y="33"/>
                    </a:lnTo>
                    <a:lnTo>
                      <a:pt x="229" y="32"/>
                    </a:lnTo>
                    <a:lnTo>
                      <a:pt x="230" y="30"/>
                    </a:lnTo>
                    <a:lnTo>
                      <a:pt x="230" y="29"/>
                    </a:lnTo>
                    <a:lnTo>
                      <a:pt x="231" y="28"/>
                    </a:lnTo>
                    <a:lnTo>
                      <a:pt x="232" y="27"/>
                    </a:lnTo>
                    <a:lnTo>
                      <a:pt x="232" y="26"/>
                    </a:lnTo>
                    <a:lnTo>
                      <a:pt x="233" y="25"/>
                    </a:lnTo>
                    <a:lnTo>
                      <a:pt x="234" y="25"/>
                    </a:lnTo>
                    <a:lnTo>
                      <a:pt x="233" y="24"/>
                    </a:lnTo>
                    <a:lnTo>
                      <a:pt x="233" y="23"/>
                    </a:lnTo>
                    <a:lnTo>
                      <a:pt x="233" y="21"/>
                    </a:lnTo>
                    <a:lnTo>
                      <a:pt x="234" y="20"/>
                    </a:lnTo>
                    <a:lnTo>
                      <a:pt x="235" y="20"/>
                    </a:lnTo>
                    <a:lnTo>
                      <a:pt x="237" y="20"/>
                    </a:lnTo>
                    <a:lnTo>
                      <a:pt x="238" y="19"/>
                    </a:lnTo>
                    <a:lnTo>
                      <a:pt x="239" y="17"/>
                    </a:lnTo>
                    <a:lnTo>
                      <a:pt x="239" y="16"/>
                    </a:lnTo>
                    <a:lnTo>
                      <a:pt x="240" y="14"/>
                    </a:lnTo>
                    <a:lnTo>
                      <a:pt x="240" y="12"/>
                    </a:lnTo>
                    <a:lnTo>
                      <a:pt x="241" y="11"/>
                    </a:lnTo>
                    <a:lnTo>
                      <a:pt x="241" y="10"/>
                    </a:lnTo>
                    <a:lnTo>
                      <a:pt x="242" y="7"/>
                    </a:lnTo>
                    <a:lnTo>
                      <a:pt x="242" y="6"/>
                    </a:lnTo>
                    <a:lnTo>
                      <a:pt x="244" y="6"/>
                    </a:lnTo>
                    <a:lnTo>
                      <a:pt x="244" y="5"/>
                    </a:lnTo>
                    <a:lnTo>
                      <a:pt x="242" y="4"/>
                    </a:lnTo>
                    <a:lnTo>
                      <a:pt x="243" y="3"/>
                    </a:lnTo>
                    <a:lnTo>
                      <a:pt x="244" y="3"/>
                    </a:lnTo>
                    <a:lnTo>
                      <a:pt x="244" y="2"/>
                    </a:lnTo>
                    <a:lnTo>
                      <a:pt x="244" y="1"/>
                    </a:lnTo>
                    <a:lnTo>
                      <a:pt x="243" y="0"/>
                    </a:lnTo>
                    <a:lnTo>
                      <a:pt x="244" y="0"/>
                    </a:lnTo>
                    <a:lnTo>
                      <a:pt x="256" y="0"/>
                    </a:lnTo>
                    <a:lnTo>
                      <a:pt x="267" y="0"/>
                    </a:lnTo>
                    <a:lnTo>
                      <a:pt x="268" y="0"/>
                    </a:lnTo>
                    <a:lnTo>
                      <a:pt x="268" y="6"/>
                    </a:lnTo>
                    <a:lnTo>
                      <a:pt x="268" y="12"/>
                    </a:lnTo>
                    <a:lnTo>
                      <a:pt x="268" y="14"/>
                    </a:lnTo>
                    <a:lnTo>
                      <a:pt x="268" y="18"/>
                    </a:lnTo>
                    <a:lnTo>
                      <a:pt x="268" y="25"/>
                    </a:lnTo>
                    <a:lnTo>
                      <a:pt x="268" y="34"/>
                    </a:lnTo>
                    <a:lnTo>
                      <a:pt x="269" y="39"/>
                    </a:lnTo>
                    <a:lnTo>
                      <a:pt x="269" y="53"/>
                    </a:lnTo>
                    <a:lnTo>
                      <a:pt x="269" y="62"/>
                    </a:lnTo>
                    <a:lnTo>
                      <a:pt x="270" y="62"/>
                    </a:lnTo>
                    <a:lnTo>
                      <a:pt x="276" y="62"/>
                    </a:lnTo>
                    <a:lnTo>
                      <a:pt x="277" y="62"/>
                    </a:lnTo>
                    <a:lnTo>
                      <a:pt x="280" y="62"/>
                    </a:lnTo>
                    <a:lnTo>
                      <a:pt x="285" y="62"/>
                    </a:lnTo>
                    <a:lnTo>
                      <a:pt x="289" y="62"/>
                    </a:lnTo>
                    <a:lnTo>
                      <a:pt x="292" y="62"/>
                    </a:lnTo>
                    <a:lnTo>
                      <a:pt x="293" y="62"/>
                    </a:lnTo>
                    <a:lnTo>
                      <a:pt x="294" y="62"/>
                    </a:lnTo>
                    <a:lnTo>
                      <a:pt x="295" y="60"/>
                    </a:lnTo>
                    <a:lnTo>
                      <a:pt x="296" y="62"/>
                    </a:lnTo>
                    <a:lnTo>
                      <a:pt x="299" y="62"/>
                    </a:lnTo>
                    <a:lnTo>
                      <a:pt x="300" y="62"/>
                    </a:lnTo>
                    <a:lnTo>
                      <a:pt x="306" y="62"/>
                    </a:lnTo>
                    <a:lnTo>
                      <a:pt x="307" y="62"/>
                    </a:lnTo>
                    <a:lnTo>
                      <a:pt x="308" y="62"/>
                    </a:lnTo>
                    <a:lnTo>
                      <a:pt x="310" y="62"/>
                    </a:lnTo>
                    <a:lnTo>
                      <a:pt x="313" y="62"/>
                    </a:lnTo>
                    <a:lnTo>
                      <a:pt x="318" y="62"/>
                    </a:lnTo>
                    <a:lnTo>
                      <a:pt x="320" y="62"/>
                    </a:lnTo>
                    <a:lnTo>
                      <a:pt x="328" y="62"/>
                    </a:lnTo>
                    <a:lnTo>
                      <a:pt x="348" y="62"/>
                    </a:lnTo>
                    <a:lnTo>
                      <a:pt x="361" y="62"/>
                    </a:lnTo>
                    <a:close/>
                  </a:path>
                </a:pathLst>
              </a:custGeom>
              <a:solidFill>
                <a:srgbClr val="1559A7"/>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0" name="Freeform 328">
                <a:extLst>
                  <a:ext uri="{FF2B5EF4-FFF2-40B4-BE49-F238E27FC236}">
                    <a16:creationId xmlns:a16="http://schemas.microsoft.com/office/drawing/2014/main" id="{E2E1DF3E-0D62-C5E3-7CE9-31A3FA5858DA}"/>
                  </a:ext>
                </a:extLst>
              </p:cNvPr>
              <p:cNvSpPr>
                <a:spLocks/>
              </p:cNvSpPr>
              <p:nvPr/>
            </p:nvSpPr>
            <p:spPr bwMode="auto">
              <a:xfrm>
                <a:off x="3659188" y="1146175"/>
                <a:ext cx="441325" cy="539750"/>
              </a:xfrm>
              <a:custGeom>
                <a:avLst/>
                <a:gdLst>
                  <a:gd name="T0" fmla="*/ 198 w 278"/>
                  <a:gd name="T1" fmla="*/ 339 h 340"/>
                  <a:gd name="T2" fmla="*/ 0 w 278"/>
                  <a:gd name="T3" fmla="*/ 339 h 340"/>
                  <a:gd name="T4" fmla="*/ 12 w 278"/>
                  <a:gd name="T5" fmla="*/ 332 h 340"/>
                  <a:gd name="T6" fmla="*/ 12 w 278"/>
                  <a:gd name="T7" fmla="*/ 316 h 340"/>
                  <a:gd name="T8" fmla="*/ 9 w 278"/>
                  <a:gd name="T9" fmla="*/ 304 h 340"/>
                  <a:gd name="T10" fmla="*/ 22 w 278"/>
                  <a:gd name="T11" fmla="*/ 293 h 340"/>
                  <a:gd name="T12" fmla="*/ 35 w 278"/>
                  <a:gd name="T13" fmla="*/ 288 h 340"/>
                  <a:gd name="T14" fmla="*/ 31 w 278"/>
                  <a:gd name="T15" fmla="*/ 275 h 340"/>
                  <a:gd name="T16" fmla="*/ 35 w 278"/>
                  <a:gd name="T17" fmla="*/ 265 h 340"/>
                  <a:gd name="T18" fmla="*/ 36 w 278"/>
                  <a:gd name="T19" fmla="*/ 256 h 340"/>
                  <a:gd name="T20" fmla="*/ 35 w 278"/>
                  <a:gd name="T21" fmla="*/ 248 h 340"/>
                  <a:gd name="T22" fmla="*/ 33 w 278"/>
                  <a:gd name="T23" fmla="*/ 235 h 340"/>
                  <a:gd name="T24" fmla="*/ 40 w 278"/>
                  <a:gd name="T25" fmla="*/ 226 h 340"/>
                  <a:gd name="T26" fmla="*/ 48 w 278"/>
                  <a:gd name="T27" fmla="*/ 229 h 340"/>
                  <a:gd name="T28" fmla="*/ 49 w 278"/>
                  <a:gd name="T29" fmla="*/ 219 h 340"/>
                  <a:gd name="T30" fmla="*/ 52 w 278"/>
                  <a:gd name="T31" fmla="*/ 208 h 340"/>
                  <a:gd name="T32" fmla="*/ 66 w 278"/>
                  <a:gd name="T33" fmla="*/ 188 h 340"/>
                  <a:gd name="T34" fmla="*/ 69 w 278"/>
                  <a:gd name="T35" fmla="*/ 173 h 340"/>
                  <a:gd name="T36" fmla="*/ 70 w 278"/>
                  <a:gd name="T37" fmla="*/ 154 h 340"/>
                  <a:gd name="T38" fmla="*/ 71 w 278"/>
                  <a:gd name="T39" fmla="*/ 136 h 340"/>
                  <a:gd name="T40" fmla="*/ 67 w 278"/>
                  <a:gd name="T41" fmla="*/ 128 h 340"/>
                  <a:gd name="T42" fmla="*/ 72 w 278"/>
                  <a:gd name="T43" fmla="*/ 108 h 340"/>
                  <a:gd name="T44" fmla="*/ 77 w 278"/>
                  <a:gd name="T45" fmla="*/ 100 h 340"/>
                  <a:gd name="T46" fmla="*/ 83 w 278"/>
                  <a:gd name="T47" fmla="*/ 100 h 340"/>
                  <a:gd name="T48" fmla="*/ 90 w 278"/>
                  <a:gd name="T49" fmla="*/ 91 h 340"/>
                  <a:gd name="T50" fmla="*/ 88 w 278"/>
                  <a:gd name="T51" fmla="*/ 80 h 340"/>
                  <a:gd name="T52" fmla="*/ 91 w 278"/>
                  <a:gd name="T53" fmla="*/ 62 h 340"/>
                  <a:gd name="T54" fmla="*/ 93 w 278"/>
                  <a:gd name="T55" fmla="*/ 53 h 340"/>
                  <a:gd name="T56" fmla="*/ 98 w 278"/>
                  <a:gd name="T57" fmla="*/ 40 h 340"/>
                  <a:gd name="T58" fmla="*/ 108 w 278"/>
                  <a:gd name="T59" fmla="*/ 39 h 340"/>
                  <a:gd name="T60" fmla="*/ 110 w 278"/>
                  <a:gd name="T61" fmla="*/ 23 h 340"/>
                  <a:gd name="T62" fmla="*/ 114 w 278"/>
                  <a:gd name="T63" fmla="*/ 17 h 340"/>
                  <a:gd name="T64" fmla="*/ 119 w 278"/>
                  <a:gd name="T65" fmla="*/ 5 h 340"/>
                  <a:gd name="T66" fmla="*/ 176 w 278"/>
                  <a:gd name="T67" fmla="*/ 7 h 340"/>
                  <a:gd name="T68" fmla="*/ 157 w 278"/>
                  <a:gd name="T69" fmla="*/ 31 h 340"/>
                  <a:gd name="T70" fmla="*/ 151 w 278"/>
                  <a:gd name="T71" fmla="*/ 45 h 340"/>
                  <a:gd name="T72" fmla="*/ 156 w 278"/>
                  <a:gd name="T73" fmla="*/ 68 h 340"/>
                  <a:gd name="T74" fmla="*/ 182 w 278"/>
                  <a:gd name="T75" fmla="*/ 75 h 340"/>
                  <a:gd name="T76" fmla="*/ 199 w 278"/>
                  <a:gd name="T77" fmla="*/ 55 h 340"/>
                  <a:gd name="T78" fmla="*/ 196 w 278"/>
                  <a:gd name="T79" fmla="*/ 35 h 340"/>
                  <a:gd name="T80" fmla="*/ 195 w 278"/>
                  <a:gd name="T81" fmla="*/ 25 h 340"/>
                  <a:gd name="T82" fmla="*/ 207 w 278"/>
                  <a:gd name="T83" fmla="*/ 13 h 340"/>
                  <a:gd name="T84" fmla="*/ 232 w 278"/>
                  <a:gd name="T85" fmla="*/ 38 h 340"/>
                  <a:gd name="T86" fmla="*/ 240 w 278"/>
                  <a:gd name="T87" fmla="*/ 58 h 340"/>
                  <a:gd name="T88" fmla="*/ 237 w 278"/>
                  <a:gd name="T89" fmla="*/ 84 h 340"/>
                  <a:gd name="T90" fmla="*/ 209 w 278"/>
                  <a:gd name="T91" fmla="*/ 108 h 340"/>
                  <a:gd name="T92" fmla="*/ 191 w 278"/>
                  <a:gd name="T93" fmla="*/ 116 h 340"/>
                  <a:gd name="T94" fmla="*/ 182 w 278"/>
                  <a:gd name="T95" fmla="*/ 136 h 340"/>
                  <a:gd name="T96" fmla="*/ 184 w 278"/>
                  <a:gd name="T97" fmla="*/ 163 h 340"/>
                  <a:gd name="T98" fmla="*/ 183 w 278"/>
                  <a:gd name="T99" fmla="*/ 189 h 340"/>
                  <a:gd name="T100" fmla="*/ 219 w 278"/>
                  <a:gd name="T101" fmla="*/ 194 h 340"/>
                  <a:gd name="T102" fmla="*/ 233 w 278"/>
                  <a:gd name="T103" fmla="*/ 226 h 340"/>
                  <a:gd name="T104" fmla="*/ 199 w 278"/>
                  <a:gd name="T105" fmla="*/ 252 h 340"/>
                  <a:gd name="T106" fmla="*/ 186 w 278"/>
                  <a:gd name="T107" fmla="*/ 265 h 340"/>
                  <a:gd name="T108" fmla="*/ 189 w 278"/>
                  <a:gd name="T109" fmla="*/ 290 h 340"/>
                  <a:gd name="T110" fmla="*/ 208 w 278"/>
                  <a:gd name="T111" fmla="*/ 304 h 340"/>
                  <a:gd name="T112" fmla="*/ 228 w 278"/>
                  <a:gd name="T113" fmla="*/ 296 h 340"/>
                  <a:gd name="T114" fmla="*/ 259 w 278"/>
                  <a:gd name="T115" fmla="*/ 265 h 340"/>
                  <a:gd name="T116" fmla="*/ 276 w 278"/>
                  <a:gd name="T117" fmla="*/ 272 h 340"/>
                  <a:gd name="T118" fmla="*/ 269 w 278"/>
                  <a:gd name="T119" fmla="*/ 29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340">
                    <a:moveTo>
                      <a:pt x="253" y="312"/>
                    </a:moveTo>
                    <a:lnTo>
                      <a:pt x="252" y="312"/>
                    </a:lnTo>
                    <a:lnTo>
                      <a:pt x="250" y="313"/>
                    </a:lnTo>
                    <a:lnTo>
                      <a:pt x="247" y="315"/>
                    </a:lnTo>
                    <a:lnTo>
                      <a:pt x="243" y="317"/>
                    </a:lnTo>
                    <a:lnTo>
                      <a:pt x="241" y="318"/>
                    </a:lnTo>
                    <a:lnTo>
                      <a:pt x="239" y="319"/>
                    </a:lnTo>
                    <a:lnTo>
                      <a:pt x="237" y="322"/>
                    </a:lnTo>
                    <a:lnTo>
                      <a:pt x="220" y="322"/>
                    </a:lnTo>
                    <a:lnTo>
                      <a:pt x="213" y="322"/>
                    </a:lnTo>
                    <a:lnTo>
                      <a:pt x="213" y="326"/>
                    </a:lnTo>
                    <a:lnTo>
                      <a:pt x="212" y="327"/>
                    </a:lnTo>
                    <a:lnTo>
                      <a:pt x="203" y="332"/>
                    </a:lnTo>
                    <a:lnTo>
                      <a:pt x="200" y="334"/>
                    </a:lnTo>
                    <a:lnTo>
                      <a:pt x="198" y="339"/>
                    </a:lnTo>
                    <a:lnTo>
                      <a:pt x="188" y="339"/>
                    </a:lnTo>
                    <a:lnTo>
                      <a:pt x="181" y="339"/>
                    </a:lnTo>
                    <a:lnTo>
                      <a:pt x="175" y="339"/>
                    </a:lnTo>
                    <a:lnTo>
                      <a:pt x="149" y="340"/>
                    </a:lnTo>
                    <a:lnTo>
                      <a:pt x="126" y="340"/>
                    </a:lnTo>
                    <a:lnTo>
                      <a:pt x="92" y="339"/>
                    </a:lnTo>
                    <a:lnTo>
                      <a:pt x="72" y="339"/>
                    </a:lnTo>
                    <a:lnTo>
                      <a:pt x="55" y="339"/>
                    </a:lnTo>
                    <a:lnTo>
                      <a:pt x="54" y="339"/>
                    </a:lnTo>
                    <a:lnTo>
                      <a:pt x="48" y="339"/>
                    </a:lnTo>
                    <a:lnTo>
                      <a:pt x="41" y="339"/>
                    </a:lnTo>
                    <a:lnTo>
                      <a:pt x="38" y="339"/>
                    </a:lnTo>
                    <a:lnTo>
                      <a:pt x="36" y="339"/>
                    </a:lnTo>
                    <a:lnTo>
                      <a:pt x="19" y="339"/>
                    </a:lnTo>
                    <a:lnTo>
                      <a:pt x="0" y="339"/>
                    </a:lnTo>
                    <a:lnTo>
                      <a:pt x="1" y="338"/>
                    </a:lnTo>
                    <a:lnTo>
                      <a:pt x="1" y="337"/>
                    </a:lnTo>
                    <a:lnTo>
                      <a:pt x="2" y="337"/>
                    </a:lnTo>
                    <a:lnTo>
                      <a:pt x="3" y="337"/>
                    </a:lnTo>
                    <a:lnTo>
                      <a:pt x="4" y="338"/>
                    </a:lnTo>
                    <a:lnTo>
                      <a:pt x="4" y="337"/>
                    </a:lnTo>
                    <a:lnTo>
                      <a:pt x="5" y="337"/>
                    </a:lnTo>
                    <a:lnTo>
                      <a:pt x="6" y="336"/>
                    </a:lnTo>
                    <a:lnTo>
                      <a:pt x="7" y="336"/>
                    </a:lnTo>
                    <a:lnTo>
                      <a:pt x="8" y="336"/>
                    </a:lnTo>
                    <a:lnTo>
                      <a:pt x="9" y="336"/>
                    </a:lnTo>
                    <a:lnTo>
                      <a:pt x="10" y="336"/>
                    </a:lnTo>
                    <a:lnTo>
                      <a:pt x="10" y="335"/>
                    </a:lnTo>
                    <a:lnTo>
                      <a:pt x="12" y="334"/>
                    </a:lnTo>
                    <a:lnTo>
                      <a:pt x="12" y="332"/>
                    </a:lnTo>
                    <a:lnTo>
                      <a:pt x="10" y="331"/>
                    </a:lnTo>
                    <a:lnTo>
                      <a:pt x="9" y="330"/>
                    </a:lnTo>
                    <a:lnTo>
                      <a:pt x="9" y="329"/>
                    </a:lnTo>
                    <a:lnTo>
                      <a:pt x="9" y="328"/>
                    </a:lnTo>
                    <a:lnTo>
                      <a:pt x="13" y="326"/>
                    </a:lnTo>
                    <a:lnTo>
                      <a:pt x="14" y="325"/>
                    </a:lnTo>
                    <a:lnTo>
                      <a:pt x="15" y="325"/>
                    </a:lnTo>
                    <a:lnTo>
                      <a:pt x="15" y="324"/>
                    </a:lnTo>
                    <a:lnTo>
                      <a:pt x="16" y="324"/>
                    </a:lnTo>
                    <a:lnTo>
                      <a:pt x="16" y="323"/>
                    </a:lnTo>
                    <a:lnTo>
                      <a:pt x="16" y="322"/>
                    </a:lnTo>
                    <a:lnTo>
                      <a:pt x="15" y="321"/>
                    </a:lnTo>
                    <a:lnTo>
                      <a:pt x="13" y="318"/>
                    </a:lnTo>
                    <a:lnTo>
                      <a:pt x="13" y="317"/>
                    </a:lnTo>
                    <a:lnTo>
                      <a:pt x="12" y="316"/>
                    </a:lnTo>
                    <a:lnTo>
                      <a:pt x="12" y="315"/>
                    </a:lnTo>
                    <a:lnTo>
                      <a:pt x="12" y="314"/>
                    </a:lnTo>
                    <a:lnTo>
                      <a:pt x="10" y="314"/>
                    </a:lnTo>
                    <a:lnTo>
                      <a:pt x="10" y="313"/>
                    </a:lnTo>
                    <a:lnTo>
                      <a:pt x="9" y="312"/>
                    </a:lnTo>
                    <a:lnTo>
                      <a:pt x="8" y="312"/>
                    </a:lnTo>
                    <a:lnTo>
                      <a:pt x="8" y="311"/>
                    </a:lnTo>
                    <a:lnTo>
                      <a:pt x="7" y="310"/>
                    </a:lnTo>
                    <a:lnTo>
                      <a:pt x="7" y="309"/>
                    </a:lnTo>
                    <a:lnTo>
                      <a:pt x="7" y="308"/>
                    </a:lnTo>
                    <a:lnTo>
                      <a:pt x="7" y="306"/>
                    </a:lnTo>
                    <a:lnTo>
                      <a:pt x="7" y="305"/>
                    </a:lnTo>
                    <a:lnTo>
                      <a:pt x="8" y="305"/>
                    </a:lnTo>
                    <a:lnTo>
                      <a:pt x="8" y="304"/>
                    </a:lnTo>
                    <a:lnTo>
                      <a:pt x="9" y="304"/>
                    </a:lnTo>
                    <a:lnTo>
                      <a:pt x="9" y="303"/>
                    </a:lnTo>
                    <a:lnTo>
                      <a:pt x="10" y="302"/>
                    </a:lnTo>
                    <a:lnTo>
                      <a:pt x="13" y="301"/>
                    </a:lnTo>
                    <a:lnTo>
                      <a:pt x="14" y="300"/>
                    </a:lnTo>
                    <a:lnTo>
                      <a:pt x="15" y="300"/>
                    </a:lnTo>
                    <a:lnTo>
                      <a:pt x="15" y="299"/>
                    </a:lnTo>
                    <a:lnTo>
                      <a:pt x="16" y="298"/>
                    </a:lnTo>
                    <a:lnTo>
                      <a:pt x="16" y="297"/>
                    </a:lnTo>
                    <a:lnTo>
                      <a:pt x="17" y="296"/>
                    </a:lnTo>
                    <a:lnTo>
                      <a:pt x="18" y="296"/>
                    </a:lnTo>
                    <a:lnTo>
                      <a:pt x="18" y="295"/>
                    </a:lnTo>
                    <a:lnTo>
                      <a:pt x="19" y="295"/>
                    </a:lnTo>
                    <a:lnTo>
                      <a:pt x="19" y="293"/>
                    </a:lnTo>
                    <a:lnTo>
                      <a:pt x="20" y="293"/>
                    </a:lnTo>
                    <a:lnTo>
                      <a:pt x="22" y="293"/>
                    </a:lnTo>
                    <a:lnTo>
                      <a:pt x="22" y="295"/>
                    </a:lnTo>
                    <a:lnTo>
                      <a:pt x="23" y="295"/>
                    </a:lnTo>
                    <a:lnTo>
                      <a:pt x="23" y="293"/>
                    </a:lnTo>
                    <a:lnTo>
                      <a:pt x="25" y="292"/>
                    </a:lnTo>
                    <a:lnTo>
                      <a:pt x="26" y="291"/>
                    </a:lnTo>
                    <a:lnTo>
                      <a:pt x="28" y="291"/>
                    </a:lnTo>
                    <a:lnTo>
                      <a:pt x="29" y="291"/>
                    </a:lnTo>
                    <a:lnTo>
                      <a:pt x="30" y="291"/>
                    </a:lnTo>
                    <a:lnTo>
                      <a:pt x="31" y="291"/>
                    </a:lnTo>
                    <a:lnTo>
                      <a:pt x="32" y="290"/>
                    </a:lnTo>
                    <a:lnTo>
                      <a:pt x="33" y="290"/>
                    </a:lnTo>
                    <a:lnTo>
                      <a:pt x="34" y="290"/>
                    </a:lnTo>
                    <a:lnTo>
                      <a:pt x="34" y="289"/>
                    </a:lnTo>
                    <a:lnTo>
                      <a:pt x="35" y="289"/>
                    </a:lnTo>
                    <a:lnTo>
                      <a:pt x="35" y="288"/>
                    </a:lnTo>
                    <a:lnTo>
                      <a:pt x="36" y="288"/>
                    </a:lnTo>
                    <a:lnTo>
                      <a:pt x="36" y="287"/>
                    </a:lnTo>
                    <a:lnTo>
                      <a:pt x="38" y="286"/>
                    </a:lnTo>
                    <a:lnTo>
                      <a:pt x="38" y="285"/>
                    </a:lnTo>
                    <a:lnTo>
                      <a:pt x="38" y="284"/>
                    </a:lnTo>
                    <a:lnTo>
                      <a:pt x="36" y="284"/>
                    </a:lnTo>
                    <a:lnTo>
                      <a:pt x="34" y="284"/>
                    </a:lnTo>
                    <a:lnTo>
                      <a:pt x="33" y="283"/>
                    </a:lnTo>
                    <a:lnTo>
                      <a:pt x="32" y="283"/>
                    </a:lnTo>
                    <a:lnTo>
                      <a:pt x="32" y="282"/>
                    </a:lnTo>
                    <a:lnTo>
                      <a:pt x="32" y="280"/>
                    </a:lnTo>
                    <a:lnTo>
                      <a:pt x="31" y="279"/>
                    </a:lnTo>
                    <a:lnTo>
                      <a:pt x="31" y="278"/>
                    </a:lnTo>
                    <a:lnTo>
                      <a:pt x="31" y="276"/>
                    </a:lnTo>
                    <a:lnTo>
                      <a:pt x="31" y="275"/>
                    </a:lnTo>
                    <a:lnTo>
                      <a:pt x="32" y="275"/>
                    </a:lnTo>
                    <a:lnTo>
                      <a:pt x="32" y="274"/>
                    </a:lnTo>
                    <a:lnTo>
                      <a:pt x="33" y="274"/>
                    </a:lnTo>
                    <a:lnTo>
                      <a:pt x="33" y="273"/>
                    </a:lnTo>
                    <a:lnTo>
                      <a:pt x="34" y="273"/>
                    </a:lnTo>
                    <a:lnTo>
                      <a:pt x="34" y="272"/>
                    </a:lnTo>
                    <a:lnTo>
                      <a:pt x="34" y="271"/>
                    </a:lnTo>
                    <a:lnTo>
                      <a:pt x="34" y="270"/>
                    </a:lnTo>
                    <a:lnTo>
                      <a:pt x="34" y="269"/>
                    </a:lnTo>
                    <a:lnTo>
                      <a:pt x="33" y="269"/>
                    </a:lnTo>
                    <a:lnTo>
                      <a:pt x="33" y="267"/>
                    </a:lnTo>
                    <a:lnTo>
                      <a:pt x="33" y="265"/>
                    </a:lnTo>
                    <a:lnTo>
                      <a:pt x="33" y="264"/>
                    </a:lnTo>
                    <a:lnTo>
                      <a:pt x="34" y="264"/>
                    </a:lnTo>
                    <a:lnTo>
                      <a:pt x="35" y="265"/>
                    </a:lnTo>
                    <a:lnTo>
                      <a:pt x="36" y="265"/>
                    </a:lnTo>
                    <a:lnTo>
                      <a:pt x="38" y="264"/>
                    </a:lnTo>
                    <a:lnTo>
                      <a:pt x="38" y="263"/>
                    </a:lnTo>
                    <a:lnTo>
                      <a:pt x="36" y="263"/>
                    </a:lnTo>
                    <a:lnTo>
                      <a:pt x="36" y="262"/>
                    </a:lnTo>
                    <a:lnTo>
                      <a:pt x="38" y="262"/>
                    </a:lnTo>
                    <a:lnTo>
                      <a:pt x="39" y="262"/>
                    </a:lnTo>
                    <a:lnTo>
                      <a:pt x="39" y="261"/>
                    </a:lnTo>
                    <a:lnTo>
                      <a:pt x="38" y="261"/>
                    </a:lnTo>
                    <a:lnTo>
                      <a:pt x="36" y="260"/>
                    </a:lnTo>
                    <a:lnTo>
                      <a:pt x="35" y="259"/>
                    </a:lnTo>
                    <a:lnTo>
                      <a:pt x="35" y="258"/>
                    </a:lnTo>
                    <a:lnTo>
                      <a:pt x="36" y="258"/>
                    </a:lnTo>
                    <a:lnTo>
                      <a:pt x="36" y="257"/>
                    </a:lnTo>
                    <a:lnTo>
                      <a:pt x="36" y="256"/>
                    </a:lnTo>
                    <a:lnTo>
                      <a:pt x="38" y="256"/>
                    </a:lnTo>
                    <a:lnTo>
                      <a:pt x="38" y="254"/>
                    </a:lnTo>
                    <a:lnTo>
                      <a:pt x="38" y="253"/>
                    </a:lnTo>
                    <a:lnTo>
                      <a:pt x="39" y="253"/>
                    </a:lnTo>
                    <a:lnTo>
                      <a:pt x="38" y="252"/>
                    </a:lnTo>
                    <a:lnTo>
                      <a:pt x="36" y="252"/>
                    </a:lnTo>
                    <a:lnTo>
                      <a:pt x="36" y="253"/>
                    </a:lnTo>
                    <a:lnTo>
                      <a:pt x="35" y="253"/>
                    </a:lnTo>
                    <a:lnTo>
                      <a:pt x="34" y="252"/>
                    </a:lnTo>
                    <a:lnTo>
                      <a:pt x="34" y="251"/>
                    </a:lnTo>
                    <a:lnTo>
                      <a:pt x="35" y="250"/>
                    </a:lnTo>
                    <a:lnTo>
                      <a:pt x="35" y="249"/>
                    </a:lnTo>
                    <a:lnTo>
                      <a:pt x="36" y="249"/>
                    </a:lnTo>
                    <a:lnTo>
                      <a:pt x="35" y="249"/>
                    </a:lnTo>
                    <a:lnTo>
                      <a:pt x="35" y="248"/>
                    </a:lnTo>
                    <a:lnTo>
                      <a:pt x="35" y="247"/>
                    </a:lnTo>
                    <a:lnTo>
                      <a:pt x="34" y="247"/>
                    </a:lnTo>
                    <a:lnTo>
                      <a:pt x="34" y="246"/>
                    </a:lnTo>
                    <a:lnTo>
                      <a:pt x="34" y="245"/>
                    </a:lnTo>
                    <a:lnTo>
                      <a:pt x="34" y="244"/>
                    </a:lnTo>
                    <a:lnTo>
                      <a:pt x="34" y="241"/>
                    </a:lnTo>
                    <a:lnTo>
                      <a:pt x="34" y="240"/>
                    </a:lnTo>
                    <a:lnTo>
                      <a:pt x="34" y="239"/>
                    </a:lnTo>
                    <a:lnTo>
                      <a:pt x="34" y="238"/>
                    </a:lnTo>
                    <a:lnTo>
                      <a:pt x="33" y="238"/>
                    </a:lnTo>
                    <a:lnTo>
                      <a:pt x="33" y="237"/>
                    </a:lnTo>
                    <a:lnTo>
                      <a:pt x="33" y="236"/>
                    </a:lnTo>
                    <a:lnTo>
                      <a:pt x="32" y="236"/>
                    </a:lnTo>
                    <a:lnTo>
                      <a:pt x="32" y="235"/>
                    </a:lnTo>
                    <a:lnTo>
                      <a:pt x="33" y="235"/>
                    </a:lnTo>
                    <a:lnTo>
                      <a:pt x="34" y="234"/>
                    </a:lnTo>
                    <a:lnTo>
                      <a:pt x="35" y="234"/>
                    </a:lnTo>
                    <a:lnTo>
                      <a:pt x="36" y="234"/>
                    </a:lnTo>
                    <a:lnTo>
                      <a:pt x="36" y="233"/>
                    </a:lnTo>
                    <a:lnTo>
                      <a:pt x="35" y="232"/>
                    </a:lnTo>
                    <a:lnTo>
                      <a:pt x="35" y="231"/>
                    </a:lnTo>
                    <a:lnTo>
                      <a:pt x="36" y="229"/>
                    </a:lnTo>
                    <a:lnTo>
                      <a:pt x="35" y="228"/>
                    </a:lnTo>
                    <a:lnTo>
                      <a:pt x="35" y="227"/>
                    </a:lnTo>
                    <a:lnTo>
                      <a:pt x="35" y="226"/>
                    </a:lnTo>
                    <a:lnTo>
                      <a:pt x="36" y="226"/>
                    </a:lnTo>
                    <a:lnTo>
                      <a:pt x="38" y="226"/>
                    </a:lnTo>
                    <a:lnTo>
                      <a:pt x="39" y="226"/>
                    </a:lnTo>
                    <a:lnTo>
                      <a:pt x="39" y="227"/>
                    </a:lnTo>
                    <a:lnTo>
                      <a:pt x="40" y="226"/>
                    </a:lnTo>
                    <a:lnTo>
                      <a:pt x="41" y="226"/>
                    </a:lnTo>
                    <a:lnTo>
                      <a:pt x="41" y="227"/>
                    </a:lnTo>
                    <a:lnTo>
                      <a:pt x="42" y="227"/>
                    </a:lnTo>
                    <a:lnTo>
                      <a:pt x="43" y="227"/>
                    </a:lnTo>
                    <a:lnTo>
                      <a:pt x="44" y="228"/>
                    </a:lnTo>
                    <a:lnTo>
                      <a:pt x="45" y="228"/>
                    </a:lnTo>
                    <a:lnTo>
                      <a:pt x="46" y="228"/>
                    </a:lnTo>
                    <a:lnTo>
                      <a:pt x="46" y="227"/>
                    </a:lnTo>
                    <a:lnTo>
                      <a:pt x="46" y="226"/>
                    </a:lnTo>
                    <a:lnTo>
                      <a:pt x="47" y="226"/>
                    </a:lnTo>
                    <a:lnTo>
                      <a:pt x="48" y="226"/>
                    </a:lnTo>
                    <a:lnTo>
                      <a:pt x="48" y="227"/>
                    </a:lnTo>
                    <a:lnTo>
                      <a:pt x="47" y="228"/>
                    </a:lnTo>
                    <a:lnTo>
                      <a:pt x="47" y="229"/>
                    </a:lnTo>
                    <a:lnTo>
                      <a:pt x="48" y="229"/>
                    </a:lnTo>
                    <a:lnTo>
                      <a:pt x="49" y="229"/>
                    </a:lnTo>
                    <a:lnTo>
                      <a:pt x="51" y="229"/>
                    </a:lnTo>
                    <a:lnTo>
                      <a:pt x="51" y="228"/>
                    </a:lnTo>
                    <a:lnTo>
                      <a:pt x="51" y="227"/>
                    </a:lnTo>
                    <a:lnTo>
                      <a:pt x="49" y="226"/>
                    </a:lnTo>
                    <a:lnTo>
                      <a:pt x="49" y="225"/>
                    </a:lnTo>
                    <a:lnTo>
                      <a:pt x="51" y="225"/>
                    </a:lnTo>
                    <a:lnTo>
                      <a:pt x="52" y="224"/>
                    </a:lnTo>
                    <a:lnTo>
                      <a:pt x="51" y="224"/>
                    </a:lnTo>
                    <a:lnTo>
                      <a:pt x="51" y="223"/>
                    </a:lnTo>
                    <a:lnTo>
                      <a:pt x="48" y="222"/>
                    </a:lnTo>
                    <a:lnTo>
                      <a:pt x="48" y="221"/>
                    </a:lnTo>
                    <a:lnTo>
                      <a:pt x="49" y="221"/>
                    </a:lnTo>
                    <a:lnTo>
                      <a:pt x="49" y="220"/>
                    </a:lnTo>
                    <a:lnTo>
                      <a:pt x="49" y="219"/>
                    </a:lnTo>
                    <a:lnTo>
                      <a:pt x="48" y="219"/>
                    </a:lnTo>
                    <a:lnTo>
                      <a:pt x="48" y="218"/>
                    </a:lnTo>
                    <a:lnTo>
                      <a:pt x="48" y="216"/>
                    </a:lnTo>
                    <a:lnTo>
                      <a:pt x="49" y="215"/>
                    </a:lnTo>
                    <a:lnTo>
                      <a:pt x="51" y="214"/>
                    </a:lnTo>
                    <a:lnTo>
                      <a:pt x="51" y="213"/>
                    </a:lnTo>
                    <a:lnTo>
                      <a:pt x="51" y="212"/>
                    </a:lnTo>
                    <a:lnTo>
                      <a:pt x="51" y="211"/>
                    </a:lnTo>
                    <a:lnTo>
                      <a:pt x="52" y="211"/>
                    </a:lnTo>
                    <a:lnTo>
                      <a:pt x="52" y="210"/>
                    </a:lnTo>
                    <a:lnTo>
                      <a:pt x="53" y="210"/>
                    </a:lnTo>
                    <a:lnTo>
                      <a:pt x="52" y="210"/>
                    </a:lnTo>
                    <a:lnTo>
                      <a:pt x="51" y="209"/>
                    </a:lnTo>
                    <a:lnTo>
                      <a:pt x="51" y="208"/>
                    </a:lnTo>
                    <a:lnTo>
                      <a:pt x="52" y="208"/>
                    </a:lnTo>
                    <a:lnTo>
                      <a:pt x="52" y="207"/>
                    </a:lnTo>
                    <a:lnTo>
                      <a:pt x="53" y="207"/>
                    </a:lnTo>
                    <a:lnTo>
                      <a:pt x="54" y="206"/>
                    </a:lnTo>
                    <a:lnTo>
                      <a:pt x="55" y="203"/>
                    </a:lnTo>
                    <a:lnTo>
                      <a:pt x="55" y="202"/>
                    </a:lnTo>
                    <a:lnTo>
                      <a:pt x="56" y="201"/>
                    </a:lnTo>
                    <a:lnTo>
                      <a:pt x="57" y="200"/>
                    </a:lnTo>
                    <a:lnTo>
                      <a:pt x="58" y="199"/>
                    </a:lnTo>
                    <a:lnTo>
                      <a:pt x="58" y="198"/>
                    </a:lnTo>
                    <a:lnTo>
                      <a:pt x="60" y="194"/>
                    </a:lnTo>
                    <a:lnTo>
                      <a:pt x="61" y="192"/>
                    </a:lnTo>
                    <a:lnTo>
                      <a:pt x="62" y="192"/>
                    </a:lnTo>
                    <a:lnTo>
                      <a:pt x="62" y="190"/>
                    </a:lnTo>
                    <a:lnTo>
                      <a:pt x="65" y="189"/>
                    </a:lnTo>
                    <a:lnTo>
                      <a:pt x="66" y="188"/>
                    </a:lnTo>
                    <a:lnTo>
                      <a:pt x="67" y="187"/>
                    </a:lnTo>
                    <a:lnTo>
                      <a:pt x="68" y="187"/>
                    </a:lnTo>
                    <a:lnTo>
                      <a:pt x="69" y="186"/>
                    </a:lnTo>
                    <a:lnTo>
                      <a:pt x="70" y="185"/>
                    </a:lnTo>
                    <a:lnTo>
                      <a:pt x="70" y="184"/>
                    </a:lnTo>
                    <a:lnTo>
                      <a:pt x="69" y="184"/>
                    </a:lnTo>
                    <a:lnTo>
                      <a:pt x="69" y="183"/>
                    </a:lnTo>
                    <a:lnTo>
                      <a:pt x="69" y="182"/>
                    </a:lnTo>
                    <a:lnTo>
                      <a:pt x="69" y="181"/>
                    </a:lnTo>
                    <a:lnTo>
                      <a:pt x="69" y="177"/>
                    </a:lnTo>
                    <a:lnTo>
                      <a:pt x="69" y="176"/>
                    </a:lnTo>
                    <a:lnTo>
                      <a:pt x="70" y="175"/>
                    </a:lnTo>
                    <a:lnTo>
                      <a:pt x="70" y="174"/>
                    </a:lnTo>
                    <a:lnTo>
                      <a:pt x="69" y="174"/>
                    </a:lnTo>
                    <a:lnTo>
                      <a:pt x="69" y="173"/>
                    </a:lnTo>
                    <a:lnTo>
                      <a:pt x="70" y="172"/>
                    </a:lnTo>
                    <a:lnTo>
                      <a:pt x="71" y="172"/>
                    </a:lnTo>
                    <a:lnTo>
                      <a:pt x="71" y="171"/>
                    </a:lnTo>
                    <a:lnTo>
                      <a:pt x="70" y="171"/>
                    </a:lnTo>
                    <a:lnTo>
                      <a:pt x="70" y="170"/>
                    </a:lnTo>
                    <a:lnTo>
                      <a:pt x="70" y="169"/>
                    </a:lnTo>
                    <a:lnTo>
                      <a:pt x="69" y="169"/>
                    </a:lnTo>
                    <a:lnTo>
                      <a:pt x="69" y="168"/>
                    </a:lnTo>
                    <a:lnTo>
                      <a:pt x="70" y="165"/>
                    </a:lnTo>
                    <a:lnTo>
                      <a:pt x="70" y="163"/>
                    </a:lnTo>
                    <a:lnTo>
                      <a:pt x="70" y="162"/>
                    </a:lnTo>
                    <a:lnTo>
                      <a:pt x="70" y="161"/>
                    </a:lnTo>
                    <a:lnTo>
                      <a:pt x="70" y="160"/>
                    </a:lnTo>
                    <a:lnTo>
                      <a:pt x="70" y="159"/>
                    </a:lnTo>
                    <a:lnTo>
                      <a:pt x="70" y="154"/>
                    </a:lnTo>
                    <a:lnTo>
                      <a:pt x="71" y="152"/>
                    </a:lnTo>
                    <a:lnTo>
                      <a:pt x="71" y="149"/>
                    </a:lnTo>
                    <a:lnTo>
                      <a:pt x="71" y="148"/>
                    </a:lnTo>
                    <a:lnTo>
                      <a:pt x="71" y="147"/>
                    </a:lnTo>
                    <a:lnTo>
                      <a:pt x="71" y="146"/>
                    </a:lnTo>
                    <a:lnTo>
                      <a:pt x="71" y="145"/>
                    </a:lnTo>
                    <a:lnTo>
                      <a:pt x="71" y="144"/>
                    </a:lnTo>
                    <a:lnTo>
                      <a:pt x="70" y="143"/>
                    </a:lnTo>
                    <a:lnTo>
                      <a:pt x="71" y="142"/>
                    </a:lnTo>
                    <a:lnTo>
                      <a:pt x="71" y="141"/>
                    </a:lnTo>
                    <a:lnTo>
                      <a:pt x="70" y="141"/>
                    </a:lnTo>
                    <a:lnTo>
                      <a:pt x="70" y="139"/>
                    </a:lnTo>
                    <a:lnTo>
                      <a:pt x="71" y="138"/>
                    </a:lnTo>
                    <a:lnTo>
                      <a:pt x="71" y="137"/>
                    </a:lnTo>
                    <a:lnTo>
                      <a:pt x="71" y="136"/>
                    </a:lnTo>
                    <a:lnTo>
                      <a:pt x="71" y="135"/>
                    </a:lnTo>
                    <a:lnTo>
                      <a:pt x="71" y="134"/>
                    </a:lnTo>
                    <a:lnTo>
                      <a:pt x="72" y="133"/>
                    </a:lnTo>
                    <a:lnTo>
                      <a:pt x="71" y="133"/>
                    </a:lnTo>
                    <a:lnTo>
                      <a:pt x="71" y="132"/>
                    </a:lnTo>
                    <a:lnTo>
                      <a:pt x="70" y="132"/>
                    </a:lnTo>
                    <a:lnTo>
                      <a:pt x="69" y="132"/>
                    </a:lnTo>
                    <a:lnTo>
                      <a:pt x="69" y="133"/>
                    </a:lnTo>
                    <a:lnTo>
                      <a:pt x="68" y="133"/>
                    </a:lnTo>
                    <a:lnTo>
                      <a:pt x="67" y="133"/>
                    </a:lnTo>
                    <a:lnTo>
                      <a:pt x="67" y="132"/>
                    </a:lnTo>
                    <a:lnTo>
                      <a:pt x="67" y="131"/>
                    </a:lnTo>
                    <a:lnTo>
                      <a:pt x="67" y="130"/>
                    </a:lnTo>
                    <a:lnTo>
                      <a:pt x="67" y="129"/>
                    </a:lnTo>
                    <a:lnTo>
                      <a:pt x="67" y="128"/>
                    </a:lnTo>
                    <a:lnTo>
                      <a:pt x="67" y="125"/>
                    </a:lnTo>
                    <a:lnTo>
                      <a:pt x="68" y="123"/>
                    </a:lnTo>
                    <a:lnTo>
                      <a:pt x="68" y="122"/>
                    </a:lnTo>
                    <a:lnTo>
                      <a:pt x="69" y="120"/>
                    </a:lnTo>
                    <a:lnTo>
                      <a:pt x="69" y="119"/>
                    </a:lnTo>
                    <a:lnTo>
                      <a:pt x="69" y="118"/>
                    </a:lnTo>
                    <a:lnTo>
                      <a:pt x="69" y="117"/>
                    </a:lnTo>
                    <a:lnTo>
                      <a:pt x="70" y="117"/>
                    </a:lnTo>
                    <a:lnTo>
                      <a:pt x="70" y="116"/>
                    </a:lnTo>
                    <a:lnTo>
                      <a:pt x="70" y="115"/>
                    </a:lnTo>
                    <a:lnTo>
                      <a:pt x="71" y="112"/>
                    </a:lnTo>
                    <a:lnTo>
                      <a:pt x="72" y="111"/>
                    </a:lnTo>
                    <a:lnTo>
                      <a:pt x="72" y="110"/>
                    </a:lnTo>
                    <a:lnTo>
                      <a:pt x="72" y="109"/>
                    </a:lnTo>
                    <a:lnTo>
                      <a:pt x="72" y="108"/>
                    </a:lnTo>
                    <a:lnTo>
                      <a:pt x="71" y="108"/>
                    </a:lnTo>
                    <a:lnTo>
                      <a:pt x="71" y="107"/>
                    </a:lnTo>
                    <a:lnTo>
                      <a:pt x="71" y="106"/>
                    </a:lnTo>
                    <a:lnTo>
                      <a:pt x="71" y="105"/>
                    </a:lnTo>
                    <a:lnTo>
                      <a:pt x="71" y="104"/>
                    </a:lnTo>
                    <a:lnTo>
                      <a:pt x="72" y="104"/>
                    </a:lnTo>
                    <a:lnTo>
                      <a:pt x="73" y="104"/>
                    </a:lnTo>
                    <a:lnTo>
                      <a:pt x="74" y="105"/>
                    </a:lnTo>
                    <a:lnTo>
                      <a:pt x="75" y="104"/>
                    </a:lnTo>
                    <a:lnTo>
                      <a:pt x="75" y="103"/>
                    </a:lnTo>
                    <a:lnTo>
                      <a:pt x="74" y="103"/>
                    </a:lnTo>
                    <a:lnTo>
                      <a:pt x="74" y="102"/>
                    </a:lnTo>
                    <a:lnTo>
                      <a:pt x="74" y="100"/>
                    </a:lnTo>
                    <a:lnTo>
                      <a:pt x="75" y="100"/>
                    </a:lnTo>
                    <a:lnTo>
                      <a:pt x="77" y="100"/>
                    </a:lnTo>
                    <a:lnTo>
                      <a:pt x="77" y="99"/>
                    </a:lnTo>
                    <a:lnTo>
                      <a:pt x="78" y="99"/>
                    </a:lnTo>
                    <a:lnTo>
                      <a:pt x="78" y="98"/>
                    </a:lnTo>
                    <a:lnTo>
                      <a:pt x="77" y="98"/>
                    </a:lnTo>
                    <a:lnTo>
                      <a:pt x="77" y="97"/>
                    </a:lnTo>
                    <a:lnTo>
                      <a:pt x="78" y="97"/>
                    </a:lnTo>
                    <a:lnTo>
                      <a:pt x="78" y="96"/>
                    </a:lnTo>
                    <a:lnTo>
                      <a:pt x="79" y="96"/>
                    </a:lnTo>
                    <a:lnTo>
                      <a:pt x="80" y="96"/>
                    </a:lnTo>
                    <a:lnTo>
                      <a:pt x="80" y="97"/>
                    </a:lnTo>
                    <a:lnTo>
                      <a:pt x="81" y="97"/>
                    </a:lnTo>
                    <a:lnTo>
                      <a:pt x="81" y="98"/>
                    </a:lnTo>
                    <a:lnTo>
                      <a:pt x="82" y="99"/>
                    </a:lnTo>
                    <a:lnTo>
                      <a:pt x="82" y="100"/>
                    </a:lnTo>
                    <a:lnTo>
                      <a:pt x="83" y="100"/>
                    </a:lnTo>
                    <a:lnTo>
                      <a:pt x="83" y="102"/>
                    </a:lnTo>
                    <a:lnTo>
                      <a:pt x="83" y="103"/>
                    </a:lnTo>
                    <a:lnTo>
                      <a:pt x="84" y="102"/>
                    </a:lnTo>
                    <a:lnTo>
                      <a:pt x="85" y="100"/>
                    </a:lnTo>
                    <a:lnTo>
                      <a:pt x="85" y="99"/>
                    </a:lnTo>
                    <a:lnTo>
                      <a:pt x="84" y="98"/>
                    </a:lnTo>
                    <a:lnTo>
                      <a:pt x="85" y="97"/>
                    </a:lnTo>
                    <a:lnTo>
                      <a:pt x="86" y="97"/>
                    </a:lnTo>
                    <a:lnTo>
                      <a:pt x="87" y="96"/>
                    </a:lnTo>
                    <a:lnTo>
                      <a:pt x="87" y="95"/>
                    </a:lnTo>
                    <a:lnTo>
                      <a:pt x="88" y="94"/>
                    </a:lnTo>
                    <a:lnTo>
                      <a:pt x="88" y="93"/>
                    </a:lnTo>
                    <a:lnTo>
                      <a:pt x="88" y="92"/>
                    </a:lnTo>
                    <a:lnTo>
                      <a:pt x="88" y="91"/>
                    </a:lnTo>
                    <a:lnTo>
                      <a:pt x="90" y="91"/>
                    </a:lnTo>
                    <a:lnTo>
                      <a:pt x="91" y="91"/>
                    </a:lnTo>
                    <a:lnTo>
                      <a:pt x="92" y="91"/>
                    </a:lnTo>
                    <a:lnTo>
                      <a:pt x="92" y="90"/>
                    </a:lnTo>
                    <a:lnTo>
                      <a:pt x="92" y="89"/>
                    </a:lnTo>
                    <a:lnTo>
                      <a:pt x="92" y="87"/>
                    </a:lnTo>
                    <a:lnTo>
                      <a:pt x="91" y="87"/>
                    </a:lnTo>
                    <a:lnTo>
                      <a:pt x="90" y="87"/>
                    </a:lnTo>
                    <a:lnTo>
                      <a:pt x="88" y="86"/>
                    </a:lnTo>
                    <a:lnTo>
                      <a:pt x="88" y="85"/>
                    </a:lnTo>
                    <a:lnTo>
                      <a:pt x="90" y="84"/>
                    </a:lnTo>
                    <a:lnTo>
                      <a:pt x="90" y="83"/>
                    </a:lnTo>
                    <a:lnTo>
                      <a:pt x="90" y="82"/>
                    </a:lnTo>
                    <a:lnTo>
                      <a:pt x="90" y="81"/>
                    </a:lnTo>
                    <a:lnTo>
                      <a:pt x="88" y="81"/>
                    </a:lnTo>
                    <a:lnTo>
                      <a:pt x="88" y="80"/>
                    </a:lnTo>
                    <a:lnTo>
                      <a:pt x="88" y="79"/>
                    </a:lnTo>
                    <a:lnTo>
                      <a:pt x="88" y="78"/>
                    </a:lnTo>
                    <a:lnTo>
                      <a:pt x="88" y="77"/>
                    </a:lnTo>
                    <a:lnTo>
                      <a:pt x="88" y="74"/>
                    </a:lnTo>
                    <a:lnTo>
                      <a:pt x="88" y="73"/>
                    </a:lnTo>
                    <a:lnTo>
                      <a:pt x="88" y="72"/>
                    </a:lnTo>
                    <a:lnTo>
                      <a:pt x="88" y="71"/>
                    </a:lnTo>
                    <a:lnTo>
                      <a:pt x="88" y="70"/>
                    </a:lnTo>
                    <a:lnTo>
                      <a:pt x="88" y="68"/>
                    </a:lnTo>
                    <a:lnTo>
                      <a:pt x="88" y="67"/>
                    </a:lnTo>
                    <a:lnTo>
                      <a:pt x="88" y="66"/>
                    </a:lnTo>
                    <a:lnTo>
                      <a:pt x="90" y="65"/>
                    </a:lnTo>
                    <a:lnTo>
                      <a:pt x="91" y="65"/>
                    </a:lnTo>
                    <a:lnTo>
                      <a:pt x="91" y="64"/>
                    </a:lnTo>
                    <a:lnTo>
                      <a:pt x="91" y="62"/>
                    </a:lnTo>
                    <a:lnTo>
                      <a:pt x="91" y="61"/>
                    </a:lnTo>
                    <a:lnTo>
                      <a:pt x="92" y="61"/>
                    </a:lnTo>
                    <a:lnTo>
                      <a:pt x="92" y="60"/>
                    </a:lnTo>
                    <a:lnTo>
                      <a:pt x="92" y="58"/>
                    </a:lnTo>
                    <a:lnTo>
                      <a:pt x="93" y="58"/>
                    </a:lnTo>
                    <a:lnTo>
                      <a:pt x="93" y="57"/>
                    </a:lnTo>
                    <a:lnTo>
                      <a:pt x="94" y="57"/>
                    </a:lnTo>
                    <a:lnTo>
                      <a:pt x="95" y="57"/>
                    </a:lnTo>
                    <a:lnTo>
                      <a:pt x="95" y="56"/>
                    </a:lnTo>
                    <a:lnTo>
                      <a:pt x="94" y="55"/>
                    </a:lnTo>
                    <a:lnTo>
                      <a:pt x="93" y="55"/>
                    </a:lnTo>
                    <a:lnTo>
                      <a:pt x="92" y="55"/>
                    </a:lnTo>
                    <a:lnTo>
                      <a:pt x="92" y="54"/>
                    </a:lnTo>
                    <a:lnTo>
                      <a:pt x="92" y="53"/>
                    </a:lnTo>
                    <a:lnTo>
                      <a:pt x="93" y="53"/>
                    </a:lnTo>
                    <a:lnTo>
                      <a:pt x="93" y="52"/>
                    </a:lnTo>
                    <a:lnTo>
                      <a:pt x="92" y="52"/>
                    </a:lnTo>
                    <a:lnTo>
                      <a:pt x="91" y="51"/>
                    </a:lnTo>
                    <a:lnTo>
                      <a:pt x="91" y="49"/>
                    </a:lnTo>
                    <a:lnTo>
                      <a:pt x="92" y="48"/>
                    </a:lnTo>
                    <a:lnTo>
                      <a:pt x="93" y="48"/>
                    </a:lnTo>
                    <a:lnTo>
                      <a:pt x="93" y="47"/>
                    </a:lnTo>
                    <a:lnTo>
                      <a:pt x="94" y="47"/>
                    </a:lnTo>
                    <a:lnTo>
                      <a:pt x="95" y="45"/>
                    </a:lnTo>
                    <a:lnTo>
                      <a:pt x="96" y="43"/>
                    </a:lnTo>
                    <a:lnTo>
                      <a:pt x="97" y="42"/>
                    </a:lnTo>
                    <a:lnTo>
                      <a:pt x="96" y="41"/>
                    </a:lnTo>
                    <a:lnTo>
                      <a:pt x="97" y="41"/>
                    </a:lnTo>
                    <a:lnTo>
                      <a:pt x="97" y="40"/>
                    </a:lnTo>
                    <a:lnTo>
                      <a:pt x="98" y="40"/>
                    </a:lnTo>
                    <a:lnTo>
                      <a:pt x="98" y="41"/>
                    </a:lnTo>
                    <a:lnTo>
                      <a:pt x="98" y="42"/>
                    </a:lnTo>
                    <a:lnTo>
                      <a:pt x="99" y="42"/>
                    </a:lnTo>
                    <a:lnTo>
                      <a:pt x="100" y="42"/>
                    </a:lnTo>
                    <a:lnTo>
                      <a:pt x="100" y="41"/>
                    </a:lnTo>
                    <a:lnTo>
                      <a:pt x="100" y="39"/>
                    </a:lnTo>
                    <a:lnTo>
                      <a:pt x="100" y="38"/>
                    </a:lnTo>
                    <a:lnTo>
                      <a:pt x="101" y="38"/>
                    </a:lnTo>
                    <a:lnTo>
                      <a:pt x="101" y="39"/>
                    </a:lnTo>
                    <a:lnTo>
                      <a:pt x="103" y="40"/>
                    </a:lnTo>
                    <a:lnTo>
                      <a:pt x="104" y="40"/>
                    </a:lnTo>
                    <a:lnTo>
                      <a:pt x="105" y="40"/>
                    </a:lnTo>
                    <a:lnTo>
                      <a:pt x="106" y="39"/>
                    </a:lnTo>
                    <a:lnTo>
                      <a:pt x="107" y="39"/>
                    </a:lnTo>
                    <a:lnTo>
                      <a:pt x="108" y="39"/>
                    </a:lnTo>
                    <a:lnTo>
                      <a:pt x="109" y="38"/>
                    </a:lnTo>
                    <a:lnTo>
                      <a:pt x="110" y="36"/>
                    </a:lnTo>
                    <a:lnTo>
                      <a:pt x="111" y="35"/>
                    </a:lnTo>
                    <a:lnTo>
                      <a:pt x="111" y="34"/>
                    </a:lnTo>
                    <a:lnTo>
                      <a:pt x="111" y="33"/>
                    </a:lnTo>
                    <a:lnTo>
                      <a:pt x="111" y="32"/>
                    </a:lnTo>
                    <a:lnTo>
                      <a:pt x="111" y="31"/>
                    </a:lnTo>
                    <a:lnTo>
                      <a:pt x="111" y="30"/>
                    </a:lnTo>
                    <a:lnTo>
                      <a:pt x="112" y="29"/>
                    </a:lnTo>
                    <a:lnTo>
                      <a:pt x="112" y="28"/>
                    </a:lnTo>
                    <a:lnTo>
                      <a:pt x="111" y="28"/>
                    </a:lnTo>
                    <a:lnTo>
                      <a:pt x="111" y="27"/>
                    </a:lnTo>
                    <a:lnTo>
                      <a:pt x="111" y="26"/>
                    </a:lnTo>
                    <a:lnTo>
                      <a:pt x="110" y="25"/>
                    </a:lnTo>
                    <a:lnTo>
                      <a:pt x="110" y="23"/>
                    </a:lnTo>
                    <a:lnTo>
                      <a:pt x="109" y="23"/>
                    </a:lnTo>
                    <a:lnTo>
                      <a:pt x="109" y="22"/>
                    </a:lnTo>
                    <a:lnTo>
                      <a:pt x="110" y="21"/>
                    </a:lnTo>
                    <a:lnTo>
                      <a:pt x="110" y="20"/>
                    </a:lnTo>
                    <a:lnTo>
                      <a:pt x="111" y="20"/>
                    </a:lnTo>
                    <a:lnTo>
                      <a:pt x="112" y="20"/>
                    </a:lnTo>
                    <a:lnTo>
                      <a:pt x="112" y="21"/>
                    </a:lnTo>
                    <a:lnTo>
                      <a:pt x="112" y="22"/>
                    </a:lnTo>
                    <a:lnTo>
                      <a:pt x="113" y="22"/>
                    </a:lnTo>
                    <a:lnTo>
                      <a:pt x="114" y="22"/>
                    </a:lnTo>
                    <a:lnTo>
                      <a:pt x="116" y="21"/>
                    </a:lnTo>
                    <a:lnTo>
                      <a:pt x="116" y="20"/>
                    </a:lnTo>
                    <a:lnTo>
                      <a:pt x="116" y="19"/>
                    </a:lnTo>
                    <a:lnTo>
                      <a:pt x="114" y="18"/>
                    </a:lnTo>
                    <a:lnTo>
                      <a:pt x="114" y="17"/>
                    </a:lnTo>
                    <a:lnTo>
                      <a:pt x="113" y="17"/>
                    </a:lnTo>
                    <a:lnTo>
                      <a:pt x="113" y="16"/>
                    </a:lnTo>
                    <a:lnTo>
                      <a:pt x="113" y="14"/>
                    </a:lnTo>
                    <a:lnTo>
                      <a:pt x="113" y="13"/>
                    </a:lnTo>
                    <a:lnTo>
                      <a:pt x="112" y="13"/>
                    </a:lnTo>
                    <a:lnTo>
                      <a:pt x="112" y="12"/>
                    </a:lnTo>
                    <a:lnTo>
                      <a:pt x="114" y="10"/>
                    </a:lnTo>
                    <a:lnTo>
                      <a:pt x="116" y="9"/>
                    </a:lnTo>
                    <a:lnTo>
                      <a:pt x="117" y="9"/>
                    </a:lnTo>
                    <a:lnTo>
                      <a:pt x="118" y="9"/>
                    </a:lnTo>
                    <a:lnTo>
                      <a:pt x="119" y="9"/>
                    </a:lnTo>
                    <a:lnTo>
                      <a:pt x="119" y="8"/>
                    </a:lnTo>
                    <a:lnTo>
                      <a:pt x="119" y="7"/>
                    </a:lnTo>
                    <a:lnTo>
                      <a:pt x="119" y="6"/>
                    </a:lnTo>
                    <a:lnTo>
                      <a:pt x="119" y="5"/>
                    </a:lnTo>
                    <a:lnTo>
                      <a:pt x="119" y="4"/>
                    </a:lnTo>
                    <a:lnTo>
                      <a:pt x="120" y="3"/>
                    </a:lnTo>
                    <a:lnTo>
                      <a:pt x="120" y="2"/>
                    </a:lnTo>
                    <a:lnTo>
                      <a:pt x="120" y="1"/>
                    </a:lnTo>
                    <a:lnTo>
                      <a:pt x="118" y="0"/>
                    </a:lnTo>
                    <a:lnTo>
                      <a:pt x="126" y="0"/>
                    </a:lnTo>
                    <a:lnTo>
                      <a:pt x="144" y="0"/>
                    </a:lnTo>
                    <a:lnTo>
                      <a:pt x="173" y="0"/>
                    </a:lnTo>
                    <a:lnTo>
                      <a:pt x="176" y="0"/>
                    </a:lnTo>
                    <a:lnTo>
                      <a:pt x="178" y="0"/>
                    </a:lnTo>
                    <a:lnTo>
                      <a:pt x="178" y="1"/>
                    </a:lnTo>
                    <a:lnTo>
                      <a:pt x="177" y="2"/>
                    </a:lnTo>
                    <a:lnTo>
                      <a:pt x="176" y="5"/>
                    </a:lnTo>
                    <a:lnTo>
                      <a:pt x="176" y="6"/>
                    </a:lnTo>
                    <a:lnTo>
                      <a:pt x="176" y="7"/>
                    </a:lnTo>
                    <a:lnTo>
                      <a:pt x="176" y="8"/>
                    </a:lnTo>
                    <a:lnTo>
                      <a:pt x="176" y="9"/>
                    </a:lnTo>
                    <a:lnTo>
                      <a:pt x="175" y="10"/>
                    </a:lnTo>
                    <a:lnTo>
                      <a:pt x="175" y="12"/>
                    </a:lnTo>
                    <a:lnTo>
                      <a:pt x="174" y="13"/>
                    </a:lnTo>
                    <a:lnTo>
                      <a:pt x="173" y="14"/>
                    </a:lnTo>
                    <a:lnTo>
                      <a:pt x="171" y="16"/>
                    </a:lnTo>
                    <a:lnTo>
                      <a:pt x="169" y="18"/>
                    </a:lnTo>
                    <a:lnTo>
                      <a:pt x="167" y="19"/>
                    </a:lnTo>
                    <a:lnTo>
                      <a:pt x="165" y="20"/>
                    </a:lnTo>
                    <a:lnTo>
                      <a:pt x="164" y="21"/>
                    </a:lnTo>
                    <a:lnTo>
                      <a:pt x="159" y="29"/>
                    </a:lnTo>
                    <a:lnTo>
                      <a:pt x="158" y="29"/>
                    </a:lnTo>
                    <a:lnTo>
                      <a:pt x="157" y="30"/>
                    </a:lnTo>
                    <a:lnTo>
                      <a:pt x="157" y="31"/>
                    </a:lnTo>
                    <a:lnTo>
                      <a:pt x="156" y="31"/>
                    </a:lnTo>
                    <a:lnTo>
                      <a:pt x="156" y="32"/>
                    </a:lnTo>
                    <a:lnTo>
                      <a:pt x="156" y="33"/>
                    </a:lnTo>
                    <a:lnTo>
                      <a:pt x="156" y="34"/>
                    </a:lnTo>
                    <a:lnTo>
                      <a:pt x="157" y="35"/>
                    </a:lnTo>
                    <a:lnTo>
                      <a:pt x="157" y="36"/>
                    </a:lnTo>
                    <a:lnTo>
                      <a:pt x="158" y="38"/>
                    </a:lnTo>
                    <a:lnTo>
                      <a:pt x="158" y="39"/>
                    </a:lnTo>
                    <a:lnTo>
                      <a:pt x="158" y="40"/>
                    </a:lnTo>
                    <a:lnTo>
                      <a:pt x="157" y="40"/>
                    </a:lnTo>
                    <a:lnTo>
                      <a:pt x="156" y="40"/>
                    </a:lnTo>
                    <a:lnTo>
                      <a:pt x="155" y="41"/>
                    </a:lnTo>
                    <a:lnTo>
                      <a:pt x="155" y="42"/>
                    </a:lnTo>
                    <a:lnTo>
                      <a:pt x="152" y="43"/>
                    </a:lnTo>
                    <a:lnTo>
                      <a:pt x="151" y="45"/>
                    </a:lnTo>
                    <a:lnTo>
                      <a:pt x="150" y="46"/>
                    </a:lnTo>
                    <a:lnTo>
                      <a:pt x="150" y="48"/>
                    </a:lnTo>
                    <a:lnTo>
                      <a:pt x="149" y="49"/>
                    </a:lnTo>
                    <a:lnTo>
                      <a:pt x="149" y="51"/>
                    </a:lnTo>
                    <a:lnTo>
                      <a:pt x="149" y="54"/>
                    </a:lnTo>
                    <a:lnTo>
                      <a:pt x="149" y="56"/>
                    </a:lnTo>
                    <a:lnTo>
                      <a:pt x="149" y="59"/>
                    </a:lnTo>
                    <a:lnTo>
                      <a:pt x="150" y="61"/>
                    </a:lnTo>
                    <a:lnTo>
                      <a:pt x="150" y="62"/>
                    </a:lnTo>
                    <a:lnTo>
                      <a:pt x="151" y="62"/>
                    </a:lnTo>
                    <a:lnTo>
                      <a:pt x="151" y="64"/>
                    </a:lnTo>
                    <a:lnTo>
                      <a:pt x="152" y="65"/>
                    </a:lnTo>
                    <a:lnTo>
                      <a:pt x="152" y="66"/>
                    </a:lnTo>
                    <a:lnTo>
                      <a:pt x="154" y="66"/>
                    </a:lnTo>
                    <a:lnTo>
                      <a:pt x="156" y="68"/>
                    </a:lnTo>
                    <a:lnTo>
                      <a:pt x="158" y="70"/>
                    </a:lnTo>
                    <a:lnTo>
                      <a:pt x="159" y="70"/>
                    </a:lnTo>
                    <a:lnTo>
                      <a:pt x="159" y="71"/>
                    </a:lnTo>
                    <a:lnTo>
                      <a:pt x="161" y="71"/>
                    </a:lnTo>
                    <a:lnTo>
                      <a:pt x="162" y="72"/>
                    </a:lnTo>
                    <a:lnTo>
                      <a:pt x="164" y="73"/>
                    </a:lnTo>
                    <a:lnTo>
                      <a:pt x="169" y="74"/>
                    </a:lnTo>
                    <a:lnTo>
                      <a:pt x="170" y="74"/>
                    </a:lnTo>
                    <a:lnTo>
                      <a:pt x="171" y="75"/>
                    </a:lnTo>
                    <a:lnTo>
                      <a:pt x="172" y="75"/>
                    </a:lnTo>
                    <a:lnTo>
                      <a:pt x="174" y="75"/>
                    </a:lnTo>
                    <a:lnTo>
                      <a:pt x="175" y="77"/>
                    </a:lnTo>
                    <a:lnTo>
                      <a:pt x="177" y="77"/>
                    </a:lnTo>
                    <a:lnTo>
                      <a:pt x="180" y="77"/>
                    </a:lnTo>
                    <a:lnTo>
                      <a:pt x="182" y="75"/>
                    </a:lnTo>
                    <a:lnTo>
                      <a:pt x="184" y="75"/>
                    </a:lnTo>
                    <a:lnTo>
                      <a:pt x="186" y="74"/>
                    </a:lnTo>
                    <a:lnTo>
                      <a:pt x="187" y="74"/>
                    </a:lnTo>
                    <a:lnTo>
                      <a:pt x="188" y="73"/>
                    </a:lnTo>
                    <a:lnTo>
                      <a:pt x="189" y="72"/>
                    </a:lnTo>
                    <a:lnTo>
                      <a:pt x="190" y="72"/>
                    </a:lnTo>
                    <a:lnTo>
                      <a:pt x="194" y="69"/>
                    </a:lnTo>
                    <a:lnTo>
                      <a:pt x="195" y="67"/>
                    </a:lnTo>
                    <a:lnTo>
                      <a:pt x="197" y="64"/>
                    </a:lnTo>
                    <a:lnTo>
                      <a:pt x="198" y="62"/>
                    </a:lnTo>
                    <a:lnTo>
                      <a:pt x="198" y="61"/>
                    </a:lnTo>
                    <a:lnTo>
                      <a:pt x="199" y="59"/>
                    </a:lnTo>
                    <a:lnTo>
                      <a:pt x="199" y="57"/>
                    </a:lnTo>
                    <a:lnTo>
                      <a:pt x="199" y="56"/>
                    </a:lnTo>
                    <a:lnTo>
                      <a:pt x="199" y="55"/>
                    </a:lnTo>
                    <a:lnTo>
                      <a:pt x="199" y="54"/>
                    </a:lnTo>
                    <a:lnTo>
                      <a:pt x="199" y="51"/>
                    </a:lnTo>
                    <a:lnTo>
                      <a:pt x="198" y="49"/>
                    </a:lnTo>
                    <a:lnTo>
                      <a:pt x="198" y="48"/>
                    </a:lnTo>
                    <a:lnTo>
                      <a:pt x="197" y="45"/>
                    </a:lnTo>
                    <a:lnTo>
                      <a:pt x="197" y="44"/>
                    </a:lnTo>
                    <a:lnTo>
                      <a:pt x="197" y="43"/>
                    </a:lnTo>
                    <a:lnTo>
                      <a:pt x="197" y="42"/>
                    </a:lnTo>
                    <a:lnTo>
                      <a:pt x="196" y="41"/>
                    </a:lnTo>
                    <a:lnTo>
                      <a:pt x="197" y="40"/>
                    </a:lnTo>
                    <a:lnTo>
                      <a:pt x="196" y="40"/>
                    </a:lnTo>
                    <a:lnTo>
                      <a:pt x="196" y="39"/>
                    </a:lnTo>
                    <a:lnTo>
                      <a:pt x="196" y="38"/>
                    </a:lnTo>
                    <a:lnTo>
                      <a:pt x="196" y="36"/>
                    </a:lnTo>
                    <a:lnTo>
                      <a:pt x="196" y="35"/>
                    </a:lnTo>
                    <a:lnTo>
                      <a:pt x="196" y="34"/>
                    </a:lnTo>
                    <a:lnTo>
                      <a:pt x="197" y="33"/>
                    </a:lnTo>
                    <a:lnTo>
                      <a:pt x="198" y="33"/>
                    </a:lnTo>
                    <a:lnTo>
                      <a:pt x="198" y="32"/>
                    </a:lnTo>
                    <a:lnTo>
                      <a:pt x="199" y="32"/>
                    </a:lnTo>
                    <a:lnTo>
                      <a:pt x="199" y="31"/>
                    </a:lnTo>
                    <a:lnTo>
                      <a:pt x="200" y="30"/>
                    </a:lnTo>
                    <a:lnTo>
                      <a:pt x="200" y="29"/>
                    </a:lnTo>
                    <a:lnTo>
                      <a:pt x="199" y="29"/>
                    </a:lnTo>
                    <a:lnTo>
                      <a:pt x="199" y="28"/>
                    </a:lnTo>
                    <a:lnTo>
                      <a:pt x="198" y="27"/>
                    </a:lnTo>
                    <a:lnTo>
                      <a:pt x="197" y="27"/>
                    </a:lnTo>
                    <a:lnTo>
                      <a:pt x="197" y="26"/>
                    </a:lnTo>
                    <a:lnTo>
                      <a:pt x="196" y="25"/>
                    </a:lnTo>
                    <a:lnTo>
                      <a:pt x="195" y="25"/>
                    </a:lnTo>
                    <a:lnTo>
                      <a:pt x="195" y="23"/>
                    </a:lnTo>
                    <a:lnTo>
                      <a:pt x="195" y="22"/>
                    </a:lnTo>
                    <a:lnTo>
                      <a:pt x="196" y="22"/>
                    </a:lnTo>
                    <a:lnTo>
                      <a:pt x="196" y="21"/>
                    </a:lnTo>
                    <a:lnTo>
                      <a:pt x="197" y="21"/>
                    </a:lnTo>
                    <a:lnTo>
                      <a:pt x="197" y="20"/>
                    </a:lnTo>
                    <a:lnTo>
                      <a:pt x="197" y="18"/>
                    </a:lnTo>
                    <a:lnTo>
                      <a:pt x="197" y="17"/>
                    </a:lnTo>
                    <a:lnTo>
                      <a:pt x="198" y="17"/>
                    </a:lnTo>
                    <a:lnTo>
                      <a:pt x="199" y="16"/>
                    </a:lnTo>
                    <a:lnTo>
                      <a:pt x="201" y="15"/>
                    </a:lnTo>
                    <a:lnTo>
                      <a:pt x="202" y="15"/>
                    </a:lnTo>
                    <a:lnTo>
                      <a:pt x="203" y="14"/>
                    </a:lnTo>
                    <a:lnTo>
                      <a:pt x="204" y="14"/>
                    </a:lnTo>
                    <a:lnTo>
                      <a:pt x="207" y="13"/>
                    </a:lnTo>
                    <a:lnTo>
                      <a:pt x="209" y="12"/>
                    </a:lnTo>
                    <a:lnTo>
                      <a:pt x="211" y="12"/>
                    </a:lnTo>
                    <a:lnTo>
                      <a:pt x="214" y="10"/>
                    </a:lnTo>
                    <a:lnTo>
                      <a:pt x="216" y="12"/>
                    </a:lnTo>
                    <a:lnTo>
                      <a:pt x="217" y="12"/>
                    </a:lnTo>
                    <a:lnTo>
                      <a:pt x="221" y="13"/>
                    </a:lnTo>
                    <a:lnTo>
                      <a:pt x="222" y="14"/>
                    </a:lnTo>
                    <a:lnTo>
                      <a:pt x="223" y="16"/>
                    </a:lnTo>
                    <a:lnTo>
                      <a:pt x="224" y="17"/>
                    </a:lnTo>
                    <a:lnTo>
                      <a:pt x="225" y="18"/>
                    </a:lnTo>
                    <a:lnTo>
                      <a:pt x="226" y="20"/>
                    </a:lnTo>
                    <a:lnTo>
                      <a:pt x="230" y="30"/>
                    </a:lnTo>
                    <a:lnTo>
                      <a:pt x="232" y="35"/>
                    </a:lnTo>
                    <a:lnTo>
                      <a:pt x="232" y="36"/>
                    </a:lnTo>
                    <a:lnTo>
                      <a:pt x="232" y="38"/>
                    </a:lnTo>
                    <a:lnTo>
                      <a:pt x="232" y="39"/>
                    </a:lnTo>
                    <a:lnTo>
                      <a:pt x="230" y="40"/>
                    </a:lnTo>
                    <a:lnTo>
                      <a:pt x="229" y="40"/>
                    </a:lnTo>
                    <a:lnTo>
                      <a:pt x="228" y="41"/>
                    </a:lnTo>
                    <a:lnTo>
                      <a:pt x="229" y="42"/>
                    </a:lnTo>
                    <a:lnTo>
                      <a:pt x="229" y="43"/>
                    </a:lnTo>
                    <a:lnTo>
                      <a:pt x="230" y="44"/>
                    </a:lnTo>
                    <a:lnTo>
                      <a:pt x="234" y="46"/>
                    </a:lnTo>
                    <a:lnTo>
                      <a:pt x="236" y="48"/>
                    </a:lnTo>
                    <a:lnTo>
                      <a:pt x="237" y="49"/>
                    </a:lnTo>
                    <a:lnTo>
                      <a:pt x="237" y="52"/>
                    </a:lnTo>
                    <a:lnTo>
                      <a:pt x="238" y="53"/>
                    </a:lnTo>
                    <a:lnTo>
                      <a:pt x="239" y="55"/>
                    </a:lnTo>
                    <a:lnTo>
                      <a:pt x="240" y="56"/>
                    </a:lnTo>
                    <a:lnTo>
                      <a:pt x="240" y="58"/>
                    </a:lnTo>
                    <a:lnTo>
                      <a:pt x="240" y="59"/>
                    </a:lnTo>
                    <a:lnTo>
                      <a:pt x="240" y="61"/>
                    </a:lnTo>
                    <a:lnTo>
                      <a:pt x="240" y="64"/>
                    </a:lnTo>
                    <a:lnTo>
                      <a:pt x="240" y="66"/>
                    </a:lnTo>
                    <a:lnTo>
                      <a:pt x="240" y="69"/>
                    </a:lnTo>
                    <a:lnTo>
                      <a:pt x="240" y="71"/>
                    </a:lnTo>
                    <a:lnTo>
                      <a:pt x="240" y="72"/>
                    </a:lnTo>
                    <a:lnTo>
                      <a:pt x="240" y="73"/>
                    </a:lnTo>
                    <a:lnTo>
                      <a:pt x="240" y="75"/>
                    </a:lnTo>
                    <a:lnTo>
                      <a:pt x="239" y="75"/>
                    </a:lnTo>
                    <a:lnTo>
                      <a:pt x="239" y="78"/>
                    </a:lnTo>
                    <a:lnTo>
                      <a:pt x="238" y="80"/>
                    </a:lnTo>
                    <a:lnTo>
                      <a:pt x="238" y="82"/>
                    </a:lnTo>
                    <a:lnTo>
                      <a:pt x="237" y="83"/>
                    </a:lnTo>
                    <a:lnTo>
                      <a:pt x="237" y="84"/>
                    </a:lnTo>
                    <a:lnTo>
                      <a:pt x="235" y="86"/>
                    </a:lnTo>
                    <a:lnTo>
                      <a:pt x="233" y="89"/>
                    </a:lnTo>
                    <a:lnTo>
                      <a:pt x="229" y="92"/>
                    </a:lnTo>
                    <a:lnTo>
                      <a:pt x="228" y="94"/>
                    </a:lnTo>
                    <a:lnTo>
                      <a:pt x="226" y="95"/>
                    </a:lnTo>
                    <a:lnTo>
                      <a:pt x="225" y="96"/>
                    </a:lnTo>
                    <a:lnTo>
                      <a:pt x="222" y="99"/>
                    </a:lnTo>
                    <a:lnTo>
                      <a:pt x="220" y="102"/>
                    </a:lnTo>
                    <a:lnTo>
                      <a:pt x="219" y="103"/>
                    </a:lnTo>
                    <a:lnTo>
                      <a:pt x="215" y="106"/>
                    </a:lnTo>
                    <a:lnTo>
                      <a:pt x="214" y="107"/>
                    </a:lnTo>
                    <a:lnTo>
                      <a:pt x="213" y="107"/>
                    </a:lnTo>
                    <a:lnTo>
                      <a:pt x="211" y="107"/>
                    </a:lnTo>
                    <a:lnTo>
                      <a:pt x="210" y="108"/>
                    </a:lnTo>
                    <a:lnTo>
                      <a:pt x="209" y="108"/>
                    </a:lnTo>
                    <a:lnTo>
                      <a:pt x="206" y="108"/>
                    </a:lnTo>
                    <a:lnTo>
                      <a:pt x="204" y="108"/>
                    </a:lnTo>
                    <a:lnTo>
                      <a:pt x="203" y="109"/>
                    </a:lnTo>
                    <a:lnTo>
                      <a:pt x="202" y="108"/>
                    </a:lnTo>
                    <a:lnTo>
                      <a:pt x="201" y="108"/>
                    </a:lnTo>
                    <a:lnTo>
                      <a:pt x="201" y="109"/>
                    </a:lnTo>
                    <a:lnTo>
                      <a:pt x="200" y="109"/>
                    </a:lnTo>
                    <a:lnTo>
                      <a:pt x="199" y="110"/>
                    </a:lnTo>
                    <a:lnTo>
                      <a:pt x="198" y="111"/>
                    </a:lnTo>
                    <a:lnTo>
                      <a:pt x="197" y="111"/>
                    </a:lnTo>
                    <a:lnTo>
                      <a:pt x="196" y="112"/>
                    </a:lnTo>
                    <a:lnTo>
                      <a:pt x="196" y="113"/>
                    </a:lnTo>
                    <a:lnTo>
                      <a:pt x="195" y="113"/>
                    </a:lnTo>
                    <a:lnTo>
                      <a:pt x="193" y="116"/>
                    </a:lnTo>
                    <a:lnTo>
                      <a:pt x="191" y="116"/>
                    </a:lnTo>
                    <a:lnTo>
                      <a:pt x="191" y="117"/>
                    </a:lnTo>
                    <a:lnTo>
                      <a:pt x="191" y="118"/>
                    </a:lnTo>
                    <a:lnTo>
                      <a:pt x="190" y="119"/>
                    </a:lnTo>
                    <a:lnTo>
                      <a:pt x="190" y="120"/>
                    </a:lnTo>
                    <a:lnTo>
                      <a:pt x="189" y="121"/>
                    </a:lnTo>
                    <a:lnTo>
                      <a:pt x="189" y="122"/>
                    </a:lnTo>
                    <a:lnTo>
                      <a:pt x="188" y="125"/>
                    </a:lnTo>
                    <a:lnTo>
                      <a:pt x="187" y="128"/>
                    </a:lnTo>
                    <a:lnTo>
                      <a:pt x="186" y="130"/>
                    </a:lnTo>
                    <a:lnTo>
                      <a:pt x="185" y="131"/>
                    </a:lnTo>
                    <a:lnTo>
                      <a:pt x="184" y="131"/>
                    </a:lnTo>
                    <a:lnTo>
                      <a:pt x="183" y="132"/>
                    </a:lnTo>
                    <a:lnTo>
                      <a:pt x="183" y="133"/>
                    </a:lnTo>
                    <a:lnTo>
                      <a:pt x="182" y="134"/>
                    </a:lnTo>
                    <a:lnTo>
                      <a:pt x="182" y="136"/>
                    </a:lnTo>
                    <a:lnTo>
                      <a:pt x="182" y="137"/>
                    </a:lnTo>
                    <a:lnTo>
                      <a:pt x="181" y="139"/>
                    </a:lnTo>
                    <a:lnTo>
                      <a:pt x="181" y="141"/>
                    </a:lnTo>
                    <a:lnTo>
                      <a:pt x="181" y="144"/>
                    </a:lnTo>
                    <a:lnTo>
                      <a:pt x="181" y="145"/>
                    </a:lnTo>
                    <a:lnTo>
                      <a:pt x="182" y="146"/>
                    </a:lnTo>
                    <a:lnTo>
                      <a:pt x="181" y="147"/>
                    </a:lnTo>
                    <a:lnTo>
                      <a:pt x="181" y="150"/>
                    </a:lnTo>
                    <a:lnTo>
                      <a:pt x="180" y="155"/>
                    </a:lnTo>
                    <a:lnTo>
                      <a:pt x="180" y="158"/>
                    </a:lnTo>
                    <a:lnTo>
                      <a:pt x="180" y="159"/>
                    </a:lnTo>
                    <a:lnTo>
                      <a:pt x="180" y="160"/>
                    </a:lnTo>
                    <a:lnTo>
                      <a:pt x="181" y="161"/>
                    </a:lnTo>
                    <a:lnTo>
                      <a:pt x="183" y="162"/>
                    </a:lnTo>
                    <a:lnTo>
                      <a:pt x="184" y="163"/>
                    </a:lnTo>
                    <a:lnTo>
                      <a:pt x="185" y="163"/>
                    </a:lnTo>
                    <a:lnTo>
                      <a:pt x="183" y="167"/>
                    </a:lnTo>
                    <a:lnTo>
                      <a:pt x="182" y="170"/>
                    </a:lnTo>
                    <a:lnTo>
                      <a:pt x="181" y="172"/>
                    </a:lnTo>
                    <a:lnTo>
                      <a:pt x="180" y="173"/>
                    </a:lnTo>
                    <a:lnTo>
                      <a:pt x="180" y="174"/>
                    </a:lnTo>
                    <a:lnTo>
                      <a:pt x="180" y="175"/>
                    </a:lnTo>
                    <a:lnTo>
                      <a:pt x="178" y="176"/>
                    </a:lnTo>
                    <a:lnTo>
                      <a:pt x="178" y="180"/>
                    </a:lnTo>
                    <a:lnTo>
                      <a:pt x="178" y="181"/>
                    </a:lnTo>
                    <a:lnTo>
                      <a:pt x="178" y="183"/>
                    </a:lnTo>
                    <a:lnTo>
                      <a:pt x="178" y="184"/>
                    </a:lnTo>
                    <a:lnTo>
                      <a:pt x="180" y="186"/>
                    </a:lnTo>
                    <a:lnTo>
                      <a:pt x="180" y="187"/>
                    </a:lnTo>
                    <a:lnTo>
                      <a:pt x="183" y="189"/>
                    </a:lnTo>
                    <a:lnTo>
                      <a:pt x="185" y="190"/>
                    </a:lnTo>
                    <a:lnTo>
                      <a:pt x="187" y="190"/>
                    </a:lnTo>
                    <a:lnTo>
                      <a:pt x="188" y="192"/>
                    </a:lnTo>
                    <a:lnTo>
                      <a:pt x="188" y="190"/>
                    </a:lnTo>
                    <a:lnTo>
                      <a:pt x="196" y="190"/>
                    </a:lnTo>
                    <a:lnTo>
                      <a:pt x="199" y="190"/>
                    </a:lnTo>
                    <a:lnTo>
                      <a:pt x="200" y="190"/>
                    </a:lnTo>
                    <a:lnTo>
                      <a:pt x="203" y="190"/>
                    </a:lnTo>
                    <a:lnTo>
                      <a:pt x="204" y="190"/>
                    </a:lnTo>
                    <a:lnTo>
                      <a:pt x="207" y="192"/>
                    </a:lnTo>
                    <a:lnTo>
                      <a:pt x="208" y="192"/>
                    </a:lnTo>
                    <a:lnTo>
                      <a:pt x="210" y="193"/>
                    </a:lnTo>
                    <a:lnTo>
                      <a:pt x="212" y="193"/>
                    </a:lnTo>
                    <a:lnTo>
                      <a:pt x="215" y="194"/>
                    </a:lnTo>
                    <a:lnTo>
                      <a:pt x="219" y="194"/>
                    </a:lnTo>
                    <a:lnTo>
                      <a:pt x="224" y="195"/>
                    </a:lnTo>
                    <a:lnTo>
                      <a:pt x="229" y="197"/>
                    </a:lnTo>
                    <a:lnTo>
                      <a:pt x="233" y="198"/>
                    </a:lnTo>
                    <a:lnTo>
                      <a:pt x="236" y="199"/>
                    </a:lnTo>
                    <a:lnTo>
                      <a:pt x="239" y="200"/>
                    </a:lnTo>
                    <a:lnTo>
                      <a:pt x="242" y="201"/>
                    </a:lnTo>
                    <a:lnTo>
                      <a:pt x="245" y="202"/>
                    </a:lnTo>
                    <a:lnTo>
                      <a:pt x="247" y="206"/>
                    </a:lnTo>
                    <a:lnTo>
                      <a:pt x="247" y="208"/>
                    </a:lnTo>
                    <a:lnTo>
                      <a:pt x="246" y="209"/>
                    </a:lnTo>
                    <a:lnTo>
                      <a:pt x="245" y="212"/>
                    </a:lnTo>
                    <a:lnTo>
                      <a:pt x="242" y="215"/>
                    </a:lnTo>
                    <a:lnTo>
                      <a:pt x="240" y="220"/>
                    </a:lnTo>
                    <a:lnTo>
                      <a:pt x="237" y="223"/>
                    </a:lnTo>
                    <a:lnTo>
                      <a:pt x="233" y="226"/>
                    </a:lnTo>
                    <a:lnTo>
                      <a:pt x="230" y="228"/>
                    </a:lnTo>
                    <a:lnTo>
                      <a:pt x="223" y="231"/>
                    </a:lnTo>
                    <a:lnTo>
                      <a:pt x="220" y="233"/>
                    </a:lnTo>
                    <a:lnTo>
                      <a:pt x="215" y="234"/>
                    </a:lnTo>
                    <a:lnTo>
                      <a:pt x="212" y="237"/>
                    </a:lnTo>
                    <a:lnTo>
                      <a:pt x="210" y="238"/>
                    </a:lnTo>
                    <a:lnTo>
                      <a:pt x="208" y="240"/>
                    </a:lnTo>
                    <a:lnTo>
                      <a:pt x="206" y="242"/>
                    </a:lnTo>
                    <a:lnTo>
                      <a:pt x="203" y="245"/>
                    </a:lnTo>
                    <a:lnTo>
                      <a:pt x="202" y="246"/>
                    </a:lnTo>
                    <a:lnTo>
                      <a:pt x="201" y="247"/>
                    </a:lnTo>
                    <a:lnTo>
                      <a:pt x="201" y="248"/>
                    </a:lnTo>
                    <a:lnTo>
                      <a:pt x="200" y="250"/>
                    </a:lnTo>
                    <a:lnTo>
                      <a:pt x="199" y="251"/>
                    </a:lnTo>
                    <a:lnTo>
                      <a:pt x="199" y="252"/>
                    </a:lnTo>
                    <a:lnTo>
                      <a:pt x="198" y="253"/>
                    </a:lnTo>
                    <a:lnTo>
                      <a:pt x="197" y="253"/>
                    </a:lnTo>
                    <a:lnTo>
                      <a:pt x="197" y="256"/>
                    </a:lnTo>
                    <a:lnTo>
                      <a:pt x="196" y="257"/>
                    </a:lnTo>
                    <a:lnTo>
                      <a:pt x="196" y="258"/>
                    </a:lnTo>
                    <a:lnTo>
                      <a:pt x="195" y="258"/>
                    </a:lnTo>
                    <a:lnTo>
                      <a:pt x="193" y="259"/>
                    </a:lnTo>
                    <a:lnTo>
                      <a:pt x="191" y="260"/>
                    </a:lnTo>
                    <a:lnTo>
                      <a:pt x="190" y="260"/>
                    </a:lnTo>
                    <a:lnTo>
                      <a:pt x="188" y="262"/>
                    </a:lnTo>
                    <a:lnTo>
                      <a:pt x="188" y="263"/>
                    </a:lnTo>
                    <a:lnTo>
                      <a:pt x="187" y="263"/>
                    </a:lnTo>
                    <a:lnTo>
                      <a:pt x="187" y="264"/>
                    </a:lnTo>
                    <a:lnTo>
                      <a:pt x="186" y="264"/>
                    </a:lnTo>
                    <a:lnTo>
                      <a:pt x="186" y="265"/>
                    </a:lnTo>
                    <a:lnTo>
                      <a:pt x="186" y="266"/>
                    </a:lnTo>
                    <a:lnTo>
                      <a:pt x="186" y="267"/>
                    </a:lnTo>
                    <a:lnTo>
                      <a:pt x="186" y="269"/>
                    </a:lnTo>
                    <a:lnTo>
                      <a:pt x="186" y="272"/>
                    </a:lnTo>
                    <a:lnTo>
                      <a:pt x="186" y="273"/>
                    </a:lnTo>
                    <a:lnTo>
                      <a:pt x="186" y="274"/>
                    </a:lnTo>
                    <a:lnTo>
                      <a:pt x="186" y="275"/>
                    </a:lnTo>
                    <a:lnTo>
                      <a:pt x="186" y="276"/>
                    </a:lnTo>
                    <a:lnTo>
                      <a:pt x="186" y="277"/>
                    </a:lnTo>
                    <a:lnTo>
                      <a:pt x="186" y="279"/>
                    </a:lnTo>
                    <a:lnTo>
                      <a:pt x="187" y="283"/>
                    </a:lnTo>
                    <a:lnTo>
                      <a:pt x="187" y="285"/>
                    </a:lnTo>
                    <a:lnTo>
                      <a:pt x="188" y="287"/>
                    </a:lnTo>
                    <a:lnTo>
                      <a:pt x="189" y="288"/>
                    </a:lnTo>
                    <a:lnTo>
                      <a:pt x="189" y="290"/>
                    </a:lnTo>
                    <a:lnTo>
                      <a:pt x="190" y="291"/>
                    </a:lnTo>
                    <a:lnTo>
                      <a:pt x="191" y="293"/>
                    </a:lnTo>
                    <a:lnTo>
                      <a:pt x="193" y="295"/>
                    </a:lnTo>
                    <a:lnTo>
                      <a:pt x="194" y="297"/>
                    </a:lnTo>
                    <a:lnTo>
                      <a:pt x="195" y="298"/>
                    </a:lnTo>
                    <a:lnTo>
                      <a:pt x="196" y="299"/>
                    </a:lnTo>
                    <a:lnTo>
                      <a:pt x="196" y="300"/>
                    </a:lnTo>
                    <a:lnTo>
                      <a:pt x="197" y="300"/>
                    </a:lnTo>
                    <a:lnTo>
                      <a:pt x="199" y="302"/>
                    </a:lnTo>
                    <a:lnTo>
                      <a:pt x="201" y="304"/>
                    </a:lnTo>
                    <a:lnTo>
                      <a:pt x="202" y="305"/>
                    </a:lnTo>
                    <a:lnTo>
                      <a:pt x="203" y="305"/>
                    </a:lnTo>
                    <a:lnTo>
                      <a:pt x="206" y="305"/>
                    </a:lnTo>
                    <a:lnTo>
                      <a:pt x="207" y="305"/>
                    </a:lnTo>
                    <a:lnTo>
                      <a:pt x="208" y="304"/>
                    </a:lnTo>
                    <a:lnTo>
                      <a:pt x="208" y="303"/>
                    </a:lnTo>
                    <a:lnTo>
                      <a:pt x="209" y="303"/>
                    </a:lnTo>
                    <a:lnTo>
                      <a:pt x="209" y="302"/>
                    </a:lnTo>
                    <a:lnTo>
                      <a:pt x="209" y="301"/>
                    </a:lnTo>
                    <a:lnTo>
                      <a:pt x="210" y="301"/>
                    </a:lnTo>
                    <a:lnTo>
                      <a:pt x="211" y="301"/>
                    </a:lnTo>
                    <a:lnTo>
                      <a:pt x="212" y="301"/>
                    </a:lnTo>
                    <a:lnTo>
                      <a:pt x="213" y="301"/>
                    </a:lnTo>
                    <a:lnTo>
                      <a:pt x="214" y="301"/>
                    </a:lnTo>
                    <a:lnTo>
                      <a:pt x="216" y="300"/>
                    </a:lnTo>
                    <a:lnTo>
                      <a:pt x="217" y="300"/>
                    </a:lnTo>
                    <a:lnTo>
                      <a:pt x="220" y="299"/>
                    </a:lnTo>
                    <a:lnTo>
                      <a:pt x="221" y="299"/>
                    </a:lnTo>
                    <a:lnTo>
                      <a:pt x="226" y="297"/>
                    </a:lnTo>
                    <a:lnTo>
                      <a:pt x="228" y="296"/>
                    </a:lnTo>
                    <a:lnTo>
                      <a:pt x="232" y="293"/>
                    </a:lnTo>
                    <a:lnTo>
                      <a:pt x="236" y="292"/>
                    </a:lnTo>
                    <a:lnTo>
                      <a:pt x="242" y="290"/>
                    </a:lnTo>
                    <a:lnTo>
                      <a:pt x="249" y="289"/>
                    </a:lnTo>
                    <a:lnTo>
                      <a:pt x="250" y="285"/>
                    </a:lnTo>
                    <a:lnTo>
                      <a:pt x="253" y="279"/>
                    </a:lnTo>
                    <a:lnTo>
                      <a:pt x="253" y="277"/>
                    </a:lnTo>
                    <a:lnTo>
                      <a:pt x="254" y="275"/>
                    </a:lnTo>
                    <a:lnTo>
                      <a:pt x="254" y="274"/>
                    </a:lnTo>
                    <a:lnTo>
                      <a:pt x="254" y="272"/>
                    </a:lnTo>
                    <a:lnTo>
                      <a:pt x="255" y="271"/>
                    </a:lnTo>
                    <a:lnTo>
                      <a:pt x="255" y="270"/>
                    </a:lnTo>
                    <a:lnTo>
                      <a:pt x="256" y="267"/>
                    </a:lnTo>
                    <a:lnTo>
                      <a:pt x="256" y="266"/>
                    </a:lnTo>
                    <a:lnTo>
                      <a:pt x="259" y="265"/>
                    </a:lnTo>
                    <a:lnTo>
                      <a:pt x="260" y="265"/>
                    </a:lnTo>
                    <a:lnTo>
                      <a:pt x="261" y="264"/>
                    </a:lnTo>
                    <a:lnTo>
                      <a:pt x="261" y="263"/>
                    </a:lnTo>
                    <a:lnTo>
                      <a:pt x="261" y="262"/>
                    </a:lnTo>
                    <a:lnTo>
                      <a:pt x="262" y="262"/>
                    </a:lnTo>
                    <a:lnTo>
                      <a:pt x="263" y="261"/>
                    </a:lnTo>
                    <a:lnTo>
                      <a:pt x="264" y="260"/>
                    </a:lnTo>
                    <a:lnTo>
                      <a:pt x="265" y="261"/>
                    </a:lnTo>
                    <a:lnTo>
                      <a:pt x="266" y="262"/>
                    </a:lnTo>
                    <a:lnTo>
                      <a:pt x="268" y="262"/>
                    </a:lnTo>
                    <a:lnTo>
                      <a:pt x="271" y="264"/>
                    </a:lnTo>
                    <a:lnTo>
                      <a:pt x="271" y="265"/>
                    </a:lnTo>
                    <a:lnTo>
                      <a:pt x="273" y="267"/>
                    </a:lnTo>
                    <a:lnTo>
                      <a:pt x="274" y="269"/>
                    </a:lnTo>
                    <a:lnTo>
                      <a:pt x="276" y="272"/>
                    </a:lnTo>
                    <a:lnTo>
                      <a:pt x="276" y="273"/>
                    </a:lnTo>
                    <a:lnTo>
                      <a:pt x="277" y="275"/>
                    </a:lnTo>
                    <a:lnTo>
                      <a:pt x="277" y="276"/>
                    </a:lnTo>
                    <a:lnTo>
                      <a:pt x="278" y="278"/>
                    </a:lnTo>
                    <a:lnTo>
                      <a:pt x="278" y="279"/>
                    </a:lnTo>
                    <a:lnTo>
                      <a:pt x="278" y="282"/>
                    </a:lnTo>
                    <a:lnTo>
                      <a:pt x="278" y="284"/>
                    </a:lnTo>
                    <a:lnTo>
                      <a:pt x="277" y="285"/>
                    </a:lnTo>
                    <a:lnTo>
                      <a:pt x="277" y="287"/>
                    </a:lnTo>
                    <a:lnTo>
                      <a:pt x="276" y="289"/>
                    </a:lnTo>
                    <a:lnTo>
                      <a:pt x="275" y="291"/>
                    </a:lnTo>
                    <a:lnTo>
                      <a:pt x="274" y="292"/>
                    </a:lnTo>
                    <a:lnTo>
                      <a:pt x="272" y="296"/>
                    </a:lnTo>
                    <a:lnTo>
                      <a:pt x="271" y="296"/>
                    </a:lnTo>
                    <a:lnTo>
                      <a:pt x="269" y="297"/>
                    </a:lnTo>
                    <a:lnTo>
                      <a:pt x="268" y="298"/>
                    </a:lnTo>
                    <a:lnTo>
                      <a:pt x="267" y="299"/>
                    </a:lnTo>
                    <a:lnTo>
                      <a:pt x="265" y="300"/>
                    </a:lnTo>
                    <a:lnTo>
                      <a:pt x="264" y="301"/>
                    </a:lnTo>
                    <a:lnTo>
                      <a:pt x="263" y="302"/>
                    </a:lnTo>
                    <a:lnTo>
                      <a:pt x="261" y="306"/>
                    </a:lnTo>
                    <a:lnTo>
                      <a:pt x="260" y="308"/>
                    </a:lnTo>
                    <a:lnTo>
                      <a:pt x="258" y="309"/>
                    </a:lnTo>
                    <a:lnTo>
                      <a:pt x="254" y="311"/>
                    </a:lnTo>
                    <a:lnTo>
                      <a:pt x="253" y="312"/>
                    </a:lnTo>
                    <a:close/>
                  </a:path>
                </a:pathLst>
              </a:custGeom>
              <a:solidFill>
                <a:srgbClr val="0A4384"/>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1" name="Freeform 329">
                <a:extLst>
                  <a:ext uri="{FF2B5EF4-FFF2-40B4-BE49-F238E27FC236}">
                    <a16:creationId xmlns:a16="http://schemas.microsoft.com/office/drawing/2014/main" id="{FCB9844C-5711-1069-C2AB-BE6B05C5C94B}"/>
                  </a:ext>
                </a:extLst>
              </p:cNvPr>
              <p:cNvSpPr>
                <a:spLocks/>
              </p:cNvSpPr>
              <p:nvPr/>
            </p:nvSpPr>
            <p:spPr bwMode="auto">
              <a:xfrm>
                <a:off x="1643063" y="1128713"/>
                <a:ext cx="373063" cy="703263"/>
              </a:xfrm>
              <a:custGeom>
                <a:avLst/>
                <a:gdLst>
                  <a:gd name="T0" fmla="*/ 117 w 235"/>
                  <a:gd name="T1" fmla="*/ 1 h 443"/>
                  <a:gd name="T2" fmla="*/ 179 w 235"/>
                  <a:gd name="T3" fmla="*/ 102 h 443"/>
                  <a:gd name="T4" fmla="*/ 179 w 235"/>
                  <a:gd name="T5" fmla="*/ 194 h 443"/>
                  <a:gd name="T6" fmla="*/ 217 w 235"/>
                  <a:gd name="T7" fmla="*/ 252 h 443"/>
                  <a:gd name="T8" fmla="*/ 215 w 235"/>
                  <a:gd name="T9" fmla="*/ 258 h 443"/>
                  <a:gd name="T10" fmla="*/ 216 w 235"/>
                  <a:gd name="T11" fmla="*/ 261 h 443"/>
                  <a:gd name="T12" fmla="*/ 216 w 235"/>
                  <a:gd name="T13" fmla="*/ 264 h 443"/>
                  <a:gd name="T14" fmla="*/ 217 w 235"/>
                  <a:gd name="T15" fmla="*/ 271 h 443"/>
                  <a:gd name="T16" fmla="*/ 217 w 235"/>
                  <a:gd name="T17" fmla="*/ 278 h 443"/>
                  <a:gd name="T18" fmla="*/ 218 w 235"/>
                  <a:gd name="T19" fmla="*/ 285 h 443"/>
                  <a:gd name="T20" fmla="*/ 216 w 235"/>
                  <a:gd name="T21" fmla="*/ 293 h 443"/>
                  <a:gd name="T22" fmla="*/ 217 w 235"/>
                  <a:gd name="T23" fmla="*/ 302 h 443"/>
                  <a:gd name="T24" fmla="*/ 214 w 235"/>
                  <a:gd name="T25" fmla="*/ 308 h 443"/>
                  <a:gd name="T26" fmla="*/ 215 w 235"/>
                  <a:gd name="T27" fmla="*/ 315 h 443"/>
                  <a:gd name="T28" fmla="*/ 217 w 235"/>
                  <a:gd name="T29" fmla="*/ 324 h 443"/>
                  <a:gd name="T30" fmla="*/ 219 w 235"/>
                  <a:gd name="T31" fmla="*/ 333 h 443"/>
                  <a:gd name="T32" fmla="*/ 221 w 235"/>
                  <a:gd name="T33" fmla="*/ 342 h 443"/>
                  <a:gd name="T34" fmla="*/ 221 w 235"/>
                  <a:gd name="T35" fmla="*/ 352 h 443"/>
                  <a:gd name="T36" fmla="*/ 221 w 235"/>
                  <a:gd name="T37" fmla="*/ 362 h 443"/>
                  <a:gd name="T38" fmla="*/ 224 w 235"/>
                  <a:gd name="T39" fmla="*/ 368 h 443"/>
                  <a:gd name="T40" fmla="*/ 226 w 235"/>
                  <a:gd name="T41" fmla="*/ 376 h 443"/>
                  <a:gd name="T42" fmla="*/ 230 w 235"/>
                  <a:gd name="T43" fmla="*/ 384 h 443"/>
                  <a:gd name="T44" fmla="*/ 233 w 235"/>
                  <a:gd name="T45" fmla="*/ 392 h 443"/>
                  <a:gd name="T46" fmla="*/ 234 w 235"/>
                  <a:gd name="T47" fmla="*/ 399 h 443"/>
                  <a:gd name="T48" fmla="*/ 233 w 235"/>
                  <a:gd name="T49" fmla="*/ 404 h 443"/>
                  <a:gd name="T50" fmla="*/ 199 w 235"/>
                  <a:gd name="T51" fmla="*/ 411 h 443"/>
                  <a:gd name="T52" fmla="*/ 165 w 235"/>
                  <a:gd name="T53" fmla="*/ 443 h 443"/>
                  <a:gd name="T54" fmla="*/ 90 w 235"/>
                  <a:gd name="T55" fmla="*/ 443 h 443"/>
                  <a:gd name="T56" fmla="*/ 52 w 235"/>
                  <a:gd name="T57" fmla="*/ 378 h 443"/>
                  <a:gd name="T58" fmla="*/ 52 w 235"/>
                  <a:gd name="T59" fmla="*/ 294 h 443"/>
                  <a:gd name="T60" fmla="*/ 38 w 235"/>
                  <a:gd name="T61" fmla="*/ 185 h 443"/>
                  <a:gd name="T62" fmla="*/ 39 w 235"/>
                  <a:gd name="T63" fmla="*/ 179 h 443"/>
                  <a:gd name="T64" fmla="*/ 37 w 235"/>
                  <a:gd name="T65" fmla="*/ 172 h 443"/>
                  <a:gd name="T66" fmla="*/ 38 w 235"/>
                  <a:gd name="T67" fmla="*/ 165 h 443"/>
                  <a:gd name="T68" fmla="*/ 44 w 235"/>
                  <a:gd name="T69" fmla="*/ 157 h 443"/>
                  <a:gd name="T70" fmla="*/ 44 w 235"/>
                  <a:gd name="T71" fmla="*/ 149 h 443"/>
                  <a:gd name="T72" fmla="*/ 47 w 235"/>
                  <a:gd name="T73" fmla="*/ 142 h 443"/>
                  <a:gd name="T74" fmla="*/ 46 w 235"/>
                  <a:gd name="T75" fmla="*/ 136 h 443"/>
                  <a:gd name="T76" fmla="*/ 40 w 235"/>
                  <a:gd name="T77" fmla="*/ 128 h 443"/>
                  <a:gd name="T78" fmla="*/ 45 w 235"/>
                  <a:gd name="T79" fmla="*/ 121 h 443"/>
                  <a:gd name="T80" fmla="*/ 48 w 235"/>
                  <a:gd name="T81" fmla="*/ 117 h 443"/>
                  <a:gd name="T82" fmla="*/ 49 w 235"/>
                  <a:gd name="T83" fmla="*/ 111 h 443"/>
                  <a:gd name="T84" fmla="*/ 40 w 235"/>
                  <a:gd name="T85" fmla="*/ 109 h 443"/>
                  <a:gd name="T86" fmla="*/ 35 w 235"/>
                  <a:gd name="T87" fmla="*/ 98 h 443"/>
                  <a:gd name="T88" fmla="*/ 32 w 235"/>
                  <a:gd name="T89" fmla="*/ 92 h 443"/>
                  <a:gd name="T90" fmla="*/ 30 w 235"/>
                  <a:gd name="T91" fmla="*/ 84 h 443"/>
                  <a:gd name="T92" fmla="*/ 36 w 235"/>
                  <a:gd name="T93" fmla="*/ 80 h 443"/>
                  <a:gd name="T94" fmla="*/ 34 w 235"/>
                  <a:gd name="T95" fmla="*/ 73 h 443"/>
                  <a:gd name="T96" fmla="*/ 30 w 235"/>
                  <a:gd name="T97" fmla="*/ 68 h 443"/>
                  <a:gd name="T98" fmla="*/ 21 w 235"/>
                  <a:gd name="T99" fmla="*/ 70 h 443"/>
                  <a:gd name="T100" fmla="*/ 18 w 235"/>
                  <a:gd name="T101" fmla="*/ 62 h 443"/>
                  <a:gd name="T102" fmla="*/ 11 w 235"/>
                  <a:gd name="T103" fmla="*/ 58 h 443"/>
                  <a:gd name="T104" fmla="*/ 9 w 235"/>
                  <a:gd name="T105" fmla="*/ 50 h 443"/>
                  <a:gd name="T106" fmla="*/ 7 w 235"/>
                  <a:gd name="T107" fmla="*/ 40 h 443"/>
                  <a:gd name="T108" fmla="*/ 1 w 235"/>
                  <a:gd name="T109" fmla="*/ 36 h 443"/>
                  <a:gd name="T110" fmla="*/ 1 w 235"/>
                  <a:gd name="T111" fmla="*/ 31 h 443"/>
                  <a:gd name="T112" fmla="*/ 1 w 235"/>
                  <a:gd name="T113" fmla="*/ 26 h 443"/>
                  <a:gd name="T114" fmla="*/ 5 w 235"/>
                  <a:gd name="T115" fmla="*/ 18 h 443"/>
                  <a:gd name="T116" fmla="*/ 9 w 235"/>
                  <a:gd name="T117" fmla="*/ 12 h 443"/>
                  <a:gd name="T118" fmla="*/ 8 w 235"/>
                  <a:gd name="T119" fmla="*/ 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 h="443">
                    <a:moveTo>
                      <a:pt x="7" y="0"/>
                    </a:moveTo>
                    <a:lnTo>
                      <a:pt x="25" y="1"/>
                    </a:lnTo>
                    <a:lnTo>
                      <a:pt x="32" y="0"/>
                    </a:lnTo>
                    <a:lnTo>
                      <a:pt x="39" y="0"/>
                    </a:lnTo>
                    <a:lnTo>
                      <a:pt x="46" y="0"/>
                    </a:lnTo>
                    <a:lnTo>
                      <a:pt x="52" y="0"/>
                    </a:lnTo>
                    <a:lnTo>
                      <a:pt x="85" y="1"/>
                    </a:lnTo>
                    <a:lnTo>
                      <a:pt x="95" y="1"/>
                    </a:lnTo>
                    <a:lnTo>
                      <a:pt x="99" y="1"/>
                    </a:lnTo>
                    <a:lnTo>
                      <a:pt x="109" y="1"/>
                    </a:lnTo>
                    <a:lnTo>
                      <a:pt x="117" y="1"/>
                    </a:lnTo>
                    <a:lnTo>
                      <a:pt x="126" y="1"/>
                    </a:lnTo>
                    <a:lnTo>
                      <a:pt x="136" y="1"/>
                    </a:lnTo>
                    <a:lnTo>
                      <a:pt x="168" y="1"/>
                    </a:lnTo>
                    <a:lnTo>
                      <a:pt x="174" y="1"/>
                    </a:lnTo>
                    <a:lnTo>
                      <a:pt x="179" y="1"/>
                    </a:lnTo>
                    <a:lnTo>
                      <a:pt x="179" y="7"/>
                    </a:lnTo>
                    <a:lnTo>
                      <a:pt x="179" y="14"/>
                    </a:lnTo>
                    <a:lnTo>
                      <a:pt x="179" y="15"/>
                    </a:lnTo>
                    <a:lnTo>
                      <a:pt x="179" y="83"/>
                    </a:lnTo>
                    <a:lnTo>
                      <a:pt x="179" y="97"/>
                    </a:lnTo>
                    <a:lnTo>
                      <a:pt x="179" y="102"/>
                    </a:lnTo>
                    <a:lnTo>
                      <a:pt x="179" y="108"/>
                    </a:lnTo>
                    <a:lnTo>
                      <a:pt x="179" y="120"/>
                    </a:lnTo>
                    <a:lnTo>
                      <a:pt x="179" y="123"/>
                    </a:lnTo>
                    <a:lnTo>
                      <a:pt x="180" y="135"/>
                    </a:lnTo>
                    <a:lnTo>
                      <a:pt x="180" y="141"/>
                    </a:lnTo>
                    <a:lnTo>
                      <a:pt x="180" y="149"/>
                    </a:lnTo>
                    <a:lnTo>
                      <a:pt x="179" y="155"/>
                    </a:lnTo>
                    <a:lnTo>
                      <a:pt x="179" y="157"/>
                    </a:lnTo>
                    <a:lnTo>
                      <a:pt x="179" y="159"/>
                    </a:lnTo>
                    <a:lnTo>
                      <a:pt x="179" y="188"/>
                    </a:lnTo>
                    <a:lnTo>
                      <a:pt x="179" y="194"/>
                    </a:lnTo>
                    <a:lnTo>
                      <a:pt x="179" y="196"/>
                    </a:lnTo>
                    <a:lnTo>
                      <a:pt x="180" y="196"/>
                    </a:lnTo>
                    <a:lnTo>
                      <a:pt x="180" y="221"/>
                    </a:lnTo>
                    <a:lnTo>
                      <a:pt x="194" y="220"/>
                    </a:lnTo>
                    <a:lnTo>
                      <a:pt x="201" y="220"/>
                    </a:lnTo>
                    <a:lnTo>
                      <a:pt x="211" y="220"/>
                    </a:lnTo>
                    <a:lnTo>
                      <a:pt x="211" y="236"/>
                    </a:lnTo>
                    <a:lnTo>
                      <a:pt x="211" y="242"/>
                    </a:lnTo>
                    <a:lnTo>
                      <a:pt x="212" y="252"/>
                    </a:lnTo>
                    <a:lnTo>
                      <a:pt x="216" y="252"/>
                    </a:lnTo>
                    <a:lnTo>
                      <a:pt x="217" y="252"/>
                    </a:lnTo>
                    <a:lnTo>
                      <a:pt x="216" y="252"/>
                    </a:lnTo>
                    <a:lnTo>
                      <a:pt x="216" y="253"/>
                    </a:lnTo>
                    <a:lnTo>
                      <a:pt x="215" y="253"/>
                    </a:lnTo>
                    <a:lnTo>
                      <a:pt x="215" y="255"/>
                    </a:lnTo>
                    <a:lnTo>
                      <a:pt x="214" y="255"/>
                    </a:lnTo>
                    <a:lnTo>
                      <a:pt x="214" y="256"/>
                    </a:lnTo>
                    <a:lnTo>
                      <a:pt x="214" y="257"/>
                    </a:lnTo>
                    <a:lnTo>
                      <a:pt x="213" y="257"/>
                    </a:lnTo>
                    <a:lnTo>
                      <a:pt x="213" y="258"/>
                    </a:lnTo>
                    <a:lnTo>
                      <a:pt x="214" y="258"/>
                    </a:lnTo>
                    <a:lnTo>
                      <a:pt x="215" y="258"/>
                    </a:lnTo>
                    <a:lnTo>
                      <a:pt x="216" y="258"/>
                    </a:lnTo>
                    <a:lnTo>
                      <a:pt x="217" y="258"/>
                    </a:lnTo>
                    <a:lnTo>
                      <a:pt x="216" y="258"/>
                    </a:lnTo>
                    <a:lnTo>
                      <a:pt x="216" y="259"/>
                    </a:lnTo>
                    <a:lnTo>
                      <a:pt x="217" y="259"/>
                    </a:lnTo>
                    <a:lnTo>
                      <a:pt x="216" y="259"/>
                    </a:lnTo>
                    <a:lnTo>
                      <a:pt x="217" y="260"/>
                    </a:lnTo>
                    <a:lnTo>
                      <a:pt x="216" y="260"/>
                    </a:lnTo>
                    <a:lnTo>
                      <a:pt x="217" y="260"/>
                    </a:lnTo>
                    <a:lnTo>
                      <a:pt x="217" y="261"/>
                    </a:lnTo>
                    <a:lnTo>
                      <a:pt x="216" y="261"/>
                    </a:lnTo>
                    <a:lnTo>
                      <a:pt x="217" y="261"/>
                    </a:lnTo>
                    <a:lnTo>
                      <a:pt x="217" y="262"/>
                    </a:lnTo>
                    <a:lnTo>
                      <a:pt x="218" y="262"/>
                    </a:lnTo>
                    <a:lnTo>
                      <a:pt x="217" y="262"/>
                    </a:lnTo>
                    <a:lnTo>
                      <a:pt x="217" y="263"/>
                    </a:lnTo>
                    <a:lnTo>
                      <a:pt x="218" y="263"/>
                    </a:lnTo>
                    <a:lnTo>
                      <a:pt x="217" y="263"/>
                    </a:lnTo>
                    <a:lnTo>
                      <a:pt x="217" y="264"/>
                    </a:lnTo>
                    <a:lnTo>
                      <a:pt x="217" y="263"/>
                    </a:lnTo>
                    <a:lnTo>
                      <a:pt x="216" y="263"/>
                    </a:lnTo>
                    <a:lnTo>
                      <a:pt x="216" y="264"/>
                    </a:lnTo>
                    <a:lnTo>
                      <a:pt x="216" y="265"/>
                    </a:lnTo>
                    <a:lnTo>
                      <a:pt x="215" y="265"/>
                    </a:lnTo>
                    <a:lnTo>
                      <a:pt x="214" y="265"/>
                    </a:lnTo>
                    <a:lnTo>
                      <a:pt x="215" y="265"/>
                    </a:lnTo>
                    <a:lnTo>
                      <a:pt x="215" y="267"/>
                    </a:lnTo>
                    <a:lnTo>
                      <a:pt x="215" y="268"/>
                    </a:lnTo>
                    <a:lnTo>
                      <a:pt x="215" y="269"/>
                    </a:lnTo>
                    <a:lnTo>
                      <a:pt x="216" y="269"/>
                    </a:lnTo>
                    <a:lnTo>
                      <a:pt x="216" y="270"/>
                    </a:lnTo>
                    <a:lnTo>
                      <a:pt x="217" y="270"/>
                    </a:lnTo>
                    <a:lnTo>
                      <a:pt x="217" y="271"/>
                    </a:lnTo>
                    <a:lnTo>
                      <a:pt x="218" y="271"/>
                    </a:lnTo>
                    <a:lnTo>
                      <a:pt x="217" y="271"/>
                    </a:lnTo>
                    <a:lnTo>
                      <a:pt x="217" y="272"/>
                    </a:lnTo>
                    <a:lnTo>
                      <a:pt x="217" y="273"/>
                    </a:lnTo>
                    <a:lnTo>
                      <a:pt x="217" y="274"/>
                    </a:lnTo>
                    <a:lnTo>
                      <a:pt x="217" y="275"/>
                    </a:lnTo>
                    <a:lnTo>
                      <a:pt x="217" y="276"/>
                    </a:lnTo>
                    <a:lnTo>
                      <a:pt x="217" y="277"/>
                    </a:lnTo>
                    <a:lnTo>
                      <a:pt x="216" y="277"/>
                    </a:lnTo>
                    <a:lnTo>
                      <a:pt x="217" y="277"/>
                    </a:lnTo>
                    <a:lnTo>
                      <a:pt x="217" y="278"/>
                    </a:lnTo>
                    <a:lnTo>
                      <a:pt x="217" y="280"/>
                    </a:lnTo>
                    <a:lnTo>
                      <a:pt x="218" y="280"/>
                    </a:lnTo>
                    <a:lnTo>
                      <a:pt x="218" y="281"/>
                    </a:lnTo>
                    <a:lnTo>
                      <a:pt x="219" y="281"/>
                    </a:lnTo>
                    <a:lnTo>
                      <a:pt x="219" y="282"/>
                    </a:lnTo>
                    <a:lnTo>
                      <a:pt x="218" y="282"/>
                    </a:lnTo>
                    <a:lnTo>
                      <a:pt x="218" y="283"/>
                    </a:lnTo>
                    <a:lnTo>
                      <a:pt x="218" y="284"/>
                    </a:lnTo>
                    <a:lnTo>
                      <a:pt x="218" y="285"/>
                    </a:lnTo>
                    <a:lnTo>
                      <a:pt x="217" y="285"/>
                    </a:lnTo>
                    <a:lnTo>
                      <a:pt x="218" y="285"/>
                    </a:lnTo>
                    <a:lnTo>
                      <a:pt x="217" y="285"/>
                    </a:lnTo>
                    <a:lnTo>
                      <a:pt x="217" y="286"/>
                    </a:lnTo>
                    <a:lnTo>
                      <a:pt x="216" y="286"/>
                    </a:lnTo>
                    <a:lnTo>
                      <a:pt x="217" y="286"/>
                    </a:lnTo>
                    <a:lnTo>
                      <a:pt x="217" y="287"/>
                    </a:lnTo>
                    <a:lnTo>
                      <a:pt x="216" y="287"/>
                    </a:lnTo>
                    <a:lnTo>
                      <a:pt x="216" y="288"/>
                    </a:lnTo>
                    <a:lnTo>
                      <a:pt x="216" y="289"/>
                    </a:lnTo>
                    <a:lnTo>
                      <a:pt x="216" y="290"/>
                    </a:lnTo>
                    <a:lnTo>
                      <a:pt x="216" y="291"/>
                    </a:lnTo>
                    <a:lnTo>
                      <a:pt x="216" y="293"/>
                    </a:lnTo>
                    <a:lnTo>
                      <a:pt x="216" y="294"/>
                    </a:lnTo>
                    <a:lnTo>
                      <a:pt x="216" y="295"/>
                    </a:lnTo>
                    <a:lnTo>
                      <a:pt x="217" y="295"/>
                    </a:lnTo>
                    <a:lnTo>
                      <a:pt x="217" y="296"/>
                    </a:lnTo>
                    <a:lnTo>
                      <a:pt x="217" y="297"/>
                    </a:lnTo>
                    <a:lnTo>
                      <a:pt x="216" y="297"/>
                    </a:lnTo>
                    <a:lnTo>
                      <a:pt x="216" y="298"/>
                    </a:lnTo>
                    <a:lnTo>
                      <a:pt x="216" y="299"/>
                    </a:lnTo>
                    <a:lnTo>
                      <a:pt x="216" y="300"/>
                    </a:lnTo>
                    <a:lnTo>
                      <a:pt x="216" y="301"/>
                    </a:lnTo>
                    <a:lnTo>
                      <a:pt x="217" y="302"/>
                    </a:lnTo>
                    <a:lnTo>
                      <a:pt x="216" y="302"/>
                    </a:lnTo>
                    <a:lnTo>
                      <a:pt x="217" y="302"/>
                    </a:lnTo>
                    <a:lnTo>
                      <a:pt x="217" y="303"/>
                    </a:lnTo>
                    <a:lnTo>
                      <a:pt x="216" y="303"/>
                    </a:lnTo>
                    <a:lnTo>
                      <a:pt x="217" y="303"/>
                    </a:lnTo>
                    <a:lnTo>
                      <a:pt x="217" y="304"/>
                    </a:lnTo>
                    <a:lnTo>
                      <a:pt x="216" y="306"/>
                    </a:lnTo>
                    <a:lnTo>
                      <a:pt x="215" y="306"/>
                    </a:lnTo>
                    <a:lnTo>
                      <a:pt x="214" y="306"/>
                    </a:lnTo>
                    <a:lnTo>
                      <a:pt x="214" y="307"/>
                    </a:lnTo>
                    <a:lnTo>
                      <a:pt x="214" y="308"/>
                    </a:lnTo>
                    <a:lnTo>
                      <a:pt x="215" y="308"/>
                    </a:lnTo>
                    <a:lnTo>
                      <a:pt x="215" y="309"/>
                    </a:lnTo>
                    <a:lnTo>
                      <a:pt x="214" y="310"/>
                    </a:lnTo>
                    <a:lnTo>
                      <a:pt x="214" y="311"/>
                    </a:lnTo>
                    <a:lnTo>
                      <a:pt x="214" y="312"/>
                    </a:lnTo>
                    <a:lnTo>
                      <a:pt x="215" y="312"/>
                    </a:lnTo>
                    <a:lnTo>
                      <a:pt x="215" y="313"/>
                    </a:lnTo>
                    <a:lnTo>
                      <a:pt x="214" y="313"/>
                    </a:lnTo>
                    <a:lnTo>
                      <a:pt x="214" y="314"/>
                    </a:lnTo>
                    <a:lnTo>
                      <a:pt x="214" y="315"/>
                    </a:lnTo>
                    <a:lnTo>
                      <a:pt x="215" y="315"/>
                    </a:lnTo>
                    <a:lnTo>
                      <a:pt x="216" y="316"/>
                    </a:lnTo>
                    <a:lnTo>
                      <a:pt x="216" y="317"/>
                    </a:lnTo>
                    <a:lnTo>
                      <a:pt x="217" y="317"/>
                    </a:lnTo>
                    <a:lnTo>
                      <a:pt x="217" y="319"/>
                    </a:lnTo>
                    <a:lnTo>
                      <a:pt x="217" y="320"/>
                    </a:lnTo>
                    <a:lnTo>
                      <a:pt x="217" y="321"/>
                    </a:lnTo>
                    <a:lnTo>
                      <a:pt x="216" y="321"/>
                    </a:lnTo>
                    <a:lnTo>
                      <a:pt x="217" y="321"/>
                    </a:lnTo>
                    <a:lnTo>
                      <a:pt x="217" y="322"/>
                    </a:lnTo>
                    <a:lnTo>
                      <a:pt x="217" y="323"/>
                    </a:lnTo>
                    <a:lnTo>
                      <a:pt x="217" y="324"/>
                    </a:lnTo>
                    <a:lnTo>
                      <a:pt x="217" y="325"/>
                    </a:lnTo>
                    <a:lnTo>
                      <a:pt x="217" y="326"/>
                    </a:lnTo>
                    <a:lnTo>
                      <a:pt x="217" y="327"/>
                    </a:lnTo>
                    <a:lnTo>
                      <a:pt x="218" y="327"/>
                    </a:lnTo>
                    <a:lnTo>
                      <a:pt x="218" y="328"/>
                    </a:lnTo>
                    <a:lnTo>
                      <a:pt x="218" y="329"/>
                    </a:lnTo>
                    <a:lnTo>
                      <a:pt x="219" y="330"/>
                    </a:lnTo>
                    <a:lnTo>
                      <a:pt x="218" y="330"/>
                    </a:lnTo>
                    <a:lnTo>
                      <a:pt x="218" y="332"/>
                    </a:lnTo>
                    <a:lnTo>
                      <a:pt x="218" y="333"/>
                    </a:lnTo>
                    <a:lnTo>
                      <a:pt x="219" y="333"/>
                    </a:lnTo>
                    <a:lnTo>
                      <a:pt x="219" y="334"/>
                    </a:lnTo>
                    <a:lnTo>
                      <a:pt x="219" y="335"/>
                    </a:lnTo>
                    <a:lnTo>
                      <a:pt x="220" y="336"/>
                    </a:lnTo>
                    <a:lnTo>
                      <a:pt x="220" y="337"/>
                    </a:lnTo>
                    <a:lnTo>
                      <a:pt x="221" y="337"/>
                    </a:lnTo>
                    <a:lnTo>
                      <a:pt x="221" y="338"/>
                    </a:lnTo>
                    <a:lnTo>
                      <a:pt x="221" y="340"/>
                    </a:lnTo>
                    <a:lnTo>
                      <a:pt x="222" y="340"/>
                    </a:lnTo>
                    <a:lnTo>
                      <a:pt x="222" y="341"/>
                    </a:lnTo>
                    <a:lnTo>
                      <a:pt x="222" y="342"/>
                    </a:lnTo>
                    <a:lnTo>
                      <a:pt x="221" y="342"/>
                    </a:lnTo>
                    <a:lnTo>
                      <a:pt x="221" y="345"/>
                    </a:lnTo>
                    <a:lnTo>
                      <a:pt x="220" y="345"/>
                    </a:lnTo>
                    <a:lnTo>
                      <a:pt x="220" y="346"/>
                    </a:lnTo>
                    <a:lnTo>
                      <a:pt x="220" y="347"/>
                    </a:lnTo>
                    <a:lnTo>
                      <a:pt x="219" y="348"/>
                    </a:lnTo>
                    <a:lnTo>
                      <a:pt x="220" y="348"/>
                    </a:lnTo>
                    <a:lnTo>
                      <a:pt x="220" y="349"/>
                    </a:lnTo>
                    <a:lnTo>
                      <a:pt x="220" y="350"/>
                    </a:lnTo>
                    <a:lnTo>
                      <a:pt x="220" y="351"/>
                    </a:lnTo>
                    <a:lnTo>
                      <a:pt x="220" y="352"/>
                    </a:lnTo>
                    <a:lnTo>
                      <a:pt x="221" y="352"/>
                    </a:lnTo>
                    <a:lnTo>
                      <a:pt x="221" y="353"/>
                    </a:lnTo>
                    <a:lnTo>
                      <a:pt x="221" y="354"/>
                    </a:lnTo>
                    <a:lnTo>
                      <a:pt x="221" y="355"/>
                    </a:lnTo>
                    <a:lnTo>
                      <a:pt x="222" y="357"/>
                    </a:lnTo>
                    <a:lnTo>
                      <a:pt x="222" y="358"/>
                    </a:lnTo>
                    <a:lnTo>
                      <a:pt x="221" y="358"/>
                    </a:lnTo>
                    <a:lnTo>
                      <a:pt x="221" y="359"/>
                    </a:lnTo>
                    <a:lnTo>
                      <a:pt x="220" y="359"/>
                    </a:lnTo>
                    <a:lnTo>
                      <a:pt x="221" y="360"/>
                    </a:lnTo>
                    <a:lnTo>
                      <a:pt x="221" y="361"/>
                    </a:lnTo>
                    <a:lnTo>
                      <a:pt x="221" y="362"/>
                    </a:lnTo>
                    <a:lnTo>
                      <a:pt x="222" y="362"/>
                    </a:lnTo>
                    <a:lnTo>
                      <a:pt x="221" y="363"/>
                    </a:lnTo>
                    <a:lnTo>
                      <a:pt x="222" y="363"/>
                    </a:lnTo>
                    <a:lnTo>
                      <a:pt x="222" y="364"/>
                    </a:lnTo>
                    <a:lnTo>
                      <a:pt x="222" y="365"/>
                    </a:lnTo>
                    <a:lnTo>
                      <a:pt x="222" y="366"/>
                    </a:lnTo>
                    <a:lnTo>
                      <a:pt x="224" y="366"/>
                    </a:lnTo>
                    <a:lnTo>
                      <a:pt x="224" y="367"/>
                    </a:lnTo>
                    <a:lnTo>
                      <a:pt x="225" y="367"/>
                    </a:lnTo>
                    <a:lnTo>
                      <a:pt x="224" y="367"/>
                    </a:lnTo>
                    <a:lnTo>
                      <a:pt x="224" y="368"/>
                    </a:lnTo>
                    <a:lnTo>
                      <a:pt x="224" y="370"/>
                    </a:lnTo>
                    <a:lnTo>
                      <a:pt x="222" y="370"/>
                    </a:lnTo>
                    <a:lnTo>
                      <a:pt x="222" y="371"/>
                    </a:lnTo>
                    <a:lnTo>
                      <a:pt x="224" y="371"/>
                    </a:lnTo>
                    <a:lnTo>
                      <a:pt x="225" y="371"/>
                    </a:lnTo>
                    <a:lnTo>
                      <a:pt x="225" y="372"/>
                    </a:lnTo>
                    <a:lnTo>
                      <a:pt x="225" y="373"/>
                    </a:lnTo>
                    <a:lnTo>
                      <a:pt x="225" y="374"/>
                    </a:lnTo>
                    <a:lnTo>
                      <a:pt x="225" y="375"/>
                    </a:lnTo>
                    <a:lnTo>
                      <a:pt x="225" y="376"/>
                    </a:lnTo>
                    <a:lnTo>
                      <a:pt x="226" y="376"/>
                    </a:lnTo>
                    <a:lnTo>
                      <a:pt x="226" y="377"/>
                    </a:lnTo>
                    <a:lnTo>
                      <a:pt x="227" y="377"/>
                    </a:lnTo>
                    <a:lnTo>
                      <a:pt x="227" y="378"/>
                    </a:lnTo>
                    <a:lnTo>
                      <a:pt x="227" y="379"/>
                    </a:lnTo>
                    <a:lnTo>
                      <a:pt x="228" y="379"/>
                    </a:lnTo>
                    <a:lnTo>
                      <a:pt x="228" y="380"/>
                    </a:lnTo>
                    <a:lnTo>
                      <a:pt x="228" y="381"/>
                    </a:lnTo>
                    <a:lnTo>
                      <a:pt x="228" y="383"/>
                    </a:lnTo>
                    <a:lnTo>
                      <a:pt x="229" y="383"/>
                    </a:lnTo>
                    <a:lnTo>
                      <a:pt x="230" y="383"/>
                    </a:lnTo>
                    <a:lnTo>
                      <a:pt x="230" y="384"/>
                    </a:lnTo>
                    <a:lnTo>
                      <a:pt x="231" y="385"/>
                    </a:lnTo>
                    <a:lnTo>
                      <a:pt x="231" y="386"/>
                    </a:lnTo>
                    <a:lnTo>
                      <a:pt x="231" y="387"/>
                    </a:lnTo>
                    <a:lnTo>
                      <a:pt x="230" y="388"/>
                    </a:lnTo>
                    <a:lnTo>
                      <a:pt x="230" y="389"/>
                    </a:lnTo>
                    <a:lnTo>
                      <a:pt x="230" y="390"/>
                    </a:lnTo>
                    <a:lnTo>
                      <a:pt x="230" y="391"/>
                    </a:lnTo>
                    <a:lnTo>
                      <a:pt x="230" y="392"/>
                    </a:lnTo>
                    <a:lnTo>
                      <a:pt x="231" y="392"/>
                    </a:lnTo>
                    <a:lnTo>
                      <a:pt x="232" y="392"/>
                    </a:lnTo>
                    <a:lnTo>
                      <a:pt x="233" y="392"/>
                    </a:lnTo>
                    <a:lnTo>
                      <a:pt x="234" y="392"/>
                    </a:lnTo>
                    <a:lnTo>
                      <a:pt x="235" y="392"/>
                    </a:lnTo>
                    <a:lnTo>
                      <a:pt x="235" y="393"/>
                    </a:lnTo>
                    <a:lnTo>
                      <a:pt x="234" y="393"/>
                    </a:lnTo>
                    <a:lnTo>
                      <a:pt x="235" y="394"/>
                    </a:lnTo>
                    <a:lnTo>
                      <a:pt x="235" y="396"/>
                    </a:lnTo>
                    <a:lnTo>
                      <a:pt x="234" y="397"/>
                    </a:lnTo>
                    <a:lnTo>
                      <a:pt x="234" y="398"/>
                    </a:lnTo>
                    <a:lnTo>
                      <a:pt x="235" y="398"/>
                    </a:lnTo>
                    <a:lnTo>
                      <a:pt x="235" y="399"/>
                    </a:lnTo>
                    <a:lnTo>
                      <a:pt x="234" y="399"/>
                    </a:lnTo>
                    <a:lnTo>
                      <a:pt x="233" y="400"/>
                    </a:lnTo>
                    <a:lnTo>
                      <a:pt x="234" y="400"/>
                    </a:lnTo>
                    <a:lnTo>
                      <a:pt x="234" y="401"/>
                    </a:lnTo>
                    <a:lnTo>
                      <a:pt x="233" y="401"/>
                    </a:lnTo>
                    <a:lnTo>
                      <a:pt x="233" y="402"/>
                    </a:lnTo>
                    <a:lnTo>
                      <a:pt x="233" y="401"/>
                    </a:lnTo>
                    <a:lnTo>
                      <a:pt x="232" y="401"/>
                    </a:lnTo>
                    <a:lnTo>
                      <a:pt x="232" y="402"/>
                    </a:lnTo>
                    <a:lnTo>
                      <a:pt x="232" y="403"/>
                    </a:lnTo>
                    <a:lnTo>
                      <a:pt x="233" y="403"/>
                    </a:lnTo>
                    <a:lnTo>
                      <a:pt x="233" y="404"/>
                    </a:lnTo>
                    <a:lnTo>
                      <a:pt x="233" y="405"/>
                    </a:lnTo>
                    <a:lnTo>
                      <a:pt x="232" y="405"/>
                    </a:lnTo>
                    <a:lnTo>
                      <a:pt x="232" y="406"/>
                    </a:lnTo>
                    <a:lnTo>
                      <a:pt x="232" y="407"/>
                    </a:lnTo>
                    <a:lnTo>
                      <a:pt x="233" y="407"/>
                    </a:lnTo>
                    <a:lnTo>
                      <a:pt x="234" y="409"/>
                    </a:lnTo>
                    <a:lnTo>
                      <a:pt x="235" y="410"/>
                    </a:lnTo>
                    <a:lnTo>
                      <a:pt x="235" y="411"/>
                    </a:lnTo>
                    <a:lnTo>
                      <a:pt x="213" y="411"/>
                    </a:lnTo>
                    <a:lnTo>
                      <a:pt x="200" y="411"/>
                    </a:lnTo>
                    <a:lnTo>
                      <a:pt x="199" y="411"/>
                    </a:lnTo>
                    <a:lnTo>
                      <a:pt x="198" y="411"/>
                    </a:lnTo>
                    <a:lnTo>
                      <a:pt x="180" y="411"/>
                    </a:lnTo>
                    <a:lnTo>
                      <a:pt x="180" y="413"/>
                    </a:lnTo>
                    <a:lnTo>
                      <a:pt x="180" y="419"/>
                    </a:lnTo>
                    <a:lnTo>
                      <a:pt x="180" y="423"/>
                    </a:lnTo>
                    <a:lnTo>
                      <a:pt x="180" y="425"/>
                    </a:lnTo>
                    <a:lnTo>
                      <a:pt x="180" y="427"/>
                    </a:lnTo>
                    <a:lnTo>
                      <a:pt x="180" y="431"/>
                    </a:lnTo>
                    <a:lnTo>
                      <a:pt x="180" y="443"/>
                    </a:lnTo>
                    <a:lnTo>
                      <a:pt x="172" y="443"/>
                    </a:lnTo>
                    <a:lnTo>
                      <a:pt x="165" y="443"/>
                    </a:lnTo>
                    <a:lnTo>
                      <a:pt x="162" y="443"/>
                    </a:lnTo>
                    <a:lnTo>
                      <a:pt x="153" y="443"/>
                    </a:lnTo>
                    <a:lnTo>
                      <a:pt x="152" y="443"/>
                    </a:lnTo>
                    <a:lnTo>
                      <a:pt x="142" y="443"/>
                    </a:lnTo>
                    <a:lnTo>
                      <a:pt x="134" y="443"/>
                    </a:lnTo>
                    <a:lnTo>
                      <a:pt x="127" y="443"/>
                    </a:lnTo>
                    <a:lnTo>
                      <a:pt x="117" y="443"/>
                    </a:lnTo>
                    <a:lnTo>
                      <a:pt x="110" y="443"/>
                    </a:lnTo>
                    <a:lnTo>
                      <a:pt x="102" y="443"/>
                    </a:lnTo>
                    <a:lnTo>
                      <a:pt x="97" y="443"/>
                    </a:lnTo>
                    <a:lnTo>
                      <a:pt x="90" y="443"/>
                    </a:lnTo>
                    <a:lnTo>
                      <a:pt x="86" y="443"/>
                    </a:lnTo>
                    <a:lnTo>
                      <a:pt x="80" y="443"/>
                    </a:lnTo>
                    <a:lnTo>
                      <a:pt x="73" y="443"/>
                    </a:lnTo>
                    <a:lnTo>
                      <a:pt x="60" y="443"/>
                    </a:lnTo>
                    <a:lnTo>
                      <a:pt x="59" y="443"/>
                    </a:lnTo>
                    <a:lnTo>
                      <a:pt x="58" y="443"/>
                    </a:lnTo>
                    <a:lnTo>
                      <a:pt x="56" y="443"/>
                    </a:lnTo>
                    <a:lnTo>
                      <a:pt x="56" y="423"/>
                    </a:lnTo>
                    <a:lnTo>
                      <a:pt x="56" y="379"/>
                    </a:lnTo>
                    <a:lnTo>
                      <a:pt x="52" y="379"/>
                    </a:lnTo>
                    <a:lnTo>
                      <a:pt x="52" y="378"/>
                    </a:lnTo>
                    <a:lnTo>
                      <a:pt x="52" y="374"/>
                    </a:lnTo>
                    <a:lnTo>
                      <a:pt x="52" y="352"/>
                    </a:lnTo>
                    <a:lnTo>
                      <a:pt x="52" y="349"/>
                    </a:lnTo>
                    <a:lnTo>
                      <a:pt x="52" y="338"/>
                    </a:lnTo>
                    <a:lnTo>
                      <a:pt x="52" y="333"/>
                    </a:lnTo>
                    <a:lnTo>
                      <a:pt x="52" y="332"/>
                    </a:lnTo>
                    <a:lnTo>
                      <a:pt x="52" y="326"/>
                    </a:lnTo>
                    <a:lnTo>
                      <a:pt x="52" y="322"/>
                    </a:lnTo>
                    <a:lnTo>
                      <a:pt x="52" y="319"/>
                    </a:lnTo>
                    <a:lnTo>
                      <a:pt x="52" y="313"/>
                    </a:lnTo>
                    <a:lnTo>
                      <a:pt x="52" y="294"/>
                    </a:lnTo>
                    <a:lnTo>
                      <a:pt x="52" y="287"/>
                    </a:lnTo>
                    <a:lnTo>
                      <a:pt x="52" y="273"/>
                    </a:lnTo>
                    <a:lnTo>
                      <a:pt x="52" y="230"/>
                    </a:lnTo>
                    <a:lnTo>
                      <a:pt x="52" y="223"/>
                    </a:lnTo>
                    <a:lnTo>
                      <a:pt x="52" y="197"/>
                    </a:lnTo>
                    <a:lnTo>
                      <a:pt x="53" y="188"/>
                    </a:lnTo>
                    <a:lnTo>
                      <a:pt x="47" y="188"/>
                    </a:lnTo>
                    <a:lnTo>
                      <a:pt x="37" y="187"/>
                    </a:lnTo>
                    <a:lnTo>
                      <a:pt x="38" y="187"/>
                    </a:lnTo>
                    <a:lnTo>
                      <a:pt x="38" y="186"/>
                    </a:lnTo>
                    <a:lnTo>
                      <a:pt x="38" y="185"/>
                    </a:lnTo>
                    <a:lnTo>
                      <a:pt x="37" y="185"/>
                    </a:lnTo>
                    <a:lnTo>
                      <a:pt x="37" y="184"/>
                    </a:lnTo>
                    <a:lnTo>
                      <a:pt x="38" y="184"/>
                    </a:lnTo>
                    <a:lnTo>
                      <a:pt x="39" y="184"/>
                    </a:lnTo>
                    <a:lnTo>
                      <a:pt x="38" y="183"/>
                    </a:lnTo>
                    <a:lnTo>
                      <a:pt x="39" y="183"/>
                    </a:lnTo>
                    <a:lnTo>
                      <a:pt x="39" y="182"/>
                    </a:lnTo>
                    <a:lnTo>
                      <a:pt x="40" y="181"/>
                    </a:lnTo>
                    <a:lnTo>
                      <a:pt x="40" y="180"/>
                    </a:lnTo>
                    <a:lnTo>
                      <a:pt x="39" y="180"/>
                    </a:lnTo>
                    <a:lnTo>
                      <a:pt x="39" y="179"/>
                    </a:lnTo>
                    <a:lnTo>
                      <a:pt x="38" y="179"/>
                    </a:lnTo>
                    <a:lnTo>
                      <a:pt x="39" y="179"/>
                    </a:lnTo>
                    <a:lnTo>
                      <a:pt x="39" y="178"/>
                    </a:lnTo>
                    <a:lnTo>
                      <a:pt x="38" y="178"/>
                    </a:lnTo>
                    <a:lnTo>
                      <a:pt x="38" y="176"/>
                    </a:lnTo>
                    <a:lnTo>
                      <a:pt x="37" y="175"/>
                    </a:lnTo>
                    <a:lnTo>
                      <a:pt x="37" y="174"/>
                    </a:lnTo>
                    <a:lnTo>
                      <a:pt x="36" y="174"/>
                    </a:lnTo>
                    <a:lnTo>
                      <a:pt x="36" y="173"/>
                    </a:lnTo>
                    <a:lnTo>
                      <a:pt x="37" y="173"/>
                    </a:lnTo>
                    <a:lnTo>
                      <a:pt x="37" y="172"/>
                    </a:lnTo>
                    <a:lnTo>
                      <a:pt x="36" y="172"/>
                    </a:lnTo>
                    <a:lnTo>
                      <a:pt x="35" y="172"/>
                    </a:lnTo>
                    <a:lnTo>
                      <a:pt x="35" y="171"/>
                    </a:lnTo>
                    <a:lnTo>
                      <a:pt x="35" y="170"/>
                    </a:lnTo>
                    <a:lnTo>
                      <a:pt x="35" y="169"/>
                    </a:lnTo>
                    <a:lnTo>
                      <a:pt x="35" y="168"/>
                    </a:lnTo>
                    <a:lnTo>
                      <a:pt x="36" y="168"/>
                    </a:lnTo>
                    <a:lnTo>
                      <a:pt x="36" y="167"/>
                    </a:lnTo>
                    <a:lnTo>
                      <a:pt x="37" y="166"/>
                    </a:lnTo>
                    <a:lnTo>
                      <a:pt x="37" y="165"/>
                    </a:lnTo>
                    <a:lnTo>
                      <a:pt x="38" y="165"/>
                    </a:lnTo>
                    <a:lnTo>
                      <a:pt x="38" y="163"/>
                    </a:lnTo>
                    <a:lnTo>
                      <a:pt x="39" y="163"/>
                    </a:lnTo>
                    <a:lnTo>
                      <a:pt x="40" y="163"/>
                    </a:lnTo>
                    <a:lnTo>
                      <a:pt x="40" y="162"/>
                    </a:lnTo>
                    <a:lnTo>
                      <a:pt x="41" y="162"/>
                    </a:lnTo>
                    <a:lnTo>
                      <a:pt x="41" y="161"/>
                    </a:lnTo>
                    <a:lnTo>
                      <a:pt x="41" y="160"/>
                    </a:lnTo>
                    <a:lnTo>
                      <a:pt x="41" y="159"/>
                    </a:lnTo>
                    <a:lnTo>
                      <a:pt x="43" y="159"/>
                    </a:lnTo>
                    <a:lnTo>
                      <a:pt x="43" y="157"/>
                    </a:lnTo>
                    <a:lnTo>
                      <a:pt x="44" y="157"/>
                    </a:lnTo>
                    <a:lnTo>
                      <a:pt x="44" y="156"/>
                    </a:lnTo>
                    <a:lnTo>
                      <a:pt x="44" y="155"/>
                    </a:lnTo>
                    <a:lnTo>
                      <a:pt x="43" y="155"/>
                    </a:lnTo>
                    <a:lnTo>
                      <a:pt x="43" y="154"/>
                    </a:lnTo>
                    <a:lnTo>
                      <a:pt x="44" y="154"/>
                    </a:lnTo>
                    <a:lnTo>
                      <a:pt x="44" y="153"/>
                    </a:lnTo>
                    <a:lnTo>
                      <a:pt x="43" y="153"/>
                    </a:lnTo>
                    <a:lnTo>
                      <a:pt x="44" y="152"/>
                    </a:lnTo>
                    <a:lnTo>
                      <a:pt x="44" y="150"/>
                    </a:lnTo>
                    <a:lnTo>
                      <a:pt x="43" y="150"/>
                    </a:lnTo>
                    <a:lnTo>
                      <a:pt x="44" y="149"/>
                    </a:lnTo>
                    <a:lnTo>
                      <a:pt x="44" y="148"/>
                    </a:lnTo>
                    <a:lnTo>
                      <a:pt x="43" y="148"/>
                    </a:lnTo>
                    <a:lnTo>
                      <a:pt x="43" y="147"/>
                    </a:lnTo>
                    <a:lnTo>
                      <a:pt x="44" y="147"/>
                    </a:lnTo>
                    <a:lnTo>
                      <a:pt x="44" y="146"/>
                    </a:lnTo>
                    <a:lnTo>
                      <a:pt x="45" y="146"/>
                    </a:lnTo>
                    <a:lnTo>
                      <a:pt x="45" y="145"/>
                    </a:lnTo>
                    <a:lnTo>
                      <a:pt x="46" y="144"/>
                    </a:lnTo>
                    <a:lnTo>
                      <a:pt x="47" y="144"/>
                    </a:lnTo>
                    <a:lnTo>
                      <a:pt x="47" y="143"/>
                    </a:lnTo>
                    <a:lnTo>
                      <a:pt x="47" y="142"/>
                    </a:lnTo>
                    <a:lnTo>
                      <a:pt x="46" y="141"/>
                    </a:lnTo>
                    <a:lnTo>
                      <a:pt x="46" y="140"/>
                    </a:lnTo>
                    <a:lnTo>
                      <a:pt x="45" y="140"/>
                    </a:lnTo>
                    <a:lnTo>
                      <a:pt x="44" y="140"/>
                    </a:lnTo>
                    <a:lnTo>
                      <a:pt x="44" y="139"/>
                    </a:lnTo>
                    <a:lnTo>
                      <a:pt x="44" y="137"/>
                    </a:lnTo>
                    <a:lnTo>
                      <a:pt x="45" y="137"/>
                    </a:lnTo>
                    <a:lnTo>
                      <a:pt x="46" y="136"/>
                    </a:lnTo>
                    <a:lnTo>
                      <a:pt x="47" y="137"/>
                    </a:lnTo>
                    <a:lnTo>
                      <a:pt x="47" y="136"/>
                    </a:lnTo>
                    <a:lnTo>
                      <a:pt x="46" y="136"/>
                    </a:lnTo>
                    <a:lnTo>
                      <a:pt x="46" y="135"/>
                    </a:lnTo>
                    <a:lnTo>
                      <a:pt x="46" y="134"/>
                    </a:lnTo>
                    <a:lnTo>
                      <a:pt x="45" y="134"/>
                    </a:lnTo>
                    <a:lnTo>
                      <a:pt x="45" y="133"/>
                    </a:lnTo>
                    <a:lnTo>
                      <a:pt x="44" y="133"/>
                    </a:lnTo>
                    <a:lnTo>
                      <a:pt x="44" y="132"/>
                    </a:lnTo>
                    <a:lnTo>
                      <a:pt x="43" y="131"/>
                    </a:lnTo>
                    <a:lnTo>
                      <a:pt x="41" y="130"/>
                    </a:lnTo>
                    <a:lnTo>
                      <a:pt x="41" y="129"/>
                    </a:lnTo>
                    <a:lnTo>
                      <a:pt x="40" y="129"/>
                    </a:lnTo>
                    <a:lnTo>
                      <a:pt x="40" y="128"/>
                    </a:lnTo>
                    <a:lnTo>
                      <a:pt x="40" y="127"/>
                    </a:lnTo>
                    <a:lnTo>
                      <a:pt x="39" y="127"/>
                    </a:lnTo>
                    <a:lnTo>
                      <a:pt x="39" y="126"/>
                    </a:lnTo>
                    <a:lnTo>
                      <a:pt x="39" y="124"/>
                    </a:lnTo>
                    <a:lnTo>
                      <a:pt x="40" y="123"/>
                    </a:lnTo>
                    <a:lnTo>
                      <a:pt x="41" y="122"/>
                    </a:lnTo>
                    <a:lnTo>
                      <a:pt x="43" y="122"/>
                    </a:lnTo>
                    <a:lnTo>
                      <a:pt x="43" y="123"/>
                    </a:lnTo>
                    <a:lnTo>
                      <a:pt x="44" y="122"/>
                    </a:lnTo>
                    <a:lnTo>
                      <a:pt x="45" y="122"/>
                    </a:lnTo>
                    <a:lnTo>
                      <a:pt x="45" y="121"/>
                    </a:lnTo>
                    <a:lnTo>
                      <a:pt x="46" y="121"/>
                    </a:lnTo>
                    <a:lnTo>
                      <a:pt x="46" y="122"/>
                    </a:lnTo>
                    <a:lnTo>
                      <a:pt x="47" y="122"/>
                    </a:lnTo>
                    <a:lnTo>
                      <a:pt x="47" y="121"/>
                    </a:lnTo>
                    <a:lnTo>
                      <a:pt x="47" y="120"/>
                    </a:lnTo>
                    <a:lnTo>
                      <a:pt x="48" y="120"/>
                    </a:lnTo>
                    <a:lnTo>
                      <a:pt x="48" y="119"/>
                    </a:lnTo>
                    <a:lnTo>
                      <a:pt x="49" y="119"/>
                    </a:lnTo>
                    <a:lnTo>
                      <a:pt x="49" y="118"/>
                    </a:lnTo>
                    <a:lnTo>
                      <a:pt x="48" y="118"/>
                    </a:lnTo>
                    <a:lnTo>
                      <a:pt x="48" y="117"/>
                    </a:lnTo>
                    <a:lnTo>
                      <a:pt x="48" y="116"/>
                    </a:lnTo>
                    <a:lnTo>
                      <a:pt x="47" y="116"/>
                    </a:lnTo>
                    <a:lnTo>
                      <a:pt x="47" y="117"/>
                    </a:lnTo>
                    <a:lnTo>
                      <a:pt x="46" y="116"/>
                    </a:lnTo>
                    <a:lnTo>
                      <a:pt x="46" y="115"/>
                    </a:lnTo>
                    <a:lnTo>
                      <a:pt x="46" y="114"/>
                    </a:lnTo>
                    <a:lnTo>
                      <a:pt x="46" y="113"/>
                    </a:lnTo>
                    <a:lnTo>
                      <a:pt x="47" y="113"/>
                    </a:lnTo>
                    <a:lnTo>
                      <a:pt x="47" y="111"/>
                    </a:lnTo>
                    <a:lnTo>
                      <a:pt x="48" y="111"/>
                    </a:lnTo>
                    <a:lnTo>
                      <a:pt x="49" y="111"/>
                    </a:lnTo>
                    <a:lnTo>
                      <a:pt x="50" y="111"/>
                    </a:lnTo>
                    <a:lnTo>
                      <a:pt x="51" y="111"/>
                    </a:lnTo>
                    <a:lnTo>
                      <a:pt x="51" y="110"/>
                    </a:lnTo>
                    <a:lnTo>
                      <a:pt x="50" y="110"/>
                    </a:lnTo>
                    <a:lnTo>
                      <a:pt x="50" y="109"/>
                    </a:lnTo>
                    <a:lnTo>
                      <a:pt x="49" y="108"/>
                    </a:lnTo>
                    <a:lnTo>
                      <a:pt x="48" y="109"/>
                    </a:lnTo>
                    <a:lnTo>
                      <a:pt x="46" y="109"/>
                    </a:lnTo>
                    <a:lnTo>
                      <a:pt x="43" y="110"/>
                    </a:lnTo>
                    <a:lnTo>
                      <a:pt x="41" y="110"/>
                    </a:lnTo>
                    <a:lnTo>
                      <a:pt x="40" y="109"/>
                    </a:lnTo>
                    <a:lnTo>
                      <a:pt x="40" y="108"/>
                    </a:lnTo>
                    <a:lnTo>
                      <a:pt x="40" y="107"/>
                    </a:lnTo>
                    <a:lnTo>
                      <a:pt x="40" y="105"/>
                    </a:lnTo>
                    <a:lnTo>
                      <a:pt x="40" y="104"/>
                    </a:lnTo>
                    <a:lnTo>
                      <a:pt x="40" y="103"/>
                    </a:lnTo>
                    <a:lnTo>
                      <a:pt x="39" y="102"/>
                    </a:lnTo>
                    <a:lnTo>
                      <a:pt x="38" y="101"/>
                    </a:lnTo>
                    <a:lnTo>
                      <a:pt x="37" y="100"/>
                    </a:lnTo>
                    <a:lnTo>
                      <a:pt x="37" y="98"/>
                    </a:lnTo>
                    <a:lnTo>
                      <a:pt x="36" y="98"/>
                    </a:lnTo>
                    <a:lnTo>
                      <a:pt x="35" y="98"/>
                    </a:lnTo>
                    <a:lnTo>
                      <a:pt x="35" y="97"/>
                    </a:lnTo>
                    <a:lnTo>
                      <a:pt x="34" y="97"/>
                    </a:lnTo>
                    <a:lnTo>
                      <a:pt x="33" y="97"/>
                    </a:lnTo>
                    <a:lnTo>
                      <a:pt x="33" y="96"/>
                    </a:lnTo>
                    <a:lnTo>
                      <a:pt x="33" y="95"/>
                    </a:lnTo>
                    <a:lnTo>
                      <a:pt x="33" y="94"/>
                    </a:lnTo>
                    <a:lnTo>
                      <a:pt x="32" y="93"/>
                    </a:lnTo>
                    <a:lnTo>
                      <a:pt x="32" y="94"/>
                    </a:lnTo>
                    <a:lnTo>
                      <a:pt x="31" y="94"/>
                    </a:lnTo>
                    <a:lnTo>
                      <a:pt x="31" y="93"/>
                    </a:lnTo>
                    <a:lnTo>
                      <a:pt x="32" y="92"/>
                    </a:lnTo>
                    <a:lnTo>
                      <a:pt x="32" y="91"/>
                    </a:lnTo>
                    <a:lnTo>
                      <a:pt x="32" y="90"/>
                    </a:lnTo>
                    <a:lnTo>
                      <a:pt x="32" y="89"/>
                    </a:lnTo>
                    <a:lnTo>
                      <a:pt x="31" y="89"/>
                    </a:lnTo>
                    <a:lnTo>
                      <a:pt x="31" y="88"/>
                    </a:lnTo>
                    <a:lnTo>
                      <a:pt x="31" y="86"/>
                    </a:lnTo>
                    <a:lnTo>
                      <a:pt x="31" y="85"/>
                    </a:lnTo>
                    <a:lnTo>
                      <a:pt x="30" y="85"/>
                    </a:lnTo>
                    <a:lnTo>
                      <a:pt x="31" y="85"/>
                    </a:lnTo>
                    <a:lnTo>
                      <a:pt x="31" y="84"/>
                    </a:lnTo>
                    <a:lnTo>
                      <a:pt x="30" y="84"/>
                    </a:lnTo>
                    <a:lnTo>
                      <a:pt x="30" y="83"/>
                    </a:lnTo>
                    <a:lnTo>
                      <a:pt x="31" y="83"/>
                    </a:lnTo>
                    <a:lnTo>
                      <a:pt x="31" y="82"/>
                    </a:lnTo>
                    <a:lnTo>
                      <a:pt x="32" y="82"/>
                    </a:lnTo>
                    <a:lnTo>
                      <a:pt x="33" y="82"/>
                    </a:lnTo>
                    <a:lnTo>
                      <a:pt x="34" y="83"/>
                    </a:lnTo>
                    <a:lnTo>
                      <a:pt x="35" y="83"/>
                    </a:lnTo>
                    <a:lnTo>
                      <a:pt x="37" y="83"/>
                    </a:lnTo>
                    <a:lnTo>
                      <a:pt x="37" y="82"/>
                    </a:lnTo>
                    <a:lnTo>
                      <a:pt x="36" y="81"/>
                    </a:lnTo>
                    <a:lnTo>
                      <a:pt x="36" y="80"/>
                    </a:lnTo>
                    <a:lnTo>
                      <a:pt x="36" y="79"/>
                    </a:lnTo>
                    <a:lnTo>
                      <a:pt x="37" y="78"/>
                    </a:lnTo>
                    <a:lnTo>
                      <a:pt x="36" y="77"/>
                    </a:lnTo>
                    <a:lnTo>
                      <a:pt x="36" y="76"/>
                    </a:lnTo>
                    <a:lnTo>
                      <a:pt x="37" y="76"/>
                    </a:lnTo>
                    <a:lnTo>
                      <a:pt x="37" y="75"/>
                    </a:lnTo>
                    <a:lnTo>
                      <a:pt x="38" y="75"/>
                    </a:lnTo>
                    <a:lnTo>
                      <a:pt x="37" y="73"/>
                    </a:lnTo>
                    <a:lnTo>
                      <a:pt x="36" y="73"/>
                    </a:lnTo>
                    <a:lnTo>
                      <a:pt x="35" y="73"/>
                    </a:lnTo>
                    <a:lnTo>
                      <a:pt x="34" y="73"/>
                    </a:lnTo>
                    <a:lnTo>
                      <a:pt x="33" y="73"/>
                    </a:lnTo>
                    <a:lnTo>
                      <a:pt x="32" y="72"/>
                    </a:lnTo>
                    <a:lnTo>
                      <a:pt x="32" y="71"/>
                    </a:lnTo>
                    <a:lnTo>
                      <a:pt x="32" y="70"/>
                    </a:lnTo>
                    <a:lnTo>
                      <a:pt x="33" y="70"/>
                    </a:lnTo>
                    <a:lnTo>
                      <a:pt x="33" y="69"/>
                    </a:lnTo>
                    <a:lnTo>
                      <a:pt x="32" y="69"/>
                    </a:lnTo>
                    <a:lnTo>
                      <a:pt x="32" y="68"/>
                    </a:lnTo>
                    <a:lnTo>
                      <a:pt x="31" y="68"/>
                    </a:lnTo>
                    <a:lnTo>
                      <a:pt x="31" y="67"/>
                    </a:lnTo>
                    <a:lnTo>
                      <a:pt x="30" y="68"/>
                    </a:lnTo>
                    <a:lnTo>
                      <a:pt x="28" y="68"/>
                    </a:lnTo>
                    <a:lnTo>
                      <a:pt x="28" y="67"/>
                    </a:lnTo>
                    <a:lnTo>
                      <a:pt x="27" y="68"/>
                    </a:lnTo>
                    <a:lnTo>
                      <a:pt x="26" y="68"/>
                    </a:lnTo>
                    <a:lnTo>
                      <a:pt x="26" y="69"/>
                    </a:lnTo>
                    <a:lnTo>
                      <a:pt x="25" y="69"/>
                    </a:lnTo>
                    <a:lnTo>
                      <a:pt x="24" y="70"/>
                    </a:lnTo>
                    <a:lnTo>
                      <a:pt x="23" y="71"/>
                    </a:lnTo>
                    <a:lnTo>
                      <a:pt x="22" y="71"/>
                    </a:lnTo>
                    <a:lnTo>
                      <a:pt x="22" y="70"/>
                    </a:lnTo>
                    <a:lnTo>
                      <a:pt x="21" y="70"/>
                    </a:lnTo>
                    <a:lnTo>
                      <a:pt x="20" y="70"/>
                    </a:lnTo>
                    <a:lnTo>
                      <a:pt x="20" y="69"/>
                    </a:lnTo>
                    <a:lnTo>
                      <a:pt x="21" y="68"/>
                    </a:lnTo>
                    <a:lnTo>
                      <a:pt x="21" y="67"/>
                    </a:lnTo>
                    <a:lnTo>
                      <a:pt x="21" y="66"/>
                    </a:lnTo>
                    <a:lnTo>
                      <a:pt x="20" y="66"/>
                    </a:lnTo>
                    <a:lnTo>
                      <a:pt x="20" y="65"/>
                    </a:lnTo>
                    <a:lnTo>
                      <a:pt x="19" y="64"/>
                    </a:lnTo>
                    <a:lnTo>
                      <a:pt x="19" y="63"/>
                    </a:lnTo>
                    <a:lnTo>
                      <a:pt x="18" y="63"/>
                    </a:lnTo>
                    <a:lnTo>
                      <a:pt x="18" y="62"/>
                    </a:lnTo>
                    <a:lnTo>
                      <a:pt x="16" y="62"/>
                    </a:lnTo>
                    <a:lnTo>
                      <a:pt x="15" y="62"/>
                    </a:lnTo>
                    <a:lnTo>
                      <a:pt x="15" y="60"/>
                    </a:lnTo>
                    <a:lnTo>
                      <a:pt x="14" y="60"/>
                    </a:lnTo>
                    <a:lnTo>
                      <a:pt x="13" y="60"/>
                    </a:lnTo>
                    <a:lnTo>
                      <a:pt x="14" y="60"/>
                    </a:lnTo>
                    <a:lnTo>
                      <a:pt x="14" y="59"/>
                    </a:lnTo>
                    <a:lnTo>
                      <a:pt x="13" y="59"/>
                    </a:lnTo>
                    <a:lnTo>
                      <a:pt x="13" y="58"/>
                    </a:lnTo>
                    <a:lnTo>
                      <a:pt x="12" y="58"/>
                    </a:lnTo>
                    <a:lnTo>
                      <a:pt x="11" y="58"/>
                    </a:lnTo>
                    <a:lnTo>
                      <a:pt x="11" y="57"/>
                    </a:lnTo>
                    <a:lnTo>
                      <a:pt x="12" y="56"/>
                    </a:lnTo>
                    <a:lnTo>
                      <a:pt x="12" y="55"/>
                    </a:lnTo>
                    <a:lnTo>
                      <a:pt x="12" y="54"/>
                    </a:lnTo>
                    <a:lnTo>
                      <a:pt x="11" y="54"/>
                    </a:lnTo>
                    <a:lnTo>
                      <a:pt x="11" y="53"/>
                    </a:lnTo>
                    <a:lnTo>
                      <a:pt x="11" y="52"/>
                    </a:lnTo>
                    <a:lnTo>
                      <a:pt x="11" y="51"/>
                    </a:lnTo>
                    <a:lnTo>
                      <a:pt x="11" y="50"/>
                    </a:lnTo>
                    <a:lnTo>
                      <a:pt x="10" y="50"/>
                    </a:lnTo>
                    <a:lnTo>
                      <a:pt x="9" y="50"/>
                    </a:lnTo>
                    <a:lnTo>
                      <a:pt x="9" y="49"/>
                    </a:lnTo>
                    <a:lnTo>
                      <a:pt x="9" y="47"/>
                    </a:lnTo>
                    <a:lnTo>
                      <a:pt x="8" y="47"/>
                    </a:lnTo>
                    <a:lnTo>
                      <a:pt x="8" y="49"/>
                    </a:lnTo>
                    <a:lnTo>
                      <a:pt x="7" y="49"/>
                    </a:lnTo>
                    <a:lnTo>
                      <a:pt x="7" y="47"/>
                    </a:lnTo>
                    <a:lnTo>
                      <a:pt x="7" y="46"/>
                    </a:lnTo>
                    <a:lnTo>
                      <a:pt x="7" y="45"/>
                    </a:lnTo>
                    <a:lnTo>
                      <a:pt x="7" y="44"/>
                    </a:lnTo>
                    <a:lnTo>
                      <a:pt x="7" y="42"/>
                    </a:lnTo>
                    <a:lnTo>
                      <a:pt x="7" y="40"/>
                    </a:lnTo>
                    <a:lnTo>
                      <a:pt x="7" y="39"/>
                    </a:lnTo>
                    <a:lnTo>
                      <a:pt x="6" y="40"/>
                    </a:lnTo>
                    <a:lnTo>
                      <a:pt x="5" y="40"/>
                    </a:lnTo>
                    <a:lnTo>
                      <a:pt x="5" y="39"/>
                    </a:lnTo>
                    <a:lnTo>
                      <a:pt x="5" y="38"/>
                    </a:lnTo>
                    <a:lnTo>
                      <a:pt x="3" y="38"/>
                    </a:lnTo>
                    <a:lnTo>
                      <a:pt x="2" y="38"/>
                    </a:lnTo>
                    <a:lnTo>
                      <a:pt x="1" y="38"/>
                    </a:lnTo>
                    <a:lnTo>
                      <a:pt x="0" y="38"/>
                    </a:lnTo>
                    <a:lnTo>
                      <a:pt x="0" y="37"/>
                    </a:lnTo>
                    <a:lnTo>
                      <a:pt x="1" y="36"/>
                    </a:lnTo>
                    <a:lnTo>
                      <a:pt x="1" y="34"/>
                    </a:lnTo>
                    <a:lnTo>
                      <a:pt x="2" y="34"/>
                    </a:lnTo>
                    <a:lnTo>
                      <a:pt x="2" y="33"/>
                    </a:lnTo>
                    <a:lnTo>
                      <a:pt x="2" y="32"/>
                    </a:lnTo>
                    <a:lnTo>
                      <a:pt x="3" y="31"/>
                    </a:lnTo>
                    <a:lnTo>
                      <a:pt x="3" y="30"/>
                    </a:lnTo>
                    <a:lnTo>
                      <a:pt x="2" y="30"/>
                    </a:lnTo>
                    <a:lnTo>
                      <a:pt x="2" y="31"/>
                    </a:lnTo>
                    <a:lnTo>
                      <a:pt x="2" y="30"/>
                    </a:lnTo>
                    <a:lnTo>
                      <a:pt x="1" y="30"/>
                    </a:lnTo>
                    <a:lnTo>
                      <a:pt x="1" y="31"/>
                    </a:lnTo>
                    <a:lnTo>
                      <a:pt x="1" y="32"/>
                    </a:lnTo>
                    <a:lnTo>
                      <a:pt x="0" y="32"/>
                    </a:lnTo>
                    <a:lnTo>
                      <a:pt x="0" y="31"/>
                    </a:lnTo>
                    <a:lnTo>
                      <a:pt x="1" y="31"/>
                    </a:lnTo>
                    <a:lnTo>
                      <a:pt x="1" y="30"/>
                    </a:lnTo>
                    <a:lnTo>
                      <a:pt x="0" y="30"/>
                    </a:lnTo>
                    <a:lnTo>
                      <a:pt x="0" y="29"/>
                    </a:lnTo>
                    <a:lnTo>
                      <a:pt x="0" y="28"/>
                    </a:lnTo>
                    <a:lnTo>
                      <a:pt x="0" y="27"/>
                    </a:lnTo>
                    <a:lnTo>
                      <a:pt x="0" y="26"/>
                    </a:lnTo>
                    <a:lnTo>
                      <a:pt x="1" y="26"/>
                    </a:lnTo>
                    <a:lnTo>
                      <a:pt x="1" y="25"/>
                    </a:lnTo>
                    <a:lnTo>
                      <a:pt x="2" y="25"/>
                    </a:lnTo>
                    <a:lnTo>
                      <a:pt x="3" y="25"/>
                    </a:lnTo>
                    <a:lnTo>
                      <a:pt x="3" y="24"/>
                    </a:lnTo>
                    <a:lnTo>
                      <a:pt x="3" y="23"/>
                    </a:lnTo>
                    <a:lnTo>
                      <a:pt x="3" y="21"/>
                    </a:lnTo>
                    <a:lnTo>
                      <a:pt x="3" y="20"/>
                    </a:lnTo>
                    <a:lnTo>
                      <a:pt x="5" y="19"/>
                    </a:lnTo>
                    <a:lnTo>
                      <a:pt x="3" y="19"/>
                    </a:lnTo>
                    <a:lnTo>
                      <a:pt x="3" y="18"/>
                    </a:lnTo>
                    <a:lnTo>
                      <a:pt x="5" y="18"/>
                    </a:lnTo>
                    <a:lnTo>
                      <a:pt x="5" y="19"/>
                    </a:lnTo>
                    <a:lnTo>
                      <a:pt x="6" y="18"/>
                    </a:lnTo>
                    <a:lnTo>
                      <a:pt x="6" y="17"/>
                    </a:lnTo>
                    <a:lnTo>
                      <a:pt x="7" y="16"/>
                    </a:lnTo>
                    <a:lnTo>
                      <a:pt x="7" y="15"/>
                    </a:lnTo>
                    <a:lnTo>
                      <a:pt x="6" y="15"/>
                    </a:lnTo>
                    <a:lnTo>
                      <a:pt x="6" y="14"/>
                    </a:lnTo>
                    <a:lnTo>
                      <a:pt x="7" y="14"/>
                    </a:lnTo>
                    <a:lnTo>
                      <a:pt x="8" y="13"/>
                    </a:lnTo>
                    <a:lnTo>
                      <a:pt x="9" y="13"/>
                    </a:lnTo>
                    <a:lnTo>
                      <a:pt x="9" y="12"/>
                    </a:lnTo>
                    <a:lnTo>
                      <a:pt x="9" y="11"/>
                    </a:lnTo>
                    <a:lnTo>
                      <a:pt x="9" y="8"/>
                    </a:lnTo>
                    <a:lnTo>
                      <a:pt x="9" y="7"/>
                    </a:lnTo>
                    <a:lnTo>
                      <a:pt x="9" y="6"/>
                    </a:lnTo>
                    <a:lnTo>
                      <a:pt x="10" y="6"/>
                    </a:lnTo>
                    <a:lnTo>
                      <a:pt x="10" y="5"/>
                    </a:lnTo>
                    <a:lnTo>
                      <a:pt x="10" y="4"/>
                    </a:lnTo>
                    <a:lnTo>
                      <a:pt x="9" y="4"/>
                    </a:lnTo>
                    <a:lnTo>
                      <a:pt x="9" y="3"/>
                    </a:lnTo>
                    <a:lnTo>
                      <a:pt x="8" y="3"/>
                    </a:lnTo>
                    <a:lnTo>
                      <a:pt x="8" y="2"/>
                    </a:lnTo>
                    <a:lnTo>
                      <a:pt x="7" y="2"/>
                    </a:lnTo>
                    <a:lnTo>
                      <a:pt x="7" y="1"/>
                    </a:lnTo>
                    <a:lnTo>
                      <a:pt x="6" y="1"/>
                    </a:lnTo>
                    <a:lnTo>
                      <a:pt x="7" y="0"/>
                    </a:lnTo>
                    <a:close/>
                  </a:path>
                </a:pathLst>
              </a:custGeom>
              <a:solidFill>
                <a:srgbClr val="B6D8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2" name="Freeform 330">
                <a:extLst>
                  <a:ext uri="{FF2B5EF4-FFF2-40B4-BE49-F238E27FC236}">
                    <a16:creationId xmlns:a16="http://schemas.microsoft.com/office/drawing/2014/main" id="{9E0AED6D-5E69-E42A-EFB4-084BF3C6899F}"/>
                  </a:ext>
                </a:extLst>
              </p:cNvPr>
              <p:cNvSpPr>
                <a:spLocks/>
              </p:cNvSpPr>
              <p:nvPr/>
            </p:nvSpPr>
            <p:spPr bwMode="auto">
              <a:xfrm>
                <a:off x="1927226" y="1130300"/>
                <a:ext cx="498475" cy="500063"/>
              </a:xfrm>
              <a:custGeom>
                <a:avLst/>
                <a:gdLst>
                  <a:gd name="T0" fmla="*/ 204 w 314"/>
                  <a:gd name="T1" fmla="*/ 1 h 315"/>
                  <a:gd name="T2" fmla="*/ 228 w 314"/>
                  <a:gd name="T3" fmla="*/ 1 h 315"/>
                  <a:gd name="T4" fmla="*/ 249 w 314"/>
                  <a:gd name="T5" fmla="*/ 1 h 315"/>
                  <a:gd name="T6" fmla="*/ 288 w 314"/>
                  <a:gd name="T7" fmla="*/ 2 h 315"/>
                  <a:gd name="T8" fmla="*/ 314 w 314"/>
                  <a:gd name="T9" fmla="*/ 5 h 315"/>
                  <a:gd name="T10" fmla="*/ 314 w 314"/>
                  <a:gd name="T11" fmla="*/ 43 h 315"/>
                  <a:gd name="T12" fmla="*/ 314 w 314"/>
                  <a:gd name="T13" fmla="*/ 104 h 315"/>
                  <a:gd name="T14" fmla="*/ 314 w 314"/>
                  <a:gd name="T15" fmla="*/ 128 h 315"/>
                  <a:gd name="T16" fmla="*/ 314 w 314"/>
                  <a:gd name="T17" fmla="*/ 160 h 315"/>
                  <a:gd name="T18" fmla="*/ 262 w 314"/>
                  <a:gd name="T19" fmla="*/ 189 h 315"/>
                  <a:gd name="T20" fmla="*/ 252 w 314"/>
                  <a:gd name="T21" fmla="*/ 222 h 315"/>
                  <a:gd name="T22" fmla="*/ 247 w 314"/>
                  <a:gd name="T23" fmla="*/ 224 h 315"/>
                  <a:gd name="T24" fmla="*/ 242 w 314"/>
                  <a:gd name="T25" fmla="*/ 228 h 315"/>
                  <a:gd name="T26" fmla="*/ 241 w 314"/>
                  <a:gd name="T27" fmla="*/ 231 h 315"/>
                  <a:gd name="T28" fmla="*/ 237 w 314"/>
                  <a:gd name="T29" fmla="*/ 233 h 315"/>
                  <a:gd name="T30" fmla="*/ 236 w 314"/>
                  <a:gd name="T31" fmla="*/ 238 h 315"/>
                  <a:gd name="T32" fmla="*/ 231 w 314"/>
                  <a:gd name="T33" fmla="*/ 239 h 315"/>
                  <a:gd name="T34" fmla="*/ 230 w 314"/>
                  <a:gd name="T35" fmla="*/ 243 h 315"/>
                  <a:gd name="T36" fmla="*/ 229 w 314"/>
                  <a:gd name="T37" fmla="*/ 248 h 315"/>
                  <a:gd name="T38" fmla="*/ 227 w 314"/>
                  <a:gd name="T39" fmla="*/ 254 h 315"/>
                  <a:gd name="T40" fmla="*/ 229 w 314"/>
                  <a:gd name="T41" fmla="*/ 258 h 315"/>
                  <a:gd name="T42" fmla="*/ 228 w 314"/>
                  <a:gd name="T43" fmla="*/ 263 h 315"/>
                  <a:gd name="T44" fmla="*/ 229 w 314"/>
                  <a:gd name="T45" fmla="*/ 267 h 315"/>
                  <a:gd name="T46" fmla="*/ 230 w 314"/>
                  <a:gd name="T47" fmla="*/ 270 h 315"/>
                  <a:gd name="T48" fmla="*/ 231 w 314"/>
                  <a:gd name="T49" fmla="*/ 274 h 315"/>
                  <a:gd name="T50" fmla="*/ 231 w 314"/>
                  <a:gd name="T51" fmla="*/ 276 h 315"/>
                  <a:gd name="T52" fmla="*/ 231 w 314"/>
                  <a:gd name="T53" fmla="*/ 281 h 315"/>
                  <a:gd name="T54" fmla="*/ 230 w 314"/>
                  <a:gd name="T55" fmla="*/ 284 h 315"/>
                  <a:gd name="T56" fmla="*/ 230 w 314"/>
                  <a:gd name="T57" fmla="*/ 289 h 315"/>
                  <a:gd name="T58" fmla="*/ 229 w 314"/>
                  <a:gd name="T59" fmla="*/ 295 h 315"/>
                  <a:gd name="T60" fmla="*/ 226 w 314"/>
                  <a:gd name="T61" fmla="*/ 300 h 315"/>
                  <a:gd name="T62" fmla="*/ 222 w 314"/>
                  <a:gd name="T63" fmla="*/ 303 h 315"/>
                  <a:gd name="T64" fmla="*/ 219 w 314"/>
                  <a:gd name="T65" fmla="*/ 311 h 315"/>
                  <a:gd name="T66" fmla="*/ 209 w 314"/>
                  <a:gd name="T67" fmla="*/ 315 h 315"/>
                  <a:gd name="T68" fmla="*/ 144 w 314"/>
                  <a:gd name="T69" fmla="*/ 315 h 315"/>
                  <a:gd name="T70" fmla="*/ 55 w 314"/>
                  <a:gd name="T71" fmla="*/ 315 h 315"/>
                  <a:gd name="T72" fmla="*/ 35 w 314"/>
                  <a:gd name="T73" fmla="*/ 312 h 315"/>
                  <a:gd name="T74" fmla="*/ 36 w 314"/>
                  <a:gd name="T75" fmla="*/ 308 h 315"/>
                  <a:gd name="T76" fmla="*/ 37 w 314"/>
                  <a:gd name="T77" fmla="*/ 305 h 315"/>
                  <a:gd name="T78" fmla="*/ 37 w 314"/>
                  <a:gd name="T79" fmla="*/ 301 h 315"/>
                  <a:gd name="T80" fmla="*/ 37 w 314"/>
                  <a:gd name="T81" fmla="*/ 296 h 315"/>
                  <a:gd name="T82" fmla="*/ 37 w 314"/>
                  <a:gd name="T83" fmla="*/ 292 h 315"/>
                  <a:gd name="T84" fmla="*/ 38 w 314"/>
                  <a:gd name="T85" fmla="*/ 286 h 315"/>
                  <a:gd name="T86" fmla="*/ 38 w 314"/>
                  <a:gd name="T87" fmla="*/ 284 h 315"/>
                  <a:gd name="T88" fmla="*/ 40 w 314"/>
                  <a:gd name="T89" fmla="*/ 280 h 315"/>
                  <a:gd name="T90" fmla="*/ 37 w 314"/>
                  <a:gd name="T91" fmla="*/ 276 h 315"/>
                  <a:gd name="T92" fmla="*/ 38 w 314"/>
                  <a:gd name="T93" fmla="*/ 271 h 315"/>
                  <a:gd name="T94" fmla="*/ 37 w 314"/>
                  <a:gd name="T95" fmla="*/ 268 h 315"/>
                  <a:gd name="T96" fmla="*/ 36 w 314"/>
                  <a:gd name="T97" fmla="*/ 264 h 315"/>
                  <a:gd name="T98" fmla="*/ 38 w 314"/>
                  <a:gd name="T99" fmla="*/ 262 h 315"/>
                  <a:gd name="T100" fmla="*/ 38 w 314"/>
                  <a:gd name="T101" fmla="*/ 260 h 315"/>
                  <a:gd name="T102" fmla="*/ 37 w 314"/>
                  <a:gd name="T103" fmla="*/ 258 h 315"/>
                  <a:gd name="T104" fmla="*/ 36 w 314"/>
                  <a:gd name="T105" fmla="*/ 257 h 315"/>
                  <a:gd name="T106" fmla="*/ 35 w 314"/>
                  <a:gd name="T107" fmla="*/ 254 h 315"/>
                  <a:gd name="T108" fmla="*/ 37 w 314"/>
                  <a:gd name="T109" fmla="*/ 251 h 315"/>
                  <a:gd name="T110" fmla="*/ 15 w 314"/>
                  <a:gd name="T111" fmla="*/ 219 h 315"/>
                  <a:gd name="T112" fmla="*/ 0 w 314"/>
                  <a:gd name="T113" fmla="*/ 158 h 315"/>
                  <a:gd name="T114" fmla="*/ 0 w 314"/>
                  <a:gd name="T115" fmla="*/ 122 h 315"/>
                  <a:gd name="T116" fmla="*/ 0 w 314"/>
                  <a:gd name="T117" fmla="*/ 14 h 315"/>
                  <a:gd name="T118" fmla="*/ 28 w 314"/>
                  <a:gd name="T119" fmla="*/ 0 h 315"/>
                  <a:gd name="T120" fmla="*/ 69 w 314"/>
                  <a:gd name="T121" fmla="*/ 0 h 315"/>
                  <a:gd name="T122" fmla="*/ 101 w 314"/>
                  <a:gd name="T123" fmla="*/ 0 h 315"/>
                  <a:gd name="T124" fmla="*/ 142 w 314"/>
                  <a:gd name="T1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315">
                    <a:moveTo>
                      <a:pt x="153" y="0"/>
                    </a:moveTo>
                    <a:lnTo>
                      <a:pt x="175" y="0"/>
                    </a:lnTo>
                    <a:lnTo>
                      <a:pt x="179" y="1"/>
                    </a:lnTo>
                    <a:lnTo>
                      <a:pt x="193" y="1"/>
                    </a:lnTo>
                    <a:lnTo>
                      <a:pt x="200" y="1"/>
                    </a:lnTo>
                    <a:lnTo>
                      <a:pt x="204" y="1"/>
                    </a:lnTo>
                    <a:lnTo>
                      <a:pt x="207" y="1"/>
                    </a:lnTo>
                    <a:lnTo>
                      <a:pt x="209" y="1"/>
                    </a:lnTo>
                    <a:lnTo>
                      <a:pt x="211" y="1"/>
                    </a:lnTo>
                    <a:lnTo>
                      <a:pt x="218" y="1"/>
                    </a:lnTo>
                    <a:lnTo>
                      <a:pt x="220" y="1"/>
                    </a:lnTo>
                    <a:lnTo>
                      <a:pt x="228" y="1"/>
                    </a:lnTo>
                    <a:lnTo>
                      <a:pt x="234" y="1"/>
                    </a:lnTo>
                    <a:lnTo>
                      <a:pt x="235" y="1"/>
                    </a:lnTo>
                    <a:lnTo>
                      <a:pt x="239" y="1"/>
                    </a:lnTo>
                    <a:lnTo>
                      <a:pt x="242" y="1"/>
                    </a:lnTo>
                    <a:lnTo>
                      <a:pt x="244" y="1"/>
                    </a:lnTo>
                    <a:lnTo>
                      <a:pt x="249" y="1"/>
                    </a:lnTo>
                    <a:lnTo>
                      <a:pt x="254" y="1"/>
                    </a:lnTo>
                    <a:lnTo>
                      <a:pt x="256" y="2"/>
                    </a:lnTo>
                    <a:lnTo>
                      <a:pt x="262" y="2"/>
                    </a:lnTo>
                    <a:lnTo>
                      <a:pt x="265" y="2"/>
                    </a:lnTo>
                    <a:lnTo>
                      <a:pt x="271" y="2"/>
                    </a:lnTo>
                    <a:lnTo>
                      <a:pt x="288" y="2"/>
                    </a:lnTo>
                    <a:lnTo>
                      <a:pt x="304" y="2"/>
                    </a:lnTo>
                    <a:lnTo>
                      <a:pt x="306" y="2"/>
                    </a:lnTo>
                    <a:lnTo>
                      <a:pt x="314" y="2"/>
                    </a:lnTo>
                    <a:lnTo>
                      <a:pt x="314" y="3"/>
                    </a:lnTo>
                    <a:lnTo>
                      <a:pt x="314" y="4"/>
                    </a:lnTo>
                    <a:lnTo>
                      <a:pt x="314" y="5"/>
                    </a:lnTo>
                    <a:lnTo>
                      <a:pt x="314" y="6"/>
                    </a:lnTo>
                    <a:lnTo>
                      <a:pt x="314" y="7"/>
                    </a:lnTo>
                    <a:lnTo>
                      <a:pt x="314" y="9"/>
                    </a:lnTo>
                    <a:lnTo>
                      <a:pt x="314" y="13"/>
                    </a:lnTo>
                    <a:lnTo>
                      <a:pt x="314" y="28"/>
                    </a:lnTo>
                    <a:lnTo>
                      <a:pt x="314" y="43"/>
                    </a:lnTo>
                    <a:lnTo>
                      <a:pt x="314" y="57"/>
                    </a:lnTo>
                    <a:lnTo>
                      <a:pt x="314" y="68"/>
                    </a:lnTo>
                    <a:lnTo>
                      <a:pt x="314" y="69"/>
                    </a:lnTo>
                    <a:lnTo>
                      <a:pt x="314" y="74"/>
                    </a:lnTo>
                    <a:lnTo>
                      <a:pt x="314" y="87"/>
                    </a:lnTo>
                    <a:lnTo>
                      <a:pt x="314" y="104"/>
                    </a:lnTo>
                    <a:lnTo>
                      <a:pt x="314" y="106"/>
                    </a:lnTo>
                    <a:lnTo>
                      <a:pt x="314" y="108"/>
                    </a:lnTo>
                    <a:lnTo>
                      <a:pt x="314" y="112"/>
                    </a:lnTo>
                    <a:lnTo>
                      <a:pt x="314" y="116"/>
                    </a:lnTo>
                    <a:lnTo>
                      <a:pt x="314" y="117"/>
                    </a:lnTo>
                    <a:lnTo>
                      <a:pt x="314" y="128"/>
                    </a:lnTo>
                    <a:lnTo>
                      <a:pt x="314" y="145"/>
                    </a:lnTo>
                    <a:lnTo>
                      <a:pt x="309" y="145"/>
                    </a:lnTo>
                    <a:lnTo>
                      <a:pt x="309" y="155"/>
                    </a:lnTo>
                    <a:lnTo>
                      <a:pt x="309" y="156"/>
                    </a:lnTo>
                    <a:lnTo>
                      <a:pt x="314" y="156"/>
                    </a:lnTo>
                    <a:lnTo>
                      <a:pt x="314" y="160"/>
                    </a:lnTo>
                    <a:lnTo>
                      <a:pt x="314" y="189"/>
                    </a:lnTo>
                    <a:lnTo>
                      <a:pt x="304" y="189"/>
                    </a:lnTo>
                    <a:lnTo>
                      <a:pt x="299" y="187"/>
                    </a:lnTo>
                    <a:lnTo>
                      <a:pt x="282" y="189"/>
                    </a:lnTo>
                    <a:lnTo>
                      <a:pt x="264" y="189"/>
                    </a:lnTo>
                    <a:lnTo>
                      <a:pt x="262" y="189"/>
                    </a:lnTo>
                    <a:lnTo>
                      <a:pt x="252" y="189"/>
                    </a:lnTo>
                    <a:lnTo>
                      <a:pt x="252" y="195"/>
                    </a:lnTo>
                    <a:lnTo>
                      <a:pt x="252" y="208"/>
                    </a:lnTo>
                    <a:lnTo>
                      <a:pt x="252" y="220"/>
                    </a:lnTo>
                    <a:lnTo>
                      <a:pt x="252" y="223"/>
                    </a:lnTo>
                    <a:lnTo>
                      <a:pt x="252" y="222"/>
                    </a:lnTo>
                    <a:lnTo>
                      <a:pt x="250" y="222"/>
                    </a:lnTo>
                    <a:lnTo>
                      <a:pt x="249" y="221"/>
                    </a:lnTo>
                    <a:lnTo>
                      <a:pt x="249" y="222"/>
                    </a:lnTo>
                    <a:lnTo>
                      <a:pt x="248" y="223"/>
                    </a:lnTo>
                    <a:lnTo>
                      <a:pt x="248" y="224"/>
                    </a:lnTo>
                    <a:lnTo>
                      <a:pt x="247" y="224"/>
                    </a:lnTo>
                    <a:lnTo>
                      <a:pt x="246" y="224"/>
                    </a:lnTo>
                    <a:lnTo>
                      <a:pt x="245" y="224"/>
                    </a:lnTo>
                    <a:lnTo>
                      <a:pt x="244" y="224"/>
                    </a:lnTo>
                    <a:lnTo>
                      <a:pt x="244" y="225"/>
                    </a:lnTo>
                    <a:lnTo>
                      <a:pt x="243" y="228"/>
                    </a:lnTo>
                    <a:lnTo>
                      <a:pt x="242" y="228"/>
                    </a:lnTo>
                    <a:lnTo>
                      <a:pt x="241" y="228"/>
                    </a:lnTo>
                    <a:lnTo>
                      <a:pt x="241" y="229"/>
                    </a:lnTo>
                    <a:lnTo>
                      <a:pt x="242" y="229"/>
                    </a:lnTo>
                    <a:lnTo>
                      <a:pt x="242" y="230"/>
                    </a:lnTo>
                    <a:lnTo>
                      <a:pt x="241" y="230"/>
                    </a:lnTo>
                    <a:lnTo>
                      <a:pt x="241" y="231"/>
                    </a:lnTo>
                    <a:lnTo>
                      <a:pt x="241" y="232"/>
                    </a:lnTo>
                    <a:lnTo>
                      <a:pt x="240" y="231"/>
                    </a:lnTo>
                    <a:lnTo>
                      <a:pt x="240" y="232"/>
                    </a:lnTo>
                    <a:lnTo>
                      <a:pt x="240" y="233"/>
                    </a:lnTo>
                    <a:lnTo>
                      <a:pt x="239" y="233"/>
                    </a:lnTo>
                    <a:lnTo>
                      <a:pt x="237" y="233"/>
                    </a:lnTo>
                    <a:lnTo>
                      <a:pt x="237" y="234"/>
                    </a:lnTo>
                    <a:lnTo>
                      <a:pt x="236" y="235"/>
                    </a:lnTo>
                    <a:lnTo>
                      <a:pt x="237" y="235"/>
                    </a:lnTo>
                    <a:lnTo>
                      <a:pt x="237" y="236"/>
                    </a:lnTo>
                    <a:lnTo>
                      <a:pt x="236" y="237"/>
                    </a:lnTo>
                    <a:lnTo>
                      <a:pt x="236" y="238"/>
                    </a:lnTo>
                    <a:lnTo>
                      <a:pt x="235" y="238"/>
                    </a:lnTo>
                    <a:lnTo>
                      <a:pt x="234" y="238"/>
                    </a:lnTo>
                    <a:lnTo>
                      <a:pt x="233" y="237"/>
                    </a:lnTo>
                    <a:lnTo>
                      <a:pt x="233" y="238"/>
                    </a:lnTo>
                    <a:lnTo>
                      <a:pt x="233" y="239"/>
                    </a:lnTo>
                    <a:lnTo>
                      <a:pt x="231" y="239"/>
                    </a:lnTo>
                    <a:lnTo>
                      <a:pt x="230" y="239"/>
                    </a:lnTo>
                    <a:lnTo>
                      <a:pt x="230" y="241"/>
                    </a:lnTo>
                    <a:lnTo>
                      <a:pt x="229" y="241"/>
                    </a:lnTo>
                    <a:lnTo>
                      <a:pt x="230" y="241"/>
                    </a:lnTo>
                    <a:lnTo>
                      <a:pt x="230" y="242"/>
                    </a:lnTo>
                    <a:lnTo>
                      <a:pt x="230" y="243"/>
                    </a:lnTo>
                    <a:lnTo>
                      <a:pt x="230" y="244"/>
                    </a:lnTo>
                    <a:lnTo>
                      <a:pt x="230" y="245"/>
                    </a:lnTo>
                    <a:lnTo>
                      <a:pt x="229" y="246"/>
                    </a:lnTo>
                    <a:lnTo>
                      <a:pt x="229" y="247"/>
                    </a:lnTo>
                    <a:lnTo>
                      <a:pt x="228" y="248"/>
                    </a:lnTo>
                    <a:lnTo>
                      <a:pt x="229" y="248"/>
                    </a:lnTo>
                    <a:lnTo>
                      <a:pt x="228" y="249"/>
                    </a:lnTo>
                    <a:lnTo>
                      <a:pt x="228" y="250"/>
                    </a:lnTo>
                    <a:lnTo>
                      <a:pt x="228" y="251"/>
                    </a:lnTo>
                    <a:lnTo>
                      <a:pt x="228" y="252"/>
                    </a:lnTo>
                    <a:lnTo>
                      <a:pt x="228" y="254"/>
                    </a:lnTo>
                    <a:lnTo>
                      <a:pt x="227" y="254"/>
                    </a:lnTo>
                    <a:lnTo>
                      <a:pt x="228" y="254"/>
                    </a:lnTo>
                    <a:lnTo>
                      <a:pt x="228" y="255"/>
                    </a:lnTo>
                    <a:lnTo>
                      <a:pt x="229" y="255"/>
                    </a:lnTo>
                    <a:lnTo>
                      <a:pt x="229" y="256"/>
                    </a:lnTo>
                    <a:lnTo>
                      <a:pt x="229" y="257"/>
                    </a:lnTo>
                    <a:lnTo>
                      <a:pt x="229" y="258"/>
                    </a:lnTo>
                    <a:lnTo>
                      <a:pt x="229" y="259"/>
                    </a:lnTo>
                    <a:lnTo>
                      <a:pt x="229" y="260"/>
                    </a:lnTo>
                    <a:lnTo>
                      <a:pt x="229" y="261"/>
                    </a:lnTo>
                    <a:lnTo>
                      <a:pt x="229" y="262"/>
                    </a:lnTo>
                    <a:lnTo>
                      <a:pt x="228" y="262"/>
                    </a:lnTo>
                    <a:lnTo>
                      <a:pt x="228" y="263"/>
                    </a:lnTo>
                    <a:lnTo>
                      <a:pt x="229" y="263"/>
                    </a:lnTo>
                    <a:lnTo>
                      <a:pt x="229" y="264"/>
                    </a:lnTo>
                    <a:lnTo>
                      <a:pt x="229" y="266"/>
                    </a:lnTo>
                    <a:lnTo>
                      <a:pt x="228" y="266"/>
                    </a:lnTo>
                    <a:lnTo>
                      <a:pt x="228" y="267"/>
                    </a:lnTo>
                    <a:lnTo>
                      <a:pt x="229" y="267"/>
                    </a:lnTo>
                    <a:lnTo>
                      <a:pt x="229" y="266"/>
                    </a:lnTo>
                    <a:lnTo>
                      <a:pt x="229" y="267"/>
                    </a:lnTo>
                    <a:lnTo>
                      <a:pt x="230" y="267"/>
                    </a:lnTo>
                    <a:lnTo>
                      <a:pt x="230" y="268"/>
                    </a:lnTo>
                    <a:lnTo>
                      <a:pt x="230" y="269"/>
                    </a:lnTo>
                    <a:lnTo>
                      <a:pt x="230" y="270"/>
                    </a:lnTo>
                    <a:lnTo>
                      <a:pt x="230" y="271"/>
                    </a:lnTo>
                    <a:lnTo>
                      <a:pt x="231" y="272"/>
                    </a:lnTo>
                    <a:lnTo>
                      <a:pt x="230" y="272"/>
                    </a:lnTo>
                    <a:lnTo>
                      <a:pt x="231" y="272"/>
                    </a:lnTo>
                    <a:lnTo>
                      <a:pt x="231" y="273"/>
                    </a:lnTo>
                    <a:lnTo>
                      <a:pt x="231" y="274"/>
                    </a:lnTo>
                    <a:lnTo>
                      <a:pt x="232" y="274"/>
                    </a:lnTo>
                    <a:lnTo>
                      <a:pt x="231" y="274"/>
                    </a:lnTo>
                    <a:lnTo>
                      <a:pt x="231" y="275"/>
                    </a:lnTo>
                    <a:lnTo>
                      <a:pt x="232" y="275"/>
                    </a:lnTo>
                    <a:lnTo>
                      <a:pt x="232" y="276"/>
                    </a:lnTo>
                    <a:lnTo>
                      <a:pt x="231" y="276"/>
                    </a:lnTo>
                    <a:lnTo>
                      <a:pt x="232" y="276"/>
                    </a:lnTo>
                    <a:lnTo>
                      <a:pt x="232" y="277"/>
                    </a:lnTo>
                    <a:lnTo>
                      <a:pt x="231" y="277"/>
                    </a:lnTo>
                    <a:lnTo>
                      <a:pt x="231" y="279"/>
                    </a:lnTo>
                    <a:lnTo>
                      <a:pt x="231" y="280"/>
                    </a:lnTo>
                    <a:lnTo>
                      <a:pt x="231" y="281"/>
                    </a:lnTo>
                    <a:lnTo>
                      <a:pt x="232" y="281"/>
                    </a:lnTo>
                    <a:lnTo>
                      <a:pt x="232" y="282"/>
                    </a:lnTo>
                    <a:lnTo>
                      <a:pt x="231" y="282"/>
                    </a:lnTo>
                    <a:lnTo>
                      <a:pt x="231" y="283"/>
                    </a:lnTo>
                    <a:lnTo>
                      <a:pt x="231" y="284"/>
                    </a:lnTo>
                    <a:lnTo>
                      <a:pt x="230" y="284"/>
                    </a:lnTo>
                    <a:lnTo>
                      <a:pt x="230" y="285"/>
                    </a:lnTo>
                    <a:lnTo>
                      <a:pt x="231" y="286"/>
                    </a:lnTo>
                    <a:lnTo>
                      <a:pt x="230" y="286"/>
                    </a:lnTo>
                    <a:lnTo>
                      <a:pt x="230" y="287"/>
                    </a:lnTo>
                    <a:lnTo>
                      <a:pt x="230" y="288"/>
                    </a:lnTo>
                    <a:lnTo>
                      <a:pt x="230" y="289"/>
                    </a:lnTo>
                    <a:lnTo>
                      <a:pt x="230" y="290"/>
                    </a:lnTo>
                    <a:lnTo>
                      <a:pt x="230" y="292"/>
                    </a:lnTo>
                    <a:lnTo>
                      <a:pt x="229" y="292"/>
                    </a:lnTo>
                    <a:lnTo>
                      <a:pt x="229" y="293"/>
                    </a:lnTo>
                    <a:lnTo>
                      <a:pt x="229" y="294"/>
                    </a:lnTo>
                    <a:lnTo>
                      <a:pt x="229" y="295"/>
                    </a:lnTo>
                    <a:lnTo>
                      <a:pt x="229" y="296"/>
                    </a:lnTo>
                    <a:lnTo>
                      <a:pt x="228" y="297"/>
                    </a:lnTo>
                    <a:lnTo>
                      <a:pt x="228" y="298"/>
                    </a:lnTo>
                    <a:lnTo>
                      <a:pt x="228" y="299"/>
                    </a:lnTo>
                    <a:lnTo>
                      <a:pt x="227" y="299"/>
                    </a:lnTo>
                    <a:lnTo>
                      <a:pt x="226" y="300"/>
                    </a:lnTo>
                    <a:lnTo>
                      <a:pt x="226" y="301"/>
                    </a:lnTo>
                    <a:lnTo>
                      <a:pt x="224" y="301"/>
                    </a:lnTo>
                    <a:lnTo>
                      <a:pt x="224" y="302"/>
                    </a:lnTo>
                    <a:lnTo>
                      <a:pt x="223" y="302"/>
                    </a:lnTo>
                    <a:lnTo>
                      <a:pt x="222" y="302"/>
                    </a:lnTo>
                    <a:lnTo>
                      <a:pt x="222" y="303"/>
                    </a:lnTo>
                    <a:lnTo>
                      <a:pt x="221" y="303"/>
                    </a:lnTo>
                    <a:lnTo>
                      <a:pt x="220" y="303"/>
                    </a:lnTo>
                    <a:lnTo>
                      <a:pt x="219" y="305"/>
                    </a:lnTo>
                    <a:lnTo>
                      <a:pt x="219" y="308"/>
                    </a:lnTo>
                    <a:lnTo>
                      <a:pt x="219" y="310"/>
                    </a:lnTo>
                    <a:lnTo>
                      <a:pt x="219" y="311"/>
                    </a:lnTo>
                    <a:lnTo>
                      <a:pt x="219" y="312"/>
                    </a:lnTo>
                    <a:lnTo>
                      <a:pt x="219" y="313"/>
                    </a:lnTo>
                    <a:lnTo>
                      <a:pt x="219" y="315"/>
                    </a:lnTo>
                    <a:lnTo>
                      <a:pt x="215" y="315"/>
                    </a:lnTo>
                    <a:lnTo>
                      <a:pt x="210" y="315"/>
                    </a:lnTo>
                    <a:lnTo>
                      <a:pt x="209" y="315"/>
                    </a:lnTo>
                    <a:lnTo>
                      <a:pt x="195" y="315"/>
                    </a:lnTo>
                    <a:lnTo>
                      <a:pt x="179" y="315"/>
                    </a:lnTo>
                    <a:lnTo>
                      <a:pt x="168" y="315"/>
                    </a:lnTo>
                    <a:lnTo>
                      <a:pt x="162" y="315"/>
                    </a:lnTo>
                    <a:lnTo>
                      <a:pt x="146" y="315"/>
                    </a:lnTo>
                    <a:lnTo>
                      <a:pt x="144" y="315"/>
                    </a:lnTo>
                    <a:lnTo>
                      <a:pt x="112" y="315"/>
                    </a:lnTo>
                    <a:lnTo>
                      <a:pt x="78" y="315"/>
                    </a:lnTo>
                    <a:lnTo>
                      <a:pt x="76" y="315"/>
                    </a:lnTo>
                    <a:lnTo>
                      <a:pt x="75" y="315"/>
                    </a:lnTo>
                    <a:lnTo>
                      <a:pt x="71" y="315"/>
                    </a:lnTo>
                    <a:lnTo>
                      <a:pt x="55" y="315"/>
                    </a:lnTo>
                    <a:lnTo>
                      <a:pt x="53" y="315"/>
                    </a:lnTo>
                    <a:lnTo>
                      <a:pt x="37" y="315"/>
                    </a:lnTo>
                    <a:lnTo>
                      <a:pt x="36" y="314"/>
                    </a:lnTo>
                    <a:lnTo>
                      <a:pt x="35" y="314"/>
                    </a:lnTo>
                    <a:lnTo>
                      <a:pt x="35" y="313"/>
                    </a:lnTo>
                    <a:lnTo>
                      <a:pt x="35" y="312"/>
                    </a:lnTo>
                    <a:lnTo>
                      <a:pt x="36" y="312"/>
                    </a:lnTo>
                    <a:lnTo>
                      <a:pt x="36" y="311"/>
                    </a:lnTo>
                    <a:lnTo>
                      <a:pt x="35" y="311"/>
                    </a:lnTo>
                    <a:lnTo>
                      <a:pt x="35" y="310"/>
                    </a:lnTo>
                    <a:lnTo>
                      <a:pt x="35" y="309"/>
                    </a:lnTo>
                    <a:lnTo>
                      <a:pt x="36" y="308"/>
                    </a:lnTo>
                    <a:lnTo>
                      <a:pt x="36" y="307"/>
                    </a:lnTo>
                    <a:lnTo>
                      <a:pt x="35" y="307"/>
                    </a:lnTo>
                    <a:lnTo>
                      <a:pt x="35" y="306"/>
                    </a:lnTo>
                    <a:lnTo>
                      <a:pt x="35" y="305"/>
                    </a:lnTo>
                    <a:lnTo>
                      <a:pt x="36" y="305"/>
                    </a:lnTo>
                    <a:lnTo>
                      <a:pt x="37" y="305"/>
                    </a:lnTo>
                    <a:lnTo>
                      <a:pt x="38" y="303"/>
                    </a:lnTo>
                    <a:lnTo>
                      <a:pt x="38" y="302"/>
                    </a:lnTo>
                    <a:lnTo>
                      <a:pt x="37" y="302"/>
                    </a:lnTo>
                    <a:lnTo>
                      <a:pt x="38" y="302"/>
                    </a:lnTo>
                    <a:lnTo>
                      <a:pt x="38" y="301"/>
                    </a:lnTo>
                    <a:lnTo>
                      <a:pt x="37" y="301"/>
                    </a:lnTo>
                    <a:lnTo>
                      <a:pt x="38" y="301"/>
                    </a:lnTo>
                    <a:lnTo>
                      <a:pt x="37" y="300"/>
                    </a:lnTo>
                    <a:lnTo>
                      <a:pt x="37" y="299"/>
                    </a:lnTo>
                    <a:lnTo>
                      <a:pt x="37" y="298"/>
                    </a:lnTo>
                    <a:lnTo>
                      <a:pt x="37" y="297"/>
                    </a:lnTo>
                    <a:lnTo>
                      <a:pt x="37" y="296"/>
                    </a:lnTo>
                    <a:lnTo>
                      <a:pt x="38" y="296"/>
                    </a:lnTo>
                    <a:lnTo>
                      <a:pt x="38" y="295"/>
                    </a:lnTo>
                    <a:lnTo>
                      <a:pt x="38" y="294"/>
                    </a:lnTo>
                    <a:lnTo>
                      <a:pt x="37" y="294"/>
                    </a:lnTo>
                    <a:lnTo>
                      <a:pt x="37" y="293"/>
                    </a:lnTo>
                    <a:lnTo>
                      <a:pt x="37" y="292"/>
                    </a:lnTo>
                    <a:lnTo>
                      <a:pt x="37" y="290"/>
                    </a:lnTo>
                    <a:lnTo>
                      <a:pt x="37" y="289"/>
                    </a:lnTo>
                    <a:lnTo>
                      <a:pt x="37" y="288"/>
                    </a:lnTo>
                    <a:lnTo>
                      <a:pt x="37" y="287"/>
                    </a:lnTo>
                    <a:lnTo>
                      <a:pt x="37" y="286"/>
                    </a:lnTo>
                    <a:lnTo>
                      <a:pt x="38" y="286"/>
                    </a:lnTo>
                    <a:lnTo>
                      <a:pt x="38" y="285"/>
                    </a:lnTo>
                    <a:lnTo>
                      <a:pt x="37" y="285"/>
                    </a:lnTo>
                    <a:lnTo>
                      <a:pt x="38" y="285"/>
                    </a:lnTo>
                    <a:lnTo>
                      <a:pt x="38" y="284"/>
                    </a:lnTo>
                    <a:lnTo>
                      <a:pt x="39" y="284"/>
                    </a:lnTo>
                    <a:lnTo>
                      <a:pt x="38" y="284"/>
                    </a:lnTo>
                    <a:lnTo>
                      <a:pt x="39" y="284"/>
                    </a:lnTo>
                    <a:lnTo>
                      <a:pt x="39" y="283"/>
                    </a:lnTo>
                    <a:lnTo>
                      <a:pt x="39" y="282"/>
                    </a:lnTo>
                    <a:lnTo>
                      <a:pt x="39" y="281"/>
                    </a:lnTo>
                    <a:lnTo>
                      <a:pt x="40" y="281"/>
                    </a:lnTo>
                    <a:lnTo>
                      <a:pt x="40" y="280"/>
                    </a:lnTo>
                    <a:lnTo>
                      <a:pt x="39" y="280"/>
                    </a:lnTo>
                    <a:lnTo>
                      <a:pt x="39" y="279"/>
                    </a:lnTo>
                    <a:lnTo>
                      <a:pt x="38" y="279"/>
                    </a:lnTo>
                    <a:lnTo>
                      <a:pt x="38" y="277"/>
                    </a:lnTo>
                    <a:lnTo>
                      <a:pt x="38" y="276"/>
                    </a:lnTo>
                    <a:lnTo>
                      <a:pt x="37" y="276"/>
                    </a:lnTo>
                    <a:lnTo>
                      <a:pt x="38" y="276"/>
                    </a:lnTo>
                    <a:lnTo>
                      <a:pt x="38" y="275"/>
                    </a:lnTo>
                    <a:lnTo>
                      <a:pt x="38" y="274"/>
                    </a:lnTo>
                    <a:lnTo>
                      <a:pt x="38" y="273"/>
                    </a:lnTo>
                    <a:lnTo>
                      <a:pt x="38" y="272"/>
                    </a:lnTo>
                    <a:lnTo>
                      <a:pt x="38" y="271"/>
                    </a:lnTo>
                    <a:lnTo>
                      <a:pt x="38" y="270"/>
                    </a:lnTo>
                    <a:lnTo>
                      <a:pt x="39" y="270"/>
                    </a:lnTo>
                    <a:lnTo>
                      <a:pt x="38" y="270"/>
                    </a:lnTo>
                    <a:lnTo>
                      <a:pt x="38" y="269"/>
                    </a:lnTo>
                    <a:lnTo>
                      <a:pt x="37" y="269"/>
                    </a:lnTo>
                    <a:lnTo>
                      <a:pt x="37" y="268"/>
                    </a:lnTo>
                    <a:lnTo>
                      <a:pt x="36" y="268"/>
                    </a:lnTo>
                    <a:lnTo>
                      <a:pt x="36" y="267"/>
                    </a:lnTo>
                    <a:lnTo>
                      <a:pt x="36" y="266"/>
                    </a:lnTo>
                    <a:lnTo>
                      <a:pt x="36" y="264"/>
                    </a:lnTo>
                    <a:lnTo>
                      <a:pt x="35" y="264"/>
                    </a:lnTo>
                    <a:lnTo>
                      <a:pt x="36" y="264"/>
                    </a:lnTo>
                    <a:lnTo>
                      <a:pt x="37" y="264"/>
                    </a:lnTo>
                    <a:lnTo>
                      <a:pt x="37" y="263"/>
                    </a:lnTo>
                    <a:lnTo>
                      <a:pt x="37" y="262"/>
                    </a:lnTo>
                    <a:lnTo>
                      <a:pt x="38" y="262"/>
                    </a:lnTo>
                    <a:lnTo>
                      <a:pt x="38" y="263"/>
                    </a:lnTo>
                    <a:lnTo>
                      <a:pt x="38" y="262"/>
                    </a:lnTo>
                    <a:lnTo>
                      <a:pt x="39" y="262"/>
                    </a:lnTo>
                    <a:lnTo>
                      <a:pt x="38" y="262"/>
                    </a:lnTo>
                    <a:lnTo>
                      <a:pt x="38" y="261"/>
                    </a:lnTo>
                    <a:lnTo>
                      <a:pt x="39" y="261"/>
                    </a:lnTo>
                    <a:lnTo>
                      <a:pt x="38" y="261"/>
                    </a:lnTo>
                    <a:lnTo>
                      <a:pt x="38" y="260"/>
                    </a:lnTo>
                    <a:lnTo>
                      <a:pt x="37" y="260"/>
                    </a:lnTo>
                    <a:lnTo>
                      <a:pt x="38" y="260"/>
                    </a:lnTo>
                    <a:lnTo>
                      <a:pt x="38" y="259"/>
                    </a:lnTo>
                    <a:lnTo>
                      <a:pt x="37" y="259"/>
                    </a:lnTo>
                    <a:lnTo>
                      <a:pt x="38" y="259"/>
                    </a:lnTo>
                    <a:lnTo>
                      <a:pt x="37" y="258"/>
                    </a:lnTo>
                    <a:lnTo>
                      <a:pt x="38" y="258"/>
                    </a:lnTo>
                    <a:lnTo>
                      <a:pt x="37" y="258"/>
                    </a:lnTo>
                    <a:lnTo>
                      <a:pt x="37" y="257"/>
                    </a:lnTo>
                    <a:lnTo>
                      <a:pt x="38" y="257"/>
                    </a:lnTo>
                    <a:lnTo>
                      <a:pt x="37" y="257"/>
                    </a:lnTo>
                    <a:lnTo>
                      <a:pt x="36" y="257"/>
                    </a:lnTo>
                    <a:lnTo>
                      <a:pt x="35" y="257"/>
                    </a:lnTo>
                    <a:lnTo>
                      <a:pt x="34" y="257"/>
                    </a:lnTo>
                    <a:lnTo>
                      <a:pt x="34" y="256"/>
                    </a:lnTo>
                    <a:lnTo>
                      <a:pt x="35" y="256"/>
                    </a:lnTo>
                    <a:lnTo>
                      <a:pt x="35" y="255"/>
                    </a:lnTo>
                    <a:lnTo>
                      <a:pt x="35" y="254"/>
                    </a:lnTo>
                    <a:lnTo>
                      <a:pt x="36" y="254"/>
                    </a:lnTo>
                    <a:lnTo>
                      <a:pt x="36" y="252"/>
                    </a:lnTo>
                    <a:lnTo>
                      <a:pt x="37" y="252"/>
                    </a:lnTo>
                    <a:lnTo>
                      <a:pt x="37" y="251"/>
                    </a:lnTo>
                    <a:lnTo>
                      <a:pt x="38" y="251"/>
                    </a:lnTo>
                    <a:lnTo>
                      <a:pt x="37" y="251"/>
                    </a:lnTo>
                    <a:lnTo>
                      <a:pt x="33" y="251"/>
                    </a:lnTo>
                    <a:lnTo>
                      <a:pt x="32" y="241"/>
                    </a:lnTo>
                    <a:lnTo>
                      <a:pt x="32" y="235"/>
                    </a:lnTo>
                    <a:lnTo>
                      <a:pt x="32" y="219"/>
                    </a:lnTo>
                    <a:lnTo>
                      <a:pt x="22" y="219"/>
                    </a:lnTo>
                    <a:lnTo>
                      <a:pt x="15" y="219"/>
                    </a:lnTo>
                    <a:lnTo>
                      <a:pt x="1" y="220"/>
                    </a:lnTo>
                    <a:lnTo>
                      <a:pt x="1" y="195"/>
                    </a:lnTo>
                    <a:lnTo>
                      <a:pt x="0" y="195"/>
                    </a:lnTo>
                    <a:lnTo>
                      <a:pt x="0" y="193"/>
                    </a:lnTo>
                    <a:lnTo>
                      <a:pt x="0" y="187"/>
                    </a:lnTo>
                    <a:lnTo>
                      <a:pt x="0" y="158"/>
                    </a:lnTo>
                    <a:lnTo>
                      <a:pt x="0" y="156"/>
                    </a:lnTo>
                    <a:lnTo>
                      <a:pt x="0" y="154"/>
                    </a:lnTo>
                    <a:lnTo>
                      <a:pt x="1" y="148"/>
                    </a:lnTo>
                    <a:lnTo>
                      <a:pt x="1" y="140"/>
                    </a:lnTo>
                    <a:lnTo>
                      <a:pt x="1" y="134"/>
                    </a:lnTo>
                    <a:lnTo>
                      <a:pt x="0" y="122"/>
                    </a:lnTo>
                    <a:lnTo>
                      <a:pt x="0" y="119"/>
                    </a:lnTo>
                    <a:lnTo>
                      <a:pt x="0" y="107"/>
                    </a:lnTo>
                    <a:lnTo>
                      <a:pt x="0" y="101"/>
                    </a:lnTo>
                    <a:lnTo>
                      <a:pt x="0" y="96"/>
                    </a:lnTo>
                    <a:lnTo>
                      <a:pt x="0" y="82"/>
                    </a:lnTo>
                    <a:lnTo>
                      <a:pt x="0" y="14"/>
                    </a:lnTo>
                    <a:lnTo>
                      <a:pt x="0" y="13"/>
                    </a:lnTo>
                    <a:lnTo>
                      <a:pt x="0" y="6"/>
                    </a:lnTo>
                    <a:lnTo>
                      <a:pt x="0" y="0"/>
                    </a:lnTo>
                    <a:lnTo>
                      <a:pt x="14" y="0"/>
                    </a:lnTo>
                    <a:lnTo>
                      <a:pt x="25" y="0"/>
                    </a:lnTo>
                    <a:lnTo>
                      <a:pt x="28" y="0"/>
                    </a:lnTo>
                    <a:lnTo>
                      <a:pt x="32" y="0"/>
                    </a:lnTo>
                    <a:lnTo>
                      <a:pt x="35" y="0"/>
                    </a:lnTo>
                    <a:lnTo>
                      <a:pt x="39" y="0"/>
                    </a:lnTo>
                    <a:lnTo>
                      <a:pt x="52" y="0"/>
                    </a:lnTo>
                    <a:lnTo>
                      <a:pt x="64" y="0"/>
                    </a:lnTo>
                    <a:lnTo>
                      <a:pt x="69" y="0"/>
                    </a:lnTo>
                    <a:lnTo>
                      <a:pt x="76" y="0"/>
                    </a:lnTo>
                    <a:lnTo>
                      <a:pt x="84" y="0"/>
                    </a:lnTo>
                    <a:lnTo>
                      <a:pt x="85" y="0"/>
                    </a:lnTo>
                    <a:lnTo>
                      <a:pt x="93" y="0"/>
                    </a:lnTo>
                    <a:lnTo>
                      <a:pt x="97" y="0"/>
                    </a:lnTo>
                    <a:lnTo>
                      <a:pt x="101" y="0"/>
                    </a:lnTo>
                    <a:lnTo>
                      <a:pt x="103" y="0"/>
                    </a:lnTo>
                    <a:lnTo>
                      <a:pt x="119" y="0"/>
                    </a:lnTo>
                    <a:lnTo>
                      <a:pt x="129" y="0"/>
                    </a:lnTo>
                    <a:lnTo>
                      <a:pt x="136" y="0"/>
                    </a:lnTo>
                    <a:lnTo>
                      <a:pt x="141" y="0"/>
                    </a:lnTo>
                    <a:lnTo>
                      <a:pt x="142" y="0"/>
                    </a:lnTo>
                    <a:lnTo>
                      <a:pt x="146" y="0"/>
                    </a:lnTo>
                    <a:lnTo>
                      <a:pt x="153" y="0"/>
                    </a:lnTo>
                    <a:close/>
                  </a:path>
                </a:pathLst>
              </a:custGeom>
              <a:solidFill>
                <a:srgbClr val="04367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3" name="Freeform 331">
                <a:extLst>
                  <a:ext uri="{FF2B5EF4-FFF2-40B4-BE49-F238E27FC236}">
                    <a16:creationId xmlns:a16="http://schemas.microsoft.com/office/drawing/2014/main" id="{B8826A8B-BE23-39F3-F2A1-6B7F7F8C3395}"/>
                  </a:ext>
                </a:extLst>
              </p:cNvPr>
              <p:cNvSpPr>
                <a:spLocks/>
              </p:cNvSpPr>
              <p:nvPr/>
            </p:nvSpPr>
            <p:spPr bwMode="auto">
              <a:xfrm>
                <a:off x="1743076" y="1630363"/>
                <a:ext cx="636588" cy="504825"/>
              </a:xfrm>
              <a:custGeom>
                <a:avLst/>
                <a:gdLst>
                  <a:gd name="T0" fmla="*/ 336 w 401"/>
                  <a:gd name="T1" fmla="*/ 62 h 318"/>
                  <a:gd name="T2" fmla="*/ 399 w 401"/>
                  <a:gd name="T3" fmla="*/ 96 h 318"/>
                  <a:gd name="T4" fmla="*/ 400 w 401"/>
                  <a:gd name="T5" fmla="*/ 176 h 318"/>
                  <a:gd name="T6" fmla="*/ 401 w 401"/>
                  <a:gd name="T7" fmla="*/ 253 h 318"/>
                  <a:gd name="T8" fmla="*/ 397 w 401"/>
                  <a:gd name="T9" fmla="*/ 258 h 318"/>
                  <a:gd name="T10" fmla="*/ 396 w 401"/>
                  <a:gd name="T11" fmla="*/ 265 h 318"/>
                  <a:gd name="T12" fmla="*/ 390 w 401"/>
                  <a:gd name="T13" fmla="*/ 268 h 318"/>
                  <a:gd name="T14" fmla="*/ 385 w 401"/>
                  <a:gd name="T15" fmla="*/ 270 h 318"/>
                  <a:gd name="T16" fmla="*/ 385 w 401"/>
                  <a:gd name="T17" fmla="*/ 277 h 318"/>
                  <a:gd name="T18" fmla="*/ 385 w 401"/>
                  <a:gd name="T19" fmla="*/ 281 h 318"/>
                  <a:gd name="T20" fmla="*/ 385 w 401"/>
                  <a:gd name="T21" fmla="*/ 287 h 318"/>
                  <a:gd name="T22" fmla="*/ 385 w 401"/>
                  <a:gd name="T23" fmla="*/ 294 h 318"/>
                  <a:gd name="T24" fmla="*/ 380 w 401"/>
                  <a:gd name="T25" fmla="*/ 299 h 318"/>
                  <a:gd name="T26" fmla="*/ 377 w 401"/>
                  <a:gd name="T27" fmla="*/ 302 h 318"/>
                  <a:gd name="T28" fmla="*/ 373 w 401"/>
                  <a:gd name="T29" fmla="*/ 307 h 318"/>
                  <a:gd name="T30" fmla="*/ 372 w 401"/>
                  <a:gd name="T31" fmla="*/ 308 h 318"/>
                  <a:gd name="T32" fmla="*/ 373 w 401"/>
                  <a:gd name="T33" fmla="*/ 315 h 318"/>
                  <a:gd name="T34" fmla="*/ 322 w 401"/>
                  <a:gd name="T35" fmla="*/ 317 h 318"/>
                  <a:gd name="T36" fmla="*/ 191 w 401"/>
                  <a:gd name="T37" fmla="*/ 317 h 318"/>
                  <a:gd name="T38" fmla="*/ 146 w 401"/>
                  <a:gd name="T39" fmla="*/ 312 h 318"/>
                  <a:gd name="T40" fmla="*/ 144 w 401"/>
                  <a:gd name="T41" fmla="*/ 304 h 318"/>
                  <a:gd name="T42" fmla="*/ 144 w 401"/>
                  <a:gd name="T43" fmla="*/ 294 h 318"/>
                  <a:gd name="T44" fmla="*/ 139 w 401"/>
                  <a:gd name="T45" fmla="*/ 289 h 318"/>
                  <a:gd name="T46" fmla="*/ 133 w 401"/>
                  <a:gd name="T47" fmla="*/ 286 h 318"/>
                  <a:gd name="T48" fmla="*/ 132 w 401"/>
                  <a:gd name="T49" fmla="*/ 282 h 318"/>
                  <a:gd name="T50" fmla="*/ 131 w 401"/>
                  <a:gd name="T51" fmla="*/ 275 h 318"/>
                  <a:gd name="T52" fmla="*/ 132 w 401"/>
                  <a:gd name="T53" fmla="*/ 269 h 318"/>
                  <a:gd name="T54" fmla="*/ 132 w 401"/>
                  <a:gd name="T55" fmla="*/ 257 h 318"/>
                  <a:gd name="T56" fmla="*/ 103 w 401"/>
                  <a:gd name="T57" fmla="*/ 253 h 318"/>
                  <a:gd name="T58" fmla="*/ 2 w 401"/>
                  <a:gd name="T59" fmla="*/ 253 h 318"/>
                  <a:gd name="T60" fmla="*/ 8 w 401"/>
                  <a:gd name="T61" fmla="*/ 248 h 318"/>
                  <a:gd name="T62" fmla="*/ 11 w 401"/>
                  <a:gd name="T63" fmla="*/ 239 h 318"/>
                  <a:gd name="T64" fmla="*/ 14 w 401"/>
                  <a:gd name="T65" fmla="*/ 230 h 318"/>
                  <a:gd name="T66" fmla="*/ 14 w 401"/>
                  <a:gd name="T67" fmla="*/ 224 h 318"/>
                  <a:gd name="T68" fmla="*/ 7 w 401"/>
                  <a:gd name="T69" fmla="*/ 218 h 318"/>
                  <a:gd name="T70" fmla="*/ 4 w 401"/>
                  <a:gd name="T71" fmla="*/ 210 h 318"/>
                  <a:gd name="T72" fmla="*/ 1 w 401"/>
                  <a:gd name="T73" fmla="*/ 205 h 318"/>
                  <a:gd name="T74" fmla="*/ 3 w 401"/>
                  <a:gd name="T75" fmla="*/ 197 h 318"/>
                  <a:gd name="T76" fmla="*/ 8 w 401"/>
                  <a:gd name="T77" fmla="*/ 189 h 318"/>
                  <a:gd name="T78" fmla="*/ 15 w 401"/>
                  <a:gd name="T79" fmla="*/ 168 h 318"/>
                  <a:gd name="T80" fmla="*/ 14 w 401"/>
                  <a:gd name="T81" fmla="*/ 157 h 318"/>
                  <a:gd name="T82" fmla="*/ 0 w 401"/>
                  <a:gd name="T83" fmla="*/ 146 h 318"/>
                  <a:gd name="T84" fmla="*/ 13 w 401"/>
                  <a:gd name="T85" fmla="*/ 135 h 318"/>
                  <a:gd name="T86" fmla="*/ 32 w 401"/>
                  <a:gd name="T87" fmla="*/ 129 h 318"/>
                  <a:gd name="T88" fmla="*/ 99 w 401"/>
                  <a:gd name="T89" fmla="*/ 127 h 318"/>
                  <a:gd name="T90" fmla="*/ 135 w 401"/>
                  <a:gd name="T91" fmla="*/ 95 h 318"/>
                  <a:gd name="T92" fmla="*/ 170 w 401"/>
                  <a:gd name="T93" fmla="*/ 89 h 318"/>
                  <a:gd name="T94" fmla="*/ 170 w 401"/>
                  <a:gd name="T95" fmla="*/ 84 h 318"/>
                  <a:gd name="T96" fmla="*/ 171 w 401"/>
                  <a:gd name="T97" fmla="*/ 76 h 318"/>
                  <a:gd name="T98" fmla="*/ 168 w 401"/>
                  <a:gd name="T99" fmla="*/ 69 h 318"/>
                  <a:gd name="T100" fmla="*/ 163 w 401"/>
                  <a:gd name="T101" fmla="*/ 61 h 318"/>
                  <a:gd name="T102" fmla="*/ 161 w 401"/>
                  <a:gd name="T103" fmla="*/ 54 h 318"/>
                  <a:gd name="T104" fmla="*/ 159 w 401"/>
                  <a:gd name="T105" fmla="*/ 46 h 318"/>
                  <a:gd name="T106" fmla="*/ 158 w 401"/>
                  <a:gd name="T107" fmla="*/ 37 h 318"/>
                  <a:gd name="T108" fmla="*/ 158 w 401"/>
                  <a:gd name="T109" fmla="*/ 29 h 318"/>
                  <a:gd name="T110" fmla="*/ 156 w 401"/>
                  <a:gd name="T111" fmla="*/ 18 h 318"/>
                  <a:gd name="T112" fmla="*/ 154 w 401"/>
                  <a:gd name="T113" fmla="*/ 9 h 318"/>
                  <a:gd name="T114" fmla="*/ 153 w 401"/>
                  <a:gd name="T115" fmla="*/ 0 h 318"/>
                  <a:gd name="T116" fmla="*/ 284 w 401"/>
                  <a:gd name="T11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1" h="318">
                    <a:moveTo>
                      <a:pt x="335" y="0"/>
                    </a:moveTo>
                    <a:lnTo>
                      <a:pt x="335" y="20"/>
                    </a:lnTo>
                    <a:lnTo>
                      <a:pt x="335" y="22"/>
                    </a:lnTo>
                    <a:lnTo>
                      <a:pt x="336" y="22"/>
                    </a:lnTo>
                    <a:lnTo>
                      <a:pt x="335" y="23"/>
                    </a:lnTo>
                    <a:lnTo>
                      <a:pt x="335" y="25"/>
                    </a:lnTo>
                    <a:lnTo>
                      <a:pt x="336" y="31"/>
                    </a:lnTo>
                    <a:lnTo>
                      <a:pt x="336" y="44"/>
                    </a:lnTo>
                    <a:lnTo>
                      <a:pt x="336" y="45"/>
                    </a:lnTo>
                    <a:lnTo>
                      <a:pt x="336" y="55"/>
                    </a:lnTo>
                    <a:lnTo>
                      <a:pt x="336" y="62"/>
                    </a:lnTo>
                    <a:lnTo>
                      <a:pt x="336" y="74"/>
                    </a:lnTo>
                    <a:lnTo>
                      <a:pt x="336" y="80"/>
                    </a:lnTo>
                    <a:lnTo>
                      <a:pt x="336" y="85"/>
                    </a:lnTo>
                    <a:lnTo>
                      <a:pt x="336" y="88"/>
                    </a:lnTo>
                    <a:lnTo>
                      <a:pt x="336" y="95"/>
                    </a:lnTo>
                    <a:lnTo>
                      <a:pt x="338" y="95"/>
                    </a:lnTo>
                    <a:lnTo>
                      <a:pt x="343" y="95"/>
                    </a:lnTo>
                    <a:lnTo>
                      <a:pt x="347" y="95"/>
                    </a:lnTo>
                    <a:lnTo>
                      <a:pt x="382" y="96"/>
                    </a:lnTo>
                    <a:lnTo>
                      <a:pt x="390" y="96"/>
                    </a:lnTo>
                    <a:lnTo>
                      <a:pt x="399" y="96"/>
                    </a:lnTo>
                    <a:lnTo>
                      <a:pt x="399" y="113"/>
                    </a:lnTo>
                    <a:lnTo>
                      <a:pt x="399" y="125"/>
                    </a:lnTo>
                    <a:lnTo>
                      <a:pt x="400" y="135"/>
                    </a:lnTo>
                    <a:lnTo>
                      <a:pt x="400" y="141"/>
                    </a:lnTo>
                    <a:lnTo>
                      <a:pt x="400" y="142"/>
                    </a:lnTo>
                    <a:lnTo>
                      <a:pt x="400" y="144"/>
                    </a:lnTo>
                    <a:lnTo>
                      <a:pt x="400" y="145"/>
                    </a:lnTo>
                    <a:lnTo>
                      <a:pt x="400" y="152"/>
                    </a:lnTo>
                    <a:lnTo>
                      <a:pt x="400" y="153"/>
                    </a:lnTo>
                    <a:lnTo>
                      <a:pt x="400" y="170"/>
                    </a:lnTo>
                    <a:lnTo>
                      <a:pt x="400" y="176"/>
                    </a:lnTo>
                    <a:lnTo>
                      <a:pt x="400" y="179"/>
                    </a:lnTo>
                    <a:lnTo>
                      <a:pt x="400" y="191"/>
                    </a:lnTo>
                    <a:lnTo>
                      <a:pt x="400" y="192"/>
                    </a:lnTo>
                    <a:lnTo>
                      <a:pt x="400" y="199"/>
                    </a:lnTo>
                    <a:lnTo>
                      <a:pt x="400" y="201"/>
                    </a:lnTo>
                    <a:lnTo>
                      <a:pt x="401" y="218"/>
                    </a:lnTo>
                    <a:lnTo>
                      <a:pt x="401" y="223"/>
                    </a:lnTo>
                    <a:lnTo>
                      <a:pt x="401" y="236"/>
                    </a:lnTo>
                    <a:lnTo>
                      <a:pt x="400" y="243"/>
                    </a:lnTo>
                    <a:lnTo>
                      <a:pt x="400" y="253"/>
                    </a:lnTo>
                    <a:lnTo>
                      <a:pt x="401" y="253"/>
                    </a:lnTo>
                    <a:lnTo>
                      <a:pt x="401" y="254"/>
                    </a:lnTo>
                    <a:lnTo>
                      <a:pt x="400" y="254"/>
                    </a:lnTo>
                    <a:lnTo>
                      <a:pt x="400" y="255"/>
                    </a:lnTo>
                    <a:lnTo>
                      <a:pt x="400" y="254"/>
                    </a:lnTo>
                    <a:lnTo>
                      <a:pt x="400" y="255"/>
                    </a:lnTo>
                    <a:lnTo>
                      <a:pt x="399" y="255"/>
                    </a:lnTo>
                    <a:lnTo>
                      <a:pt x="399" y="256"/>
                    </a:lnTo>
                    <a:lnTo>
                      <a:pt x="399" y="257"/>
                    </a:lnTo>
                    <a:lnTo>
                      <a:pt x="398" y="257"/>
                    </a:lnTo>
                    <a:lnTo>
                      <a:pt x="398" y="258"/>
                    </a:lnTo>
                    <a:lnTo>
                      <a:pt x="397" y="258"/>
                    </a:lnTo>
                    <a:lnTo>
                      <a:pt x="397" y="260"/>
                    </a:lnTo>
                    <a:lnTo>
                      <a:pt x="396" y="260"/>
                    </a:lnTo>
                    <a:lnTo>
                      <a:pt x="396" y="261"/>
                    </a:lnTo>
                    <a:lnTo>
                      <a:pt x="395" y="261"/>
                    </a:lnTo>
                    <a:lnTo>
                      <a:pt x="395" y="262"/>
                    </a:lnTo>
                    <a:lnTo>
                      <a:pt x="395" y="263"/>
                    </a:lnTo>
                    <a:lnTo>
                      <a:pt x="396" y="263"/>
                    </a:lnTo>
                    <a:lnTo>
                      <a:pt x="395" y="263"/>
                    </a:lnTo>
                    <a:lnTo>
                      <a:pt x="395" y="264"/>
                    </a:lnTo>
                    <a:lnTo>
                      <a:pt x="395" y="265"/>
                    </a:lnTo>
                    <a:lnTo>
                      <a:pt x="396" y="265"/>
                    </a:lnTo>
                    <a:lnTo>
                      <a:pt x="396" y="266"/>
                    </a:lnTo>
                    <a:lnTo>
                      <a:pt x="395" y="266"/>
                    </a:lnTo>
                    <a:lnTo>
                      <a:pt x="394" y="266"/>
                    </a:lnTo>
                    <a:lnTo>
                      <a:pt x="393" y="266"/>
                    </a:lnTo>
                    <a:lnTo>
                      <a:pt x="393" y="267"/>
                    </a:lnTo>
                    <a:lnTo>
                      <a:pt x="391" y="268"/>
                    </a:lnTo>
                    <a:lnTo>
                      <a:pt x="393" y="268"/>
                    </a:lnTo>
                    <a:lnTo>
                      <a:pt x="391" y="269"/>
                    </a:lnTo>
                    <a:lnTo>
                      <a:pt x="390" y="268"/>
                    </a:lnTo>
                    <a:lnTo>
                      <a:pt x="390" y="269"/>
                    </a:lnTo>
                    <a:lnTo>
                      <a:pt x="390" y="268"/>
                    </a:lnTo>
                    <a:lnTo>
                      <a:pt x="389" y="268"/>
                    </a:lnTo>
                    <a:lnTo>
                      <a:pt x="389" y="269"/>
                    </a:lnTo>
                    <a:lnTo>
                      <a:pt x="388" y="269"/>
                    </a:lnTo>
                    <a:lnTo>
                      <a:pt x="388" y="270"/>
                    </a:lnTo>
                    <a:lnTo>
                      <a:pt x="387" y="270"/>
                    </a:lnTo>
                    <a:lnTo>
                      <a:pt x="386" y="270"/>
                    </a:lnTo>
                    <a:lnTo>
                      <a:pt x="386" y="271"/>
                    </a:lnTo>
                    <a:lnTo>
                      <a:pt x="387" y="271"/>
                    </a:lnTo>
                    <a:lnTo>
                      <a:pt x="386" y="271"/>
                    </a:lnTo>
                    <a:lnTo>
                      <a:pt x="386" y="270"/>
                    </a:lnTo>
                    <a:lnTo>
                      <a:pt x="385" y="270"/>
                    </a:lnTo>
                    <a:lnTo>
                      <a:pt x="385" y="271"/>
                    </a:lnTo>
                    <a:lnTo>
                      <a:pt x="384" y="271"/>
                    </a:lnTo>
                    <a:lnTo>
                      <a:pt x="385" y="273"/>
                    </a:lnTo>
                    <a:lnTo>
                      <a:pt x="384" y="273"/>
                    </a:lnTo>
                    <a:lnTo>
                      <a:pt x="384" y="274"/>
                    </a:lnTo>
                    <a:lnTo>
                      <a:pt x="384" y="275"/>
                    </a:lnTo>
                    <a:lnTo>
                      <a:pt x="385" y="275"/>
                    </a:lnTo>
                    <a:lnTo>
                      <a:pt x="384" y="275"/>
                    </a:lnTo>
                    <a:lnTo>
                      <a:pt x="384" y="276"/>
                    </a:lnTo>
                    <a:lnTo>
                      <a:pt x="385" y="276"/>
                    </a:lnTo>
                    <a:lnTo>
                      <a:pt x="385" y="277"/>
                    </a:lnTo>
                    <a:lnTo>
                      <a:pt x="386" y="277"/>
                    </a:lnTo>
                    <a:lnTo>
                      <a:pt x="386" y="278"/>
                    </a:lnTo>
                    <a:lnTo>
                      <a:pt x="385" y="278"/>
                    </a:lnTo>
                    <a:lnTo>
                      <a:pt x="386" y="278"/>
                    </a:lnTo>
                    <a:lnTo>
                      <a:pt x="385" y="278"/>
                    </a:lnTo>
                    <a:lnTo>
                      <a:pt x="385" y="279"/>
                    </a:lnTo>
                    <a:lnTo>
                      <a:pt x="385" y="280"/>
                    </a:lnTo>
                    <a:lnTo>
                      <a:pt x="385" y="281"/>
                    </a:lnTo>
                    <a:lnTo>
                      <a:pt x="384" y="280"/>
                    </a:lnTo>
                    <a:lnTo>
                      <a:pt x="384" y="281"/>
                    </a:lnTo>
                    <a:lnTo>
                      <a:pt x="385" y="281"/>
                    </a:lnTo>
                    <a:lnTo>
                      <a:pt x="385" y="282"/>
                    </a:lnTo>
                    <a:lnTo>
                      <a:pt x="384" y="282"/>
                    </a:lnTo>
                    <a:lnTo>
                      <a:pt x="385" y="282"/>
                    </a:lnTo>
                    <a:lnTo>
                      <a:pt x="385" y="283"/>
                    </a:lnTo>
                    <a:lnTo>
                      <a:pt x="384" y="283"/>
                    </a:lnTo>
                    <a:lnTo>
                      <a:pt x="384" y="284"/>
                    </a:lnTo>
                    <a:lnTo>
                      <a:pt x="384" y="286"/>
                    </a:lnTo>
                    <a:lnTo>
                      <a:pt x="385" y="286"/>
                    </a:lnTo>
                    <a:lnTo>
                      <a:pt x="386" y="286"/>
                    </a:lnTo>
                    <a:lnTo>
                      <a:pt x="386" y="287"/>
                    </a:lnTo>
                    <a:lnTo>
                      <a:pt x="385" y="287"/>
                    </a:lnTo>
                    <a:lnTo>
                      <a:pt x="384" y="287"/>
                    </a:lnTo>
                    <a:lnTo>
                      <a:pt x="385" y="288"/>
                    </a:lnTo>
                    <a:lnTo>
                      <a:pt x="384" y="288"/>
                    </a:lnTo>
                    <a:lnTo>
                      <a:pt x="384" y="289"/>
                    </a:lnTo>
                    <a:lnTo>
                      <a:pt x="385" y="290"/>
                    </a:lnTo>
                    <a:lnTo>
                      <a:pt x="384" y="290"/>
                    </a:lnTo>
                    <a:lnTo>
                      <a:pt x="384" y="291"/>
                    </a:lnTo>
                    <a:lnTo>
                      <a:pt x="384" y="292"/>
                    </a:lnTo>
                    <a:lnTo>
                      <a:pt x="385" y="292"/>
                    </a:lnTo>
                    <a:lnTo>
                      <a:pt x="385" y="293"/>
                    </a:lnTo>
                    <a:lnTo>
                      <a:pt x="385" y="294"/>
                    </a:lnTo>
                    <a:lnTo>
                      <a:pt x="384" y="294"/>
                    </a:lnTo>
                    <a:lnTo>
                      <a:pt x="384" y="295"/>
                    </a:lnTo>
                    <a:lnTo>
                      <a:pt x="383" y="295"/>
                    </a:lnTo>
                    <a:lnTo>
                      <a:pt x="383" y="296"/>
                    </a:lnTo>
                    <a:lnTo>
                      <a:pt x="382" y="296"/>
                    </a:lnTo>
                    <a:lnTo>
                      <a:pt x="383" y="296"/>
                    </a:lnTo>
                    <a:lnTo>
                      <a:pt x="383" y="298"/>
                    </a:lnTo>
                    <a:lnTo>
                      <a:pt x="382" y="298"/>
                    </a:lnTo>
                    <a:lnTo>
                      <a:pt x="381" y="298"/>
                    </a:lnTo>
                    <a:lnTo>
                      <a:pt x="381" y="299"/>
                    </a:lnTo>
                    <a:lnTo>
                      <a:pt x="380" y="299"/>
                    </a:lnTo>
                    <a:lnTo>
                      <a:pt x="380" y="300"/>
                    </a:lnTo>
                    <a:lnTo>
                      <a:pt x="381" y="300"/>
                    </a:lnTo>
                    <a:lnTo>
                      <a:pt x="381" y="301"/>
                    </a:lnTo>
                    <a:lnTo>
                      <a:pt x="380" y="301"/>
                    </a:lnTo>
                    <a:lnTo>
                      <a:pt x="380" y="302"/>
                    </a:lnTo>
                    <a:lnTo>
                      <a:pt x="380" y="303"/>
                    </a:lnTo>
                    <a:lnTo>
                      <a:pt x="380" y="302"/>
                    </a:lnTo>
                    <a:lnTo>
                      <a:pt x="378" y="302"/>
                    </a:lnTo>
                    <a:lnTo>
                      <a:pt x="377" y="302"/>
                    </a:lnTo>
                    <a:lnTo>
                      <a:pt x="377" y="303"/>
                    </a:lnTo>
                    <a:lnTo>
                      <a:pt x="377" y="302"/>
                    </a:lnTo>
                    <a:lnTo>
                      <a:pt x="377" y="303"/>
                    </a:lnTo>
                    <a:lnTo>
                      <a:pt x="376" y="302"/>
                    </a:lnTo>
                    <a:lnTo>
                      <a:pt x="376" y="303"/>
                    </a:lnTo>
                    <a:lnTo>
                      <a:pt x="376" y="304"/>
                    </a:lnTo>
                    <a:lnTo>
                      <a:pt x="375" y="304"/>
                    </a:lnTo>
                    <a:lnTo>
                      <a:pt x="375" y="305"/>
                    </a:lnTo>
                    <a:lnTo>
                      <a:pt x="374" y="305"/>
                    </a:lnTo>
                    <a:lnTo>
                      <a:pt x="374" y="306"/>
                    </a:lnTo>
                    <a:lnTo>
                      <a:pt x="375" y="306"/>
                    </a:lnTo>
                    <a:lnTo>
                      <a:pt x="374" y="307"/>
                    </a:lnTo>
                    <a:lnTo>
                      <a:pt x="373" y="307"/>
                    </a:lnTo>
                    <a:lnTo>
                      <a:pt x="373" y="306"/>
                    </a:lnTo>
                    <a:lnTo>
                      <a:pt x="372" y="306"/>
                    </a:lnTo>
                    <a:lnTo>
                      <a:pt x="373" y="306"/>
                    </a:lnTo>
                    <a:lnTo>
                      <a:pt x="372" y="306"/>
                    </a:lnTo>
                    <a:lnTo>
                      <a:pt x="372" y="305"/>
                    </a:lnTo>
                    <a:lnTo>
                      <a:pt x="372" y="306"/>
                    </a:lnTo>
                    <a:lnTo>
                      <a:pt x="372" y="305"/>
                    </a:lnTo>
                    <a:lnTo>
                      <a:pt x="371" y="306"/>
                    </a:lnTo>
                    <a:lnTo>
                      <a:pt x="372" y="306"/>
                    </a:lnTo>
                    <a:lnTo>
                      <a:pt x="372" y="307"/>
                    </a:lnTo>
                    <a:lnTo>
                      <a:pt x="372" y="308"/>
                    </a:lnTo>
                    <a:lnTo>
                      <a:pt x="373" y="309"/>
                    </a:lnTo>
                    <a:lnTo>
                      <a:pt x="373" y="311"/>
                    </a:lnTo>
                    <a:lnTo>
                      <a:pt x="373" y="312"/>
                    </a:lnTo>
                    <a:lnTo>
                      <a:pt x="374" y="312"/>
                    </a:lnTo>
                    <a:lnTo>
                      <a:pt x="374" y="313"/>
                    </a:lnTo>
                    <a:lnTo>
                      <a:pt x="373" y="313"/>
                    </a:lnTo>
                    <a:lnTo>
                      <a:pt x="373" y="314"/>
                    </a:lnTo>
                    <a:lnTo>
                      <a:pt x="373" y="315"/>
                    </a:lnTo>
                    <a:lnTo>
                      <a:pt x="372" y="314"/>
                    </a:lnTo>
                    <a:lnTo>
                      <a:pt x="372" y="315"/>
                    </a:lnTo>
                    <a:lnTo>
                      <a:pt x="373" y="315"/>
                    </a:lnTo>
                    <a:lnTo>
                      <a:pt x="373" y="316"/>
                    </a:lnTo>
                    <a:lnTo>
                      <a:pt x="374" y="316"/>
                    </a:lnTo>
                    <a:lnTo>
                      <a:pt x="374" y="317"/>
                    </a:lnTo>
                    <a:lnTo>
                      <a:pt x="375" y="317"/>
                    </a:lnTo>
                    <a:lnTo>
                      <a:pt x="375" y="318"/>
                    </a:lnTo>
                    <a:lnTo>
                      <a:pt x="376" y="318"/>
                    </a:lnTo>
                    <a:lnTo>
                      <a:pt x="360" y="317"/>
                    </a:lnTo>
                    <a:lnTo>
                      <a:pt x="338" y="317"/>
                    </a:lnTo>
                    <a:lnTo>
                      <a:pt x="332" y="317"/>
                    </a:lnTo>
                    <a:lnTo>
                      <a:pt x="330" y="317"/>
                    </a:lnTo>
                    <a:lnTo>
                      <a:pt x="322" y="317"/>
                    </a:lnTo>
                    <a:lnTo>
                      <a:pt x="310" y="317"/>
                    </a:lnTo>
                    <a:lnTo>
                      <a:pt x="299" y="317"/>
                    </a:lnTo>
                    <a:lnTo>
                      <a:pt x="279" y="317"/>
                    </a:lnTo>
                    <a:lnTo>
                      <a:pt x="262" y="317"/>
                    </a:lnTo>
                    <a:lnTo>
                      <a:pt x="260" y="317"/>
                    </a:lnTo>
                    <a:lnTo>
                      <a:pt x="246" y="317"/>
                    </a:lnTo>
                    <a:lnTo>
                      <a:pt x="232" y="317"/>
                    </a:lnTo>
                    <a:lnTo>
                      <a:pt x="201" y="317"/>
                    </a:lnTo>
                    <a:lnTo>
                      <a:pt x="195" y="317"/>
                    </a:lnTo>
                    <a:lnTo>
                      <a:pt x="193" y="317"/>
                    </a:lnTo>
                    <a:lnTo>
                      <a:pt x="191" y="317"/>
                    </a:lnTo>
                    <a:lnTo>
                      <a:pt x="185" y="317"/>
                    </a:lnTo>
                    <a:lnTo>
                      <a:pt x="180" y="317"/>
                    </a:lnTo>
                    <a:lnTo>
                      <a:pt x="162" y="317"/>
                    </a:lnTo>
                    <a:lnTo>
                      <a:pt x="159" y="317"/>
                    </a:lnTo>
                    <a:lnTo>
                      <a:pt x="148" y="317"/>
                    </a:lnTo>
                    <a:lnTo>
                      <a:pt x="148" y="316"/>
                    </a:lnTo>
                    <a:lnTo>
                      <a:pt x="148" y="315"/>
                    </a:lnTo>
                    <a:lnTo>
                      <a:pt x="146" y="315"/>
                    </a:lnTo>
                    <a:lnTo>
                      <a:pt x="146" y="314"/>
                    </a:lnTo>
                    <a:lnTo>
                      <a:pt x="146" y="313"/>
                    </a:lnTo>
                    <a:lnTo>
                      <a:pt x="146" y="312"/>
                    </a:lnTo>
                    <a:lnTo>
                      <a:pt x="146" y="311"/>
                    </a:lnTo>
                    <a:lnTo>
                      <a:pt x="146" y="309"/>
                    </a:lnTo>
                    <a:lnTo>
                      <a:pt x="145" y="309"/>
                    </a:lnTo>
                    <a:lnTo>
                      <a:pt x="145" y="308"/>
                    </a:lnTo>
                    <a:lnTo>
                      <a:pt x="145" y="307"/>
                    </a:lnTo>
                    <a:lnTo>
                      <a:pt x="144" y="307"/>
                    </a:lnTo>
                    <a:lnTo>
                      <a:pt x="144" y="306"/>
                    </a:lnTo>
                    <a:lnTo>
                      <a:pt x="144" y="305"/>
                    </a:lnTo>
                    <a:lnTo>
                      <a:pt x="143" y="305"/>
                    </a:lnTo>
                    <a:lnTo>
                      <a:pt x="143" y="304"/>
                    </a:lnTo>
                    <a:lnTo>
                      <a:pt x="144" y="304"/>
                    </a:lnTo>
                    <a:lnTo>
                      <a:pt x="144" y="303"/>
                    </a:lnTo>
                    <a:lnTo>
                      <a:pt x="145" y="303"/>
                    </a:lnTo>
                    <a:lnTo>
                      <a:pt x="145" y="302"/>
                    </a:lnTo>
                    <a:lnTo>
                      <a:pt x="145" y="301"/>
                    </a:lnTo>
                    <a:lnTo>
                      <a:pt x="144" y="301"/>
                    </a:lnTo>
                    <a:lnTo>
                      <a:pt x="144" y="300"/>
                    </a:lnTo>
                    <a:lnTo>
                      <a:pt x="144" y="299"/>
                    </a:lnTo>
                    <a:lnTo>
                      <a:pt x="144" y="298"/>
                    </a:lnTo>
                    <a:lnTo>
                      <a:pt x="144" y="296"/>
                    </a:lnTo>
                    <a:lnTo>
                      <a:pt x="144" y="295"/>
                    </a:lnTo>
                    <a:lnTo>
                      <a:pt x="144" y="294"/>
                    </a:lnTo>
                    <a:lnTo>
                      <a:pt x="144" y="295"/>
                    </a:lnTo>
                    <a:lnTo>
                      <a:pt x="143" y="294"/>
                    </a:lnTo>
                    <a:lnTo>
                      <a:pt x="143" y="293"/>
                    </a:lnTo>
                    <a:lnTo>
                      <a:pt x="142" y="293"/>
                    </a:lnTo>
                    <a:lnTo>
                      <a:pt x="142" y="292"/>
                    </a:lnTo>
                    <a:lnTo>
                      <a:pt x="142" y="291"/>
                    </a:lnTo>
                    <a:lnTo>
                      <a:pt x="141" y="291"/>
                    </a:lnTo>
                    <a:lnTo>
                      <a:pt x="141" y="290"/>
                    </a:lnTo>
                    <a:lnTo>
                      <a:pt x="140" y="290"/>
                    </a:lnTo>
                    <a:lnTo>
                      <a:pt x="139" y="290"/>
                    </a:lnTo>
                    <a:lnTo>
                      <a:pt x="139" y="289"/>
                    </a:lnTo>
                    <a:lnTo>
                      <a:pt x="138" y="289"/>
                    </a:lnTo>
                    <a:lnTo>
                      <a:pt x="137" y="289"/>
                    </a:lnTo>
                    <a:lnTo>
                      <a:pt x="137" y="288"/>
                    </a:lnTo>
                    <a:lnTo>
                      <a:pt x="137" y="289"/>
                    </a:lnTo>
                    <a:lnTo>
                      <a:pt x="136" y="288"/>
                    </a:lnTo>
                    <a:lnTo>
                      <a:pt x="136" y="287"/>
                    </a:lnTo>
                    <a:lnTo>
                      <a:pt x="135" y="287"/>
                    </a:lnTo>
                    <a:lnTo>
                      <a:pt x="136" y="287"/>
                    </a:lnTo>
                    <a:lnTo>
                      <a:pt x="136" y="286"/>
                    </a:lnTo>
                    <a:lnTo>
                      <a:pt x="135" y="286"/>
                    </a:lnTo>
                    <a:lnTo>
                      <a:pt x="133" y="286"/>
                    </a:lnTo>
                    <a:lnTo>
                      <a:pt x="133" y="284"/>
                    </a:lnTo>
                    <a:lnTo>
                      <a:pt x="133" y="286"/>
                    </a:lnTo>
                    <a:lnTo>
                      <a:pt x="133" y="284"/>
                    </a:lnTo>
                    <a:lnTo>
                      <a:pt x="132" y="284"/>
                    </a:lnTo>
                    <a:lnTo>
                      <a:pt x="133" y="284"/>
                    </a:lnTo>
                    <a:lnTo>
                      <a:pt x="132" y="284"/>
                    </a:lnTo>
                    <a:lnTo>
                      <a:pt x="133" y="284"/>
                    </a:lnTo>
                    <a:lnTo>
                      <a:pt x="133" y="283"/>
                    </a:lnTo>
                    <a:lnTo>
                      <a:pt x="132" y="283"/>
                    </a:lnTo>
                    <a:lnTo>
                      <a:pt x="133" y="283"/>
                    </a:lnTo>
                    <a:lnTo>
                      <a:pt x="132" y="282"/>
                    </a:lnTo>
                    <a:lnTo>
                      <a:pt x="131" y="281"/>
                    </a:lnTo>
                    <a:lnTo>
                      <a:pt x="132" y="281"/>
                    </a:lnTo>
                    <a:lnTo>
                      <a:pt x="132" y="280"/>
                    </a:lnTo>
                    <a:lnTo>
                      <a:pt x="131" y="280"/>
                    </a:lnTo>
                    <a:lnTo>
                      <a:pt x="132" y="280"/>
                    </a:lnTo>
                    <a:lnTo>
                      <a:pt x="132" y="279"/>
                    </a:lnTo>
                    <a:lnTo>
                      <a:pt x="131" y="279"/>
                    </a:lnTo>
                    <a:lnTo>
                      <a:pt x="131" y="278"/>
                    </a:lnTo>
                    <a:lnTo>
                      <a:pt x="131" y="277"/>
                    </a:lnTo>
                    <a:lnTo>
                      <a:pt x="131" y="276"/>
                    </a:lnTo>
                    <a:lnTo>
                      <a:pt x="131" y="275"/>
                    </a:lnTo>
                    <a:lnTo>
                      <a:pt x="130" y="275"/>
                    </a:lnTo>
                    <a:lnTo>
                      <a:pt x="130" y="274"/>
                    </a:lnTo>
                    <a:lnTo>
                      <a:pt x="130" y="275"/>
                    </a:lnTo>
                    <a:lnTo>
                      <a:pt x="131" y="275"/>
                    </a:lnTo>
                    <a:lnTo>
                      <a:pt x="131" y="274"/>
                    </a:lnTo>
                    <a:lnTo>
                      <a:pt x="131" y="273"/>
                    </a:lnTo>
                    <a:lnTo>
                      <a:pt x="131" y="271"/>
                    </a:lnTo>
                    <a:lnTo>
                      <a:pt x="132" y="271"/>
                    </a:lnTo>
                    <a:lnTo>
                      <a:pt x="131" y="270"/>
                    </a:lnTo>
                    <a:lnTo>
                      <a:pt x="132" y="270"/>
                    </a:lnTo>
                    <a:lnTo>
                      <a:pt x="132" y="269"/>
                    </a:lnTo>
                    <a:lnTo>
                      <a:pt x="132" y="268"/>
                    </a:lnTo>
                    <a:lnTo>
                      <a:pt x="132" y="267"/>
                    </a:lnTo>
                    <a:lnTo>
                      <a:pt x="132" y="266"/>
                    </a:lnTo>
                    <a:lnTo>
                      <a:pt x="133" y="265"/>
                    </a:lnTo>
                    <a:lnTo>
                      <a:pt x="133" y="263"/>
                    </a:lnTo>
                    <a:lnTo>
                      <a:pt x="133" y="262"/>
                    </a:lnTo>
                    <a:lnTo>
                      <a:pt x="133" y="261"/>
                    </a:lnTo>
                    <a:lnTo>
                      <a:pt x="132" y="261"/>
                    </a:lnTo>
                    <a:lnTo>
                      <a:pt x="132" y="260"/>
                    </a:lnTo>
                    <a:lnTo>
                      <a:pt x="132" y="258"/>
                    </a:lnTo>
                    <a:lnTo>
                      <a:pt x="132" y="257"/>
                    </a:lnTo>
                    <a:lnTo>
                      <a:pt x="133" y="257"/>
                    </a:lnTo>
                    <a:lnTo>
                      <a:pt x="133" y="256"/>
                    </a:lnTo>
                    <a:lnTo>
                      <a:pt x="132" y="256"/>
                    </a:lnTo>
                    <a:lnTo>
                      <a:pt x="132" y="255"/>
                    </a:lnTo>
                    <a:lnTo>
                      <a:pt x="132" y="254"/>
                    </a:lnTo>
                    <a:lnTo>
                      <a:pt x="131" y="254"/>
                    </a:lnTo>
                    <a:lnTo>
                      <a:pt x="131" y="253"/>
                    </a:lnTo>
                    <a:lnTo>
                      <a:pt x="114" y="253"/>
                    </a:lnTo>
                    <a:lnTo>
                      <a:pt x="110" y="253"/>
                    </a:lnTo>
                    <a:lnTo>
                      <a:pt x="109" y="253"/>
                    </a:lnTo>
                    <a:lnTo>
                      <a:pt x="103" y="253"/>
                    </a:lnTo>
                    <a:lnTo>
                      <a:pt x="91" y="253"/>
                    </a:lnTo>
                    <a:lnTo>
                      <a:pt x="71" y="253"/>
                    </a:lnTo>
                    <a:lnTo>
                      <a:pt x="65" y="253"/>
                    </a:lnTo>
                    <a:lnTo>
                      <a:pt x="53" y="253"/>
                    </a:lnTo>
                    <a:lnTo>
                      <a:pt x="47" y="253"/>
                    </a:lnTo>
                    <a:lnTo>
                      <a:pt x="45" y="253"/>
                    </a:lnTo>
                    <a:lnTo>
                      <a:pt x="33" y="253"/>
                    </a:lnTo>
                    <a:lnTo>
                      <a:pt x="20" y="253"/>
                    </a:lnTo>
                    <a:lnTo>
                      <a:pt x="17" y="253"/>
                    </a:lnTo>
                    <a:lnTo>
                      <a:pt x="3" y="253"/>
                    </a:lnTo>
                    <a:lnTo>
                      <a:pt x="2" y="253"/>
                    </a:lnTo>
                    <a:lnTo>
                      <a:pt x="0" y="253"/>
                    </a:lnTo>
                    <a:lnTo>
                      <a:pt x="0" y="252"/>
                    </a:lnTo>
                    <a:lnTo>
                      <a:pt x="1" y="252"/>
                    </a:lnTo>
                    <a:lnTo>
                      <a:pt x="1" y="251"/>
                    </a:lnTo>
                    <a:lnTo>
                      <a:pt x="2" y="251"/>
                    </a:lnTo>
                    <a:lnTo>
                      <a:pt x="3" y="251"/>
                    </a:lnTo>
                    <a:lnTo>
                      <a:pt x="4" y="252"/>
                    </a:lnTo>
                    <a:lnTo>
                      <a:pt x="6" y="251"/>
                    </a:lnTo>
                    <a:lnTo>
                      <a:pt x="7" y="250"/>
                    </a:lnTo>
                    <a:lnTo>
                      <a:pt x="7" y="248"/>
                    </a:lnTo>
                    <a:lnTo>
                      <a:pt x="8" y="248"/>
                    </a:lnTo>
                    <a:lnTo>
                      <a:pt x="8" y="247"/>
                    </a:lnTo>
                    <a:lnTo>
                      <a:pt x="9" y="247"/>
                    </a:lnTo>
                    <a:lnTo>
                      <a:pt x="10" y="245"/>
                    </a:lnTo>
                    <a:lnTo>
                      <a:pt x="11" y="245"/>
                    </a:lnTo>
                    <a:lnTo>
                      <a:pt x="11" y="244"/>
                    </a:lnTo>
                    <a:lnTo>
                      <a:pt x="12" y="244"/>
                    </a:lnTo>
                    <a:lnTo>
                      <a:pt x="12" y="243"/>
                    </a:lnTo>
                    <a:lnTo>
                      <a:pt x="12" y="242"/>
                    </a:lnTo>
                    <a:lnTo>
                      <a:pt x="11" y="241"/>
                    </a:lnTo>
                    <a:lnTo>
                      <a:pt x="11" y="240"/>
                    </a:lnTo>
                    <a:lnTo>
                      <a:pt x="11" y="239"/>
                    </a:lnTo>
                    <a:lnTo>
                      <a:pt x="12" y="239"/>
                    </a:lnTo>
                    <a:lnTo>
                      <a:pt x="13" y="239"/>
                    </a:lnTo>
                    <a:lnTo>
                      <a:pt x="13" y="238"/>
                    </a:lnTo>
                    <a:lnTo>
                      <a:pt x="13" y="237"/>
                    </a:lnTo>
                    <a:lnTo>
                      <a:pt x="12" y="236"/>
                    </a:lnTo>
                    <a:lnTo>
                      <a:pt x="13" y="235"/>
                    </a:lnTo>
                    <a:lnTo>
                      <a:pt x="13" y="234"/>
                    </a:lnTo>
                    <a:lnTo>
                      <a:pt x="12" y="232"/>
                    </a:lnTo>
                    <a:lnTo>
                      <a:pt x="13" y="231"/>
                    </a:lnTo>
                    <a:lnTo>
                      <a:pt x="14" y="231"/>
                    </a:lnTo>
                    <a:lnTo>
                      <a:pt x="14" y="230"/>
                    </a:lnTo>
                    <a:lnTo>
                      <a:pt x="13" y="230"/>
                    </a:lnTo>
                    <a:lnTo>
                      <a:pt x="12" y="230"/>
                    </a:lnTo>
                    <a:lnTo>
                      <a:pt x="12" y="229"/>
                    </a:lnTo>
                    <a:lnTo>
                      <a:pt x="11" y="229"/>
                    </a:lnTo>
                    <a:lnTo>
                      <a:pt x="11" y="228"/>
                    </a:lnTo>
                    <a:lnTo>
                      <a:pt x="11" y="227"/>
                    </a:lnTo>
                    <a:lnTo>
                      <a:pt x="12" y="227"/>
                    </a:lnTo>
                    <a:lnTo>
                      <a:pt x="12" y="225"/>
                    </a:lnTo>
                    <a:lnTo>
                      <a:pt x="12" y="224"/>
                    </a:lnTo>
                    <a:lnTo>
                      <a:pt x="13" y="224"/>
                    </a:lnTo>
                    <a:lnTo>
                      <a:pt x="14" y="224"/>
                    </a:lnTo>
                    <a:lnTo>
                      <a:pt x="14" y="223"/>
                    </a:lnTo>
                    <a:lnTo>
                      <a:pt x="14" y="222"/>
                    </a:lnTo>
                    <a:lnTo>
                      <a:pt x="13" y="221"/>
                    </a:lnTo>
                    <a:lnTo>
                      <a:pt x="13" y="219"/>
                    </a:lnTo>
                    <a:lnTo>
                      <a:pt x="13" y="218"/>
                    </a:lnTo>
                    <a:lnTo>
                      <a:pt x="12" y="217"/>
                    </a:lnTo>
                    <a:lnTo>
                      <a:pt x="11" y="217"/>
                    </a:lnTo>
                    <a:lnTo>
                      <a:pt x="10" y="216"/>
                    </a:lnTo>
                    <a:lnTo>
                      <a:pt x="9" y="217"/>
                    </a:lnTo>
                    <a:lnTo>
                      <a:pt x="8" y="217"/>
                    </a:lnTo>
                    <a:lnTo>
                      <a:pt x="7" y="218"/>
                    </a:lnTo>
                    <a:lnTo>
                      <a:pt x="6" y="218"/>
                    </a:lnTo>
                    <a:lnTo>
                      <a:pt x="6" y="216"/>
                    </a:lnTo>
                    <a:lnTo>
                      <a:pt x="6" y="214"/>
                    </a:lnTo>
                    <a:lnTo>
                      <a:pt x="4" y="213"/>
                    </a:lnTo>
                    <a:lnTo>
                      <a:pt x="4" y="212"/>
                    </a:lnTo>
                    <a:lnTo>
                      <a:pt x="6" y="212"/>
                    </a:lnTo>
                    <a:lnTo>
                      <a:pt x="6" y="211"/>
                    </a:lnTo>
                    <a:lnTo>
                      <a:pt x="7" y="211"/>
                    </a:lnTo>
                    <a:lnTo>
                      <a:pt x="7" y="210"/>
                    </a:lnTo>
                    <a:lnTo>
                      <a:pt x="6" y="210"/>
                    </a:lnTo>
                    <a:lnTo>
                      <a:pt x="4" y="210"/>
                    </a:lnTo>
                    <a:lnTo>
                      <a:pt x="4" y="209"/>
                    </a:lnTo>
                    <a:lnTo>
                      <a:pt x="3" y="209"/>
                    </a:lnTo>
                    <a:lnTo>
                      <a:pt x="2" y="209"/>
                    </a:lnTo>
                    <a:lnTo>
                      <a:pt x="2" y="208"/>
                    </a:lnTo>
                    <a:lnTo>
                      <a:pt x="2" y="206"/>
                    </a:lnTo>
                    <a:lnTo>
                      <a:pt x="3" y="206"/>
                    </a:lnTo>
                    <a:lnTo>
                      <a:pt x="4" y="205"/>
                    </a:lnTo>
                    <a:lnTo>
                      <a:pt x="3" y="205"/>
                    </a:lnTo>
                    <a:lnTo>
                      <a:pt x="2" y="206"/>
                    </a:lnTo>
                    <a:lnTo>
                      <a:pt x="2" y="205"/>
                    </a:lnTo>
                    <a:lnTo>
                      <a:pt x="1" y="205"/>
                    </a:lnTo>
                    <a:lnTo>
                      <a:pt x="1" y="204"/>
                    </a:lnTo>
                    <a:lnTo>
                      <a:pt x="1" y="203"/>
                    </a:lnTo>
                    <a:lnTo>
                      <a:pt x="2" y="203"/>
                    </a:lnTo>
                    <a:lnTo>
                      <a:pt x="2" y="202"/>
                    </a:lnTo>
                    <a:lnTo>
                      <a:pt x="1" y="202"/>
                    </a:lnTo>
                    <a:lnTo>
                      <a:pt x="1" y="201"/>
                    </a:lnTo>
                    <a:lnTo>
                      <a:pt x="1" y="200"/>
                    </a:lnTo>
                    <a:lnTo>
                      <a:pt x="2" y="200"/>
                    </a:lnTo>
                    <a:lnTo>
                      <a:pt x="3" y="199"/>
                    </a:lnTo>
                    <a:lnTo>
                      <a:pt x="3" y="198"/>
                    </a:lnTo>
                    <a:lnTo>
                      <a:pt x="3" y="197"/>
                    </a:lnTo>
                    <a:lnTo>
                      <a:pt x="3" y="196"/>
                    </a:lnTo>
                    <a:lnTo>
                      <a:pt x="3" y="194"/>
                    </a:lnTo>
                    <a:lnTo>
                      <a:pt x="4" y="194"/>
                    </a:lnTo>
                    <a:lnTo>
                      <a:pt x="6" y="194"/>
                    </a:lnTo>
                    <a:lnTo>
                      <a:pt x="6" y="193"/>
                    </a:lnTo>
                    <a:lnTo>
                      <a:pt x="4" y="193"/>
                    </a:lnTo>
                    <a:lnTo>
                      <a:pt x="4" y="192"/>
                    </a:lnTo>
                    <a:lnTo>
                      <a:pt x="6" y="192"/>
                    </a:lnTo>
                    <a:lnTo>
                      <a:pt x="7" y="191"/>
                    </a:lnTo>
                    <a:lnTo>
                      <a:pt x="7" y="190"/>
                    </a:lnTo>
                    <a:lnTo>
                      <a:pt x="8" y="189"/>
                    </a:lnTo>
                    <a:lnTo>
                      <a:pt x="8" y="187"/>
                    </a:lnTo>
                    <a:lnTo>
                      <a:pt x="8" y="184"/>
                    </a:lnTo>
                    <a:lnTo>
                      <a:pt x="9" y="183"/>
                    </a:lnTo>
                    <a:lnTo>
                      <a:pt x="10" y="179"/>
                    </a:lnTo>
                    <a:lnTo>
                      <a:pt x="10" y="177"/>
                    </a:lnTo>
                    <a:lnTo>
                      <a:pt x="11" y="175"/>
                    </a:lnTo>
                    <a:lnTo>
                      <a:pt x="11" y="174"/>
                    </a:lnTo>
                    <a:lnTo>
                      <a:pt x="12" y="172"/>
                    </a:lnTo>
                    <a:lnTo>
                      <a:pt x="13" y="171"/>
                    </a:lnTo>
                    <a:lnTo>
                      <a:pt x="13" y="170"/>
                    </a:lnTo>
                    <a:lnTo>
                      <a:pt x="15" y="168"/>
                    </a:lnTo>
                    <a:lnTo>
                      <a:pt x="16" y="166"/>
                    </a:lnTo>
                    <a:lnTo>
                      <a:pt x="16" y="165"/>
                    </a:lnTo>
                    <a:lnTo>
                      <a:pt x="17" y="164"/>
                    </a:lnTo>
                    <a:lnTo>
                      <a:pt x="17" y="163"/>
                    </a:lnTo>
                    <a:lnTo>
                      <a:pt x="17" y="162"/>
                    </a:lnTo>
                    <a:lnTo>
                      <a:pt x="17" y="161"/>
                    </a:lnTo>
                    <a:lnTo>
                      <a:pt x="17" y="160"/>
                    </a:lnTo>
                    <a:lnTo>
                      <a:pt x="16" y="159"/>
                    </a:lnTo>
                    <a:lnTo>
                      <a:pt x="16" y="158"/>
                    </a:lnTo>
                    <a:lnTo>
                      <a:pt x="15" y="158"/>
                    </a:lnTo>
                    <a:lnTo>
                      <a:pt x="14" y="157"/>
                    </a:lnTo>
                    <a:lnTo>
                      <a:pt x="13" y="155"/>
                    </a:lnTo>
                    <a:lnTo>
                      <a:pt x="9" y="154"/>
                    </a:lnTo>
                    <a:lnTo>
                      <a:pt x="7" y="154"/>
                    </a:lnTo>
                    <a:lnTo>
                      <a:pt x="6" y="153"/>
                    </a:lnTo>
                    <a:lnTo>
                      <a:pt x="4" y="153"/>
                    </a:lnTo>
                    <a:lnTo>
                      <a:pt x="3" y="152"/>
                    </a:lnTo>
                    <a:lnTo>
                      <a:pt x="2" y="151"/>
                    </a:lnTo>
                    <a:lnTo>
                      <a:pt x="1" y="149"/>
                    </a:lnTo>
                    <a:lnTo>
                      <a:pt x="0" y="148"/>
                    </a:lnTo>
                    <a:lnTo>
                      <a:pt x="0" y="147"/>
                    </a:lnTo>
                    <a:lnTo>
                      <a:pt x="0" y="146"/>
                    </a:lnTo>
                    <a:lnTo>
                      <a:pt x="0" y="142"/>
                    </a:lnTo>
                    <a:lnTo>
                      <a:pt x="0" y="140"/>
                    </a:lnTo>
                    <a:lnTo>
                      <a:pt x="1" y="138"/>
                    </a:lnTo>
                    <a:lnTo>
                      <a:pt x="3" y="136"/>
                    </a:lnTo>
                    <a:lnTo>
                      <a:pt x="4" y="135"/>
                    </a:lnTo>
                    <a:lnTo>
                      <a:pt x="6" y="134"/>
                    </a:lnTo>
                    <a:lnTo>
                      <a:pt x="7" y="134"/>
                    </a:lnTo>
                    <a:lnTo>
                      <a:pt x="8" y="134"/>
                    </a:lnTo>
                    <a:lnTo>
                      <a:pt x="10" y="134"/>
                    </a:lnTo>
                    <a:lnTo>
                      <a:pt x="11" y="135"/>
                    </a:lnTo>
                    <a:lnTo>
                      <a:pt x="13" y="135"/>
                    </a:lnTo>
                    <a:lnTo>
                      <a:pt x="17" y="137"/>
                    </a:lnTo>
                    <a:lnTo>
                      <a:pt x="19" y="138"/>
                    </a:lnTo>
                    <a:lnTo>
                      <a:pt x="20" y="138"/>
                    </a:lnTo>
                    <a:lnTo>
                      <a:pt x="22" y="138"/>
                    </a:lnTo>
                    <a:lnTo>
                      <a:pt x="23" y="138"/>
                    </a:lnTo>
                    <a:lnTo>
                      <a:pt x="24" y="137"/>
                    </a:lnTo>
                    <a:lnTo>
                      <a:pt x="26" y="136"/>
                    </a:lnTo>
                    <a:lnTo>
                      <a:pt x="27" y="133"/>
                    </a:lnTo>
                    <a:lnTo>
                      <a:pt x="28" y="132"/>
                    </a:lnTo>
                    <a:lnTo>
                      <a:pt x="29" y="131"/>
                    </a:lnTo>
                    <a:lnTo>
                      <a:pt x="32" y="129"/>
                    </a:lnTo>
                    <a:lnTo>
                      <a:pt x="33" y="128"/>
                    </a:lnTo>
                    <a:lnTo>
                      <a:pt x="34" y="127"/>
                    </a:lnTo>
                    <a:lnTo>
                      <a:pt x="39" y="127"/>
                    </a:lnTo>
                    <a:lnTo>
                      <a:pt x="47" y="127"/>
                    </a:lnTo>
                    <a:lnTo>
                      <a:pt x="54" y="127"/>
                    </a:lnTo>
                    <a:lnTo>
                      <a:pt x="64" y="127"/>
                    </a:lnTo>
                    <a:lnTo>
                      <a:pt x="71" y="127"/>
                    </a:lnTo>
                    <a:lnTo>
                      <a:pt x="79" y="127"/>
                    </a:lnTo>
                    <a:lnTo>
                      <a:pt x="89" y="127"/>
                    </a:lnTo>
                    <a:lnTo>
                      <a:pt x="90" y="127"/>
                    </a:lnTo>
                    <a:lnTo>
                      <a:pt x="99" y="127"/>
                    </a:lnTo>
                    <a:lnTo>
                      <a:pt x="102" y="127"/>
                    </a:lnTo>
                    <a:lnTo>
                      <a:pt x="109" y="127"/>
                    </a:lnTo>
                    <a:lnTo>
                      <a:pt x="117" y="127"/>
                    </a:lnTo>
                    <a:lnTo>
                      <a:pt x="117" y="115"/>
                    </a:lnTo>
                    <a:lnTo>
                      <a:pt x="117" y="111"/>
                    </a:lnTo>
                    <a:lnTo>
                      <a:pt x="117" y="109"/>
                    </a:lnTo>
                    <a:lnTo>
                      <a:pt x="117" y="107"/>
                    </a:lnTo>
                    <a:lnTo>
                      <a:pt x="117" y="103"/>
                    </a:lnTo>
                    <a:lnTo>
                      <a:pt x="117" y="97"/>
                    </a:lnTo>
                    <a:lnTo>
                      <a:pt x="117" y="95"/>
                    </a:lnTo>
                    <a:lnTo>
                      <a:pt x="135" y="95"/>
                    </a:lnTo>
                    <a:lnTo>
                      <a:pt x="136" y="95"/>
                    </a:lnTo>
                    <a:lnTo>
                      <a:pt x="137" y="95"/>
                    </a:lnTo>
                    <a:lnTo>
                      <a:pt x="150" y="95"/>
                    </a:lnTo>
                    <a:lnTo>
                      <a:pt x="172" y="95"/>
                    </a:lnTo>
                    <a:lnTo>
                      <a:pt x="172" y="94"/>
                    </a:lnTo>
                    <a:lnTo>
                      <a:pt x="171" y="93"/>
                    </a:lnTo>
                    <a:lnTo>
                      <a:pt x="170" y="91"/>
                    </a:lnTo>
                    <a:lnTo>
                      <a:pt x="169" y="91"/>
                    </a:lnTo>
                    <a:lnTo>
                      <a:pt x="169" y="90"/>
                    </a:lnTo>
                    <a:lnTo>
                      <a:pt x="169" y="89"/>
                    </a:lnTo>
                    <a:lnTo>
                      <a:pt x="170" y="89"/>
                    </a:lnTo>
                    <a:lnTo>
                      <a:pt x="170" y="88"/>
                    </a:lnTo>
                    <a:lnTo>
                      <a:pt x="170" y="87"/>
                    </a:lnTo>
                    <a:lnTo>
                      <a:pt x="169" y="87"/>
                    </a:lnTo>
                    <a:lnTo>
                      <a:pt x="169" y="86"/>
                    </a:lnTo>
                    <a:lnTo>
                      <a:pt x="169" y="85"/>
                    </a:lnTo>
                    <a:lnTo>
                      <a:pt x="170" y="85"/>
                    </a:lnTo>
                    <a:lnTo>
                      <a:pt x="170" y="86"/>
                    </a:lnTo>
                    <a:lnTo>
                      <a:pt x="170" y="85"/>
                    </a:lnTo>
                    <a:lnTo>
                      <a:pt x="171" y="85"/>
                    </a:lnTo>
                    <a:lnTo>
                      <a:pt x="171" y="84"/>
                    </a:lnTo>
                    <a:lnTo>
                      <a:pt x="170" y="84"/>
                    </a:lnTo>
                    <a:lnTo>
                      <a:pt x="171" y="83"/>
                    </a:lnTo>
                    <a:lnTo>
                      <a:pt x="172" y="83"/>
                    </a:lnTo>
                    <a:lnTo>
                      <a:pt x="172" y="82"/>
                    </a:lnTo>
                    <a:lnTo>
                      <a:pt x="171" y="82"/>
                    </a:lnTo>
                    <a:lnTo>
                      <a:pt x="171" y="81"/>
                    </a:lnTo>
                    <a:lnTo>
                      <a:pt x="172" y="80"/>
                    </a:lnTo>
                    <a:lnTo>
                      <a:pt x="172" y="78"/>
                    </a:lnTo>
                    <a:lnTo>
                      <a:pt x="171" y="77"/>
                    </a:lnTo>
                    <a:lnTo>
                      <a:pt x="172" y="77"/>
                    </a:lnTo>
                    <a:lnTo>
                      <a:pt x="172" y="76"/>
                    </a:lnTo>
                    <a:lnTo>
                      <a:pt x="171" y="76"/>
                    </a:lnTo>
                    <a:lnTo>
                      <a:pt x="170" y="76"/>
                    </a:lnTo>
                    <a:lnTo>
                      <a:pt x="169" y="76"/>
                    </a:lnTo>
                    <a:lnTo>
                      <a:pt x="168" y="76"/>
                    </a:lnTo>
                    <a:lnTo>
                      <a:pt x="167" y="76"/>
                    </a:lnTo>
                    <a:lnTo>
                      <a:pt x="167" y="75"/>
                    </a:lnTo>
                    <a:lnTo>
                      <a:pt x="167" y="74"/>
                    </a:lnTo>
                    <a:lnTo>
                      <a:pt x="167" y="73"/>
                    </a:lnTo>
                    <a:lnTo>
                      <a:pt x="167" y="72"/>
                    </a:lnTo>
                    <a:lnTo>
                      <a:pt x="168" y="71"/>
                    </a:lnTo>
                    <a:lnTo>
                      <a:pt x="168" y="70"/>
                    </a:lnTo>
                    <a:lnTo>
                      <a:pt x="168" y="69"/>
                    </a:lnTo>
                    <a:lnTo>
                      <a:pt x="167" y="68"/>
                    </a:lnTo>
                    <a:lnTo>
                      <a:pt x="167" y="67"/>
                    </a:lnTo>
                    <a:lnTo>
                      <a:pt x="166" y="67"/>
                    </a:lnTo>
                    <a:lnTo>
                      <a:pt x="165" y="67"/>
                    </a:lnTo>
                    <a:lnTo>
                      <a:pt x="165" y="65"/>
                    </a:lnTo>
                    <a:lnTo>
                      <a:pt x="165" y="64"/>
                    </a:lnTo>
                    <a:lnTo>
                      <a:pt x="165" y="63"/>
                    </a:lnTo>
                    <a:lnTo>
                      <a:pt x="164" y="63"/>
                    </a:lnTo>
                    <a:lnTo>
                      <a:pt x="164" y="62"/>
                    </a:lnTo>
                    <a:lnTo>
                      <a:pt x="164" y="61"/>
                    </a:lnTo>
                    <a:lnTo>
                      <a:pt x="163" y="61"/>
                    </a:lnTo>
                    <a:lnTo>
                      <a:pt x="163" y="60"/>
                    </a:lnTo>
                    <a:lnTo>
                      <a:pt x="162" y="60"/>
                    </a:lnTo>
                    <a:lnTo>
                      <a:pt x="162" y="59"/>
                    </a:lnTo>
                    <a:lnTo>
                      <a:pt x="162" y="58"/>
                    </a:lnTo>
                    <a:lnTo>
                      <a:pt x="162" y="57"/>
                    </a:lnTo>
                    <a:lnTo>
                      <a:pt x="162" y="56"/>
                    </a:lnTo>
                    <a:lnTo>
                      <a:pt x="162" y="55"/>
                    </a:lnTo>
                    <a:lnTo>
                      <a:pt x="161" y="55"/>
                    </a:lnTo>
                    <a:lnTo>
                      <a:pt x="159" y="55"/>
                    </a:lnTo>
                    <a:lnTo>
                      <a:pt x="159" y="54"/>
                    </a:lnTo>
                    <a:lnTo>
                      <a:pt x="161" y="54"/>
                    </a:lnTo>
                    <a:lnTo>
                      <a:pt x="161" y="52"/>
                    </a:lnTo>
                    <a:lnTo>
                      <a:pt x="161" y="51"/>
                    </a:lnTo>
                    <a:lnTo>
                      <a:pt x="162" y="51"/>
                    </a:lnTo>
                    <a:lnTo>
                      <a:pt x="161" y="51"/>
                    </a:lnTo>
                    <a:lnTo>
                      <a:pt x="161" y="50"/>
                    </a:lnTo>
                    <a:lnTo>
                      <a:pt x="159" y="50"/>
                    </a:lnTo>
                    <a:lnTo>
                      <a:pt x="159" y="49"/>
                    </a:lnTo>
                    <a:lnTo>
                      <a:pt x="159" y="48"/>
                    </a:lnTo>
                    <a:lnTo>
                      <a:pt x="159" y="47"/>
                    </a:lnTo>
                    <a:lnTo>
                      <a:pt x="158" y="47"/>
                    </a:lnTo>
                    <a:lnTo>
                      <a:pt x="159" y="46"/>
                    </a:lnTo>
                    <a:lnTo>
                      <a:pt x="158" y="46"/>
                    </a:lnTo>
                    <a:lnTo>
                      <a:pt x="158" y="45"/>
                    </a:lnTo>
                    <a:lnTo>
                      <a:pt x="158" y="44"/>
                    </a:lnTo>
                    <a:lnTo>
                      <a:pt x="157" y="43"/>
                    </a:lnTo>
                    <a:lnTo>
                      <a:pt x="158" y="43"/>
                    </a:lnTo>
                    <a:lnTo>
                      <a:pt x="158" y="42"/>
                    </a:lnTo>
                    <a:lnTo>
                      <a:pt x="159" y="42"/>
                    </a:lnTo>
                    <a:lnTo>
                      <a:pt x="159" y="41"/>
                    </a:lnTo>
                    <a:lnTo>
                      <a:pt x="158" y="39"/>
                    </a:lnTo>
                    <a:lnTo>
                      <a:pt x="158" y="38"/>
                    </a:lnTo>
                    <a:lnTo>
                      <a:pt x="158" y="37"/>
                    </a:lnTo>
                    <a:lnTo>
                      <a:pt x="158" y="36"/>
                    </a:lnTo>
                    <a:lnTo>
                      <a:pt x="157" y="36"/>
                    </a:lnTo>
                    <a:lnTo>
                      <a:pt x="157" y="35"/>
                    </a:lnTo>
                    <a:lnTo>
                      <a:pt x="157" y="34"/>
                    </a:lnTo>
                    <a:lnTo>
                      <a:pt x="157" y="33"/>
                    </a:lnTo>
                    <a:lnTo>
                      <a:pt x="157" y="32"/>
                    </a:lnTo>
                    <a:lnTo>
                      <a:pt x="156" y="32"/>
                    </a:lnTo>
                    <a:lnTo>
                      <a:pt x="157" y="31"/>
                    </a:lnTo>
                    <a:lnTo>
                      <a:pt x="157" y="30"/>
                    </a:lnTo>
                    <a:lnTo>
                      <a:pt x="157" y="29"/>
                    </a:lnTo>
                    <a:lnTo>
                      <a:pt x="158" y="29"/>
                    </a:lnTo>
                    <a:lnTo>
                      <a:pt x="158" y="26"/>
                    </a:lnTo>
                    <a:lnTo>
                      <a:pt x="159" y="26"/>
                    </a:lnTo>
                    <a:lnTo>
                      <a:pt x="159" y="25"/>
                    </a:lnTo>
                    <a:lnTo>
                      <a:pt x="159" y="24"/>
                    </a:lnTo>
                    <a:lnTo>
                      <a:pt x="158" y="24"/>
                    </a:lnTo>
                    <a:lnTo>
                      <a:pt x="158" y="22"/>
                    </a:lnTo>
                    <a:lnTo>
                      <a:pt x="158" y="21"/>
                    </a:lnTo>
                    <a:lnTo>
                      <a:pt x="157" y="21"/>
                    </a:lnTo>
                    <a:lnTo>
                      <a:pt x="157" y="20"/>
                    </a:lnTo>
                    <a:lnTo>
                      <a:pt x="156" y="19"/>
                    </a:lnTo>
                    <a:lnTo>
                      <a:pt x="156" y="18"/>
                    </a:lnTo>
                    <a:lnTo>
                      <a:pt x="156" y="17"/>
                    </a:lnTo>
                    <a:lnTo>
                      <a:pt x="155" y="17"/>
                    </a:lnTo>
                    <a:lnTo>
                      <a:pt x="155" y="16"/>
                    </a:lnTo>
                    <a:lnTo>
                      <a:pt x="155" y="14"/>
                    </a:lnTo>
                    <a:lnTo>
                      <a:pt x="156" y="14"/>
                    </a:lnTo>
                    <a:lnTo>
                      <a:pt x="155" y="13"/>
                    </a:lnTo>
                    <a:lnTo>
                      <a:pt x="155" y="12"/>
                    </a:lnTo>
                    <a:lnTo>
                      <a:pt x="155" y="11"/>
                    </a:lnTo>
                    <a:lnTo>
                      <a:pt x="154" y="11"/>
                    </a:lnTo>
                    <a:lnTo>
                      <a:pt x="154" y="10"/>
                    </a:lnTo>
                    <a:lnTo>
                      <a:pt x="154" y="9"/>
                    </a:lnTo>
                    <a:lnTo>
                      <a:pt x="154" y="8"/>
                    </a:lnTo>
                    <a:lnTo>
                      <a:pt x="154" y="7"/>
                    </a:lnTo>
                    <a:lnTo>
                      <a:pt x="154" y="6"/>
                    </a:lnTo>
                    <a:lnTo>
                      <a:pt x="154" y="5"/>
                    </a:lnTo>
                    <a:lnTo>
                      <a:pt x="153" y="5"/>
                    </a:lnTo>
                    <a:lnTo>
                      <a:pt x="154" y="5"/>
                    </a:lnTo>
                    <a:lnTo>
                      <a:pt x="154" y="4"/>
                    </a:lnTo>
                    <a:lnTo>
                      <a:pt x="154" y="3"/>
                    </a:lnTo>
                    <a:lnTo>
                      <a:pt x="154" y="1"/>
                    </a:lnTo>
                    <a:lnTo>
                      <a:pt x="153" y="1"/>
                    </a:lnTo>
                    <a:lnTo>
                      <a:pt x="153" y="0"/>
                    </a:lnTo>
                    <a:lnTo>
                      <a:pt x="169" y="0"/>
                    </a:lnTo>
                    <a:lnTo>
                      <a:pt x="171" y="0"/>
                    </a:lnTo>
                    <a:lnTo>
                      <a:pt x="187" y="0"/>
                    </a:lnTo>
                    <a:lnTo>
                      <a:pt x="191" y="0"/>
                    </a:lnTo>
                    <a:lnTo>
                      <a:pt x="192" y="0"/>
                    </a:lnTo>
                    <a:lnTo>
                      <a:pt x="194" y="0"/>
                    </a:lnTo>
                    <a:lnTo>
                      <a:pt x="228" y="0"/>
                    </a:lnTo>
                    <a:lnTo>
                      <a:pt x="260" y="0"/>
                    </a:lnTo>
                    <a:lnTo>
                      <a:pt x="262" y="0"/>
                    </a:lnTo>
                    <a:lnTo>
                      <a:pt x="278" y="0"/>
                    </a:lnTo>
                    <a:lnTo>
                      <a:pt x="284" y="0"/>
                    </a:lnTo>
                    <a:lnTo>
                      <a:pt x="295" y="0"/>
                    </a:lnTo>
                    <a:lnTo>
                      <a:pt x="311" y="0"/>
                    </a:lnTo>
                    <a:lnTo>
                      <a:pt x="325" y="0"/>
                    </a:lnTo>
                    <a:lnTo>
                      <a:pt x="326" y="0"/>
                    </a:lnTo>
                    <a:lnTo>
                      <a:pt x="331" y="0"/>
                    </a:lnTo>
                    <a:lnTo>
                      <a:pt x="335" y="0"/>
                    </a:lnTo>
                    <a:close/>
                  </a:path>
                </a:pathLst>
              </a:custGeom>
              <a:solidFill>
                <a:srgbClr val="6DB0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4" name="Freeform 332">
                <a:extLst>
                  <a:ext uri="{FF2B5EF4-FFF2-40B4-BE49-F238E27FC236}">
                    <a16:creationId xmlns:a16="http://schemas.microsoft.com/office/drawing/2014/main" id="{9A28BA56-BF95-046F-4F86-0182620610F2}"/>
                  </a:ext>
                </a:extLst>
              </p:cNvPr>
              <p:cNvSpPr>
                <a:spLocks/>
              </p:cNvSpPr>
              <p:nvPr/>
            </p:nvSpPr>
            <p:spPr bwMode="auto">
              <a:xfrm>
                <a:off x="1336676" y="1128713"/>
                <a:ext cx="460375" cy="903288"/>
              </a:xfrm>
              <a:custGeom>
                <a:avLst/>
                <a:gdLst>
                  <a:gd name="T0" fmla="*/ 199 w 290"/>
                  <a:gd name="T1" fmla="*/ 18 h 569"/>
                  <a:gd name="T2" fmla="*/ 194 w 290"/>
                  <a:gd name="T3" fmla="*/ 30 h 569"/>
                  <a:gd name="T4" fmla="*/ 200 w 290"/>
                  <a:gd name="T5" fmla="*/ 46 h 569"/>
                  <a:gd name="T6" fmla="*/ 207 w 290"/>
                  <a:gd name="T7" fmla="*/ 60 h 569"/>
                  <a:gd name="T8" fmla="*/ 221 w 290"/>
                  <a:gd name="T9" fmla="*/ 68 h 569"/>
                  <a:gd name="T10" fmla="*/ 230 w 290"/>
                  <a:gd name="T11" fmla="*/ 82 h 569"/>
                  <a:gd name="T12" fmla="*/ 226 w 290"/>
                  <a:gd name="T13" fmla="*/ 94 h 569"/>
                  <a:gd name="T14" fmla="*/ 244 w 290"/>
                  <a:gd name="T15" fmla="*/ 110 h 569"/>
                  <a:gd name="T16" fmla="*/ 238 w 290"/>
                  <a:gd name="T17" fmla="*/ 121 h 569"/>
                  <a:gd name="T18" fmla="*/ 239 w 290"/>
                  <a:gd name="T19" fmla="*/ 136 h 569"/>
                  <a:gd name="T20" fmla="*/ 237 w 290"/>
                  <a:gd name="T21" fmla="*/ 154 h 569"/>
                  <a:gd name="T22" fmla="*/ 228 w 290"/>
                  <a:gd name="T23" fmla="*/ 172 h 569"/>
                  <a:gd name="T24" fmla="*/ 231 w 290"/>
                  <a:gd name="T25" fmla="*/ 186 h 569"/>
                  <a:gd name="T26" fmla="*/ 249 w 290"/>
                  <a:gd name="T27" fmla="*/ 443 h 569"/>
                  <a:gd name="T28" fmla="*/ 263 w 290"/>
                  <a:gd name="T29" fmla="*/ 450 h 569"/>
                  <a:gd name="T30" fmla="*/ 273 w 290"/>
                  <a:gd name="T31" fmla="*/ 479 h 569"/>
                  <a:gd name="T32" fmla="*/ 259 w 290"/>
                  <a:gd name="T33" fmla="*/ 512 h 569"/>
                  <a:gd name="T34" fmla="*/ 263 w 290"/>
                  <a:gd name="T35" fmla="*/ 526 h 569"/>
                  <a:gd name="T36" fmla="*/ 267 w 290"/>
                  <a:gd name="T37" fmla="*/ 543 h 569"/>
                  <a:gd name="T38" fmla="*/ 266 w 290"/>
                  <a:gd name="T39" fmla="*/ 561 h 569"/>
                  <a:gd name="T40" fmla="*/ 229 w 290"/>
                  <a:gd name="T41" fmla="*/ 566 h 569"/>
                  <a:gd name="T42" fmla="*/ 220 w 290"/>
                  <a:gd name="T43" fmla="*/ 554 h 569"/>
                  <a:gd name="T44" fmla="*/ 217 w 290"/>
                  <a:gd name="T45" fmla="*/ 551 h 569"/>
                  <a:gd name="T46" fmla="*/ 204 w 290"/>
                  <a:gd name="T47" fmla="*/ 540 h 569"/>
                  <a:gd name="T48" fmla="*/ 202 w 290"/>
                  <a:gd name="T49" fmla="*/ 525 h 569"/>
                  <a:gd name="T50" fmla="*/ 183 w 290"/>
                  <a:gd name="T51" fmla="*/ 527 h 569"/>
                  <a:gd name="T52" fmla="*/ 191 w 290"/>
                  <a:gd name="T53" fmla="*/ 512 h 569"/>
                  <a:gd name="T54" fmla="*/ 180 w 290"/>
                  <a:gd name="T55" fmla="*/ 508 h 569"/>
                  <a:gd name="T56" fmla="*/ 180 w 290"/>
                  <a:gd name="T57" fmla="*/ 502 h 569"/>
                  <a:gd name="T58" fmla="*/ 172 w 290"/>
                  <a:gd name="T59" fmla="*/ 501 h 569"/>
                  <a:gd name="T60" fmla="*/ 162 w 290"/>
                  <a:gd name="T61" fmla="*/ 496 h 569"/>
                  <a:gd name="T62" fmla="*/ 141 w 290"/>
                  <a:gd name="T63" fmla="*/ 488 h 569"/>
                  <a:gd name="T64" fmla="*/ 149 w 290"/>
                  <a:gd name="T65" fmla="*/ 467 h 569"/>
                  <a:gd name="T66" fmla="*/ 133 w 290"/>
                  <a:gd name="T67" fmla="*/ 473 h 569"/>
                  <a:gd name="T68" fmla="*/ 127 w 290"/>
                  <a:gd name="T69" fmla="*/ 458 h 569"/>
                  <a:gd name="T70" fmla="*/ 126 w 290"/>
                  <a:gd name="T71" fmla="*/ 453 h 569"/>
                  <a:gd name="T72" fmla="*/ 113 w 290"/>
                  <a:gd name="T73" fmla="*/ 457 h 569"/>
                  <a:gd name="T74" fmla="*/ 110 w 290"/>
                  <a:gd name="T75" fmla="*/ 440 h 569"/>
                  <a:gd name="T76" fmla="*/ 100 w 290"/>
                  <a:gd name="T77" fmla="*/ 429 h 569"/>
                  <a:gd name="T78" fmla="*/ 105 w 290"/>
                  <a:gd name="T79" fmla="*/ 420 h 569"/>
                  <a:gd name="T80" fmla="*/ 91 w 290"/>
                  <a:gd name="T81" fmla="*/ 396 h 569"/>
                  <a:gd name="T82" fmla="*/ 81 w 290"/>
                  <a:gd name="T83" fmla="*/ 383 h 569"/>
                  <a:gd name="T84" fmla="*/ 63 w 290"/>
                  <a:gd name="T85" fmla="*/ 357 h 569"/>
                  <a:gd name="T86" fmla="*/ 56 w 290"/>
                  <a:gd name="T87" fmla="*/ 351 h 569"/>
                  <a:gd name="T88" fmla="*/ 67 w 290"/>
                  <a:gd name="T89" fmla="*/ 345 h 569"/>
                  <a:gd name="T90" fmla="*/ 64 w 290"/>
                  <a:gd name="T91" fmla="*/ 325 h 569"/>
                  <a:gd name="T92" fmla="*/ 47 w 290"/>
                  <a:gd name="T93" fmla="*/ 309 h 569"/>
                  <a:gd name="T94" fmla="*/ 57 w 290"/>
                  <a:gd name="T95" fmla="*/ 293 h 569"/>
                  <a:gd name="T96" fmla="*/ 40 w 290"/>
                  <a:gd name="T97" fmla="*/ 269 h 569"/>
                  <a:gd name="T98" fmla="*/ 35 w 290"/>
                  <a:gd name="T99" fmla="*/ 252 h 569"/>
                  <a:gd name="T100" fmla="*/ 19 w 290"/>
                  <a:gd name="T101" fmla="*/ 224 h 569"/>
                  <a:gd name="T102" fmla="*/ 34 w 290"/>
                  <a:gd name="T103" fmla="*/ 190 h 569"/>
                  <a:gd name="T104" fmla="*/ 34 w 290"/>
                  <a:gd name="T105" fmla="*/ 161 h 569"/>
                  <a:gd name="T106" fmla="*/ 13 w 290"/>
                  <a:gd name="T107" fmla="*/ 166 h 569"/>
                  <a:gd name="T108" fmla="*/ 36 w 290"/>
                  <a:gd name="T109" fmla="*/ 137 h 569"/>
                  <a:gd name="T110" fmla="*/ 24 w 290"/>
                  <a:gd name="T111" fmla="*/ 124 h 569"/>
                  <a:gd name="T112" fmla="*/ 22 w 290"/>
                  <a:gd name="T113" fmla="*/ 105 h 569"/>
                  <a:gd name="T114" fmla="*/ 26 w 290"/>
                  <a:gd name="T115" fmla="*/ 67 h 569"/>
                  <a:gd name="T116" fmla="*/ 1 w 290"/>
                  <a:gd name="T117" fmla="*/ 49 h 569"/>
                  <a:gd name="T118" fmla="*/ 27 w 290"/>
                  <a:gd name="T119" fmla="*/ 40 h 569"/>
                  <a:gd name="T120" fmla="*/ 18 w 290"/>
                  <a:gd name="T121" fmla="*/ 28 h 569"/>
                  <a:gd name="T122" fmla="*/ 26 w 290"/>
                  <a:gd name="T12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0" h="569">
                    <a:moveTo>
                      <a:pt x="200" y="0"/>
                    </a:moveTo>
                    <a:lnTo>
                      <a:pt x="199" y="1"/>
                    </a:lnTo>
                    <a:lnTo>
                      <a:pt x="200" y="1"/>
                    </a:lnTo>
                    <a:lnTo>
                      <a:pt x="200" y="2"/>
                    </a:lnTo>
                    <a:lnTo>
                      <a:pt x="201" y="2"/>
                    </a:lnTo>
                    <a:lnTo>
                      <a:pt x="201" y="3"/>
                    </a:lnTo>
                    <a:lnTo>
                      <a:pt x="202" y="3"/>
                    </a:lnTo>
                    <a:lnTo>
                      <a:pt x="202" y="4"/>
                    </a:lnTo>
                    <a:lnTo>
                      <a:pt x="203" y="4"/>
                    </a:lnTo>
                    <a:lnTo>
                      <a:pt x="203" y="5"/>
                    </a:lnTo>
                    <a:lnTo>
                      <a:pt x="203" y="6"/>
                    </a:lnTo>
                    <a:lnTo>
                      <a:pt x="202" y="6"/>
                    </a:lnTo>
                    <a:lnTo>
                      <a:pt x="202" y="7"/>
                    </a:lnTo>
                    <a:lnTo>
                      <a:pt x="202" y="8"/>
                    </a:lnTo>
                    <a:lnTo>
                      <a:pt x="202" y="11"/>
                    </a:lnTo>
                    <a:lnTo>
                      <a:pt x="202" y="12"/>
                    </a:lnTo>
                    <a:lnTo>
                      <a:pt x="202" y="13"/>
                    </a:lnTo>
                    <a:lnTo>
                      <a:pt x="201" y="13"/>
                    </a:lnTo>
                    <a:lnTo>
                      <a:pt x="200" y="14"/>
                    </a:lnTo>
                    <a:lnTo>
                      <a:pt x="199" y="14"/>
                    </a:lnTo>
                    <a:lnTo>
                      <a:pt x="199" y="15"/>
                    </a:lnTo>
                    <a:lnTo>
                      <a:pt x="200" y="15"/>
                    </a:lnTo>
                    <a:lnTo>
                      <a:pt x="200" y="16"/>
                    </a:lnTo>
                    <a:lnTo>
                      <a:pt x="199" y="17"/>
                    </a:lnTo>
                    <a:lnTo>
                      <a:pt x="199" y="18"/>
                    </a:lnTo>
                    <a:lnTo>
                      <a:pt x="198" y="19"/>
                    </a:lnTo>
                    <a:lnTo>
                      <a:pt x="198" y="18"/>
                    </a:lnTo>
                    <a:lnTo>
                      <a:pt x="196" y="18"/>
                    </a:lnTo>
                    <a:lnTo>
                      <a:pt x="196" y="19"/>
                    </a:lnTo>
                    <a:lnTo>
                      <a:pt x="198" y="19"/>
                    </a:lnTo>
                    <a:lnTo>
                      <a:pt x="196" y="20"/>
                    </a:lnTo>
                    <a:lnTo>
                      <a:pt x="196" y="21"/>
                    </a:lnTo>
                    <a:lnTo>
                      <a:pt x="196" y="23"/>
                    </a:lnTo>
                    <a:lnTo>
                      <a:pt x="196" y="24"/>
                    </a:lnTo>
                    <a:lnTo>
                      <a:pt x="196" y="25"/>
                    </a:lnTo>
                    <a:lnTo>
                      <a:pt x="195" y="25"/>
                    </a:lnTo>
                    <a:lnTo>
                      <a:pt x="194" y="25"/>
                    </a:lnTo>
                    <a:lnTo>
                      <a:pt x="194" y="26"/>
                    </a:lnTo>
                    <a:lnTo>
                      <a:pt x="193" y="26"/>
                    </a:lnTo>
                    <a:lnTo>
                      <a:pt x="193" y="27"/>
                    </a:lnTo>
                    <a:lnTo>
                      <a:pt x="193" y="28"/>
                    </a:lnTo>
                    <a:lnTo>
                      <a:pt x="193" y="29"/>
                    </a:lnTo>
                    <a:lnTo>
                      <a:pt x="193" y="30"/>
                    </a:lnTo>
                    <a:lnTo>
                      <a:pt x="194" y="30"/>
                    </a:lnTo>
                    <a:lnTo>
                      <a:pt x="194" y="31"/>
                    </a:lnTo>
                    <a:lnTo>
                      <a:pt x="193" y="31"/>
                    </a:lnTo>
                    <a:lnTo>
                      <a:pt x="193" y="32"/>
                    </a:lnTo>
                    <a:lnTo>
                      <a:pt x="194" y="32"/>
                    </a:lnTo>
                    <a:lnTo>
                      <a:pt x="194" y="31"/>
                    </a:lnTo>
                    <a:lnTo>
                      <a:pt x="194" y="30"/>
                    </a:lnTo>
                    <a:lnTo>
                      <a:pt x="195" y="30"/>
                    </a:lnTo>
                    <a:lnTo>
                      <a:pt x="195" y="31"/>
                    </a:lnTo>
                    <a:lnTo>
                      <a:pt x="195" y="30"/>
                    </a:lnTo>
                    <a:lnTo>
                      <a:pt x="196" y="30"/>
                    </a:lnTo>
                    <a:lnTo>
                      <a:pt x="196" y="31"/>
                    </a:lnTo>
                    <a:lnTo>
                      <a:pt x="195" y="32"/>
                    </a:lnTo>
                    <a:lnTo>
                      <a:pt x="195" y="33"/>
                    </a:lnTo>
                    <a:lnTo>
                      <a:pt x="195" y="34"/>
                    </a:lnTo>
                    <a:lnTo>
                      <a:pt x="194" y="34"/>
                    </a:lnTo>
                    <a:lnTo>
                      <a:pt x="194" y="36"/>
                    </a:lnTo>
                    <a:lnTo>
                      <a:pt x="193" y="37"/>
                    </a:lnTo>
                    <a:lnTo>
                      <a:pt x="193" y="38"/>
                    </a:lnTo>
                    <a:lnTo>
                      <a:pt x="194" y="38"/>
                    </a:lnTo>
                    <a:lnTo>
                      <a:pt x="195" y="38"/>
                    </a:lnTo>
                    <a:lnTo>
                      <a:pt x="196" y="38"/>
                    </a:lnTo>
                    <a:lnTo>
                      <a:pt x="198" y="38"/>
                    </a:lnTo>
                    <a:lnTo>
                      <a:pt x="198" y="39"/>
                    </a:lnTo>
                    <a:lnTo>
                      <a:pt x="198" y="40"/>
                    </a:lnTo>
                    <a:lnTo>
                      <a:pt x="199" y="40"/>
                    </a:lnTo>
                    <a:lnTo>
                      <a:pt x="200" y="39"/>
                    </a:lnTo>
                    <a:lnTo>
                      <a:pt x="200" y="40"/>
                    </a:lnTo>
                    <a:lnTo>
                      <a:pt x="200" y="42"/>
                    </a:lnTo>
                    <a:lnTo>
                      <a:pt x="200" y="44"/>
                    </a:lnTo>
                    <a:lnTo>
                      <a:pt x="200" y="45"/>
                    </a:lnTo>
                    <a:lnTo>
                      <a:pt x="200" y="46"/>
                    </a:lnTo>
                    <a:lnTo>
                      <a:pt x="200" y="47"/>
                    </a:lnTo>
                    <a:lnTo>
                      <a:pt x="200" y="49"/>
                    </a:lnTo>
                    <a:lnTo>
                      <a:pt x="201" y="49"/>
                    </a:lnTo>
                    <a:lnTo>
                      <a:pt x="201" y="47"/>
                    </a:lnTo>
                    <a:lnTo>
                      <a:pt x="202" y="47"/>
                    </a:lnTo>
                    <a:lnTo>
                      <a:pt x="202" y="49"/>
                    </a:lnTo>
                    <a:lnTo>
                      <a:pt x="202" y="50"/>
                    </a:lnTo>
                    <a:lnTo>
                      <a:pt x="203" y="50"/>
                    </a:lnTo>
                    <a:lnTo>
                      <a:pt x="204" y="50"/>
                    </a:lnTo>
                    <a:lnTo>
                      <a:pt x="204" y="51"/>
                    </a:lnTo>
                    <a:lnTo>
                      <a:pt x="204" y="52"/>
                    </a:lnTo>
                    <a:lnTo>
                      <a:pt x="204" y="53"/>
                    </a:lnTo>
                    <a:lnTo>
                      <a:pt x="204" y="54"/>
                    </a:lnTo>
                    <a:lnTo>
                      <a:pt x="205" y="54"/>
                    </a:lnTo>
                    <a:lnTo>
                      <a:pt x="205" y="55"/>
                    </a:lnTo>
                    <a:lnTo>
                      <a:pt x="205" y="56"/>
                    </a:lnTo>
                    <a:lnTo>
                      <a:pt x="204" y="57"/>
                    </a:lnTo>
                    <a:lnTo>
                      <a:pt x="204" y="58"/>
                    </a:lnTo>
                    <a:lnTo>
                      <a:pt x="205" y="58"/>
                    </a:lnTo>
                    <a:lnTo>
                      <a:pt x="206" y="58"/>
                    </a:lnTo>
                    <a:lnTo>
                      <a:pt x="206" y="59"/>
                    </a:lnTo>
                    <a:lnTo>
                      <a:pt x="207" y="59"/>
                    </a:lnTo>
                    <a:lnTo>
                      <a:pt x="207" y="60"/>
                    </a:lnTo>
                    <a:lnTo>
                      <a:pt x="206" y="60"/>
                    </a:lnTo>
                    <a:lnTo>
                      <a:pt x="207" y="60"/>
                    </a:lnTo>
                    <a:lnTo>
                      <a:pt x="208" y="60"/>
                    </a:lnTo>
                    <a:lnTo>
                      <a:pt x="208" y="62"/>
                    </a:lnTo>
                    <a:lnTo>
                      <a:pt x="209" y="62"/>
                    </a:lnTo>
                    <a:lnTo>
                      <a:pt x="211" y="62"/>
                    </a:lnTo>
                    <a:lnTo>
                      <a:pt x="211" y="63"/>
                    </a:lnTo>
                    <a:lnTo>
                      <a:pt x="212" y="63"/>
                    </a:lnTo>
                    <a:lnTo>
                      <a:pt x="212" y="64"/>
                    </a:lnTo>
                    <a:lnTo>
                      <a:pt x="213" y="65"/>
                    </a:lnTo>
                    <a:lnTo>
                      <a:pt x="213" y="66"/>
                    </a:lnTo>
                    <a:lnTo>
                      <a:pt x="214" y="66"/>
                    </a:lnTo>
                    <a:lnTo>
                      <a:pt x="214" y="67"/>
                    </a:lnTo>
                    <a:lnTo>
                      <a:pt x="214" y="68"/>
                    </a:lnTo>
                    <a:lnTo>
                      <a:pt x="213" y="69"/>
                    </a:lnTo>
                    <a:lnTo>
                      <a:pt x="213" y="70"/>
                    </a:lnTo>
                    <a:lnTo>
                      <a:pt x="214" y="70"/>
                    </a:lnTo>
                    <a:lnTo>
                      <a:pt x="215" y="70"/>
                    </a:lnTo>
                    <a:lnTo>
                      <a:pt x="215" y="71"/>
                    </a:lnTo>
                    <a:lnTo>
                      <a:pt x="216" y="71"/>
                    </a:lnTo>
                    <a:lnTo>
                      <a:pt x="217" y="70"/>
                    </a:lnTo>
                    <a:lnTo>
                      <a:pt x="218" y="69"/>
                    </a:lnTo>
                    <a:lnTo>
                      <a:pt x="219" y="69"/>
                    </a:lnTo>
                    <a:lnTo>
                      <a:pt x="219" y="68"/>
                    </a:lnTo>
                    <a:lnTo>
                      <a:pt x="220" y="68"/>
                    </a:lnTo>
                    <a:lnTo>
                      <a:pt x="221" y="67"/>
                    </a:lnTo>
                    <a:lnTo>
                      <a:pt x="221" y="68"/>
                    </a:lnTo>
                    <a:lnTo>
                      <a:pt x="223" y="68"/>
                    </a:lnTo>
                    <a:lnTo>
                      <a:pt x="224" y="67"/>
                    </a:lnTo>
                    <a:lnTo>
                      <a:pt x="224" y="68"/>
                    </a:lnTo>
                    <a:lnTo>
                      <a:pt x="225" y="68"/>
                    </a:lnTo>
                    <a:lnTo>
                      <a:pt x="225" y="69"/>
                    </a:lnTo>
                    <a:lnTo>
                      <a:pt x="226" y="69"/>
                    </a:lnTo>
                    <a:lnTo>
                      <a:pt x="226" y="70"/>
                    </a:lnTo>
                    <a:lnTo>
                      <a:pt x="225" y="70"/>
                    </a:lnTo>
                    <a:lnTo>
                      <a:pt x="225" y="71"/>
                    </a:lnTo>
                    <a:lnTo>
                      <a:pt x="225" y="72"/>
                    </a:lnTo>
                    <a:lnTo>
                      <a:pt x="226" y="73"/>
                    </a:lnTo>
                    <a:lnTo>
                      <a:pt x="227" y="73"/>
                    </a:lnTo>
                    <a:lnTo>
                      <a:pt x="228" y="73"/>
                    </a:lnTo>
                    <a:lnTo>
                      <a:pt x="229" y="73"/>
                    </a:lnTo>
                    <a:lnTo>
                      <a:pt x="230" y="73"/>
                    </a:lnTo>
                    <a:lnTo>
                      <a:pt x="231" y="75"/>
                    </a:lnTo>
                    <a:lnTo>
                      <a:pt x="230" y="75"/>
                    </a:lnTo>
                    <a:lnTo>
                      <a:pt x="230" y="76"/>
                    </a:lnTo>
                    <a:lnTo>
                      <a:pt x="229" y="76"/>
                    </a:lnTo>
                    <a:lnTo>
                      <a:pt x="229" y="77"/>
                    </a:lnTo>
                    <a:lnTo>
                      <a:pt x="230" y="78"/>
                    </a:lnTo>
                    <a:lnTo>
                      <a:pt x="229" y="79"/>
                    </a:lnTo>
                    <a:lnTo>
                      <a:pt x="229" y="80"/>
                    </a:lnTo>
                    <a:lnTo>
                      <a:pt x="229" y="81"/>
                    </a:lnTo>
                    <a:lnTo>
                      <a:pt x="230" y="82"/>
                    </a:lnTo>
                    <a:lnTo>
                      <a:pt x="230" y="83"/>
                    </a:lnTo>
                    <a:lnTo>
                      <a:pt x="228" y="83"/>
                    </a:lnTo>
                    <a:lnTo>
                      <a:pt x="227" y="83"/>
                    </a:lnTo>
                    <a:lnTo>
                      <a:pt x="226" y="82"/>
                    </a:lnTo>
                    <a:lnTo>
                      <a:pt x="225" y="82"/>
                    </a:lnTo>
                    <a:lnTo>
                      <a:pt x="224" y="82"/>
                    </a:lnTo>
                    <a:lnTo>
                      <a:pt x="224" y="83"/>
                    </a:lnTo>
                    <a:lnTo>
                      <a:pt x="223" y="83"/>
                    </a:lnTo>
                    <a:lnTo>
                      <a:pt x="223" y="84"/>
                    </a:lnTo>
                    <a:lnTo>
                      <a:pt x="224" y="84"/>
                    </a:lnTo>
                    <a:lnTo>
                      <a:pt x="224" y="85"/>
                    </a:lnTo>
                    <a:lnTo>
                      <a:pt x="223" y="85"/>
                    </a:lnTo>
                    <a:lnTo>
                      <a:pt x="224" y="85"/>
                    </a:lnTo>
                    <a:lnTo>
                      <a:pt x="224" y="86"/>
                    </a:lnTo>
                    <a:lnTo>
                      <a:pt x="224" y="88"/>
                    </a:lnTo>
                    <a:lnTo>
                      <a:pt x="224" y="89"/>
                    </a:lnTo>
                    <a:lnTo>
                      <a:pt x="225" y="89"/>
                    </a:lnTo>
                    <a:lnTo>
                      <a:pt x="225" y="90"/>
                    </a:lnTo>
                    <a:lnTo>
                      <a:pt x="225" y="91"/>
                    </a:lnTo>
                    <a:lnTo>
                      <a:pt x="225" y="92"/>
                    </a:lnTo>
                    <a:lnTo>
                      <a:pt x="224" y="93"/>
                    </a:lnTo>
                    <a:lnTo>
                      <a:pt x="224" y="94"/>
                    </a:lnTo>
                    <a:lnTo>
                      <a:pt x="225" y="94"/>
                    </a:lnTo>
                    <a:lnTo>
                      <a:pt x="225" y="93"/>
                    </a:lnTo>
                    <a:lnTo>
                      <a:pt x="226" y="94"/>
                    </a:lnTo>
                    <a:lnTo>
                      <a:pt x="226" y="95"/>
                    </a:lnTo>
                    <a:lnTo>
                      <a:pt x="226" y="96"/>
                    </a:lnTo>
                    <a:lnTo>
                      <a:pt x="226" y="97"/>
                    </a:lnTo>
                    <a:lnTo>
                      <a:pt x="227" y="97"/>
                    </a:lnTo>
                    <a:lnTo>
                      <a:pt x="228" y="97"/>
                    </a:lnTo>
                    <a:lnTo>
                      <a:pt x="228" y="98"/>
                    </a:lnTo>
                    <a:lnTo>
                      <a:pt x="229" y="98"/>
                    </a:lnTo>
                    <a:lnTo>
                      <a:pt x="230" y="98"/>
                    </a:lnTo>
                    <a:lnTo>
                      <a:pt x="230" y="100"/>
                    </a:lnTo>
                    <a:lnTo>
                      <a:pt x="231" y="101"/>
                    </a:lnTo>
                    <a:lnTo>
                      <a:pt x="232" y="102"/>
                    </a:lnTo>
                    <a:lnTo>
                      <a:pt x="233" y="103"/>
                    </a:lnTo>
                    <a:lnTo>
                      <a:pt x="233" y="104"/>
                    </a:lnTo>
                    <a:lnTo>
                      <a:pt x="233" y="105"/>
                    </a:lnTo>
                    <a:lnTo>
                      <a:pt x="233" y="107"/>
                    </a:lnTo>
                    <a:lnTo>
                      <a:pt x="233" y="108"/>
                    </a:lnTo>
                    <a:lnTo>
                      <a:pt x="233" y="109"/>
                    </a:lnTo>
                    <a:lnTo>
                      <a:pt x="234" y="110"/>
                    </a:lnTo>
                    <a:lnTo>
                      <a:pt x="236" y="110"/>
                    </a:lnTo>
                    <a:lnTo>
                      <a:pt x="239" y="109"/>
                    </a:lnTo>
                    <a:lnTo>
                      <a:pt x="241" y="109"/>
                    </a:lnTo>
                    <a:lnTo>
                      <a:pt x="242" y="108"/>
                    </a:lnTo>
                    <a:lnTo>
                      <a:pt x="243" y="109"/>
                    </a:lnTo>
                    <a:lnTo>
                      <a:pt x="243" y="110"/>
                    </a:lnTo>
                    <a:lnTo>
                      <a:pt x="244" y="110"/>
                    </a:lnTo>
                    <a:lnTo>
                      <a:pt x="244" y="111"/>
                    </a:lnTo>
                    <a:lnTo>
                      <a:pt x="243" y="111"/>
                    </a:lnTo>
                    <a:lnTo>
                      <a:pt x="242" y="111"/>
                    </a:lnTo>
                    <a:lnTo>
                      <a:pt x="241" y="111"/>
                    </a:lnTo>
                    <a:lnTo>
                      <a:pt x="240" y="111"/>
                    </a:lnTo>
                    <a:lnTo>
                      <a:pt x="240" y="113"/>
                    </a:lnTo>
                    <a:lnTo>
                      <a:pt x="239" y="113"/>
                    </a:lnTo>
                    <a:lnTo>
                      <a:pt x="239" y="114"/>
                    </a:lnTo>
                    <a:lnTo>
                      <a:pt x="239" y="115"/>
                    </a:lnTo>
                    <a:lnTo>
                      <a:pt x="239" y="116"/>
                    </a:lnTo>
                    <a:lnTo>
                      <a:pt x="240" y="117"/>
                    </a:lnTo>
                    <a:lnTo>
                      <a:pt x="240" y="116"/>
                    </a:lnTo>
                    <a:lnTo>
                      <a:pt x="241" y="116"/>
                    </a:lnTo>
                    <a:lnTo>
                      <a:pt x="241" y="117"/>
                    </a:lnTo>
                    <a:lnTo>
                      <a:pt x="241" y="118"/>
                    </a:lnTo>
                    <a:lnTo>
                      <a:pt x="242" y="118"/>
                    </a:lnTo>
                    <a:lnTo>
                      <a:pt x="242" y="119"/>
                    </a:lnTo>
                    <a:lnTo>
                      <a:pt x="241" y="119"/>
                    </a:lnTo>
                    <a:lnTo>
                      <a:pt x="241" y="120"/>
                    </a:lnTo>
                    <a:lnTo>
                      <a:pt x="240" y="120"/>
                    </a:lnTo>
                    <a:lnTo>
                      <a:pt x="240" y="121"/>
                    </a:lnTo>
                    <a:lnTo>
                      <a:pt x="240" y="122"/>
                    </a:lnTo>
                    <a:lnTo>
                      <a:pt x="239" y="122"/>
                    </a:lnTo>
                    <a:lnTo>
                      <a:pt x="239" y="121"/>
                    </a:lnTo>
                    <a:lnTo>
                      <a:pt x="238" y="121"/>
                    </a:lnTo>
                    <a:lnTo>
                      <a:pt x="238" y="122"/>
                    </a:lnTo>
                    <a:lnTo>
                      <a:pt x="237" y="122"/>
                    </a:lnTo>
                    <a:lnTo>
                      <a:pt x="236" y="123"/>
                    </a:lnTo>
                    <a:lnTo>
                      <a:pt x="236" y="122"/>
                    </a:lnTo>
                    <a:lnTo>
                      <a:pt x="234" y="122"/>
                    </a:lnTo>
                    <a:lnTo>
                      <a:pt x="233" y="123"/>
                    </a:lnTo>
                    <a:lnTo>
                      <a:pt x="232" y="124"/>
                    </a:lnTo>
                    <a:lnTo>
                      <a:pt x="232" y="126"/>
                    </a:lnTo>
                    <a:lnTo>
                      <a:pt x="232" y="127"/>
                    </a:lnTo>
                    <a:lnTo>
                      <a:pt x="233" y="127"/>
                    </a:lnTo>
                    <a:lnTo>
                      <a:pt x="233" y="128"/>
                    </a:lnTo>
                    <a:lnTo>
                      <a:pt x="233" y="129"/>
                    </a:lnTo>
                    <a:lnTo>
                      <a:pt x="234" y="129"/>
                    </a:lnTo>
                    <a:lnTo>
                      <a:pt x="234" y="130"/>
                    </a:lnTo>
                    <a:lnTo>
                      <a:pt x="236" y="131"/>
                    </a:lnTo>
                    <a:lnTo>
                      <a:pt x="237" y="132"/>
                    </a:lnTo>
                    <a:lnTo>
                      <a:pt x="237" y="133"/>
                    </a:lnTo>
                    <a:lnTo>
                      <a:pt x="238" y="133"/>
                    </a:lnTo>
                    <a:lnTo>
                      <a:pt x="238" y="134"/>
                    </a:lnTo>
                    <a:lnTo>
                      <a:pt x="239" y="134"/>
                    </a:lnTo>
                    <a:lnTo>
                      <a:pt x="239" y="135"/>
                    </a:lnTo>
                    <a:lnTo>
                      <a:pt x="239" y="136"/>
                    </a:lnTo>
                    <a:lnTo>
                      <a:pt x="240" y="136"/>
                    </a:lnTo>
                    <a:lnTo>
                      <a:pt x="240" y="137"/>
                    </a:lnTo>
                    <a:lnTo>
                      <a:pt x="239" y="136"/>
                    </a:lnTo>
                    <a:lnTo>
                      <a:pt x="238" y="137"/>
                    </a:lnTo>
                    <a:lnTo>
                      <a:pt x="237" y="137"/>
                    </a:lnTo>
                    <a:lnTo>
                      <a:pt x="237" y="139"/>
                    </a:lnTo>
                    <a:lnTo>
                      <a:pt x="237" y="140"/>
                    </a:lnTo>
                    <a:lnTo>
                      <a:pt x="238" y="140"/>
                    </a:lnTo>
                    <a:lnTo>
                      <a:pt x="239" y="140"/>
                    </a:lnTo>
                    <a:lnTo>
                      <a:pt x="239" y="141"/>
                    </a:lnTo>
                    <a:lnTo>
                      <a:pt x="240" y="142"/>
                    </a:lnTo>
                    <a:lnTo>
                      <a:pt x="240" y="143"/>
                    </a:lnTo>
                    <a:lnTo>
                      <a:pt x="240" y="144"/>
                    </a:lnTo>
                    <a:lnTo>
                      <a:pt x="239" y="144"/>
                    </a:lnTo>
                    <a:lnTo>
                      <a:pt x="238" y="145"/>
                    </a:lnTo>
                    <a:lnTo>
                      <a:pt x="238" y="146"/>
                    </a:lnTo>
                    <a:lnTo>
                      <a:pt x="237" y="146"/>
                    </a:lnTo>
                    <a:lnTo>
                      <a:pt x="237" y="147"/>
                    </a:lnTo>
                    <a:lnTo>
                      <a:pt x="236" y="147"/>
                    </a:lnTo>
                    <a:lnTo>
                      <a:pt x="236" y="148"/>
                    </a:lnTo>
                    <a:lnTo>
                      <a:pt x="237" y="148"/>
                    </a:lnTo>
                    <a:lnTo>
                      <a:pt x="237" y="149"/>
                    </a:lnTo>
                    <a:lnTo>
                      <a:pt x="236" y="150"/>
                    </a:lnTo>
                    <a:lnTo>
                      <a:pt x="237" y="150"/>
                    </a:lnTo>
                    <a:lnTo>
                      <a:pt x="237" y="152"/>
                    </a:lnTo>
                    <a:lnTo>
                      <a:pt x="236" y="153"/>
                    </a:lnTo>
                    <a:lnTo>
                      <a:pt x="237" y="153"/>
                    </a:lnTo>
                    <a:lnTo>
                      <a:pt x="237" y="154"/>
                    </a:lnTo>
                    <a:lnTo>
                      <a:pt x="236" y="154"/>
                    </a:lnTo>
                    <a:lnTo>
                      <a:pt x="236" y="155"/>
                    </a:lnTo>
                    <a:lnTo>
                      <a:pt x="237" y="155"/>
                    </a:lnTo>
                    <a:lnTo>
                      <a:pt x="237" y="156"/>
                    </a:lnTo>
                    <a:lnTo>
                      <a:pt x="237" y="157"/>
                    </a:lnTo>
                    <a:lnTo>
                      <a:pt x="236" y="157"/>
                    </a:lnTo>
                    <a:lnTo>
                      <a:pt x="236" y="159"/>
                    </a:lnTo>
                    <a:lnTo>
                      <a:pt x="234" y="159"/>
                    </a:lnTo>
                    <a:lnTo>
                      <a:pt x="234" y="160"/>
                    </a:lnTo>
                    <a:lnTo>
                      <a:pt x="234" y="161"/>
                    </a:lnTo>
                    <a:lnTo>
                      <a:pt x="234" y="162"/>
                    </a:lnTo>
                    <a:lnTo>
                      <a:pt x="233" y="162"/>
                    </a:lnTo>
                    <a:lnTo>
                      <a:pt x="233" y="163"/>
                    </a:lnTo>
                    <a:lnTo>
                      <a:pt x="232" y="163"/>
                    </a:lnTo>
                    <a:lnTo>
                      <a:pt x="231" y="163"/>
                    </a:lnTo>
                    <a:lnTo>
                      <a:pt x="231" y="165"/>
                    </a:lnTo>
                    <a:lnTo>
                      <a:pt x="230" y="165"/>
                    </a:lnTo>
                    <a:lnTo>
                      <a:pt x="230" y="166"/>
                    </a:lnTo>
                    <a:lnTo>
                      <a:pt x="229" y="167"/>
                    </a:lnTo>
                    <a:lnTo>
                      <a:pt x="229" y="168"/>
                    </a:lnTo>
                    <a:lnTo>
                      <a:pt x="228" y="168"/>
                    </a:lnTo>
                    <a:lnTo>
                      <a:pt x="228" y="169"/>
                    </a:lnTo>
                    <a:lnTo>
                      <a:pt x="228" y="170"/>
                    </a:lnTo>
                    <a:lnTo>
                      <a:pt x="228" y="171"/>
                    </a:lnTo>
                    <a:lnTo>
                      <a:pt x="228" y="172"/>
                    </a:lnTo>
                    <a:lnTo>
                      <a:pt x="229" y="172"/>
                    </a:lnTo>
                    <a:lnTo>
                      <a:pt x="230" y="172"/>
                    </a:lnTo>
                    <a:lnTo>
                      <a:pt x="230" y="173"/>
                    </a:lnTo>
                    <a:lnTo>
                      <a:pt x="229" y="173"/>
                    </a:lnTo>
                    <a:lnTo>
                      <a:pt x="229" y="174"/>
                    </a:lnTo>
                    <a:lnTo>
                      <a:pt x="230" y="174"/>
                    </a:lnTo>
                    <a:lnTo>
                      <a:pt x="230" y="175"/>
                    </a:lnTo>
                    <a:lnTo>
                      <a:pt x="231" y="176"/>
                    </a:lnTo>
                    <a:lnTo>
                      <a:pt x="231" y="178"/>
                    </a:lnTo>
                    <a:lnTo>
                      <a:pt x="232" y="178"/>
                    </a:lnTo>
                    <a:lnTo>
                      <a:pt x="232" y="179"/>
                    </a:lnTo>
                    <a:lnTo>
                      <a:pt x="231" y="179"/>
                    </a:lnTo>
                    <a:lnTo>
                      <a:pt x="232" y="179"/>
                    </a:lnTo>
                    <a:lnTo>
                      <a:pt x="232" y="180"/>
                    </a:lnTo>
                    <a:lnTo>
                      <a:pt x="233" y="180"/>
                    </a:lnTo>
                    <a:lnTo>
                      <a:pt x="233" y="181"/>
                    </a:lnTo>
                    <a:lnTo>
                      <a:pt x="232" y="182"/>
                    </a:lnTo>
                    <a:lnTo>
                      <a:pt x="232" y="183"/>
                    </a:lnTo>
                    <a:lnTo>
                      <a:pt x="231" y="183"/>
                    </a:lnTo>
                    <a:lnTo>
                      <a:pt x="232" y="184"/>
                    </a:lnTo>
                    <a:lnTo>
                      <a:pt x="231" y="184"/>
                    </a:lnTo>
                    <a:lnTo>
                      <a:pt x="230" y="184"/>
                    </a:lnTo>
                    <a:lnTo>
                      <a:pt x="230" y="185"/>
                    </a:lnTo>
                    <a:lnTo>
                      <a:pt x="231" y="185"/>
                    </a:lnTo>
                    <a:lnTo>
                      <a:pt x="231" y="186"/>
                    </a:lnTo>
                    <a:lnTo>
                      <a:pt x="231" y="187"/>
                    </a:lnTo>
                    <a:lnTo>
                      <a:pt x="230" y="187"/>
                    </a:lnTo>
                    <a:lnTo>
                      <a:pt x="240" y="188"/>
                    </a:lnTo>
                    <a:lnTo>
                      <a:pt x="246" y="188"/>
                    </a:lnTo>
                    <a:lnTo>
                      <a:pt x="245" y="197"/>
                    </a:lnTo>
                    <a:lnTo>
                      <a:pt x="245" y="223"/>
                    </a:lnTo>
                    <a:lnTo>
                      <a:pt x="245" y="230"/>
                    </a:lnTo>
                    <a:lnTo>
                      <a:pt x="245" y="273"/>
                    </a:lnTo>
                    <a:lnTo>
                      <a:pt x="245" y="287"/>
                    </a:lnTo>
                    <a:lnTo>
                      <a:pt x="245" y="294"/>
                    </a:lnTo>
                    <a:lnTo>
                      <a:pt x="245" y="313"/>
                    </a:lnTo>
                    <a:lnTo>
                      <a:pt x="245" y="319"/>
                    </a:lnTo>
                    <a:lnTo>
                      <a:pt x="245" y="322"/>
                    </a:lnTo>
                    <a:lnTo>
                      <a:pt x="245" y="326"/>
                    </a:lnTo>
                    <a:lnTo>
                      <a:pt x="245" y="332"/>
                    </a:lnTo>
                    <a:lnTo>
                      <a:pt x="245" y="333"/>
                    </a:lnTo>
                    <a:lnTo>
                      <a:pt x="245" y="338"/>
                    </a:lnTo>
                    <a:lnTo>
                      <a:pt x="245" y="349"/>
                    </a:lnTo>
                    <a:lnTo>
                      <a:pt x="245" y="352"/>
                    </a:lnTo>
                    <a:lnTo>
                      <a:pt x="245" y="374"/>
                    </a:lnTo>
                    <a:lnTo>
                      <a:pt x="245" y="378"/>
                    </a:lnTo>
                    <a:lnTo>
                      <a:pt x="245" y="379"/>
                    </a:lnTo>
                    <a:lnTo>
                      <a:pt x="249" y="379"/>
                    </a:lnTo>
                    <a:lnTo>
                      <a:pt x="249" y="423"/>
                    </a:lnTo>
                    <a:lnTo>
                      <a:pt x="249" y="443"/>
                    </a:lnTo>
                    <a:lnTo>
                      <a:pt x="251" y="443"/>
                    </a:lnTo>
                    <a:lnTo>
                      <a:pt x="252" y="443"/>
                    </a:lnTo>
                    <a:lnTo>
                      <a:pt x="253" y="443"/>
                    </a:lnTo>
                    <a:lnTo>
                      <a:pt x="266" y="443"/>
                    </a:lnTo>
                    <a:lnTo>
                      <a:pt x="273" y="443"/>
                    </a:lnTo>
                    <a:lnTo>
                      <a:pt x="279" y="443"/>
                    </a:lnTo>
                    <a:lnTo>
                      <a:pt x="283" y="443"/>
                    </a:lnTo>
                    <a:lnTo>
                      <a:pt x="290" y="443"/>
                    </a:lnTo>
                    <a:lnTo>
                      <a:pt x="289" y="444"/>
                    </a:lnTo>
                    <a:lnTo>
                      <a:pt x="288" y="445"/>
                    </a:lnTo>
                    <a:lnTo>
                      <a:pt x="285" y="447"/>
                    </a:lnTo>
                    <a:lnTo>
                      <a:pt x="284" y="448"/>
                    </a:lnTo>
                    <a:lnTo>
                      <a:pt x="283" y="449"/>
                    </a:lnTo>
                    <a:lnTo>
                      <a:pt x="282" y="452"/>
                    </a:lnTo>
                    <a:lnTo>
                      <a:pt x="280" y="453"/>
                    </a:lnTo>
                    <a:lnTo>
                      <a:pt x="279" y="454"/>
                    </a:lnTo>
                    <a:lnTo>
                      <a:pt x="278" y="454"/>
                    </a:lnTo>
                    <a:lnTo>
                      <a:pt x="276" y="454"/>
                    </a:lnTo>
                    <a:lnTo>
                      <a:pt x="275" y="454"/>
                    </a:lnTo>
                    <a:lnTo>
                      <a:pt x="273" y="453"/>
                    </a:lnTo>
                    <a:lnTo>
                      <a:pt x="269" y="451"/>
                    </a:lnTo>
                    <a:lnTo>
                      <a:pt x="267" y="451"/>
                    </a:lnTo>
                    <a:lnTo>
                      <a:pt x="266" y="450"/>
                    </a:lnTo>
                    <a:lnTo>
                      <a:pt x="264" y="450"/>
                    </a:lnTo>
                    <a:lnTo>
                      <a:pt x="263" y="450"/>
                    </a:lnTo>
                    <a:lnTo>
                      <a:pt x="262" y="450"/>
                    </a:lnTo>
                    <a:lnTo>
                      <a:pt x="260" y="451"/>
                    </a:lnTo>
                    <a:lnTo>
                      <a:pt x="259" y="452"/>
                    </a:lnTo>
                    <a:lnTo>
                      <a:pt x="257" y="454"/>
                    </a:lnTo>
                    <a:lnTo>
                      <a:pt x="256" y="456"/>
                    </a:lnTo>
                    <a:lnTo>
                      <a:pt x="256" y="458"/>
                    </a:lnTo>
                    <a:lnTo>
                      <a:pt x="256" y="462"/>
                    </a:lnTo>
                    <a:lnTo>
                      <a:pt x="256" y="463"/>
                    </a:lnTo>
                    <a:lnTo>
                      <a:pt x="256" y="464"/>
                    </a:lnTo>
                    <a:lnTo>
                      <a:pt x="257" y="465"/>
                    </a:lnTo>
                    <a:lnTo>
                      <a:pt x="258" y="467"/>
                    </a:lnTo>
                    <a:lnTo>
                      <a:pt x="259" y="468"/>
                    </a:lnTo>
                    <a:lnTo>
                      <a:pt x="260" y="469"/>
                    </a:lnTo>
                    <a:lnTo>
                      <a:pt x="262" y="469"/>
                    </a:lnTo>
                    <a:lnTo>
                      <a:pt x="263" y="470"/>
                    </a:lnTo>
                    <a:lnTo>
                      <a:pt x="265" y="470"/>
                    </a:lnTo>
                    <a:lnTo>
                      <a:pt x="269" y="471"/>
                    </a:lnTo>
                    <a:lnTo>
                      <a:pt x="270" y="473"/>
                    </a:lnTo>
                    <a:lnTo>
                      <a:pt x="271" y="474"/>
                    </a:lnTo>
                    <a:lnTo>
                      <a:pt x="272" y="474"/>
                    </a:lnTo>
                    <a:lnTo>
                      <a:pt x="272" y="475"/>
                    </a:lnTo>
                    <a:lnTo>
                      <a:pt x="273" y="476"/>
                    </a:lnTo>
                    <a:lnTo>
                      <a:pt x="273" y="477"/>
                    </a:lnTo>
                    <a:lnTo>
                      <a:pt x="273" y="478"/>
                    </a:lnTo>
                    <a:lnTo>
                      <a:pt x="273" y="479"/>
                    </a:lnTo>
                    <a:lnTo>
                      <a:pt x="273" y="480"/>
                    </a:lnTo>
                    <a:lnTo>
                      <a:pt x="272" y="481"/>
                    </a:lnTo>
                    <a:lnTo>
                      <a:pt x="272" y="482"/>
                    </a:lnTo>
                    <a:lnTo>
                      <a:pt x="271" y="484"/>
                    </a:lnTo>
                    <a:lnTo>
                      <a:pt x="269" y="486"/>
                    </a:lnTo>
                    <a:lnTo>
                      <a:pt x="269" y="487"/>
                    </a:lnTo>
                    <a:lnTo>
                      <a:pt x="268" y="488"/>
                    </a:lnTo>
                    <a:lnTo>
                      <a:pt x="267" y="490"/>
                    </a:lnTo>
                    <a:lnTo>
                      <a:pt x="267" y="491"/>
                    </a:lnTo>
                    <a:lnTo>
                      <a:pt x="266" y="493"/>
                    </a:lnTo>
                    <a:lnTo>
                      <a:pt x="266" y="495"/>
                    </a:lnTo>
                    <a:lnTo>
                      <a:pt x="265" y="499"/>
                    </a:lnTo>
                    <a:lnTo>
                      <a:pt x="264" y="500"/>
                    </a:lnTo>
                    <a:lnTo>
                      <a:pt x="264" y="503"/>
                    </a:lnTo>
                    <a:lnTo>
                      <a:pt x="264" y="505"/>
                    </a:lnTo>
                    <a:lnTo>
                      <a:pt x="263" y="506"/>
                    </a:lnTo>
                    <a:lnTo>
                      <a:pt x="263" y="507"/>
                    </a:lnTo>
                    <a:lnTo>
                      <a:pt x="262" y="508"/>
                    </a:lnTo>
                    <a:lnTo>
                      <a:pt x="260" y="508"/>
                    </a:lnTo>
                    <a:lnTo>
                      <a:pt x="260" y="509"/>
                    </a:lnTo>
                    <a:lnTo>
                      <a:pt x="262" y="509"/>
                    </a:lnTo>
                    <a:lnTo>
                      <a:pt x="262" y="510"/>
                    </a:lnTo>
                    <a:lnTo>
                      <a:pt x="260" y="510"/>
                    </a:lnTo>
                    <a:lnTo>
                      <a:pt x="259" y="510"/>
                    </a:lnTo>
                    <a:lnTo>
                      <a:pt x="259" y="512"/>
                    </a:lnTo>
                    <a:lnTo>
                      <a:pt x="259" y="513"/>
                    </a:lnTo>
                    <a:lnTo>
                      <a:pt x="259" y="514"/>
                    </a:lnTo>
                    <a:lnTo>
                      <a:pt x="259" y="515"/>
                    </a:lnTo>
                    <a:lnTo>
                      <a:pt x="258" y="516"/>
                    </a:lnTo>
                    <a:lnTo>
                      <a:pt x="257" y="516"/>
                    </a:lnTo>
                    <a:lnTo>
                      <a:pt x="257" y="517"/>
                    </a:lnTo>
                    <a:lnTo>
                      <a:pt x="257" y="518"/>
                    </a:lnTo>
                    <a:lnTo>
                      <a:pt x="258" y="518"/>
                    </a:lnTo>
                    <a:lnTo>
                      <a:pt x="258" y="519"/>
                    </a:lnTo>
                    <a:lnTo>
                      <a:pt x="257" y="519"/>
                    </a:lnTo>
                    <a:lnTo>
                      <a:pt x="257" y="520"/>
                    </a:lnTo>
                    <a:lnTo>
                      <a:pt x="257" y="521"/>
                    </a:lnTo>
                    <a:lnTo>
                      <a:pt x="258" y="521"/>
                    </a:lnTo>
                    <a:lnTo>
                      <a:pt x="258" y="522"/>
                    </a:lnTo>
                    <a:lnTo>
                      <a:pt x="259" y="521"/>
                    </a:lnTo>
                    <a:lnTo>
                      <a:pt x="260" y="521"/>
                    </a:lnTo>
                    <a:lnTo>
                      <a:pt x="259" y="522"/>
                    </a:lnTo>
                    <a:lnTo>
                      <a:pt x="258" y="522"/>
                    </a:lnTo>
                    <a:lnTo>
                      <a:pt x="258" y="524"/>
                    </a:lnTo>
                    <a:lnTo>
                      <a:pt x="258" y="525"/>
                    </a:lnTo>
                    <a:lnTo>
                      <a:pt x="259" y="525"/>
                    </a:lnTo>
                    <a:lnTo>
                      <a:pt x="260" y="525"/>
                    </a:lnTo>
                    <a:lnTo>
                      <a:pt x="260" y="526"/>
                    </a:lnTo>
                    <a:lnTo>
                      <a:pt x="262" y="526"/>
                    </a:lnTo>
                    <a:lnTo>
                      <a:pt x="263" y="526"/>
                    </a:lnTo>
                    <a:lnTo>
                      <a:pt x="263" y="527"/>
                    </a:lnTo>
                    <a:lnTo>
                      <a:pt x="262" y="527"/>
                    </a:lnTo>
                    <a:lnTo>
                      <a:pt x="262" y="528"/>
                    </a:lnTo>
                    <a:lnTo>
                      <a:pt x="260" y="528"/>
                    </a:lnTo>
                    <a:lnTo>
                      <a:pt x="260" y="529"/>
                    </a:lnTo>
                    <a:lnTo>
                      <a:pt x="262" y="530"/>
                    </a:lnTo>
                    <a:lnTo>
                      <a:pt x="262" y="532"/>
                    </a:lnTo>
                    <a:lnTo>
                      <a:pt x="262" y="534"/>
                    </a:lnTo>
                    <a:lnTo>
                      <a:pt x="263" y="534"/>
                    </a:lnTo>
                    <a:lnTo>
                      <a:pt x="264" y="533"/>
                    </a:lnTo>
                    <a:lnTo>
                      <a:pt x="265" y="533"/>
                    </a:lnTo>
                    <a:lnTo>
                      <a:pt x="266" y="532"/>
                    </a:lnTo>
                    <a:lnTo>
                      <a:pt x="267" y="533"/>
                    </a:lnTo>
                    <a:lnTo>
                      <a:pt x="268" y="533"/>
                    </a:lnTo>
                    <a:lnTo>
                      <a:pt x="269" y="534"/>
                    </a:lnTo>
                    <a:lnTo>
                      <a:pt x="269" y="535"/>
                    </a:lnTo>
                    <a:lnTo>
                      <a:pt x="269" y="537"/>
                    </a:lnTo>
                    <a:lnTo>
                      <a:pt x="270" y="538"/>
                    </a:lnTo>
                    <a:lnTo>
                      <a:pt x="270" y="539"/>
                    </a:lnTo>
                    <a:lnTo>
                      <a:pt x="270" y="540"/>
                    </a:lnTo>
                    <a:lnTo>
                      <a:pt x="269" y="540"/>
                    </a:lnTo>
                    <a:lnTo>
                      <a:pt x="268" y="540"/>
                    </a:lnTo>
                    <a:lnTo>
                      <a:pt x="268" y="541"/>
                    </a:lnTo>
                    <a:lnTo>
                      <a:pt x="268" y="543"/>
                    </a:lnTo>
                    <a:lnTo>
                      <a:pt x="267" y="543"/>
                    </a:lnTo>
                    <a:lnTo>
                      <a:pt x="267" y="544"/>
                    </a:lnTo>
                    <a:lnTo>
                      <a:pt x="267" y="545"/>
                    </a:lnTo>
                    <a:lnTo>
                      <a:pt x="268" y="545"/>
                    </a:lnTo>
                    <a:lnTo>
                      <a:pt x="268" y="546"/>
                    </a:lnTo>
                    <a:lnTo>
                      <a:pt x="269" y="546"/>
                    </a:lnTo>
                    <a:lnTo>
                      <a:pt x="270" y="546"/>
                    </a:lnTo>
                    <a:lnTo>
                      <a:pt x="270" y="547"/>
                    </a:lnTo>
                    <a:lnTo>
                      <a:pt x="269" y="547"/>
                    </a:lnTo>
                    <a:lnTo>
                      <a:pt x="268" y="548"/>
                    </a:lnTo>
                    <a:lnTo>
                      <a:pt x="269" y="550"/>
                    </a:lnTo>
                    <a:lnTo>
                      <a:pt x="269" y="551"/>
                    </a:lnTo>
                    <a:lnTo>
                      <a:pt x="268" y="552"/>
                    </a:lnTo>
                    <a:lnTo>
                      <a:pt x="269" y="553"/>
                    </a:lnTo>
                    <a:lnTo>
                      <a:pt x="269" y="554"/>
                    </a:lnTo>
                    <a:lnTo>
                      <a:pt x="269" y="555"/>
                    </a:lnTo>
                    <a:lnTo>
                      <a:pt x="268" y="555"/>
                    </a:lnTo>
                    <a:lnTo>
                      <a:pt x="267" y="555"/>
                    </a:lnTo>
                    <a:lnTo>
                      <a:pt x="267" y="556"/>
                    </a:lnTo>
                    <a:lnTo>
                      <a:pt x="267" y="557"/>
                    </a:lnTo>
                    <a:lnTo>
                      <a:pt x="268" y="558"/>
                    </a:lnTo>
                    <a:lnTo>
                      <a:pt x="268" y="559"/>
                    </a:lnTo>
                    <a:lnTo>
                      <a:pt x="268" y="560"/>
                    </a:lnTo>
                    <a:lnTo>
                      <a:pt x="267" y="560"/>
                    </a:lnTo>
                    <a:lnTo>
                      <a:pt x="267" y="561"/>
                    </a:lnTo>
                    <a:lnTo>
                      <a:pt x="266" y="561"/>
                    </a:lnTo>
                    <a:lnTo>
                      <a:pt x="265" y="563"/>
                    </a:lnTo>
                    <a:lnTo>
                      <a:pt x="264" y="563"/>
                    </a:lnTo>
                    <a:lnTo>
                      <a:pt x="264" y="564"/>
                    </a:lnTo>
                    <a:lnTo>
                      <a:pt x="263" y="564"/>
                    </a:lnTo>
                    <a:lnTo>
                      <a:pt x="263" y="566"/>
                    </a:lnTo>
                    <a:lnTo>
                      <a:pt x="262" y="567"/>
                    </a:lnTo>
                    <a:lnTo>
                      <a:pt x="260" y="568"/>
                    </a:lnTo>
                    <a:lnTo>
                      <a:pt x="259" y="567"/>
                    </a:lnTo>
                    <a:lnTo>
                      <a:pt x="258" y="567"/>
                    </a:lnTo>
                    <a:lnTo>
                      <a:pt x="257" y="567"/>
                    </a:lnTo>
                    <a:lnTo>
                      <a:pt x="257" y="568"/>
                    </a:lnTo>
                    <a:lnTo>
                      <a:pt x="256" y="568"/>
                    </a:lnTo>
                    <a:lnTo>
                      <a:pt x="256" y="569"/>
                    </a:lnTo>
                    <a:lnTo>
                      <a:pt x="253" y="569"/>
                    </a:lnTo>
                    <a:lnTo>
                      <a:pt x="252" y="569"/>
                    </a:lnTo>
                    <a:lnTo>
                      <a:pt x="239" y="569"/>
                    </a:lnTo>
                    <a:lnTo>
                      <a:pt x="238" y="569"/>
                    </a:lnTo>
                    <a:lnTo>
                      <a:pt x="236" y="569"/>
                    </a:lnTo>
                    <a:lnTo>
                      <a:pt x="234" y="568"/>
                    </a:lnTo>
                    <a:lnTo>
                      <a:pt x="230" y="568"/>
                    </a:lnTo>
                    <a:lnTo>
                      <a:pt x="229" y="568"/>
                    </a:lnTo>
                    <a:lnTo>
                      <a:pt x="229" y="567"/>
                    </a:lnTo>
                    <a:lnTo>
                      <a:pt x="228" y="567"/>
                    </a:lnTo>
                    <a:lnTo>
                      <a:pt x="228" y="566"/>
                    </a:lnTo>
                    <a:lnTo>
                      <a:pt x="229" y="566"/>
                    </a:lnTo>
                    <a:lnTo>
                      <a:pt x="229" y="565"/>
                    </a:lnTo>
                    <a:lnTo>
                      <a:pt x="230" y="564"/>
                    </a:lnTo>
                    <a:lnTo>
                      <a:pt x="231" y="563"/>
                    </a:lnTo>
                    <a:lnTo>
                      <a:pt x="232" y="563"/>
                    </a:lnTo>
                    <a:lnTo>
                      <a:pt x="233" y="563"/>
                    </a:lnTo>
                    <a:lnTo>
                      <a:pt x="234" y="563"/>
                    </a:lnTo>
                    <a:lnTo>
                      <a:pt x="234" y="561"/>
                    </a:lnTo>
                    <a:lnTo>
                      <a:pt x="236" y="561"/>
                    </a:lnTo>
                    <a:lnTo>
                      <a:pt x="236" y="560"/>
                    </a:lnTo>
                    <a:lnTo>
                      <a:pt x="236" y="559"/>
                    </a:lnTo>
                    <a:lnTo>
                      <a:pt x="236" y="558"/>
                    </a:lnTo>
                    <a:lnTo>
                      <a:pt x="234" y="558"/>
                    </a:lnTo>
                    <a:lnTo>
                      <a:pt x="233" y="559"/>
                    </a:lnTo>
                    <a:lnTo>
                      <a:pt x="231" y="560"/>
                    </a:lnTo>
                    <a:lnTo>
                      <a:pt x="230" y="560"/>
                    </a:lnTo>
                    <a:lnTo>
                      <a:pt x="229" y="560"/>
                    </a:lnTo>
                    <a:lnTo>
                      <a:pt x="228" y="559"/>
                    </a:lnTo>
                    <a:lnTo>
                      <a:pt x="227" y="559"/>
                    </a:lnTo>
                    <a:lnTo>
                      <a:pt x="227" y="558"/>
                    </a:lnTo>
                    <a:lnTo>
                      <a:pt x="226" y="557"/>
                    </a:lnTo>
                    <a:lnTo>
                      <a:pt x="226" y="556"/>
                    </a:lnTo>
                    <a:lnTo>
                      <a:pt x="225" y="555"/>
                    </a:lnTo>
                    <a:lnTo>
                      <a:pt x="224" y="555"/>
                    </a:lnTo>
                    <a:lnTo>
                      <a:pt x="223" y="554"/>
                    </a:lnTo>
                    <a:lnTo>
                      <a:pt x="220" y="554"/>
                    </a:lnTo>
                    <a:lnTo>
                      <a:pt x="220" y="555"/>
                    </a:lnTo>
                    <a:lnTo>
                      <a:pt x="220" y="556"/>
                    </a:lnTo>
                    <a:lnTo>
                      <a:pt x="220" y="557"/>
                    </a:lnTo>
                    <a:lnTo>
                      <a:pt x="221" y="558"/>
                    </a:lnTo>
                    <a:lnTo>
                      <a:pt x="221" y="559"/>
                    </a:lnTo>
                    <a:lnTo>
                      <a:pt x="223" y="560"/>
                    </a:lnTo>
                    <a:lnTo>
                      <a:pt x="224" y="560"/>
                    </a:lnTo>
                    <a:lnTo>
                      <a:pt x="225" y="561"/>
                    </a:lnTo>
                    <a:lnTo>
                      <a:pt x="225" y="563"/>
                    </a:lnTo>
                    <a:lnTo>
                      <a:pt x="226" y="564"/>
                    </a:lnTo>
                    <a:lnTo>
                      <a:pt x="226" y="565"/>
                    </a:lnTo>
                    <a:lnTo>
                      <a:pt x="225" y="565"/>
                    </a:lnTo>
                    <a:lnTo>
                      <a:pt x="224" y="565"/>
                    </a:lnTo>
                    <a:lnTo>
                      <a:pt x="223" y="565"/>
                    </a:lnTo>
                    <a:lnTo>
                      <a:pt x="220" y="564"/>
                    </a:lnTo>
                    <a:lnTo>
                      <a:pt x="219" y="564"/>
                    </a:lnTo>
                    <a:lnTo>
                      <a:pt x="218" y="564"/>
                    </a:lnTo>
                    <a:lnTo>
                      <a:pt x="218" y="563"/>
                    </a:lnTo>
                    <a:lnTo>
                      <a:pt x="218" y="560"/>
                    </a:lnTo>
                    <a:lnTo>
                      <a:pt x="218" y="559"/>
                    </a:lnTo>
                    <a:lnTo>
                      <a:pt x="217" y="556"/>
                    </a:lnTo>
                    <a:lnTo>
                      <a:pt x="216" y="554"/>
                    </a:lnTo>
                    <a:lnTo>
                      <a:pt x="216" y="553"/>
                    </a:lnTo>
                    <a:lnTo>
                      <a:pt x="217" y="553"/>
                    </a:lnTo>
                    <a:lnTo>
                      <a:pt x="217" y="551"/>
                    </a:lnTo>
                    <a:lnTo>
                      <a:pt x="217" y="548"/>
                    </a:lnTo>
                    <a:lnTo>
                      <a:pt x="213" y="546"/>
                    </a:lnTo>
                    <a:lnTo>
                      <a:pt x="212" y="545"/>
                    </a:lnTo>
                    <a:lnTo>
                      <a:pt x="211" y="544"/>
                    </a:lnTo>
                    <a:lnTo>
                      <a:pt x="207" y="544"/>
                    </a:lnTo>
                    <a:lnTo>
                      <a:pt x="206" y="543"/>
                    </a:lnTo>
                    <a:lnTo>
                      <a:pt x="205" y="542"/>
                    </a:lnTo>
                    <a:lnTo>
                      <a:pt x="205" y="541"/>
                    </a:lnTo>
                    <a:lnTo>
                      <a:pt x="206" y="540"/>
                    </a:lnTo>
                    <a:lnTo>
                      <a:pt x="207" y="539"/>
                    </a:lnTo>
                    <a:lnTo>
                      <a:pt x="207" y="538"/>
                    </a:lnTo>
                    <a:lnTo>
                      <a:pt x="208" y="538"/>
                    </a:lnTo>
                    <a:lnTo>
                      <a:pt x="209" y="537"/>
                    </a:lnTo>
                    <a:lnTo>
                      <a:pt x="211" y="537"/>
                    </a:lnTo>
                    <a:lnTo>
                      <a:pt x="212" y="535"/>
                    </a:lnTo>
                    <a:lnTo>
                      <a:pt x="212" y="534"/>
                    </a:lnTo>
                    <a:lnTo>
                      <a:pt x="212" y="533"/>
                    </a:lnTo>
                    <a:lnTo>
                      <a:pt x="211" y="533"/>
                    </a:lnTo>
                    <a:lnTo>
                      <a:pt x="209" y="533"/>
                    </a:lnTo>
                    <a:lnTo>
                      <a:pt x="209" y="534"/>
                    </a:lnTo>
                    <a:lnTo>
                      <a:pt x="208" y="535"/>
                    </a:lnTo>
                    <a:lnTo>
                      <a:pt x="207" y="537"/>
                    </a:lnTo>
                    <a:lnTo>
                      <a:pt x="206" y="538"/>
                    </a:lnTo>
                    <a:lnTo>
                      <a:pt x="205" y="539"/>
                    </a:lnTo>
                    <a:lnTo>
                      <a:pt x="204" y="540"/>
                    </a:lnTo>
                    <a:lnTo>
                      <a:pt x="203" y="540"/>
                    </a:lnTo>
                    <a:lnTo>
                      <a:pt x="201" y="542"/>
                    </a:lnTo>
                    <a:lnTo>
                      <a:pt x="201" y="543"/>
                    </a:lnTo>
                    <a:lnTo>
                      <a:pt x="200" y="543"/>
                    </a:lnTo>
                    <a:lnTo>
                      <a:pt x="199" y="543"/>
                    </a:lnTo>
                    <a:lnTo>
                      <a:pt x="198" y="543"/>
                    </a:lnTo>
                    <a:lnTo>
                      <a:pt x="196" y="542"/>
                    </a:lnTo>
                    <a:lnTo>
                      <a:pt x="198" y="540"/>
                    </a:lnTo>
                    <a:lnTo>
                      <a:pt x="198" y="539"/>
                    </a:lnTo>
                    <a:lnTo>
                      <a:pt x="199" y="539"/>
                    </a:lnTo>
                    <a:lnTo>
                      <a:pt x="199" y="538"/>
                    </a:lnTo>
                    <a:lnTo>
                      <a:pt x="200" y="537"/>
                    </a:lnTo>
                    <a:lnTo>
                      <a:pt x="200" y="535"/>
                    </a:lnTo>
                    <a:lnTo>
                      <a:pt x="201" y="535"/>
                    </a:lnTo>
                    <a:lnTo>
                      <a:pt x="201" y="534"/>
                    </a:lnTo>
                    <a:lnTo>
                      <a:pt x="202" y="533"/>
                    </a:lnTo>
                    <a:lnTo>
                      <a:pt x="203" y="532"/>
                    </a:lnTo>
                    <a:lnTo>
                      <a:pt x="203" y="531"/>
                    </a:lnTo>
                    <a:lnTo>
                      <a:pt x="203" y="530"/>
                    </a:lnTo>
                    <a:lnTo>
                      <a:pt x="203" y="529"/>
                    </a:lnTo>
                    <a:lnTo>
                      <a:pt x="203" y="528"/>
                    </a:lnTo>
                    <a:lnTo>
                      <a:pt x="203" y="527"/>
                    </a:lnTo>
                    <a:lnTo>
                      <a:pt x="203" y="526"/>
                    </a:lnTo>
                    <a:lnTo>
                      <a:pt x="203" y="525"/>
                    </a:lnTo>
                    <a:lnTo>
                      <a:pt x="202" y="525"/>
                    </a:lnTo>
                    <a:lnTo>
                      <a:pt x="202" y="524"/>
                    </a:lnTo>
                    <a:lnTo>
                      <a:pt x="201" y="524"/>
                    </a:lnTo>
                    <a:lnTo>
                      <a:pt x="200" y="524"/>
                    </a:lnTo>
                    <a:lnTo>
                      <a:pt x="196" y="525"/>
                    </a:lnTo>
                    <a:lnTo>
                      <a:pt x="195" y="525"/>
                    </a:lnTo>
                    <a:lnTo>
                      <a:pt x="195" y="526"/>
                    </a:lnTo>
                    <a:lnTo>
                      <a:pt x="194" y="526"/>
                    </a:lnTo>
                    <a:lnTo>
                      <a:pt x="193" y="526"/>
                    </a:lnTo>
                    <a:lnTo>
                      <a:pt x="193" y="527"/>
                    </a:lnTo>
                    <a:lnTo>
                      <a:pt x="192" y="528"/>
                    </a:lnTo>
                    <a:lnTo>
                      <a:pt x="191" y="529"/>
                    </a:lnTo>
                    <a:lnTo>
                      <a:pt x="191" y="530"/>
                    </a:lnTo>
                    <a:lnTo>
                      <a:pt x="190" y="530"/>
                    </a:lnTo>
                    <a:lnTo>
                      <a:pt x="189" y="530"/>
                    </a:lnTo>
                    <a:lnTo>
                      <a:pt x="188" y="530"/>
                    </a:lnTo>
                    <a:lnTo>
                      <a:pt x="183" y="530"/>
                    </a:lnTo>
                    <a:lnTo>
                      <a:pt x="181" y="529"/>
                    </a:lnTo>
                    <a:lnTo>
                      <a:pt x="180" y="528"/>
                    </a:lnTo>
                    <a:lnTo>
                      <a:pt x="179" y="528"/>
                    </a:lnTo>
                    <a:lnTo>
                      <a:pt x="179" y="527"/>
                    </a:lnTo>
                    <a:lnTo>
                      <a:pt x="179" y="526"/>
                    </a:lnTo>
                    <a:lnTo>
                      <a:pt x="180" y="526"/>
                    </a:lnTo>
                    <a:lnTo>
                      <a:pt x="181" y="526"/>
                    </a:lnTo>
                    <a:lnTo>
                      <a:pt x="182" y="527"/>
                    </a:lnTo>
                    <a:lnTo>
                      <a:pt x="183" y="527"/>
                    </a:lnTo>
                    <a:lnTo>
                      <a:pt x="185" y="527"/>
                    </a:lnTo>
                    <a:lnTo>
                      <a:pt x="186" y="527"/>
                    </a:lnTo>
                    <a:lnTo>
                      <a:pt x="188" y="527"/>
                    </a:lnTo>
                    <a:lnTo>
                      <a:pt x="189" y="527"/>
                    </a:lnTo>
                    <a:lnTo>
                      <a:pt x="189" y="526"/>
                    </a:lnTo>
                    <a:lnTo>
                      <a:pt x="189" y="525"/>
                    </a:lnTo>
                    <a:lnTo>
                      <a:pt x="189" y="524"/>
                    </a:lnTo>
                    <a:lnTo>
                      <a:pt x="188" y="522"/>
                    </a:lnTo>
                    <a:lnTo>
                      <a:pt x="188" y="521"/>
                    </a:lnTo>
                    <a:lnTo>
                      <a:pt x="189" y="520"/>
                    </a:lnTo>
                    <a:lnTo>
                      <a:pt x="189" y="519"/>
                    </a:lnTo>
                    <a:lnTo>
                      <a:pt x="190" y="519"/>
                    </a:lnTo>
                    <a:lnTo>
                      <a:pt x="191" y="519"/>
                    </a:lnTo>
                    <a:lnTo>
                      <a:pt x="192" y="519"/>
                    </a:lnTo>
                    <a:lnTo>
                      <a:pt x="193" y="518"/>
                    </a:lnTo>
                    <a:lnTo>
                      <a:pt x="194" y="517"/>
                    </a:lnTo>
                    <a:lnTo>
                      <a:pt x="195" y="516"/>
                    </a:lnTo>
                    <a:lnTo>
                      <a:pt x="195" y="515"/>
                    </a:lnTo>
                    <a:lnTo>
                      <a:pt x="195" y="514"/>
                    </a:lnTo>
                    <a:lnTo>
                      <a:pt x="194" y="514"/>
                    </a:lnTo>
                    <a:lnTo>
                      <a:pt x="194" y="513"/>
                    </a:lnTo>
                    <a:lnTo>
                      <a:pt x="193" y="513"/>
                    </a:lnTo>
                    <a:lnTo>
                      <a:pt x="193" y="512"/>
                    </a:lnTo>
                    <a:lnTo>
                      <a:pt x="192" y="512"/>
                    </a:lnTo>
                    <a:lnTo>
                      <a:pt x="191" y="512"/>
                    </a:lnTo>
                    <a:lnTo>
                      <a:pt x="191" y="510"/>
                    </a:lnTo>
                    <a:lnTo>
                      <a:pt x="190" y="510"/>
                    </a:lnTo>
                    <a:lnTo>
                      <a:pt x="189" y="509"/>
                    </a:lnTo>
                    <a:lnTo>
                      <a:pt x="188" y="509"/>
                    </a:lnTo>
                    <a:lnTo>
                      <a:pt x="187" y="510"/>
                    </a:lnTo>
                    <a:lnTo>
                      <a:pt x="187" y="512"/>
                    </a:lnTo>
                    <a:lnTo>
                      <a:pt x="187" y="513"/>
                    </a:lnTo>
                    <a:lnTo>
                      <a:pt x="187" y="514"/>
                    </a:lnTo>
                    <a:lnTo>
                      <a:pt x="187" y="515"/>
                    </a:lnTo>
                    <a:lnTo>
                      <a:pt x="187" y="516"/>
                    </a:lnTo>
                    <a:lnTo>
                      <a:pt x="187" y="517"/>
                    </a:lnTo>
                    <a:lnTo>
                      <a:pt x="186" y="517"/>
                    </a:lnTo>
                    <a:lnTo>
                      <a:pt x="186" y="518"/>
                    </a:lnTo>
                    <a:lnTo>
                      <a:pt x="185" y="518"/>
                    </a:lnTo>
                    <a:lnTo>
                      <a:pt x="183" y="518"/>
                    </a:lnTo>
                    <a:lnTo>
                      <a:pt x="183" y="517"/>
                    </a:lnTo>
                    <a:lnTo>
                      <a:pt x="183" y="516"/>
                    </a:lnTo>
                    <a:lnTo>
                      <a:pt x="183" y="515"/>
                    </a:lnTo>
                    <a:lnTo>
                      <a:pt x="183" y="514"/>
                    </a:lnTo>
                    <a:lnTo>
                      <a:pt x="183" y="513"/>
                    </a:lnTo>
                    <a:lnTo>
                      <a:pt x="182" y="512"/>
                    </a:lnTo>
                    <a:lnTo>
                      <a:pt x="182" y="510"/>
                    </a:lnTo>
                    <a:lnTo>
                      <a:pt x="181" y="509"/>
                    </a:lnTo>
                    <a:lnTo>
                      <a:pt x="181" y="508"/>
                    </a:lnTo>
                    <a:lnTo>
                      <a:pt x="180" y="508"/>
                    </a:lnTo>
                    <a:lnTo>
                      <a:pt x="179" y="508"/>
                    </a:lnTo>
                    <a:lnTo>
                      <a:pt x="178" y="508"/>
                    </a:lnTo>
                    <a:lnTo>
                      <a:pt x="177" y="508"/>
                    </a:lnTo>
                    <a:lnTo>
                      <a:pt x="176" y="508"/>
                    </a:lnTo>
                    <a:lnTo>
                      <a:pt x="175" y="508"/>
                    </a:lnTo>
                    <a:lnTo>
                      <a:pt x="174" y="508"/>
                    </a:lnTo>
                    <a:lnTo>
                      <a:pt x="173" y="507"/>
                    </a:lnTo>
                    <a:lnTo>
                      <a:pt x="173" y="506"/>
                    </a:lnTo>
                    <a:lnTo>
                      <a:pt x="173" y="505"/>
                    </a:lnTo>
                    <a:lnTo>
                      <a:pt x="174" y="504"/>
                    </a:lnTo>
                    <a:lnTo>
                      <a:pt x="175" y="504"/>
                    </a:lnTo>
                    <a:lnTo>
                      <a:pt x="176" y="504"/>
                    </a:lnTo>
                    <a:lnTo>
                      <a:pt x="177" y="504"/>
                    </a:lnTo>
                    <a:lnTo>
                      <a:pt x="180" y="507"/>
                    </a:lnTo>
                    <a:lnTo>
                      <a:pt x="181" y="507"/>
                    </a:lnTo>
                    <a:lnTo>
                      <a:pt x="182" y="507"/>
                    </a:lnTo>
                    <a:lnTo>
                      <a:pt x="183" y="507"/>
                    </a:lnTo>
                    <a:lnTo>
                      <a:pt x="183" y="506"/>
                    </a:lnTo>
                    <a:lnTo>
                      <a:pt x="185" y="505"/>
                    </a:lnTo>
                    <a:lnTo>
                      <a:pt x="185" y="504"/>
                    </a:lnTo>
                    <a:lnTo>
                      <a:pt x="185" y="503"/>
                    </a:lnTo>
                    <a:lnTo>
                      <a:pt x="183" y="503"/>
                    </a:lnTo>
                    <a:lnTo>
                      <a:pt x="182" y="503"/>
                    </a:lnTo>
                    <a:lnTo>
                      <a:pt x="181" y="503"/>
                    </a:lnTo>
                    <a:lnTo>
                      <a:pt x="180" y="502"/>
                    </a:lnTo>
                    <a:lnTo>
                      <a:pt x="179" y="502"/>
                    </a:lnTo>
                    <a:lnTo>
                      <a:pt x="179" y="501"/>
                    </a:lnTo>
                    <a:lnTo>
                      <a:pt x="178" y="501"/>
                    </a:lnTo>
                    <a:lnTo>
                      <a:pt x="178" y="500"/>
                    </a:lnTo>
                    <a:lnTo>
                      <a:pt x="178" y="499"/>
                    </a:lnTo>
                    <a:lnTo>
                      <a:pt x="178" y="497"/>
                    </a:lnTo>
                    <a:lnTo>
                      <a:pt x="177" y="497"/>
                    </a:lnTo>
                    <a:lnTo>
                      <a:pt x="177" y="496"/>
                    </a:lnTo>
                    <a:lnTo>
                      <a:pt x="177" y="495"/>
                    </a:lnTo>
                    <a:lnTo>
                      <a:pt x="178" y="494"/>
                    </a:lnTo>
                    <a:lnTo>
                      <a:pt x="178" y="493"/>
                    </a:lnTo>
                    <a:lnTo>
                      <a:pt x="178" y="491"/>
                    </a:lnTo>
                    <a:lnTo>
                      <a:pt x="178" y="490"/>
                    </a:lnTo>
                    <a:lnTo>
                      <a:pt x="177" y="490"/>
                    </a:lnTo>
                    <a:lnTo>
                      <a:pt x="176" y="490"/>
                    </a:lnTo>
                    <a:lnTo>
                      <a:pt x="175" y="491"/>
                    </a:lnTo>
                    <a:lnTo>
                      <a:pt x="174" y="491"/>
                    </a:lnTo>
                    <a:lnTo>
                      <a:pt x="174" y="492"/>
                    </a:lnTo>
                    <a:lnTo>
                      <a:pt x="174" y="494"/>
                    </a:lnTo>
                    <a:lnTo>
                      <a:pt x="174" y="496"/>
                    </a:lnTo>
                    <a:lnTo>
                      <a:pt x="174" y="497"/>
                    </a:lnTo>
                    <a:lnTo>
                      <a:pt x="174" y="499"/>
                    </a:lnTo>
                    <a:lnTo>
                      <a:pt x="174" y="500"/>
                    </a:lnTo>
                    <a:lnTo>
                      <a:pt x="173" y="500"/>
                    </a:lnTo>
                    <a:lnTo>
                      <a:pt x="172" y="501"/>
                    </a:lnTo>
                    <a:lnTo>
                      <a:pt x="170" y="501"/>
                    </a:lnTo>
                    <a:lnTo>
                      <a:pt x="169" y="501"/>
                    </a:lnTo>
                    <a:lnTo>
                      <a:pt x="168" y="501"/>
                    </a:lnTo>
                    <a:lnTo>
                      <a:pt x="166" y="502"/>
                    </a:lnTo>
                    <a:lnTo>
                      <a:pt x="166" y="503"/>
                    </a:lnTo>
                    <a:lnTo>
                      <a:pt x="165" y="503"/>
                    </a:lnTo>
                    <a:lnTo>
                      <a:pt x="164" y="503"/>
                    </a:lnTo>
                    <a:lnTo>
                      <a:pt x="163" y="503"/>
                    </a:lnTo>
                    <a:lnTo>
                      <a:pt x="162" y="503"/>
                    </a:lnTo>
                    <a:lnTo>
                      <a:pt x="162" y="502"/>
                    </a:lnTo>
                    <a:lnTo>
                      <a:pt x="161" y="502"/>
                    </a:lnTo>
                    <a:lnTo>
                      <a:pt x="161" y="501"/>
                    </a:lnTo>
                    <a:lnTo>
                      <a:pt x="161" y="500"/>
                    </a:lnTo>
                    <a:lnTo>
                      <a:pt x="163" y="499"/>
                    </a:lnTo>
                    <a:lnTo>
                      <a:pt x="163" y="497"/>
                    </a:lnTo>
                    <a:lnTo>
                      <a:pt x="164" y="497"/>
                    </a:lnTo>
                    <a:lnTo>
                      <a:pt x="166" y="496"/>
                    </a:lnTo>
                    <a:lnTo>
                      <a:pt x="167" y="495"/>
                    </a:lnTo>
                    <a:lnTo>
                      <a:pt x="167" y="494"/>
                    </a:lnTo>
                    <a:lnTo>
                      <a:pt x="167" y="493"/>
                    </a:lnTo>
                    <a:lnTo>
                      <a:pt x="166" y="493"/>
                    </a:lnTo>
                    <a:lnTo>
                      <a:pt x="165" y="493"/>
                    </a:lnTo>
                    <a:lnTo>
                      <a:pt x="165" y="494"/>
                    </a:lnTo>
                    <a:lnTo>
                      <a:pt x="163" y="495"/>
                    </a:lnTo>
                    <a:lnTo>
                      <a:pt x="162" y="496"/>
                    </a:lnTo>
                    <a:lnTo>
                      <a:pt x="161" y="497"/>
                    </a:lnTo>
                    <a:lnTo>
                      <a:pt x="160" y="497"/>
                    </a:lnTo>
                    <a:lnTo>
                      <a:pt x="160" y="496"/>
                    </a:lnTo>
                    <a:lnTo>
                      <a:pt x="160" y="495"/>
                    </a:lnTo>
                    <a:lnTo>
                      <a:pt x="161" y="494"/>
                    </a:lnTo>
                    <a:lnTo>
                      <a:pt x="162" y="493"/>
                    </a:lnTo>
                    <a:lnTo>
                      <a:pt x="162" y="492"/>
                    </a:lnTo>
                    <a:lnTo>
                      <a:pt x="162" y="491"/>
                    </a:lnTo>
                    <a:lnTo>
                      <a:pt x="162" y="490"/>
                    </a:lnTo>
                    <a:lnTo>
                      <a:pt x="161" y="489"/>
                    </a:lnTo>
                    <a:lnTo>
                      <a:pt x="160" y="488"/>
                    </a:lnTo>
                    <a:lnTo>
                      <a:pt x="159" y="488"/>
                    </a:lnTo>
                    <a:lnTo>
                      <a:pt x="157" y="488"/>
                    </a:lnTo>
                    <a:lnTo>
                      <a:pt x="156" y="488"/>
                    </a:lnTo>
                    <a:lnTo>
                      <a:pt x="155" y="488"/>
                    </a:lnTo>
                    <a:lnTo>
                      <a:pt x="154" y="488"/>
                    </a:lnTo>
                    <a:lnTo>
                      <a:pt x="153" y="488"/>
                    </a:lnTo>
                    <a:lnTo>
                      <a:pt x="151" y="488"/>
                    </a:lnTo>
                    <a:lnTo>
                      <a:pt x="150" y="488"/>
                    </a:lnTo>
                    <a:lnTo>
                      <a:pt x="149" y="488"/>
                    </a:lnTo>
                    <a:lnTo>
                      <a:pt x="148" y="488"/>
                    </a:lnTo>
                    <a:lnTo>
                      <a:pt x="147" y="487"/>
                    </a:lnTo>
                    <a:lnTo>
                      <a:pt x="146" y="488"/>
                    </a:lnTo>
                    <a:lnTo>
                      <a:pt x="144" y="488"/>
                    </a:lnTo>
                    <a:lnTo>
                      <a:pt x="141" y="488"/>
                    </a:lnTo>
                    <a:lnTo>
                      <a:pt x="139" y="488"/>
                    </a:lnTo>
                    <a:lnTo>
                      <a:pt x="138" y="487"/>
                    </a:lnTo>
                    <a:lnTo>
                      <a:pt x="138" y="486"/>
                    </a:lnTo>
                    <a:lnTo>
                      <a:pt x="138" y="484"/>
                    </a:lnTo>
                    <a:lnTo>
                      <a:pt x="137" y="484"/>
                    </a:lnTo>
                    <a:lnTo>
                      <a:pt x="137" y="483"/>
                    </a:lnTo>
                    <a:lnTo>
                      <a:pt x="138" y="483"/>
                    </a:lnTo>
                    <a:lnTo>
                      <a:pt x="138" y="482"/>
                    </a:lnTo>
                    <a:lnTo>
                      <a:pt x="139" y="482"/>
                    </a:lnTo>
                    <a:lnTo>
                      <a:pt x="139" y="483"/>
                    </a:lnTo>
                    <a:lnTo>
                      <a:pt x="141" y="483"/>
                    </a:lnTo>
                    <a:lnTo>
                      <a:pt x="142" y="482"/>
                    </a:lnTo>
                    <a:lnTo>
                      <a:pt x="142" y="481"/>
                    </a:lnTo>
                    <a:lnTo>
                      <a:pt x="142" y="480"/>
                    </a:lnTo>
                    <a:lnTo>
                      <a:pt x="142" y="479"/>
                    </a:lnTo>
                    <a:lnTo>
                      <a:pt x="143" y="478"/>
                    </a:lnTo>
                    <a:lnTo>
                      <a:pt x="143" y="477"/>
                    </a:lnTo>
                    <a:lnTo>
                      <a:pt x="144" y="477"/>
                    </a:lnTo>
                    <a:lnTo>
                      <a:pt x="144" y="474"/>
                    </a:lnTo>
                    <a:lnTo>
                      <a:pt x="146" y="473"/>
                    </a:lnTo>
                    <a:lnTo>
                      <a:pt x="146" y="471"/>
                    </a:lnTo>
                    <a:lnTo>
                      <a:pt x="147" y="471"/>
                    </a:lnTo>
                    <a:lnTo>
                      <a:pt x="148" y="470"/>
                    </a:lnTo>
                    <a:lnTo>
                      <a:pt x="149" y="468"/>
                    </a:lnTo>
                    <a:lnTo>
                      <a:pt x="149" y="467"/>
                    </a:lnTo>
                    <a:lnTo>
                      <a:pt x="149" y="466"/>
                    </a:lnTo>
                    <a:lnTo>
                      <a:pt x="148" y="465"/>
                    </a:lnTo>
                    <a:lnTo>
                      <a:pt x="147" y="465"/>
                    </a:lnTo>
                    <a:lnTo>
                      <a:pt x="147" y="466"/>
                    </a:lnTo>
                    <a:lnTo>
                      <a:pt x="146" y="466"/>
                    </a:lnTo>
                    <a:lnTo>
                      <a:pt x="144" y="467"/>
                    </a:lnTo>
                    <a:lnTo>
                      <a:pt x="143" y="468"/>
                    </a:lnTo>
                    <a:lnTo>
                      <a:pt x="143" y="469"/>
                    </a:lnTo>
                    <a:lnTo>
                      <a:pt x="142" y="469"/>
                    </a:lnTo>
                    <a:lnTo>
                      <a:pt x="142" y="470"/>
                    </a:lnTo>
                    <a:lnTo>
                      <a:pt x="142" y="471"/>
                    </a:lnTo>
                    <a:lnTo>
                      <a:pt x="142" y="473"/>
                    </a:lnTo>
                    <a:lnTo>
                      <a:pt x="141" y="475"/>
                    </a:lnTo>
                    <a:lnTo>
                      <a:pt x="141" y="476"/>
                    </a:lnTo>
                    <a:lnTo>
                      <a:pt x="140" y="477"/>
                    </a:lnTo>
                    <a:lnTo>
                      <a:pt x="139" y="477"/>
                    </a:lnTo>
                    <a:lnTo>
                      <a:pt x="138" y="478"/>
                    </a:lnTo>
                    <a:lnTo>
                      <a:pt x="137" y="478"/>
                    </a:lnTo>
                    <a:lnTo>
                      <a:pt x="136" y="478"/>
                    </a:lnTo>
                    <a:lnTo>
                      <a:pt x="135" y="478"/>
                    </a:lnTo>
                    <a:lnTo>
                      <a:pt x="135" y="477"/>
                    </a:lnTo>
                    <a:lnTo>
                      <a:pt x="134" y="476"/>
                    </a:lnTo>
                    <a:lnTo>
                      <a:pt x="134" y="475"/>
                    </a:lnTo>
                    <a:lnTo>
                      <a:pt x="133" y="474"/>
                    </a:lnTo>
                    <a:lnTo>
                      <a:pt x="133" y="473"/>
                    </a:lnTo>
                    <a:lnTo>
                      <a:pt x="133" y="471"/>
                    </a:lnTo>
                    <a:lnTo>
                      <a:pt x="133" y="470"/>
                    </a:lnTo>
                    <a:lnTo>
                      <a:pt x="131" y="468"/>
                    </a:lnTo>
                    <a:lnTo>
                      <a:pt x="131" y="465"/>
                    </a:lnTo>
                    <a:lnTo>
                      <a:pt x="131" y="462"/>
                    </a:lnTo>
                    <a:lnTo>
                      <a:pt x="131" y="461"/>
                    </a:lnTo>
                    <a:lnTo>
                      <a:pt x="133" y="460"/>
                    </a:lnTo>
                    <a:lnTo>
                      <a:pt x="133" y="458"/>
                    </a:lnTo>
                    <a:lnTo>
                      <a:pt x="134" y="457"/>
                    </a:lnTo>
                    <a:lnTo>
                      <a:pt x="135" y="456"/>
                    </a:lnTo>
                    <a:lnTo>
                      <a:pt x="135" y="455"/>
                    </a:lnTo>
                    <a:lnTo>
                      <a:pt x="136" y="454"/>
                    </a:lnTo>
                    <a:lnTo>
                      <a:pt x="136" y="453"/>
                    </a:lnTo>
                    <a:lnTo>
                      <a:pt x="136" y="452"/>
                    </a:lnTo>
                    <a:lnTo>
                      <a:pt x="135" y="451"/>
                    </a:lnTo>
                    <a:lnTo>
                      <a:pt x="134" y="451"/>
                    </a:lnTo>
                    <a:lnTo>
                      <a:pt x="133" y="451"/>
                    </a:lnTo>
                    <a:lnTo>
                      <a:pt x="131" y="451"/>
                    </a:lnTo>
                    <a:lnTo>
                      <a:pt x="130" y="452"/>
                    </a:lnTo>
                    <a:lnTo>
                      <a:pt x="130" y="454"/>
                    </a:lnTo>
                    <a:lnTo>
                      <a:pt x="130" y="455"/>
                    </a:lnTo>
                    <a:lnTo>
                      <a:pt x="129" y="455"/>
                    </a:lnTo>
                    <a:lnTo>
                      <a:pt x="128" y="456"/>
                    </a:lnTo>
                    <a:lnTo>
                      <a:pt x="128" y="457"/>
                    </a:lnTo>
                    <a:lnTo>
                      <a:pt x="127" y="458"/>
                    </a:lnTo>
                    <a:lnTo>
                      <a:pt x="127" y="460"/>
                    </a:lnTo>
                    <a:lnTo>
                      <a:pt x="125" y="463"/>
                    </a:lnTo>
                    <a:lnTo>
                      <a:pt x="124" y="464"/>
                    </a:lnTo>
                    <a:lnTo>
                      <a:pt x="123" y="465"/>
                    </a:lnTo>
                    <a:lnTo>
                      <a:pt x="122" y="466"/>
                    </a:lnTo>
                    <a:lnTo>
                      <a:pt x="121" y="467"/>
                    </a:lnTo>
                    <a:lnTo>
                      <a:pt x="121" y="466"/>
                    </a:lnTo>
                    <a:lnTo>
                      <a:pt x="120" y="466"/>
                    </a:lnTo>
                    <a:lnTo>
                      <a:pt x="120" y="465"/>
                    </a:lnTo>
                    <a:lnTo>
                      <a:pt x="121" y="465"/>
                    </a:lnTo>
                    <a:lnTo>
                      <a:pt x="121" y="464"/>
                    </a:lnTo>
                    <a:lnTo>
                      <a:pt x="121" y="463"/>
                    </a:lnTo>
                    <a:lnTo>
                      <a:pt x="121" y="461"/>
                    </a:lnTo>
                    <a:lnTo>
                      <a:pt x="121" y="460"/>
                    </a:lnTo>
                    <a:lnTo>
                      <a:pt x="122" y="458"/>
                    </a:lnTo>
                    <a:lnTo>
                      <a:pt x="123" y="457"/>
                    </a:lnTo>
                    <a:lnTo>
                      <a:pt x="124" y="456"/>
                    </a:lnTo>
                    <a:lnTo>
                      <a:pt x="125" y="456"/>
                    </a:lnTo>
                    <a:lnTo>
                      <a:pt x="126" y="456"/>
                    </a:lnTo>
                    <a:lnTo>
                      <a:pt x="127" y="455"/>
                    </a:lnTo>
                    <a:lnTo>
                      <a:pt x="128" y="455"/>
                    </a:lnTo>
                    <a:lnTo>
                      <a:pt x="129" y="454"/>
                    </a:lnTo>
                    <a:lnTo>
                      <a:pt x="129" y="453"/>
                    </a:lnTo>
                    <a:lnTo>
                      <a:pt x="128" y="453"/>
                    </a:lnTo>
                    <a:lnTo>
                      <a:pt x="126" y="453"/>
                    </a:lnTo>
                    <a:lnTo>
                      <a:pt x="124" y="452"/>
                    </a:lnTo>
                    <a:lnTo>
                      <a:pt x="124" y="451"/>
                    </a:lnTo>
                    <a:lnTo>
                      <a:pt x="123" y="450"/>
                    </a:lnTo>
                    <a:lnTo>
                      <a:pt x="122" y="449"/>
                    </a:lnTo>
                    <a:lnTo>
                      <a:pt x="121" y="448"/>
                    </a:lnTo>
                    <a:lnTo>
                      <a:pt x="120" y="448"/>
                    </a:lnTo>
                    <a:lnTo>
                      <a:pt x="118" y="447"/>
                    </a:lnTo>
                    <a:lnTo>
                      <a:pt x="117" y="447"/>
                    </a:lnTo>
                    <a:lnTo>
                      <a:pt x="116" y="447"/>
                    </a:lnTo>
                    <a:lnTo>
                      <a:pt x="115" y="447"/>
                    </a:lnTo>
                    <a:lnTo>
                      <a:pt x="112" y="445"/>
                    </a:lnTo>
                    <a:lnTo>
                      <a:pt x="112" y="447"/>
                    </a:lnTo>
                    <a:lnTo>
                      <a:pt x="111" y="447"/>
                    </a:lnTo>
                    <a:lnTo>
                      <a:pt x="110" y="447"/>
                    </a:lnTo>
                    <a:lnTo>
                      <a:pt x="110" y="448"/>
                    </a:lnTo>
                    <a:lnTo>
                      <a:pt x="109" y="448"/>
                    </a:lnTo>
                    <a:lnTo>
                      <a:pt x="109" y="449"/>
                    </a:lnTo>
                    <a:lnTo>
                      <a:pt x="109" y="450"/>
                    </a:lnTo>
                    <a:lnTo>
                      <a:pt x="109" y="451"/>
                    </a:lnTo>
                    <a:lnTo>
                      <a:pt x="110" y="452"/>
                    </a:lnTo>
                    <a:lnTo>
                      <a:pt x="111" y="453"/>
                    </a:lnTo>
                    <a:lnTo>
                      <a:pt x="112" y="454"/>
                    </a:lnTo>
                    <a:lnTo>
                      <a:pt x="113" y="455"/>
                    </a:lnTo>
                    <a:lnTo>
                      <a:pt x="113" y="456"/>
                    </a:lnTo>
                    <a:lnTo>
                      <a:pt x="113" y="457"/>
                    </a:lnTo>
                    <a:lnTo>
                      <a:pt x="113" y="458"/>
                    </a:lnTo>
                    <a:lnTo>
                      <a:pt x="113" y="460"/>
                    </a:lnTo>
                    <a:lnTo>
                      <a:pt x="112" y="460"/>
                    </a:lnTo>
                    <a:lnTo>
                      <a:pt x="111" y="460"/>
                    </a:lnTo>
                    <a:lnTo>
                      <a:pt x="109" y="460"/>
                    </a:lnTo>
                    <a:lnTo>
                      <a:pt x="108" y="458"/>
                    </a:lnTo>
                    <a:lnTo>
                      <a:pt x="107" y="458"/>
                    </a:lnTo>
                    <a:lnTo>
                      <a:pt x="105" y="458"/>
                    </a:lnTo>
                    <a:lnTo>
                      <a:pt x="104" y="457"/>
                    </a:lnTo>
                    <a:lnTo>
                      <a:pt x="102" y="457"/>
                    </a:lnTo>
                    <a:lnTo>
                      <a:pt x="101" y="456"/>
                    </a:lnTo>
                    <a:lnTo>
                      <a:pt x="100" y="455"/>
                    </a:lnTo>
                    <a:lnTo>
                      <a:pt x="99" y="454"/>
                    </a:lnTo>
                    <a:lnTo>
                      <a:pt x="98" y="452"/>
                    </a:lnTo>
                    <a:lnTo>
                      <a:pt x="97" y="450"/>
                    </a:lnTo>
                    <a:lnTo>
                      <a:pt x="97" y="448"/>
                    </a:lnTo>
                    <a:lnTo>
                      <a:pt x="98" y="445"/>
                    </a:lnTo>
                    <a:lnTo>
                      <a:pt x="99" y="444"/>
                    </a:lnTo>
                    <a:lnTo>
                      <a:pt x="100" y="442"/>
                    </a:lnTo>
                    <a:lnTo>
                      <a:pt x="102" y="441"/>
                    </a:lnTo>
                    <a:lnTo>
                      <a:pt x="104" y="441"/>
                    </a:lnTo>
                    <a:lnTo>
                      <a:pt x="105" y="441"/>
                    </a:lnTo>
                    <a:lnTo>
                      <a:pt x="107" y="441"/>
                    </a:lnTo>
                    <a:lnTo>
                      <a:pt x="108" y="440"/>
                    </a:lnTo>
                    <a:lnTo>
                      <a:pt x="110" y="440"/>
                    </a:lnTo>
                    <a:lnTo>
                      <a:pt x="111" y="440"/>
                    </a:lnTo>
                    <a:lnTo>
                      <a:pt x="113" y="440"/>
                    </a:lnTo>
                    <a:lnTo>
                      <a:pt x="114" y="440"/>
                    </a:lnTo>
                    <a:lnTo>
                      <a:pt x="114" y="439"/>
                    </a:lnTo>
                    <a:lnTo>
                      <a:pt x="113" y="438"/>
                    </a:lnTo>
                    <a:lnTo>
                      <a:pt x="112" y="438"/>
                    </a:lnTo>
                    <a:lnTo>
                      <a:pt x="111" y="438"/>
                    </a:lnTo>
                    <a:lnTo>
                      <a:pt x="110" y="438"/>
                    </a:lnTo>
                    <a:lnTo>
                      <a:pt x="108" y="439"/>
                    </a:lnTo>
                    <a:lnTo>
                      <a:pt x="105" y="439"/>
                    </a:lnTo>
                    <a:lnTo>
                      <a:pt x="104" y="438"/>
                    </a:lnTo>
                    <a:lnTo>
                      <a:pt x="103" y="438"/>
                    </a:lnTo>
                    <a:lnTo>
                      <a:pt x="100" y="438"/>
                    </a:lnTo>
                    <a:lnTo>
                      <a:pt x="99" y="438"/>
                    </a:lnTo>
                    <a:lnTo>
                      <a:pt x="98" y="437"/>
                    </a:lnTo>
                    <a:lnTo>
                      <a:pt x="97" y="436"/>
                    </a:lnTo>
                    <a:lnTo>
                      <a:pt x="96" y="436"/>
                    </a:lnTo>
                    <a:lnTo>
                      <a:pt x="95" y="435"/>
                    </a:lnTo>
                    <a:lnTo>
                      <a:pt x="95" y="433"/>
                    </a:lnTo>
                    <a:lnTo>
                      <a:pt x="96" y="433"/>
                    </a:lnTo>
                    <a:lnTo>
                      <a:pt x="98" y="432"/>
                    </a:lnTo>
                    <a:lnTo>
                      <a:pt x="99" y="431"/>
                    </a:lnTo>
                    <a:lnTo>
                      <a:pt x="100" y="431"/>
                    </a:lnTo>
                    <a:lnTo>
                      <a:pt x="100" y="430"/>
                    </a:lnTo>
                    <a:lnTo>
                      <a:pt x="100" y="429"/>
                    </a:lnTo>
                    <a:lnTo>
                      <a:pt x="101" y="428"/>
                    </a:lnTo>
                    <a:lnTo>
                      <a:pt x="102" y="426"/>
                    </a:lnTo>
                    <a:lnTo>
                      <a:pt x="103" y="427"/>
                    </a:lnTo>
                    <a:lnTo>
                      <a:pt x="104" y="427"/>
                    </a:lnTo>
                    <a:lnTo>
                      <a:pt x="105" y="428"/>
                    </a:lnTo>
                    <a:lnTo>
                      <a:pt x="104" y="430"/>
                    </a:lnTo>
                    <a:lnTo>
                      <a:pt x="104" y="432"/>
                    </a:lnTo>
                    <a:lnTo>
                      <a:pt x="104" y="433"/>
                    </a:lnTo>
                    <a:lnTo>
                      <a:pt x="104" y="435"/>
                    </a:lnTo>
                    <a:lnTo>
                      <a:pt x="105" y="435"/>
                    </a:lnTo>
                    <a:lnTo>
                      <a:pt x="105" y="436"/>
                    </a:lnTo>
                    <a:lnTo>
                      <a:pt x="108" y="435"/>
                    </a:lnTo>
                    <a:lnTo>
                      <a:pt x="110" y="435"/>
                    </a:lnTo>
                    <a:lnTo>
                      <a:pt x="111" y="433"/>
                    </a:lnTo>
                    <a:lnTo>
                      <a:pt x="112" y="432"/>
                    </a:lnTo>
                    <a:lnTo>
                      <a:pt x="113" y="431"/>
                    </a:lnTo>
                    <a:lnTo>
                      <a:pt x="113" y="430"/>
                    </a:lnTo>
                    <a:lnTo>
                      <a:pt x="113" y="429"/>
                    </a:lnTo>
                    <a:lnTo>
                      <a:pt x="112" y="428"/>
                    </a:lnTo>
                    <a:lnTo>
                      <a:pt x="109" y="427"/>
                    </a:lnTo>
                    <a:lnTo>
                      <a:pt x="108" y="426"/>
                    </a:lnTo>
                    <a:lnTo>
                      <a:pt x="107" y="424"/>
                    </a:lnTo>
                    <a:lnTo>
                      <a:pt x="107" y="423"/>
                    </a:lnTo>
                    <a:lnTo>
                      <a:pt x="105" y="422"/>
                    </a:lnTo>
                    <a:lnTo>
                      <a:pt x="105" y="420"/>
                    </a:lnTo>
                    <a:lnTo>
                      <a:pt x="104" y="420"/>
                    </a:lnTo>
                    <a:lnTo>
                      <a:pt x="102" y="420"/>
                    </a:lnTo>
                    <a:lnTo>
                      <a:pt x="101" y="419"/>
                    </a:lnTo>
                    <a:lnTo>
                      <a:pt x="100" y="419"/>
                    </a:lnTo>
                    <a:lnTo>
                      <a:pt x="99" y="419"/>
                    </a:lnTo>
                    <a:lnTo>
                      <a:pt x="98" y="419"/>
                    </a:lnTo>
                    <a:lnTo>
                      <a:pt x="97" y="418"/>
                    </a:lnTo>
                    <a:lnTo>
                      <a:pt x="95" y="415"/>
                    </a:lnTo>
                    <a:lnTo>
                      <a:pt x="95" y="413"/>
                    </a:lnTo>
                    <a:lnTo>
                      <a:pt x="97" y="412"/>
                    </a:lnTo>
                    <a:lnTo>
                      <a:pt x="100" y="407"/>
                    </a:lnTo>
                    <a:lnTo>
                      <a:pt x="100" y="406"/>
                    </a:lnTo>
                    <a:lnTo>
                      <a:pt x="102" y="405"/>
                    </a:lnTo>
                    <a:lnTo>
                      <a:pt x="100" y="403"/>
                    </a:lnTo>
                    <a:lnTo>
                      <a:pt x="99" y="403"/>
                    </a:lnTo>
                    <a:lnTo>
                      <a:pt x="97" y="404"/>
                    </a:lnTo>
                    <a:lnTo>
                      <a:pt x="96" y="404"/>
                    </a:lnTo>
                    <a:lnTo>
                      <a:pt x="96" y="403"/>
                    </a:lnTo>
                    <a:lnTo>
                      <a:pt x="96" y="402"/>
                    </a:lnTo>
                    <a:lnTo>
                      <a:pt x="96" y="401"/>
                    </a:lnTo>
                    <a:lnTo>
                      <a:pt x="96" y="400"/>
                    </a:lnTo>
                    <a:lnTo>
                      <a:pt x="96" y="399"/>
                    </a:lnTo>
                    <a:lnTo>
                      <a:pt x="95" y="398"/>
                    </a:lnTo>
                    <a:lnTo>
                      <a:pt x="92" y="397"/>
                    </a:lnTo>
                    <a:lnTo>
                      <a:pt x="91" y="396"/>
                    </a:lnTo>
                    <a:lnTo>
                      <a:pt x="90" y="394"/>
                    </a:lnTo>
                    <a:lnTo>
                      <a:pt x="89" y="393"/>
                    </a:lnTo>
                    <a:lnTo>
                      <a:pt x="89" y="392"/>
                    </a:lnTo>
                    <a:lnTo>
                      <a:pt x="89" y="391"/>
                    </a:lnTo>
                    <a:lnTo>
                      <a:pt x="90" y="389"/>
                    </a:lnTo>
                    <a:lnTo>
                      <a:pt x="91" y="389"/>
                    </a:lnTo>
                    <a:lnTo>
                      <a:pt x="91" y="387"/>
                    </a:lnTo>
                    <a:lnTo>
                      <a:pt x="91" y="386"/>
                    </a:lnTo>
                    <a:lnTo>
                      <a:pt x="91" y="385"/>
                    </a:lnTo>
                    <a:lnTo>
                      <a:pt x="91" y="384"/>
                    </a:lnTo>
                    <a:lnTo>
                      <a:pt x="91" y="383"/>
                    </a:lnTo>
                    <a:lnTo>
                      <a:pt x="91" y="380"/>
                    </a:lnTo>
                    <a:lnTo>
                      <a:pt x="90" y="379"/>
                    </a:lnTo>
                    <a:lnTo>
                      <a:pt x="89" y="380"/>
                    </a:lnTo>
                    <a:lnTo>
                      <a:pt x="88" y="381"/>
                    </a:lnTo>
                    <a:lnTo>
                      <a:pt x="86" y="383"/>
                    </a:lnTo>
                    <a:lnTo>
                      <a:pt x="83" y="386"/>
                    </a:lnTo>
                    <a:lnTo>
                      <a:pt x="82" y="386"/>
                    </a:lnTo>
                    <a:lnTo>
                      <a:pt x="82" y="387"/>
                    </a:lnTo>
                    <a:lnTo>
                      <a:pt x="81" y="387"/>
                    </a:lnTo>
                    <a:lnTo>
                      <a:pt x="79" y="387"/>
                    </a:lnTo>
                    <a:lnTo>
                      <a:pt x="78" y="387"/>
                    </a:lnTo>
                    <a:lnTo>
                      <a:pt x="78" y="386"/>
                    </a:lnTo>
                    <a:lnTo>
                      <a:pt x="78" y="384"/>
                    </a:lnTo>
                    <a:lnTo>
                      <a:pt x="81" y="383"/>
                    </a:lnTo>
                    <a:lnTo>
                      <a:pt x="82" y="383"/>
                    </a:lnTo>
                    <a:lnTo>
                      <a:pt x="83" y="381"/>
                    </a:lnTo>
                    <a:lnTo>
                      <a:pt x="84" y="381"/>
                    </a:lnTo>
                    <a:lnTo>
                      <a:pt x="86" y="380"/>
                    </a:lnTo>
                    <a:lnTo>
                      <a:pt x="87" y="380"/>
                    </a:lnTo>
                    <a:lnTo>
                      <a:pt x="87" y="379"/>
                    </a:lnTo>
                    <a:lnTo>
                      <a:pt x="86" y="379"/>
                    </a:lnTo>
                    <a:lnTo>
                      <a:pt x="85" y="378"/>
                    </a:lnTo>
                    <a:lnTo>
                      <a:pt x="85" y="377"/>
                    </a:lnTo>
                    <a:lnTo>
                      <a:pt x="81" y="375"/>
                    </a:lnTo>
                    <a:lnTo>
                      <a:pt x="81" y="374"/>
                    </a:lnTo>
                    <a:lnTo>
                      <a:pt x="76" y="372"/>
                    </a:lnTo>
                    <a:lnTo>
                      <a:pt x="74" y="372"/>
                    </a:lnTo>
                    <a:lnTo>
                      <a:pt x="73" y="371"/>
                    </a:lnTo>
                    <a:lnTo>
                      <a:pt x="70" y="370"/>
                    </a:lnTo>
                    <a:lnTo>
                      <a:pt x="67" y="368"/>
                    </a:lnTo>
                    <a:lnTo>
                      <a:pt x="66" y="368"/>
                    </a:lnTo>
                    <a:lnTo>
                      <a:pt x="65" y="367"/>
                    </a:lnTo>
                    <a:lnTo>
                      <a:pt x="64" y="367"/>
                    </a:lnTo>
                    <a:lnTo>
                      <a:pt x="63" y="367"/>
                    </a:lnTo>
                    <a:lnTo>
                      <a:pt x="62" y="367"/>
                    </a:lnTo>
                    <a:lnTo>
                      <a:pt x="62" y="366"/>
                    </a:lnTo>
                    <a:lnTo>
                      <a:pt x="62" y="364"/>
                    </a:lnTo>
                    <a:lnTo>
                      <a:pt x="62" y="363"/>
                    </a:lnTo>
                    <a:lnTo>
                      <a:pt x="63" y="357"/>
                    </a:lnTo>
                    <a:lnTo>
                      <a:pt x="62" y="355"/>
                    </a:lnTo>
                    <a:lnTo>
                      <a:pt x="62" y="354"/>
                    </a:lnTo>
                    <a:lnTo>
                      <a:pt x="61" y="354"/>
                    </a:lnTo>
                    <a:lnTo>
                      <a:pt x="61" y="353"/>
                    </a:lnTo>
                    <a:lnTo>
                      <a:pt x="60" y="353"/>
                    </a:lnTo>
                    <a:lnTo>
                      <a:pt x="60" y="354"/>
                    </a:lnTo>
                    <a:lnTo>
                      <a:pt x="59" y="354"/>
                    </a:lnTo>
                    <a:lnTo>
                      <a:pt x="59" y="355"/>
                    </a:lnTo>
                    <a:lnTo>
                      <a:pt x="58" y="357"/>
                    </a:lnTo>
                    <a:lnTo>
                      <a:pt x="58" y="358"/>
                    </a:lnTo>
                    <a:lnTo>
                      <a:pt x="57" y="357"/>
                    </a:lnTo>
                    <a:lnTo>
                      <a:pt x="56" y="355"/>
                    </a:lnTo>
                    <a:lnTo>
                      <a:pt x="54" y="355"/>
                    </a:lnTo>
                    <a:lnTo>
                      <a:pt x="53" y="354"/>
                    </a:lnTo>
                    <a:lnTo>
                      <a:pt x="51" y="353"/>
                    </a:lnTo>
                    <a:lnTo>
                      <a:pt x="50" y="352"/>
                    </a:lnTo>
                    <a:lnTo>
                      <a:pt x="48" y="350"/>
                    </a:lnTo>
                    <a:lnTo>
                      <a:pt x="48" y="348"/>
                    </a:lnTo>
                    <a:lnTo>
                      <a:pt x="49" y="348"/>
                    </a:lnTo>
                    <a:lnTo>
                      <a:pt x="50" y="348"/>
                    </a:lnTo>
                    <a:lnTo>
                      <a:pt x="51" y="348"/>
                    </a:lnTo>
                    <a:lnTo>
                      <a:pt x="52" y="349"/>
                    </a:lnTo>
                    <a:lnTo>
                      <a:pt x="53" y="350"/>
                    </a:lnTo>
                    <a:lnTo>
                      <a:pt x="54" y="351"/>
                    </a:lnTo>
                    <a:lnTo>
                      <a:pt x="56" y="351"/>
                    </a:lnTo>
                    <a:lnTo>
                      <a:pt x="56" y="350"/>
                    </a:lnTo>
                    <a:lnTo>
                      <a:pt x="57" y="349"/>
                    </a:lnTo>
                    <a:lnTo>
                      <a:pt x="58" y="349"/>
                    </a:lnTo>
                    <a:lnTo>
                      <a:pt x="58" y="348"/>
                    </a:lnTo>
                    <a:lnTo>
                      <a:pt x="59" y="347"/>
                    </a:lnTo>
                    <a:lnTo>
                      <a:pt x="59" y="346"/>
                    </a:lnTo>
                    <a:lnTo>
                      <a:pt x="60" y="343"/>
                    </a:lnTo>
                    <a:lnTo>
                      <a:pt x="62" y="345"/>
                    </a:lnTo>
                    <a:lnTo>
                      <a:pt x="63" y="345"/>
                    </a:lnTo>
                    <a:lnTo>
                      <a:pt x="64" y="345"/>
                    </a:lnTo>
                    <a:lnTo>
                      <a:pt x="64" y="346"/>
                    </a:lnTo>
                    <a:lnTo>
                      <a:pt x="65" y="347"/>
                    </a:lnTo>
                    <a:lnTo>
                      <a:pt x="65" y="350"/>
                    </a:lnTo>
                    <a:lnTo>
                      <a:pt x="65" y="351"/>
                    </a:lnTo>
                    <a:lnTo>
                      <a:pt x="65" y="352"/>
                    </a:lnTo>
                    <a:lnTo>
                      <a:pt x="66" y="353"/>
                    </a:lnTo>
                    <a:lnTo>
                      <a:pt x="66" y="354"/>
                    </a:lnTo>
                    <a:lnTo>
                      <a:pt x="67" y="354"/>
                    </a:lnTo>
                    <a:lnTo>
                      <a:pt x="70" y="354"/>
                    </a:lnTo>
                    <a:lnTo>
                      <a:pt x="72" y="353"/>
                    </a:lnTo>
                    <a:lnTo>
                      <a:pt x="72" y="352"/>
                    </a:lnTo>
                    <a:lnTo>
                      <a:pt x="71" y="351"/>
                    </a:lnTo>
                    <a:lnTo>
                      <a:pt x="70" y="350"/>
                    </a:lnTo>
                    <a:lnTo>
                      <a:pt x="69" y="348"/>
                    </a:lnTo>
                    <a:lnTo>
                      <a:pt x="67" y="345"/>
                    </a:lnTo>
                    <a:lnTo>
                      <a:pt x="66" y="342"/>
                    </a:lnTo>
                    <a:lnTo>
                      <a:pt x="65" y="341"/>
                    </a:lnTo>
                    <a:lnTo>
                      <a:pt x="65" y="340"/>
                    </a:lnTo>
                    <a:lnTo>
                      <a:pt x="65" y="339"/>
                    </a:lnTo>
                    <a:lnTo>
                      <a:pt x="65" y="338"/>
                    </a:lnTo>
                    <a:lnTo>
                      <a:pt x="64" y="337"/>
                    </a:lnTo>
                    <a:lnTo>
                      <a:pt x="63" y="335"/>
                    </a:lnTo>
                    <a:lnTo>
                      <a:pt x="62" y="335"/>
                    </a:lnTo>
                    <a:lnTo>
                      <a:pt x="61" y="336"/>
                    </a:lnTo>
                    <a:lnTo>
                      <a:pt x="60" y="336"/>
                    </a:lnTo>
                    <a:lnTo>
                      <a:pt x="59" y="337"/>
                    </a:lnTo>
                    <a:lnTo>
                      <a:pt x="58" y="337"/>
                    </a:lnTo>
                    <a:lnTo>
                      <a:pt x="57" y="337"/>
                    </a:lnTo>
                    <a:lnTo>
                      <a:pt x="57" y="336"/>
                    </a:lnTo>
                    <a:lnTo>
                      <a:pt x="57" y="335"/>
                    </a:lnTo>
                    <a:lnTo>
                      <a:pt x="57" y="333"/>
                    </a:lnTo>
                    <a:lnTo>
                      <a:pt x="57" y="332"/>
                    </a:lnTo>
                    <a:lnTo>
                      <a:pt x="57" y="330"/>
                    </a:lnTo>
                    <a:lnTo>
                      <a:pt x="58" y="330"/>
                    </a:lnTo>
                    <a:lnTo>
                      <a:pt x="60" y="329"/>
                    </a:lnTo>
                    <a:lnTo>
                      <a:pt x="61" y="328"/>
                    </a:lnTo>
                    <a:lnTo>
                      <a:pt x="62" y="328"/>
                    </a:lnTo>
                    <a:lnTo>
                      <a:pt x="63" y="327"/>
                    </a:lnTo>
                    <a:lnTo>
                      <a:pt x="64" y="326"/>
                    </a:lnTo>
                    <a:lnTo>
                      <a:pt x="64" y="325"/>
                    </a:lnTo>
                    <a:lnTo>
                      <a:pt x="66" y="322"/>
                    </a:lnTo>
                    <a:lnTo>
                      <a:pt x="67" y="320"/>
                    </a:lnTo>
                    <a:lnTo>
                      <a:pt x="67" y="317"/>
                    </a:lnTo>
                    <a:lnTo>
                      <a:pt x="67" y="315"/>
                    </a:lnTo>
                    <a:lnTo>
                      <a:pt x="67" y="314"/>
                    </a:lnTo>
                    <a:lnTo>
                      <a:pt x="66" y="313"/>
                    </a:lnTo>
                    <a:lnTo>
                      <a:pt x="65" y="312"/>
                    </a:lnTo>
                    <a:lnTo>
                      <a:pt x="64" y="312"/>
                    </a:lnTo>
                    <a:lnTo>
                      <a:pt x="63" y="311"/>
                    </a:lnTo>
                    <a:lnTo>
                      <a:pt x="62" y="311"/>
                    </a:lnTo>
                    <a:lnTo>
                      <a:pt x="61" y="311"/>
                    </a:lnTo>
                    <a:lnTo>
                      <a:pt x="60" y="311"/>
                    </a:lnTo>
                    <a:lnTo>
                      <a:pt x="59" y="312"/>
                    </a:lnTo>
                    <a:lnTo>
                      <a:pt x="58" y="312"/>
                    </a:lnTo>
                    <a:lnTo>
                      <a:pt x="58" y="313"/>
                    </a:lnTo>
                    <a:lnTo>
                      <a:pt x="57" y="313"/>
                    </a:lnTo>
                    <a:lnTo>
                      <a:pt x="57" y="314"/>
                    </a:lnTo>
                    <a:lnTo>
                      <a:pt x="56" y="314"/>
                    </a:lnTo>
                    <a:lnTo>
                      <a:pt x="54" y="314"/>
                    </a:lnTo>
                    <a:lnTo>
                      <a:pt x="52" y="313"/>
                    </a:lnTo>
                    <a:lnTo>
                      <a:pt x="50" y="313"/>
                    </a:lnTo>
                    <a:lnTo>
                      <a:pt x="48" y="312"/>
                    </a:lnTo>
                    <a:lnTo>
                      <a:pt x="47" y="311"/>
                    </a:lnTo>
                    <a:lnTo>
                      <a:pt x="47" y="310"/>
                    </a:lnTo>
                    <a:lnTo>
                      <a:pt x="47" y="309"/>
                    </a:lnTo>
                    <a:lnTo>
                      <a:pt x="49" y="308"/>
                    </a:lnTo>
                    <a:lnTo>
                      <a:pt x="50" y="308"/>
                    </a:lnTo>
                    <a:lnTo>
                      <a:pt x="52" y="308"/>
                    </a:lnTo>
                    <a:lnTo>
                      <a:pt x="53" y="308"/>
                    </a:lnTo>
                    <a:lnTo>
                      <a:pt x="54" y="307"/>
                    </a:lnTo>
                    <a:lnTo>
                      <a:pt x="57" y="306"/>
                    </a:lnTo>
                    <a:lnTo>
                      <a:pt x="61" y="308"/>
                    </a:lnTo>
                    <a:lnTo>
                      <a:pt x="61" y="309"/>
                    </a:lnTo>
                    <a:lnTo>
                      <a:pt x="62" y="309"/>
                    </a:lnTo>
                    <a:lnTo>
                      <a:pt x="64" y="308"/>
                    </a:lnTo>
                    <a:lnTo>
                      <a:pt x="65" y="308"/>
                    </a:lnTo>
                    <a:lnTo>
                      <a:pt x="65" y="307"/>
                    </a:lnTo>
                    <a:lnTo>
                      <a:pt x="65" y="306"/>
                    </a:lnTo>
                    <a:lnTo>
                      <a:pt x="64" y="304"/>
                    </a:lnTo>
                    <a:lnTo>
                      <a:pt x="63" y="303"/>
                    </a:lnTo>
                    <a:lnTo>
                      <a:pt x="62" y="303"/>
                    </a:lnTo>
                    <a:lnTo>
                      <a:pt x="61" y="302"/>
                    </a:lnTo>
                    <a:lnTo>
                      <a:pt x="57" y="302"/>
                    </a:lnTo>
                    <a:lnTo>
                      <a:pt x="54" y="302"/>
                    </a:lnTo>
                    <a:lnTo>
                      <a:pt x="53" y="301"/>
                    </a:lnTo>
                    <a:lnTo>
                      <a:pt x="53" y="300"/>
                    </a:lnTo>
                    <a:lnTo>
                      <a:pt x="53" y="299"/>
                    </a:lnTo>
                    <a:lnTo>
                      <a:pt x="56" y="296"/>
                    </a:lnTo>
                    <a:lnTo>
                      <a:pt x="57" y="295"/>
                    </a:lnTo>
                    <a:lnTo>
                      <a:pt x="57" y="293"/>
                    </a:lnTo>
                    <a:lnTo>
                      <a:pt x="58" y="290"/>
                    </a:lnTo>
                    <a:lnTo>
                      <a:pt x="58" y="288"/>
                    </a:lnTo>
                    <a:lnTo>
                      <a:pt x="58" y="287"/>
                    </a:lnTo>
                    <a:lnTo>
                      <a:pt x="58" y="285"/>
                    </a:lnTo>
                    <a:lnTo>
                      <a:pt x="57" y="283"/>
                    </a:lnTo>
                    <a:lnTo>
                      <a:pt x="56" y="281"/>
                    </a:lnTo>
                    <a:lnTo>
                      <a:pt x="54" y="278"/>
                    </a:lnTo>
                    <a:lnTo>
                      <a:pt x="52" y="276"/>
                    </a:lnTo>
                    <a:lnTo>
                      <a:pt x="51" y="275"/>
                    </a:lnTo>
                    <a:lnTo>
                      <a:pt x="50" y="275"/>
                    </a:lnTo>
                    <a:lnTo>
                      <a:pt x="49" y="276"/>
                    </a:lnTo>
                    <a:lnTo>
                      <a:pt x="48" y="277"/>
                    </a:lnTo>
                    <a:lnTo>
                      <a:pt x="48" y="278"/>
                    </a:lnTo>
                    <a:lnTo>
                      <a:pt x="46" y="278"/>
                    </a:lnTo>
                    <a:lnTo>
                      <a:pt x="44" y="278"/>
                    </a:lnTo>
                    <a:lnTo>
                      <a:pt x="43" y="278"/>
                    </a:lnTo>
                    <a:lnTo>
                      <a:pt x="41" y="278"/>
                    </a:lnTo>
                    <a:lnTo>
                      <a:pt x="39" y="277"/>
                    </a:lnTo>
                    <a:lnTo>
                      <a:pt x="38" y="276"/>
                    </a:lnTo>
                    <a:lnTo>
                      <a:pt x="37" y="275"/>
                    </a:lnTo>
                    <a:lnTo>
                      <a:pt x="37" y="273"/>
                    </a:lnTo>
                    <a:lnTo>
                      <a:pt x="38" y="272"/>
                    </a:lnTo>
                    <a:lnTo>
                      <a:pt x="39" y="271"/>
                    </a:lnTo>
                    <a:lnTo>
                      <a:pt x="40" y="270"/>
                    </a:lnTo>
                    <a:lnTo>
                      <a:pt x="40" y="269"/>
                    </a:lnTo>
                    <a:lnTo>
                      <a:pt x="41" y="269"/>
                    </a:lnTo>
                    <a:lnTo>
                      <a:pt x="44" y="270"/>
                    </a:lnTo>
                    <a:lnTo>
                      <a:pt x="46" y="270"/>
                    </a:lnTo>
                    <a:lnTo>
                      <a:pt x="47" y="270"/>
                    </a:lnTo>
                    <a:lnTo>
                      <a:pt x="48" y="269"/>
                    </a:lnTo>
                    <a:lnTo>
                      <a:pt x="49" y="267"/>
                    </a:lnTo>
                    <a:lnTo>
                      <a:pt x="49" y="265"/>
                    </a:lnTo>
                    <a:lnTo>
                      <a:pt x="47" y="263"/>
                    </a:lnTo>
                    <a:lnTo>
                      <a:pt x="46" y="262"/>
                    </a:lnTo>
                    <a:lnTo>
                      <a:pt x="46" y="261"/>
                    </a:lnTo>
                    <a:lnTo>
                      <a:pt x="45" y="260"/>
                    </a:lnTo>
                    <a:lnTo>
                      <a:pt x="44" y="258"/>
                    </a:lnTo>
                    <a:lnTo>
                      <a:pt x="43" y="257"/>
                    </a:lnTo>
                    <a:lnTo>
                      <a:pt x="43" y="256"/>
                    </a:lnTo>
                    <a:lnTo>
                      <a:pt x="44" y="253"/>
                    </a:lnTo>
                    <a:lnTo>
                      <a:pt x="44" y="252"/>
                    </a:lnTo>
                    <a:lnTo>
                      <a:pt x="44" y="251"/>
                    </a:lnTo>
                    <a:lnTo>
                      <a:pt x="43" y="251"/>
                    </a:lnTo>
                    <a:lnTo>
                      <a:pt x="40" y="252"/>
                    </a:lnTo>
                    <a:lnTo>
                      <a:pt x="40" y="253"/>
                    </a:lnTo>
                    <a:lnTo>
                      <a:pt x="38" y="255"/>
                    </a:lnTo>
                    <a:lnTo>
                      <a:pt x="37" y="256"/>
                    </a:lnTo>
                    <a:lnTo>
                      <a:pt x="36" y="256"/>
                    </a:lnTo>
                    <a:lnTo>
                      <a:pt x="36" y="255"/>
                    </a:lnTo>
                    <a:lnTo>
                      <a:pt x="35" y="252"/>
                    </a:lnTo>
                    <a:lnTo>
                      <a:pt x="36" y="248"/>
                    </a:lnTo>
                    <a:lnTo>
                      <a:pt x="36" y="242"/>
                    </a:lnTo>
                    <a:lnTo>
                      <a:pt x="37" y="240"/>
                    </a:lnTo>
                    <a:lnTo>
                      <a:pt x="38" y="231"/>
                    </a:lnTo>
                    <a:lnTo>
                      <a:pt x="39" y="227"/>
                    </a:lnTo>
                    <a:lnTo>
                      <a:pt x="39" y="223"/>
                    </a:lnTo>
                    <a:lnTo>
                      <a:pt x="39" y="219"/>
                    </a:lnTo>
                    <a:lnTo>
                      <a:pt x="38" y="218"/>
                    </a:lnTo>
                    <a:lnTo>
                      <a:pt x="38" y="217"/>
                    </a:lnTo>
                    <a:lnTo>
                      <a:pt x="37" y="216"/>
                    </a:lnTo>
                    <a:lnTo>
                      <a:pt x="36" y="214"/>
                    </a:lnTo>
                    <a:lnTo>
                      <a:pt x="35" y="214"/>
                    </a:lnTo>
                    <a:lnTo>
                      <a:pt x="33" y="213"/>
                    </a:lnTo>
                    <a:lnTo>
                      <a:pt x="31" y="213"/>
                    </a:lnTo>
                    <a:lnTo>
                      <a:pt x="30" y="213"/>
                    </a:lnTo>
                    <a:lnTo>
                      <a:pt x="28" y="213"/>
                    </a:lnTo>
                    <a:lnTo>
                      <a:pt x="26" y="213"/>
                    </a:lnTo>
                    <a:lnTo>
                      <a:pt x="25" y="214"/>
                    </a:lnTo>
                    <a:lnTo>
                      <a:pt x="24" y="216"/>
                    </a:lnTo>
                    <a:lnTo>
                      <a:pt x="22" y="218"/>
                    </a:lnTo>
                    <a:lnTo>
                      <a:pt x="21" y="219"/>
                    </a:lnTo>
                    <a:lnTo>
                      <a:pt x="20" y="221"/>
                    </a:lnTo>
                    <a:lnTo>
                      <a:pt x="20" y="222"/>
                    </a:lnTo>
                    <a:lnTo>
                      <a:pt x="19" y="223"/>
                    </a:lnTo>
                    <a:lnTo>
                      <a:pt x="19" y="224"/>
                    </a:lnTo>
                    <a:lnTo>
                      <a:pt x="18" y="224"/>
                    </a:lnTo>
                    <a:lnTo>
                      <a:pt x="17" y="224"/>
                    </a:lnTo>
                    <a:lnTo>
                      <a:pt x="15" y="224"/>
                    </a:lnTo>
                    <a:lnTo>
                      <a:pt x="13" y="223"/>
                    </a:lnTo>
                    <a:lnTo>
                      <a:pt x="12" y="220"/>
                    </a:lnTo>
                    <a:lnTo>
                      <a:pt x="12" y="219"/>
                    </a:lnTo>
                    <a:lnTo>
                      <a:pt x="13" y="217"/>
                    </a:lnTo>
                    <a:lnTo>
                      <a:pt x="14" y="216"/>
                    </a:lnTo>
                    <a:lnTo>
                      <a:pt x="14" y="214"/>
                    </a:lnTo>
                    <a:lnTo>
                      <a:pt x="15" y="212"/>
                    </a:lnTo>
                    <a:lnTo>
                      <a:pt x="15" y="210"/>
                    </a:lnTo>
                    <a:lnTo>
                      <a:pt x="15" y="209"/>
                    </a:lnTo>
                    <a:lnTo>
                      <a:pt x="17" y="206"/>
                    </a:lnTo>
                    <a:lnTo>
                      <a:pt x="18" y="205"/>
                    </a:lnTo>
                    <a:lnTo>
                      <a:pt x="19" y="204"/>
                    </a:lnTo>
                    <a:lnTo>
                      <a:pt x="20" y="203"/>
                    </a:lnTo>
                    <a:lnTo>
                      <a:pt x="20" y="201"/>
                    </a:lnTo>
                    <a:lnTo>
                      <a:pt x="23" y="199"/>
                    </a:lnTo>
                    <a:lnTo>
                      <a:pt x="25" y="197"/>
                    </a:lnTo>
                    <a:lnTo>
                      <a:pt x="26" y="196"/>
                    </a:lnTo>
                    <a:lnTo>
                      <a:pt x="27" y="195"/>
                    </a:lnTo>
                    <a:lnTo>
                      <a:pt x="30" y="194"/>
                    </a:lnTo>
                    <a:lnTo>
                      <a:pt x="32" y="192"/>
                    </a:lnTo>
                    <a:lnTo>
                      <a:pt x="33" y="191"/>
                    </a:lnTo>
                    <a:lnTo>
                      <a:pt x="34" y="190"/>
                    </a:lnTo>
                    <a:lnTo>
                      <a:pt x="35" y="187"/>
                    </a:lnTo>
                    <a:lnTo>
                      <a:pt x="35" y="186"/>
                    </a:lnTo>
                    <a:lnTo>
                      <a:pt x="36" y="186"/>
                    </a:lnTo>
                    <a:lnTo>
                      <a:pt x="36" y="185"/>
                    </a:lnTo>
                    <a:lnTo>
                      <a:pt x="36" y="184"/>
                    </a:lnTo>
                    <a:lnTo>
                      <a:pt x="37" y="183"/>
                    </a:lnTo>
                    <a:lnTo>
                      <a:pt x="37" y="182"/>
                    </a:lnTo>
                    <a:lnTo>
                      <a:pt x="38" y="180"/>
                    </a:lnTo>
                    <a:lnTo>
                      <a:pt x="38" y="179"/>
                    </a:lnTo>
                    <a:lnTo>
                      <a:pt x="38" y="178"/>
                    </a:lnTo>
                    <a:lnTo>
                      <a:pt x="38" y="176"/>
                    </a:lnTo>
                    <a:lnTo>
                      <a:pt x="38" y="175"/>
                    </a:lnTo>
                    <a:lnTo>
                      <a:pt x="38" y="174"/>
                    </a:lnTo>
                    <a:lnTo>
                      <a:pt x="38" y="173"/>
                    </a:lnTo>
                    <a:lnTo>
                      <a:pt x="38" y="172"/>
                    </a:lnTo>
                    <a:lnTo>
                      <a:pt x="38" y="171"/>
                    </a:lnTo>
                    <a:lnTo>
                      <a:pt x="38" y="170"/>
                    </a:lnTo>
                    <a:lnTo>
                      <a:pt x="38" y="169"/>
                    </a:lnTo>
                    <a:lnTo>
                      <a:pt x="38" y="168"/>
                    </a:lnTo>
                    <a:lnTo>
                      <a:pt x="37" y="167"/>
                    </a:lnTo>
                    <a:lnTo>
                      <a:pt x="36" y="165"/>
                    </a:lnTo>
                    <a:lnTo>
                      <a:pt x="36" y="163"/>
                    </a:lnTo>
                    <a:lnTo>
                      <a:pt x="36" y="162"/>
                    </a:lnTo>
                    <a:lnTo>
                      <a:pt x="35" y="161"/>
                    </a:lnTo>
                    <a:lnTo>
                      <a:pt x="34" y="161"/>
                    </a:lnTo>
                    <a:lnTo>
                      <a:pt x="33" y="160"/>
                    </a:lnTo>
                    <a:lnTo>
                      <a:pt x="32" y="160"/>
                    </a:lnTo>
                    <a:lnTo>
                      <a:pt x="31" y="160"/>
                    </a:lnTo>
                    <a:lnTo>
                      <a:pt x="30" y="160"/>
                    </a:lnTo>
                    <a:lnTo>
                      <a:pt x="28" y="160"/>
                    </a:lnTo>
                    <a:lnTo>
                      <a:pt x="27" y="160"/>
                    </a:lnTo>
                    <a:lnTo>
                      <a:pt x="26" y="161"/>
                    </a:lnTo>
                    <a:lnTo>
                      <a:pt x="26" y="162"/>
                    </a:lnTo>
                    <a:lnTo>
                      <a:pt x="24" y="165"/>
                    </a:lnTo>
                    <a:lnTo>
                      <a:pt x="23" y="167"/>
                    </a:lnTo>
                    <a:lnTo>
                      <a:pt x="22" y="167"/>
                    </a:lnTo>
                    <a:lnTo>
                      <a:pt x="22" y="168"/>
                    </a:lnTo>
                    <a:lnTo>
                      <a:pt x="21" y="170"/>
                    </a:lnTo>
                    <a:lnTo>
                      <a:pt x="20" y="171"/>
                    </a:lnTo>
                    <a:lnTo>
                      <a:pt x="20" y="172"/>
                    </a:lnTo>
                    <a:lnTo>
                      <a:pt x="19" y="172"/>
                    </a:lnTo>
                    <a:lnTo>
                      <a:pt x="18" y="172"/>
                    </a:lnTo>
                    <a:lnTo>
                      <a:pt x="17" y="172"/>
                    </a:lnTo>
                    <a:lnTo>
                      <a:pt x="15" y="172"/>
                    </a:lnTo>
                    <a:lnTo>
                      <a:pt x="14" y="171"/>
                    </a:lnTo>
                    <a:lnTo>
                      <a:pt x="14" y="170"/>
                    </a:lnTo>
                    <a:lnTo>
                      <a:pt x="13" y="169"/>
                    </a:lnTo>
                    <a:lnTo>
                      <a:pt x="13" y="168"/>
                    </a:lnTo>
                    <a:lnTo>
                      <a:pt x="13" y="167"/>
                    </a:lnTo>
                    <a:lnTo>
                      <a:pt x="13" y="166"/>
                    </a:lnTo>
                    <a:lnTo>
                      <a:pt x="14" y="163"/>
                    </a:lnTo>
                    <a:lnTo>
                      <a:pt x="14" y="162"/>
                    </a:lnTo>
                    <a:lnTo>
                      <a:pt x="14" y="161"/>
                    </a:lnTo>
                    <a:lnTo>
                      <a:pt x="15" y="161"/>
                    </a:lnTo>
                    <a:lnTo>
                      <a:pt x="17" y="160"/>
                    </a:lnTo>
                    <a:lnTo>
                      <a:pt x="17" y="159"/>
                    </a:lnTo>
                    <a:lnTo>
                      <a:pt x="18" y="159"/>
                    </a:lnTo>
                    <a:lnTo>
                      <a:pt x="20" y="158"/>
                    </a:lnTo>
                    <a:lnTo>
                      <a:pt x="24" y="156"/>
                    </a:lnTo>
                    <a:lnTo>
                      <a:pt x="25" y="156"/>
                    </a:lnTo>
                    <a:lnTo>
                      <a:pt x="26" y="156"/>
                    </a:lnTo>
                    <a:lnTo>
                      <a:pt x="27" y="155"/>
                    </a:lnTo>
                    <a:lnTo>
                      <a:pt x="28" y="155"/>
                    </a:lnTo>
                    <a:lnTo>
                      <a:pt x="30" y="154"/>
                    </a:lnTo>
                    <a:lnTo>
                      <a:pt x="31" y="152"/>
                    </a:lnTo>
                    <a:lnTo>
                      <a:pt x="32" y="150"/>
                    </a:lnTo>
                    <a:lnTo>
                      <a:pt x="33" y="149"/>
                    </a:lnTo>
                    <a:lnTo>
                      <a:pt x="33" y="148"/>
                    </a:lnTo>
                    <a:lnTo>
                      <a:pt x="33" y="147"/>
                    </a:lnTo>
                    <a:lnTo>
                      <a:pt x="34" y="147"/>
                    </a:lnTo>
                    <a:lnTo>
                      <a:pt x="34" y="146"/>
                    </a:lnTo>
                    <a:lnTo>
                      <a:pt x="34" y="145"/>
                    </a:lnTo>
                    <a:lnTo>
                      <a:pt x="35" y="144"/>
                    </a:lnTo>
                    <a:lnTo>
                      <a:pt x="35" y="142"/>
                    </a:lnTo>
                    <a:lnTo>
                      <a:pt x="36" y="137"/>
                    </a:lnTo>
                    <a:lnTo>
                      <a:pt x="36" y="135"/>
                    </a:lnTo>
                    <a:lnTo>
                      <a:pt x="37" y="133"/>
                    </a:lnTo>
                    <a:lnTo>
                      <a:pt x="37" y="131"/>
                    </a:lnTo>
                    <a:lnTo>
                      <a:pt x="37" y="129"/>
                    </a:lnTo>
                    <a:lnTo>
                      <a:pt x="37" y="128"/>
                    </a:lnTo>
                    <a:lnTo>
                      <a:pt x="37" y="127"/>
                    </a:lnTo>
                    <a:lnTo>
                      <a:pt x="37" y="126"/>
                    </a:lnTo>
                    <a:lnTo>
                      <a:pt x="37" y="123"/>
                    </a:lnTo>
                    <a:lnTo>
                      <a:pt x="37" y="122"/>
                    </a:lnTo>
                    <a:lnTo>
                      <a:pt x="37" y="121"/>
                    </a:lnTo>
                    <a:lnTo>
                      <a:pt x="37" y="120"/>
                    </a:lnTo>
                    <a:lnTo>
                      <a:pt x="37" y="119"/>
                    </a:lnTo>
                    <a:lnTo>
                      <a:pt x="37" y="118"/>
                    </a:lnTo>
                    <a:lnTo>
                      <a:pt x="37" y="117"/>
                    </a:lnTo>
                    <a:lnTo>
                      <a:pt x="37" y="116"/>
                    </a:lnTo>
                    <a:lnTo>
                      <a:pt x="36" y="115"/>
                    </a:lnTo>
                    <a:lnTo>
                      <a:pt x="35" y="115"/>
                    </a:lnTo>
                    <a:lnTo>
                      <a:pt x="34" y="116"/>
                    </a:lnTo>
                    <a:lnTo>
                      <a:pt x="33" y="117"/>
                    </a:lnTo>
                    <a:lnTo>
                      <a:pt x="31" y="121"/>
                    </a:lnTo>
                    <a:lnTo>
                      <a:pt x="30" y="124"/>
                    </a:lnTo>
                    <a:lnTo>
                      <a:pt x="28" y="126"/>
                    </a:lnTo>
                    <a:lnTo>
                      <a:pt x="27" y="126"/>
                    </a:lnTo>
                    <a:lnTo>
                      <a:pt x="25" y="124"/>
                    </a:lnTo>
                    <a:lnTo>
                      <a:pt x="24" y="124"/>
                    </a:lnTo>
                    <a:lnTo>
                      <a:pt x="23" y="124"/>
                    </a:lnTo>
                    <a:lnTo>
                      <a:pt x="21" y="123"/>
                    </a:lnTo>
                    <a:lnTo>
                      <a:pt x="20" y="122"/>
                    </a:lnTo>
                    <a:lnTo>
                      <a:pt x="19" y="121"/>
                    </a:lnTo>
                    <a:lnTo>
                      <a:pt x="20" y="121"/>
                    </a:lnTo>
                    <a:lnTo>
                      <a:pt x="20" y="120"/>
                    </a:lnTo>
                    <a:lnTo>
                      <a:pt x="21" y="119"/>
                    </a:lnTo>
                    <a:lnTo>
                      <a:pt x="23" y="118"/>
                    </a:lnTo>
                    <a:lnTo>
                      <a:pt x="24" y="118"/>
                    </a:lnTo>
                    <a:lnTo>
                      <a:pt x="24" y="117"/>
                    </a:lnTo>
                    <a:lnTo>
                      <a:pt x="25" y="117"/>
                    </a:lnTo>
                    <a:lnTo>
                      <a:pt x="26" y="116"/>
                    </a:lnTo>
                    <a:lnTo>
                      <a:pt x="27" y="116"/>
                    </a:lnTo>
                    <a:lnTo>
                      <a:pt x="27" y="115"/>
                    </a:lnTo>
                    <a:lnTo>
                      <a:pt x="27" y="114"/>
                    </a:lnTo>
                    <a:lnTo>
                      <a:pt x="28" y="113"/>
                    </a:lnTo>
                    <a:lnTo>
                      <a:pt x="28" y="111"/>
                    </a:lnTo>
                    <a:lnTo>
                      <a:pt x="28" y="110"/>
                    </a:lnTo>
                    <a:lnTo>
                      <a:pt x="28" y="109"/>
                    </a:lnTo>
                    <a:lnTo>
                      <a:pt x="28" y="108"/>
                    </a:lnTo>
                    <a:lnTo>
                      <a:pt x="27" y="107"/>
                    </a:lnTo>
                    <a:lnTo>
                      <a:pt x="25" y="106"/>
                    </a:lnTo>
                    <a:lnTo>
                      <a:pt x="24" y="105"/>
                    </a:lnTo>
                    <a:lnTo>
                      <a:pt x="23" y="105"/>
                    </a:lnTo>
                    <a:lnTo>
                      <a:pt x="22" y="105"/>
                    </a:lnTo>
                    <a:lnTo>
                      <a:pt x="21" y="105"/>
                    </a:lnTo>
                    <a:lnTo>
                      <a:pt x="20" y="105"/>
                    </a:lnTo>
                    <a:lnTo>
                      <a:pt x="19" y="103"/>
                    </a:lnTo>
                    <a:lnTo>
                      <a:pt x="18" y="102"/>
                    </a:lnTo>
                    <a:lnTo>
                      <a:pt x="17" y="101"/>
                    </a:lnTo>
                    <a:lnTo>
                      <a:pt x="15" y="98"/>
                    </a:lnTo>
                    <a:lnTo>
                      <a:pt x="15" y="96"/>
                    </a:lnTo>
                    <a:lnTo>
                      <a:pt x="15" y="94"/>
                    </a:lnTo>
                    <a:lnTo>
                      <a:pt x="15" y="92"/>
                    </a:lnTo>
                    <a:lnTo>
                      <a:pt x="15" y="90"/>
                    </a:lnTo>
                    <a:lnTo>
                      <a:pt x="15" y="89"/>
                    </a:lnTo>
                    <a:lnTo>
                      <a:pt x="15" y="86"/>
                    </a:lnTo>
                    <a:lnTo>
                      <a:pt x="15" y="85"/>
                    </a:lnTo>
                    <a:lnTo>
                      <a:pt x="17" y="84"/>
                    </a:lnTo>
                    <a:lnTo>
                      <a:pt x="18" y="82"/>
                    </a:lnTo>
                    <a:lnTo>
                      <a:pt x="18" y="81"/>
                    </a:lnTo>
                    <a:lnTo>
                      <a:pt x="19" y="79"/>
                    </a:lnTo>
                    <a:lnTo>
                      <a:pt x="20" y="78"/>
                    </a:lnTo>
                    <a:lnTo>
                      <a:pt x="20" y="77"/>
                    </a:lnTo>
                    <a:lnTo>
                      <a:pt x="21" y="75"/>
                    </a:lnTo>
                    <a:lnTo>
                      <a:pt x="22" y="72"/>
                    </a:lnTo>
                    <a:lnTo>
                      <a:pt x="23" y="70"/>
                    </a:lnTo>
                    <a:lnTo>
                      <a:pt x="24" y="69"/>
                    </a:lnTo>
                    <a:lnTo>
                      <a:pt x="25" y="68"/>
                    </a:lnTo>
                    <a:lnTo>
                      <a:pt x="26" y="67"/>
                    </a:lnTo>
                    <a:lnTo>
                      <a:pt x="26" y="66"/>
                    </a:lnTo>
                    <a:lnTo>
                      <a:pt x="27" y="66"/>
                    </a:lnTo>
                    <a:lnTo>
                      <a:pt x="27" y="65"/>
                    </a:lnTo>
                    <a:lnTo>
                      <a:pt x="27" y="64"/>
                    </a:lnTo>
                    <a:lnTo>
                      <a:pt x="27" y="63"/>
                    </a:lnTo>
                    <a:lnTo>
                      <a:pt x="26" y="62"/>
                    </a:lnTo>
                    <a:lnTo>
                      <a:pt x="26" y="60"/>
                    </a:lnTo>
                    <a:lnTo>
                      <a:pt x="25" y="59"/>
                    </a:lnTo>
                    <a:lnTo>
                      <a:pt x="24" y="58"/>
                    </a:lnTo>
                    <a:lnTo>
                      <a:pt x="22" y="57"/>
                    </a:lnTo>
                    <a:lnTo>
                      <a:pt x="21" y="57"/>
                    </a:lnTo>
                    <a:lnTo>
                      <a:pt x="20" y="56"/>
                    </a:lnTo>
                    <a:lnTo>
                      <a:pt x="19" y="55"/>
                    </a:lnTo>
                    <a:lnTo>
                      <a:pt x="17" y="54"/>
                    </a:lnTo>
                    <a:lnTo>
                      <a:pt x="14" y="53"/>
                    </a:lnTo>
                    <a:lnTo>
                      <a:pt x="13" y="53"/>
                    </a:lnTo>
                    <a:lnTo>
                      <a:pt x="11" y="53"/>
                    </a:lnTo>
                    <a:lnTo>
                      <a:pt x="7" y="53"/>
                    </a:lnTo>
                    <a:lnTo>
                      <a:pt x="5" y="53"/>
                    </a:lnTo>
                    <a:lnTo>
                      <a:pt x="4" y="53"/>
                    </a:lnTo>
                    <a:lnTo>
                      <a:pt x="2" y="53"/>
                    </a:lnTo>
                    <a:lnTo>
                      <a:pt x="1" y="51"/>
                    </a:lnTo>
                    <a:lnTo>
                      <a:pt x="0" y="50"/>
                    </a:lnTo>
                    <a:lnTo>
                      <a:pt x="1" y="50"/>
                    </a:lnTo>
                    <a:lnTo>
                      <a:pt x="1" y="49"/>
                    </a:lnTo>
                    <a:lnTo>
                      <a:pt x="2" y="47"/>
                    </a:lnTo>
                    <a:lnTo>
                      <a:pt x="4" y="47"/>
                    </a:lnTo>
                    <a:lnTo>
                      <a:pt x="7" y="46"/>
                    </a:lnTo>
                    <a:lnTo>
                      <a:pt x="8" y="46"/>
                    </a:lnTo>
                    <a:lnTo>
                      <a:pt x="9" y="46"/>
                    </a:lnTo>
                    <a:lnTo>
                      <a:pt x="9" y="45"/>
                    </a:lnTo>
                    <a:lnTo>
                      <a:pt x="9" y="44"/>
                    </a:lnTo>
                    <a:lnTo>
                      <a:pt x="10" y="42"/>
                    </a:lnTo>
                    <a:lnTo>
                      <a:pt x="11" y="41"/>
                    </a:lnTo>
                    <a:lnTo>
                      <a:pt x="11" y="40"/>
                    </a:lnTo>
                    <a:lnTo>
                      <a:pt x="12" y="40"/>
                    </a:lnTo>
                    <a:lnTo>
                      <a:pt x="13" y="39"/>
                    </a:lnTo>
                    <a:lnTo>
                      <a:pt x="13" y="38"/>
                    </a:lnTo>
                    <a:lnTo>
                      <a:pt x="14" y="39"/>
                    </a:lnTo>
                    <a:lnTo>
                      <a:pt x="15" y="39"/>
                    </a:lnTo>
                    <a:lnTo>
                      <a:pt x="17" y="39"/>
                    </a:lnTo>
                    <a:lnTo>
                      <a:pt x="18" y="40"/>
                    </a:lnTo>
                    <a:lnTo>
                      <a:pt x="19" y="40"/>
                    </a:lnTo>
                    <a:lnTo>
                      <a:pt x="21" y="41"/>
                    </a:lnTo>
                    <a:lnTo>
                      <a:pt x="22" y="42"/>
                    </a:lnTo>
                    <a:lnTo>
                      <a:pt x="23" y="42"/>
                    </a:lnTo>
                    <a:lnTo>
                      <a:pt x="24" y="42"/>
                    </a:lnTo>
                    <a:lnTo>
                      <a:pt x="25" y="42"/>
                    </a:lnTo>
                    <a:lnTo>
                      <a:pt x="26" y="41"/>
                    </a:lnTo>
                    <a:lnTo>
                      <a:pt x="27" y="40"/>
                    </a:lnTo>
                    <a:lnTo>
                      <a:pt x="27" y="39"/>
                    </a:lnTo>
                    <a:lnTo>
                      <a:pt x="28" y="38"/>
                    </a:lnTo>
                    <a:lnTo>
                      <a:pt x="28" y="37"/>
                    </a:lnTo>
                    <a:lnTo>
                      <a:pt x="28" y="36"/>
                    </a:lnTo>
                    <a:lnTo>
                      <a:pt x="27" y="33"/>
                    </a:lnTo>
                    <a:lnTo>
                      <a:pt x="26" y="33"/>
                    </a:lnTo>
                    <a:lnTo>
                      <a:pt x="25" y="32"/>
                    </a:lnTo>
                    <a:lnTo>
                      <a:pt x="25" y="33"/>
                    </a:lnTo>
                    <a:lnTo>
                      <a:pt x="24" y="33"/>
                    </a:lnTo>
                    <a:lnTo>
                      <a:pt x="23" y="34"/>
                    </a:lnTo>
                    <a:lnTo>
                      <a:pt x="22" y="36"/>
                    </a:lnTo>
                    <a:lnTo>
                      <a:pt x="21" y="36"/>
                    </a:lnTo>
                    <a:lnTo>
                      <a:pt x="20" y="37"/>
                    </a:lnTo>
                    <a:lnTo>
                      <a:pt x="18" y="38"/>
                    </a:lnTo>
                    <a:lnTo>
                      <a:pt x="17" y="38"/>
                    </a:lnTo>
                    <a:lnTo>
                      <a:pt x="15" y="38"/>
                    </a:lnTo>
                    <a:lnTo>
                      <a:pt x="14" y="38"/>
                    </a:lnTo>
                    <a:lnTo>
                      <a:pt x="14" y="37"/>
                    </a:lnTo>
                    <a:lnTo>
                      <a:pt x="15" y="36"/>
                    </a:lnTo>
                    <a:lnTo>
                      <a:pt x="17" y="33"/>
                    </a:lnTo>
                    <a:lnTo>
                      <a:pt x="18" y="32"/>
                    </a:lnTo>
                    <a:lnTo>
                      <a:pt x="18" y="31"/>
                    </a:lnTo>
                    <a:lnTo>
                      <a:pt x="18" y="30"/>
                    </a:lnTo>
                    <a:lnTo>
                      <a:pt x="18" y="29"/>
                    </a:lnTo>
                    <a:lnTo>
                      <a:pt x="18" y="28"/>
                    </a:lnTo>
                    <a:lnTo>
                      <a:pt x="17" y="27"/>
                    </a:lnTo>
                    <a:lnTo>
                      <a:pt x="17" y="26"/>
                    </a:lnTo>
                    <a:lnTo>
                      <a:pt x="17" y="24"/>
                    </a:lnTo>
                    <a:lnTo>
                      <a:pt x="15" y="21"/>
                    </a:lnTo>
                    <a:lnTo>
                      <a:pt x="15" y="20"/>
                    </a:lnTo>
                    <a:lnTo>
                      <a:pt x="14" y="19"/>
                    </a:lnTo>
                    <a:lnTo>
                      <a:pt x="13" y="17"/>
                    </a:lnTo>
                    <a:lnTo>
                      <a:pt x="13" y="16"/>
                    </a:lnTo>
                    <a:lnTo>
                      <a:pt x="13" y="15"/>
                    </a:lnTo>
                    <a:lnTo>
                      <a:pt x="13" y="14"/>
                    </a:lnTo>
                    <a:lnTo>
                      <a:pt x="13" y="13"/>
                    </a:lnTo>
                    <a:lnTo>
                      <a:pt x="13" y="11"/>
                    </a:lnTo>
                    <a:lnTo>
                      <a:pt x="12" y="8"/>
                    </a:lnTo>
                    <a:lnTo>
                      <a:pt x="12" y="6"/>
                    </a:lnTo>
                    <a:lnTo>
                      <a:pt x="12" y="5"/>
                    </a:lnTo>
                    <a:lnTo>
                      <a:pt x="13" y="4"/>
                    </a:lnTo>
                    <a:lnTo>
                      <a:pt x="14" y="4"/>
                    </a:lnTo>
                    <a:lnTo>
                      <a:pt x="15" y="4"/>
                    </a:lnTo>
                    <a:lnTo>
                      <a:pt x="17" y="3"/>
                    </a:lnTo>
                    <a:lnTo>
                      <a:pt x="18" y="2"/>
                    </a:lnTo>
                    <a:lnTo>
                      <a:pt x="19" y="2"/>
                    </a:lnTo>
                    <a:lnTo>
                      <a:pt x="20" y="0"/>
                    </a:lnTo>
                    <a:lnTo>
                      <a:pt x="24" y="0"/>
                    </a:lnTo>
                    <a:lnTo>
                      <a:pt x="25" y="0"/>
                    </a:lnTo>
                    <a:lnTo>
                      <a:pt x="26" y="0"/>
                    </a:lnTo>
                    <a:lnTo>
                      <a:pt x="59" y="0"/>
                    </a:lnTo>
                    <a:lnTo>
                      <a:pt x="62" y="0"/>
                    </a:lnTo>
                    <a:lnTo>
                      <a:pt x="104" y="0"/>
                    </a:lnTo>
                    <a:lnTo>
                      <a:pt x="126" y="0"/>
                    </a:lnTo>
                    <a:lnTo>
                      <a:pt x="136" y="0"/>
                    </a:lnTo>
                    <a:lnTo>
                      <a:pt x="185" y="0"/>
                    </a:lnTo>
                    <a:lnTo>
                      <a:pt x="200" y="0"/>
                    </a:lnTo>
                    <a:close/>
                  </a:path>
                </a:pathLst>
              </a:custGeom>
              <a:solidFill>
                <a:srgbClr val="BBDA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5" name="Freeform 333">
                <a:extLst>
                  <a:ext uri="{FF2B5EF4-FFF2-40B4-BE49-F238E27FC236}">
                    <a16:creationId xmlns:a16="http://schemas.microsoft.com/office/drawing/2014/main" id="{692D3783-A930-22E0-6271-E9E70FAF74AD}"/>
                  </a:ext>
                </a:extLst>
              </p:cNvPr>
              <p:cNvSpPr>
                <a:spLocks/>
              </p:cNvSpPr>
              <p:nvPr/>
            </p:nvSpPr>
            <p:spPr bwMode="auto">
              <a:xfrm>
                <a:off x="1144588" y="1128713"/>
                <a:ext cx="566738" cy="949325"/>
              </a:xfrm>
              <a:custGeom>
                <a:avLst/>
                <a:gdLst>
                  <a:gd name="T0" fmla="*/ 139 w 357"/>
                  <a:gd name="T1" fmla="*/ 29 h 598"/>
                  <a:gd name="T2" fmla="*/ 148 w 357"/>
                  <a:gd name="T3" fmla="*/ 40 h 598"/>
                  <a:gd name="T4" fmla="*/ 123 w 357"/>
                  <a:gd name="T5" fmla="*/ 47 h 598"/>
                  <a:gd name="T6" fmla="*/ 148 w 357"/>
                  <a:gd name="T7" fmla="*/ 66 h 598"/>
                  <a:gd name="T8" fmla="*/ 140 w 357"/>
                  <a:gd name="T9" fmla="*/ 103 h 598"/>
                  <a:gd name="T10" fmla="*/ 140 w 357"/>
                  <a:gd name="T11" fmla="*/ 121 h 598"/>
                  <a:gd name="T12" fmla="*/ 158 w 357"/>
                  <a:gd name="T13" fmla="*/ 128 h 598"/>
                  <a:gd name="T14" fmla="*/ 138 w 357"/>
                  <a:gd name="T15" fmla="*/ 159 h 598"/>
                  <a:gd name="T16" fmla="*/ 147 w 357"/>
                  <a:gd name="T17" fmla="*/ 161 h 598"/>
                  <a:gd name="T18" fmla="*/ 159 w 357"/>
                  <a:gd name="T19" fmla="*/ 180 h 598"/>
                  <a:gd name="T20" fmla="*/ 135 w 357"/>
                  <a:gd name="T21" fmla="*/ 214 h 598"/>
                  <a:gd name="T22" fmla="*/ 158 w 357"/>
                  <a:gd name="T23" fmla="*/ 216 h 598"/>
                  <a:gd name="T24" fmla="*/ 166 w 357"/>
                  <a:gd name="T25" fmla="*/ 260 h 598"/>
                  <a:gd name="T26" fmla="*/ 169 w 357"/>
                  <a:gd name="T27" fmla="*/ 277 h 598"/>
                  <a:gd name="T28" fmla="*/ 186 w 357"/>
                  <a:gd name="T29" fmla="*/ 306 h 598"/>
                  <a:gd name="T30" fmla="*/ 179 w 357"/>
                  <a:gd name="T31" fmla="*/ 312 h 598"/>
                  <a:gd name="T32" fmla="*/ 178 w 357"/>
                  <a:gd name="T33" fmla="*/ 335 h 598"/>
                  <a:gd name="T34" fmla="*/ 187 w 357"/>
                  <a:gd name="T35" fmla="*/ 353 h 598"/>
                  <a:gd name="T36" fmla="*/ 169 w 357"/>
                  <a:gd name="T37" fmla="*/ 350 h 598"/>
                  <a:gd name="T38" fmla="*/ 186 w 357"/>
                  <a:gd name="T39" fmla="*/ 367 h 598"/>
                  <a:gd name="T40" fmla="*/ 203 w 357"/>
                  <a:gd name="T41" fmla="*/ 387 h 598"/>
                  <a:gd name="T42" fmla="*/ 217 w 357"/>
                  <a:gd name="T43" fmla="*/ 401 h 598"/>
                  <a:gd name="T44" fmla="*/ 229 w 357"/>
                  <a:gd name="T45" fmla="*/ 426 h 598"/>
                  <a:gd name="T46" fmla="*/ 220 w 357"/>
                  <a:gd name="T47" fmla="*/ 431 h 598"/>
                  <a:gd name="T48" fmla="*/ 228 w 357"/>
                  <a:gd name="T49" fmla="*/ 441 h 598"/>
                  <a:gd name="T50" fmla="*/ 234 w 357"/>
                  <a:gd name="T51" fmla="*/ 456 h 598"/>
                  <a:gd name="T52" fmla="*/ 247 w 357"/>
                  <a:gd name="T53" fmla="*/ 453 h 598"/>
                  <a:gd name="T54" fmla="*/ 248 w 357"/>
                  <a:gd name="T55" fmla="*/ 460 h 598"/>
                  <a:gd name="T56" fmla="*/ 254 w 357"/>
                  <a:gd name="T57" fmla="*/ 470 h 598"/>
                  <a:gd name="T58" fmla="*/ 268 w 357"/>
                  <a:gd name="T59" fmla="*/ 465 h 598"/>
                  <a:gd name="T60" fmla="*/ 259 w 357"/>
                  <a:gd name="T61" fmla="*/ 484 h 598"/>
                  <a:gd name="T62" fmla="*/ 282 w 357"/>
                  <a:gd name="T63" fmla="*/ 494 h 598"/>
                  <a:gd name="T64" fmla="*/ 286 w 357"/>
                  <a:gd name="T65" fmla="*/ 503 h 598"/>
                  <a:gd name="T66" fmla="*/ 298 w 357"/>
                  <a:gd name="T67" fmla="*/ 497 h 598"/>
                  <a:gd name="T68" fmla="*/ 294 w 357"/>
                  <a:gd name="T69" fmla="*/ 506 h 598"/>
                  <a:gd name="T70" fmla="*/ 308 w 357"/>
                  <a:gd name="T71" fmla="*/ 515 h 598"/>
                  <a:gd name="T72" fmla="*/ 310 w 357"/>
                  <a:gd name="T73" fmla="*/ 520 h 598"/>
                  <a:gd name="T74" fmla="*/ 312 w 357"/>
                  <a:gd name="T75" fmla="*/ 529 h 598"/>
                  <a:gd name="T76" fmla="*/ 321 w 357"/>
                  <a:gd name="T77" fmla="*/ 537 h 598"/>
                  <a:gd name="T78" fmla="*/ 330 w 357"/>
                  <a:gd name="T79" fmla="*/ 537 h 598"/>
                  <a:gd name="T80" fmla="*/ 344 w 357"/>
                  <a:gd name="T81" fmla="*/ 565 h 598"/>
                  <a:gd name="T82" fmla="*/ 351 w 357"/>
                  <a:gd name="T83" fmla="*/ 560 h 598"/>
                  <a:gd name="T84" fmla="*/ 333 w 357"/>
                  <a:gd name="T85" fmla="*/ 568 h 598"/>
                  <a:gd name="T86" fmla="*/ 263 w 357"/>
                  <a:gd name="T87" fmla="*/ 544 h 598"/>
                  <a:gd name="T88" fmla="*/ 250 w 357"/>
                  <a:gd name="T89" fmla="*/ 530 h 598"/>
                  <a:gd name="T90" fmla="*/ 235 w 357"/>
                  <a:gd name="T91" fmla="*/ 513 h 598"/>
                  <a:gd name="T92" fmla="*/ 211 w 357"/>
                  <a:gd name="T93" fmla="*/ 505 h 598"/>
                  <a:gd name="T94" fmla="*/ 191 w 357"/>
                  <a:gd name="T95" fmla="*/ 504 h 598"/>
                  <a:gd name="T96" fmla="*/ 177 w 357"/>
                  <a:gd name="T97" fmla="*/ 491 h 598"/>
                  <a:gd name="T98" fmla="*/ 160 w 357"/>
                  <a:gd name="T99" fmla="*/ 492 h 598"/>
                  <a:gd name="T100" fmla="*/ 144 w 357"/>
                  <a:gd name="T101" fmla="*/ 506 h 598"/>
                  <a:gd name="T102" fmla="*/ 135 w 357"/>
                  <a:gd name="T103" fmla="*/ 519 h 598"/>
                  <a:gd name="T104" fmla="*/ 120 w 357"/>
                  <a:gd name="T105" fmla="*/ 530 h 598"/>
                  <a:gd name="T106" fmla="*/ 114 w 357"/>
                  <a:gd name="T107" fmla="*/ 544 h 598"/>
                  <a:gd name="T108" fmla="*/ 103 w 357"/>
                  <a:gd name="T109" fmla="*/ 563 h 598"/>
                  <a:gd name="T110" fmla="*/ 88 w 357"/>
                  <a:gd name="T111" fmla="*/ 577 h 598"/>
                  <a:gd name="T112" fmla="*/ 33 w 357"/>
                  <a:gd name="T113" fmla="*/ 598 h 598"/>
                  <a:gd name="T114" fmla="*/ 1 w 357"/>
                  <a:gd name="T115" fmla="*/ 406 h 598"/>
                  <a:gd name="T116" fmla="*/ 1 w 357"/>
                  <a:gd name="T117" fmla="*/ 329 h 598"/>
                  <a:gd name="T118" fmla="*/ 1 w 357"/>
                  <a:gd name="T119" fmla="*/ 192 h 598"/>
                  <a:gd name="T120" fmla="*/ 1 w 357"/>
                  <a:gd name="T121" fmla="*/ 123 h 598"/>
                  <a:gd name="T122" fmla="*/ 13 w 357"/>
                  <a:gd name="T123"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7" h="598">
                    <a:moveTo>
                      <a:pt x="141" y="0"/>
                    </a:moveTo>
                    <a:lnTo>
                      <a:pt x="140" y="2"/>
                    </a:lnTo>
                    <a:lnTo>
                      <a:pt x="139" y="2"/>
                    </a:lnTo>
                    <a:lnTo>
                      <a:pt x="138" y="3"/>
                    </a:lnTo>
                    <a:lnTo>
                      <a:pt x="136" y="4"/>
                    </a:lnTo>
                    <a:lnTo>
                      <a:pt x="135" y="4"/>
                    </a:lnTo>
                    <a:lnTo>
                      <a:pt x="134" y="4"/>
                    </a:lnTo>
                    <a:lnTo>
                      <a:pt x="133" y="5"/>
                    </a:lnTo>
                    <a:lnTo>
                      <a:pt x="133" y="6"/>
                    </a:lnTo>
                    <a:lnTo>
                      <a:pt x="133" y="8"/>
                    </a:lnTo>
                    <a:lnTo>
                      <a:pt x="134" y="11"/>
                    </a:lnTo>
                    <a:lnTo>
                      <a:pt x="134" y="13"/>
                    </a:lnTo>
                    <a:lnTo>
                      <a:pt x="134" y="14"/>
                    </a:lnTo>
                    <a:lnTo>
                      <a:pt x="134" y="15"/>
                    </a:lnTo>
                    <a:lnTo>
                      <a:pt x="134" y="16"/>
                    </a:lnTo>
                    <a:lnTo>
                      <a:pt x="134" y="17"/>
                    </a:lnTo>
                    <a:lnTo>
                      <a:pt x="135" y="19"/>
                    </a:lnTo>
                    <a:lnTo>
                      <a:pt x="136" y="20"/>
                    </a:lnTo>
                    <a:lnTo>
                      <a:pt x="136" y="21"/>
                    </a:lnTo>
                    <a:lnTo>
                      <a:pt x="138" y="24"/>
                    </a:lnTo>
                    <a:lnTo>
                      <a:pt x="138" y="26"/>
                    </a:lnTo>
                    <a:lnTo>
                      <a:pt x="138" y="27"/>
                    </a:lnTo>
                    <a:lnTo>
                      <a:pt x="139" y="28"/>
                    </a:lnTo>
                    <a:lnTo>
                      <a:pt x="139" y="29"/>
                    </a:lnTo>
                    <a:lnTo>
                      <a:pt x="139" y="30"/>
                    </a:lnTo>
                    <a:lnTo>
                      <a:pt x="139" y="31"/>
                    </a:lnTo>
                    <a:lnTo>
                      <a:pt x="139" y="32"/>
                    </a:lnTo>
                    <a:lnTo>
                      <a:pt x="138" y="33"/>
                    </a:lnTo>
                    <a:lnTo>
                      <a:pt x="136" y="36"/>
                    </a:lnTo>
                    <a:lnTo>
                      <a:pt x="135" y="37"/>
                    </a:lnTo>
                    <a:lnTo>
                      <a:pt x="135" y="38"/>
                    </a:lnTo>
                    <a:lnTo>
                      <a:pt x="136" y="38"/>
                    </a:lnTo>
                    <a:lnTo>
                      <a:pt x="138" y="38"/>
                    </a:lnTo>
                    <a:lnTo>
                      <a:pt x="139" y="38"/>
                    </a:lnTo>
                    <a:lnTo>
                      <a:pt x="141" y="37"/>
                    </a:lnTo>
                    <a:lnTo>
                      <a:pt x="142" y="36"/>
                    </a:lnTo>
                    <a:lnTo>
                      <a:pt x="143" y="36"/>
                    </a:lnTo>
                    <a:lnTo>
                      <a:pt x="144" y="34"/>
                    </a:lnTo>
                    <a:lnTo>
                      <a:pt x="145" y="33"/>
                    </a:lnTo>
                    <a:lnTo>
                      <a:pt x="146" y="33"/>
                    </a:lnTo>
                    <a:lnTo>
                      <a:pt x="146" y="32"/>
                    </a:lnTo>
                    <a:lnTo>
                      <a:pt x="147" y="33"/>
                    </a:lnTo>
                    <a:lnTo>
                      <a:pt x="148" y="33"/>
                    </a:lnTo>
                    <a:lnTo>
                      <a:pt x="149" y="36"/>
                    </a:lnTo>
                    <a:lnTo>
                      <a:pt x="149" y="37"/>
                    </a:lnTo>
                    <a:lnTo>
                      <a:pt x="149" y="38"/>
                    </a:lnTo>
                    <a:lnTo>
                      <a:pt x="148" y="39"/>
                    </a:lnTo>
                    <a:lnTo>
                      <a:pt x="148" y="40"/>
                    </a:lnTo>
                    <a:lnTo>
                      <a:pt x="147" y="41"/>
                    </a:lnTo>
                    <a:lnTo>
                      <a:pt x="146" y="42"/>
                    </a:lnTo>
                    <a:lnTo>
                      <a:pt x="145" y="42"/>
                    </a:lnTo>
                    <a:lnTo>
                      <a:pt x="144" y="42"/>
                    </a:lnTo>
                    <a:lnTo>
                      <a:pt x="143" y="42"/>
                    </a:lnTo>
                    <a:lnTo>
                      <a:pt x="142" y="41"/>
                    </a:lnTo>
                    <a:lnTo>
                      <a:pt x="140" y="40"/>
                    </a:lnTo>
                    <a:lnTo>
                      <a:pt x="139" y="40"/>
                    </a:lnTo>
                    <a:lnTo>
                      <a:pt x="138" y="39"/>
                    </a:lnTo>
                    <a:lnTo>
                      <a:pt x="136" y="39"/>
                    </a:lnTo>
                    <a:lnTo>
                      <a:pt x="135" y="39"/>
                    </a:lnTo>
                    <a:lnTo>
                      <a:pt x="134" y="38"/>
                    </a:lnTo>
                    <a:lnTo>
                      <a:pt x="134" y="39"/>
                    </a:lnTo>
                    <a:lnTo>
                      <a:pt x="133" y="40"/>
                    </a:lnTo>
                    <a:lnTo>
                      <a:pt x="132" y="40"/>
                    </a:lnTo>
                    <a:lnTo>
                      <a:pt x="132" y="41"/>
                    </a:lnTo>
                    <a:lnTo>
                      <a:pt x="131" y="42"/>
                    </a:lnTo>
                    <a:lnTo>
                      <a:pt x="130" y="44"/>
                    </a:lnTo>
                    <a:lnTo>
                      <a:pt x="130" y="45"/>
                    </a:lnTo>
                    <a:lnTo>
                      <a:pt x="130" y="46"/>
                    </a:lnTo>
                    <a:lnTo>
                      <a:pt x="129" y="46"/>
                    </a:lnTo>
                    <a:lnTo>
                      <a:pt x="128" y="46"/>
                    </a:lnTo>
                    <a:lnTo>
                      <a:pt x="125" y="47"/>
                    </a:lnTo>
                    <a:lnTo>
                      <a:pt x="123" y="47"/>
                    </a:lnTo>
                    <a:lnTo>
                      <a:pt x="122" y="49"/>
                    </a:lnTo>
                    <a:lnTo>
                      <a:pt x="122" y="50"/>
                    </a:lnTo>
                    <a:lnTo>
                      <a:pt x="121" y="50"/>
                    </a:lnTo>
                    <a:lnTo>
                      <a:pt x="122" y="51"/>
                    </a:lnTo>
                    <a:lnTo>
                      <a:pt x="123" y="53"/>
                    </a:lnTo>
                    <a:lnTo>
                      <a:pt x="125" y="53"/>
                    </a:lnTo>
                    <a:lnTo>
                      <a:pt x="126" y="53"/>
                    </a:lnTo>
                    <a:lnTo>
                      <a:pt x="128" y="53"/>
                    </a:lnTo>
                    <a:lnTo>
                      <a:pt x="132" y="53"/>
                    </a:lnTo>
                    <a:lnTo>
                      <a:pt x="134" y="53"/>
                    </a:lnTo>
                    <a:lnTo>
                      <a:pt x="135" y="53"/>
                    </a:lnTo>
                    <a:lnTo>
                      <a:pt x="138" y="54"/>
                    </a:lnTo>
                    <a:lnTo>
                      <a:pt x="140" y="55"/>
                    </a:lnTo>
                    <a:lnTo>
                      <a:pt x="141" y="56"/>
                    </a:lnTo>
                    <a:lnTo>
                      <a:pt x="142" y="57"/>
                    </a:lnTo>
                    <a:lnTo>
                      <a:pt x="143" y="57"/>
                    </a:lnTo>
                    <a:lnTo>
                      <a:pt x="145" y="58"/>
                    </a:lnTo>
                    <a:lnTo>
                      <a:pt x="146" y="59"/>
                    </a:lnTo>
                    <a:lnTo>
                      <a:pt x="147" y="60"/>
                    </a:lnTo>
                    <a:lnTo>
                      <a:pt x="147" y="62"/>
                    </a:lnTo>
                    <a:lnTo>
                      <a:pt x="148" y="63"/>
                    </a:lnTo>
                    <a:lnTo>
                      <a:pt x="148" y="64"/>
                    </a:lnTo>
                    <a:lnTo>
                      <a:pt x="148" y="65"/>
                    </a:lnTo>
                    <a:lnTo>
                      <a:pt x="148" y="66"/>
                    </a:lnTo>
                    <a:lnTo>
                      <a:pt x="147" y="66"/>
                    </a:lnTo>
                    <a:lnTo>
                      <a:pt x="147" y="67"/>
                    </a:lnTo>
                    <a:lnTo>
                      <a:pt x="146" y="68"/>
                    </a:lnTo>
                    <a:lnTo>
                      <a:pt x="145" y="69"/>
                    </a:lnTo>
                    <a:lnTo>
                      <a:pt x="144" y="70"/>
                    </a:lnTo>
                    <a:lnTo>
                      <a:pt x="143" y="72"/>
                    </a:lnTo>
                    <a:lnTo>
                      <a:pt x="142" y="75"/>
                    </a:lnTo>
                    <a:lnTo>
                      <a:pt x="141" y="77"/>
                    </a:lnTo>
                    <a:lnTo>
                      <a:pt x="141" y="78"/>
                    </a:lnTo>
                    <a:lnTo>
                      <a:pt x="140" y="79"/>
                    </a:lnTo>
                    <a:lnTo>
                      <a:pt x="139" y="81"/>
                    </a:lnTo>
                    <a:lnTo>
                      <a:pt x="139" y="82"/>
                    </a:lnTo>
                    <a:lnTo>
                      <a:pt x="138" y="84"/>
                    </a:lnTo>
                    <a:lnTo>
                      <a:pt x="136" y="85"/>
                    </a:lnTo>
                    <a:lnTo>
                      <a:pt x="136" y="86"/>
                    </a:lnTo>
                    <a:lnTo>
                      <a:pt x="136" y="89"/>
                    </a:lnTo>
                    <a:lnTo>
                      <a:pt x="136" y="90"/>
                    </a:lnTo>
                    <a:lnTo>
                      <a:pt x="136" y="92"/>
                    </a:lnTo>
                    <a:lnTo>
                      <a:pt x="136" y="94"/>
                    </a:lnTo>
                    <a:lnTo>
                      <a:pt x="136" y="96"/>
                    </a:lnTo>
                    <a:lnTo>
                      <a:pt x="136" y="98"/>
                    </a:lnTo>
                    <a:lnTo>
                      <a:pt x="138" y="101"/>
                    </a:lnTo>
                    <a:lnTo>
                      <a:pt x="139" y="102"/>
                    </a:lnTo>
                    <a:lnTo>
                      <a:pt x="140" y="103"/>
                    </a:lnTo>
                    <a:lnTo>
                      <a:pt x="141" y="105"/>
                    </a:lnTo>
                    <a:lnTo>
                      <a:pt x="142" y="105"/>
                    </a:lnTo>
                    <a:lnTo>
                      <a:pt x="143" y="105"/>
                    </a:lnTo>
                    <a:lnTo>
                      <a:pt x="144" y="105"/>
                    </a:lnTo>
                    <a:lnTo>
                      <a:pt x="145" y="105"/>
                    </a:lnTo>
                    <a:lnTo>
                      <a:pt x="146" y="106"/>
                    </a:lnTo>
                    <a:lnTo>
                      <a:pt x="148" y="107"/>
                    </a:lnTo>
                    <a:lnTo>
                      <a:pt x="149" y="108"/>
                    </a:lnTo>
                    <a:lnTo>
                      <a:pt x="149" y="109"/>
                    </a:lnTo>
                    <a:lnTo>
                      <a:pt x="149" y="110"/>
                    </a:lnTo>
                    <a:lnTo>
                      <a:pt x="149" y="111"/>
                    </a:lnTo>
                    <a:lnTo>
                      <a:pt x="149" y="113"/>
                    </a:lnTo>
                    <a:lnTo>
                      <a:pt x="148" y="114"/>
                    </a:lnTo>
                    <a:lnTo>
                      <a:pt x="148" y="115"/>
                    </a:lnTo>
                    <a:lnTo>
                      <a:pt x="148" y="116"/>
                    </a:lnTo>
                    <a:lnTo>
                      <a:pt x="147" y="116"/>
                    </a:lnTo>
                    <a:lnTo>
                      <a:pt x="146" y="117"/>
                    </a:lnTo>
                    <a:lnTo>
                      <a:pt x="145" y="117"/>
                    </a:lnTo>
                    <a:lnTo>
                      <a:pt x="145" y="118"/>
                    </a:lnTo>
                    <a:lnTo>
                      <a:pt x="144" y="118"/>
                    </a:lnTo>
                    <a:lnTo>
                      <a:pt x="142" y="119"/>
                    </a:lnTo>
                    <a:lnTo>
                      <a:pt x="141" y="120"/>
                    </a:lnTo>
                    <a:lnTo>
                      <a:pt x="141" y="121"/>
                    </a:lnTo>
                    <a:lnTo>
                      <a:pt x="140" y="121"/>
                    </a:lnTo>
                    <a:lnTo>
                      <a:pt x="141" y="122"/>
                    </a:lnTo>
                    <a:lnTo>
                      <a:pt x="142" y="123"/>
                    </a:lnTo>
                    <a:lnTo>
                      <a:pt x="144" y="124"/>
                    </a:lnTo>
                    <a:lnTo>
                      <a:pt x="145" y="124"/>
                    </a:lnTo>
                    <a:lnTo>
                      <a:pt x="146" y="124"/>
                    </a:lnTo>
                    <a:lnTo>
                      <a:pt x="148" y="126"/>
                    </a:lnTo>
                    <a:lnTo>
                      <a:pt x="149" y="126"/>
                    </a:lnTo>
                    <a:lnTo>
                      <a:pt x="151" y="124"/>
                    </a:lnTo>
                    <a:lnTo>
                      <a:pt x="152" y="121"/>
                    </a:lnTo>
                    <a:lnTo>
                      <a:pt x="154" y="117"/>
                    </a:lnTo>
                    <a:lnTo>
                      <a:pt x="155" y="116"/>
                    </a:lnTo>
                    <a:lnTo>
                      <a:pt x="156" y="115"/>
                    </a:lnTo>
                    <a:lnTo>
                      <a:pt x="157" y="115"/>
                    </a:lnTo>
                    <a:lnTo>
                      <a:pt x="158" y="116"/>
                    </a:lnTo>
                    <a:lnTo>
                      <a:pt x="158" y="117"/>
                    </a:lnTo>
                    <a:lnTo>
                      <a:pt x="158" y="118"/>
                    </a:lnTo>
                    <a:lnTo>
                      <a:pt x="158" y="119"/>
                    </a:lnTo>
                    <a:lnTo>
                      <a:pt x="158" y="120"/>
                    </a:lnTo>
                    <a:lnTo>
                      <a:pt x="158" y="121"/>
                    </a:lnTo>
                    <a:lnTo>
                      <a:pt x="158" y="122"/>
                    </a:lnTo>
                    <a:lnTo>
                      <a:pt x="158" y="123"/>
                    </a:lnTo>
                    <a:lnTo>
                      <a:pt x="158" y="126"/>
                    </a:lnTo>
                    <a:lnTo>
                      <a:pt x="158" y="127"/>
                    </a:lnTo>
                    <a:lnTo>
                      <a:pt x="158" y="128"/>
                    </a:lnTo>
                    <a:lnTo>
                      <a:pt x="158" y="129"/>
                    </a:lnTo>
                    <a:lnTo>
                      <a:pt x="158" y="131"/>
                    </a:lnTo>
                    <a:lnTo>
                      <a:pt x="158" y="133"/>
                    </a:lnTo>
                    <a:lnTo>
                      <a:pt x="157" y="135"/>
                    </a:lnTo>
                    <a:lnTo>
                      <a:pt x="157" y="137"/>
                    </a:lnTo>
                    <a:lnTo>
                      <a:pt x="156" y="142"/>
                    </a:lnTo>
                    <a:lnTo>
                      <a:pt x="156" y="144"/>
                    </a:lnTo>
                    <a:lnTo>
                      <a:pt x="155" y="145"/>
                    </a:lnTo>
                    <a:lnTo>
                      <a:pt x="155" y="146"/>
                    </a:lnTo>
                    <a:lnTo>
                      <a:pt x="155" y="147"/>
                    </a:lnTo>
                    <a:lnTo>
                      <a:pt x="154" y="147"/>
                    </a:lnTo>
                    <a:lnTo>
                      <a:pt x="154" y="148"/>
                    </a:lnTo>
                    <a:lnTo>
                      <a:pt x="154" y="149"/>
                    </a:lnTo>
                    <a:lnTo>
                      <a:pt x="153" y="150"/>
                    </a:lnTo>
                    <a:lnTo>
                      <a:pt x="152" y="152"/>
                    </a:lnTo>
                    <a:lnTo>
                      <a:pt x="151" y="154"/>
                    </a:lnTo>
                    <a:lnTo>
                      <a:pt x="149" y="155"/>
                    </a:lnTo>
                    <a:lnTo>
                      <a:pt x="148" y="155"/>
                    </a:lnTo>
                    <a:lnTo>
                      <a:pt x="147" y="156"/>
                    </a:lnTo>
                    <a:lnTo>
                      <a:pt x="146" y="156"/>
                    </a:lnTo>
                    <a:lnTo>
                      <a:pt x="145" y="156"/>
                    </a:lnTo>
                    <a:lnTo>
                      <a:pt x="141" y="158"/>
                    </a:lnTo>
                    <a:lnTo>
                      <a:pt x="139" y="159"/>
                    </a:lnTo>
                    <a:lnTo>
                      <a:pt x="138" y="159"/>
                    </a:lnTo>
                    <a:lnTo>
                      <a:pt x="138" y="160"/>
                    </a:lnTo>
                    <a:lnTo>
                      <a:pt x="136" y="161"/>
                    </a:lnTo>
                    <a:lnTo>
                      <a:pt x="135" y="161"/>
                    </a:lnTo>
                    <a:lnTo>
                      <a:pt x="135" y="162"/>
                    </a:lnTo>
                    <a:lnTo>
                      <a:pt x="135" y="163"/>
                    </a:lnTo>
                    <a:lnTo>
                      <a:pt x="134" y="166"/>
                    </a:lnTo>
                    <a:lnTo>
                      <a:pt x="134" y="167"/>
                    </a:lnTo>
                    <a:lnTo>
                      <a:pt x="134" y="168"/>
                    </a:lnTo>
                    <a:lnTo>
                      <a:pt x="134" y="169"/>
                    </a:lnTo>
                    <a:lnTo>
                      <a:pt x="135" y="170"/>
                    </a:lnTo>
                    <a:lnTo>
                      <a:pt x="135" y="171"/>
                    </a:lnTo>
                    <a:lnTo>
                      <a:pt x="136" y="172"/>
                    </a:lnTo>
                    <a:lnTo>
                      <a:pt x="138" y="172"/>
                    </a:lnTo>
                    <a:lnTo>
                      <a:pt x="139" y="172"/>
                    </a:lnTo>
                    <a:lnTo>
                      <a:pt x="140" y="172"/>
                    </a:lnTo>
                    <a:lnTo>
                      <a:pt x="141" y="172"/>
                    </a:lnTo>
                    <a:lnTo>
                      <a:pt x="141" y="171"/>
                    </a:lnTo>
                    <a:lnTo>
                      <a:pt x="142" y="170"/>
                    </a:lnTo>
                    <a:lnTo>
                      <a:pt x="143" y="168"/>
                    </a:lnTo>
                    <a:lnTo>
                      <a:pt x="143" y="167"/>
                    </a:lnTo>
                    <a:lnTo>
                      <a:pt x="144" y="167"/>
                    </a:lnTo>
                    <a:lnTo>
                      <a:pt x="145" y="165"/>
                    </a:lnTo>
                    <a:lnTo>
                      <a:pt x="147" y="162"/>
                    </a:lnTo>
                    <a:lnTo>
                      <a:pt x="147" y="161"/>
                    </a:lnTo>
                    <a:lnTo>
                      <a:pt x="148" y="160"/>
                    </a:lnTo>
                    <a:lnTo>
                      <a:pt x="149" y="160"/>
                    </a:lnTo>
                    <a:lnTo>
                      <a:pt x="151" y="160"/>
                    </a:lnTo>
                    <a:lnTo>
                      <a:pt x="152" y="160"/>
                    </a:lnTo>
                    <a:lnTo>
                      <a:pt x="153" y="160"/>
                    </a:lnTo>
                    <a:lnTo>
                      <a:pt x="154" y="160"/>
                    </a:lnTo>
                    <a:lnTo>
                      <a:pt x="155" y="161"/>
                    </a:lnTo>
                    <a:lnTo>
                      <a:pt x="156" y="161"/>
                    </a:lnTo>
                    <a:lnTo>
                      <a:pt x="157" y="162"/>
                    </a:lnTo>
                    <a:lnTo>
                      <a:pt x="157" y="163"/>
                    </a:lnTo>
                    <a:lnTo>
                      <a:pt x="157" y="165"/>
                    </a:lnTo>
                    <a:lnTo>
                      <a:pt x="158" y="167"/>
                    </a:lnTo>
                    <a:lnTo>
                      <a:pt x="159" y="168"/>
                    </a:lnTo>
                    <a:lnTo>
                      <a:pt x="159" y="169"/>
                    </a:lnTo>
                    <a:lnTo>
                      <a:pt x="159" y="170"/>
                    </a:lnTo>
                    <a:lnTo>
                      <a:pt x="159" y="171"/>
                    </a:lnTo>
                    <a:lnTo>
                      <a:pt x="159" y="172"/>
                    </a:lnTo>
                    <a:lnTo>
                      <a:pt x="159" y="173"/>
                    </a:lnTo>
                    <a:lnTo>
                      <a:pt x="159" y="174"/>
                    </a:lnTo>
                    <a:lnTo>
                      <a:pt x="159" y="175"/>
                    </a:lnTo>
                    <a:lnTo>
                      <a:pt x="159" y="176"/>
                    </a:lnTo>
                    <a:lnTo>
                      <a:pt x="159" y="178"/>
                    </a:lnTo>
                    <a:lnTo>
                      <a:pt x="159" y="179"/>
                    </a:lnTo>
                    <a:lnTo>
                      <a:pt x="159" y="180"/>
                    </a:lnTo>
                    <a:lnTo>
                      <a:pt x="158" y="182"/>
                    </a:lnTo>
                    <a:lnTo>
                      <a:pt x="158" y="183"/>
                    </a:lnTo>
                    <a:lnTo>
                      <a:pt x="157" y="184"/>
                    </a:lnTo>
                    <a:lnTo>
                      <a:pt x="157" y="185"/>
                    </a:lnTo>
                    <a:lnTo>
                      <a:pt x="157" y="186"/>
                    </a:lnTo>
                    <a:lnTo>
                      <a:pt x="156" y="186"/>
                    </a:lnTo>
                    <a:lnTo>
                      <a:pt x="156" y="187"/>
                    </a:lnTo>
                    <a:lnTo>
                      <a:pt x="155" y="190"/>
                    </a:lnTo>
                    <a:lnTo>
                      <a:pt x="154" y="191"/>
                    </a:lnTo>
                    <a:lnTo>
                      <a:pt x="153" y="192"/>
                    </a:lnTo>
                    <a:lnTo>
                      <a:pt x="151" y="194"/>
                    </a:lnTo>
                    <a:lnTo>
                      <a:pt x="148" y="195"/>
                    </a:lnTo>
                    <a:lnTo>
                      <a:pt x="147" y="196"/>
                    </a:lnTo>
                    <a:lnTo>
                      <a:pt x="146" y="197"/>
                    </a:lnTo>
                    <a:lnTo>
                      <a:pt x="144" y="199"/>
                    </a:lnTo>
                    <a:lnTo>
                      <a:pt x="141" y="201"/>
                    </a:lnTo>
                    <a:lnTo>
                      <a:pt x="141" y="203"/>
                    </a:lnTo>
                    <a:lnTo>
                      <a:pt x="140" y="204"/>
                    </a:lnTo>
                    <a:lnTo>
                      <a:pt x="139" y="205"/>
                    </a:lnTo>
                    <a:lnTo>
                      <a:pt x="138" y="206"/>
                    </a:lnTo>
                    <a:lnTo>
                      <a:pt x="136" y="209"/>
                    </a:lnTo>
                    <a:lnTo>
                      <a:pt x="136" y="210"/>
                    </a:lnTo>
                    <a:lnTo>
                      <a:pt x="136" y="212"/>
                    </a:lnTo>
                    <a:lnTo>
                      <a:pt x="135" y="214"/>
                    </a:lnTo>
                    <a:lnTo>
                      <a:pt x="135" y="216"/>
                    </a:lnTo>
                    <a:lnTo>
                      <a:pt x="134" y="217"/>
                    </a:lnTo>
                    <a:lnTo>
                      <a:pt x="133" y="219"/>
                    </a:lnTo>
                    <a:lnTo>
                      <a:pt x="133" y="220"/>
                    </a:lnTo>
                    <a:lnTo>
                      <a:pt x="134" y="223"/>
                    </a:lnTo>
                    <a:lnTo>
                      <a:pt x="136" y="224"/>
                    </a:lnTo>
                    <a:lnTo>
                      <a:pt x="138" y="224"/>
                    </a:lnTo>
                    <a:lnTo>
                      <a:pt x="139" y="224"/>
                    </a:lnTo>
                    <a:lnTo>
                      <a:pt x="140" y="224"/>
                    </a:lnTo>
                    <a:lnTo>
                      <a:pt x="140" y="223"/>
                    </a:lnTo>
                    <a:lnTo>
                      <a:pt x="141" y="222"/>
                    </a:lnTo>
                    <a:lnTo>
                      <a:pt x="141" y="221"/>
                    </a:lnTo>
                    <a:lnTo>
                      <a:pt x="142" y="219"/>
                    </a:lnTo>
                    <a:lnTo>
                      <a:pt x="143" y="218"/>
                    </a:lnTo>
                    <a:lnTo>
                      <a:pt x="145" y="216"/>
                    </a:lnTo>
                    <a:lnTo>
                      <a:pt x="146" y="214"/>
                    </a:lnTo>
                    <a:lnTo>
                      <a:pt x="147" y="213"/>
                    </a:lnTo>
                    <a:lnTo>
                      <a:pt x="149" y="213"/>
                    </a:lnTo>
                    <a:lnTo>
                      <a:pt x="151" y="213"/>
                    </a:lnTo>
                    <a:lnTo>
                      <a:pt x="152" y="213"/>
                    </a:lnTo>
                    <a:lnTo>
                      <a:pt x="154" y="213"/>
                    </a:lnTo>
                    <a:lnTo>
                      <a:pt x="156" y="214"/>
                    </a:lnTo>
                    <a:lnTo>
                      <a:pt x="157" y="214"/>
                    </a:lnTo>
                    <a:lnTo>
                      <a:pt x="158" y="216"/>
                    </a:lnTo>
                    <a:lnTo>
                      <a:pt x="159" y="217"/>
                    </a:lnTo>
                    <a:lnTo>
                      <a:pt x="159" y="218"/>
                    </a:lnTo>
                    <a:lnTo>
                      <a:pt x="160" y="219"/>
                    </a:lnTo>
                    <a:lnTo>
                      <a:pt x="160" y="223"/>
                    </a:lnTo>
                    <a:lnTo>
                      <a:pt x="160" y="227"/>
                    </a:lnTo>
                    <a:lnTo>
                      <a:pt x="159" y="231"/>
                    </a:lnTo>
                    <a:lnTo>
                      <a:pt x="158" y="240"/>
                    </a:lnTo>
                    <a:lnTo>
                      <a:pt x="157" y="242"/>
                    </a:lnTo>
                    <a:lnTo>
                      <a:pt x="157" y="248"/>
                    </a:lnTo>
                    <a:lnTo>
                      <a:pt x="156" y="252"/>
                    </a:lnTo>
                    <a:lnTo>
                      <a:pt x="157" y="255"/>
                    </a:lnTo>
                    <a:lnTo>
                      <a:pt x="157" y="256"/>
                    </a:lnTo>
                    <a:lnTo>
                      <a:pt x="158" y="256"/>
                    </a:lnTo>
                    <a:lnTo>
                      <a:pt x="159" y="255"/>
                    </a:lnTo>
                    <a:lnTo>
                      <a:pt x="161" y="253"/>
                    </a:lnTo>
                    <a:lnTo>
                      <a:pt x="161" y="252"/>
                    </a:lnTo>
                    <a:lnTo>
                      <a:pt x="164" y="251"/>
                    </a:lnTo>
                    <a:lnTo>
                      <a:pt x="165" y="251"/>
                    </a:lnTo>
                    <a:lnTo>
                      <a:pt x="165" y="252"/>
                    </a:lnTo>
                    <a:lnTo>
                      <a:pt x="165" y="253"/>
                    </a:lnTo>
                    <a:lnTo>
                      <a:pt x="164" y="256"/>
                    </a:lnTo>
                    <a:lnTo>
                      <a:pt x="164" y="257"/>
                    </a:lnTo>
                    <a:lnTo>
                      <a:pt x="165" y="258"/>
                    </a:lnTo>
                    <a:lnTo>
                      <a:pt x="166" y="260"/>
                    </a:lnTo>
                    <a:lnTo>
                      <a:pt x="167" y="261"/>
                    </a:lnTo>
                    <a:lnTo>
                      <a:pt x="167" y="262"/>
                    </a:lnTo>
                    <a:lnTo>
                      <a:pt x="168" y="263"/>
                    </a:lnTo>
                    <a:lnTo>
                      <a:pt x="170" y="265"/>
                    </a:lnTo>
                    <a:lnTo>
                      <a:pt x="170" y="267"/>
                    </a:lnTo>
                    <a:lnTo>
                      <a:pt x="169" y="269"/>
                    </a:lnTo>
                    <a:lnTo>
                      <a:pt x="168" y="270"/>
                    </a:lnTo>
                    <a:lnTo>
                      <a:pt x="167" y="270"/>
                    </a:lnTo>
                    <a:lnTo>
                      <a:pt x="165" y="270"/>
                    </a:lnTo>
                    <a:lnTo>
                      <a:pt x="162" y="269"/>
                    </a:lnTo>
                    <a:lnTo>
                      <a:pt x="161" y="269"/>
                    </a:lnTo>
                    <a:lnTo>
                      <a:pt x="161" y="270"/>
                    </a:lnTo>
                    <a:lnTo>
                      <a:pt x="160" y="271"/>
                    </a:lnTo>
                    <a:lnTo>
                      <a:pt x="159" y="272"/>
                    </a:lnTo>
                    <a:lnTo>
                      <a:pt x="158" y="273"/>
                    </a:lnTo>
                    <a:lnTo>
                      <a:pt x="158" y="275"/>
                    </a:lnTo>
                    <a:lnTo>
                      <a:pt x="159" y="276"/>
                    </a:lnTo>
                    <a:lnTo>
                      <a:pt x="160" y="277"/>
                    </a:lnTo>
                    <a:lnTo>
                      <a:pt x="162" y="278"/>
                    </a:lnTo>
                    <a:lnTo>
                      <a:pt x="164" y="278"/>
                    </a:lnTo>
                    <a:lnTo>
                      <a:pt x="165" y="278"/>
                    </a:lnTo>
                    <a:lnTo>
                      <a:pt x="167" y="278"/>
                    </a:lnTo>
                    <a:lnTo>
                      <a:pt x="169" y="278"/>
                    </a:lnTo>
                    <a:lnTo>
                      <a:pt x="169" y="277"/>
                    </a:lnTo>
                    <a:lnTo>
                      <a:pt x="170" y="276"/>
                    </a:lnTo>
                    <a:lnTo>
                      <a:pt x="171" y="275"/>
                    </a:lnTo>
                    <a:lnTo>
                      <a:pt x="172" y="275"/>
                    </a:lnTo>
                    <a:lnTo>
                      <a:pt x="173" y="276"/>
                    </a:lnTo>
                    <a:lnTo>
                      <a:pt x="175" y="278"/>
                    </a:lnTo>
                    <a:lnTo>
                      <a:pt x="177" y="281"/>
                    </a:lnTo>
                    <a:lnTo>
                      <a:pt x="178" y="283"/>
                    </a:lnTo>
                    <a:lnTo>
                      <a:pt x="179" y="285"/>
                    </a:lnTo>
                    <a:lnTo>
                      <a:pt x="179" y="287"/>
                    </a:lnTo>
                    <a:lnTo>
                      <a:pt x="179" y="288"/>
                    </a:lnTo>
                    <a:lnTo>
                      <a:pt x="179" y="290"/>
                    </a:lnTo>
                    <a:lnTo>
                      <a:pt x="178" y="293"/>
                    </a:lnTo>
                    <a:lnTo>
                      <a:pt x="178" y="295"/>
                    </a:lnTo>
                    <a:lnTo>
                      <a:pt x="177" y="296"/>
                    </a:lnTo>
                    <a:lnTo>
                      <a:pt x="174" y="299"/>
                    </a:lnTo>
                    <a:lnTo>
                      <a:pt x="174" y="300"/>
                    </a:lnTo>
                    <a:lnTo>
                      <a:pt x="174" y="301"/>
                    </a:lnTo>
                    <a:lnTo>
                      <a:pt x="175" y="302"/>
                    </a:lnTo>
                    <a:lnTo>
                      <a:pt x="178" y="302"/>
                    </a:lnTo>
                    <a:lnTo>
                      <a:pt x="182" y="302"/>
                    </a:lnTo>
                    <a:lnTo>
                      <a:pt x="183" y="303"/>
                    </a:lnTo>
                    <a:lnTo>
                      <a:pt x="184" y="303"/>
                    </a:lnTo>
                    <a:lnTo>
                      <a:pt x="185" y="304"/>
                    </a:lnTo>
                    <a:lnTo>
                      <a:pt x="186" y="306"/>
                    </a:lnTo>
                    <a:lnTo>
                      <a:pt x="186" y="307"/>
                    </a:lnTo>
                    <a:lnTo>
                      <a:pt x="186" y="308"/>
                    </a:lnTo>
                    <a:lnTo>
                      <a:pt x="185" y="308"/>
                    </a:lnTo>
                    <a:lnTo>
                      <a:pt x="183" y="309"/>
                    </a:lnTo>
                    <a:lnTo>
                      <a:pt x="182" y="309"/>
                    </a:lnTo>
                    <a:lnTo>
                      <a:pt x="182" y="308"/>
                    </a:lnTo>
                    <a:lnTo>
                      <a:pt x="178" y="306"/>
                    </a:lnTo>
                    <a:lnTo>
                      <a:pt x="175" y="307"/>
                    </a:lnTo>
                    <a:lnTo>
                      <a:pt x="174" y="308"/>
                    </a:lnTo>
                    <a:lnTo>
                      <a:pt x="173" y="308"/>
                    </a:lnTo>
                    <a:lnTo>
                      <a:pt x="171" y="308"/>
                    </a:lnTo>
                    <a:lnTo>
                      <a:pt x="170" y="308"/>
                    </a:lnTo>
                    <a:lnTo>
                      <a:pt x="168" y="309"/>
                    </a:lnTo>
                    <a:lnTo>
                      <a:pt x="168" y="310"/>
                    </a:lnTo>
                    <a:lnTo>
                      <a:pt x="168" y="311"/>
                    </a:lnTo>
                    <a:lnTo>
                      <a:pt x="169" y="312"/>
                    </a:lnTo>
                    <a:lnTo>
                      <a:pt x="171" y="313"/>
                    </a:lnTo>
                    <a:lnTo>
                      <a:pt x="173" y="313"/>
                    </a:lnTo>
                    <a:lnTo>
                      <a:pt x="175" y="314"/>
                    </a:lnTo>
                    <a:lnTo>
                      <a:pt x="177" y="314"/>
                    </a:lnTo>
                    <a:lnTo>
                      <a:pt x="178" y="314"/>
                    </a:lnTo>
                    <a:lnTo>
                      <a:pt x="178" y="313"/>
                    </a:lnTo>
                    <a:lnTo>
                      <a:pt x="179" y="313"/>
                    </a:lnTo>
                    <a:lnTo>
                      <a:pt x="179" y="312"/>
                    </a:lnTo>
                    <a:lnTo>
                      <a:pt x="180" y="312"/>
                    </a:lnTo>
                    <a:lnTo>
                      <a:pt x="181" y="311"/>
                    </a:lnTo>
                    <a:lnTo>
                      <a:pt x="182" y="311"/>
                    </a:lnTo>
                    <a:lnTo>
                      <a:pt x="183" y="311"/>
                    </a:lnTo>
                    <a:lnTo>
                      <a:pt x="184" y="311"/>
                    </a:lnTo>
                    <a:lnTo>
                      <a:pt x="185" y="312"/>
                    </a:lnTo>
                    <a:lnTo>
                      <a:pt x="186" y="312"/>
                    </a:lnTo>
                    <a:lnTo>
                      <a:pt x="187" y="313"/>
                    </a:lnTo>
                    <a:lnTo>
                      <a:pt x="188" y="314"/>
                    </a:lnTo>
                    <a:lnTo>
                      <a:pt x="188" y="315"/>
                    </a:lnTo>
                    <a:lnTo>
                      <a:pt x="188" y="317"/>
                    </a:lnTo>
                    <a:lnTo>
                      <a:pt x="188" y="320"/>
                    </a:lnTo>
                    <a:lnTo>
                      <a:pt x="187" y="322"/>
                    </a:lnTo>
                    <a:lnTo>
                      <a:pt x="185" y="325"/>
                    </a:lnTo>
                    <a:lnTo>
                      <a:pt x="185" y="326"/>
                    </a:lnTo>
                    <a:lnTo>
                      <a:pt x="184" y="327"/>
                    </a:lnTo>
                    <a:lnTo>
                      <a:pt x="183" y="328"/>
                    </a:lnTo>
                    <a:lnTo>
                      <a:pt x="182" y="328"/>
                    </a:lnTo>
                    <a:lnTo>
                      <a:pt x="181" y="329"/>
                    </a:lnTo>
                    <a:lnTo>
                      <a:pt x="179" y="330"/>
                    </a:lnTo>
                    <a:lnTo>
                      <a:pt x="178" y="330"/>
                    </a:lnTo>
                    <a:lnTo>
                      <a:pt x="178" y="332"/>
                    </a:lnTo>
                    <a:lnTo>
                      <a:pt x="178" y="333"/>
                    </a:lnTo>
                    <a:lnTo>
                      <a:pt x="178" y="335"/>
                    </a:lnTo>
                    <a:lnTo>
                      <a:pt x="178" y="336"/>
                    </a:lnTo>
                    <a:lnTo>
                      <a:pt x="178" y="337"/>
                    </a:lnTo>
                    <a:lnTo>
                      <a:pt x="179" y="337"/>
                    </a:lnTo>
                    <a:lnTo>
                      <a:pt x="180" y="337"/>
                    </a:lnTo>
                    <a:lnTo>
                      <a:pt x="181" y="336"/>
                    </a:lnTo>
                    <a:lnTo>
                      <a:pt x="182" y="336"/>
                    </a:lnTo>
                    <a:lnTo>
                      <a:pt x="183" y="335"/>
                    </a:lnTo>
                    <a:lnTo>
                      <a:pt x="184" y="335"/>
                    </a:lnTo>
                    <a:lnTo>
                      <a:pt x="185" y="337"/>
                    </a:lnTo>
                    <a:lnTo>
                      <a:pt x="186" y="338"/>
                    </a:lnTo>
                    <a:lnTo>
                      <a:pt x="186" y="339"/>
                    </a:lnTo>
                    <a:lnTo>
                      <a:pt x="186" y="340"/>
                    </a:lnTo>
                    <a:lnTo>
                      <a:pt x="186" y="341"/>
                    </a:lnTo>
                    <a:lnTo>
                      <a:pt x="187" y="342"/>
                    </a:lnTo>
                    <a:lnTo>
                      <a:pt x="188" y="345"/>
                    </a:lnTo>
                    <a:lnTo>
                      <a:pt x="190" y="348"/>
                    </a:lnTo>
                    <a:lnTo>
                      <a:pt x="191" y="350"/>
                    </a:lnTo>
                    <a:lnTo>
                      <a:pt x="192" y="351"/>
                    </a:lnTo>
                    <a:lnTo>
                      <a:pt x="193" y="352"/>
                    </a:lnTo>
                    <a:lnTo>
                      <a:pt x="193" y="353"/>
                    </a:lnTo>
                    <a:lnTo>
                      <a:pt x="191" y="354"/>
                    </a:lnTo>
                    <a:lnTo>
                      <a:pt x="188" y="354"/>
                    </a:lnTo>
                    <a:lnTo>
                      <a:pt x="187" y="354"/>
                    </a:lnTo>
                    <a:lnTo>
                      <a:pt x="187" y="353"/>
                    </a:lnTo>
                    <a:lnTo>
                      <a:pt x="186" y="352"/>
                    </a:lnTo>
                    <a:lnTo>
                      <a:pt x="186" y="351"/>
                    </a:lnTo>
                    <a:lnTo>
                      <a:pt x="186" y="350"/>
                    </a:lnTo>
                    <a:lnTo>
                      <a:pt x="186" y="347"/>
                    </a:lnTo>
                    <a:lnTo>
                      <a:pt x="185" y="346"/>
                    </a:lnTo>
                    <a:lnTo>
                      <a:pt x="185" y="345"/>
                    </a:lnTo>
                    <a:lnTo>
                      <a:pt x="184" y="345"/>
                    </a:lnTo>
                    <a:lnTo>
                      <a:pt x="183" y="345"/>
                    </a:lnTo>
                    <a:lnTo>
                      <a:pt x="181" y="343"/>
                    </a:lnTo>
                    <a:lnTo>
                      <a:pt x="180" y="346"/>
                    </a:lnTo>
                    <a:lnTo>
                      <a:pt x="180" y="347"/>
                    </a:lnTo>
                    <a:lnTo>
                      <a:pt x="179" y="348"/>
                    </a:lnTo>
                    <a:lnTo>
                      <a:pt x="179" y="349"/>
                    </a:lnTo>
                    <a:lnTo>
                      <a:pt x="178" y="349"/>
                    </a:lnTo>
                    <a:lnTo>
                      <a:pt x="177" y="350"/>
                    </a:lnTo>
                    <a:lnTo>
                      <a:pt x="177" y="351"/>
                    </a:lnTo>
                    <a:lnTo>
                      <a:pt x="175" y="351"/>
                    </a:lnTo>
                    <a:lnTo>
                      <a:pt x="174" y="350"/>
                    </a:lnTo>
                    <a:lnTo>
                      <a:pt x="173" y="349"/>
                    </a:lnTo>
                    <a:lnTo>
                      <a:pt x="172" y="348"/>
                    </a:lnTo>
                    <a:lnTo>
                      <a:pt x="171" y="348"/>
                    </a:lnTo>
                    <a:lnTo>
                      <a:pt x="170" y="348"/>
                    </a:lnTo>
                    <a:lnTo>
                      <a:pt x="169" y="348"/>
                    </a:lnTo>
                    <a:lnTo>
                      <a:pt x="169" y="350"/>
                    </a:lnTo>
                    <a:lnTo>
                      <a:pt x="171" y="352"/>
                    </a:lnTo>
                    <a:lnTo>
                      <a:pt x="172" y="353"/>
                    </a:lnTo>
                    <a:lnTo>
                      <a:pt x="174" y="354"/>
                    </a:lnTo>
                    <a:lnTo>
                      <a:pt x="175" y="355"/>
                    </a:lnTo>
                    <a:lnTo>
                      <a:pt x="177" y="355"/>
                    </a:lnTo>
                    <a:lnTo>
                      <a:pt x="178" y="357"/>
                    </a:lnTo>
                    <a:lnTo>
                      <a:pt x="179" y="358"/>
                    </a:lnTo>
                    <a:lnTo>
                      <a:pt x="179" y="357"/>
                    </a:lnTo>
                    <a:lnTo>
                      <a:pt x="180" y="355"/>
                    </a:lnTo>
                    <a:lnTo>
                      <a:pt x="180" y="354"/>
                    </a:lnTo>
                    <a:lnTo>
                      <a:pt x="181" y="354"/>
                    </a:lnTo>
                    <a:lnTo>
                      <a:pt x="181" y="353"/>
                    </a:lnTo>
                    <a:lnTo>
                      <a:pt x="182" y="353"/>
                    </a:lnTo>
                    <a:lnTo>
                      <a:pt x="182" y="354"/>
                    </a:lnTo>
                    <a:lnTo>
                      <a:pt x="183" y="354"/>
                    </a:lnTo>
                    <a:lnTo>
                      <a:pt x="183" y="355"/>
                    </a:lnTo>
                    <a:lnTo>
                      <a:pt x="184" y="357"/>
                    </a:lnTo>
                    <a:lnTo>
                      <a:pt x="183" y="363"/>
                    </a:lnTo>
                    <a:lnTo>
                      <a:pt x="183" y="364"/>
                    </a:lnTo>
                    <a:lnTo>
                      <a:pt x="183" y="366"/>
                    </a:lnTo>
                    <a:lnTo>
                      <a:pt x="183" y="367"/>
                    </a:lnTo>
                    <a:lnTo>
                      <a:pt x="184" y="367"/>
                    </a:lnTo>
                    <a:lnTo>
                      <a:pt x="185" y="367"/>
                    </a:lnTo>
                    <a:lnTo>
                      <a:pt x="186" y="367"/>
                    </a:lnTo>
                    <a:lnTo>
                      <a:pt x="187" y="368"/>
                    </a:lnTo>
                    <a:lnTo>
                      <a:pt x="188" y="368"/>
                    </a:lnTo>
                    <a:lnTo>
                      <a:pt x="191" y="370"/>
                    </a:lnTo>
                    <a:lnTo>
                      <a:pt x="194" y="371"/>
                    </a:lnTo>
                    <a:lnTo>
                      <a:pt x="195" y="372"/>
                    </a:lnTo>
                    <a:lnTo>
                      <a:pt x="197" y="372"/>
                    </a:lnTo>
                    <a:lnTo>
                      <a:pt x="202" y="374"/>
                    </a:lnTo>
                    <a:lnTo>
                      <a:pt x="202" y="375"/>
                    </a:lnTo>
                    <a:lnTo>
                      <a:pt x="206" y="377"/>
                    </a:lnTo>
                    <a:lnTo>
                      <a:pt x="206" y="378"/>
                    </a:lnTo>
                    <a:lnTo>
                      <a:pt x="207" y="379"/>
                    </a:lnTo>
                    <a:lnTo>
                      <a:pt x="208" y="379"/>
                    </a:lnTo>
                    <a:lnTo>
                      <a:pt x="208" y="380"/>
                    </a:lnTo>
                    <a:lnTo>
                      <a:pt x="207" y="380"/>
                    </a:lnTo>
                    <a:lnTo>
                      <a:pt x="205" y="381"/>
                    </a:lnTo>
                    <a:lnTo>
                      <a:pt x="204" y="381"/>
                    </a:lnTo>
                    <a:lnTo>
                      <a:pt x="203" y="383"/>
                    </a:lnTo>
                    <a:lnTo>
                      <a:pt x="202" y="383"/>
                    </a:lnTo>
                    <a:lnTo>
                      <a:pt x="199" y="384"/>
                    </a:lnTo>
                    <a:lnTo>
                      <a:pt x="199" y="386"/>
                    </a:lnTo>
                    <a:lnTo>
                      <a:pt x="199" y="387"/>
                    </a:lnTo>
                    <a:lnTo>
                      <a:pt x="200" y="387"/>
                    </a:lnTo>
                    <a:lnTo>
                      <a:pt x="202" y="387"/>
                    </a:lnTo>
                    <a:lnTo>
                      <a:pt x="203" y="387"/>
                    </a:lnTo>
                    <a:lnTo>
                      <a:pt x="203" y="386"/>
                    </a:lnTo>
                    <a:lnTo>
                      <a:pt x="204" y="386"/>
                    </a:lnTo>
                    <a:lnTo>
                      <a:pt x="207" y="383"/>
                    </a:lnTo>
                    <a:lnTo>
                      <a:pt x="209" y="381"/>
                    </a:lnTo>
                    <a:lnTo>
                      <a:pt x="210" y="380"/>
                    </a:lnTo>
                    <a:lnTo>
                      <a:pt x="211" y="379"/>
                    </a:lnTo>
                    <a:lnTo>
                      <a:pt x="212" y="380"/>
                    </a:lnTo>
                    <a:lnTo>
                      <a:pt x="212" y="383"/>
                    </a:lnTo>
                    <a:lnTo>
                      <a:pt x="212" y="384"/>
                    </a:lnTo>
                    <a:lnTo>
                      <a:pt x="212" y="385"/>
                    </a:lnTo>
                    <a:lnTo>
                      <a:pt x="212" y="386"/>
                    </a:lnTo>
                    <a:lnTo>
                      <a:pt x="212" y="387"/>
                    </a:lnTo>
                    <a:lnTo>
                      <a:pt x="212" y="389"/>
                    </a:lnTo>
                    <a:lnTo>
                      <a:pt x="211" y="389"/>
                    </a:lnTo>
                    <a:lnTo>
                      <a:pt x="210" y="391"/>
                    </a:lnTo>
                    <a:lnTo>
                      <a:pt x="210" y="392"/>
                    </a:lnTo>
                    <a:lnTo>
                      <a:pt x="210" y="393"/>
                    </a:lnTo>
                    <a:lnTo>
                      <a:pt x="211" y="394"/>
                    </a:lnTo>
                    <a:lnTo>
                      <a:pt x="212" y="396"/>
                    </a:lnTo>
                    <a:lnTo>
                      <a:pt x="213" y="397"/>
                    </a:lnTo>
                    <a:lnTo>
                      <a:pt x="216" y="398"/>
                    </a:lnTo>
                    <a:lnTo>
                      <a:pt x="217" y="399"/>
                    </a:lnTo>
                    <a:lnTo>
                      <a:pt x="217" y="400"/>
                    </a:lnTo>
                    <a:lnTo>
                      <a:pt x="217" y="401"/>
                    </a:lnTo>
                    <a:lnTo>
                      <a:pt x="217" y="402"/>
                    </a:lnTo>
                    <a:lnTo>
                      <a:pt x="217" y="403"/>
                    </a:lnTo>
                    <a:lnTo>
                      <a:pt x="217" y="404"/>
                    </a:lnTo>
                    <a:lnTo>
                      <a:pt x="218" y="404"/>
                    </a:lnTo>
                    <a:lnTo>
                      <a:pt x="220" y="403"/>
                    </a:lnTo>
                    <a:lnTo>
                      <a:pt x="221" y="403"/>
                    </a:lnTo>
                    <a:lnTo>
                      <a:pt x="223" y="405"/>
                    </a:lnTo>
                    <a:lnTo>
                      <a:pt x="221" y="406"/>
                    </a:lnTo>
                    <a:lnTo>
                      <a:pt x="221" y="407"/>
                    </a:lnTo>
                    <a:lnTo>
                      <a:pt x="218" y="412"/>
                    </a:lnTo>
                    <a:lnTo>
                      <a:pt x="216" y="413"/>
                    </a:lnTo>
                    <a:lnTo>
                      <a:pt x="216" y="415"/>
                    </a:lnTo>
                    <a:lnTo>
                      <a:pt x="218" y="418"/>
                    </a:lnTo>
                    <a:lnTo>
                      <a:pt x="219" y="419"/>
                    </a:lnTo>
                    <a:lnTo>
                      <a:pt x="220" y="419"/>
                    </a:lnTo>
                    <a:lnTo>
                      <a:pt x="221" y="419"/>
                    </a:lnTo>
                    <a:lnTo>
                      <a:pt x="222" y="419"/>
                    </a:lnTo>
                    <a:lnTo>
                      <a:pt x="223" y="420"/>
                    </a:lnTo>
                    <a:lnTo>
                      <a:pt x="225" y="420"/>
                    </a:lnTo>
                    <a:lnTo>
                      <a:pt x="226" y="420"/>
                    </a:lnTo>
                    <a:lnTo>
                      <a:pt x="226" y="422"/>
                    </a:lnTo>
                    <a:lnTo>
                      <a:pt x="228" y="423"/>
                    </a:lnTo>
                    <a:lnTo>
                      <a:pt x="228" y="424"/>
                    </a:lnTo>
                    <a:lnTo>
                      <a:pt x="229" y="426"/>
                    </a:lnTo>
                    <a:lnTo>
                      <a:pt x="230" y="427"/>
                    </a:lnTo>
                    <a:lnTo>
                      <a:pt x="233" y="428"/>
                    </a:lnTo>
                    <a:lnTo>
                      <a:pt x="234" y="429"/>
                    </a:lnTo>
                    <a:lnTo>
                      <a:pt x="234" y="430"/>
                    </a:lnTo>
                    <a:lnTo>
                      <a:pt x="234" y="431"/>
                    </a:lnTo>
                    <a:lnTo>
                      <a:pt x="233" y="432"/>
                    </a:lnTo>
                    <a:lnTo>
                      <a:pt x="232" y="433"/>
                    </a:lnTo>
                    <a:lnTo>
                      <a:pt x="231" y="435"/>
                    </a:lnTo>
                    <a:lnTo>
                      <a:pt x="229" y="435"/>
                    </a:lnTo>
                    <a:lnTo>
                      <a:pt x="226" y="436"/>
                    </a:lnTo>
                    <a:lnTo>
                      <a:pt x="226" y="435"/>
                    </a:lnTo>
                    <a:lnTo>
                      <a:pt x="225" y="435"/>
                    </a:lnTo>
                    <a:lnTo>
                      <a:pt x="225" y="433"/>
                    </a:lnTo>
                    <a:lnTo>
                      <a:pt x="225" y="432"/>
                    </a:lnTo>
                    <a:lnTo>
                      <a:pt x="225" y="430"/>
                    </a:lnTo>
                    <a:lnTo>
                      <a:pt x="226" y="428"/>
                    </a:lnTo>
                    <a:lnTo>
                      <a:pt x="225" y="427"/>
                    </a:lnTo>
                    <a:lnTo>
                      <a:pt x="224" y="427"/>
                    </a:lnTo>
                    <a:lnTo>
                      <a:pt x="223" y="426"/>
                    </a:lnTo>
                    <a:lnTo>
                      <a:pt x="222" y="428"/>
                    </a:lnTo>
                    <a:lnTo>
                      <a:pt x="221" y="429"/>
                    </a:lnTo>
                    <a:lnTo>
                      <a:pt x="221" y="430"/>
                    </a:lnTo>
                    <a:lnTo>
                      <a:pt x="221" y="431"/>
                    </a:lnTo>
                    <a:lnTo>
                      <a:pt x="220" y="431"/>
                    </a:lnTo>
                    <a:lnTo>
                      <a:pt x="219" y="432"/>
                    </a:lnTo>
                    <a:lnTo>
                      <a:pt x="217" y="433"/>
                    </a:lnTo>
                    <a:lnTo>
                      <a:pt x="216" y="433"/>
                    </a:lnTo>
                    <a:lnTo>
                      <a:pt x="216" y="435"/>
                    </a:lnTo>
                    <a:lnTo>
                      <a:pt x="217" y="436"/>
                    </a:lnTo>
                    <a:lnTo>
                      <a:pt x="218" y="436"/>
                    </a:lnTo>
                    <a:lnTo>
                      <a:pt x="219" y="437"/>
                    </a:lnTo>
                    <a:lnTo>
                      <a:pt x="220" y="438"/>
                    </a:lnTo>
                    <a:lnTo>
                      <a:pt x="221" y="438"/>
                    </a:lnTo>
                    <a:lnTo>
                      <a:pt x="224" y="438"/>
                    </a:lnTo>
                    <a:lnTo>
                      <a:pt x="225" y="438"/>
                    </a:lnTo>
                    <a:lnTo>
                      <a:pt x="226" y="439"/>
                    </a:lnTo>
                    <a:lnTo>
                      <a:pt x="229" y="439"/>
                    </a:lnTo>
                    <a:lnTo>
                      <a:pt x="231" y="438"/>
                    </a:lnTo>
                    <a:lnTo>
                      <a:pt x="232" y="438"/>
                    </a:lnTo>
                    <a:lnTo>
                      <a:pt x="233" y="438"/>
                    </a:lnTo>
                    <a:lnTo>
                      <a:pt x="234" y="438"/>
                    </a:lnTo>
                    <a:lnTo>
                      <a:pt x="235" y="439"/>
                    </a:lnTo>
                    <a:lnTo>
                      <a:pt x="235" y="440"/>
                    </a:lnTo>
                    <a:lnTo>
                      <a:pt x="234" y="440"/>
                    </a:lnTo>
                    <a:lnTo>
                      <a:pt x="232" y="440"/>
                    </a:lnTo>
                    <a:lnTo>
                      <a:pt x="231" y="440"/>
                    </a:lnTo>
                    <a:lnTo>
                      <a:pt x="229" y="440"/>
                    </a:lnTo>
                    <a:lnTo>
                      <a:pt x="228" y="441"/>
                    </a:lnTo>
                    <a:lnTo>
                      <a:pt x="226" y="441"/>
                    </a:lnTo>
                    <a:lnTo>
                      <a:pt x="225" y="441"/>
                    </a:lnTo>
                    <a:lnTo>
                      <a:pt x="223" y="441"/>
                    </a:lnTo>
                    <a:lnTo>
                      <a:pt x="221" y="442"/>
                    </a:lnTo>
                    <a:lnTo>
                      <a:pt x="220" y="444"/>
                    </a:lnTo>
                    <a:lnTo>
                      <a:pt x="219" y="445"/>
                    </a:lnTo>
                    <a:lnTo>
                      <a:pt x="218" y="448"/>
                    </a:lnTo>
                    <a:lnTo>
                      <a:pt x="218" y="450"/>
                    </a:lnTo>
                    <a:lnTo>
                      <a:pt x="219" y="452"/>
                    </a:lnTo>
                    <a:lnTo>
                      <a:pt x="220" y="454"/>
                    </a:lnTo>
                    <a:lnTo>
                      <a:pt x="221" y="455"/>
                    </a:lnTo>
                    <a:lnTo>
                      <a:pt x="222" y="456"/>
                    </a:lnTo>
                    <a:lnTo>
                      <a:pt x="223" y="457"/>
                    </a:lnTo>
                    <a:lnTo>
                      <a:pt x="225" y="457"/>
                    </a:lnTo>
                    <a:lnTo>
                      <a:pt x="226" y="458"/>
                    </a:lnTo>
                    <a:lnTo>
                      <a:pt x="228" y="458"/>
                    </a:lnTo>
                    <a:lnTo>
                      <a:pt x="229" y="458"/>
                    </a:lnTo>
                    <a:lnTo>
                      <a:pt x="230" y="460"/>
                    </a:lnTo>
                    <a:lnTo>
                      <a:pt x="232" y="460"/>
                    </a:lnTo>
                    <a:lnTo>
                      <a:pt x="233" y="460"/>
                    </a:lnTo>
                    <a:lnTo>
                      <a:pt x="234" y="460"/>
                    </a:lnTo>
                    <a:lnTo>
                      <a:pt x="234" y="458"/>
                    </a:lnTo>
                    <a:lnTo>
                      <a:pt x="234" y="457"/>
                    </a:lnTo>
                    <a:lnTo>
                      <a:pt x="234" y="456"/>
                    </a:lnTo>
                    <a:lnTo>
                      <a:pt x="234" y="455"/>
                    </a:lnTo>
                    <a:lnTo>
                      <a:pt x="233" y="454"/>
                    </a:lnTo>
                    <a:lnTo>
                      <a:pt x="232" y="453"/>
                    </a:lnTo>
                    <a:lnTo>
                      <a:pt x="231" y="452"/>
                    </a:lnTo>
                    <a:lnTo>
                      <a:pt x="230" y="451"/>
                    </a:lnTo>
                    <a:lnTo>
                      <a:pt x="230" y="450"/>
                    </a:lnTo>
                    <a:lnTo>
                      <a:pt x="230" y="449"/>
                    </a:lnTo>
                    <a:lnTo>
                      <a:pt x="230" y="448"/>
                    </a:lnTo>
                    <a:lnTo>
                      <a:pt x="231" y="448"/>
                    </a:lnTo>
                    <a:lnTo>
                      <a:pt x="231" y="447"/>
                    </a:lnTo>
                    <a:lnTo>
                      <a:pt x="232" y="447"/>
                    </a:lnTo>
                    <a:lnTo>
                      <a:pt x="233" y="447"/>
                    </a:lnTo>
                    <a:lnTo>
                      <a:pt x="233" y="445"/>
                    </a:lnTo>
                    <a:lnTo>
                      <a:pt x="236" y="447"/>
                    </a:lnTo>
                    <a:lnTo>
                      <a:pt x="237" y="447"/>
                    </a:lnTo>
                    <a:lnTo>
                      <a:pt x="238" y="447"/>
                    </a:lnTo>
                    <a:lnTo>
                      <a:pt x="239" y="447"/>
                    </a:lnTo>
                    <a:lnTo>
                      <a:pt x="241" y="448"/>
                    </a:lnTo>
                    <a:lnTo>
                      <a:pt x="242" y="448"/>
                    </a:lnTo>
                    <a:lnTo>
                      <a:pt x="243" y="449"/>
                    </a:lnTo>
                    <a:lnTo>
                      <a:pt x="244" y="450"/>
                    </a:lnTo>
                    <a:lnTo>
                      <a:pt x="245" y="451"/>
                    </a:lnTo>
                    <a:lnTo>
                      <a:pt x="245" y="452"/>
                    </a:lnTo>
                    <a:lnTo>
                      <a:pt x="247" y="453"/>
                    </a:lnTo>
                    <a:lnTo>
                      <a:pt x="249" y="453"/>
                    </a:lnTo>
                    <a:lnTo>
                      <a:pt x="250" y="453"/>
                    </a:lnTo>
                    <a:lnTo>
                      <a:pt x="250" y="454"/>
                    </a:lnTo>
                    <a:lnTo>
                      <a:pt x="249" y="455"/>
                    </a:lnTo>
                    <a:lnTo>
                      <a:pt x="248" y="455"/>
                    </a:lnTo>
                    <a:lnTo>
                      <a:pt x="247" y="456"/>
                    </a:lnTo>
                    <a:lnTo>
                      <a:pt x="246" y="456"/>
                    </a:lnTo>
                    <a:lnTo>
                      <a:pt x="245" y="456"/>
                    </a:lnTo>
                    <a:lnTo>
                      <a:pt x="244" y="457"/>
                    </a:lnTo>
                    <a:lnTo>
                      <a:pt x="243" y="458"/>
                    </a:lnTo>
                    <a:lnTo>
                      <a:pt x="242" y="460"/>
                    </a:lnTo>
                    <a:lnTo>
                      <a:pt x="242" y="461"/>
                    </a:lnTo>
                    <a:lnTo>
                      <a:pt x="242" y="463"/>
                    </a:lnTo>
                    <a:lnTo>
                      <a:pt x="242" y="464"/>
                    </a:lnTo>
                    <a:lnTo>
                      <a:pt x="242" y="465"/>
                    </a:lnTo>
                    <a:lnTo>
                      <a:pt x="241" y="465"/>
                    </a:lnTo>
                    <a:lnTo>
                      <a:pt x="241" y="466"/>
                    </a:lnTo>
                    <a:lnTo>
                      <a:pt x="242" y="466"/>
                    </a:lnTo>
                    <a:lnTo>
                      <a:pt x="242" y="467"/>
                    </a:lnTo>
                    <a:lnTo>
                      <a:pt x="243" y="466"/>
                    </a:lnTo>
                    <a:lnTo>
                      <a:pt x="244" y="465"/>
                    </a:lnTo>
                    <a:lnTo>
                      <a:pt x="245" y="464"/>
                    </a:lnTo>
                    <a:lnTo>
                      <a:pt x="246" y="463"/>
                    </a:lnTo>
                    <a:lnTo>
                      <a:pt x="248" y="460"/>
                    </a:lnTo>
                    <a:lnTo>
                      <a:pt x="248" y="458"/>
                    </a:lnTo>
                    <a:lnTo>
                      <a:pt x="249" y="457"/>
                    </a:lnTo>
                    <a:lnTo>
                      <a:pt x="249" y="456"/>
                    </a:lnTo>
                    <a:lnTo>
                      <a:pt x="250" y="455"/>
                    </a:lnTo>
                    <a:lnTo>
                      <a:pt x="251" y="455"/>
                    </a:lnTo>
                    <a:lnTo>
                      <a:pt x="251" y="454"/>
                    </a:lnTo>
                    <a:lnTo>
                      <a:pt x="251" y="452"/>
                    </a:lnTo>
                    <a:lnTo>
                      <a:pt x="252" y="451"/>
                    </a:lnTo>
                    <a:lnTo>
                      <a:pt x="254" y="451"/>
                    </a:lnTo>
                    <a:lnTo>
                      <a:pt x="255" y="451"/>
                    </a:lnTo>
                    <a:lnTo>
                      <a:pt x="256" y="451"/>
                    </a:lnTo>
                    <a:lnTo>
                      <a:pt x="257" y="452"/>
                    </a:lnTo>
                    <a:lnTo>
                      <a:pt x="257" y="453"/>
                    </a:lnTo>
                    <a:lnTo>
                      <a:pt x="257" y="454"/>
                    </a:lnTo>
                    <a:lnTo>
                      <a:pt x="256" y="455"/>
                    </a:lnTo>
                    <a:lnTo>
                      <a:pt x="256" y="456"/>
                    </a:lnTo>
                    <a:lnTo>
                      <a:pt x="255" y="457"/>
                    </a:lnTo>
                    <a:lnTo>
                      <a:pt x="254" y="458"/>
                    </a:lnTo>
                    <a:lnTo>
                      <a:pt x="254" y="460"/>
                    </a:lnTo>
                    <a:lnTo>
                      <a:pt x="252" y="461"/>
                    </a:lnTo>
                    <a:lnTo>
                      <a:pt x="252" y="462"/>
                    </a:lnTo>
                    <a:lnTo>
                      <a:pt x="252" y="465"/>
                    </a:lnTo>
                    <a:lnTo>
                      <a:pt x="252" y="468"/>
                    </a:lnTo>
                    <a:lnTo>
                      <a:pt x="254" y="470"/>
                    </a:lnTo>
                    <a:lnTo>
                      <a:pt x="254" y="471"/>
                    </a:lnTo>
                    <a:lnTo>
                      <a:pt x="254" y="473"/>
                    </a:lnTo>
                    <a:lnTo>
                      <a:pt x="254" y="474"/>
                    </a:lnTo>
                    <a:lnTo>
                      <a:pt x="255" y="475"/>
                    </a:lnTo>
                    <a:lnTo>
                      <a:pt x="255" y="476"/>
                    </a:lnTo>
                    <a:lnTo>
                      <a:pt x="256" y="477"/>
                    </a:lnTo>
                    <a:lnTo>
                      <a:pt x="256" y="478"/>
                    </a:lnTo>
                    <a:lnTo>
                      <a:pt x="257" y="478"/>
                    </a:lnTo>
                    <a:lnTo>
                      <a:pt x="258" y="478"/>
                    </a:lnTo>
                    <a:lnTo>
                      <a:pt x="259" y="478"/>
                    </a:lnTo>
                    <a:lnTo>
                      <a:pt x="260" y="477"/>
                    </a:lnTo>
                    <a:lnTo>
                      <a:pt x="261" y="477"/>
                    </a:lnTo>
                    <a:lnTo>
                      <a:pt x="262" y="476"/>
                    </a:lnTo>
                    <a:lnTo>
                      <a:pt x="262" y="475"/>
                    </a:lnTo>
                    <a:lnTo>
                      <a:pt x="263" y="473"/>
                    </a:lnTo>
                    <a:lnTo>
                      <a:pt x="263" y="471"/>
                    </a:lnTo>
                    <a:lnTo>
                      <a:pt x="263" y="470"/>
                    </a:lnTo>
                    <a:lnTo>
                      <a:pt x="263" y="469"/>
                    </a:lnTo>
                    <a:lnTo>
                      <a:pt x="264" y="469"/>
                    </a:lnTo>
                    <a:lnTo>
                      <a:pt x="264" y="468"/>
                    </a:lnTo>
                    <a:lnTo>
                      <a:pt x="265" y="467"/>
                    </a:lnTo>
                    <a:lnTo>
                      <a:pt x="267" y="466"/>
                    </a:lnTo>
                    <a:lnTo>
                      <a:pt x="268" y="466"/>
                    </a:lnTo>
                    <a:lnTo>
                      <a:pt x="268" y="465"/>
                    </a:lnTo>
                    <a:lnTo>
                      <a:pt x="269" y="465"/>
                    </a:lnTo>
                    <a:lnTo>
                      <a:pt x="270" y="466"/>
                    </a:lnTo>
                    <a:lnTo>
                      <a:pt x="270" y="467"/>
                    </a:lnTo>
                    <a:lnTo>
                      <a:pt x="270" y="468"/>
                    </a:lnTo>
                    <a:lnTo>
                      <a:pt x="269" y="470"/>
                    </a:lnTo>
                    <a:lnTo>
                      <a:pt x="268" y="471"/>
                    </a:lnTo>
                    <a:lnTo>
                      <a:pt x="267" y="471"/>
                    </a:lnTo>
                    <a:lnTo>
                      <a:pt x="267" y="473"/>
                    </a:lnTo>
                    <a:lnTo>
                      <a:pt x="265" y="474"/>
                    </a:lnTo>
                    <a:lnTo>
                      <a:pt x="265" y="477"/>
                    </a:lnTo>
                    <a:lnTo>
                      <a:pt x="264" y="477"/>
                    </a:lnTo>
                    <a:lnTo>
                      <a:pt x="264" y="478"/>
                    </a:lnTo>
                    <a:lnTo>
                      <a:pt x="263" y="479"/>
                    </a:lnTo>
                    <a:lnTo>
                      <a:pt x="263" y="480"/>
                    </a:lnTo>
                    <a:lnTo>
                      <a:pt x="263" y="481"/>
                    </a:lnTo>
                    <a:lnTo>
                      <a:pt x="263" y="482"/>
                    </a:lnTo>
                    <a:lnTo>
                      <a:pt x="262" y="483"/>
                    </a:lnTo>
                    <a:lnTo>
                      <a:pt x="260" y="483"/>
                    </a:lnTo>
                    <a:lnTo>
                      <a:pt x="260" y="482"/>
                    </a:lnTo>
                    <a:lnTo>
                      <a:pt x="259" y="482"/>
                    </a:lnTo>
                    <a:lnTo>
                      <a:pt x="259" y="483"/>
                    </a:lnTo>
                    <a:lnTo>
                      <a:pt x="258" y="483"/>
                    </a:lnTo>
                    <a:lnTo>
                      <a:pt x="258" y="484"/>
                    </a:lnTo>
                    <a:lnTo>
                      <a:pt x="259" y="484"/>
                    </a:lnTo>
                    <a:lnTo>
                      <a:pt x="259" y="486"/>
                    </a:lnTo>
                    <a:lnTo>
                      <a:pt x="259" y="487"/>
                    </a:lnTo>
                    <a:lnTo>
                      <a:pt x="260" y="488"/>
                    </a:lnTo>
                    <a:lnTo>
                      <a:pt x="262" y="488"/>
                    </a:lnTo>
                    <a:lnTo>
                      <a:pt x="265" y="488"/>
                    </a:lnTo>
                    <a:lnTo>
                      <a:pt x="267" y="488"/>
                    </a:lnTo>
                    <a:lnTo>
                      <a:pt x="268" y="487"/>
                    </a:lnTo>
                    <a:lnTo>
                      <a:pt x="269" y="488"/>
                    </a:lnTo>
                    <a:lnTo>
                      <a:pt x="270" y="488"/>
                    </a:lnTo>
                    <a:lnTo>
                      <a:pt x="271" y="488"/>
                    </a:lnTo>
                    <a:lnTo>
                      <a:pt x="272" y="488"/>
                    </a:lnTo>
                    <a:lnTo>
                      <a:pt x="274" y="488"/>
                    </a:lnTo>
                    <a:lnTo>
                      <a:pt x="275" y="488"/>
                    </a:lnTo>
                    <a:lnTo>
                      <a:pt x="276" y="488"/>
                    </a:lnTo>
                    <a:lnTo>
                      <a:pt x="277" y="488"/>
                    </a:lnTo>
                    <a:lnTo>
                      <a:pt x="278" y="488"/>
                    </a:lnTo>
                    <a:lnTo>
                      <a:pt x="280" y="488"/>
                    </a:lnTo>
                    <a:lnTo>
                      <a:pt x="281" y="488"/>
                    </a:lnTo>
                    <a:lnTo>
                      <a:pt x="282" y="489"/>
                    </a:lnTo>
                    <a:lnTo>
                      <a:pt x="283" y="490"/>
                    </a:lnTo>
                    <a:lnTo>
                      <a:pt x="283" y="491"/>
                    </a:lnTo>
                    <a:lnTo>
                      <a:pt x="283" y="492"/>
                    </a:lnTo>
                    <a:lnTo>
                      <a:pt x="283" y="493"/>
                    </a:lnTo>
                    <a:lnTo>
                      <a:pt x="282" y="494"/>
                    </a:lnTo>
                    <a:lnTo>
                      <a:pt x="281" y="495"/>
                    </a:lnTo>
                    <a:lnTo>
                      <a:pt x="281" y="496"/>
                    </a:lnTo>
                    <a:lnTo>
                      <a:pt x="281" y="497"/>
                    </a:lnTo>
                    <a:lnTo>
                      <a:pt x="282" y="497"/>
                    </a:lnTo>
                    <a:lnTo>
                      <a:pt x="283" y="496"/>
                    </a:lnTo>
                    <a:lnTo>
                      <a:pt x="284" y="495"/>
                    </a:lnTo>
                    <a:lnTo>
                      <a:pt x="286" y="494"/>
                    </a:lnTo>
                    <a:lnTo>
                      <a:pt x="286" y="493"/>
                    </a:lnTo>
                    <a:lnTo>
                      <a:pt x="287" y="493"/>
                    </a:lnTo>
                    <a:lnTo>
                      <a:pt x="288" y="493"/>
                    </a:lnTo>
                    <a:lnTo>
                      <a:pt x="288" y="494"/>
                    </a:lnTo>
                    <a:lnTo>
                      <a:pt x="288" y="495"/>
                    </a:lnTo>
                    <a:lnTo>
                      <a:pt x="287" y="496"/>
                    </a:lnTo>
                    <a:lnTo>
                      <a:pt x="285" y="497"/>
                    </a:lnTo>
                    <a:lnTo>
                      <a:pt x="284" y="497"/>
                    </a:lnTo>
                    <a:lnTo>
                      <a:pt x="284" y="499"/>
                    </a:lnTo>
                    <a:lnTo>
                      <a:pt x="282" y="500"/>
                    </a:lnTo>
                    <a:lnTo>
                      <a:pt x="282" y="501"/>
                    </a:lnTo>
                    <a:lnTo>
                      <a:pt x="282" y="502"/>
                    </a:lnTo>
                    <a:lnTo>
                      <a:pt x="283" y="502"/>
                    </a:lnTo>
                    <a:lnTo>
                      <a:pt x="283" y="503"/>
                    </a:lnTo>
                    <a:lnTo>
                      <a:pt x="284" y="503"/>
                    </a:lnTo>
                    <a:lnTo>
                      <a:pt x="285" y="503"/>
                    </a:lnTo>
                    <a:lnTo>
                      <a:pt x="286" y="503"/>
                    </a:lnTo>
                    <a:lnTo>
                      <a:pt x="287" y="503"/>
                    </a:lnTo>
                    <a:lnTo>
                      <a:pt x="287" y="502"/>
                    </a:lnTo>
                    <a:lnTo>
                      <a:pt x="289" y="501"/>
                    </a:lnTo>
                    <a:lnTo>
                      <a:pt x="290" y="501"/>
                    </a:lnTo>
                    <a:lnTo>
                      <a:pt x="291" y="501"/>
                    </a:lnTo>
                    <a:lnTo>
                      <a:pt x="293" y="501"/>
                    </a:lnTo>
                    <a:lnTo>
                      <a:pt x="294" y="500"/>
                    </a:lnTo>
                    <a:lnTo>
                      <a:pt x="295" y="500"/>
                    </a:lnTo>
                    <a:lnTo>
                      <a:pt x="295" y="499"/>
                    </a:lnTo>
                    <a:lnTo>
                      <a:pt x="295" y="497"/>
                    </a:lnTo>
                    <a:lnTo>
                      <a:pt x="295" y="496"/>
                    </a:lnTo>
                    <a:lnTo>
                      <a:pt x="295" y="494"/>
                    </a:lnTo>
                    <a:lnTo>
                      <a:pt x="295" y="492"/>
                    </a:lnTo>
                    <a:lnTo>
                      <a:pt x="295" y="491"/>
                    </a:lnTo>
                    <a:lnTo>
                      <a:pt x="296" y="491"/>
                    </a:lnTo>
                    <a:lnTo>
                      <a:pt x="297" y="490"/>
                    </a:lnTo>
                    <a:lnTo>
                      <a:pt x="298" y="490"/>
                    </a:lnTo>
                    <a:lnTo>
                      <a:pt x="299" y="490"/>
                    </a:lnTo>
                    <a:lnTo>
                      <a:pt x="299" y="491"/>
                    </a:lnTo>
                    <a:lnTo>
                      <a:pt x="299" y="493"/>
                    </a:lnTo>
                    <a:lnTo>
                      <a:pt x="299" y="494"/>
                    </a:lnTo>
                    <a:lnTo>
                      <a:pt x="298" y="495"/>
                    </a:lnTo>
                    <a:lnTo>
                      <a:pt x="298" y="496"/>
                    </a:lnTo>
                    <a:lnTo>
                      <a:pt x="298" y="497"/>
                    </a:lnTo>
                    <a:lnTo>
                      <a:pt x="299" y="497"/>
                    </a:lnTo>
                    <a:lnTo>
                      <a:pt x="299" y="499"/>
                    </a:lnTo>
                    <a:lnTo>
                      <a:pt x="299" y="500"/>
                    </a:lnTo>
                    <a:lnTo>
                      <a:pt x="299" y="501"/>
                    </a:lnTo>
                    <a:lnTo>
                      <a:pt x="300" y="501"/>
                    </a:lnTo>
                    <a:lnTo>
                      <a:pt x="300" y="502"/>
                    </a:lnTo>
                    <a:lnTo>
                      <a:pt x="301" y="502"/>
                    </a:lnTo>
                    <a:lnTo>
                      <a:pt x="302" y="503"/>
                    </a:lnTo>
                    <a:lnTo>
                      <a:pt x="303" y="503"/>
                    </a:lnTo>
                    <a:lnTo>
                      <a:pt x="304" y="503"/>
                    </a:lnTo>
                    <a:lnTo>
                      <a:pt x="306" y="503"/>
                    </a:lnTo>
                    <a:lnTo>
                      <a:pt x="306" y="504"/>
                    </a:lnTo>
                    <a:lnTo>
                      <a:pt x="306" y="505"/>
                    </a:lnTo>
                    <a:lnTo>
                      <a:pt x="304" y="506"/>
                    </a:lnTo>
                    <a:lnTo>
                      <a:pt x="304" y="507"/>
                    </a:lnTo>
                    <a:lnTo>
                      <a:pt x="303" y="507"/>
                    </a:lnTo>
                    <a:lnTo>
                      <a:pt x="302" y="507"/>
                    </a:lnTo>
                    <a:lnTo>
                      <a:pt x="301" y="507"/>
                    </a:lnTo>
                    <a:lnTo>
                      <a:pt x="298" y="504"/>
                    </a:lnTo>
                    <a:lnTo>
                      <a:pt x="297" y="504"/>
                    </a:lnTo>
                    <a:lnTo>
                      <a:pt x="296" y="504"/>
                    </a:lnTo>
                    <a:lnTo>
                      <a:pt x="295" y="504"/>
                    </a:lnTo>
                    <a:lnTo>
                      <a:pt x="294" y="505"/>
                    </a:lnTo>
                    <a:lnTo>
                      <a:pt x="294" y="506"/>
                    </a:lnTo>
                    <a:lnTo>
                      <a:pt x="294" y="507"/>
                    </a:lnTo>
                    <a:lnTo>
                      <a:pt x="295" y="508"/>
                    </a:lnTo>
                    <a:lnTo>
                      <a:pt x="296" y="508"/>
                    </a:lnTo>
                    <a:lnTo>
                      <a:pt x="297" y="508"/>
                    </a:lnTo>
                    <a:lnTo>
                      <a:pt x="298" y="508"/>
                    </a:lnTo>
                    <a:lnTo>
                      <a:pt x="299" y="508"/>
                    </a:lnTo>
                    <a:lnTo>
                      <a:pt x="300" y="508"/>
                    </a:lnTo>
                    <a:lnTo>
                      <a:pt x="301" y="508"/>
                    </a:lnTo>
                    <a:lnTo>
                      <a:pt x="302" y="508"/>
                    </a:lnTo>
                    <a:lnTo>
                      <a:pt x="302" y="509"/>
                    </a:lnTo>
                    <a:lnTo>
                      <a:pt x="303" y="510"/>
                    </a:lnTo>
                    <a:lnTo>
                      <a:pt x="303" y="512"/>
                    </a:lnTo>
                    <a:lnTo>
                      <a:pt x="304" y="513"/>
                    </a:lnTo>
                    <a:lnTo>
                      <a:pt x="304" y="514"/>
                    </a:lnTo>
                    <a:lnTo>
                      <a:pt x="304" y="515"/>
                    </a:lnTo>
                    <a:lnTo>
                      <a:pt x="304" y="516"/>
                    </a:lnTo>
                    <a:lnTo>
                      <a:pt x="304" y="517"/>
                    </a:lnTo>
                    <a:lnTo>
                      <a:pt x="304" y="518"/>
                    </a:lnTo>
                    <a:lnTo>
                      <a:pt x="306" y="518"/>
                    </a:lnTo>
                    <a:lnTo>
                      <a:pt x="307" y="518"/>
                    </a:lnTo>
                    <a:lnTo>
                      <a:pt x="307" y="517"/>
                    </a:lnTo>
                    <a:lnTo>
                      <a:pt x="308" y="517"/>
                    </a:lnTo>
                    <a:lnTo>
                      <a:pt x="308" y="516"/>
                    </a:lnTo>
                    <a:lnTo>
                      <a:pt x="308" y="515"/>
                    </a:lnTo>
                    <a:lnTo>
                      <a:pt x="308" y="514"/>
                    </a:lnTo>
                    <a:lnTo>
                      <a:pt x="308" y="513"/>
                    </a:lnTo>
                    <a:lnTo>
                      <a:pt x="308" y="512"/>
                    </a:lnTo>
                    <a:lnTo>
                      <a:pt x="308" y="510"/>
                    </a:lnTo>
                    <a:lnTo>
                      <a:pt x="309" y="509"/>
                    </a:lnTo>
                    <a:lnTo>
                      <a:pt x="310" y="509"/>
                    </a:lnTo>
                    <a:lnTo>
                      <a:pt x="311" y="510"/>
                    </a:lnTo>
                    <a:lnTo>
                      <a:pt x="312" y="510"/>
                    </a:lnTo>
                    <a:lnTo>
                      <a:pt x="312" y="512"/>
                    </a:lnTo>
                    <a:lnTo>
                      <a:pt x="313" y="512"/>
                    </a:lnTo>
                    <a:lnTo>
                      <a:pt x="314" y="512"/>
                    </a:lnTo>
                    <a:lnTo>
                      <a:pt x="314" y="513"/>
                    </a:lnTo>
                    <a:lnTo>
                      <a:pt x="315" y="513"/>
                    </a:lnTo>
                    <a:lnTo>
                      <a:pt x="315" y="514"/>
                    </a:lnTo>
                    <a:lnTo>
                      <a:pt x="316" y="514"/>
                    </a:lnTo>
                    <a:lnTo>
                      <a:pt x="316" y="515"/>
                    </a:lnTo>
                    <a:lnTo>
                      <a:pt x="316" y="516"/>
                    </a:lnTo>
                    <a:lnTo>
                      <a:pt x="315" y="517"/>
                    </a:lnTo>
                    <a:lnTo>
                      <a:pt x="314" y="518"/>
                    </a:lnTo>
                    <a:lnTo>
                      <a:pt x="313" y="519"/>
                    </a:lnTo>
                    <a:lnTo>
                      <a:pt x="312" y="519"/>
                    </a:lnTo>
                    <a:lnTo>
                      <a:pt x="311" y="519"/>
                    </a:lnTo>
                    <a:lnTo>
                      <a:pt x="310" y="519"/>
                    </a:lnTo>
                    <a:lnTo>
                      <a:pt x="310" y="520"/>
                    </a:lnTo>
                    <a:lnTo>
                      <a:pt x="309" y="521"/>
                    </a:lnTo>
                    <a:lnTo>
                      <a:pt x="309" y="522"/>
                    </a:lnTo>
                    <a:lnTo>
                      <a:pt x="310" y="524"/>
                    </a:lnTo>
                    <a:lnTo>
                      <a:pt x="310" y="525"/>
                    </a:lnTo>
                    <a:lnTo>
                      <a:pt x="310" y="526"/>
                    </a:lnTo>
                    <a:lnTo>
                      <a:pt x="310" y="527"/>
                    </a:lnTo>
                    <a:lnTo>
                      <a:pt x="309" y="527"/>
                    </a:lnTo>
                    <a:lnTo>
                      <a:pt x="307" y="527"/>
                    </a:lnTo>
                    <a:lnTo>
                      <a:pt x="306" y="527"/>
                    </a:lnTo>
                    <a:lnTo>
                      <a:pt x="304" y="527"/>
                    </a:lnTo>
                    <a:lnTo>
                      <a:pt x="303" y="527"/>
                    </a:lnTo>
                    <a:lnTo>
                      <a:pt x="302" y="526"/>
                    </a:lnTo>
                    <a:lnTo>
                      <a:pt x="301" y="526"/>
                    </a:lnTo>
                    <a:lnTo>
                      <a:pt x="300" y="526"/>
                    </a:lnTo>
                    <a:lnTo>
                      <a:pt x="300" y="527"/>
                    </a:lnTo>
                    <a:lnTo>
                      <a:pt x="300" y="528"/>
                    </a:lnTo>
                    <a:lnTo>
                      <a:pt x="301" y="528"/>
                    </a:lnTo>
                    <a:lnTo>
                      <a:pt x="302" y="529"/>
                    </a:lnTo>
                    <a:lnTo>
                      <a:pt x="304" y="530"/>
                    </a:lnTo>
                    <a:lnTo>
                      <a:pt x="309" y="530"/>
                    </a:lnTo>
                    <a:lnTo>
                      <a:pt x="310" y="530"/>
                    </a:lnTo>
                    <a:lnTo>
                      <a:pt x="311" y="530"/>
                    </a:lnTo>
                    <a:lnTo>
                      <a:pt x="312" y="530"/>
                    </a:lnTo>
                    <a:lnTo>
                      <a:pt x="312" y="529"/>
                    </a:lnTo>
                    <a:lnTo>
                      <a:pt x="313" y="528"/>
                    </a:lnTo>
                    <a:lnTo>
                      <a:pt x="314" y="527"/>
                    </a:lnTo>
                    <a:lnTo>
                      <a:pt x="314" y="526"/>
                    </a:lnTo>
                    <a:lnTo>
                      <a:pt x="315" y="526"/>
                    </a:lnTo>
                    <a:lnTo>
                      <a:pt x="316" y="526"/>
                    </a:lnTo>
                    <a:lnTo>
                      <a:pt x="316" y="525"/>
                    </a:lnTo>
                    <a:lnTo>
                      <a:pt x="317" y="525"/>
                    </a:lnTo>
                    <a:lnTo>
                      <a:pt x="321" y="524"/>
                    </a:lnTo>
                    <a:lnTo>
                      <a:pt x="322" y="524"/>
                    </a:lnTo>
                    <a:lnTo>
                      <a:pt x="323" y="524"/>
                    </a:lnTo>
                    <a:lnTo>
                      <a:pt x="323" y="525"/>
                    </a:lnTo>
                    <a:lnTo>
                      <a:pt x="324" y="525"/>
                    </a:lnTo>
                    <a:lnTo>
                      <a:pt x="324" y="526"/>
                    </a:lnTo>
                    <a:lnTo>
                      <a:pt x="324" y="527"/>
                    </a:lnTo>
                    <a:lnTo>
                      <a:pt x="324" y="528"/>
                    </a:lnTo>
                    <a:lnTo>
                      <a:pt x="324" y="529"/>
                    </a:lnTo>
                    <a:lnTo>
                      <a:pt x="324" y="530"/>
                    </a:lnTo>
                    <a:lnTo>
                      <a:pt x="324" y="531"/>
                    </a:lnTo>
                    <a:lnTo>
                      <a:pt x="324" y="532"/>
                    </a:lnTo>
                    <a:lnTo>
                      <a:pt x="323" y="533"/>
                    </a:lnTo>
                    <a:lnTo>
                      <a:pt x="322" y="534"/>
                    </a:lnTo>
                    <a:lnTo>
                      <a:pt x="322" y="535"/>
                    </a:lnTo>
                    <a:lnTo>
                      <a:pt x="321" y="535"/>
                    </a:lnTo>
                    <a:lnTo>
                      <a:pt x="321" y="537"/>
                    </a:lnTo>
                    <a:lnTo>
                      <a:pt x="320" y="538"/>
                    </a:lnTo>
                    <a:lnTo>
                      <a:pt x="320" y="539"/>
                    </a:lnTo>
                    <a:lnTo>
                      <a:pt x="319" y="539"/>
                    </a:lnTo>
                    <a:lnTo>
                      <a:pt x="319" y="540"/>
                    </a:lnTo>
                    <a:lnTo>
                      <a:pt x="317" y="542"/>
                    </a:lnTo>
                    <a:lnTo>
                      <a:pt x="319" y="543"/>
                    </a:lnTo>
                    <a:lnTo>
                      <a:pt x="320" y="543"/>
                    </a:lnTo>
                    <a:lnTo>
                      <a:pt x="321" y="543"/>
                    </a:lnTo>
                    <a:lnTo>
                      <a:pt x="322" y="543"/>
                    </a:lnTo>
                    <a:lnTo>
                      <a:pt x="322" y="542"/>
                    </a:lnTo>
                    <a:lnTo>
                      <a:pt x="324" y="540"/>
                    </a:lnTo>
                    <a:lnTo>
                      <a:pt x="325" y="540"/>
                    </a:lnTo>
                    <a:lnTo>
                      <a:pt x="326" y="539"/>
                    </a:lnTo>
                    <a:lnTo>
                      <a:pt x="327" y="538"/>
                    </a:lnTo>
                    <a:lnTo>
                      <a:pt x="328" y="537"/>
                    </a:lnTo>
                    <a:lnTo>
                      <a:pt x="329" y="535"/>
                    </a:lnTo>
                    <a:lnTo>
                      <a:pt x="330" y="534"/>
                    </a:lnTo>
                    <a:lnTo>
                      <a:pt x="330" y="533"/>
                    </a:lnTo>
                    <a:lnTo>
                      <a:pt x="332" y="533"/>
                    </a:lnTo>
                    <a:lnTo>
                      <a:pt x="333" y="533"/>
                    </a:lnTo>
                    <a:lnTo>
                      <a:pt x="333" y="534"/>
                    </a:lnTo>
                    <a:lnTo>
                      <a:pt x="333" y="535"/>
                    </a:lnTo>
                    <a:lnTo>
                      <a:pt x="332" y="537"/>
                    </a:lnTo>
                    <a:lnTo>
                      <a:pt x="330" y="537"/>
                    </a:lnTo>
                    <a:lnTo>
                      <a:pt x="329" y="538"/>
                    </a:lnTo>
                    <a:lnTo>
                      <a:pt x="328" y="538"/>
                    </a:lnTo>
                    <a:lnTo>
                      <a:pt x="328" y="539"/>
                    </a:lnTo>
                    <a:lnTo>
                      <a:pt x="327" y="540"/>
                    </a:lnTo>
                    <a:lnTo>
                      <a:pt x="326" y="541"/>
                    </a:lnTo>
                    <a:lnTo>
                      <a:pt x="326" y="542"/>
                    </a:lnTo>
                    <a:lnTo>
                      <a:pt x="327" y="543"/>
                    </a:lnTo>
                    <a:lnTo>
                      <a:pt x="328" y="544"/>
                    </a:lnTo>
                    <a:lnTo>
                      <a:pt x="332" y="544"/>
                    </a:lnTo>
                    <a:lnTo>
                      <a:pt x="333" y="545"/>
                    </a:lnTo>
                    <a:lnTo>
                      <a:pt x="334" y="546"/>
                    </a:lnTo>
                    <a:lnTo>
                      <a:pt x="338" y="548"/>
                    </a:lnTo>
                    <a:lnTo>
                      <a:pt x="338" y="551"/>
                    </a:lnTo>
                    <a:lnTo>
                      <a:pt x="338" y="553"/>
                    </a:lnTo>
                    <a:lnTo>
                      <a:pt x="337" y="553"/>
                    </a:lnTo>
                    <a:lnTo>
                      <a:pt x="337" y="554"/>
                    </a:lnTo>
                    <a:lnTo>
                      <a:pt x="338" y="556"/>
                    </a:lnTo>
                    <a:lnTo>
                      <a:pt x="339" y="559"/>
                    </a:lnTo>
                    <a:lnTo>
                      <a:pt x="339" y="560"/>
                    </a:lnTo>
                    <a:lnTo>
                      <a:pt x="339" y="563"/>
                    </a:lnTo>
                    <a:lnTo>
                      <a:pt x="339" y="564"/>
                    </a:lnTo>
                    <a:lnTo>
                      <a:pt x="340" y="564"/>
                    </a:lnTo>
                    <a:lnTo>
                      <a:pt x="341" y="564"/>
                    </a:lnTo>
                    <a:lnTo>
                      <a:pt x="344" y="565"/>
                    </a:lnTo>
                    <a:lnTo>
                      <a:pt x="345" y="565"/>
                    </a:lnTo>
                    <a:lnTo>
                      <a:pt x="346" y="565"/>
                    </a:lnTo>
                    <a:lnTo>
                      <a:pt x="347" y="565"/>
                    </a:lnTo>
                    <a:lnTo>
                      <a:pt x="347" y="564"/>
                    </a:lnTo>
                    <a:lnTo>
                      <a:pt x="346" y="563"/>
                    </a:lnTo>
                    <a:lnTo>
                      <a:pt x="346" y="561"/>
                    </a:lnTo>
                    <a:lnTo>
                      <a:pt x="345" y="560"/>
                    </a:lnTo>
                    <a:lnTo>
                      <a:pt x="344" y="560"/>
                    </a:lnTo>
                    <a:lnTo>
                      <a:pt x="342" y="559"/>
                    </a:lnTo>
                    <a:lnTo>
                      <a:pt x="342" y="558"/>
                    </a:lnTo>
                    <a:lnTo>
                      <a:pt x="341" y="557"/>
                    </a:lnTo>
                    <a:lnTo>
                      <a:pt x="341" y="556"/>
                    </a:lnTo>
                    <a:lnTo>
                      <a:pt x="341" y="555"/>
                    </a:lnTo>
                    <a:lnTo>
                      <a:pt x="341" y="554"/>
                    </a:lnTo>
                    <a:lnTo>
                      <a:pt x="344" y="554"/>
                    </a:lnTo>
                    <a:lnTo>
                      <a:pt x="345" y="555"/>
                    </a:lnTo>
                    <a:lnTo>
                      <a:pt x="346" y="555"/>
                    </a:lnTo>
                    <a:lnTo>
                      <a:pt x="347" y="556"/>
                    </a:lnTo>
                    <a:lnTo>
                      <a:pt x="347" y="557"/>
                    </a:lnTo>
                    <a:lnTo>
                      <a:pt x="348" y="558"/>
                    </a:lnTo>
                    <a:lnTo>
                      <a:pt x="348" y="559"/>
                    </a:lnTo>
                    <a:lnTo>
                      <a:pt x="349" y="559"/>
                    </a:lnTo>
                    <a:lnTo>
                      <a:pt x="350" y="560"/>
                    </a:lnTo>
                    <a:lnTo>
                      <a:pt x="351" y="560"/>
                    </a:lnTo>
                    <a:lnTo>
                      <a:pt x="352" y="560"/>
                    </a:lnTo>
                    <a:lnTo>
                      <a:pt x="354" y="559"/>
                    </a:lnTo>
                    <a:lnTo>
                      <a:pt x="355" y="558"/>
                    </a:lnTo>
                    <a:lnTo>
                      <a:pt x="357" y="558"/>
                    </a:lnTo>
                    <a:lnTo>
                      <a:pt x="357" y="559"/>
                    </a:lnTo>
                    <a:lnTo>
                      <a:pt x="357" y="560"/>
                    </a:lnTo>
                    <a:lnTo>
                      <a:pt x="357" y="561"/>
                    </a:lnTo>
                    <a:lnTo>
                      <a:pt x="355" y="561"/>
                    </a:lnTo>
                    <a:lnTo>
                      <a:pt x="355" y="563"/>
                    </a:lnTo>
                    <a:lnTo>
                      <a:pt x="354" y="563"/>
                    </a:lnTo>
                    <a:lnTo>
                      <a:pt x="353" y="563"/>
                    </a:lnTo>
                    <a:lnTo>
                      <a:pt x="352" y="563"/>
                    </a:lnTo>
                    <a:lnTo>
                      <a:pt x="351" y="564"/>
                    </a:lnTo>
                    <a:lnTo>
                      <a:pt x="350" y="565"/>
                    </a:lnTo>
                    <a:lnTo>
                      <a:pt x="350" y="566"/>
                    </a:lnTo>
                    <a:lnTo>
                      <a:pt x="349" y="566"/>
                    </a:lnTo>
                    <a:lnTo>
                      <a:pt x="349" y="567"/>
                    </a:lnTo>
                    <a:lnTo>
                      <a:pt x="350" y="567"/>
                    </a:lnTo>
                    <a:lnTo>
                      <a:pt x="350" y="568"/>
                    </a:lnTo>
                    <a:lnTo>
                      <a:pt x="351" y="568"/>
                    </a:lnTo>
                    <a:lnTo>
                      <a:pt x="341" y="568"/>
                    </a:lnTo>
                    <a:lnTo>
                      <a:pt x="340" y="568"/>
                    </a:lnTo>
                    <a:lnTo>
                      <a:pt x="336" y="568"/>
                    </a:lnTo>
                    <a:lnTo>
                      <a:pt x="333" y="568"/>
                    </a:lnTo>
                    <a:lnTo>
                      <a:pt x="287" y="568"/>
                    </a:lnTo>
                    <a:lnTo>
                      <a:pt x="286" y="568"/>
                    </a:lnTo>
                    <a:lnTo>
                      <a:pt x="263" y="568"/>
                    </a:lnTo>
                    <a:lnTo>
                      <a:pt x="262" y="566"/>
                    </a:lnTo>
                    <a:lnTo>
                      <a:pt x="262" y="565"/>
                    </a:lnTo>
                    <a:lnTo>
                      <a:pt x="262" y="564"/>
                    </a:lnTo>
                    <a:lnTo>
                      <a:pt x="262" y="563"/>
                    </a:lnTo>
                    <a:lnTo>
                      <a:pt x="262" y="561"/>
                    </a:lnTo>
                    <a:lnTo>
                      <a:pt x="262" y="560"/>
                    </a:lnTo>
                    <a:lnTo>
                      <a:pt x="261" y="559"/>
                    </a:lnTo>
                    <a:lnTo>
                      <a:pt x="261" y="558"/>
                    </a:lnTo>
                    <a:lnTo>
                      <a:pt x="261" y="557"/>
                    </a:lnTo>
                    <a:lnTo>
                      <a:pt x="260" y="556"/>
                    </a:lnTo>
                    <a:lnTo>
                      <a:pt x="261" y="556"/>
                    </a:lnTo>
                    <a:lnTo>
                      <a:pt x="261" y="555"/>
                    </a:lnTo>
                    <a:lnTo>
                      <a:pt x="261" y="552"/>
                    </a:lnTo>
                    <a:lnTo>
                      <a:pt x="262" y="551"/>
                    </a:lnTo>
                    <a:lnTo>
                      <a:pt x="262" y="550"/>
                    </a:lnTo>
                    <a:lnTo>
                      <a:pt x="263" y="548"/>
                    </a:lnTo>
                    <a:lnTo>
                      <a:pt x="263" y="547"/>
                    </a:lnTo>
                    <a:lnTo>
                      <a:pt x="263" y="546"/>
                    </a:lnTo>
                    <a:lnTo>
                      <a:pt x="262" y="546"/>
                    </a:lnTo>
                    <a:lnTo>
                      <a:pt x="263" y="545"/>
                    </a:lnTo>
                    <a:lnTo>
                      <a:pt x="263" y="544"/>
                    </a:lnTo>
                    <a:lnTo>
                      <a:pt x="262" y="544"/>
                    </a:lnTo>
                    <a:lnTo>
                      <a:pt x="262" y="543"/>
                    </a:lnTo>
                    <a:lnTo>
                      <a:pt x="262" y="542"/>
                    </a:lnTo>
                    <a:lnTo>
                      <a:pt x="261" y="542"/>
                    </a:lnTo>
                    <a:lnTo>
                      <a:pt x="260" y="542"/>
                    </a:lnTo>
                    <a:lnTo>
                      <a:pt x="261" y="541"/>
                    </a:lnTo>
                    <a:lnTo>
                      <a:pt x="260" y="541"/>
                    </a:lnTo>
                    <a:lnTo>
                      <a:pt x="260" y="540"/>
                    </a:lnTo>
                    <a:lnTo>
                      <a:pt x="259" y="540"/>
                    </a:lnTo>
                    <a:lnTo>
                      <a:pt x="259" y="539"/>
                    </a:lnTo>
                    <a:lnTo>
                      <a:pt x="259" y="538"/>
                    </a:lnTo>
                    <a:lnTo>
                      <a:pt x="258" y="538"/>
                    </a:lnTo>
                    <a:lnTo>
                      <a:pt x="258" y="537"/>
                    </a:lnTo>
                    <a:lnTo>
                      <a:pt x="258" y="535"/>
                    </a:lnTo>
                    <a:lnTo>
                      <a:pt x="257" y="534"/>
                    </a:lnTo>
                    <a:lnTo>
                      <a:pt x="256" y="534"/>
                    </a:lnTo>
                    <a:lnTo>
                      <a:pt x="255" y="533"/>
                    </a:lnTo>
                    <a:lnTo>
                      <a:pt x="254" y="533"/>
                    </a:lnTo>
                    <a:lnTo>
                      <a:pt x="252" y="533"/>
                    </a:lnTo>
                    <a:lnTo>
                      <a:pt x="252" y="532"/>
                    </a:lnTo>
                    <a:lnTo>
                      <a:pt x="251" y="532"/>
                    </a:lnTo>
                    <a:lnTo>
                      <a:pt x="251" y="531"/>
                    </a:lnTo>
                    <a:lnTo>
                      <a:pt x="250" y="531"/>
                    </a:lnTo>
                    <a:lnTo>
                      <a:pt x="250" y="530"/>
                    </a:lnTo>
                    <a:lnTo>
                      <a:pt x="249" y="530"/>
                    </a:lnTo>
                    <a:lnTo>
                      <a:pt x="248" y="530"/>
                    </a:lnTo>
                    <a:lnTo>
                      <a:pt x="248" y="528"/>
                    </a:lnTo>
                    <a:lnTo>
                      <a:pt x="248" y="527"/>
                    </a:lnTo>
                    <a:lnTo>
                      <a:pt x="247" y="526"/>
                    </a:lnTo>
                    <a:lnTo>
                      <a:pt x="247" y="525"/>
                    </a:lnTo>
                    <a:lnTo>
                      <a:pt x="246" y="525"/>
                    </a:lnTo>
                    <a:lnTo>
                      <a:pt x="246" y="524"/>
                    </a:lnTo>
                    <a:lnTo>
                      <a:pt x="245" y="524"/>
                    </a:lnTo>
                    <a:lnTo>
                      <a:pt x="244" y="522"/>
                    </a:lnTo>
                    <a:lnTo>
                      <a:pt x="244" y="521"/>
                    </a:lnTo>
                    <a:lnTo>
                      <a:pt x="244" y="520"/>
                    </a:lnTo>
                    <a:lnTo>
                      <a:pt x="243" y="519"/>
                    </a:lnTo>
                    <a:lnTo>
                      <a:pt x="242" y="519"/>
                    </a:lnTo>
                    <a:lnTo>
                      <a:pt x="242" y="518"/>
                    </a:lnTo>
                    <a:lnTo>
                      <a:pt x="241" y="518"/>
                    </a:lnTo>
                    <a:lnTo>
                      <a:pt x="239" y="517"/>
                    </a:lnTo>
                    <a:lnTo>
                      <a:pt x="238" y="517"/>
                    </a:lnTo>
                    <a:lnTo>
                      <a:pt x="238" y="516"/>
                    </a:lnTo>
                    <a:lnTo>
                      <a:pt x="237" y="516"/>
                    </a:lnTo>
                    <a:lnTo>
                      <a:pt x="236" y="515"/>
                    </a:lnTo>
                    <a:lnTo>
                      <a:pt x="235" y="515"/>
                    </a:lnTo>
                    <a:lnTo>
                      <a:pt x="235" y="514"/>
                    </a:lnTo>
                    <a:lnTo>
                      <a:pt x="235" y="513"/>
                    </a:lnTo>
                    <a:lnTo>
                      <a:pt x="234" y="513"/>
                    </a:lnTo>
                    <a:lnTo>
                      <a:pt x="234" y="512"/>
                    </a:lnTo>
                    <a:lnTo>
                      <a:pt x="233" y="512"/>
                    </a:lnTo>
                    <a:lnTo>
                      <a:pt x="232" y="512"/>
                    </a:lnTo>
                    <a:lnTo>
                      <a:pt x="232" y="510"/>
                    </a:lnTo>
                    <a:lnTo>
                      <a:pt x="231" y="510"/>
                    </a:lnTo>
                    <a:lnTo>
                      <a:pt x="229" y="510"/>
                    </a:lnTo>
                    <a:lnTo>
                      <a:pt x="228" y="510"/>
                    </a:lnTo>
                    <a:lnTo>
                      <a:pt x="226" y="510"/>
                    </a:lnTo>
                    <a:lnTo>
                      <a:pt x="225" y="509"/>
                    </a:lnTo>
                    <a:lnTo>
                      <a:pt x="224" y="509"/>
                    </a:lnTo>
                    <a:lnTo>
                      <a:pt x="223" y="509"/>
                    </a:lnTo>
                    <a:lnTo>
                      <a:pt x="222" y="510"/>
                    </a:lnTo>
                    <a:lnTo>
                      <a:pt x="221" y="510"/>
                    </a:lnTo>
                    <a:lnTo>
                      <a:pt x="220" y="510"/>
                    </a:lnTo>
                    <a:lnTo>
                      <a:pt x="219" y="510"/>
                    </a:lnTo>
                    <a:lnTo>
                      <a:pt x="218" y="510"/>
                    </a:lnTo>
                    <a:lnTo>
                      <a:pt x="217" y="509"/>
                    </a:lnTo>
                    <a:lnTo>
                      <a:pt x="216" y="508"/>
                    </a:lnTo>
                    <a:lnTo>
                      <a:pt x="215" y="507"/>
                    </a:lnTo>
                    <a:lnTo>
                      <a:pt x="213" y="506"/>
                    </a:lnTo>
                    <a:lnTo>
                      <a:pt x="213" y="505"/>
                    </a:lnTo>
                    <a:lnTo>
                      <a:pt x="212" y="505"/>
                    </a:lnTo>
                    <a:lnTo>
                      <a:pt x="211" y="505"/>
                    </a:lnTo>
                    <a:lnTo>
                      <a:pt x="210" y="506"/>
                    </a:lnTo>
                    <a:lnTo>
                      <a:pt x="210" y="507"/>
                    </a:lnTo>
                    <a:lnTo>
                      <a:pt x="211" y="508"/>
                    </a:lnTo>
                    <a:lnTo>
                      <a:pt x="210" y="509"/>
                    </a:lnTo>
                    <a:lnTo>
                      <a:pt x="209" y="509"/>
                    </a:lnTo>
                    <a:lnTo>
                      <a:pt x="208" y="509"/>
                    </a:lnTo>
                    <a:lnTo>
                      <a:pt x="207" y="509"/>
                    </a:lnTo>
                    <a:lnTo>
                      <a:pt x="206" y="510"/>
                    </a:lnTo>
                    <a:lnTo>
                      <a:pt x="205" y="512"/>
                    </a:lnTo>
                    <a:lnTo>
                      <a:pt x="202" y="512"/>
                    </a:lnTo>
                    <a:lnTo>
                      <a:pt x="200" y="510"/>
                    </a:lnTo>
                    <a:lnTo>
                      <a:pt x="199" y="509"/>
                    </a:lnTo>
                    <a:lnTo>
                      <a:pt x="199" y="508"/>
                    </a:lnTo>
                    <a:lnTo>
                      <a:pt x="199" y="507"/>
                    </a:lnTo>
                    <a:lnTo>
                      <a:pt x="198" y="506"/>
                    </a:lnTo>
                    <a:lnTo>
                      <a:pt x="197" y="505"/>
                    </a:lnTo>
                    <a:lnTo>
                      <a:pt x="196" y="505"/>
                    </a:lnTo>
                    <a:lnTo>
                      <a:pt x="196" y="504"/>
                    </a:lnTo>
                    <a:lnTo>
                      <a:pt x="195" y="502"/>
                    </a:lnTo>
                    <a:lnTo>
                      <a:pt x="194" y="502"/>
                    </a:lnTo>
                    <a:lnTo>
                      <a:pt x="193" y="503"/>
                    </a:lnTo>
                    <a:lnTo>
                      <a:pt x="193" y="504"/>
                    </a:lnTo>
                    <a:lnTo>
                      <a:pt x="192" y="504"/>
                    </a:lnTo>
                    <a:lnTo>
                      <a:pt x="191" y="504"/>
                    </a:lnTo>
                    <a:lnTo>
                      <a:pt x="190" y="504"/>
                    </a:lnTo>
                    <a:lnTo>
                      <a:pt x="188" y="504"/>
                    </a:lnTo>
                    <a:lnTo>
                      <a:pt x="187" y="504"/>
                    </a:lnTo>
                    <a:lnTo>
                      <a:pt x="187" y="503"/>
                    </a:lnTo>
                    <a:lnTo>
                      <a:pt x="186" y="503"/>
                    </a:lnTo>
                    <a:lnTo>
                      <a:pt x="186" y="502"/>
                    </a:lnTo>
                    <a:lnTo>
                      <a:pt x="185" y="501"/>
                    </a:lnTo>
                    <a:lnTo>
                      <a:pt x="185" y="500"/>
                    </a:lnTo>
                    <a:lnTo>
                      <a:pt x="185" y="499"/>
                    </a:lnTo>
                    <a:lnTo>
                      <a:pt x="184" y="500"/>
                    </a:lnTo>
                    <a:lnTo>
                      <a:pt x="184" y="499"/>
                    </a:lnTo>
                    <a:lnTo>
                      <a:pt x="183" y="497"/>
                    </a:lnTo>
                    <a:lnTo>
                      <a:pt x="183" y="496"/>
                    </a:lnTo>
                    <a:lnTo>
                      <a:pt x="184" y="495"/>
                    </a:lnTo>
                    <a:lnTo>
                      <a:pt x="183" y="495"/>
                    </a:lnTo>
                    <a:lnTo>
                      <a:pt x="183" y="494"/>
                    </a:lnTo>
                    <a:lnTo>
                      <a:pt x="181" y="493"/>
                    </a:lnTo>
                    <a:lnTo>
                      <a:pt x="180" y="494"/>
                    </a:lnTo>
                    <a:lnTo>
                      <a:pt x="179" y="494"/>
                    </a:lnTo>
                    <a:lnTo>
                      <a:pt x="178" y="494"/>
                    </a:lnTo>
                    <a:lnTo>
                      <a:pt x="179" y="493"/>
                    </a:lnTo>
                    <a:lnTo>
                      <a:pt x="179" y="492"/>
                    </a:lnTo>
                    <a:lnTo>
                      <a:pt x="178" y="492"/>
                    </a:lnTo>
                    <a:lnTo>
                      <a:pt x="177" y="491"/>
                    </a:lnTo>
                    <a:lnTo>
                      <a:pt x="175" y="491"/>
                    </a:lnTo>
                    <a:lnTo>
                      <a:pt x="174" y="491"/>
                    </a:lnTo>
                    <a:lnTo>
                      <a:pt x="173" y="491"/>
                    </a:lnTo>
                    <a:lnTo>
                      <a:pt x="172" y="491"/>
                    </a:lnTo>
                    <a:lnTo>
                      <a:pt x="172" y="492"/>
                    </a:lnTo>
                    <a:lnTo>
                      <a:pt x="171" y="491"/>
                    </a:lnTo>
                    <a:lnTo>
                      <a:pt x="172" y="491"/>
                    </a:lnTo>
                    <a:lnTo>
                      <a:pt x="171" y="491"/>
                    </a:lnTo>
                    <a:lnTo>
                      <a:pt x="171" y="490"/>
                    </a:lnTo>
                    <a:lnTo>
                      <a:pt x="170" y="491"/>
                    </a:lnTo>
                    <a:lnTo>
                      <a:pt x="169" y="491"/>
                    </a:lnTo>
                    <a:lnTo>
                      <a:pt x="168" y="491"/>
                    </a:lnTo>
                    <a:lnTo>
                      <a:pt x="166" y="492"/>
                    </a:lnTo>
                    <a:lnTo>
                      <a:pt x="167" y="492"/>
                    </a:lnTo>
                    <a:lnTo>
                      <a:pt x="167" y="493"/>
                    </a:lnTo>
                    <a:lnTo>
                      <a:pt x="166" y="493"/>
                    </a:lnTo>
                    <a:lnTo>
                      <a:pt x="165" y="493"/>
                    </a:lnTo>
                    <a:lnTo>
                      <a:pt x="165" y="494"/>
                    </a:lnTo>
                    <a:lnTo>
                      <a:pt x="164" y="494"/>
                    </a:lnTo>
                    <a:lnTo>
                      <a:pt x="164" y="493"/>
                    </a:lnTo>
                    <a:lnTo>
                      <a:pt x="162" y="493"/>
                    </a:lnTo>
                    <a:lnTo>
                      <a:pt x="162" y="492"/>
                    </a:lnTo>
                    <a:lnTo>
                      <a:pt x="161" y="492"/>
                    </a:lnTo>
                    <a:lnTo>
                      <a:pt x="160" y="492"/>
                    </a:lnTo>
                    <a:lnTo>
                      <a:pt x="159" y="492"/>
                    </a:lnTo>
                    <a:lnTo>
                      <a:pt x="158" y="493"/>
                    </a:lnTo>
                    <a:lnTo>
                      <a:pt x="157" y="493"/>
                    </a:lnTo>
                    <a:lnTo>
                      <a:pt x="156" y="494"/>
                    </a:lnTo>
                    <a:lnTo>
                      <a:pt x="155" y="494"/>
                    </a:lnTo>
                    <a:lnTo>
                      <a:pt x="156" y="495"/>
                    </a:lnTo>
                    <a:lnTo>
                      <a:pt x="155" y="495"/>
                    </a:lnTo>
                    <a:lnTo>
                      <a:pt x="154" y="495"/>
                    </a:lnTo>
                    <a:lnTo>
                      <a:pt x="153" y="496"/>
                    </a:lnTo>
                    <a:lnTo>
                      <a:pt x="152" y="496"/>
                    </a:lnTo>
                    <a:lnTo>
                      <a:pt x="151" y="496"/>
                    </a:lnTo>
                    <a:lnTo>
                      <a:pt x="151" y="497"/>
                    </a:lnTo>
                    <a:lnTo>
                      <a:pt x="149" y="499"/>
                    </a:lnTo>
                    <a:lnTo>
                      <a:pt x="151" y="499"/>
                    </a:lnTo>
                    <a:lnTo>
                      <a:pt x="149" y="499"/>
                    </a:lnTo>
                    <a:lnTo>
                      <a:pt x="148" y="499"/>
                    </a:lnTo>
                    <a:lnTo>
                      <a:pt x="148" y="500"/>
                    </a:lnTo>
                    <a:lnTo>
                      <a:pt x="147" y="500"/>
                    </a:lnTo>
                    <a:lnTo>
                      <a:pt x="146" y="501"/>
                    </a:lnTo>
                    <a:lnTo>
                      <a:pt x="146" y="502"/>
                    </a:lnTo>
                    <a:lnTo>
                      <a:pt x="145" y="503"/>
                    </a:lnTo>
                    <a:lnTo>
                      <a:pt x="145" y="504"/>
                    </a:lnTo>
                    <a:lnTo>
                      <a:pt x="145" y="505"/>
                    </a:lnTo>
                    <a:lnTo>
                      <a:pt x="144" y="506"/>
                    </a:lnTo>
                    <a:lnTo>
                      <a:pt x="144" y="507"/>
                    </a:lnTo>
                    <a:lnTo>
                      <a:pt x="145" y="507"/>
                    </a:lnTo>
                    <a:lnTo>
                      <a:pt x="145" y="508"/>
                    </a:lnTo>
                    <a:lnTo>
                      <a:pt x="145" y="509"/>
                    </a:lnTo>
                    <a:lnTo>
                      <a:pt x="144" y="509"/>
                    </a:lnTo>
                    <a:lnTo>
                      <a:pt x="145" y="510"/>
                    </a:lnTo>
                    <a:lnTo>
                      <a:pt x="144" y="510"/>
                    </a:lnTo>
                    <a:lnTo>
                      <a:pt x="145" y="512"/>
                    </a:lnTo>
                    <a:lnTo>
                      <a:pt x="145" y="513"/>
                    </a:lnTo>
                    <a:lnTo>
                      <a:pt x="145" y="514"/>
                    </a:lnTo>
                    <a:lnTo>
                      <a:pt x="144" y="515"/>
                    </a:lnTo>
                    <a:lnTo>
                      <a:pt x="143" y="515"/>
                    </a:lnTo>
                    <a:lnTo>
                      <a:pt x="143" y="516"/>
                    </a:lnTo>
                    <a:lnTo>
                      <a:pt x="142" y="516"/>
                    </a:lnTo>
                    <a:lnTo>
                      <a:pt x="142" y="517"/>
                    </a:lnTo>
                    <a:lnTo>
                      <a:pt x="141" y="517"/>
                    </a:lnTo>
                    <a:lnTo>
                      <a:pt x="140" y="517"/>
                    </a:lnTo>
                    <a:lnTo>
                      <a:pt x="139" y="517"/>
                    </a:lnTo>
                    <a:lnTo>
                      <a:pt x="138" y="517"/>
                    </a:lnTo>
                    <a:lnTo>
                      <a:pt x="138" y="518"/>
                    </a:lnTo>
                    <a:lnTo>
                      <a:pt x="136" y="518"/>
                    </a:lnTo>
                    <a:lnTo>
                      <a:pt x="136" y="519"/>
                    </a:lnTo>
                    <a:lnTo>
                      <a:pt x="136" y="518"/>
                    </a:lnTo>
                    <a:lnTo>
                      <a:pt x="135" y="519"/>
                    </a:lnTo>
                    <a:lnTo>
                      <a:pt x="136" y="519"/>
                    </a:lnTo>
                    <a:lnTo>
                      <a:pt x="135" y="520"/>
                    </a:lnTo>
                    <a:lnTo>
                      <a:pt x="135" y="521"/>
                    </a:lnTo>
                    <a:lnTo>
                      <a:pt x="134" y="521"/>
                    </a:lnTo>
                    <a:lnTo>
                      <a:pt x="133" y="521"/>
                    </a:lnTo>
                    <a:lnTo>
                      <a:pt x="132" y="521"/>
                    </a:lnTo>
                    <a:lnTo>
                      <a:pt x="131" y="521"/>
                    </a:lnTo>
                    <a:lnTo>
                      <a:pt x="130" y="522"/>
                    </a:lnTo>
                    <a:lnTo>
                      <a:pt x="130" y="524"/>
                    </a:lnTo>
                    <a:lnTo>
                      <a:pt x="129" y="524"/>
                    </a:lnTo>
                    <a:lnTo>
                      <a:pt x="128" y="524"/>
                    </a:lnTo>
                    <a:lnTo>
                      <a:pt x="128" y="525"/>
                    </a:lnTo>
                    <a:lnTo>
                      <a:pt x="127" y="525"/>
                    </a:lnTo>
                    <a:lnTo>
                      <a:pt x="127" y="526"/>
                    </a:lnTo>
                    <a:lnTo>
                      <a:pt x="126" y="526"/>
                    </a:lnTo>
                    <a:lnTo>
                      <a:pt x="126" y="527"/>
                    </a:lnTo>
                    <a:lnTo>
                      <a:pt x="125" y="526"/>
                    </a:lnTo>
                    <a:lnTo>
                      <a:pt x="125" y="527"/>
                    </a:lnTo>
                    <a:lnTo>
                      <a:pt x="123" y="528"/>
                    </a:lnTo>
                    <a:lnTo>
                      <a:pt x="123" y="529"/>
                    </a:lnTo>
                    <a:lnTo>
                      <a:pt x="122" y="529"/>
                    </a:lnTo>
                    <a:lnTo>
                      <a:pt x="121" y="529"/>
                    </a:lnTo>
                    <a:lnTo>
                      <a:pt x="120" y="529"/>
                    </a:lnTo>
                    <a:lnTo>
                      <a:pt x="120" y="530"/>
                    </a:lnTo>
                    <a:lnTo>
                      <a:pt x="119" y="529"/>
                    </a:lnTo>
                    <a:lnTo>
                      <a:pt x="119" y="530"/>
                    </a:lnTo>
                    <a:lnTo>
                      <a:pt x="118" y="531"/>
                    </a:lnTo>
                    <a:lnTo>
                      <a:pt x="118" y="530"/>
                    </a:lnTo>
                    <a:lnTo>
                      <a:pt x="117" y="531"/>
                    </a:lnTo>
                    <a:lnTo>
                      <a:pt x="118" y="531"/>
                    </a:lnTo>
                    <a:lnTo>
                      <a:pt x="118" y="532"/>
                    </a:lnTo>
                    <a:lnTo>
                      <a:pt x="118" y="533"/>
                    </a:lnTo>
                    <a:lnTo>
                      <a:pt x="117" y="533"/>
                    </a:lnTo>
                    <a:lnTo>
                      <a:pt x="117" y="534"/>
                    </a:lnTo>
                    <a:lnTo>
                      <a:pt x="117" y="533"/>
                    </a:lnTo>
                    <a:lnTo>
                      <a:pt x="117" y="534"/>
                    </a:lnTo>
                    <a:lnTo>
                      <a:pt x="116" y="534"/>
                    </a:lnTo>
                    <a:lnTo>
                      <a:pt x="116" y="535"/>
                    </a:lnTo>
                    <a:lnTo>
                      <a:pt x="115" y="537"/>
                    </a:lnTo>
                    <a:lnTo>
                      <a:pt x="115" y="538"/>
                    </a:lnTo>
                    <a:lnTo>
                      <a:pt x="115" y="539"/>
                    </a:lnTo>
                    <a:lnTo>
                      <a:pt x="116" y="539"/>
                    </a:lnTo>
                    <a:lnTo>
                      <a:pt x="116" y="540"/>
                    </a:lnTo>
                    <a:lnTo>
                      <a:pt x="115" y="540"/>
                    </a:lnTo>
                    <a:lnTo>
                      <a:pt x="115" y="541"/>
                    </a:lnTo>
                    <a:lnTo>
                      <a:pt x="115" y="542"/>
                    </a:lnTo>
                    <a:lnTo>
                      <a:pt x="115" y="543"/>
                    </a:lnTo>
                    <a:lnTo>
                      <a:pt x="114" y="544"/>
                    </a:lnTo>
                    <a:lnTo>
                      <a:pt x="114" y="545"/>
                    </a:lnTo>
                    <a:lnTo>
                      <a:pt x="114" y="546"/>
                    </a:lnTo>
                    <a:lnTo>
                      <a:pt x="114" y="547"/>
                    </a:lnTo>
                    <a:lnTo>
                      <a:pt x="114" y="548"/>
                    </a:lnTo>
                    <a:lnTo>
                      <a:pt x="115" y="551"/>
                    </a:lnTo>
                    <a:lnTo>
                      <a:pt x="114" y="551"/>
                    </a:lnTo>
                    <a:lnTo>
                      <a:pt x="114" y="552"/>
                    </a:lnTo>
                    <a:lnTo>
                      <a:pt x="114" y="553"/>
                    </a:lnTo>
                    <a:lnTo>
                      <a:pt x="114" y="554"/>
                    </a:lnTo>
                    <a:lnTo>
                      <a:pt x="113" y="554"/>
                    </a:lnTo>
                    <a:lnTo>
                      <a:pt x="113" y="555"/>
                    </a:lnTo>
                    <a:lnTo>
                      <a:pt x="113" y="556"/>
                    </a:lnTo>
                    <a:lnTo>
                      <a:pt x="113" y="557"/>
                    </a:lnTo>
                    <a:lnTo>
                      <a:pt x="112" y="557"/>
                    </a:lnTo>
                    <a:lnTo>
                      <a:pt x="112" y="558"/>
                    </a:lnTo>
                    <a:lnTo>
                      <a:pt x="110" y="558"/>
                    </a:lnTo>
                    <a:lnTo>
                      <a:pt x="109" y="559"/>
                    </a:lnTo>
                    <a:lnTo>
                      <a:pt x="108" y="559"/>
                    </a:lnTo>
                    <a:lnTo>
                      <a:pt x="108" y="560"/>
                    </a:lnTo>
                    <a:lnTo>
                      <a:pt x="107" y="560"/>
                    </a:lnTo>
                    <a:lnTo>
                      <a:pt x="106" y="560"/>
                    </a:lnTo>
                    <a:lnTo>
                      <a:pt x="105" y="561"/>
                    </a:lnTo>
                    <a:lnTo>
                      <a:pt x="104" y="563"/>
                    </a:lnTo>
                    <a:lnTo>
                      <a:pt x="103" y="563"/>
                    </a:lnTo>
                    <a:lnTo>
                      <a:pt x="104" y="564"/>
                    </a:lnTo>
                    <a:lnTo>
                      <a:pt x="104" y="565"/>
                    </a:lnTo>
                    <a:lnTo>
                      <a:pt x="103" y="566"/>
                    </a:lnTo>
                    <a:lnTo>
                      <a:pt x="102" y="566"/>
                    </a:lnTo>
                    <a:lnTo>
                      <a:pt x="101" y="567"/>
                    </a:lnTo>
                    <a:lnTo>
                      <a:pt x="101" y="568"/>
                    </a:lnTo>
                    <a:lnTo>
                      <a:pt x="100" y="568"/>
                    </a:lnTo>
                    <a:lnTo>
                      <a:pt x="99" y="568"/>
                    </a:lnTo>
                    <a:lnTo>
                      <a:pt x="99" y="569"/>
                    </a:lnTo>
                    <a:lnTo>
                      <a:pt x="97" y="569"/>
                    </a:lnTo>
                    <a:lnTo>
                      <a:pt x="96" y="570"/>
                    </a:lnTo>
                    <a:lnTo>
                      <a:pt x="96" y="571"/>
                    </a:lnTo>
                    <a:lnTo>
                      <a:pt x="95" y="571"/>
                    </a:lnTo>
                    <a:lnTo>
                      <a:pt x="95" y="572"/>
                    </a:lnTo>
                    <a:lnTo>
                      <a:pt x="94" y="572"/>
                    </a:lnTo>
                    <a:lnTo>
                      <a:pt x="93" y="573"/>
                    </a:lnTo>
                    <a:lnTo>
                      <a:pt x="92" y="573"/>
                    </a:lnTo>
                    <a:lnTo>
                      <a:pt x="92" y="574"/>
                    </a:lnTo>
                    <a:lnTo>
                      <a:pt x="91" y="574"/>
                    </a:lnTo>
                    <a:lnTo>
                      <a:pt x="91" y="576"/>
                    </a:lnTo>
                    <a:lnTo>
                      <a:pt x="90" y="576"/>
                    </a:lnTo>
                    <a:lnTo>
                      <a:pt x="89" y="576"/>
                    </a:lnTo>
                    <a:lnTo>
                      <a:pt x="88" y="576"/>
                    </a:lnTo>
                    <a:lnTo>
                      <a:pt x="88" y="577"/>
                    </a:lnTo>
                    <a:lnTo>
                      <a:pt x="87" y="577"/>
                    </a:lnTo>
                    <a:lnTo>
                      <a:pt x="86" y="578"/>
                    </a:lnTo>
                    <a:lnTo>
                      <a:pt x="86" y="580"/>
                    </a:lnTo>
                    <a:lnTo>
                      <a:pt x="84" y="580"/>
                    </a:lnTo>
                    <a:lnTo>
                      <a:pt x="83" y="580"/>
                    </a:lnTo>
                    <a:lnTo>
                      <a:pt x="82" y="581"/>
                    </a:lnTo>
                    <a:lnTo>
                      <a:pt x="81" y="581"/>
                    </a:lnTo>
                    <a:lnTo>
                      <a:pt x="80" y="581"/>
                    </a:lnTo>
                    <a:lnTo>
                      <a:pt x="80" y="582"/>
                    </a:lnTo>
                    <a:lnTo>
                      <a:pt x="79" y="582"/>
                    </a:lnTo>
                    <a:lnTo>
                      <a:pt x="78" y="583"/>
                    </a:lnTo>
                    <a:lnTo>
                      <a:pt x="77" y="584"/>
                    </a:lnTo>
                    <a:lnTo>
                      <a:pt x="76" y="584"/>
                    </a:lnTo>
                    <a:lnTo>
                      <a:pt x="75" y="585"/>
                    </a:lnTo>
                    <a:lnTo>
                      <a:pt x="75" y="586"/>
                    </a:lnTo>
                    <a:lnTo>
                      <a:pt x="74" y="586"/>
                    </a:lnTo>
                    <a:lnTo>
                      <a:pt x="73" y="586"/>
                    </a:lnTo>
                    <a:lnTo>
                      <a:pt x="73" y="587"/>
                    </a:lnTo>
                    <a:lnTo>
                      <a:pt x="71" y="587"/>
                    </a:lnTo>
                    <a:lnTo>
                      <a:pt x="65" y="592"/>
                    </a:lnTo>
                    <a:lnTo>
                      <a:pt x="57" y="598"/>
                    </a:lnTo>
                    <a:lnTo>
                      <a:pt x="52" y="598"/>
                    </a:lnTo>
                    <a:lnTo>
                      <a:pt x="46" y="598"/>
                    </a:lnTo>
                    <a:lnTo>
                      <a:pt x="33" y="598"/>
                    </a:lnTo>
                    <a:lnTo>
                      <a:pt x="27" y="598"/>
                    </a:lnTo>
                    <a:lnTo>
                      <a:pt x="1" y="598"/>
                    </a:lnTo>
                    <a:lnTo>
                      <a:pt x="1" y="578"/>
                    </a:lnTo>
                    <a:lnTo>
                      <a:pt x="1" y="559"/>
                    </a:lnTo>
                    <a:lnTo>
                      <a:pt x="1" y="550"/>
                    </a:lnTo>
                    <a:lnTo>
                      <a:pt x="1" y="540"/>
                    </a:lnTo>
                    <a:lnTo>
                      <a:pt x="1" y="539"/>
                    </a:lnTo>
                    <a:lnTo>
                      <a:pt x="1" y="534"/>
                    </a:lnTo>
                    <a:lnTo>
                      <a:pt x="1" y="530"/>
                    </a:lnTo>
                    <a:lnTo>
                      <a:pt x="1" y="526"/>
                    </a:lnTo>
                    <a:lnTo>
                      <a:pt x="1" y="499"/>
                    </a:lnTo>
                    <a:lnTo>
                      <a:pt x="1" y="493"/>
                    </a:lnTo>
                    <a:lnTo>
                      <a:pt x="1" y="491"/>
                    </a:lnTo>
                    <a:lnTo>
                      <a:pt x="1" y="488"/>
                    </a:lnTo>
                    <a:lnTo>
                      <a:pt x="1" y="482"/>
                    </a:lnTo>
                    <a:lnTo>
                      <a:pt x="1" y="477"/>
                    </a:lnTo>
                    <a:lnTo>
                      <a:pt x="1" y="473"/>
                    </a:lnTo>
                    <a:lnTo>
                      <a:pt x="1" y="469"/>
                    </a:lnTo>
                    <a:lnTo>
                      <a:pt x="1" y="468"/>
                    </a:lnTo>
                    <a:lnTo>
                      <a:pt x="1" y="456"/>
                    </a:lnTo>
                    <a:lnTo>
                      <a:pt x="1" y="425"/>
                    </a:lnTo>
                    <a:lnTo>
                      <a:pt x="1" y="422"/>
                    </a:lnTo>
                    <a:lnTo>
                      <a:pt x="1" y="410"/>
                    </a:lnTo>
                    <a:lnTo>
                      <a:pt x="1" y="406"/>
                    </a:lnTo>
                    <a:lnTo>
                      <a:pt x="1" y="405"/>
                    </a:lnTo>
                    <a:lnTo>
                      <a:pt x="1" y="400"/>
                    </a:lnTo>
                    <a:lnTo>
                      <a:pt x="1" y="399"/>
                    </a:lnTo>
                    <a:lnTo>
                      <a:pt x="1" y="394"/>
                    </a:lnTo>
                    <a:lnTo>
                      <a:pt x="1" y="393"/>
                    </a:lnTo>
                    <a:lnTo>
                      <a:pt x="1" y="391"/>
                    </a:lnTo>
                    <a:lnTo>
                      <a:pt x="1" y="389"/>
                    </a:lnTo>
                    <a:lnTo>
                      <a:pt x="1" y="384"/>
                    </a:lnTo>
                    <a:lnTo>
                      <a:pt x="1" y="383"/>
                    </a:lnTo>
                    <a:lnTo>
                      <a:pt x="1" y="378"/>
                    </a:lnTo>
                    <a:lnTo>
                      <a:pt x="1" y="375"/>
                    </a:lnTo>
                    <a:lnTo>
                      <a:pt x="1" y="374"/>
                    </a:lnTo>
                    <a:lnTo>
                      <a:pt x="1" y="371"/>
                    </a:lnTo>
                    <a:lnTo>
                      <a:pt x="1" y="368"/>
                    </a:lnTo>
                    <a:lnTo>
                      <a:pt x="1" y="367"/>
                    </a:lnTo>
                    <a:lnTo>
                      <a:pt x="1" y="366"/>
                    </a:lnTo>
                    <a:lnTo>
                      <a:pt x="1" y="365"/>
                    </a:lnTo>
                    <a:lnTo>
                      <a:pt x="0" y="362"/>
                    </a:lnTo>
                    <a:lnTo>
                      <a:pt x="1" y="349"/>
                    </a:lnTo>
                    <a:lnTo>
                      <a:pt x="1" y="343"/>
                    </a:lnTo>
                    <a:lnTo>
                      <a:pt x="1" y="340"/>
                    </a:lnTo>
                    <a:lnTo>
                      <a:pt x="1" y="336"/>
                    </a:lnTo>
                    <a:lnTo>
                      <a:pt x="1" y="335"/>
                    </a:lnTo>
                    <a:lnTo>
                      <a:pt x="1" y="329"/>
                    </a:lnTo>
                    <a:lnTo>
                      <a:pt x="1" y="323"/>
                    </a:lnTo>
                    <a:lnTo>
                      <a:pt x="1" y="312"/>
                    </a:lnTo>
                    <a:lnTo>
                      <a:pt x="1" y="302"/>
                    </a:lnTo>
                    <a:lnTo>
                      <a:pt x="1" y="298"/>
                    </a:lnTo>
                    <a:lnTo>
                      <a:pt x="1" y="297"/>
                    </a:lnTo>
                    <a:lnTo>
                      <a:pt x="1" y="291"/>
                    </a:lnTo>
                    <a:lnTo>
                      <a:pt x="1" y="289"/>
                    </a:lnTo>
                    <a:lnTo>
                      <a:pt x="1" y="286"/>
                    </a:lnTo>
                    <a:lnTo>
                      <a:pt x="1" y="278"/>
                    </a:lnTo>
                    <a:lnTo>
                      <a:pt x="1" y="277"/>
                    </a:lnTo>
                    <a:lnTo>
                      <a:pt x="1" y="276"/>
                    </a:lnTo>
                    <a:lnTo>
                      <a:pt x="1" y="274"/>
                    </a:lnTo>
                    <a:lnTo>
                      <a:pt x="1" y="265"/>
                    </a:lnTo>
                    <a:lnTo>
                      <a:pt x="1" y="262"/>
                    </a:lnTo>
                    <a:lnTo>
                      <a:pt x="1" y="255"/>
                    </a:lnTo>
                    <a:lnTo>
                      <a:pt x="1" y="240"/>
                    </a:lnTo>
                    <a:lnTo>
                      <a:pt x="1" y="237"/>
                    </a:lnTo>
                    <a:lnTo>
                      <a:pt x="1" y="234"/>
                    </a:lnTo>
                    <a:lnTo>
                      <a:pt x="1" y="222"/>
                    </a:lnTo>
                    <a:lnTo>
                      <a:pt x="1" y="216"/>
                    </a:lnTo>
                    <a:lnTo>
                      <a:pt x="1" y="214"/>
                    </a:lnTo>
                    <a:lnTo>
                      <a:pt x="1" y="201"/>
                    </a:lnTo>
                    <a:lnTo>
                      <a:pt x="1" y="193"/>
                    </a:lnTo>
                    <a:lnTo>
                      <a:pt x="1" y="192"/>
                    </a:lnTo>
                    <a:lnTo>
                      <a:pt x="1" y="188"/>
                    </a:lnTo>
                    <a:lnTo>
                      <a:pt x="1" y="184"/>
                    </a:lnTo>
                    <a:lnTo>
                      <a:pt x="1" y="183"/>
                    </a:lnTo>
                    <a:lnTo>
                      <a:pt x="1" y="182"/>
                    </a:lnTo>
                    <a:lnTo>
                      <a:pt x="1" y="181"/>
                    </a:lnTo>
                    <a:lnTo>
                      <a:pt x="1" y="180"/>
                    </a:lnTo>
                    <a:lnTo>
                      <a:pt x="1" y="179"/>
                    </a:lnTo>
                    <a:lnTo>
                      <a:pt x="1" y="176"/>
                    </a:lnTo>
                    <a:lnTo>
                      <a:pt x="1" y="174"/>
                    </a:lnTo>
                    <a:lnTo>
                      <a:pt x="1" y="171"/>
                    </a:lnTo>
                    <a:lnTo>
                      <a:pt x="1" y="169"/>
                    </a:lnTo>
                    <a:lnTo>
                      <a:pt x="1" y="168"/>
                    </a:lnTo>
                    <a:lnTo>
                      <a:pt x="1" y="167"/>
                    </a:lnTo>
                    <a:lnTo>
                      <a:pt x="1" y="166"/>
                    </a:lnTo>
                    <a:lnTo>
                      <a:pt x="1" y="165"/>
                    </a:lnTo>
                    <a:lnTo>
                      <a:pt x="1" y="161"/>
                    </a:lnTo>
                    <a:lnTo>
                      <a:pt x="1" y="156"/>
                    </a:lnTo>
                    <a:lnTo>
                      <a:pt x="1" y="154"/>
                    </a:lnTo>
                    <a:lnTo>
                      <a:pt x="1" y="152"/>
                    </a:lnTo>
                    <a:lnTo>
                      <a:pt x="1" y="139"/>
                    </a:lnTo>
                    <a:lnTo>
                      <a:pt x="1" y="137"/>
                    </a:lnTo>
                    <a:lnTo>
                      <a:pt x="1" y="129"/>
                    </a:lnTo>
                    <a:lnTo>
                      <a:pt x="1" y="124"/>
                    </a:lnTo>
                    <a:lnTo>
                      <a:pt x="1" y="123"/>
                    </a:lnTo>
                    <a:lnTo>
                      <a:pt x="1" y="121"/>
                    </a:lnTo>
                    <a:lnTo>
                      <a:pt x="1" y="113"/>
                    </a:lnTo>
                    <a:lnTo>
                      <a:pt x="1" y="111"/>
                    </a:lnTo>
                    <a:lnTo>
                      <a:pt x="1" y="110"/>
                    </a:lnTo>
                    <a:lnTo>
                      <a:pt x="1" y="109"/>
                    </a:lnTo>
                    <a:lnTo>
                      <a:pt x="1" y="106"/>
                    </a:lnTo>
                    <a:lnTo>
                      <a:pt x="1" y="104"/>
                    </a:lnTo>
                    <a:lnTo>
                      <a:pt x="1" y="101"/>
                    </a:lnTo>
                    <a:lnTo>
                      <a:pt x="1" y="92"/>
                    </a:lnTo>
                    <a:lnTo>
                      <a:pt x="1" y="88"/>
                    </a:lnTo>
                    <a:lnTo>
                      <a:pt x="1" y="80"/>
                    </a:lnTo>
                    <a:lnTo>
                      <a:pt x="1" y="79"/>
                    </a:lnTo>
                    <a:lnTo>
                      <a:pt x="1" y="59"/>
                    </a:lnTo>
                    <a:lnTo>
                      <a:pt x="1" y="58"/>
                    </a:lnTo>
                    <a:lnTo>
                      <a:pt x="1" y="51"/>
                    </a:lnTo>
                    <a:lnTo>
                      <a:pt x="1" y="49"/>
                    </a:lnTo>
                    <a:lnTo>
                      <a:pt x="1" y="46"/>
                    </a:lnTo>
                    <a:lnTo>
                      <a:pt x="1" y="41"/>
                    </a:lnTo>
                    <a:lnTo>
                      <a:pt x="1" y="8"/>
                    </a:lnTo>
                    <a:lnTo>
                      <a:pt x="1" y="0"/>
                    </a:lnTo>
                    <a:lnTo>
                      <a:pt x="3" y="0"/>
                    </a:lnTo>
                    <a:lnTo>
                      <a:pt x="6" y="0"/>
                    </a:lnTo>
                    <a:lnTo>
                      <a:pt x="12" y="0"/>
                    </a:lnTo>
                    <a:lnTo>
                      <a:pt x="13" y="0"/>
                    </a:lnTo>
                    <a:lnTo>
                      <a:pt x="14" y="0"/>
                    </a:lnTo>
                    <a:lnTo>
                      <a:pt x="27" y="0"/>
                    </a:lnTo>
                    <a:lnTo>
                      <a:pt x="28" y="0"/>
                    </a:lnTo>
                    <a:lnTo>
                      <a:pt x="44" y="0"/>
                    </a:lnTo>
                    <a:lnTo>
                      <a:pt x="76" y="0"/>
                    </a:lnTo>
                    <a:lnTo>
                      <a:pt x="88" y="0"/>
                    </a:lnTo>
                    <a:lnTo>
                      <a:pt x="93" y="0"/>
                    </a:lnTo>
                    <a:lnTo>
                      <a:pt x="141" y="0"/>
                    </a:lnTo>
                    <a:close/>
                  </a:path>
                </a:pathLst>
              </a:custGeom>
              <a:solidFill>
                <a:srgbClr val="77B6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6" name="Freeform 334">
                <a:extLst>
                  <a:ext uri="{FF2B5EF4-FFF2-40B4-BE49-F238E27FC236}">
                    <a16:creationId xmlns:a16="http://schemas.microsoft.com/office/drawing/2014/main" id="{3D58E441-A6C0-D234-1CB8-67DD33CD89B9}"/>
                  </a:ext>
                </a:extLst>
              </p:cNvPr>
              <p:cNvSpPr>
                <a:spLocks noEditPoints="1"/>
              </p:cNvSpPr>
              <p:nvPr/>
            </p:nvSpPr>
            <p:spPr bwMode="auto">
              <a:xfrm>
                <a:off x="4827588" y="3770313"/>
                <a:ext cx="704850" cy="633413"/>
              </a:xfrm>
              <a:custGeom>
                <a:avLst/>
                <a:gdLst>
                  <a:gd name="T0" fmla="*/ 254 w 444"/>
                  <a:gd name="T1" fmla="*/ 43 h 399"/>
                  <a:gd name="T2" fmla="*/ 264 w 444"/>
                  <a:gd name="T3" fmla="*/ 50 h 399"/>
                  <a:gd name="T4" fmla="*/ 260 w 444"/>
                  <a:gd name="T5" fmla="*/ 66 h 399"/>
                  <a:gd name="T6" fmla="*/ 267 w 444"/>
                  <a:gd name="T7" fmla="*/ 76 h 399"/>
                  <a:gd name="T8" fmla="*/ 272 w 444"/>
                  <a:gd name="T9" fmla="*/ 89 h 399"/>
                  <a:gd name="T10" fmla="*/ 274 w 444"/>
                  <a:gd name="T11" fmla="*/ 102 h 399"/>
                  <a:gd name="T12" fmla="*/ 286 w 444"/>
                  <a:gd name="T13" fmla="*/ 104 h 399"/>
                  <a:gd name="T14" fmla="*/ 283 w 444"/>
                  <a:gd name="T15" fmla="*/ 116 h 399"/>
                  <a:gd name="T16" fmla="*/ 292 w 444"/>
                  <a:gd name="T17" fmla="*/ 122 h 399"/>
                  <a:gd name="T18" fmla="*/ 296 w 444"/>
                  <a:gd name="T19" fmla="*/ 136 h 399"/>
                  <a:gd name="T20" fmla="*/ 303 w 444"/>
                  <a:gd name="T21" fmla="*/ 142 h 399"/>
                  <a:gd name="T22" fmla="*/ 305 w 444"/>
                  <a:gd name="T23" fmla="*/ 151 h 399"/>
                  <a:gd name="T24" fmla="*/ 312 w 444"/>
                  <a:gd name="T25" fmla="*/ 154 h 399"/>
                  <a:gd name="T26" fmla="*/ 323 w 444"/>
                  <a:gd name="T27" fmla="*/ 156 h 399"/>
                  <a:gd name="T28" fmla="*/ 335 w 444"/>
                  <a:gd name="T29" fmla="*/ 171 h 399"/>
                  <a:gd name="T30" fmla="*/ 346 w 444"/>
                  <a:gd name="T31" fmla="*/ 185 h 399"/>
                  <a:gd name="T32" fmla="*/ 352 w 444"/>
                  <a:gd name="T33" fmla="*/ 198 h 399"/>
                  <a:gd name="T34" fmla="*/ 350 w 444"/>
                  <a:gd name="T35" fmla="*/ 213 h 399"/>
                  <a:gd name="T36" fmla="*/ 357 w 444"/>
                  <a:gd name="T37" fmla="*/ 231 h 399"/>
                  <a:gd name="T38" fmla="*/ 365 w 444"/>
                  <a:gd name="T39" fmla="*/ 249 h 399"/>
                  <a:gd name="T40" fmla="*/ 377 w 444"/>
                  <a:gd name="T41" fmla="*/ 259 h 399"/>
                  <a:gd name="T42" fmla="*/ 380 w 444"/>
                  <a:gd name="T43" fmla="*/ 277 h 399"/>
                  <a:gd name="T44" fmla="*/ 374 w 444"/>
                  <a:gd name="T45" fmla="*/ 298 h 399"/>
                  <a:gd name="T46" fmla="*/ 381 w 444"/>
                  <a:gd name="T47" fmla="*/ 322 h 399"/>
                  <a:gd name="T48" fmla="*/ 399 w 444"/>
                  <a:gd name="T49" fmla="*/ 352 h 399"/>
                  <a:gd name="T50" fmla="*/ 403 w 444"/>
                  <a:gd name="T51" fmla="*/ 375 h 399"/>
                  <a:gd name="T52" fmla="*/ 393 w 444"/>
                  <a:gd name="T53" fmla="*/ 383 h 399"/>
                  <a:gd name="T54" fmla="*/ 371 w 444"/>
                  <a:gd name="T55" fmla="*/ 391 h 399"/>
                  <a:gd name="T56" fmla="*/ 355 w 444"/>
                  <a:gd name="T57" fmla="*/ 382 h 399"/>
                  <a:gd name="T58" fmla="*/ 328 w 444"/>
                  <a:gd name="T59" fmla="*/ 386 h 399"/>
                  <a:gd name="T60" fmla="*/ 312 w 444"/>
                  <a:gd name="T61" fmla="*/ 377 h 399"/>
                  <a:gd name="T62" fmla="*/ 292 w 444"/>
                  <a:gd name="T63" fmla="*/ 361 h 399"/>
                  <a:gd name="T64" fmla="*/ 267 w 444"/>
                  <a:gd name="T65" fmla="*/ 352 h 399"/>
                  <a:gd name="T66" fmla="*/ 246 w 444"/>
                  <a:gd name="T67" fmla="*/ 342 h 399"/>
                  <a:gd name="T68" fmla="*/ 227 w 444"/>
                  <a:gd name="T69" fmla="*/ 326 h 399"/>
                  <a:gd name="T70" fmla="*/ 206 w 444"/>
                  <a:gd name="T71" fmla="*/ 328 h 399"/>
                  <a:gd name="T72" fmla="*/ 185 w 444"/>
                  <a:gd name="T73" fmla="*/ 320 h 399"/>
                  <a:gd name="T74" fmla="*/ 164 w 444"/>
                  <a:gd name="T75" fmla="*/ 315 h 399"/>
                  <a:gd name="T76" fmla="*/ 156 w 444"/>
                  <a:gd name="T77" fmla="*/ 285 h 399"/>
                  <a:gd name="T78" fmla="*/ 131 w 444"/>
                  <a:gd name="T79" fmla="*/ 275 h 399"/>
                  <a:gd name="T80" fmla="*/ 120 w 444"/>
                  <a:gd name="T81" fmla="*/ 257 h 399"/>
                  <a:gd name="T82" fmla="*/ 104 w 444"/>
                  <a:gd name="T83" fmla="*/ 248 h 399"/>
                  <a:gd name="T84" fmla="*/ 90 w 444"/>
                  <a:gd name="T85" fmla="*/ 245 h 399"/>
                  <a:gd name="T86" fmla="*/ 72 w 444"/>
                  <a:gd name="T87" fmla="*/ 241 h 399"/>
                  <a:gd name="T88" fmla="*/ 59 w 444"/>
                  <a:gd name="T89" fmla="*/ 235 h 399"/>
                  <a:gd name="T90" fmla="*/ 45 w 444"/>
                  <a:gd name="T91" fmla="*/ 236 h 399"/>
                  <a:gd name="T92" fmla="*/ 22 w 444"/>
                  <a:gd name="T93" fmla="*/ 236 h 399"/>
                  <a:gd name="T94" fmla="*/ 6 w 444"/>
                  <a:gd name="T95" fmla="*/ 216 h 399"/>
                  <a:gd name="T96" fmla="*/ 7 w 444"/>
                  <a:gd name="T97" fmla="*/ 107 h 399"/>
                  <a:gd name="T98" fmla="*/ 7 w 444"/>
                  <a:gd name="T99" fmla="*/ 85 h 399"/>
                  <a:gd name="T100" fmla="*/ 5 w 444"/>
                  <a:gd name="T101" fmla="*/ 72 h 399"/>
                  <a:gd name="T102" fmla="*/ 2 w 444"/>
                  <a:gd name="T103" fmla="*/ 63 h 399"/>
                  <a:gd name="T104" fmla="*/ 6 w 444"/>
                  <a:gd name="T105" fmla="*/ 50 h 399"/>
                  <a:gd name="T106" fmla="*/ 3 w 444"/>
                  <a:gd name="T107" fmla="*/ 40 h 399"/>
                  <a:gd name="T108" fmla="*/ 5 w 444"/>
                  <a:gd name="T109" fmla="*/ 24 h 399"/>
                  <a:gd name="T110" fmla="*/ 2 w 444"/>
                  <a:gd name="T111" fmla="*/ 9 h 399"/>
                  <a:gd name="T112" fmla="*/ 57 w 444"/>
                  <a:gd name="T113" fmla="*/ 11 h 399"/>
                  <a:gd name="T114" fmla="*/ 167 w 444"/>
                  <a:gd name="T115" fmla="*/ 33 h 399"/>
                  <a:gd name="T116" fmla="*/ 439 w 444"/>
                  <a:gd name="T117" fmla="*/ 377 h 399"/>
                  <a:gd name="T118" fmla="*/ 394 w 444"/>
                  <a:gd name="T119" fmla="*/ 395 h 399"/>
                  <a:gd name="T120" fmla="*/ 402 w 444"/>
                  <a:gd name="T121" fmla="*/ 392 h 399"/>
                  <a:gd name="T122" fmla="*/ 410 w 444"/>
                  <a:gd name="T123" fmla="*/ 3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4" h="399">
                    <a:moveTo>
                      <a:pt x="252" y="33"/>
                    </a:moveTo>
                    <a:lnTo>
                      <a:pt x="252" y="34"/>
                    </a:lnTo>
                    <a:lnTo>
                      <a:pt x="252" y="35"/>
                    </a:lnTo>
                    <a:lnTo>
                      <a:pt x="251" y="35"/>
                    </a:lnTo>
                    <a:lnTo>
                      <a:pt x="250" y="35"/>
                    </a:lnTo>
                    <a:lnTo>
                      <a:pt x="249" y="34"/>
                    </a:lnTo>
                    <a:lnTo>
                      <a:pt x="249" y="33"/>
                    </a:lnTo>
                    <a:lnTo>
                      <a:pt x="248" y="33"/>
                    </a:lnTo>
                    <a:lnTo>
                      <a:pt x="247" y="34"/>
                    </a:lnTo>
                    <a:lnTo>
                      <a:pt x="247" y="35"/>
                    </a:lnTo>
                    <a:lnTo>
                      <a:pt x="247" y="36"/>
                    </a:lnTo>
                    <a:lnTo>
                      <a:pt x="248" y="36"/>
                    </a:lnTo>
                    <a:lnTo>
                      <a:pt x="249" y="36"/>
                    </a:lnTo>
                    <a:lnTo>
                      <a:pt x="249" y="37"/>
                    </a:lnTo>
                    <a:lnTo>
                      <a:pt x="250" y="37"/>
                    </a:lnTo>
                    <a:lnTo>
                      <a:pt x="251" y="37"/>
                    </a:lnTo>
                    <a:lnTo>
                      <a:pt x="252" y="36"/>
                    </a:lnTo>
                    <a:lnTo>
                      <a:pt x="253" y="36"/>
                    </a:lnTo>
                    <a:lnTo>
                      <a:pt x="253" y="37"/>
                    </a:lnTo>
                    <a:lnTo>
                      <a:pt x="253" y="38"/>
                    </a:lnTo>
                    <a:lnTo>
                      <a:pt x="253" y="39"/>
                    </a:lnTo>
                    <a:lnTo>
                      <a:pt x="253" y="40"/>
                    </a:lnTo>
                    <a:lnTo>
                      <a:pt x="253" y="41"/>
                    </a:lnTo>
                    <a:lnTo>
                      <a:pt x="253" y="43"/>
                    </a:lnTo>
                    <a:lnTo>
                      <a:pt x="254" y="43"/>
                    </a:lnTo>
                    <a:lnTo>
                      <a:pt x="255" y="41"/>
                    </a:lnTo>
                    <a:lnTo>
                      <a:pt x="255" y="40"/>
                    </a:lnTo>
                    <a:lnTo>
                      <a:pt x="255" y="39"/>
                    </a:lnTo>
                    <a:lnTo>
                      <a:pt x="257" y="39"/>
                    </a:lnTo>
                    <a:lnTo>
                      <a:pt x="257" y="38"/>
                    </a:lnTo>
                    <a:lnTo>
                      <a:pt x="258" y="38"/>
                    </a:lnTo>
                    <a:lnTo>
                      <a:pt x="259" y="39"/>
                    </a:lnTo>
                    <a:lnTo>
                      <a:pt x="259" y="40"/>
                    </a:lnTo>
                    <a:lnTo>
                      <a:pt x="260" y="41"/>
                    </a:lnTo>
                    <a:lnTo>
                      <a:pt x="260" y="43"/>
                    </a:lnTo>
                    <a:lnTo>
                      <a:pt x="260" y="44"/>
                    </a:lnTo>
                    <a:lnTo>
                      <a:pt x="261" y="44"/>
                    </a:lnTo>
                    <a:lnTo>
                      <a:pt x="262" y="44"/>
                    </a:lnTo>
                    <a:lnTo>
                      <a:pt x="263" y="44"/>
                    </a:lnTo>
                    <a:lnTo>
                      <a:pt x="263" y="45"/>
                    </a:lnTo>
                    <a:lnTo>
                      <a:pt x="263" y="46"/>
                    </a:lnTo>
                    <a:lnTo>
                      <a:pt x="263" y="47"/>
                    </a:lnTo>
                    <a:lnTo>
                      <a:pt x="263" y="48"/>
                    </a:lnTo>
                    <a:lnTo>
                      <a:pt x="264" y="47"/>
                    </a:lnTo>
                    <a:lnTo>
                      <a:pt x="265" y="47"/>
                    </a:lnTo>
                    <a:lnTo>
                      <a:pt x="266" y="47"/>
                    </a:lnTo>
                    <a:lnTo>
                      <a:pt x="266" y="48"/>
                    </a:lnTo>
                    <a:lnTo>
                      <a:pt x="265" y="48"/>
                    </a:lnTo>
                    <a:lnTo>
                      <a:pt x="264" y="49"/>
                    </a:lnTo>
                    <a:lnTo>
                      <a:pt x="264" y="50"/>
                    </a:lnTo>
                    <a:lnTo>
                      <a:pt x="264" y="51"/>
                    </a:lnTo>
                    <a:lnTo>
                      <a:pt x="265" y="52"/>
                    </a:lnTo>
                    <a:lnTo>
                      <a:pt x="266" y="52"/>
                    </a:lnTo>
                    <a:lnTo>
                      <a:pt x="267" y="52"/>
                    </a:lnTo>
                    <a:lnTo>
                      <a:pt x="268" y="51"/>
                    </a:lnTo>
                    <a:lnTo>
                      <a:pt x="270" y="52"/>
                    </a:lnTo>
                    <a:lnTo>
                      <a:pt x="270" y="53"/>
                    </a:lnTo>
                    <a:lnTo>
                      <a:pt x="268" y="55"/>
                    </a:lnTo>
                    <a:lnTo>
                      <a:pt x="266" y="56"/>
                    </a:lnTo>
                    <a:lnTo>
                      <a:pt x="266" y="57"/>
                    </a:lnTo>
                    <a:lnTo>
                      <a:pt x="266" y="58"/>
                    </a:lnTo>
                    <a:lnTo>
                      <a:pt x="266" y="59"/>
                    </a:lnTo>
                    <a:lnTo>
                      <a:pt x="266" y="60"/>
                    </a:lnTo>
                    <a:lnTo>
                      <a:pt x="265" y="60"/>
                    </a:lnTo>
                    <a:lnTo>
                      <a:pt x="265" y="61"/>
                    </a:lnTo>
                    <a:lnTo>
                      <a:pt x="264" y="62"/>
                    </a:lnTo>
                    <a:lnTo>
                      <a:pt x="264" y="63"/>
                    </a:lnTo>
                    <a:lnTo>
                      <a:pt x="264" y="64"/>
                    </a:lnTo>
                    <a:lnTo>
                      <a:pt x="263" y="64"/>
                    </a:lnTo>
                    <a:lnTo>
                      <a:pt x="262" y="64"/>
                    </a:lnTo>
                    <a:lnTo>
                      <a:pt x="261" y="64"/>
                    </a:lnTo>
                    <a:lnTo>
                      <a:pt x="261" y="63"/>
                    </a:lnTo>
                    <a:lnTo>
                      <a:pt x="260" y="64"/>
                    </a:lnTo>
                    <a:lnTo>
                      <a:pt x="260" y="65"/>
                    </a:lnTo>
                    <a:lnTo>
                      <a:pt x="260" y="66"/>
                    </a:lnTo>
                    <a:lnTo>
                      <a:pt x="260" y="68"/>
                    </a:lnTo>
                    <a:lnTo>
                      <a:pt x="261" y="68"/>
                    </a:lnTo>
                    <a:lnTo>
                      <a:pt x="261" y="66"/>
                    </a:lnTo>
                    <a:lnTo>
                      <a:pt x="262" y="66"/>
                    </a:lnTo>
                    <a:lnTo>
                      <a:pt x="263" y="66"/>
                    </a:lnTo>
                    <a:lnTo>
                      <a:pt x="264" y="66"/>
                    </a:lnTo>
                    <a:lnTo>
                      <a:pt x="265" y="65"/>
                    </a:lnTo>
                    <a:lnTo>
                      <a:pt x="265" y="66"/>
                    </a:lnTo>
                    <a:lnTo>
                      <a:pt x="265" y="68"/>
                    </a:lnTo>
                    <a:lnTo>
                      <a:pt x="265" y="69"/>
                    </a:lnTo>
                    <a:lnTo>
                      <a:pt x="265" y="70"/>
                    </a:lnTo>
                    <a:lnTo>
                      <a:pt x="265" y="71"/>
                    </a:lnTo>
                    <a:lnTo>
                      <a:pt x="265" y="72"/>
                    </a:lnTo>
                    <a:lnTo>
                      <a:pt x="264" y="73"/>
                    </a:lnTo>
                    <a:lnTo>
                      <a:pt x="264" y="74"/>
                    </a:lnTo>
                    <a:lnTo>
                      <a:pt x="265" y="74"/>
                    </a:lnTo>
                    <a:lnTo>
                      <a:pt x="265" y="75"/>
                    </a:lnTo>
                    <a:lnTo>
                      <a:pt x="265" y="74"/>
                    </a:lnTo>
                    <a:lnTo>
                      <a:pt x="266" y="74"/>
                    </a:lnTo>
                    <a:lnTo>
                      <a:pt x="268" y="73"/>
                    </a:lnTo>
                    <a:lnTo>
                      <a:pt x="270" y="74"/>
                    </a:lnTo>
                    <a:lnTo>
                      <a:pt x="270" y="75"/>
                    </a:lnTo>
                    <a:lnTo>
                      <a:pt x="268" y="75"/>
                    </a:lnTo>
                    <a:lnTo>
                      <a:pt x="268" y="76"/>
                    </a:lnTo>
                    <a:lnTo>
                      <a:pt x="267" y="76"/>
                    </a:lnTo>
                    <a:lnTo>
                      <a:pt x="266" y="76"/>
                    </a:lnTo>
                    <a:lnTo>
                      <a:pt x="266" y="75"/>
                    </a:lnTo>
                    <a:lnTo>
                      <a:pt x="265" y="75"/>
                    </a:lnTo>
                    <a:lnTo>
                      <a:pt x="264" y="76"/>
                    </a:lnTo>
                    <a:lnTo>
                      <a:pt x="265" y="76"/>
                    </a:lnTo>
                    <a:lnTo>
                      <a:pt x="265" y="77"/>
                    </a:lnTo>
                    <a:lnTo>
                      <a:pt x="266" y="77"/>
                    </a:lnTo>
                    <a:lnTo>
                      <a:pt x="266" y="78"/>
                    </a:lnTo>
                    <a:lnTo>
                      <a:pt x="268" y="79"/>
                    </a:lnTo>
                    <a:lnTo>
                      <a:pt x="270" y="81"/>
                    </a:lnTo>
                    <a:lnTo>
                      <a:pt x="270" y="82"/>
                    </a:lnTo>
                    <a:lnTo>
                      <a:pt x="270" y="83"/>
                    </a:lnTo>
                    <a:lnTo>
                      <a:pt x="268" y="82"/>
                    </a:lnTo>
                    <a:lnTo>
                      <a:pt x="267" y="82"/>
                    </a:lnTo>
                    <a:lnTo>
                      <a:pt x="266" y="82"/>
                    </a:lnTo>
                    <a:lnTo>
                      <a:pt x="266" y="83"/>
                    </a:lnTo>
                    <a:lnTo>
                      <a:pt x="266" y="84"/>
                    </a:lnTo>
                    <a:lnTo>
                      <a:pt x="267" y="85"/>
                    </a:lnTo>
                    <a:lnTo>
                      <a:pt x="268" y="86"/>
                    </a:lnTo>
                    <a:lnTo>
                      <a:pt x="270" y="86"/>
                    </a:lnTo>
                    <a:lnTo>
                      <a:pt x="271" y="85"/>
                    </a:lnTo>
                    <a:lnTo>
                      <a:pt x="271" y="86"/>
                    </a:lnTo>
                    <a:lnTo>
                      <a:pt x="272" y="87"/>
                    </a:lnTo>
                    <a:lnTo>
                      <a:pt x="272" y="88"/>
                    </a:lnTo>
                    <a:lnTo>
                      <a:pt x="272" y="89"/>
                    </a:lnTo>
                    <a:lnTo>
                      <a:pt x="273" y="88"/>
                    </a:lnTo>
                    <a:lnTo>
                      <a:pt x="274" y="88"/>
                    </a:lnTo>
                    <a:lnTo>
                      <a:pt x="274" y="89"/>
                    </a:lnTo>
                    <a:lnTo>
                      <a:pt x="274" y="90"/>
                    </a:lnTo>
                    <a:lnTo>
                      <a:pt x="273" y="90"/>
                    </a:lnTo>
                    <a:lnTo>
                      <a:pt x="272" y="90"/>
                    </a:lnTo>
                    <a:lnTo>
                      <a:pt x="271" y="90"/>
                    </a:lnTo>
                    <a:lnTo>
                      <a:pt x="271" y="89"/>
                    </a:lnTo>
                    <a:lnTo>
                      <a:pt x="270" y="89"/>
                    </a:lnTo>
                    <a:lnTo>
                      <a:pt x="268" y="89"/>
                    </a:lnTo>
                    <a:lnTo>
                      <a:pt x="268" y="90"/>
                    </a:lnTo>
                    <a:lnTo>
                      <a:pt x="270" y="90"/>
                    </a:lnTo>
                    <a:lnTo>
                      <a:pt x="270" y="91"/>
                    </a:lnTo>
                    <a:lnTo>
                      <a:pt x="271" y="92"/>
                    </a:lnTo>
                    <a:lnTo>
                      <a:pt x="271" y="94"/>
                    </a:lnTo>
                    <a:lnTo>
                      <a:pt x="272" y="94"/>
                    </a:lnTo>
                    <a:lnTo>
                      <a:pt x="273" y="94"/>
                    </a:lnTo>
                    <a:lnTo>
                      <a:pt x="273" y="95"/>
                    </a:lnTo>
                    <a:lnTo>
                      <a:pt x="273" y="96"/>
                    </a:lnTo>
                    <a:lnTo>
                      <a:pt x="273" y="97"/>
                    </a:lnTo>
                    <a:lnTo>
                      <a:pt x="274" y="98"/>
                    </a:lnTo>
                    <a:lnTo>
                      <a:pt x="274" y="99"/>
                    </a:lnTo>
                    <a:lnTo>
                      <a:pt x="274" y="100"/>
                    </a:lnTo>
                    <a:lnTo>
                      <a:pt x="274" y="101"/>
                    </a:lnTo>
                    <a:lnTo>
                      <a:pt x="274" y="102"/>
                    </a:lnTo>
                    <a:lnTo>
                      <a:pt x="274" y="103"/>
                    </a:lnTo>
                    <a:lnTo>
                      <a:pt x="275" y="103"/>
                    </a:lnTo>
                    <a:lnTo>
                      <a:pt x="275" y="102"/>
                    </a:lnTo>
                    <a:lnTo>
                      <a:pt x="276" y="102"/>
                    </a:lnTo>
                    <a:lnTo>
                      <a:pt x="278" y="101"/>
                    </a:lnTo>
                    <a:lnTo>
                      <a:pt x="279" y="101"/>
                    </a:lnTo>
                    <a:lnTo>
                      <a:pt x="280" y="101"/>
                    </a:lnTo>
                    <a:lnTo>
                      <a:pt x="281" y="101"/>
                    </a:lnTo>
                    <a:lnTo>
                      <a:pt x="283" y="101"/>
                    </a:lnTo>
                    <a:lnTo>
                      <a:pt x="283" y="102"/>
                    </a:lnTo>
                    <a:lnTo>
                      <a:pt x="283" y="103"/>
                    </a:lnTo>
                    <a:lnTo>
                      <a:pt x="281" y="103"/>
                    </a:lnTo>
                    <a:lnTo>
                      <a:pt x="281" y="104"/>
                    </a:lnTo>
                    <a:lnTo>
                      <a:pt x="283" y="105"/>
                    </a:lnTo>
                    <a:lnTo>
                      <a:pt x="284" y="104"/>
                    </a:lnTo>
                    <a:lnTo>
                      <a:pt x="284" y="103"/>
                    </a:lnTo>
                    <a:lnTo>
                      <a:pt x="284" y="102"/>
                    </a:lnTo>
                    <a:lnTo>
                      <a:pt x="284" y="101"/>
                    </a:lnTo>
                    <a:lnTo>
                      <a:pt x="285" y="101"/>
                    </a:lnTo>
                    <a:lnTo>
                      <a:pt x="286" y="101"/>
                    </a:lnTo>
                    <a:lnTo>
                      <a:pt x="287" y="101"/>
                    </a:lnTo>
                    <a:lnTo>
                      <a:pt x="287" y="102"/>
                    </a:lnTo>
                    <a:lnTo>
                      <a:pt x="287" y="103"/>
                    </a:lnTo>
                    <a:lnTo>
                      <a:pt x="286" y="103"/>
                    </a:lnTo>
                    <a:lnTo>
                      <a:pt x="286" y="104"/>
                    </a:lnTo>
                    <a:lnTo>
                      <a:pt x="285" y="104"/>
                    </a:lnTo>
                    <a:lnTo>
                      <a:pt x="285" y="105"/>
                    </a:lnTo>
                    <a:lnTo>
                      <a:pt x="284" y="107"/>
                    </a:lnTo>
                    <a:lnTo>
                      <a:pt x="283" y="107"/>
                    </a:lnTo>
                    <a:lnTo>
                      <a:pt x="281" y="107"/>
                    </a:lnTo>
                    <a:lnTo>
                      <a:pt x="280" y="107"/>
                    </a:lnTo>
                    <a:lnTo>
                      <a:pt x="279" y="107"/>
                    </a:lnTo>
                    <a:lnTo>
                      <a:pt x="278" y="105"/>
                    </a:lnTo>
                    <a:lnTo>
                      <a:pt x="277" y="105"/>
                    </a:lnTo>
                    <a:lnTo>
                      <a:pt x="276" y="107"/>
                    </a:lnTo>
                    <a:lnTo>
                      <a:pt x="276" y="108"/>
                    </a:lnTo>
                    <a:lnTo>
                      <a:pt x="276" y="109"/>
                    </a:lnTo>
                    <a:lnTo>
                      <a:pt x="276" y="110"/>
                    </a:lnTo>
                    <a:lnTo>
                      <a:pt x="277" y="110"/>
                    </a:lnTo>
                    <a:lnTo>
                      <a:pt x="278" y="110"/>
                    </a:lnTo>
                    <a:lnTo>
                      <a:pt x="279" y="110"/>
                    </a:lnTo>
                    <a:lnTo>
                      <a:pt x="280" y="110"/>
                    </a:lnTo>
                    <a:lnTo>
                      <a:pt x="281" y="110"/>
                    </a:lnTo>
                    <a:lnTo>
                      <a:pt x="281" y="111"/>
                    </a:lnTo>
                    <a:lnTo>
                      <a:pt x="283" y="112"/>
                    </a:lnTo>
                    <a:lnTo>
                      <a:pt x="284" y="113"/>
                    </a:lnTo>
                    <a:lnTo>
                      <a:pt x="284" y="114"/>
                    </a:lnTo>
                    <a:lnTo>
                      <a:pt x="284" y="115"/>
                    </a:lnTo>
                    <a:lnTo>
                      <a:pt x="284" y="116"/>
                    </a:lnTo>
                    <a:lnTo>
                      <a:pt x="283" y="116"/>
                    </a:lnTo>
                    <a:lnTo>
                      <a:pt x="281" y="116"/>
                    </a:lnTo>
                    <a:lnTo>
                      <a:pt x="280" y="115"/>
                    </a:lnTo>
                    <a:lnTo>
                      <a:pt x="279" y="116"/>
                    </a:lnTo>
                    <a:lnTo>
                      <a:pt x="278" y="116"/>
                    </a:lnTo>
                    <a:lnTo>
                      <a:pt x="278" y="115"/>
                    </a:lnTo>
                    <a:lnTo>
                      <a:pt x="277" y="114"/>
                    </a:lnTo>
                    <a:lnTo>
                      <a:pt x="276" y="114"/>
                    </a:lnTo>
                    <a:lnTo>
                      <a:pt x="276" y="115"/>
                    </a:lnTo>
                    <a:lnTo>
                      <a:pt x="277" y="116"/>
                    </a:lnTo>
                    <a:lnTo>
                      <a:pt x="278" y="116"/>
                    </a:lnTo>
                    <a:lnTo>
                      <a:pt x="278" y="117"/>
                    </a:lnTo>
                    <a:lnTo>
                      <a:pt x="279" y="117"/>
                    </a:lnTo>
                    <a:lnTo>
                      <a:pt x="280" y="117"/>
                    </a:lnTo>
                    <a:lnTo>
                      <a:pt x="283" y="118"/>
                    </a:lnTo>
                    <a:lnTo>
                      <a:pt x="284" y="118"/>
                    </a:lnTo>
                    <a:lnTo>
                      <a:pt x="285" y="118"/>
                    </a:lnTo>
                    <a:lnTo>
                      <a:pt x="286" y="120"/>
                    </a:lnTo>
                    <a:lnTo>
                      <a:pt x="287" y="120"/>
                    </a:lnTo>
                    <a:lnTo>
                      <a:pt x="288" y="120"/>
                    </a:lnTo>
                    <a:lnTo>
                      <a:pt x="289" y="120"/>
                    </a:lnTo>
                    <a:lnTo>
                      <a:pt x="290" y="118"/>
                    </a:lnTo>
                    <a:lnTo>
                      <a:pt x="291" y="120"/>
                    </a:lnTo>
                    <a:lnTo>
                      <a:pt x="291" y="121"/>
                    </a:lnTo>
                    <a:lnTo>
                      <a:pt x="292" y="121"/>
                    </a:lnTo>
                    <a:lnTo>
                      <a:pt x="292" y="122"/>
                    </a:lnTo>
                    <a:lnTo>
                      <a:pt x="292" y="123"/>
                    </a:lnTo>
                    <a:lnTo>
                      <a:pt x="293" y="123"/>
                    </a:lnTo>
                    <a:lnTo>
                      <a:pt x="294" y="123"/>
                    </a:lnTo>
                    <a:lnTo>
                      <a:pt x="294" y="124"/>
                    </a:lnTo>
                    <a:lnTo>
                      <a:pt x="294" y="125"/>
                    </a:lnTo>
                    <a:lnTo>
                      <a:pt x="293" y="125"/>
                    </a:lnTo>
                    <a:lnTo>
                      <a:pt x="292" y="126"/>
                    </a:lnTo>
                    <a:lnTo>
                      <a:pt x="292" y="127"/>
                    </a:lnTo>
                    <a:lnTo>
                      <a:pt x="293" y="127"/>
                    </a:lnTo>
                    <a:lnTo>
                      <a:pt x="294" y="127"/>
                    </a:lnTo>
                    <a:lnTo>
                      <a:pt x="294" y="128"/>
                    </a:lnTo>
                    <a:lnTo>
                      <a:pt x="294" y="129"/>
                    </a:lnTo>
                    <a:lnTo>
                      <a:pt x="296" y="129"/>
                    </a:lnTo>
                    <a:lnTo>
                      <a:pt x="297" y="129"/>
                    </a:lnTo>
                    <a:lnTo>
                      <a:pt x="298" y="129"/>
                    </a:lnTo>
                    <a:lnTo>
                      <a:pt x="298" y="130"/>
                    </a:lnTo>
                    <a:lnTo>
                      <a:pt x="297" y="130"/>
                    </a:lnTo>
                    <a:lnTo>
                      <a:pt x="297" y="131"/>
                    </a:lnTo>
                    <a:lnTo>
                      <a:pt x="296" y="131"/>
                    </a:lnTo>
                    <a:lnTo>
                      <a:pt x="296" y="133"/>
                    </a:lnTo>
                    <a:lnTo>
                      <a:pt x="297" y="133"/>
                    </a:lnTo>
                    <a:lnTo>
                      <a:pt x="297" y="134"/>
                    </a:lnTo>
                    <a:lnTo>
                      <a:pt x="297" y="135"/>
                    </a:lnTo>
                    <a:lnTo>
                      <a:pt x="297" y="136"/>
                    </a:lnTo>
                    <a:lnTo>
                      <a:pt x="296" y="136"/>
                    </a:lnTo>
                    <a:lnTo>
                      <a:pt x="294" y="136"/>
                    </a:lnTo>
                    <a:lnTo>
                      <a:pt x="296" y="136"/>
                    </a:lnTo>
                    <a:lnTo>
                      <a:pt x="296" y="137"/>
                    </a:lnTo>
                    <a:lnTo>
                      <a:pt x="297" y="137"/>
                    </a:lnTo>
                    <a:lnTo>
                      <a:pt x="298" y="137"/>
                    </a:lnTo>
                    <a:lnTo>
                      <a:pt x="298" y="138"/>
                    </a:lnTo>
                    <a:lnTo>
                      <a:pt x="298" y="139"/>
                    </a:lnTo>
                    <a:lnTo>
                      <a:pt x="298" y="140"/>
                    </a:lnTo>
                    <a:lnTo>
                      <a:pt x="298" y="141"/>
                    </a:lnTo>
                    <a:lnTo>
                      <a:pt x="299" y="141"/>
                    </a:lnTo>
                    <a:lnTo>
                      <a:pt x="300" y="140"/>
                    </a:lnTo>
                    <a:lnTo>
                      <a:pt x="301" y="139"/>
                    </a:lnTo>
                    <a:lnTo>
                      <a:pt x="302" y="139"/>
                    </a:lnTo>
                    <a:lnTo>
                      <a:pt x="302" y="140"/>
                    </a:lnTo>
                    <a:lnTo>
                      <a:pt x="303" y="140"/>
                    </a:lnTo>
                    <a:lnTo>
                      <a:pt x="303" y="139"/>
                    </a:lnTo>
                    <a:lnTo>
                      <a:pt x="303" y="138"/>
                    </a:lnTo>
                    <a:lnTo>
                      <a:pt x="304" y="137"/>
                    </a:lnTo>
                    <a:lnTo>
                      <a:pt x="304" y="138"/>
                    </a:lnTo>
                    <a:lnTo>
                      <a:pt x="304" y="139"/>
                    </a:lnTo>
                    <a:lnTo>
                      <a:pt x="303" y="140"/>
                    </a:lnTo>
                    <a:lnTo>
                      <a:pt x="304" y="140"/>
                    </a:lnTo>
                    <a:lnTo>
                      <a:pt x="304" y="141"/>
                    </a:lnTo>
                    <a:lnTo>
                      <a:pt x="303" y="141"/>
                    </a:lnTo>
                    <a:lnTo>
                      <a:pt x="303" y="142"/>
                    </a:lnTo>
                    <a:lnTo>
                      <a:pt x="302" y="142"/>
                    </a:lnTo>
                    <a:lnTo>
                      <a:pt x="303" y="142"/>
                    </a:lnTo>
                    <a:lnTo>
                      <a:pt x="303" y="143"/>
                    </a:lnTo>
                    <a:lnTo>
                      <a:pt x="304" y="143"/>
                    </a:lnTo>
                    <a:lnTo>
                      <a:pt x="304" y="145"/>
                    </a:lnTo>
                    <a:lnTo>
                      <a:pt x="305" y="145"/>
                    </a:lnTo>
                    <a:lnTo>
                      <a:pt x="305" y="143"/>
                    </a:lnTo>
                    <a:lnTo>
                      <a:pt x="306" y="143"/>
                    </a:lnTo>
                    <a:lnTo>
                      <a:pt x="306" y="145"/>
                    </a:lnTo>
                    <a:lnTo>
                      <a:pt x="305" y="146"/>
                    </a:lnTo>
                    <a:lnTo>
                      <a:pt x="304" y="146"/>
                    </a:lnTo>
                    <a:lnTo>
                      <a:pt x="304" y="147"/>
                    </a:lnTo>
                    <a:lnTo>
                      <a:pt x="305" y="147"/>
                    </a:lnTo>
                    <a:lnTo>
                      <a:pt x="306" y="147"/>
                    </a:lnTo>
                    <a:lnTo>
                      <a:pt x="306" y="146"/>
                    </a:lnTo>
                    <a:lnTo>
                      <a:pt x="307" y="146"/>
                    </a:lnTo>
                    <a:lnTo>
                      <a:pt x="307" y="147"/>
                    </a:lnTo>
                    <a:lnTo>
                      <a:pt x="306" y="148"/>
                    </a:lnTo>
                    <a:lnTo>
                      <a:pt x="307" y="149"/>
                    </a:lnTo>
                    <a:lnTo>
                      <a:pt x="307" y="150"/>
                    </a:lnTo>
                    <a:lnTo>
                      <a:pt x="306" y="150"/>
                    </a:lnTo>
                    <a:lnTo>
                      <a:pt x="305" y="149"/>
                    </a:lnTo>
                    <a:lnTo>
                      <a:pt x="304" y="150"/>
                    </a:lnTo>
                    <a:lnTo>
                      <a:pt x="304" y="151"/>
                    </a:lnTo>
                    <a:lnTo>
                      <a:pt x="305" y="151"/>
                    </a:lnTo>
                    <a:lnTo>
                      <a:pt x="306" y="151"/>
                    </a:lnTo>
                    <a:lnTo>
                      <a:pt x="307" y="151"/>
                    </a:lnTo>
                    <a:lnTo>
                      <a:pt x="307" y="150"/>
                    </a:lnTo>
                    <a:lnTo>
                      <a:pt x="309" y="150"/>
                    </a:lnTo>
                    <a:lnTo>
                      <a:pt x="309" y="149"/>
                    </a:lnTo>
                    <a:lnTo>
                      <a:pt x="310" y="149"/>
                    </a:lnTo>
                    <a:lnTo>
                      <a:pt x="310" y="150"/>
                    </a:lnTo>
                    <a:lnTo>
                      <a:pt x="311" y="150"/>
                    </a:lnTo>
                    <a:lnTo>
                      <a:pt x="311" y="149"/>
                    </a:lnTo>
                    <a:lnTo>
                      <a:pt x="312" y="149"/>
                    </a:lnTo>
                    <a:lnTo>
                      <a:pt x="311" y="150"/>
                    </a:lnTo>
                    <a:lnTo>
                      <a:pt x="311" y="151"/>
                    </a:lnTo>
                    <a:lnTo>
                      <a:pt x="312" y="151"/>
                    </a:lnTo>
                    <a:lnTo>
                      <a:pt x="312" y="152"/>
                    </a:lnTo>
                    <a:lnTo>
                      <a:pt x="313" y="152"/>
                    </a:lnTo>
                    <a:lnTo>
                      <a:pt x="313" y="151"/>
                    </a:lnTo>
                    <a:lnTo>
                      <a:pt x="314" y="152"/>
                    </a:lnTo>
                    <a:lnTo>
                      <a:pt x="313" y="152"/>
                    </a:lnTo>
                    <a:lnTo>
                      <a:pt x="314" y="152"/>
                    </a:lnTo>
                    <a:lnTo>
                      <a:pt x="314" y="153"/>
                    </a:lnTo>
                    <a:lnTo>
                      <a:pt x="313" y="153"/>
                    </a:lnTo>
                    <a:lnTo>
                      <a:pt x="314" y="153"/>
                    </a:lnTo>
                    <a:lnTo>
                      <a:pt x="314" y="154"/>
                    </a:lnTo>
                    <a:lnTo>
                      <a:pt x="313" y="154"/>
                    </a:lnTo>
                    <a:lnTo>
                      <a:pt x="312" y="154"/>
                    </a:lnTo>
                    <a:lnTo>
                      <a:pt x="311" y="154"/>
                    </a:lnTo>
                    <a:lnTo>
                      <a:pt x="311" y="155"/>
                    </a:lnTo>
                    <a:lnTo>
                      <a:pt x="312" y="156"/>
                    </a:lnTo>
                    <a:lnTo>
                      <a:pt x="313" y="156"/>
                    </a:lnTo>
                    <a:lnTo>
                      <a:pt x="313" y="155"/>
                    </a:lnTo>
                    <a:lnTo>
                      <a:pt x="314" y="155"/>
                    </a:lnTo>
                    <a:lnTo>
                      <a:pt x="314" y="154"/>
                    </a:lnTo>
                    <a:lnTo>
                      <a:pt x="315" y="154"/>
                    </a:lnTo>
                    <a:lnTo>
                      <a:pt x="316" y="153"/>
                    </a:lnTo>
                    <a:lnTo>
                      <a:pt x="316" y="154"/>
                    </a:lnTo>
                    <a:lnTo>
                      <a:pt x="316" y="153"/>
                    </a:lnTo>
                    <a:lnTo>
                      <a:pt x="316" y="154"/>
                    </a:lnTo>
                    <a:lnTo>
                      <a:pt x="317" y="154"/>
                    </a:lnTo>
                    <a:lnTo>
                      <a:pt x="318" y="154"/>
                    </a:lnTo>
                    <a:lnTo>
                      <a:pt x="319" y="154"/>
                    </a:lnTo>
                    <a:lnTo>
                      <a:pt x="319" y="153"/>
                    </a:lnTo>
                    <a:lnTo>
                      <a:pt x="319" y="154"/>
                    </a:lnTo>
                    <a:lnTo>
                      <a:pt x="319" y="155"/>
                    </a:lnTo>
                    <a:lnTo>
                      <a:pt x="319" y="156"/>
                    </a:lnTo>
                    <a:lnTo>
                      <a:pt x="319" y="155"/>
                    </a:lnTo>
                    <a:lnTo>
                      <a:pt x="320" y="156"/>
                    </a:lnTo>
                    <a:lnTo>
                      <a:pt x="322" y="156"/>
                    </a:lnTo>
                    <a:lnTo>
                      <a:pt x="322" y="158"/>
                    </a:lnTo>
                    <a:lnTo>
                      <a:pt x="323" y="158"/>
                    </a:lnTo>
                    <a:lnTo>
                      <a:pt x="323" y="156"/>
                    </a:lnTo>
                    <a:lnTo>
                      <a:pt x="324" y="156"/>
                    </a:lnTo>
                    <a:lnTo>
                      <a:pt x="324" y="155"/>
                    </a:lnTo>
                    <a:lnTo>
                      <a:pt x="325" y="156"/>
                    </a:lnTo>
                    <a:lnTo>
                      <a:pt x="325" y="158"/>
                    </a:lnTo>
                    <a:lnTo>
                      <a:pt x="326" y="158"/>
                    </a:lnTo>
                    <a:lnTo>
                      <a:pt x="326" y="159"/>
                    </a:lnTo>
                    <a:lnTo>
                      <a:pt x="327" y="159"/>
                    </a:lnTo>
                    <a:lnTo>
                      <a:pt x="327" y="160"/>
                    </a:lnTo>
                    <a:lnTo>
                      <a:pt x="326" y="162"/>
                    </a:lnTo>
                    <a:lnTo>
                      <a:pt x="325" y="163"/>
                    </a:lnTo>
                    <a:lnTo>
                      <a:pt x="326" y="164"/>
                    </a:lnTo>
                    <a:lnTo>
                      <a:pt x="327" y="163"/>
                    </a:lnTo>
                    <a:lnTo>
                      <a:pt x="328" y="163"/>
                    </a:lnTo>
                    <a:lnTo>
                      <a:pt x="328" y="164"/>
                    </a:lnTo>
                    <a:lnTo>
                      <a:pt x="329" y="164"/>
                    </a:lnTo>
                    <a:lnTo>
                      <a:pt x="329" y="165"/>
                    </a:lnTo>
                    <a:lnTo>
                      <a:pt x="330" y="166"/>
                    </a:lnTo>
                    <a:lnTo>
                      <a:pt x="331" y="166"/>
                    </a:lnTo>
                    <a:lnTo>
                      <a:pt x="332" y="166"/>
                    </a:lnTo>
                    <a:lnTo>
                      <a:pt x="333" y="166"/>
                    </a:lnTo>
                    <a:lnTo>
                      <a:pt x="333" y="167"/>
                    </a:lnTo>
                    <a:lnTo>
                      <a:pt x="335" y="167"/>
                    </a:lnTo>
                    <a:lnTo>
                      <a:pt x="335" y="168"/>
                    </a:lnTo>
                    <a:lnTo>
                      <a:pt x="335" y="169"/>
                    </a:lnTo>
                    <a:lnTo>
                      <a:pt x="335" y="171"/>
                    </a:lnTo>
                    <a:lnTo>
                      <a:pt x="336" y="169"/>
                    </a:lnTo>
                    <a:lnTo>
                      <a:pt x="336" y="171"/>
                    </a:lnTo>
                    <a:lnTo>
                      <a:pt x="337" y="171"/>
                    </a:lnTo>
                    <a:lnTo>
                      <a:pt x="337" y="172"/>
                    </a:lnTo>
                    <a:lnTo>
                      <a:pt x="337" y="174"/>
                    </a:lnTo>
                    <a:lnTo>
                      <a:pt x="337" y="175"/>
                    </a:lnTo>
                    <a:lnTo>
                      <a:pt x="336" y="175"/>
                    </a:lnTo>
                    <a:lnTo>
                      <a:pt x="336" y="176"/>
                    </a:lnTo>
                    <a:lnTo>
                      <a:pt x="337" y="176"/>
                    </a:lnTo>
                    <a:lnTo>
                      <a:pt x="338" y="176"/>
                    </a:lnTo>
                    <a:lnTo>
                      <a:pt x="339" y="176"/>
                    </a:lnTo>
                    <a:lnTo>
                      <a:pt x="339" y="175"/>
                    </a:lnTo>
                    <a:lnTo>
                      <a:pt x="340" y="176"/>
                    </a:lnTo>
                    <a:lnTo>
                      <a:pt x="341" y="177"/>
                    </a:lnTo>
                    <a:lnTo>
                      <a:pt x="342" y="177"/>
                    </a:lnTo>
                    <a:lnTo>
                      <a:pt x="343" y="177"/>
                    </a:lnTo>
                    <a:lnTo>
                      <a:pt x="343" y="178"/>
                    </a:lnTo>
                    <a:lnTo>
                      <a:pt x="344" y="179"/>
                    </a:lnTo>
                    <a:lnTo>
                      <a:pt x="345" y="179"/>
                    </a:lnTo>
                    <a:lnTo>
                      <a:pt x="345" y="180"/>
                    </a:lnTo>
                    <a:lnTo>
                      <a:pt x="345" y="181"/>
                    </a:lnTo>
                    <a:lnTo>
                      <a:pt x="346" y="181"/>
                    </a:lnTo>
                    <a:lnTo>
                      <a:pt x="346" y="182"/>
                    </a:lnTo>
                    <a:lnTo>
                      <a:pt x="345" y="184"/>
                    </a:lnTo>
                    <a:lnTo>
                      <a:pt x="346" y="185"/>
                    </a:lnTo>
                    <a:lnTo>
                      <a:pt x="346" y="184"/>
                    </a:lnTo>
                    <a:lnTo>
                      <a:pt x="348" y="184"/>
                    </a:lnTo>
                    <a:lnTo>
                      <a:pt x="348" y="182"/>
                    </a:lnTo>
                    <a:lnTo>
                      <a:pt x="349" y="182"/>
                    </a:lnTo>
                    <a:lnTo>
                      <a:pt x="349" y="184"/>
                    </a:lnTo>
                    <a:lnTo>
                      <a:pt x="349" y="185"/>
                    </a:lnTo>
                    <a:lnTo>
                      <a:pt x="350" y="185"/>
                    </a:lnTo>
                    <a:lnTo>
                      <a:pt x="350" y="186"/>
                    </a:lnTo>
                    <a:lnTo>
                      <a:pt x="350" y="187"/>
                    </a:lnTo>
                    <a:lnTo>
                      <a:pt x="350" y="188"/>
                    </a:lnTo>
                    <a:lnTo>
                      <a:pt x="349" y="189"/>
                    </a:lnTo>
                    <a:lnTo>
                      <a:pt x="350" y="189"/>
                    </a:lnTo>
                    <a:lnTo>
                      <a:pt x="351" y="189"/>
                    </a:lnTo>
                    <a:lnTo>
                      <a:pt x="351" y="190"/>
                    </a:lnTo>
                    <a:lnTo>
                      <a:pt x="350" y="190"/>
                    </a:lnTo>
                    <a:lnTo>
                      <a:pt x="351" y="191"/>
                    </a:lnTo>
                    <a:lnTo>
                      <a:pt x="350" y="192"/>
                    </a:lnTo>
                    <a:lnTo>
                      <a:pt x="349" y="192"/>
                    </a:lnTo>
                    <a:lnTo>
                      <a:pt x="349" y="193"/>
                    </a:lnTo>
                    <a:lnTo>
                      <a:pt x="349" y="194"/>
                    </a:lnTo>
                    <a:lnTo>
                      <a:pt x="350" y="195"/>
                    </a:lnTo>
                    <a:lnTo>
                      <a:pt x="350" y="197"/>
                    </a:lnTo>
                    <a:lnTo>
                      <a:pt x="350" y="198"/>
                    </a:lnTo>
                    <a:lnTo>
                      <a:pt x="351" y="198"/>
                    </a:lnTo>
                    <a:lnTo>
                      <a:pt x="352" y="198"/>
                    </a:lnTo>
                    <a:lnTo>
                      <a:pt x="352" y="199"/>
                    </a:lnTo>
                    <a:lnTo>
                      <a:pt x="352" y="200"/>
                    </a:lnTo>
                    <a:lnTo>
                      <a:pt x="352" y="201"/>
                    </a:lnTo>
                    <a:lnTo>
                      <a:pt x="351" y="202"/>
                    </a:lnTo>
                    <a:lnTo>
                      <a:pt x="352" y="202"/>
                    </a:lnTo>
                    <a:lnTo>
                      <a:pt x="352" y="203"/>
                    </a:lnTo>
                    <a:lnTo>
                      <a:pt x="353" y="203"/>
                    </a:lnTo>
                    <a:lnTo>
                      <a:pt x="352" y="204"/>
                    </a:lnTo>
                    <a:lnTo>
                      <a:pt x="351" y="204"/>
                    </a:lnTo>
                    <a:lnTo>
                      <a:pt x="351" y="205"/>
                    </a:lnTo>
                    <a:lnTo>
                      <a:pt x="352" y="205"/>
                    </a:lnTo>
                    <a:lnTo>
                      <a:pt x="352" y="206"/>
                    </a:lnTo>
                    <a:lnTo>
                      <a:pt x="352" y="207"/>
                    </a:lnTo>
                    <a:lnTo>
                      <a:pt x="352" y="208"/>
                    </a:lnTo>
                    <a:lnTo>
                      <a:pt x="353" y="208"/>
                    </a:lnTo>
                    <a:lnTo>
                      <a:pt x="353" y="210"/>
                    </a:lnTo>
                    <a:lnTo>
                      <a:pt x="352" y="210"/>
                    </a:lnTo>
                    <a:lnTo>
                      <a:pt x="352" y="211"/>
                    </a:lnTo>
                    <a:lnTo>
                      <a:pt x="353" y="212"/>
                    </a:lnTo>
                    <a:lnTo>
                      <a:pt x="353" y="213"/>
                    </a:lnTo>
                    <a:lnTo>
                      <a:pt x="352" y="213"/>
                    </a:lnTo>
                    <a:lnTo>
                      <a:pt x="352" y="214"/>
                    </a:lnTo>
                    <a:lnTo>
                      <a:pt x="351" y="214"/>
                    </a:lnTo>
                    <a:lnTo>
                      <a:pt x="351" y="213"/>
                    </a:lnTo>
                    <a:lnTo>
                      <a:pt x="350" y="213"/>
                    </a:lnTo>
                    <a:lnTo>
                      <a:pt x="349" y="213"/>
                    </a:lnTo>
                    <a:lnTo>
                      <a:pt x="350" y="213"/>
                    </a:lnTo>
                    <a:lnTo>
                      <a:pt x="350" y="214"/>
                    </a:lnTo>
                    <a:lnTo>
                      <a:pt x="350" y="215"/>
                    </a:lnTo>
                    <a:lnTo>
                      <a:pt x="350" y="216"/>
                    </a:lnTo>
                    <a:lnTo>
                      <a:pt x="350" y="217"/>
                    </a:lnTo>
                    <a:lnTo>
                      <a:pt x="350" y="218"/>
                    </a:lnTo>
                    <a:lnTo>
                      <a:pt x="351" y="218"/>
                    </a:lnTo>
                    <a:lnTo>
                      <a:pt x="351" y="219"/>
                    </a:lnTo>
                    <a:lnTo>
                      <a:pt x="351" y="220"/>
                    </a:lnTo>
                    <a:lnTo>
                      <a:pt x="352" y="220"/>
                    </a:lnTo>
                    <a:lnTo>
                      <a:pt x="353" y="220"/>
                    </a:lnTo>
                    <a:lnTo>
                      <a:pt x="352" y="221"/>
                    </a:lnTo>
                    <a:lnTo>
                      <a:pt x="353" y="223"/>
                    </a:lnTo>
                    <a:lnTo>
                      <a:pt x="353" y="224"/>
                    </a:lnTo>
                    <a:lnTo>
                      <a:pt x="354" y="224"/>
                    </a:lnTo>
                    <a:lnTo>
                      <a:pt x="353" y="225"/>
                    </a:lnTo>
                    <a:lnTo>
                      <a:pt x="354" y="226"/>
                    </a:lnTo>
                    <a:lnTo>
                      <a:pt x="354" y="227"/>
                    </a:lnTo>
                    <a:lnTo>
                      <a:pt x="355" y="227"/>
                    </a:lnTo>
                    <a:lnTo>
                      <a:pt x="356" y="227"/>
                    </a:lnTo>
                    <a:lnTo>
                      <a:pt x="356" y="228"/>
                    </a:lnTo>
                    <a:lnTo>
                      <a:pt x="356" y="229"/>
                    </a:lnTo>
                    <a:lnTo>
                      <a:pt x="357" y="230"/>
                    </a:lnTo>
                    <a:lnTo>
                      <a:pt x="357" y="231"/>
                    </a:lnTo>
                    <a:lnTo>
                      <a:pt x="357" y="232"/>
                    </a:lnTo>
                    <a:lnTo>
                      <a:pt x="357" y="233"/>
                    </a:lnTo>
                    <a:lnTo>
                      <a:pt x="357" y="235"/>
                    </a:lnTo>
                    <a:lnTo>
                      <a:pt x="358" y="235"/>
                    </a:lnTo>
                    <a:lnTo>
                      <a:pt x="358" y="236"/>
                    </a:lnTo>
                    <a:lnTo>
                      <a:pt x="359" y="236"/>
                    </a:lnTo>
                    <a:lnTo>
                      <a:pt x="362" y="237"/>
                    </a:lnTo>
                    <a:lnTo>
                      <a:pt x="361" y="238"/>
                    </a:lnTo>
                    <a:lnTo>
                      <a:pt x="362" y="238"/>
                    </a:lnTo>
                    <a:lnTo>
                      <a:pt x="362" y="239"/>
                    </a:lnTo>
                    <a:lnTo>
                      <a:pt x="362" y="240"/>
                    </a:lnTo>
                    <a:lnTo>
                      <a:pt x="363" y="240"/>
                    </a:lnTo>
                    <a:lnTo>
                      <a:pt x="364" y="240"/>
                    </a:lnTo>
                    <a:lnTo>
                      <a:pt x="364" y="241"/>
                    </a:lnTo>
                    <a:lnTo>
                      <a:pt x="363" y="241"/>
                    </a:lnTo>
                    <a:lnTo>
                      <a:pt x="363" y="242"/>
                    </a:lnTo>
                    <a:lnTo>
                      <a:pt x="364" y="242"/>
                    </a:lnTo>
                    <a:lnTo>
                      <a:pt x="364" y="243"/>
                    </a:lnTo>
                    <a:lnTo>
                      <a:pt x="365" y="243"/>
                    </a:lnTo>
                    <a:lnTo>
                      <a:pt x="365" y="244"/>
                    </a:lnTo>
                    <a:lnTo>
                      <a:pt x="365" y="245"/>
                    </a:lnTo>
                    <a:lnTo>
                      <a:pt x="364" y="246"/>
                    </a:lnTo>
                    <a:lnTo>
                      <a:pt x="364" y="248"/>
                    </a:lnTo>
                    <a:lnTo>
                      <a:pt x="365" y="248"/>
                    </a:lnTo>
                    <a:lnTo>
                      <a:pt x="365" y="249"/>
                    </a:lnTo>
                    <a:lnTo>
                      <a:pt x="365" y="250"/>
                    </a:lnTo>
                    <a:lnTo>
                      <a:pt x="365" y="251"/>
                    </a:lnTo>
                    <a:lnTo>
                      <a:pt x="366" y="251"/>
                    </a:lnTo>
                    <a:lnTo>
                      <a:pt x="366" y="252"/>
                    </a:lnTo>
                    <a:lnTo>
                      <a:pt x="366" y="253"/>
                    </a:lnTo>
                    <a:lnTo>
                      <a:pt x="367" y="253"/>
                    </a:lnTo>
                    <a:lnTo>
                      <a:pt x="368" y="254"/>
                    </a:lnTo>
                    <a:lnTo>
                      <a:pt x="369" y="254"/>
                    </a:lnTo>
                    <a:lnTo>
                      <a:pt x="368" y="253"/>
                    </a:lnTo>
                    <a:lnTo>
                      <a:pt x="369" y="253"/>
                    </a:lnTo>
                    <a:lnTo>
                      <a:pt x="369" y="254"/>
                    </a:lnTo>
                    <a:lnTo>
                      <a:pt x="370" y="254"/>
                    </a:lnTo>
                    <a:lnTo>
                      <a:pt x="371" y="255"/>
                    </a:lnTo>
                    <a:lnTo>
                      <a:pt x="372" y="255"/>
                    </a:lnTo>
                    <a:lnTo>
                      <a:pt x="372" y="256"/>
                    </a:lnTo>
                    <a:lnTo>
                      <a:pt x="374" y="257"/>
                    </a:lnTo>
                    <a:lnTo>
                      <a:pt x="372" y="257"/>
                    </a:lnTo>
                    <a:lnTo>
                      <a:pt x="372" y="258"/>
                    </a:lnTo>
                    <a:lnTo>
                      <a:pt x="374" y="258"/>
                    </a:lnTo>
                    <a:lnTo>
                      <a:pt x="375" y="258"/>
                    </a:lnTo>
                    <a:lnTo>
                      <a:pt x="376" y="258"/>
                    </a:lnTo>
                    <a:lnTo>
                      <a:pt x="375" y="259"/>
                    </a:lnTo>
                    <a:lnTo>
                      <a:pt x="376" y="259"/>
                    </a:lnTo>
                    <a:lnTo>
                      <a:pt x="376" y="261"/>
                    </a:lnTo>
                    <a:lnTo>
                      <a:pt x="377" y="259"/>
                    </a:lnTo>
                    <a:lnTo>
                      <a:pt x="378" y="259"/>
                    </a:lnTo>
                    <a:lnTo>
                      <a:pt x="379" y="259"/>
                    </a:lnTo>
                    <a:lnTo>
                      <a:pt x="379" y="261"/>
                    </a:lnTo>
                    <a:lnTo>
                      <a:pt x="379" y="262"/>
                    </a:lnTo>
                    <a:lnTo>
                      <a:pt x="380" y="263"/>
                    </a:lnTo>
                    <a:lnTo>
                      <a:pt x="380" y="264"/>
                    </a:lnTo>
                    <a:lnTo>
                      <a:pt x="381" y="265"/>
                    </a:lnTo>
                    <a:lnTo>
                      <a:pt x="382" y="265"/>
                    </a:lnTo>
                    <a:lnTo>
                      <a:pt x="382" y="266"/>
                    </a:lnTo>
                    <a:lnTo>
                      <a:pt x="382" y="267"/>
                    </a:lnTo>
                    <a:lnTo>
                      <a:pt x="382" y="268"/>
                    </a:lnTo>
                    <a:lnTo>
                      <a:pt x="382" y="269"/>
                    </a:lnTo>
                    <a:lnTo>
                      <a:pt x="382" y="270"/>
                    </a:lnTo>
                    <a:lnTo>
                      <a:pt x="381" y="271"/>
                    </a:lnTo>
                    <a:lnTo>
                      <a:pt x="381" y="272"/>
                    </a:lnTo>
                    <a:lnTo>
                      <a:pt x="381" y="274"/>
                    </a:lnTo>
                    <a:lnTo>
                      <a:pt x="382" y="274"/>
                    </a:lnTo>
                    <a:lnTo>
                      <a:pt x="383" y="274"/>
                    </a:lnTo>
                    <a:lnTo>
                      <a:pt x="383" y="275"/>
                    </a:lnTo>
                    <a:lnTo>
                      <a:pt x="382" y="275"/>
                    </a:lnTo>
                    <a:lnTo>
                      <a:pt x="382" y="276"/>
                    </a:lnTo>
                    <a:lnTo>
                      <a:pt x="382" y="277"/>
                    </a:lnTo>
                    <a:lnTo>
                      <a:pt x="382" y="278"/>
                    </a:lnTo>
                    <a:lnTo>
                      <a:pt x="381" y="277"/>
                    </a:lnTo>
                    <a:lnTo>
                      <a:pt x="380" y="277"/>
                    </a:lnTo>
                    <a:lnTo>
                      <a:pt x="380" y="278"/>
                    </a:lnTo>
                    <a:lnTo>
                      <a:pt x="381" y="278"/>
                    </a:lnTo>
                    <a:lnTo>
                      <a:pt x="381" y="279"/>
                    </a:lnTo>
                    <a:lnTo>
                      <a:pt x="382" y="279"/>
                    </a:lnTo>
                    <a:lnTo>
                      <a:pt x="382" y="280"/>
                    </a:lnTo>
                    <a:lnTo>
                      <a:pt x="383" y="280"/>
                    </a:lnTo>
                    <a:lnTo>
                      <a:pt x="384" y="282"/>
                    </a:lnTo>
                    <a:lnTo>
                      <a:pt x="384" y="283"/>
                    </a:lnTo>
                    <a:lnTo>
                      <a:pt x="383" y="283"/>
                    </a:lnTo>
                    <a:lnTo>
                      <a:pt x="383" y="284"/>
                    </a:lnTo>
                    <a:lnTo>
                      <a:pt x="382" y="285"/>
                    </a:lnTo>
                    <a:lnTo>
                      <a:pt x="381" y="287"/>
                    </a:lnTo>
                    <a:lnTo>
                      <a:pt x="380" y="285"/>
                    </a:lnTo>
                    <a:lnTo>
                      <a:pt x="380" y="287"/>
                    </a:lnTo>
                    <a:lnTo>
                      <a:pt x="377" y="288"/>
                    </a:lnTo>
                    <a:lnTo>
                      <a:pt x="376" y="288"/>
                    </a:lnTo>
                    <a:lnTo>
                      <a:pt x="376" y="289"/>
                    </a:lnTo>
                    <a:lnTo>
                      <a:pt x="376" y="290"/>
                    </a:lnTo>
                    <a:lnTo>
                      <a:pt x="376" y="291"/>
                    </a:lnTo>
                    <a:lnTo>
                      <a:pt x="376" y="292"/>
                    </a:lnTo>
                    <a:lnTo>
                      <a:pt x="376" y="293"/>
                    </a:lnTo>
                    <a:lnTo>
                      <a:pt x="376" y="294"/>
                    </a:lnTo>
                    <a:lnTo>
                      <a:pt x="376" y="296"/>
                    </a:lnTo>
                    <a:lnTo>
                      <a:pt x="375" y="297"/>
                    </a:lnTo>
                    <a:lnTo>
                      <a:pt x="374" y="298"/>
                    </a:lnTo>
                    <a:lnTo>
                      <a:pt x="372" y="298"/>
                    </a:lnTo>
                    <a:lnTo>
                      <a:pt x="371" y="298"/>
                    </a:lnTo>
                    <a:lnTo>
                      <a:pt x="371" y="300"/>
                    </a:lnTo>
                    <a:lnTo>
                      <a:pt x="372" y="301"/>
                    </a:lnTo>
                    <a:lnTo>
                      <a:pt x="375" y="302"/>
                    </a:lnTo>
                    <a:lnTo>
                      <a:pt x="377" y="301"/>
                    </a:lnTo>
                    <a:lnTo>
                      <a:pt x="378" y="302"/>
                    </a:lnTo>
                    <a:lnTo>
                      <a:pt x="378" y="303"/>
                    </a:lnTo>
                    <a:lnTo>
                      <a:pt x="380" y="305"/>
                    </a:lnTo>
                    <a:lnTo>
                      <a:pt x="381" y="306"/>
                    </a:lnTo>
                    <a:lnTo>
                      <a:pt x="382" y="307"/>
                    </a:lnTo>
                    <a:lnTo>
                      <a:pt x="382" y="309"/>
                    </a:lnTo>
                    <a:lnTo>
                      <a:pt x="381" y="312"/>
                    </a:lnTo>
                    <a:lnTo>
                      <a:pt x="381" y="313"/>
                    </a:lnTo>
                    <a:lnTo>
                      <a:pt x="381" y="315"/>
                    </a:lnTo>
                    <a:lnTo>
                      <a:pt x="382" y="316"/>
                    </a:lnTo>
                    <a:lnTo>
                      <a:pt x="386" y="317"/>
                    </a:lnTo>
                    <a:lnTo>
                      <a:pt x="386" y="318"/>
                    </a:lnTo>
                    <a:lnTo>
                      <a:pt x="386" y="319"/>
                    </a:lnTo>
                    <a:lnTo>
                      <a:pt x="384" y="319"/>
                    </a:lnTo>
                    <a:lnTo>
                      <a:pt x="383" y="319"/>
                    </a:lnTo>
                    <a:lnTo>
                      <a:pt x="382" y="319"/>
                    </a:lnTo>
                    <a:lnTo>
                      <a:pt x="382" y="320"/>
                    </a:lnTo>
                    <a:lnTo>
                      <a:pt x="381" y="321"/>
                    </a:lnTo>
                    <a:lnTo>
                      <a:pt x="381" y="322"/>
                    </a:lnTo>
                    <a:lnTo>
                      <a:pt x="381" y="323"/>
                    </a:lnTo>
                    <a:lnTo>
                      <a:pt x="382" y="325"/>
                    </a:lnTo>
                    <a:lnTo>
                      <a:pt x="383" y="326"/>
                    </a:lnTo>
                    <a:lnTo>
                      <a:pt x="384" y="327"/>
                    </a:lnTo>
                    <a:lnTo>
                      <a:pt x="387" y="328"/>
                    </a:lnTo>
                    <a:lnTo>
                      <a:pt x="387" y="329"/>
                    </a:lnTo>
                    <a:lnTo>
                      <a:pt x="388" y="329"/>
                    </a:lnTo>
                    <a:lnTo>
                      <a:pt x="390" y="329"/>
                    </a:lnTo>
                    <a:lnTo>
                      <a:pt x="391" y="330"/>
                    </a:lnTo>
                    <a:lnTo>
                      <a:pt x="392" y="330"/>
                    </a:lnTo>
                    <a:lnTo>
                      <a:pt x="392" y="332"/>
                    </a:lnTo>
                    <a:lnTo>
                      <a:pt x="392" y="333"/>
                    </a:lnTo>
                    <a:lnTo>
                      <a:pt x="392" y="334"/>
                    </a:lnTo>
                    <a:lnTo>
                      <a:pt x="392" y="336"/>
                    </a:lnTo>
                    <a:lnTo>
                      <a:pt x="391" y="339"/>
                    </a:lnTo>
                    <a:lnTo>
                      <a:pt x="391" y="342"/>
                    </a:lnTo>
                    <a:lnTo>
                      <a:pt x="391" y="344"/>
                    </a:lnTo>
                    <a:lnTo>
                      <a:pt x="391" y="345"/>
                    </a:lnTo>
                    <a:lnTo>
                      <a:pt x="391" y="347"/>
                    </a:lnTo>
                    <a:lnTo>
                      <a:pt x="392" y="348"/>
                    </a:lnTo>
                    <a:lnTo>
                      <a:pt x="393" y="349"/>
                    </a:lnTo>
                    <a:lnTo>
                      <a:pt x="394" y="351"/>
                    </a:lnTo>
                    <a:lnTo>
                      <a:pt x="396" y="352"/>
                    </a:lnTo>
                    <a:lnTo>
                      <a:pt x="397" y="352"/>
                    </a:lnTo>
                    <a:lnTo>
                      <a:pt x="399" y="352"/>
                    </a:lnTo>
                    <a:lnTo>
                      <a:pt x="400" y="352"/>
                    </a:lnTo>
                    <a:lnTo>
                      <a:pt x="401" y="352"/>
                    </a:lnTo>
                    <a:lnTo>
                      <a:pt x="401" y="353"/>
                    </a:lnTo>
                    <a:lnTo>
                      <a:pt x="402" y="353"/>
                    </a:lnTo>
                    <a:lnTo>
                      <a:pt x="403" y="355"/>
                    </a:lnTo>
                    <a:lnTo>
                      <a:pt x="404" y="356"/>
                    </a:lnTo>
                    <a:lnTo>
                      <a:pt x="404" y="357"/>
                    </a:lnTo>
                    <a:lnTo>
                      <a:pt x="405" y="359"/>
                    </a:lnTo>
                    <a:lnTo>
                      <a:pt x="407" y="362"/>
                    </a:lnTo>
                    <a:lnTo>
                      <a:pt x="408" y="364"/>
                    </a:lnTo>
                    <a:lnTo>
                      <a:pt x="408" y="367"/>
                    </a:lnTo>
                    <a:lnTo>
                      <a:pt x="409" y="368"/>
                    </a:lnTo>
                    <a:lnTo>
                      <a:pt x="409" y="369"/>
                    </a:lnTo>
                    <a:lnTo>
                      <a:pt x="410" y="370"/>
                    </a:lnTo>
                    <a:lnTo>
                      <a:pt x="412" y="371"/>
                    </a:lnTo>
                    <a:lnTo>
                      <a:pt x="413" y="373"/>
                    </a:lnTo>
                    <a:lnTo>
                      <a:pt x="414" y="373"/>
                    </a:lnTo>
                    <a:lnTo>
                      <a:pt x="413" y="374"/>
                    </a:lnTo>
                    <a:lnTo>
                      <a:pt x="412" y="374"/>
                    </a:lnTo>
                    <a:lnTo>
                      <a:pt x="410" y="374"/>
                    </a:lnTo>
                    <a:lnTo>
                      <a:pt x="409" y="375"/>
                    </a:lnTo>
                    <a:lnTo>
                      <a:pt x="406" y="377"/>
                    </a:lnTo>
                    <a:lnTo>
                      <a:pt x="405" y="375"/>
                    </a:lnTo>
                    <a:lnTo>
                      <a:pt x="404" y="375"/>
                    </a:lnTo>
                    <a:lnTo>
                      <a:pt x="403" y="375"/>
                    </a:lnTo>
                    <a:lnTo>
                      <a:pt x="403" y="377"/>
                    </a:lnTo>
                    <a:lnTo>
                      <a:pt x="402" y="375"/>
                    </a:lnTo>
                    <a:lnTo>
                      <a:pt x="401" y="375"/>
                    </a:lnTo>
                    <a:lnTo>
                      <a:pt x="400" y="377"/>
                    </a:lnTo>
                    <a:lnTo>
                      <a:pt x="399" y="377"/>
                    </a:lnTo>
                    <a:lnTo>
                      <a:pt x="397" y="377"/>
                    </a:lnTo>
                    <a:lnTo>
                      <a:pt x="394" y="377"/>
                    </a:lnTo>
                    <a:lnTo>
                      <a:pt x="393" y="377"/>
                    </a:lnTo>
                    <a:lnTo>
                      <a:pt x="392" y="378"/>
                    </a:lnTo>
                    <a:lnTo>
                      <a:pt x="391" y="378"/>
                    </a:lnTo>
                    <a:lnTo>
                      <a:pt x="391" y="379"/>
                    </a:lnTo>
                    <a:lnTo>
                      <a:pt x="390" y="380"/>
                    </a:lnTo>
                    <a:lnTo>
                      <a:pt x="389" y="380"/>
                    </a:lnTo>
                    <a:lnTo>
                      <a:pt x="389" y="383"/>
                    </a:lnTo>
                    <a:lnTo>
                      <a:pt x="390" y="382"/>
                    </a:lnTo>
                    <a:lnTo>
                      <a:pt x="391" y="381"/>
                    </a:lnTo>
                    <a:lnTo>
                      <a:pt x="391" y="380"/>
                    </a:lnTo>
                    <a:lnTo>
                      <a:pt x="392" y="380"/>
                    </a:lnTo>
                    <a:lnTo>
                      <a:pt x="393" y="380"/>
                    </a:lnTo>
                    <a:lnTo>
                      <a:pt x="394" y="381"/>
                    </a:lnTo>
                    <a:lnTo>
                      <a:pt x="395" y="381"/>
                    </a:lnTo>
                    <a:lnTo>
                      <a:pt x="395" y="382"/>
                    </a:lnTo>
                    <a:lnTo>
                      <a:pt x="394" y="382"/>
                    </a:lnTo>
                    <a:lnTo>
                      <a:pt x="394" y="383"/>
                    </a:lnTo>
                    <a:lnTo>
                      <a:pt x="393" y="383"/>
                    </a:lnTo>
                    <a:lnTo>
                      <a:pt x="393" y="384"/>
                    </a:lnTo>
                    <a:lnTo>
                      <a:pt x="392" y="384"/>
                    </a:lnTo>
                    <a:lnTo>
                      <a:pt x="391" y="384"/>
                    </a:lnTo>
                    <a:lnTo>
                      <a:pt x="390" y="384"/>
                    </a:lnTo>
                    <a:lnTo>
                      <a:pt x="389" y="385"/>
                    </a:lnTo>
                    <a:lnTo>
                      <a:pt x="388" y="385"/>
                    </a:lnTo>
                    <a:lnTo>
                      <a:pt x="388" y="386"/>
                    </a:lnTo>
                    <a:lnTo>
                      <a:pt x="387" y="387"/>
                    </a:lnTo>
                    <a:lnTo>
                      <a:pt x="386" y="387"/>
                    </a:lnTo>
                    <a:lnTo>
                      <a:pt x="386" y="388"/>
                    </a:lnTo>
                    <a:lnTo>
                      <a:pt x="386" y="390"/>
                    </a:lnTo>
                    <a:lnTo>
                      <a:pt x="384" y="390"/>
                    </a:lnTo>
                    <a:lnTo>
                      <a:pt x="383" y="390"/>
                    </a:lnTo>
                    <a:lnTo>
                      <a:pt x="383" y="391"/>
                    </a:lnTo>
                    <a:lnTo>
                      <a:pt x="383" y="392"/>
                    </a:lnTo>
                    <a:lnTo>
                      <a:pt x="382" y="392"/>
                    </a:lnTo>
                    <a:lnTo>
                      <a:pt x="381" y="392"/>
                    </a:lnTo>
                    <a:lnTo>
                      <a:pt x="380" y="392"/>
                    </a:lnTo>
                    <a:lnTo>
                      <a:pt x="380" y="391"/>
                    </a:lnTo>
                    <a:lnTo>
                      <a:pt x="379" y="391"/>
                    </a:lnTo>
                    <a:lnTo>
                      <a:pt x="378" y="391"/>
                    </a:lnTo>
                    <a:lnTo>
                      <a:pt x="376" y="391"/>
                    </a:lnTo>
                    <a:lnTo>
                      <a:pt x="375" y="391"/>
                    </a:lnTo>
                    <a:lnTo>
                      <a:pt x="374" y="391"/>
                    </a:lnTo>
                    <a:lnTo>
                      <a:pt x="371" y="391"/>
                    </a:lnTo>
                    <a:lnTo>
                      <a:pt x="370" y="390"/>
                    </a:lnTo>
                    <a:lnTo>
                      <a:pt x="369" y="391"/>
                    </a:lnTo>
                    <a:lnTo>
                      <a:pt x="368" y="391"/>
                    </a:lnTo>
                    <a:lnTo>
                      <a:pt x="368" y="390"/>
                    </a:lnTo>
                    <a:lnTo>
                      <a:pt x="367" y="390"/>
                    </a:lnTo>
                    <a:lnTo>
                      <a:pt x="367" y="388"/>
                    </a:lnTo>
                    <a:lnTo>
                      <a:pt x="366" y="388"/>
                    </a:lnTo>
                    <a:lnTo>
                      <a:pt x="366" y="387"/>
                    </a:lnTo>
                    <a:lnTo>
                      <a:pt x="365" y="387"/>
                    </a:lnTo>
                    <a:lnTo>
                      <a:pt x="365" y="386"/>
                    </a:lnTo>
                    <a:lnTo>
                      <a:pt x="364" y="386"/>
                    </a:lnTo>
                    <a:lnTo>
                      <a:pt x="364" y="385"/>
                    </a:lnTo>
                    <a:lnTo>
                      <a:pt x="363" y="385"/>
                    </a:lnTo>
                    <a:lnTo>
                      <a:pt x="362" y="385"/>
                    </a:lnTo>
                    <a:lnTo>
                      <a:pt x="362" y="384"/>
                    </a:lnTo>
                    <a:lnTo>
                      <a:pt x="362" y="385"/>
                    </a:lnTo>
                    <a:lnTo>
                      <a:pt x="362" y="384"/>
                    </a:lnTo>
                    <a:lnTo>
                      <a:pt x="361" y="384"/>
                    </a:lnTo>
                    <a:lnTo>
                      <a:pt x="357" y="383"/>
                    </a:lnTo>
                    <a:lnTo>
                      <a:pt x="356" y="383"/>
                    </a:lnTo>
                    <a:lnTo>
                      <a:pt x="357" y="383"/>
                    </a:lnTo>
                    <a:lnTo>
                      <a:pt x="357" y="382"/>
                    </a:lnTo>
                    <a:lnTo>
                      <a:pt x="356" y="382"/>
                    </a:lnTo>
                    <a:lnTo>
                      <a:pt x="356" y="383"/>
                    </a:lnTo>
                    <a:lnTo>
                      <a:pt x="355" y="382"/>
                    </a:lnTo>
                    <a:lnTo>
                      <a:pt x="354" y="381"/>
                    </a:lnTo>
                    <a:lnTo>
                      <a:pt x="353" y="381"/>
                    </a:lnTo>
                    <a:lnTo>
                      <a:pt x="352" y="380"/>
                    </a:lnTo>
                    <a:lnTo>
                      <a:pt x="351" y="380"/>
                    </a:lnTo>
                    <a:lnTo>
                      <a:pt x="349" y="379"/>
                    </a:lnTo>
                    <a:lnTo>
                      <a:pt x="349" y="378"/>
                    </a:lnTo>
                    <a:lnTo>
                      <a:pt x="348" y="378"/>
                    </a:lnTo>
                    <a:lnTo>
                      <a:pt x="348" y="379"/>
                    </a:lnTo>
                    <a:lnTo>
                      <a:pt x="346" y="380"/>
                    </a:lnTo>
                    <a:lnTo>
                      <a:pt x="343" y="380"/>
                    </a:lnTo>
                    <a:lnTo>
                      <a:pt x="341" y="381"/>
                    </a:lnTo>
                    <a:lnTo>
                      <a:pt x="340" y="382"/>
                    </a:lnTo>
                    <a:lnTo>
                      <a:pt x="339" y="382"/>
                    </a:lnTo>
                    <a:lnTo>
                      <a:pt x="339" y="383"/>
                    </a:lnTo>
                    <a:lnTo>
                      <a:pt x="338" y="383"/>
                    </a:lnTo>
                    <a:lnTo>
                      <a:pt x="337" y="384"/>
                    </a:lnTo>
                    <a:lnTo>
                      <a:pt x="336" y="384"/>
                    </a:lnTo>
                    <a:lnTo>
                      <a:pt x="336" y="385"/>
                    </a:lnTo>
                    <a:lnTo>
                      <a:pt x="335" y="385"/>
                    </a:lnTo>
                    <a:lnTo>
                      <a:pt x="332" y="386"/>
                    </a:lnTo>
                    <a:lnTo>
                      <a:pt x="330" y="386"/>
                    </a:lnTo>
                    <a:lnTo>
                      <a:pt x="330" y="387"/>
                    </a:lnTo>
                    <a:lnTo>
                      <a:pt x="329" y="387"/>
                    </a:lnTo>
                    <a:lnTo>
                      <a:pt x="329" y="386"/>
                    </a:lnTo>
                    <a:lnTo>
                      <a:pt x="328" y="386"/>
                    </a:lnTo>
                    <a:lnTo>
                      <a:pt x="328" y="385"/>
                    </a:lnTo>
                    <a:lnTo>
                      <a:pt x="327" y="385"/>
                    </a:lnTo>
                    <a:lnTo>
                      <a:pt x="326" y="385"/>
                    </a:lnTo>
                    <a:lnTo>
                      <a:pt x="326" y="384"/>
                    </a:lnTo>
                    <a:lnTo>
                      <a:pt x="325" y="384"/>
                    </a:lnTo>
                    <a:lnTo>
                      <a:pt x="325" y="383"/>
                    </a:lnTo>
                    <a:lnTo>
                      <a:pt x="324" y="383"/>
                    </a:lnTo>
                    <a:lnTo>
                      <a:pt x="324" y="382"/>
                    </a:lnTo>
                    <a:lnTo>
                      <a:pt x="324" y="383"/>
                    </a:lnTo>
                    <a:lnTo>
                      <a:pt x="324" y="382"/>
                    </a:lnTo>
                    <a:lnTo>
                      <a:pt x="323" y="382"/>
                    </a:lnTo>
                    <a:lnTo>
                      <a:pt x="322" y="382"/>
                    </a:lnTo>
                    <a:lnTo>
                      <a:pt x="322" y="381"/>
                    </a:lnTo>
                    <a:lnTo>
                      <a:pt x="320" y="381"/>
                    </a:lnTo>
                    <a:lnTo>
                      <a:pt x="320" y="380"/>
                    </a:lnTo>
                    <a:lnTo>
                      <a:pt x="319" y="380"/>
                    </a:lnTo>
                    <a:lnTo>
                      <a:pt x="319" y="379"/>
                    </a:lnTo>
                    <a:lnTo>
                      <a:pt x="318" y="379"/>
                    </a:lnTo>
                    <a:lnTo>
                      <a:pt x="317" y="379"/>
                    </a:lnTo>
                    <a:lnTo>
                      <a:pt x="316" y="379"/>
                    </a:lnTo>
                    <a:lnTo>
                      <a:pt x="316" y="378"/>
                    </a:lnTo>
                    <a:lnTo>
                      <a:pt x="315" y="378"/>
                    </a:lnTo>
                    <a:lnTo>
                      <a:pt x="314" y="378"/>
                    </a:lnTo>
                    <a:lnTo>
                      <a:pt x="313" y="377"/>
                    </a:lnTo>
                    <a:lnTo>
                      <a:pt x="312" y="377"/>
                    </a:lnTo>
                    <a:lnTo>
                      <a:pt x="311" y="377"/>
                    </a:lnTo>
                    <a:lnTo>
                      <a:pt x="311" y="378"/>
                    </a:lnTo>
                    <a:lnTo>
                      <a:pt x="310" y="377"/>
                    </a:lnTo>
                    <a:lnTo>
                      <a:pt x="309" y="378"/>
                    </a:lnTo>
                    <a:lnTo>
                      <a:pt x="307" y="378"/>
                    </a:lnTo>
                    <a:lnTo>
                      <a:pt x="307" y="379"/>
                    </a:lnTo>
                    <a:lnTo>
                      <a:pt x="307" y="380"/>
                    </a:lnTo>
                    <a:lnTo>
                      <a:pt x="306" y="379"/>
                    </a:lnTo>
                    <a:lnTo>
                      <a:pt x="305" y="375"/>
                    </a:lnTo>
                    <a:lnTo>
                      <a:pt x="304" y="374"/>
                    </a:lnTo>
                    <a:lnTo>
                      <a:pt x="304" y="373"/>
                    </a:lnTo>
                    <a:lnTo>
                      <a:pt x="303" y="372"/>
                    </a:lnTo>
                    <a:lnTo>
                      <a:pt x="303" y="371"/>
                    </a:lnTo>
                    <a:lnTo>
                      <a:pt x="302" y="371"/>
                    </a:lnTo>
                    <a:lnTo>
                      <a:pt x="302" y="370"/>
                    </a:lnTo>
                    <a:lnTo>
                      <a:pt x="302" y="369"/>
                    </a:lnTo>
                    <a:lnTo>
                      <a:pt x="301" y="368"/>
                    </a:lnTo>
                    <a:lnTo>
                      <a:pt x="300" y="366"/>
                    </a:lnTo>
                    <a:lnTo>
                      <a:pt x="299" y="366"/>
                    </a:lnTo>
                    <a:lnTo>
                      <a:pt x="298" y="365"/>
                    </a:lnTo>
                    <a:lnTo>
                      <a:pt x="297" y="365"/>
                    </a:lnTo>
                    <a:lnTo>
                      <a:pt x="297" y="364"/>
                    </a:lnTo>
                    <a:lnTo>
                      <a:pt x="296" y="364"/>
                    </a:lnTo>
                    <a:lnTo>
                      <a:pt x="294" y="362"/>
                    </a:lnTo>
                    <a:lnTo>
                      <a:pt x="292" y="361"/>
                    </a:lnTo>
                    <a:lnTo>
                      <a:pt x="291" y="360"/>
                    </a:lnTo>
                    <a:lnTo>
                      <a:pt x="290" y="359"/>
                    </a:lnTo>
                    <a:lnTo>
                      <a:pt x="289" y="359"/>
                    </a:lnTo>
                    <a:lnTo>
                      <a:pt x="288" y="358"/>
                    </a:lnTo>
                    <a:lnTo>
                      <a:pt x="286" y="357"/>
                    </a:lnTo>
                    <a:lnTo>
                      <a:pt x="285" y="357"/>
                    </a:lnTo>
                    <a:lnTo>
                      <a:pt x="286" y="357"/>
                    </a:lnTo>
                    <a:lnTo>
                      <a:pt x="285" y="356"/>
                    </a:lnTo>
                    <a:lnTo>
                      <a:pt x="284" y="357"/>
                    </a:lnTo>
                    <a:lnTo>
                      <a:pt x="283" y="356"/>
                    </a:lnTo>
                    <a:lnTo>
                      <a:pt x="281" y="356"/>
                    </a:lnTo>
                    <a:lnTo>
                      <a:pt x="279" y="354"/>
                    </a:lnTo>
                    <a:lnTo>
                      <a:pt x="278" y="354"/>
                    </a:lnTo>
                    <a:lnTo>
                      <a:pt x="277" y="354"/>
                    </a:lnTo>
                    <a:lnTo>
                      <a:pt x="276" y="354"/>
                    </a:lnTo>
                    <a:lnTo>
                      <a:pt x="276" y="353"/>
                    </a:lnTo>
                    <a:lnTo>
                      <a:pt x="275" y="353"/>
                    </a:lnTo>
                    <a:lnTo>
                      <a:pt x="274" y="353"/>
                    </a:lnTo>
                    <a:lnTo>
                      <a:pt x="274" y="352"/>
                    </a:lnTo>
                    <a:lnTo>
                      <a:pt x="273" y="352"/>
                    </a:lnTo>
                    <a:lnTo>
                      <a:pt x="272" y="352"/>
                    </a:lnTo>
                    <a:lnTo>
                      <a:pt x="271" y="352"/>
                    </a:lnTo>
                    <a:lnTo>
                      <a:pt x="270" y="352"/>
                    </a:lnTo>
                    <a:lnTo>
                      <a:pt x="268" y="352"/>
                    </a:lnTo>
                    <a:lnTo>
                      <a:pt x="267" y="352"/>
                    </a:lnTo>
                    <a:lnTo>
                      <a:pt x="266" y="352"/>
                    </a:lnTo>
                    <a:lnTo>
                      <a:pt x="265" y="352"/>
                    </a:lnTo>
                    <a:lnTo>
                      <a:pt x="265" y="351"/>
                    </a:lnTo>
                    <a:lnTo>
                      <a:pt x="264" y="351"/>
                    </a:lnTo>
                    <a:lnTo>
                      <a:pt x="265" y="352"/>
                    </a:lnTo>
                    <a:lnTo>
                      <a:pt x="264" y="352"/>
                    </a:lnTo>
                    <a:lnTo>
                      <a:pt x="263" y="352"/>
                    </a:lnTo>
                    <a:lnTo>
                      <a:pt x="263" y="351"/>
                    </a:lnTo>
                    <a:lnTo>
                      <a:pt x="264" y="351"/>
                    </a:lnTo>
                    <a:lnTo>
                      <a:pt x="263" y="351"/>
                    </a:lnTo>
                    <a:lnTo>
                      <a:pt x="263" y="349"/>
                    </a:lnTo>
                    <a:lnTo>
                      <a:pt x="262" y="348"/>
                    </a:lnTo>
                    <a:lnTo>
                      <a:pt x="261" y="348"/>
                    </a:lnTo>
                    <a:lnTo>
                      <a:pt x="261" y="347"/>
                    </a:lnTo>
                    <a:lnTo>
                      <a:pt x="260" y="347"/>
                    </a:lnTo>
                    <a:lnTo>
                      <a:pt x="255" y="347"/>
                    </a:lnTo>
                    <a:lnTo>
                      <a:pt x="250" y="346"/>
                    </a:lnTo>
                    <a:lnTo>
                      <a:pt x="249" y="346"/>
                    </a:lnTo>
                    <a:lnTo>
                      <a:pt x="248" y="346"/>
                    </a:lnTo>
                    <a:lnTo>
                      <a:pt x="248" y="345"/>
                    </a:lnTo>
                    <a:lnTo>
                      <a:pt x="247" y="345"/>
                    </a:lnTo>
                    <a:lnTo>
                      <a:pt x="247" y="344"/>
                    </a:lnTo>
                    <a:lnTo>
                      <a:pt x="247" y="343"/>
                    </a:lnTo>
                    <a:lnTo>
                      <a:pt x="246" y="343"/>
                    </a:lnTo>
                    <a:lnTo>
                      <a:pt x="246" y="342"/>
                    </a:lnTo>
                    <a:lnTo>
                      <a:pt x="246" y="341"/>
                    </a:lnTo>
                    <a:lnTo>
                      <a:pt x="245" y="341"/>
                    </a:lnTo>
                    <a:lnTo>
                      <a:pt x="245" y="340"/>
                    </a:lnTo>
                    <a:lnTo>
                      <a:pt x="245" y="339"/>
                    </a:lnTo>
                    <a:lnTo>
                      <a:pt x="243" y="339"/>
                    </a:lnTo>
                    <a:lnTo>
                      <a:pt x="242" y="336"/>
                    </a:lnTo>
                    <a:lnTo>
                      <a:pt x="242" y="335"/>
                    </a:lnTo>
                    <a:lnTo>
                      <a:pt x="241" y="334"/>
                    </a:lnTo>
                    <a:lnTo>
                      <a:pt x="241" y="333"/>
                    </a:lnTo>
                    <a:lnTo>
                      <a:pt x="240" y="331"/>
                    </a:lnTo>
                    <a:lnTo>
                      <a:pt x="239" y="330"/>
                    </a:lnTo>
                    <a:lnTo>
                      <a:pt x="239" y="329"/>
                    </a:lnTo>
                    <a:lnTo>
                      <a:pt x="238" y="329"/>
                    </a:lnTo>
                    <a:lnTo>
                      <a:pt x="237" y="328"/>
                    </a:lnTo>
                    <a:lnTo>
                      <a:pt x="236" y="328"/>
                    </a:lnTo>
                    <a:lnTo>
                      <a:pt x="235" y="328"/>
                    </a:lnTo>
                    <a:lnTo>
                      <a:pt x="234" y="328"/>
                    </a:lnTo>
                    <a:lnTo>
                      <a:pt x="233" y="328"/>
                    </a:lnTo>
                    <a:lnTo>
                      <a:pt x="232" y="328"/>
                    </a:lnTo>
                    <a:lnTo>
                      <a:pt x="230" y="328"/>
                    </a:lnTo>
                    <a:lnTo>
                      <a:pt x="229" y="328"/>
                    </a:lnTo>
                    <a:lnTo>
                      <a:pt x="229" y="327"/>
                    </a:lnTo>
                    <a:lnTo>
                      <a:pt x="228" y="327"/>
                    </a:lnTo>
                    <a:lnTo>
                      <a:pt x="228" y="326"/>
                    </a:lnTo>
                    <a:lnTo>
                      <a:pt x="227" y="326"/>
                    </a:lnTo>
                    <a:lnTo>
                      <a:pt x="226" y="326"/>
                    </a:lnTo>
                    <a:lnTo>
                      <a:pt x="225" y="325"/>
                    </a:lnTo>
                    <a:lnTo>
                      <a:pt x="224" y="325"/>
                    </a:lnTo>
                    <a:lnTo>
                      <a:pt x="223" y="323"/>
                    </a:lnTo>
                    <a:lnTo>
                      <a:pt x="222" y="323"/>
                    </a:lnTo>
                    <a:lnTo>
                      <a:pt x="221" y="323"/>
                    </a:lnTo>
                    <a:lnTo>
                      <a:pt x="220" y="323"/>
                    </a:lnTo>
                    <a:lnTo>
                      <a:pt x="219" y="323"/>
                    </a:lnTo>
                    <a:lnTo>
                      <a:pt x="217" y="323"/>
                    </a:lnTo>
                    <a:lnTo>
                      <a:pt x="216" y="323"/>
                    </a:lnTo>
                    <a:lnTo>
                      <a:pt x="215" y="325"/>
                    </a:lnTo>
                    <a:lnTo>
                      <a:pt x="214" y="325"/>
                    </a:lnTo>
                    <a:lnTo>
                      <a:pt x="213" y="326"/>
                    </a:lnTo>
                    <a:lnTo>
                      <a:pt x="214" y="325"/>
                    </a:lnTo>
                    <a:lnTo>
                      <a:pt x="213" y="325"/>
                    </a:lnTo>
                    <a:lnTo>
                      <a:pt x="212" y="325"/>
                    </a:lnTo>
                    <a:lnTo>
                      <a:pt x="211" y="325"/>
                    </a:lnTo>
                    <a:lnTo>
                      <a:pt x="210" y="325"/>
                    </a:lnTo>
                    <a:lnTo>
                      <a:pt x="211" y="325"/>
                    </a:lnTo>
                    <a:lnTo>
                      <a:pt x="211" y="326"/>
                    </a:lnTo>
                    <a:lnTo>
                      <a:pt x="210" y="327"/>
                    </a:lnTo>
                    <a:lnTo>
                      <a:pt x="209" y="327"/>
                    </a:lnTo>
                    <a:lnTo>
                      <a:pt x="208" y="327"/>
                    </a:lnTo>
                    <a:lnTo>
                      <a:pt x="207" y="328"/>
                    </a:lnTo>
                    <a:lnTo>
                      <a:pt x="206" y="328"/>
                    </a:lnTo>
                    <a:lnTo>
                      <a:pt x="204" y="328"/>
                    </a:lnTo>
                    <a:lnTo>
                      <a:pt x="203" y="328"/>
                    </a:lnTo>
                    <a:lnTo>
                      <a:pt x="202" y="328"/>
                    </a:lnTo>
                    <a:lnTo>
                      <a:pt x="201" y="328"/>
                    </a:lnTo>
                    <a:lnTo>
                      <a:pt x="200" y="329"/>
                    </a:lnTo>
                    <a:lnTo>
                      <a:pt x="200" y="328"/>
                    </a:lnTo>
                    <a:lnTo>
                      <a:pt x="199" y="329"/>
                    </a:lnTo>
                    <a:lnTo>
                      <a:pt x="198" y="329"/>
                    </a:lnTo>
                    <a:lnTo>
                      <a:pt x="198" y="328"/>
                    </a:lnTo>
                    <a:lnTo>
                      <a:pt x="197" y="328"/>
                    </a:lnTo>
                    <a:lnTo>
                      <a:pt x="197" y="327"/>
                    </a:lnTo>
                    <a:lnTo>
                      <a:pt x="196" y="327"/>
                    </a:lnTo>
                    <a:lnTo>
                      <a:pt x="196" y="326"/>
                    </a:lnTo>
                    <a:lnTo>
                      <a:pt x="195" y="326"/>
                    </a:lnTo>
                    <a:lnTo>
                      <a:pt x="194" y="325"/>
                    </a:lnTo>
                    <a:lnTo>
                      <a:pt x="194" y="323"/>
                    </a:lnTo>
                    <a:lnTo>
                      <a:pt x="193" y="323"/>
                    </a:lnTo>
                    <a:lnTo>
                      <a:pt x="191" y="323"/>
                    </a:lnTo>
                    <a:lnTo>
                      <a:pt x="190" y="322"/>
                    </a:lnTo>
                    <a:lnTo>
                      <a:pt x="189" y="322"/>
                    </a:lnTo>
                    <a:lnTo>
                      <a:pt x="188" y="322"/>
                    </a:lnTo>
                    <a:lnTo>
                      <a:pt x="187" y="321"/>
                    </a:lnTo>
                    <a:lnTo>
                      <a:pt x="186" y="321"/>
                    </a:lnTo>
                    <a:lnTo>
                      <a:pt x="185" y="321"/>
                    </a:lnTo>
                    <a:lnTo>
                      <a:pt x="185" y="320"/>
                    </a:lnTo>
                    <a:lnTo>
                      <a:pt x="184" y="320"/>
                    </a:lnTo>
                    <a:lnTo>
                      <a:pt x="183" y="320"/>
                    </a:lnTo>
                    <a:lnTo>
                      <a:pt x="182" y="320"/>
                    </a:lnTo>
                    <a:lnTo>
                      <a:pt x="181" y="320"/>
                    </a:lnTo>
                    <a:lnTo>
                      <a:pt x="180" y="320"/>
                    </a:lnTo>
                    <a:lnTo>
                      <a:pt x="178" y="320"/>
                    </a:lnTo>
                    <a:lnTo>
                      <a:pt x="175" y="321"/>
                    </a:lnTo>
                    <a:lnTo>
                      <a:pt x="174" y="321"/>
                    </a:lnTo>
                    <a:lnTo>
                      <a:pt x="173" y="321"/>
                    </a:lnTo>
                    <a:lnTo>
                      <a:pt x="172" y="321"/>
                    </a:lnTo>
                    <a:lnTo>
                      <a:pt x="172" y="322"/>
                    </a:lnTo>
                    <a:lnTo>
                      <a:pt x="171" y="322"/>
                    </a:lnTo>
                    <a:lnTo>
                      <a:pt x="170" y="322"/>
                    </a:lnTo>
                    <a:lnTo>
                      <a:pt x="169" y="322"/>
                    </a:lnTo>
                    <a:lnTo>
                      <a:pt x="168" y="322"/>
                    </a:lnTo>
                    <a:lnTo>
                      <a:pt x="167" y="321"/>
                    </a:lnTo>
                    <a:lnTo>
                      <a:pt x="165" y="320"/>
                    </a:lnTo>
                    <a:lnTo>
                      <a:pt x="165" y="319"/>
                    </a:lnTo>
                    <a:lnTo>
                      <a:pt x="164" y="319"/>
                    </a:lnTo>
                    <a:lnTo>
                      <a:pt x="165" y="320"/>
                    </a:lnTo>
                    <a:lnTo>
                      <a:pt x="164" y="320"/>
                    </a:lnTo>
                    <a:lnTo>
                      <a:pt x="164" y="319"/>
                    </a:lnTo>
                    <a:lnTo>
                      <a:pt x="163" y="318"/>
                    </a:lnTo>
                    <a:lnTo>
                      <a:pt x="163" y="317"/>
                    </a:lnTo>
                    <a:lnTo>
                      <a:pt x="164" y="315"/>
                    </a:lnTo>
                    <a:lnTo>
                      <a:pt x="164" y="314"/>
                    </a:lnTo>
                    <a:lnTo>
                      <a:pt x="164" y="313"/>
                    </a:lnTo>
                    <a:lnTo>
                      <a:pt x="164" y="312"/>
                    </a:lnTo>
                    <a:lnTo>
                      <a:pt x="164" y="310"/>
                    </a:lnTo>
                    <a:lnTo>
                      <a:pt x="164" y="309"/>
                    </a:lnTo>
                    <a:lnTo>
                      <a:pt x="165" y="308"/>
                    </a:lnTo>
                    <a:lnTo>
                      <a:pt x="165" y="307"/>
                    </a:lnTo>
                    <a:lnTo>
                      <a:pt x="165" y="306"/>
                    </a:lnTo>
                    <a:lnTo>
                      <a:pt x="165" y="305"/>
                    </a:lnTo>
                    <a:lnTo>
                      <a:pt x="164" y="303"/>
                    </a:lnTo>
                    <a:lnTo>
                      <a:pt x="164" y="301"/>
                    </a:lnTo>
                    <a:lnTo>
                      <a:pt x="164" y="300"/>
                    </a:lnTo>
                    <a:lnTo>
                      <a:pt x="163" y="298"/>
                    </a:lnTo>
                    <a:lnTo>
                      <a:pt x="163" y="297"/>
                    </a:lnTo>
                    <a:lnTo>
                      <a:pt x="163" y="296"/>
                    </a:lnTo>
                    <a:lnTo>
                      <a:pt x="162" y="295"/>
                    </a:lnTo>
                    <a:lnTo>
                      <a:pt x="162" y="294"/>
                    </a:lnTo>
                    <a:lnTo>
                      <a:pt x="161" y="293"/>
                    </a:lnTo>
                    <a:lnTo>
                      <a:pt x="161" y="292"/>
                    </a:lnTo>
                    <a:lnTo>
                      <a:pt x="160" y="291"/>
                    </a:lnTo>
                    <a:lnTo>
                      <a:pt x="160" y="290"/>
                    </a:lnTo>
                    <a:lnTo>
                      <a:pt x="159" y="289"/>
                    </a:lnTo>
                    <a:lnTo>
                      <a:pt x="158" y="288"/>
                    </a:lnTo>
                    <a:lnTo>
                      <a:pt x="158" y="287"/>
                    </a:lnTo>
                    <a:lnTo>
                      <a:pt x="156" y="285"/>
                    </a:lnTo>
                    <a:lnTo>
                      <a:pt x="156" y="284"/>
                    </a:lnTo>
                    <a:lnTo>
                      <a:pt x="155" y="284"/>
                    </a:lnTo>
                    <a:lnTo>
                      <a:pt x="154" y="283"/>
                    </a:lnTo>
                    <a:lnTo>
                      <a:pt x="152" y="283"/>
                    </a:lnTo>
                    <a:lnTo>
                      <a:pt x="152" y="282"/>
                    </a:lnTo>
                    <a:lnTo>
                      <a:pt x="151" y="282"/>
                    </a:lnTo>
                    <a:lnTo>
                      <a:pt x="151" y="281"/>
                    </a:lnTo>
                    <a:lnTo>
                      <a:pt x="150" y="281"/>
                    </a:lnTo>
                    <a:lnTo>
                      <a:pt x="149" y="281"/>
                    </a:lnTo>
                    <a:lnTo>
                      <a:pt x="148" y="280"/>
                    </a:lnTo>
                    <a:lnTo>
                      <a:pt x="147" y="279"/>
                    </a:lnTo>
                    <a:lnTo>
                      <a:pt x="146" y="279"/>
                    </a:lnTo>
                    <a:lnTo>
                      <a:pt x="145" y="279"/>
                    </a:lnTo>
                    <a:lnTo>
                      <a:pt x="145" y="278"/>
                    </a:lnTo>
                    <a:lnTo>
                      <a:pt x="144" y="278"/>
                    </a:lnTo>
                    <a:lnTo>
                      <a:pt x="143" y="278"/>
                    </a:lnTo>
                    <a:lnTo>
                      <a:pt x="138" y="277"/>
                    </a:lnTo>
                    <a:lnTo>
                      <a:pt x="137" y="276"/>
                    </a:lnTo>
                    <a:lnTo>
                      <a:pt x="136" y="276"/>
                    </a:lnTo>
                    <a:lnTo>
                      <a:pt x="135" y="276"/>
                    </a:lnTo>
                    <a:lnTo>
                      <a:pt x="134" y="276"/>
                    </a:lnTo>
                    <a:lnTo>
                      <a:pt x="133" y="276"/>
                    </a:lnTo>
                    <a:lnTo>
                      <a:pt x="132" y="276"/>
                    </a:lnTo>
                    <a:lnTo>
                      <a:pt x="132" y="275"/>
                    </a:lnTo>
                    <a:lnTo>
                      <a:pt x="131" y="275"/>
                    </a:lnTo>
                    <a:lnTo>
                      <a:pt x="131" y="274"/>
                    </a:lnTo>
                    <a:lnTo>
                      <a:pt x="131" y="272"/>
                    </a:lnTo>
                    <a:lnTo>
                      <a:pt x="130" y="272"/>
                    </a:lnTo>
                    <a:lnTo>
                      <a:pt x="130" y="271"/>
                    </a:lnTo>
                    <a:lnTo>
                      <a:pt x="130" y="270"/>
                    </a:lnTo>
                    <a:lnTo>
                      <a:pt x="130" y="269"/>
                    </a:lnTo>
                    <a:lnTo>
                      <a:pt x="129" y="269"/>
                    </a:lnTo>
                    <a:lnTo>
                      <a:pt x="129" y="268"/>
                    </a:lnTo>
                    <a:lnTo>
                      <a:pt x="128" y="267"/>
                    </a:lnTo>
                    <a:lnTo>
                      <a:pt x="128" y="266"/>
                    </a:lnTo>
                    <a:lnTo>
                      <a:pt x="126" y="266"/>
                    </a:lnTo>
                    <a:lnTo>
                      <a:pt x="126" y="265"/>
                    </a:lnTo>
                    <a:lnTo>
                      <a:pt x="125" y="265"/>
                    </a:lnTo>
                    <a:lnTo>
                      <a:pt x="125" y="264"/>
                    </a:lnTo>
                    <a:lnTo>
                      <a:pt x="124" y="264"/>
                    </a:lnTo>
                    <a:lnTo>
                      <a:pt x="124" y="263"/>
                    </a:lnTo>
                    <a:lnTo>
                      <a:pt x="124" y="262"/>
                    </a:lnTo>
                    <a:lnTo>
                      <a:pt x="123" y="262"/>
                    </a:lnTo>
                    <a:lnTo>
                      <a:pt x="123" y="261"/>
                    </a:lnTo>
                    <a:lnTo>
                      <a:pt x="122" y="261"/>
                    </a:lnTo>
                    <a:lnTo>
                      <a:pt x="121" y="261"/>
                    </a:lnTo>
                    <a:lnTo>
                      <a:pt x="121" y="259"/>
                    </a:lnTo>
                    <a:lnTo>
                      <a:pt x="120" y="259"/>
                    </a:lnTo>
                    <a:lnTo>
                      <a:pt x="120" y="258"/>
                    </a:lnTo>
                    <a:lnTo>
                      <a:pt x="120" y="257"/>
                    </a:lnTo>
                    <a:lnTo>
                      <a:pt x="120" y="258"/>
                    </a:lnTo>
                    <a:lnTo>
                      <a:pt x="119" y="258"/>
                    </a:lnTo>
                    <a:lnTo>
                      <a:pt x="118" y="258"/>
                    </a:lnTo>
                    <a:lnTo>
                      <a:pt x="118" y="257"/>
                    </a:lnTo>
                    <a:lnTo>
                      <a:pt x="117" y="257"/>
                    </a:lnTo>
                    <a:lnTo>
                      <a:pt x="112" y="255"/>
                    </a:lnTo>
                    <a:lnTo>
                      <a:pt x="111" y="254"/>
                    </a:lnTo>
                    <a:lnTo>
                      <a:pt x="109" y="253"/>
                    </a:lnTo>
                    <a:lnTo>
                      <a:pt x="108" y="252"/>
                    </a:lnTo>
                    <a:lnTo>
                      <a:pt x="107" y="252"/>
                    </a:lnTo>
                    <a:lnTo>
                      <a:pt x="107" y="251"/>
                    </a:lnTo>
                    <a:lnTo>
                      <a:pt x="106" y="251"/>
                    </a:lnTo>
                    <a:lnTo>
                      <a:pt x="105" y="251"/>
                    </a:lnTo>
                    <a:lnTo>
                      <a:pt x="106" y="250"/>
                    </a:lnTo>
                    <a:lnTo>
                      <a:pt x="105" y="250"/>
                    </a:lnTo>
                    <a:lnTo>
                      <a:pt x="105" y="249"/>
                    </a:lnTo>
                    <a:lnTo>
                      <a:pt x="104" y="249"/>
                    </a:lnTo>
                    <a:lnTo>
                      <a:pt x="104" y="250"/>
                    </a:lnTo>
                    <a:lnTo>
                      <a:pt x="103" y="250"/>
                    </a:lnTo>
                    <a:lnTo>
                      <a:pt x="101" y="250"/>
                    </a:lnTo>
                    <a:lnTo>
                      <a:pt x="101" y="249"/>
                    </a:lnTo>
                    <a:lnTo>
                      <a:pt x="104" y="250"/>
                    </a:lnTo>
                    <a:lnTo>
                      <a:pt x="104" y="249"/>
                    </a:lnTo>
                    <a:lnTo>
                      <a:pt x="103" y="249"/>
                    </a:lnTo>
                    <a:lnTo>
                      <a:pt x="104" y="248"/>
                    </a:lnTo>
                    <a:lnTo>
                      <a:pt x="104" y="249"/>
                    </a:lnTo>
                    <a:lnTo>
                      <a:pt x="105" y="248"/>
                    </a:lnTo>
                    <a:lnTo>
                      <a:pt x="104" y="248"/>
                    </a:lnTo>
                    <a:lnTo>
                      <a:pt x="103" y="249"/>
                    </a:lnTo>
                    <a:lnTo>
                      <a:pt x="103" y="248"/>
                    </a:lnTo>
                    <a:lnTo>
                      <a:pt x="103" y="249"/>
                    </a:lnTo>
                    <a:lnTo>
                      <a:pt x="101" y="249"/>
                    </a:lnTo>
                    <a:lnTo>
                      <a:pt x="101" y="248"/>
                    </a:lnTo>
                    <a:lnTo>
                      <a:pt x="100" y="248"/>
                    </a:lnTo>
                    <a:lnTo>
                      <a:pt x="100" y="246"/>
                    </a:lnTo>
                    <a:lnTo>
                      <a:pt x="100" y="245"/>
                    </a:lnTo>
                    <a:lnTo>
                      <a:pt x="99" y="245"/>
                    </a:lnTo>
                    <a:lnTo>
                      <a:pt x="99" y="246"/>
                    </a:lnTo>
                    <a:lnTo>
                      <a:pt x="99" y="248"/>
                    </a:lnTo>
                    <a:lnTo>
                      <a:pt x="98" y="248"/>
                    </a:lnTo>
                    <a:lnTo>
                      <a:pt x="98" y="246"/>
                    </a:lnTo>
                    <a:lnTo>
                      <a:pt x="97" y="246"/>
                    </a:lnTo>
                    <a:lnTo>
                      <a:pt x="96" y="246"/>
                    </a:lnTo>
                    <a:lnTo>
                      <a:pt x="95" y="246"/>
                    </a:lnTo>
                    <a:lnTo>
                      <a:pt x="94" y="246"/>
                    </a:lnTo>
                    <a:lnTo>
                      <a:pt x="93" y="246"/>
                    </a:lnTo>
                    <a:lnTo>
                      <a:pt x="92" y="246"/>
                    </a:lnTo>
                    <a:lnTo>
                      <a:pt x="91" y="246"/>
                    </a:lnTo>
                    <a:lnTo>
                      <a:pt x="90" y="246"/>
                    </a:lnTo>
                    <a:lnTo>
                      <a:pt x="90" y="245"/>
                    </a:lnTo>
                    <a:lnTo>
                      <a:pt x="88" y="245"/>
                    </a:lnTo>
                    <a:lnTo>
                      <a:pt x="87" y="245"/>
                    </a:lnTo>
                    <a:lnTo>
                      <a:pt x="86" y="245"/>
                    </a:lnTo>
                    <a:lnTo>
                      <a:pt x="85" y="245"/>
                    </a:lnTo>
                    <a:lnTo>
                      <a:pt x="84" y="245"/>
                    </a:lnTo>
                    <a:lnTo>
                      <a:pt x="83" y="245"/>
                    </a:lnTo>
                    <a:lnTo>
                      <a:pt x="83" y="244"/>
                    </a:lnTo>
                    <a:lnTo>
                      <a:pt x="82" y="244"/>
                    </a:lnTo>
                    <a:lnTo>
                      <a:pt x="81" y="244"/>
                    </a:lnTo>
                    <a:lnTo>
                      <a:pt x="81" y="245"/>
                    </a:lnTo>
                    <a:lnTo>
                      <a:pt x="80" y="244"/>
                    </a:lnTo>
                    <a:lnTo>
                      <a:pt x="80" y="243"/>
                    </a:lnTo>
                    <a:lnTo>
                      <a:pt x="79" y="243"/>
                    </a:lnTo>
                    <a:lnTo>
                      <a:pt x="79" y="244"/>
                    </a:lnTo>
                    <a:lnTo>
                      <a:pt x="79" y="243"/>
                    </a:lnTo>
                    <a:lnTo>
                      <a:pt x="79" y="244"/>
                    </a:lnTo>
                    <a:lnTo>
                      <a:pt x="78" y="244"/>
                    </a:lnTo>
                    <a:lnTo>
                      <a:pt x="78" y="243"/>
                    </a:lnTo>
                    <a:lnTo>
                      <a:pt x="77" y="243"/>
                    </a:lnTo>
                    <a:lnTo>
                      <a:pt x="75" y="243"/>
                    </a:lnTo>
                    <a:lnTo>
                      <a:pt x="74" y="243"/>
                    </a:lnTo>
                    <a:lnTo>
                      <a:pt x="74" y="242"/>
                    </a:lnTo>
                    <a:lnTo>
                      <a:pt x="73" y="242"/>
                    </a:lnTo>
                    <a:lnTo>
                      <a:pt x="73" y="241"/>
                    </a:lnTo>
                    <a:lnTo>
                      <a:pt x="72" y="241"/>
                    </a:lnTo>
                    <a:lnTo>
                      <a:pt x="71" y="241"/>
                    </a:lnTo>
                    <a:lnTo>
                      <a:pt x="70" y="241"/>
                    </a:lnTo>
                    <a:lnTo>
                      <a:pt x="70" y="240"/>
                    </a:lnTo>
                    <a:lnTo>
                      <a:pt x="69" y="240"/>
                    </a:lnTo>
                    <a:lnTo>
                      <a:pt x="68" y="240"/>
                    </a:lnTo>
                    <a:lnTo>
                      <a:pt x="67" y="240"/>
                    </a:lnTo>
                    <a:lnTo>
                      <a:pt x="66" y="240"/>
                    </a:lnTo>
                    <a:lnTo>
                      <a:pt x="65" y="240"/>
                    </a:lnTo>
                    <a:lnTo>
                      <a:pt x="64" y="240"/>
                    </a:lnTo>
                    <a:lnTo>
                      <a:pt x="64" y="239"/>
                    </a:lnTo>
                    <a:lnTo>
                      <a:pt x="64" y="240"/>
                    </a:lnTo>
                    <a:lnTo>
                      <a:pt x="62" y="239"/>
                    </a:lnTo>
                    <a:lnTo>
                      <a:pt x="62" y="240"/>
                    </a:lnTo>
                    <a:lnTo>
                      <a:pt x="62" y="239"/>
                    </a:lnTo>
                    <a:lnTo>
                      <a:pt x="61" y="239"/>
                    </a:lnTo>
                    <a:lnTo>
                      <a:pt x="60" y="239"/>
                    </a:lnTo>
                    <a:lnTo>
                      <a:pt x="59" y="239"/>
                    </a:lnTo>
                    <a:lnTo>
                      <a:pt x="58" y="239"/>
                    </a:lnTo>
                    <a:lnTo>
                      <a:pt x="58" y="238"/>
                    </a:lnTo>
                    <a:lnTo>
                      <a:pt x="59" y="238"/>
                    </a:lnTo>
                    <a:lnTo>
                      <a:pt x="59" y="237"/>
                    </a:lnTo>
                    <a:lnTo>
                      <a:pt x="60" y="237"/>
                    </a:lnTo>
                    <a:lnTo>
                      <a:pt x="60" y="236"/>
                    </a:lnTo>
                    <a:lnTo>
                      <a:pt x="60" y="235"/>
                    </a:lnTo>
                    <a:lnTo>
                      <a:pt x="59" y="235"/>
                    </a:lnTo>
                    <a:lnTo>
                      <a:pt x="58" y="235"/>
                    </a:lnTo>
                    <a:lnTo>
                      <a:pt x="58" y="236"/>
                    </a:lnTo>
                    <a:lnTo>
                      <a:pt x="58" y="237"/>
                    </a:lnTo>
                    <a:lnTo>
                      <a:pt x="57" y="238"/>
                    </a:lnTo>
                    <a:lnTo>
                      <a:pt x="56" y="238"/>
                    </a:lnTo>
                    <a:lnTo>
                      <a:pt x="56" y="237"/>
                    </a:lnTo>
                    <a:lnTo>
                      <a:pt x="56" y="236"/>
                    </a:lnTo>
                    <a:lnTo>
                      <a:pt x="55" y="236"/>
                    </a:lnTo>
                    <a:lnTo>
                      <a:pt x="55" y="235"/>
                    </a:lnTo>
                    <a:lnTo>
                      <a:pt x="54" y="235"/>
                    </a:lnTo>
                    <a:lnTo>
                      <a:pt x="53" y="235"/>
                    </a:lnTo>
                    <a:lnTo>
                      <a:pt x="53" y="236"/>
                    </a:lnTo>
                    <a:lnTo>
                      <a:pt x="53" y="237"/>
                    </a:lnTo>
                    <a:lnTo>
                      <a:pt x="53" y="236"/>
                    </a:lnTo>
                    <a:lnTo>
                      <a:pt x="53" y="235"/>
                    </a:lnTo>
                    <a:lnTo>
                      <a:pt x="52" y="235"/>
                    </a:lnTo>
                    <a:lnTo>
                      <a:pt x="51" y="235"/>
                    </a:lnTo>
                    <a:lnTo>
                      <a:pt x="49" y="235"/>
                    </a:lnTo>
                    <a:lnTo>
                      <a:pt x="48" y="235"/>
                    </a:lnTo>
                    <a:lnTo>
                      <a:pt x="47" y="235"/>
                    </a:lnTo>
                    <a:lnTo>
                      <a:pt x="46" y="235"/>
                    </a:lnTo>
                    <a:lnTo>
                      <a:pt x="45" y="235"/>
                    </a:lnTo>
                    <a:lnTo>
                      <a:pt x="45" y="236"/>
                    </a:lnTo>
                    <a:lnTo>
                      <a:pt x="45" y="235"/>
                    </a:lnTo>
                    <a:lnTo>
                      <a:pt x="45" y="236"/>
                    </a:lnTo>
                    <a:lnTo>
                      <a:pt x="45" y="235"/>
                    </a:lnTo>
                    <a:lnTo>
                      <a:pt x="44" y="235"/>
                    </a:lnTo>
                    <a:lnTo>
                      <a:pt x="43" y="235"/>
                    </a:lnTo>
                    <a:lnTo>
                      <a:pt x="43" y="233"/>
                    </a:lnTo>
                    <a:lnTo>
                      <a:pt x="43" y="232"/>
                    </a:lnTo>
                    <a:lnTo>
                      <a:pt x="42" y="232"/>
                    </a:lnTo>
                    <a:lnTo>
                      <a:pt x="42" y="231"/>
                    </a:lnTo>
                    <a:lnTo>
                      <a:pt x="41" y="231"/>
                    </a:lnTo>
                    <a:lnTo>
                      <a:pt x="40" y="230"/>
                    </a:lnTo>
                    <a:lnTo>
                      <a:pt x="39" y="230"/>
                    </a:lnTo>
                    <a:lnTo>
                      <a:pt x="38" y="230"/>
                    </a:lnTo>
                    <a:lnTo>
                      <a:pt x="36" y="230"/>
                    </a:lnTo>
                    <a:lnTo>
                      <a:pt x="33" y="230"/>
                    </a:lnTo>
                    <a:lnTo>
                      <a:pt x="30" y="231"/>
                    </a:lnTo>
                    <a:lnTo>
                      <a:pt x="29" y="231"/>
                    </a:lnTo>
                    <a:lnTo>
                      <a:pt x="28" y="231"/>
                    </a:lnTo>
                    <a:lnTo>
                      <a:pt x="27" y="231"/>
                    </a:lnTo>
                    <a:lnTo>
                      <a:pt x="27" y="232"/>
                    </a:lnTo>
                    <a:lnTo>
                      <a:pt x="26" y="232"/>
                    </a:lnTo>
                    <a:lnTo>
                      <a:pt x="26" y="233"/>
                    </a:lnTo>
                    <a:lnTo>
                      <a:pt x="25" y="233"/>
                    </a:lnTo>
                    <a:lnTo>
                      <a:pt x="23" y="233"/>
                    </a:lnTo>
                    <a:lnTo>
                      <a:pt x="23" y="235"/>
                    </a:lnTo>
                    <a:lnTo>
                      <a:pt x="22" y="235"/>
                    </a:lnTo>
                    <a:lnTo>
                      <a:pt x="22" y="236"/>
                    </a:lnTo>
                    <a:lnTo>
                      <a:pt x="21" y="236"/>
                    </a:lnTo>
                    <a:lnTo>
                      <a:pt x="20" y="237"/>
                    </a:lnTo>
                    <a:lnTo>
                      <a:pt x="19" y="238"/>
                    </a:lnTo>
                    <a:lnTo>
                      <a:pt x="18" y="238"/>
                    </a:lnTo>
                    <a:lnTo>
                      <a:pt x="18" y="239"/>
                    </a:lnTo>
                    <a:lnTo>
                      <a:pt x="17" y="239"/>
                    </a:lnTo>
                    <a:lnTo>
                      <a:pt x="16" y="240"/>
                    </a:lnTo>
                    <a:lnTo>
                      <a:pt x="15" y="241"/>
                    </a:lnTo>
                    <a:lnTo>
                      <a:pt x="14" y="242"/>
                    </a:lnTo>
                    <a:lnTo>
                      <a:pt x="13" y="243"/>
                    </a:lnTo>
                    <a:lnTo>
                      <a:pt x="12" y="243"/>
                    </a:lnTo>
                    <a:lnTo>
                      <a:pt x="10" y="243"/>
                    </a:lnTo>
                    <a:lnTo>
                      <a:pt x="10" y="244"/>
                    </a:lnTo>
                    <a:lnTo>
                      <a:pt x="9" y="245"/>
                    </a:lnTo>
                    <a:lnTo>
                      <a:pt x="8" y="245"/>
                    </a:lnTo>
                    <a:lnTo>
                      <a:pt x="8" y="246"/>
                    </a:lnTo>
                    <a:lnTo>
                      <a:pt x="7" y="246"/>
                    </a:lnTo>
                    <a:lnTo>
                      <a:pt x="7" y="248"/>
                    </a:lnTo>
                    <a:lnTo>
                      <a:pt x="7" y="239"/>
                    </a:lnTo>
                    <a:lnTo>
                      <a:pt x="7" y="226"/>
                    </a:lnTo>
                    <a:lnTo>
                      <a:pt x="7" y="225"/>
                    </a:lnTo>
                    <a:lnTo>
                      <a:pt x="6" y="225"/>
                    </a:lnTo>
                    <a:lnTo>
                      <a:pt x="7" y="225"/>
                    </a:lnTo>
                    <a:lnTo>
                      <a:pt x="7" y="224"/>
                    </a:lnTo>
                    <a:lnTo>
                      <a:pt x="6" y="216"/>
                    </a:lnTo>
                    <a:lnTo>
                      <a:pt x="6" y="211"/>
                    </a:lnTo>
                    <a:lnTo>
                      <a:pt x="6" y="197"/>
                    </a:lnTo>
                    <a:lnTo>
                      <a:pt x="6" y="195"/>
                    </a:lnTo>
                    <a:lnTo>
                      <a:pt x="6" y="191"/>
                    </a:lnTo>
                    <a:lnTo>
                      <a:pt x="6" y="180"/>
                    </a:lnTo>
                    <a:lnTo>
                      <a:pt x="6" y="174"/>
                    </a:lnTo>
                    <a:lnTo>
                      <a:pt x="6" y="169"/>
                    </a:lnTo>
                    <a:lnTo>
                      <a:pt x="6" y="165"/>
                    </a:lnTo>
                    <a:lnTo>
                      <a:pt x="6" y="161"/>
                    </a:lnTo>
                    <a:lnTo>
                      <a:pt x="6" y="158"/>
                    </a:lnTo>
                    <a:lnTo>
                      <a:pt x="6" y="153"/>
                    </a:lnTo>
                    <a:lnTo>
                      <a:pt x="6" y="152"/>
                    </a:lnTo>
                    <a:lnTo>
                      <a:pt x="6" y="151"/>
                    </a:lnTo>
                    <a:lnTo>
                      <a:pt x="6" y="148"/>
                    </a:lnTo>
                    <a:lnTo>
                      <a:pt x="6" y="147"/>
                    </a:lnTo>
                    <a:lnTo>
                      <a:pt x="6" y="146"/>
                    </a:lnTo>
                    <a:lnTo>
                      <a:pt x="7" y="146"/>
                    </a:lnTo>
                    <a:lnTo>
                      <a:pt x="6" y="145"/>
                    </a:lnTo>
                    <a:lnTo>
                      <a:pt x="6" y="143"/>
                    </a:lnTo>
                    <a:lnTo>
                      <a:pt x="6" y="130"/>
                    </a:lnTo>
                    <a:lnTo>
                      <a:pt x="6" y="129"/>
                    </a:lnTo>
                    <a:lnTo>
                      <a:pt x="6" y="123"/>
                    </a:lnTo>
                    <a:lnTo>
                      <a:pt x="6" y="116"/>
                    </a:lnTo>
                    <a:lnTo>
                      <a:pt x="6" y="112"/>
                    </a:lnTo>
                    <a:lnTo>
                      <a:pt x="7" y="107"/>
                    </a:lnTo>
                    <a:lnTo>
                      <a:pt x="6" y="105"/>
                    </a:lnTo>
                    <a:lnTo>
                      <a:pt x="6" y="104"/>
                    </a:lnTo>
                    <a:lnTo>
                      <a:pt x="6" y="103"/>
                    </a:lnTo>
                    <a:lnTo>
                      <a:pt x="6" y="102"/>
                    </a:lnTo>
                    <a:lnTo>
                      <a:pt x="6" y="100"/>
                    </a:lnTo>
                    <a:lnTo>
                      <a:pt x="6" y="97"/>
                    </a:lnTo>
                    <a:lnTo>
                      <a:pt x="6" y="94"/>
                    </a:lnTo>
                    <a:lnTo>
                      <a:pt x="5" y="92"/>
                    </a:lnTo>
                    <a:lnTo>
                      <a:pt x="5" y="91"/>
                    </a:lnTo>
                    <a:lnTo>
                      <a:pt x="5" y="90"/>
                    </a:lnTo>
                    <a:lnTo>
                      <a:pt x="4" y="90"/>
                    </a:lnTo>
                    <a:lnTo>
                      <a:pt x="5" y="90"/>
                    </a:lnTo>
                    <a:lnTo>
                      <a:pt x="5" y="89"/>
                    </a:lnTo>
                    <a:lnTo>
                      <a:pt x="4" y="89"/>
                    </a:lnTo>
                    <a:lnTo>
                      <a:pt x="4" y="88"/>
                    </a:lnTo>
                    <a:lnTo>
                      <a:pt x="5" y="88"/>
                    </a:lnTo>
                    <a:lnTo>
                      <a:pt x="4" y="88"/>
                    </a:lnTo>
                    <a:lnTo>
                      <a:pt x="5" y="88"/>
                    </a:lnTo>
                    <a:lnTo>
                      <a:pt x="5" y="87"/>
                    </a:lnTo>
                    <a:lnTo>
                      <a:pt x="6" y="87"/>
                    </a:lnTo>
                    <a:lnTo>
                      <a:pt x="6" y="86"/>
                    </a:lnTo>
                    <a:lnTo>
                      <a:pt x="6" y="85"/>
                    </a:lnTo>
                    <a:lnTo>
                      <a:pt x="6" y="86"/>
                    </a:lnTo>
                    <a:lnTo>
                      <a:pt x="6" y="85"/>
                    </a:lnTo>
                    <a:lnTo>
                      <a:pt x="7" y="85"/>
                    </a:lnTo>
                    <a:lnTo>
                      <a:pt x="7" y="84"/>
                    </a:lnTo>
                    <a:lnTo>
                      <a:pt x="7" y="83"/>
                    </a:lnTo>
                    <a:lnTo>
                      <a:pt x="7" y="82"/>
                    </a:lnTo>
                    <a:lnTo>
                      <a:pt x="6" y="82"/>
                    </a:lnTo>
                    <a:lnTo>
                      <a:pt x="6" y="81"/>
                    </a:lnTo>
                    <a:lnTo>
                      <a:pt x="6" y="79"/>
                    </a:lnTo>
                    <a:lnTo>
                      <a:pt x="5" y="79"/>
                    </a:lnTo>
                    <a:lnTo>
                      <a:pt x="5" y="78"/>
                    </a:lnTo>
                    <a:lnTo>
                      <a:pt x="4" y="78"/>
                    </a:lnTo>
                    <a:lnTo>
                      <a:pt x="4" y="77"/>
                    </a:lnTo>
                    <a:lnTo>
                      <a:pt x="4" y="76"/>
                    </a:lnTo>
                    <a:lnTo>
                      <a:pt x="4" y="75"/>
                    </a:lnTo>
                    <a:lnTo>
                      <a:pt x="4" y="76"/>
                    </a:lnTo>
                    <a:lnTo>
                      <a:pt x="4" y="75"/>
                    </a:lnTo>
                    <a:lnTo>
                      <a:pt x="5" y="75"/>
                    </a:lnTo>
                    <a:lnTo>
                      <a:pt x="4" y="74"/>
                    </a:lnTo>
                    <a:lnTo>
                      <a:pt x="5" y="74"/>
                    </a:lnTo>
                    <a:lnTo>
                      <a:pt x="4" y="74"/>
                    </a:lnTo>
                    <a:lnTo>
                      <a:pt x="4" y="73"/>
                    </a:lnTo>
                    <a:lnTo>
                      <a:pt x="5" y="73"/>
                    </a:lnTo>
                    <a:lnTo>
                      <a:pt x="4" y="73"/>
                    </a:lnTo>
                    <a:lnTo>
                      <a:pt x="5" y="73"/>
                    </a:lnTo>
                    <a:lnTo>
                      <a:pt x="4" y="73"/>
                    </a:lnTo>
                    <a:lnTo>
                      <a:pt x="5" y="73"/>
                    </a:lnTo>
                    <a:lnTo>
                      <a:pt x="5" y="72"/>
                    </a:lnTo>
                    <a:lnTo>
                      <a:pt x="4" y="72"/>
                    </a:lnTo>
                    <a:lnTo>
                      <a:pt x="5" y="72"/>
                    </a:lnTo>
                    <a:lnTo>
                      <a:pt x="4" y="72"/>
                    </a:lnTo>
                    <a:lnTo>
                      <a:pt x="4" y="71"/>
                    </a:lnTo>
                    <a:lnTo>
                      <a:pt x="5" y="71"/>
                    </a:lnTo>
                    <a:lnTo>
                      <a:pt x="4" y="71"/>
                    </a:lnTo>
                    <a:lnTo>
                      <a:pt x="5" y="71"/>
                    </a:lnTo>
                    <a:lnTo>
                      <a:pt x="4" y="71"/>
                    </a:lnTo>
                    <a:lnTo>
                      <a:pt x="3" y="71"/>
                    </a:lnTo>
                    <a:lnTo>
                      <a:pt x="3" y="70"/>
                    </a:lnTo>
                    <a:lnTo>
                      <a:pt x="3" y="69"/>
                    </a:lnTo>
                    <a:lnTo>
                      <a:pt x="4" y="69"/>
                    </a:lnTo>
                    <a:lnTo>
                      <a:pt x="4" y="68"/>
                    </a:lnTo>
                    <a:lnTo>
                      <a:pt x="3" y="68"/>
                    </a:lnTo>
                    <a:lnTo>
                      <a:pt x="4" y="68"/>
                    </a:lnTo>
                    <a:lnTo>
                      <a:pt x="3" y="68"/>
                    </a:lnTo>
                    <a:lnTo>
                      <a:pt x="3" y="66"/>
                    </a:lnTo>
                    <a:lnTo>
                      <a:pt x="4" y="65"/>
                    </a:lnTo>
                    <a:lnTo>
                      <a:pt x="3" y="65"/>
                    </a:lnTo>
                    <a:lnTo>
                      <a:pt x="4" y="65"/>
                    </a:lnTo>
                    <a:lnTo>
                      <a:pt x="3" y="65"/>
                    </a:lnTo>
                    <a:lnTo>
                      <a:pt x="4" y="64"/>
                    </a:lnTo>
                    <a:lnTo>
                      <a:pt x="3" y="64"/>
                    </a:lnTo>
                    <a:lnTo>
                      <a:pt x="3" y="63"/>
                    </a:lnTo>
                    <a:lnTo>
                      <a:pt x="2" y="63"/>
                    </a:lnTo>
                    <a:lnTo>
                      <a:pt x="3" y="62"/>
                    </a:lnTo>
                    <a:lnTo>
                      <a:pt x="3" y="61"/>
                    </a:lnTo>
                    <a:lnTo>
                      <a:pt x="2" y="61"/>
                    </a:lnTo>
                    <a:lnTo>
                      <a:pt x="3" y="61"/>
                    </a:lnTo>
                    <a:lnTo>
                      <a:pt x="4" y="61"/>
                    </a:lnTo>
                    <a:lnTo>
                      <a:pt x="4" y="60"/>
                    </a:lnTo>
                    <a:lnTo>
                      <a:pt x="5" y="60"/>
                    </a:lnTo>
                    <a:lnTo>
                      <a:pt x="4" y="60"/>
                    </a:lnTo>
                    <a:lnTo>
                      <a:pt x="4" y="59"/>
                    </a:lnTo>
                    <a:lnTo>
                      <a:pt x="5" y="59"/>
                    </a:lnTo>
                    <a:lnTo>
                      <a:pt x="5" y="58"/>
                    </a:lnTo>
                    <a:lnTo>
                      <a:pt x="6" y="58"/>
                    </a:lnTo>
                    <a:lnTo>
                      <a:pt x="5" y="58"/>
                    </a:lnTo>
                    <a:lnTo>
                      <a:pt x="5" y="57"/>
                    </a:lnTo>
                    <a:lnTo>
                      <a:pt x="5" y="56"/>
                    </a:lnTo>
                    <a:lnTo>
                      <a:pt x="5" y="55"/>
                    </a:lnTo>
                    <a:lnTo>
                      <a:pt x="5" y="53"/>
                    </a:lnTo>
                    <a:lnTo>
                      <a:pt x="6" y="53"/>
                    </a:lnTo>
                    <a:lnTo>
                      <a:pt x="5" y="53"/>
                    </a:lnTo>
                    <a:lnTo>
                      <a:pt x="5" y="52"/>
                    </a:lnTo>
                    <a:lnTo>
                      <a:pt x="6" y="52"/>
                    </a:lnTo>
                    <a:lnTo>
                      <a:pt x="5" y="52"/>
                    </a:lnTo>
                    <a:lnTo>
                      <a:pt x="6" y="52"/>
                    </a:lnTo>
                    <a:lnTo>
                      <a:pt x="6" y="51"/>
                    </a:lnTo>
                    <a:lnTo>
                      <a:pt x="6" y="50"/>
                    </a:lnTo>
                    <a:lnTo>
                      <a:pt x="6" y="49"/>
                    </a:lnTo>
                    <a:lnTo>
                      <a:pt x="5" y="49"/>
                    </a:lnTo>
                    <a:lnTo>
                      <a:pt x="6" y="49"/>
                    </a:lnTo>
                    <a:lnTo>
                      <a:pt x="6" y="48"/>
                    </a:lnTo>
                    <a:lnTo>
                      <a:pt x="7" y="48"/>
                    </a:lnTo>
                    <a:lnTo>
                      <a:pt x="7" y="47"/>
                    </a:lnTo>
                    <a:lnTo>
                      <a:pt x="6" y="48"/>
                    </a:lnTo>
                    <a:lnTo>
                      <a:pt x="6" y="47"/>
                    </a:lnTo>
                    <a:lnTo>
                      <a:pt x="7" y="47"/>
                    </a:lnTo>
                    <a:lnTo>
                      <a:pt x="6" y="47"/>
                    </a:lnTo>
                    <a:lnTo>
                      <a:pt x="7" y="46"/>
                    </a:lnTo>
                    <a:lnTo>
                      <a:pt x="6" y="46"/>
                    </a:lnTo>
                    <a:lnTo>
                      <a:pt x="5" y="45"/>
                    </a:lnTo>
                    <a:lnTo>
                      <a:pt x="4" y="45"/>
                    </a:lnTo>
                    <a:lnTo>
                      <a:pt x="5" y="45"/>
                    </a:lnTo>
                    <a:lnTo>
                      <a:pt x="5" y="44"/>
                    </a:lnTo>
                    <a:lnTo>
                      <a:pt x="4" y="44"/>
                    </a:lnTo>
                    <a:lnTo>
                      <a:pt x="4" y="43"/>
                    </a:lnTo>
                    <a:lnTo>
                      <a:pt x="3" y="43"/>
                    </a:lnTo>
                    <a:lnTo>
                      <a:pt x="3" y="44"/>
                    </a:lnTo>
                    <a:lnTo>
                      <a:pt x="3" y="43"/>
                    </a:lnTo>
                    <a:lnTo>
                      <a:pt x="3" y="41"/>
                    </a:lnTo>
                    <a:lnTo>
                      <a:pt x="3" y="43"/>
                    </a:lnTo>
                    <a:lnTo>
                      <a:pt x="3" y="41"/>
                    </a:lnTo>
                    <a:lnTo>
                      <a:pt x="3" y="40"/>
                    </a:lnTo>
                    <a:lnTo>
                      <a:pt x="4" y="40"/>
                    </a:lnTo>
                    <a:lnTo>
                      <a:pt x="3" y="40"/>
                    </a:lnTo>
                    <a:lnTo>
                      <a:pt x="4" y="39"/>
                    </a:lnTo>
                    <a:lnTo>
                      <a:pt x="3" y="38"/>
                    </a:lnTo>
                    <a:lnTo>
                      <a:pt x="3" y="37"/>
                    </a:lnTo>
                    <a:lnTo>
                      <a:pt x="4" y="37"/>
                    </a:lnTo>
                    <a:lnTo>
                      <a:pt x="4" y="36"/>
                    </a:lnTo>
                    <a:lnTo>
                      <a:pt x="3" y="36"/>
                    </a:lnTo>
                    <a:lnTo>
                      <a:pt x="3" y="35"/>
                    </a:lnTo>
                    <a:lnTo>
                      <a:pt x="2" y="35"/>
                    </a:lnTo>
                    <a:lnTo>
                      <a:pt x="2" y="34"/>
                    </a:lnTo>
                    <a:lnTo>
                      <a:pt x="2" y="33"/>
                    </a:lnTo>
                    <a:lnTo>
                      <a:pt x="3" y="31"/>
                    </a:lnTo>
                    <a:lnTo>
                      <a:pt x="3" y="30"/>
                    </a:lnTo>
                    <a:lnTo>
                      <a:pt x="3" y="28"/>
                    </a:lnTo>
                    <a:lnTo>
                      <a:pt x="3" y="27"/>
                    </a:lnTo>
                    <a:lnTo>
                      <a:pt x="2" y="27"/>
                    </a:lnTo>
                    <a:lnTo>
                      <a:pt x="3" y="27"/>
                    </a:lnTo>
                    <a:lnTo>
                      <a:pt x="3" y="26"/>
                    </a:lnTo>
                    <a:lnTo>
                      <a:pt x="2" y="26"/>
                    </a:lnTo>
                    <a:lnTo>
                      <a:pt x="3" y="26"/>
                    </a:lnTo>
                    <a:lnTo>
                      <a:pt x="3" y="25"/>
                    </a:lnTo>
                    <a:lnTo>
                      <a:pt x="3" y="24"/>
                    </a:lnTo>
                    <a:lnTo>
                      <a:pt x="4" y="24"/>
                    </a:lnTo>
                    <a:lnTo>
                      <a:pt x="5" y="24"/>
                    </a:lnTo>
                    <a:lnTo>
                      <a:pt x="5" y="23"/>
                    </a:lnTo>
                    <a:lnTo>
                      <a:pt x="5" y="22"/>
                    </a:lnTo>
                    <a:lnTo>
                      <a:pt x="5" y="21"/>
                    </a:lnTo>
                    <a:lnTo>
                      <a:pt x="4" y="21"/>
                    </a:lnTo>
                    <a:lnTo>
                      <a:pt x="4" y="20"/>
                    </a:lnTo>
                    <a:lnTo>
                      <a:pt x="3" y="20"/>
                    </a:lnTo>
                    <a:lnTo>
                      <a:pt x="3" y="19"/>
                    </a:lnTo>
                    <a:lnTo>
                      <a:pt x="3" y="18"/>
                    </a:lnTo>
                    <a:lnTo>
                      <a:pt x="3" y="19"/>
                    </a:lnTo>
                    <a:lnTo>
                      <a:pt x="3" y="18"/>
                    </a:lnTo>
                    <a:lnTo>
                      <a:pt x="2" y="18"/>
                    </a:lnTo>
                    <a:lnTo>
                      <a:pt x="2" y="17"/>
                    </a:lnTo>
                    <a:lnTo>
                      <a:pt x="2" y="15"/>
                    </a:lnTo>
                    <a:lnTo>
                      <a:pt x="2" y="14"/>
                    </a:lnTo>
                    <a:lnTo>
                      <a:pt x="3" y="14"/>
                    </a:lnTo>
                    <a:lnTo>
                      <a:pt x="2" y="14"/>
                    </a:lnTo>
                    <a:lnTo>
                      <a:pt x="3" y="13"/>
                    </a:lnTo>
                    <a:lnTo>
                      <a:pt x="2" y="13"/>
                    </a:lnTo>
                    <a:lnTo>
                      <a:pt x="3" y="12"/>
                    </a:lnTo>
                    <a:lnTo>
                      <a:pt x="3" y="11"/>
                    </a:lnTo>
                    <a:lnTo>
                      <a:pt x="2" y="11"/>
                    </a:lnTo>
                    <a:lnTo>
                      <a:pt x="2" y="10"/>
                    </a:lnTo>
                    <a:lnTo>
                      <a:pt x="1" y="10"/>
                    </a:lnTo>
                    <a:lnTo>
                      <a:pt x="2" y="10"/>
                    </a:lnTo>
                    <a:lnTo>
                      <a:pt x="2" y="9"/>
                    </a:lnTo>
                    <a:lnTo>
                      <a:pt x="2" y="8"/>
                    </a:lnTo>
                    <a:lnTo>
                      <a:pt x="1" y="8"/>
                    </a:lnTo>
                    <a:lnTo>
                      <a:pt x="1" y="7"/>
                    </a:lnTo>
                    <a:lnTo>
                      <a:pt x="0" y="7"/>
                    </a:lnTo>
                    <a:lnTo>
                      <a:pt x="0" y="8"/>
                    </a:lnTo>
                    <a:lnTo>
                      <a:pt x="0" y="7"/>
                    </a:lnTo>
                    <a:lnTo>
                      <a:pt x="0" y="6"/>
                    </a:lnTo>
                    <a:lnTo>
                      <a:pt x="1" y="5"/>
                    </a:lnTo>
                    <a:lnTo>
                      <a:pt x="0" y="4"/>
                    </a:lnTo>
                    <a:lnTo>
                      <a:pt x="0" y="2"/>
                    </a:lnTo>
                    <a:lnTo>
                      <a:pt x="0" y="1"/>
                    </a:lnTo>
                    <a:lnTo>
                      <a:pt x="0" y="0"/>
                    </a:lnTo>
                    <a:lnTo>
                      <a:pt x="7" y="1"/>
                    </a:lnTo>
                    <a:lnTo>
                      <a:pt x="18" y="4"/>
                    </a:lnTo>
                    <a:lnTo>
                      <a:pt x="20" y="4"/>
                    </a:lnTo>
                    <a:lnTo>
                      <a:pt x="23" y="5"/>
                    </a:lnTo>
                    <a:lnTo>
                      <a:pt x="25" y="5"/>
                    </a:lnTo>
                    <a:lnTo>
                      <a:pt x="32" y="7"/>
                    </a:lnTo>
                    <a:lnTo>
                      <a:pt x="44" y="9"/>
                    </a:lnTo>
                    <a:lnTo>
                      <a:pt x="49" y="10"/>
                    </a:lnTo>
                    <a:lnTo>
                      <a:pt x="53" y="10"/>
                    </a:lnTo>
                    <a:lnTo>
                      <a:pt x="53" y="11"/>
                    </a:lnTo>
                    <a:lnTo>
                      <a:pt x="55" y="11"/>
                    </a:lnTo>
                    <a:lnTo>
                      <a:pt x="56" y="11"/>
                    </a:lnTo>
                    <a:lnTo>
                      <a:pt x="57" y="11"/>
                    </a:lnTo>
                    <a:lnTo>
                      <a:pt x="71" y="14"/>
                    </a:lnTo>
                    <a:lnTo>
                      <a:pt x="72" y="14"/>
                    </a:lnTo>
                    <a:lnTo>
                      <a:pt x="77" y="15"/>
                    </a:lnTo>
                    <a:lnTo>
                      <a:pt x="81" y="17"/>
                    </a:lnTo>
                    <a:lnTo>
                      <a:pt x="83" y="18"/>
                    </a:lnTo>
                    <a:lnTo>
                      <a:pt x="84" y="18"/>
                    </a:lnTo>
                    <a:lnTo>
                      <a:pt x="87" y="19"/>
                    </a:lnTo>
                    <a:lnTo>
                      <a:pt x="97" y="20"/>
                    </a:lnTo>
                    <a:lnTo>
                      <a:pt x="107" y="22"/>
                    </a:lnTo>
                    <a:lnTo>
                      <a:pt x="115" y="24"/>
                    </a:lnTo>
                    <a:lnTo>
                      <a:pt x="117" y="24"/>
                    </a:lnTo>
                    <a:lnTo>
                      <a:pt x="123" y="25"/>
                    </a:lnTo>
                    <a:lnTo>
                      <a:pt x="129" y="26"/>
                    </a:lnTo>
                    <a:lnTo>
                      <a:pt x="131" y="27"/>
                    </a:lnTo>
                    <a:lnTo>
                      <a:pt x="143" y="30"/>
                    </a:lnTo>
                    <a:lnTo>
                      <a:pt x="150" y="31"/>
                    </a:lnTo>
                    <a:lnTo>
                      <a:pt x="155" y="32"/>
                    </a:lnTo>
                    <a:lnTo>
                      <a:pt x="156" y="32"/>
                    </a:lnTo>
                    <a:lnTo>
                      <a:pt x="158" y="33"/>
                    </a:lnTo>
                    <a:lnTo>
                      <a:pt x="159" y="33"/>
                    </a:lnTo>
                    <a:lnTo>
                      <a:pt x="160" y="33"/>
                    </a:lnTo>
                    <a:lnTo>
                      <a:pt x="161" y="33"/>
                    </a:lnTo>
                    <a:lnTo>
                      <a:pt x="163" y="33"/>
                    </a:lnTo>
                    <a:lnTo>
                      <a:pt x="164" y="33"/>
                    </a:lnTo>
                    <a:lnTo>
                      <a:pt x="167" y="33"/>
                    </a:lnTo>
                    <a:lnTo>
                      <a:pt x="168" y="33"/>
                    </a:lnTo>
                    <a:lnTo>
                      <a:pt x="170" y="33"/>
                    </a:lnTo>
                    <a:lnTo>
                      <a:pt x="178" y="33"/>
                    </a:lnTo>
                    <a:lnTo>
                      <a:pt x="181" y="33"/>
                    </a:lnTo>
                    <a:lnTo>
                      <a:pt x="188" y="33"/>
                    </a:lnTo>
                    <a:lnTo>
                      <a:pt x="189" y="33"/>
                    </a:lnTo>
                    <a:lnTo>
                      <a:pt x="194" y="33"/>
                    </a:lnTo>
                    <a:lnTo>
                      <a:pt x="197" y="33"/>
                    </a:lnTo>
                    <a:lnTo>
                      <a:pt x="202" y="33"/>
                    </a:lnTo>
                    <a:lnTo>
                      <a:pt x="212" y="33"/>
                    </a:lnTo>
                    <a:lnTo>
                      <a:pt x="215" y="33"/>
                    </a:lnTo>
                    <a:lnTo>
                      <a:pt x="219" y="33"/>
                    </a:lnTo>
                    <a:lnTo>
                      <a:pt x="233" y="33"/>
                    </a:lnTo>
                    <a:lnTo>
                      <a:pt x="235" y="33"/>
                    </a:lnTo>
                    <a:lnTo>
                      <a:pt x="236" y="33"/>
                    </a:lnTo>
                    <a:lnTo>
                      <a:pt x="239" y="33"/>
                    </a:lnTo>
                    <a:lnTo>
                      <a:pt x="240" y="33"/>
                    </a:lnTo>
                    <a:lnTo>
                      <a:pt x="241" y="33"/>
                    </a:lnTo>
                    <a:lnTo>
                      <a:pt x="252" y="33"/>
                    </a:lnTo>
                    <a:close/>
                    <a:moveTo>
                      <a:pt x="443" y="375"/>
                    </a:moveTo>
                    <a:lnTo>
                      <a:pt x="443" y="377"/>
                    </a:lnTo>
                    <a:lnTo>
                      <a:pt x="443" y="380"/>
                    </a:lnTo>
                    <a:lnTo>
                      <a:pt x="440" y="378"/>
                    </a:lnTo>
                    <a:lnTo>
                      <a:pt x="440" y="377"/>
                    </a:lnTo>
                    <a:lnTo>
                      <a:pt x="439" y="377"/>
                    </a:lnTo>
                    <a:lnTo>
                      <a:pt x="436" y="377"/>
                    </a:lnTo>
                    <a:lnTo>
                      <a:pt x="428" y="378"/>
                    </a:lnTo>
                    <a:lnTo>
                      <a:pt x="426" y="379"/>
                    </a:lnTo>
                    <a:lnTo>
                      <a:pt x="420" y="382"/>
                    </a:lnTo>
                    <a:lnTo>
                      <a:pt x="418" y="384"/>
                    </a:lnTo>
                    <a:lnTo>
                      <a:pt x="417" y="386"/>
                    </a:lnTo>
                    <a:lnTo>
                      <a:pt x="417" y="387"/>
                    </a:lnTo>
                    <a:lnTo>
                      <a:pt x="417" y="390"/>
                    </a:lnTo>
                    <a:lnTo>
                      <a:pt x="417" y="391"/>
                    </a:lnTo>
                    <a:lnTo>
                      <a:pt x="418" y="392"/>
                    </a:lnTo>
                    <a:lnTo>
                      <a:pt x="417" y="393"/>
                    </a:lnTo>
                    <a:lnTo>
                      <a:pt x="416" y="394"/>
                    </a:lnTo>
                    <a:lnTo>
                      <a:pt x="414" y="395"/>
                    </a:lnTo>
                    <a:lnTo>
                      <a:pt x="412" y="397"/>
                    </a:lnTo>
                    <a:lnTo>
                      <a:pt x="410" y="397"/>
                    </a:lnTo>
                    <a:lnTo>
                      <a:pt x="409" y="398"/>
                    </a:lnTo>
                    <a:lnTo>
                      <a:pt x="408" y="398"/>
                    </a:lnTo>
                    <a:lnTo>
                      <a:pt x="407" y="398"/>
                    </a:lnTo>
                    <a:lnTo>
                      <a:pt x="406" y="398"/>
                    </a:lnTo>
                    <a:lnTo>
                      <a:pt x="404" y="399"/>
                    </a:lnTo>
                    <a:lnTo>
                      <a:pt x="402" y="397"/>
                    </a:lnTo>
                    <a:lnTo>
                      <a:pt x="401" y="396"/>
                    </a:lnTo>
                    <a:lnTo>
                      <a:pt x="400" y="396"/>
                    </a:lnTo>
                    <a:lnTo>
                      <a:pt x="397" y="396"/>
                    </a:lnTo>
                    <a:lnTo>
                      <a:pt x="394" y="395"/>
                    </a:lnTo>
                    <a:lnTo>
                      <a:pt x="393" y="395"/>
                    </a:lnTo>
                    <a:lnTo>
                      <a:pt x="392" y="395"/>
                    </a:lnTo>
                    <a:lnTo>
                      <a:pt x="392" y="394"/>
                    </a:lnTo>
                    <a:lnTo>
                      <a:pt x="387" y="394"/>
                    </a:lnTo>
                    <a:lnTo>
                      <a:pt x="387" y="393"/>
                    </a:lnTo>
                    <a:lnTo>
                      <a:pt x="387" y="392"/>
                    </a:lnTo>
                    <a:lnTo>
                      <a:pt x="387" y="391"/>
                    </a:lnTo>
                    <a:lnTo>
                      <a:pt x="388" y="390"/>
                    </a:lnTo>
                    <a:lnTo>
                      <a:pt x="388" y="391"/>
                    </a:lnTo>
                    <a:lnTo>
                      <a:pt x="389" y="391"/>
                    </a:lnTo>
                    <a:lnTo>
                      <a:pt x="390" y="391"/>
                    </a:lnTo>
                    <a:lnTo>
                      <a:pt x="391" y="391"/>
                    </a:lnTo>
                    <a:lnTo>
                      <a:pt x="392" y="391"/>
                    </a:lnTo>
                    <a:lnTo>
                      <a:pt x="393" y="392"/>
                    </a:lnTo>
                    <a:lnTo>
                      <a:pt x="394" y="393"/>
                    </a:lnTo>
                    <a:lnTo>
                      <a:pt x="395" y="393"/>
                    </a:lnTo>
                    <a:lnTo>
                      <a:pt x="397" y="393"/>
                    </a:lnTo>
                    <a:lnTo>
                      <a:pt x="399" y="393"/>
                    </a:lnTo>
                    <a:lnTo>
                      <a:pt x="399" y="392"/>
                    </a:lnTo>
                    <a:lnTo>
                      <a:pt x="400" y="391"/>
                    </a:lnTo>
                    <a:lnTo>
                      <a:pt x="400" y="392"/>
                    </a:lnTo>
                    <a:lnTo>
                      <a:pt x="401" y="392"/>
                    </a:lnTo>
                    <a:lnTo>
                      <a:pt x="401" y="393"/>
                    </a:lnTo>
                    <a:lnTo>
                      <a:pt x="402" y="393"/>
                    </a:lnTo>
                    <a:lnTo>
                      <a:pt x="402" y="392"/>
                    </a:lnTo>
                    <a:lnTo>
                      <a:pt x="403" y="392"/>
                    </a:lnTo>
                    <a:lnTo>
                      <a:pt x="404" y="391"/>
                    </a:lnTo>
                    <a:lnTo>
                      <a:pt x="405" y="390"/>
                    </a:lnTo>
                    <a:lnTo>
                      <a:pt x="405" y="388"/>
                    </a:lnTo>
                    <a:lnTo>
                      <a:pt x="406" y="388"/>
                    </a:lnTo>
                    <a:lnTo>
                      <a:pt x="407" y="388"/>
                    </a:lnTo>
                    <a:lnTo>
                      <a:pt x="408" y="388"/>
                    </a:lnTo>
                    <a:lnTo>
                      <a:pt x="408" y="387"/>
                    </a:lnTo>
                    <a:lnTo>
                      <a:pt x="409" y="387"/>
                    </a:lnTo>
                    <a:lnTo>
                      <a:pt x="410" y="386"/>
                    </a:lnTo>
                    <a:lnTo>
                      <a:pt x="412" y="386"/>
                    </a:lnTo>
                    <a:lnTo>
                      <a:pt x="413" y="385"/>
                    </a:lnTo>
                    <a:lnTo>
                      <a:pt x="413" y="384"/>
                    </a:lnTo>
                    <a:lnTo>
                      <a:pt x="413" y="383"/>
                    </a:lnTo>
                    <a:lnTo>
                      <a:pt x="413" y="382"/>
                    </a:lnTo>
                    <a:lnTo>
                      <a:pt x="412" y="381"/>
                    </a:lnTo>
                    <a:lnTo>
                      <a:pt x="410" y="380"/>
                    </a:lnTo>
                    <a:lnTo>
                      <a:pt x="409" y="379"/>
                    </a:lnTo>
                    <a:lnTo>
                      <a:pt x="408" y="379"/>
                    </a:lnTo>
                    <a:lnTo>
                      <a:pt x="407" y="379"/>
                    </a:lnTo>
                    <a:lnTo>
                      <a:pt x="406" y="380"/>
                    </a:lnTo>
                    <a:lnTo>
                      <a:pt x="406" y="379"/>
                    </a:lnTo>
                    <a:lnTo>
                      <a:pt x="407" y="378"/>
                    </a:lnTo>
                    <a:lnTo>
                      <a:pt x="409" y="378"/>
                    </a:lnTo>
                    <a:lnTo>
                      <a:pt x="410" y="377"/>
                    </a:lnTo>
                    <a:lnTo>
                      <a:pt x="413" y="378"/>
                    </a:lnTo>
                    <a:lnTo>
                      <a:pt x="416" y="379"/>
                    </a:lnTo>
                    <a:lnTo>
                      <a:pt x="417" y="379"/>
                    </a:lnTo>
                    <a:lnTo>
                      <a:pt x="419" y="379"/>
                    </a:lnTo>
                    <a:lnTo>
                      <a:pt x="420" y="379"/>
                    </a:lnTo>
                    <a:lnTo>
                      <a:pt x="422" y="378"/>
                    </a:lnTo>
                    <a:lnTo>
                      <a:pt x="426" y="377"/>
                    </a:lnTo>
                    <a:lnTo>
                      <a:pt x="427" y="375"/>
                    </a:lnTo>
                    <a:lnTo>
                      <a:pt x="428" y="375"/>
                    </a:lnTo>
                    <a:lnTo>
                      <a:pt x="429" y="374"/>
                    </a:lnTo>
                    <a:lnTo>
                      <a:pt x="430" y="373"/>
                    </a:lnTo>
                    <a:lnTo>
                      <a:pt x="432" y="372"/>
                    </a:lnTo>
                    <a:lnTo>
                      <a:pt x="434" y="369"/>
                    </a:lnTo>
                    <a:lnTo>
                      <a:pt x="435" y="368"/>
                    </a:lnTo>
                    <a:lnTo>
                      <a:pt x="438" y="368"/>
                    </a:lnTo>
                    <a:lnTo>
                      <a:pt x="439" y="368"/>
                    </a:lnTo>
                    <a:lnTo>
                      <a:pt x="440" y="368"/>
                    </a:lnTo>
                    <a:lnTo>
                      <a:pt x="442" y="369"/>
                    </a:lnTo>
                    <a:lnTo>
                      <a:pt x="444" y="372"/>
                    </a:lnTo>
                    <a:lnTo>
                      <a:pt x="444" y="373"/>
                    </a:lnTo>
                    <a:lnTo>
                      <a:pt x="443" y="375"/>
                    </a:lnTo>
                    <a:close/>
                  </a:path>
                </a:pathLst>
              </a:custGeom>
              <a:solidFill>
                <a:srgbClr val="2E8BF7"/>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7" name="Freeform 335">
                <a:extLst>
                  <a:ext uri="{FF2B5EF4-FFF2-40B4-BE49-F238E27FC236}">
                    <a16:creationId xmlns:a16="http://schemas.microsoft.com/office/drawing/2014/main" id="{EB93E142-52E4-B97A-D291-4BDE352E634C}"/>
                  </a:ext>
                </a:extLst>
              </p:cNvPr>
              <p:cNvSpPr>
                <a:spLocks noEditPoints="1"/>
              </p:cNvSpPr>
              <p:nvPr/>
            </p:nvSpPr>
            <p:spPr bwMode="auto">
              <a:xfrm>
                <a:off x="4938713" y="4376738"/>
                <a:ext cx="496888" cy="346075"/>
              </a:xfrm>
              <a:custGeom>
                <a:avLst/>
                <a:gdLst>
                  <a:gd name="T0" fmla="*/ 164 w 313"/>
                  <a:gd name="T1" fmla="*/ 130 h 218"/>
                  <a:gd name="T2" fmla="*/ 147 w 313"/>
                  <a:gd name="T3" fmla="*/ 123 h 218"/>
                  <a:gd name="T4" fmla="*/ 129 w 313"/>
                  <a:gd name="T5" fmla="*/ 132 h 218"/>
                  <a:gd name="T6" fmla="*/ 112 w 313"/>
                  <a:gd name="T7" fmla="*/ 133 h 218"/>
                  <a:gd name="T8" fmla="*/ 92 w 313"/>
                  <a:gd name="T9" fmla="*/ 132 h 218"/>
                  <a:gd name="T10" fmla="*/ 87 w 313"/>
                  <a:gd name="T11" fmla="*/ 167 h 218"/>
                  <a:gd name="T12" fmla="*/ 142 w 313"/>
                  <a:gd name="T13" fmla="*/ 196 h 218"/>
                  <a:gd name="T14" fmla="*/ 126 w 313"/>
                  <a:gd name="T15" fmla="*/ 198 h 218"/>
                  <a:gd name="T16" fmla="*/ 85 w 313"/>
                  <a:gd name="T17" fmla="*/ 200 h 218"/>
                  <a:gd name="T18" fmla="*/ 47 w 313"/>
                  <a:gd name="T19" fmla="*/ 176 h 218"/>
                  <a:gd name="T20" fmla="*/ 10 w 313"/>
                  <a:gd name="T21" fmla="*/ 141 h 218"/>
                  <a:gd name="T22" fmla="*/ 15 w 313"/>
                  <a:gd name="T23" fmla="*/ 103 h 218"/>
                  <a:gd name="T24" fmla="*/ 31 w 313"/>
                  <a:gd name="T25" fmla="*/ 103 h 218"/>
                  <a:gd name="T26" fmla="*/ 49 w 313"/>
                  <a:gd name="T27" fmla="*/ 100 h 218"/>
                  <a:gd name="T28" fmla="*/ 67 w 313"/>
                  <a:gd name="T29" fmla="*/ 86 h 218"/>
                  <a:gd name="T30" fmla="*/ 78 w 313"/>
                  <a:gd name="T31" fmla="*/ 93 h 218"/>
                  <a:gd name="T32" fmla="*/ 115 w 313"/>
                  <a:gd name="T33" fmla="*/ 73 h 218"/>
                  <a:gd name="T34" fmla="*/ 163 w 313"/>
                  <a:gd name="T35" fmla="*/ 20 h 218"/>
                  <a:gd name="T36" fmla="*/ 165 w 313"/>
                  <a:gd name="T37" fmla="*/ 27 h 218"/>
                  <a:gd name="T38" fmla="*/ 175 w 313"/>
                  <a:gd name="T39" fmla="*/ 13 h 218"/>
                  <a:gd name="T40" fmla="*/ 172 w 313"/>
                  <a:gd name="T41" fmla="*/ 31 h 218"/>
                  <a:gd name="T42" fmla="*/ 180 w 313"/>
                  <a:gd name="T43" fmla="*/ 46 h 218"/>
                  <a:gd name="T44" fmla="*/ 181 w 313"/>
                  <a:gd name="T45" fmla="*/ 51 h 218"/>
                  <a:gd name="T46" fmla="*/ 187 w 313"/>
                  <a:gd name="T47" fmla="*/ 56 h 218"/>
                  <a:gd name="T48" fmla="*/ 201 w 313"/>
                  <a:gd name="T49" fmla="*/ 57 h 218"/>
                  <a:gd name="T50" fmla="*/ 208 w 313"/>
                  <a:gd name="T51" fmla="*/ 69 h 218"/>
                  <a:gd name="T52" fmla="*/ 210 w 313"/>
                  <a:gd name="T53" fmla="*/ 55 h 218"/>
                  <a:gd name="T54" fmla="*/ 217 w 313"/>
                  <a:gd name="T55" fmla="*/ 47 h 218"/>
                  <a:gd name="T56" fmla="*/ 228 w 313"/>
                  <a:gd name="T57" fmla="*/ 33 h 218"/>
                  <a:gd name="T58" fmla="*/ 240 w 313"/>
                  <a:gd name="T59" fmla="*/ 22 h 218"/>
                  <a:gd name="T60" fmla="*/ 242 w 313"/>
                  <a:gd name="T61" fmla="*/ 6 h 218"/>
                  <a:gd name="T62" fmla="*/ 244 w 313"/>
                  <a:gd name="T63" fmla="*/ 1 h 218"/>
                  <a:gd name="T64" fmla="*/ 247 w 313"/>
                  <a:gd name="T65" fmla="*/ 11 h 218"/>
                  <a:gd name="T66" fmla="*/ 244 w 313"/>
                  <a:gd name="T67" fmla="*/ 20 h 218"/>
                  <a:gd name="T68" fmla="*/ 234 w 313"/>
                  <a:gd name="T69" fmla="*/ 36 h 218"/>
                  <a:gd name="T70" fmla="*/ 230 w 313"/>
                  <a:gd name="T71" fmla="*/ 55 h 218"/>
                  <a:gd name="T72" fmla="*/ 243 w 313"/>
                  <a:gd name="T73" fmla="*/ 53 h 218"/>
                  <a:gd name="T74" fmla="*/ 246 w 313"/>
                  <a:gd name="T75" fmla="*/ 50 h 218"/>
                  <a:gd name="T76" fmla="*/ 252 w 313"/>
                  <a:gd name="T77" fmla="*/ 43 h 218"/>
                  <a:gd name="T78" fmla="*/ 259 w 313"/>
                  <a:gd name="T79" fmla="*/ 38 h 218"/>
                  <a:gd name="T80" fmla="*/ 269 w 313"/>
                  <a:gd name="T81" fmla="*/ 36 h 218"/>
                  <a:gd name="T82" fmla="*/ 272 w 313"/>
                  <a:gd name="T83" fmla="*/ 36 h 218"/>
                  <a:gd name="T84" fmla="*/ 274 w 313"/>
                  <a:gd name="T85" fmla="*/ 23 h 218"/>
                  <a:gd name="T86" fmla="*/ 266 w 313"/>
                  <a:gd name="T87" fmla="*/ 18 h 218"/>
                  <a:gd name="T88" fmla="*/ 260 w 313"/>
                  <a:gd name="T89" fmla="*/ 24 h 218"/>
                  <a:gd name="T90" fmla="*/ 261 w 313"/>
                  <a:gd name="T91" fmla="*/ 13 h 218"/>
                  <a:gd name="T92" fmla="*/ 281 w 313"/>
                  <a:gd name="T93" fmla="*/ 2 h 218"/>
                  <a:gd name="T94" fmla="*/ 297 w 313"/>
                  <a:gd name="T95" fmla="*/ 13 h 218"/>
                  <a:gd name="T96" fmla="*/ 304 w 313"/>
                  <a:gd name="T97" fmla="*/ 17 h 218"/>
                  <a:gd name="T98" fmla="*/ 312 w 313"/>
                  <a:gd name="T99" fmla="*/ 16 h 218"/>
                  <a:gd name="T100" fmla="*/ 296 w 313"/>
                  <a:gd name="T101" fmla="*/ 39 h 218"/>
                  <a:gd name="T102" fmla="*/ 282 w 313"/>
                  <a:gd name="T103" fmla="*/ 51 h 218"/>
                  <a:gd name="T104" fmla="*/ 273 w 313"/>
                  <a:gd name="T105" fmla="*/ 72 h 218"/>
                  <a:gd name="T106" fmla="*/ 253 w 313"/>
                  <a:gd name="T107" fmla="*/ 79 h 218"/>
                  <a:gd name="T108" fmla="*/ 256 w 313"/>
                  <a:gd name="T109" fmla="*/ 98 h 218"/>
                  <a:gd name="T110" fmla="*/ 246 w 313"/>
                  <a:gd name="T111" fmla="*/ 104 h 218"/>
                  <a:gd name="T112" fmla="*/ 228 w 313"/>
                  <a:gd name="T113" fmla="*/ 91 h 218"/>
                  <a:gd name="T114" fmla="*/ 213 w 313"/>
                  <a:gd name="T115" fmla="*/ 90 h 218"/>
                  <a:gd name="T116" fmla="*/ 190 w 313"/>
                  <a:gd name="T117" fmla="*/ 98 h 218"/>
                  <a:gd name="T118" fmla="*/ 176 w 313"/>
                  <a:gd name="T119" fmla="*/ 116 h 218"/>
                  <a:gd name="T120" fmla="*/ 249 w 313"/>
                  <a:gd name="T121" fmla="*/ 16 h 218"/>
                  <a:gd name="T122" fmla="*/ 248 w 313"/>
                  <a:gd name="T123" fmla="*/ 1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218">
                    <a:moveTo>
                      <a:pt x="170" y="124"/>
                    </a:moveTo>
                    <a:lnTo>
                      <a:pt x="169" y="125"/>
                    </a:lnTo>
                    <a:lnTo>
                      <a:pt x="168" y="125"/>
                    </a:lnTo>
                    <a:lnTo>
                      <a:pt x="168" y="126"/>
                    </a:lnTo>
                    <a:lnTo>
                      <a:pt x="169" y="126"/>
                    </a:lnTo>
                    <a:lnTo>
                      <a:pt x="169" y="127"/>
                    </a:lnTo>
                    <a:lnTo>
                      <a:pt x="171" y="128"/>
                    </a:lnTo>
                    <a:lnTo>
                      <a:pt x="172" y="128"/>
                    </a:lnTo>
                    <a:lnTo>
                      <a:pt x="172" y="129"/>
                    </a:lnTo>
                    <a:lnTo>
                      <a:pt x="172" y="130"/>
                    </a:lnTo>
                    <a:lnTo>
                      <a:pt x="171" y="130"/>
                    </a:lnTo>
                    <a:lnTo>
                      <a:pt x="171" y="131"/>
                    </a:lnTo>
                    <a:lnTo>
                      <a:pt x="170" y="131"/>
                    </a:lnTo>
                    <a:lnTo>
                      <a:pt x="170" y="132"/>
                    </a:lnTo>
                    <a:lnTo>
                      <a:pt x="169" y="132"/>
                    </a:lnTo>
                    <a:lnTo>
                      <a:pt x="168" y="132"/>
                    </a:lnTo>
                    <a:lnTo>
                      <a:pt x="168" y="131"/>
                    </a:lnTo>
                    <a:lnTo>
                      <a:pt x="167" y="131"/>
                    </a:lnTo>
                    <a:lnTo>
                      <a:pt x="167" y="130"/>
                    </a:lnTo>
                    <a:lnTo>
                      <a:pt x="167" y="129"/>
                    </a:lnTo>
                    <a:lnTo>
                      <a:pt x="166" y="128"/>
                    </a:lnTo>
                    <a:lnTo>
                      <a:pt x="165" y="128"/>
                    </a:lnTo>
                    <a:lnTo>
                      <a:pt x="165" y="129"/>
                    </a:lnTo>
                    <a:lnTo>
                      <a:pt x="164" y="129"/>
                    </a:lnTo>
                    <a:lnTo>
                      <a:pt x="164" y="130"/>
                    </a:lnTo>
                    <a:lnTo>
                      <a:pt x="163" y="131"/>
                    </a:lnTo>
                    <a:lnTo>
                      <a:pt x="163" y="132"/>
                    </a:lnTo>
                    <a:lnTo>
                      <a:pt x="162" y="132"/>
                    </a:lnTo>
                    <a:lnTo>
                      <a:pt x="160" y="133"/>
                    </a:lnTo>
                    <a:lnTo>
                      <a:pt x="159" y="133"/>
                    </a:lnTo>
                    <a:lnTo>
                      <a:pt x="158" y="133"/>
                    </a:lnTo>
                    <a:lnTo>
                      <a:pt x="158" y="132"/>
                    </a:lnTo>
                    <a:lnTo>
                      <a:pt x="157" y="131"/>
                    </a:lnTo>
                    <a:lnTo>
                      <a:pt x="156" y="130"/>
                    </a:lnTo>
                    <a:lnTo>
                      <a:pt x="156" y="129"/>
                    </a:lnTo>
                    <a:lnTo>
                      <a:pt x="156" y="128"/>
                    </a:lnTo>
                    <a:lnTo>
                      <a:pt x="157" y="128"/>
                    </a:lnTo>
                    <a:lnTo>
                      <a:pt x="156" y="128"/>
                    </a:lnTo>
                    <a:lnTo>
                      <a:pt x="156" y="127"/>
                    </a:lnTo>
                    <a:lnTo>
                      <a:pt x="156" y="126"/>
                    </a:lnTo>
                    <a:lnTo>
                      <a:pt x="155" y="126"/>
                    </a:lnTo>
                    <a:lnTo>
                      <a:pt x="154" y="125"/>
                    </a:lnTo>
                    <a:lnTo>
                      <a:pt x="154" y="124"/>
                    </a:lnTo>
                    <a:lnTo>
                      <a:pt x="153" y="124"/>
                    </a:lnTo>
                    <a:lnTo>
                      <a:pt x="152" y="123"/>
                    </a:lnTo>
                    <a:lnTo>
                      <a:pt x="151" y="121"/>
                    </a:lnTo>
                    <a:lnTo>
                      <a:pt x="150" y="121"/>
                    </a:lnTo>
                    <a:lnTo>
                      <a:pt x="150" y="123"/>
                    </a:lnTo>
                    <a:lnTo>
                      <a:pt x="149" y="123"/>
                    </a:lnTo>
                    <a:lnTo>
                      <a:pt x="147" y="123"/>
                    </a:lnTo>
                    <a:lnTo>
                      <a:pt x="145" y="121"/>
                    </a:lnTo>
                    <a:lnTo>
                      <a:pt x="144" y="121"/>
                    </a:lnTo>
                    <a:lnTo>
                      <a:pt x="144" y="123"/>
                    </a:lnTo>
                    <a:lnTo>
                      <a:pt x="143" y="123"/>
                    </a:lnTo>
                    <a:lnTo>
                      <a:pt x="142" y="123"/>
                    </a:lnTo>
                    <a:lnTo>
                      <a:pt x="141" y="123"/>
                    </a:lnTo>
                    <a:lnTo>
                      <a:pt x="140" y="124"/>
                    </a:lnTo>
                    <a:lnTo>
                      <a:pt x="139" y="124"/>
                    </a:lnTo>
                    <a:lnTo>
                      <a:pt x="138" y="124"/>
                    </a:lnTo>
                    <a:lnTo>
                      <a:pt x="138" y="125"/>
                    </a:lnTo>
                    <a:lnTo>
                      <a:pt x="138" y="126"/>
                    </a:lnTo>
                    <a:lnTo>
                      <a:pt x="137" y="126"/>
                    </a:lnTo>
                    <a:lnTo>
                      <a:pt x="136" y="127"/>
                    </a:lnTo>
                    <a:lnTo>
                      <a:pt x="136" y="128"/>
                    </a:lnTo>
                    <a:lnTo>
                      <a:pt x="134" y="128"/>
                    </a:lnTo>
                    <a:lnTo>
                      <a:pt x="133" y="129"/>
                    </a:lnTo>
                    <a:lnTo>
                      <a:pt x="132" y="129"/>
                    </a:lnTo>
                    <a:lnTo>
                      <a:pt x="132" y="130"/>
                    </a:lnTo>
                    <a:lnTo>
                      <a:pt x="132" y="131"/>
                    </a:lnTo>
                    <a:lnTo>
                      <a:pt x="132" y="130"/>
                    </a:lnTo>
                    <a:lnTo>
                      <a:pt x="132" y="131"/>
                    </a:lnTo>
                    <a:lnTo>
                      <a:pt x="131" y="130"/>
                    </a:lnTo>
                    <a:lnTo>
                      <a:pt x="131" y="131"/>
                    </a:lnTo>
                    <a:lnTo>
                      <a:pt x="130" y="132"/>
                    </a:lnTo>
                    <a:lnTo>
                      <a:pt x="129" y="132"/>
                    </a:lnTo>
                    <a:lnTo>
                      <a:pt x="128" y="132"/>
                    </a:lnTo>
                    <a:lnTo>
                      <a:pt x="127" y="132"/>
                    </a:lnTo>
                    <a:lnTo>
                      <a:pt x="126" y="132"/>
                    </a:lnTo>
                    <a:lnTo>
                      <a:pt x="126" y="133"/>
                    </a:lnTo>
                    <a:lnTo>
                      <a:pt x="125" y="133"/>
                    </a:lnTo>
                    <a:lnTo>
                      <a:pt x="125" y="134"/>
                    </a:lnTo>
                    <a:lnTo>
                      <a:pt x="124" y="134"/>
                    </a:lnTo>
                    <a:lnTo>
                      <a:pt x="124" y="136"/>
                    </a:lnTo>
                    <a:lnTo>
                      <a:pt x="124" y="137"/>
                    </a:lnTo>
                    <a:lnTo>
                      <a:pt x="123" y="138"/>
                    </a:lnTo>
                    <a:lnTo>
                      <a:pt x="120" y="137"/>
                    </a:lnTo>
                    <a:lnTo>
                      <a:pt x="120" y="136"/>
                    </a:lnTo>
                    <a:lnTo>
                      <a:pt x="119" y="136"/>
                    </a:lnTo>
                    <a:lnTo>
                      <a:pt x="118" y="136"/>
                    </a:lnTo>
                    <a:lnTo>
                      <a:pt x="118" y="137"/>
                    </a:lnTo>
                    <a:lnTo>
                      <a:pt x="117" y="137"/>
                    </a:lnTo>
                    <a:lnTo>
                      <a:pt x="116" y="137"/>
                    </a:lnTo>
                    <a:lnTo>
                      <a:pt x="115" y="137"/>
                    </a:lnTo>
                    <a:lnTo>
                      <a:pt x="114" y="137"/>
                    </a:lnTo>
                    <a:lnTo>
                      <a:pt x="114" y="136"/>
                    </a:lnTo>
                    <a:lnTo>
                      <a:pt x="113" y="134"/>
                    </a:lnTo>
                    <a:lnTo>
                      <a:pt x="113" y="133"/>
                    </a:lnTo>
                    <a:lnTo>
                      <a:pt x="113" y="132"/>
                    </a:lnTo>
                    <a:lnTo>
                      <a:pt x="112" y="132"/>
                    </a:lnTo>
                    <a:lnTo>
                      <a:pt x="112" y="133"/>
                    </a:lnTo>
                    <a:lnTo>
                      <a:pt x="111" y="133"/>
                    </a:lnTo>
                    <a:lnTo>
                      <a:pt x="110" y="133"/>
                    </a:lnTo>
                    <a:lnTo>
                      <a:pt x="108" y="132"/>
                    </a:lnTo>
                    <a:lnTo>
                      <a:pt x="108" y="131"/>
                    </a:lnTo>
                    <a:lnTo>
                      <a:pt x="107" y="130"/>
                    </a:lnTo>
                    <a:lnTo>
                      <a:pt x="106" y="130"/>
                    </a:lnTo>
                    <a:lnTo>
                      <a:pt x="105" y="130"/>
                    </a:lnTo>
                    <a:lnTo>
                      <a:pt x="104" y="129"/>
                    </a:lnTo>
                    <a:lnTo>
                      <a:pt x="104" y="128"/>
                    </a:lnTo>
                    <a:lnTo>
                      <a:pt x="103" y="127"/>
                    </a:lnTo>
                    <a:lnTo>
                      <a:pt x="102" y="127"/>
                    </a:lnTo>
                    <a:lnTo>
                      <a:pt x="101" y="127"/>
                    </a:lnTo>
                    <a:lnTo>
                      <a:pt x="101" y="128"/>
                    </a:lnTo>
                    <a:lnTo>
                      <a:pt x="100" y="128"/>
                    </a:lnTo>
                    <a:lnTo>
                      <a:pt x="100" y="129"/>
                    </a:lnTo>
                    <a:lnTo>
                      <a:pt x="99" y="130"/>
                    </a:lnTo>
                    <a:lnTo>
                      <a:pt x="98" y="131"/>
                    </a:lnTo>
                    <a:lnTo>
                      <a:pt x="98" y="132"/>
                    </a:lnTo>
                    <a:lnTo>
                      <a:pt x="97" y="132"/>
                    </a:lnTo>
                    <a:lnTo>
                      <a:pt x="95" y="132"/>
                    </a:lnTo>
                    <a:lnTo>
                      <a:pt x="94" y="131"/>
                    </a:lnTo>
                    <a:lnTo>
                      <a:pt x="93" y="131"/>
                    </a:lnTo>
                    <a:lnTo>
                      <a:pt x="92" y="130"/>
                    </a:lnTo>
                    <a:lnTo>
                      <a:pt x="92" y="131"/>
                    </a:lnTo>
                    <a:lnTo>
                      <a:pt x="92" y="132"/>
                    </a:lnTo>
                    <a:lnTo>
                      <a:pt x="91" y="133"/>
                    </a:lnTo>
                    <a:lnTo>
                      <a:pt x="91" y="134"/>
                    </a:lnTo>
                    <a:lnTo>
                      <a:pt x="89" y="140"/>
                    </a:lnTo>
                    <a:lnTo>
                      <a:pt x="88" y="140"/>
                    </a:lnTo>
                    <a:lnTo>
                      <a:pt x="89" y="137"/>
                    </a:lnTo>
                    <a:lnTo>
                      <a:pt x="88" y="137"/>
                    </a:lnTo>
                    <a:lnTo>
                      <a:pt x="87" y="138"/>
                    </a:lnTo>
                    <a:lnTo>
                      <a:pt x="86" y="138"/>
                    </a:lnTo>
                    <a:lnTo>
                      <a:pt x="86" y="139"/>
                    </a:lnTo>
                    <a:lnTo>
                      <a:pt x="87" y="139"/>
                    </a:lnTo>
                    <a:lnTo>
                      <a:pt x="88" y="140"/>
                    </a:lnTo>
                    <a:lnTo>
                      <a:pt x="87" y="141"/>
                    </a:lnTo>
                    <a:lnTo>
                      <a:pt x="87" y="142"/>
                    </a:lnTo>
                    <a:lnTo>
                      <a:pt x="86" y="143"/>
                    </a:lnTo>
                    <a:lnTo>
                      <a:pt x="84" y="150"/>
                    </a:lnTo>
                    <a:lnTo>
                      <a:pt x="82" y="153"/>
                    </a:lnTo>
                    <a:lnTo>
                      <a:pt x="81" y="153"/>
                    </a:lnTo>
                    <a:lnTo>
                      <a:pt x="81" y="154"/>
                    </a:lnTo>
                    <a:lnTo>
                      <a:pt x="80" y="156"/>
                    </a:lnTo>
                    <a:lnTo>
                      <a:pt x="79" y="159"/>
                    </a:lnTo>
                    <a:lnTo>
                      <a:pt x="78" y="162"/>
                    </a:lnTo>
                    <a:lnTo>
                      <a:pt x="79" y="162"/>
                    </a:lnTo>
                    <a:lnTo>
                      <a:pt x="81" y="163"/>
                    </a:lnTo>
                    <a:lnTo>
                      <a:pt x="82" y="164"/>
                    </a:lnTo>
                    <a:lnTo>
                      <a:pt x="87" y="167"/>
                    </a:lnTo>
                    <a:lnTo>
                      <a:pt x="88" y="168"/>
                    </a:lnTo>
                    <a:lnTo>
                      <a:pt x="90" y="170"/>
                    </a:lnTo>
                    <a:lnTo>
                      <a:pt x="93" y="171"/>
                    </a:lnTo>
                    <a:lnTo>
                      <a:pt x="95" y="172"/>
                    </a:lnTo>
                    <a:lnTo>
                      <a:pt x="98" y="173"/>
                    </a:lnTo>
                    <a:lnTo>
                      <a:pt x="104" y="177"/>
                    </a:lnTo>
                    <a:lnTo>
                      <a:pt x="110" y="177"/>
                    </a:lnTo>
                    <a:lnTo>
                      <a:pt x="112" y="177"/>
                    </a:lnTo>
                    <a:lnTo>
                      <a:pt x="116" y="177"/>
                    </a:lnTo>
                    <a:lnTo>
                      <a:pt x="120" y="177"/>
                    </a:lnTo>
                    <a:lnTo>
                      <a:pt x="124" y="177"/>
                    </a:lnTo>
                    <a:lnTo>
                      <a:pt x="125" y="177"/>
                    </a:lnTo>
                    <a:lnTo>
                      <a:pt x="127" y="178"/>
                    </a:lnTo>
                    <a:lnTo>
                      <a:pt x="128" y="178"/>
                    </a:lnTo>
                    <a:lnTo>
                      <a:pt x="129" y="179"/>
                    </a:lnTo>
                    <a:lnTo>
                      <a:pt x="131" y="179"/>
                    </a:lnTo>
                    <a:lnTo>
                      <a:pt x="132" y="181"/>
                    </a:lnTo>
                    <a:lnTo>
                      <a:pt x="134" y="183"/>
                    </a:lnTo>
                    <a:lnTo>
                      <a:pt x="136" y="184"/>
                    </a:lnTo>
                    <a:lnTo>
                      <a:pt x="138" y="188"/>
                    </a:lnTo>
                    <a:lnTo>
                      <a:pt x="140" y="191"/>
                    </a:lnTo>
                    <a:lnTo>
                      <a:pt x="141" y="193"/>
                    </a:lnTo>
                    <a:lnTo>
                      <a:pt x="142" y="194"/>
                    </a:lnTo>
                    <a:lnTo>
                      <a:pt x="142" y="195"/>
                    </a:lnTo>
                    <a:lnTo>
                      <a:pt x="142" y="196"/>
                    </a:lnTo>
                    <a:lnTo>
                      <a:pt x="143" y="198"/>
                    </a:lnTo>
                    <a:lnTo>
                      <a:pt x="145" y="203"/>
                    </a:lnTo>
                    <a:lnTo>
                      <a:pt x="145" y="204"/>
                    </a:lnTo>
                    <a:lnTo>
                      <a:pt x="145" y="205"/>
                    </a:lnTo>
                    <a:lnTo>
                      <a:pt x="145" y="206"/>
                    </a:lnTo>
                    <a:lnTo>
                      <a:pt x="145" y="207"/>
                    </a:lnTo>
                    <a:lnTo>
                      <a:pt x="145" y="209"/>
                    </a:lnTo>
                    <a:lnTo>
                      <a:pt x="145" y="210"/>
                    </a:lnTo>
                    <a:lnTo>
                      <a:pt x="145" y="211"/>
                    </a:lnTo>
                    <a:lnTo>
                      <a:pt x="144" y="213"/>
                    </a:lnTo>
                    <a:lnTo>
                      <a:pt x="144" y="214"/>
                    </a:lnTo>
                    <a:lnTo>
                      <a:pt x="143" y="215"/>
                    </a:lnTo>
                    <a:lnTo>
                      <a:pt x="142" y="216"/>
                    </a:lnTo>
                    <a:lnTo>
                      <a:pt x="141" y="216"/>
                    </a:lnTo>
                    <a:lnTo>
                      <a:pt x="139" y="217"/>
                    </a:lnTo>
                    <a:lnTo>
                      <a:pt x="138" y="217"/>
                    </a:lnTo>
                    <a:lnTo>
                      <a:pt x="137" y="218"/>
                    </a:lnTo>
                    <a:lnTo>
                      <a:pt x="136" y="217"/>
                    </a:lnTo>
                    <a:lnTo>
                      <a:pt x="134" y="215"/>
                    </a:lnTo>
                    <a:lnTo>
                      <a:pt x="133" y="211"/>
                    </a:lnTo>
                    <a:lnTo>
                      <a:pt x="129" y="205"/>
                    </a:lnTo>
                    <a:lnTo>
                      <a:pt x="129" y="204"/>
                    </a:lnTo>
                    <a:lnTo>
                      <a:pt x="127" y="202"/>
                    </a:lnTo>
                    <a:lnTo>
                      <a:pt x="126" y="200"/>
                    </a:lnTo>
                    <a:lnTo>
                      <a:pt x="126" y="198"/>
                    </a:lnTo>
                    <a:lnTo>
                      <a:pt x="125" y="198"/>
                    </a:lnTo>
                    <a:lnTo>
                      <a:pt x="117" y="195"/>
                    </a:lnTo>
                    <a:lnTo>
                      <a:pt x="116" y="194"/>
                    </a:lnTo>
                    <a:lnTo>
                      <a:pt x="115" y="194"/>
                    </a:lnTo>
                    <a:lnTo>
                      <a:pt x="111" y="192"/>
                    </a:lnTo>
                    <a:lnTo>
                      <a:pt x="104" y="191"/>
                    </a:lnTo>
                    <a:lnTo>
                      <a:pt x="103" y="191"/>
                    </a:lnTo>
                    <a:lnTo>
                      <a:pt x="102" y="191"/>
                    </a:lnTo>
                    <a:lnTo>
                      <a:pt x="100" y="192"/>
                    </a:lnTo>
                    <a:lnTo>
                      <a:pt x="100" y="193"/>
                    </a:lnTo>
                    <a:lnTo>
                      <a:pt x="99" y="193"/>
                    </a:lnTo>
                    <a:lnTo>
                      <a:pt x="99" y="192"/>
                    </a:lnTo>
                    <a:lnTo>
                      <a:pt x="97" y="191"/>
                    </a:lnTo>
                    <a:lnTo>
                      <a:pt x="95" y="191"/>
                    </a:lnTo>
                    <a:lnTo>
                      <a:pt x="94" y="191"/>
                    </a:lnTo>
                    <a:lnTo>
                      <a:pt x="93" y="191"/>
                    </a:lnTo>
                    <a:lnTo>
                      <a:pt x="93" y="195"/>
                    </a:lnTo>
                    <a:lnTo>
                      <a:pt x="93" y="196"/>
                    </a:lnTo>
                    <a:lnTo>
                      <a:pt x="92" y="202"/>
                    </a:lnTo>
                    <a:lnTo>
                      <a:pt x="90" y="200"/>
                    </a:lnTo>
                    <a:lnTo>
                      <a:pt x="89" y="200"/>
                    </a:lnTo>
                    <a:lnTo>
                      <a:pt x="89" y="198"/>
                    </a:lnTo>
                    <a:lnTo>
                      <a:pt x="88" y="198"/>
                    </a:lnTo>
                    <a:lnTo>
                      <a:pt x="85" y="195"/>
                    </a:lnTo>
                    <a:lnTo>
                      <a:pt x="85" y="200"/>
                    </a:lnTo>
                    <a:lnTo>
                      <a:pt x="81" y="197"/>
                    </a:lnTo>
                    <a:lnTo>
                      <a:pt x="81" y="196"/>
                    </a:lnTo>
                    <a:lnTo>
                      <a:pt x="79" y="195"/>
                    </a:lnTo>
                    <a:lnTo>
                      <a:pt x="78" y="192"/>
                    </a:lnTo>
                    <a:lnTo>
                      <a:pt x="77" y="192"/>
                    </a:lnTo>
                    <a:lnTo>
                      <a:pt x="76" y="191"/>
                    </a:lnTo>
                    <a:lnTo>
                      <a:pt x="75" y="189"/>
                    </a:lnTo>
                    <a:lnTo>
                      <a:pt x="64" y="177"/>
                    </a:lnTo>
                    <a:lnTo>
                      <a:pt x="62" y="175"/>
                    </a:lnTo>
                    <a:lnTo>
                      <a:pt x="60" y="172"/>
                    </a:lnTo>
                    <a:lnTo>
                      <a:pt x="59" y="171"/>
                    </a:lnTo>
                    <a:lnTo>
                      <a:pt x="58" y="170"/>
                    </a:lnTo>
                    <a:lnTo>
                      <a:pt x="56" y="169"/>
                    </a:lnTo>
                    <a:lnTo>
                      <a:pt x="55" y="168"/>
                    </a:lnTo>
                    <a:lnTo>
                      <a:pt x="55" y="167"/>
                    </a:lnTo>
                    <a:lnTo>
                      <a:pt x="54" y="167"/>
                    </a:lnTo>
                    <a:lnTo>
                      <a:pt x="54" y="166"/>
                    </a:lnTo>
                    <a:lnTo>
                      <a:pt x="53" y="166"/>
                    </a:lnTo>
                    <a:lnTo>
                      <a:pt x="53" y="165"/>
                    </a:lnTo>
                    <a:lnTo>
                      <a:pt x="50" y="162"/>
                    </a:lnTo>
                    <a:lnTo>
                      <a:pt x="51" y="167"/>
                    </a:lnTo>
                    <a:lnTo>
                      <a:pt x="50" y="167"/>
                    </a:lnTo>
                    <a:lnTo>
                      <a:pt x="50" y="172"/>
                    </a:lnTo>
                    <a:lnTo>
                      <a:pt x="48" y="176"/>
                    </a:lnTo>
                    <a:lnTo>
                      <a:pt x="47" y="176"/>
                    </a:lnTo>
                    <a:lnTo>
                      <a:pt x="45" y="179"/>
                    </a:lnTo>
                    <a:lnTo>
                      <a:pt x="42" y="180"/>
                    </a:lnTo>
                    <a:lnTo>
                      <a:pt x="41" y="180"/>
                    </a:lnTo>
                    <a:lnTo>
                      <a:pt x="34" y="183"/>
                    </a:lnTo>
                    <a:lnTo>
                      <a:pt x="33" y="184"/>
                    </a:lnTo>
                    <a:lnTo>
                      <a:pt x="30" y="185"/>
                    </a:lnTo>
                    <a:lnTo>
                      <a:pt x="28" y="185"/>
                    </a:lnTo>
                    <a:lnTo>
                      <a:pt x="24" y="187"/>
                    </a:lnTo>
                    <a:lnTo>
                      <a:pt x="14" y="188"/>
                    </a:lnTo>
                    <a:lnTo>
                      <a:pt x="9" y="187"/>
                    </a:lnTo>
                    <a:lnTo>
                      <a:pt x="8" y="187"/>
                    </a:lnTo>
                    <a:lnTo>
                      <a:pt x="4" y="184"/>
                    </a:lnTo>
                    <a:lnTo>
                      <a:pt x="1" y="181"/>
                    </a:lnTo>
                    <a:lnTo>
                      <a:pt x="1" y="177"/>
                    </a:lnTo>
                    <a:lnTo>
                      <a:pt x="1" y="167"/>
                    </a:lnTo>
                    <a:lnTo>
                      <a:pt x="0" y="160"/>
                    </a:lnTo>
                    <a:lnTo>
                      <a:pt x="2" y="157"/>
                    </a:lnTo>
                    <a:lnTo>
                      <a:pt x="2" y="156"/>
                    </a:lnTo>
                    <a:lnTo>
                      <a:pt x="5" y="149"/>
                    </a:lnTo>
                    <a:lnTo>
                      <a:pt x="7" y="149"/>
                    </a:lnTo>
                    <a:lnTo>
                      <a:pt x="8" y="146"/>
                    </a:lnTo>
                    <a:lnTo>
                      <a:pt x="9" y="144"/>
                    </a:lnTo>
                    <a:lnTo>
                      <a:pt x="9" y="143"/>
                    </a:lnTo>
                    <a:lnTo>
                      <a:pt x="10" y="142"/>
                    </a:lnTo>
                    <a:lnTo>
                      <a:pt x="10" y="141"/>
                    </a:lnTo>
                    <a:lnTo>
                      <a:pt x="10" y="140"/>
                    </a:lnTo>
                    <a:lnTo>
                      <a:pt x="10" y="138"/>
                    </a:lnTo>
                    <a:lnTo>
                      <a:pt x="10" y="133"/>
                    </a:lnTo>
                    <a:lnTo>
                      <a:pt x="10" y="132"/>
                    </a:lnTo>
                    <a:lnTo>
                      <a:pt x="10" y="131"/>
                    </a:lnTo>
                    <a:lnTo>
                      <a:pt x="11" y="126"/>
                    </a:lnTo>
                    <a:lnTo>
                      <a:pt x="11" y="124"/>
                    </a:lnTo>
                    <a:lnTo>
                      <a:pt x="12" y="110"/>
                    </a:lnTo>
                    <a:lnTo>
                      <a:pt x="12" y="106"/>
                    </a:lnTo>
                    <a:lnTo>
                      <a:pt x="12" y="105"/>
                    </a:lnTo>
                    <a:lnTo>
                      <a:pt x="12" y="103"/>
                    </a:lnTo>
                    <a:lnTo>
                      <a:pt x="13" y="102"/>
                    </a:lnTo>
                    <a:lnTo>
                      <a:pt x="14" y="102"/>
                    </a:lnTo>
                    <a:lnTo>
                      <a:pt x="15" y="103"/>
                    </a:lnTo>
                    <a:lnTo>
                      <a:pt x="16" y="103"/>
                    </a:lnTo>
                    <a:lnTo>
                      <a:pt x="17" y="103"/>
                    </a:lnTo>
                    <a:lnTo>
                      <a:pt x="16" y="103"/>
                    </a:lnTo>
                    <a:lnTo>
                      <a:pt x="15" y="103"/>
                    </a:lnTo>
                    <a:lnTo>
                      <a:pt x="13" y="103"/>
                    </a:lnTo>
                    <a:lnTo>
                      <a:pt x="13" y="104"/>
                    </a:lnTo>
                    <a:lnTo>
                      <a:pt x="13" y="105"/>
                    </a:lnTo>
                    <a:lnTo>
                      <a:pt x="16" y="105"/>
                    </a:lnTo>
                    <a:lnTo>
                      <a:pt x="16" y="104"/>
                    </a:lnTo>
                    <a:lnTo>
                      <a:pt x="15" y="104"/>
                    </a:lnTo>
                    <a:lnTo>
                      <a:pt x="15" y="103"/>
                    </a:lnTo>
                    <a:lnTo>
                      <a:pt x="16" y="103"/>
                    </a:lnTo>
                    <a:lnTo>
                      <a:pt x="16" y="104"/>
                    </a:lnTo>
                    <a:lnTo>
                      <a:pt x="16" y="106"/>
                    </a:lnTo>
                    <a:lnTo>
                      <a:pt x="15" y="106"/>
                    </a:lnTo>
                    <a:lnTo>
                      <a:pt x="13" y="106"/>
                    </a:lnTo>
                    <a:lnTo>
                      <a:pt x="13" y="107"/>
                    </a:lnTo>
                    <a:lnTo>
                      <a:pt x="15" y="107"/>
                    </a:lnTo>
                    <a:lnTo>
                      <a:pt x="15" y="106"/>
                    </a:lnTo>
                    <a:lnTo>
                      <a:pt x="16" y="106"/>
                    </a:lnTo>
                    <a:lnTo>
                      <a:pt x="16" y="108"/>
                    </a:lnTo>
                    <a:lnTo>
                      <a:pt x="16" y="105"/>
                    </a:lnTo>
                    <a:lnTo>
                      <a:pt x="16" y="104"/>
                    </a:lnTo>
                    <a:lnTo>
                      <a:pt x="17" y="104"/>
                    </a:lnTo>
                    <a:lnTo>
                      <a:pt x="20" y="103"/>
                    </a:lnTo>
                    <a:lnTo>
                      <a:pt x="22" y="104"/>
                    </a:lnTo>
                    <a:lnTo>
                      <a:pt x="23" y="104"/>
                    </a:lnTo>
                    <a:lnTo>
                      <a:pt x="24" y="103"/>
                    </a:lnTo>
                    <a:lnTo>
                      <a:pt x="25" y="103"/>
                    </a:lnTo>
                    <a:lnTo>
                      <a:pt x="26" y="103"/>
                    </a:lnTo>
                    <a:lnTo>
                      <a:pt x="27" y="103"/>
                    </a:lnTo>
                    <a:lnTo>
                      <a:pt x="28" y="103"/>
                    </a:lnTo>
                    <a:lnTo>
                      <a:pt x="29" y="102"/>
                    </a:lnTo>
                    <a:lnTo>
                      <a:pt x="30" y="102"/>
                    </a:lnTo>
                    <a:lnTo>
                      <a:pt x="31" y="102"/>
                    </a:lnTo>
                    <a:lnTo>
                      <a:pt x="31" y="103"/>
                    </a:lnTo>
                    <a:lnTo>
                      <a:pt x="31" y="104"/>
                    </a:lnTo>
                    <a:lnTo>
                      <a:pt x="33" y="104"/>
                    </a:lnTo>
                    <a:lnTo>
                      <a:pt x="35" y="104"/>
                    </a:lnTo>
                    <a:lnTo>
                      <a:pt x="35" y="105"/>
                    </a:lnTo>
                    <a:lnTo>
                      <a:pt x="36" y="105"/>
                    </a:lnTo>
                    <a:lnTo>
                      <a:pt x="36" y="104"/>
                    </a:lnTo>
                    <a:lnTo>
                      <a:pt x="36" y="103"/>
                    </a:lnTo>
                    <a:lnTo>
                      <a:pt x="37" y="103"/>
                    </a:lnTo>
                    <a:lnTo>
                      <a:pt x="37" y="102"/>
                    </a:lnTo>
                    <a:lnTo>
                      <a:pt x="38" y="101"/>
                    </a:lnTo>
                    <a:lnTo>
                      <a:pt x="39" y="101"/>
                    </a:lnTo>
                    <a:lnTo>
                      <a:pt x="40" y="101"/>
                    </a:lnTo>
                    <a:lnTo>
                      <a:pt x="41" y="101"/>
                    </a:lnTo>
                    <a:lnTo>
                      <a:pt x="41" y="100"/>
                    </a:lnTo>
                    <a:lnTo>
                      <a:pt x="42" y="101"/>
                    </a:lnTo>
                    <a:lnTo>
                      <a:pt x="42" y="100"/>
                    </a:lnTo>
                    <a:lnTo>
                      <a:pt x="43" y="100"/>
                    </a:lnTo>
                    <a:lnTo>
                      <a:pt x="45" y="100"/>
                    </a:lnTo>
                    <a:lnTo>
                      <a:pt x="46" y="100"/>
                    </a:lnTo>
                    <a:lnTo>
                      <a:pt x="47" y="99"/>
                    </a:lnTo>
                    <a:lnTo>
                      <a:pt x="47" y="100"/>
                    </a:lnTo>
                    <a:lnTo>
                      <a:pt x="47" y="99"/>
                    </a:lnTo>
                    <a:lnTo>
                      <a:pt x="47" y="100"/>
                    </a:lnTo>
                    <a:lnTo>
                      <a:pt x="48" y="100"/>
                    </a:lnTo>
                    <a:lnTo>
                      <a:pt x="49" y="100"/>
                    </a:lnTo>
                    <a:lnTo>
                      <a:pt x="49" y="99"/>
                    </a:lnTo>
                    <a:lnTo>
                      <a:pt x="49" y="100"/>
                    </a:lnTo>
                    <a:lnTo>
                      <a:pt x="50" y="100"/>
                    </a:lnTo>
                    <a:lnTo>
                      <a:pt x="50" y="99"/>
                    </a:lnTo>
                    <a:lnTo>
                      <a:pt x="50" y="100"/>
                    </a:lnTo>
                    <a:lnTo>
                      <a:pt x="51" y="100"/>
                    </a:lnTo>
                    <a:lnTo>
                      <a:pt x="51" y="99"/>
                    </a:lnTo>
                    <a:lnTo>
                      <a:pt x="52" y="99"/>
                    </a:lnTo>
                    <a:lnTo>
                      <a:pt x="53" y="99"/>
                    </a:lnTo>
                    <a:lnTo>
                      <a:pt x="54" y="99"/>
                    </a:lnTo>
                    <a:lnTo>
                      <a:pt x="56" y="99"/>
                    </a:lnTo>
                    <a:lnTo>
                      <a:pt x="58" y="99"/>
                    </a:lnTo>
                    <a:lnTo>
                      <a:pt x="59" y="98"/>
                    </a:lnTo>
                    <a:lnTo>
                      <a:pt x="60" y="99"/>
                    </a:lnTo>
                    <a:lnTo>
                      <a:pt x="61" y="99"/>
                    </a:lnTo>
                    <a:lnTo>
                      <a:pt x="62" y="100"/>
                    </a:lnTo>
                    <a:lnTo>
                      <a:pt x="63" y="101"/>
                    </a:lnTo>
                    <a:lnTo>
                      <a:pt x="64" y="101"/>
                    </a:lnTo>
                    <a:lnTo>
                      <a:pt x="65" y="101"/>
                    </a:lnTo>
                    <a:lnTo>
                      <a:pt x="65" y="100"/>
                    </a:lnTo>
                    <a:lnTo>
                      <a:pt x="66" y="100"/>
                    </a:lnTo>
                    <a:lnTo>
                      <a:pt x="66" y="99"/>
                    </a:lnTo>
                    <a:lnTo>
                      <a:pt x="66" y="93"/>
                    </a:lnTo>
                    <a:lnTo>
                      <a:pt x="67" y="92"/>
                    </a:lnTo>
                    <a:lnTo>
                      <a:pt x="67" y="86"/>
                    </a:lnTo>
                    <a:lnTo>
                      <a:pt x="68" y="86"/>
                    </a:lnTo>
                    <a:lnTo>
                      <a:pt x="68" y="87"/>
                    </a:lnTo>
                    <a:lnTo>
                      <a:pt x="69" y="87"/>
                    </a:lnTo>
                    <a:lnTo>
                      <a:pt x="71" y="88"/>
                    </a:lnTo>
                    <a:lnTo>
                      <a:pt x="71" y="89"/>
                    </a:lnTo>
                    <a:lnTo>
                      <a:pt x="72" y="89"/>
                    </a:lnTo>
                    <a:lnTo>
                      <a:pt x="71" y="89"/>
                    </a:lnTo>
                    <a:lnTo>
                      <a:pt x="71" y="90"/>
                    </a:lnTo>
                    <a:lnTo>
                      <a:pt x="72" y="90"/>
                    </a:lnTo>
                    <a:lnTo>
                      <a:pt x="72" y="92"/>
                    </a:lnTo>
                    <a:lnTo>
                      <a:pt x="74" y="94"/>
                    </a:lnTo>
                    <a:lnTo>
                      <a:pt x="74" y="93"/>
                    </a:lnTo>
                    <a:lnTo>
                      <a:pt x="76" y="93"/>
                    </a:lnTo>
                    <a:lnTo>
                      <a:pt x="76" y="92"/>
                    </a:lnTo>
                    <a:lnTo>
                      <a:pt x="77" y="91"/>
                    </a:lnTo>
                    <a:lnTo>
                      <a:pt x="77" y="92"/>
                    </a:lnTo>
                    <a:lnTo>
                      <a:pt x="76" y="94"/>
                    </a:lnTo>
                    <a:lnTo>
                      <a:pt x="75" y="94"/>
                    </a:lnTo>
                    <a:lnTo>
                      <a:pt x="74" y="94"/>
                    </a:lnTo>
                    <a:lnTo>
                      <a:pt x="75" y="95"/>
                    </a:lnTo>
                    <a:lnTo>
                      <a:pt x="76" y="97"/>
                    </a:lnTo>
                    <a:lnTo>
                      <a:pt x="77" y="97"/>
                    </a:lnTo>
                    <a:lnTo>
                      <a:pt x="76" y="97"/>
                    </a:lnTo>
                    <a:lnTo>
                      <a:pt x="78" y="94"/>
                    </a:lnTo>
                    <a:lnTo>
                      <a:pt x="78" y="93"/>
                    </a:lnTo>
                    <a:lnTo>
                      <a:pt x="78" y="95"/>
                    </a:lnTo>
                    <a:lnTo>
                      <a:pt x="78" y="97"/>
                    </a:lnTo>
                    <a:lnTo>
                      <a:pt x="81" y="95"/>
                    </a:lnTo>
                    <a:lnTo>
                      <a:pt x="81" y="94"/>
                    </a:lnTo>
                    <a:lnTo>
                      <a:pt x="82" y="94"/>
                    </a:lnTo>
                    <a:lnTo>
                      <a:pt x="84" y="94"/>
                    </a:lnTo>
                    <a:lnTo>
                      <a:pt x="85" y="93"/>
                    </a:lnTo>
                    <a:lnTo>
                      <a:pt x="86" y="93"/>
                    </a:lnTo>
                    <a:lnTo>
                      <a:pt x="87" y="92"/>
                    </a:lnTo>
                    <a:lnTo>
                      <a:pt x="90" y="91"/>
                    </a:lnTo>
                    <a:lnTo>
                      <a:pt x="95" y="88"/>
                    </a:lnTo>
                    <a:lnTo>
                      <a:pt x="98" y="87"/>
                    </a:lnTo>
                    <a:lnTo>
                      <a:pt x="99" y="86"/>
                    </a:lnTo>
                    <a:lnTo>
                      <a:pt x="100" y="86"/>
                    </a:lnTo>
                    <a:lnTo>
                      <a:pt x="100" y="85"/>
                    </a:lnTo>
                    <a:lnTo>
                      <a:pt x="101" y="85"/>
                    </a:lnTo>
                    <a:lnTo>
                      <a:pt x="102" y="83"/>
                    </a:lnTo>
                    <a:lnTo>
                      <a:pt x="104" y="82"/>
                    </a:lnTo>
                    <a:lnTo>
                      <a:pt x="106" y="81"/>
                    </a:lnTo>
                    <a:lnTo>
                      <a:pt x="110" y="79"/>
                    </a:lnTo>
                    <a:lnTo>
                      <a:pt x="112" y="77"/>
                    </a:lnTo>
                    <a:lnTo>
                      <a:pt x="113" y="76"/>
                    </a:lnTo>
                    <a:lnTo>
                      <a:pt x="114" y="75"/>
                    </a:lnTo>
                    <a:lnTo>
                      <a:pt x="114" y="74"/>
                    </a:lnTo>
                    <a:lnTo>
                      <a:pt x="115" y="73"/>
                    </a:lnTo>
                    <a:lnTo>
                      <a:pt x="116" y="73"/>
                    </a:lnTo>
                    <a:lnTo>
                      <a:pt x="119" y="70"/>
                    </a:lnTo>
                    <a:lnTo>
                      <a:pt x="119" y="69"/>
                    </a:lnTo>
                    <a:lnTo>
                      <a:pt x="120" y="69"/>
                    </a:lnTo>
                    <a:lnTo>
                      <a:pt x="121" y="68"/>
                    </a:lnTo>
                    <a:lnTo>
                      <a:pt x="123" y="67"/>
                    </a:lnTo>
                    <a:lnTo>
                      <a:pt x="123" y="66"/>
                    </a:lnTo>
                    <a:lnTo>
                      <a:pt x="124" y="66"/>
                    </a:lnTo>
                    <a:lnTo>
                      <a:pt x="125" y="65"/>
                    </a:lnTo>
                    <a:lnTo>
                      <a:pt x="125" y="64"/>
                    </a:lnTo>
                    <a:lnTo>
                      <a:pt x="127" y="63"/>
                    </a:lnTo>
                    <a:lnTo>
                      <a:pt x="130" y="60"/>
                    </a:lnTo>
                    <a:lnTo>
                      <a:pt x="132" y="56"/>
                    </a:lnTo>
                    <a:lnTo>
                      <a:pt x="133" y="55"/>
                    </a:lnTo>
                    <a:lnTo>
                      <a:pt x="136" y="52"/>
                    </a:lnTo>
                    <a:lnTo>
                      <a:pt x="139" y="49"/>
                    </a:lnTo>
                    <a:lnTo>
                      <a:pt x="158" y="21"/>
                    </a:lnTo>
                    <a:lnTo>
                      <a:pt x="158" y="20"/>
                    </a:lnTo>
                    <a:lnTo>
                      <a:pt x="159" y="18"/>
                    </a:lnTo>
                    <a:lnTo>
                      <a:pt x="159" y="20"/>
                    </a:lnTo>
                    <a:lnTo>
                      <a:pt x="160" y="20"/>
                    </a:lnTo>
                    <a:lnTo>
                      <a:pt x="162" y="20"/>
                    </a:lnTo>
                    <a:lnTo>
                      <a:pt x="162" y="18"/>
                    </a:lnTo>
                    <a:lnTo>
                      <a:pt x="163" y="18"/>
                    </a:lnTo>
                    <a:lnTo>
                      <a:pt x="163" y="20"/>
                    </a:lnTo>
                    <a:lnTo>
                      <a:pt x="164" y="20"/>
                    </a:lnTo>
                    <a:lnTo>
                      <a:pt x="165" y="20"/>
                    </a:lnTo>
                    <a:lnTo>
                      <a:pt x="166" y="20"/>
                    </a:lnTo>
                    <a:lnTo>
                      <a:pt x="166" y="21"/>
                    </a:lnTo>
                    <a:lnTo>
                      <a:pt x="165" y="21"/>
                    </a:lnTo>
                    <a:lnTo>
                      <a:pt x="163" y="21"/>
                    </a:lnTo>
                    <a:lnTo>
                      <a:pt x="163" y="22"/>
                    </a:lnTo>
                    <a:lnTo>
                      <a:pt x="162" y="22"/>
                    </a:lnTo>
                    <a:lnTo>
                      <a:pt x="162" y="23"/>
                    </a:lnTo>
                    <a:lnTo>
                      <a:pt x="162" y="24"/>
                    </a:lnTo>
                    <a:lnTo>
                      <a:pt x="163" y="25"/>
                    </a:lnTo>
                    <a:lnTo>
                      <a:pt x="164" y="25"/>
                    </a:lnTo>
                    <a:lnTo>
                      <a:pt x="164" y="26"/>
                    </a:lnTo>
                    <a:lnTo>
                      <a:pt x="163" y="26"/>
                    </a:lnTo>
                    <a:lnTo>
                      <a:pt x="163" y="27"/>
                    </a:lnTo>
                    <a:lnTo>
                      <a:pt x="164" y="26"/>
                    </a:lnTo>
                    <a:lnTo>
                      <a:pt x="165" y="26"/>
                    </a:lnTo>
                    <a:lnTo>
                      <a:pt x="165" y="27"/>
                    </a:lnTo>
                    <a:lnTo>
                      <a:pt x="165" y="28"/>
                    </a:lnTo>
                    <a:lnTo>
                      <a:pt x="166" y="30"/>
                    </a:lnTo>
                    <a:lnTo>
                      <a:pt x="167" y="30"/>
                    </a:lnTo>
                    <a:lnTo>
                      <a:pt x="167" y="29"/>
                    </a:lnTo>
                    <a:lnTo>
                      <a:pt x="167" y="28"/>
                    </a:lnTo>
                    <a:lnTo>
                      <a:pt x="166" y="27"/>
                    </a:lnTo>
                    <a:lnTo>
                      <a:pt x="165" y="27"/>
                    </a:lnTo>
                    <a:lnTo>
                      <a:pt x="165" y="26"/>
                    </a:lnTo>
                    <a:lnTo>
                      <a:pt x="165" y="25"/>
                    </a:lnTo>
                    <a:lnTo>
                      <a:pt x="165" y="24"/>
                    </a:lnTo>
                    <a:lnTo>
                      <a:pt x="166" y="24"/>
                    </a:lnTo>
                    <a:lnTo>
                      <a:pt x="166" y="23"/>
                    </a:lnTo>
                    <a:lnTo>
                      <a:pt x="167" y="23"/>
                    </a:lnTo>
                    <a:lnTo>
                      <a:pt x="168" y="22"/>
                    </a:lnTo>
                    <a:lnTo>
                      <a:pt x="167" y="22"/>
                    </a:lnTo>
                    <a:lnTo>
                      <a:pt x="167" y="21"/>
                    </a:lnTo>
                    <a:lnTo>
                      <a:pt x="167" y="20"/>
                    </a:lnTo>
                    <a:lnTo>
                      <a:pt x="168" y="20"/>
                    </a:lnTo>
                    <a:lnTo>
                      <a:pt x="168" y="18"/>
                    </a:lnTo>
                    <a:lnTo>
                      <a:pt x="168" y="17"/>
                    </a:lnTo>
                    <a:lnTo>
                      <a:pt x="168" y="18"/>
                    </a:lnTo>
                    <a:lnTo>
                      <a:pt x="167" y="18"/>
                    </a:lnTo>
                    <a:lnTo>
                      <a:pt x="167" y="17"/>
                    </a:lnTo>
                    <a:lnTo>
                      <a:pt x="168" y="17"/>
                    </a:lnTo>
                    <a:lnTo>
                      <a:pt x="169" y="16"/>
                    </a:lnTo>
                    <a:lnTo>
                      <a:pt x="169" y="15"/>
                    </a:lnTo>
                    <a:lnTo>
                      <a:pt x="170" y="15"/>
                    </a:lnTo>
                    <a:lnTo>
                      <a:pt x="171" y="15"/>
                    </a:lnTo>
                    <a:lnTo>
                      <a:pt x="172" y="15"/>
                    </a:lnTo>
                    <a:lnTo>
                      <a:pt x="172" y="14"/>
                    </a:lnTo>
                    <a:lnTo>
                      <a:pt x="173" y="14"/>
                    </a:lnTo>
                    <a:lnTo>
                      <a:pt x="175" y="13"/>
                    </a:lnTo>
                    <a:lnTo>
                      <a:pt x="175" y="14"/>
                    </a:lnTo>
                    <a:lnTo>
                      <a:pt x="175" y="15"/>
                    </a:lnTo>
                    <a:lnTo>
                      <a:pt x="175" y="16"/>
                    </a:lnTo>
                    <a:lnTo>
                      <a:pt x="175" y="17"/>
                    </a:lnTo>
                    <a:lnTo>
                      <a:pt x="175" y="18"/>
                    </a:lnTo>
                    <a:lnTo>
                      <a:pt x="173" y="18"/>
                    </a:lnTo>
                    <a:lnTo>
                      <a:pt x="173" y="20"/>
                    </a:lnTo>
                    <a:lnTo>
                      <a:pt x="173" y="21"/>
                    </a:lnTo>
                    <a:lnTo>
                      <a:pt x="173" y="20"/>
                    </a:lnTo>
                    <a:lnTo>
                      <a:pt x="173" y="21"/>
                    </a:lnTo>
                    <a:lnTo>
                      <a:pt x="173" y="22"/>
                    </a:lnTo>
                    <a:lnTo>
                      <a:pt x="173" y="23"/>
                    </a:lnTo>
                    <a:lnTo>
                      <a:pt x="172" y="23"/>
                    </a:lnTo>
                    <a:lnTo>
                      <a:pt x="172" y="22"/>
                    </a:lnTo>
                    <a:lnTo>
                      <a:pt x="171" y="22"/>
                    </a:lnTo>
                    <a:lnTo>
                      <a:pt x="170" y="23"/>
                    </a:lnTo>
                    <a:lnTo>
                      <a:pt x="171" y="23"/>
                    </a:lnTo>
                    <a:lnTo>
                      <a:pt x="171" y="24"/>
                    </a:lnTo>
                    <a:lnTo>
                      <a:pt x="171" y="25"/>
                    </a:lnTo>
                    <a:lnTo>
                      <a:pt x="171" y="26"/>
                    </a:lnTo>
                    <a:lnTo>
                      <a:pt x="171" y="27"/>
                    </a:lnTo>
                    <a:lnTo>
                      <a:pt x="171" y="28"/>
                    </a:lnTo>
                    <a:lnTo>
                      <a:pt x="171" y="29"/>
                    </a:lnTo>
                    <a:lnTo>
                      <a:pt x="172" y="30"/>
                    </a:lnTo>
                    <a:lnTo>
                      <a:pt x="172" y="31"/>
                    </a:lnTo>
                    <a:lnTo>
                      <a:pt x="173" y="33"/>
                    </a:lnTo>
                    <a:lnTo>
                      <a:pt x="173" y="34"/>
                    </a:lnTo>
                    <a:lnTo>
                      <a:pt x="175" y="34"/>
                    </a:lnTo>
                    <a:lnTo>
                      <a:pt x="175" y="35"/>
                    </a:lnTo>
                    <a:lnTo>
                      <a:pt x="175" y="36"/>
                    </a:lnTo>
                    <a:lnTo>
                      <a:pt x="175" y="37"/>
                    </a:lnTo>
                    <a:lnTo>
                      <a:pt x="176" y="37"/>
                    </a:lnTo>
                    <a:lnTo>
                      <a:pt x="176" y="38"/>
                    </a:lnTo>
                    <a:lnTo>
                      <a:pt x="176" y="39"/>
                    </a:lnTo>
                    <a:lnTo>
                      <a:pt x="177" y="39"/>
                    </a:lnTo>
                    <a:lnTo>
                      <a:pt x="177" y="40"/>
                    </a:lnTo>
                    <a:lnTo>
                      <a:pt x="177" y="39"/>
                    </a:lnTo>
                    <a:lnTo>
                      <a:pt x="177" y="40"/>
                    </a:lnTo>
                    <a:lnTo>
                      <a:pt x="176" y="40"/>
                    </a:lnTo>
                    <a:lnTo>
                      <a:pt x="176" y="41"/>
                    </a:lnTo>
                    <a:lnTo>
                      <a:pt x="177" y="41"/>
                    </a:lnTo>
                    <a:lnTo>
                      <a:pt x="178" y="41"/>
                    </a:lnTo>
                    <a:lnTo>
                      <a:pt x="178" y="42"/>
                    </a:lnTo>
                    <a:lnTo>
                      <a:pt x="179" y="42"/>
                    </a:lnTo>
                    <a:lnTo>
                      <a:pt x="179" y="43"/>
                    </a:lnTo>
                    <a:lnTo>
                      <a:pt x="178" y="43"/>
                    </a:lnTo>
                    <a:lnTo>
                      <a:pt x="179" y="43"/>
                    </a:lnTo>
                    <a:lnTo>
                      <a:pt x="179" y="44"/>
                    </a:lnTo>
                    <a:lnTo>
                      <a:pt x="179" y="46"/>
                    </a:lnTo>
                    <a:lnTo>
                      <a:pt x="180" y="46"/>
                    </a:lnTo>
                    <a:lnTo>
                      <a:pt x="180" y="47"/>
                    </a:lnTo>
                    <a:lnTo>
                      <a:pt x="179" y="47"/>
                    </a:lnTo>
                    <a:lnTo>
                      <a:pt x="179" y="46"/>
                    </a:lnTo>
                    <a:lnTo>
                      <a:pt x="178" y="46"/>
                    </a:lnTo>
                    <a:lnTo>
                      <a:pt x="178" y="47"/>
                    </a:lnTo>
                    <a:lnTo>
                      <a:pt x="177" y="47"/>
                    </a:lnTo>
                    <a:lnTo>
                      <a:pt x="177" y="48"/>
                    </a:lnTo>
                    <a:lnTo>
                      <a:pt x="176" y="48"/>
                    </a:lnTo>
                    <a:lnTo>
                      <a:pt x="175" y="48"/>
                    </a:lnTo>
                    <a:lnTo>
                      <a:pt x="176" y="48"/>
                    </a:lnTo>
                    <a:lnTo>
                      <a:pt x="176" y="49"/>
                    </a:lnTo>
                    <a:lnTo>
                      <a:pt x="177" y="50"/>
                    </a:lnTo>
                    <a:lnTo>
                      <a:pt x="178" y="50"/>
                    </a:lnTo>
                    <a:lnTo>
                      <a:pt x="179" y="50"/>
                    </a:lnTo>
                    <a:lnTo>
                      <a:pt x="179" y="49"/>
                    </a:lnTo>
                    <a:lnTo>
                      <a:pt x="180" y="49"/>
                    </a:lnTo>
                    <a:lnTo>
                      <a:pt x="180" y="50"/>
                    </a:lnTo>
                    <a:lnTo>
                      <a:pt x="179" y="51"/>
                    </a:lnTo>
                    <a:lnTo>
                      <a:pt x="178" y="52"/>
                    </a:lnTo>
                    <a:lnTo>
                      <a:pt x="179" y="52"/>
                    </a:lnTo>
                    <a:lnTo>
                      <a:pt x="180" y="52"/>
                    </a:lnTo>
                    <a:lnTo>
                      <a:pt x="181" y="52"/>
                    </a:lnTo>
                    <a:lnTo>
                      <a:pt x="182" y="52"/>
                    </a:lnTo>
                    <a:lnTo>
                      <a:pt x="182" y="51"/>
                    </a:lnTo>
                    <a:lnTo>
                      <a:pt x="181" y="51"/>
                    </a:lnTo>
                    <a:lnTo>
                      <a:pt x="180" y="52"/>
                    </a:lnTo>
                    <a:lnTo>
                      <a:pt x="180" y="51"/>
                    </a:lnTo>
                    <a:lnTo>
                      <a:pt x="179" y="51"/>
                    </a:lnTo>
                    <a:lnTo>
                      <a:pt x="179" y="50"/>
                    </a:lnTo>
                    <a:lnTo>
                      <a:pt x="180" y="50"/>
                    </a:lnTo>
                    <a:lnTo>
                      <a:pt x="181" y="50"/>
                    </a:lnTo>
                    <a:lnTo>
                      <a:pt x="182" y="50"/>
                    </a:lnTo>
                    <a:lnTo>
                      <a:pt x="182" y="51"/>
                    </a:lnTo>
                    <a:lnTo>
                      <a:pt x="183" y="51"/>
                    </a:lnTo>
                    <a:lnTo>
                      <a:pt x="183" y="50"/>
                    </a:lnTo>
                    <a:lnTo>
                      <a:pt x="184" y="51"/>
                    </a:lnTo>
                    <a:lnTo>
                      <a:pt x="185" y="52"/>
                    </a:lnTo>
                    <a:lnTo>
                      <a:pt x="184" y="52"/>
                    </a:lnTo>
                    <a:lnTo>
                      <a:pt x="184" y="53"/>
                    </a:lnTo>
                    <a:lnTo>
                      <a:pt x="184" y="54"/>
                    </a:lnTo>
                    <a:lnTo>
                      <a:pt x="185" y="53"/>
                    </a:lnTo>
                    <a:lnTo>
                      <a:pt x="185" y="54"/>
                    </a:lnTo>
                    <a:lnTo>
                      <a:pt x="184" y="54"/>
                    </a:lnTo>
                    <a:lnTo>
                      <a:pt x="185" y="54"/>
                    </a:lnTo>
                    <a:lnTo>
                      <a:pt x="187" y="54"/>
                    </a:lnTo>
                    <a:lnTo>
                      <a:pt x="187" y="53"/>
                    </a:lnTo>
                    <a:lnTo>
                      <a:pt x="187" y="54"/>
                    </a:lnTo>
                    <a:lnTo>
                      <a:pt x="188" y="55"/>
                    </a:lnTo>
                    <a:lnTo>
                      <a:pt x="188" y="56"/>
                    </a:lnTo>
                    <a:lnTo>
                      <a:pt x="187" y="56"/>
                    </a:lnTo>
                    <a:lnTo>
                      <a:pt x="187" y="55"/>
                    </a:lnTo>
                    <a:lnTo>
                      <a:pt x="187" y="56"/>
                    </a:lnTo>
                    <a:lnTo>
                      <a:pt x="188" y="56"/>
                    </a:lnTo>
                    <a:lnTo>
                      <a:pt x="188" y="55"/>
                    </a:lnTo>
                    <a:lnTo>
                      <a:pt x="189" y="55"/>
                    </a:lnTo>
                    <a:lnTo>
                      <a:pt x="190" y="55"/>
                    </a:lnTo>
                    <a:lnTo>
                      <a:pt x="191" y="55"/>
                    </a:lnTo>
                    <a:lnTo>
                      <a:pt x="191" y="56"/>
                    </a:lnTo>
                    <a:lnTo>
                      <a:pt x="191" y="55"/>
                    </a:lnTo>
                    <a:lnTo>
                      <a:pt x="192" y="56"/>
                    </a:lnTo>
                    <a:lnTo>
                      <a:pt x="192" y="55"/>
                    </a:lnTo>
                    <a:lnTo>
                      <a:pt x="193" y="55"/>
                    </a:lnTo>
                    <a:lnTo>
                      <a:pt x="193" y="56"/>
                    </a:lnTo>
                    <a:lnTo>
                      <a:pt x="194" y="56"/>
                    </a:lnTo>
                    <a:lnTo>
                      <a:pt x="195" y="55"/>
                    </a:lnTo>
                    <a:lnTo>
                      <a:pt x="194" y="55"/>
                    </a:lnTo>
                    <a:lnTo>
                      <a:pt x="195" y="55"/>
                    </a:lnTo>
                    <a:lnTo>
                      <a:pt x="195" y="54"/>
                    </a:lnTo>
                    <a:lnTo>
                      <a:pt x="195" y="53"/>
                    </a:lnTo>
                    <a:lnTo>
                      <a:pt x="196" y="53"/>
                    </a:lnTo>
                    <a:lnTo>
                      <a:pt x="196" y="54"/>
                    </a:lnTo>
                    <a:lnTo>
                      <a:pt x="197" y="55"/>
                    </a:lnTo>
                    <a:lnTo>
                      <a:pt x="198" y="56"/>
                    </a:lnTo>
                    <a:lnTo>
                      <a:pt x="198" y="57"/>
                    </a:lnTo>
                    <a:lnTo>
                      <a:pt x="201" y="57"/>
                    </a:lnTo>
                    <a:lnTo>
                      <a:pt x="202" y="57"/>
                    </a:lnTo>
                    <a:lnTo>
                      <a:pt x="204" y="57"/>
                    </a:lnTo>
                    <a:lnTo>
                      <a:pt x="206" y="57"/>
                    </a:lnTo>
                    <a:lnTo>
                      <a:pt x="209" y="57"/>
                    </a:lnTo>
                    <a:lnTo>
                      <a:pt x="210" y="57"/>
                    </a:lnTo>
                    <a:lnTo>
                      <a:pt x="209" y="59"/>
                    </a:lnTo>
                    <a:lnTo>
                      <a:pt x="208" y="59"/>
                    </a:lnTo>
                    <a:lnTo>
                      <a:pt x="207" y="60"/>
                    </a:lnTo>
                    <a:lnTo>
                      <a:pt x="208" y="61"/>
                    </a:lnTo>
                    <a:lnTo>
                      <a:pt x="208" y="62"/>
                    </a:lnTo>
                    <a:lnTo>
                      <a:pt x="209" y="62"/>
                    </a:lnTo>
                    <a:lnTo>
                      <a:pt x="210" y="62"/>
                    </a:lnTo>
                    <a:lnTo>
                      <a:pt x="211" y="61"/>
                    </a:lnTo>
                    <a:lnTo>
                      <a:pt x="211" y="60"/>
                    </a:lnTo>
                    <a:lnTo>
                      <a:pt x="211" y="59"/>
                    </a:lnTo>
                    <a:lnTo>
                      <a:pt x="211" y="57"/>
                    </a:lnTo>
                    <a:lnTo>
                      <a:pt x="213" y="59"/>
                    </a:lnTo>
                    <a:lnTo>
                      <a:pt x="215" y="59"/>
                    </a:lnTo>
                    <a:lnTo>
                      <a:pt x="215" y="60"/>
                    </a:lnTo>
                    <a:lnTo>
                      <a:pt x="214" y="61"/>
                    </a:lnTo>
                    <a:lnTo>
                      <a:pt x="213" y="63"/>
                    </a:lnTo>
                    <a:lnTo>
                      <a:pt x="211" y="65"/>
                    </a:lnTo>
                    <a:lnTo>
                      <a:pt x="210" y="68"/>
                    </a:lnTo>
                    <a:lnTo>
                      <a:pt x="209" y="69"/>
                    </a:lnTo>
                    <a:lnTo>
                      <a:pt x="208" y="69"/>
                    </a:lnTo>
                    <a:lnTo>
                      <a:pt x="207" y="70"/>
                    </a:lnTo>
                    <a:lnTo>
                      <a:pt x="205" y="70"/>
                    </a:lnTo>
                    <a:lnTo>
                      <a:pt x="204" y="70"/>
                    </a:lnTo>
                    <a:lnTo>
                      <a:pt x="204" y="72"/>
                    </a:lnTo>
                    <a:lnTo>
                      <a:pt x="203" y="73"/>
                    </a:lnTo>
                    <a:lnTo>
                      <a:pt x="205" y="73"/>
                    </a:lnTo>
                    <a:lnTo>
                      <a:pt x="206" y="73"/>
                    </a:lnTo>
                    <a:lnTo>
                      <a:pt x="207" y="73"/>
                    </a:lnTo>
                    <a:lnTo>
                      <a:pt x="208" y="72"/>
                    </a:lnTo>
                    <a:lnTo>
                      <a:pt x="209" y="72"/>
                    </a:lnTo>
                    <a:lnTo>
                      <a:pt x="210" y="70"/>
                    </a:lnTo>
                    <a:lnTo>
                      <a:pt x="211" y="68"/>
                    </a:lnTo>
                    <a:lnTo>
                      <a:pt x="213" y="67"/>
                    </a:lnTo>
                    <a:lnTo>
                      <a:pt x="213" y="66"/>
                    </a:lnTo>
                    <a:lnTo>
                      <a:pt x="214" y="64"/>
                    </a:lnTo>
                    <a:lnTo>
                      <a:pt x="214" y="63"/>
                    </a:lnTo>
                    <a:lnTo>
                      <a:pt x="216" y="62"/>
                    </a:lnTo>
                    <a:lnTo>
                      <a:pt x="216" y="61"/>
                    </a:lnTo>
                    <a:lnTo>
                      <a:pt x="216" y="60"/>
                    </a:lnTo>
                    <a:lnTo>
                      <a:pt x="217" y="60"/>
                    </a:lnTo>
                    <a:lnTo>
                      <a:pt x="216" y="59"/>
                    </a:lnTo>
                    <a:lnTo>
                      <a:pt x="216" y="57"/>
                    </a:lnTo>
                    <a:lnTo>
                      <a:pt x="214" y="55"/>
                    </a:lnTo>
                    <a:lnTo>
                      <a:pt x="211" y="55"/>
                    </a:lnTo>
                    <a:lnTo>
                      <a:pt x="210" y="55"/>
                    </a:lnTo>
                    <a:lnTo>
                      <a:pt x="207" y="55"/>
                    </a:lnTo>
                    <a:lnTo>
                      <a:pt x="204" y="54"/>
                    </a:lnTo>
                    <a:lnTo>
                      <a:pt x="203" y="54"/>
                    </a:lnTo>
                    <a:lnTo>
                      <a:pt x="201" y="54"/>
                    </a:lnTo>
                    <a:lnTo>
                      <a:pt x="201" y="53"/>
                    </a:lnTo>
                    <a:lnTo>
                      <a:pt x="203" y="53"/>
                    </a:lnTo>
                    <a:lnTo>
                      <a:pt x="204" y="53"/>
                    </a:lnTo>
                    <a:lnTo>
                      <a:pt x="205" y="53"/>
                    </a:lnTo>
                    <a:lnTo>
                      <a:pt x="206" y="53"/>
                    </a:lnTo>
                    <a:lnTo>
                      <a:pt x="206" y="52"/>
                    </a:lnTo>
                    <a:lnTo>
                      <a:pt x="207" y="52"/>
                    </a:lnTo>
                    <a:lnTo>
                      <a:pt x="208" y="52"/>
                    </a:lnTo>
                    <a:lnTo>
                      <a:pt x="209" y="51"/>
                    </a:lnTo>
                    <a:lnTo>
                      <a:pt x="210" y="51"/>
                    </a:lnTo>
                    <a:lnTo>
                      <a:pt x="211" y="50"/>
                    </a:lnTo>
                    <a:lnTo>
                      <a:pt x="213" y="50"/>
                    </a:lnTo>
                    <a:lnTo>
                      <a:pt x="214" y="50"/>
                    </a:lnTo>
                    <a:lnTo>
                      <a:pt x="214" y="49"/>
                    </a:lnTo>
                    <a:lnTo>
                      <a:pt x="215" y="49"/>
                    </a:lnTo>
                    <a:lnTo>
                      <a:pt x="214" y="49"/>
                    </a:lnTo>
                    <a:lnTo>
                      <a:pt x="215" y="49"/>
                    </a:lnTo>
                    <a:lnTo>
                      <a:pt x="215" y="48"/>
                    </a:lnTo>
                    <a:lnTo>
                      <a:pt x="216" y="48"/>
                    </a:lnTo>
                    <a:lnTo>
                      <a:pt x="216" y="47"/>
                    </a:lnTo>
                    <a:lnTo>
                      <a:pt x="217" y="47"/>
                    </a:lnTo>
                    <a:lnTo>
                      <a:pt x="216" y="47"/>
                    </a:lnTo>
                    <a:lnTo>
                      <a:pt x="216" y="46"/>
                    </a:lnTo>
                    <a:lnTo>
                      <a:pt x="216" y="44"/>
                    </a:lnTo>
                    <a:lnTo>
                      <a:pt x="216" y="43"/>
                    </a:lnTo>
                    <a:lnTo>
                      <a:pt x="217" y="43"/>
                    </a:lnTo>
                    <a:lnTo>
                      <a:pt x="217" y="42"/>
                    </a:lnTo>
                    <a:lnTo>
                      <a:pt x="218" y="42"/>
                    </a:lnTo>
                    <a:lnTo>
                      <a:pt x="218" y="41"/>
                    </a:lnTo>
                    <a:lnTo>
                      <a:pt x="219" y="41"/>
                    </a:lnTo>
                    <a:lnTo>
                      <a:pt x="219" y="40"/>
                    </a:lnTo>
                    <a:lnTo>
                      <a:pt x="219" y="41"/>
                    </a:lnTo>
                    <a:lnTo>
                      <a:pt x="220" y="40"/>
                    </a:lnTo>
                    <a:lnTo>
                      <a:pt x="220" y="39"/>
                    </a:lnTo>
                    <a:lnTo>
                      <a:pt x="221" y="39"/>
                    </a:lnTo>
                    <a:lnTo>
                      <a:pt x="221" y="38"/>
                    </a:lnTo>
                    <a:lnTo>
                      <a:pt x="222" y="38"/>
                    </a:lnTo>
                    <a:lnTo>
                      <a:pt x="222" y="37"/>
                    </a:lnTo>
                    <a:lnTo>
                      <a:pt x="223" y="37"/>
                    </a:lnTo>
                    <a:lnTo>
                      <a:pt x="224" y="36"/>
                    </a:lnTo>
                    <a:lnTo>
                      <a:pt x="224" y="35"/>
                    </a:lnTo>
                    <a:lnTo>
                      <a:pt x="226" y="35"/>
                    </a:lnTo>
                    <a:lnTo>
                      <a:pt x="226" y="34"/>
                    </a:lnTo>
                    <a:lnTo>
                      <a:pt x="227" y="34"/>
                    </a:lnTo>
                    <a:lnTo>
                      <a:pt x="228" y="34"/>
                    </a:lnTo>
                    <a:lnTo>
                      <a:pt x="228" y="33"/>
                    </a:lnTo>
                    <a:lnTo>
                      <a:pt x="229" y="31"/>
                    </a:lnTo>
                    <a:lnTo>
                      <a:pt x="229" y="33"/>
                    </a:lnTo>
                    <a:lnTo>
                      <a:pt x="230" y="31"/>
                    </a:lnTo>
                    <a:lnTo>
                      <a:pt x="230" y="30"/>
                    </a:lnTo>
                    <a:lnTo>
                      <a:pt x="231" y="30"/>
                    </a:lnTo>
                    <a:lnTo>
                      <a:pt x="231" y="29"/>
                    </a:lnTo>
                    <a:lnTo>
                      <a:pt x="232" y="29"/>
                    </a:lnTo>
                    <a:lnTo>
                      <a:pt x="231" y="29"/>
                    </a:lnTo>
                    <a:lnTo>
                      <a:pt x="232" y="29"/>
                    </a:lnTo>
                    <a:lnTo>
                      <a:pt x="232" y="28"/>
                    </a:lnTo>
                    <a:lnTo>
                      <a:pt x="232" y="27"/>
                    </a:lnTo>
                    <a:lnTo>
                      <a:pt x="233" y="27"/>
                    </a:lnTo>
                    <a:lnTo>
                      <a:pt x="233" y="26"/>
                    </a:lnTo>
                    <a:lnTo>
                      <a:pt x="234" y="26"/>
                    </a:lnTo>
                    <a:lnTo>
                      <a:pt x="235" y="25"/>
                    </a:lnTo>
                    <a:lnTo>
                      <a:pt x="235" y="24"/>
                    </a:lnTo>
                    <a:lnTo>
                      <a:pt x="236" y="25"/>
                    </a:lnTo>
                    <a:lnTo>
                      <a:pt x="235" y="24"/>
                    </a:lnTo>
                    <a:lnTo>
                      <a:pt x="236" y="24"/>
                    </a:lnTo>
                    <a:lnTo>
                      <a:pt x="237" y="24"/>
                    </a:lnTo>
                    <a:lnTo>
                      <a:pt x="236" y="23"/>
                    </a:lnTo>
                    <a:lnTo>
                      <a:pt x="237" y="23"/>
                    </a:lnTo>
                    <a:lnTo>
                      <a:pt x="239" y="23"/>
                    </a:lnTo>
                    <a:lnTo>
                      <a:pt x="239" y="22"/>
                    </a:lnTo>
                    <a:lnTo>
                      <a:pt x="240" y="22"/>
                    </a:lnTo>
                    <a:lnTo>
                      <a:pt x="240" y="21"/>
                    </a:lnTo>
                    <a:lnTo>
                      <a:pt x="240" y="20"/>
                    </a:lnTo>
                    <a:lnTo>
                      <a:pt x="240" y="21"/>
                    </a:lnTo>
                    <a:lnTo>
                      <a:pt x="240" y="20"/>
                    </a:lnTo>
                    <a:lnTo>
                      <a:pt x="240" y="18"/>
                    </a:lnTo>
                    <a:lnTo>
                      <a:pt x="241" y="18"/>
                    </a:lnTo>
                    <a:lnTo>
                      <a:pt x="241" y="17"/>
                    </a:lnTo>
                    <a:lnTo>
                      <a:pt x="242" y="16"/>
                    </a:lnTo>
                    <a:lnTo>
                      <a:pt x="242" y="15"/>
                    </a:lnTo>
                    <a:lnTo>
                      <a:pt x="242" y="14"/>
                    </a:lnTo>
                    <a:lnTo>
                      <a:pt x="243" y="14"/>
                    </a:lnTo>
                    <a:lnTo>
                      <a:pt x="243" y="15"/>
                    </a:lnTo>
                    <a:lnTo>
                      <a:pt x="243" y="14"/>
                    </a:lnTo>
                    <a:lnTo>
                      <a:pt x="243" y="13"/>
                    </a:lnTo>
                    <a:lnTo>
                      <a:pt x="243" y="12"/>
                    </a:lnTo>
                    <a:lnTo>
                      <a:pt x="243" y="11"/>
                    </a:lnTo>
                    <a:lnTo>
                      <a:pt x="243" y="10"/>
                    </a:lnTo>
                    <a:lnTo>
                      <a:pt x="243" y="9"/>
                    </a:lnTo>
                    <a:lnTo>
                      <a:pt x="242" y="9"/>
                    </a:lnTo>
                    <a:lnTo>
                      <a:pt x="242" y="8"/>
                    </a:lnTo>
                    <a:lnTo>
                      <a:pt x="241" y="8"/>
                    </a:lnTo>
                    <a:lnTo>
                      <a:pt x="242" y="8"/>
                    </a:lnTo>
                    <a:lnTo>
                      <a:pt x="242" y="6"/>
                    </a:lnTo>
                    <a:lnTo>
                      <a:pt x="241" y="6"/>
                    </a:lnTo>
                    <a:lnTo>
                      <a:pt x="242" y="6"/>
                    </a:lnTo>
                    <a:lnTo>
                      <a:pt x="242" y="8"/>
                    </a:lnTo>
                    <a:lnTo>
                      <a:pt x="242" y="6"/>
                    </a:lnTo>
                    <a:lnTo>
                      <a:pt x="243" y="6"/>
                    </a:lnTo>
                    <a:lnTo>
                      <a:pt x="244" y="6"/>
                    </a:lnTo>
                    <a:lnTo>
                      <a:pt x="245" y="8"/>
                    </a:lnTo>
                    <a:lnTo>
                      <a:pt x="244" y="8"/>
                    </a:lnTo>
                    <a:lnTo>
                      <a:pt x="245" y="8"/>
                    </a:lnTo>
                    <a:lnTo>
                      <a:pt x="245" y="6"/>
                    </a:lnTo>
                    <a:lnTo>
                      <a:pt x="244" y="6"/>
                    </a:lnTo>
                    <a:lnTo>
                      <a:pt x="244" y="5"/>
                    </a:lnTo>
                    <a:lnTo>
                      <a:pt x="243" y="6"/>
                    </a:lnTo>
                    <a:lnTo>
                      <a:pt x="242" y="6"/>
                    </a:lnTo>
                    <a:lnTo>
                      <a:pt x="241" y="6"/>
                    </a:lnTo>
                    <a:lnTo>
                      <a:pt x="242" y="6"/>
                    </a:lnTo>
                    <a:lnTo>
                      <a:pt x="242" y="5"/>
                    </a:lnTo>
                    <a:lnTo>
                      <a:pt x="242" y="4"/>
                    </a:lnTo>
                    <a:lnTo>
                      <a:pt x="242" y="5"/>
                    </a:lnTo>
                    <a:lnTo>
                      <a:pt x="242" y="4"/>
                    </a:lnTo>
                    <a:lnTo>
                      <a:pt x="242" y="3"/>
                    </a:lnTo>
                    <a:lnTo>
                      <a:pt x="242" y="2"/>
                    </a:lnTo>
                    <a:lnTo>
                      <a:pt x="242" y="1"/>
                    </a:lnTo>
                    <a:lnTo>
                      <a:pt x="242" y="0"/>
                    </a:lnTo>
                    <a:lnTo>
                      <a:pt x="243" y="0"/>
                    </a:lnTo>
                    <a:lnTo>
                      <a:pt x="244" y="0"/>
                    </a:lnTo>
                    <a:lnTo>
                      <a:pt x="244" y="1"/>
                    </a:lnTo>
                    <a:lnTo>
                      <a:pt x="244" y="2"/>
                    </a:lnTo>
                    <a:lnTo>
                      <a:pt x="244" y="4"/>
                    </a:lnTo>
                    <a:lnTo>
                      <a:pt x="245" y="6"/>
                    </a:lnTo>
                    <a:lnTo>
                      <a:pt x="245" y="5"/>
                    </a:lnTo>
                    <a:lnTo>
                      <a:pt x="246" y="4"/>
                    </a:lnTo>
                    <a:lnTo>
                      <a:pt x="247" y="4"/>
                    </a:lnTo>
                    <a:lnTo>
                      <a:pt x="247" y="5"/>
                    </a:lnTo>
                    <a:lnTo>
                      <a:pt x="247" y="6"/>
                    </a:lnTo>
                    <a:lnTo>
                      <a:pt x="247" y="5"/>
                    </a:lnTo>
                    <a:lnTo>
                      <a:pt x="247" y="6"/>
                    </a:lnTo>
                    <a:lnTo>
                      <a:pt x="246" y="6"/>
                    </a:lnTo>
                    <a:lnTo>
                      <a:pt x="246" y="8"/>
                    </a:lnTo>
                    <a:lnTo>
                      <a:pt x="245" y="8"/>
                    </a:lnTo>
                    <a:lnTo>
                      <a:pt x="246" y="8"/>
                    </a:lnTo>
                    <a:lnTo>
                      <a:pt x="246" y="9"/>
                    </a:lnTo>
                    <a:lnTo>
                      <a:pt x="245" y="9"/>
                    </a:lnTo>
                    <a:lnTo>
                      <a:pt x="246" y="9"/>
                    </a:lnTo>
                    <a:lnTo>
                      <a:pt x="246" y="10"/>
                    </a:lnTo>
                    <a:lnTo>
                      <a:pt x="245" y="9"/>
                    </a:lnTo>
                    <a:lnTo>
                      <a:pt x="245" y="10"/>
                    </a:lnTo>
                    <a:lnTo>
                      <a:pt x="246" y="10"/>
                    </a:lnTo>
                    <a:lnTo>
                      <a:pt x="247" y="10"/>
                    </a:lnTo>
                    <a:lnTo>
                      <a:pt x="247" y="11"/>
                    </a:lnTo>
                    <a:lnTo>
                      <a:pt x="246" y="11"/>
                    </a:lnTo>
                    <a:lnTo>
                      <a:pt x="247" y="11"/>
                    </a:lnTo>
                    <a:lnTo>
                      <a:pt x="246" y="11"/>
                    </a:lnTo>
                    <a:lnTo>
                      <a:pt x="247" y="11"/>
                    </a:lnTo>
                    <a:lnTo>
                      <a:pt x="247" y="12"/>
                    </a:lnTo>
                    <a:lnTo>
                      <a:pt x="246" y="12"/>
                    </a:lnTo>
                    <a:lnTo>
                      <a:pt x="247" y="12"/>
                    </a:lnTo>
                    <a:lnTo>
                      <a:pt x="247" y="13"/>
                    </a:lnTo>
                    <a:lnTo>
                      <a:pt x="246" y="13"/>
                    </a:lnTo>
                    <a:lnTo>
                      <a:pt x="247" y="13"/>
                    </a:lnTo>
                    <a:lnTo>
                      <a:pt x="246" y="13"/>
                    </a:lnTo>
                    <a:lnTo>
                      <a:pt x="247" y="13"/>
                    </a:lnTo>
                    <a:lnTo>
                      <a:pt x="247" y="14"/>
                    </a:lnTo>
                    <a:lnTo>
                      <a:pt x="247" y="15"/>
                    </a:lnTo>
                    <a:lnTo>
                      <a:pt x="247" y="16"/>
                    </a:lnTo>
                    <a:lnTo>
                      <a:pt x="246" y="17"/>
                    </a:lnTo>
                    <a:lnTo>
                      <a:pt x="245" y="16"/>
                    </a:lnTo>
                    <a:lnTo>
                      <a:pt x="245" y="17"/>
                    </a:lnTo>
                    <a:lnTo>
                      <a:pt x="246" y="17"/>
                    </a:lnTo>
                    <a:lnTo>
                      <a:pt x="245" y="17"/>
                    </a:lnTo>
                    <a:lnTo>
                      <a:pt x="245" y="18"/>
                    </a:lnTo>
                    <a:lnTo>
                      <a:pt x="245" y="17"/>
                    </a:lnTo>
                    <a:lnTo>
                      <a:pt x="245" y="18"/>
                    </a:lnTo>
                    <a:lnTo>
                      <a:pt x="244" y="18"/>
                    </a:lnTo>
                    <a:lnTo>
                      <a:pt x="244" y="20"/>
                    </a:lnTo>
                    <a:lnTo>
                      <a:pt x="244" y="18"/>
                    </a:lnTo>
                    <a:lnTo>
                      <a:pt x="244" y="20"/>
                    </a:lnTo>
                    <a:lnTo>
                      <a:pt x="244" y="18"/>
                    </a:lnTo>
                    <a:lnTo>
                      <a:pt x="243" y="18"/>
                    </a:lnTo>
                    <a:lnTo>
                      <a:pt x="244" y="20"/>
                    </a:lnTo>
                    <a:lnTo>
                      <a:pt x="243" y="20"/>
                    </a:lnTo>
                    <a:lnTo>
                      <a:pt x="242" y="22"/>
                    </a:lnTo>
                    <a:lnTo>
                      <a:pt x="241" y="22"/>
                    </a:lnTo>
                    <a:lnTo>
                      <a:pt x="240" y="23"/>
                    </a:lnTo>
                    <a:lnTo>
                      <a:pt x="239" y="24"/>
                    </a:lnTo>
                    <a:lnTo>
                      <a:pt x="239" y="25"/>
                    </a:lnTo>
                    <a:lnTo>
                      <a:pt x="237" y="24"/>
                    </a:lnTo>
                    <a:lnTo>
                      <a:pt x="237" y="25"/>
                    </a:lnTo>
                    <a:lnTo>
                      <a:pt x="236" y="26"/>
                    </a:lnTo>
                    <a:lnTo>
                      <a:pt x="235" y="27"/>
                    </a:lnTo>
                    <a:lnTo>
                      <a:pt x="235" y="28"/>
                    </a:lnTo>
                    <a:lnTo>
                      <a:pt x="234" y="29"/>
                    </a:lnTo>
                    <a:lnTo>
                      <a:pt x="234" y="30"/>
                    </a:lnTo>
                    <a:lnTo>
                      <a:pt x="234" y="31"/>
                    </a:lnTo>
                    <a:lnTo>
                      <a:pt x="233" y="31"/>
                    </a:lnTo>
                    <a:lnTo>
                      <a:pt x="233" y="33"/>
                    </a:lnTo>
                    <a:lnTo>
                      <a:pt x="234" y="33"/>
                    </a:lnTo>
                    <a:lnTo>
                      <a:pt x="233" y="33"/>
                    </a:lnTo>
                    <a:lnTo>
                      <a:pt x="233" y="34"/>
                    </a:lnTo>
                    <a:lnTo>
                      <a:pt x="233" y="35"/>
                    </a:lnTo>
                    <a:lnTo>
                      <a:pt x="234" y="35"/>
                    </a:lnTo>
                    <a:lnTo>
                      <a:pt x="234" y="36"/>
                    </a:lnTo>
                    <a:lnTo>
                      <a:pt x="233" y="36"/>
                    </a:lnTo>
                    <a:lnTo>
                      <a:pt x="233" y="37"/>
                    </a:lnTo>
                    <a:lnTo>
                      <a:pt x="232" y="37"/>
                    </a:lnTo>
                    <a:lnTo>
                      <a:pt x="232" y="38"/>
                    </a:lnTo>
                    <a:lnTo>
                      <a:pt x="232" y="39"/>
                    </a:lnTo>
                    <a:lnTo>
                      <a:pt x="233" y="39"/>
                    </a:lnTo>
                    <a:lnTo>
                      <a:pt x="233" y="40"/>
                    </a:lnTo>
                    <a:lnTo>
                      <a:pt x="232" y="40"/>
                    </a:lnTo>
                    <a:lnTo>
                      <a:pt x="232" y="41"/>
                    </a:lnTo>
                    <a:lnTo>
                      <a:pt x="232" y="42"/>
                    </a:lnTo>
                    <a:lnTo>
                      <a:pt x="232" y="43"/>
                    </a:lnTo>
                    <a:lnTo>
                      <a:pt x="232" y="44"/>
                    </a:lnTo>
                    <a:lnTo>
                      <a:pt x="233" y="44"/>
                    </a:lnTo>
                    <a:lnTo>
                      <a:pt x="233" y="46"/>
                    </a:lnTo>
                    <a:lnTo>
                      <a:pt x="233" y="47"/>
                    </a:lnTo>
                    <a:lnTo>
                      <a:pt x="234" y="48"/>
                    </a:lnTo>
                    <a:lnTo>
                      <a:pt x="234" y="49"/>
                    </a:lnTo>
                    <a:lnTo>
                      <a:pt x="234" y="50"/>
                    </a:lnTo>
                    <a:lnTo>
                      <a:pt x="233" y="50"/>
                    </a:lnTo>
                    <a:lnTo>
                      <a:pt x="232" y="50"/>
                    </a:lnTo>
                    <a:lnTo>
                      <a:pt x="232" y="51"/>
                    </a:lnTo>
                    <a:lnTo>
                      <a:pt x="232" y="52"/>
                    </a:lnTo>
                    <a:lnTo>
                      <a:pt x="231" y="52"/>
                    </a:lnTo>
                    <a:lnTo>
                      <a:pt x="231" y="53"/>
                    </a:lnTo>
                    <a:lnTo>
                      <a:pt x="230" y="55"/>
                    </a:lnTo>
                    <a:lnTo>
                      <a:pt x="231" y="56"/>
                    </a:lnTo>
                    <a:lnTo>
                      <a:pt x="231" y="55"/>
                    </a:lnTo>
                    <a:lnTo>
                      <a:pt x="231" y="56"/>
                    </a:lnTo>
                    <a:lnTo>
                      <a:pt x="231" y="57"/>
                    </a:lnTo>
                    <a:lnTo>
                      <a:pt x="232" y="57"/>
                    </a:lnTo>
                    <a:lnTo>
                      <a:pt x="232" y="59"/>
                    </a:lnTo>
                    <a:lnTo>
                      <a:pt x="233" y="59"/>
                    </a:lnTo>
                    <a:lnTo>
                      <a:pt x="233" y="60"/>
                    </a:lnTo>
                    <a:lnTo>
                      <a:pt x="234" y="60"/>
                    </a:lnTo>
                    <a:lnTo>
                      <a:pt x="235" y="60"/>
                    </a:lnTo>
                    <a:lnTo>
                      <a:pt x="236" y="60"/>
                    </a:lnTo>
                    <a:lnTo>
                      <a:pt x="237" y="59"/>
                    </a:lnTo>
                    <a:lnTo>
                      <a:pt x="239" y="59"/>
                    </a:lnTo>
                    <a:lnTo>
                      <a:pt x="240" y="59"/>
                    </a:lnTo>
                    <a:lnTo>
                      <a:pt x="240" y="60"/>
                    </a:lnTo>
                    <a:lnTo>
                      <a:pt x="241" y="60"/>
                    </a:lnTo>
                    <a:lnTo>
                      <a:pt x="242" y="60"/>
                    </a:lnTo>
                    <a:lnTo>
                      <a:pt x="242" y="59"/>
                    </a:lnTo>
                    <a:lnTo>
                      <a:pt x="242" y="57"/>
                    </a:lnTo>
                    <a:lnTo>
                      <a:pt x="243" y="57"/>
                    </a:lnTo>
                    <a:lnTo>
                      <a:pt x="242" y="56"/>
                    </a:lnTo>
                    <a:lnTo>
                      <a:pt x="243" y="56"/>
                    </a:lnTo>
                    <a:lnTo>
                      <a:pt x="243" y="55"/>
                    </a:lnTo>
                    <a:lnTo>
                      <a:pt x="243" y="54"/>
                    </a:lnTo>
                    <a:lnTo>
                      <a:pt x="243" y="53"/>
                    </a:lnTo>
                    <a:lnTo>
                      <a:pt x="243" y="52"/>
                    </a:lnTo>
                    <a:lnTo>
                      <a:pt x="244" y="52"/>
                    </a:lnTo>
                    <a:lnTo>
                      <a:pt x="244" y="51"/>
                    </a:lnTo>
                    <a:lnTo>
                      <a:pt x="245" y="51"/>
                    </a:lnTo>
                    <a:lnTo>
                      <a:pt x="245" y="50"/>
                    </a:lnTo>
                    <a:lnTo>
                      <a:pt x="245" y="49"/>
                    </a:lnTo>
                    <a:lnTo>
                      <a:pt x="244" y="49"/>
                    </a:lnTo>
                    <a:lnTo>
                      <a:pt x="244" y="48"/>
                    </a:lnTo>
                    <a:lnTo>
                      <a:pt x="245" y="48"/>
                    </a:lnTo>
                    <a:lnTo>
                      <a:pt x="245" y="49"/>
                    </a:lnTo>
                    <a:lnTo>
                      <a:pt x="245" y="50"/>
                    </a:lnTo>
                    <a:lnTo>
                      <a:pt x="246" y="50"/>
                    </a:lnTo>
                    <a:lnTo>
                      <a:pt x="247" y="51"/>
                    </a:lnTo>
                    <a:lnTo>
                      <a:pt x="248" y="51"/>
                    </a:lnTo>
                    <a:lnTo>
                      <a:pt x="247" y="51"/>
                    </a:lnTo>
                    <a:lnTo>
                      <a:pt x="248" y="51"/>
                    </a:lnTo>
                    <a:lnTo>
                      <a:pt x="249" y="51"/>
                    </a:lnTo>
                    <a:lnTo>
                      <a:pt x="248" y="50"/>
                    </a:lnTo>
                    <a:lnTo>
                      <a:pt x="248" y="51"/>
                    </a:lnTo>
                    <a:lnTo>
                      <a:pt x="247" y="51"/>
                    </a:lnTo>
                    <a:lnTo>
                      <a:pt x="246" y="50"/>
                    </a:lnTo>
                    <a:lnTo>
                      <a:pt x="245" y="49"/>
                    </a:lnTo>
                    <a:lnTo>
                      <a:pt x="246" y="49"/>
                    </a:lnTo>
                    <a:lnTo>
                      <a:pt x="247" y="49"/>
                    </a:lnTo>
                    <a:lnTo>
                      <a:pt x="246" y="50"/>
                    </a:lnTo>
                    <a:lnTo>
                      <a:pt x="247" y="50"/>
                    </a:lnTo>
                    <a:lnTo>
                      <a:pt x="247" y="49"/>
                    </a:lnTo>
                    <a:lnTo>
                      <a:pt x="248" y="49"/>
                    </a:lnTo>
                    <a:lnTo>
                      <a:pt x="248" y="50"/>
                    </a:lnTo>
                    <a:lnTo>
                      <a:pt x="250" y="50"/>
                    </a:lnTo>
                    <a:lnTo>
                      <a:pt x="253" y="49"/>
                    </a:lnTo>
                    <a:lnTo>
                      <a:pt x="254" y="49"/>
                    </a:lnTo>
                    <a:lnTo>
                      <a:pt x="255" y="49"/>
                    </a:lnTo>
                    <a:lnTo>
                      <a:pt x="254" y="48"/>
                    </a:lnTo>
                    <a:lnTo>
                      <a:pt x="253" y="48"/>
                    </a:lnTo>
                    <a:lnTo>
                      <a:pt x="253" y="49"/>
                    </a:lnTo>
                    <a:lnTo>
                      <a:pt x="252" y="49"/>
                    </a:lnTo>
                    <a:lnTo>
                      <a:pt x="250" y="49"/>
                    </a:lnTo>
                    <a:lnTo>
                      <a:pt x="249" y="49"/>
                    </a:lnTo>
                    <a:lnTo>
                      <a:pt x="248" y="49"/>
                    </a:lnTo>
                    <a:lnTo>
                      <a:pt x="248" y="48"/>
                    </a:lnTo>
                    <a:lnTo>
                      <a:pt x="249" y="48"/>
                    </a:lnTo>
                    <a:lnTo>
                      <a:pt x="249" y="47"/>
                    </a:lnTo>
                    <a:lnTo>
                      <a:pt x="249" y="46"/>
                    </a:lnTo>
                    <a:lnTo>
                      <a:pt x="249" y="44"/>
                    </a:lnTo>
                    <a:lnTo>
                      <a:pt x="250" y="44"/>
                    </a:lnTo>
                    <a:lnTo>
                      <a:pt x="250" y="43"/>
                    </a:lnTo>
                    <a:lnTo>
                      <a:pt x="250" y="42"/>
                    </a:lnTo>
                    <a:lnTo>
                      <a:pt x="252" y="42"/>
                    </a:lnTo>
                    <a:lnTo>
                      <a:pt x="252" y="43"/>
                    </a:lnTo>
                    <a:lnTo>
                      <a:pt x="252" y="42"/>
                    </a:lnTo>
                    <a:lnTo>
                      <a:pt x="253" y="42"/>
                    </a:lnTo>
                    <a:lnTo>
                      <a:pt x="253" y="41"/>
                    </a:lnTo>
                    <a:lnTo>
                      <a:pt x="253" y="40"/>
                    </a:lnTo>
                    <a:lnTo>
                      <a:pt x="252" y="40"/>
                    </a:lnTo>
                    <a:lnTo>
                      <a:pt x="250" y="39"/>
                    </a:lnTo>
                    <a:lnTo>
                      <a:pt x="250" y="40"/>
                    </a:lnTo>
                    <a:lnTo>
                      <a:pt x="250" y="39"/>
                    </a:lnTo>
                    <a:lnTo>
                      <a:pt x="252" y="38"/>
                    </a:lnTo>
                    <a:lnTo>
                      <a:pt x="253" y="38"/>
                    </a:lnTo>
                    <a:lnTo>
                      <a:pt x="253" y="39"/>
                    </a:lnTo>
                    <a:lnTo>
                      <a:pt x="254" y="39"/>
                    </a:lnTo>
                    <a:lnTo>
                      <a:pt x="255" y="39"/>
                    </a:lnTo>
                    <a:lnTo>
                      <a:pt x="256" y="38"/>
                    </a:lnTo>
                    <a:lnTo>
                      <a:pt x="257" y="37"/>
                    </a:lnTo>
                    <a:lnTo>
                      <a:pt x="258" y="37"/>
                    </a:lnTo>
                    <a:lnTo>
                      <a:pt x="259" y="37"/>
                    </a:lnTo>
                    <a:lnTo>
                      <a:pt x="259" y="38"/>
                    </a:lnTo>
                    <a:lnTo>
                      <a:pt x="259" y="37"/>
                    </a:lnTo>
                    <a:lnTo>
                      <a:pt x="260" y="37"/>
                    </a:lnTo>
                    <a:lnTo>
                      <a:pt x="261" y="37"/>
                    </a:lnTo>
                    <a:lnTo>
                      <a:pt x="261" y="38"/>
                    </a:lnTo>
                    <a:lnTo>
                      <a:pt x="260" y="38"/>
                    </a:lnTo>
                    <a:lnTo>
                      <a:pt x="260" y="37"/>
                    </a:lnTo>
                    <a:lnTo>
                      <a:pt x="259" y="38"/>
                    </a:lnTo>
                    <a:lnTo>
                      <a:pt x="260" y="38"/>
                    </a:lnTo>
                    <a:lnTo>
                      <a:pt x="261" y="38"/>
                    </a:lnTo>
                    <a:lnTo>
                      <a:pt x="262" y="38"/>
                    </a:lnTo>
                    <a:lnTo>
                      <a:pt x="262" y="37"/>
                    </a:lnTo>
                    <a:lnTo>
                      <a:pt x="263" y="37"/>
                    </a:lnTo>
                    <a:lnTo>
                      <a:pt x="263" y="38"/>
                    </a:lnTo>
                    <a:lnTo>
                      <a:pt x="263" y="37"/>
                    </a:lnTo>
                    <a:lnTo>
                      <a:pt x="265" y="37"/>
                    </a:lnTo>
                    <a:lnTo>
                      <a:pt x="265" y="36"/>
                    </a:lnTo>
                    <a:lnTo>
                      <a:pt x="265" y="37"/>
                    </a:lnTo>
                    <a:lnTo>
                      <a:pt x="265" y="36"/>
                    </a:lnTo>
                    <a:lnTo>
                      <a:pt x="266" y="36"/>
                    </a:lnTo>
                    <a:lnTo>
                      <a:pt x="267" y="36"/>
                    </a:lnTo>
                    <a:lnTo>
                      <a:pt x="268" y="36"/>
                    </a:lnTo>
                    <a:lnTo>
                      <a:pt x="268" y="35"/>
                    </a:lnTo>
                    <a:lnTo>
                      <a:pt x="269" y="35"/>
                    </a:lnTo>
                    <a:lnTo>
                      <a:pt x="269" y="36"/>
                    </a:lnTo>
                    <a:lnTo>
                      <a:pt x="269" y="37"/>
                    </a:lnTo>
                    <a:lnTo>
                      <a:pt x="270" y="37"/>
                    </a:lnTo>
                    <a:lnTo>
                      <a:pt x="271" y="37"/>
                    </a:lnTo>
                    <a:lnTo>
                      <a:pt x="271" y="38"/>
                    </a:lnTo>
                    <a:lnTo>
                      <a:pt x="271" y="37"/>
                    </a:lnTo>
                    <a:lnTo>
                      <a:pt x="270" y="37"/>
                    </a:lnTo>
                    <a:lnTo>
                      <a:pt x="270" y="36"/>
                    </a:lnTo>
                    <a:lnTo>
                      <a:pt x="269" y="36"/>
                    </a:lnTo>
                    <a:lnTo>
                      <a:pt x="269" y="35"/>
                    </a:lnTo>
                    <a:lnTo>
                      <a:pt x="270" y="35"/>
                    </a:lnTo>
                    <a:lnTo>
                      <a:pt x="271" y="35"/>
                    </a:lnTo>
                    <a:lnTo>
                      <a:pt x="271" y="34"/>
                    </a:lnTo>
                    <a:lnTo>
                      <a:pt x="271" y="35"/>
                    </a:lnTo>
                    <a:lnTo>
                      <a:pt x="271" y="36"/>
                    </a:lnTo>
                    <a:lnTo>
                      <a:pt x="272" y="36"/>
                    </a:lnTo>
                    <a:lnTo>
                      <a:pt x="273" y="36"/>
                    </a:lnTo>
                    <a:lnTo>
                      <a:pt x="273" y="37"/>
                    </a:lnTo>
                    <a:lnTo>
                      <a:pt x="273" y="36"/>
                    </a:lnTo>
                    <a:lnTo>
                      <a:pt x="272" y="36"/>
                    </a:lnTo>
                    <a:lnTo>
                      <a:pt x="273" y="36"/>
                    </a:lnTo>
                    <a:lnTo>
                      <a:pt x="273" y="35"/>
                    </a:lnTo>
                    <a:lnTo>
                      <a:pt x="273" y="36"/>
                    </a:lnTo>
                    <a:lnTo>
                      <a:pt x="274" y="36"/>
                    </a:lnTo>
                    <a:lnTo>
                      <a:pt x="274" y="35"/>
                    </a:lnTo>
                    <a:lnTo>
                      <a:pt x="274" y="36"/>
                    </a:lnTo>
                    <a:lnTo>
                      <a:pt x="274" y="35"/>
                    </a:lnTo>
                    <a:lnTo>
                      <a:pt x="273" y="35"/>
                    </a:lnTo>
                    <a:lnTo>
                      <a:pt x="273" y="36"/>
                    </a:lnTo>
                    <a:lnTo>
                      <a:pt x="273" y="35"/>
                    </a:lnTo>
                    <a:lnTo>
                      <a:pt x="272" y="35"/>
                    </a:lnTo>
                    <a:lnTo>
                      <a:pt x="272" y="36"/>
                    </a:lnTo>
                    <a:lnTo>
                      <a:pt x="273" y="36"/>
                    </a:lnTo>
                    <a:lnTo>
                      <a:pt x="272" y="36"/>
                    </a:lnTo>
                    <a:lnTo>
                      <a:pt x="272" y="35"/>
                    </a:lnTo>
                    <a:lnTo>
                      <a:pt x="271" y="35"/>
                    </a:lnTo>
                    <a:lnTo>
                      <a:pt x="271" y="34"/>
                    </a:lnTo>
                    <a:lnTo>
                      <a:pt x="272" y="34"/>
                    </a:lnTo>
                    <a:lnTo>
                      <a:pt x="273" y="34"/>
                    </a:lnTo>
                    <a:lnTo>
                      <a:pt x="274" y="34"/>
                    </a:lnTo>
                    <a:lnTo>
                      <a:pt x="275" y="33"/>
                    </a:lnTo>
                    <a:lnTo>
                      <a:pt x="276" y="33"/>
                    </a:lnTo>
                    <a:lnTo>
                      <a:pt x="276" y="31"/>
                    </a:lnTo>
                    <a:lnTo>
                      <a:pt x="275" y="31"/>
                    </a:lnTo>
                    <a:lnTo>
                      <a:pt x="276" y="31"/>
                    </a:lnTo>
                    <a:lnTo>
                      <a:pt x="275" y="31"/>
                    </a:lnTo>
                    <a:lnTo>
                      <a:pt x="275" y="30"/>
                    </a:lnTo>
                    <a:lnTo>
                      <a:pt x="274" y="30"/>
                    </a:lnTo>
                    <a:lnTo>
                      <a:pt x="274" y="29"/>
                    </a:lnTo>
                    <a:lnTo>
                      <a:pt x="273" y="29"/>
                    </a:lnTo>
                    <a:lnTo>
                      <a:pt x="273" y="28"/>
                    </a:lnTo>
                    <a:lnTo>
                      <a:pt x="273" y="27"/>
                    </a:lnTo>
                    <a:lnTo>
                      <a:pt x="273" y="26"/>
                    </a:lnTo>
                    <a:lnTo>
                      <a:pt x="274" y="26"/>
                    </a:lnTo>
                    <a:lnTo>
                      <a:pt x="275" y="26"/>
                    </a:lnTo>
                    <a:lnTo>
                      <a:pt x="275" y="25"/>
                    </a:lnTo>
                    <a:lnTo>
                      <a:pt x="275" y="24"/>
                    </a:lnTo>
                    <a:lnTo>
                      <a:pt x="274" y="24"/>
                    </a:lnTo>
                    <a:lnTo>
                      <a:pt x="274" y="23"/>
                    </a:lnTo>
                    <a:lnTo>
                      <a:pt x="275" y="23"/>
                    </a:lnTo>
                    <a:lnTo>
                      <a:pt x="276" y="23"/>
                    </a:lnTo>
                    <a:lnTo>
                      <a:pt x="276" y="24"/>
                    </a:lnTo>
                    <a:lnTo>
                      <a:pt x="278" y="23"/>
                    </a:lnTo>
                    <a:lnTo>
                      <a:pt x="278" y="22"/>
                    </a:lnTo>
                    <a:lnTo>
                      <a:pt x="278" y="21"/>
                    </a:lnTo>
                    <a:lnTo>
                      <a:pt x="278" y="20"/>
                    </a:lnTo>
                    <a:lnTo>
                      <a:pt x="278" y="18"/>
                    </a:lnTo>
                    <a:lnTo>
                      <a:pt x="276" y="18"/>
                    </a:lnTo>
                    <a:lnTo>
                      <a:pt x="275" y="18"/>
                    </a:lnTo>
                    <a:lnTo>
                      <a:pt x="275" y="17"/>
                    </a:lnTo>
                    <a:lnTo>
                      <a:pt x="274" y="17"/>
                    </a:lnTo>
                    <a:lnTo>
                      <a:pt x="273" y="17"/>
                    </a:lnTo>
                    <a:lnTo>
                      <a:pt x="273" y="16"/>
                    </a:lnTo>
                    <a:lnTo>
                      <a:pt x="272" y="16"/>
                    </a:lnTo>
                    <a:lnTo>
                      <a:pt x="271" y="16"/>
                    </a:lnTo>
                    <a:lnTo>
                      <a:pt x="270" y="16"/>
                    </a:lnTo>
                    <a:lnTo>
                      <a:pt x="269" y="16"/>
                    </a:lnTo>
                    <a:lnTo>
                      <a:pt x="268" y="16"/>
                    </a:lnTo>
                    <a:lnTo>
                      <a:pt x="268" y="17"/>
                    </a:lnTo>
                    <a:lnTo>
                      <a:pt x="268" y="18"/>
                    </a:lnTo>
                    <a:lnTo>
                      <a:pt x="268" y="20"/>
                    </a:lnTo>
                    <a:lnTo>
                      <a:pt x="267" y="21"/>
                    </a:lnTo>
                    <a:lnTo>
                      <a:pt x="267" y="20"/>
                    </a:lnTo>
                    <a:lnTo>
                      <a:pt x="266" y="18"/>
                    </a:lnTo>
                    <a:lnTo>
                      <a:pt x="267" y="18"/>
                    </a:lnTo>
                    <a:lnTo>
                      <a:pt x="267" y="17"/>
                    </a:lnTo>
                    <a:lnTo>
                      <a:pt x="267" y="16"/>
                    </a:lnTo>
                    <a:lnTo>
                      <a:pt x="267" y="15"/>
                    </a:lnTo>
                    <a:lnTo>
                      <a:pt x="267" y="14"/>
                    </a:lnTo>
                    <a:lnTo>
                      <a:pt x="266" y="14"/>
                    </a:lnTo>
                    <a:lnTo>
                      <a:pt x="265" y="14"/>
                    </a:lnTo>
                    <a:lnTo>
                      <a:pt x="265" y="15"/>
                    </a:lnTo>
                    <a:lnTo>
                      <a:pt x="265" y="16"/>
                    </a:lnTo>
                    <a:lnTo>
                      <a:pt x="265" y="17"/>
                    </a:lnTo>
                    <a:lnTo>
                      <a:pt x="265" y="18"/>
                    </a:lnTo>
                    <a:lnTo>
                      <a:pt x="263" y="18"/>
                    </a:lnTo>
                    <a:lnTo>
                      <a:pt x="263" y="20"/>
                    </a:lnTo>
                    <a:lnTo>
                      <a:pt x="262" y="22"/>
                    </a:lnTo>
                    <a:lnTo>
                      <a:pt x="262" y="23"/>
                    </a:lnTo>
                    <a:lnTo>
                      <a:pt x="262" y="24"/>
                    </a:lnTo>
                    <a:lnTo>
                      <a:pt x="262" y="25"/>
                    </a:lnTo>
                    <a:lnTo>
                      <a:pt x="261" y="26"/>
                    </a:lnTo>
                    <a:lnTo>
                      <a:pt x="261" y="25"/>
                    </a:lnTo>
                    <a:lnTo>
                      <a:pt x="260" y="25"/>
                    </a:lnTo>
                    <a:lnTo>
                      <a:pt x="260" y="24"/>
                    </a:lnTo>
                    <a:lnTo>
                      <a:pt x="261" y="24"/>
                    </a:lnTo>
                    <a:lnTo>
                      <a:pt x="261" y="23"/>
                    </a:lnTo>
                    <a:lnTo>
                      <a:pt x="260" y="23"/>
                    </a:lnTo>
                    <a:lnTo>
                      <a:pt x="260" y="24"/>
                    </a:lnTo>
                    <a:lnTo>
                      <a:pt x="259" y="24"/>
                    </a:lnTo>
                    <a:lnTo>
                      <a:pt x="259" y="23"/>
                    </a:lnTo>
                    <a:lnTo>
                      <a:pt x="258" y="22"/>
                    </a:lnTo>
                    <a:lnTo>
                      <a:pt x="258" y="21"/>
                    </a:lnTo>
                    <a:lnTo>
                      <a:pt x="258" y="22"/>
                    </a:lnTo>
                    <a:lnTo>
                      <a:pt x="257" y="22"/>
                    </a:lnTo>
                    <a:lnTo>
                      <a:pt x="257" y="21"/>
                    </a:lnTo>
                    <a:lnTo>
                      <a:pt x="257" y="20"/>
                    </a:lnTo>
                    <a:lnTo>
                      <a:pt x="256" y="20"/>
                    </a:lnTo>
                    <a:lnTo>
                      <a:pt x="256" y="18"/>
                    </a:lnTo>
                    <a:lnTo>
                      <a:pt x="255" y="17"/>
                    </a:lnTo>
                    <a:lnTo>
                      <a:pt x="254" y="17"/>
                    </a:lnTo>
                    <a:lnTo>
                      <a:pt x="253" y="16"/>
                    </a:lnTo>
                    <a:lnTo>
                      <a:pt x="254" y="16"/>
                    </a:lnTo>
                    <a:lnTo>
                      <a:pt x="254" y="15"/>
                    </a:lnTo>
                    <a:lnTo>
                      <a:pt x="254" y="14"/>
                    </a:lnTo>
                    <a:lnTo>
                      <a:pt x="255" y="14"/>
                    </a:lnTo>
                    <a:lnTo>
                      <a:pt x="255" y="13"/>
                    </a:lnTo>
                    <a:lnTo>
                      <a:pt x="256" y="13"/>
                    </a:lnTo>
                    <a:lnTo>
                      <a:pt x="257" y="14"/>
                    </a:lnTo>
                    <a:lnTo>
                      <a:pt x="258" y="14"/>
                    </a:lnTo>
                    <a:lnTo>
                      <a:pt x="259" y="14"/>
                    </a:lnTo>
                    <a:lnTo>
                      <a:pt x="260" y="14"/>
                    </a:lnTo>
                    <a:lnTo>
                      <a:pt x="261" y="14"/>
                    </a:lnTo>
                    <a:lnTo>
                      <a:pt x="261" y="13"/>
                    </a:lnTo>
                    <a:lnTo>
                      <a:pt x="262" y="13"/>
                    </a:lnTo>
                    <a:lnTo>
                      <a:pt x="263" y="13"/>
                    </a:lnTo>
                    <a:lnTo>
                      <a:pt x="265" y="12"/>
                    </a:lnTo>
                    <a:lnTo>
                      <a:pt x="266" y="12"/>
                    </a:lnTo>
                    <a:lnTo>
                      <a:pt x="267" y="11"/>
                    </a:lnTo>
                    <a:lnTo>
                      <a:pt x="268" y="11"/>
                    </a:lnTo>
                    <a:lnTo>
                      <a:pt x="269" y="11"/>
                    </a:lnTo>
                    <a:lnTo>
                      <a:pt x="269" y="10"/>
                    </a:lnTo>
                    <a:lnTo>
                      <a:pt x="270" y="10"/>
                    </a:lnTo>
                    <a:lnTo>
                      <a:pt x="270" y="9"/>
                    </a:lnTo>
                    <a:lnTo>
                      <a:pt x="271" y="9"/>
                    </a:lnTo>
                    <a:lnTo>
                      <a:pt x="272" y="8"/>
                    </a:lnTo>
                    <a:lnTo>
                      <a:pt x="273" y="8"/>
                    </a:lnTo>
                    <a:lnTo>
                      <a:pt x="273" y="6"/>
                    </a:lnTo>
                    <a:lnTo>
                      <a:pt x="274" y="6"/>
                    </a:lnTo>
                    <a:lnTo>
                      <a:pt x="274" y="5"/>
                    </a:lnTo>
                    <a:lnTo>
                      <a:pt x="275" y="5"/>
                    </a:lnTo>
                    <a:lnTo>
                      <a:pt x="275" y="3"/>
                    </a:lnTo>
                    <a:lnTo>
                      <a:pt x="275" y="2"/>
                    </a:lnTo>
                    <a:lnTo>
                      <a:pt x="275" y="1"/>
                    </a:lnTo>
                    <a:lnTo>
                      <a:pt x="276" y="1"/>
                    </a:lnTo>
                    <a:lnTo>
                      <a:pt x="278" y="1"/>
                    </a:lnTo>
                    <a:lnTo>
                      <a:pt x="279" y="1"/>
                    </a:lnTo>
                    <a:lnTo>
                      <a:pt x="280" y="2"/>
                    </a:lnTo>
                    <a:lnTo>
                      <a:pt x="281" y="2"/>
                    </a:lnTo>
                    <a:lnTo>
                      <a:pt x="282" y="2"/>
                    </a:lnTo>
                    <a:lnTo>
                      <a:pt x="282" y="3"/>
                    </a:lnTo>
                    <a:lnTo>
                      <a:pt x="283" y="3"/>
                    </a:lnTo>
                    <a:lnTo>
                      <a:pt x="284" y="3"/>
                    </a:lnTo>
                    <a:lnTo>
                      <a:pt x="284" y="4"/>
                    </a:lnTo>
                    <a:lnTo>
                      <a:pt x="285" y="4"/>
                    </a:lnTo>
                    <a:lnTo>
                      <a:pt x="286" y="5"/>
                    </a:lnTo>
                    <a:lnTo>
                      <a:pt x="287" y="5"/>
                    </a:lnTo>
                    <a:lnTo>
                      <a:pt x="287" y="6"/>
                    </a:lnTo>
                    <a:lnTo>
                      <a:pt x="288" y="6"/>
                    </a:lnTo>
                    <a:lnTo>
                      <a:pt x="289" y="8"/>
                    </a:lnTo>
                    <a:lnTo>
                      <a:pt x="291" y="8"/>
                    </a:lnTo>
                    <a:lnTo>
                      <a:pt x="292" y="9"/>
                    </a:lnTo>
                    <a:lnTo>
                      <a:pt x="293" y="9"/>
                    </a:lnTo>
                    <a:lnTo>
                      <a:pt x="293" y="10"/>
                    </a:lnTo>
                    <a:lnTo>
                      <a:pt x="293" y="11"/>
                    </a:lnTo>
                    <a:lnTo>
                      <a:pt x="294" y="11"/>
                    </a:lnTo>
                    <a:lnTo>
                      <a:pt x="293" y="11"/>
                    </a:lnTo>
                    <a:lnTo>
                      <a:pt x="294" y="11"/>
                    </a:lnTo>
                    <a:lnTo>
                      <a:pt x="293" y="11"/>
                    </a:lnTo>
                    <a:lnTo>
                      <a:pt x="294" y="11"/>
                    </a:lnTo>
                    <a:lnTo>
                      <a:pt x="294" y="12"/>
                    </a:lnTo>
                    <a:lnTo>
                      <a:pt x="294" y="13"/>
                    </a:lnTo>
                    <a:lnTo>
                      <a:pt x="296" y="13"/>
                    </a:lnTo>
                    <a:lnTo>
                      <a:pt x="297" y="13"/>
                    </a:lnTo>
                    <a:lnTo>
                      <a:pt x="298" y="13"/>
                    </a:lnTo>
                    <a:lnTo>
                      <a:pt x="298" y="14"/>
                    </a:lnTo>
                    <a:lnTo>
                      <a:pt x="299" y="14"/>
                    </a:lnTo>
                    <a:lnTo>
                      <a:pt x="300" y="14"/>
                    </a:lnTo>
                    <a:lnTo>
                      <a:pt x="300" y="15"/>
                    </a:lnTo>
                    <a:lnTo>
                      <a:pt x="299" y="15"/>
                    </a:lnTo>
                    <a:lnTo>
                      <a:pt x="299" y="16"/>
                    </a:lnTo>
                    <a:lnTo>
                      <a:pt x="298" y="15"/>
                    </a:lnTo>
                    <a:lnTo>
                      <a:pt x="298" y="16"/>
                    </a:lnTo>
                    <a:lnTo>
                      <a:pt x="298" y="15"/>
                    </a:lnTo>
                    <a:lnTo>
                      <a:pt x="298" y="16"/>
                    </a:lnTo>
                    <a:lnTo>
                      <a:pt x="297" y="16"/>
                    </a:lnTo>
                    <a:lnTo>
                      <a:pt x="298" y="16"/>
                    </a:lnTo>
                    <a:lnTo>
                      <a:pt x="297" y="16"/>
                    </a:lnTo>
                    <a:lnTo>
                      <a:pt x="298" y="16"/>
                    </a:lnTo>
                    <a:lnTo>
                      <a:pt x="298" y="17"/>
                    </a:lnTo>
                    <a:lnTo>
                      <a:pt x="299" y="17"/>
                    </a:lnTo>
                    <a:lnTo>
                      <a:pt x="299" y="16"/>
                    </a:lnTo>
                    <a:lnTo>
                      <a:pt x="299" y="17"/>
                    </a:lnTo>
                    <a:lnTo>
                      <a:pt x="300" y="17"/>
                    </a:lnTo>
                    <a:lnTo>
                      <a:pt x="300" y="16"/>
                    </a:lnTo>
                    <a:lnTo>
                      <a:pt x="301" y="17"/>
                    </a:lnTo>
                    <a:lnTo>
                      <a:pt x="302" y="18"/>
                    </a:lnTo>
                    <a:lnTo>
                      <a:pt x="302" y="17"/>
                    </a:lnTo>
                    <a:lnTo>
                      <a:pt x="304" y="17"/>
                    </a:lnTo>
                    <a:lnTo>
                      <a:pt x="302" y="17"/>
                    </a:lnTo>
                    <a:lnTo>
                      <a:pt x="302" y="16"/>
                    </a:lnTo>
                    <a:lnTo>
                      <a:pt x="304" y="16"/>
                    </a:lnTo>
                    <a:lnTo>
                      <a:pt x="302" y="16"/>
                    </a:lnTo>
                    <a:lnTo>
                      <a:pt x="302" y="15"/>
                    </a:lnTo>
                    <a:lnTo>
                      <a:pt x="302" y="14"/>
                    </a:lnTo>
                    <a:lnTo>
                      <a:pt x="301" y="14"/>
                    </a:lnTo>
                    <a:lnTo>
                      <a:pt x="301" y="15"/>
                    </a:lnTo>
                    <a:lnTo>
                      <a:pt x="300" y="15"/>
                    </a:lnTo>
                    <a:lnTo>
                      <a:pt x="300" y="14"/>
                    </a:lnTo>
                    <a:lnTo>
                      <a:pt x="301" y="14"/>
                    </a:lnTo>
                    <a:lnTo>
                      <a:pt x="302" y="14"/>
                    </a:lnTo>
                    <a:lnTo>
                      <a:pt x="304" y="14"/>
                    </a:lnTo>
                    <a:lnTo>
                      <a:pt x="305" y="14"/>
                    </a:lnTo>
                    <a:lnTo>
                      <a:pt x="306" y="14"/>
                    </a:lnTo>
                    <a:lnTo>
                      <a:pt x="307" y="14"/>
                    </a:lnTo>
                    <a:lnTo>
                      <a:pt x="308" y="14"/>
                    </a:lnTo>
                    <a:lnTo>
                      <a:pt x="308" y="15"/>
                    </a:lnTo>
                    <a:lnTo>
                      <a:pt x="309" y="15"/>
                    </a:lnTo>
                    <a:lnTo>
                      <a:pt x="310" y="15"/>
                    </a:lnTo>
                    <a:lnTo>
                      <a:pt x="309" y="15"/>
                    </a:lnTo>
                    <a:lnTo>
                      <a:pt x="310" y="15"/>
                    </a:lnTo>
                    <a:lnTo>
                      <a:pt x="310" y="16"/>
                    </a:lnTo>
                    <a:lnTo>
                      <a:pt x="311" y="16"/>
                    </a:lnTo>
                    <a:lnTo>
                      <a:pt x="312" y="16"/>
                    </a:lnTo>
                    <a:lnTo>
                      <a:pt x="313" y="17"/>
                    </a:lnTo>
                    <a:lnTo>
                      <a:pt x="313" y="18"/>
                    </a:lnTo>
                    <a:lnTo>
                      <a:pt x="312" y="18"/>
                    </a:lnTo>
                    <a:lnTo>
                      <a:pt x="311" y="20"/>
                    </a:lnTo>
                    <a:lnTo>
                      <a:pt x="310" y="20"/>
                    </a:lnTo>
                    <a:lnTo>
                      <a:pt x="307" y="22"/>
                    </a:lnTo>
                    <a:lnTo>
                      <a:pt x="306" y="23"/>
                    </a:lnTo>
                    <a:lnTo>
                      <a:pt x="306" y="24"/>
                    </a:lnTo>
                    <a:lnTo>
                      <a:pt x="306" y="26"/>
                    </a:lnTo>
                    <a:lnTo>
                      <a:pt x="305" y="26"/>
                    </a:lnTo>
                    <a:lnTo>
                      <a:pt x="305" y="27"/>
                    </a:lnTo>
                    <a:lnTo>
                      <a:pt x="304" y="28"/>
                    </a:lnTo>
                    <a:lnTo>
                      <a:pt x="302" y="29"/>
                    </a:lnTo>
                    <a:lnTo>
                      <a:pt x="301" y="30"/>
                    </a:lnTo>
                    <a:lnTo>
                      <a:pt x="300" y="30"/>
                    </a:lnTo>
                    <a:lnTo>
                      <a:pt x="300" y="31"/>
                    </a:lnTo>
                    <a:lnTo>
                      <a:pt x="300" y="33"/>
                    </a:lnTo>
                    <a:lnTo>
                      <a:pt x="299" y="34"/>
                    </a:lnTo>
                    <a:lnTo>
                      <a:pt x="299" y="35"/>
                    </a:lnTo>
                    <a:lnTo>
                      <a:pt x="299" y="36"/>
                    </a:lnTo>
                    <a:lnTo>
                      <a:pt x="298" y="36"/>
                    </a:lnTo>
                    <a:lnTo>
                      <a:pt x="298" y="37"/>
                    </a:lnTo>
                    <a:lnTo>
                      <a:pt x="297" y="38"/>
                    </a:lnTo>
                    <a:lnTo>
                      <a:pt x="297" y="39"/>
                    </a:lnTo>
                    <a:lnTo>
                      <a:pt x="296" y="39"/>
                    </a:lnTo>
                    <a:lnTo>
                      <a:pt x="295" y="40"/>
                    </a:lnTo>
                    <a:lnTo>
                      <a:pt x="294" y="40"/>
                    </a:lnTo>
                    <a:lnTo>
                      <a:pt x="294" y="41"/>
                    </a:lnTo>
                    <a:lnTo>
                      <a:pt x="293" y="41"/>
                    </a:lnTo>
                    <a:lnTo>
                      <a:pt x="292" y="42"/>
                    </a:lnTo>
                    <a:lnTo>
                      <a:pt x="291" y="42"/>
                    </a:lnTo>
                    <a:lnTo>
                      <a:pt x="291" y="43"/>
                    </a:lnTo>
                    <a:lnTo>
                      <a:pt x="289" y="43"/>
                    </a:lnTo>
                    <a:lnTo>
                      <a:pt x="289" y="44"/>
                    </a:lnTo>
                    <a:lnTo>
                      <a:pt x="288" y="44"/>
                    </a:lnTo>
                    <a:lnTo>
                      <a:pt x="288" y="46"/>
                    </a:lnTo>
                    <a:lnTo>
                      <a:pt x="287" y="46"/>
                    </a:lnTo>
                    <a:lnTo>
                      <a:pt x="286" y="46"/>
                    </a:lnTo>
                    <a:lnTo>
                      <a:pt x="286" y="44"/>
                    </a:lnTo>
                    <a:lnTo>
                      <a:pt x="286" y="46"/>
                    </a:lnTo>
                    <a:lnTo>
                      <a:pt x="285" y="44"/>
                    </a:lnTo>
                    <a:lnTo>
                      <a:pt x="285" y="46"/>
                    </a:lnTo>
                    <a:lnTo>
                      <a:pt x="284" y="46"/>
                    </a:lnTo>
                    <a:lnTo>
                      <a:pt x="283" y="46"/>
                    </a:lnTo>
                    <a:lnTo>
                      <a:pt x="283" y="47"/>
                    </a:lnTo>
                    <a:lnTo>
                      <a:pt x="283" y="48"/>
                    </a:lnTo>
                    <a:lnTo>
                      <a:pt x="282" y="48"/>
                    </a:lnTo>
                    <a:lnTo>
                      <a:pt x="282" y="49"/>
                    </a:lnTo>
                    <a:lnTo>
                      <a:pt x="282" y="50"/>
                    </a:lnTo>
                    <a:lnTo>
                      <a:pt x="282" y="51"/>
                    </a:lnTo>
                    <a:lnTo>
                      <a:pt x="282" y="52"/>
                    </a:lnTo>
                    <a:lnTo>
                      <a:pt x="282" y="53"/>
                    </a:lnTo>
                    <a:lnTo>
                      <a:pt x="281" y="54"/>
                    </a:lnTo>
                    <a:lnTo>
                      <a:pt x="281" y="55"/>
                    </a:lnTo>
                    <a:lnTo>
                      <a:pt x="281" y="56"/>
                    </a:lnTo>
                    <a:lnTo>
                      <a:pt x="281" y="57"/>
                    </a:lnTo>
                    <a:lnTo>
                      <a:pt x="280" y="57"/>
                    </a:lnTo>
                    <a:lnTo>
                      <a:pt x="280" y="59"/>
                    </a:lnTo>
                    <a:lnTo>
                      <a:pt x="280" y="60"/>
                    </a:lnTo>
                    <a:lnTo>
                      <a:pt x="280" y="61"/>
                    </a:lnTo>
                    <a:lnTo>
                      <a:pt x="280" y="62"/>
                    </a:lnTo>
                    <a:lnTo>
                      <a:pt x="280" y="63"/>
                    </a:lnTo>
                    <a:lnTo>
                      <a:pt x="280" y="64"/>
                    </a:lnTo>
                    <a:lnTo>
                      <a:pt x="280" y="65"/>
                    </a:lnTo>
                    <a:lnTo>
                      <a:pt x="280" y="66"/>
                    </a:lnTo>
                    <a:lnTo>
                      <a:pt x="280" y="67"/>
                    </a:lnTo>
                    <a:lnTo>
                      <a:pt x="280" y="68"/>
                    </a:lnTo>
                    <a:lnTo>
                      <a:pt x="280" y="69"/>
                    </a:lnTo>
                    <a:lnTo>
                      <a:pt x="279" y="69"/>
                    </a:lnTo>
                    <a:lnTo>
                      <a:pt x="279" y="70"/>
                    </a:lnTo>
                    <a:lnTo>
                      <a:pt x="278" y="70"/>
                    </a:lnTo>
                    <a:lnTo>
                      <a:pt x="276" y="70"/>
                    </a:lnTo>
                    <a:lnTo>
                      <a:pt x="275" y="72"/>
                    </a:lnTo>
                    <a:lnTo>
                      <a:pt x="274" y="72"/>
                    </a:lnTo>
                    <a:lnTo>
                      <a:pt x="273" y="72"/>
                    </a:lnTo>
                    <a:lnTo>
                      <a:pt x="273" y="73"/>
                    </a:lnTo>
                    <a:lnTo>
                      <a:pt x="272" y="73"/>
                    </a:lnTo>
                    <a:lnTo>
                      <a:pt x="271" y="73"/>
                    </a:lnTo>
                    <a:lnTo>
                      <a:pt x="270" y="73"/>
                    </a:lnTo>
                    <a:lnTo>
                      <a:pt x="269" y="73"/>
                    </a:lnTo>
                    <a:lnTo>
                      <a:pt x="268" y="73"/>
                    </a:lnTo>
                    <a:lnTo>
                      <a:pt x="267" y="73"/>
                    </a:lnTo>
                    <a:lnTo>
                      <a:pt x="267" y="74"/>
                    </a:lnTo>
                    <a:lnTo>
                      <a:pt x="266" y="74"/>
                    </a:lnTo>
                    <a:lnTo>
                      <a:pt x="265" y="74"/>
                    </a:lnTo>
                    <a:lnTo>
                      <a:pt x="263" y="74"/>
                    </a:lnTo>
                    <a:lnTo>
                      <a:pt x="262" y="74"/>
                    </a:lnTo>
                    <a:lnTo>
                      <a:pt x="261" y="74"/>
                    </a:lnTo>
                    <a:lnTo>
                      <a:pt x="261" y="75"/>
                    </a:lnTo>
                    <a:lnTo>
                      <a:pt x="260" y="75"/>
                    </a:lnTo>
                    <a:lnTo>
                      <a:pt x="259" y="75"/>
                    </a:lnTo>
                    <a:lnTo>
                      <a:pt x="258" y="75"/>
                    </a:lnTo>
                    <a:lnTo>
                      <a:pt x="258" y="76"/>
                    </a:lnTo>
                    <a:lnTo>
                      <a:pt x="257" y="76"/>
                    </a:lnTo>
                    <a:lnTo>
                      <a:pt x="256" y="76"/>
                    </a:lnTo>
                    <a:lnTo>
                      <a:pt x="256" y="77"/>
                    </a:lnTo>
                    <a:lnTo>
                      <a:pt x="255" y="77"/>
                    </a:lnTo>
                    <a:lnTo>
                      <a:pt x="255" y="78"/>
                    </a:lnTo>
                    <a:lnTo>
                      <a:pt x="254" y="78"/>
                    </a:lnTo>
                    <a:lnTo>
                      <a:pt x="253" y="79"/>
                    </a:lnTo>
                    <a:lnTo>
                      <a:pt x="252" y="80"/>
                    </a:lnTo>
                    <a:lnTo>
                      <a:pt x="252" y="81"/>
                    </a:lnTo>
                    <a:lnTo>
                      <a:pt x="250" y="81"/>
                    </a:lnTo>
                    <a:lnTo>
                      <a:pt x="250" y="82"/>
                    </a:lnTo>
                    <a:lnTo>
                      <a:pt x="252" y="82"/>
                    </a:lnTo>
                    <a:lnTo>
                      <a:pt x="252" y="83"/>
                    </a:lnTo>
                    <a:lnTo>
                      <a:pt x="250" y="83"/>
                    </a:lnTo>
                    <a:lnTo>
                      <a:pt x="250" y="85"/>
                    </a:lnTo>
                    <a:lnTo>
                      <a:pt x="250" y="86"/>
                    </a:lnTo>
                    <a:lnTo>
                      <a:pt x="250" y="87"/>
                    </a:lnTo>
                    <a:lnTo>
                      <a:pt x="250" y="88"/>
                    </a:lnTo>
                    <a:lnTo>
                      <a:pt x="250" y="89"/>
                    </a:lnTo>
                    <a:lnTo>
                      <a:pt x="250" y="90"/>
                    </a:lnTo>
                    <a:lnTo>
                      <a:pt x="252" y="90"/>
                    </a:lnTo>
                    <a:lnTo>
                      <a:pt x="252" y="91"/>
                    </a:lnTo>
                    <a:lnTo>
                      <a:pt x="252" y="92"/>
                    </a:lnTo>
                    <a:lnTo>
                      <a:pt x="253" y="92"/>
                    </a:lnTo>
                    <a:lnTo>
                      <a:pt x="253" y="93"/>
                    </a:lnTo>
                    <a:lnTo>
                      <a:pt x="254" y="93"/>
                    </a:lnTo>
                    <a:lnTo>
                      <a:pt x="254" y="94"/>
                    </a:lnTo>
                    <a:lnTo>
                      <a:pt x="254" y="95"/>
                    </a:lnTo>
                    <a:lnTo>
                      <a:pt x="255" y="95"/>
                    </a:lnTo>
                    <a:lnTo>
                      <a:pt x="255" y="97"/>
                    </a:lnTo>
                    <a:lnTo>
                      <a:pt x="256" y="97"/>
                    </a:lnTo>
                    <a:lnTo>
                      <a:pt x="256" y="98"/>
                    </a:lnTo>
                    <a:lnTo>
                      <a:pt x="256" y="99"/>
                    </a:lnTo>
                    <a:lnTo>
                      <a:pt x="257" y="99"/>
                    </a:lnTo>
                    <a:lnTo>
                      <a:pt x="257" y="100"/>
                    </a:lnTo>
                    <a:lnTo>
                      <a:pt x="257" y="101"/>
                    </a:lnTo>
                    <a:lnTo>
                      <a:pt x="258" y="101"/>
                    </a:lnTo>
                    <a:lnTo>
                      <a:pt x="258" y="102"/>
                    </a:lnTo>
                    <a:lnTo>
                      <a:pt x="259" y="102"/>
                    </a:lnTo>
                    <a:lnTo>
                      <a:pt x="259" y="103"/>
                    </a:lnTo>
                    <a:lnTo>
                      <a:pt x="259" y="104"/>
                    </a:lnTo>
                    <a:lnTo>
                      <a:pt x="259" y="105"/>
                    </a:lnTo>
                    <a:lnTo>
                      <a:pt x="258" y="106"/>
                    </a:lnTo>
                    <a:lnTo>
                      <a:pt x="257" y="106"/>
                    </a:lnTo>
                    <a:lnTo>
                      <a:pt x="256" y="107"/>
                    </a:lnTo>
                    <a:lnTo>
                      <a:pt x="255" y="107"/>
                    </a:lnTo>
                    <a:lnTo>
                      <a:pt x="254" y="107"/>
                    </a:lnTo>
                    <a:lnTo>
                      <a:pt x="253" y="107"/>
                    </a:lnTo>
                    <a:lnTo>
                      <a:pt x="252" y="107"/>
                    </a:lnTo>
                    <a:lnTo>
                      <a:pt x="250" y="107"/>
                    </a:lnTo>
                    <a:lnTo>
                      <a:pt x="249" y="107"/>
                    </a:lnTo>
                    <a:lnTo>
                      <a:pt x="248" y="107"/>
                    </a:lnTo>
                    <a:lnTo>
                      <a:pt x="248" y="106"/>
                    </a:lnTo>
                    <a:lnTo>
                      <a:pt x="247" y="106"/>
                    </a:lnTo>
                    <a:lnTo>
                      <a:pt x="247" y="105"/>
                    </a:lnTo>
                    <a:lnTo>
                      <a:pt x="246" y="105"/>
                    </a:lnTo>
                    <a:lnTo>
                      <a:pt x="246" y="104"/>
                    </a:lnTo>
                    <a:lnTo>
                      <a:pt x="245" y="104"/>
                    </a:lnTo>
                    <a:lnTo>
                      <a:pt x="245" y="103"/>
                    </a:lnTo>
                    <a:lnTo>
                      <a:pt x="244" y="103"/>
                    </a:lnTo>
                    <a:lnTo>
                      <a:pt x="243" y="103"/>
                    </a:lnTo>
                    <a:lnTo>
                      <a:pt x="243" y="102"/>
                    </a:lnTo>
                    <a:lnTo>
                      <a:pt x="242" y="102"/>
                    </a:lnTo>
                    <a:lnTo>
                      <a:pt x="242" y="101"/>
                    </a:lnTo>
                    <a:lnTo>
                      <a:pt x="241" y="100"/>
                    </a:lnTo>
                    <a:lnTo>
                      <a:pt x="241" y="99"/>
                    </a:lnTo>
                    <a:lnTo>
                      <a:pt x="240" y="99"/>
                    </a:lnTo>
                    <a:lnTo>
                      <a:pt x="240" y="98"/>
                    </a:lnTo>
                    <a:lnTo>
                      <a:pt x="239" y="98"/>
                    </a:lnTo>
                    <a:lnTo>
                      <a:pt x="239" y="97"/>
                    </a:lnTo>
                    <a:lnTo>
                      <a:pt x="237" y="95"/>
                    </a:lnTo>
                    <a:lnTo>
                      <a:pt x="237" y="97"/>
                    </a:lnTo>
                    <a:lnTo>
                      <a:pt x="236" y="95"/>
                    </a:lnTo>
                    <a:lnTo>
                      <a:pt x="235" y="95"/>
                    </a:lnTo>
                    <a:lnTo>
                      <a:pt x="235" y="94"/>
                    </a:lnTo>
                    <a:lnTo>
                      <a:pt x="234" y="94"/>
                    </a:lnTo>
                    <a:lnTo>
                      <a:pt x="233" y="94"/>
                    </a:lnTo>
                    <a:lnTo>
                      <a:pt x="232" y="93"/>
                    </a:lnTo>
                    <a:lnTo>
                      <a:pt x="231" y="92"/>
                    </a:lnTo>
                    <a:lnTo>
                      <a:pt x="230" y="91"/>
                    </a:lnTo>
                    <a:lnTo>
                      <a:pt x="229" y="91"/>
                    </a:lnTo>
                    <a:lnTo>
                      <a:pt x="228" y="91"/>
                    </a:lnTo>
                    <a:lnTo>
                      <a:pt x="228" y="90"/>
                    </a:lnTo>
                    <a:lnTo>
                      <a:pt x="227" y="90"/>
                    </a:lnTo>
                    <a:lnTo>
                      <a:pt x="227" y="89"/>
                    </a:lnTo>
                    <a:lnTo>
                      <a:pt x="226" y="89"/>
                    </a:lnTo>
                    <a:lnTo>
                      <a:pt x="226" y="88"/>
                    </a:lnTo>
                    <a:lnTo>
                      <a:pt x="224" y="87"/>
                    </a:lnTo>
                    <a:lnTo>
                      <a:pt x="224" y="86"/>
                    </a:lnTo>
                    <a:lnTo>
                      <a:pt x="222" y="87"/>
                    </a:lnTo>
                    <a:lnTo>
                      <a:pt x="222" y="88"/>
                    </a:lnTo>
                    <a:lnTo>
                      <a:pt x="223" y="89"/>
                    </a:lnTo>
                    <a:lnTo>
                      <a:pt x="223" y="90"/>
                    </a:lnTo>
                    <a:lnTo>
                      <a:pt x="224" y="90"/>
                    </a:lnTo>
                    <a:lnTo>
                      <a:pt x="224" y="91"/>
                    </a:lnTo>
                    <a:lnTo>
                      <a:pt x="224" y="92"/>
                    </a:lnTo>
                    <a:lnTo>
                      <a:pt x="224" y="91"/>
                    </a:lnTo>
                    <a:lnTo>
                      <a:pt x="223" y="91"/>
                    </a:lnTo>
                    <a:lnTo>
                      <a:pt x="222" y="91"/>
                    </a:lnTo>
                    <a:lnTo>
                      <a:pt x="221" y="91"/>
                    </a:lnTo>
                    <a:lnTo>
                      <a:pt x="220" y="90"/>
                    </a:lnTo>
                    <a:lnTo>
                      <a:pt x="218" y="90"/>
                    </a:lnTo>
                    <a:lnTo>
                      <a:pt x="217" y="90"/>
                    </a:lnTo>
                    <a:lnTo>
                      <a:pt x="216" y="90"/>
                    </a:lnTo>
                    <a:lnTo>
                      <a:pt x="215" y="90"/>
                    </a:lnTo>
                    <a:lnTo>
                      <a:pt x="214" y="90"/>
                    </a:lnTo>
                    <a:lnTo>
                      <a:pt x="213" y="90"/>
                    </a:lnTo>
                    <a:lnTo>
                      <a:pt x="210" y="90"/>
                    </a:lnTo>
                    <a:lnTo>
                      <a:pt x="209" y="90"/>
                    </a:lnTo>
                    <a:lnTo>
                      <a:pt x="208" y="90"/>
                    </a:lnTo>
                    <a:lnTo>
                      <a:pt x="207" y="90"/>
                    </a:lnTo>
                    <a:lnTo>
                      <a:pt x="206" y="90"/>
                    </a:lnTo>
                    <a:lnTo>
                      <a:pt x="205" y="90"/>
                    </a:lnTo>
                    <a:lnTo>
                      <a:pt x="204" y="90"/>
                    </a:lnTo>
                    <a:lnTo>
                      <a:pt x="203" y="91"/>
                    </a:lnTo>
                    <a:lnTo>
                      <a:pt x="202" y="91"/>
                    </a:lnTo>
                    <a:lnTo>
                      <a:pt x="201" y="91"/>
                    </a:lnTo>
                    <a:lnTo>
                      <a:pt x="200" y="91"/>
                    </a:lnTo>
                    <a:lnTo>
                      <a:pt x="198" y="91"/>
                    </a:lnTo>
                    <a:lnTo>
                      <a:pt x="197" y="91"/>
                    </a:lnTo>
                    <a:lnTo>
                      <a:pt x="196" y="91"/>
                    </a:lnTo>
                    <a:lnTo>
                      <a:pt x="196" y="92"/>
                    </a:lnTo>
                    <a:lnTo>
                      <a:pt x="196" y="93"/>
                    </a:lnTo>
                    <a:lnTo>
                      <a:pt x="195" y="93"/>
                    </a:lnTo>
                    <a:lnTo>
                      <a:pt x="195" y="94"/>
                    </a:lnTo>
                    <a:lnTo>
                      <a:pt x="194" y="94"/>
                    </a:lnTo>
                    <a:lnTo>
                      <a:pt x="194" y="95"/>
                    </a:lnTo>
                    <a:lnTo>
                      <a:pt x="193" y="95"/>
                    </a:lnTo>
                    <a:lnTo>
                      <a:pt x="193" y="97"/>
                    </a:lnTo>
                    <a:lnTo>
                      <a:pt x="192" y="98"/>
                    </a:lnTo>
                    <a:lnTo>
                      <a:pt x="191" y="98"/>
                    </a:lnTo>
                    <a:lnTo>
                      <a:pt x="190" y="98"/>
                    </a:lnTo>
                    <a:lnTo>
                      <a:pt x="190" y="99"/>
                    </a:lnTo>
                    <a:lnTo>
                      <a:pt x="189" y="99"/>
                    </a:lnTo>
                    <a:lnTo>
                      <a:pt x="189" y="100"/>
                    </a:lnTo>
                    <a:lnTo>
                      <a:pt x="188" y="101"/>
                    </a:lnTo>
                    <a:lnTo>
                      <a:pt x="187" y="102"/>
                    </a:lnTo>
                    <a:lnTo>
                      <a:pt x="185" y="103"/>
                    </a:lnTo>
                    <a:lnTo>
                      <a:pt x="184" y="103"/>
                    </a:lnTo>
                    <a:lnTo>
                      <a:pt x="184" y="104"/>
                    </a:lnTo>
                    <a:lnTo>
                      <a:pt x="183" y="104"/>
                    </a:lnTo>
                    <a:lnTo>
                      <a:pt x="183" y="105"/>
                    </a:lnTo>
                    <a:lnTo>
                      <a:pt x="183" y="106"/>
                    </a:lnTo>
                    <a:lnTo>
                      <a:pt x="182" y="106"/>
                    </a:lnTo>
                    <a:lnTo>
                      <a:pt x="182" y="107"/>
                    </a:lnTo>
                    <a:lnTo>
                      <a:pt x="181" y="107"/>
                    </a:lnTo>
                    <a:lnTo>
                      <a:pt x="181" y="108"/>
                    </a:lnTo>
                    <a:lnTo>
                      <a:pt x="181" y="110"/>
                    </a:lnTo>
                    <a:lnTo>
                      <a:pt x="180" y="110"/>
                    </a:lnTo>
                    <a:lnTo>
                      <a:pt x="180" y="111"/>
                    </a:lnTo>
                    <a:lnTo>
                      <a:pt x="179" y="112"/>
                    </a:lnTo>
                    <a:lnTo>
                      <a:pt x="179" y="113"/>
                    </a:lnTo>
                    <a:lnTo>
                      <a:pt x="178" y="114"/>
                    </a:lnTo>
                    <a:lnTo>
                      <a:pt x="178" y="115"/>
                    </a:lnTo>
                    <a:lnTo>
                      <a:pt x="177" y="115"/>
                    </a:lnTo>
                    <a:lnTo>
                      <a:pt x="177" y="116"/>
                    </a:lnTo>
                    <a:lnTo>
                      <a:pt x="176" y="116"/>
                    </a:lnTo>
                    <a:lnTo>
                      <a:pt x="176" y="117"/>
                    </a:lnTo>
                    <a:lnTo>
                      <a:pt x="175" y="117"/>
                    </a:lnTo>
                    <a:lnTo>
                      <a:pt x="173" y="117"/>
                    </a:lnTo>
                    <a:lnTo>
                      <a:pt x="173" y="118"/>
                    </a:lnTo>
                    <a:lnTo>
                      <a:pt x="172" y="119"/>
                    </a:lnTo>
                    <a:lnTo>
                      <a:pt x="172" y="121"/>
                    </a:lnTo>
                    <a:lnTo>
                      <a:pt x="171" y="123"/>
                    </a:lnTo>
                    <a:lnTo>
                      <a:pt x="170" y="124"/>
                    </a:lnTo>
                    <a:close/>
                    <a:moveTo>
                      <a:pt x="247" y="8"/>
                    </a:moveTo>
                    <a:lnTo>
                      <a:pt x="248" y="8"/>
                    </a:lnTo>
                    <a:lnTo>
                      <a:pt x="248" y="9"/>
                    </a:lnTo>
                    <a:lnTo>
                      <a:pt x="249" y="9"/>
                    </a:lnTo>
                    <a:lnTo>
                      <a:pt x="249" y="10"/>
                    </a:lnTo>
                    <a:lnTo>
                      <a:pt x="249" y="11"/>
                    </a:lnTo>
                    <a:lnTo>
                      <a:pt x="250" y="11"/>
                    </a:lnTo>
                    <a:lnTo>
                      <a:pt x="249" y="11"/>
                    </a:lnTo>
                    <a:lnTo>
                      <a:pt x="250" y="12"/>
                    </a:lnTo>
                    <a:lnTo>
                      <a:pt x="249" y="13"/>
                    </a:lnTo>
                    <a:lnTo>
                      <a:pt x="250" y="13"/>
                    </a:lnTo>
                    <a:lnTo>
                      <a:pt x="249" y="13"/>
                    </a:lnTo>
                    <a:lnTo>
                      <a:pt x="250" y="13"/>
                    </a:lnTo>
                    <a:lnTo>
                      <a:pt x="250" y="14"/>
                    </a:lnTo>
                    <a:lnTo>
                      <a:pt x="250" y="15"/>
                    </a:lnTo>
                    <a:lnTo>
                      <a:pt x="249" y="15"/>
                    </a:lnTo>
                    <a:lnTo>
                      <a:pt x="249" y="16"/>
                    </a:lnTo>
                    <a:lnTo>
                      <a:pt x="248" y="16"/>
                    </a:lnTo>
                    <a:lnTo>
                      <a:pt x="249" y="16"/>
                    </a:lnTo>
                    <a:lnTo>
                      <a:pt x="248" y="16"/>
                    </a:lnTo>
                    <a:lnTo>
                      <a:pt x="248" y="17"/>
                    </a:lnTo>
                    <a:lnTo>
                      <a:pt x="248" y="18"/>
                    </a:lnTo>
                    <a:lnTo>
                      <a:pt x="247" y="18"/>
                    </a:lnTo>
                    <a:lnTo>
                      <a:pt x="246" y="18"/>
                    </a:lnTo>
                    <a:lnTo>
                      <a:pt x="246" y="20"/>
                    </a:lnTo>
                    <a:lnTo>
                      <a:pt x="246" y="18"/>
                    </a:lnTo>
                    <a:lnTo>
                      <a:pt x="246" y="20"/>
                    </a:lnTo>
                    <a:lnTo>
                      <a:pt x="245" y="20"/>
                    </a:lnTo>
                    <a:lnTo>
                      <a:pt x="244" y="20"/>
                    </a:lnTo>
                    <a:lnTo>
                      <a:pt x="244" y="21"/>
                    </a:lnTo>
                    <a:lnTo>
                      <a:pt x="244" y="20"/>
                    </a:lnTo>
                    <a:lnTo>
                      <a:pt x="245" y="18"/>
                    </a:lnTo>
                    <a:lnTo>
                      <a:pt x="246" y="17"/>
                    </a:lnTo>
                    <a:lnTo>
                      <a:pt x="247" y="16"/>
                    </a:lnTo>
                    <a:lnTo>
                      <a:pt x="247" y="15"/>
                    </a:lnTo>
                    <a:lnTo>
                      <a:pt x="248" y="15"/>
                    </a:lnTo>
                    <a:lnTo>
                      <a:pt x="248" y="14"/>
                    </a:lnTo>
                    <a:lnTo>
                      <a:pt x="248" y="13"/>
                    </a:lnTo>
                    <a:lnTo>
                      <a:pt x="247" y="12"/>
                    </a:lnTo>
                    <a:lnTo>
                      <a:pt x="247" y="11"/>
                    </a:lnTo>
                    <a:lnTo>
                      <a:pt x="248" y="11"/>
                    </a:lnTo>
                    <a:lnTo>
                      <a:pt x="248" y="10"/>
                    </a:lnTo>
                    <a:lnTo>
                      <a:pt x="247" y="11"/>
                    </a:lnTo>
                    <a:lnTo>
                      <a:pt x="247" y="10"/>
                    </a:lnTo>
                    <a:lnTo>
                      <a:pt x="247" y="9"/>
                    </a:lnTo>
                    <a:lnTo>
                      <a:pt x="247" y="8"/>
                    </a:lnTo>
                    <a:close/>
                    <a:moveTo>
                      <a:pt x="245" y="4"/>
                    </a:moveTo>
                    <a:lnTo>
                      <a:pt x="245" y="5"/>
                    </a:lnTo>
                    <a:lnTo>
                      <a:pt x="245" y="4"/>
                    </a:lnTo>
                    <a:lnTo>
                      <a:pt x="244" y="2"/>
                    </a:lnTo>
                    <a:lnTo>
                      <a:pt x="244" y="1"/>
                    </a:lnTo>
                    <a:lnTo>
                      <a:pt x="245" y="1"/>
                    </a:lnTo>
                    <a:lnTo>
                      <a:pt x="245" y="2"/>
                    </a:lnTo>
                    <a:lnTo>
                      <a:pt x="245" y="3"/>
                    </a:lnTo>
                    <a:lnTo>
                      <a:pt x="246" y="3"/>
                    </a:lnTo>
                    <a:lnTo>
                      <a:pt x="246" y="4"/>
                    </a:lnTo>
                    <a:lnTo>
                      <a:pt x="245" y="4"/>
                    </a:lnTo>
                    <a:close/>
                    <a:moveTo>
                      <a:pt x="215" y="48"/>
                    </a:moveTo>
                    <a:lnTo>
                      <a:pt x="215" y="49"/>
                    </a:lnTo>
                    <a:lnTo>
                      <a:pt x="215" y="48"/>
                    </a:lnTo>
                    <a:close/>
                  </a:path>
                </a:pathLst>
              </a:custGeom>
              <a:solidFill>
                <a:srgbClr val="0F4C93"/>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8" name="Freeform 336">
                <a:extLst>
                  <a:ext uri="{FF2B5EF4-FFF2-40B4-BE49-F238E27FC236}">
                    <a16:creationId xmlns:a16="http://schemas.microsoft.com/office/drawing/2014/main" id="{71A1E65E-DED6-74F2-0A49-B3F024C4F317}"/>
                  </a:ext>
                </a:extLst>
              </p:cNvPr>
              <p:cNvSpPr>
                <a:spLocks noEditPoints="1"/>
              </p:cNvSpPr>
              <p:nvPr/>
            </p:nvSpPr>
            <p:spPr bwMode="auto">
              <a:xfrm>
                <a:off x="5062538" y="4394200"/>
                <a:ext cx="1160463" cy="595313"/>
              </a:xfrm>
              <a:custGeom>
                <a:avLst/>
                <a:gdLst>
                  <a:gd name="T0" fmla="*/ 89 w 731"/>
                  <a:gd name="T1" fmla="*/ 258 h 375"/>
                  <a:gd name="T2" fmla="*/ 58 w 731"/>
                  <a:gd name="T3" fmla="*/ 116 h 375"/>
                  <a:gd name="T4" fmla="*/ 156 w 731"/>
                  <a:gd name="T5" fmla="*/ 153 h 375"/>
                  <a:gd name="T6" fmla="*/ 235 w 731"/>
                  <a:gd name="T7" fmla="*/ 208 h 375"/>
                  <a:gd name="T8" fmla="*/ 279 w 731"/>
                  <a:gd name="T9" fmla="*/ 113 h 375"/>
                  <a:gd name="T10" fmla="*/ 355 w 731"/>
                  <a:gd name="T11" fmla="*/ 75 h 375"/>
                  <a:gd name="T12" fmla="*/ 334 w 731"/>
                  <a:gd name="T13" fmla="*/ 121 h 375"/>
                  <a:gd name="T14" fmla="*/ 378 w 731"/>
                  <a:gd name="T15" fmla="*/ 140 h 375"/>
                  <a:gd name="T16" fmla="*/ 400 w 731"/>
                  <a:gd name="T17" fmla="*/ 190 h 375"/>
                  <a:gd name="T18" fmla="*/ 366 w 731"/>
                  <a:gd name="T19" fmla="*/ 245 h 375"/>
                  <a:gd name="T20" fmla="*/ 429 w 731"/>
                  <a:gd name="T21" fmla="*/ 272 h 375"/>
                  <a:gd name="T22" fmla="*/ 358 w 731"/>
                  <a:gd name="T23" fmla="*/ 268 h 375"/>
                  <a:gd name="T24" fmla="*/ 324 w 731"/>
                  <a:gd name="T25" fmla="*/ 233 h 375"/>
                  <a:gd name="T26" fmla="*/ 296 w 731"/>
                  <a:gd name="T27" fmla="*/ 235 h 375"/>
                  <a:gd name="T28" fmla="*/ 316 w 731"/>
                  <a:gd name="T29" fmla="*/ 245 h 375"/>
                  <a:gd name="T30" fmla="*/ 335 w 731"/>
                  <a:gd name="T31" fmla="*/ 262 h 375"/>
                  <a:gd name="T32" fmla="*/ 329 w 731"/>
                  <a:gd name="T33" fmla="*/ 274 h 375"/>
                  <a:gd name="T34" fmla="*/ 318 w 731"/>
                  <a:gd name="T35" fmla="*/ 269 h 375"/>
                  <a:gd name="T36" fmla="*/ 287 w 731"/>
                  <a:gd name="T37" fmla="*/ 258 h 375"/>
                  <a:gd name="T38" fmla="*/ 348 w 731"/>
                  <a:gd name="T39" fmla="*/ 335 h 375"/>
                  <a:gd name="T40" fmla="*/ 293 w 731"/>
                  <a:gd name="T41" fmla="*/ 293 h 375"/>
                  <a:gd name="T42" fmla="*/ 224 w 731"/>
                  <a:gd name="T43" fmla="*/ 318 h 375"/>
                  <a:gd name="T44" fmla="*/ 238 w 731"/>
                  <a:gd name="T45" fmla="*/ 336 h 375"/>
                  <a:gd name="T46" fmla="*/ 288 w 731"/>
                  <a:gd name="T47" fmla="*/ 338 h 375"/>
                  <a:gd name="T48" fmla="*/ 458 w 731"/>
                  <a:gd name="T49" fmla="*/ 68 h 375"/>
                  <a:gd name="T50" fmla="*/ 446 w 731"/>
                  <a:gd name="T51" fmla="*/ 65 h 375"/>
                  <a:gd name="T52" fmla="*/ 456 w 731"/>
                  <a:gd name="T53" fmla="*/ 41 h 375"/>
                  <a:gd name="T54" fmla="*/ 482 w 731"/>
                  <a:gd name="T55" fmla="*/ 80 h 375"/>
                  <a:gd name="T56" fmla="*/ 453 w 731"/>
                  <a:gd name="T57" fmla="*/ 154 h 375"/>
                  <a:gd name="T58" fmla="*/ 386 w 731"/>
                  <a:gd name="T59" fmla="*/ 242 h 375"/>
                  <a:gd name="T60" fmla="*/ 476 w 731"/>
                  <a:gd name="T61" fmla="*/ 48 h 375"/>
                  <a:gd name="T62" fmla="*/ 303 w 731"/>
                  <a:gd name="T63" fmla="*/ 331 h 375"/>
                  <a:gd name="T64" fmla="*/ 384 w 731"/>
                  <a:gd name="T65" fmla="*/ 79 h 375"/>
                  <a:gd name="T66" fmla="*/ 433 w 731"/>
                  <a:gd name="T67" fmla="*/ 71 h 375"/>
                  <a:gd name="T68" fmla="*/ 482 w 731"/>
                  <a:gd name="T69" fmla="*/ 83 h 375"/>
                  <a:gd name="T70" fmla="*/ 415 w 731"/>
                  <a:gd name="T71" fmla="*/ 210 h 375"/>
                  <a:gd name="T72" fmla="*/ 307 w 731"/>
                  <a:gd name="T73" fmla="*/ 264 h 375"/>
                  <a:gd name="T74" fmla="*/ 342 w 731"/>
                  <a:gd name="T75" fmla="*/ 345 h 375"/>
                  <a:gd name="T76" fmla="*/ 460 w 731"/>
                  <a:gd name="T77" fmla="*/ 126 h 375"/>
                  <a:gd name="T78" fmla="*/ 310 w 731"/>
                  <a:gd name="T79" fmla="*/ 234 h 375"/>
                  <a:gd name="T80" fmla="*/ 473 w 731"/>
                  <a:gd name="T81" fmla="*/ 193 h 375"/>
                  <a:gd name="T82" fmla="*/ 371 w 731"/>
                  <a:gd name="T83" fmla="*/ 101 h 375"/>
                  <a:gd name="T84" fmla="*/ 449 w 731"/>
                  <a:gd name="T85" fmla="*/ 203 h 375"/>
                  <a:gd name="T86" fmla="*/ 488 w 731"/>
                  <a:gd name="T87" fmla="*/ 115 h 375"/>
                  <a:gd name="T88" fmla="*/ 471 w 731"/>
                  <a:gd name="T89" fmla="*/ 141 h 375"/>
                  <a:gd name="T90" fmla="*/ 345 w 731"/>
                  <a:gd name="T91" fmla="*/ 341 h 375"/>
                  <a:gd name="T92" fmla="*/ 430 w 731"/>
                  <a:gd name="T93" fmla="*/ 81 h 375"/>
                  <a:gd name="T94" fmla="*/ 433 w 731"/>
                  <a:gd name="T95" fmla="*/ 197 h 375"/>
                  <a:gd name="T96" fmla="*/ 255 w 731"/>
                  <a:gd name="T97" fmla="*/ 305 h 375"/>
                  <a:gd name="T98" fmla="*/ 727 w 731"/>
                  <a:gd name="T99" fmla="*/ 144 h 375"/>
                  <a:gd name="T100" fmla="*/ 453 w 731"/>
                  <a:gd name="T101" fmla="*/ 118 h 375"/>
                  <a:gd name="T102" fmla="*/ 313 w 731"/>
                  <a:gd name="T103" fmla="*/ 273 h 375"/>
                  <a:gd name="T104" fmla="*/ 403 w 731"/>
                  <a:gd name="T105" fmla="*/ 174 h 375"/>
                  <a:gd name="T106" fmla="*/ 436 w 731"/>
                  <a:gd name="T107" fmla="*/ 225 h 375"/>
                  <a:gd name="T108" fmla="*/ 332 w 731"/>
                  <a:gd name="T109" fmla="*/ 242 h 375"/>
                  <a:gd name="T110" fmla="*/ 464 w 731"/>
                  <a:gd name="T111" fmla="*/ 134 h 375"/>
                  <a:gd name="T112" fmla="*/ 311 w 731"/>
                  <a:gd name="T113" fmla="*/ 303 h 375"/>
                  <a:gd name="T114" fmla="*/ 429 w 731"/>
                  <a:gd name="T115" fmla="*/ 76 h 375"/>
                  <a:gd name="T116" fmla="*/ 316 w 731"/>
                  <a:gd name="T117" fmla="*/ 244 h 375"/>
                  <a:gd name="T118" fmla="*/ 481 w 731"/>
                  <a:gd name="T119" fmla="*/ 134 h 375"/>
                  <a:gd name="T120" fmla="*/ 449 w 731"/>
                  <a:gd name="T121" fmla="*/ 143 h 375"/>
                  <a:gd name="T122" fmla="*/ 485 w 731"/>
                  <a:gd name="T123" fmla="*/ 89 h 375"/>
                  <a:gd name="T124" fmla="*/ 465 w 731"/>
                  <a:gd name="T125" fmla="*/ 15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1" h="375">
                    <a:moveTo>
                      <a:pt x="306" y="364"/>
                    </a:moveTo>
                    <a:lnTo>
                      <a:pt x="305" y="363"/>
                    </a:lnTo>
                    <a:lnTo>
                      <a:pt x="305" y="362"/>
                    </a:lnTo>
                    <a:lnTo>
                      <a:pt x="304" y="361"/>
                    </a:lnTo>
                    <a:lnTo>
                      <a:pt x="303" y="360"/>
                    </a:lnTo>
                    <a:lnTo>
                      <a:pt x="301" y="359"/>
                    </a:lnTo>
                    <a:lnTo>
                      <a:pt x="300" y="359"/>
                    </a:lnTo>
                    <a:lnTo>
                      <a:pt x="298" y="359"/>
                    </a:lnTo>
                    <a:lnTo>
                      <a:pt x="298" y="358"/>
                    </a:lnTo>
                    <a:lnTo>
                      <a:pt x="297" y="358"/>
                    </a:lnTo>
                    <a:lnTo>
                      <a:pt x="296" y="358"/>
                    </a:lnTo>
                    <a:lnTo>
                      <a:pt x="295" y="359"/>
                    </a:lnTo>
                    <a:lnTo>
                      <a:pt x="294" y="358"/>
                    </a:lnTo>
                    <a:lnTo>
                      <a:pt x="293" y="358"/>
                    </a:lnTo>
                    <a:lnTo>
                      <a:pt x="292" y="358"/>
                    </a:lnTo>
                    <a:lnTo>
                      <a:pt x="290" y="358"/>
                    </a:lnTo>
                    <a:lnTo>
                      <a:pt x="287" y="358"/>
                    </a:lnTo>
                    <a:lnTo>
                      <a:pt x="285" y="357"/>
                    </a:lnTo>
                    <a:lnTo>
                      <a:pt x="283" y="354"/>
                    </a:lnTo>
                    <a:lnTo>
                      <a:pt x="280" y="352"/>
                    </a:lnTo>
                    <a:lnTo>
                      <a:pt x="279" y="352"/>
                    </a:lnTo>
                    <a:lnTo>
                      <a:pt x="275" y="352"/>
                    </a:lnTo>
                    <a:lnTo>
                      <a:pt x="274" y="352"/>
                    </a:lnTo>
                    <a:lnTo>
                      <a:pt x="273" y="351"/>
                    </a:lnTo>
                    <a:lnTo>
                      <a:pt x="271" y="349"/>
                    </a:lnTo>
                    <a:lnTo>
                      <a:pt x="270" y="348"/>
                    </a:lnTo>
                    <a:lnTo>
                      <a:pt x="269" y="348"/>
                    </a:lnTo>
                    <a:lnTo>
                      <a:pt x="268" y="348"/>
                    </a:lnTo>
                    <a:lnTo>
                      <a:pt x="267" y="348"/>
                    </a:lnTo>
                    <a:lnTo>
                      <a:pt x="266" y="348"/>
                    </a:lnTo>
                    <a:lnTo>
                      <a:pt x="265" y="348"/>
                    </a:lnTo>
                    <a:lnTo>
                      <a:pt x="264" y="348"/>
                    </a:lnTo>
                    <a:lnTo>
                      <a:pt x="261" y="347"/>
                    </a:lnTo>
                    <a:lnTo>
                      <a:pt x="260" y="347"/>
                    </a:lnTo>
                    <a:lnTo>
                      <a:pt x="259" y="346"/>
                    </a:lnTo>
                    <a:lnTo>
                      <a:pt x="258" y="345"/>
                    </a:lnTo>
                    <a:lnTo>
                      <a:pt x="257" y="344"/>
                    </a:lnTo>
                    <a:lnTo>
                      <a:pt x="256" y="344"/>
                    </a:lnTo>
                    <a:lnTo>
                      <a:pt x="254" y="343"/>
                    </a:lnTo>
                    <a:lnTo>
                      <a:pt x="253" y="341"/>
                    </a:lnTo>
                    <a:lnTo>
                      <a:pt x="252" y="341"/>
                    </a:lnTo>
                    <a:lnTo>
                      <a:pt x="249" y="341"/>
                    </a:lnTo>
                    <a:lnTo>
                      <a:pt x="248" y="341"/>
                    </a:lnTo>
                    <a:lnTo>
                      <a:pt x="246" y="341"/>
                    </a:lnTo>
                    <a:lnTo>
                      <a:pt x="241" y="340"/>
                    </a:lnTo>
                    <a:lnTo>
                      <a:pt x="239" y="339"/>
                    </a:lnTo>
                    <a:lnTo>
                      <a:pt x="238" y="339"/>
                    </a:lnTo>
                    <a:lnTo>
                      <a:pt x="236" y="338"/>
                    </a:lnTo>
                    <a:lnTo>
                      <a:pt x="235" y="338"/>
                    </a:lnTo>
                    <a:lnTo>
                      <a:pt x="234" y="337"/>
                    </a:lnTo>
                    <a:lnTo>
                      <a:pt x="234" y="336"/>
                    </a:lnTo>
                    <a:lnTo>
                      <a:pt x="233" y="335"/>
                    </a:lnTo>
                    <a:lnTo>
                      <a:pt x="232" y="334"/>
                    </a:lnTo>
                    <a:lnTo>
                      <a:pt x="232" y="333"/>
                    </a:lnTo>
                    <a:lnTo>
                      <a:pt x="230" y="332"/>
                    </a:lnTo>
                    <a:lnTo>
                      <a:pt x="229" y="329"/>
                    </a:lnTo>
                    <a:lnTo>
                      <a:pt x="227" y="328"/>
                    </a:lnTo>
                    <a:lnTo>
                      <a:pt x="227" y="327"/>
                    </a:lnTo>
                    <a:lnTo>
                      <a:pt x="226" y="327"/>
                    </a:lnTo>
                    <a:lnTo>
                      <a:pt x="226" y="326"/>
                    </a:lnTo>
                    <a:lnTo>
                      <a:pt x="224" y="325"/>
                    </a:lnTo>
                    <a:lnTo>
                      <a:pt x="224" y="324"/>
                    </a:lnTo>
                    <a:lnTo>
                      <a:pt x="223" y="323"/>
                    </a:lnTo>
                    <a:lnTo>
                      <a:pt x="222" y="323"/>
                    </a:lnTo>
                    <a:lnTo>
                      <a:pt x="220" y="321"/>
                    </a:lnTo>
                    <a:lnTo>
                      <a:pt x="218" y="320"/>
                    </a:lnTo>
                    <a:lnTo>
                      <a:pt x="216" y="318"/>
                    </a:lnTo>
                    <a:lnTo>
                      <a:pt x="215" y="316"/>
                    </a:lnTo>
                    <a:lnTo>
                      <a:pt x="214" y="316"/>
                    </a:lnTo>
                    <a:lnTo>
                      <a:pt x="213" y="316"/>
                    </a:lnTo>
                    <a:lnTo>
                      <a:pt x="210" y="316"/>
                    </a:lnTo>
                    <a:lnTo>
                      <a:pt x="209" y="316"/>
                    </a:lnTo>
                    <a:lnTo>
                      <a:pt x="206" y="315"/>
                    </a:lnTo>
                    <a:lnTo>
                      <a:pt x="206" y="314"/>
                    </a:lnTo>
                    <a:lnTo>
                      <a:pt x="205" y="314"/>
                    </a:lnTo>
                    <a:lnTo>
                      <a:pt x="204" y="314"/>
                    </a:lnTo>
                    <a:lnTo>
                      <a:pt x="203" y="313"/>
                    </a:lnTo>
                    <a:lnTo>
                      <a:pt x="202" y="313"/>
                    </a:lnTo>
                    <a:lnTo>
                      <a:pt x="201" y="312"/>
                    </a:lnTo>
                    <a:lnTo>
                      <a:pt x="201" y="311"/>
                    </a:lnTo>
                    <a:lnTo>
                      <a:pt x="200" y="310"/>
                    </a:lnTo>
                    <a:lnTo>
                      <a:pt x="200" y="309"/>
                    </a:lnTo>
                    <a:lnTo>
                      <a:pt x="200" y="308"/>
                    </a:lnTo>
                    <a:lnTo>
                      <a:pt x="198" y="307"/>
                    </a:lnTo>
                    <a:lnTo>
                      <a:pt x="198" y="306"/>
                    </a:lnTo>
                    <a:lnTo>
                      <a:pt x="198" y="305"/>
                    </a:lnTo>
                    <a:lnTo>
                      <a:pt x="198" y="303"/>
                    </a:lnTo>
                    <a:lnTo>
                      <a:pt x="197" y="300"/>
                    </a:lnTo>
                    <a:lnTo>
                      <a:pt x="197" y="299"/>
                    </a:lnTo>
                    <a:lnTo>
                      <a:pt x="196" y="297"/>
                    </a:lnTo>
                    <a:lnTo>
                      <a:pt x="193" y="294"/>
                    </a:lnTo>
                    <a:lnTo>
                      <a:pt x="192" y="293"/>
                    </a:lnTo>
                    <a:lnTo>
                      <a:pt x="191" y="290"/>
                    </a:lnTo>
                    <a:lnTo>
                      <a:pt x="190" y="289"/>
                    </a:lnTo>
                    <a:lnTo>
                      <a:pt x="190" y="287"/>
                    </a:lnTo>
                    <a:lnTo>
                      <a:pt x="189" y="287"/>
                    </a:lnTo>
                    <a:lnTo>
                      <a:pt x="188" y="286"/>
                    </a:lnTo>
                    <a:lnTo>
                      <a:pt x="187" y="286"/>
                    </a:lnTo>
                    <a:lnTo>
                      <a:pt x="185" y="286"/>
                    </a:lnTo>
                    <a:lnTo>
                      <a:pt x="183" y="285"/>
                    </a:lnTo>
                    <a:lnTo>
                      <a:pt x="181" y="284"/>
                    </a:lnTo>
                    <a:lnTo>
                      <a:pt x="180" y="284"/>
                    </a:lnTo>
                    <a:lnTo>
                      <a:pt x="179" y="283"/>
                    </a:lnTo>
                    <a:lnTo>
                      <a:pt x="176" y="284"/>
                    </a:lnTo>
                    <a:lnTo>
                      <a:pt x="175" y="283"/>
                    </a:lnTo>
                    <a:lnTo>
                      <a:pt x="174" y="283"/>
                    </a:lnTo>
                    <a:lnTo>
                      <a:pt x="171" y="283"/>
                    </a:lnTo>
                    <a:lnTo>
                      <a:pt x="170" y="283"/>
                    </a:lnTo>
                    <a:lnTo>
                      <a:pt x="168" y="283"/>
                    </a:lnTo>
                    <a:lnTo>
                      <a:pt x="167" y="283"/>
                    </a:lnTo>
                    <a:lnTo>
                      <a:pt x="166" y="283"/>
                    </a:lnTo>
                    <a:lnTo>
                      <a:pt x="165" y="284"/>
                    </a:lnTo>
                    <a:lnTo>
                      <a:pt x="164" y="284"/>
                    </a:lnTo>
                    <a:lnTo>
                      <a:pt x="162" y="284"/>
                    </a:lnTo>
                    <a:lnTo>
                      <a:pt x="161" y="284"/>
                    </a:lnTo>
                    <a:lnTo>
                      <a:pt x="159" y="283"/>
                    </a:lnTo>
                    <a:lnTo>
                      <a:pt x="158" y="283"/>
                    </a:lnTo>
                    <a:lnTo>
                      <a:pt x="157" y="283"/>
                    </a:lnTo>
                    <a:lnTo>
                      <a:pt x="156" y="283"/>
                    </a:lnTo>
                    <a:lnTo>
                      <a:pt x="155" y="283"/>
                    </a:lnTo>
                    <a:lnTo>
                      <a:pt x="154" y="284"/>
                    </a:lnTo>
                    <a:lnTo>
                      <a:pt x="153" y="284"/>
                    </a:lnTo>
                    <a:lnTo>
                      <a:pt x="152" y="285"/>
                    </a:lnTo>
                    <a:lnTo>
                      <a:pt x="150" y="285"/>
                    </a:lnTo>
                    <a:lnTo>
                      <a:pt x="149" y="285"/>
                    </a:lnTo>
                    <a:lnTo>
                      <a:pt x="146" y="285"/>
                    </a:lnTo>
                    <a:lnTo>
                      <a:pt x="145" y="285"/>
                    </a:lnTo>
                    <a:lnTo>
                      <a:pt x="144" y="285"/>
                    </a:lnTo>
                    <a:lnTo>
                      <a:pt x="143" y="285"/>
                    </a:lnTo>
                    <a:lnTo>
                      <a:pt x="142" y="284"/>
                    </a:lnTo>
                    <a:lnTo>
                      <a:pt x="141" y="284"/>
                    </a:lnTo>
                    <a:lnTo>
                      <a:pt x="140" y="283"/>
                    </a:lnTo>
                    <a:lnTo>
                      <a:pt x="138" y="282"/>
                    </a:lnTo>
                    <a:lnTo>
                      <a:pt x="136" y="281"/>
                    </a:lnTo>
                    <a:lnTo>
                      <a:pt x="136" y="280"/>
                    </a:lnTo>
                    <a:lnTo>
                      <a:pt x="136" y="279"/>
                    </a:lnTo>
                    <a:lnTo>
                      <a:pt x="136" y="277"/>
                    </a:lnTo>
                    <a:lnTo>
                      <a:pt x="136" y="276"/>
                    </a:lnTo>
                    <a:lnTo>
                      <a:pt x="137" y="275"/>
                    </a:lnTo>
                    <a:lnTo>
                      <a:pt x="138" y="274"/>
                    </a:lnTo>
                    <a:lnTo>
                      <a:pt x="139" y="273"/>
                    </a:lnTo>
                    <a:lnTo>
                      <a:pt x="139" y="272"/>
                    </a:lnTo>
                    <a:lnTo>
                      <a:pt x="137" y="271"/>
                    </a:lnTo>
                    <a:lnTo>
                      <a:pt x="137" y="270"/>
                    </a:lnTo>
                    <a:lnTo>
                      <a:pt x="136" y="269"/>
                    </a:lnTo>
                    <a:lnTo>
                      <a:pt x="136" y="268"/>
                    </a:lnTo>
                    <a:lnTo>
                      <a:pt x="135" y="267"/>
                    </a:lnTo>
                    <a:lnTo>
                      <a:pt x="133" y="267"/>
                    </a:lnTo>
                    <a:lnTo>
                      <a:pt x="133" y="266"/>
                    </a:lnTo>
                    <a:lnTo>
                      <a:pt x="129" y="260"/>
                    </a:lnTo>
                    <a:lnTo>
                      <a:pt x="129" y="259"/>
                    </a:lnTo>
                    <a:lnTo>
                      <a:pt x="128" y="258"/>
                    </a:lnTo>
                    <a:lnTo>
                      <a:pt x="126" y="256"/>
                    </a:lnTo>
                    <a:lnTo>
                      <a:pt x="125" y="255"/>
                    </a:lnTo>
                    <a:lnTo>
                      <a:pt x="123" y="254"/>
                    </a:lnTo>
                    <a:lnTo>
                      <a:pt x="122" y="254"/>
                    </a:lnTo>
                    <a:lnTo>
                      <a:pt x="120" y="252"/>
                    </a:lnTo>
                    <a:lnTo>
                      <a:pt x="118" y="252"/>
                    </a:lnTo>
                    <a:lnTo>
                      <a:pt x="117" y="252"/>
                    </a:lnTo>
                    <a:lnTo>
                      <a:pt x="115" y="252"/>
                    </a:lnTo>
                    <a:lnTo>
                      <a:pt x="114" y="252"/>
                    </a:lnTo>
                    <a:lnTo>
                      <a:pt x="112" y="252"/>
                    </a:lnTo>
                    <a:lnTo>
                      <a:pt x="100" y="257"/>
                    </a:lnTo>
                    <a:lnTo>
                      <a:pt x="93" y="258"/>
                    </a:lnTo>
                    <a:lnTo>
                      <a:pt x="92" y="259"/>
                    </a:lnTo>
                    <a:lnTo>
                      <a:pt x="91" y="259"/>
                    </a:lnTo>
                    <a:lnTo>
                      <a:pt x="90" y="258"/>
                    </a:lnTo>
                    <a:lnTo>
                      <a:pt x="89" y="258"/>
                    </a:lnTo>
                    <a:lnTo>
                      <a:pt x="88" y="257"/>
                    </a:lnTo>
                    <a:lnTo>
                      <a:pt x="87" y="256"/>
                    </a:lnTo>
                    <a:lnTo>
                      <a:pt x="87" y="255"/>
                    </a:lnTo>
                    <a:lnTo>
                      <a:pt x="86" y="252"/>
                    </a:lnTo>
                    <a:lnTo>
                      <a:pt x="85" y="252"/>
                    </a:lnTo>
                    <a:lnTo>
                      <a:pt x="85" y="251"/>
                    </a:lnTo>
                    <a:lnTo>
                      <a:pt x="85" y="250"/>
                    </a:lnTo>
                    <a:lnTo>
                      <a:pt x="85" y="249"/>
                    </a:lnTo>
                    <a:lnTo>
                      <a:pt x="84" y="249"/>
                    </a:lnTo>
                    <a:lnTo>
                      <a:pt x="82" y="248"/>
                    </a:lnTo>
                    <a:lnTo>
                      <a:pt x="81" y="248"/>
                    </a:lnTo>
                    <a:lnTo>
                      <a:pt x="81" y="247"/>
                    </a:lnTo>
                    <a:lnTo>
                      <a:pt x="81" y="246"/>
                    </a:lnTo>
                    <a:lnTo>
                      <a:pt x="81" y="245"/>
                    </a:lnTo>
                    <a:lnTo>
                      <a:pt x="81" y="244"/>
                    </a:lnTo>
                    <a:lnTo>
                      <a:pt x="82" y="243"/>
                    </a:lnTo>
                    <a:lnTo>
                      <a:pt x="80" y="239"/>
                    </a:lnTo>
                    <a:lnTo>
                      <a:pt x="78" y="238"/>
                    </a:lnTo>
                    <a:lnTo>
                      <a:pt x="78" y="237"/>
                    </a:lnTo>
                    <a:lnTo>
                      <a:pt x="77" y="237"/>
                    </a:lnTo>
                    <a:lnTo>
                      <a:pt x="77" y="236"/>
                    </a:lnTo>
                    <a:lnTo>
                      <a:pt x="76" y="235"/>
                    </a:lnTo>
                    <a:lnTo>
                      <a:pt x="72" y="230"/>
                    </a:lnTo>
                    <a:lnTo>
                      <a:pt x="69" y="224"/>
                    </a:lnTo>
                    <a:lnTo>
                      <a:pt x="69" y="223"/>
                    </a:lnTo>
                    <a:lnTo>
                      <a:pt x="68" y="223"/>
                    </a:lnTo>
                    <a:lnTo>
                      <a:pt x="69" y="223"/>
                    </a:lnTo>
                    <a:lnTo>
                      <a:pt x="67" y="219"/>
                    </a:lnTo>
                    <a:lnTo>
                      <a:pt x="67" y="218"/>
                    </a:lnTo>
                    <a:lnTo>
                      <a:pt x="67" y="217"/>
                    </a:lnTo>
                    <a:lnTo>
                      <a:pt x="66" y="216"/>
                    </a:lnTo>
                    <a:lnTo>
                      <a:pt x="66" y="215"/>
                    </a:lnTo>
                    <a:lnTo>
                      <a:pt x="66" y="213"/>
                    </a:lnTo>
                    <a:lnTo>
                      <a:pt x="65" y="213"/>
                    </a:lnTo>
                    <a:lnTo>
                      <a:pt x="65" y="212"/>
                    </a:lnTo>
                    <a:lnTo>
                      <a:pt x="65" y="211"/>
                    </a:lnTo>
                    <a:lnTo>
                      <a:pt x="64" y="210"/>
                    </a:lnTo>
                    <a:lnTo>
                      <a:pt x="65" y="210"/>
                    </a:lnTo>
                    <a:lnTo>
                      <a:pt x="64" y="210"/>
                    </a:lnTo>
                    <a:lnTo>
                      <a:pt x="64" y="209"/>
                    </a:lnTo>
                    <a:lnTo>
                      <a:pt x="64" y="208"/>
                    </a:lnTo>
                    <a:lnTo>
                      <a:pt x="63" y="205"/>
                    </a:lnTo>
                    <a:lnTo>
                      <a:pt x="64" y="205"/>
                    </a:lnTo>
                    <a:lnTo>
                      <a:pt x="65" y="204"/>
                    </a:lnTo>
                    <a:lnTo>
                      <a:pt x="66" y="203"/>
                    </a:lnTo>
                    <a:lnTo>
                      <a:pt x="66" y="202"/>
                    </a:lnTo>
                    <a:lnTo>
                      <a:pt x="67" y="200"/>
                    </a:lnTo>
                    <a:lnTo>
                      <a:pt x="67" y="199"/>
                    </a:lnTo>
                    <a:lnTo>
                      <a:pt x="67" y="198"/>
                    </a:lnTo>
                    <a:lnTo>
                      <a:pt x="67" y="196"/>
                    </a:lnTo>
                    <a:lnTo>
                      <a:pt x="67" y="195"/>
                    </a:lnTo>
                    <a:lnTo>
                      <a:pt x="67" y="194"/>
                    </a:lnTo>
                    <a:lnTo>
                      <a:pt x="67" y="193"/>
                    </a:lnTo>
                    <a:lnTo>
                      <a:pt x="67" y="192"/>
                    </a:lnTo>
                    <a:lnTo>
                      <a:pt x="65" y="187"/>
                    </a:lnTo>
                    <a:lnTo>
                      <a:pt x="64" y="185"/>
                    </a:lnTo>
                    <a:lnTo>
                      <a:pt x="64" y="184"/>
                    </a:lnTo>
                    <a:lnTo>
                      <a:pt x="64" y="183"/>
                    </a:lnTo>
                    <a:lnTo>
                      <a:pt x="63" y="182"/>
                    </a:lnTo>
                    <a:lnTo>
                      <a:pt x="62" y="180"/>
                    </a:lnTo>
                    <a:lnTo>
                      <a:pt x="60" y="177"/>
                    </a:lnTo>
                    <a:lnTo>
                      <a:pt x="58" y="173"/>
                    </a:lnTo>
                    <a:lnTo>
                      <a:pt x="56" y="172"/>
                    </a:lnTo>
                    <a:lnTo>
                      <a:pt x="54" y="170"/>
                    </a:lnTo>
                    <a:lnTo>
                      <a:pt x="53" y="168"/>
                    </a:lnTo>
                    <a:lnTo>
                      <a:pt x="51" y="168"/>
                    </a:lnTo>
                    <a:lnTo>
                      <a:pt x="50" y="167"/>
                    </a:lnTo>
                    <a:lnTo>
                      <a:pt x="49" y="167"/>
                    </a:lnTo>
                    <a:lnTo>
                      <a:pt x="47" y="166"/>
                    </a:lnTo>
                    <a:lnTo>
                      <a:pt x="46" y="166"/>
                    </a:lnTo>
                    <a:lnTo>
                      <a:pt x="42" y="166"/>
                    </a:lnTo>
                    <a:lnTo>
                      <a:pt x="38" y="166"/>
                    </a:lnTo>
                    <a:lnTo>
                      <a:pt x="34" y="166"/>
                    </a:lnTo>
                    <a:lnTo>
                      <a:pt x="32" y="166"/>
                    </a:lnTo>
                    <a:lnTo>
                      <a:pt x="26" y="166"/>
                    </a:lnTo>
                    <a:lnTo>
                      <a:pt x="20" y="162"/>
                    </a:lnTo>
                    <a:lnTo>
                      <a:pt x="17" y="161"/>
                    </a:lnTo>
                    <a:lnTo>
                      <a:pt x="15" y="160"/>
                    </a:lnTo>
                    <a:lnTo>
                      <a:pt x="12" y="159"/>
                    </a:lnTo>
                    <a:lnTo>
                      <a:pt x="10" y="157"/>
                    </a:lnTo>
                    <a:lnTo>
                      <a:pt x="9" y="156"/>
                    </a:lnTo>
                    <a:lnTo>
                      <a:pt x="4" y="153"/>
                    </a:lnTo>
                    <a:lnTo>
                      <a:pt x="3" y="152"/>
                    </a:lnTo>
                    <a:lnTo>
                      <a:pt x="1" y="151"/>
                    </a:lnTo>
                    <a:lnTo>
                      <a:pt x="0" y="151"/>
                    </a:lnTo>
                    <a:lnTo>
                      <a:pt x="1" y="148"/>
                    </a:lnTo>
                    <a:lnTo>
                      <a:pt x="2" y="145"/>
                    </a:lnTo>
                    <a:lnTo>
                      <a:pt x="3" y="143"/>
                    </a:lnTo>
                    <a:lnTo>
                      <a:pt x="3" y="142"/>
                    </a:lnTo>
                    <a:lnTo>
                      <a:pt x="4" y="142"/>
                    </a:lnTo>
                    <a:lnTo>
                      <a:pt x="6" y="139"/>
                    </a:lnTo>
                    <a:lnTo>
                      <a:pt x="8" y="132"/>
                    </a:lnTo>
                    <a:lnTo>
                      <a:pt x="9" y="131"/>
                    </a:lnTo>
                    <a:lnTo>
                      <a:pt x="9" y="130"/>
                    </a:lnTo>
                    <a:lnTo>
                      <a:pt x="10" y="129"/>
                    </a:lnTo>
                    <a:lnTo>
                      <a:pt x="9" y="128"/>
                    </a:lnTo>
                    <a:lnTo>
                      <a:pt x="8" y="128"/>
                    </a:lnTo>
                    <a:lnTo>
                      <a:pt x="8" y="127"/>
                    </a:lnTo>
                    <a:lnTo>
                      <a:pt x="9" y="127"/>
                    </a:lnTo>
                    <a:lnTo>
                      <a:pt x="10" y="126"/>
                    </a:lnTo>
                    <a:lnTo>
                      <a:pt x="11" y="126"/>
                    </a:lnTo>
                    <a:lnTo>
                      <a:pt x="10" y="129"/>
                    </a:lnTo>
                    <a:lnTo>
                      <a:pt x="11" y="129"/>
                    </a:lnTo>
                    <a:lnTo>
                      <a:pt x="13" y="123"/>
                    </a:lnTo>
                    <a:lnTo>
                      <a:pt x="13" y="122"/>
                    </a:lnTo>
                    <a:lnTo>
                      <a:pt x="14" y="121"/>
                    </a:lnTo>
                    <a:lnTo>
                      <a:pt x="14" y="120"/>
                    </a:lnTo>
                    <a:lnTo>
                      <a:pt x="14" y="119"/>
                    </a:lnTo>
                    <a:lnTo>
                      <a:pt x="15" y="120"/>
                    </a:lnTo>
                    <a:lnTo>
                      <a:pt x="16" y="120"/>
                    </a:lnTo>
                    <a:lnTo>
                      <a:pt x="17" y="121"/>
                    </a:lnTo>
                    <a:lnTo>
                      <a:pt x="19" y="121"/>
                    </a:lnTo>
                    <a:lnTo>
                      <a:pt x="20" y="121"/>
                    </a:lnTo>
                    <a:lnTo>
                      <a:pt x="20" y="120"/>
                    </a:lnTo>
                    <a:lnTo>
                      <a:pt x="21" y="119"/>
                    </a:lnTo>
                    <a:lnTo>
                      <a:pt x="22" y="118"/>
                    </a:lnTo>
                    <a:lnTo>
                      <a:pt x="22" y="117"/>
                    </a:lnTo>
                    <a:lnTo>
                      <a:pt x="23" y="117"/>
                    </a:lnTo>
                    <a:lnTo>
                      <a:pt x="23" y="116"/>
                    </a:lnTo>
                    <a:lnTo>
                      <a:pt x="24" y="116"/>
                    </a:lnTo>
                    <a:lnTo>
                      <a:pt x="25" y="116"/>
                    </a:lnTo>
                    <a:lnTo>
                      <a:pt x="26" y="117"/>
                    </a:lnTo>
                    <a:lnTo>
                      <a:pt x="26" y="118"/>
                    </a:lnTo>
                    <a:lnTo>
                      <a:pt x="27" y="119"/>
                    </a:lnTo>
                    <a:lnTo>
                      <a:pt x="28" y="119"/>
                    </a:lnTo>
                    <a:lnTo>
                      <a:pt x="29" y="119"/>
                    </a:lnTo>
                    <a:lnTo>
                      <a:pt x="30" y="120"/>
                    </a:lnTo>
                    <a:lnTo>
                      <a:pt x="30" y="121"/>
                    </a:lnTo>
                    <a:lnTo>
                      <a:pt x="32" y="122"/>
                    </a:lnTo>
                    <a:lnTo>
                      <a:pt x="33" y="122"/>
                    </a:lnTo>
                    <a:lnTo>
                      <a:pt x="34" y="122"/>
                    </a:lnTo>
                    <a:lnTo>
                      <a:pt x="34" y="121"/>
                    </a:lnTo>
                    <a:lnTo>
                      <a:pt x="35" y="121"/>
                    </a:lnTo>
                    <a:lnTo>
                      <a:pt x="35" y="122"/>
                    </a:lnTo>
                    <a:lnTo>
                      <a:pt x="35" y="123"/>
                    </a:lnTo>
                    <a:lnTo>
                      <a:pt x="36" y="125"/>
                    </a:lnTo>
                    <a:lnTo>
                      <a:pt x="36" y="126"/>
                    </a:lnTo>
                    <a:lnTo>
                      <a:pt x="37" y="126"/>
                    </a:lnTo>
                    <a:lnTo>
                      <a:pt x="38" y="126"/>
                    </a:lnTo>
                    <a:lnTo>
                      <a:pt x="39" y="126"/>
                    </a:lnTo>
                    <a:lnTo>
                      <a:pt x="40" y="126"/>
                    </a:lnTo>
                    <a:lnTo>
                      <a:pt x="40" y="125"/>
                    </a:lnTo>
                    <a:lnTo>
                      <a:pt x="41" y="125"/>
                    </a:lnTo>
                    <a:lnTo>
                      <a:pt x="42" y="125"/>
                    </a:lnTo>
                    <a:lnTo>
                      <a:pt x="42" y="126"/>
                    </a:lnTo>
                    <a:lnTo>
                      <a:pt x="45" y="127"/>
                    </a:lnTo>
                    <a:lnTo>
                      <a:pt x="46" y="126"/>
                    </a:lnTo>
                    <a:lnTo>
                      <a:pt x="46" y="125"/>
                    </a:lnTo>
                    <a:lnTo>
                      <a:pt x="46" y="123"/>
                    </a:lnTo>
                    <a:lnTo>
                      <a:pt x="47" y="123"/>
                    </a:lnTo>
                    <a:lnTo>
                      <a:pt x="47" y="122"/>
                    </a:lnTo>
                    <a:lnTo>
                      <a:pt x="48" y="122"/>
                    </a:lnTo>
                    <a:lnTo>
                      <a:pt x="48" y="121"/>
                    </a:lnTo>
                    <a:lnTo>
                      <a:pt x="49" y="121"/>
                    </a:lnTo>
                    <a:lnTo>
                      <a:pt x="50" y="121"/>
                    </a:lnTo>
                    <a:lnTo>
                      <a:pt x="51" y="121"/>
                    </a:lnTo>
                    <a:lnTo>
                      <a:pt x="52" y="121"/>
                    </a:lnTo>
                    <a:lnTo>
                      <a:pt x="53" y="120"/>
                    </a:lnTo>
                    <a:lnTo>
                      <a:pt x="53" y="119"/>
                    </a:lnTo>
                    <a:lnTo>
                      <a:pt x="54" y="120"/>
                    </a:lnTo>
                    <a:lnTo>
                      <a:pt x="54" y="119"/>
                    </a:lnTo>
                    <a:lnTo>
                      <a:pt x="54" y="120"/>
                    </a:lnTo>
                    <a:lnTo>
                      <a:pt x="54" y="119"/>
                    </a:lnTo>
                    <a:lnTo>
                      <a:pt x="54" y="118"/>
                    </a:lnTo>
                    <a:lnTo>
                      <a:pt x="55" y="118"/>
                    </a:lnTo>
                    <a:lnTo>
                      <a:pt x="56" y="117"/>
                    </a:lnTo>
                    <a:lnTo>
                      <a:pt x="58" y="117"/>
                    </a:lnTo>
                    <a:lnTo>
                      <a:pt x="58" y="116"/>
                    </a:lnTo>
                    <a:lnTo>
                      <a:pt x="59" y="115"/>
                    </a:lnTo>
                    <a:lnTo>
                      <a:pt x="60" y="115"/>
                    </a:lnTo>
                    <a:lnTo>
                      <a:pt x="60" y="114"/>
                    </a:lnTo>
                    <a:lnTo>
                      <a:pt x="60" y="113"/>
                    </a:lnTo>
                    <a:lnTo>
                      <a:pt x="61" y="113"/>
                    </a:lnTo>
                    <a:lnTo>
                      <a:pt x="62" y="113"/>
                    </a:lnTo>
                    <a:lnTo>
                      <a:pt x="63" y="112"/>
                    </a:lnTo>
                    <a:lnTo>
                      <a:pt x="64" y="112"/>
                    </a:lnTo>
                    <a:lnTo>
                      <a:pt x="65" y="112"/>
                    </a:lnTo>
                    <a:lnTo>
                      <a:pt x="66" y="112"/>
                    </a:lnTo>
                    <a:lnTo>
                      <a:pt x="66" y="110"/>
                    </a:lnTo>
                    <a:lnTo>
                      <a:pt x="67" y="110"/>
                    </a:lnTo>
                    <a:lnTo>
                      <a:pt x="69" y="112"/>
                    </a:lnTo>
                    <a:lnTo>
                      <a:pt x="71" y="112"/>
                    </a:lnTo>
                    <a:lnTo>
                      <a:pt x="72" y="112"/>
                    </a:lnTo>
                    <a:lnTo>
                      <a:pt x="72" y="110"/>
                    </a:lnTo>
                    <a:lnTo>
                      <a:pt x="73" y="110"/>
                    </a:lnTo>
                    <a:lnTo>
                      <a:pt x="74" y="112"/>
                    </a:lnTo>
                    <a:lnTo>
                      <a:pt x="75" y="113"/>
                    </a:lnTo>
                    <a:lnTo>
                      <a:pt x="76" y="113"/>
                    </a:lnTo>
                    <a:lnTo>
                      <a:pt x="76" y="114"/>
                    </a:lnTo>
                    <a:lnTo>
                      <a:pt x="77" y="115"/>
                    </a:lnTo>
                    <a:lnTo>
                      <a:pt x="78" y="115"/>
                    </a:lnTo>
                    <a:lnTo>
                      <a:pt x="78" y="116"/>
                    </a:lnTo>
                    <a:lnTo>
                      <a:pt x="78" y="117"/>
                    </a:lnTo>
                    <a:lnTo>
                      <a:pt x="79" y="117"/>
                    </a:lnTo>
                    <a:lnTo>
                      <a:pt x="78" y="117"/>
                    </a:lnTo>
                    <a:lnTo>
                      <a:pt x="78" y="118"/>
                    </a:lnTo>
                    <a:lnTo>
                      <a:pt x="78" y="119"/>
                    </a:lnTo>
                    <a:lnTo>
                      <a:pt x="79" y="120"/>
                    </a:lnTo>
                    <a:lnTo>
                      <a:pt x="80" y="121"/>
                    </a:lnTo>
                    <a:lnTo>
                      <a:pt x="80" y="122"/>
                    </a:lnTo>
                    <a:lnTo>
                      <a:pt x="81" y="122"/>
                    </a:lnTo>
                    <a:lnTo>
                      <a:pt x="82" y="122"/>
                    </a:lnTo>
                    <a:lnTo>
                      <a:pt x="84" y="121"/>
                    </a:lnTo>
                    <a:lnTo>
                      <a:pt x="85" y="121"/>
                    </a:lnTo>
                    <a:lnTo>
                      <a:pt x="85" y="120"/>
                    </a:lnTo>
                    <a:lnTo>
                      <a:pt x="86" y="119"/>
                    </a:lnTo>
                    <a:lnTo>
                      <a:pt x="86" y="118"/>
                    </a:lnTo>
                    <a:lnTo>
                      <a:pt x="87" y="118"/>
                    </a:lnTo>
                    <a:lnTo>
                      <a:pt x="87" y="117"/>
                    </a:lnTo>
                    <a:lnTo>
                      <a:pt x="88" y="117"/>
                    </a:lnTo>
                    <a:lnTo>
                      <a:pt x="89" y="118"/>
                    </a:lnTo>
                    <a:lnTo>
                      <a:pt x="89" y="119"/>
                    </a:lnTo>
                    <a:lnTo>
                      <a:pt x="89" y="120"/>
                    </a:lnTo>
                    <a:lnTo>
                      <a:pt x="90" y="120"/>
                    </a:lnTo>
                    <a:lnTo>
                      <a:pt x="90" y="121"/>
                    </a:lnTo>
                    <a:lnTo>
                      <a:pt x="91" y="121"/>
                    </a:lnTo>
                    <a:lnTo>
                      <a:pt x="92" y="121"/>
                    </a:lnTo>
                    <a:lnTo>
                      <a:pt x="92" y="120"/>
                    </a:lnTo>
                    <a:lnTo>
                      <a:pt x="93" y="120"/>
                    </a:lnTo>
                    <a:lnTo>
                      <a:pt x="93" y="119"/>
                    </a:lnTo>
                    <a:lnTo>
                      <a:pt x="94" y="119"/>
                    </a:lnTo>
                    <a:lnTo>
                      <a:pt x="94" y="118"/>
                    </a:lnTo>
                    <a:lnTo>
                      <a:pt x="94" y="117"/>
                    </a:lnTo>
                    <a:lnTo>
                      <a:pt x="93" y="117"/>
                    </a:lnTo>
                    <a:lnTo>
                      <a:pt x="91" y="116"/>
                    </a:lnTo>
                    <a:lnTo>
                      <a:pt x="91" y="115"/>
                    </a:lnTo>
                    <a:lnTo>
                      <a:pt x="90" y="115"/>
                    </a:lnTo>
                    <a:lnTo>
                      <a:pt x="90" y="114"/>
                    </a:lnTo>
                    <a:lnTo>
                      <a:pt x="91" y="114"/>
                    </a:lnTo>
                    <a:lnTo>
                      <a:pt x="92" y="113"/>
                    </a:lnTo>
                    <a:lnTo>
                      <a:pt x="93" y="113"/>
                    </a:lnTo>
                    <a:lnTo>
                      <a:pt x="94" y="112"/>
                    </a:lnTo>
                    <a:lnTo>
                      <a:pt x="95" y="112"/>
                    </a:lnTo>
                    <a:lnTo>
                      <a:pt x="95" y="110"/>
                    </a:lnTo>
                    <a:lnTo>
                      <a:pt x="95" y="112"/>
                    </a:lnTo>
                    <a:lnTo>
                      <a:pt x="95" y="113"/>
                    </a:lnTo>
                    <a:lnTo>
                      <a:pt x="97" y="114"/>
                    </a:lnTo>
                    <a:lnTo>
                      <a:pt x="97" y="115"/>
                    </a:lnTo>
                    <a:lnTo>
                      <a:pt x="97" y="116"/>
                    </a:lnTo>
                    <a:lnTo>
                      <a:pt x="98" y="117"/>
                    </a:lnTo>
                    <a:lnTo>
                      <a:pt x="98" y="118"/>
                    </a:lnTo>
                    <a:lnTo>
                      <a:pt x="98" y="119"/>
                    </a:lnTo>
                    <a:lnTo>
                      <a:pt x="98" y="120"/>
                    </a:lnTo>
                    <a:lnTo>
                      <a:pt x="98" y="121"/>
                    </a:lnTo>
                    <a:lnTo>
                      <a:pt x="98" y="122"/>
                    </a:lnTo>
                    <a:lnTo>
                      <a:pt x="98" y="123"/>
                    </a:lnTo>
                    <a:lnTo>
                      <a:pt x="98" y="125"/>
                    </a:lnTo>
                    <a:lnTo>
                      <a:pt x="98" y="126"/>
                    </a:lnTo>
                    <a:lnTo>
                      <a:pt x="98" y="127"/>
                    </a:lnTo>
                    <a:lnTo>
                      <a:pt x="99" y="128"/>
                    </a:lnTo>
                    <a:lnTo>
                      <a:pt x="99" y="129"/>
                    </a:lnTo>
                    <a:lnTo>
                      <a:pt x="99" y="130"/>
                    </a:lnTo>
                    <a:lnTo>
                      <a:pt x="100" y="132"/>
                    </a:lnTo>
                    <a:lnTo>
                      <a:pt x="100" y="133"/>
                    </a:lnTo>
                    <a:lnTo>
                      <a:pt x="101" y="134"/>
                    </a:lnTo>
                    <a:lnTo>
                      <a:pt x="101" y="135"/>
                    </a:lnTo>
                    <a:lnTo>
                      <a:pt x="101" y="136"/>
                    </a:lnTo>
                    <a:lnTo>
                      <a:pt x="102" y="136"/>
                    </a:lnTo>
                    <a:lnTo>
                      <a:pt x="102" y="138"/>
                    </a:lnTo>
                    <a:lnTo>
                      <a:pt x="102" y="139"/>
                    </a:lnTo>
                    <a:lnTo>
                      <a:pt x="102" y="140"/>
                    </a:lnTo>
                    <a:lnTo>
                      <a:pt x="102" y="141"/>
                    </a:lnTo>
                    <a:lnTo>
                      <a:pt x="102" y="142"/>
                    </a:lnTo>
                    <a:lnTo>
                      <a:pt x="103" y="143"/>
                    </a:lnTo>
                    <a:lnTo>
                      <a:pt x="103" y="144"/>
                    </a:lnTo>
                    <a:lnTo>
                      <a:pt x="104" y="145"/>
                    </a:lnTo>
                    <a:lnTo>
                      <a:pt x="104" y="146"/>
                    </a:lnTo>
                    <a:lnTo>
                      <a:pt x="105" y="146"/>
                    </a:lnTo>
                    <a:lnTo>
                      <a:pt x="105" y="147"/>
                    </a:lnTo>
                    <a:lnTo>
                      <a:pt x="105" y="148"/>
                    </a:lnTo>
                    <a:lnTo>
                      <a:pt x="106" y="148"/>
                    </a:lnTo>
                    <a:lnTo>
                      <a:pt x="106" y="149"/>
                    </a:lnTo>
                    <a:lnTo>
                      <a:pt x="106" y="151"/>
                    </a:lnTo>
                    <a:lnTo>
                      <a:pt x="107" y="151"/>
                    </a:lnTo>
                    <a:lnTo>
                      <a:pt x="106" y="152"/>
                    </a:lnTo>
                    <a:lnTo>
                      <a:pt x="106" y="153"/>
                    </a:lnTo>
                    <a:lnTo>
                      <a:pt x="107" y="153"/>
                    </a:lnTo>
                    <a:lnTo>
                      <a:pt x="109" y="152"/>
                    </a:lnTo>
                    <a:lnTo>
                      <a:pt x="109" y="153"/>
                    </a:lnTo>
                    <a:lnTo>
                      <a:pt x="110" y="153"/>
                    </a:lnTo>
                    <a:lnTo>
                      <a:pt x="111" y="153"/>
                    </a:lnTo>
                    <a:lnTo>
                      <a:pt x="111" y="154"/>
                    </a:lnTo>
                    <a:lnTo>
                      <a:pt x="112" y="154"/>
                    </a:lnTo>
                    <a:lnTo>
                      <a:pt x="112" y="155"/>
                    </a:lnTo>
                    <a:lnTo>
                      <a:pt x="113" y="155"/>
                    </a:lnTo>
                    <a:lnTo>
                      <a:pt x="113" y="156"/>
                    </a:lnTo>
                    <a:lnTo>
                      <a:pt x="114" y="156"/>
                    </a:lnTo>
                    <a:lnTo>
                      <a:pt x="115" y="156"/>
                    </a:lnTo>
                    <a:lnTo>
                      <a:pt x="115" y="157"/>
                    </a:lnTo>
                    <a:lnTo>
                      <a:pt x="116" y="157"/>
                    </a:lnTo>
                    <a:lnTo>
                      <a:pt x="117" y="158"/>
                    </a:lnTo>
                    <a:lnTo>
                      <a:pt x="118" y="158"/>
                    </a:lnTo>
                    <a:lnTo>
                      <a:pt x="118" y="159"/>
                    </a:lnTo>
                    <a:lnTo>
                      <a:pt x="119" y="159"/>
                    </a:lnTo>
                    <a:lnTo>
                      <a:pt x="120" y="159"/>
                    </a:lnTo>
                    <a:lnTo>
                      <a:pt x="122" y="159"/>
                    </a:lnTo>
                    <a:lnTo>
                      <a:pt x="123" y="159"/>
                    </a:lnTo>
                    <a:lnTo>
                      <a:pt x="124" y="159"/>
                    </a:lnTo>
                    <a:lnTo>
                      <a:pt x="125" y="159"/>
                    </a:lnTo>
                    <a:lnTo>
                      <a:pt x="125" y="160"/>
                    </a:lnTo>
                    <a:lnTo>
                      <a:pt x="125" y="159"/>
                    </a:lnTo>
                    <a:lnTo>
                      <a:pt x="125" y="160"/>
                    </a:lnTo>
                    <a:lnTo>
                      <a:pt x="126" y="160"/>
                    </a:lnTo>
                    <a:lnTo>
                      <a:pt x="126" y="159"/>
                    </a:lnTo>
                    <a:lnTo>
                      <a:pt x="126" y="160"/>
                    </a:lnTo>
                    <a:lnTo>
                      <a:pt x="127" y="160"/>
                    </a:lnTo>
                    <a:lnTo>
                      <a:pt x="128" y="160"/>
                    </a:lnTo>
                    <a:lnTo>
                      <a:pt x="129" y="160"/>
                    </a:lnTo>
                    <a:lnTo>
                      <a:pt x="130" y="160"/>
                    </a:lnTo>
                    <a:lnTo>
                      <a:pt x="131" y="160"/>
                    </a:lnTo>
                    <a:lnTo>
                      <a:pt x="132" y="160"/>
                    </a:lnTo>
                    <a:lnTo>
                      <a:pt x="133" y="160"/>
                    </a:lnTo>
                    <a:lnTo>
                      <a:pt x="135" y="160"/>
                    </a:lnTo>
                    <a:lnTo>
                      <a:pt x="136" y="159"/>
                    </a:lnTo>
                    <a:lnTo>
                      <a:pt x="137" y="159"/>
                    </a:lnTo>
                    <a:lnTo>
                      <a:pt x="138" y="159"/>
                    </a:lnTo>
                    <a:lnTo>
                      <a:pt x="138" y="158"/>
                    </a:lnTo>
                    <a:lnTo>
                      <a:pt x="139" y="158"/>
                    </a:lnTo>
                    <a:lnTo>
                      <a:pt x="140" y="158"/>
                    </a:lnTo>
                    <a:lnTo>
                      <a:pt x="141" y="158"/>
                    </a:lnTo>
                    <a:lnTo>
                      <a:pt x="142" y="158"/>
                    </a:lnTo>
                    <a:lnTo>
                      <a:pt x="143" y="158"/>
                    </a:lnTo>
                    <a:lnTo>
                      <a:pt x="144" y="157"/>
                    </a:lnTo>
                    <a:lnTo>
                      <a:pt x="145" y="157"/>
                    </a:lnTo>
                    <a:lnTo>
                      <a:pt x="146" y="157"/>
                    </a:lnTo>
                    <a:lnTo>
                      <a:pt x="146" y="156"/>
                    </a:lnTo>
                    <a:lnTo>
                      <a:pt x="148" y="156"/>
                    </a:lnTo>
                    <a:lnTo>
                      <a:pt x="149" y="156"/>
                    </a:lnTo>
                    <a:lnTo>
                      <a:pt x="150" y="156"/>
                    </a:lnTo>
                    <a:lnTo>
                      <a:pt x="151" y="155"/>
                    </a:lnTo>
                    <a:lnTo>
                      <a:pt x="152" y="155"/>
                    </a:lnTo>
                    <a:lnTo>
                      <a:pt x="153" y="154"/>
                    </a:lnTo>
                    <a:lnTo>
                      <a:pt x="154" y="154"/>
                    </a:lnTo>
                    <a:lnTo>
                      <a:pt x="155" y="154"/>
                    </a:lnTo>
                    <a:lnTo>
                      <a:pt x="155" y="153"/>
                    </a:lnTo>
                    <a:lnTo>
                      <a:pt x="156" y="153"/>
                    </a:lnTo>
                    <a:lnTo>
                      <a:pt x="157" y="153"/>
                    </a:lnTo>
                    <a:lnTo>
                      <a:pt x="158" y="152"/>
                    </a:lnTo>
                    <a:lnTo>
                      <a:pt x="159" y="152"/>
                    </a:lnTo>
                    <a:lnTo>
                      <a:pt x="161" y="152"/>
                    </a:lnTo>
                    <a:lnTo>
                      <a:pt x="161" y="151"/>
                    </a:lnTo>
                    <a:lnTo>
                      <a:pt x="162" y="152"/>
                    </a:lnTo>
                    <a:lnTo>
                      <a:pt x="163" y="151"/>
                    </a:lnTo>
                    <a:lnTo>
                      <a:pt x="164" y="151"/>
                    </a:lnTo>
                    <a:lnTo>
                      <a:pt x="165" y="149"/>
                    </a:lnTo>
                    <a:lnTo>
                      <a:pt x="165" y="148"/>
                    </a:lnTo>
                    <a:lnTo>
                      <a:pt x="166" y="148"/>
                    </a:lnTo>
                    <a:lnTo>
                      <a:pt x="167" y="147"/>
                    </a:lnTo>
                    <a:lnTo>
                      <a:pt x="167" y="146"/>
                    </a:lnTo>
                    <a:lnTo>
                      <a:pt x="168" y="146"/>
                    </a:lnTo>
                    <a:lnTo>
                      <a:pt x="169" y="145"/>
                    </a:lnTo>
                    <a:lnTo>
                      <a:pt x="171" y="143"/>
                    </a:lnTo>
                    <a:lnTo>
                      <a:pt x="172" y="143"/>
                    </a:lnTo>
                    <a:lnTo>
                      <a:pt x="174" y="142"/>
                    </a:lnTo>
                    <a:lnTo>
                      <a:pt x="175" y="142"/>
                    </a:lnTo>
                    <a:lnTo>
                      <a:pt x="175" y="143"/>
                    </a:lnTo>
                    <a:lnTo>
                      <a:pt x="176" y="143"/>
                    </a:lnTo>
                    <a:lnTo>
                      <a:pt x="177" y="144"/>
                    </a:lnTo>
                    <a:lnTo>
                      <a:pt x="178" y="144"/>
                    </a:lnTo>
                    <a:lnTo>
                      <a:pt x="179" y="145"/>
                    </a:lnTo>
                    <a:lnTo>
                      <a:pt x="180" y="146"/>
                    </a:lnTo>
                    <a:lnTo>
                      <a:pt x="181" y="147"/>
                    </a:lnTo>
                    <a:lnTo>
                      <a:pt x="181" y="148"/>
                    </a:lnTo>
                    <a:lnTo>
                      <a:pt x="182" y="148"/>
                    </a:lnTo>
                    <a:lnTo>
                      <a:pt x="182" y="149"/>
                    </a:lnTo>
                    <a:lnTo>
                      <a:pt x="183" y="151"/>
                    </a:lnTo>
                    <a:lnTo>
                      <a:pt x="182" y="151"/>
                    </a:lnTo>
                    <a:lnTo>
                      <a:pt x="179" y="152"/>
                    </a:lnTo>
                    <a:lnTo>
                      <a:pt x="176" y="153"/>
                    </a:lnTo>
                    <a:lnTo>
                      <a:pt x="175" y="154"/>
                    </a:lnTo>
                    <a:lnTo>
                      <a:pt x="174" y="154"/>
                    </a:lnTo>
                    <a:lnTo>
                      <a:pt x="174" y="155"/>
                    </a:lnTo>
                    <a:lnTo>
                      <a:pt x="172" y="155"/>
                    </a:lnTo>
                    <a:lnTo>
                      <a:pt x="171" y="156"/>
                    </a:lnTo>
                    <a:lnTo>
                      <a:pt x="170" y="156"/>
                    </a:lnTo>
                    <a:lnTo>
                      <a:pt x="169" y="157"/>
                    </a:lnTo>
                    <a:lnTo>
                      <a:pt x="168" y="157"/>
                    </a:lnTo>
                    <a:lnTo>
                      <a:pt x="167" y="157"/>
                    </a:lnTo>
                    <a:lnTo>
                      <a:pt x="166" y="157"/>
                    </a:lnTo>
                    <a:lnTo>
                      <a:pt x="165" y="157"/>
                    </a:lnTo>
                    <a:lnTo>
                      <a:pt x="165" y="158"/>
                    </a:lnTo>
                    <a:lnTo>
                      <a:pt x="164" y="159"/>
                    </a:lnTo>
                    <a:lnTo>
                      <a:pt x="164" y="160"/>
                    </a:lnTo>
                    <a:lnTo>
                      <a:pt x="164" y="161"/>
                    </a:lnTo>
                    <a:lnTo>
                      <a:pt x="163" y="161"/>
                    </a:lnTo>
                    <a:lnTo>
                      <a:pt x="163" y="162"/>
                    </a:lnTo>
                    <a:lnTo>
                      <a:pt x="162" y="162"/>
                    </a:lnTo>
                    <a:lnTo>
                      <a:pt x="162" y="164"/>
                    </a:lnTo>
                    <a:lnTo>
                      <a:pt x="163" y="164"/>
                    </a:lnTo>
                    <a:lnTo>
                      <a:pt x="163" y="165"/>
                    </a:lnTo>
                    <a:lnTo>
                      <a:pt x="163" y="166"/>
                    </a:lnTo>
                    <a:lnTo>
                      <a:pt x="163" y="167"/>
                    </a:lnTo>
                    <a:lnTo>
                      <a:pt x="163" y="168"/>
                    </a:lnTo>
                    <a:lnTo>
                      <a:pt x="163" y="169"/>
                    </a:lnTo>
                    <a:lnTo>
                      <a:pt x="163" y="170"/>
                    </a:lnTo>
                    <a:lnTo>
                      <a:pt x="163" y="171"/>
                    </a:lnTo>
                    <a:lnTo>
                      <a:pt x="164" y="171"/>
                    </a:lnTo>
                    <a:lnTo>
                      <a:pt x="163" y="171"/>
                    </a:lnTo>
                    <a:lnTo>
                      <a:pt x="164" y="171"/>
                    </a:lnTo>
                    <a:lnTo>
                      <a:pt x="164" y="172"/>
                    </a:lnTo>
                    <a:lnTo>
                      <a:pt x="164" y="173"/>
                    </a:lnTo>
                    <a:lnTo>
                      <a:pt x="164" y="174"/>
                    </a:lnTo>
                    <a:lnTo>
                      <a:pt x="164" y="176"/>
                    </a:lnTo>
                    <a:lnTo>
                      <a:pt x="164" y="177"/>
                    </a:lnTo>
                    <a:lnTo>
                      <a:pt x="164" y="178"/>
                    </a:lnTo>
                    <a:lnTo>
                      <a:pt x="165" y="178"/>
                    </a:lnTo>
                    <a:lnTo>
                      <a:pt x="165" y="179"/>
                    </a:lnTo>
                    <a:lnTo>
                      <a:pt x="166" y="179"/>
                    </a:lnTo>
                    <a:lnTo>
                      <a:pt x="166" y="180"/>
                    </a:lnTo>
                    <a:lnTo>
                      <a:pt x="167" y="180"/>
                    </a:lnTo>
                    <a:lnTo>
                      <a:pt x="167" y="181"/>
                    </a:lnTo>
                    <a:lnTo>
                      <a:pt x="168" y="181"/>
                    </a:lnTo>
                    <a:lnTo>
                      <a:pt x="168" y="182"/>
                    </a:lnTo>
                    <a:lnTo>
                      <a:pt x="169" y="182"/>
                    </a:lnTo>
                    <a:lnTo>
                      <a:pt x="170" y="183"/>
                    </a:lnTo>
                    <a:lnTo>
                      <a:pt x="171" y="184"/>
                    </a:lnTo>
                    <a:lnTo>
                      <a:pt x="172" y="184"/>
                    </a:lnTo>
                    <a:lnTo>
                      <a:pt x="172" y="185"/>
                    </a:lnTo>
                    <a:lnTo>
                      <a:pt x="174" y="185"/>
                    </a:lnTo>
                    <a:lnTo>
                      <a:pt x="175" y="186"/>
                    </a:lnTo>
                    <a:lnTo>
                      <a:pt x="176" y="186"/>
                    </a:lnTo>
                    <a:lnTo>
                      <a:pt x="176" y="187"/>
                    </a:lnTo>
                    <a:lnTo>
                      <a:pt x="177" y="187"/>
                    </a:lnTo>
                    <a:lnTo>
                      <a:pt x="177" y="189"/>
                    </a:lnTo>
                    <a:lnTo>
                      <a:pt x="178" y="189"/>
                    </a:lnTo>
                    <a:lnTo>
                      <a:pt x="178" y="190"/>
                    </a:lnTo>
                    <a:lnTo>
                      <a:pt x="178" y="191"/>
                    </a:lnTo>
                    <a:lnTo>
                      <a:pt x="177" y="191"/>
                    </a:lnTo>
                    <a:lnTo>
                      <a:pt x="178" y="191"/>
                    </a:lnTo>
                    <a:lnTo>
                      <a:pt x="178" y="190"/>
                    </a:lnTo>
                    <a:lnTo>
                      <a:pt x="179" y="190"/>
                    </a:lnTo>
                    <a:lnTo>
                      <a:pt x="180" y="191"/>
                    </a:lnTo>
                    <a:lnTo>
                      <a:pt x="180" y="192"/>
                    </a:lnTo>
                    <a:lnTo>
                      <a:pt x="181" y="192"/>
                    </a:lnTo>
                    <a:lnTo>
                      <a:pt x="181" y="193"/>
                    </a:lnTo>
                    <a:lnTo>
                      <a:pt x="182" y="194"/>
                    </a:lnTo>
                    <a:lnTo>
                      <a:pt x="182" y="195"/>
                    </a:lnTo>
                    <a:lnTo>
                      <a:pt x="182" y="196"/>
                    </a:lnTo>
                    <a:lnTo>
                      <a:pt x="183" y="197"/>
                    </a:lnTo>
                    <a:lnTo>
                      <a:pt x="184" y="197"/>
                    </a:lnTo>
                    <a:lnTo>
                      <a:pt x="184" y="198"/>
                    </a:lnTo>
                    <a:lnTo>
                      <a:pt x="185" y="198"/>
                    </a:lnTo>
                    <a:lnTo>
                      <a:pt x="187" y="199"/>
                    </a:lnTo>
                    <a:lnTo>
                      <a:pt x="188" y="199"/>
                    </a:lnTo>
                    <a:lnTo>
                      <a:pt x="188" y="200"/>
                    </a:lnTo>
                    <a:lnTo>
                      <a:pt x="189" y="202"/>
                    </a:lnTo>
                    <a:lnTo>
                      <a:pt x="190" y="202"/>
                    </a:lnTo>
                    <a:lnTo>
                      <a:pt x="191" y="203"/>
                    </a:lnTo>
                    <a:lnTo>
                      <a:pt x="192" y="203"/>
                    </a:lnTo>
                    <a:lnTo>
                      <a:pt x="193" y="204"/>
                    </a:lnTo>
                    <a:lnTo>
                      <a:pt x="194" y="204"/>
                    </a:lnTo>
                    <a:lnTo>
                      <a:pt x="195" y="205"/>
                    </a:lnTo>
                    <a:lnTo>
                      <a:pt x="196" y="205"/>
                    </a:lnTo>
                    <a:lnTo>
                      <a:pt x="196" y="206"/>
                    </a:lnTo>
                    <a:lnTo>
                      <a:pt x="197" y="205"/>
                    </a:lnTo>
                    <a:lnTo>
                      <a:pt x="197" y="206"/>
                    </a:lnTo>
                    <a:lnTo>
                      <a:pt x="198" y="206"/>
                    </a:lnTo>
                    <a:lnTo>
                      <a:pt x="200" y="206"/>
                    </a:lnTo>
                    <a:lnTo>
                      <a:pt x="201" y="206"/>
                    </a:lnTo>
                    <a:lnTo>
                      <a:pt x="202" y="206"/>
                    </a:lnTo>
                    <a:lnTo>
                      <a:pt x="202" y="207"/>
                    </a:lnTo>
                    <a:lnTo>
                      <a:pt x="203" y="207"/>
                    </a:lnTo>
                    <a:lnTo>
                      <a:pt x="204" y="207"/>
                    </a:lnTo>
                    <a:lnTo>
                      <a:pt x="205" y="207"/>
                    </a:lnTo>
                    <a:lnTo>
                      <a:pt x="205" y="206"/>
                    </a:lnTo>
                    <a:lnTo>
                      <a:pt x="205" y="207"/>
                    </a:lnTo>
                    <a:lnTo>
                      <a:pt x="206" y="207"/>
                    </a:lnTo>
                    <a:lnTo>
                      <a:pt x="207" y="207"/>
                    </a:lnTo>
                    <a:lnTo>
                      <a:pt x="207" y="206"/>
                    </a:lnTo>
                    <a:lnTo>
                      <a:pt x="208" y="206"/>
                    </a:lnTo>
                    <a:lnTo>
                      <a:pt x="209" y="206"/>
                    </a:lnTo>
                    <a:lnTo>
                      <a:pt x="209" y="207"/>
                    </a:lnTo>
                    <a:lnTo>
                      <a:pt x="209" y="208"/>
                    </a:lnTo>
                    <a:lnTo>
                      <a:pt x="210" y="208"/>
                    </a:lnTo>
                    <a:lnTo>
                      <a:pt x="211" y="208"/>
                    </a:lnTo>
                    <a:lnTo>
                      <a:pt x="211" y="209"/>
                    </a:lnTo>
                    <a:lnTo>
                      <a:pt x="213" y="209"/>
                    </a:lnTo>
                    <a:lnTo>
                      <a:pt x="214" y="209"/>
                    </a:lnTo>
                    <a:lnTo>
                      <a:pt x="215" y="209"/>
                    </a:lnTo>
                    <a:lnTo>
                      <a:pt x="216" y="209"/>
                    </a:lnTo>
                    <a:lnTo>
                      <a:pt x="216" y="210"/>
                    </a:lnTo>
                    <a:lnTo>
                      <a:pt x="217" y="210"/>
                    </a:lnTo>
                    <a:lnTo>
                      <a:pt x="218" y="210"/>
                    </a:lnTo>
                    <a:lnTo>
                      <a:pt x="219" y="210"/>
                    </a:lnTo>
                    <a:lnTo>
                      <a:pt x="220" y="210"/>
                    </a:lnTo>
                    <a:lnTo>
                      <a:pt x="221" y="210"/>
                    </a:lnTo>
                    <a:lnTo>
                      <a:pt x="221" y="209"/>
                    </a:lnTo>
                    <a:lnTo>
                      <a:pt x="222" y="209"/>
                    </a:lnTo>
                    <a:lnTo>
                      <a:pt x="222" y="210"/>
                    </a:lnTo>
                    <a:lnTo>
                      <a:pt x="223" y="210"/>
                    </a:lnTo>
                    <a:lnTo>
                      <a:pt x="224" y="210"/>
                    </a:lnTo>
                    <a:lnTo>
                      <a:pt x="224" y="209"/>
                    </a:lnTo>
                    <a:lnTo>
                      <a:pt x="226" y="209"/>
                    </a:lnTo>
                    <a:lnTo>
                      <a:pt x="226" y="210"/>
                    </a:lnTo>
                    <a:lnTo>
                      <a:pt x="227" y="209"/>
                    </a:lnTo>
                    <a:lnTo>
                      <a:pt x="228" y="209"/>
                    </a:lnTo>
                    <a:lnTo>
                      <a:pt x="229" y="209"/>
                    </a:lnTo>
                    <a:lnTo>
                      <a:pt x="230" y="209"/>
                    </a:lnTo>
                    <a:lnTo>
                      <a:pt x="231" y="209"/>
                    </a:lnTo>
                    <a:lnTo>
                      <a:pt x="232" y="209"/>
                    </a:lnTo>
                    <a:lnTo>
                      <a:pt x="232" y="208"/>
                    </a:lnTo>
                    <a:lnTo>
                      <a:pt x="233" y="208"/>
                    </a:lnTo>
                    <a:lnTo>
                      <a:pt x="234" y="208"/>
                    </a:lnTo>
                    <a:lnTo>
                      <a:pt x="235" y="208"/>
                    </a:lnTo>
                    <a:lnTo>
                      <a:pt x="236" y="207"/>
                    </a:lnTo>
                    <a:lnTo>
                      <a:pt x="238" y="207"/>
                    </a:lnTo>
                    <a:lnTo>
                      <a:pt x="239" y="207"/>
                    </a:lnTo>
                    <a:lnTo>
                      <a:pt x="240" y="206"/>
                    </a:lnTo>
                    <a:lnTo>
                      <a:pt x="241" y="206"/>
                    </a:lnTo>
                    <a:lnTo>
                      <a:pt x="242" y="206"/>
                    </a:lnTo>
                    <a:lnTo>
                      <a:pt x="243" y="205"/>
                    </a:lnTo>
                    <a:lnTo>
                      <a:pt x="244" y="205"/>
                    </a:lnTo>
                    <a:lnTo>
                      <a:pt x="244" y="204"/>
                    </a:lnTo>
                    <a:lnTo>
                      <a:pt x="245" y="204"/>
                    </a:lnTo>
                    <a:lnTo>
                      <a:pt x="246" y="204"/>
                    </a:lnTo>
                    <a:lnTo>
                      <a:pt x="247" y="203"/>
                    </a:lnTo>
                    <a:lnTo>
                      <a:pt x="248" y="203"/>
                    </a:lnTo>
                    <a:lnTo>
                      <a:pt x="248" y="202"/>
                    </a:lnTo>
                    <a:lnTo>
                      <a:pt x="249" y="202"/>
                    </a:lnTo>
                    <a:lnTo>
                      <a:pt x="251" y="202"/>
                    </a:lnTo>
                    <a:lnTo>
                      <a:pt x="251" y="200"/>
                    </a:lnTo>
                    <a:lnTo>
                      <a:pt x="252" y="199"/>
                    </a:lnTo>
                    <a:lnTo>
                      <a:pt x="253" y="199"/>
                    </a:lnTo>
                    <a:lnTo>
                      <a:pt x="253" y="198"/>
                    </a:lnTo>
                    <a:lnTo>
                      <a:pt x="254" y="198"/>
                    </a:lnTo>
                    <a:lnTo>
                      <a:pt x="255" y="197"/>
                    </a:lnTo>
                    <a:lnTo>
                      <a:pt x="256" y="197"/>
                    </a:lnTo>
                    <a:lnTo>
                      <a:pt x="256" y="196"/>
                    </a:lnTo>
                    <a:lnTo>
                      <a:pt x="257" y="195"/>
                    </a:lnTo>
                    <a:lnTo>
                      <a:pt x="257" y="194"/>
                    </a:lnTo>
                    <a:lnTo>
                      <a:pt x="257" y="193"/>
                    </a:lnTo>
                    <a:lnTo>
                      <a:pt x="258" y="193"/>
                    </a:lnTo>
                    <a:lnTo>
                      <a:pt x="258" y="192"/>
                    </a:lnTo>
                    <a:lnTo>
                      <a:pt x="258" y="191"/>
                    </a:lnTo>
                    <a:lnTo>
                      <a:pt x="258" y="190"/>
                    </a:lnTo>
                    <a:lnTo>
                      <a:pt x="259" y="190"/>
                    </a:lnTo>
                    <a:lnTo>
                      <a:pt x="259" y="189"/>
                    </a:lnTo>
                    <a:lnTo>
                      <a:pt x="259" y="187"/>
                    </a:lnTo>
                    <a:lnTo>
                      <a:pt x="259" y="186"/>
                    </a:lnTo>
                    <a:lnTo>
                      <a:pt x="258" y="186"/>
                    </a:lnTo>
                    <a:lnTo>
                      <a:pt x="258" y="185"/>
                    </a:lnTo>
                    <a:lnTo>
                      <a:pt x="258" y="184"/>
                    </a:lnTo>
                    <a:lnTo>
                      <a:pt x="258" y="183"/>
                    </a:lnTo>
                    <a:lnTo>
                      <a:pt x="258" y="182"/>
                    </a:lnTo>
                    <a:lnTo>
                      <a:pt x="258" y="181"/>
                    </a:lnTo>
                    <a:lnTo>
                      <a:pt x="258" y="180"/>
                    </a:lnTo>
                    <a:lnTo>
                      <a:pt x="258" y="179"/>
                    </a:lnTo>
                    <a:lnTo>
                      <a:pt x="258" y="178"/>
                    </a:lnTo>
                    <a:lnTo>
                      <a:pt x="258" y="177"/>
                    </a:lnTo>
                    <a:lnTo>
                      <a:pt x="258" y="176"/>
                    </a:lnTo>
                    <a:lnTo>
                      <a:pt x="259" y="176"/>
                    </a:lnTo>
                    <a:lnTo>
                      <a:pt x="258" y="176"/>
                    </a:lnTo>
                    <a:lnTo>
                      <a:pt x="258" y="177"/>
                    </a:lnTo>
                    <a:lnTo>
                      <a:pt x="258" y="176"/>
                    </a:lnTo>
                    <a:lnTo>
                      <a:pt x="258" y="174"/>
                    </a:lnTo>
                    <a:lnTo>
                      <a:pt x="257" y="174"/>
                    </a:lnTo>
                    <a:lnTo>
                      <a:pt x="258" y="173"/>
                    </a:lnTo>
                    <a:lnTo>
                      <a:pt x="257" y="173"/>
                    </a:lnTo>
                    <a:lnTo>
                      <a:pt x="257" y="172"/>
                    </a:lnTo>
                    <a:lnTo>
                      <a:pt x="257" y="171"/>
                    </a:lnTo>
                    <a:lnTo>
                      <a:pt x="257" y="170"/>
                    </a:lnTo>
                    <a:lnTo>
                      <a:pt x="258" y="170"/>
                    </a:lnTo>
                    <a:lnTo>
                      <a:pt x="259" y="169"/>
                    </a:lnTo>
                    <a:lnTo>
                      <a:pt x="259" y="168"/>
                    </a:lnTo>
                    <a:lnTo>
                      <a:pt x="260" y="168"/>
                    </a:lnTo>
                    <a:lnTo>
                      <a:pt x="260" y="167"/>
                    </a:lnTo>
                    <a:lnTo>
                      <a:pt x="261" y="166"/>
                    </a:lnTo>
                    <a:lnTo>
                      <a:pt x="261" y="165"/>
                    </a:lnTo>
                    <a:lnTo>
                      <a:pt x="262" y="165"/>
                    </a:lnTo>
                    <a:lnTo>
                      <a:pt x="262" y="164"/>
                    </a:lnTo>
                    <a:lnTo>
                      <a:pt x="264" y="164"/>
                    </a:lnTo>
                    <a:lnTo>
                      <a:pt x="264" y="162"/>
                    </a:lnTo>
                    <a:lnTo>
                      <a:pt x="264" y="161"/>
                    </a:lnTo>
                    <a:lnTo>
                      <a:pt x="265" y="161"/>
                    </a:lnTo>
                    <a:lnTo>
                      <a:pt x="265" y="160"/>
                    </a:lnTo>
                    <a:lnTo>
                      <a:pt x="266" y="159"/>
                    </a:lnTo>
                    <a:lnTo>
                      <a:pt x="265" y="160"/>
                    </a:lnTo>
                    <a:lnTo>
                      <a:pt x="265" y="159"/>
                    </a:lnTo>
                    <a:lnTo>
                      <a:pt x="265" y="158"/>
                    </a:lnTo>
                    <a:lnTo>
                      <a:pt x="266" y="158"/>
                    </a:lnTo>
                    <a:lnTo>
                      <a:pt x="266" y="157"/>
                    </a:lnTo>
                    <a:lnTo>
                      <a:pt x="266" y="156"/>
                    </a:lnTo>
                    <a:lnTo>
                      <a:pt x="265" y="156"/>
                    </a:lnTo>
                    <a:lnTo>
                      <a:pt x="266" y="155"/>
                    </a:lnTo>
                    <a:lnTo>
                      <a:pt x="266" y="154"/>
                    </a:lnTo>
                    <a:lnTo>
                      <a:pt x="265" y="154"/>
                    </a:lnTo>
                    <a:lnTo>
                      <a:pt x="266" y="154"/>
                    </a:lnTo>
                    <a:lnTo>
                      <a:pt x="265" y="153"/>
                    </a:lnTo>
                    <a:lnTo>
                      <a:pt x="266" y="153"/>
                    </a:lnTo>
                    <a:lnTo>
                      <a:pt x="266" y="152"/>
                    </a:lnTo>
                    <a:lnTo>
                      <a:pt x="265" y="152"/>
                    </a:lnTo>
                    <a:lnTo>
                      <a:pt x="265" y="151"/>
                    </a:lnTo>
                    <a:lnTo>
                      <a:pt x="265" y="152"/>
                    </a:lnTo>
                    <a:lnTo>
                      <a:pt x="264" y="152"/>
                    </a:lnTo>
                    <a:lnTo>
                      <a:pt x="264" y="151"/>
                    </a:lnTo>
                    <a:lnTo>
                      <a:pt x="265" y="149"/>
                    </a:lnTo>
                    <a:lnTo>
                      <a:pt x="265" y="148"/>
                    </a:lnTo>
                    <a:lnTo>
                      <a:pt x="266" y="148"/>
                    </a:lnTo>
                    <a:lnTo>
                      <a:pt x="266" y="147"/>
                    </a:lnTo>
                    <a:lnTo>
                      <a:pt x="266" y="146"/>
                    </a:lnTo>
                    <a:lnTo>
                      <a:pt x="266" y="145"/>
                    </a:lnTo>
                    <a:lnTo>
                      <a:pt x="267" y="145"/>
                    </a:lnTo>
                    <a:lnTo>
                      <a:pt x="267" y="144"/>
                    </a:lnTo>
                    <a:lnTo>
                      <a:pt x="268" y="144"/>
                    </a:lnTo>
                    <a:lnTo>
                      <a:pt x="268" y="143"/>
                    </a:lnTo>
                    <a:lnTo>
                      <a:pt x="268" y="144"/>
                    </a:lnTo>
                    <a:lnTo>
                      <a:pt x="268" y="143"/>
                    </a:lnTo>
                    <a:lnTo>
                      <a:pt x="269" y="142"/>
                    </a:lnTo>
                    <a:lnTo>
                      <a:pt x="269" y="141"/>
                    </a:lnTo>
                    <a:lnTo>
                      <a:pt x="270" y="141"/>
                    </a:lnTo>
                    <a:lnTo>
                      <a:pt x="270" y="140"/>
                    </a:lnTo>
                    <a:lnTo>
                      <a:pt x="270" y="141"/>
                    </a:lnTo>
                    <a:lnTo>
                      <a:pt x="270" y="140"/>
                    </a:lnTo>
                    <a:lnTo>
                      <a:pt x="271" y="140"/>
                    </a:lnTo>
                    <a:lnTo>
                      <a:pt x="271" y="139"/>
                    </a:lnTo>
                    <a:lnTo>
                      <a:pt x="272" y="138"/>
                    </a:lnTo>
                    <a:lnTo>
                      <a:pt x="271" y="138"/>
                    </a:lnTo>
                    <a:lnTo>
                      <a:pt x="271" y="136"/>
                    </a:lnTo>
                    <a:lnTo>
                      <a:pt x="271" y="135"/>
                    </a:lnTo>
                    <a:lnTo>
                      <a:pt x="270" y="135"/>
                    </a:lnTo>
                    <a:lnTo>
                      <a:pt x="270" y="134"/>
                    </a:lnTo>
                    <a:lnTo>
                      <a:pt x="271" y="134"/>
                    </a:lnTo>
                    <a:lnTo>
                      <a:pt x="270" y="133"/>
                    </a:lnTo>
                    <a:lnTo>
                      <a:pt x="270" y="132"/>
                    </a:lnTo>
                    <a:lnTo>
                      <a:pt x="270" y="131"/>
                    </a:lnTo>
                    <a:lnTo>
                      <a:pt x="271" y="131"/>
                    </a:lnTo>
                    <a:lnTo>
                      <a:pt x="271" y="130"/>
                    </a:lnTo>
                    <a:lnTo>
                      <a:pt x="270" y="130"/>
                    </a:lnTo>
                    <a:lnTo>
                      <a:pt x="271" y="130"/>
                    </a:lnTo>
                    <a:lnTo>
                      <a:pt x="271" y="129"/>
                    </a:lnTo>
                    <a:lnTo>
                      <a:pt x="270" y="128"/>
                    </a:lnTo>
                    <a:lnTo>
                      <a:pt x="270" y="127"/>
                    </a:lnTo>
                    <a:lnTo>
                      <a:pt x="270" y="126"/>
                    </a:lnTo>
                    <a:lnTo>
                      <a:pt x="269" y="126"/>
                    </a:lnTo>
                    <a:lnTo>
                      <a:pt x="269" y="125"/>
                    </a:lnTo>
                    <a:lnTo>
                      <a:pt x="269" y="123"/>
                    </a:lnTo>
                    <a:lnTo>
                      <a:pt x="268" y="123"/>
                    </a:lnTo>
                    <a:lnTo>
                      <a:pt x="268" y="122"/>
                    </a:lnTo>
                    <a:lnTo>
                      <a:pt x="267" y="121"/>
                    </a:lnTo>
                    <a:lnTo>
                      <a:pt x="266" y="120"/>
                    </a:lnTo>
                    <a:lnTo>
                      <a:pt x="265" y="120"/>
                    </a:lnTo>
                    <a:lnTo>
                      <a:pt x="265" y="119"/>
                    </a:lnTo>
                    <a:lnTo>
                      <a:pt x="265" y="118"/>
                    </a:lnTo>
                    <a:lnTo>
                      <a:pt x="266" y="118"/>
                    </a:lnTo>
                    <a:lnTo>
                      <a:pt x="266" y="117"/>
                    </a:lnTo>
                    <a:lnTo>
                      <a:pt x="267" y="117"/>
                    </a:lnTo>
                    <a:lnTo>
                      <a:pt x="267" y="116"/>
                    </a:lnTo>
                    <a:lnTo>
                      <a:pt x="268" y="116"/>
                    </a:lnTo>
                    <a:lnTo>
                      <a:pt x="268" y="115"/>
                    </a:lnTo>
                    <a:lnTo>
                      <a:pt x="268" y="114"/>
                    </a:lnTo>
                    <a:lnTo>
                      <a:pt x="268" y="115"/>
                    </a:lnTo>
                    <a:lnTo>
                      <a:pt x="269" y="115"/>
                    </a:lnTo>
                    <a:lnTo>
                      <a:pt x="270" y="115"/>
                    </a:lnTo>
                    <a:lnTo>
                      <a:pt x="269" y="115"/>
                    </a:lnTo>
                    <a:lnTo>
                      <a:pt x="270" y="115"/>
                    </a:lnTo>
                    <a:lnTo>
                      <a:pt x="271" y="115"/>
                    </a:lnTo>
                    <a:lnTo>
                      <a:pt x="271" y="116"/>
                    </a:lnTo>
                    <a:lnTo>
                      <a:pt x="272" y="116"/>
                    </a:lnTo>
                    <a:lnTo>
                      <a:pt x="272" y="115"/>
                    </a:lnTo>
                    <a:lnTo>
                      <a:pt x="273" y="115"/>
                    </a:lnTo>
                    <a:lnTo>
                      <a:pt x="273" y="114"/>
                    </a:lnTo>
                    <a:lnTo>
                      <a:pt x="274" y="114"/>
                    </a:lnTo>
                    <a:lnTo>
                      <a:pt x="274" y="115"/>
                    </a:lnTo>
                    <a:lnTo>
                      <a:pt x="275" y="114"/>
                    </a:lnTo>
                    <a:lnTo>
                      <a:pt x="275" y="115"/>
                    </a:lnTo>
                    <a:lnTo>
                      <a:pt x="275" y="114"/>
                    </a:lnTo>
                    <a:lnTo>
                      <a:pt x="277" y="114"/>
                    </a:lnTo>
                    <a:lnTo>
                      <a:pt x="277" y="115"/>
                    </a:lnTo>
                    <a:lnTo>
                      <a:pt x="277" y="114"/>
                    </a:lnTo>
                    <a:lnTo>
                      <a:pt x="277" y="113"/>
                    </a:lnTo>
                    <a:lnTo>
                      <a:pt x="278" y="113"/>
                    </a:lnTo>
                    <a:lnTo>
                      <a:pt x="279" y="113"/>
                    </a:lnTo>
                    <a:lnTo>
                      <a:pt x="279" y="114"/>
                    </a:lnTo>
                    <a:lnTo>
                      <a:pt x="280" y="114"/>
                    </a:lnTo>
                    <a:lnTo>
                      <a:pt x="280" y="113"/>
                    </a:lnTo>
                    <a:lnTo>
                      <a:pt x="280" y="112"/>
                    </a:lnTo>
                    <a:lnTo>
                      <a:pt x="281" y="112"/>
                    </a:lnTo>
                    <a:lnTo>
                      <a:pt x="281" y="110"/>
                    </a:lnTo>
                    <a:lnTo>
                      <a:pt x="281" y="109"/>
                    </a:lnTo>
                    <a:lnTo>
                      <a:pt x="282" y="109"/>
                    </a:lnTo>
                    <a:lnTo>
                      <a:pt x="282" y="108"/>
                    </a:lnTo>
                    <a:lnTo>
                      <a:pt x="283" y="108"/>
                    </a:lnTo>
                    <a:lnTo>
                      <a:pt x="284" y="107"/>
                    </a:lnTo>
                    <a:lnTo>
                      <a:pt x="285" y="107"/>
                    </a:lnTo>
                    <a:lnTo>
                      <a:pt x="286" y="107"/>
                    </a:lnTo>
                    <a:lnTo>
                      <a:pt x="286" y="106"/>
                    </a:lnTo>
                    <a:lnTo>
                      <a:pt x="287" y="106"/>
                    </a:lnTo>
                    <a:lnTo>
                      <a:pt x="287" y="105"/>
                    </a:lnTo>
                    <a:lnTo>
                      <a:pt x="287" y="106"/>
                    </a:lnTo>
                    <a:lnTo>
                      <a:pt x="288" y="105"/>
                    </a:lnTo>
                    <a:lnTo>
                      <a:pt x="288" y="104"/>
                    </a:lnTo>
                    <a:lnTo>
                      <a:pt x="290" y="104"/>
                    </a:lnTo>
                    <a:lnTo>
                      <a:pt x="291" y="104"/>
                    </a:lnTo>
                    <a:lnTo>
                      <a:pt x="292" y="103"/>
                    </a:lnTo>
                    <a:lnTo>
                      <a:pt x="293" y="103"/>
                    </a:lnTo>
                    <a:lnTo>
                      <a:pt x="294" y="103"/>
                    </a:lnTo>
                    <a:lnTo>
                      <a:pt x="293" y="102"/>
                    </a:lnTo>
                    <a:lnTo>
                      <a:pt x="293" y="101"/>
                    </a:lnTo>
                    <a:lnTo>
                      <a:pt x="294" y="101"/>
                    </a:lnTo>
                    <a:lnTo>
                      <a:pt x="295" y="101"/>
                    </a:lnTo>
                    <a:lnTo>
                      <a:pt x="296" y="101"/>
                    </a:lnTo>
                    <a:lnTo>
                      <a:pt x="296" y="100"/>
                    </a:lnTo>
                    <a:lnTo>
                      <a:pt x="297" y="100"/>
                    </a:lnTo>
                    <a:lnTo>
                      <a:pt x="298" y="100"/>
                    </a:lnTo>
                    <a:lnTo>
                      <a:pt x="298" y="99"/>
                    </a:lnTo>
                    <a:lnTo>
                      <a:pt x="299" y="99"/>
                    </a:lnTo>
                    <a:lnTo>
                      <a:pt x="299" y="97"/>
                    </a:lnTo>
                    <a:lnTo>
                      <a:pt x="300" y="97"/>
                    </a:lnTo>
                    <a:lnTo>
                      <a:pt x="301" y="97"/>
                    </a:lnTo>
                    <a:lnTo>
                      <a:pt x="301" y="96"/>
                    </a:lnTo>
                    <a:lnTo>
                      <a:pt x="303" y="96"/>
                    </a:lnTo>
                    <a:lnTo>
                      <a:pt x="304" y="96"/>
                    </a:lnTo>
                    <a:lnTo>
                      <a:pt x="304" y="95"/>
                    </a:lnTo>
                    <a:lnTo>
                      <a:pt x="305" y="95"/>
                    </a:lnTo>
                    <a:lnTo>
                      <a:pt x="305" y="94"/>
                    </a:lnTo>
                    <a:lnTo>
                      <a:pt x="306" y="94"/>
                    </a:lnTo>
                    <a:lnTo>
                      <a:pt x="306" y="95"/>
                    </a:lnTo>
                    <a:lnTo>
                      <a:pt x="306" y="94"/>
                    </a:lnTo>
                    <a:lnTo>
                      <a:pt x="307" y="94"/>
                    </a:lnTo>
                    <a:lnTo>
                      <a:pt x="307" y="93"/>
                    </a:lnTo>
                    <a:lnTo>
                      <a:pt x="308" y="94"/>
                    </a:lnTo>
                    <a:lnTo>
                      <a:pt x="308" y="93"/>
                    </a:lnTo>
                    <a:lnTo>
                      <a:pt x="309" y="93"/>
                    </a:lnTo>
                    <a:lnTo>
                      <a:pt x="309" y="92"/>
                    </a:lnTo>
                    <a:lnTo>
                      <a:pt x="310" y="93"/>
                    </a:lnTo>
                    <a:lnTo>
                      <a:pt x="310" y="92"/>
                    </a:lnTo>
                    <a:lnTo>
                      <a:pt x="310" y="91"/>
                    </a:lnTo>
                    <a:lnTo>
                      <a:pt x="311" y="91"/>
                    </a:lnTo>
                    <a:lnTo>
                      <a:pt x="311" y="90"/>
                    </a:lnTo>
                    <a:lnTo>
                      <a:pt x="312" y="90"/>
                    </a:lnTo>
                    <a:lnTo>
                      <a:pt x="312" y="89"/>
                    </a:lnTo>
                    <a:lnTo>
                      <a:pt x="313" y="90"/>
                    </a:lnTo>
                    <a:lnTo>
                      <a:pt x="313" y="89"/>
                    </a:lnTo>
                    <a:lnTo>
                      <a:pt x="313" y="88"/>
                    </a:lnTo>
                    <a:lnTo>
                      <a:pt x="314" y="88"/>
                    </a:lnTo>
                    <a:lnTo>
                      <a:pt x="316" y="88"/>
                    </a:lnTo>
                    <a:lnTo>
                      <a:pt x="316" y="87"/>
                    </a:lnTo>
                    <a:lnTo>
                      <a:pt x="317" y="87"/>
                    </a:lnTo>
                    <a:lnTo>
                      <a:pt x="318" y="87"/>
                    </a:lnTo>
                    <a:lnTo>
                      <a:pt x="319" y="86"/>
                    </a:lnTo>
                    <a:lnTo>
                      <a:pt x="320" y="86"/>
                    </a:lnTo>
                    <a:lnTo>
                      <a:pt x="320" y="87"/>
                    </a:lnTo>
                    <a:lnTo>
                      <a:pt x="320" y="86"/>
                    </a:lnTo>
                    <a:lnTo>
                      <a:pt x="320" y="84"/>
                    </a:lnTo>
                    <a:lnTo>
                      <a:pt x="321" y="83"/>
                    </a:lnTo>
                    <a:lnTo>
                      <a:pt x="322" y="83"/>
                    </a:lnTo>
                    <a:lnTo>
                      <a:pt x="322" y="82"/>
                    </a:lnTo>
                    <a:lnTo>
                      <a:pt x="321" y="83"/>
                    </a:lnTo>
                    <a:lnTo>
                      <a:pt x="321" y="82"/>
                    </a:lnTo>
                    <a:lnTo>
                      <a:pt x="320" y="82"/>
                    </a:lnTo>
                    <a:lnTo>
                      <a:pt x="321" y="82"/>
                    </a:lnTo>
                    <a:lnTo>
                      <a:pt x="321" y="81"/>
                    </a:lnTo>
                    <a:lnTo>
                      <a:pt x="320" y="81"/>
                    </a:lnTo>
                    <a:lnTo>
                      <a:pt x="320" y="80"/>
                    </a:lnTo>
                    <a:lnTo>
                      <a:pt x="319" y="80"/>
                    </a:lnTo>
                    <a:lnTo>
                      <a:pt x="319" y="79"/>
                    </a:lnTo>
                    <a:lnTo>
                      <a:pt x="318" y="78"/>
                    </a:lnTo>
                    <a:lnTo>
                      <a:pt x="318" y="77"/>
                    </a:lnTo>
                    <a:lnTo>
                      <a:pt x="319" y="76"/>
                    </a:lnTo>
                    <a:lnTo>
                      <a:pt x="318" y="76"/>
                    </a:lnTo>
                    <a:lnTo>
                      <a:pt x="318" y="75"/>
                    </a:lnTo>
                    <a:lnTo>
                      <a:pt x="318" y="74"/>
                    </a:lnTo>
                    <a:lnTo>
                      <a:pt x="317" y="72"/>
                    </a:lnTo>
                    <a:lnTo>
                      <a:pt x="318" y="72"/>
                    </a:lnTo>
                    <a:lnTo>
                      <a:pt x="317" y="72"/>
                    </a:lnTo>
                    <a:lnTo>
                      <a:pt x="317" y="71"/>
                    </a:lnTo>
                    <a:lnTo>
                      <a:pt x="317" y="70"/>
                    </a:lnTo>
                    <a:lnTo>
                      <a:pt x="316" y="69"/>
                    </a:lnTo>
                    <a:lnTo>
                      <a:pt x="317" y="69"/>
                    </a:lnTo>
                    <a:lnTo>
                      <a:pt x="318" y="68"/>
                    </a:lnTo>
                    <a:lnTo>
                      <a:pt x="318" y="67"/>
                    </a:lnTo>
                    <a:lnTo>
                      <a:pt x="319" y="65"/>
                    </a:lnTo>
                    <a:lnTo>
                      <a:pt x="319" y="64"/>
                    </a:lnTo>
                    <a:lnTo>
                      <a:pt x="320" y="64"/>
                    </a:lnTo>
                    <a:lnTo>
                      <a:pt x="319" y="63"/>
                    </a:lnTo>
                    <a:lnTo>
                      <a:pt x="319" y="62"/>
                    </a:lnTo>
                    <a:lnTo>
                      <a:pt x="320" y="61"/>
                    </a:lnTo>
                    <a:lnTo>
                      <a:pt x="321" y="61"/>
                    </a:lnTo>
                    <a:lnTo>
                      <a:pt x="321" y="59"/>
                    </a:lnTo>
                    <a:lnTo>
                      <a:pt x="321" y="61"/>
                    </a:lnTo>
                    <a:lnTo>
                      <a:pt x="322" y="61"/>
                    </a:lnTo>
                    <a:lnTo>
                      <a:pt x="322" y="59"/>
                    </a:lnTo>
                    <a:lnTo>
                      <a:pt x="322" y="61"/>
                    </a:lnTo>
                    <a:lnTo>
                      <a:pt x="322" y="59"/>
                    </a:lnTo>
                    <a:lnTo>
                      <a:pt x="323" y="58"/>
                    </a:lnTo>
                    <a:lnTo>
                      <a:pt x="322" y="58"/>
                    </a:lnTo>
                    <a:lnTo>
                      <a:pt x="323" y="58"/>
                    </a:lnTo>
                    <a:lnTo>
                      <a:pt x="323" y="57"/>
                    </a:lnTo>
                    <a:lnTo>
                      <a:pt x="323" y="56"/>
                    </a:lnTo>
                    <a:lnTo>
                      <a:pt x="324" y="56"/>
                    </a:lnTo>
                    <a:lnTo>
                      <a:pt x="324" y="57"/>
                    </a:lnTo>
                    <a:lnTo>
                      <a:pt x="325" y="57"/>
                    </a:lnTo>
                    <a:lnTo>
                      <a:pt x="324" y="57"/>
                    </a:lnTo>
                    <a:lnTo>
                      <a:pt x="324" y="58"/>
                    </a:lnTo>
                    <a:lnTo>
                      <a:pt x="325" y="58"/>
                    </a:lnTo>
                    <a:lnTo>
                      <a:pt x="326" y="59"/>
                    </a:lnTo>
                    <a:lnTo>
                      <a:pt x="326" y="61"/>
                    </a:lnTo>
                    <a:lnTo>
                      <a:pt x="327" y="61"/>
                    </a:lnTo>
                    <a:lnTo>
                      <a:pt x="327" y="62"/>
                    </a:lnTo>
                    <a:lnTo>
                      <a:pt x="329" y="62"/>
                    </a:lnTo>
                    <a:lnTo>
                      <a:pt x="330" y="62"/>
                    </a:lnTo>
                    <a:lnTo>
                      <a:pt x="331" y="62"/>
                    </a:lnTo>
                    <a:lnTo>
                      <a:pt x="332" y="63"/>
                    </a:lnTo>
                    <a:lnTo>
                      <a:pt x="333" y="64"/>
                    </a:lnTo>
                    <a:lnTo>
                      <a:pt x="334" y="64"/>
                    </a:lnTo>
                    <a:lnTo>
                      <a:pt x="335" y="65"/>
                    </a:lnTo>
                    <a:lnTo>
                      <a:pt x="336" y="65"/>
                    </a:lnTo>
                    <a:lnTo>
                      <a:pt x="336" y="66"/>
                    </a:lnTo>
                    <a:lnTo>
                      <a:pt x="337" y="66"/>
                    </a:lnTo>
                    <a:lnTo>
                      <a:pt x="338" y="67"/>
                    </a:lnTo>
                    <a:lnTo>
                      <a:pt x="338" y="68"/>
                    </a:lnTo>
                    <a:lnTo>
                      <a:pt x="339" y="68"/>
                    </a:lnTo>
                    <a:lnTo>
                      <a:pt x="339" y="69"/>
                    </a:lnTo>
                    <a:lnTo>
                      <a:pt x="340" y="69"/>
                    </a:lnTo>
                    <a:lnTo>
                      <a:pt x="340" y="70"/>
                    </a:lnTo>
                    <a:lnTo>
                      <a:pt x="342" y="70"/>
                    </a:lnTo>
                    <a:lnTo>
                      <a:pt x="342" y="71"/>
                    </a:lnTo>
                    <a:lnTo>
                      <a:pt x="342" y="70"/>
                    </a:lnTo>
                    <a:lnTo>
                      <a:pt x="343" y="69"/>
                    </a:lnTo>
                    <a:lnTo>
                      <a:pt x="344" y="69"/>
                    </a:lnTo>
                    <a:lnTo>
                      <a:pt x="345" y="69"/>
                    </a:lnTo>
                    <a:lnTo>
                      <a:pt x="346" y="69"/>
                    </a:lnTo>
                    <a:lnTo>
                      <a:pt x="347" y="69"/>
                    </a:lnTo>
                    <a:lnTo>
                      <a:pt x="348" y="69"/>
                    </a:lnTo>
                    <a:lnTo>
                      <a:pt x="348" y="70"/>
                    </a:lnTo>
                    <a:lnTo>
                      <a:pt x="349" y="70"/>
                    </a:lnTo>
                    <a:lnTo>
                      <a:pt x="350" y="71"/>
                    </a:lnTo>
                    <a:lnTo>
                      <a:pt x="351" y="72"/>
                    </a:lnTo>
                    <a:lnTo>
                      <a:pt x="352" y="74"/>
                    </a:lnTo>
                    <a:lnTo>
                      <a:pt x="351" y="74"/>
                    </a:lnTo>
                    <a:lnTo>
                      <a:pt x="350" y="74"/>
                    </a:lnTo>
                    <a:lnTo>
                      <a:pt x="351" y="74"/>
                    </a:lnTo>
                    <a:lnTo>
                      <a:pt x="350" y="75"/>
                    </a:lnTo>
                    <a:lnTo>
                      <a:pt x="350" y="76"/>
                    </a:lnTo>
                    <a:lnTo>
                      <a:pt x="351" y="76"/>
                    </a:lnTo>
                    <a:lnTo>
                      <a:pt x="352" y="76"/>
                    </a:lnTo>
                    <a:lnTo>
                      <a:pt x="353" y="76"/>
                    </a:lnTo>
                    <a:lnTo>
                      <a:pt x="353" y="75"/>
                    </a:lnTo>
                    <a:lnTo>
                      <a:pt x="353" y="74"/>
                    </a:lnTo>
                    <a:lnTo>
                      <a:pt x="355" y="75"/>
                    </a:lnTo>
                    <a:lnTo>
                      <a:pt x="356" y="75"/>
                    </a:lnTo>
                    <a:lnTo>
                      <a:pt x="356" y="76"/>
                    </a:lnTo>
                    <a:lnTo>
                      <a:pt x="357" y="76"/>
                    </a:lnTo>
                    <a:lnTo>
                      <a:pt x="356" y="76"/>
                    </a:lnTo>
                    <a:lnTo>
                      <a:pt x="355" y="76"/>
                    </a:lnTo>
                    <a:lnTo>
                      <a:pt x="353" y="77"/>
                    </a:lnTo>
                    <a:lnTo>
                      <a:pt x="352" y="77"/>
                    </a:lnTo>
                    <a:lnTo>
                      <a:pt x="352" y="78"/>
                    </a:lnTo>
                    <a:lnTo>
                      <a:pt x="351" y="78"/>
                    </a:lnTo>
                    <a:lnTo>
                      <a:pt x="351" y="79"/>
                    </a:lnTo>
                    <a:lnTo>
                      <a:pt x="350" y="79"/>
                    </a:lnTo>
                    <a:lnTo>
                      <a:pt x="349" y="79"/>
                    </a:lnTo>
                    <a:lnTo>
                      <a:pt x="349" y="80"/>
                    </a:lnTo>
                    <a:lnTo>
                      <a:pt x="349" y="81"/>
                    </a:lnTo>
                    <a:lnTo>
                      <a:pt x="349" y="82"/>
                    </a:lnTo>
                    <a:lnTo>
                      <a:pt x="349" y="83"/>
                    </a:lnTo>
                    <a:lnTo>
                      <a:pt x="350" y="83"/>
                    </a:lnTo>
                    <a:lnTo>
                      <a:pt x="350" y="84"/>
                    </a:lnTo>
                    <a:lnTo>
                      <a:pt x="350" y="86"/>
                    </a:lnTo>
                    <a:lnTo>
                      <a:pt x="351" y="86"/>
                    </a:lnTo>
                    <a:lnTo>
                      <a:pt x="353" y="87"/>
                    </a:lnTo>
                    <a:lnTo>
                      <a:pt x="353" y="88"/>
                    </a:lnTo>
                    <a:lnTo>
                      <a:pt x="353" y="89"/>
                    </a:lnTo>
                    <a:lnTo>
                      <a:pt x="355" y="89"/>
                    </a:lnTo>
                    <a:lnTo>
                      <a:pt x="355" y="88"/>
                    </a:lnTo>
                    <a:lnTo>
                      <a:pt x="355" y="89"/>
                    </a:lnTo>
                    <a:lnTo>
                      <a:pt x="356" y="89"/>
                    </a:lnTo>
                    <a:lnTo>
                      <a:pt x="357" y="89"/>
                    </a:lnTo>
                    <a:lnTo>
                      <a:pt x="358" y="89"/>
                    </a:lnTo>
                    <a:lnTo>
                      <a:pt x="359" y="89"/>
                    </a:lnTo>
                    <a:lnTo>
                      <a:pt x="359" y="88"/>
                    </a:lnTo>
                    <a:lnTo>
                      <a:pt x="360" y="88"/>
                    </a:lnTo>
                    <a:lnTo>
                      <a:pt x="361" y="87"/>
                    </a:lnTo>
                    <a:lnTo>
                      <a:pt x="361" y="88"/>
                    </a:lnTo>
                    <a:lnTo>
                      <a:pt x="362" y="88"/>
                    </a:lnTo>
                    <a:lnTo>
                      <a:pt x="362" y="89"/>
                    </a:lnTo>
                    <a:lnTo>
                      <a:pt x="363" y="89"/>
                    </a:lnTo>
                    <a:lnTo>
                      <a:pt x="363" y="90"/>
                    </a:lnTo>
                    <a:lnTo>
                      <a:pt x="364" y="91"/>
                    </a:lnTo>
                    <a:lnTo>
                      <a:pt x="364" y="92"/>
                    </a:lnTo>
                    <a:lnTo>
                      <a:pt x="363" y="92"/>
                    </a:lnTo>
                    <a:lnTo>
                      <a:pt x="362" y="92"/>
                    </a:lnTo>
                    <a:lnTo>
                      <a:pt x="362" y="93"/>
                    </a:lnTo>
                    <a:lnTo>
                      <a:pt x="362" y="94"/>
                    </a:lnTo>
                    <a:lnTo>
                      <a:pt x="361" y="94"/>
                    </a:lnTo>
                    <a:lnTo>
                      <a:pt x="361" y="95"/>
                    </a:lnTo>
                    <a:lnTo>
                      <a:pt x="361" y="96"/>
                    </a:lnTo>
                    <a:lnTo>
                      <a:pt x="361" y="97"/>
                    </a:lnTo>
                    <a:lnTo>
                      <a:pt x="361" y="96"/>
                    </a:lnTo>
                    <a:lnTo>
                      <a:pt x="361" y="95"/>
                    </a:lnTo>
                    <a:lnTo>
                      <a:pt x="360" y="95"/>
                    </a:lnTo>
                    <a:lnTo>
                      <a:pt x="360" y="94"/>
                    </a:lnTo>
                    <a:lnTo>
                      <a:pt x="360" y="93"/>
                    </a:lnTo>
                    <a:lnTo>
                      <a:pt x="359" y="93"/>
                    </a:lnTo>
                    <a:lnTo>
                      <a:pt x="359" y="92"/>
                    </a:lnTo>
                    <a:lnTo>
                      <a:pt x="358" y="92"/>
                    </a:lnTo>
                    <a:lnTo>
                      <a:pt x="357" y="92"/>
                    </a:lnTo>
                    <a:lnTo>
                      <a:pt x="356" y="92"/>
                    </a:lnTo>
                    <a:lnTo>
                      <a:pt x="353" y="92"/>
                    </a:lnTo>
                    <a:lnTo>
                      <a:pt x="353" y="93"/>
                    </a:lnTo>
                    <a:lnTo>
                      <a:pt x="352" y="93"/>
                    </a:lnTo>
                    <a:lnTo>
                      <a:pt x="352" y="94"/>
                    </a:lnTo>
                    <a:lnTo>
                      <a:pt x="351" y="94"/>
                    </a:lnTo>
                    <a:lnTo>
                      <a:pt x="350" y="95"/>
                    </a:lnTo>
                    <a:lnTo>
                      <a:pt x="349" y="95"/>
                    </a:lnTo>
                    <a:lnTo>
                      <a:pt x="348" y="95"/>
                    </a:lnTo>
                    <a:lnTo>
                      <a:pt x="348" y="96"/>
                    </a:lnTo>
                    <a:lnTo>
                      <a:pt x="347" y="96"/>
                    </a:lnTo>
                    <a:lnTo>
                      <a:pt x="346" y="96"/>
                    </a:lnTo>
                    <a:lnTo>
                      <a:pt x="346" y="97"/>
                    </a:lnTo>
                    <a:lnTo>
                      <a:pt x="346" y="99"/>
                    </a:lnTo>
                    <a:lnTo>
                      <a:pt x="345" y="99"/>
                    </a:lnTo>
                    <a:lnTo>
                      <a:pt x="345" y="100"/>
                    </a:lnTo>
                    <a:lnTo>
                      <a:pt x="346" y="101"/>
                    </a:lnTo>
                    <a:lnTo>
                      <a:pt x="346" y="102"/>
                    </a:lnTo>
                    <a:lnTo>
                      <a:pt x="346" y="103"/>
                    </a:lnTo>
                    <a:lnTo>
                      <a:pt x="346" y="102"/>
                    </a:lnTo>
                    <a:lnTo>
                      <a:pt x="345" y="102"/>
                    </a:lnTo>
                    <a:lnTo>
                      <a:pt x="345" y="103"/>
                    </a:lnTo>
                    <a:lnTo>
                      <a:pt x="346" y="103"/>
                    </a:lnTo>
                    <a:lnTo>
                      <a:pt x="346" y="104"/>
                    </a:lnTo>
                    <a:lnTo>
                      <a:pt x="345" y="104"/>
                    </a:lnTo>
                    <a:lnTo>
                      <a:pt x="344" y="104"/>
                    </a:lnTo>
                    <a:lnTo>
                      <a:pt x="343" y="105"/>
                    </a:lnTo>
                    <a:lnTo>
                      <a:pt x="343" y="106"/>
                    </a:lnTo>
                    <a:lnTo>
                      <a:pt x="343" y="107"/>
                    </a:lnTo>
                    <a:lnTo>
                      <a:pt x="342" y="107"/>
                    </a:lnTo>
                    <a:lnTo>
                      <a:pt x="340" y="108"/>
                    </a:lnTo>
                    <a:lnTo>
                      <a:pt x="339" y="109"/>
                    </a:lnTo>
                    <a:lnTo>
                      <a:pt x="339" y="110"/>
                    </a:lnTo>
                    <a:lnTo>
                      <a:pt x="339" y="112"/>
                    </a:lnTo>
                    <a:lnTo>
                      <a:pt x="339" y="113"/>
                    </a:lnTo>
                    <a:lnTo>
                      <a:pt x="340" y="114"/>
                    </a:lnTo>
                    <a:lnTo>
                      <a:pt x="340" y="115"/>
                    </a:lnTo>
                    <a:lnTo>
                      <a:pt x="340" y="116"/>
                    </a:lnTo>
                    <a:lnTo>
                      <a:pt x="338" y="116"/>
                    </a:lnTo>
                    <a:lnTo>
                      <a:pt x="337" y="116"/>
                    </a:lnTo>
                    <a:lnTo>
                      <a:pt x="335" y="115"/>
                    </a:lnTo>
                    <a:lnTo>
                      <a:pt x="334" y="116"/>
                    </a:lnTo>
                    <a:lnTo>
                      <a:pt x="334" y="117"/>
                    </a:lnTo>
                    <a:lnTo>
                      <a:pt x="334" y="118"/>
                    </a:lnTo>
                    <a:lnTo>
                      <a:pt x="335" y="118"/>
                    </a:lnTo>
                    <a:lnTo>
                      <a:pt x="335" y="117"/>
                    </a:lnTo>
                    <a:lnTo>
                      <a:pt x="335" y="118"/>
                    </a:lnTo>
                    <a:lnTo>
                      <a:pt x="336" y="118"/>
                    </a:lnTo>
                    <a:lnTo>
                      <a:pt x="336" y="119"/>
                    </a:lnTo>
                    <a:lnTo>
                      <a:pt x="337" y="119"/>
                    </a:lnTo>
                    <a:lnTo>
                      <a:pt x="338" y="120"/>
                    </a:lnTo>
                    <a:lnTo>
                      <a:pt x="339" y="120"/>
                    </a:lnTo>
                    <a:lnTo>
                      <a:pt x="340" y="120"/>
                    </a:lnTo>
                    <a:lnTo>
                      <a:pt x="340" y="119"/>
                    </a:lnTo>
                    <a:lnTo>
                      <a:pt x="342" y="118"/>
                    </a:lnTo>
                    <a:lnTo>
                      <a:pt x="343" y="118"/>
                    </a:lnTo>
                    <a:lnTo>
                      <a:pt x="343" y="117"/>
                    </a:lnTo>
                    <a:lnTo>
                      <a:pt x="344" y="118"/>
                    </a:lnTo>
                    <a:lnTo>
                      <a:pt x="345" y="118"/>
                    </a:lnTo>
                    <a:lnTo>
                      <a:pt x="346" y="118"/>
                    </a:lnTo>
                    <a:lnTo>
                      <a:pt x="347" y="117"/>
                    </a:lnTo>
                    <a:lnTo>
                      <a:pt x="347" y="116"/>
                    </a:lnTo>
                    <a:lnTo>
                      <a:pt x="348" y="116"/>
                    </a:lnTo>
                    <a:lnTo>
                      <a:pt x="348" y="115"/>
                    </a:lnTo>
                    <a:lnTo>
                      <a:pt x="349" y="115"/>
                    </a:lnTo>
                    <a:lnTo>
                      <a:pt x="348" y="114"/>
                    </a:lnTo>
                    <a:lnTo>
                      <a:pt x="349" y="114"/>
                    </a:lnTo>
                    <a:lnTo>
                      <a:pt x="349" y="115"/>
                    </a:lnTo>
                    <a:lnTo>
                      <a:pt x="351" y="116"/>
                    </a:lnTo>
                    <a:lnTo>
                      <a:pt x="351" y="117"/>
                    </a:lnTo>
                    <a:lnTo>
                      <a:pt x="352" y="117"/>
                    </a:lnTo>
                    <a:lnTo>
                      <a:pt x="353" y="118"/>
                    </a:lnTo>
                    <a:lnTo>
                      <a:pt x="352" y="117"/>
                    </a:lnTo>
                    <a:lnTo>
                      <a:pt x="351" y="117"/>
                    </a:lnTo>
                    <a:lnTo>
                      <a:pt x="350" y="117"/>
                    </a:lnTo>
                    <a:lnTo>
                      <a:pt x="350" y="116"/>
                    </a:lnTo>
                    <a:lnTo>
                      <a:pt x="350" y="117"/>
                    </a:lnTo>
                    <a:lnTo>
                      <a:pt x="349" y="117"/>
                    </a:lnTo>
                    <a:lnTo>
                      <a:pt x="349" y="118"/>
                    </a:lnTo>
                    <a:lnTo>
                      <a:pt x="349" y="119"/>
                    </a:lnTo>
                    <a:lnTo>
                      <a:pt x="348" y="120"/>
                    </a:lnTo>
                    <a:lnTo>
                      <a:pt x="349" y="121"/>
                    </a:lnTo>
                    <a:lnTo>
                      <a:pt x="350" y="122"/>
                    </a:lnTo>
                    <a:lnTo>
                      <a:pt x="352" y="122"/>
                    </a:lnTo>
                    <a:lnTo>
                      <a:pt x="353" y="122"/>
                    </a:lnTo>
                    <a:lnTo>
                      <a:pt x="353" y="123"/>
                    </a:lnTo>
                    <a:lnTo>
                      <a:pt x="352" y="125"/>
                    </a:lnTo>
                    <a:lnTo>
                      <a:pt x="351" y="125"/>
                    </a:lnTo>
                    <a:lnTo>
                      <a:pt x="350" y="123"/>
                    </a:lnTo>
                    <a:lnTo>
                      <a:pt x="349" y="123"/>
                    </a:lnTo>
                    <a:lnTo>
                      <a:pt x="348" y="123"/>
                    </a:lnTo>
                    <a:lnTo>
                      <a:pt x="347" y="123"/>
                    </a:lnTo>
                    <a:lnTo>
                      <a:pt x="345" y="125"/>
                    </a:lnTo>
                    <a:lnTo>
                      <a:pt x="344" y="125"/>
                    </a:lnTo>
                    <a:lnTo>
                      <a:pt x="343" y="126"/>
                    </a:lnTo>
                    <a:lnTo>
                      <a:pt x="342" y="127"/>
                    </a:lnTo>
                    <a:lnTo>
                      <a:pt x="342" y="128"/>
                    </a:lnTo>
                    <a:lnTo>
                      <a:pt x="340" y="127"/>
                    </a:lnTo>
                    <a:lnTo>
                      <a:pt x="340" y="126"/>
                    </a:lnTo>
                    <a:lnTo>
                      <a:pt x="339" y="125"/>
                    </a:lnTo>
                    <a:lnTo>
                      <a:pt x="339" y="126"/>
                    </a:lnTo>
                    <a:lnTo>
                      <a:pt x="338" y="125"/>
                    </a:lnTo>
                    <a:lnTo>
                      <a:pt x="338" y="126"/>
                    </a:lnTo>
                    <a:lnTo>
                      <a:pt x="338" y="125"/>
                    </a:lnTo>
                    <a:lnTo>
                      <a:pt x="337" y="125"/>
                    </a:lnTo>
                    <a:lnTo>
                      <a:pt x="337" y="123"/>
                    </a:lnTo>
                    <a:lnTo>
                      <a:pt x="336" y="123"/>
                    </a:lnTo>
                    <a:lnTo>
                      <a:pt x="336" y="122"/>
                    </a:lnTo>
                    <a:lnTo>
                      <a:pt x="335" y="122"/>
                    </a:lnTo>
                    <a:lnTo>
                      <a:pt x="334" y="122"/>
                    </a:lnTo>
                    <a:lnTo>
                      <a:pt x="334" y="121"/>
                    </a:lnTo>
                    <a:lnTo>
                      <a:pt x="334" y="120"/>
                    </a:lnTo>
                    <a:lnTo>
                      <a:pt x="333" y="119"/>
                    </a:lnTo>
                    <a:lnTo>
                      <a:pt x="332" y="119"/>
                    </a:lnTo>
                    <a:lnTo>
                      <a:pt x="332" y="120"/>
                    </a:lnTo>
                    <a:lnTo>
                      <a:pt x="331" y="120"/>
                    </a:lnTo>
                    <a:lnTo>
                      <a:pt x="330" y="120"/>
                    </a:lnTo>
                    <a:lnTo>
                      <a:pt x="329" y="121"/>
                    </a:lnTo>
                    <a:lnTo>
                      <a:pt x="329" y="122"/>
                    </a:lnTo>
                    <a:lnTo>
                      <a:pt x="330" y="122"/>
                    </a:lnTo>
                    <a:lnTo>
                      <a:pt x="330" y="123"/>
                    </a:lnTo>
                    <a:lnTo>
                      <a:pt x="331" y="123"/>
                    </a:lnTo>
                    <a:lnTo>
                      <a:pt x="330" y="125"/>
                    </a:lnTo>
                    <a:lnTo>
                      <a:pt x="330" y="126"/>
                    </a:lnTo>
                    <a:lnTo>
                      <a:pt x="330" y="127"/>
                    </a:lnTo>
                    <a:lnTo>
                      <a:pt x="330" y="128"/>
                    </a:lnTo>
                    <a:lnTo>
                      <a:pt x="331" y="129"/>
                    </a:lnTo>
                    <a:lnTo>
                      <a:pt x="330" y="130"/>
                    </a:lnTo>
                    <a:lnTo>
                      <a:pt x="330" y="131"/>
                    </a:lnTo>
                    <a:lnTo>
                      <a:pt x="331" y="131"/>
                    </a:lnTo>
                    <a:lnTo>
                      <a:pt x="331" y="132"/>
                    </a:lnTo>
                    <a:lnTo>
                      <a:pt x="331" y="133"/>
                    </a:lnTo>
                    <a:lnTo>
                      <a:pt x="333" y="133"/>
                    </a:lnTo>
                    <a:lnTo>
                      <a:pt x="334" y="134"/>
                    </a:lnTo>
                    <a:lnTo>
                      <a:pt x="334" y="135"/>
                    </a:lnTo>
                    <a:lnTo>
                      <a:pt x="335" y="136"/>
                    </a:lnTo>
                    <a:lnTo>
                      <a:pt x="336" y="138"/>
                    </a:lnTo>
                    <a:lnTo>
                      <a:pt x="337" y="138"/>
                    </a:lnTo>
                    <a:lnTo>
                      <a:pt x="336" y="139"/>
                    </a:lnTo>
                    <a:lnTo>
                      <a:pt x="335" y="139"/>
                    </a:lnTo>
                    <a:lnTo>
                      <a:pt x="334" y="140"/>
                    </a:lnTo>
                    <a:lnTo>
                      <a:pt x="333" y="140"/>
                    </a:lnTo>
                    <a:lnTo>
                      <a:pt x="332" y="141"/>
                    </a:lnTo>
                    <a:lnTo>
                      <a:pt x="331" y="141"/>
                    </a:lnTo>
                    <a:lnTo>
                      <a:pt x="331" y="142"/>
                    </a:lnTo>
                    <a:lnTo>
                      <a:pt x="330" y="142"/>
                    </a:lnTo>
                    <a:lnTo>
                      <a:pt x="330" y="141"/>
                    </a:lnTo>
                    <a:lnTo>
                      <a:pt x="329" y="140"/>
                    </a:lnTo>
                    <a:lnTo>
                      <a:pt x="327" y="139"/>
                    </a:lnTo>
                    <a:lnTo>
                      <a:pt x="326" y="139"/>
                    </a:lnTo>
                    <a:lnTo>
                      <a:pt x="326" y="140"/>
                    </a:lnTo>
                    <a:lnTo>
                      <a:pt x="325" y="140"/>
                    </a:lnTo>
                    <a:lnTo>
                      <a:pt x="325" y="141"/>
                    </a:lnTo>
                    <a:lnTo>
                      <a:pt x="325" y="142"/>
                    </a:lnTo>
                    <a:lnTo>
                      <a:pt x="326" y="142"/>
                    </a:lnTo>
                    <a:lnTo>
                      <a:pt x="327" y="142"/>
                    </a:lnTo>
                    <a:lnTo>
                      <a:pt x="327" y="143"/>
                    </a:lnTo>
                    <a:lnTo>
                      <a:pt x="326" y="144"/>
                    </a:lnTo>
                    <a:lnTo>
                      <a:pt x="326" y="145"/>
                    </a:lnTo>
                    <a:lnTo>
                      <a:pt x="327" y="145"/>
                    </a:lnTo>
                    <a:lnTo>
                      <a:pt x="329" y="144"/>
                    </a:lnTo>
                    <a:lnTo>
                      <a:pt x="330" y="144"/>
                    </a:lnTo>
                    <a:lnTo>
                      <a:pt x="331" y="144"/>
                    </a:lnTo>
                    <a:lnTo>
                      <a:pt x="332" y="145"/>
                    </a:lnTo>
                    <a:lnTo>
                      <a:pt x="333" y="144"/>
                    </a:lnTo>
                    <a:lnTo>
                      <a:pt x="334" y="143"/>
                    </a:lnTo>
                    <a:lnTo>
                      <a:pt x="335" y="143"/>
                    </a:lnTo>
                    <a:lnTo>
                      <a:pt x="336" y="143"/>
                    </a:lnTo>
                    <a:lnTo>
                      <a:pt x="337" y="144"/>
                    </a:lnTo>
                    <a:lnTo>
                      <a:pt x="338" y="144"/>
                    </a:lnTo>
                    <a:lnTo>
                      <a:pt x="339" y="143"/>
                    </a:lnTo>
                    <a:lnTo>
                      <a:pt x="340" y="143"/>
                    </a:lnTo>
                    <a:lnTo>
                      <a:pt x="340" y="142"/>
                    </a:lnTo>
                    <a:lnTo>
                      <a:pt x="340" y="141"/>
                    </a:lnTo>
                    <a:lnTo>
                      <a:pt x="339" y="141"/>
                    </a:lnTo>
                    <a:lnTo>
                      <a:pt x="337" y="141"/>
                    </a:lnTo>
                    <a:lnTo>
                      <a:pt x="337" y="140"/>
                    </a:lnTo>
                    <a:lnTo>
                      <a:pt x="338" y="140"/>
                    </a:lnTo>
                    <a:lnTo>
                      <a:pt x="339" y="140"/>
                    </a:lnTo>
                    <a:lnTo>
                      <a:pt x="340" y="139"/>
                    </a:lnTo>
                    <a:lnTo>
                      <a:pt x="340" y="138"/>
                    </a:lnTo>
                    <a:lnTo>
                      <a:pt x="340" y="136"/>
                    </a:lnTo>
                    <a:lnTo>
                      <a:pt x="340" y="135"/>
                    </a:lnTo>
                    <a:lnTo>
                      <a:pt x="339" y="134"/>
                    </a:lnTo>
                    <a:lnTo>
                      <a:pt x="339" y="133"/>
                    </a:lnTo>
                    <a:lnTo>
                      <a:pt x="340" y="133"/>
                    </a:lnTo>
                    <a:lnTo>
                      <a:pt x="342" y="133"/>
                    </a:lnTo>
                    <a:lnTo>
                      <a:pt x="342" y="134"/>
                    </a:lnTo>
                    <a:lnTo>
                      <a:pt x="343" y="134"/>
                    </a:lnTo>
                    <a:lnTo>
                      <a:pt x="345" y="135"/>
                    </a:lnTo>
                    <a:lnTo>
                      <a:pt x="345" y="136"/>
                    </a:lnTo>
                    <a:lnTo>
                      <a:pt x="343" y="139"/>
                    </a:lnTo>
                    <a:lnTo>
                      <a:pt x="343" y="140"/>
                    </a:lnTo>
                    <a:lnTo>
                      <a:pt x="343" y="141"/>
                    </a:lnTo>
                    <a:lnTo>
                      <a:pt x="343" y="143"/>
                    </a:lnTo>
                    <a:lnTo>
                      <a:pt x="344" y="144"/>
                    </a:lnTo>
                    <a:lnTo>
                      <a:pt x="344" y="145"/>
                    </a:lnTo>
                    <a:lnTo>
                      <a:pt x="343" y="146"/>
                    </a:lnTo>
                    <a:lnTo>
                      <a:pt x="344" y="147"/>
                    </a:lnTo>
                    <a:lnTo>
                      <a:pt x="345" y="147"/>
                    </a:lnTo>
                    <a:lnTo>
                      <a:pt x="347" y="145"/>
                    </a:lnTo>
                    <a:lnTo>
                      <a:pt x="348" y="144"/>
                    </a:lnTo>
                    <a:lnTo>
                      <a:pt x="348" y="142"/>
                    </a:lnTo>
                    <a:lnTo>
                      <a:pt x="349" y="142"/>
                    </a:lnTo>
                    <a:lnTo>
                      <a:pt x="349" y="141"/>
                    </a:lnTo>
                    <a:lnTo>
                      <a:pt x="350" y="141"/>
                    </a:lnTo>
                    <a:lnTo>
                      <a:pt x="351" y="140"/>
                    </a:lnTo>
                    <a:lnTo>
                      <a:pt x="351" y="139"/>
                    </a:lnTo>
                    <a:lnTo>
                      <a:pt x="352" y="139"/>
                    </a:lnTo>
                    <a:lnTo>
                      <a:pt x="352" y="138"/>
                    </a:lnTo>
                    <a:lnTo>
                      <a:pt x="352" y="136"/>
                    </a:lnTo>
                    <a:lnTo>
                      <a:pt x="353" y="136"/>
                    </a:lnTo>
                    <a:lnTo>
                      <a:pt x="353" y="135"/>
                    </a:lnTo>
                    <a:lnTo>
                      <a:pt x="355" y="135"/>
                    </a:lnTo>
                    <a:lnTo>
                      <a:pt x="355" y="134"/>
                    </a:lnTo>
                    <a:lnTo>
                      <a:pt x="355" y="133"/>
                    </a:lnTo>
                    <a:lnTo>
                      <a:pt x="355" y="132"/>
                    </a:lnTo>
                    <a:lnTo>
                      <a:pt x="353" y="132"/>
                    </a:lnTo>
                    <a:lnTo>
                      <a:pt x="355" y="131"/>
                    </a:lnTo>
                    <a:lnTo>
                      <a:pt x="356" y="131"/>
                    </a:lnTo>
                    <a:lnTo>
                      <a:pt x="357" y="132"/>
                    </a:lnTo>
                    <a:lnTo>
                      <a:pt x="359" y="132"/>
                    </a:lnTo>
                    <a:lnTo>
                      <a:pt x="361" y="133"/>
                    </a:lnTo>
                    <a:lnTo>
                      <a:pt x="361" y="132"/>
                    </a:lnTo>
                    <a:lnTo>
                      <a:pt x="362" y="132"/>
                    </a:lnTo>
                    <a:lnTo>
                      <a:pt x="363" y="132"/>
                    </a:lnTo>
                    <a:lnTo>
                      <a:pt x="363" y="133"/>
                    </a:lnTo>
                    <a:lnTo>
                      <a:pt x="362" y="133"/>
                    </a:lnTo>
                    <a:lnTo>
                      <a:pt x="361" y="133"/>
                    </a:lnTo>
                    <a:lnTo>
                      <a:pt x="361" y="134"/>
                    </a:lnTo>
                    <a:lnTo>
                      <a:pt x="360" y="134"/>
                    </a:lnTo>
                    <a:lnTo>
                      <a:pt x="360" y="135"/>
                    </a:lnTo>
                    <a:lnTo>
                      <a:pt x="360" y="136"/>
                    </a:lnTo>
                    <a:lnTo>
                      <a:pt x="361" y="136"/>
                    </a:lnTo>
                    <a:lnTo>
                      <a:pt x="361" y="138"/>
                    </a:lnTo>
                    <a:lnTo>
                      <a:pt x="360" y="138"/>
                    </a:lnTo>
                    <a:lnTo>
                      <a:pt x="360" y="139"/>
                    </a:lnTo>
                    <a:lnTo>
                      <a:pt x="359" y="139"/>
                    </a:lnTo>
                    <a:lnTo>
                      <a:pt x="360" y="139"/>
                    </a:lnTo>
                    <a:lnTo>
                      <a:pt x="360" y="140"/>
                    </a:lnTo>
                    <a:lnTo>
                      <a:pt x="359" y="140"/>
                    </a:lnTo>
                    <a:lnTo>
                      <a:pt x="359" y="141"/>
                    </a:lnTo>
                    <a:lnTo>
                      <a:pt x="359" y="142"/>
                    </a:lnTo>
                    <a:lnTo>
                      <a:pt x="359" y="143"/>
                    </a:lnTo>
                    <a:lnTo>
                      <a:pt x="360" y="143"/>
                    </a:lnTo>
                    <a:lnTo>
                      <a:pt x="360" y="142"/>
                    </a:lnTo>
                    <a:lnTo>
                      <a:pt x="361" y="142"/>
                    </a:lnTo>
                    <a:lnTo>
                      <a:pt x="361" y="141"/>
                    </a:lnTo>
                    <a:lnTo>
                      <a:pt x="362" y="141"/>
                    </a:lnTo>
                    <a:lnTo>
                      <a:pt x="362" y="140"/>
                    </a:lnTo>
                    <a:lnTo>
                      <a:pt x="361" y="139"/>
                    </a:lnTo>
                    <a:lnTo>
                      <a:pt x="362" y="139"/>
                    </a:lnTo>
                    <a:lnTo>
                      <a:pt x="362" y="140"/>
                    </a:lnTo>
                    <a:lnTo>
                      <a:pt x="363" y="140"/>
                    </a:lnTo>
                    <a:lnTo>
                      <a:pt x="364" y="140"/>
                    </a:lnTo>
                    <a:lnTo>
                      <a:pt x="365" y="140"/>
                    </a:lnTo>
                    <a:lnTo>
                      <a:pt x="365" y="141"/>
                    </a:lnTo>
                    <a:lnTo>
                      <a:pt x="366" y="141"/>
                    </a:lnTo>
                    <a:lnTo>
                      <a:pt x="366" y="140"/>
                    </a:lnTo>
                    <a:lnTo>
                      <a:pt x="368" y="140"/>
                    </a:lnTo>
                    <a:lnTo>
                      <a:pt x="368" y="139"/>
                    </a:lnTo>
                    <a:lnTo>
                      <a:pt x="368" y="138"/>
                    </a:lnTo>
                    <a:lnTo>
                      <a:pt x="369" y="138"/>
                    </a:lnTo>
                    <a:lnTo>
                      <a:pt x="370" y="138"/>
                    </a:lnTo>
                    <a:lnTo>
                      <a:pt x="369" y="139"/>
                    </a:lnTo>
                    <a:lnTo>
                      <a:pt x="370" y="139"/>
                    </a:lnTo>
                    <a:lnTo>
                      <a:pt x="371" y="139"/>
                    </a:lnTo>
                    <a:lnTo>
                      <a:pt x="372" y="139"/>
                    </a:lnTo>
                    <a:lnTo>
                      <a:pt x="372" y="140"/>
                    </a:lnTo>
                    <a:lnTo>
                      <a:pt x="373" y="140"/>
                    </a:lnTo>
                    <a:lnTo>
                      <a:pt x="374" y="140"/>
                    </a:lnTo>
                    <a:lnTo>
                      <a:pt x="374" y="139"/>
                    </a:lnTo>
                    <a:lnTo>
                      <a:pt x="374" y="138"/>
                    </a:lnTo>
                    <a:lnTo>
                      <a:pt x="375" y="138"/>
                    </a:lnTo>
                    <a:lnTo>
                      <a:pt x="376" y="138"/>
                    </a:lnTo>
                    <a:lnTo>
                      <a:pt x="377" y="138"/>
                    </a:lnTo>
                    <a:lnTo>
                      <a:pt x="378" y="138"/>
                    </a:lnTo>
                    <a:lnTo>
                      <a:pt x="378" y="139"/>
                    </a:lnTo>
                    <a:lnTo>
                      <a:pt x="378" y="140"/>
                    </a:lnTo>
                    <a:lnTo>
                      <a:pt x="380" y="141"/>
                    </a:lnTo>
                    <a:lnTo>
                      <a:pt x="380" y="142"/>
                    </a:lnTo>
                    <a:lnTo>
                      <a:pt x="378" y="142"/>
                    </a:lnTo>
                    <a:lnTo>
                      <a:pt x="378" y="141"/>
                    </a:lnTo>
                    <a:lnTo>
                      <a:pt x="377" y="141"/>
                    </a:lnTo>
                    <a:lnTo>
                      <a:pt x="376" y="142"/>
                    </a:lnTo>
                    <a:lnTo>
                      <a:pt x="376" y="143"/>
                    </a:lnTo>
                    <a:lnTo>
                      <a:pt x="376" y="144"/>
                    </a:lnTo>
                    <a:lnTo>
                      <a:pt x="377" y="145"/>
                    </a:lnTo>
                    <a:lnTo>
                      <a:pt x="378" y="146"/>
                    </a:lnTo>
                    <a:lnTo>
                      <a:pt x="378" y="147"/>
                    </a:lnTo>
                    <a:lnTo>
                      <a:pt x="380" y="147"/>
                    </a:lnTo>
                    <a:lnTo>
                      <a:pt x="381" y="148"/>
                    </a:lnTo>
                    <a:lnTo>
                      <a:pt x="381" y="149"/>
                    </a:lnTo>
                    <a:lnTo>
                      <a:pt x="382" y="151"/>
                    </a:lnTo>
                    <a:lnTo>
                      <a:pt x="383" y="152"/>
                    </a:lnTo>
                    <a:lnTo>
                      <a:pt x="384" y="152"/>
                    </a:lnTo>
                    <a:lnTo>
                      <a:pt x="385" y="153"/>
                    </a:lnTo>
                    <a:lnTo>
                      <a:pt x="386" y="153"/>
                    </a:lnTo>
                    <a:lnTo>
                      <a:pt x="387" y="154"/>
                    </a:lnTo>
                    <a:lnTo>
                      <a:pt x="387" y="155"/>
                    </a:lnTo>
                    <a:lnTo>
                      <a:pt x="387" y="156"/>
                    </a:lnTo>
                    <a:lnTo>
                      <a:pt x="387" y="155"/>
                    </a:lnTo>
                    <a:lnTo>
                      <a:pt x="387" y="156"/>
                    </a:lnTo>
                    <a:lnTo>
                      <a:pt x="386" y="155"/>
                    </a:lnTo>
                    <a:lnTo>
                      <a:pt x="385" y="155"/>
                    </a:lnTo>
                    <a:lnTo>
                      <a:pt x="385" y="154"/>
                    </a:lnTo>
                    <a:lnTo>
                      <a:pt x="386" y="154"/>
                    </a:lnTo>
                    <a:lnTo>
                      <a:pt x="385" y="154"/>
                    </a:lnTo>
                    <a:lnTo>
                      <a:pt x="385" y="155"/>
                    </a:lnTo>
                    <a:lnTo>
                      <a:pt x="384" y="155"/>
                    </a:lnTo>
                    <a:lnTo>
                      <a:pt x="384" y="156"/>
                    </a:lnTo>
                    <a:lnTo>
                      <a:pt x="384" y="155"/>
                    </a:lnTo>
                    <a:lnTo>
                      <a:pt x="384" y="154"/>
                    </a:lnTo>
                    <a:lnTo>
                      <a:pt x="383" y="154"/>
                    </a:lnTo>
                    <a:lnTo>
                      <a:pt x="383" y="153"/>
                    </a:lnTo>
                    <a:lnTo>
                      <a:pt x="383" y="154"/>
                    </a:lnTo>
                    <a:lnTo>
                      <a:pt x="383" y="153"/>
                    </a:lnTo>
                    <a:lnTo>
                      <a:pt x="382" y="153"/>
                    </a:lnTo>
                    <a:lnTo>
                      <a:pt x="383" y="153"/>
                    </a:lnTo>
                    <a:lnTo>
                      <a:pt x="382" y="153"/>
                    </a:lnTo>
                    <a:lnTo>
                      <a:pt x="382" y="152"/>
                    </a:lnTo>
                    <a:lnTo>
                      <a:pt x="381" y="152"/>
                    </a:lnTo>
                    <a:lnTo>
                      <a:pt x="381" y="153"/>
                    </a:lnTo>
                    <a:lnTo>
                      <a:pt x="381" y="154"/>
                    </a:lnTo>
                    <a:lnTo>
                      <a:pt x="380" y="153"/>
                    </a:lnTo>
                    <a:lnTo>
                      <a:pt x="378" y="153"/>
                    </a:lnTo>
                    <a:lnTo>
                      <a:pt x="378" y="154"/>
                    </a:lnTo>
                    <a:lnTo>
                      <a:pt x="377" y="155"/>
                    </a:lnTo>
                    <a:lnTo>
                      <a:pt x="378" y="155"/>
                    </a:lnTo>
                    <a:lnTo>
                      <a:pt x="378" y="156"/>
                    </a:lnTo>
                    <a:lnTo>
                      <a:pt x="378" y="157"/>
                    </a:lnTo>
                    <a:lnTo>
                      <a:pt x="378" y="158"/>
                    </a:lnTo>
                    <a:lnTo>
                      <a:pt x="380" y="158"/>
                    </a:lnTo>
                    <a:lnTo>
                      <a:pt x="381" y="158"/>
                    </a:lnTo>
                    <a:lnTo>
                      <a:pt x="381" y="157"/>
                    </a:lnTo>
                    <a:lnTo>
                      <a:pt x="381" y="158"/>
                    </a:lnTo>
                    <a:lnTo>
                      <a:pt x="382" y="158"/>
                    </a:lnTo>
                    <a:lnTo>
                      <a:pt x="382" y="157"/>
                    </a:lnTo>
                    <a:lnTo>
                      <a:pt x="383" y="157"/>
                    </a:lnTo>
                    <a:lnTo>
                      <a:pt x="384" y="157"/>
                    </a:lnTo>
                    <a:lnTo>
                      <a:pt x="384" y="156"/>
                    </a:lnTo>
                    <a:lnTo>
                      <a:pt x="385" y="156"/>
                    </a:lnTo>
                    <a:lnTo>
                      <a:pt x="386" y="156"/>
                    </a:lnTo>
                    <a:lnTo>
                      <a:pt x="387" y="156"/>
                    </a:lnTo>
                    <a:lnTo>
                      <a:pt x="387" y="157"/>
                    </a:lnTo>
                    <a:lnTo>
                      <a:pt x="387" y="158"/>
                    </a:lnTo>
                    <a:lnTo>
                      <a:pt x="387" y="159"/>
                    </a:lnTo>
                    <a:lnTo>
                      <a:pt x="387" y="160"/>
                    </a:lnTo>
                    <a:lnTo>
                      <a:pt x="387" y="161"/>
                    </a:lnTo>
                    <a:lnTo>
                      <a:pt x="387" y="160"/>
                    </a:lnTo>
                    <a:lnTo>
                      <a:pt x="386" y="160"/>
                    </a:lnTo>
                    <a:lnTo>
                      <a:pt x="386" y="161"/>
                    </a:lnTo>
                    <a:lnTo>
                      <a:pt x="385" y="161"/>
                    </a:lnTo>
                    <a:lnTo>
                      <a:pt x="384" y="161"/>
                    </a:lnTo>
                    <a:lnTo>
                      <a:pt x="384" y="162"/>
                    </a:lnTo>
                    <a:lnTo>
                      <a:pt x="385" y="162"/>
                    </a:lnTo>
                    <a:lnTo>
                      <a:pt x="386" y="162"/>
                    </a:lnTo>
                    <a:lnTo>
                      <a:pt x="386" y="161"/>
                    </a:lnTo>
                    <a:lnTo>
                      <a:pt x="386" y="160"/>
                    </a:lnTo>
                    <a:lnTo>
                      <a:pt x="387" y="161"/>
                    </a:lnTo>
                    <a:lnTo>
                      <a:pt x="387" y="162"/>
                    </a:lnTo>
                    <a:lnTo>
                      <a:pt x="388" y="162"/>
                    </a:lnTo>
                    <a:lnTo>
                      <a:pt x="387" y="164"/>
                    </a:lnTo>
                    <a:lnTo>
                      <a:pt x="387" y="165"/>
                    </a:lnTo>
                    <a:lnTo>
                      <a:pt x="388" y="165"/>
                    </a:lnTo>
                    <a:lnTo>
                      <a:pt x="388" y="166"/>
                    </a:lnTo>
                    <a:lnTo>
                      <a:pt x="387" y="166"/>
                    </a:lnTo>
                    <a:lnTo>
                      <a:pt x="386" y="165"/>
                    </a:lnTo>
                    <a:lnTo>
                      <a:pt x="385" y="165"/>
                    </a:lnTo>
                    <a:lnTo>
                      <a:pt x="385" y="166"/>
                    </a:lnTo>
                    <a:lnTo>
                      <a:pt x="385" y="167"/>
                    </a:lnTo>
                    <a:lnTo>
                      <a:pt x="384" y="167"/>
                    </a:lnTo>
                    <a:lnTo>
                      <a:pt x="384" y="166"/>
                    </a:lnTo>
                    <a:lnTo>
                      <a:pt x="383" y="165"/>
                    </a:lnTo>
                    <a:lnTo>
                      <a:pt x="382" y="165"/>
                    </a:lnTo>
                    <a:lnTo>
                      <a:pt x="381" y="165"/>
                    </a:lnTo>
                    <a:lnTo>
                      <a:pt x="381" y="166"/>
                    </a:lnTo>
                    <a:lnTo>
                      <a:pt x="380" y="167"/>
                    </a:lnTo>
                    <a:lnTo>
                      <a:pt x="380" y="168"/>
                    </a:lnTo>
                    <a:lnTo>
                      <a:pt x="381" y="168"/>
                    </a:lnTo>
                    <a:lnTo>
                      <a:pt x="380" y="169"/>
                    </a:lnTo>
                    <a:lnTo>
                      <a:pt x="380" y="168"/>
                    </a:lnTo>
                    <a:lnTo>
                      <a:pt x="380" y="167"/>
                    </a:lnTo>
                    <a:lnTo>
                      <a:pt x="378" y="167"/>
                    </a:lnTo>
                    <a:lnTo>
                      <a:pt x="378" y="166"/>
                    </a:lnTo>
                    <a:lnTo>
                      <a:pt x="377" y="166"/>
                    </a:lnTo>
                    <a:lnTo>
                      <a:pt x="376" y="166"/>
                    </a:lnTo>
                    <a:lnTo>
                      <a:pt x="377" y="167"/>
                    </a:lnTo>
                    <a:lnTo>
                      <a:pt x="377" y="168"/>
                    </a:lnTo>
                    <a:lnTo>
                      <a:pt x="376" y="168"/>
                    </a:lnTo>
                    <a:lnTo>
                      <a:pt x="376" y="169"/>
                    </a:lnTo>
                    <a:lnTo>
                      <a:pt x="377" y="170"/>
                    </a:lnTo>
                    <a:lnTo>
                      <a:pt x="378" y="170"/>
                    </a:lnTo>
                    <a:lnTo>
                      <a:pt x="380" y="170"/>
                    </a:lnTo>
                    <a:lnTo>
                      <a:pt x="380" y="171"/>
                    </a:lnTo>
                    <a:lnTo>
                      <a:pt x="380" y="172"/>
                    </a:lnTo>
                    <a:lnTo>
                      <a:pt x="380" y="173"/>
                    </a:lnTo>
                    <a:lnTo>
                      <a:pt x="381" y="174"/>
                    </a:lnTo>
                    <a:lnTo>
                      <a:pt x="382" y="174"/>
                    </a:lnTo>
                    <a:lnTo>
                      <a:pt x="383" y="174"/>
                    </a:lnTo>
                    <a:lnTo>
                      <a:pt x="384" y="173"/>
                    </a:lnTo>
                    <a:lnTo>
                      <a:pt x="384" y="172"/>
                    </a:lnTo>
                    <a:lnTo>
                      <a:pt x="385" y="172"/>
                    </a:lnTo>
                    <a:lnTo>
                      <a:pt x="386" y="172"/>
                    </a:lnTo>
                    <a:lnTo>
                      <a:pt x="386" y="171"/>
                    </a:lnTo>
                    <a:lnTo>
                      <a:pt x="386" y="172"/>
                    </a:lnTo>
                    <a:lnTo>
                      <a:pt x="386" y="171"/>
                    </a:lnTo>
                    <a:lnTo>
                      <a:pt x="387" y="171"/>
                    </a:lnTo>
                    <a:lnTo>
                      <a:pt x="388" y="171"/>
                    </a:lnTo>
                    <a:lnTo>
                      <a:pt x="388" y="172"/>
                    </a:lnTo>
                    <a:lnTo>
                      <a:pt x="389" y="173"/>
                    </a:lnTo>
                    <a:lnTo>
                      <a:pt x="388" y="174"/>
                    </a:lnTo>
                    <a:lnTo>
                      <a:pt x="388" y="176"/>
                    </a:lnTo>
                    <a:lnTo>
                      <a:pt x="389" y="177"/>
                    </a:lnTo>
                    <a:lnTo>
                      <a:pt x="389" y="178"/>
                    </a:lnTo>
                    <a:lnTo>
                      <a:pt x="390" y="179"/>
                    </a:lnTo>
                    <a:lnTo>
                      <a:pt x="390" y="180"/>
                    </a:lnTo>
                    <a:lnTo>
                      <a:pt x="390" y="181"/>
                    </a:lnTo>
                    <a:lnTo>
                      <a:pt x="391" y="182"/>
                    </a:lnTo>
                    <a:lnTo>
                      <a:pt x="393" y="182"/>
                    </a:lnTo>
                    <a:lnTo>
                      <a:pt x="393" y="183"/>
                    </a:lnTo>
                    <a:lnTo>
                      <a:pt x="393" y="184"/>
                    </a:lnTo>
                    <a:lnTo>
                      <a:pt x="393" y="185"/>
                    </a:lnTo>
                    <a:lnTo>
                      <a:pt x="393" y="186"/>
                    </a:lnTo>
                    <a:lnTo>
                      <a:pt x="393" y="187"/>
                    </a:lnTo>
                    <a:lnTo>
                      <a:pt x="393" y="186"/>
                    </a:lnTo>
                    <a:lnTo>
                      <a:pt x="394" y="187"/>
                    </a:lnTo>
                    <a:lnTo>
                      <a:pt x="394" y="189"/>
                    </a:lnTo>
                    <a:lnTo>
                      <a:pt x="395" y="189"/>
                    </a:lnTo>
                    <a:lnTo>
                      <a:pt x="394" y="189"/>
                    </a:lnTo>
                    <a:lnTo>
                      <a:pt x="394" y="190"/>
                    </a:lnTo>
                    <a:lnTo>
                      <a:pt x="393" y="190"/>
                    </a:lnTo>
                    <a:lnTo>
                      <a:pt x="393" y="191"/>
                    </a:lnTo>
                    <a:lnTo>
                      <a:pt x="391" y="191"/>
                    </a:lnTo>
                    <a:lnTo>
                      <a:pt x="391" y="192"/>
                    </a:lnTo>
                    <a:lnTo>
                      <a:pt x="393" y="192"/>
                    </a:lnTo>
                    <a:lnTo>
                      <a:pt x="394" y="193"/>
                    </a:lnTo>
                    <a:lnTo>
                      <a:pt x="395" y="192"/>
                    </a:lnTo>
                    <a:lnTo>
                      <a:pt x="396" y="192"/>
                    </a:lnTo>
                    <a:lnTo>
                      <a:pt x="397" y="192"/>
                    </a:lnTo>
                    <a:lnTo>
                      <a:pt x="397" y="191"/>
                    </a:lnTo>
                    <a:lnTo>
                      <a:pt x="396" y="191"/>
                    </a:lnTo>
                    <a:lnTo>
                      <a:pt x="396" y="190"/>
                    </a:lnTo>
                    <a:lnTo>
                      <a:pt x="397" y="190"/>
                    </a:lnTo>
                    <a:lnTo>
                      <a:pt x="398" y="190"/>
                    </a:lnTo>
                    <a:lnTo>
                      <a:pt x="399" y="190"/>
                    </a:lnTo>
                    <a:lnTo>
                      <a:pt x="400" y="190"/>
                    </a:lnTo>
                    <a:lnTo>
                      <a:pt x="400" y="191"/>
                    </a:lnTo>
                    <a:lnTo>
                      <a:pt x="399" y="191"/>
                    </a:lnTo>
                    <a:lnTo>
                      <a:pt x="399" y="192"/>
                    </a:lnTo>
                    <a:lnTo>
                      <a:pt x="400" y="193"/>
                    </a:lnTo>
                    <a:lnTo>
                      <a:pt x="400" y="194"/>
                    </a:lnTo>
                    <a:lnTo>
                      <a:pt x="399" y="194"/>
                    </a:lnTo>
                    <a:lnTo>
                      <a:pt x="398" y="194"/>
                    </a:lnTo>
                    <a:lnTo>
                      <a:pt x="398" y="195"/>
                    </a:lnTo>
                    <a:lnTo>
                      <a:pt x="398" y="197"/>
                    </a:lnTo>
                    <a:lnTo>
                      <a:pt x="398" y="198"/>
                    </a:lnTo>
                    <a:lnTo>
                      <a:pt x="397" y="199"/>
                    </a:lnTo>
                    <a:lnTo>
                      <a:pt x="397" y="200"/>
                    </a:lnTo>
                    <a:lnTo>
                      <a:pt x="397" y="202"/>
                    </a:lnTo>
                    <a:lnTo>
                      <a:pt x="398" y="202"/>
                    </a:lnTo>
                    <a:lnTo>
                      <a:pt x="399" y="202"/>
                    </a:lnTo>
                    <a:lnTo>
                      <a:pt x="400" y="202"/>
                    </a:lnTo>
                    <a:lnTo>
                      <a:pt x="401" y="202"/>
                    </a:lnTo>
                    <a:lnTo>
                      <a:pt x="402" y="202"/>
                    </a:lnTo>
                    <a:lnTo>
                      <a:pt x="402" y="200"/>
                    </a:lnTo>
                    <a:lnTo>
                      <a:pt x="401" y="200"/>
                    </a:lnTo>
                    <a:lnTo>
                      <a:pt x="402" y="200"/>
                    </a:lnTo>
                    <a:lnTo>
                      <a:pt x="402" y="199"/>
                    </a:lnTo>
                    <a:lnTo>
                      <a:pt x="402" y="198"/>
                    </a:lnTo>
                    <a:lnTo>
                      <a:pt x="403" y="198"/>
                    </a:lnTo>
                    <a:lnTo>
                      <a:pt x="403" y="199"/>
                    </a:lnTo>
                    <a:lnTo>
                      <a:pt x="404" y="199"/>
                    </a:lnTo>
                    <a:lnTo>
                      <a:pt x="406" y="200"/>
                    </a:lnTo>
                    <a:lnTo>
                      <a:pt x="407" y="200"/>
                    </a:lnTo>
                    <a:lnTo>
                      <a:pt x="407" y="199"/>
                    </a:lnTo>
                    <a:lnTo>
                      <a:pt x="408" y="199"/>
                    </a:lnTo>
                    <a:lnTo>
                      <a:pt x="407" y="198"/>
                    </a:lnTo>
                    <a:lnTo>
                      <a:pt x="408" y="198"/>
                    </a:lnTo>
                    <a:lnTo>
                      <a:pt x="409" y="198"/>
                    </a:lnTo>
                    <a:lnTo>
                      <a:pt x="410" y="198"/>
                    </a:lnTo>
                    <a:lnTo>
                      <a:pt x="410" y="197"/>
                    </a:lnTo>
                    <a:lnTo>
                      <a:pt x="411" y="197"/>
                    </a:lnTo>
                    <a:lnTo>
                      <a:pt x="410" y="197"/>
                    </a:lnTo>
                    <a:lnTo>
                      <a:pt x="409" y="197"/>
                    </a:lnTo>
                    <a:lnTo>
                      <a:pt x="410" y="197"/>
                    </a:lnTo>
                    <a:lnTo>
                      <a:pt x="410" y="196"/>
                    </a:lnTo>
                    <a:lnTo>
                      <a:pt x="410" y="195"/>
                    </a:lnTo>
                    <a:lnTo>
                      <a:pt x="411" y="195"/>
                    </a:lnTo>
                    <a:lnTo>
                      <a:pt x="411" y="196"/>
                    </a:lnTo>
                    <a:lnTo>
                      <a:pt x="411" y="197"/>
                    </a:lnTo>
                    <a:lnTo>
                      <a:pt x="411" y="198"/>
                    </a:lnTo>
                    <a:lnTo>
                      <a:pt x="412" y="198"/>
                    </a:lnTo>
                    <a:lnTo>
                      <a:pt x="411" y="199"/>
                    </a:lnTo>
                    <a:lnTo>
                      <a:pt x="411" y="200"/>
                    </a:lnTo>
                    <a:lnTo>
                      <a:pt x="411" y="202"/>
                    </a:lnTo>
                    <a:lnTo>
                      <a:pt x="410" y="202"/>
                    </a:lnTo>
                    <a:lnTo>
                      <a:pt x="410" y="203"/>
                    </a:lnTo>
                    <a:lnTo>
                      <a:pt x="409" y="203"/>
                    </a:lnTo>
                    <a:lnTo>
                      <a:pt x="409" y="204"/>
                    </a:lnTo>
                    <a:lnTo>
                      <a:pt x="408" y="204"/>
                    </a:lnTo>
                    <a:lnTo>
                      <a:pt x="408" y="203"/>
                    </a:lnTo>
                    <a:lnTo>
                      <a:pt x="408" y="204"/>
                    </a:lnTo>
                    <a:lnTo>
                      <a:pt x="409" y="203"/>
                    </a:lnTo>
                    <a:lnTo>
                      <a:pt x="409" y="202"/>
                    </a:lnTo>
                    <a:lnTo>
                      <a:pt x="408" y="202"/>
                    </a:lnTo>
                    <a:lnTo>
                      <a:pt x="407" y="202"/>
                    </a:lnTo>
                    <a:lnTo>
                      <a:pt x="406" y="202"/>
                    </a:lnTo>
                    <a:lnTo>
                      <a:pt x="404" y="202"/>
                    </a:lnTo>
                    <a:lnTo>
                      <a:pt x="403" y="202"/>
                    </a:lnTo>
                    <a:lnTo>
                      <a:pt x="402" y="203"/>
                    </a:lnTo>
                    <a:lnTo>
                      <a:pt x="401" y="203"/>
                    </a:lnTo>
                    <a:lnTo>
                      <a:pt x="401" y="204"/>
                    </a:lnTo>
                    <a:lnTo>
                      <a:pt x="401" y="205"/>
                    </a:lnTo>
                    <a:lnTo>
                      <a:pt x="401" y="206"/>
                    </a:lnTo>
                    <a:lnTo>
                      <a:pt x="401" y="207"/>
                    </a:lnTo>
                    <a:lnTo>
                      <a:pt x="401" y="208"/>
                    </a:lnTo>
                    <a:lnTo>
                      <a:pt x="402" y="210"/>
                    </a:lnTo>
                    <a:lnTo>
                      <a:pt x="401" y="211"/>
                    </a:lnTo>
                    <a:lnTo>
                      <a:pt x="401" y="212"/>
                    </a:lnTo>
                    <a:lnTo>
                      <a:pt x="401" y="213"/>
                    </a:lnTo>
                    <a:lnTo>
                      <a:pt x="400" y="213"/>
                    </a:lnTo>
                    <a:lnTo>
                      <a:pt x="400" y="215"/>
                    </a:lnTo>
                    <a:lnTo>
                      <a:pt x="401" y="215"/>
                    </a:lnTo>
                    <a:lnTo>
                      <a:pt x="400" y="216"/>
                    </a:lnTo>
                    <a:lnTo>
                      <a:pt x="401" y="216"/>
                    </a:lnTo>
                    <a:lnTo>
                      <a:pt x="400" y="216"/>
                    </a:lnTo>
                    <a:lnTo>
                      <a:pt x="400" y="217"/>
                    </a:lnTo>
                    <a:lnTo>
                      <a:pt x="401" y="218"/>
                    </a:lnTo>
                    <a:lnTo>
                      <a:pt x="402" y="218"/>
                    </a:lnTo>
                    <a:lnTo>
                      <a:pt x="402" y="219"/>
                    </a:lnTo>
                    <a:lnTo>
                      <a:pt x="401" y="220"/>
                    </a:lnTo>
                    <a:lnTo>
                      <a:pt x="400" y="221"/>
                    </a:lnTo>
                    <a:lnTo>
                      <a:pt x="399" y="221"/>
                    </a:lnTo>
                    <a:lnTo>
                      <a:pt x="397" y="221"/>
                    </a:lnTo>
                    <a:lnTo>
                      <a:pt x="396" y="222"/>
                    </a:lnTo>
                    <a:lnTo>
                      <a:pt x="394" y="222"/>
                    </a:lnTo>
                    <a:lnTo>
                      <a:pt x="393" y="222"/>
                    </a:lnTo>
                    <a:lnTo>
                      <a:pt x="391" y="223"/>
                    </a:lnTo>
                    <a:lnTo>
                      <a:pt x="390" y="223"/>
                    </a:lnTo>
                    <a:lnTo>
                      <a:pt x="390" y="224"/>
                    </a:lnTo>
                    <a:lnTo>
                      <a:pt x="389" y="224"/>
                    </a:lnTo>
                    <a:lnTo>
                      <a:pt x="388" y="224"/>
                    </a:lnTo>
                    <a:lnTo>
                      <a:pt x="387" y="224"/>
                    </a:lnTo>
                    <a:lnTo>
                      <a:pt x="386" y="224"/>
                    </a:lnTo>
                    <a:lnTo>
                      <a:pt x="385" y="225"/>
                    </a:lnTo>
                    <a:lnTo>
                      <a:pt x="384" y="226"/>
                    </a:lnTo>
                    <a:lnTo>
                      <a:pt x="383" y="226"/>
                    </a:lnTo>
                    <a:lnTo>
                      <a:pt x="382" y="226"/>
                    </a:lnTo>
                    <a:lnTo>
                      <a:pt x="381" y="226"/>
                    </a:lnTo>
                    <a:lnTo>
                      <a:pt x="380" y="226"/>
                    </a:lnTo>
                    <a:lnTo>
                      <a:pt x="380" y="228"/>
                    </a:lnTo>
                    <a:lnTo>
                      <a:pt x="381" y="228"/>
                    </a:lnTo>
                    <a:lnTo>
                      <a:pt x="382" y="228"/>
                    </a:lnTo>
                    <a:lnTo>
                      <a:pt x="382" y="229"/>
                    </a:lnTo>
                    <a:lnTo>
                      <a:pt x="383" y="229"/>
                    </a:lnTo>
                    <a:lnTo>
                      <a:pt x="384" y="229"/>
                    </a:lnTo>
                    <a:lnTo>
                      <a:pt x="384" y="230"/>
                    </a:lnTo>
                    <a:lnTo>
                      <a:pt x="385" y="231"/>
                    </a:lnTo>
                    <a:lnTo>
                      <a:pt x="385" y="232"/>
                    </a:lnTo>
                    <a:lnTo>
                      <a:pt x="386" y="233"/>
                    </a:lnTo>
                    <a:lnTo>
                      <a:pt x="385" y="233"/>
                    </a:lnTo>
                    <a:lnTo>
                      <a:pt x="385" y="234"/>
                    </a:lnTo>
                    <a:lnTo>
                      <a:pt x="384" y="234"/>
                    </a:lnTo>
                    <a:lnTo>
                      <a:pt x="384" y="235"/>
                    </a:lnTo>
                    <a:lnTo>
                      <a:pt x="383" y="235"/>
                    </a:lnTo>
                    <a:lnTo>
                      <a:pt x="383" y="234"/>
                    </a:lnTo>
                    <a:lnTo>
                      <a:pt x="383" y="233"/>
                    </a:lnTo>
                    <a:lnTo>
                      <a:pt x="382" y="233"/>
                    </a:lnTo>
                    <a:lnTo>
                      <a:pt x="381" y="233"/>
                    </a:lnTo>
                    <a:lnTo>
                      <a:pt x="381" y="232"/>
                    </a:lnTo>
                    <a:lnTo>
                      <a:pt x="382" y="232"/>
                    </a:lnTo>
                    <a:lnTo>
                      <a:pt x="381" y="232"/>
                    </a:lnTo>
                    <a:lnTo>
                      <a:pt x="380" y="232"/>
                    </a:lnTo>
                    <a:lnTo>
                      <a:pt x="378" y="232"/>
                    </a:lnTo>
                    <a:lnTo>
                      <a:pt x="377" y="232"/>
                    </a:lnTo>
                    <a:lnTo>
                      <a:pt x="377" y="233"/>
                    </a:lnTo>
                    <a:lnTo>
                      <a:pt x="376" y="233"/>
                    </a:lnTo>
                    <a:lnTo>
                      <a:pt x="376" y="234"/>
                    </a:lnTo>
                    <a:lnTo>
                      <a:pt x="375" y="234"/>
                    </a:lnTo>
                    <a:lnTo>
                      <a:pt x="374" y="234"/>
                    </a:lnTo>
                    <a:lnTo>
                      <a:pt x="373" y="234"/>
                    </a:lnTo>
                    <a:lnTo>
                      <a:pt x="373" y="235"/>
                    </a:lnTo>
                    <a:lnTo>
                      <a:pt x="372" y="234"/>
                    </a:lnTo>
                    <a:lnTo>
                      <a:pt x="371" y="234"/>
                    </a:lnTo>
                    <a:lnTo>
                      <a:pt x="371" y="235"/>
                    </a:lnTo>
                    <a:lnTo>
                      <a:pt x="370" y="235"/>
                    </a:lnTo>
                    <a:lnTo>
                      <a:pt x="370" y="234"/>
                    </a:lnTo>
                    <a:lnTo>
                      <a:pt x="369" y="233"/>
                    </a:lnTo>
                    <a:lnTo>
                      <a:pt x="369" y="234"/>
                    </a:lnTo>
                    <a:lnTo>
                      <a:pt x="368" y="234"/>
                    </a:lnTo>
                    <a:lnTo>
                      <a:pt x="368" y="235"/>
                    </a:lnTo>
                    <a:lnTo>
                      <a:pt x="369" y="235"/>
                    </a:lnTo>
                    <a:lnTo>
                      <a:pt x="368" y="235"/>
                    </a:lnTo>
                    <a:lnTo>
                      <a:pt x="366" y="236"/>
                    </a:lnTo>
                    <a:lnTo>
                      <a:pt x="365" y="236"/>
                    </a:lnTo>
                    <a:lnTo>
                      <a:pt x="364" y="236"/>
                    </a:lnTo>
                    <a:lnTo>
                      <a:pt x="362" y="236"/>
                    </a:lnTo>
                    <a:lnTo>
                      <a:pt x="363" y="237"/>
                    </a:lnTo>
                    <a:lnTo>
                      <a:pt x="364" y="238"/>
                    </a:lnTo>
                    <a:lnTo>
                      <a:pt x="365" y="238"/>
                    </a:lnTo>
                    <a:lnTo>
                      <a:pt x="365" y="239"/>
                    </a:lnTo>
                    <a:lnTo>
                      <a:pt x="365" y="241"/>
                    </a:lnTo>
                    <a:lnTo>
                      <a:pt x="364" y="241"/>
                    </a:lnTo>
                    <a:lnTo>
                      <a:pt x="364" y="242"/>
                    </a:lnTo>
                    <a:lnTo>
                      <a:pt x="363" y="242"/>
                    </a:lnTo>
                    <a:lnTo>
                      <a:pt x="363" y="243"/>
                    </a:lnTo>
                    <a:lnTo>
                      <a:pt x="363" y="242"/>
                    </a:lnTo>
                    <a:lnTo>
                      <a:pt x="362" y="242"/>
                    </a:lnTo>
                    <a:lnTo>
                      <a:pt x="362" y="243"/>
                    </a:lnTo>
                    <a:lnTo>
                      <a:pt x="362" y="244"/>
                    </a:lnTo>
                    <a:lnTo>
                      <a:pt x="364" y="244"/>
                    </a:lnTo>
                    <a:lnTo>
                      <a:pt x="364" y="245"/>
                    </a:lnTo>
                    <a:lnTo>
                      <a:pt x="365" y="244"/>
                    </a:lnTo>
                    <a:lnTo>
                      <a:pt x="366" y="245"/>
                    </a:lnTo>
                    <a:lnTo>
                      <a:pt x="368" y="245"/>
                    </a:lnTo>
                    <a:lnTo>
                      <a:pt x="369" y="245"/>
                    </a:lnTo>
                    <a:lnTo>
                      <a:pt x="370" y="245"/>
                    </a:lnTo>
                    <a:lnTo>
                      <a:pt x="370" y="246"/>
                    </a:lnTo>
                    <a:lnTo>
                      <a:pt x="371" y="246"/>
                    </a:lnTo>
                    <a:lnTo>
                      <a:pt x="370" y="247"/>
                    </a:lnTo>
                    <a:lnTo>
                      <a:pt x="371" y="247"/>
                    </a:lnTo>
                    <a:lnTo>
                      <a:pt x="373" y="247"/>
                    </a:lnTo>
                    <a:lnTo>
                      <a:pt x="373" y="246"/>
                    </a:lnTo>
                    <a:lnTo>
                      <a:pt x="374" y="246"/>
                    </a:lnTo>
                    <a:lnTo>
                      <a:pt x="374" y="247"/>
                    </a:lnTo>
                    <a:lnTo>
                      <a:pt x="375" y="247"/>
                    </a:lnTo>
                    <a:lnTo>
                      <a:pt x="375" y="246"/>
                    </a:lnTo>
                    <a:lnTo>
                      <a:pt x="376" y="246"/>
                    </a:lnTo>
                    <a:lnTo>
                      <a:pt x="377" y="246"/>
                    </a:lnTo>
                    <a:lnTo>
                      <a:pt x="378" y="246"/>
                    </a:lnTo>
                    <a:lnTo>
                      <a:pt x="380" y="245"/>
                    </a:lnTo>
                    <a:lnTo>
                      <a:pt x="381" y="245"/>
                    </a:lnTo>
                    <a:lnTo>
                      <a:pt x="381" y="246"/>
                    </a:lnTo>
                    <a:lnTo>
                      <a:pt x="381" y="247"/>
                    </a:lnTo>
                    <a:lnTo>
                      <a:pt x="381" y="246"/>
                    </a:lnTo>
                    <a:lnTo>
                      <a:pt x="382" y="246"/>
                    </a:lnTo>
                    <a:lnTo>
                      <a:pt x="382" y="247"/>
                    </a:lnTo>
                    <a:lnTo>
                      <a:pt x="383" y="247"/>
                    </a:lnTo>
                    <a:lnTo>
                      <a:pt x="384" y="247"/>
                    </a:lnTo>
                    <a:lnTo>
                      <a:pt x="384" y="248"/>
                    </a:lnTo>
                    <a:lnTo>
                      <a:pt x="385" y="249"/>
                    </a:lnTo>
                    <a:lnTo>
                      <a:pt x="386" y="249"/>
                    </a:lnTo>
                    <a:lnTo>
                      <a:pt x="387" y="249"/>
                    </a:lnTo>
                    <a:lnTo>
                      <a:pt x="388" y="250"/>
                    </a:lnTo>
                    <a:lnTo>
                      <a:pt x="388" y="251"/>
                    </a:lnTo>
                    <a:lnTo>
                      <a:pt x="388" y="252"/>
                    </a:lnTo>
                    <a:lnTo>
                      <a:pt x="389" y="252"/>
                    </a:lnTo>
                    <a:lnTo>
                      <a:pt x="390" y="252"/>
                    </a:lnTo>
                    <a:lnTo>
                      <a:pt x="391" y="252"/>
                    </a:lnTo>
                    <a:lnTo>
                      <a:pt x="393" y="252"/>
                    </a:lnTo>
                    <a:lnTo>
                      <a:pt x="394" y="252"/>
                    </a:lnTo>
                    <a:lnTo>
                      <a:pt x="394" y="251"/>
                    </a:lnTo>
                    <a:lnTo>
                      <a:pt x="394" y="252"/>
                    </a:lnTo>
                    <a:lnTo>
                      <a:pt x="395" y="254"/>
                    </a:lnTo>
                    <a:lnTo>
                      <a:pt x="396" y="254"/>
                    </a:lnTo>
                    <a:lnTo>
                      <a:pt x="396" y="255"/>
                    </a:lnTo>
                    <a:lnTo>
                      <a:pt x="397" y="255"/>
                    </a:lnTo>
                    <a:lnTo>
                      <a:pt x="398" y="255"/>
                    </a:lnTo>
                    <a:lnTo>
                      <a:pt x="398" y="254"/>
                    </a:lnTo>
                    <a:lnTo>
                      <a:pt x="399" y="255"/>
                    </a:lnTo>
                    <a:lnTo>
                      <a:pt x="400" y="255"/>
                    </a:lnTo>
                    <a:lnTo>
                      <a:pt x="401" y="254"/>
                    </a:lnTo>
                    <a:lnTo>
                      <a:pt x="402" y="254"/>
                    </a:lnTo>
                    <a:lnTo>
                      <a:pt x="402" y="255"/>
                    </a:lnTo>
                    <a:lnTo>
                      <a:pt x="403" y="255"/>
                    </a:lnTo>
                    <a:lnTo>
                      <a:pt x="403" y="256"/>
                    </a:lnTo>
                    <a:lnTo>
                      <a:pt x="404" y="256"/>
                    </a:lnTo>
                    <a:lnTo>
                      <a:pt x="406" y="255"/>
                    </a:lnTo>
                    <a:lnTo>
                      <a:pt x="407" y="255"/>
                    </a:lnTo>
                    <a:lnTo>
                      <a:pt x="407" y="256"/>
                    </a:lnTo>
                    <a:lnTo>
                      <a:pt x="408" y="256"/>
                    </a:lnTo>
                    <a:lnTo>
                      <a:pt x="408" y="255"/>
                    </a:lnTo>
                    <a:lnTo>
                      <a:pt x="409" y="255"/>
                    </a:lnTo>
                    <a:lnTo>
                      <a:pt x="409" y="256"/>
                    </a:lnTo>
                    <a:lnTo>
                      <a:pt x="409" y="257"/>
                    </a:lnTo>
                    <a:lnTo>
                      <a:pt x="409" y="258"/>
                    </a:lnTo>
                    <a:lnTo>
                      <a:pt x="411" y="258"/>
                    </a:lnTo>
                    <a:lnTo>
                      <a:pt x="411" y="259"/>
                    </a:lnTo>
                    <a:lnTo>
                      <a:pt x="412" y="259"/>
                    </a:lnTo>
                    <a:lnTo>
                      <a:pt x="411" y="259"/>
                    </a:lnTo>
                    <a:lnTo>
                      <a:pt x="411" y="260"/>
                    </a:lnTo>
                    <a:lnTo>
                      <a:pt x="411" y="261"/>
                    </a:lnTo>
                    <a:lnTo>
                      <a:pt x="412" y="262"/>
                    </a:lnTo>
                    <a:lnTo>
                      <a:pt x="412" y="263"/>
                    </a:lnTo>
                    <a:lnTo>
                      <a:pt x="413" y="264"/>
                    </a:lnTo>
                    <a:lnTo>
                      <a:pt x="414" y="264"/>
                    </a:lnTo>
                    <a:lnTo>
                      <a:pt x="415" y="266"/>
                    </a:lnTo>
                    <a:lnTo>
                      <a:pt x="416" y="266"/>
                    </a:lnTo>
                    <a:lnTo>
                      <a:pt x="417" y="266"/>
                    </a:lnTo>
                    <a:lnTo>
                      <a:pt x="419" y="266"/>
                    </a:lnTo>
                    <a:lnTo>
                      <a:pt x="420" y="266"/>
                    </a:lnTo>
                    <a:lnTo>
                      <a:pt x="421" y="266"/>
                    </a:lnTo>
                    <a:lnTo>
                      <a:pt x="422" y="266"/>
                    </a:lnTo>
                    <a:lnTo>
                      <a:pt x="423" y="264"/>
                    </a:lnTo>
                    <a:lnTo>
                      <a:pt x="424" y="266"/>
                    </a:lnTo>
                    <a:lnTo>
                      <a:pt x="426" y="264"/>
                    </a:lnTo>
                    <a:lnTo>
                      <a:pt x="427" y="264"/>
                    </a:lnTo>
                    <a:lnTo>
                      <a:pt x="429" y="263"/>
                    </a:lnTo>
                    <a:lnTo>
                      <a:pt x="430" y="262"/>
                    </a:lnTo>
                    <a:lnTo>
                      <a:pt x="432" y="261"/>
                    </a:lnTo>
                    <a:lnTo>
                      <a:pt x="434" y="261"/>
                    </a:lnTo>
                    <a:lnTo>
                      <a:pt x="435" y="261"/>
                    </a:lnTo>
                    <a:lnTo>
                      <a:pt x="435" y="260"/>
                    </a:lnTo>
                    <a:lnTo>
                      <a:pt x="435" y="259"/>
                    </a:lnTo>
                    <a:lnTo>
                      <a:pt x="434" y="258"/>
                    </a:lnTo>
                    <a:lnTo>
                      <a:pt x="433" y="257"/>
                    </a:lnTo>
                    <a:lnTo>
                      <a:pt x="434" y="256"/>
                    </a:lnTo>
                    <a:lnTo>
                      <a:pt x="435" y="256"/>
                    </a:lnTo>
                    <a:lnTo>
                      <a:pt x="436" y="255"/>
                    </a:lnTo>
                    <a:lnTo>
                      <a:pt x="437" y="255"/>
                    </a:lnTo>
                    <a:lnTo>
                      <a:pt x="438" y="255"/>
                    </a:lnTo>
                    <a:lnTo>
                      <a:pt x="439" y="255"/>
                    </a:lnTo>
                    <a:lnTo>
                      <a:pt x="440" y="255"/>
                    </a:lnTo>
                    <a:lnTo>
                      <a:pt x="441" y="255"/>
                    </a:lnTo>
                    <a:lnTo>
                      <a:pt x="440" y="255"/>
                    </a:lnTo>
                    <a:lnTo>
                      <a:pt x="440" y="256"/>
                    </a:lnTo>
                    <a:lnTo>
                      <a:pt x="439" y="256"/>
                    </a:lnTo>
                    <a:lnTo>
                      <a:pt x="439" y="257"/>
                    </a:lnTo>
                    <a:lnTo>
                      <a:pt x="438" y="257"/>
                    </a:lnTo>
                    <a:lnTo>
                      <a:pt x="439" y="257"/>
                    </a:lnTo>
                    <a:lnTo>
                      <a:pt x="438" y="257"/>
                    </a:lnTo>
                    <a:lnTo>
                      <a:pt x="438" y="259"/>
                    </a:lnTo>
                    <a:lnTo>
                      <a:pt x="438" y="260"/>
                    </a:lnTo>
                    <a:lnTo>
                      <a:pt x="438" y="261"/>
                    </a:lnTo>
                    <a:lnTo>
                      <a:pt x="438" y="262"/>
                    </a:lnTo>
                    <a:lnTo>
                      <a:pt x="437" y="262"/>
                    </a:lnTo>
                    <a:lnTo>
                      <a:pt x="437" y="263"/>
                    </a:lnTo>
                    <a:lnTo>
                      <a:pt x="437" y="264"/>
                    </a:lnTo>
                    <a:lnTo>
                      <a:pt x="438" y="264"/>
                    </a:lnTo>
                    <a:lnTo>
                      <a:pt x="439" y="264"/>
                    </a:lnTo>
                    <a:lnTo>
                      <a:pt x="440" y="264"/>
                    </a:lnTo>
                    <a:lnTo>
                      <a:pt x="441" y="263"/>
                    </a:lnTo>
                    <a:lnTo>
                      <a:pt x="442" y="263"/>
                    </a:lnTo>
                    <a:lnTo>
                      <a:pt x="442" y="264"/>
                    </a:lnTo>
                    <a:lnTo>
                      <a:pt x="441" y="264"/>
                    </a:lnTo>
                    <a:lnTo>
                      <a:pt x="442" y="264"/>
                    </a:lnTo>
                    <a:lnTo>
                      <a:pt x="441" y="266"/>
                    </a:lnTo>
                    <a:lnTo>
                      <a:pt x="441" y="267"/>
                    </a:lnTo>
                    <a:lnTo>
                      <a:pt x="441" y="268"/>
                    </a:lnTo>
                    <a:lnTo>
                      <a:pt x="440" y="269"/>
                    </a:lnTo>
                    <a:lnTo>
                      <a:pt x="441" y="269"/>
                    </a:lnTo>
                    <a:lnTo>
                      <a:pt x="440" y="270"/>
                    </a:lnTo>
                    <a:lnTo>
                      <a:pt x="441" y="271"/>
                    </a:lnTo>
                    <a:lnTo>
                      <a:pt x="440" y="272"/>
                    </a:lnTo>
                    <a:lnTo>
                      <a:pt x="440" y="273"/>
                    </a:lnTo>
                    <a:lnTo>
                      <a:pt x="440" y="274"/>
                    </a:lnTo>
                    <a:lnTo>
                      <a:pt x="440" y="275"/>
                    </a:lnTo>
                    <a:lnTo>
                      <a:pt x="441" y="275"/>
                    </a:lnTo>
                    <a:lnTo>
                      <a:pt x="441" y="276"/>
                    </a:lnTo>
                    <a:lnTo>
                      <a:pt x="442" y="277"/>
                    </a:lnTo>
                    <a:lnTo>
                      <a:pt x="441" y="277"/>
                    </a:lnTo>
                    <a:lnTo>
                      <a:pt x="442" y="277"/>
                    </a:lnTo>
                    <a:lnTo>
                      <a:pt x="443" y="277"/>
                    </a:lnTo>
                    <a:lnTo>
                      <a:pt x="443" y="279"/>
                    </a:lnTo>
                    <a:lnTo>
                      <a:pt x="445" y="279"/>
                    </a:lnTo>
                    <a:lnTo>
                      <a:pt x="446" y="280"/>
                    </a:lnTo>
                    <a:lnTo>
                      <a:pt x="445" y="280"/>
                    </a:lnTo>
                    <a:lnTo>
                      <a:pt x="443" y="281"/>
                    </a:lnTo>
                    <a:lnTo>
                      <a:pt x="442" y="281"/>
                    </a:lnTo>
                    <a:lnTo>
                      <a:pt x="441" y="281"/>
                    </a:lnTo>
                    <a:lnTo>
                      <a:pt x="440" y="280"/>
                    </a:lnTo>
                    <a:lnTo>
                      <a:pt x="439" y="280"/>
                    </a:lnTo>
                    <a:lnTo>
                      <a:pt x="439" y="279"/>
                    </a:lnTo>
                    <a:lnTo>
                      <a:pt x="438" y="279"/>
                    </a:lnTo>
                    <a:lnTo>
                      <a:pt x="436" y="279"/>
                    </a:lnTo>
                    <a:lnTo>
                      <a:pt x="435" y="277"/>
                    </a:lnTo>
                    <a:lnTo>
                      <a:pt x="436" y="277"/>
                    </a:lnTo>
                    <a:lnTo>
                      <a:pt x="436" y="276"/>
                    </a:lnTo>
                    <a:lnTo>
                      <a:pt x="435" y="276"/>
                    </a:lnTo>
                    <a:lnTo>
                      <a:pt x="434" y="277"/>
                    </a:lnTo>
                    <a:lnTo>
                      <a:pt x="434" y="276"/>
                    </a:lnTo>
                    <a:lnTo>
                      <a:pt x="433" y="277"/>
                    </a:lnTo>
                    <a:lnTo>
                      <a:pt x="433" y="276"/>
                    </a:lnTo>
                    <a:lnTo>
                      <a:pt x="434" y="275"/>
                    </a:lnTo>
                    <a:lnTo>
                      <a:pt x="435" y="275"/>
                    </a:lnTo>
                    <a:lnTo>
                      <a:pt x="436" y="274"/>
                    </a:lnTo>
                    <a:lnTo>
                      <a:pt x="435" y="274"/>
                    </a:lnTo>
                    <a:lnTo>
                      <a:pt x="436" y="273"/>
                    </a:lnTo>
                    <a:lnTo>
                      <a:pt x="435" y="273"/>
                    </a:lnTo>
                    <a:lnTo>
                      <a:pt x="434" y="273"/>
                    </a:lnTo>
                    <a:lnTo>
                      <a:pt x="433" y="273"/>
                    </a:lnTo>
                    <a:lnTo>
                      <a:pt x="429" y="272"/>
                    </a:lnTo>
                    <a:lnTo>
                      <a:pt x="428" y="272"/>
                    </a:lnTo>
                    <a:lnTo>
                      <a:pt x="427" y="272"/>
                    </a:lnTo>
                    <a:lnTo>
                      <a:pt x="426" y="272"/>
                    </a:lnTo>
                    <a:lnTo>
                      <a:pt x="427" y="272"/>
                    </a:lnTo>
                    <a:lnTo>
                      <a:pt x="427" y="273"/>
                    </a:lnTo>
                    <a:lnTo>
                      <a:pt x="428" y="273"/>
                    </a:lnTo>
                    <a:lnTo>
                      <a:pt x="429" y="274"/>
                    </a:lnTo>
                    <a:lnTo>
                      <a:pt x="429" y="275"/>
                    </a:lnTo>
                    <a:lnTo>
                      <a:pt x="430" y="275"/>
                    </a:lnTo>
                    <a:lnTo>
                      <a:pt x="432" y="275"/>
                    </a:lnTo>
                    <a:lnTo>
                      <a:pt x="432" y="276"/>
                    </a:lnTo>
                    <a:lnTo>
                      <a:pt x="430" y="276"/>
                    </a:lnTo>
                    <a:lnTo>
                      <a:pt x="430" y="275"/>
                    </a:lnTo>
                    <a:lnTo>
                      <a:pt x="429" y="275"/>
                    </a:lnTo>
                    <a:lnTo>
                      <a:pt x="428" y="275"/>
                    </a:lnTo>
                    <a:lnTo>
                      <a:pt x="427" y="275"/>
                    </a:lnTo>
                    <a:lnTo>
                      <a:pt x="426" y="274"/>
                    </a:lnTo>
                    <a:lnTo>
                      <a:pt x="425" y="274"/>
                    </a:lnTo>
                    <a:lnTo>
                      <a:pt x="424" y="273"/>
                    </a:lnTo>
                    <a:lnTo>
                      <a:pt x="423" y="273"/>
                    </a:lnTo>
                    <a:lnTo>
                      <a:pt x="422" y="272"/>
                    </a:lnTo>
                    <a:lnTo>
                      <a:pt x="422" y="271"/>
                    </a:lnTo>
                    <a:lnTo>
                      <a:pt x="421" y="270"/>
                    </a:lnTo>
                    <a:lnTo>
                      <a:pt x="416" y="268"/>
                    </a:lnTo>
                    <a:lnTo>
                      <a:pt x="415" y="268"/>
                    </a:lnTo>
                    <a:lnTo>
                      <a:pt x="414" y="267"/>
                    </a:lnTo>
                    <a:lnTo>
                      <a:pt x="413" y="266"/>
                    </a:lnTo>
                    <a:lnTo>
                      <a:pt x="412" y="266"/>
                    </a:lnTo>
                    <a:lnTo>
                      <a:pt x="411" y="266"/>
                    </a:lnTo>
                    <a:lnTo>
                      <a:pt x="410" y="267"/>
                    </a:lnTo>
                    <a:lnTo>
                      <a:pt x="409" y="266"/>
                    </a:lnTo>
                    <a:lnTo>
                      <a:pt x="407" y="266"/>
                    </a:lnTo>
                    <a:lnTo>
                      <a:pt x="406" y="266"/>
                    </a:lnTo>
                    <a:lnTo>
                      <a:pt x="404" y="266"/>
                    </a:lnTo>
                    <a:lnTo>
                      <a:pt x="403" y="266"/>
                    </a:lnTo>
                    <a:lnTo>
                      <a:pt x="402" y="266"/>
                    </a:lnTo>
                    <a:lnTo>
                      <a:pt x="401" y="266"/>
                    </a:lnTo>
                    <a:lnTo>
                      <a:pt x="401" y="267"/>
                    </a:lnTo>
                    <a:lnTo>
                      <a:pt x="400" y="267"/>
                    </a:lnTo>
                    <a:lnTo>
                      <a:pt x="399" y="267"/>
                    </a:lnTo>
                    <a:lnTo>
                      <a:pt x="398" y="267"/>
                    </a:lnTo>
                    <a:lnTo>
                      <a:pt x="397" y="267"/>
                    </a:lnTo>
                    <a:lnTo>
                      <a:pt x="396" y="268"/>
                    </a:lnTo>
                    <a:lnTo>
                      <a:pt x="396" y="269"/>
                    </a:lnTo>
                    <a:lnTo>
                      <a:pt x="396" y="270"/>
                    </a:lnTo>
                    <a:lnTo>
                      <a:pt x="395" y="269"/>
                    </a:lnTo>
                    <a:lnTo>
                      <a:pt x="395" y="268"/>
                    </a:lnTo>
                    <a:lnTo>
                      <a:pt x="394" y="267"/>
                    </a:lnTo>
                    <a:lnTo>
                      <a:pt x="393" y="266"/>
                    </a:lnTo>
                    <a:lnTo>
                      <a:pt x="394" y="264"/>
                    </a:lnTo>
                    <a:lnTo>
                      <a:pt x="395" y="264"/>
                    </a:lnTo>
                    <a:lnTo>
                      <a:pt x="395" y="263"/>
                    </a:lnTo>
                    <a:lnTo>
                      <a:pt x="395" y="264"/>
                    </a:lnTo>
                    <a:lnTo>
                      <a:pt x="395" y="266"/>
                    </a:lnTo>
                    <a:lnTo>
                      <a:pt x="395" y="264"/>
                    </a:lnTo>
                    <a:lnTo>
                      <a:pt x="395" y="263"/>
                    </a:lnTo>
                    <a:lnTo>
                      <a:pt x="397" y="262"/>
                    </a:lnTo>
                    <a:lnTo>
                      <a:pt x="395" y="263"/>
                    </a:lnTo>
                    <a:lnTo>
                      <a:pt x="394" y="264"/>
                    </a:lnTo>
                    <a:lnTo>
                      <a:pt x="393" y="264"/>
                    </a:lnTo>
                    <a:lnTo>
                      <a:pt x="393" y="266"/>
                    </a:lnTo>
                    <a:lnTo>
                      <a:pt x="391" y="266"/>
                    </a:lnTo>
                    <a:lnTo>
                      <a:pt x="391" y="264"/>
                    </a:lnTo>
                    <a:lnTo>
                      <a:pt x="390" y="264"/>
                    </a:lnTo>
                    <a:lnTo>
                      <a:pt x="391" y="264"/>
                    </a:lnTo>
                    <a:lnTo>
                      <a:pt x="391" y="263"/>
                    </a:lnTo>
                    <a:lnTo>
                      <a:pt x="391" y="262"/>
                    </a:lnTo>
                    <a:lnTo>
                      <a:pt x="390" y="262"/>
                    </a:lnTo>
                    <a:lnTo>
                      <a:pt x="389" y="262"/>
                    </a:lnTo>
                    <a:lnTo>
                      <a:pt x="389" y="261"/>
                    </a:lnTo>
                    <a:lnTo>
                      <a:pt x="390" y="261"/>
                    </a:lnTo>
                    <a:lnTo>
                      <a:pt x="391" y="260"/>
                    </a:lnTo>
                    <a:lnTo>
                      <a:pt x="390" y="260"/>
                    </a:lnTo>
                    <a:lnTo>
                      <a:pt x="389" y="260"/>
                    </a:lnTo>
                    <a:lnTo>
                      <a:pt x="388" y="260"/>
                    </a:lnTo>
                    <a:lnTo>
                      <a:pt x="388" y="259"/>
                    </a:lnTo>
                    <a:lnTo>
                      <a:pt x="387" y="259"/>
                    </a:lnTo>
                    <a:lnTo>
                      <a:pt x="386" y="260"/>
                    </a:lnTo>
                    <a:lnTo>
                      <a:pt x="385" y="260"/>
                    </a:lnTo>
                    <a:lnTo>
                      <a:pt x="384" y="260"/>
                    </a:lnTo>
                    <a:lnTo>
                      <a:pt x="384" y="259"/>
                    </a:lnTo>
                    <a:lnTo>
                      <a:pt x="383" y="259"/>
                    </a:lnTo>
                    <a:lnTo>
                      <a:pt x="382" y="259"/>
                    </a:lnTo>
                    <a:lnTo>
                      <a:pt x="381" y="260"/>
                    </a:lnTo>
                    <a:lnTo>
                      <a:pt x="378" y="260"/>
                    </a:lnTo>
                    <a:lnTo>
                      <a:pt x="377" y="261"/>
                    </a:lnTo>
                    <a:lnTo>
                      <a:pt x="376" y="261"/>
                    </a:lnTo>
                    <a:lnTo>
                      <a:pt x="375" y="262"/>
                    </a:lnTo>
                    <a:lnTo>
                      <a:pt x="375" y="263"/>
                    </a:lnTo>
                    <a:lnTo>
                      <a:pt x="374" y="266"/>
                    </a:lnTo>
                    <a:lnTo>
                      <a:pt x="373" y="266"/>
                    </a:lnTo>
                    <a:lnTo>
                      <a:pt x="374" y="267"/>
                    </a:lnTo>
                    <a:lnTo>
                      <a:pt x="374" y="268"/>
                    </a:lnTo>
                    <a:lnTo>
                      <a:pt x="374" y="269"/>
                    </a:lnTo>
                    <a:lnTo>
                      <a:pt x="373" y="269"/>
                    </a:lnTo>
                    <a:lnTo>
                      <a:pt x="372" y="270"/>
                    </a:lnTo>
                    <a:lnTo>
                      <a:pt x="372" y="271"/>
                    </a:lnTo>
                    <a:lnTo>
                      <a:pt x="371" y="272"/>
                    </a:lnTo>
                    <a:lnTo>
                      <a:pt x="372" y="273"/>
                    </a:lnTo>
                    <a:lnTo>
                      <a:pt x="372" y="274"/>
                    </a:lnTo>
                    <a:lnTo>
                      <a:pt x="373" y="274"/>
                    </a:lnTo>
                    <a:lnTo>
                      <a:pt x="373" y="275"/>
                    </a:lnTo>
                    <a:lnTo>
                      <a:pt x="372" y="275"/>
                    </a:lnTo>
                    <a:lnTo>
                      <a:pt x="372" y="274"/>
                    </a:lnTo>
                    <a:lnTo>
                      <a:pt x="371" y="275"/>
                    </a:lnTo>
                    <a:lnTo>
                      <a:pt x="370" y="275"/>
                    </a:lnTo>
                    <a:lnTo>
                      <a:pt x="369" y="276"/>
                    </a:lnTo>
                    <a:lnTo>
                      <a:pt x="369" y="277"/>
                    </a:lnTo>
                    <a:lnTo>
                      <a:pt x="368" y="277"/>
                    </a:lnTo>
                    <a:lnTo>
                      <a:pt x="368" y="279"/>
                    </a:lnTo>
                    <a:lnTo>
                      <a:pt x="368" y="280"/>
                    </a:lnTo>
                    <a:lnTo>
                      <a:pt x="368" y="281"/>
                    </a:lnTo>
                    <a:lnTo>
                      <a:pt x="368" y="282"/>
                    </a:lnTo>
                    <a:lnTo>
                      <a:pt x="368" y="283"/>
                    </a:lnTo>
                    <a:lnTo>
                      <a:pt x="366" y="283"/>
                    </a:lnTo>
                    <a:lnTo>
                      <a:pt x="365" y="284"/>
                    </a:lnTo>
                    <a:lnTo>
                      <a:pt x="364" y="284"/>
                    </a:lnTo>
                    <a:lnTo>
                      <a:pt x="364" y="285"/>
                    </a:lnTo>
                    <a:lnTo>
                      <a:pt x="365" y="285"/>
                    </a:lnTo>
                    <a:lnTo>
                      <a:pt x="364" y="285"/>
                    </a:lnTo>
                    <a:lnTo>
                      <a:pt x="365" y="286"/>
                    </a:lnTo>
                    <a:lnTo>
                      <a:pt x="365" y="287"/>
                    </a:lnTo>
                    <a:lnTo>
                      <a:pt x="364" y="287"/>
                    </a:lnTo>
                    <a:lnTo>
                      <a:pt x="364" y="286"/>
                    </a:lnTo>
                    <a:lnTo>
                      <a:pt x="364" y="285"/>
                    </a:lnTo>
                    <a:lnTo>
                      <a:pt x="364" y="284"/>
                    </a:lnTo>
                    <a:lnTo>
                      <a:pt x="364" y="281"/>
                    </a:lnTo>
                    <a:lnTo>
                      <a:pt x="364" y="280"/>
                    </a:lnTo>
                    <a:lnTo>
                      <a:pt x="364" y="281"/>
                    </a:lnTo>
                    <a:lnTo>
                      <a:pt x="365" y="280"/>
                    </a:lnTo>
                    <a:lnTo>
                      <a:pt x="365" y="279"/>
                    </a:lnTo>
                    <a:lnTo>
                      <a:pt x="365" y="277"/>
                    </a:lnTo>
                    <a:lnTo>
                      <a:pt x="366" y="276"/>
                    </a:lnTo>
                    <a:lnTo>
                      <a:pt x="365" y="274"/>
                    </a:lnTo>
                    <a:lnTo>
                      <a:pt x="366" y="271"/>
                    </a:lnTo>
                    <a:lnTo>
                      <a:pt x="365" y="270"/>
                    </a:lnTo>
                    <a:lnTo>
                      <a:pt x="364" y="269"/>
                    </a:lnTo>
                    <a:lnTo>
                      <a:pt x="363" y="268"/>
                    </a:lnTo>
                    <a:lnTo>
                      <a:pt x="361" y="268"/>
                    </a:lnTo>
                    <a:lnTo>
                      <a:pt x="361" y="267"/>
                    </a:lnTo>
                    <a:lnTo>
                      <a:pt x="361" y="266"/>
                    </a:lnTo>
                    <a:lnTo>
                      <a:pt x="362" y="266"/>
                    </a:lnTo>
                    <a:lnTo>
                      <a:pt x="363" y="264"/>
                    </a:lnTo>
                    <a:lnTo>
                      <a:pt x="362" y="264"/>
                    </a:lnTo>
                    <a:lnTo>
                      <a:pt x="363" y="263"/>
                    </a:lnTo>
                    <a:lnTo>
                      <a:pt x="364" y="263"/>
                    </a:lnTo>
                    <a:lnTo>
                      <a:pt x="366" y="264"/>
                    </a:lnTo>
                    <a:lnTo>
                      <a:pt x="368" y="264"/>
                    </a:lnTo>
                    <a:lnTo>
                      <a:pt x="368" y="263"/>
                    </a:lnTo>
                    <a:lnTo>
                      <a:pt x="368" y="262"/>
                    </a:lnTo>
                    <a:lnTo>
                      <a:pt x="366" y="262"/>
                    </a:lnTo>
                    <a:lnTo>
                      <a:pt x="365" y="262"/>
                    </a:lnTo>
                    <a:lnTo>
                      <a:pt x="364" y="262"/>
                    </a:lnTo>
                    <a:lnTo>
                      <a:pt x="363" y="262"/>
                    </a:lnTo>
                    <a:lnTo>
                      <a:pt x="362" y="262"/>
                    </a:lnTo>
                    <a:lnTo>
                      <a:pt x="361" y="262"/>
                    </a:lnTo>
                    <a:lnTo>
                      <a:pt x="360" y="262"/>
                    </a:lnTo>
                    <a:lnTo>
                      <a:pt x="360" y="261"/>
                    </a:lnTo>
                    <a:lnTo>
                      <a:pt x="360" y="262"/>
                    </a:lnTo>
                    <a:lnTo>
                      <a:pt x="359" y="262"/>
                    </a:lnTo>
                    <a:lnTo>
                      <a:pt x="359" y="263"/>
                    </a:lnTo>
                    <a:lnTo>
                      <a:pt x="359" y="264"/>
                    </a:lnTo>
                    <a:lnTo>
                      <a:pt x="359" y="266"/>
                    </a:lnTo>
                    <a:lnTo>
                      <a:pt x="359" y="267"/>
                    </a:lnTo>
                    <a:lnTo>
                      <a:pt x="359" y="268"/>
                    </a:lnTo>
                    <a:lnTo>
                      <a:pt x="359" y="269"/>
                    </a:lnTo>
                    <a:lnTo>
                      <a:pt x="358" y="269"/>
                    </a:lnTo>
                    <a:lnTo>
                      <a:pt x="358" y="268"/>
                    </a:lnTo>
                    <a:lnTo>
                      <a:pt x="357" y="268"/>
                    </a:lnTo>
                    <a:lnTo>
                      <a:pt x="357" y="267"/>
                    </a:lnTo>
                    <a:lnTo>
                      <a:pt x="356" y="267"/>
                    </a:lnTo>
                    <a:lnTo>
                      <a:pt x="355" y="267"/>
                    </a:lnTo>
                    <a:lnTo>
                      <a:pt x="356" y="267"/>
                    </a:lnTo>
                    <a:lnTo>
                      <a:pt x="356" y="266"/>
                    </a:lnTo>
                    <a:lnTo>
                      <a:pt x="355" y="264"/>
                    </a:lnTo>
                    <a:lnTo>
                      <a:pt x="355" y="266"/>
                    </a:lnTo>
                    <a:lnTo>
                      <a:pt x="353" y="266"/>
                    </a:lnTo>
                    <a:lnTo>
                      <a:pt x="353" y="264"/>
                    </a:lnTo>
                    <a:lnTo>
                      <a:pt x="352" y="264"/>
                    </a:lnTo>
                    <a:lnTo>
                      <a:pt x="352" y="263"/>
                    </a:lnTo>
                    <a:lnTo>
                      <a:pt x="351" y="263"/>
                    </a:lnTo>
                    <a:lnTo>
                      <a:pt x="351" y="262"/>
                    </a:lnTo>
                    <a:lnTo>
                      <a:pt x="350" y="262"/>
                    </a:lnTo>
                    <a:lnTo>
                      <a:pt x="350" y="261"/>
                    </a:lnTo>
                    <a:lnTo>
                      <a:pt x="351" y="261"/>
                    </a:lnTo>
                    <a:lnTo>
                      <a:pt x="351" y="262"/>
                    </a:lnTo>
                    <a:lnTo>
                      <a:pt x="351" y="261"/>
                    </a:lnTo>
                    <a:lnTo>
                      <a:pt x="352" y="261"/>
                    </a:lnTo>
                    <a:lnTo>
                      <a:pt x="352" y="260"/>
                    </a:lnTo>
                    <a:lnTo>
                      <a:pt x="352" y="259"/>
                    </a:lnTo>
                    <a:lnTo>
                      <a:pt x="353" y="259"/>
                    </a:lnTo>
                    <a:lnTo>
                      <a:pt x="353" y="258"/>
                    </a:lnTo>
                    <a:lnTo>
                      <a:pt x="353" y="257"/>
                    </a:lnTo>
                    <a:lnTo>
                      <a:pt x="355" y="257"/>
                    </a:lnTo>
                    <a:lnTo>
                      <a:pt x="355" y="256"/>
                    </a:lnTo>
                    <a:lnTo>
                      <a:pt x="355" y="255"/>
                    </a:lnTo>
                    <a:lnTo>
                      <a:pt x="355" y="254"/>
                    </a:lnTo>
                    <a:lnTo>
                      <a:pt x="355" y="252"/>
                    </a:lnTo>
                    <a:lnTo>
                      <a:pt x="353" y="252"/>
                    </a:lnTo>
                    <a:lnTo>
                      <a:pt x="353" y="251"/>
                    </a:lnTo>
                    <a:lnTo>
                      <a:pt x="353" y="252"/>
                    </a:lnTo>
                    <a:lnTo>
                      <a:pt x="352" y="252"/>
                    </a:lnTo>
                    <a:lnTo>
                      <a:pt x="353" y="251"/>
                    </a:lnTo>
                    <a:lnTo>
                      <a:pt x="352" y="251"/>
                    </a:lnTo>
                    <a:lnTo>
                      <a:pt x="352" y="252"/>
                    </a:lnTo>
                    <a:lnTo>
                      <a:pt x="351" y="252"/>
                    </a:lnTo>
                    <a:lnTo>
                      <a:pt x="350" y="252"/>
                    </a:lnTo>
                    <a:lnTo>
                      <a:pt x="349" y="251"/>
                    </a:lnTo>
                    <a:lnTo>
                      <a:pt x="348" y="252"/>
                    </a:lnTo>
                    <a:lnTo>
                      <a:pt x="348" y="251"/>
                    </a:lnTo>
                    <a:lnTo>
                      <a:pt x="347" y="250"/>
                    </a:lnTo>
                    <a:lnTo>
                      <a:pt x="347" y="249"/>
                    </a:lnTo>
                    <a:lnTo>
                      <a:pt x="347" y="250"/>
                    </a:lnTo>
                    <a:lnTo>
                      <a:pt x="348" y="250"/>
                    </a:lnTo>
                    <a:lnTo>
                      <a:pt x="348" y="251"/>
                    </a:lnTo>
                    <a:lnTo>
                      <a:pt x="348" y="250"/>
                    </a:lnTo>
                    <a:lnTo>
                      <a:pt x="349" y="250"/>
                    </a:lnTo>
                    <a:lnTo>
                      <a:pt x="349" y="251"/>
                    </a:lnTo>
                    <a:lnTo>
                      <a:pt x="350" y="251"/>
                    </a:lnTo>
                    <a:lnTo>
                      <a:pt x="350" y="250"/>
                    </a:lnTo>
                    <a:lnTo>
                      <a:pt x="349" y="250"/>
                    </a:lnTo>
                    <a:lnTo>
                      <a:pt x="348" y="250"/>
                    </a:lnTo>
                    <a:lnTo>
                      <a:pt x="348" y="249"/>
                    </a:lnTo>
                    <a:lnTo>
                      <a:pt x="347" y="249"/>
                    </a:lnTo>
                    <a:lnTo>
                      <a:pt x="347" y="248"/>
                    </a:lnTo>
                    <a:lnTo>
                      <a:pt x="347" y="247"/>
                    </a:lnTo>
                    <a:lnTo>
                      <a:pt x="348" y="247"/>
                    </a:lnTo>
                    <a:lnTo>
                      <a:pt x="348" y="246"/>
                    </a:lnTo>
                    <a:lnTo>
                      <a:pt x="348" y="247"/>
                    </a:lnTo>
                    <a:lnTo>
                      <a:pt x="347" y="247"/>
                    </a:lnTo>
                    <a:lnTo>
                      <a:pt x="346" y="247"/>
                    </a:lnTo>
                    <a:lnTo>
                      <a:pt x="346" y="248"/>
                    </a:lnTo>
                    <a:lnTo>
                      <a:pt x="346" y="247"/>
                    </a:lnTo>
                    <a:lnTo>
                      <a:pt x="345" y="247"/>
                    </a:lnTo>
                    <a:lnTo>
                      <a:pt x="344" y="246"/>
                    </a:lnTo>
                    <a:lnTo>
                      <a:pt x="344" y="245"/>
                    </a:lnTo>
                    <a:lnTo>
                      <a:pt x="343" y="244"/>
                    </a:lnTo>
                    <a:lnTo>
                      <a:pt x="344" y="244"/>
                    </a:lnTo>
                    <a:lnTo>
                      <a:pt x="345" y="244"/>
                    </a:lnTo>
                    <a:lnTo>
                      <a:pt x="344" y="244"/>
                    </a:lnTo>
                    <a:lnTo>
                      <a:pt x="343" y="244"/>
                    </a:lnTo>
                    <a:lnTo>
                      <a:pt x="343" y="243"/>
                    </a:lnTo>
                    <a:lnTo>
                      <a:pt x="343" y="242"/>
                    </a:lnTo>
                    <a:lnTo>
                      <a:pt x="344" y="242"/>
                    </a:lnTo>
                    <a:lnTo>
                      <a:pt x="343" y="242"/>
                    </a:lnTo>
                    <a:lnTo>
                      <a:pt x="342" y="242"/>
                    </a:lnTo>
                    <a:lnTo>
                      <a:pt x="343" y="242"/>
                    </a:lnTo>
                    <a:lnTo>
                      <a:pt x="342" y="242"/>
                    </a:lnTo>
                    <a:lnTo>
                      <a:pt x="342" y="243"/>
                    </a:lnTo>
                    <a:lnTo>
                      <a:pt x="343" y="243"/>
                    </a:lnTo>
                    <a:lnTo>
                      <a:pt x="343" y="244"/>
                    </a:lnTo>
                    <a:lnTo>
                      <a:pt x="343" y="245"/>
                    </a:lnTo>
                    <a:lnTo>
                      <a:pt x="342" y="244"/>
                    </a:lnTo>
                    <a:lnTo>
                      <a:pt x="340" y="244"/>
                    </a:lnTo>
                    <a:lnTo>
                      <a:pt x="340" y="243"/>
                    </a:lnTo>
                    <a:lnTo>
                      <a:pt x="339" y="243"/>
                    </a:lnTo>
                    <a:lnTo>
                      <a:pt x="339" y="244"/>
                    </a:lnTo>
                    <a:lnTo>
                      <a:pt x="338" y="245"/>
                    </a:lnTo>
                    <a:lnTo>
                      <a:pt x="338" y="244"/>
                    </a:lnTo>
                    <a:lnTo>
                      <a:pt x="337" y="244"/>
                    </a:lnTo>
                    <a:lnTo>
                      <a:pt x="337" y="243"/>
                    </a:lnTo>
                    <a:lnTo>
                      <a:pt x="336" y="243"/>
                    </a:lnTo>
                    <a:lnTo>
                      <a:pt x="337" y="243"/>
                    </a:lnTo>
                    <a:lnTo>
                      <a:pt x="338" y="243"/>
                    </a:lnTo>
                    <a:lnTo>
                      <a:pt x="338" y="242"/>
                    </a:lnTo>
                    <a:lnTo>
                      <a:pt x="338" y="241"/>
                    </a:lnTo>
                    <a:lnTo>
                      <a:pt x="338" y="239"/>
                    </a:lnTo>
                    <a:lnTo>
                      <a:pt x="339" y="239"/>
                    </a:lnTo>
                    <a:lnTo>
                      <a:pt x="339" y="238"/>
                    </a:lnTo>
                    <a:lnTo>
                      <a:pt x="340" y="238"/>
                    </a:lnTo>
                    <a:lnTo>
                      <a:pt x="340" y="239"/>
                    </a:lnTo>
                    <a:lnTo>
                      <a:pt x="340" y="238"/>
                    </a:lnTo>
                    <a:lnTo>
                      <a:pt x="339" y="238"/>
                    </a:lnTo>
                    <a:lnTo>
                      <a:pt x="339" y="239"/>
                    </a:lnTo>
                    <a:lnTo>
                      <a:pt x="339" y="238"/>
                    </a:lnTo>
                    <a:lnTo>
                      <a:pt x="340" y="237"/>
                    </a:lnTo>
                    <a:lnTo>
                      <a:pt x="339" y="237"/>
                    </a:lnTo>
                    <a:lnTo>
                      <a:pt x="339" y="238"/>
                    </a:lnTo>
                    <a:lnTo>
                      <a:pt x="338" y="238"/>
                    </a:lnTo>
                    <a:lnTo>
                      <a:pt x="338" y="239"/>
                    </a:lnTo>
                    <a:lnTo>
                      <a:pt x="338" y="238"/>
                    </a:lnTo>
                    <a:lnTo>
                      <a:pt x="338" y="237"/>
                    </a:lnTo>
                    <a:lnTo>
                      <a:pt x="337" y="237"/>
                    </a:lnTo>
                    <a:lnTo>
                      <a:pt x="336" y="236"/>
                    </a:lnTo>
                    <a:lnTo>
                      <a:pt x="335" y="236"/>
                    </a:lnTo>
                    <a:lnTo>
                      <a:pt x="335" y="235"/>
                    </a:lnTo>
                    <a:lnTo>
                      <a:pt x="335" y="234"/>
                    </a:lnTo>
                    <a:lnTo>
                      <a:pt x="334" y="234"/>
                    </a:lnTo>
                    <a:lnTo>
                      <a:pt x="334" y="235"/>
                    </a:lnTo>
                    <a:lnTo>
                      <a:pt x="334" y="236"/>
                    </a:lnTo>
                    <a:lnTo>
                      <a:pt x="334" y="237"/>
                    </a:lnTo>
                    <a:lnTo>
                      <a:pt x="333" y="237"/>
                    </a:lnTo>
                    <a:lnTo>
                      <a:pt x="333" y="236"/>
                    </a:lnTo>
                    <a:lnTo>
                      <a:pt x="332" y="235"/>
                    </a:lnTo>
                    <a:lnTo>
                      <a:pt x="332" y="236"/>
                    </a:lnTo>
                    <a:lnTo>
                      <a:pt x="331" y="236"/>
                    </a:lnTo>
                    <a:lnTo>
                      <a:pt x="332" y="236"/>
                    </a:lnTo>
                    <a:lnTo>
                      <a:pt x="331" y="236"/>
                    </a:lnTo>
                    <a:lnTo>
                      <a:pt x="330" y="236"/>
                    </a:lnTo>
                    <a:lnTo>
                      <a:pt x="330" y="235"/>
                    </a:lnTo>
                    <a:lnTo>
                      <a:pt x="331" y="235"/>
                    </a:lnTo>
                    <a:lnTo>
                      <a:pt x="332" y="235"/>
                    </a:lnTo>
                    <a:lnTo>
                      <a:pt x="332" y="234"/>
                    </a:lnTo>
                    <a:lnTo>
                      <a:pt x="331" y="234"/>
                    </a:lnTo>
                    <a:lnTo>
                      <a:pt x="331" y="235"/>
                    </a:lnTo>
                    <a:lnTo>
                      <a:pt x="330" y="235"/>
                    </a:lnTo>
                    <a:lnTo>
                      <a:pt x="330" y="234"/>
                    </a:lnTo>
                    <a:lnTo>
                      <a:pt x="329" y="234"/>
                    </a:lnTo>
                    <a:lnTo>
                      <a:pt x="329" y="235"/>
                    </a:lnTo>
                    <a:lnTo>
                      <a:pt x="330" y="235"/>
                    </a:lnTo>
                    <a:lnTo>
                      <a:pt x="329" y="235"/>
                    </a:lnTo>
                    <a:lnTo>
                      <a:pt x="327" y="235"/>
                    </a:lnTo>
                    <a:lnTo>
                      <a:pt x="326" y="235"/>
                    </a:lnTo>
                    <a:lnTo>
                      <a:pt x="327" y="235"/>
                    </a:lnTo>
                    <a:lnTo>
                      <a:pt x="326" y="235"/>
                    </a:lnTo>
                    <a:lnTo>
                      <a:pt x="325" y="235"/>
                    </a:lnTo>
                    <a:lnTo>
                      <a:pt x="324" y="235"/>
                    </a:lnTo>
                    <a:lnTo>
                      <a:pt x="324" y="236"/>
                    </a:lnTo>
                    <a:lnTo>
                      <a:pt x="323" y="236"/>
                    </a:lnTo>
                    <a:lnTo>
                      <a:pt x="323" y="237"/>
                    </a:lnTo>
                    <a:lnTo>
                      <a:pt x="323" y="236"/>
                    </a:lnTo>
                    <a:lnTo>
                      <a:pt x="322" y="236"/>
                    </a:lnTo>
                    <a:lnTo>
                      <a:pt x="322" y="235"/>
                    </a:lnTo>
                    <a:lnTo>
                      <a:pt x="322" y="234"/>
                    </a:lnTo>
                    <a:lnTo>
                      <a:pt x="321" y="234"/>
                    </a:lnTo>
                    <a:lnTo>
                      <a:pt x="322" y="234"/>
                    </a:lnTo>
                    <a:lnTo>
                      <a:pt x="323" y="235"/>
                    </a:lnTo>
                    <a:lnTo>
                      <a:pt x="323" y="234"/>
                    </a:lnTo>
                    <a:lnTo>
                      <a:pt x="323" y="235"/>
                    </a:lnTo>
                    <a:lnTo>
                      <a:pt x="324" y="235"/>
                    </a:lnTo>
                    <a:lnTo>
                      <a:pt x="323" y="235"/>
                    </a:lnTo>
                    <a:lnTo>
                      <a:pt x="324" y="235"/>
                    </a:lnTo>
                    <a:lnTo>
                      <a:pt x="324" y="234"/>
                    </a:lnTo>
                    <a:lnTo>
                      <a:pt x="323" y="234"/>
                    </a:lnTo>
                    <a:lnTo>
                      <a:pt x="323" y="233"/>
                    </a:lnTo>
                    <a:lnTo>
                      <a:pt x="324" y="233"/>
                    </a:lnTo>
                    <a:lnTo>
                      <a:pt x="325" y="233"/>
                    </a:lnTo>
                    <a:lnTo>
                      <a:pt x="325" y="234"/>
                    </a:lnTo>
                    <a:lnTo>
                      <a:pt x="325" y="233"/>
                    </a:lnTo>
                    <a:lnTo>
                      <a:pt x="324" y="233"/>
                    </a:lnTo>
                    <a:lnTo>
                      <a:pt x="323" y="233"/>
                    </a:lnTo>
                    <a:lnTo>
                      <a:pt x="323" y="232"/>
                    </a:lnTo>
                    <a:lnTo>
                      <a:pt x="322" y="232"/>
                    </a:lnTo>
                    <a:lnTo>
                      <a:pt x="321" y="232"/>
                    </a:lnTo>
                    <a:lnTo>
                      <a:pt x="321" y="233"/>
                    </a:lnTo>
                    <a:lnTo>
                      <a:pt x="321" y="234"/>
                    </a:lnTo>
                    <a:lnTo>
                      <a:pt x="321" y="235"/>
                    </a:lnTo>
                    <a:lnTo>
                      <a:pt x="322" y="235"/>
                    </a:lnTo>
                    <a:lnTo>
                      <a:pt x="321" y="235"/>
                    </a:lnTo>
                    <a:lnTo>
                      <a:pt x="321" y="236"/>
                    </a:lnTo>
                    <a:lnTo>
                      <a:pt x="321" y="235"/>
                    </a:lnTo>
                    <a:lnTo>
                      <a:pt x="320" y="235"/>
                    </a:lnTo>
                    <a:lnTo>
                      <a:pt x="320" y="234"/>
                    </a:lnTo>
                    <a:lnTo>
                      <a:pt x="319" y="234"/>
                    </a:lnTo>
                    <a:lnTo>
                      <a:pt x="318" y="234"/>
                    </a:lnTo>
                    <a:lnTo>
                      <a:pt x="318" y="233"/>
                    </a:lnTo>
                    <a:lnTo>
                      <a:pt x="317" y="233"/>
                    </a:lnTo>
                    <a:lnTo>
                      <a:pt x="317" y="232"/>
                    </a:lnTo>
                    <a:lnTo>
                      <a:pt x="317" y="231"/>
                    </a:lnTo>
                    <a:lnTo>
                      <a:pt x="316" y="231"/>
                    </a:lnTo>
                    <a:lnTo>
                      <a:pt x="314" y="231"/>
                    </a:lnTo>
                    <a:lnTo>
                      <a:pt x="314" y="230"/>
                    </a:lnTo>
                    <a:lnTo>
                      <a:pt x="313" y="229"/>
                    </a:lnTo>
                    <a:lnTo>
                      <a:pt x="313" y="228"/>
                    </a:lnTo>
                    <a:lnTo>
                      <a:pt x="313" y="226"/>
                    </a:lnTo>
                    <a:lnTo>
                      <a:pt x="313" y="225"/>
                    </a:lnTo>
                    <a:lnTo>
                      <a:pt x="313" y="224"/>
                    </a:lnTo>
                    <a:lnTo>
                      <a:pt x="312" y="224"/>
                    </a:lnTo>
                    <a:lnTo>
                      <a:pt x="312" y="223"/>
                    </a:lnTo>
                    <a:lnTo>
                      <a:pt x="313" y="222"/>
                    </a:lnTo>
                    <a:lnTo>
                      <a:pt x="313" y="221"/>
                    </a:lnTo>
                    <a:lnTo>
                      <a:pt x="312" y="220"/>
                    </a:lnTo>
                    <a:lnTo>
                      <a:pt x="312" y="219"/>
                    </a:lnTo>
                    <a:lnTo>
                      <a:pt x="313" y="219"/>
                    </a:lnTo>
                    <a:lnTo>
                      <a:pt x="313" y="218"/>
                    </a:lnTo>
                    <a:lnTo>
                      <a:pt x="314" y="218"/>
                    </a:lnTo>
                    <a:lnTo>
                      <a:pt x="314" y="217"/>
                    </a:lnTo>
                    <a:lnTo>
                      <a:pt x="316" y="217"/>
                    </a:lnTo>
                    <a:lnTo>
                      <a:pt x="314" y="217"/>
                    </a:lnTo>
                    <a:lnTo>
                      <a:pt x="314" y="218"/>
                    </a:lnTo>
                    <a:lnTo>
                      <a:pt x="313" y="218"/>
                    </a:lnTo>
                    <a:lnTo>
                      <a:pt x="312" y="218"/>
                    </a:lnTo>
                    <a:lnTo>
                      <a:pt x="312" y="219"/>
                    </a:lnTo>
                    <a:lnTo>
                      <a:pt x="311" y="219"/>
                    </a:lnTo>
                    <a:lnTo>
                      <a:pt x="311" y="220"/>
                    </a:lnTo>
                    <a:lnTo>
                      <a:pt x="311" y="221"/>
                    </a:lnTo>
                    <a:lnTo>
                      <a:pt x="311" y="222"/>
                    </a:lnTo>
                    <a:lnTo>
                      <a:pt x="312" y="222"/>
                    </a:lnTo>
                    <a:lnTo>
                      <a:pt x="312" y="223"/>
                    </a:lnTo>
                    <a:lnTo>
                      <a:pt x="312" y="224"/>
                    </a:lnTo>
                    <a:lnTo>
                      <a:pt x="313" y="225"/>
                    </a:lnTo>
                    <a:lnTo>
                      <a:pt x="313" y="226"/>
                    </a:lnTo>
                    <a:lnTo>
                      <a:pt x="312" y="226"/>
                    </a:lnTo>
                    <a:lnTo>
                      <a:pt x="312" y="228"/>
                    </a:lnTo>
                    <a:lnTo>
                      <a:pt x="312" y="229"/>
                    </a:lnTo>
                    <a:lnTo>
                      <a:pt x="313" y="230"/>
                    </a:lnTo>
                    <a:lnTo>
                      <a:pt x="313" y="231"/>
                    </a:lnTo>
                    <a:lnTo>
                      <a:pt x="314" y="232"/>
                    </a:lnTo>
                    <a:lnTo>
                      <a:pt x="313" y="232"/>
                    </a:lnTo>
                    <a:lnTo>
                      <a:pt x="314" y="232"/>
                    </a:lnTo>
                    <a:lnTo>
                      <a:pt x="316" y="233"/>
                    </a:lnTo>
                    <a:lnTo>
                      <a:pt x="314" y="233"/>
                    </a:lnTo>
                    <a:lnTo>
                      <a:pt x="312" y="232"/>
                    </a:lnTo>
                    <a:lnTo>
                      <a:pt x="310" y="232"/>
                    </a:lnTo>
                    <a:lnTo>
                      <a:pt x="309" y="232"/>
                    </a:lnTo>
                    <a:lnTo>
                      <a:pt x="309" y="233"/>
                    </a:lnTo>
                    <a:lnTo>
                      <a:pt x="308" y="233"/>
                    </a:lnTo>
                    <a:lnTo>
                      <a:pt x="308" y="234"/>
                    </a:lnTo>
                    <a:lnTo>
                      <a:pt x="307" y="234"/>
                    </a:lnTo>
                    <a:lnTo>
                      <a:pt x="307" y="235"/>
                    </a:lnTo>
                    <a:lnTo>
                      <a:pt x="308" y="235"/>
                    </a:lnTo>
                    <a:lnTo>
                      <a:pt x="308" y="236"/>
                    </a:lnTo>
                    <a:lnTo>
                      <a:pt x="307" y="236"/>
                    </a:lnTo>
                    <a:lnTo>
                      <a:pt x="307" y="235"/>
                    </a:lnTo>
                    <a:lnTo>
                      <a:pt x="306" y="235"/>
                    </a:lnTo>
                    <a:lnTo>
                      <a:pt x="307" y="235"/>
                    </a:lnTo>
                    <a:lnTo>
                      <a:pt x="307" y="236"/>
                    </a:lnTo>
                    <a:lnTo>
                      <a:pt x="306" y="236"/>
                    </a:lnTo>
                    <a:lnTo>
                      <a:pt x="306" y="235"/>
                    </a:lnTo>
                    <a:lnTo>
                      <a:pt x="307" y="235"/>
                    </a:lnTo>
                    <a:lnTo>
                      <a:pt x="306" y="235"/>
                    </a:lnTo>
                    <a:lnTo>
                      <a:pt x="306" y="234"/>
                    </a:lnTo>
                    <a:lnTo>
                      <a:pt x="306" y="233"/>
                    </a:lnTo>
                    <a:lnTo>
                      <a:pt x="306" y="232"/>
                    </a:lnTo>
                    <a:lnTo>
                      <a:pt x="306" y="231"/>
                    </a:lnTo>
                    <a:lnTo>
                      <a:pt x="306" y="230"/>
                    </a:lnTo>
                    <a:lnTo>
                      <a:pt x="306" y="229"/>
                    </a:lnTo>
                    <a:lnTo>
                      <a:pt x="305" y="229"/>
                    </a:lnTo>
                    <a:lnTo>
                      <a:pt x="305" y="228"/>
                    </a:lnTo>
                    <a:lnTo>
                      <a:pt x="304" y="228"/>
                    </a:lnTo>
                    <a:lnTo>
                      <a:pt x="304" y="226"/>
                    </a:lnTo>
                    <a:lnTo>
                      <a:pt x="304" y="225"/>
                    </a:lnTo>
                    <a:lnTo>
                      <a:pt x="303" y="225"/>
                    </a:lnTo>
                    <a:lnTo>
                      <a:pt x="303" y="224"/>
                    </a:lnTo>
                    <a:lnTo>
                      <a:pt x="303" y="223"/>
                    </a:lnTo>
                    <a:lnTo>
                      <a:pt x="301" y="223"/>
                    </a:lnTo>
                    <a:lnTo>
                      <a:pt x="303" y="223"/>
                    </a:lnTo>
                    <a:lnTo>
                      <a:pt x="303" y="224"/>
                    </a:lnTo>
                    <a:lnTo>
                      <a:pt x="304" y="224"/>
                    </a:lnTo>
                    <a:lnTo>
                      <a:pt x="304" y="223"/>
                    </a:lnTo>
                    <a:lnTo>
                      <a:pt x="304" y="224"/>
                    </a:lnTo>
                    <a:lnTo>
                      <a:pt x="305" y="224"/>
                    </a:lnTo>
                    <a:lnTo>
                      <a:pt x="305" y="225"/>
                    </a:lnTo>
                    <a:lnTo>
                      <a:pt x="306" y="226"/>
                    </a:lnTo>
                    <a:lnTo>
                      <a:pt x="307" y="226"/>
                    </a:lnTo>
                    <a:lnTo>
                      <a:pt x="307" y="228"/>
                    </a:lnTo>
                    <a:lnTo>
                      <a:pt x="307" y="226"/>
                    </a:lnTo>
                    <a:lnTo>
                      <a:pt x="307" y="225"/>
                    </a:lnTo>
                    <a:lnTo>
                      <a:pt x="307" y="224"/>
                    </a:lnTo>
                    <a:lnTo>
                      <a:pt x="307" y="223"/>
                    </a:lnTo>
                    <a:lnTo>
                      <a:pt x="306" y="223"/>
                    </a:lnTo>
                    <a:lnTo>
                      <a:pt x="306" y="222"/>
                    </a:lnTo>
                    <a:lnTo>
                      <a:pt x="305" y="221"/>
                    </a:lnTo>
                    <a:lnTo>
                      <a:pt x="305" y="220"/>
                    </a:lnTo>
                    <a:lnTo>
                      <a:pt x="305" y="219"/>
                    </a:lnTo>
                    <a:lnTo>
                      <a:pt x="304" y="219"/>
                    </a:lnTo>
                    <a:lnTo>
                      <a:pt x="305" y="217"/>
                    </a:lnTo>
                    <a:lnTo>
                      <a:pt x="304" y="217"/>
                    </a:lnTo>
                    <a:lnTo>
                      <a:pt x="304" y="218"/>
                    </a:lnTo>
                    <a:lnTo>
                      <a:pt x="303" y="218"/>
                    </a:lnTo>
                    <a:lnTo>
                      <a:pt x="303" y="219"/>
                    </a:lnTo>
                    <a:lnTo>
                      <a:pt x="304" y="219"/>
                    </a:lnTo>
                    <a:lnTo>
                      <a:pt x="304" y="220"/>
                    </a:lnTo>
                    <a:lnTo>
                      <a:pt x="304" y="221"/>
                    </a:lnTo>
                    <a:lnTo>
                      <a:pt x="305" y="222"/>
                    </a:lnTo>
                    <a:lnTo>
                      <a:pt x="305" y="223"/>
                    </a:lnTo>
                    <a:lnTo>
                      <a:pt x="304" y="223"/>
                    </a:lnTo>
                    <a:lnTo>
                      <a:pt x="303" y="222"/>
                    </a:lnTo>
                    <a:lnTo>
                      <a:pt x="301" y="222"/>
                    </a:lnTo>
                    <a:lnTo>
                      <a:pt x="301" y="223"/>
                    </a:lnTo>
                    <a:lnTo>
                      <a:pt x="301" y="224"/>
                    </a:lnTo>
                    <a:lnTo>
                      <a:pt x="301" y="225"/>
                    </a:lnTo>
                    <a:lnTo>
                      <a:pt x="303" y="225"/>
                    </a:lnTo>
                    <a:lnTo>
                      <a:pt x="300" y="226"/>
                    </a:lnTo>
                    <a:lnTo>
                      <a:pt x="299" y="228"/>
                    </a:lnTo>
                    <a:lnTo>
                      <a:pt x="300" y="229"/>
                    </a:lnTo>
                    <a:lnTo>
                      <a:pt x="301" y="229"/>
                    </a:lnTo>
                    <a:lnTo>
                      <a:pt x="301" y="230"/>
                    </a:lnTo>
                    <a:lnTo>
                      <a:pt x="301" y="229"/>
                    </a:lnTo>
                    <a:lnTo>
                      <a:pt x="301" y="230"/>
                    </a:lnTo>
                    <a:lnTo>
                      <a:pt x="301" y="231"/>
                    </a:lnTo>
                    <a:lnTo>
                      <a:pt x="303" y="231"/>
                    </a:lnTo>
                    <a:lnTo>
                      <a:pt x="301" y="232"/>
                    </a:lnTo>
                    <a:lnTo>
                      <a:pt x="301" y="233"/>
                    </a:lnTo>
                    <a:lnTo>
                      <a:pt x="300" y="232"/>
                    </a:lnTo>
                    <a:lnTo>
                      <a:pt x="299" y="232"/>
                    </a:lnTo>
                    <a:lnTo>
                      <a:pt x="298" y="232"/>
                    </a:lnTo>
                    <a:lnTo>
                      <a:pt x="299" y="232"/>
                    </a:lnTo>
                    <a:lnTo>
                      <a:pt x="299" y="233"/>
                    </a:lnTo>
                    <a:lnTo>
                      <a:pt x="300" y="234"/>
                    </a:lnTo>
                    <a:lnTo>
                      <a:pt x="300" y="235"/>
                    </a:lnTo>
                    <a:lnTo>
                      <a:pt x="300" y="236"/>
                    </a:lnTo>
                    <a:lnTo>
                      <a:pt x="301" y="236"/>
                    </a:lnTo>
                    <a:lnTo>
                      <a:pt x="300" y="236"/>
                    </a:lnTo>
                    <a:lnTo>
                      <a:pt x="299" y="236"/>
                    </a:lnTo>
                    <a:lnTo>
                      <a:pt x="299" y="235"/>
                    </a:lnTo>
                    <a:lnTo>
                      <a:pt x="298" y="235"/>
                    </a:lnTo>
                    <a:lnTo>
                      <a:pt x="297" y="234"/>
                    </a:lnTo>
                    <a:lnTo>
                      <a:pt x="296" y="234"/>
                    </a:lnTo>
                    <a:lnTo>
                      <a:pt x="295" y="234"/>
                    </a:lnTo>
                    <a:lnTo>
                      <a:pt x="294" y="234"/>
                    </a:lnTo>
                    <a:lnTo>
                      <a:pt x="295" y="234"/>
                    </a:lnTo>
                    <a:lnTo>
                      <a:pt x="296" y="234"/>
                    </a:lnTo>
                    <a:lnTo>
                      <a:pt x="296" y="235"/>
                    </a:lnTo>
                    <a:lnTo>
                      <a:pt x="296" y="236"/>
                    </a:lnTo>
                    <a:lnTo>
                      <a:pt x="297" y="237"/>
                    </a:lnTo>
                    <a:lnTo>
                      <a:pt x="298" y="237"/>
                    </a:lnTo>
                    <a:lnTo>
                      <a:pt x="298" y="238"/>
                    </a:lnTo>
                    <a:lnTo>
                      <a:pt x="299" y="238"/>
                    </a:lnTo>
                    <a:lnTo>
                      <a:pt x="299" y="239"/>
                    </a:lnTo>
                    <a:lnTo>
                      <a:pt x="300" y="239"/>
                    </a:lnTo>
                    <a:lnTo>
                      <a:pt x="300" y="241"/>
                    </a:lnTo>
                    <a:lnTo>
                      <a:pt x="300" y="242"/>
                    </a:lnTo>
                    <a:lnTo>
                      <a:pt x="300" y="241"/>
                    </a:lnTo>
                    <a:lnTo>
                      <a:pt x="299" y="241"/>
                    </a:lnTo>
                    <a:lnTo>
                      <a:pt x="299" y="239"/>
                    </a:lnTo>
                    <a:lnTo>
                      <a:pt x="298" y="241"/>
                    </a:lnTo>
                    <a:lnTo>
                      <a:pt x="297" y="241"/>
                    </a:lnTo>
                    <a:lnTo>
                      <a:pt x="297" y="239"/>
                    </a:lnTo>
                    <a:lnTo>
                      <a:pt x="296" y="239"/>
                    </a:lnTo>
                    <a:lnTo>
                      <a:pt x="295" y="239"/>
                    </a:lnTo>
                    <a:lnTo>
                      <a:pt x="295" y="241"/>
                    </a:lnTo>
                    <a:lnTo>
                      <a:pt x="296" y="242"/>
                    </a:lnTo>
                    <a:lnTo>
                      <a:pt x="297" y="242"/>
                    </a:lnTo>
                    <a:lnTo>
                      <a:pt x="297" y="243"/>
                    </a:lnTo>
                    <a:lnTo>
                      <a:pt x="298" y="243"/>
                    </a:lnTo>
                    <a:lnTo>
                      <a:pt x="298" y="244"/>
                    </a:lnTo>
                    <a:lnTo>
                      <a:pt x="297" y="243"/>
                    </a:lnTo>
                    <a:lnTo>
                      <a:pt x="296" y="243"/>
                    </a:lnTo>
                    <a:lnTo>
                      <a:pt x="297" y="244"/>
                    </a:lnTo>
                    <a:lnTo>
                      <a:pt x="297" y="245"/>
                    </a:lnTo>
                    <a:lnTo>
                      <a:pt x="297" y="246"/>
                    </a:lnTo>
                    <a:lnTo>
                      <a:pt x="297" y="247"/>
                    </a:lnTo>
                    <a:lnTo>
                      <a:pt x="297" y="248"/>
                    </a:lnTo>
                    <a:lnTo>
                      <a:pt x="296" y="248"/>
                    </a:lnTo>
                    <a:lnTo>
                      <a:pt x="295" y="248"/>
                    </a:lnTo>
                    <a:lnTo>
                      <a:pt x="294" y="248"/>
                    </a:lnTo>
                    <a:lnTo>
                      <a:pt x="295" y="248"/>
                    </a:lnTo>
                    <a:lnTo>
                      <a:pt x="295" y="249"/>
                    </a:lnTo>
                    <a:lnTo>
                      <a:pt x="296" y="249"/>
                    </a:lnTo>
                    <a:lnTo>
                      <a:pt x="295" y="249"/>
                    </a:lnTo>
                    <a:lnTo>
                      <a:pt x="295" y="250"/>
                    </a:lnTo>
                    <a:lnTo>
                      <a:pt x="295" y="249"/>
                    </a:lnTo>
                    <a:lnTo>
                      <a:pt x="294" y="249"/>
                    </a:lnTo>
                    <a:lnTo>
                      <a:pt x="293" y="249"/>
                    </a:lnTo>
                    <a:lnTo>
                      <a:pt x="293" y="248"/>
                    </a:lnTo>
                    <a:lnTo>
                      <a:pt x="292" y="248"/>
                    </a:lnTo>
                    <a:lnTo>
                      <a:pt x="292" y="247"/>
                    </a:lnTo>
                    <a:lnTo>
                      <a:pt x="291" y="247"/>
                    </a:lnTo>
                    <a:lnTo>
                      <a:pt x="291" y="246"/>
                    </a:lnTo>
                    <a:lnTo>
                      <a:pt x="291" y="245"/>
                    </a:lnTo>
                    <a:lnTo>
                      <a:pt x="290" y="245"/>
                    </a:lnTo>
                    <a:lnTo>
                      <a:pt x="291" y="245"/>
                    </a:lnTo>
                    <a:lnTo>
                      <a:pt x="292" y="244"/>
                    </a:lnTo>
                    <a:lnTo>
                      <a:pt x="292" y="245"/>
                    </a:lnTo>
                    <a:lnTo>
                      <a:pt x="293" y="244"/>
                    </a:lnTo>
                    <a:lnTo>
                      <a:pt x="294" y="244"/>
                    </a:lnTo>
                    <a:lnTo>
                      <a:pt x="294" y="243"/>
                    </a:lnTo>
                    <a:lnTo>
                      <a:pt x="293" y="243"/>
                    </a:lnTo>
                    <a:lnTo>
                      <a:pt x="292" y="243"/>
                    </a:lnTo>
                    <a:lnTo>
                      <a:pt x="292" y="244"/>
                    </a:lnTo>
                    <a:lnTo>
                      <a:pt x="291" y="244"/>
                    </a:lnTo>
                    <a:lnTo>
                      <a:pt x="290" y="244"/>
                    </a:lnTo>
                    <a:lnTo>
                      <a:pt x="288" y="243"/>
                    </a:lnTo>
                    <a:lnTo>
                      <a:pt x="288" y="244"/>
                    </a:lnTo>
                    <a:lnTo>
                      <a:pt x="290" y="244"/>
                    </a:lnTo>
                    <a:lnTo>
                      <a:pt x="290" y="245"/>
                    </a:lnTo>
                    <a:lnTo>
                      <a:pt x="290" y="246"/>
                    </a:lnTo>
                    <a:lnTo>
                      <a:pt x="290" y="247"/>
                    </a:lnTo>
                    <a:lnTo>
                      <a:pt x="288" y="247"/>
                    </a:lnTo>
                    <a:lnTo>
                      <a:pt x="290" y="247"/>
                    </a:lnTo>
                    <a:lnTo>
                      <a:pt x="288" y="248"/>
                    </a:lnTo>
                    <a:lnTo>
                      <a:pt x="287" y="248"/>
                    </a:lnTo>
                    <a:lnTo>
                      <a:pt x="287" y="247"/>
                    </a:lnTo>
                    <a:lnTo>
                      <a:pt x="286" y="247"/>
                    </a:lnTo>
                    <a:lnTo>
                      <a:pt x="286" y="248"/>
                    </a:lnTo>
                    <a:lnTo>
                      <a:pt x="287" y="248"/>
                    </a:lnTo>
                    <a:lnTo>
                      <a:pt x="287" y="249"/>
                    </a:lnTo>
                    <a:lnTo>
                      <a:pt x="288" y="249"/>
                    </a:lnTo>
                    <a:lnTo>
                      <a:pt x="288" y="250"/>
                    </a:lnTo>
                    <a:lnTo>
                      <a:pt x="287" y="251"/>
                    </a:lnTo>
                    <a:lnTo>
                      <a:pt x="286" y="251"/>
                    </a:lnTo>
                    <a:lnTo>
                      <a:pt x="287" y="252"/>
                    </a:lnTo>
                    <a:lnTo>
                      <a:pt x="288" y="252"/>
                    </a:lnTo>
                    <a:lnTo>
                      <a:pt x="288" y="251"/>
                    </a:lnTo>
                    <a:lnTo>
                      <a:pt x="288" y="250"/>
                    </a:lnTo>
                    <a:lnTo>
                      <a:pt x="290" y="250"/>
                    </a:lnTo>
                    <a:lnTo>
                      <a:pt x="290" y="251"/>
                    </a:lnTo>
                    <a:lnTo>
                      <a:pt x="291" y="251"/>
                    </a:lnTo>
                    <a:lnTo>
                      <a:pt x="292" y="251"/>
                    </a:lnTo>
                    <a:lnTo>
                      <a:pt x="293" y="251"/>
                    </a:lnTo>
                    <a:lnTo>
                      <a:pt x="293" y="250"/>
                    </a:lnTo>
                    <a:lnTo>
                      <a:pt x="294" y="250"/>
                    </a:lnTo>
                    <a:lnTo>
                      <a:pt x="294" y="251"/>
                    </a:lnTo>
                    <a:lnTo>
                      <a:pt x="294" y="250"/>
                    </a:lnTo>
                    <a:lnTo>
                      <a:pt x="295" y="250"/>
                    </a:lnTo>
                    <a:lnTo>
                      <a:pt x="296" y="250"/>
                    </a:lnTo>
                    <a:lnTo>
                      <a:pt x="297" y="251"/>
                    </a:lnTo>
                    <a:lnTo>
                      <a:pt x="297" y="250"/>
                    </a:lnTo>
                    <a:lnTo>
                      <a:pt x="297" y="249"/>
                    </a:lnTo>
                    <a:lnTo>
                      <a:pt x="298" y="249"/>
                    </a:lnTo>
                    <a:lnTo>
                      <a:pt x="297" y="250"/>
                    </a:lnTo>
                    <a:lnTo>
                      <a:pt x="298" y="250"/>
                    </a:lnTo>
                    <a:lnTo>
                      <a:pt x="298" y="251"/>
                    </a:lnTo>
                    <a:lnTo>
                      <a:pt x="299" y="251"/>
                    </a:lnTo>
                    <a:lnTo>
                      <a:pt x="299" y="252"/>
                    </a:lnTo>
                    <a:lnTo>
                      <a:pt x="299" y="251"/>
                    </a:lnTo>
                    <a:lnTo>
                      <a:pt x="299" y="250"/>
                    </a:lnTo>
                    <a:lnTo>
                      <a:pt x="298" y="250"/>
                    </a:lnTo>
                    <a:lnTo>
                      <a:pt x="298" y="251"/>
                    </a:lnTo>
                    <a:lnTo>
                      <a:pt x="298" y="250"/>
                    </a:lnTo>
                    <a:lnTo>
                      <a:pt x="298" y="249"/>
                    </a:lnTo>
                    <a:lnTo>
                      <a:pt x="297" y="249"/>
                    </a:lnTo>
                    <a:lnTo>
                      <a:pt x="296" y="248"/>
                    </a:lnTo>
                    <a:lnTo>
                      <a:pt x="297" y="248"/>
                    </a:lnTo>
                    <a:lnTo>
                      <a:pt x="298" y="248"/>
                    </a:lnTo>
                    <a:lnTo>
                      <a:pt x="298" y="247"/>
                    </a:lnTo>
                    <a:lnTo>
                      <a:pt x="297" y="247"/>
                    </a:lnTo>
                    <a:lnTo>
                      <a:pt x="298" y="247"/>
                    </a:lnTo>
                    <a:lnTo>
                      <a:pt x="299" y="247"/>
                    </a:lnTo>
                    <a:lnTo>
                      <a:pt x="300" y="247"/>
                    </a:lnTo>
                    <a:lnTo>
                      <a:pt x="301" y="247"/>
                    </a:lnTo>
                    <a:lnTo>
                      <a:pt x="301" y="248"/>
                    </a:lnTo>
                    <a:lnTo>
                      <a:pt x="303" y="249"/>
                    </a:lnTo>
                    <a:lnTo>
                      <a:pt x="301" y="249"/>
                    </a:lnTo>
                    <a:lnTo>
                      <a:pt x="300" y="249"/>
                    </a:lnTo>
                    <a:lnTo>
                      <a:pt x="300" y="248"/>
                    </a:lnTo>
                    <a:lnTo>
                      <a:pt x="299" y="248"/>
                    </a:lnTo>
                    <a:lnTo>
                      <a:pt x="299" y="249"/>
                    </a:lnTo>
                    <a:lnTo>
                      <a:pt x="300" y="249"/>
                    </a:lnTo>
                    <a:lnTo>
                      <a:pt x="301" y="249"/>
                    </a:lnTo>
                    <a:lnTo>
                      <a:pt x="303" y="249"/>
                    </a:lnTo>
                    <a:lnTo>
                      <a:pt x="304" y="249"/>
                    </a:lnTo>
                    <a:lnTo>
                      <a:pt x="304" y="250"/>
                    </a:lnTo>
                    <a:lnTo>
                      <a:pt x="305" y="250"/>
                    </a:lnTo>
                    <a:lnTo>
                      <a:pt x="305" y="251"/>
                    </a:lnTo>
                    <a:lnTo>
                      <a:pt x="306" y="251"/>
                    </a:lnTo>
                    <a:lnTo>
                      <a:pt x="306" y="250"/>
                    </a:lnTo>
                    <a:lnTo>
                      <a:pt x="305" y="250"/>
                    </a:lnTo>
                    <a:lnTo>
                      <a:pt x="304" y="250"/>
                    </a:lnTo>
                    <a:lnTo>
                      <a:pt x="304" y="249"/>
                    </a:lnTo>
                    <a:lnTo>
                      <a:pt x="305" y="249"/>
                    </a:lnTo>
                    <a:lnTo>
                      <a:pt x="306" y="249"/>
                    </a:lnTo>
                    <a:lnTo>
                      <a:pt x="306" y="248"/>
                    </a:lnTo>
                    <a:lnTo>
                      <a:pt x="307" y="249"/>
                    </a:lnTo>
                    <a:lnTo>
                      <a:pt x="308" y="249"/>
                    </a:lnTo>
                    <a:lnTo>
                      <a:pt x="308" y="250"/>
                    </a:lnTo>
                    <a:lnTo>
                      <a:pt x="308" y="249"/>
                    </a:lnTo>
                    <a:lnTo>
                      <a:pt x="309" y="250"/>
                    </a:lnTo>
                    <a:lnTo>
                      <a:pt x="309" y="249"/>
                    </a:lnTo>
                    <a:lnTo>
                      <a:pt x="310" y="249"/>
                    </a:lnTo>
                    <a:lnTo>
                      <a:pt x="311" y="250"/>
                    </a:lnTo>
                    <a:lnTo>
                      <a:pt x="312" y="250"/>
                    </a:lnTo>
                    <a:lnTo>
                      <a:pt x="312" y="251"/>
                    </a:lnTo>
                    <a:lnTo>
                      <a:pt x="313" y="251"/>
                    </a:lnTo>
                    <a:lnTo>
                      <a:pt x="313" y="250"/>
                    </a:lnTo>
                    <a:lnTo>
                      <a:pt x="313" y="251"/>
                    </a:lnTo>
                    <a:lnTo>
                      <a:pt x="313" y="252"/>
                    </a:lnTo>
                    <a:lnTo>
                      <a:pt x="312" y="252"/>
                    </a:lnTo>
                    <a:lnTo>
                      <a:pt x="313" y="252"/>
                    </a:lnTo>
                    <a:lnTo>
                      <a:pt x="313" y="251"/>
                    </a:lnTo>
                    <a:lnTo>
                      <a:pt x="314" y="251"/>
                    </a:lnTo>
                    <a:lnTo>
                      <a:pt x="314" y="250"/>
                    </a:lnTo>
                    <a:lnTo>
                      <a:pt x="313" y="250"/>
                    </a:lnTo>
                    <a:lnTo>
                      <a:pt x="312" y="250"/>
                    </a:lnTo>
                    <a:lnTo>
                      <a:pt x="313" y="249"/>
                    </a:lnTo>
                    <a:lnTo>
                      <a:pt x="313" y="248"/>
                    </a:lnTo>
                    <a:lnTo>
                      <a:pt x="313" y="247"/>
                    </a:lnTo>
                    <a:lnTo>
                      <a:pt x="314" y="247"/>
                    </a:lnTo>
                    <a:lnTo>
                      <a:pt x="314" y="246"/>
                    </a:lnTo>
                    <a:lnTo>
                      <a:pt x="316" y="246"/>
                    </a:lnTo>
                    <a:lnTo>
                      <a:pt x="316" y="245"/>
                    </a:lnTo>
                    <a:lnTo>
                      <a:pt x="317" y="245"/>
                    </a:lnTo>
                    <a:lnTo>
                      <a:pt x="318" y="245"/>
                    </a:lnTo>
                    <a:lnTo>
                      <a:pt x="317" y="245"/>
                    </a:lnTo>
                    <a:lnTo>
                      <a:pt x="317" y="246"/>
                    </a:lnTo>
                    <a:lnTo>
                      <a:pt x="318" y="246"/>
                    </a:lnTo>
                    <a:lnTo>
                      <a:pt x="317" y="247"/>
                    </a:lnTo>
                    <a:lnTo>
                      <a:pt x="318" y="247"/>
                    </a:lnTo>
                    <a:lnTo>
                      <a:pt x="318" y="248"/>
                    </a:lnTo>
                    <a:lnTo>
                      <a:pt x="318" y="249"/>
                    </a:lnTo>
                    <a:lnTo>
                      <a:pt x="318" y="250"/>
                    </a:lnTo>
                    <a:lnTo>
                      <a:pt x="319" y="251"/>
                    </a:lnTo>
                    <a:lnTo>
                      <a:pt x="319" y="250"/>
                    </a:lnTo>
                    <a:lnTo>
                      <a:pt x="318" y="250"/>
                    </a:lnTo>
                    <a:lnTo>
                      <a:pt x="319" y="249"/>
                    </a:lnTo>
                    <a:lnTo>
                      <a:pt x="318" y="249"/>
                    </a:lnTo>
                    <a:lnTo>
                      <a:pt x="318" y="248"/>
                    </a:lnTo>
                    <a:lnTo>
                      <a:pt x="318" y="247"/>
                    </a:lnTo>
                    <a:lnTo>
                      <a:pt x="318" y="246"/>
                    </a:lnTo>
                    <a:lnTo>
                      <a:pt x="317" y="246"/>
                    </a:lnTo>
                    <a:lnTo>
                      <a:pt x="317" y="245"/>
                    </a:lnTo>
                    <a:lnTo>
                      <a:pt x="317" y="246"/>
                    </a:lnTo>
                    <a:lnTo>
                      <a:pt x="318" y="246"/>
                    </a:lnTo>
                    <a:lnTo>
                      <a:pt x="318" y="245"/>
                    </a:lnTo>
                    <a:lnTo>
                      <a:pt x="318" y="244"/>
                    </a:lnTo>
                    <a:lnTo>
                      <a:pt x="317" y="244"/>
                    </a:lnTo>
                    <a:lnTo>
                      <a:pt x="316" y="244"/>
                    </a:lnTo>
                    <a:lnTo>
                      <a:pt x="316" y="243"/>
                    </a:lnTo>
                    <a:lnTo>
                      <a:pt x="316" y="242"/>
                    </a:lnTo>
                    <a:lnTo>
                      <a:pt x="317" y="242"/>
                    </a:lnTo>
                    <a:lnTo>
                      <a:pt x="318" y="242"/>
                    </a:lnTo>
                    <a:lnTo>
                      <a:pt x="317" y="241"/>
                    </a:lnTo>
                    <a:lnTo>
                      <a:pt x="318" y="241"/>
                    </a:lnTo>
                    <a:lnTo>
                      <a:pt x="319" y="241"/>
                    </a:lnTo>
                    <a:lnTo>
                      <a:pt x="320" y="241"/>
                    </a:lnTo>
                    <a:lnTo>
                      <a:pt x="319" y="241"/>
                    </a:lnTo>
                    <a:lnTo>
                      <a:pt x="319" y="242"/>
                    </a:lnTo>
                    <a:lnTo>
                      <a:pt x="320" y="242"/>
                    </a:lnTo>
                    <a:lnTo>
                      <a:pt x="321" y="242"/>
                    </a:lnTo>
                    <a:lnTo>
                      <a:pt x="321" y="241"/>
                    </a:lnTo>
                    <a:lnTo>
                      <a:pt x="321" y="242"/>
                    </a:lnTo>
                    <a:lnTo>
                      <a:pt x="321" y="243"/>
                    </a:lnTo>
                    <a:lnTo>
                      <a:pt x="322" y="243"/>
                    </a:lnTo>
                    <a:lnTo>
                      <a:pt x="322" y="244"/>
                    </a:lnTo>
                    <a:lnTo>
                      <a:pt x="322" y="245"/>
                    </a:lnTo>
                    <a:lnTo>
                      <a:pt x="321" y="244"/>
                    </a:lnTo>
                    <a:lnTo>
                      <a:pt x="321" y="245"/>
                    </a:lnTo>
                    <a:lnTo>
                      <a:pt x="321" y="244"/>
                    </a:lnTo>
                    <a:lnTo>
                      <a:pt x="320" y="244"/>
                    </a:lnTo>
                    <a:lnTo>
                      <a:pt x="319" y="244"/>
                    </a:lnTo>
                    <a:lnTo>
                      <a:pt x="319" y="243"/>
                    </a:lnTo>
                    <a:lnTo>
                      <a:pt x="318" y="243"/>
                    </a:lnTo>
                    <a:lnTo>
                      <a:pt x="319" y="244"/>
                    </a:lnTo>
                    <a:lnTo>
                      <a:pt x="320" y="244"/>
                    </a:lnTo>
                    <a:lnTo>
                      <a:pt x="320" y="245"/>
                    </a:lnTo>
                    <a:lnTo>
                      <a:pt x="321" y="245"/>
                    </a:lnTo>
                    <a:lnTo>
                      <a:pt x="320" y="245"/>
                    </a:lnTo>
                    <a:lnTo>
                      <a:pt x="320" y="246"/>
                    </a:lnTo>
                    <a:lnTo>
                      <a:pt x="321" y="246"/>
                    </a:lnTo>
                    <a:lnTo>
                      <a:pt x="322" y="247"/>
                    </a:lnTo>
                    <a:lnTo>
                      <a:pt x="323" y="247"/>
                    </a:lnTo>
                    <a:lnTo>
                      <a:pt x="324" y="247"/>
                    </a:lnTo>
                    <a:lnTo>
                      <a:pt x="323" y="247"/>
                    </a:lnTo>
                    <a:lnTo>
                      <a:pt x="323" y="246"/>
                    </a:lnTo>
                    <a:lnTo>
                      <a:pt x="323" y="247"/>
                    </a:lnTo>
                    <a:lnTo>
                      <a:pt x="322" y="247"/>
                    </a:lnTo>
                    <a:lnTo>
                      <a:pt x="322" y="246"/>
                    </a:lnTo>
                    <a:lnTo>
                      <a:pt x="321" y="246"/>
                    </a:lnTo>
                    <a:lnTo>
                      <a:pt x="321" y="245"/>
                    </a:lnTo>
                    <a:lnTo>
                      <a:pt x="322" y="245"/>
                    </a:lnTo>
                    <a:lnTo>
                      <a:pt x="322" y="244"/>
                    </a:lnTo>
                    <a:lnTo>
                      <a:pt x="323" y="243"/>
                    </a:lnTo>
                    <a:lnTo>
                      <a:pt x="324" y="243"/>
                    </a:lnTo>
                    <a:lnTo>
                      <a:pt x="324" y="244"/>
                    </a:lnTo>
                    <a:lnTo>
                      <a:pt x="325" y="244"/>
                    </a:lnTo>
                    <a:lnTo>
                      <a:pt x="324" y="245"/>
                    </a:lnTo>
                    <a:lnTo>
                      <a:pt x="324" y="244"/>
                    </a:lnTo>
                    <a:lnTo>
                      <a:pt x="324" y="245"/>
                    </a:lnTo>
                    <a:lnTo>
                      <a:pt x="325" y="245"/>
                    </a:lnTo>
                    <a:lnTo>
                      <a:pt x="325" y="244"/>
                    </a:lnTo>
                    <a:lnTo>
                      <a:pt x="326" y="244"/>
                    </a:lnTo>
                    <a:lnTo>
                      <a:pt x="326" y="245"/>
                    </a:lnTo>
                    <a:lnTo>
                      <a:pt x="327" y="245"/>
                    </a:lnTo>
                    <a:lnTo>
                      <a:pt x="329" y="245"/>
                    </a:lnTo>
                    <a:lnTo>
                      <a:pt x="329" y="246"/>
                    </a:lnTo>
                    <a:lnTo>
                      <a:pt x="329" y="245"/>
                    </a:lnTo>
                    <a:lnTo>
                      <a:pt x="330" y="245"/>
                    </a:lnTo>
                    <a:lnTo>
                      <a:pt x="330" y="244"/>
                    </a:lnTo>
                    <a:lnTo>
                      <a:pt x="330" y="245"/>
                    </a:lnTo>
                    <a:lnTo>
                      <a:pt x="330" y="244"/>
                    </a:lnTo>
                    <a:lnTo>
                      <a:pt x="331" y="244"/>
                    </a:lnTo>
                    <a:lnTo>
                      <a:pt x="331" y="245"/>
                    </a:lnTo>
                    <a:lnTo>
                      <a:pt x="332" y="245"/>
                    </a:lnTo>
                    <a:lnTo>
                      <a:pt x="332" y="246"/>
                    </a:lnTo>
                    <a:lnTo>
                      <a:pt x="331" y="246"/>
                    </a:lnTo>
                    <a:lnTo>
                      <a:pt x="332" y="246"/>
                    </a:lnTo>
                    <a:lnTo>
                      <a:pt x="332" y="247"/>
                    </a:lnTo>
                    <a:lnTo>
                      <a:pt x="333" y="247"/>
                    </a:lnTo>
                    <a:lnTo>
                      <a:pt x="334" y="247"/>
                    </a:lnTo>
                    <a:lnTo>
                      <a:pt x="335" y="246"/>
                    </a:lnTo>
                    <a:lnTo>
                      <a:pt x="335" y="247"/>
                    </a:lnTo>
                    <a:lnTo>
                      <a:pt x="336" y="247"/>
                    </a:lnTo>
                    <a:lnTo>
                      <a:pt x="337" y="248"/>
                    </a:lnTo>
                    <a:lnTo>
                      <a:pt x="338" y="248"/>
                    </a:lnTo>
                    <a:lnTo>
                      <a:pt x="338" y="249"/>
                    </a:lnTo>
                    <a:lnTo>
                      <a:pt x="337" y="249"/>
                    </a:lnTo>
                    <a:lnTo>
                      <a:pt x="336" y="249"/>
                    </a:lnTo>
                    <a:lnTo>
                      <a:pt x="335" y="250"/>
                    </a:lnTo>
                    <a:lnTo>
                      <a:pt x="335" y="249"/>
                    </a:lnTo>
                    <a:lnTo>
                      <a:pt x="335" y="250"/>
                    </a:lnTo>
                    <a:lnTo>
                      <a:pt x="335" y="251"/>
                    </a:lnTo>
                    <a:lnTo>
                      <a:pt x="335" y="252"/>
                    </a:lnTo>
                    <a:lnTo>
                      <a:pt x="335" y="254"/>
                    </a:lnTo>
                    <a:lnTo>
                      <a:pt x="335" y="252"/>
                    </a:lnTo>
                    <a:lnTo>
                      <a:pt x="334" y="252"/>
                    </a:lnTo>
                    <a:lnTo>
                      <a:pt x="333" y="251"/>
                    </a:lnTo>
                    <a:lnTo>
                      <a:pt x="332" y="251"/>
                    </a:lnTo>
                    <a:lnTo>
                      <a:pt x="331" y="250"/>
                    </a:lnTo>
                    <a:lnTo>
                      <a:pt x="330" y="249"/>
                    </a:lnTo>
                    <a:lnTo>
                      <a:pt x="330" y="250"/>
                    </a:lnTo>
                    <a:lnTo>
                      <a:pt x="329" y="251"/>
                    </a:lnTo>
                    <a:lnTo>
                      <a:pt x="330" y="251"/>
                    </a:lnTo>
                    <a:lnTo>
                      <a:pt x="330" y="252"/>
                    </a:lnTo>
                    <a:lnTo>
                      <a:pt x="331" y="252"/>
                    </a:lnTo>
                    <a:lnTo>
                      <a:pt x="332" y="254"/>
                    </a:lnTo>
                    <a:lnTo>
                      <a:pt x="332" y="255"/>
                    </a:lnTo>
                    <a:lnTo>
                      <a:pt x="332" y="256"/>
                    </a:lnTo>
                    <a:lnTo>
                      <a:pt x="331" y="256"/>
                    </a:lnTo>
                    <a:lnTo>
                      <a:pt x="330" y="256"/>
                    </a:lnTo>
                    <a:lnTo>
                      <a:pt x="330" y="255"/>
                    </a:lnTo>
                    <a:lnTo>
                      <a:pt x="329" y="255"/>
                    </a:lnTo>
                    <a:lnTo>
                      <a:pt x="327" y="255"/>
                    </a:lnTo>
                    <a:lnTo>
                      <a:pt x="327" y="254"/>
                    </a:lnTo>
                    <a:lnTo>
                      <a:pt x="329" y="252"/>
                    </a:lnTo>
                    <a:lnTo>
                      <a:pt x="329" y="251"/>
                    </a:lnTo>
                    <a:lnTo>
                      <a:pt x="327" y="251"/>
                    </a:lnTo>
                    <a:lnTo>
                      <a:pt x="326" y="250"/>
                    </a:lnTo>
                    <a:lnTo>
                      <a:pt x="325" y="250"/>
                    </a:lnTo>
                    <a:lnTo>
                      <a:pt x="324" y="249"/>
                    </a:lnTo>
                    <a:lnTo>
                      <a:pt x="323" y="249"/>
                    </a:lnTo>
                    <a:lnTo>
                      <a:pt x="323" y="250"/>
                    </a:lnTo>
                    <a:lnTo>
                      <a:pt x="322" y="250"/>
                    </a:lnTo>
                    <a:lnTo>
                      <a:pt x="322" y="249"/>
                    </a:lnTo>
                    <a:lnTo>
                      <a:pt x="321" y="249"/>
                    </a:lnTo>
                    <a:lnTo>
                      <a:pt x="322" y="249"/>
                    </a:lnTo>
                    <a:lnTo>
                      <a:pt x="322" y="250"/>
                    </a:lnTo>
                    <a:lnTo>
                      <a:pt x="323" y="250"/>
                    </a:lnTo>
                    <a:lnTo>
                      <a:pt x="323" y="251"/>
                    </a:lnTo>
                    <a:lnTo>
                      <a:pt x="324" y="251"/>
                    </a:lnTo>
                    <a:lnTo>
                      <a:pt x="324" y="252"/>
                    </a:lnTo>
                    <a:lnTo>
                      <a:pt x="325" y="252"/>
                    </a:lnTo>
                    <a:lnTo>
                      <a:pt x="326" y="252"/>
                    </a:lnTo>
                    <a:lnTo>
                      <a:pt x="327" y="252"/>
                    </a:lnTo>
                    <a:lnTo>
                      <a:pt x="327" y="254"/>
                    </a:lnTo>
                    <a:lnTo>
                      <a:pt x="327" y="255"/>
                    </a:lnTo>
                    <a:lnTo>
                      <a:pt x="329" y="255"/>
                    </a:lnTo>
                    <a:lnTo>
                      <a:pt x="329" y="256"/>
                    </a:lnTo>
                    <a:lnTo>
                      <a:pt x="330" y="256"/>
                    </a:lnTo>
                    <a:lnTo>
                      <a:pt x="330" y="257"/>
                    </a:lnTo>
                    <a:lnTo>
                      <a:pt x="331" y="257"/>
                    </a:lnTo>
                    <a:lnTo>
                      <a:pt x="331" y="258"/>
                    </a:lnTo>
                    <a:lnTo>
                      <a:pt x="332" y="258"/>
                    </a:lnTo>
                    <a:lnTo>
                      <a:pt x="332" y="259"/>
                    </a:lnTo>
                    <a:lnTo>
                      <a:pt x="333" y="259"/>
                    </a:lnTo>
                    <a:lnTo>
                      <a:pt x="333" y="260"/>
                    </a:lnTo>
                    <a:lnTo>
                      <a:pt x="334" y="260"/>
                    </a:lnTo>
                    <a:lnTo>
                      <a:pt x="334" y="261"/>
                    </a:lnTo>
                    <a:lnTo>
                      <a:pt x="335" y="261"/>
                    </a:lnTo>
                    <a:lnTo>
                      <a:pt x="335" y="262"/>
                    </a:lnTo>
                    <a:lnTo>
                      <a:pt x="336" y="262"/>
                    </a:lnTo>
                    <a:lnTo>
                      <a:pt x="337" y="262"/>
                    </a:lnTo>
                    <a:lnTo>
                      <a:pt x="337" y="263"/>
                    </a:lnTo>
                    <a:lnTo>
                      <a:pt x="336" y="263"/>
                    </a:lnTo>
                    <a:lnTo>
                      <a:pt x="336" y="264"/>
                    </a:lnTo>
                    <a:lnTo>
                      <a:pt x="337" y="264"/>
                    </a:lnTo>
                    <a:lnTo>
                      <a:pt x="337" y="263"/>
                    </a:lnTo>
                    <a:lnTo>
                      <a:pt x="338" y="263"/>
                    </a:lnTo>
                    <a:lnTo>
                      <a:pt x="339" y="263"/>
                    </a:lnTo>
                    <a:lnTo>
                      <a:pt x="340" y="266"/>
                    </a:lnTo>
                    <a:lnTo>
                      <a:pt x="342" y="266"/>
                    </a:lnTo>
                    <a:lnTo>
                      <a:pt x="343" y="266"/>
                    </a:lnTo>
                    <a:lnTo>
                      <a:pt x="343" y="267"/>
                    </a:lnTo>
                    <a:lnTo>
                      <a:pt x="343" y="268"/>
                    </a:lnTo>
                    <a:lnTo>
                      <a:pt x="344" y="269"/>
                    </a:lnTo>
                    <a:lnTo>
                      <a:pt x="343" y="269"/>
                    </a:lnTo>
                    <a:lnTo>
                      <a:pt x="344" y="269"/>
                    </a:lnTo>
                    <a:lnTo>
                      <a:pt x="344" y="270"/>
                    </a:lnTo>
                    <a:lnTo>
                      <a:pt x="344" y="271"/>
                    </a:lnTo>
                    <a:lnTo>
                      <a:pt x="344" y="272"/>
                    </a:lnTo>
                    <a:lnTo>
                      <a:pt x="344" y="273"/>
                    </a:lnTo>
                    <a:lnTo>
                      <a:pt x="344" y="274"/>
                    </a:lnTo>
                    <a:lnTo>
                      <a:pt x="345" y="275"/>
                    </a:lnTo>
                    <a:lnTo>
                      <a:pt x="346" y="276"/>
                    </a:lnTo>
                    <a:lnTo>
                      <a:pt x="347" y="276"/>
                    </a:lnTo>
                    <a:lnTo>
                      <a:pt x="349" y="276"/>
                    </a:lnTo>
                    <a:lnTo>
                      <a:pt x="349" y="277"/>
                    </a:lnTo>
                    <a:lnTo>
                      <a:pt x="350" y="277"/>
                    </a:lnTo>
                    <a:lnTo>
                      <a:pt x="350" y="276"/>
                    </a:lnTo>
                    <a:lnTo>
                      <a:pt x="351" y="277"/>
                    </a:lnTo>
                    <a:lnTo>
                      <a:pt x="351" y="279"/>
                    </a:lnTo>
                    <a:lnTo>
                      <a:pt x="350" y="279"/>
                    </a:lnTo>
                    <a:lnTo>
                      <a:pt x="350" y="280"/>
                    </a:lnTo>
                    <a:lnTo>
                      <a:pt x="350" y="279"/>
                    </a:lnTo>
                    <a:lnTo>
                      <a:pt x="350" y="280"/>
                    </a:lnTo>
                    <a:lnTo>
                      <a:pt x="350" y="281"/>
                    </a:lnTo>
                    <a:lnTo>
                      <a:pt x="349" y="281"/>
                    </a:lnTo>
                    <a:lnTo>
                      <a:pt x="348" y="281"/>
                    </a:lnTo>
                    <a:lnTo>
                      <a:pt x="349" y="281"/>
                    </a:lnTo>
                    <a:lnTo>
                      <a:pt x="348" y="282"/>
                    </a:lnTo>
                    <a:lnTo>
                      <a:pt x="349" y="282"/>
                    </a:lnTo>
                    <a:lnTo>
                      <a:pt x="349" y="283"/>
                    </a:lnTo>
                    <a:lnTo>
                      <a:pt x="350" y="284"/>
                    </a:lnTo>
                    <a:lnTo>
                      <a:pt x="350" y="285"/>
                    </a:lnTo>
                    <a:lnTo>
                      <a:pt x="349" y="285"/>
                    </a:lnTo>
                    <a:lnTo>
                      <a:pt x="349" y="286"/>
                    </a:lnTo>
                    <a:lnTo>
                      <a:pt x="349" y="287"/>
                    </a:lnTo>
                    <a:lnTo>
                      <a:pt x="348" y="288"/>
                    </a:lnTo>
                    <a:lnTo>
                      <a:pt x="347" y="288"/>
                    </a:lnTo>
                    <a:lnTo>
                      <a:pt x="346" y="288"/>
                    </a:lnTo>
                    <a:lnTo>
                      <a:pt x="345" y="287"/>
                    </a:lnTo>
                    <a:lnTo>
                      <a:pt x="346" y="287"/>
                    </a:lnTo>
                    <a:lnTo>
                      <a:pt x="346" y="288"/>
                    </a:lnTo>
                    <a:lnTo>
                      <a:pt x="347" y="288"/>
                    </a:lnTo>
                    <a:lnTo>
                      <a:pt x="348" y="288"/>
                    </a:lnTo>
                    <a:lnTo>
                      <a:pt x="348" y="287"/>
                    </a:lnTo>
                    <a:lnTo>
                      <a:pt x="349" y="286"/>
                    </a:lnTo>
                    <a:lnTo>
                      <a:pt x="348" y="286"/>
                    </a:lnTo>
                    <a:lnTo>
                      <a:pt x="348" y="285"/>
                    </a:lnTo>
                    <a:lnTo>
                      <a:pt x="348" y="284"/>
                    </a:lnTo>
                    <a:lnTo>
                      <a:pt x="347" y="283"/>
                    </a:lnTo>
                    <a:lnTo>
                      <a:pt x="347" y="284"/>
                    </a:lnTo>
                    <a:lnTo>
                      <a:pt x="347" y="285"/>
                    </a:lnTo>
                    <a:lnTo>
                      <a:pt x="348" y="285"/>
                    </a:lnTo>
                    <a:lnTo>
                      <a:pt x="348" y="286"/>
                    </a:lnTo>
                    <a:lnTo>
                      <a:pt x="347" y="286"/>
                    </a:lnTo>
                    <a:lnTo>
                      <a:pt x="346" y="286"/>
                    </a:lnTo>
                    <a:lnTo>
                      <a:pt x="345" y="286"/>
                    </a:lnTo>
                    <a:lnTo>
                      <a:pt x="345" y="285"/>
                    </a:lnTo>
                    <a:lnTo>
                      <a:pt x="344" y="284"/>
                    </a:lnTo>
                    <a:lnTo>
                      <a:pt x="344" y="283"/>
                    </a:lnTo>
                    <a:lnTo>
                      <a:pt x="343" y="283"/>
                    </a:lnTo>
                    <a:lnTo>
                      <a:pt x="343" y="282"/>
                    </a:lnTo>
                    <a:lnTo>
                      <a:pt x="344" y="282"/>
                    </a:lnTo>
                    <a:lnTo>
                      <a:pt x="343" y="282"/>
                    </a:lnTo>
                    <a:lnTo>
                      <a:pt x="343" y="281"/>
                    </a:lnTo>
                    <a:lnTo>
                      <a:pt x="344" y="281"/>
                    </a:lnTo>
                    <a:lnTo>
                      <a:pt x="345" y="281"/>
                    </a:lnTo>
                    <a:lnTo>
                      <a:pt x="344" y="281"/>
                    </a:lnTo>
                    <a:lnTo>
                      <a:pt x="343" y="281"/>
                    </a:lnTo>
                    <a:lnTo>
                      <a:pt x="342" y="281"/>
                    </a:lnTo>
                    <a:lnTo>
                      <a:pt x="340" y="281"/>
                    </a:lnTo>
                    <a:lnTo>
                      <a:pt x="340" y="280"/>
                    </a:lnTo>
                    <a:lnTo>
                      <a:pt x="342" y="280"/>
                    </a:lnTo>
                    <a:lnTo>
                      <a:pt x="342" y="279"/>
                    </a:lnTo>
                    <a:lnTo>
                      <a:pt x="340" y="279"/>
                    </a:lnTo>
                    <a:lnTo>
                      <a:pt x="340" y="280"/>
                    </a:lnTo>
                    <a:lnTo>
                      <a:pt x="339" y="280"/>
                    </a:lnTo>
                    <a:lnTo>
                      <a:pt x="338" y="280"/>
                    </a:lnTo>
                    <a:lnTo>
                      <a:pt x="338" y="281"/>
                    </a:lnTo>
                    <a:lnTo>
                      <a:pt x="337" y="280"/>
                    </a:lnTo>
                    <a:lnTo>
                      <a:pt x="336" y="281"/>
                    </a:lnTo>
                    <a:lnTo>
                      <a:pt x="336" y="280"/>
                    </a:lnTo>
                    <a:lnTo>
                      <a:pt x="335" y="280"/>
                    </a:lnTo>
                    <a:lnTo>
                      <a:pt x="334" y="279"/>
                    </a:lnTo>
                    <a:lnTo>
                      <a:pt x="333" y="277"/>
                    </a:lnTo>
                    <a:lnTo>
                      <a:pt x="332" y="277"/>
                    </a:lnTo>
                    <a:lnTo>
                      <a:pt x="332" y="276"/>
                    </a:lnTo>
                    <a:lnTo>
                      <a:pt x="332" y="275"/>
                    </a:lnTo>
                    <a:lnTo>
                      <a:pt x="333" y="275"/>
                    </a:lnTo>
                    <a:lnTo>
                      <a:pt x="332" y="274"/>
                    </a:lnTo>
                    <a:lnTo>
                      <a:pt x="332" y="273"/>
                    </a:lnTo>
                    <a:lnTo>
                      <a:pt x="333" y="273"/>
                    </a:lnTo>
                    <a:lnTo>
                      <a:pt x="334" y="273"/>
                    </a:lnTo>
                    <a:lnTo>
                      <a:pt x="335" y="273"/>
                    </a:lnTo>
                    <a:lnTo>
                      <a:pt x="335" y="274"/>
                    </a:lnTo>
                    <a:lnTo>
                      <a:pt x="336" y="274"/>
                    </a:lnTo>
                    <a:lnTo>
                      <a:pt x="337" y="274"/>
                    </a:lnTo>
                    <a:lnTo>
                      <a:pt x="337" y="273"/>
                    </a:lnTo>
                    <a:lnTo>
                      <a:pt x="336" y="273"/>
                    </a:lnTo>
                    <a:lnTo>
                      <a:pt x="335" y="273"/>
                    </a:lnTo>
                    <a:lnTo>
                      <a:pt x="334" y="273"/>
                    </a:lnTo>
                    <a:lnTo>
                      <a:pt x="333" y="273"/>
                    </a:lnTo>
                    <a:lnTo>
                      <a:pt x="333" y="272"/>
                    </a:lnTo>
                    <a:lnTo>
                      <a:pt x="333" y="273"/>
                    </a:lnTo>
                    <a:lnTo>
                      <a:pt x="333" y="272"/>
                    </a:lnTo>
                    <a:lnTo>
                      <a:pt x="332" y="272"/>
                    </a:lnTo>
                    <a:lnTo>
                      <a:pt x="332" y="273"/>
                    </a:lnTo>
                    <a:lnTo>
                      <a:pt x="331" y="273"/>
                    </a:lnTo>
                    <a:lnTo>
                      <a:pt x="330" y="273"/>
                    </a:lnTo>
                    <a:lnTo>
                      <a:pt x="329" y="273"/>
                    </a:lnTo>
                    <a:lnTo>
                      <a:pt x="330" y="273"/>
                    </a:lnTo>
                    <a:lnTo>
                      <a:pt x="330" y="272"/>
                    </a:lnTo>
                    <a:lnTo>
                      <a:pt x="329" y="272"/>
                    </a:lnTo>
                    <a:lnTo>
                      <a:pt x="330" y="272"/>
                    </a:lnTo>
                    <a:lnTo>
                      <a:pt x="329" y="272"/>
                    </a:lnTo>
                    <a:lnTo>
                      <a:pt x="330" y="271"/>
                    </a:lnTo>
                    <a:lnTo>
                      <a:pt x="331" y="271"/>
                    </a:lnTo>
                    <a:lnTo>
                      <a:pt x="332" y="272"/>
                    </a:lnTo>
                    <a:lnTo>
                      <a:pt x="332" y="271"/>
                    </a:lnTo>
                    <a:lnTo>
                      <a:pt x="333" y="271"/>
                    </a:lnTo>
                    <a:lnTo>
                      <a:pt x="334" y="271"/>
                    </a:lnTo>
                    <a:lnTo>
                      <a:pt x="334" y="270"/>
                    </a:lnTo>
                    <a:lnTo>
                      <a:pt x="335" y="270"/>
                    </a:lnTo>
                    <a:lnTo>
                      <a:pt x="335" y="269"/>
                    </a:lnTo>
                    <a:lnTo>
                      <a:pt x="335" y="270"/>
                    </a:lnTo>
                    <a:lnTo>
                      <a:pt x="336" y="270"/>
                    </a:lnTo>
                    <a:lnTo>
                      <a:pt x="336" y="271"/>
                    </a:lnTo>
                    <a:lnTo>
                      <a:pt x="337" y="271"/>
                    </a:lnTo>
                    <a:lnTo>
                      <a:pt x="337" y="270"/>
                    </a:lnTo>
                    <a:lnTo>
                      <a:pt x="337" y="269"/>
                    </a:lnTo>
                    <a:lnTo>
                      <a:pt x="336" y="269"/>
                    </a:lnTo>
                    <a:lnTo>
                      <a:pt x="335" y="269"/>
                    </a:lnTo>
                    <a:lnTo>
                      <a:pt x="335" y="268"/>
                    </a:lnTo>
                    <a:lnTo>
                      <a:pt x="334" y="268"/>
                    </a:lnTo>
                    <a:lnTo>
                      <a:pt x="333" y="267"/>
                    </a:lnTo>
                    <a:lnTo>
                      <a:pt x="332" y="267"/>
                    </a:lnTo>
                    <a:lnTo>
                      <a:pt x="332" y="266"/>
                    </a:lnTo>
                    <a:lnTo>
                      <a:pt x="331" y="264"/>
                    </a:lnTo>
                    <a:lnTo>
                      <a:pt x="331" y="266"/>
                    </a:lnTo>
                    <a:lnTo>
                      <a:pt x="331" y="264"/>
                    </a:lnTo>
                    <a:lnTo>
                      <a:pt x="331" y="266"/>
                    </a:lnTo>
                    <a:lnTo>
                      <a:pt x="332" y="266"/>
                    </a:lnTo>
                    <a:lnTo>
                      <a:pt x="332" y="267"/>
                    </a:lnTo>
                    <a:lnTo>
                      <a:pt x="332" y="268"/>
                    </a:lnTo>
                    <a:lnTo>
                      <a:pt x="331" y="268"/>
                    </a:lnTo>
                    <a:lnTo>
                      <a:pt x="330" y="268"/>
                    </a:lnTo>
                    <a:lnTo>
                      <a:pt x="330" y="269"/>
                    </a:lnTo>
                    <a:lnTo>
                      <a:pt x="329" y="269"/>
                    </a:lnTo>
                    <a:lnTo>
                      <a:pt x="329" y="270"/>
                    </a:lnTo>
                    <a:lnTo>
                      <a:pt x="329" y="271"/>
                    </a:lnTo>
                    <a:lnTo>
                      <a:pt x="329" y="272"/>
                    </a:lnTo>
                    <a:lnTo>
                      <a:pt x="327" y="272"/>
                    </a:lnTo>
                    <a:lnTo>
                      <a:pt x="327" y="271"/>
                    </a:lnTo>
                    <a:lnTo>
                      <a:pt x="327" y="272"/>
                    </a:lnTo>
                    <a:lnTo>
                      <a:pt x="329" y="272"/>
                    </a:lnTo>
                    <a:lnTo>
                      <a:pt x="329" y="273"/>
                    </a:lnTo>
                    <a:lnTo>
                      <a:pt x="329" y="274"/>
                    </a:lnTo>
                    <a:lnTo>
                      <a:pt x="330" y="274"/>
                    </a:lnTo>
                    <a:lnTo>
                      <a:pt x="330" y="273"/>
                    </a:lnTo>
                    <a:lnTo>
                      <a:pt x="331" y="273"/>
                    </a:lnTo>
                    <a:lnTo>
                      <a:pt x="331" y="274"/>
                    </a:lnTo>
                    <a:lnTo>
                      <a:pt x="330" y="274"/>
                    </a:lnTo>
                    <a:lnTo>
                      <a:pt x="330" y="275"/>
                    </a:lnTo>
                    <a:lnTo>
                      <a:pt x="330" y="276"/>
                    </a:lnTo>
                    <a:lnTo>
                      <a:pt x="331" y="276"/>
                    </a:lnTo>
                    <a:lnTo>
                      <a:pt x="331" y="277"/>
                    </a:lnTo>
                    <a:lnTo>
                      <a:pt x="332" y="277"/>
                    </a:lnTo>
                    <a:lnTo>
                      <a:pt x="331" y="277"/>
                    </a:lnTo>
                    <a:lnTo>
                      <a:pt x="330" y="277"/>
                    </a:lnTo>
                    <a:lnTo>
                      <a:pt x="329" y="276"/>
                    </a:lnTo>
                    <a:lnTo>
                      <a:pt x="327" y="276"/>
                    </a:lnTo>
                    <a:lnTo>
                      <a:pt x="327" y="277"/>
                    </a:lnTo>
                    <a:lnTo>
                      <a:pt x="327" y="279"/>
                    </a:lnTo>
                    <a:lnTo>
                      <a:pt x="327" y="280"/>
                    </a:lnTo>
                    <a:lnTo>
                      <a:pt x="329" y="280"/>
                    </a:lnTo>
                    <a:lnTo>
                      <a:pt x="329" y="281"/>
                    </a:lnTo>
                    <a:lnTo>
                      <a:pt x="330" y="281"/>
                    </a:lnTo>
                    <a:lnTo>
                      <a:pt x="329" y="282"/>
                    </a:lnTo>
                    <a:lnTo>
                      <a:pt x="327" y="283"/>
                    </a:lnTo>
                    <a:lnTo>
                      <a:pt x="326" y="284"/>
                    </a:lnTo>
                    <a:lnTo>
                      <a:pt x="326" y="285"/>
                    </a:lnTo>
                    <a:lnTo>
                      <a:pt x="326" y="286"/>
                    </a:lnTo>
                    <a:lnTo>
                      <a:pt x="327" y="286"/>
                    </a:lnTo>
                    <a:lnTo>
                      <a:pt x="327" y="287"/>
                    </a:lnTo>
                    <a:lnTo>
                      <a:pt x="329" y="288"/>
                    </a:lnTo>
                    <a:lnTo>
                      <a:pt x="330" y="288"/>
                    </a:lnTo>
                    <a:lnTo>
                      <a:pt x="331" y="289"/>
                    </a:lnTo>
                    <a:lnTo>
                      <a:pt x="332" y="289"/>
                    </a:lnTo>
                    <a:lnTo>
                      <a:pt x="331" y="289"/>
                    </a:lnTo>
                    <a:lnTo>
                      <a:pt x="331" y="290"/>
                    </a:lnTo>
                    <a:lnTo>
                      <a:pt x="331" y="292"/>
                    </a:lnTo>
                    <a:lnTo>
                      <a:pt x="331" y="290"/>
                    </a:lnTo>
                    <a:lnTo>
                      <a:pt x="330" y="290"/>
                    </a:lnTo>
                    <a:lnTo>
                      <a:pt x="330" y="289"/>
                    </a:lnTo>
                    <a:lnTo>
                      <a:pt x="329" y="289"/>
                    </a:lnTo>
                    <a:lnTo>
                      <a:pt x="329" y="290"/>
                    </a:lnTo>
                    <a:lnTo>
                      <a:pt x="329" y="292"/>
                    </a:lnTo>
                    <a:lnTo>
                      <a:pt x="330" y="292"/>
                    </a:lnTo>
                    <a:lnTo>
                      <a:pt x="331" y="290"/>
                    </a:lnTo>
                    <a:lnTo>
                      <a:pt x="330" y="292"/>
                    </a:lnTo>
                    <a:lnTo>
                      <a:pt x="331" y="292"/>
                    </a:lnTo>
                    <a:lnTo>
                      <a:pt x="332" y="292"/>
                    </a:lnTo>
                    <a:lnTo>
                      <a:pt x="332" y="290"/>
                    </a:lnTo>
                    <a:lnTo>
                      <a:pt x="332" y="289"/>
                    </a:lnTo>
                    <a:lnTo>
                      <a:pt x="333" y="289"/>
                    </a:lnTo>
                    <a:lnTo>
                      <a:pt x="333" y="288"/>
                    </a:lnTo>
                    <a:lnTo>
                      <a:pt x="334" y="288"/>
                    </a:lnTo>
                    <a:lnTo>
                      <a:pt x="333" y="288"/>
                    </a:lnTo>
                    <a:lnTo>
                      <a:pt x="333" y="289"/>
                    </a:lnTo>
                    <a:lnTo>
                      <a:pt x="333" y="288"/>
                    </a:lnTo>
                    <a:lnTo>
                      <a:pt x="332" y="288"/>
                    </a:lnTo>
                    <a:lnTo>
                      <a:pt x="332" y="289"/>
                    </a:lnTo>
                    <a:lnTo>
                      <a:pt x="332" y="288"/>
                    </a:lnTo>
                    <a:lnTo>
                      <a:pt x="333" y="288"/>
                    </a:lnTo>
                    <a:lnTo>
                      <a:pt x="334" y="287"/>
                    </a:lnTo>
                    <a:lnTo>
                      <a:pt x="334" y="288"/>
                    </a:lnTo>
                    <a:lnTo>
                      <a:pt x="335" y="288"/>
                    </a:lnTo>
                    <a:lnTo>
                      <a:pt x="335" y="287"/>
                    </a:lnTo>
                    <a:lnTo>
                      <a:pt x="336" y="287"/>
                    </a:lnTo>
                    <a:lnTo>
                      <a:pt x="336" y="288"/>
                    </a:lnTo>
                    <a:lnTo>
                      <a:pt x="337" y="288"/>
                    </a:lnTo>
                    <a:lnTo>
                      <a:pt x="337" y="289"/>
                    </a:lnTo>
                    <a:lnTo>
                      <a:pt x="335" y="290"/>
                    </a:lnTo>
                    <a:lnTo>
                      <a:pt x="334" y="292"/>
                    </a:lnTo>
                    <a:lnTo>
                      <a:pt x="333" y="294"/>
                    </a:lnTo>
                    <a:lnTo>
                      <a:pt x="333" y="295"/>
                    </a:lnTo>
                    <a:lnTo>
                      <a:pt x="332" y="295"/>
                    </a:lnTo>
                    <a:lnTo>
                      <a:pt x="332" y="296"/>
                    </a:lnTo>
                    <a:lnTo>
                      <a:pt x="332" y="297"/>
                    </a:lnTo>
                    <a:lnTo>
                      <a:pt x="331" y="297"/>
                    </a:lnTo>
                    <a:lnTo>
                      <a:pt x="331" y="296"/>
                    </a:lnTo>
                    <a:lnTo>
                      <a:pt x="330" y="296"/>
                    </a:lnTo>
                    <a:lnTo>
                      <a:pt x="330" y="295"/>
                    </a:lnTo>
                    <a:lnTo>
                      <a:pt x="329" y="295"/>
                    </a:lnTo>
                    <a:lnTo>
                      <a:pt x="329" y="294"/>
                    </a:lnTo>
                    <a:lnTo>
                      <a:pt x="330" y="294"/>
                    </a:lnTo>
                    <a:lnTo>
                      <a:pt x="329" y="294"/>
                    </a:lnTo>
                    <a:lnTo>
                      <a:pt x="327" y="294"/>
                    </a:lnTo>
                    <a:lnTo>
                      <a:pt x="327" y="293"/>
                    </a:lnTo>
                    <a:lnTo>
                      <a:pt x="326" y="293"/>
                    </a:lnTo>
                    <a:lnTo>
                      <a:pt x="325" y="293"/>
                    </a:lnTo>
                    <a:lnTo>
                      <a:pt x="325" y="292"/>
                    </a:lnTo>
                    <a:lnTo>
                      <a:pt x="326" y="292"/>
                    </a:lnTo>
                    <a:lnTo>
                      <a:pt x="326" y="293"/>
                    </a:lnTo>
                    <a:lnTo>
                      <a:pt x="327" y="293"/>
                    </a:lnTo>
                    <a:lnTo>
                      <a:pt x="327" y="292"/>
                    </a:lnTo>
                    <a:lnTo>
                      <a:pt x="326" y="292"/>
                    </a:lnTo>
                    <a:lnTo>
                      <a:pt x="326" y="290"/>
                    </a:lnTo>
                    <a:lnTo>
                      <a:pt x="326" y="289"/>
                    </a:lnTo>
                    <a:lnTo>
                      <a:pt x="326" y="288"/>
                    </a:lnTo>
                    <a:lnTo>
                      <a:pt x="325" y="288"/>
                    </a:lnTo>
                    <a:lnTo>
                      <a:pt x="324" y="288"/>
                    </a:lnTo>
                    <a:lnTo>
                      <a:pt x="323" y="289"/>
                    </a:lnTo>
                    <a:lnTo>
                      <a:pt x="323" y="290"/>
                    </a:lnTo>
                    <a:lnTo>
                      <a:pt x="322" y="290"/>
                    </a:lnTo>
                    <a:lnTo>
                      <a:pt x="322" y="289"/>
                    </a:lnTo>
                    <a:lnTo>
                      <a:pt x="323" y="288"/>
                    </a:lnTo>
                    <a:lnTo>
                      <a:pt x="324" y="287"/>
                    </a:lnTo>
                    <a:lnTo>
                      <a:pt x="323" y="287"/>
                    </a:lnTo>
                    <a:lnTo>
                      <a:pt x="323" y="286"/>
                    </a:lnTo>
                    <a:lnTo>
                      <a:pt x="322" y="286"/>
                    </a:lnTo>
                    <a:lnTo>
                      <a:pt x="322" y="285"/>
                    </a:lnTo>
                    <a:lnTo>
                      <a:pt x="321" y="285"/>
                    </a:lnTo>
                    <a:lnTo>
                      <a:pt x="321" y="284"/>
                    </a:lnTo>
                    <a:lnTo>
                      <a:pt x="320" y="283"/>
                    </a:lnTo>
                    <a:lnTo>
                      <a:pt x="320" y="282"/>
                    </a:lnTo>
                    <a:lnTo>
                      <a:pt x="319" y="282"/>
                    </a:lnTo>
                    <a:lnTo>
                      <a:pt x="319" y="283"/>
                    </a:lnTo>
                    <a:lnTo>
                      <a:pt x="318" y="283"/>
                    </a:lnTo>
                    <a:lnTo>
                      <a:pt x="317" y="283"/>
                    </a:lnTo>
                    <a:lnTo>
                      <a:pt x="316" y="283"/>
                    </a:lnTo>
                    <a:lnTo>
                      <a:pt x="316" y="282"/>
                    </a:lnTo>
                    <a:lnTo>
                      <a:pt x="317" y="282"/>
                    </a:lnTo>
                    <a:lnTo>
                      <a:pt x="317" y="281"/>
                    </a:lnTo>
                    <a:lnTo>
                      <a:pt x="317" y="280"/>
                    </a:lnTo>
                    <a:lnTo>
                      <a:pt x="318" y="280"/>
                    </a:lnTo>
                    <a:lnTo>
                      <a:pt x="319" y="280"/>
                    </a:lnTo>
                    <a:lnTo>
                      <a:pt x="318" y="279"/>
                    </a:lnTo>
                    <a:lnTo>
                      <a:pt x="319" y="279"/>
                    </a:lnTo>
                    <a:lnTo>
                      <a:pt x="320" y="279"/>
                    </a:lnTo>
                    <a:lnTo>
                      <a:pt x="320" y="277"/>
                    </a:lnTo>
                    <a:lnTo>
                      <a:pt x="320" y="276"/>
                    </a:lnTo>
                    <a:lnTo>
                      <a:pt x="320" y="275"/>
                    </a:lnTo>
                    <a:lnTo>
                      <a:pt x="319" y="275"/>
                    </a:lnTo>
                    <a:lnTo>
                      <a:pt x="319" y="276"/>
                    </a:lnTo>
                    <a:lnTo>
                      <a:pt x="318" y="276"/>
                    </a:lnTo>
                    <a:lnTo>
                      <a:pt x="319" y="276"/>
                    </a:lnTo>
                    <a:lnTo>
                      <a:pt x="318" y="277"/>
                    </a:lnTo>
                    <a:lnTo>
                      <a:pt x="318" y="276"/>
                    </a:lnTo>
                    <a:lnTo>
                      <a:pt x="317" y="276"/>
                    </a:lnTo>
                    <a:lnTo>
                      <a:pt x="318" y="275"/>
                    </a:lnTo>
                    <a:lnTo>
                      <a:pt x="317" y="275"/>
                    </a:lnTo>
                    <a:lnTo>
                      <a:pt x="317" y="274"/>
                    </a:lnTo>
                    <a:lnTo>
                      <a:pt x="316" y="273"/>
                    </a:lnTo>
                    <a:lnTo>
                      <a:pt x="317" y="273"/>
                    </a:lnTo>
                    <a:lnTo>
                      <a:pt x="316" y="273"/>
                    </a:lnTo>
                    <a:lnTo>
                      <a:pt x="316" y="272"/>
                    </a:lnTo>
                    <a:lnTo>
                      <a:pt x="314" y="273"/>
                    </a:lnTo>
                    <a:lnTo>
                      <a:pt x="314" y="272"/>
                    </a:lnTo>
                    <a:lnTo>
                      <a:pt x="313" y="272"/>
                    </a:lnTo>
                    <a:lnTo>
                      <a:pt x="313" y="271"/>
                    </a:lnTo>
                    <a:lnTo>
                      <a:pt x="313" y="270"/>
                    </a:lnTo>
                    <a:lnTo>
                      <a:pt x="313" y="269"/>
                    </a:lnTo>
                    <a:lnTo>
                      <a:pt x="314" y="269"/>
                    </a:lnTo>
                    <a:lnTo>
                      <a:pt x="314" y="270"/>
                    </a:lnTo>
                    <a:lnTo>
                      <a:pt x="316" y="270"/>
                    </a:lnTo>
                    <a:lnTo>
                      <a:pt x="316" y="269"/>
                    </a:lnTo>
                    <a:lnTo>
                      <a:pt x="314" y="269"/>
                    </a:lnTo>
                    <a:lnTo>
                      <a:pt x="314" y="268"/>
                    </a:lnTo>
                    <a:lnTo>
                      <a:pt x="314" y="267"/>
                    </a:lnTo>
                    <a:lnTo>
                      <a:pt x="313" y="267"/>
                    </a:lnTo>
                    <a:lnTo>
                      <a:pt x="313" y="266"/>
                    </a:lnTo>
                    <a:lnTo>
                      <a:pt x="314" y="266"/>
                    </a:lnTo>
                    <a:lnTo>
                      <a:pt x="314" y="267"/>
                    </a:lnTo>
                    <a:lnTo>
                      <a:pt x="314" y="266"/>
                    </a:lnTo>
                    <a:lnTo>
                      <a:pt x="313" y="266"/>
                    </a:lnTo>
                    <a:lnTo>
                      <a:pt x="314" y="266"/>
                    </a:lnTo>
                    <a:lnTo>
                      <a:pt x="314" y="264"/>
                    </a:lnTo>
                    <a:lnTo>
                      <a:pt x="316" y="264"/>
                    </a:lnTo>
                    <a:lnTo>
                      <a:pt x="316" y="266"/>
                    </a:lnTo>
                    <a:lnTo>
                      <a:pt x="317" y="266"/>
                    </a:lnTo>
                    <a:lnTo>
                      <a:pt x="317" y="267"/>
                    </a:lnTo>
                    <a:lnTo>
                      <a:pt x="317" y="268"/>
                    </a:lnTo>
                    <a:lnTo>
                      <a:pt x="318" y="268"/>
                    </a:lnTo>
                    <a:lnTo>
                      <a:pt x="318" y="269"/>
                    </a:lnTo>
                    <a:lnTo>
                      <a:pt x="318" y="268"/>
                    </a:lnTo>
                    <a:lnTo>
                      <a:pt x="319" y="268"/>
                    </a:lnTo>
                    <a:lnTo>
                      <a:pt x="318" y="267"/>
                    </a:lnTo>
                    <a:lnTo>
                      <a:pt x="318" y="266"/>
                    </a:lnTo>
                    <a:lnTo>
                      <a:pt x="317" y="266"/>
                    </a:lnTo>
                    <a:lnTo>
                      <a:pt x="317" y="267"/>
                    </a:lnTo>
                    <a:lnTo>
                      <a:pt x="317" y="266"/>
                    </a:lnTo>
                    <a:lnTo>
                      <a:pt x="317" y="264"/>
                    </a:lnTo>
                    <a:lnTo>
                      <a:pt x="317" y="263"/>
                    </a:lnTo>
                    <a:lnTo>
                      <a:pt x="318" y="263"/>
                    </a:lnTo>
                    <a:lnTo>
                      <a:pt x="318" y="262"/>
                    </a:lnTo>
                    <a:lnTo>
                      <a:pt x="317" y="262"/>
                    </a:lnTo>
                    <a:lnTo>
                      <a:pt x="318" y="262"/>
                    </a:lnTo>
                    <a:lnTo>
                      <a:pt x="318" y="263"/>
                    </a:lnTo>
                    <a:lnTo>
                      <a:pt x="319" y="263"/>
                    </a:lnTo>
                    <a:lnTo>
                      <a:pt x="319" y="264"/>
                    </a:lnTo>
                    <a:lnTo>
                      <a:pt x="319" y="266"/>
                    </a:lnTo>
                    <a:lnTo>
                      <a:pt x="319" y="264"/>
                    </a:lnTo>
                    <a:lnTo>
                      <a:pt x="319" y="266"/>
                    </a:lnTo>
                    <a:lnTo>
                      <a:pt x="320" y="267"/>
                    </a:lnTo>
                    <a:lnTo>
                      <a:pt x="320" y="266"/>
                    </a:lnTo>
                    <a:lnTo>
                      <a:pt x="319" y="266"/>
                    </a:lnTo>
                    <a:lnTo>
                      <a:pt x="320" y="266"/>
                    </a:lnTo>
                    <a:lnTo>
                      <a:pt x="320" y="264"/>
                    </a:lnTo>
                    <a:lnTo>
                      <a:pt x="320" y="266"/>
                    </a:lnTo>
                    <a:lnTo>
                      <a:pt x="321" y="266"/>
                    </a:lnTo>
                    <a:lnTo>
                      <a:pt x="322" y="266"/>
                    </a:lnTo>
                    <a:lnTo>
                      <a:pt x="322" y="264"/>
                    </a:lnTo>
                    <a:lnTo>
                      <a:pt x="321" y="264"/>
                    </a:lnTo>
                    <a:lnTo>
                      <a:pt x="321" y="263"/>
                    </a:lnTo>
                    <a:lnTo>
                      <a:pt x="320" y="263"/>
                    </a:lnTo>
                    <a:lnTo>
                      <a:pt x="320" y="262"/>
                    </a:lnTo>
                    <a:lnTo>
                      <a:pt x="319" y="262"/>
                    </a:lnTo>
                    <a:lnTo>
                      <a:pt x="319" y="261"/>
                    </a:lnTo>
                    <a:lnTo>
                      <a:pt x="318" y="261"/>
                    </a:lnTo>
                    <a:lnTo>
                      <a:pt x="317" y="261"/>
                    </a:lnTo>
                    <a:lnTo>
                      <a:pt x="317" y="262"/>
                    </a:lnTo>
                    <a:lnTo>
                      <a:pt x="316" y="262"/>
                    </a:lnTo>
                    <a:lnTo>
                      <a:pt x="316" y="261"/>
                    </a:lnTo>
                    <a:lnTo>
                      <a:pt x="316" y="260"/>
                    </a:lnTo>
                    <a:lnTo>
                      <a:pt x="314" y="260"/>
                    </a:lnTo>
                    <a:lnTo>
                      <a:pt x="316" y="259"/>
                    </a:lnTo>
                    <a:lnTo>
                      <a:pt x="314" y="259"/>
                    </a:lnTo>
                    <a:lnTo>
                      <a:pt x="313" y="259"/>
                    </a:lnTo>
                    <a:lnTo>
                      <a:pt x="313" y="260"/>
                    </a:lnTo>
                    <a:lnTo>
                      <a:pt x="314" y="260"/>
                    </a:lnTo>
                    <a:lnTo>
                      <a:pt x="314" y="259"/>
                    </a:lnTo>
                    <a:lnTo>
                      <a:pt x="314" y="260"/>
                    </a:lnTo>
                    <a:lnTo>
                      <a:pt x="313" y="260"/>
                    </a:lnTo>
                    <a:lnTo>
                      <a:pt x="312" y="260"/>
                    </a:lnTo>
                    <a:lnTo>
                      <a:pt x="312" y="259"/>
                    </a:lnTo>
                    <a:lnTo>
                      <a:pt x="312" y="258"/>
                    </a:lnTo>
                    <a:lnTo>
                      <a:pt x="313" y="258"/>
                    </a:lnTo>
                    <a:lnTo>
                      <a:pt x="314" y="258"/>
                    </a:lnTo>
                    <a:lnTo>
                      <a:pt x="313" y="258"/>
                    </a:lnTo>
                    <a:lnTo>
                      <a:pt x="313" y="257"/>
                    </a:lnTo>
                    <a:lnTo>
                      <a:pt x="313" y="256"/>
                    </a:lnTo>
                    <a:lnTo>
                      <a:pt x="312" y="256"/>
                    </a:lnTo>
                    <a:lnTo>
                      <a:pt x="313" y="255"/>
                    </a:lnTo>
                    <a:lnTo>
                      <a:pt x="312" y="255"/>
                    </a:lnTo>
                    <a:lnTo>
                      <a:pt x="311" y="255"/>
                    </a:lnTo>
                    <a:lnTo>
                      <a:pt x="311" y="256"/>
                    </a:lnTo>
                    <a:lnTo>
                      <a:pt x="310" y="256"/>
                    </a:lnTo>
                    <a:lnTo>
                      <a:pt x="309" y="256"/>
                    </a:lnTo>
                    <a:lnTo>
                      <a:pt x="310" y="255"/>
                    </a:lnTo>
                    <a:lnTo>
                      <a:pt x="309" y="255"/>
                    </a:lnTo>
                    <a:lnTo>
                      <a:pt x="309" y="256"/>
                    </a:lnTo>
                    <a:lnTo>
                      <a:pt x="308" y="256"/>
                    </a:lnTo>
                    <a:lnTo>
                      <a:pt x="308" y="255"/>
                    </a:lnTo>
                    <a:lnTo>
                      <a:pt x="308" y="256"/>
                    </a:lnTo>
                    <a:lnTo>
                      <a:pt x="309" y="256"/>
                    </a:lnTo>
                    <a:lnTo>
                      <a:pt x="310" y="256"/>
                    </a:lnTo>
                    <a:lnTo>
                      <a:pt x="310" y="257"/>
                    </a:lnTo>
                    <a:lnTo>
                      <a:pt x="309" y="257"/>
                    </a:lnTo>
                    <a:lnTo>
                      <a:pt x="308" y="257"/>
                    </a:lnTo>
                    <a:lnTo>
                      <a:pt x="309" y="257"/>
                    </a:lnTo>
                    <a:lnTo>
                      <a:pt x="310" y="257"/>
                    </a:lnTo>
                    <a:lnTo>
                      <a:pt x="310" y="258"/>
                    </a:lnTo>
                    <a:lnTo>
                      <a:pt x="310" y="259"/>
                    </a:lnTo>
                    <a:lnTo>
                      <a:pt x="311" y="260"/>
                    </a:lnTo>
                    <a:lnTo>
                      <a:pt x="311" y="261"/>
                    </a:lnTo>
                    <a:lnTo>
                      <a:pt x="312" y="261"/>
                    </a:lnTo>
                    <a:lnTo>
                      <a:pt x="312" y="262"/>
                    </a:lnTo>
                    <a:lnTo>
                      <a:pt x="313" y="262"/>
                    </a:lnTo>
                    <a:lnTo>
                      <a:pt x="313" y="263"/>
                    </a:lnTo>
                    <a:lnTo>
                      <a:pt x="312" y="263"/>
                    </a:lnTo>
                    <a:lnTo>
                      <a:pt x="311" y="263"/>
                    </a:lnTo>
                    <a:lnTo>
                      <a:pt x="310" y="263"/>
                    </a:lnTo>
                    <a:lnTo>
                      <a:pt x="310" y="262"/>
                    </a:lnTo>
                    <a:lnTo>
                      <a:pt x="309" y="262"/>
                    </a:lnTo>
                    <a:lnTo>
                      <a:pt x="308" y="262"/>
                    </a:lnTo>
                    <a:lnTo>
                      <a:pt x="308" y="263"/>
                    </a:lnTo>
                    <a:lnTo>
                      <a:pt x="309" y="263"/>
                    </a:lnTo>
                    <a:lnTo>
                      <a:pt x="309" y="264"/>
                    </a:lnTo>
                    <a:lnTo>
                      <a:pt x="308" y="266"/>
                    </a:lnTo>
                    <a:lnTo>
                      <a:pt x="308" y="264"/>
                    </a:lnTo>
                    <a:lnTo>
                      <a:pt x="307" y="264"/>
                    </a:lnTo>
                    <a:lnTo>
                      <a:pt x="307" y="263"/>
                    </a:lnTo>
                    <a:lnTo>
                      <a:pt x="307" y="262"/>
                    </a:lnTo>
                    <a:lnTo>
                      <a:pt x="306" y="261"/>
                    </a:lnTo>
                    <a:lnTo>
                      <a:pt x="306" y="262"/>
                    </a:lnTo>
                    <a:lnTo>
                      <a:pt x="307" y="262"/>
                    </a:lnTo>
                    <a:lnTo>
                      <a:pt x="307" y="263"/>
                    </a:lnTo>
                    <a:lnTo>
                      <a:pt x="307" y="264"/>
                    </a:lnTo>
                    <a:lnTo>
                      <a:pt x="306" y="264"/>
                    </a:lnTo>
                    <a:lnTo>
                      <a:pt x="306" y="266"/>
                    </a:lnTo>
                    <a:lnTo>
                      <a:pt x="305" y="266"/>
                    </a:lnTo>
                    <a:lnTo>
                      <a:pt x="305" y="267"/>
                    </a:lnTo>
                    <a:lnTo>
                      <a:pt x="305" y="266"/>
                    </a:lnTo>
                    <a:lnTo>
                      <a:pt x="304" y="266"/>
                    </a:lnTo>
                    <a:lnTo>
                      <a:pt x="304" y="264"/>
                    </a:lnTo>
                    <a:lnTo>
                      <a:pt x="303" y="264"/>
                    </a:lnTo>
                    <a:lnTo>
                      <a:pt x="303" y="263"/>
                    </a:lnTo>
                    <a:lnTo>
                      <a:pt x="304" y="263"/>
                    </a:lnTo>
                    <a:lnTo>
                      <a:pt x="304" y="262"/>
                    </a:lnTo>
                    <a:lnTo>
                      <a:pt x="303" y="261"/>
                    </a:lnTo>
                    <a:lnTo>
                      <a:pt x="303" y="260"/>
                    </a:lnTo>
                    <a:lnTo>
                      <a:pt x="303" y="261"/>
                    </a:lnTo>
                    <a:lnTo>
                      <a:pt x="301" y="261"/>
                    </a:lnTo>
                    <a:lnTo>
                      <a:pt x="300" y="261"/>
                    </a:lnTo>
                    <a:lnTo>
                      <a:pt x="299" y="261"/>
                    </a:lnTo>
                    <a:lnTo>
                      <a:pt x="298" y="261"/>
                    </a:lnTo>
                    <a:lnTo>
                      <a:pt x="298" y="262"/>
                    </a:lnTo>
                    <a:lnTo>
                      <a:pt x="297" y="261"/>
                    </a:lnTo>
                    <a:lnTo>
                      <a:pt x="297" y="262"/>
                    </a:lnTo>
                    <a:lnTo>
                      <a:pt x="296" y="262"/>
                    </a:lnTo>
                    <a:lnTo>
                      <a:pt x="297" y="262"/>
                    </a:lnTo>
                    <a:lnTo>
                      <a:pt x="298" y="262"/>
                    </a:lnTo>
                    <a:lnTo>
                      <a:pt x="297" y="263"/>
                    </a:lnTo>
                    <a:lnTo>
                      <a:pt x="296" y="263"/>
                    </a:lnTo>
                    <a:lnTo>
                      <a:pt x="297" y="263"/>
                    </a:lnTo>
                    <a:lnTo>
                      <a:pt x="297" y="262"/>
                    </a:lnTo>
                    <a:lnTo>
                      <a:pt x="296" y="262"/>
                    </a:lnTo>
                    <a:lnTo>
                      <a:pt x="295" y="262"/>
                    </a:lnTo>
                    <a:lnTo>
                      <a:pt x="295" y="261"/>
                    </a:lnTo>
                    <a:lnTo>
                      <a:pt x="294" y="261"/>
                    </a:lnTo>
                    <a:lnTo>
                      <a:pt x="293" y="261"/>
                    </a:lnTo>
                    <a:lnTo>
                      <a:pt x="292" y="261"/>
                    </a:lnTo>
                    <a:lnTo>
                      <a:pt x="292" y="260"/>
                    </a:lnTo>
                    <a:lnTo>
                      <a:pt x="291" y="260"/>
                    </a:lnTo>
                    <a:lnTo>
                      <a:pt x="291" y="259"/>
                    </a:lnTo>
                    <a:lnTo>
                      <a:pt x="291" y="258"/>
                    </a:lnTo>
                    <a:lnTo>
                      <a:pt x="292" y="258"/>
                    </a:lnTo>
                    <a:lnTo>
                      <a:pt x="293" y="258"/>
                    </a:lnTo>
                    <a:lnTo>
                      <a:pt x="293" y="257"/>
                    </a:lnTo>
                    <a:lnTo>
                      <a:pt x="292" y="257"/>
                    </a:lnTo>
                    <a:lnTo>
                      <a:pt x="292" y="256"/>
                    </a:lnTo>
                    <a:lnTo>
                      <a:pt x="292" y="255"/>
                    </a:lnTo>
                    <a:lnTo>
                      <a:pt x="293" y="255"/>
                    </a:lnTo>
                    <a:lnTo>
                      <a:pt x="294" y="255"/>
                    </a:lnTo>
                    <a:lnTo>
                      <a:pt x="295" y="256"/>
                    </a:lnTo>
                    <a:lnTo>
                      <a:pt x="295" y="255"/>
                    </a:lnTo>
                    <a:lnTo>
                      <a:pt x="296" y="255"/>
                    </a:lnTo>
                    <a:lnTo>
                      <a:pt x="295" y="255"/>
                    </a:lnTo>
                    <a:lnTo>
                      <a:pt x="294" y="255"/>
                    </a:lnTo>
                    <a:lnTo>
                      <a:pt x="293" y="255"/>
                    </a:lnTo>
                    <a:lnTo>
                      <a:pt x="292" y="255"/>
                    </a:lnTo>
                    <a:lnTo>
                      <a:pt x="291" y="255"/>
                    </a:lnTo>
                    <a:lnTo>
                      <a:pt x="291" y="256"/>
                    </a:lnTo>
                    <a:lnTo>
                      <a:pt x="291" y="257"/>
                    </a:lnTo>
                    <a:lnTo>
                      <a:pt x="292" y="257"/>
                    </a:lnTo>
                    <a:lnTo>
                      <a:pt x="291" y="257"/>
                    </a:lnTo>
                    <a:lnTo>
                      <a:pt x="291" y="258"/>
                    </a:lnTo>
                    <a:lnTo>
                      <a:pt x="290" y="258"/>
                    </a:lnTo>
                    <a:lnTo>
                      <a:pt x="290" y="257"/>
                    </a:lnTo>
                    <a:lnTo>
                      <a:pt x="288" y="257"/>
                    </a:lnTo>
                    <a:lnTo>
                      <a:pt x="287" y="257"/>
                    </a:lnTo>
                    <a:lnTo>
                      <a:pt x="287" y="258"/>
                    </a:lnTo>
                    <a:lnTo>
                      <a:pt x="288" y="258"/>
                    </a:lnTo>
                    <a:lnTo>
                      <a:pt x="287" y="259"/>
                    </a:lnTo>
                    <a:lnTo>
                      <a:pt x="288" y="259"/>
                    </a:lnTo>
                    <a:lnTo>
                      <a:pt x="287" y="259"/>
                    </a:lnTo>
                    <a:lnTo>
                      <a:pt x="288" y="259"/>
                    </a:lnTo>
                    <a:lnTo>
                      <a:pt x="288" y="258"/>
                    </a:lnTo>
                    <a:lnTo>
                      <a:pt x="290" y="258"/>
                    </a:lnTo>
                    <a:lnTo>
                      <a:pt x="291" y="258"/>
                    </a:lnTo>
                    <a:lnTo>
                      <a:pt x="291" y="259"/>
                    </a:lnTo>
                    <a:lnTo>
                      <a:pt x="290" y="259"/>
                    </a:lnTo>
                    <a:lnTo>
                      <a:pt x="290" y="260"/>
                    </a:lnTo>
                    <a:lnTo>
                      <a:pt x="290" y="261"/>
                    </a:lnTo>
                    <a:lnTo>
                      <a:pt x="291" y="261"/>
                    </a:lnTo>
                    <a:lnTo>
                      <a:pt x="292" y="262"/>
                    </a:lnTo>
                    <a:lnTo>
                      <a:pt x="292" y="261"/>
                    </a:lnTo>
                    <a:lnTo>
                      <a:pt x="293" y="261"/>
                    </a:lnTo>
                    <a:lnTo>
                      <a:pt x="294" y="261"/>
                    </a:lnTo>
                    <a:lnTo>
                      <a:pt x="294" y="262"/>
                    </a:lnTo>
                    <a:lnTo>
                      <a:pt x="294" y="263"/>
                    </a:lnTo>
                    <a:lnTo>
                      <a:pt x="293" y="264"/>
                    </a:lnTo>
                    <a:lnTo>
                      <a:pt x="293" y="266"/>
                    </a:lnTo>
                    <a:lnTo>
                      <a:pt x="290" y="268"/>
                    </a:lnTo>
                    <a:lnTo>
                      <a:pt x="291" y="268"/>
                    </a:lnTo>
                    <a:lnTo>
                      <a:pt x="292" y="269"/>
                    </a:lnTo>
                    <a:lnTo>
                      <a:pt x="293" y="270"/>
                    </a:lnTo>
                    <a:lnTo>
                      <a:pt x="294" y="270"/>
                    </a:lnTo>
                    <a:lnTo>
                      <a:pt x="295" y="271"/>
                    </a:lnTo>
                    <a:lnTo>
                      <a:pt x="295" y="272"/>
                    </a:lnTo>
                    <a:lnTo>
                      <a:pt x="296" y="272"/>
                    </a:lnTo>
                    <a:lnTo>
                      <a:pt x="297" y="273"/>
                    </a:lnTo>
                    <a:lnTo>
                      <a:pt x="298" y="273"/>
                    </a:lnTo>
                    <a:lnTo>
                      <a:pt x="298" y="274"/>
                    </a:lnTo>
                    <a:lnTo>
                      <a:pt x="299" y="274"/>
                    </a:lnTo>
                    <a:lnTo>
                      <a:pt x="299" y="275"/>
                    </a:lnTo>
                    <a:lnTo>
                      <a:pt x="300" y="275"/>
                    </a:lnTo>
                    <a:lnTo>
                      <a:pt x="301" y="276"/>
                    </a:lnTo>
                    <a:lnTo>
                      <a:pt x="303" y="277"/>
                    </a:lnTo>
                    <a:lnTo>
                      <a:pt x="304" y="277"/>
                    </a:lnTo>
                    <a:lnTo>
                      <a:pt x="304" y="279"/>
                    </a:lnTo>
                    <a:lnTo>
                      <a:pt x="305" y="279"/>
                    </a:lnTo>
                    <a:lnTo>
                      <a:pt x="305" y="280"/>
                    </a:lnTo>
                    <a:lnTo>
                      <a:pt x="306" y="280"/>
                    </a:lnTo>
                    <a:lnTo>
                      <a:pt x="307" y="281"/>
                    </a:lnTo>
                    <a:lnTo>
                      <a:pt x="308" y="281"/>
                    </a:lnTo>
                    <a:lnTo>
                      <a:pt x="308" y="282"/>
                    </a:lnTo>
                    <a:lnTo>
                      <a:pt x="309" y="283"/>
                    </a:lnTo>
                    <a:lnTo>
                      <a:pt x="310" y="284"/>
                    </a:lnTo>
                    <a:lnTo>
                      <a:pt x="311" y="284"/>
                    </a:lnTo>
                    <a:lnTo>
                      <a:pt x="311" y="285"/>
                    </a:lnTo>
                    <a:lnTo>
                      <a:pt x="312" y="285"/>
                    </a:lnTo>
                    <a:lnTo>
                      <a:pt x="314" y="287"/>
                    </a:lnTo>
                    <a:lnTo>
                      <a:pt x="316" y="288"/>
                    </a:lnTo>
                    <a:lnTo>
                      <a:pt x="317" y="288"/>
                    </a:lnTo>
                    <a:lnTo>
                      <a:pt x="317" y="289"/>
                    </a:lnTo>
                    <a:lnTo>
                      <a:pt x="318" y="289"/>
                    </a:lnTo>
                    <a:lnTo>
                      <a:pt x="319" y="289"/>
                    </a:lnTo>
                    <a:lnTo>
                      <a:pt x="319" y="290"/>
                    </a:lnTo>
                    <a:lnTo>
                      <a:pt x="319" y="292"/>
                    </a:lnTo>
                    <a:lnTo>
                      <a:pt x="320" y="292"/>
                    </a:lnTo>
                    <a:lnTo>
                      <a:pt x="320" y="290"/>
                    </a:lnTo>
                    <a:lnTo>
                      <a:pt x="320" y="292"/>
                    </a:lnTo>
                    <a:lnTo>
                      <a:pt x="320" y="290"/>
                    </a:lnTo>
                    <a:lnTo>
                      <a:pt x="321" y="292"/>
                    </a:lnTo>
                    <a:lnTo>
                      <a:pt x="322" y="293"/>
                    </a:lnTo>
                    <a:lnTo>
                      <a:pt x="322" y="294"/>
                    </a:lnTo>
                    <a:lnTo>
                      <a:pt x="323" y="294"/>
                    </a:lnTo>
                    <a:lnTo>
                      <a:pt x="324" y="295"/>
                    </a:lnTo>
                    <a:lnTo>
                      <a:pt x="325" y="295"/>
                    </a:lnTo>
                    <a:lnTo>
                      <a:pt x="325" y="296"/>
                    </a:lnTo>
                    <a:lnTo>
                      <a:pt x="326" y="296"/>
                    </a:lnTo>
                    <a:lnTo>
                      <a:pt x="326" y="297"/>
                    </a:lnTo>
                    <a:lnTo>
                      <a:pt x="327" y="297"/>
                    </a:lnTo>
                    <a:lnTo>
                      <a:pt x="329" y="298"/>
                    </a:lnTo>
                    <a:lnTo>
                      <a:pt x="329" y="299"/>
                    </a:lnTo>
                    <a:lnTo>
                      <a:pt x="329" y="300"/>
                    </a:lnTo>
                    <a:lnTo>
                      <a:pt x="330" y="300"/>
                    </a:lnTo>
                    <a:lnTo>
                      <a:pt x="331" y="301"/>
                    </a:lnTo>
                    <a:lnTo>
                      <a:pt x="332" y="301"/>
                    </a:lnTo>
                    <a:lnTo>
                      <a:pt x="333" y="302"/>
                    </a:lnTo>
                    <a:lnTo>
                      <a:pt x="335" y="303"/>
                    </a:lnTo>
                    <a:lnTo>
                      <a:pt x="339" y="308"/>
                    </a:lnTo>
                    <a:lnTo>
                      <a:pt x="340" y="308"/>
                    </a:lnTo>
                    <a:lnTo>
                      <a:pt x="343" y="310"/>
                    </a:lnTo>
                    <a:lnTo>
                      <a:pt x="344" y="311"/>
                    </a:lnTo>
                    <a:lnTo>
                      <a:pt x="345" y="312"/>
                    </a:lnTo>
                    <a:lnTo>
                      <a:pt x="346" y="312"/>
                    </a:lnTo>
                    <a:lnTo>
                      <a:pt x="350" y="315"/>
                    </a:lnTo>
                    <a:lnTo>
                      <a:pt x="350" y="318"/>
                    </a:lnTo>
                    <a:lnTo>
                      <a:pt x="349" y="318"/>
                    </a:lnTo>
                    <a:lnTo>
                      <a:pt x="349" y="319"/>
                    </a:lnTo>
                    <a:lnTo>
                      <a:pt x="349" y="320"/>
                    </a:lnTo>
                    <a:lnTo>
                      <a:pt x="350" y="321"/>
                    </a:lnTo>
                    <a:lnTo>
                      <a:pt x="350" y="320"/>
                    </a:lnTo>
                    <a:lnTo>
                      <a:pt x="351" y="320"/>
                    </a:lnTo>
                    <a:lnTo>
                      <a:pt x="350" y="320"/>
                    </a:lnTo>
                    <a:lnTo>
                      <a:pt x="351" y="319"/>
                    </a:lnTo>
                    <a:lnTo>
                      <a:pt x="352" y="319"/>
                    </a:lnTo>
                    <a:lnTo>
                      <a:pt x="353" y="320"/>
                    </a:lnTo>
                    <a:lnTo>
                      <a:pt x="355" y="320"/>
                    </a:lnTo>
                    <a:lnTo>
                      <a:pt x="356" y="320"/>
                    </a:lnTo>
                    <a:lnTo>
                      <a:pt x="357" y="321"/>
                    </a:lnTo>
                    <a:lnTo>
                      <a:pt x="358" y="321"/>
                    </a:lnTo>
                    <a:lnTo>
                      <a:pt x="376" y="336"/>
                    </a:lnTo>
                    <a:lnTo>
                      <a:pt x="375" y="336"/>
                    </a:lnTo>
                    <a:lnTo>
                      <a:pt x="374" y="336"/>
                    </a:lnTo>
                    <a:lnTo>
                      <a:pt x="373" y="336"/>
                    </a:lnTo>
                    <a:lnTo>
                      <a:pt x="371" y="335"/>
                    </a:lnTo>
                    <a:lnTo>
                      <a:pt x="370" y="335"/>
                    </a:lnTo>
                    <a:lnTo>
                      <a:pt x="370" y="334"/>
                    </a:lnTo>
                    <a:lnTo>
                      <a:pt x="369" y="334"/>
                    </a:lnTo>
                    <a:lnTo>
                      <a:pt x="368" y="333"/>
                    </a:lnTo>
                    <a:lnTo>
                      <a:pt x="368" y="332"/>
                    </a:lnTo>
                    <a:lnTo>
                      <a:pt x="368" y="331"/>
                    </a:lnTo>
                    <a:lnTo>
                      <a:pt x="366" y="329"/>
                    </a:lnTo>
                    <a:lnTo>
                      <a:pt x="366" y="328"/>
                    </a:lnTo>
                    <a:lnTo>
                      <a:pt x="365" y="328"/>
                    </a:lnTo>
                    <a:lnTo>
                      <a:pt x="364" y="327"/>
                    </a:lnTo>
                    <a:lnTo>
                      <a:pt x="362" y="326"/>
                    </a:lnTo>
                    <a:lnTo>
                      <a:pt x="361" y="326"/>
                    </a:lnTo>
                    <a:lnTo>
                      <a:pt x="361" y="325"/>
                    </a:lnTo>
                    <a:lnTo>
                      <a:pt x="360" y="325"/>
                    </a:lnTo>
                    <a:lnTo>
                      <a:pt x="359" y="325"/>
                    </a:lnTo>
                    <a:lnTo>
                      <a:pt x="359" y="324"/>
                    </a:lnTo>
                    <a:lnTo>
                      <a:pt x="358" y="324"/>
                    </a:lnTo>
                    <a:lnTo>
                      <a:pt x="357" y="324"/>
                    </a:lnTo>
                    <a:lnTo>
                      <a:pt x="357" y="323"/>
                    </a:lnTo>
                    <a:lnTo>
                      <a:pt x="356" y="323"/>
                    </a:lnTo>
                    <a:lnTo>
                      <a:pt x="356" y="324"/>
                    </a:lnTo>
                    <a:lnTo>
                      <a:pt x="355" y="324"/>
                    </a:lnTo>
                    <a:lnTo>
                      <a:pt x="355" y="325"/>
                    </a:lnTo>
                    <a:lnTo>
                      <a:pt x="355" y="326"/>
                    </a:lnTo>
                    <a:lnTo>
                      <a:pt x="355" y="327"/>
                    </a:lnTo>
                    <a:lnTo>
                      <a:pt x="355" y="328"/>
                    </a:lnTo>
                    <a:lnTo>
                      <a:pt x="355" y="329"/>
                    </a:lnTo>
                    <a:lnTo>
                      <a:pt x="355" y="331"/>
                    </a:lnTo>
                    <a:lnTo>
                      <a:pt x="355" y="332"/>
                    </a:lnTo>
                    <a:lnTo>
                      <a:pt x="355" y="331"/>
                    </a:lnTo>
                    <a:lnTo>
                      <a:pt x="356" y="331"/>
                    </a:lnTo>
                    <a:lnTo>
                      <a:pt x="356" y="332"/>
                    </a:lnTo>
                    <a:lnTo>
                      <a:pt x="356" y="333"/>
                    </a:lnTo>
                    <a:lnTo>
                      <a:pt x="355" y="333"/>
                    </a:lnTo>
                    <a:lnTo>
                      <a:pt x="355" y="334"/>
                    </a:lnTo>
                    <a:lnTo>
                      <a:pt x="355" y="335"/>
                    </a:lnTo>
                    <a:lnTo>
                      <a:pt x="355" y="336"/>
                    </a:lnTo>
                    <a:lnTo>
                      <a:pt x="356" y="337"/>
                    </a:lnTo>
                    <a:lnTo>
                      <a:pt x="357" y="337"/>
                    </a:lnTo>
                    <a:lnTo>
                      <a:pt x="357" y="338"/>
                    </a:lnTo>
                    <a:lnTo>
                      <a:pt x="358" y="338"/>
                    </a:lnTo>
                    <a:lnTo>
                      <a:pt x="358" y="339"/>
                    </a:lnTo>
                    <a:lnTo>
                      <a:pt x="357" y="339"/>
                    </a:lnTo>
                    <a:lnTo>
                      <a:pt x="358" y="339"/>
                    </a:lnTo>
                    <a:lnTo>
                      <a:pt x="359" y="339"/>
                    </a:lnTo>
                    <a:lnTo>
                      <a:pt x="358" y="340"/>
                    </a:lnTo>
                    <a:lnTo>
                      <a:pt x="358" y="339"/>
                    </a:lnTo>
                    <a:lnTo>
                      <a:pt x="357" y="339"/>
                    </a:lnTo>
                    <a:lnTo>
                      <a:pt x="356" y="339"/>
                    </a:lnTo>
                    <a:lnTo>
                      <a:pt x="356" y="338"/>
                    </a:lnTo>
                    <a:lnTo>
                      <a:pt x="355" y="337"/>
                    </a:lnTo>
                    <a:lnTo>
                      <a:pt x="353" y="337"/>
                    </a:lnTo>
                    <a:lnTo>
                      <a:pt x="353" y="336"/>
                    </a:lnTo>
                    <a:lnTo>
                      <a:pt x="352" y="336"/>
                    </a:lnTo>
                    <a:lnTo>
                      <a:pt x="351" y="336"/>
                    </a:lnTo>
                    <a:lnTo>
                      <a:pt x="350" y="337"/>
                    </a:lnTo>
                    <a:lnTo>
                      <a:pt x="349" y="336"/>
                    </a:lnTo>
                    <a:lnTo>
                      <a:pt x="348" y="336"/>
                    </a:lnTo>
                    <a:lnTo>
                      <a:pt x="348" y="335"/>
                    </a:lnTo>
                    <a:lnTo>
                      <a:pt x="348" y="336"/>
                    </a:lnTo>
                    <a:lnTo>
                      <a:pt x="348" y="335"/>
                    </a:lnTo>
                    <a:lnTo>
                      <a:pt x="347" y="335"/>
                    </a:lnTo>
                    <a:lnTo>
                      <a:pt x="347" y="336"/>
                    </a:lnTo>
                    <a:lnTo>
                      <a:pt x="346" y="336"/>
                    </a:lnTo>
                    <a:lnTo>
                      <a:pt x="346" y="335"/>
                    </a:lnTo>
                    <a:lnTo>
                      <a:pt x="347" y="334"/>
                    </a:lnTo>
                    <a:lnTo>
                      <a:pt x="347" y="333"/>
                    </a:lnTo>
                    <a:lnTo>
                      <a:pt x="346" y="333"/>
                    </a:lnTo>
                    <a:lnTo>
                      <a:pt x="345" y="333"/>
                    </a:lnTo>
                    <a:lnTo>
                      <a:pt x="345" y="334"/>
                    </a:lnTo>
                    <a:lnTo>
                      <a:pt x="345" y="335"/>
                    </a:lnTo>
                    <a:lnTo>
                      <a:pt x="345" y="334"/>
                    </a:lnTo>
                    <a:lnTo>
                      <a:pt x="344" y="334"/>
                    </a:lnTo>
                    <a:lnTo>
                      <a:pt x="343" y="334"/>
                    </a:lnTo>
                    <a:lnTo>
                      <a:pt x="343" y="335"/>
                    </a:lnTo>
                    <a:lnTo>
                      <a:pt x="342" y="335"/>
                    </a:lnTo>
                    <a:lnTo>
                      <a:pt x="340" y="334"/>
                    </a:lnTo>
                    <a:lnTo>
                      <a:pt x="337" y="334"/>
                    </a:lnTo>
                    <a:lnTo>
                      <a:pt x="336" y="334"/>
                    </a:lnTo>
                    <a:lnTo>
                      <a:pt x="335" y="334"/>
                    </a:lnTo>
                    <a:lnTo>
                      <a:pt x="335" y="333"/>
                    </a:lnTo>
                    <a:lnTo>
                      <a:pt x="336" y="333"/>
                    </a:lnTo>
                    <a:lnTo>
                      <a:pt x="337" y="333"/>
                    </a:lnTo>
                    <a:lnTo>
                      <a:pt x="338" y="333"/>
                    </a:lnTo>
                    <a:lnTo>
                      <a:pt x="338" y="334"/>
                    </a:lnTo>
                    <a:lnTo>
                      <a:pt x="339" y="334"/>
                    </a:lnTo>
                    <a:lnTo>
                      <a:pt x="340" y="334"/>
                    </a:lnTo>
                    <a:lnTo>
                      <a:pt x="340" y="333"/>
                    </a:lnTo>
                    <a:lnTo>
                      <a:pt x="340" y="332"/>
                    </a:lnTo>
                    <a:lnTo>
                      <a:pt x="340" y="333"/>
                    </a:lnTo>
                    <a:lnTo>
                      <a:pt x="342" y="332"/>
                    </a:lnTo>
                    <a:lnTo>
                      <a:pt x="342" y="333"/>
                    </a:lnTo>
                    <a:lnTo>
                      <a:pt x="340" y="333"/>
                    </a:lnTo>
                    <a:lnTo>
                      <a:pt x="340" y="334"/>
                    </a:lnTo>
                    <a:lnTo>
                      <a:pt x="342" y="334"/>
                    </a:lnTo>
                    <a:lnTo>
                      <a:pt x="342" y="333"/>
                    </a:lnTo>
                    <a:lnTo>
                      <a:pt x="340" y="333"/>
                    </a:lnTo>
                    <a:lnTo>
                      <a:pt x="342" y="333"/>
                    </a:lnTo>
                    <a:lnTo>
                      <a:pt x="343" y="333"/>
                    </a:lnTo>
                    <a:lnTo>
                      <a:pt x="344" y="333"/>
                    </a:lnTo>
                    <a:lnTo>
                      <a:pt x="343" y="332"/>
                    </a:lnTo>
                    <a:lnTo>
                      <a:pt x="344" y="332"/>
                    </a:lnTo>
                    <a:lnTo>
                      <a:pt x="344" y="331"/>
                    </a:lnTo>
                    <a:lnTo>
                      <a:pt x="343" y="331"/>
                    </a:lnTo>
                    <a:lnTo>
                      <a:pt x="342" y="331"/>
                    </a:lnTo>
                    <a:lnTo>
                      <a:pt x="343" y="331"/>
                    </a:lnTo>
                    <a:lnTo>
                      <a:pt x="343" y="332"/>
                    </a:lnTo>
                    <a:lnTo>
                      <a:pt x="342" y="332"/>
                    </a:lnTo>
                    <a:lnTo>
                      <a:pt x="340" y="332"/>
                    </a:lnTo>
                    <a:lnTo>
                      <a:pt x="340" y="331"/>
                    </a:lnTo>
                    <a:lnTo>
                      <a:pt x="342" y="331"/>
                    </a:lnTo>
                    <a:lnTo>
                      <a:pt x="342" y="329"/>
                    </a:lnTo>
                    <a:lnTo>
                      <a:pt x="340" y="329"/>
                    </a:lnTo>
                    <a:lnTo>
                      <a:pt x="340" y="328"/>
                    </a:lnTo>
                    <a:lnTo>
                      <a:pt x="339" y="328"/>
                    </a:lnTo>
                    <a:lnTo>
                      <a:pt x="338" y="328"/>
                    </a:lnTo>
                    <a:lnTo>
                      <a:pt x="338" y="327"/>
                    </a:lnTo>
                    <a:lnTo>
                      <a:pt x="338" y="326"/>
                    </a:lnTo>
                    <a:lnTo>
                      <a:pt x="338" y="325"/>
                    </a:lnTo>
                    <a:lnTo>
                      <a:pt x="338" y="324"/>
                    </a:lnTo>
                    <a:lnTo>
                      <a:pt x="338" y="323"/>
                    </a:lnTo>
                    <a:lnTo>
                      <a:pt x="337" y="323"/>
                    </a:lnTo>
                    <a:lnTo>
                      <a:pt x="337" y="322"/>
                    </a:lnTo>
                    <a:lnTo>
                      <a:pt x="336" y="322"/>
                    </a:lnTo>
                    <a:lnTo>
                      <a:pt x="335" y="322"/>
                    </a:lnTo>
                    <a:lnTo>
                      <a:pt x="335" y="321"/>
                    </a:lnTo>
                    <a:lnTo>
                      <a:pt x="335" y="322"/>
                    </a:lnTo>
                    <a:lnTo>
                      <a:pt x="334" y="322"/>
                    </a:lnTo>
                    <a:lnTo>
                      <a:pt x="334" y="321"/>
                    </a:lnTo>
                    <a:lnTo>
                      <a:pt x="333" y="321"/>
                    </a:lnTo>
                    <a:lnTo>
                      <a:pt x="334" y="320"/>
                    </a:lnTo>
                    <a:lnTo>
                      <a:pt x="333" y="320"/>
                    </a:lnTo>
                    <a:lnTo>
                      <a:pt x="332" y="320"/>
                    </a:lnTo>
                    <a:lnTo>
                      <a:pt x="332" y="319"/>
                    </a:lnTo>
                    <a:lnTo>
                      <a:pt x="331" y="319"/>
                    </a:lnTo>
                    <a:lnTo>
                      <a:pt x="330" y="318"/>
                    </a:lnTo>
                    <a:lnTo>
                      <a:pt x="329" y="318"/>
                    </a:lnTo>
                    <a:lnTo>
                      <a:pt x="329" y="316"/>
                    </a:lnTo>
                    <a:lnTo>
                      <a:pt x="327" y="316"/>
                    </a:lnTo>
                    <a:lnTo>
                      <a:pt x="327" y="315"/>
                    </a:lnTo>
                    <a:lnTo>
                      <a:pt x="326" y="314"/>
                    </a:lnTo>
                    <a:lnTo>
                      <a:pt x="326" y="313"/>
                    </a:lnTo>
                    <a:lnTo>
                      <a:pt x="326" y="312"/>
                    </a:lnTo>
                    <a:lnTo>
                      <a:pt x="326" y="313"/>
                    </a:lnTo>
                    <a:lnTo>
                      <a:pt x="329" y="312"/>
                    </a:lnTo>
                    <a:lnTo>
                      <a:pt x="329" y="313"/>
                    </a:lnTo>
                    <a:lnTo>
                      <a:pt x="330" y="313"/>
                    </a:lnTo>
                    <a:lnTo>
                      <a:pt x="331" y="313"/>
                    </a:lnTo>
                    <a:lnTo>
                      <a:pt x="332" y="312"/>
                    </a:lnTo>
                    <a:lnTo>
                      <a:pt x="332" y="313"/>
                    </a:lnTo>
                    <a:lnTo>
                      <a:pt x="332" y="312"/>
                    </a:lnTo>
                    <a:lnTo>
                      <a:pt x="332" y="311"/>
                    </a:lnTo>
                    <a:lnTo>
                      <a:pt x="333" y="311"/>
                    </a:lnTo>
                    <a:lnTo>
                      <a:pt x="331" y="310"/>
                    </a:lnTo>
                    <a:lnTo>
                      <a:pt x="332" y="310"/>
                    </a:lnTo>
                    <a:lnTo>
                      <a:pt x="333" y="310"/>
                    </a:lnTo>
                    <a:lnTo>
                      <a:pt x="333" y="309"/>
                    </a:lnTo>
                    <a:lnTo>
                      <a:pt x="333" y="308"/>
                    </a:lnTo>
                    <a:lnTo>
                      <a:pt x="332" y="307"/>
                    </a:lnTo>
                    <a:lnTo>
                      <a:pt x="331" y="305"/>
                    </a:lnTo>
                    <a:lnTo>
                      <a:pt x="330" y="303"/>
                    </a:lnTo>
                    <a:lnTo>
                      <a:pt x="327" y="302"/>
                    </a:lnTo>
                    <a:lnTo>
                      <a:pt x="326" y="301"/>
                    </a:lnTo>
                    <a:lnTo>
                      <a:pt x="325" y="301"/>
                    </a:lnTo>
                    <a:lnTo>
                      <a:pt x="324" y="301"/>
                    </a:lnTo>
                    <a:lnTo>
                      <a:pt x="323" y="301"/>
                    </a:lnTo>
                    <a:lnTo>
                      <a:pt x="322" y="301"/>
                    </a:lnTo>
                    <a:lnTo>
                      <a:pt x="322" y="300"/>
                    </a:lnTo>
                    <a:lnTo>
                      <a:pt x="321" y="300"/>
                    </a:lnTo>
                    <a:lnTo>
                      <a:pt x="320" y="300"/>
                    </a:lnTo>
                    <a:lnTo>
                      <a:pt x="319" y="300"/>
                    </a:lnTo>
                    <a:lnTo>
                      <a:pt x="319" y="299"/>
                    </a:lnTo>
                    <a:lnTo>
                      <a:pt x="318" y="299"/>
                    </a:lnTo>
                    <a:lnTo>
                      <a:pt x="318" y="298"/>
                    </a:lnTo>
                    <a:lnTo>
                      <a:pt x="318" y="299"/>
                    </a:lnTo>
                    <a:lnTo>
                      <a:pt x="318" y="300"/>
                    </a:lnTo>
                    <a:lnTo>
                      <a:pt x="319" y="301"/>
                    </a:lnTo>
                    <a:lnTo>
                      <a:pt x="318" y="300"/>
                    </a:lnTo>
                    <a:lnTo>
                      <a:pt x="316" y="298"/>
                    </a:lnTo>
                    <a:lnTo>
                      <a:pt x="316" y="297"/>
                    </a:lnTo>
                    <a:lnTo>
                      <a:pt x="316" y="296"/>
                    </a:lnTo>
                    <a:lnTo>
                      <a:pt x="316" y="295"/>
                    </a:lnTo>
                    <a:lnTo>
                      <a:pt x="316" y="296"/>
                    </a:lnTo>
                    <a:lnTo>
                      <a:pt x="314" y="297"/>
                    </a:lnTo>
                    <a:lnTo>
                      <a:pt x="314" y="298"/>
                    </a:lnTo>
                    <a:lnTo>
                      <a:pt x="316" y="298"/>
                    </a:lnTo>
                    <a:lnTo>
                      <a:pt x="318" y="301"/>
                    </a:lnTo>
                    <a:lnTo>
                      <a:pt x="318" y="300"/>
                    </a:lnTo>
                    <a:lnTo>
                      <a:pt x="317" y="300"/>
                    </a:lnTo>
                    <a:lnTo>
                      <a:pt x="317" y="301"/>
                    </a:lnTo>
                    <a:lnTo>
                      <a:pt x="318" y="301"/>
                    </a:lnTo>
                    <a:lnTo>
                      <a:pt x="318" y="302"/>
                    </a:lnTo>
                    <a:lnTo>
                      <a:pt x="318" y="303"/>
                    </a:lnTo>
                    <a:lnTo>
                      <a:pt x="317" y="303"/>
                    </a:lnTo>
                    <a:lnTo>
                      <a:pt x="318" y="303"/>
                    </a:lnTo>
                    <a:lnTo>
                      <a:pt x="318" y="305"/>
                    </a:lnTo>
                    <a:lnTo>
                      <a:pt x="317" y="303"/>
                    </a:lnTo>
                    <a:lnTo>
                      <a:pt x="316" y="303"/>
                    </a:lnTo>
                    <a:lnTo>
                      <a:pt x="314" y="303"/>
                    </a:lnTo>
                    <a:lnTo>
                      <a:pt x="313" y="305"/>
                    </a:lnTo>
                    <a:lnTo>
                      <a:pt x="313" y="303"/>
                    </a:lnTo>
                    <a:lnTo>
                      <a:pt x="313" y="305"/>
                    </a:lnTo>
                    <a:lnTo>
                      <a:pt x="313" y="303"/>
                    </a:lnTo>
                    <a:lnTo>
                      <a:pt x="313" y="302"/>
                    </a:lnTo>
                    <a:lnTo>
                      <a:pt x="312" y="302"/>
                    </a:lnTo>
                    <a:lnTo>
                      <a:pt x="312" y="301"/>
                    </a:lnTo>
                    <a:lnTo>
                      <a:pt x="311" y="301"/>
                    </a:lnTo>
                    <a:lnTo>
                      <a:pt x="310" y="301"/>
                    </a:lnTo>
                    <a:lnTo>
                      <a:pt x="310" y="300"/>
                    </a:lnTo>
                    <a:lnTo>
                      <a:pt x="309" y="300"/>
                    </a:lnTo>
                    <a:lnTo>
                      <a:pt x="308" y="300"/>
                    </a:lnTo>
                    <a:lnTo>
                      <a:pt x="307" y="300"/>
                    </a:lnTo>
                    <a:lnTo>
                      <a:pt x="307" y="299"/>
                    </a:lnTo>
                    <a:lnTo>
                      <a:pt x="306" y="299"/>
                    </a:lnTo>
                    <a:lnTo>
                      <a:pt x="306" y="298"/>
                    </a:lnTo>
                    <a:lnTo>
                      <a:pt x="305" y="298"/>
                    </a:lnTo>
                    <a:lnTo>
                      <a:pt x="304" y="298"/>
                    </a:lnTo>
                    <a:lnTo>
                      <a:pt x="303" y="298"/>
                    </a:lnTo>
                    <a:lnTo>
                      <a:pt x="303" y="297"/>
                    </a:lnTo>
                    <a:lnTo>
                      <a:pt x="301" y="297"/>
                    </a:lnTo>
                    <a:lnTo>
                      <a:pt x="300" y="297"/>
                    </a:lnTo>
                    <a:lnTo>
                      <a:pt x="300" y="296"/>
                    </a:lnTo>
                    <a:lnTo>
                      <a:pt x="298" y="294"/>
                    </a:lnTo>
                    <a:lnTo>
                      <a:pt x="297" y="294"/>
                    </a:lnTo>
                    <a:lnTo>
                      <a:pt x="296" y="294"/>
                    </a:lnTo>
                    <a:lnTo>
                      <a:pt x="296" y="293"/>
                    </a:lnTo>
                    <a:lnTo>
                      <a:pt x="295" y="293"/>
                    </a:lnTo>
                    <a:lnTo>
                      <a:pt x="294" y="293"/>
                    </a:lnTo>
                    <a:lnTo>
                      <a:pt x="293" y="293"/>
                    </a:lnTo>
                    <a:lnTo>
                      <a:pt x="292" y="293"/>
                    </a:lnTo>
                    <a:lnTo>
                      <a:pt x="291" y="293"/>
                    </a:lnTo>
                    <a:lnTo>
                      <a:pt x="291" y="292"/>
                    </a:lnTo>
                    <a:lnTo>
                      <a:pt x="291" y="293"/>
                    </a:lnTo>
                    <a:lnTo>
                      <a:pt x="290" y="293"/>
                    </a:lnTo>
                    <a:lnTo>
                      <a:pt x="290" y="294"/>
                    </a:lnTo>
                    <a:lnTo>
                      <a:pt x="288" y="294"/>
                    </a:lnTo>
                    <a:lnTo>
                      <a:pt x="288" y="293"/>
                    </a:lnTo>
                    <a:lnTo>
                      <a:pt x="288" y="294"/>
                    </a:lnTo>
                    <a:lnTo>
                      <a:pt x="287" y="294"/>
                    </a:lnTo>
                    <a:lnTo>
                      <a:pt x="286" y="294"/>
                    </a:lnTo>
                    <a:lnTo>
                      <a:pt x="285" y="294"/>
                    </a:lnTo>
                    <a:lnTo>
                      <a:pt x="284" y="295"/>
                    </a:lnTo>
                    <a:lnTo>
                      <a:pt x="283" y="295"/>
                    </a:lnTo>
                    <a:lnTo>
                      <a:pt x="282" y="295"/>
                    </a:lnTo>
                    <a:lnTo>
                      <a:pt x="283" y="296"/>
                    </a:lnTo>
                    <a:lnTo>
                      <a:pt x="282" y="296"/>
                    </a:lnTo>
                    <a:lnTo>
                      <a:pt x="281" y="296"/>
                    </a:lnTo>
                    <a:lnTo>
                      <a:pt x="280" y="297"/>
                    </a:lnTo>
                    <a:lnTo>
                      <a:pt x="279" y="297"/>
                    </a:lnTo>
                    <a:lnTo>
                      <a:pt x="278" y="298"/>
                    </a:lnTo>
                    <a:lnTo>
                      <a:pt x="277" y="298"/>
                    </a:lnTo>
                    <a:lnTo>
                      <a:pt x="277" y="297"/>
                    </a:lnTo>
                    <a:lnTo>
                      <a:pt x="277" y="296"/>
                    </a:lnTo>
                    <a:lnTo>
                      <a:pt x="275" y="296"/>
                    </a:lnTo>
                    <a:lnTo>
                      <a:pt x="275" y="295"/>
                    </a:lnTo>
                    <a:lnTo>
                      <a:pt x="274" y="295"/>
                    </a:lnTo>
                    <a:lnTo>
                      <a:pt x="273" y="295"/>
                    </a:lnTo>
                    <a:lnTo>
                      <a:pt x="274" y="294"/>
                    </a:lnTo>
                    <a:lnTo>
                      <a:pt x="273" y="294"/>
                    </a:lnTo>
                    <a:lnTo>
                      <a:pt x="273" y="293"/>
                    </a:lnTo>
                    <a:lnTo>
                      <a:pt x="272" y="293"/>
                    </a:lnTo>
                    <a:lnTo>
                      <a:pt x="272" y="292"/>
                    </a:lnTo>
                    <a:lnTo>
                      <a:pt x="271" y="290"/>
                    </a:lnTo>
                    <a:lnTo>
                      <a:pt x="270" y="290"/>
                    </a:lnTo>
                    <a:lnTo>
                      <a:pt x="270" y="289"/>
                    </a:lnTo>
                    <a:lnTo>
                      <a:pt x="269" y="289"/>
                    </a:lnTo>
                    <a:lnTo>
                      <a:pt x="269" y="288"/>
                    </a:lnTo>
                    <a:lnTo>
                      <a:pt x="268" y="288"/>
                    </a:lnTo>
                    <a:lnTo>
                      <a:pt x="268" y="286"/>
                    </a:lnTo>
                    <a:lnTo>
                      <a:pt x="267" y="285"/>
                    </a:lnTo>
                    <a:lnTo>
                      <a:pt x="266" y="285"/>
                    </a:lnTo>
                    <a:lnTo>
                      <a:pt x="265" y="285"/>
                    </a:lnTo>
                    <a:lnTo>
                      <a:pt x="265" y="284"/>
                    </a:lnTo>
                    <a:lnTo>
                      <a:pt x="264" y="284"/>
                    </a:lnTo>
                    <a:lnTo>
                      <a:pt x="262" y="284"/>
                    </a:lnTo>
                    <a:lnTo>
                      <a:pt x="262" y="285"/>
                    </a:lnTo>
                    <a:lnTo>
                      <a:pt x="261" y="285"/>
                    </a:lnTo>
                    <a:lnTo>
                      <a:pt x="261" y="284"/>
                    </a:lnTo>
                    <a:lnTo>
                      <a:pt x="261" y="285"/>
                    </a:lnTo>
                    <a:lnTo>
                      <a:pt x="261" y="286"/>
                    </a:lnTo>
                    <a:lnTo>
                      <a:pt x="262" y="286"/>
                    </a:lnTo>
                    <a:lnTo>
                      <a:pt x="261" y="287"/>
                    </a:lnTo>
                    <a:lnTo>
                      <a:pt x="260" y="288"/>
                    </a:lnTo>
                    <a:lnTo>
                      <a:pt x="260" y="289"/>
                    </a:lnTo>
                    <a:lnTo>
                      <a:pt x="261" y="289"/>
                    </a:lnTo>
                    <a:lnTo>
                      <a:pt x="262" y="288"/>
                    </a:lnTo>
                    <a:lnTo>
                      <a:pt x="262" y="289"/>
                    </a:lnTo>
                    <a:lnTo>
                      <a:pt x="261" y="289"/>
                    </a:lnTo>
                    <a:lnTo>
                      <a:pt x="260" y="289"/>
                    </a:lnTo>
                    <a:lnTo>
                      <a:pt x="259" y="289"/>
                    </a:lnTo>
                    <a:lnTo>
                      <a:pt x="258" y="289"/>
                    </a:lnTo>
                    <a:lnTo>
                      <a:pt x="258" y="290"/>
                    </a:lnTo>
                    <a:lnTo>
                      <a:pt x="257" y="290"/>
                    </a:lnTo>
                    <a:lnTo>
                      <a:pt x="257" y="289"/>
                    </a:lnTo>
                    <a:lnTo>
                      <a:pt x="256" y="289"/>
                    </a:lnTo>
                    <a:lnTo>
                      <a:pt x="255" y="289"/>
                    </a:lnTo>
                    <a:lnTo>
                      <a:pt x="254" y="289"/>
                    </a:lnTo>
                    <a:lnTo>
                      <a:pt x="253" y="289"/>
                    </a:lnTo>
                    <a:lnTo>
                      <a:pt x="253" y="290"/>
                    </a:lnTo>
                    <a:lnTo>
                      <a:pt x="252" y="290"/>
                    </a:lnTo>
                    <a:lnTo>
                      <a:pt x="252" y="292"/>
                    </a:lnTo>
                    <a:lnTo>
                      <a:pt x="251" y="293"/>
                    </a:lnTo>
                    <a:lnTo>
                      <a:pt x="251" y="294"/>
                    </a:lnTo>
                    <a:lnTo>
                      <a:pt x="251" y="295"/>
                    </a:lnTo>
                    <a:lnTo>
                      <a:pt x="251" y="296"/>
                    </a:lnTo>
                    <a:lnTo>
                      <a:pt x="251" y="297"/>
                    </a:lnTo>
                    <a:lnTo>
                      <a:pt x="251" y="298"/>
                    </a:lnTo>
                    <a:lnTo>
                      <a:pt x="252" y="298"/>
                    </a:lnTo>
                    <a:lnTo>
                      <a:pt x="251" y="298"/>
                    </a:lnTo>
                    <a:lnTo>
                      <a:pt x="251" y="299"/>
                    </a:lnTo>
                    <a:lnTo>
                      <a:pt x="249" y="299"/>
                    </a:lnTo>
                    <a:lnTo>
                      <a:pt x="249" y="300"/>
                    </a:lnTo>
                    <a:lnTo>
                      <a:pt x="248" y="301"/>
                    </a:lnTo>
                    <a:lnTo>
                      <a:pt x="248" y="302"/>
                    </a:lnTo>
                    <a:lnTo>
                      <a:pt x="247" y="301"/>
                    </a:lnTo>
                    <a:lnTo>
                      <a:pt x="247" y="300"/>
                    </a:lnTo>
                    <a:lnTo>
                      <a:pt x="248" y="300"/>
                    </a:lnTo>
                    <a:lnTo>
                      <a:pt x="247" y="298"/>
                    </a:lnTo>
                    <a:lnTo>
                      <a:pt x="247" y="296"/>
                    </a:lnTo>
                    <a:lnTo>
                      <a:pt x="247" y="295"/>
                    </a:lnTo>
                    <a:lnTo>
                      <a:pt x="246" y="294"/>
                    </a:lnTo>
                    <a:lnTo>
                      <a:pt x="245" y="293"/>
                    </a:lnTo>
                    <a:lnTo>
                      <a:pt x="245" y="292"/>
                    </a:lnTo>
                    <a:lnTo>
                      <a:pt x="244" y="290"/>
                    </a:lnTo>
                    <a:lnTo>
                      <a:pt x="244" y="289"/>
                    </a:lnTo>
                    <a:lnTo>
                      <a:pt x="243" y="289"/>
                    </a:lnTo>
                    <a:lnTo>
                      <a:pt x="243" y="288"/>
                    </a:lnTo>
                    <a:lnTo>
                      <a:pt x="243" y="287"/>
                    </a:lnTo>
                    <a:lnTo>
                      <a:pt x="243" y="286"/>
                    </a:lnTo>
                    <a:lnTo>
                      <a:pt x="242" y="286"/>
                    </a:lnTo>
                    <a:lnTo>
                      <a:pt x="241" y="286"/>
                    </a:lnTo>
                    <a:lnTo>
                      <a:pt x="241" y="287"/>
                    </a:lnTo>
                    <a:lnTo>
                      <a:pt x="241" y="288"/>
                    </a:lnTo>
                    <a:lnTo>
                      <a:pt x="240" y="287"/>
                    </a:lnTo>
                    <a:lnTo>
                      <a:pt x="239" y="287"/>
                    </a:lnTo>
                    <a:lnTo>
                      <a:pt x="238" y="287"/>
                    </a:lnTo>
                    <a:lnTo>
                      <a:pt x="236" y="286"/>
                    </a:lnTo>
                    <a:lnTo>
                      <a:pt x="235" y="286"/>
                    </a:lnTo>
                    <a:lnTo>
                      <a:pt x="234" y="285"/>
                    </a:lnTo>
                    <a:lnTo>
                      <a:pt x="234" y="284"/>
                    </a:lnTo>
                    <a:lnTo>
                      <a:pt x="233" y="283"/>
                    </a:lnTo>
                    <a:lnTo>
                      <a:pt x="233" y="282"/>
                    </a:lnTo>
                    <a:lnTo>
                      <a:pt x="233" y="281"/>
                    </a:lnTo>
                    <a:lnTo>
                      <a:pt x="232" y="281"/>
                    </a:lnTo>
                    <a:lnTo>
                      <a:pt x="231" y="282"/>
                    </a:lnTo>
                    <a:lnTo>
                      <a:pt x="231" y="283"/>
                    </a:lnTo>
                    <a:lnTo>
                      <a:pt x="231" y="284"/>
                    </a:lnTo>
                    <a:lnTo>
                      <a:pt x="230" y="283"/>
                    </a:lnTo>
                    <a:lnTo>
                      <a:pt x="230" y="284"/>
                    </a:lnTo>
                    <a:lnTo>
                      <a:pt x="230" y="285"/>
                    </a:lnTo>
                    <a:lnTo>
                      <a:pt x="227" y="285"/>
                    </a:lnTo>
                    <a:lnTo>
                      <a:pt x="226" y="286"/>
                    </a:lnTo>
                    <a:lnTo>
                      <a:pt x="226" y="287"/>
                    </a:lnTo>
                    <a:lnTo>
                      <a:pt x="224" y="287"/>
                    </a:lnTo>
                    <a:lnTo>
                      <a:pt x="224" y="288"/>
                    </a:lnTo>
                    <a:lnTo>
                      <a:pt x="223" y="287"/>
                    </a:lnTo>
                    <a:lnTo>
                      <a:pt x="222" y="287"/>
                    </a:lnTo>
                    <a:lnTo>
                      <a:pt x="221" y="288"/>
                    </a:lnTo>
                    <a:lnTo>
                      <a:pt x="220" y="289"/>
                    </a:lnTo>
                    <a:lnTo>
                      <a:pt x="220" y="290"/>
                    </a:lnTo>
                    <a:lnTo>
                      <a:pt x="220" y="293"/>
                    </a:lnTo>
                    <a:lnTo>
                      <a:pt x="220" y="294"/>
                    </a:lnTo>
                    <a:lnTo>
                      <a:pt x="221" y="295"/>
                    </a:lnTo>
                    <a:lnTo>
                      <a:pt x="221" y="296"/>
                    </a:lnTo>
                    <a:lnTo>
                      <a:pt x="220" y="296"/>
                    </a:lnTo>
                    <a:lnTo>
                      <a:pt x="220" y="297"/>
                    </a:lnTo>
                    <a:lnTo>
                      <a:pt x="219" y="297"/>
                    </a:lnTo>
                    <a:lnTo>
                      <a:pt x="220" y="298"/>
                    </a:lnTo>
                    <a:lnTo>
                      <a:pt x="221" y="299"/>
                    </a:lnTo>
                    <a:lnTo>
                      <a:pt x="222" y="299"/>
                    </a:lnTo>
                    <a:lnTo>
                      <a:pt x="222" y="300"/>
                    </a:lnTo>
                    <a:lnTo>
                      <a:pt x="223" y="301"/>
                    </a:lnTo>
                    <a:lnTo>
                      <a:pt x="224" y="301"/>
                    </a:lnTo>
                    <a:lnTo>
                      <a:pt x="223" y="301"/>
                    </a:lnTo>
                    <a:lnTo>
                      <a:pt x="222" y="302"/>
                    </a:lnTo>
                    <a:lnTo>
                      <a:pt x="222" y="303"/>
                    </a:lnTo>
                    <a:lnTo>
                      <a:pt x="221" y="305"/>
                    </a:lnTo>
                    <a:lnTo>
                      <a:pt x="221" y="306"/>
                    </a:lnTo>
                    <a:lnTo>
                      <a:pt x="221" y="305"/>
                    </a:lnTo>
                    <a:lnTo>
                      <a:pt x="220" y="305"/>
                    </a:lnTo>
                    <a:lnTo>
                      <a:pt x="218" y="305"/>
                    </a:lnTo>
                    <a:lnTo>
                      <a:pt x="218" y="306"/>
                    </a:lnTo>
                    <a:lnTo>
                      <a:pt x="217" y="305"/>
                    </a:lnTo>
                    <a:lnTo>
                      <a:pt x="217" y="306"/>
                    </a:lnTo>
                    <a:lnTo>
                      <a:pt x="218" y="307"/>
                    </a:lnTo>
                    <a:lnTo>
                      <a:pt x="219" y="307"/>
                    </a:lnTo>
                    <a:lnTo>
                      <a:pt x="220" y="307"/>
                    </a:lnTo>
                    <a:lnTo>
                      <a:pt x="221" y="307"/>
                    </a:lnTo>
                    <a:lnTo>
                      <a:pt x="222" y="307"/>
                    </a:lnTo>
                    <a:lnTo>
                      <a:pt x="222" y="308"/>
                    </a:lnTo>
                    <a:lnTo>
                      <a:pt x="222" y="309"/>
                    </a:lnTo>
                    <a:lnTo>
                      <a:pt x="223" y="310"/>
                    </a:lnTo>
                    <a:lnTo>
                      <a:pt x="222" y="311"/>
                    </a:lnTo>
                    <a:lnTo>
                      <a:pt x="221" y="312"/>
                    </a:lnTo>
                    <a:lnTo>
                      <a:pt x="222" y="314"/>
                    </a:lnTo>
                    <a:lnTo>
                      <a:pt x="223" y="316"/>
                    </a:lnTo>
                    <a:lnTo>
                      <a:pt x="224" y="318"/>
                    </a:lnTo>
                    <a:lnTo>
                      <a:pt x="227" y="318"/>
                    </a:lnTo>
                    <a:lnTo>
                      <a:pt x="229" y="319"/>
                    </a:lnTo>
                    <a:lnTo>
                      <a:pt x="229" y="320"/>
                    </a:lnTo>
                    <a:lnTo>
                      <a:pt x="231" y="320"/>
                    </a:lnTo>
                    <a:lnTo>
                      <a:pt x="232" y="320"/>
                    </a:lnTo>
                    <a:lnTo>
                      <a:pt x="233" y="320"/>
                    </a:lnTo>
                    <a:lnTo>
                      <a:pt x="234" y="320"/>
                    </a:lnTo>
                    <a:lnTo>
                      <a:pt x="235" y="319"/>
                    </a:lnTo>
                    <a:lnTo>
                      <a:pt x="234" y="315"/>
                    </a:lnTo>
                    <a:lnTo>
                      <a:pt x="235" y="316"/>
                    </a:lnTo>
                    <a:lnTo>
                      <a:pt x="236" y="316"/>
                    </a:lnTo>
                    <a:lnTo>
                      <a:pt x="235" y="318"/>
                    </a:lnTo>
                    <a:lnTo>
                      <a:pt x="236" y="319"/>
                    </a:lnTo>
                    <a:lnTo>
                      <a:pt x="238" y="319"/>
                    </a:lnTo>
                    <a:lnTo>
                      <a:pt x="236" y="319"/>
                    </a:lnTo>
                    <a:lnTo>
                      <a:pt x="236" y="320"/>
                    </a:lnTo>
                    <a:lnTo>
                      <a:pt x="238" y="320"/>
                    </a:lnTo>
                    <a:lnTo>
                      <a:pt x="238" y="321"/>
                    </a:lnTo>
                    <a:lnTo>
                      <a:pt x="238" y="322"/>
                    </a:lnTo>
                    <a:lnTo>
                      <a:pt x="239" y="323"/>
                    </a:lnTo>
                    <a:lnTo>
                      <a:pt x="240" y="324"/>
                    </a:lnTo>
                    <a:lnTo>
                      <a:pt x="241" y="324"/>
                    </a:lnTo>
                    <a:lnTo>
                      <a:pt x="242" y="324"/>
                    </a:lnTo>
                    <a:lnTo>
                      <a:pt x="245" y="323"/>
                    </a:lnTo>
                    <a:lnTo>
                      <a:pt x="245" y="322"/>
                    </a:lnTo>
                    <a:lnTo>
                      <a:pt x="246" y="322"/>
                    </a:lnTo>
                    <a:lnTo>
                      <a:pt x="246" y="321"/>
                    </a:lnTo>
                    <a:lnTo>
                      <a:pt x="247" y="321"/>
                    </a:lnTo>
                    <a:lnTo>
                      <a:pt x="247" y="322"/>
                    </a:lnTo>
                    <a:lnTo>
                      <a:pt x="247" y="323"/>
                    </a:lnTo>
                    <a:lnTo>
                      <a:pt x="248" y="322"/>
                    </a:lnTo>
                    <a:lnTo>
                      <a:pt x="248" y="323"/>
                    </a:lnTo>
                    <a:lnTo>
                      <a:pt x="249" y="323"/>
                    </a:lnTo>
                    <a:lnTo>
                      <a:pt x="251" y="323"/>
                    </a:lnTo>
                    <a:lnTo>
                      <a:pt x="252" y="323"/>
                    </a:lnTo>
                    <a:lnTo>
                      <a:pt x="252" y="322"/>
                    </a:lnTo>
                    <a:lnTo>
                      <a:pt x="253" y="323"/>
                    </a:lnTo>
                    <a:lnTo>
                      <a:pt x="253" y="322"/>
                    </a:lnTo>
                    <a:lnTo>
                      <a:pt x="254" y="322"/>
                    </a:lnTo>
                    <a:lnTo>
                      <a:pt x="254" y="321"/>
                    </a:lnTo>
                    <a:lnTo>
                      <a:pt x="255" y="321"/>
                    </a:lnTo>
                    <a:lnTo>
                      <a:pt x="255" y="322"/>
                    </a:lnTo>
                    <a:lnTo>
                      <a:pt x="256" y="322"/>
                    </a:lnTo>
                    <a:lnTo>
                      <a:pt x="257" y="323"/>
                    </a:lnTo>
                    <a:lnTo>
                      <a:pt x="256" y="323"/>
                    </a:lnTo>
                    <a:lnTo>
                      <a:pt x="255" y="324"/>
                    </a:lnTo>
                    <a:lnTo>
                      <a:pt x="256" y="325"/>
                    </a:lnTo>
                    <a:lnTo>
                      <a:pt x="255" y="326"/>
                    </a:lnTo>
                    <a:lnTo>
                      <a:pt x="254" y="327"/>
                    </a:lnTo>
                    <a:lnTo>
                      <a:pt x="253" y="327"/>
                    </a:lnTo>
                    <a:lnTo>
                      <a:pt x="252" y="327"/>
                    </a:lnTo>
                    <a:lnTo>
                      <a:pt x="252" y="326"/>
                    </a:lnTo>
                    <a:lnTo>
                      <a:pt x="251" y="326"/>
                    </a:lnTo>
                    <a:lnTo>
                      <a:pt x="252" y="325"/>
                    </a:lnTo>
                    <a:lnTo>
                      <a:pt x="252" y="326"/>
                    </a:lnTo>
                    <a:lnTo>
                      <a:pt x="253" y="326"/>
                    </a:lnTo>
                    <a:lnTo>
                      <a:pt x="253" y="327"/>
                    </a:lnTo>
                    <a:lnTo>
                      <a:pt x="253" y="326"/>
                    </a:lnTo>
                    <a:lnTo>
                      <a:pt x="254" y="326"/>
                    </a:lnTo>
                    <a:lnTo>
                      <a:pt x="253" y="326"/>
                    </a:lnTo>
                    <a:lnTo>
                      <a:pt x="253" y="325"/>
                    </a:lnTo>
                    <a:lnTo>
                      <a:pt x="253" y="324"/>
                    </a:lnTo>
                    <a:lnTo>
                      <a:pt x="252" y="324"/>
                    </a:lnTo>
                    <a:lnTo>
                      <a:pt x="252" y="325"/>
                    </a:lnTo>
                    <a:lnTo>
                      <a:pt x="253" y="325"/>
                    </a:lnTo>
                    <a:lnTo>
                      <a:pt x="252" y="325"/>
                    </a:lnTo>
                    <a:lnTo>
                      <a:pt x="252" y="324"/>
                    </a:lnTo>
                    <a:lnTo>
                      <a:pt x="251" y="325"/>
                    </a:lnTo>
                    <a:lnTo>
                      <a:pt x="249" y="325"/>
                    </a:lnTo>
                    <a:lnTo>
                      <a:pt x="249" y="326"/>
                    </a:lnTo>
                    <a:lnTo>
                      <a:pt x="251" y="326"/>
                    </a:lnTo>
                    <a:lnTo>
                      <a:pt x="249" y="326"/>
                    </a:lnTo>
                    <a:lnTo>
                      <a:pt x="251" y="326"/>
                    </a:lnTo>
                    <a:lnTo>
                      <a:pt x="251" y="327"/>
                    </a:lnTo>
                    <a:lnTo>
                      <a:pt x="251" y="326"/>
                    </a:lnTo>
                    <a:lnTo>
                      <a:pt x="251" y="327"/>
                    </a:lnTo>
                    <a:lnTo>
                      <a:pt x="252" y="327"/>
                    </a:lnTo>
                    <a:lnTo>
                      <a:pt x="252" y="328"/>
                    </a:lnTo>
                    <a:lnTo>
                      <a:pt x="251" y="328"/>
                    </a:lnTo>
                    <a:lnTo>
                      <a:pt x="251" y="327"/>
                    </a:lnTo>
                    <a:lnTo>
                      <a:pt x="249" y="327"/>
                    </a:lnTo>
                    <a:lnTo>
                      <a:pt x="248" y="327"/>
                    </a:lnTo>
                    <a:lnTo>
                      <a:pt x="248" y="326"/>
                    </a:lnTo>
                    <a:lnTo>
                      <a:pt x="249" y="326"/>
                    </a:lnTo>
                    <a:lnTo>
                      <a:pt x="248" y="326"/>
                    </a:lnTo>
                    <a:lnTo>
                      <a:pt x="248" y="325"/>
                    </a:lnTo>
                    <a:lnTo>
                      <a:pt x="247" y="325"/>
                    </a:lnTo>
                    <a:lnTo>
                      <a:pt x="247" y="326"/>
                    </a:lnTo>
                    <a:lnTo>
                      <a:pt x="246" y="326"/>
                    </a:lnTo>
                    <a:lnTo>
                      <a:pt x="246" y="327"/>
                    </a:lnTo>
                    <a:lnTo>
                      <a:pt x="245" y="327"/>
                    </a:lnTo>
                    <a:lnTo>
                      <a:pt x="245" y="328"/>
                    </a:lnTo>
                    <a:lnTo>
                      <a:pt x="245" y="329"/>
                    </a:lnTo>
                    <a:lnTo>
                      <a:pt x="246" y="329"/>
                    </a:lnTo>
                    <a:lnTo>
                      <a:pt x="245" y="329"/>
                    </a:lnTo>
                    <a:lnTo>
                      <a:pt x="245" y="331"/>
                    </a:lnTo>
                    <a:lnTo>
                      <a:pt x="245" y="329"/>
                    </a:lnTo>
                    <a:lnTo>
                      <a:pt x="244" y="329"/>
                    </a:lnTo>
                    <a:lnTo>
                      <a:pt x="244" y="331"/>
                    </a:lnTo>
                    <a:lnTo>
                      <a:pt x="245" y="331"/>
                    </a:lnTo>
                    <a:lnTo>
                      <a:pt x="246" y="331"/>
                    </a:lnTo>
                    <a:lnTo>
                      <a:pt x="246" y="332"/>
                    </a:lnTo>
                    <a:lnTo>
                      <a:pt x="247" y="332"/>
                    </a:lnTo>
                    <a:lnTo>
                      <a:pt x="247" y="331"/>
                    </a:lnTo>
                    <a:lnTo>
                      <a:pt x="246" y="331"/>
                    </a:lnTo>
                    <a:lnTo>
                      <a:pt x="245" y="331"/>
                    </a:lnTo>
                    <a:lnTo>
                      <a:pt x="245" y="329"/>
                    </a:lnTo>
                    <a:lnTo>
                      <a:pt x="246" y="329"/>
                    </a:lnTo>
                    <a:lnTo>
                      <a:pt x="246" y="331"/>
                    </a:lnTo>
                    <a:lnTo>
                      <a:pt x="247" y="331"/>
                    </a:lnTo>
                    <a:lnTo>
                      <a:pt x="248" y="331"/>
                    </a:lnTo>
                    <a:lnTo>
                      <a:pt x="247" y="331"/>
                    </a:lnTo>
                    <a:lnTo>
                      <a:pt x="247" y="329"/>
                    </a:lnTo>
                    <a:lnTo>
                      <a:pt x="248" y="329"/>
                    </a:lnTo>
                    <a:lnTo>
                      <a:pt x="249" y="329"/>
                    </a:lnTo>
                    <a:lnTo>
                      <a:pt x="251" y="328"/>
                    </a:lnTo>
                    <a:lnTo>
                      <a:pt x="252" y="328"/>
                    </a:lnTo>
                    <a:lnTo>
                      <a:pt x="251" y="329"/>
                    </a:lnTo>
                    <a:lnTo>
                      <a:pt x="252" y="329"/>
                    </a:lnTo>
                    <a:lnTo>
                      <a:pt x="252" y="331"/>
                    </a:lnTo>
                    <a:lnTo>
                      <a:pt x="252" y="332"/>
                    </a:lnTo>
                    <a:lnTo>
                      <a:pt x="252" y="333"/>
                    </a:lnTo>
                    <a:lnTo>
                      <a:pt x="251" y="333"/>
                    </a:lnTo>
                    <a:lnTo>
                      <a:pt x="252" y="333"/>
                    </a:lnTo>
                    <a:lnTo>
                      <a:pt x="252" y="334"/>
                    </a:lnTo>
                    <a:lnTo>
                      <a:pt x="253" y="334"/>
                    </a:lnTo>
                    <a:lnTo>
                      <a:pt x="253" y="335"/>
                    </a:lnTo>
                    <a:lnTo>
                      <a:pt x="252" y="335"/>
                    </a:lnTo>
                    <a:lnTo>
                      <a:pt x="251" y="335"/>
                    </a:lnTo>
                    <a:lnTo>
                      <a:pt x="249" y="335"/>
                    </a:lnTo>
                    <a:lnTo>
                      <a:pt x="248" y="335"/>
                    </a:lnTo>
                    <a:lnTo>
                      <a:pt x="247" y="335"/>
                    </a:lnTo>
                    <a:lnTo>
                      <a:pt x="246" y="334"/>
                    </a:lnTo>
                    <a:lnTo>
                      <a:pt x="245" y="333"/>
                    </a:lnTo>
                    <a:lnTo>
                      <a:pt x="245" y="332"/>
                    </a:lnTo>
                    <a:lnTo>
                      <a:pt x="244" y="332"/>
                    </a:lnTo>
                    <a:lnTo>
                      <a:pt x="243" y="332"/>
                    </a:lnTo>
                    <a:lnTo>
                      <a:pt x="243" y="333"/>
                    </a:lnTo>
                    <a:lnTo>
                      <a:pt x="243" y="334"/>
                    </a:lnTo>
                    <a:lnTo>
                      <a:pt x="242" y="335"/>
                    </a:lnTo>
                    <a:lnTo>
                      <a:pt x="241" y="335"/>
                    </a:lnTo>
                    <a:lnTo>
                      <a:pt x="240" y="335"/>
                    </a:lnTo>
                    <a:lnTo>
                      <a:pt x="239" y="334"/>
                    </a:lnTo>
                    <a:lnTo>
                      <a:pt x="239" y="333"/>
                    </a:lnTo>
                    <a:lnTo>
                      <a:pt x="238" y="333"/>
                    </a:lnTo>
                    <a:lnTo>
                      <a:pt x="236" y="333"/>
                    </a:lnTo>
                    <a:lnTo>
                      <a:pt x="235" y="333"/>
                    </a:lnTo>
                    <a:lnTo>
                      <a:pt x="235" y="332"/>
                    </a:lnTo>
                    <a:lnTo>
                      <a:pt x="234" y="332"/>
                    </a:lnTo>
                    <a:lnTo>
                      <a:pt x="234" y="331"/>
                    </a:lnTo>
                    <a:lnTo>
                      <a:pt x="233" y="331"/>
                    </a:lnTo>
                    <a:lnTo>
                      <a:pt x="233" y="332"/>
                    </a:lnTo>
                    <a:lnTo>
                      <a:pt x="234" y="332"/>
                    </a:lnTo>
                    <a:lnTo>
                      <a:pt x="234" y="333"/>
                    </a:lnTo>
                    <a:lnTo>
                      <a:pt x="234" y="332"/>
                    </a:lnTo>
                    <a:lnTo>
                      <a:pt x="234" y="333"/>
                    </a:lnTo>
                    <a:lnTo>
                      <a:pt x="234" y="334"/>
                    </a:lnTo>
                    <a:lnTo>
                      <a:pt x="235" y="334"/>
                    </a:lnTo>
                    <a:lnTo>
                      <a:pt x="235" y="335"/>
                    </a:lnTo>
                    <a:lnTo>
                      <a:pt x="236" y="335"/>
                    </a:lnTo>
                    <a:lnTo>
                      <a:pt x="238" y="335"/>
                    </a:lnTo>
                    <a:lnTo>
                      <a:pt x="239" y="335"/>
                    </a:lnTo>
                    <a:lnTo>
                      <a:pt x="238" y="335"/>
                    </a:lnTo>
                    <a:lnTo>
                      <a:pt x="238" y="336"/>
                    </a:lnTo>
                    <a:lnTo>
                      <a:pt x="239" y="336"/>
                    </a:lnTo>
                    <a:lnTo>
                      <a:pt x="239" y="337"/>
                    </a:lnTo>
                    <a:lnTo>
                      <a:pt x="239" y="336"/>
                    </a:lnTo>
                    <a:lnTo>
                      <a:pt x="238" y="336"/>
                    </a:lnTo>
                    <a:lnTo>
                      <a:pt x="239" y="337"/>
                    </a:lnTo>
                    <a:lnTo>
                      <a:pt x="240" y="337"/>
                    </a:lnTo>
                    <a:lnTo>
                      <a:pt x="239" y="336"/>
                    </a:lnTo>
                    <a:lnTo>
                      <a:pt x="240" y="336"/>
                    </a:lnTo>
                    <a:lnTo>
                      <a:pt x="241" y="337"/>
                    </a:lnTo>
                    <a:lnTo>
                      <a:pt x="241" y="336"/>
                    </a:lnTo>
                    <a:lnTo>
                      <a:pt x="241" y="337"/>
                    </a:lnTo>
                    <a:lnTo>
                      <a:pt x="241" y="338"/>
                    </a:lnTo>
                    <a:lnTo>
                      <a:pt x="241" y="339"/>
                    </a:lnTo>
                    <a:lnTo>
                      <a:pt x="242" y="339"/>
                    </a:lnTo>
                    <a:lnTo>
                      <a:pt x="243" y="338"/>
                    </a:lnTo>
                    <a:lnTo>
                      <a:pt x="243" y="339"/>
                    </a:lnTo>
                    <a:lnTo>
                      <a:pt x="244" y="339"/>
                    </a:lnTo>
                    <a:lnTo>
                      <a:pt x="245" y="339"/>
                    </a:lnTo>
                    <a:lnTo>
                      <a:pt x="246" y="340"/>
                    </a:lnTo>
                    <a:lnTo>
                      <a:pt x="247" y="340"/>
                    </a:lnTo>
                    <a:lnTo>
                      <a:pt x="247" y="339"/>
                    </a:lnTo>
                    <a:lnTo>
                      <a:pt x="247" y="340"/>
                    </a:lnTo>
                    <a:lnTo>
                      <a:pt x="248" y="340"/>
                    </a:lnTo>
                    <a:lnTo>
                      <a:pt x="249" y="340"/>
                    </a:lnTo>
                    <a:lnTo>
                      <a:pt x="249" y="339"/>
                    </a:lnTo>
                    <a:lnTo>
                      <a:pt x="251" y="339"/>
                    </a:lnTo>
                    <a:lnTo>
                      <a:pt x="252" y="339"/>
                    </a:lnTo>
                    <a:lnTo>
                      <a:pt x="252" y="338"/>
                    </a:lnTo>
                    <a:lnTo>
                      <a:pt x="253" y="338"/>
                    </a:lnTo>
                    <a:lnTo>
                      <a:pt x="253" y="339"/>
                    </a:lnTo>
                    <a:lnTo>
                      <a:pt x="253" y="338"/>
                    </a:lnTo>
                    <a:lnTo>
                      <a:pt x="253" y="337"/>
                    </a:lnTo>
                    <a:lnTo>
                      <a:pt x="254" y="337"/>
                    </a:lnTo>
                    <a:lnTo>
                      <a:pt x="254" y="338"/>
                    </a:lnTo>
                    <a:lnTo>
                      <a:pt x="255" y="338"/>
                    </a:lnTo>
                    <a:lnTo>
                      <a:pt x="255" y="337"/>
                    </a:lnTo>
                    <a:lnTo>
                      <a:pt x="256" y="338"/>
                    </a:lnTo>
                    <a:lnTo>
                      <a:pt x="257" y="338"/>
                    </a:lnTo>
                    <a:lnTo>
                      <a:pt x="257" y="337"/>
                    </a:lnTo>
                    <a:lnTo>
                      <a:pt x="257" y="338"/>
                    </a:lnTo>
                    <a:lnTo>
                      <a:pt x="258" y="338"/>
                    </a:lnTo>
                    <a:lnTo>
                      <a:pt x="258" y="337"/>
                    </a:lnTo>
                    <a:lnTo>
                      <a:pt x="258" y="338"/>
                    </a:lnTo>
                    <a:lnTo>
                      <a:pt x="259" y="338"/>
                    </a:lnTo>
                    <a:lnTo>
                      <a:pt x="259" y="339"/>
                    </a:lnTo>
                    <a:lnTo>
                      <a:pt x="260" y="339"/>
                    </a:lnTo>
                    <a:lnTo>
                      <a:pt x="261" y="339"/>
                    </a:lnTo>
                    <a:lnTo>
                      <a:pt x="261" y="340"/>
                    </a:lnTo>
                    <a:lnTo>
                      <a:pt x="261" y="341"/>
                    </a:lnTo>
                    <a:lnTo>
                      <a:pt x="262" y="341"/>
                    </a:lnTo>
                    <a:lnTo>
                      <a:pt x="262" y="343"/>
                    </a:lnTo>
                    <a:lnTo>
                      <a:pt x="262" y="341"/>
                    </a:lnTo>
                    <a:lnTo>
                      <a:pt x="264" y="341"/>
                    </a:lnTo>
                    <a:lnTo>
                      <a:pt x="264" y="343"/>
                    </a:lnTo>
                    <a:lnTo>
                      <a:pt x="265" y="343"/>
                    </a:lnTo>
                    <a:lnTo>
                      <a:pt x="266" y="343"/>
                    </a:lnTo>
                    <a:lnTo>
                      <a:pt x="267" y="343"/>
                    </a:lnTo>
                    <a:lnTo>
                      <a:pt x="268" y="343"/>
                    </a:lnTo>
                    <a:lnTo>
                      <a:pt x="268" y="344"/>
                    </a:lnTo>
                    <a:lnTo>
                      <a:pt x="269" y="344"/>
                    </a:lnTo>
                    <a:lnTo>
                      <a:pt x="269" y="345"/>
                    </a:lnTo>
                    <a:lnTo>
                      <a:pt x="269" y="346"/>
                    </a:lnTo>
                    <a:lnTo>
                      <a:pt x="270" y="346"/>
                    </a:lnTo>
                    <a:lnTo>
                      <a:pt x="271" y="347"/>
                    </a:lnTo>
                    <a:lnTo>
                      <a:pt x="272" y="347"/>
                    </a:lnTo>
                    <a:lnTo>
                      <a:pt x="273" y="348"/>
                    </a:lnTo>
                    <a:lnTo>
                      <a:pt x="275" y="348"/>
                    </a:lnTo>
                    <a:lnTo>
                      <a:pt x="277" y="347"/>
                    </a:lnTo>
                    <a:lnTo>
                      <a:pt x="278" y="347"/>
                    </a:lnTo>
                    <a:lnTo>
                      <a:pt x="279" y="347"/>
                    </a:lnTo>
                    <a:lnTo>
                      <a:pt x="279" y="346"/>
                    </a:lnTo>
                    <a:lnTo>
                      <a:pt x="280" y="346"/>
                    </a:lnTo>
                    <a:lnTo>
                      <a:pt x="280" y="345"/>
                    </a:lnTo>
                    <a:lnTo>
                      <a:pt x="279" y="346"/>
                    </a:lnTo>
                    <a:lnTo>
                      <a:pt x="279" y="345"/>
                    </a:lnTo>
                    <a:lnTo>
                      <a:pt x="279" y="344"/>
                    </a:lnTo>
                    <a:lnTo>
                      <a:pt x="278" y="343"/>
                    </a:lnTo>
                    <a:lnTo>
                      <a:pt x="279" y="343"/>
                    </a:lnTo>
                    <a:lnTo>
                      <a:pt x="279" y="341"/>
                    </a:lnTo>
                    <a:lnTo>
                      <a:pt x="280" y="341"/>
                    </a:lnTo>
                    <a:lnTo>
                      <a:pt x="281" y="341"/>
                    </a:lnTo>
                    <a:lnTo>
                      <a:pt x="280" y="341"/>
                    </a:lnTo>
                    <a:lnTo>
                      <a:pt x="279" y="341"/>
                    </a:lnTo>
                    <a:lnTo>
                      <a:pt x="279" y="340"/>
                    </a:lnTo>
                    <a:lnTo>
                      <a:pt x="278" y="340"/>
                    </a:lnTo>
                    <a:lnTo>
                      <a:pt x="277" y="340"/>
                    </a:lnTo>
                    <a:lnTo>
                      <a:pt x="278" y="340"/>
                    </a:lnTo>
                    <a:lnTo>
                      <a:pt x="279" y="340"/>
                    </a:lnTo>
                    <a:lnTo>
                      <a:pt x="280" y="340"/>
                    </a:lnTo>
                    <a:lnTo>
                      <a:pt x="279" y="340"/>
                    </a:lnTo>
                    <a:lnTo>
                      <a:pt x="279" y="339"/>
                    </a:lnTo>
                    <a:lnTo>
                      <a:pt x="280" y="339"/>
                    </a:lnTo>
                    <a:lnTo>
                      <a:pt x="281" y="339"/>
                    </a:lnTo>
                    <a:lnTo>
                      <a:pt x="282" y="339"/>
                    </a:lnTo>
                    <a:lnTo>
                      <a:pt x="282" y="340"/>
                    </a:lnTo>
                    <a:lnTo>
                      <a:pt x="283" y="341"/>
                    </a:lnTo>
                    <a:lnTo>
                      <a:pt x="283" y="343"/>
                    </a:lnTo>
                    <a:lnTo>
                      <a:pt x="283" y="341"/>
                    </a:lnTo>
                    <a:lnTo>
                      <a:pt x="282" y="341"/>
                    </a:lnTo>
                    <a:lnTo>
                      <a:pt x="282" y="343"/>
                    </a:lnTo>
                    <a:lnTo>
                      <a:pt x="283" y="343"/>
                    </a:lnTo>
                    <a:lnTo>
                      <a:pt x="282" y="343"/>
                    </a:lnTo>
                    <a:lnTo>
                      <a:pt x="281" y="343"/>
                    </a:lnTo>
                    <a:lnTo>
                      <a:pt x="280" y="343"/>
                    </a:lnTo>
                    <a:lnTo>
                      <a:pt x="280" y="344"/>
                    </a:lnTo>
                    <a:lnTo>
                      <a:pt x="280" y="345"/>
                    </a:lnTo>
                    <a:lnTo>
                      <a:pt x="281" y="346"/>
                    </a:lnTo>
                    <a:lnTo>
                      <a:pt x="282" y="347"/>
                    </a:lnTo>
                    <a:lnTo>
                      <a:pt x="282" y="348"/>
                    </a:lnTo>
                    <a:lnTo>
                      <a:pt x="281" y="348"/>
                    </a:lnTo>
                    <a:lnTo>
                      <a:pt x="280" y="348"/>
                    </a:lnTo>
                    <a:lnTo>
                      <a:pt x="281" y="348"/>
                    </a:lnTo>
                    <a:lnTo>
                      <a:pt x="282" y="348"/>
                    </a:lnTo>
                    <a:lnTo>
                      <a:pt x="282" y="349"/>
                    </a:lnTo>
                    <a:lnTo>
                      <a:pt x="282" y="350"/>
                    </a:lnTo>
                    <a:lnTo>
                      <a:pt x="284" y="349"/>
                    </a:lnTo>
                    <a:lnTo>
                      <a:pt x="285" y="349"/>
                    </a:lnTo>
                    <a:lnTo>
                      <a:pt x="286" y="349"/>
                    </a:lnTo>
                    <a:lnTo>
                      <a:pt x="287" y="349"/>
                    </a:lnTo>
                    <a:lnTo>
                      <a:pt x="287" y="348"/>
                    </a:lnTo>
                    <a:lnTo>
                      <a:pt x="288" y="348"/>
                    </a:lnTo>
                    <a:lnTo>
                      <a:pt x="288" y="349"/>
                    </a:lnTo>
                    <a:lnTo>
                      <a:pt x="290" y="348"/>
                    </a:lnTo>
                    <a:lnTo>
                      <a:pt x="290" y="347"/>
                    </a:lnTo>
                    <a:lnTo>
                      <a:pt x="290" y="346"/>
                    </a:lnTo>
                    <a:lnTo>
                      <a:pt x="290" y="345"/>
                    </a:lnTo>
                    <a:lnTo>
                      <a:pt x="291" y="345"/>
                    </a:lnTo>
                    <a:lnTo>
                      <a:pt x="290" y="345"/>
                    </a:lnTo>
                    <a:lnTo>
                      <a:pt x="290" y="344"/>
                    </a:lnTo>
                    <a:lnTo>
                      <a:pt x="290" y="345"/>
                    </a:lnTo>
                    <a:lnTo>
                      <a:pt x="288" y="345"/>
                    </a:lnTo>
                    <a:lnTo>
                      <a:pt x="287" y="345"/>
                    </a:lnTo>
                    <a:lnTo>
                      <a:pt x="287" y="344"/>
                    </a:lnTo>
                    <a:lnTo>
                      <a:pt x="286" y="344"/>
                    </a:lnTo>
                    <a:lnTo>
                      <a:pt x="286" y="343"/>
                    </a:lnTo>
                    <a:lnTo>
                      <a:pt x="285" y="343"/>
                    </a:lnTo>
                    <a:lnTo>
                      <a:pt x="284" y="343"/>
                    </a:lnTo>
                    <a:lnTo>
                      <a:pt x="284" y="341"/>
                    </a:lnTo>
                    <a:lnTo>
                      <a:pt x="284" y="340"/>
                    </a:lnTo>
                    <a:lnTo>
                      <a:pt x="284" y="339"/>
                    </a:lnTo>
                    <a:lnTo>
                      <a:pt x="285" y="339"/>
                    </a:lnTo>
                    <a:lnTo>
                      <a:pt x="285" y="338"/>
                    </a:lnTo>
                    <a:lnTo>
                      <a:pt x="286" y="338"/>
                    </a:lnTo>
                    <a:lnTo>
                      <a:pt x="285" y="338"/>
                    </a:lnTo>
                    <a:lnTo>
                      <a:pt x="286" y="338"/>
                    </a:lnTo>
                    <a:lnTo>
                      <a:pt x="286" y="339"/>
                    </a:lnTo>
                    <a:lnTo>
                      <a:pt x="286" y="338"/>
                    </a:lnTo>
                    <a:lnTo>
                      <a:pt x="285" y="338"/>
                    </a:lnTo>
                    <a:lnTo>
                      <a:pt x="285" y="337"/>
                    </a:lnTo>
                    <a:lnTo>
                      <a:pt x="284" y="337"/>
                    </a:lnTo>
                    <a:lnTo>
                      <a:pt x="283" y="337"/>
                    </a:lnTo>
                    <a:lnTo>
                      <a:pt x="282" y="338"/>
                    </a:lnTo>
                    <a:lnTo>
                      <a:pt x="281" y="338"/>
                    </a:lnTo>
                    <a:lnTo>
                      <a:pt x="281" y="337"/>
                    </a:lnTo>
                    <a:lnTo>
                      <a:pt x="282" y="337"/>
                    </a:lnTo>
                    <a:lnTo>
                      <a:pt x="282" y="336"/>
                    </a:lnTo>
                    <a:lnTo>
                      <a:pt x="283" y="336"/>
                    </a:lnTo>
                    <a:lnTo>
                      <a:pt x="283" y="337"/>
                    </a:lnTo>
                    <a:lnTo>
                      <a:pt x="284" y="337"/>
                    </a:lnTo>
                    <a:lnTo>
                      <a:pt x="284" y="336"/>
                    </a:lnTo>
                    <a:lnTo>
                      <a:pt x="283" y="336"/>
                    </a:lnTo>
                    <a:lnTo>
                      <a:pt x="282" y="336"/>
                    </a:lnTo>
                    <a:lnTo>
                      <a:pt x="283" y="336"/>
                    </a:lnTo>
                    <a:lnTo>
                      <a:pt x="284" y="336"/>
                    </a:lnTo>
                    <a:lnTo>
                      <a:pt x="285" y="336"/>
                    </a:lnTo>
                    <a:lnTo>
                      <a:pt x="286" y="336"/>
                    </a:lnTo>
                    <a:lnTo>
                      <a:pt x="286" y="337"/>
                    </a:lnTo>
                    <a:lnTo>
                      <a:pt x="287" y="337"/>
                    </a:lnTo>
                    <a:lnTo>
                      <a:pt x="287" y="336"/>
                    </a:lnTo>
                    <a:lnTo>
                      <a:pt x="287" y="337"/>
                    </a:lnTo>
                    <a:lnTo>
                      <a:pt x="288" y="337"/>
                    </a:lnTo>
                    <a:lnTo>
                      <a:pt x="288" y="338"/>
                    </a:lnTo>
                    <a:lnTo>
                      <a:pt x="287" y="338"/>
                    </a:lnTo>
                    <a:lnTo>
                      <a:pt x="287" y="337"/>
                    </a:lnTo>
                    <a:lnTo>
                      <a:pt x="287" y="338"/>
                    </a:lnTo>
                    <a:lnTo>
                      <a:pt x="288" y="338"/>
                    </a:lnTo>
                    <a:lnTo>
                      <a:pt x="290" y="338"/>
                    </a:lnTo>
                    <a:lnTo>
                      <a:pt x="291" y="338"/>
                    </a:lnTo>
                    <a:lnTo>
                      <a:pt x="292" y="338"/>
                    </a:lnTo>
                    <a:lnTo>
                      <a:pt x="291" y="338"/>
                    </a:lnTo>
                    <a:lnTo>
                      <a:pt x="292" y="338"/>
                    </a:lnTo>
                    <a:lnTo>
                      <a:pt x="291" y="337"/>
                    </a:lnTo>
                    <a:lnTo>
                      <a:pt x="292" y="337"/>
                    </a:lnTo>
                    <a:lnTo>
                      <a:pt x="293" y="337"/>
                    </a:lnTo>
                    <a:lnTo>
                      <a:pt x="294" y="337"/>
                    </a:lnTo>
                    <a:lnTo>
                      <a:pt x="295" y="337"/>
                    </a:lnTo>
                    <a:lnTo>
                      <a:pt x="295" y="336"/>
                    </a:lnTo>
                    <a:lnTo>
                      <a:pt x="296" y="336"/>
                    </a:lnTo>
                    <a:lnTo>
                      <a:pt x="296" y="335"/>
                    </a:lnTo>
                    <a:lnTo>
                      <a:pt x="297" y="336"/>
                    </a:lnTo>
                    <a:lnTo>
                      <a:pt x="297" y="335"/>
                    </a:lnTo>
                    <a:lnTo>
                      <a:pt x="298" y="335"/>
                    </a:lnTo>
                    <a:lnTo>
                      <a:pt x="299" y="335"/>
                    </a:lnTo>
                    <a:lnTo>
                      <a:pt x="299" y="336"/>
                    </a:lnTo>
                    <a:lnTo>
                      <a:pt x="298" y="336"/>
                    </a:lnTo>
                    <a:lnTo>
                      <a:pt x="297" y="337"/>
                    </a:lnTo>
                    <a:lnTo>
                      <a:pt x="296" y="337"/>
                    </a:lnTo>
                    <a:lnTo>
                      <a:pt x="296" y="338"/>
                    </a:lnTo>
                    <a:lnTo>
                      <a:pt x="296" y="339"/>
                    </a:lnTo>
                    <a:lnTo>
                      <a:pt x="296" y="340"/>
                    </a:lnTo>
                    <a:lnTo>
                      <a:pt x="297" y="340"/>
                    </a:lnTo>
                    <a:lnTo>
                      <a:pt x="297" y="343"/>
                    </a:lnTo>
                    <a:lnTo>
                      <a:pt x="296" y="343"/>
                    </a:lnTo>
                    <a:lnTo>
                      <a:pt x="295" y="343"/>
                    </a:lnTo>
                    <a:lnTo>
                      <a:pt x="295" y="344"/>
                    </a:lnTo>
                    <a:lnTo>
                      <a:pt x="294" y="344"/>
                    </a:lnTo>
                    <a:lnTo>
                      <a:pt x="293" y="344"/>
                    </a:lnTo>
                    <a:lnTo>
                      <a:pt x="293" y="345"/>
                    </a:lnTo>
                    <a:lnTo>
                      <a:pt x="293" y="346"/>
                    </a:lnTo>
                    <a:lnTo>
                      <a:pt x="293" y="347"/>
                    </a:lnTo>
                    <a:lnTo>
                      <a:pt x="294" y="348"/>
                    </a:lnTo>
                    <a:lnTo>
                      <a:pt x="295" y="348"/>
                    </a:lnTo>
                    <a:lnTo>
                      <a:pt x="295" y="349"/>
                    </a:lnTo>
                    <a:lnTo>
                      <a:pt x="296" y="349"/>
                    </a:lnTo>
                    <a:lnTo>
                      <a:pt x="296" y="350"/>
                    </a:lnTo>
                    <a:lnTo>
                      <a:pt x="297" y="351"/>
                    </a:lnTo>
                    <a:lnTo>
                      <a:pt x="297" y="352"/>
                    </a:lnTo>
                    <a:lnTo>
                      <a:pt x="297" y="351"/>
                    </a:lnTo>
                    <a:lnTo>
                      <a:pt x="298" y="352"/>
                    </a:lnTo>
                    <a:lnTo>
                      <a:pt x="299" y="352"/>
                    </a:lnTo>
                    <a:lnTo>
                      <a:pt x="300" y="352"/>
                    </a:lnTo>
                    <a:lnTo>
                      <a:pt x="300" y="353"/>
                    </a:lnTo>
                    <a:lnTo>
                      <a:pt x="301" y="353"/>
                    </a:lnTo>
                    <a:lnTo>
                      <a:pt x="300" y="353"/>
                    </a:lnTo>
                    <a:lnTo>
                      <a:pt x="299" y="353"/>
                    </a:lnTo>
                    <a:lnTo>
                      <a:pt x="298" y="354"/>
                    </a:lnTo>
                    <a:lnTo>
                      <a:pt x="297" y="354"/>
                    </a:lnTo>
                    <a:lnTo>
                      <a:pt x="296" y="353"/>
                    </a:lnTo>
                    <a:lnTo>
                      <a:pt x="297" y="354"/>
                    </a:lnTo>
                    <a:lnTo>
                      <a:pt x="298" y="354"/>
                    </a:lnTo>
                    <a:lnTo>
                      <a:pt x="299" y="354"/>
                    </a:lnTo>
                    <a:lnTo>
                      <a:pt x="299" y="356"/>
                    </a:lnTo>
                    <a:lnTo>
                      <a:pt x="300" y="356"/>
                    </a:lnTo>
                    <a:lnTo>
                      <a:pt x="301" y="357"/>
                    </a:lnTo>
                    <a:lnTo>
                      <a:pt x="303" y="357"/>
                    </a:lnTo>
                    <a:lnTo>
                      <a:pt x="304" y="358"/>
                    </a:lnTo>
                    <a:lnTo>
                      <a:pt x="305" y="358"/>
                    </a:lnTo>
                    <a:lnTo>
                      <a:pt x="306" y="359"/>
                    </a:lnTo>
                    <a:lnTo>
                      <a:pt x="307" y="359"/>
                    </a:lnTo>
                    <a:lnTo>
                      <a:pt x="307" y="360"/>
                    </a:lnTo>
                    <a:lnTo>
                      <a:pt x="308" y="360"/>
                    </a:lnTo>
                    <a:lnTo>
                      <a:pt x="309" y="360"/>
                    </a:lnTo>
                    <a:lnTo>
                      <a:pt x="309" y="361"/>
                    </a:lnTo>
                    <a:lnTo>
                      <a:pt x="310" y="361"/>
                    </a:lnTo>
                    <a:lnTo>
                      <a:pt x="310" y="362"/>
                    </a:lnTo>
                    <a:lnTo>
                      <a:pt x="310" y="363"/>
                    </a:lnTo>
                    <a:lnTo>
                      <a:pt x="310" y="364"/>
                    </a:lnTo>
                    <a:lnTo>
                      <a:pt x="312" y="365"/>
                    </a:lnTo>
                    <a:lnTo>
                      <a:pt x="312" y="366"/>
                    </a:lnTo>
                    <a:lnTo>
                      <a:pt x="313" y="366"/>
                    </a:lnTo>
                    <a:lnTo>
                      <a:pt x="313" y="367"/>
                    </a:lnTo>
                    <a:lnTo>
                      <a:pt x="313" y="369"/>
                    </a:lnTo>
                    <a:lnTo>
                      <a:pt x="314" y="369"/>
                    </a:lnTo>
                    <a:lnTo>
                      <a:pt x="314" y="370"/>
                    </a:lnTo>
                    <a:lnTo>
                      <a:pt x="314" y="371"/>
                    </a:lnTo>
                    <a:lnTo>
                      <a:pt x="316" y="371"/>
                    </a:lnTo>
                    <a:lnTo>
                      <a:pt x="317" y="372"/>
                    </a:lnTo>
                    <a:lnTo>
                      <a:pt x="318" y="372"/>
                    </a:lnTo>
                    <a:lnTo>
                      <a:pt x="319" y="373"/>
                    </a:lnTo>
                    <a:lnTo>
                      <a:pt x="320" y="373"/>
                    </a:lnTo>
                    <a:lnTo>
                      <a:pt x="320" y="374"/>
                    </a:lnTo>
                    <a:lnTo>
                      <a:pt x="320" y="375"/>
                    </a:lnTo>
                    <a:lnTo>
                      <a:pt x="319" y="374"/>
                    </a:lnTo>
                    <a:lnTo>
                      <a:pt x="319" y="373"/>
                    </a:lnTo>
                    <a:lnTo>
                      <a:pt x="318" y="373"/>
                    </a:lnTo>
                    <a:lnTo>
                      <a:pt x="317" y="373"/>
                    </a:lnTo>
                    <a:lnTo>
                      <a:pt x="317" y="372"/>
                    </a:lnTo>
                    <a:lnTo>
                      <a:pt x="316" y="372"/>
                    </a:lnTo>
                    <a:lnTo>
                      <a:pt x="314" y="372"/>
                    </a:lnTo>
                    <a:lnTo>
                      <a:pt x="314" y="371"/>
                    </a:lnTo>
                    <a:lnTo>
                      <a:pt x="313" y="371"/>
                    </a:lnTo>
                    <a:lnTo>
                      <a:pt x="312" y="371"/>
                    </a:lnTo>
                    <a:lnTo>
                      <a:pt x="312" y="370"/>
                    </a:lnTo>
                    <a:lnTo>
                      <a:pt x="312" y="371"/>
                    </a:lnTo>
                    <a:lnTo>
                      <a:pt x="311" y="370"/>
                    </a:lnTo>
                    <a:lnTo>
                      <a:pt x="311" y="369"/>
                    </a:lnTo>
                    <a:lnTo>
                      <a:pt x="310" y="369"/>
                    </a:lnTo>
                    <a:lnTo>
                      <a:pt x="310" y="367"/>
                    </a:lnTo>
                    <a:lnTo>
                      <a:pt x="310" y="366"/>
                    </a:lnTo>
                    <a:lnTo>
                      <a:pt x="309" y="366"/>
                    </a:lnTo>
                    <a:lnTo>
                      <a:pt x="309" y="365"/>
                    </a:lnTo>
                    <a:lnTo>
                      <a:pt x="309" y="366"/>
                    </a:lnTo>
                    <a:lnTo>
                      <a:pt x="308" y="365"/>
                    </a:lnTo>
                    <a:lnTo>
                      <a:pt x="307" y="365"/>
                    </a:lnTo>
                    <a:lnTo>
                      <a:pt x="307" y="364"/>
                    </a:lnTo>
                    <a:lnTo>
                      <a:pt x="306" y="364"/>
                    </a:lnTo>
                    <a:close/>
                    <a:moveTo>
                      <a:pt x="471" y="30"/>
                    </a:moveTo>
                    <a:lnTo>
                      <a:pt x="469" y="30"/>
                    </a:lnTo>
                    <a:lnTo>
                      <a:pt x="469" y="31"/>
                    </a:lnTo>
                    <a:lnTo>
                      <a:pt x="469" y="32"/>
                    </a:lnTo>
                    <a:lnTo>
                      <a:pt x="469" y="33"/>
                    </a:lnTo>
                    <a:lnTo>
                      <a:pt x="468" y="33"/>
                    </a:lnTo>
                    <a:lnTo>
                      <a:pt x="468" y="35"/>
                    </a:lnTo>
                    <a:lnTo>
                      <a:pt x="468" y="36"/>
                    </a:lnTo>
                    <a:lnTo>
                      <a:pt x="467" y="37"/>
                    </a:lnTo>
                    <a:lnTo>
                      <a:pt x="467" y="39"/>
                    </a:lnTo>
                    <a:lnTo>
                      <a:pt x="468" y="39"/>
                    </a:lnTo>
                    <a:lnTo>
                      <a:pt x="468" y="40"/>
                    </a:lnTo>
                    <a:lnTo>
                      <a:pt x="469" y="40"/>
                    </a:lnTo>
                    <a:lnTo>
                      <a:pt x="469" y="41"/>
                    </a:lnTo>
                    <a:lnTo>
                      <a:pt x="469" y="42"/>
                    </a:lnTo>
                    <a:lnTo>
                      <a:pt x="468" y="41"/>
                    </a:lnTo>
                    <a:lnTo>
                      <a:pt x="467" y="41"/>
                    </a:lnTo>
                    <a:lnTo>
                      <a:pt x="466" y="42"/>
                    </a:lnTo>
                    <a:lnTo>
                      <a:pt x="466" y="43"/>
                    </a:lnTo>
                    <a:lnTo>
                      <a:pt x="465" y="43"/>
                    </a:lnTo>
                    <a:lnTo>
                      <a:pt x="465" y="44"/>
                    </a:lnTo>
                    <a:lnTo>
                      <a:pt x="465" y="45"/>
                    </a:lnTo>
                    <a:lnTo>
                      <a:pt x="466" y="45"/>
                    </a:lnTo>
                    <a:lnTo>
                      <a:pt x="466" y="46"/>
                    </a:lnTo>
                    <a:lnTo>
                      <a:pt x="466" y="48"/>
                    </a:lnTo>
                    <a:lnTo>
                      <a:pt x="465" y="48"/>
                    </a:lnTo>
                    <a:lnTo>
                      <a:pt x="464" y="48"/>
                    </a:lnTo>
                    <a:lnTo>
                      <a:pt x="463" y="48"/>
                    </a:lnTo>
                    <a:lnTo>
                      <a:pt x="462" y="48"/>
                    </a:lnTo>
                    <a:lnTo>
                      <a:pt x="461" y="49"/>
                    </a:lnTo>
                    <a:lnTo>
                      <a:pt x="460" y="50"/>
                    </a:lnTo>
                    <a:lnTo>
                      <a:pt x="460" y="51"/>
                    </a:lnTo>
                    <a:lnTo>
                      <a:pt x="459" y="51"/>
                    </a:lnTo>
                    <a:lnTo>
                      <a:pt x="459" y="52"/>
                    </a:lnTo>
                    <a:lnTo>
                      <a:pt x="460" y="53"/>
                    </a:lnTo>
                    <a:lnTo>
                      <a:pt x="461" y="53"/>
                    </a:lnTo>
                    <a:lnTo>
                      <a:pt x="461" y="54"/>
                    </a:lnTo>
                    <a:lnTo>
                      <a:pt x="461" y="55"/>
                    </a:lnTo>
                    <a:lnTo>
                      <a:pt x="460" y="54"/>
                    </a:lnTo>
                    <a:lnTo>
                      <a:pt x="459" y="54"/>
                    </a:lnTo>
                    <a:lnTo>
                      <a:pt x="459" y="55"/>
                    </a:lnTo>
                    <a:lnTo>
                      <a:pt x="458" y="55"/>
                    </a:lnTo>
                    <a:lnTo>
                      <a:pt x="458" y="57"/>
                    </a:lnTo>
                    <a:lnTo>
                      <a:pt x="456" y="58"/>
                    </a:lnTo>
                    <a:lnTo>
                      <a:pt x="456" y="59"/>
                    </a:lnTo>
                    <a:lnTo>
                      <a:pt x="456" y="61"/>
                    </a:lnTo>
                    <a:lnTo>
                      <a:pt x="455" y="61"/>
                    </a:lnTo>
                    <a:lnTo>
                      <a:pt x="455" y="63"/>
                    </a:lnTo>
                    <a:lnTo>
                      <a:pt x="455" y="64"/>
                    </a:lnTo>
                    <a:lnTo>
                      <a:pt x="456" y="65"/>
                    </a:lnTo>
                    <a:lnTo>
                      <a:pt x="456" y="66"/>
                    </a:lnTo>
                    <a:lnTo>
                      <a:pt x="456" y="67"/>
                    </a:lnTo>
                    <a:lnTo>
                      <a:pt x="458" y="67"/>
                    </a:lnTo>
                    <a:lnTo>
                      <a:pt x="458" y="68"/>
                    </a:lnTo>
                    <a:lnTo>
                      <a:pt x="458" y="69"/>
                    </a:lnTo>
                    <a:lnTo>
                      <a:pt x="456" y="69"/>
                    </a:lnTo>
                    <a:lnTo>
                      <a:pt x="456" y="68"/>
                    </a:lnTo>
                    <a:lnTo>
                      <a:pt x="455" y="67"/>
                    </a:lnTo>
                    <a:lnTo>
                      <a:pt x="455" y="66"/>
                    </a:lnTo>
                    <a:lnTo>
                      <a:pt x="454" y="66"/>
                    </a:lnTo>
                    <a:lnTo>
                      <a:pt x="453" y="66"/>
                    </a:lnTo>
                    <a:lnTo>
                      <a:pt x="453" y="65"/>
                    </a:lnTo>
                    <a:lnTo>
                      <a:pt x="452" y="66"/>
                    </a:lnTo>
                    <a:lnTo>
                      <a:pt x="452" y="67"/>
                    </a:lnTo>
                    <a:lnTo>
                      <a:pt x="451" y="67"/>
                    </a:lnTo>
                    <a:lnTo>
                      <a:pt x="449" y="68"/>
                    </a:lnTo>
                    <a:lnTo>
                      <a:pt x="449" y="69"/>
                    </a:lnTo>
                    <a:lnTo>
                      <a:pt x="449" y="68"/>
                    </a:lnTo>
                    <a:lnTo>
                      <a:pt x="448" y="68"/>
                    </a:lnTo>
                    <a:lnTo>
                      <a:pt x="448" y="69"/>
                    </a:lnTo>
                    <a:lnTo>
                      <a:pt x="447" y="69"/>
                    </a:lnTo>
                    <a:lnTo>
                      <a:pt x="447" y="70"/>
                    </a:lnTo>
                    <a:lnTo>
                      <a:pt x="446" y="70"/>
                    </a:lnTo>
                    <a:lnTo>
                      <a:pt x="446" y="71"/>
                    </a:lnTo>
                    <a:lnTo>
                      <a:pt x="445" y="72"/>
                    </a:lnTo>
                    <a:lnTo>
                      <a:pt x="445" y="74"/>
                    </a:lnTo>
                    <a:lnTo>
                      <a:pt x="443" y="74"/>
                    </a:lnTo>
                    <a:lnTo>
                      <a:pt x="443" y="72"/>
                    </a:lnTo>
                    <a:lnTo>
                      <a:pt x="443" y="71"/>
                    </a:lnTo>
                    <a:lnTo>
                      <a:pt x="445" y="71"/>
                    </a:lnTo>
                    <a:lnTo>
                      <a:pt x="445" y="70"/>
                    </a:lnTo>
                    <a:lnTo>
                      <a:pt x="446" y="70"/>
                    </a:lnTo>
                    <a:lnTo>
                      <a:pt x="446" y="69"/>
                    </a:lnTo>
                    <a:lnTo>
                      <a:pt x="445" y="68"/>
                    </a:lnTo>
                    <a:lnTo>
                      <a:pt x="445" y="67"/>
                    </a:lnTo>
                    <a:lnTo>
                      <a:pt x="446" y="67"/>
                    </a:lnTo>
                    <a:lnTo>
                      <a:pt x="447" y="67"/>
                    </a:lnTo>
                    <a:lnTo>
                      <a:pt x="447" y="66"/>
                    </a:lnTo>
                    <a:lnTo>
                      <a:pt x="446" y="66"/>
                    </a:lnTo>
                    <a:lnTo>
                      <a:pt x="446" y="67"/>
                    </a:lnTo>
                    <a:lnTo>
                      <a:pt x="446" y="66"/>
                    </a:lnTo>
                    <a:lnTo>
                      <a:pt x="445" y="67"/>
                    </a:lnTo>
                    <a:lnTo>
                      <a:pt x="445" y="68"/>
                    </a:lnTo>
                    <a:lnTo>
                      <a:pt x="443" y="68"/>
                    </a:lnTo>
                    <a:lnTo>
                      <a:pt x="443" y="67"/>
                    </a:lnTo>
                    <a:lnTo>
                      <a:pt x="442" y="67"/>
                    </a:lnTo>
                    <a:lnTo>
                      <a:pt x="441" y="67"/>
                    </a:lnTo>
                    <a:lnTo>
                      <a:pt x="440" y="67"/>
                    </a:lnTo>
                    <a:lnTo>
                      <a:pt x="439" y="67"/>
                    </a:lnTo>
                    <a:lnTo>
                      <a:pt x="438" y="67"/>
                    </a:lnTo>
                    <a:lnTo>
                      <a:pt x="437" y="68"/>
                    </a:lnTo>
                    <a:lnTo>
                      <a:pt x="436" y="69"/>
                    </a:lnTo>
                    <a:lnTo>
                      <a:pt x="436" y="70"/>
                    </a:lnTo>
                    <a:lnTo>
                      <a:pt x="435" y="71"/>
                    </a:lnTo>
                    <a:lnTo>
                      <a:pt x="435" y="72"/>
                    </a:lnTo>
                    <a:lnTo>
                      <a:pt x="434" y="72"/>
                    </a:lnTo>
                    <a:lnTo>
                      <a:pt x="434" y="71"/>
                    </a:lnTo>
                    <a:lnTo>
                      <a:pt x="434" y="70"/>
                    </a:lnTo>
                    <a:lnTo>
                      <a:pt x="434" y="69"/>
                    </a:lnTo>
                    <a:lnTo>
                      <a:pt x="434" y="68"/>
                    </a:lnTo>
                    <a:lnTo>
                      <a:pt x="433" y="68"/>
                    </a:lnTo>
                    <a:lnTo>
                      <a:pt x="433" y="67"/>
                    </a:lnTo>
                    <a:lnTo>
                      <a:pt x="432" y="66"/>
                    </a:lnTo>
                    <a:lnTo>
                      <a:pt x="430" y="66"/>
                    </a:lnTo>
                    <a:lnTo>
                      <a:pt x="429" y="66"/>
                    </a:lnTo>
                    <a:lnTo>
                      <a:pt x="429" y="67"/>
                    </a:lnTo>
                    <a:lnTo>
                      <a:pt x="428" y="68"/>
                    </a:lnTo>
                    <a:lnTo>
                      <a:pt x="428" y="69"/>
                    </a:lnTo>
                    <a:lnTo>
                      <a:pt x="428" y="70"/>
                    </a:lnTo>
                    <a:lnTo>
                      <a:pt x="427" y="70"/>
                    </a:lnTo>
                    <a:lnTo>
                      <a:pt x="426" y="70"/>
                    </a:lnTo>
                    <a:lnTo>
                      <a:pt x="426" y="69"/>
                    </a:lnTo>
                    <a:lnTo>
                      <a:pt x="425" y="69"/>
                    </a:lnTo>
                    <a:lnTo>
                      <a:pt x="425" y="68"/>
                    </a:lnTo>
                    <a:lnTo>
                      <a:pt x="424" y="68"/>
                    </a:lnTo>
                    <a:lnTo>
                      <a:pt x="424" y="67"/>
                    </a:lnTo>
                    <a:lnTo>
                      <a:pt x="425" y="66"/>
                    </a:lnTo>
                    <a:lnTo>
                      <a:pt x="426" y="66"/>
                    </a:lnTo>
                    <a:lnTo>
                      <a:pt x="426" y="65"/>
                    </a:lnTo>
                    <a:lnTo>
                      <a:pt x="427" y="65"/>
                    </a:lnTo>
                    <a:lnTo>
                      <a:pt x="427" y="64"/>
                    </a:lnTo>
                    <a:lnTo>
                      <a:pt x="427" y="63"/>
                    </a:lnTo>
                    <a:lnTo>
                      <a:pt x="428" y="63"/>
                    </a:lnTo>
                    <a:lnTo>
                      <a:pt x="428" y="62"/>
                    </a:lnTo>
                    <a:lnTo>
                      <a:pt x="429" y="62"/>
                    </a:lnTo>
                    <a:lnTo>
                      <a:pt x="429" y="61"/>
                    </a:lnTo>
                    <a:lnTo>
                      <a:pt x="430" y="62"/>
                    </a:lnTo>
                    <a:lnTo>
                      <a:pt x="432" y="62"/>
                    </a:lnTo>
                    <a:lnTo>
                      <a:pt x="433" y="62"/>
                    </a:lnTo>
                    <a:lnTo>
                      <a:pt x="433" y="61"/>
                    </a:lnTo>
                    <a:lnTo>
                      <a:pt x="434" y="61"/>
                    </a:lnTo>
                    <a:lnTo>
                      <a:pt x="434" y="59"/>
                    </a:lnTo>
                    <a:lnTo>
                      <a:pt x="434" y="58"/>
                    </a:lnTo>
                    <a:lnTo>
                      <a:pt x="434" y="57"/>
                    </a:lnTo>
                    <a:lnTo>
                      <a:pt x="434" y="56"/>
                    </a:lnTo>
                    <a:lnTo>
                      <a:pt x="434" y="55"/>
                    </a:lnTo>
                    <a:lnTo>
                      <a:pt x="434" y="54"/>
                    </a:lnTo>
                    <a:lnTo>
                      <a:pt x="435" y="54"/>
                    </a:lnTo>
                    <a:lnTo>
                      <a:pt x="435" y="53"/>
                    </a:lnTo>
                    <a:lnTo>
                      <a:pt x="435" y="52"/>
                    </a:lnTo>
                    <a:lnTo>
                      <a:pt x="436" y="52"/>
                    </a:lnTo>
                    <a:lnTo>
                      <a:pt x="435" y="53"/>
                    </a:lnTo>
                    <a:lnTo>
                      <a:pt x="435" y="54"/>
                    </a:lnTo>
                    <a:lnTo>
                      <a:pt x="436" y="54"/>
                    </a:lnTo>
                    <a:lnTo>
                      <a:pt x="436" y="55"/>
                    </a:lnTo>
                    <a:lnTo>
                      <a:pt x="436" y="56"/>
                    </a:lnTo>
                    <a:lnTo>
                      <a:pt x="436" y="57"/>
                    </a:lnTo>
                    <a:lnTo>
                      <a:pt x="435" y="57"/>
                    </a:lnTo>
                    <a:lnTo>
                      <a:pt x="435" y="58"/>
                    </a:lnTo>
                    <a:lnTo>
                      <a:pt x="436" y="59"/>
                    </a:lnTo>
                    <a:lnTo>
                      <a:pt x="436" y="61"/>
                    </a:lnTo>
                    <a:lnTo>
                      <a:pt x="436" y="62"/>
                    </a:lnTo>
                    <a:lnTo>
                      <a:pt x="437" y="62"/>
                    </a:lnTo>
                    <a:lnTo>
                      <a:pt x="436" y="63"/>
                    </a:lnTo>
                    <a:lnTo>
                      <a:pt x="437" y="63"/>
                    </a:lnTo>
                    <a:lnTo>
                      <a:pt x="438" y="63"/>
                    </a:lnTo>
                    <a:lnTo>
                      <a:pt x="438" y="62"/>
                    </a:lnTo>
                    <a:lnTo>
                      <a:pt x="437" y="62"/>
                    </a:lnTo>
                    <a:lnTo>
                      <a:pt x="438" y="62"/>
                    </a:lnTo>
                    <a:lnTo>
                      <a:pt x="438" y="61"/>
                    </a:lnTo>
                    <a:lnTo>
                      <a:pt x="437" y="59"/>
                    </a:lnTo>
                    <a:lnTo>
                      <a:pt x="436" y="59"/>
                    </a:lnTo>
                    <a:lnTo>
                      <a:pt x="436" y="58"/>
                    </a:lnTo>
                    <a:lnTo>
                      <a:pt x="436" y="57"/>
                    </a:lnTo>
                    <a:lnTo>
                      <a:pt x="437" y="58"/>
                    </a:lnTo>
                    <a:lnTo>
                      <a:pt x="437" y="57"/>
                    </a:lnTo>
                    <a:lnTo>
                      <a:pt x="437" y="58"/>
                    </a:lnTo>
                    <a:lnTo>
                      <a:pt x="438" y="58"/>
                    </a:lnTo>
                    <a:lnTo>
                      <a:pt x="438" y="59"/>
                    </a:lnTo>
                    <a:lnTo>
                      <a:pt x="439" y="59"/>
                    </a:lnTo>
                    <a:lnTo>
                      <a:pt x="440" y="59"/>
                    </a:lnTo>
                    <a:lnTo>
                      <a:pt x="441" y="59"/>
                    </a:lnTo>
                    <a:lnTo>
                      <a:pt x="441" y="61"/>
                    </a:lnTo>
                    <a:lnTo>
                      <a:pt x="440" y="61"/>
                    </a:lnTo>
                    <a:lnTo>
                      <a:pt x="440" y="59"/>
                    </a:lnTo>
                    <a:lnTo>
                      <a:pt x="440" y="61"/>
                    </a:lnTo>
                    <a:lnTo>
                      <a:pt x="439" y="61"/>
                    </a:lnTo>
                    <a:lnTo>
                      <a:pt x="439" y="62"/>
                    </a:lnTo>
                    <a:lnTo>
                      <a:pt x="439" y="63"/>
                    </a:lnTo>
                    <a:lnTo>
                      <a:pt x="440" y="63"/>
                    </a:lnTo>
                    <a:lnTo>
                      <a:pt x="441" y="63"/>
                    </a:lnTo>
                    <a:lnTo>
                      <a:pt x="441" y="62"/>
                    </a:lnTo>
                    <a:lnTo>
                      <a:pt x="441" y="61"/>
                    </a:lnTo>
                    <a:lnTo>
                      <a:pt x="442" y="61"/>
                    </a:lnTo>
                    <a:lnTo>
                      <a:pt x="442" y="59"/>
                    </a:lnTo>
                    <a:lnTo>
                      <a:pt x="443" y="61"/>
                    </a:lnTo>
                    <a:lnTo>
                      <a:pt x="445" y="61"/>
                    </a:lnTo>
                    <a:lnTo>
                      <a:pt x="445" y="62"/>
                    </a:lnTo>
                    <a:lnTo>
                      <a:pt x="443" y="62"/>
                    </a:lnTo>
                    <a:lnTo>
                      <a:pt x="443" y="61"/>
                    </a:lnTo>
                    <a:lnTo>
                      <a:pt x="442" y="61"/>
                    </a:lnTo>
                    <a:lnTo>
                      <a:pt x="443" y="62"/>
                    </a:lnTo>
                    <a:lnTo>
                      <a:pt x="443" y="63"/>
                    </a:lnTo>
                    <a:lnTo>
                      <a:pt x="445" y="63"/>
                    </a:lnTo>
                    <a:lnTo>
                      <a:pt x="446" y="64"/>
                    </a:lnTo>
                    <a:lnTo>
                      <a:pt x="446" y="65"/>
                    </a:lnTo>
                    <a:lnTo>
                      <a:pt x="445" y="65"/>
                    </a:lnTo>
                    <a:lnTo>
                      <a:pt x="445" y="64"/>
                    </a:lnTo>
                    <a:lnTo>
                      <a:pt x="443" y="64"/>
                    </a:lnTo>
                    <a:lnTo>
                      <a:pt x="442" y="64"/>
                    </a:lnTo>
                    <a:lnTo>
                      <a:pt x="441" y="64"/>
                    </a:lnTo>
                    <a:lnTo>
                      <a:pt x="440" y="65"/>
                    </a:lnTo>
                    <a:lnTo>
                      <a:pt x="439" y="65"/>
                    </a:lnTo>
                    <a:lnTo>
                      <a:pt x="440" y="65"/>
                    </a:lnTo>
                    <a:lnTo>
                      <a:pt x="441" y="65"/>
                    </a:lnTo>
                    <a:lnTo>
                      <a:pt x="442" y="65"/>
                    </a:lnTo>
                    <a:lnTo>
                      <a:pt x="441" y="66"/>
                    </a:lnTo>
                    <a:lnTo>
                      <a:pt x="442" y="66"/>
                    </a:lnTo>
                    <a:lnTo>
                      <a:pt x="442" y="65"/>
                    </a:lnTo>
                    <a:lnTo>
                      <a:pt x="443" y="65"/>
                    </a:lnTo>
                    <a:lnTo>
                      <a:pt x="445" y="65"/>
                    </a:lnTo>
                    <a:lnTo>
                      <a:pt x="446" y="65"/>
                    </a:lnTo>
                    <a:lnTo>
                      <a:pt x="447" y="65"/>
                    </a:lnTo>
                    <a:lnTo>
                      <a:pt x="448" y="66"/>
                    </a:lnTo>
                    <a:lnTo>
                      <a:pt x="449" y="66"/>
                    </a:lnTo>
                    <a:lnTo>
                      <a:pt x="449" y="65"/>
                    </a:lnTo>
                    <a:lnTo>
                      <a:pt x="450" y="65"/>
                    </a:lnTo>
                    <a:lnTo>
                      <a:pt x="450" y="64"/>
                    </a:lnTo>
                    <a:lnTo>
                      <a:pt x="449" y="64"/>
                    </a:lnTo>
                    <a:lnTo>
                      <a:pt x="449" y="63"/>
                    </a:lnTo>
                    <a:lnTo>
                      <a:pt x="448" y="63"/>
                    </a:lnTo>
                    <a:lnTo>
                      <a:pt x="447" y="63"/>
                    </a:lnTo>
                    <a:lnTo>
                      <a:pt x="446" y="63"/>
                    </a:lnTo>
                    <a:lnTo>
                      <a:pt x="445" y="63"/>
                    </a:lnTo>
                    <a:lnTo>
                      <a:pt x="445" y="62"/>
                    </a:lnTo>
                    <a:lnTo>
                      <a:pt x="446" y="62"/>
                    </a:lnTo>
                    <a:lnTo>
                      <a:pt x="446" y="61"/>
                    </a:lnTo>
                    <a:lnTo>
                      <a:pt x="447" y="61"/>
                    </a:lnTo>
                    <a:lnTo>
                      <a:pt x="446" y="61"/>
                    </a:lnTo>
                    <a:lnTo>
                      <a:pt x="446" y="59"/>
                    </a:lnTo>
                    <a:lnTo>
                      <a:pt x="446" y="58"/>
                    </a:lnTo>
                    <a:lnTo>
                      <a:pt x="447" y="58"/>
                    </a:lnTo>
                    <a:lnTo>
                      <a:pt x="447" y="57"/>
                    </a:lnTo>
                    <a:lnTo>
                      <a:pt x="446" y="57"/>
                    </a:lnTo>
                    <a:lnTo>
                      <a:pt x="447" y="57"/>
                    </a:lnTo>
                    <a:lnTo>
                      <a:pt x="447" y="56"/>
                    </a:lnTo>
                    <a:lnTo>
                      <a:pt x="447" y="55"/>
                    </a:lnTo>
                    <a:lnTo>
                      <a:pt x="446" y="55"/>
                    </a:lnTo>
                    <a:lnTo>
                      <a:pt x="447" y="55"/>
                    </a:lnTo>
                    <a:lnTo>
                      <a:pt x="446" y="55"/>
                    </a:lnTo>
                    <a:lnTo>
                      <a:pt x="445" y="55"/>
                    </a:lnTo>
                    <a:lnTo>
                      <a:pt x="445" y="54"/>
                    </a:lnTo>
                    <a:lnTo>
                      <a:pt x="443" y="54"/>
                    </a:lnTo>
                    <a:lnTo>
                      <a:pt x="443" y="53"/>
                    </a:lnTo>
                    <a:lnTo>
                      <a:pt x="443" y="52"/>
                    </a:lnTo>
                    <a:lnTo>
                      <a:pt x="443" y="53"/>
                    </a:lnTo>
                    <a:lnTo>
                      <a:pt x="443" y="52"/>
                    </a:lnTo>
                    <a:lnTo>
                      <a:pt x="442" y="52"/>
                    </a:lnTo>
                    <a:lnTo>
                      <a:pt x="442" y="53"/>
                    </a:lnTo>
                    <a:lnTo>
                      <a:pt x="443" y="53"/>
                    </a:lnTo>
                    <a:lnTo>
                      <a:pt x="442" y="53"/>
                    </a:lnTo>
                    <a:lnTo>
                      <a:pt x="442" y="54"/>
                    </a:lnTo>
                    <a:lnTo>
                      <a:pt x="443" y="54"/>
                    </a:lnTo>
                    <a:lnTo>
                      <a:pt x="442" y="54"/>
                    </a:lnTo>
                    <a:lnTo>
                      <a:pt x="441" y="54"/>
                    </a:lnTo>
                    <a:lnTo>
                      <a:pt x="442" y="54"/>
                    </a:lnTo>
                    <a:lnTo>
                      <a:pt x="442" y="53"/>
                    </a:lnTo>
                    <a:lnTo>
                      <a:pt x="441" y="53"/>
                    </a:lnTo>
                    <a:lnTo>
                      <a:pt x="441" y="52"/>
                    </a:lnTo>
                    <a:lnTo>
                      <a:pt x="442" y="51"/>
                    </a:lnTo>
                    <a:lnTo>
                      <a:pt x="442" y="50"/>
                    </a:lnTo>
                    <a:lnTo>
                      <a:pt x="443" y="51"/>
                    </a:lnTo>
                    <a:lnTo>
                      <a:pt x="445" y="51"/>
                    </a:lnTo>
                    <a:lnTo>
                      <a:pt x="445" y="52"/>
                    </a:lnTo>
                    <a:lnTo>
                      <a:pt x="446" y="52"/>
                    </a:lnTo>
                    <a:lnTo>
                      <a:pt x="446" y="53"/>
                    </a:lnTo>
                    <a:lnTo>
                      <a:pt x="446" y="52"/>
                    </a:lnTo>
                    <a:lnTo>
                      <a:pt x="445" y="52"/>
                    </a:lnTo>
                    <a:lnTo>
                      <a:pt x="445" y="53"/>
                    </a:lnTo>
                    <a:lnTo>
                      <a:pt x="446" y="53"/>
                    </a:lnTo>
                    <a:lnTo>
                      <a:pt x="447" y="53"/>
                    </a:lnTo>
                    <a:lnTo>
                      <a:pt x="446" y="53"/>
                    </a:lnTo>
                    <a:lnTo>
                      <a:pt x="446" y="54"/>
                    </a:lnTo>
                    <a:lnTo>
                      <a:pt x="447" y="54"/>
                    </a:lnTo>
                    <a:lnTo>
                      <a:pt x="447" y="53"/>
                    </a:lnTo>
                    <a:lnTo>
                      <a:pt x="447" y="54"/>
                    </a:lnTo>
                    <a:lnTo>
                      <a:pt x="448" y="54"/>
                    </a:lnTo>
                    <a:lnTo>
                      <a:pt x="448" y="55"/>
                    </a:lnTo>
                    <a:lnTo>
                      <a:pt x="449" y="55"/>
                    </a:lnTo>
                    <a:lnTo>
                      <a:pt x="449" y="56"/>
                    </a:lnTo>
                    <a:lnTo>
                      <a:pt x="449" y="57"/>
                    </a:lnTo>
                    <a:lnTo>
                      <a:pt x="450" y="57"/>
                    </a:lnTo>
                    <a:lnTo>
                      <a:pt x="449" y="57"/>
                    </a:lnTo>
                    <a:lnTo>
                      <a:pt x="450" y="57"/>
                    </a:lnTo>
                    <a:lnTo>
                      <a:pt x="450" y="56"/>
                    </a:lnTo>
                    <a:lnTo>
                      <a:pt x="450" y="57"/>
                    </a:lnTo>
                    <a:lnTo>
                      <a:pt x="450" y="56"/>
                    </a:lnTo>
                    <a:lnTo>
                      <a:pt x="451" y="56"/>
                    </a:lnTo>
                    <a:lnTo>
                      <a:pt x="451" y="55"/>
                    </a:lnTo>
                    <a:lnTo>
                      <a:pt x="451" y="54"/>
                    </a:lnTo>
                    <a:lnTo>
                      <a:pt x="451" y="53"/>
                    </a:lnTo>
                    <a:lnTo>
                      <a:pt x="450" y="52"/>
                    </a:lnTo>
                    <a:lnTo>
                      <a:pt x="451" y="52"/>
                    </a:lnTo>
                    <a:lnTo>
                      <a:pt x="451" y="53"/>
                    </a:lnTo>
                    <a:lnTo>
                      <a:pt x="451" y="54"/>
                    </a:lnTo>
                    <a:lnTo>
                      <a:pt x="452" y="54"/>
                    </a:lnTo>
                    <a:lnTo>
                      <a:pt x="451" y="54"/>
                    </a:lnTo>
                    <a:lnTo>
                      <a:pt x="452" y="54"/>
                    </a:lnTo>
                    <a:lnTo>
                      <a:pt x="452" y="53"/>
                    </a:lnTo>
                    <a:lnTo>
                      <a:pt x="451" y="53"/>
                    </a:lnTo>
                    <a:lnTo>
                      <a:pt x="452" y="53"/>
                    </a:lnTo>
                    <a:lnTo>
                      <a:pt x="451" y="53"/>
                    </a:lnTo>
                    <a:lnTo>
                      <a:pt x="452" y="53"/>
                    </a:lnTo>
                    <a:lnTo>
                      <a:pt x="452" y="52"/>
                    </a:lnTo>
                    <a:lnTo>
                      <a:pt x="452" y="53"/>
                    </a:lnTo>
                    <a:lnTo>
                      <a:pt x="453" y="53"/>
                    </a:lnTo>
                    <a:lnTo>
                      <a:pt x="452" y="53"/>
                    </a:lnTo>
                    <a:lnTo>
                      <a:pt x="453" y="53"/>
                    </a:lnTo>
                    <a:lnTo>
                      <a:pt x="453" y="52"/>
                    </a:lnTo>
                    <a:lnTo>
                      <a:pt x="452" y="52"/>
                    </a:lnTo>
                    <a:lnTo>
                      <a:pt x="453" y="52"/>
                    </a:lnTo>
                    <a:lnTo>
                      <a:pt x="452" y="52"/>
                    </a:lnTo>
                    <a:lnTo>
                      <a:pt x="453" y="52"/>
                    </a:lnTo>
                    <a:lnTo>
                      <a:pt x="452" y="52"/>
                    </a:lnTo>
                    <a:lnTo>
                      <a:pt x="452" y="51"/>
                    </a:lnTo>
                    <a:lnTo>
                      <a:pt x="451" y="51"/>
                    </a:lnTo>
                    <a:lnTo>
                      <a:pt x="451" y="50"/>
                    </a:lnTo>
                    <a:lnTo>
                      <a:pt x="450" y="49"/>
                    </a:lnTo>
                    <a:lnTo>
                      <a:pt x="449" y="49"/>
                    </a:lnTo>
                    <a:lnTo>
                      <a:pt x="449" y="48"/>
                    </a:lnTo>
                    <a:lnTo>
                      <a:pt x="448" y="49"/>
                    </a:lnTo>
                    <a:lnTo>
                      <a:pt x="447" y="49"/>
                    </a:lnTo>
                    <a:lnTo>
                      <a:pt x="447" y="48"/>
                    </a:lnTo>
                    <a:lnTo>
                      <a:pt x="446" y="48"/>
                    </a:lnTo>
                    <a:lnTo>
                      <a:pt x="445" y="46"/>
                    </a:lnTo>
                    <a:lnTo>
                      <a:pt x="445" y="45"/>
                    </a:lnTo>
                    <a:lnTo>
                      <a:pt x="443" y="45"/>
                    </a:lnTo>
                    <a:lnTo>
                      <a:pt x="442" y="45"/>
                    </a:lnTo>
                    <a:lnTo>
                      <a:pt x="441" y="44"/>
                    </a:lnTo>
                    <a:lnTo>
                      <a:pt x="442" y="44"/>
                    </a:lnTo>
                    <a:lnTo>
                      <a:pt x="443" y="44"/>
                    </a:lnTo>
                    <a:lnTo>
                      <a:pt x="445" y="44"/>
                    </a:lnTo>
                    <a:lnTo>
                      <a:pt x="445" y="43"/>
                    </a:lnTo>
                    <a:lnTo>
                      <a:pt x="445" y="42"/>
                    </a:lnTo>
                    <a:lnTo>
                      <a:pt x="446" y="42"/>
                    </a:lnTo>
                    <a:lnTo>
                      <a:pt x="447" y="43"/>
                    </a:lnTo>
                    <a:lnTo>
                      <a:pt x="448" y="43"/>
                    </a:lnTo>
                    <a:lnTo>
                      <a:pt x="447" y="42"/>
                    </a:lnTo>
                    <a:lnTo>
                      <a:pt x="447" y="41"/>
                    </a:lnTo>
                    <a:lnTo>
                      <a:pt x="447" y="40"/>
                    </a:lnTo>
                    <a:lnTo>
                      <a:pt x="448" y="40"/>
                    </a:lnTo>
                    <a:lnTo>
                      <a:pt x="448" y="41"/>
                    </a:lnTo>
                    <a:lnTo>
                      <a:pt x="448" y="40"/>
                    </a:lnTo>
                    <a:lnTo>
                      <a:pt x="449" y="40"/>
                    </a:lnTo>
                    <a:lnTo>
                      <a:pt x="449" y="41"/>
                    </a:lnTo>
                    <a:lnTo>
                      <a:pt x="449" y="42"/>
                    </a:lnTo>
                    <a:lnTo>
                      <a:pt x="449" y="43"/>
                    </a:lnTo>
                    <a:lnTo>
                      <a:pt x="450" y="43"/>
                    </a:lnTo>
                    <a:lnTo>
                      <a:pt x="450" y="44"/>
                    </a:lnTo>
                    <a:lnTo>
                      <a:pt x="451" y="44"/>
                    </a:lnTo>
                    <a:lnTo>
                      <a:pt x="452" y="44"/>
                    </a:lnTo>
                    <a:lnTo>
                      <a:pt x="451" y="44"/>
                    </a:lnTo>
                    <a:lnTo>
                      <a:pt x="452" y="44"/>
                    </a:lnTo>
                    <a:lnTo>
                      <a:pt x="452" y="43"/>
                    </a:lnTo>
                    <a:lnTo>
                      <a:pt x="453" y="43"/>
                    </a:lnTo>
                    <a:lnTo>
                      <a:pt x="453" y="42"/>
                    </a:lnTo>
                    <a:lnTo>
                      <a:pt x="453" y="43"/>
                    </a:lnTo>
                    <a:lnTo>
                      <a:pt x="453" y="42"/>
                    </a:lnTo>
                    <a:lnTo>
                      <a:pt x="452" y="42"/>
                    </a:lnTo>
                    <a:lnTo>
                      <a:pt x="453" y="42"/>
                    </a:lnTo>
                    <a:lnTo>
                      <a:pt x="452" y="42"/>
                    </a:lnTo>
                    <a:lnTo>
                      <a:pt x="453" y="42"/>
                    </a:lnTo>
                    <a:lnTo>
                      <a:pt x="453" y="41"/>
                    </a:lnTo>
                    <a:lnTo>
                      <a:pt x="452" y="41"/>
                    </a:lnTo>
                    <a:lnTo>
                      <a:pt x="452" y="40"/>
                    </a:lnTo>
                    <a:lnTo>
                      <a:pt x="451" y="40"/>
                    </a:lnTo>
                    <a:lnTo>
                      <a:pt x="451" y="39"/>
                    </a:lnTo>
                    <a:lnTo>
                      <a:pt x="452" y="39"/>
                    </a:lnTo>
                    <a:lnTo>
                      <a:pt x="452" y="40"/>
                    </a:lnTo>
                    <a:lnTo>
                      <a:pt x="453" y="40"/>
                    </a:lnTo>
                    <a:lnTo>
                      <a:pt x="453" y="39"/>
                    </a:lnTo>
                    <a:lnTo>
                      <a:pt x="453" y="38"/>
                    </a:lnTo>
                    <a:lnTo>
                      <a:pt x="454" y="38"/>
                    </a:lnTo>
                    <a:lnTo>
                      <a:pt x="454" y="39"/>
                    </a:lnTo>
                    <a:lnTo>
                      <a:pt x="454" y="40"/>
                    </a:lnTo>
                    <a:lnTo>
                      <a:pt x="454" y="41"/>
                    </a:lnTo>
                    <a:lnTo>
                      <a:pt x="454" y="40"/>
                    </a:lnTo>
                    <a:lnTo>
                      <a:pt x="455" y="40"/>
                    </a:lnTo>
                    <a:lnTo>
                      <a:pt x="456" y="40"/>
                    </a:lnTo>
                    <a:lnTo>
                      <a:pt x="456" y="41"/>
                    </a:lnTo>
                    <a:lnTo>
                      <a:pt x="456" y="40"/>
                    </a:lnTo>
                    <a:lnTo>
                      <a:pt x="458" y="40"/>
                    </a:lnTo>
                    <a:lnTo>
                      <a:pt x="458" y="41"/>
                    </a:lnTo>
                    <a:lnTo>
                      <a:pt x="459" y="41"/>
                    </a:lnTo>
                    <a:lnTo>
                      <a:pt x="459" y="40"/>
                    </a:lnTo>
                    <a:lnTo>
                      <a:pt x="459" y="39"/>
                    </a:lnTo>
                    <a:lnTo>
                      <a:pt x="459" y="38"/>
                    </a:lnTo>
                    <a:lnTo>
                      <a:pt x="458" y="38"/>
                    </a:lnTo>
                    <a:lnTo>
                      <a:pt x="458" y="37"/>
                    </a:lnTo>
                    <a:lnTo>
                      <a:pt x="459" y="37"/>
                    </a:lnTo>
                    <a:lnTo>
                      <a:pt x="460" y="37"/>
                    </a:lnTo>
                    <a:lnTo>
                      <a:pt x="459" y="36"/>
                    </a:lnTo>
                    <a:lnTo>
                      <a:pt x="459" y="35"/>
                    </a:lnTo>
                    <a:lnTo>
                      <a:pt x="460" y="35"/>
                    </a:lnTo>
                    <a:lnTo>
                      <a:pt x="460" y="33"/>
                    </a:lnTo>
                    <a:lnTo>
                      <a:pt x="461" y="33"/>
                    </a:lnTo>
                    <a:lnTo>
                      <a:pt x="462" y="33"/>
                    </a:lnTo>
                    <a:lnTo>
                      <a:pt x="462" y="32"/>
                    </a:lnTo>
                    <a:lnTo>
                      <a:pt x="463" y="32"/>
                    </a:lnTo>
                    <a:lnTo>
                      <a:pt x="463" y="31"/>
                    </a:lnTo>
                    <a:lnTo>
                      <a:pt x="464" y="31"/>
                    </a:lnTo>
                    <a:lnTo>
                      <a:pt x="465" y="31"/>
                    </a:lnTo>
                    <a:lnTo>
                      <a:pt x="465" y="30"/>
                    </a:lnTo>
                    <a:lnTo>
                      <a:pt x="466" y="30"/>
                    </a:lnTo>
                    <a:lnTo>
                      <a:pt x="467" y="30"/>
                    </a:lnTo>
                    <a:lnTo>
                      <a:pt x="467" y="29"/>
                    </a:lnTo>
                    <a:lnTo>
                      <a:pt x="468" y="29"/>
                    </a:lnTo>
                    <a:lnTo>
                      <a:pt x="468" y="28"/>
                    </a:lnTo>
                    <a:lnTo>
                      <a:pt x="469" y="28"/>
                    </a:lnTo>
                    <a:lnTo>
                      <a:pt x="469" y="27"/>
                    </a:lnTo>
                    <a:lnTo>
                      <a:pt x="471" y="27"/>
                    </a:lnTo>
                    <a:lnTo>
                      <a:pt x="469" y="28"/>
                    </a:lnTo>
                    <a:lnTo>
                      <a:pt x="469" y="29"/>
                    </a:lnTo>
                    <a:lnTo>
                      <a:pt x="471" y="29"/>
                    </a:lnTo>
                    <a:lnTo>
                      <a:pt x="471" y="30"/>
                    </a:lnTo>
                    <a:close/>
                    <a:moveTo>
                      <a:pt x="489" y="71"/>
                    </a:moveTo>
                    <a:lnTo>
                      <a:pt x="489" y="72"/>
                    </a:lnTo>
                    <a:lnTo>
                      <a:pt x="490" y="72"/>
                    </a:lnTo>
                    <a:lnTo>
                      <a:pt x="490" y="74"/>
                    </a:lnTo>
                    <a:lnTo>
                      <a:pt x="491" y="74"/>
                    </a:lnTo>
                    <a:lnTo>
                      <a:pt x="491" y="72"/>
                    </a:lnTo>
                    <a:lnTo>
                      <a:pt x="491" y="74"/>
                    </a:lnTo>
                    <a:lnTo>
                      <a:pt x="491" y="75"/>
                    </a:lnTo>
                    <a:lnTo>
                      <a:pt x="490" y="75"/>
                    </a:lnTo>
                    <a:lnTo>
                      <a:pt x="489" y="75"/>
                    </a:lnTo>
                    <a:lnTo>
                      <a:pt x="489" y="76"/>
                    </a:lnTo>
                    <a:lnTo>
                      <a:pt x="489" y="77"/>
                    </a:lnTo>
                    <a:lnTo>
                      <a:pt x="490" y="77"/>
                    </a:lnTo>
                    <a:lnTo>
                      <a:pt x="491" y="77"/>
                    </a:lnTo>
                    <a:lnTo>
                      <a:pt x="492" y="77"/>
                    </a:lnTo>
                    <a:lnTo>
                      <a:pt x="492" y="78"/>
                    </a:lnTo>
                    <a:lnTo>
                      <a:pt x="493" y="78"/>
                    </a:lnTo>
                    <a:lnTo>
                      <a:pt x="494" y="78"/>
                    </a:lnTo>
                    <a:lnTo>
                      <a:pt x="494" y="77"/>
                    </a:lnTo>
                    <a:lnTo>
                      <a:pt x="493" y="76"/>
                    </a:lnTo>
                    <a:lnTo>
                      <a:pt x="492" y="76"/>
                    </a:lnTo>
                    <a:lnTo>
                      <a:pt x="492" y="75"/>
                    </a:lnTo>
                    <a:lnTo>
                      <a:pt x="493" y="75"/>
                    </a:lnTo>
                    <a:lnTo>
                      <a:pt x="493" y="74"/>
                    </a:lnTo>
                    <a:lnTo>
                      <a:pt x="493" y="72"/>
                    </a:lnTo>
                    <a:lnTo>
                      <a:pt x="492" y="72"/>
                    </a:lnTo>
                    <a:lnTo>
                      <a:pt x="492" y="71"/>
                    </a:lnTo>
                    <a:lnTo>
                      <a:pt x="491" y="71"/>
                    </a:lnTo>
                    <a:lnTo>
                      <a:pt x="491" y="72"/>
                    </a:lnTo>
                    <a:lnTo>
                      <a:pt x="490" y="72"/>
                    </a:lnTo>
                    <a:lnTo>
                      <a:pt x="489" y="72"/>
                    </a:lnTo>
                    <a:lnTo>
                      <a:pt x="489" y="71"/>
                    </a:lnTo>
                    <a:lnTo>
                      <a:pt x="489" y="70"/>
                    </a:lnTo>
                    <a:lnTo>
                      <a:pt x="490" y="70"/>
                    </a:lnTo>
                    <a:lnTo>
                      <a:pt x="491" y="70"/>
                    </a:lnTo>
                    <a:lnTo>
                      <a:pt x="492" y="70"/>
                    </a:lnTo>
                    <a:lnTo>
                      <a:pt x="492" y="69"/>
                    </a:lnTo>
                    <a:lnTo>
                      <a:pt x="492" y="68"/>
                    </a:lnTo>
                    <a:lnTo>
                      <a:pt x="492" y="69"/>
                    </a:lnTo>
                    <a:lnTo>
                      <a:pt x="493" y="69"/>
                    </a:lnTo>
                    <a:lnTo>
                      <a:pt x="493" y="70"/>
                    </a:lnTo>
                    <a:lnTo>
                      <a:pt x="493" y="71"/>
                    </a:lnTo>
                    <a:lnTo>
                      <a:pt x="494" y="71"/>
                    </a:lnTo>
                    <a:lnTo>
                      <a:pt x="494" y="72"/>
                    </a:lnTo>
                    <a:lnTo>
                      <a:pt x="495" y="72"/>
                    </a:lnTo>
                    <a:lnTo>
                      <a:pt x="495" y="71"/>
                    </a:lnTo>
                    <a:lnTo>
                      <a:pt x="495" y="70"/>
                    </a:lnTo>
                    <a:lnTo>
                      <a:pt x="495" y="69"/>
                    </a:lnTo>
                    <a:lnTo>
                      <a:pt x="497" y="69"/>
                    </a:lnTo>
                    <a:lnTo>
                      <a:pt x="498" y="70"/>
                    </a:lnTo>
                    <a:lnTo>
                      <a:pt x="499" y="70"/>
                    </a:lnTo>
                    <a:lnTo>
                      <a:pt x="498" y="70"/>
                    </a:lnTo>
                    <a:lnTo>
                      <a:pt x="499" y="70"/>
                    </a:lnTo>
                    <a:lnTo>
                      <a:pt x="499" y="71"/>
                    </a:lnTo>
                    <a:lnTo>
                      <a:pt x="499" y="72"/>
                    </a:lnTo>
                    <a:lnTo>
                      <a:pt x="500" y="74"/>
                    </a:lnTo>
                    <a:lnTo>
                      <a:pt x="501" y="75"/>
                    </a:lnTo>
                    <a:lnTo>
                      <a:pt x="501" y="74"/>
                    </a:lnTo>
                    <a:lnTo>
                      <a:pt x="501" y="75"/>
                    </a:lnTo>
                    <a:lnTo>
                      <a:pt x="502" y="75"/>
                    </a:lnTo>
                    <a:lnTo>
                      <a:pt x="503" y="75"/>
                    </a:lnTo>
                    <a:lnTo>
                      <a:pt x="502" y="76"/>
                    </a:lnTo>
                    <a:lnTo>
                      <a:pt x="502" y="77"/>
                    </a:lnTo>
                    <a:lnTo>
                      <a:pt x="501" y="77"/>
                    </a:lnTo>
                    <a:lnTo>
                      <a:pt x="501" y="78"/>
                    </a:lnTo>
                    <a:lnTo>
                      <a:pt x="500" y="78"/>
                    </a:lnTo>
                    <a:lnTo>
                      <a:pt x="500" y="79"/>
                    </a:lnTo>
                    <a:lnTo>
                      <a:pt x="500" y="80"/>
                    </a:lnTo>
                    <a:lnTo>
                      <a:pt x="500" y="81"/>
                    </a:lnTo>
                    <a:lnTo>
                      <a:pt x="500" y="82"/>
                    </a:lnTo>
                    <a:lnTo>
                      <a:pt x="499" y="82"/>
                    </a:lnTo>
                    <a:lnTo>
                      <a:pt x="499" y="83"/>
                    </a:lnTo>
                    <a:lnTo>
                      <a:pt x="498" y="83"/>
                    </a:lnTo>
                    <a:lnTo>
                      <a:pt x="498" y="84"/>
                    </a:lnTo>
                    <a:lnTo>
                      <a:pt x="497" y="84"/>
                    </a:lnTo>
                    <a:lnTo>
                      <a:pt x="497" y="86"/>
                    </a:lnTo>
                    <a:lnTo>
                      <a:pt x="497" y="87"/>
                    </a:lnTo>
                    <a:lnTo>
                      <a:pt x="497" y="88"/>
                    </a:lnTo>
                    <a:lnTo>
                      <a:pt x="495" y="88"/>
                    </a:lnTo>
                    <a:lnTo>
                      <a:pt x="494" y="88"/>
                    </a:lnTo>
                    <a:lnTo>
                      <a:pt x="494" y="89"/>
                    </a:lnTo>
                    <a:lnTo>
                      <a:pt x="493" y="89"/>
                    </a:lnTo>
                    <a:lnTo>
                      <a:pt x="492" y="90"/>
                    </a:lnTo>
                    <a:lnTo>
                      <a:pt x="491" y="90"/>
                    </a:lnTo>
                    <a:lnTo>
                      <a:pt x="492" y="90"/>
                    </a:lnTo>
                    <a:lnTo>
                      <a:pt x="492" y="89"/>
                    </a:lnTo>
                    <a:lnTo>
                      <a:pt x="493" y="89"/>
                    </a:lnTo>
                    <a:lnTo>
                      <a:pt x="493" y="88"/>
                    </a:lnTo>
                    <a:lnTo>
                      <a:pt x="494" y="87"/>
                    </a:lnTo>
                    <a:lnTo>
                      <a:pt x="494" y="86"/>
                    </a:lnTo>
                    <a:lnTo>
                      <a:pt x="493" y="86"/>
                    </a:lnTo>
                    <a:lnTo>
                      <a:pt x="492" y="86"/>
                    </a:lnTo>
                    <a:lnTo>
                      <a:pt x="492" y="87"/>
                    </a:lnTo>
                    <a:lnTo>
                      <a:pt x="491" y="87"/>
                    </a:lnTo>
                    <a:lnTo>
                      <a:pt x="491" y="88"/>
                    </a:lnTo>
                    <a:lnTo>
                      <a:pt x="490" y="88"/>
                    </a:lnTo>
                    <a:lnTo>
                      <a:pt x="491" y="88"/>
                    </a:lnTo>
                    <a:lnTo>
                      <a:pt x="491" y="87"/>
                    </a:lnTo>
                    <a:lnTo>
                      <a:pt x="491" y="86"/>
                    </a:lnTo>
                    <a:lnTo>
                      <a:pt x="492" y="86"/>
                    </a:lnTo>
                    <a:lnTo>
                      <a:pt x="493" y="86"/>
                    </a:lnTo>
                    <a:lnTo>
                      <a:pt x="493" y="84"/>
                    </a:lnTo>
                    <a:lnTo>
                      <a:pt x="493" y="83"/>
                    </a:lnTo>
                    <a:lnTo>
                      <a:pt x="493" y="84"/>
                    </a:lnTo>
                    <a:lnTo>
                      <a:pt x="492" y="84"/>
                    </a:lnTo>
                    <a:lnTo>
                      <a:pt x="491" y="86"/>
                    </a:lnTo>
                    <a:lnTo>
                      <a:pt x="490" y="86"/>
                    </a:lnTo>
                    <a:lnTo>
                      <a:pt x="489" y="86"/>
                    </a:lnTo>
                    <a:lnTo>
                      <a:pt x="490" y="86"/>
                    </a:lnTo>
                    <a:lnTo>
                      <a:pt x="491" y="86"/>
                    </a:lnTo>
                    <a:lnTo>
                      <a:pt x="491" y="84"/>
                    </a:lnTo>
                    <a:lnTo>
                      <a:pt x="491" y="83"/>
                    </a:lnTo>
                    <a:lnTo>
                      <a:pt x="491" y="82"/>
                    </a:lnTo>
                    <a:lnTo>
                      <a:pt x="491" y="81"/>
                    </a:lnTo>
                    <a:lnTo>
                      <a:pt x="490" y="81"/>
                    </a:lnTo>
                    <a:lnTo>
                      <a:pt x="489" y="80"/>
                    </a:lnTo>
                    <a:lnTo>
                      <a:pt x="489" y="79"/>
                    </a:lnTo>
                    <a:lnTo>
                      <a:pt x="489" y="78"/>
                    </a:lnTo>
                    <a:lnTo>
                      <a:pt x="488" y="78"/>
                    </a:lnTo>
                    <a:lnTo>
                      <a:pt x="488" y="79"/>
                    </a:lnTo>
                    <a:lnTo>
                      <a:pt x="488" y="80"/>
                    </a:lnTo>
                    <a:lnTo>
                      <a:pt x="488" y="81"/>
                    </a:lnTo>
                    <a:lnTo>
                      <a:pt x="487" y="81"/>
                    </a:lnTo>
                    <a:lnTo>
                      <a:pt x="487" y="82"/>
                    </a:lnTo>
                    <a:lnTo>
                      <a:pt x="487" y="83"/>
                    </a:lnTo>
                    <a:lnTo>
                      <a:pt x="486" y="83"/>
                    </a:lnTo>
                    <a:lnTo>
                      <a:pt x="485" y="83"/>
                    </a:lnTo>
                    <a:lnTo>
                      <a:pt x="485" y="84"/>
                    </a:lnTo>
                    <a:lnTo>
                      <a:pt x="485" y="83"/>
                    </a:lnTo>
                    <a:lnTo>
                      <a:pt x="484" y="82"/>
                    </a:lnTo>
                    <a:lnTo>
                      <a:pt x="482" y="82"/>
                    </a:lnTo>
                    <a:lnTo>
                      <a:pt x="482" y="81"/>
                    </a:lnTo>
                    <a:lnTo>
                      <a:pt x="482" y="80"/>
                    </a:lnTo>
                    <a:lnTo>
                      <a:pt x="484" y="80"/>
                    </a:lnTo>
                    <a:lnTo>
                      <a:pt x="484" y="79"/>
                    </a:lnTo>
                    <a:lnTo>
                      <a:pt x="484" y="78"/>
                    </a:lnTo>
                    <a:lnTo>
                      <a:pt x="484" y="77"/>
                    </a:lnTo>
                    <a:lnTo>
                      <a:pt x="484" y="78"/>
                    </a:lnTo>
                    <a:lnTo>
                      <a:pt x="485" y="78"/>
                    </a:lnTo>
                    <a:lnTo>
                      <a:pt x="485" y="77"/>
                    </a:lnTo>
                    <a:lnTo>
                      <a:pt x="486" y="77"/>
                    </a:lnTo>
                    <a:lnTo>
                      <a:pt x="485" y="77"/>
                    </a:lnTo>
                    <a:lnTo>
                      <a:pt x="485" y="76"/>
                    </a:lnTo>
                    <a:lnTo>
                      <a:pt x="485" y="75"/>
                    </a:lnTo>
                    <a:lnTo>
                      <a:pt x="486" y="75"/>
                    </a:lnTo>
                    <a:lnTo>
                      <a:pt x="486" y="74"/>
                    </a:lnTo>
                    <a:lnTo>
                      <a:pt x="486" y="75"/>
                    </a:lnTo>
                    <a:lnTo>
                      <a:pt x="487" y="75"/>
                    </a:lnTo>
                    <a:lnTo>
                      <a:pt x="488" y="75"/>
                    </a:lnTo>
                    <a:lnTo>
                      <a:pt x="488" y="74"/>
                    </a:lnTo>
                    <a:lnTo>
                      <a:pt x="489" y="74"/>
                    </a:lnTo>
                    <a:lnTo>
                      <a:pt x="488" y="74"/>
                    </a:lnTo>
                    <a:lnTo>
                      <a:pt x="488" y="72"/>
                    </a:lnTo>
                    <a:lnTo>
                      <a:pt x="487" y="74"/>
                    </a:lnTo>
                    <a:lnTo>
                      <a:pt x="487" y="72"/>
                    </a:lnTo>
                    <a:lnTo>
                      <a:pt x="488" y="72"/>
                    </a:lnTo>
                    <a:lnTo>
                      <a:pt x="488" y="71"/>
                    </a:lnTo>
                    <a:lnTo>
                      <a:pt x="488" y="70"/>
                    </a:lnTo>
                    <a:lnTo>
                      <a:pt x="488" y="69"/>
                    </a:lnTo>
                    <a:lnTo>
                      <a:pt x="489" y="68"/>
                    </a:lnTo>
                    <a:lnTo>
                      <a:pt x="489" y="67"/>
                    </a:lnTo>
                    <a:lnTo>
                      <a:pt x="490" y="67"/>
                    </a:lnTo>
                    <a:lnTo>
                      <a:pt x="490" y="68"/>
                    </a:lnTo>
                    <a:lnTo>
                      <a:pt x="489" y="68"/>
                    </a:lnTo>
                    <a:lnTo>
                      <a:pt x="489" y="69"/>
                    </a:lnTo>
                    <a:lnTo>
                      <a:pt x="488" y="69"/>
                    </a:lnTo>
                    <a:lnTo>
                      <a:pt x="489" y="70"/>
                    </a:lnTo>
                    <a:lnTo>
                      <a:pt x="488" y="71"/>
                    </a:lnTo>
                    <a:lnTo>
                      <a:pt x="489" y="71"/>
                    </a:lnTo>
                    <a:close/>
                    <a:moveTo>
                      <a:pt x="468" y="148"/>
                    </a:moveTo>
                    <a:lnTo>
                      <a:pt x="469" y="149"/>
                    </a:lnTo>
                    <a:lnTo>
                      <a:pt x="471" y="149"/>
                    </a:lnTo>
                    <a:lnTo>
                      <a:pt x="471" y="151"/>
                    </a:lnTo>
                    <a:lnTo>
                      <a:pt x="472" y="151"/>
                    </a:lnTo>
                    <a:lnTo>
                      <a:pt x="472" y="149"/>
                    </a:lnTo>
                    <a:lnTo>
                      <a:pt x="473" y="149"/>
                    </a:lnTo>
                    <a:lnTo>
                      <a:pt x="473" y="151"/>
                    </a:lnTo>
                    <a:lnTo>
                      <a:pt x="474" y="151"/>
                    </a:lnTo>
                    <a:lnTo>
                      <a:pt x="475" y="151"/>
                    </a:lnTo>
                    <a:lnTo>
                      <a:pt x="474" y="151"/>
                    </a:lnTo>
                    <a:lnTo>
                      <a:pt x="474" y="149"/>
                    </a:lnTo>
                    <a:lnTo>
                      <a:pt x="473" y="149"/>
                    </a:lnTo>
                    <a:lnTo>
                      <a:pt x="474" y="149"/>
                    </a:lnTo>
                    <a:lnTo>
                      <a:pt x="475" y="149"/>
                    </a:lnTo>
                    <a:lnTo>
                      <a:pt x="476" y="149"/>
                    </a:lnTo>
                    <a:lnTo>
                      <a:pt x="476" y="151"/>
                    </a:lnTo>
                    <a:lnTo>
                      <a:pt x="475" y="151"/>
                    </a:lnTo>
                    <a:lnTo>
                      <a:pt x="474" y="152"/>
                    </a:lnTo>
                    <a:lnTo>
                      <a:pt x="474" y="153"/>
                    </a:lnTo>
                    <a:lnTo>
                      <a:pt x="474" y="154"/>
                    </a:lnTo>
                    <a:lnTo>
                      <a:pt x="474" y="155"/>
                    </a:lnTo>
                    <a:lnTo>
                      <a:pt x="474" y="156"/>
                    </a:lnTo>
                    <a:lnTo>
                      <a:pt x="474" y="157"/>
                    </a:lnTo>
                    <a:lnTo>
                      <a:pt x="475" y="157"/>
                    </a:lnTo>
                    <a:lnTo>
                      <a:pt x="474" y="158"/>
                    </a:lnTo>
                    <a:lnTo>
                      <a:pt x="474" y="159"/>
                    </a:lnTo>
                    <a:lnTo>
                      <a:pt x="473" y="159"/>
                    </a:lnTo>
                    <a:lnTo>
                      <a:pt x="474" y="159"/>
                    </a:lnTo>
                    <a:lnTo>
                      <a:pt x="475" y="159"/>
                    </a:lnTo>
                    <a:lnTo>
                      <a:pt x="475" y="158"/>
                    </a:lnTo>
                    <a:lnTo>
                      <a:pt x="475" y="159"/>
                    </a:lnTo>
                    <a:lnTo>
                      <a:pt x="476" y="159"/>
                    </a:lnTo>
                    <a:lnTo>
                      <a:pt x="476" y="160"/>
                    </a:lnTo>
                    <a:lnTo>
                      <a:pt x="477" y="160"/>
                    </a:lnTo>
                    <a:lnTo>
                      <a:pt x="478" y="160"/>
                    </a:lnTo>
                    <a:lnTo>
                      <a:pt x="478" y="161"/>
                    </a:lnTo>
                    <a:lnTo>
                      <a:pt x="477" y="160"/>
                    </a:lnTo>
                    <a:lnTo>
                      <a:pt x="476" y="160"/>
                    </a:lnTo>
                    <a:lnTo>
                      <a:pt x="475" y="160"/>
                    </a:lnTo>
                    <a:lnTo>
                      <a:pt x="474" y="160"/>
                    </a:lnTo>
                    <a:lnTo>
                      <a:pt x="473" y="160"/>
                    </a:lnTo>
                    <a:lnTo>
                      <a:pt x="472" y="161"/>
                    </a:lnTo>
                    <a:lnTo>
                      <a:pt x="472" y="160"/>
                    </a:lnTo>
                    <a:lnTo>
                      <a:pt x="471" y="160"/>
                    </a:lnTo>
                    <a:lnTo>
                      <a:pt x="469" y="160"/>
                    </a:lnTo>
                    <a:lnTo>
                      <a:pt x="468" y="160"/>
                    </a:lnTo>
                    <a:lnTo>
                      <a:pt x="467" y="160"/>
                    </a:lnTo>
                    <a:lnTo>
                      <a:pt x="466" y="160"/>
                    </a:lnTo>
                    <a:lnTo>
                      <a:pt x="465" y="160"/>
                    </a:lnTo>
                    <a:lnTo>
                      <a:pt x="464" y="160"/>
                    </a:lnTo>
                    <a:lnTo>
                      <a:pt x="464" y="161"/>
                    </a:lnTo>
                    <a:lnTo>
                      <a:pt x="463" y="161"/>
                    </a:lnTo>
                    <a:lnTo>
                      <a:pt x="461" y="161"/>
                    </a:lnTo>
                    <a:lnTo>
                      <a:pt x="460" y="161"/>
                    </a:lnTo>
                    <a:lnTo>
                      <a:pt x="459" y="161"/>
                    </a:lnTo>
                    <a:lnTo>
                      <a:pt x="458" y="160"/>
                    </a:lnTo>
                    <a:lnTo>
                      <a:pt x="456" y="160"/>
                    </a:lnTo>
                    <a:lnTo>
                      <a:pt x="455" y="160"/>
                    </a:lnTo>
                    <a:lnTo>
                      <a:pt x="454" y="160"/>
                    </a:lnTo>
                    <a:lnTo>
                      <a:pt x="454" y="159"/>
                    </a:lnTo>
                    <a:lnTo>
                      <a:pt x="453" y="158"/>
                    </a:lnTo>
                    <a:lnTo>
                      <a:pt x="453" y="159"/>
                    </a:lnTo>
                    <a:lnTo>
                      <a:pt x="453" y="160"/>
                    </a:lnTo>
                    <a:lnTo>
                      <a:pt x="452" y="160"/>
                    </a:lnTo>
                    <a:lnTo>
                      <a:pt x="452" y="161"/>
                    </a:lnTo>
                    <a:lnTo>
                      <a:pt x="451" y="161"/>
                    </a:lnTo>
                    <a:lnTo>
                      <a:pt x="450" y="162"/>
                    </a:lnTo>
                    <a:lnTo>
                      <a:pt x="449" y="162"/>
                    </a:lnTo>
                    <a:lnTo>
                      <a:pt x="448" y="164"/>
                    </a:lnTo>
                    <a:lnTo>
                      <a:pt x="447" y="165"/>
                    </a:lnTo>
                    <a:lnTo>
                      <a:pt x="446" y="165"/>
                    </a:lnTo>
                    <a:lnTo>
                      <a:pt x="446" y="166"/>
                    </a:lnTo>
                    <a:lnTo>
                      <a:pt x="445" y="166"/>
                    </a:lnTo>
                    <a:lnTo>
                      <a:pt x="446" y="166"/>
                    </a:lnTo>
                    <a:lnTo>
                      <a:pt x="446" y="167"/>
                    </a:lnTo>
                    <a:lnTo>
                      <a:pt x="445" y="167"/>
                    </a:lnTo>
                    <a:lnTo>
                      <a:pt x="445" y="168"/>
                    </a:lnTo>
                    <a:lnTo>
                      <a:pt x="445" y="167"/>
                    </a:lnTo>
                    <a:lnTo>
                      <a:pt x="443" y="167"/>
                    </a:lnTo>
                    <a:lnTo>
                      <a:pt x="442" y="168"/>
                    </a:lnTo>
                    <a:lnTo>
                      <a:pt x="441" y="168"/>
                    </a:lnTo>
                    <a:lnTo>
                      <a:pt x="440" y="169"/>
                    </a:lnTo>
                    <a:lnTo>
                      <a:pt x="439" y="169"/>
                    </a:lnTo>
                    <a:lnTo>
                      <a:pt x="439" y="170"/>
                    </a:lnTo>
                    <a:lnTo>
                      <a:pt x="438" y="170"/>
                    </a:lnTo>
                    <a:lnTo>
                      <a:pt x="437" y="171"/>
                    </a:lnTo>
                    <a:lnTo>
                      <a:pt x="436" y="172"/>
                    </a:lnTo>
                    <a:lnTo>
                      <a:pt x="436" y="173"/>
                    </a:lnTo>
                    <a:lnTo>
                      <a:pt x="435" y="173"/>
                    </a:lnTo>
                    <a:lnTo>
                      <a:pt x="434" y="172"/>
                    </a:lnTo>
                    <a:lnTo>
                      <a:pt x="435" y="172"/>
                    </a:lnTo>
                    <a:lnTo>
                      <a:pt x="435" y="171"/>
                    </a:lnTo>
                    <a:lnTo>
                      <a:pt x="435" y="170"/>
                    </a:lnTo>
                    <a:lnTo>
                      <a:pt x="436" y="170"/>
                    </a:lnTo>
                    <a:lnTo>
                      <a:pt x="437" y="170"/>
                    </a:lnTo>
                    <a:lnTo>
                      <a:pt x="438" y="169"/>
                    </a:lnTo>
                    <a:lnTo>
                      <a:pt x="438" y="168"/>
                    </a:lnTo>
                    <a:lnTo>
                      <a:pt x="439" y="168"/>
                    </a:lnTo>
                    <a:lnTo>
                      <a:pt x="439" y="167"/>
                    </a:lnTo>
                    <a:lnTo>
                      <a:pt x="440" y="167"/>
                    </a:lnTo>
                    <a:lnTo>
                      <a:pt x="441" y="167"/>
                    </a:lnTo>
                    <a:lnTo>
                      <a:pt x="442" y="167"/>
                    </a:lnTo>
                    <a:lnTo>
                      <a:pt x="442" y="166"/>
                    </a:lnTo>
                    <a:lnTo>
                      <a:pt x="443" y="166"/>
                    </a:lnTo>
                    <a:lnTo>
                      <a:pt x="443" y="165"/>
                    </a:lnTo>
                    <a:lnTo>
                      <a:pt x="445" y="165"/>
                    </a:lnTo>
                    <a:lnTo>
                      <a:pt x="445" y="164"/>
                    </a:lnTo>
                    <a:lnTo>
                      <a:pt x="445" y="162"/>
                    </a:lnTo>
                    <a:lnTo>
                      <a:pt x="445" y="164"/>
                    </a:lnTo>
                    <a:lnTo>
                      <a:pt x="445" y="162"/>
                    </a:lnTo>
                    <a:lnTo>
                      <a:pt x="445" y="161"/>
                    </a:lnTo>
                    <a:lnTo>
                      <a:pt x="445" y="160"/>
                    </a:lnTo>
                    <a:lnTo>
                      <a:pt x="446" y="160"/>
                    </a:lnTo>
                    <a:lnTo>
                      <a:pt x="447" y="160"/>
                    </a:lnTo>
                    <a:lnTo>
                      <a:pt x="447" y="159"/>
                    </a:lnTo>
                    <a:lnTo>
                      <a:pt x="448" y="159"/>
                    </a:lnTo>
                    <a:lnTo>
                      <a:pt x="448" y="158"/>
                    </a:lnTo>
                    <a:lnTo>
                      <a:pt x="449" y="158"/>
                    </a:lnTo>
                    <a:lnTo>
                      <a:pt x="449" y="159"/>
                    </a:lnTo>
                    <a:lnTo>
                      <a:pt x="449" y="160"/>
                    </a:lnTo>
                    <a:lnTo>
                      <a:pt x="450" y="160"/>
                    </a:lnTo>
                    <a:lnTo>
                      <a:pt x="451" y="160"/>
                    </a:lnTo>
                    <a:lnTo>
                      <a:pt x="451" y="159"/>
                    </a:lnTo>
                    <a:lnTo>
                      <a:pt x="451" y="158"/>
                    </a:lnTo>
                    <a:lnTo>
                      <a:pt x="452" y="158"/>
                    </a:lnTo>
                    <a:lnTo>
                      <a:pt x="451" y="157"/>
                    </a:lnTo>
                    <a:lnTo>
                      <a:pt x="451" y="156"/>
                    </a:lnTo>
                    <a:lnTo>
                      <a:pt x="452" y="156"/>
                    </a:lnTo>
                    <a:lnTo>
                      <a:pt x="452" y="155"/>
                    </a:lnTo>
                    <a:lnTo>
                      <a:pt x="453" y="155"/>
                    </a:lnTo>
                    <a:lnTo>
                      <a:pt x="453" y="154"/>
                    </a:lnTo>
                    <a:lnTo>
                      <a:pt x="454" y="154"/>
                    </a:lnTo>
                    <a:lnTo>
                      <a:pt x="454" y="153"/>
                    </a:lnTo>
                    <a:lnTo>
                      <a:pt x="455" y="153"/>
                    </a:lnTo>
                    <a:lnTo>
                      <a:pt x="455" y="154"/>
                    </a:lnTo>
                    <a:lnTo>
                      <a:pt x="454" y="155"/>
                    </a:lnTo>
                    <a:lnTo>
                      <a:pt x="454" y="156"/>
                    </a:lnTo>
                    <a:lnTo>
                      <a:pt x="455" y="156"/>
                    </a:lnTo>
                    <a:lnTo>
                      <a:pt x="454" y="156"/>
                    </a:lnTo>
                    <a:lnTo>
                      <a:pt x="454" y="157"/>
                    </a:lnTo>
                    <a:lnTo>
                      <a:pt x="455" y="157"/>
                    </a:lnTo>
                    <a:lnTo>
                      <a:pt x="456" y="156"/>
                    </a:lnTo>
                    <a:lnTo>
                      <a:pt x="455" y="156"/>
                    </a:lnTo>
                    <a:lnTo>
                      <a:pt x="456" y="156"/>
                    </a:lnTo>
                    <a:lnTo>
                      <a:pt x="458" y="156"/>
                    </a:lnTo>
                    <a:lnTo>
                      <a:pt x="458" y="157"/>
                    </a:lnTo>
                    <a:lnTo>
                      <a:pt x="458" y="156"/>
                    </a:lnTo>
                    <a:lnTo>
                      <a:pt x="458" y="157"/>
                    </a:lnTo>
                    <a:lnTo>
                      <a:pt x="459" y="157"/>
                    </a:lnTo>
                    <a:lnTo>
                      <a:pt x="459" y="158"/>
                    </a:lnTo>
                    <a:lnTo>
                      <a:pt x="460" y="158"/>
                    </a:lnTo>
                    <a:lnTo>
                      <a:pt x="461" y="158"/>
                    </a:lnTo>
                    <a:lnTo>
                      <a:pt x="461" y="159"/>
                    </a:lnTo>
                    <a:lnTo>
                      <a:pt x="462" y="159"/>
                    </a:lnTo>
                    <a:lnTo>
                      <a:pt x="463" y="159"/>
                    </a:lnTo>
                    <a:lnTo>
                      <a:pt x="464" y="160"/>
                    </a:lnTo>
                    <a:lnTo>
                      <a:pt x="464" y="159"/>
                    </a:lnTo>
                    <a:lnTo>
                      <a:pt x="465" y="159"/>
                    </a:lnTo>
                    <a:lnTo>
                      <a:pt x="465" y="160"/>
                    </a:lnTo>
                    <a:lnTo>
                      <a:pt x="466" y="160"/>
                    </a:lnTo>
                    <a:lnTo>
                      <a:pt x="466" y="159"/>
                    </a:lnTo>
                    <a:lnTo>
                      <a:pt x="467" y="159"/>
                    </a:lnTo>
                    <a:lnTo>
                      <a:pt x="467" y="158"/>
                    </a:lnTo>
                    <a:lnTo>
                      <a:pt x="468" y="158"/>
                    </a:lnTo>
                    <a:lnTo>
                      <a:pt x="467" y="159"/>
                    </a:lnTo>
                    <a:lnTo>
                      <a:pt x="466" y="159"/>
                    </a:lnTo>
                    <a:lnTo>
                      <a:pt x="467" y="159"/>
                    </a:lnTo>
                    <a:lnTo>
                      <a:pt x="468" y="159"/>
                    </a:lnTo>
                    <a:lnTo>
                      <a:pt x="468" y="158"/>
                    </a:lnTo>
                    <a:lnTo>
                      <a:pt x="467" y="158"/>
                    </a:lnTo>
                    <a:lnTo>
                      <a:pt x="468" y="158"/>
                    </a:lnTo>
                    <a:lnTo>
                      <a:pt x="468" y="157"/>
                    </a:lnTo>
                    <a:lnTo>
                      <a:pt x="469" y="157"/>
                    </a:lnTo>
                    <a:lnTo>
                      <a:pt x="469" y="156"/>
                    </a:lnTo>
                    <a:lnTo>
                      <a:pt x="469" y="155"/>
                    </a:lnTo>
                    <a:lnTo>
                      <a:pt x="468" y="155"/>
                    </a:lnTo>
                    <a:lnTo>
                      <a:pt x="468" y="154"/>
                    </a:lnTo>
                    <a:lnTo>
                      <a:pt x="468" y="153"/>
                    </a:lnTo>
                    <a:lnTo>
                      <a:pt x="468" y="154"/>
                    </a:lnTo>
                    <a:lnTo>
                      <a:pt x="469" y="154"/>
                    </a:lnTo>
                    <a:lnTo>
                      <a:pt x="469" y="155"/>
                    </a:lnTo>
                    <a:lnTo>
                      <a:pt x="471" y="155"/>
                    </a:lnTo>
                    <a:lnTo>
                      <a:pt x="471" y="154"/>
                    </a:lnTo>
                    <a:lnTo>
                      <a:pt x="472" y="154"/>
                    </a:lnTo>
                    <a:lnTo>
                      <a:pt x="472" y="153"/>
                    </a:lnTo>
                    <a:lnTo>
                      <a:pt x="473" y="153"/>
                    </a:lnTo>
                    <a:lnTo>
                      <a:pt x="473" y="152"/>
                    </a:lnTo>
                    <a:lnTo>
                      <a:pt x="473" y="151"/>
                    </a:lnTo>
                    <a:lnTo>
                      <a:pt x="472" y="152"/>
                    </a:lnTo>
                    <a:lnTo>
                      <a:pt x="472" y="151"/>
                    </a:lnTo>
                    <a:lnTo>
                      <a:pt x="471" y="151"/>
                    </a:lnTo>
                    <a:lnTo>
                      <a:pt x="471" y="149"/>
                    </a:lnTo>
                    <a:lnTo>
                      <a:pt x="469" y="149"/>
                    </a:lnTo>
                    <a:lnTo>
                      <a:pt x="468" y="149"/>
                    </a:lnTo>
                    <a:lnTo>
                      <a:pt x="468" y="148"/>
                    </a:lnTo>
                    <a:lnTo>
                      <a:pt x="467" y="148"/>
                    </a:lnTo>
                    <a:lnTo>
                      <a:pt x="468" y="148"/>
                    </a:lnTo>
                    <a:close/>
                    <a:moveTo>
                      <a:pt x="397" y="235"/>
                    </a:moveTo>
                    <a:lnTo>
                      <a:pt x="398" y="235"/>
                    </a:lnTo>
                    <a:lnTo>
                      <a:pt x="399" y="235"/>
                    </a:lnTo>
                    <a:lnTo>
                      <a:pt x="398" y="235"/>
                    </a:lnTo>
                    <a:lnTo>
                      <a:pt x="399" y="236"/>
                    </a:lnTo>
                    <a:lnTo>
                      <a:pt x="399" y="237"/>
                    </a:lnTo>
                    <a:lnTo>
                      <a:pt x="400" y="238"/>
                    </a:lnTo>
                    <a:lnTo>
                      <a:pt x="401" y="239"/>
                    </a:lnTo>
                    <a:lnTo>
                      <a:pt x="402" y="239"/>
                    </a:lnTo>
                    <a:lnTo>
                      <a:pt x="403" y="239"/>
                    </a:lnTo>
                    <a:lnTo>
                      <a:pt x="404" y="239"/>
                    </a:lnTo>
                    <a:lnTo>
                      <a:pt x="406" y="239"/>
                    </a:lnTo>
                    <a:lnTo>
                      <a:pt x="407" y="239"/>
                    </a:lnTo>
                    <a:lnTo>
                      <a:pt x="407" y="241"/>
                    </a:lnTo>
                    <a:lnTo>
                      <a:pt x="408" y="241"/>
                    </a:lnTo>
                    <a:lnTo>
                      <a:pt x="408" y="242"/>
                    </a:lnTo>
                    <a:lnTo>
                      <a:pt x="409" y="242"/>
                    </a:lnTo>
                    <a:lnTo>
                      <a:pt x="409" y="243"/>
                    </a:lnTo>
                    <a:lnTo>
                      <a:pt x="409" y="244"/>
                    </a:lnTo>
                    <a:lnTo>
                      <a:pt x="408" y="244"/>
                    </a:lnTo>
                    <a:lnTo>
                      <a:pt x="409" y="243"/>
                    </a:lnTo>
                    <a:lnTo>
                      <a:pt x="408" y="243"/>
                    </a:lnTo>
                    <a:lnTo>
                      <a:pt x="408" y="242"/>
                    </a:lnTo>
                    <a:lnTo>
                      <a:pt x="407" y="242"/>
                    </a:lnTo>
                    <a:lnTo>
                      <a:pt x="406" y="243"/>
                    </a:lnTo>
                    <a:lnTo>
                      <a:pt x="404" y="243"/>
                    </a:lnTo>
                    <a:lnTo>
                      <a:pt x="403" y="244"/>
                    </a:lnTo>
                    <a:lnTo>
                      <a:pt x="402" y="244"/>
                    </a:lnTo>
                    <a:lnTo>
                      <a:pt x="402" y="245"/>
                    </a:lnTo>
                    <a:lnTo>
                      <a:pt x="402" y="246"/>
                    </a:lnTo>
                    <a:lnTo>
                      <a:pt x="401" y="246"/>
                    </a:lnTo>
                    <a:lnTo>
                      <a:pt x="400" y="247"/>
                    </a:lnTo>
                    <a:lnTo>
                      <a:pt x="400" y="246"/>
                    </a:lnTo>
                    <a:lnTo>
                      <a:pt x="399" y="245"/>
                    </a:lnTo>
                    <a:lnTo>
                      <a:pt x="398" y="245"/>
                    </a:lnTo>
                    <a:lnTo>
                      <a:pt x="396" y="245"/>
                    </a:lnTo>
                    <a:lnTo>
                      <a:pt x="395" y="245"/>
                    </a:lnTo>
                    <a:lnTo>
                      <a:pt x="394" y="245"/>
                    </a:lnTo>
                    <a:lnTo>
                      <a:pt x="393" y="246"/>
                    </a:lnTo>
                    <a:lnTo>
                      <a:pt x="391" y="246"/>
                    </a:lnTo>
                    <a:lnTo>
                      <a:pt x="391" y="245"/>
                    </a:lnTo>
                    <a:lnTo>
                      <a:pt x="390" y="245"/>
                    </a:lnTo>
                    <a:lnTo>
                      <a:pt x="389" y="244"/>
                    </a:lnTo>
                    <a:lnTo>
                      <a:pt x="389" y="245"/>
                    </a:lnTo>
                    <a:lnTo>
                      <a:pt x="389" y="244"/>
                    </a:lnTo>
                    <a:lnTo>
                      <a:pt x="388" y="244"/>
                    </a:lnTo>
                    <a:lnTo>
                      <a:pt x="383" y="239"/>
                    </a:lnTo>
                    <a:lnTo>
                      <a:pt x="382" y="239"/>
                    </a:lnTo>
                    <a:lnTo>
                      <a:pt x="388" y="244"/>
                    </a:lnTo>
                    <a:lnTo>
                      <a:pt x="388" y="245"/>
                    </a:lnTo>
                    <a:lnTo>
                      <a:pt x="389" y="245"/>
                    </a:lnTo>
                    <a:lnTo>
                      <a:pt x="390" y="246"/>
                    </a:lnTo>
                    <a:lnTo>
                      <a:pt x="391" y="246"/>
                    </a:lnTo>
                    <a:lnTo>
                      <a:pt x="393" y="246"/>
                    </a:lnTo>
                    <a:lnTo>
                      <a:pt x="391" y="246"/>
                    </a:lnTo>
                    <a:lnTo>
                      <a:pt x="393" y="247"/>
                    </a:lnTo>
                    <a:lnTo>
                      <a:pt x="391" y="246"/>
                    </a:lnTo>
                    <a:lnTo>
                      <a:pt x="390" y="247"/>
                    </a:lnTo>
                    <a:lnTo>
                      <a:pt x="390" y="246"/>
                    </a:lnTo>
                    <a:lnTo>
                      <a:pt x="389" y="246"/>
                    </a:lnTo>
                    <a:lnTo>
                      <a:pt x="388" y="246"/>
                    </a:lnTo>
                    <a:lnTo>
                      <a:pt x="387" y="246"/>
                    </a:lnTo>
                    <a:lnTo>
                      <a:pt x="388" y="246"/>
                    </a:lnTo>
                    <a:lnTo>
                      <a:pt x="388" y="245"/>
                    </a:lnTo>
                    <a:lnTo>
                      <a:pt x="388" y="244"/>
                    </a:lnTo>
                    <a:lnTo>
                      <a:pt x="387" y="244"/>
                    </a:lnTo>
                    <a:lnTo>
                      <a:pt x="386" y="244"/>
                    </a:lnTo>
                    <a:lnTo>
                      <a:pt x="387" y="244"/>
                    </a:lnTo>
                    <a:lnTo>
                      <a:pt x="386" y="244"/>
                    </a:lnTo>
                    <a:lnTo>
                      <a:pt x="386" y="243"/>
                    </a:lnTo>
                    <a:lnTo>
                      <a:pt x="385" y="243"/>
                    </a:lnTo>
                    <a:lnTo>
                      <a:pt x="385" y="244"/>
                    </a:lnTo>
                    <a:lnTo>
                      <a:pt x="384" y="243"/>
                    </a:lnTo>
                    <a:lnTo>
                      <a:pt x="383" y="243"/>
                    </a:lnTo>
                    <a:lnTo>
                      <a:pt x="382" y="243"/>
                    </a:lnTo>
                    <a:lnTo>
                      <a:pt x="381" y="242"/>
                    </a:lnTo>
                    <a:lnTo>
                      <a:pt x="381" y="241"/>
                    </a:lnTo>
                    <a:lnTo>
                      <a:pt x="382" y="242"/>
                    </a:lnTo>
                    <a:lnTo>
                      <a:pt x="382" y="241"/>
                    </a:lnTo>
                    <a:lnTo>
                      <a:pt x="381" y="241"/>
                    </a:lnTo>
                    <a:lnTo>
                      <a:pt x="382" y="241"/>
                    </a:lnTo>
                    <a:lnTo>
                      <a:pt x="381" y="241"/>
                    </a:lnTo>
                    <a:lnTo>
                      <a:pt x="381" y="239"/>
                    </a:lnTo>
                    <a:lnTo>
                      <a:pt x="380" y="239"/>
                    </a:lnTo>
                    <a:lnTo>
                      <a:pt x="378" y="239"/>
                    </a:lnTo>
                    <a:lnTo>
                      <a:pt x="377" y="239"/>
                    </a:lnTo>
                    <a:lnTo>
                      <a:pt x="376" y="241"/>
                    </a:lnTo>
                    <a:lnTo>
                      <a:pt x="375" y="241"/>
                    </a:lnTo>
                    <a:lnTo>
                      <a:pt x="375" y="239"/>
                    </a:lnTo>
                    <a:lnTo>
                      <a:pt x="376" y="239"/>
                    </a:lnTo>
                    <a:lnTo>
                      <a:pt x="377" y="239"/>
                    </a:lnTo>
                    <a:lnTo>
                      <a:pt x="378" y="239"/>
                    </a:lnTo>
                    <a:lnTo>
                      <a:pt x="380" y="239"/>
                    </a:lnTo>
                    <a:lnTo>
                      <a:pt x="381" y="238"/>
                    </a:lnTo>
                    <a:lnTo>
                      <a:pt x="382" y="238"/>
                    </a:lnTo>
                    <a:lnTo>
                      <a:pt x="383" y="238"/>
                    </a:lnTo>
                    <a:lnTo>
                      <a:pt x="384" y="238"/>
                    </a:lnTo>
                    <a:lnTo>
                      <a:pt x="385" y="239"/>
                    </a:lnTo>
                    <a:lnTo>
                      <a:pt x="385" y="241"/>
                    </a:lnTo>
                    <a:lnTo>
                      <a:pt x="386" y="239"/>
                    </a:lnTo>
                    <a:lnTo>
                      <a:pt x="386" y="241"/>
                    </a:lnTo>
                    <a:lnTo>
                      <a:pt x="386" y="242"/>
                    </a:lnTo>
                    <a:lnTo>
                      <a:pt x="387" y="243"/>
                    </a:lnTo>
                    <a:lnTo>
                      <a:pt x="388" y="243"/>
                    </a:lnTo>
                    <a:lnTo>
                      <a:pt x="389" y="243"/>
                    </a:lnTo>
                    <a:lnTo>
                      <a:pt x="390" y="243"/>
                    </a:lnTo>
                    <a:lnTo>
                      <a:pt x="391" y="243"/>
                    </a:lnTo>
                    <a:lnTo>
                      <a:pt x="391" y="244"/>
                    </a:lnTo>
                    <a:lnTo>
                      <a:pt x="393" y="244"/>
                    </a:lnTo>
                    <a:lnTo>
                      <a:pt x="393" y="243"/>
                    </a:lnTo>
                    <a:lnTo>
                      <a:pt x="394" y="243"/>
                    </a:lnTo>
                    <a:lnTo>
                      <a:pt x="394" y="242"/>
                    </a:lnTo>
                    <a:lnTo>
                      <a:pt x="395" y="242"/>
                    </a:lnTo>
                    <a:lnTo>
                      <a:pt x="395" y="243"/>
                    </a:lnTo>
                    <a:lnTo>
                      <a:pt x="395" y="244"/>
                    </a:lnTo>
                    <a:lnTo>
                      <a:pt x="396" y="244"/>
                    </a:lnTo>
                    <a:lnTo>
                      <a:pt x="397" y="243"/>
                    </a:lnTo>
                    <a:lnTo>
                      <a:pt x="397" y="242"/>
                    </a:lnTo>
                    <a:lnTo>
                      <a:pt x="398" y="242"/>
                    </a:lnTo>
                    <a:lnTo>
                      <a:pt x="398" y="241"/>
                    </a:lnTo>
                    <a:lnTo>
                      <a:pt x="399" y="241"/>
                    </a:lnTo>
                    <a:lnTo>
                      <a:pt x="398" y="241"/>
                    </a:lnTo>
                    <a:lnTo>
                      <a:pt x="398" y="242"/>
                    </a:lnTo>
                    <a:lnTo>
                      <a:pt x="398" y="243"/>
                    </a:lnTo>
                    <a:lnTo>
                      <a:pt x="399" y="243"/>
                    </a:lnTo>
                    <a:lnTo>
                      <a:pt x="400" y="243"/>
                    </a:lnTo>
                    <a:lnTo>
                      <a:pt x="400" y="242"/>
                    </a:lnTo>
                    <a:lnTo>
                      <a:pt x="400" y="241"/>
                    </a:lnTo>
                    <a:lnTo>
                      <a:pt x="399" y="241"/>
                    </a:lnTo>
                    <a:lnTo>
                      <a:pt x="399" y="239"/>
                    </a:lnTo>
                    <a:lnTo>
                      <a:pt x="398" y="239"/>
                    </a:lnTo>
                    <a:lnTo>
                      <a:pt x="398" y="241"/>
                    </a:lnTo>
                    <a:lnTo>
                      <a:pt x="398" y="239"/>
                    </a:lnTo>
                    <a:lnTo>
                      <a:pt x="397" y="239"/>
                    </a:lnTo>
                    <a:lnTo>
                      <a:pt x="397" y="241"/>
                    </a:lnTo>
                    <a:lnTo>
                      <a:pt x="396" y="239"/>
                    </a:lnTo>
                    <a:lnTo>
                      <a:pt x="395" y="238"/>
                    </a:lnTo>
                    <a:lnTo>
                      <a:pt x="395" y="239"/>
                    </a:lnTo>
                    <a:lnTo>
                      <a:pt x="395" y="238"/>
                    </a:lnTo>
                    <a:lnTo>
                      <a:pt x="394" y="237"/>
                    </a:lnTo>
                    <a:lnTo>
                      <a:pt x="395" y="237"/>
                    </a:lnTo>
                    <a:lnTo>
                      <a:pt x="395" y="236"/>
                    </a:lnTo>
                    <a:lnTo>
                      <a:pt x="394" y="237"/>
                    </a:lnTo>
                    <a:lnTo>
                      <a:pt x="394" y="238"/>
                    </a:lnTo>
                    <a:lnTo>
                      <a:pt x="393" y="239"/>
                    </a:lnTo>
                    <a:lnTo>
                      <a:pt x="393" y="238"/>
                    </a:lnTo>
                    <a:lnTo>
                      <a:pt x="393" y="237"/>
                    </a:lnTo>
                    <a:lnTo>
                      <a:pt x="391" y="237"/>
                    </a:lnTo>
                    <a:lnTo>
                      <a:pt x="391" y="238"/>
                    </a:lnTo>
                    <a:lnTo>
                      <a:pt x="393" y="239"/>
                    </a:lnTo>
                    <a:lnTo>
                      <a:pt x="394" y="239"/>
                    </a:lnTo>
                    <a:lnTo>
                      <a:pt x="395" y="239"/>
                    </a:lnTo>
                    <a:lnTo>
                      <a:pt x="396" y="239"/>
                    </a:lnTo>
                    <a:lnTo>
                      <a:pt x="396" y="241"/>
                    </a:lnTo>
                    <a:lnTo>
                      <a:pt x="396" y="242"/>
                    </a:lnTo>
                    <a:lnTo>
                      <a:pt x="396" y="243"/>
                    </a:lnTo>
                    <a:lnTo>
                      <a:pt x="396" y="242"/>
                    </a:lnTo>
                    <a:lnTo>
                      <a:pt x="395" y="242"/>
                    </a:lnTo>
                    <a:lnTo>
                      <a:pt x="395" y="241"/>
                    </a:lnTo>
                    <a:lnTo>
                      <a:pt x="394" y="241"/>
                    </a:lnTo>
                    <a:lnTo>
                      <a:pt x="393" y="241"/>
                    </a:lnTo>
                    <a:lnTo>
                      <a:pt x="393" y="242"/>
                    </a:lnTo>
                    <a:lnTo>
                      <a:pt x="393" y="241"/>
                    </a:lnTo>
                    <a:lnTo>
                      <a:pt x="391" y="241"/>
                    </a:lnTo>
                    <a:lnTo>
                      <a:pt x="390" y="241"/>
                    </a:lnTo>
                    <a:lnTo>
                      <a:pt x="389" y="239"/>
                    </a:lnTo>
                    <a:lnTo>
                      <a:pt x="390" y="239"/>
                    </a:lnTo>
                    <a:lnTo>
                      <a:pt x="390" y="238"/>
                    </a:lnTo>
                    <a:lnTo>
                      <a:pt x="389" y="238"/>
                    </a:lnTo>
                    <a:lnTo>
                      <a:pt x="390" y="239"/>
                    </a:lnTo>
                    <a:lnTo>
                      <a:pt x="389" y="239"/>
                    </a:lnTo>
                    <a:lnTo>
                      <a:pt x="388" y="239"/>
                    </a:lnTo>
                    <a:lnTo>
                      <a:pt x="388" y="238"/>
                    </a:lnTo>
                    <a:lnTo>
                      <a:pt x="387" y="238"/>
                    </a:lnTo>
                    <a:lnTo>
                      <a:pt x="388" y="238"/>
                    </a:lnTo>
                    <a:lnTo>
                      <a:pt x="389" y="238"/>
                    </a:lnTo>
                    <a:lnTo>
                      <a:pt x="389" y="237"/>
                    </a:lnTo>
                    <a:lnTo>
                      <a:pt x="390" y="237"/>
                    </a:lnTo>
                    <a:lnTo>
                      <a:pt x="391" y="237"/>
                    </a:lnTo>
                    <a:lnTo>
                      <a:pt x="393" y="237"/>
                    </a:lnTo>
                    <a:lnTo>
                      <a:pt x="393" y="236"/>
                    </a:lnTo>
                    <a:lnTo>
                      <a:pt x="395" y="235"/>
                    </a:lnTo>
                    <a:lnTo>
                      <a:pt x="396" y="235"/>
                    </a:lnTo>
                    <a:lnTo>
                      <a:pt x="397" y="235"/>
                    </a:lnTo>
                    <a:close/>
                    <a:moveTo>
                      <a:pt x="358" y="7"/>
                    </a:moveTo>
                    <a:lnTo>
                      <a:pt x="359" y="7"/>
                    </a:lnTo>
                    <a:lnTo>
                      <a:pt x="360" y="7"/>
                    </a:lnTo>
                    <a:lnTo>
                      <a:pt x="360" y="9"/>
                    </a:lnTo>
                    <a:lnTo>
                      <a:pt x="361" y="9"/>
                    </a:lnTo>
                    <a:lnTo>
                      <a:pt x="361" y="10"/>
                    </a:lnTo>
                    <a:lnTo>
                      <a:pt x="362" y="10"/>
                    </a:lnTo>
                    <a:lnTo>
                      <a:pt x="363" y="11"/>
                    </a:lnTo>
                    <a:lnTo>
                      <a:pt x="363" y="12"/>
                    </a:lnTo>
                    <a:lnTo>
                      <a:pt x="363" y="13"/>
                    </a:lnTo>
                    <a:lnTo>
                      <a:pt x="362" y="14"/>
                    </a:lnTo>
                    <a:lnTo>
                      <a:pt x="362" y="15"/>
                    </a:lnTo>
                    <a:lnTo>
                      <a:pt x="361" y="17"/>
                    </a:lnTo>
                    <a:lnTo>
                      <a:pt x="361" y="18"/>
                    </a:lnTo>
                    <a:lnTo>
                      <a:pt x="360" y="19"/>
                    </a:lnTo>
                    <a:lnTo>
                      <a:pt x="359" y="19"/>
                    </a:lnTo>
                    <a:lnTo>
                      <a:pt x="359" y="20"/>
                    </a:lnTo>
                    <a:lnTo>
                      <a:pt x="358" y="20"/>
                    </a:lnTo>
                    <a:lnTo>
                      <a:pt x="357" y="20"/>
                    </a:lnTo>
                    <a:lnTo>
                      <a:pt x="356" y="22"/>
                    </a:lnTo>
                    <a:lnTo>
                      <a:pt x="355" y="22"/>
                    </a:lnTo>
                    <a:lnTo>
                      <a:pt x="353" y="22"/>
                    </a:lnTo>
                    <a:lnTo>
                      <a:pt x="352" y="22"/>
                    </a:lnTo>
                    <a:lnTo>
                      <a:pt x="351" y="22"/>
                    </a:lnTo>
                    <a:lnTo>
                      <a:pt x="350" y="22"/>
                    </a:lnTo>
                    <a:lnTo>
                      <a:pt x="349" y="20"/>
                    </a:lnTo>
                    <a:lnTo>
                      <a:pt x="348" y="20"/>
                    </a:lnTo>
                    <a:lnTo>
                      <a:pt x="347" y="19"/>
                    </a:lnTo>
                    <a:lnTo>
                      <a:pt x="348" y="19"/>
                    </a:lnTo>
                    <a:lnTo>
                      <a:pt x="349" y="18"/>
                    </a:lnTo>
                    <a:lnTo>
                      <a:pt x="350" y="18"/>
                    </a:lnTo>
                    <a:lnTo>
                      <a:pt x="350" y="17"/>
                    </a:lnTo>
                    <a:lnTo>
                      <a:pt x="350" y="18"/>
                    </a:lnTo>
                    <a:lnTo>
                      <a:pt x="351" y="17"/>
                    </a:lnTo>
                    <a:lnTo>
                      <a:pt x="350" y="18"/>
                    </a:lnTo>
                    <a:lnTo>
                      <a:pt x="350" y="17"/>
                    </a:lnTo>
                    <a:lnTo>
                      <a:pt x="350" y="16"/>
                    </a:lnTo>
                    <a:lnTo>
                      <a:pt x="350" y="15"/>
                    </a:lnTo>
                    <a:lnTo>
                      <a:pt x="350" y="14"/>
                    </a:lnTo>
                    <a:lnTo>
                      <a:pt x="350" y="12"/>
                    </a:lnTo>
                    <a:lnTo>
                      <a:pt x="350" y="11"/>
                    </a:lnTo>
                    <a:lnTo>
                      <a:pt x="350" y="10"/>
                    </a:lnTo>
                    <a:lnTo>
                      <a:pt x="351" y="10"/>
                    </a:lnTo>
                    <a:lnTo>
                      <a:pt x="352" y="11"/>
                    </a:lnTo>
                    <a:lnTo>
                      <a:pt x="353" y="11"/>
                    </a:lnTo>
                    <a:lnTo>
                      <a:pt x="353" y="12"/>
                    </a:lnTo>
                    <a:lnTo>
                      <a:pt x="355" y="12"/>
                    </a:lnTo>
                    <a:lnTo>
                      <a:pt x="355" y="13"/>
                    </a:lnTo>
                    <a:lnTo>
                      <a:pt x="356" y="13"/>
                    </a:lnTo>
                    <a:lnTo>
                      <a:pt x="356" y="14"/>
                    </a:lnTo>
                    <a:lnTo>
                      <a:pt x="356" y="15"/>
                    </a:lnTo>
                    <a:lnTo>
                      <a:pt x="356" y="14"/>
                    </a:lnTo>
                    <a:lnTo>
                      <a:pt x="357" y="14"/>
                    </a:lnTo>
                    <a:lnTo>
                      <a:pt x="357" y="15"/>
                    </a:lnTo>
                    <a:lnTo>
                      <a:pt x="358" y="15"/>
                    </a:lnTo>
                    <a:lnTo>
                      <a:pt x="359" y="14"/>
                    </a:lnTo>
                    <a:lnTo>
                      <a:pt x="359" y="15"/>
                    </a:lnTo>
                    <a:lnTo>
                      <a:pt x="359" y="16"/>
                    </a:lnTo>
                    <a:lnTo>
                      <a:pt x="360" y="16"/>
                    </a:lnTo>
                    <a:lnTo>
                      <a:pt x="360" y="15"/>
                    </a:lnTo>
                    <a:lnTo>
                      <a:pt x="359" y="15"/>
                    </a:lnTo>
                    <a:lnTo>
                      <a:pt x="359" y="14"/>
                    </a:lnTo>
                    <a:lnTo>
                      <a:pt x="358" y="14"/>
                    </a:lnTo>
                    <a:lnTo>
                      <a:pt x="357" y="14"/>
                    </a:lnTo>
                    <a:lnTo>
                      <a:pt x="357" y="13"/>
                    </a:lnTo>
                    <a:lnTo>
                      <a:pt x="357" y="12"/>
                    </a:lnTo>
                    <a:lnTo>
                      <a:pt x="357" y="11"/>
                    </a:lnTo>
                    <a:lnTo>
                      <a:pt x="357" y="10"/>
                    </a:lnTo>
                    <a:lnTo>
                      <a:pt x="358" y="10"/>
                    </a:lnTo>
                    <a:lnTo>
                      <a:pt x="358" y="9"/>
                    </a:lnTo>
                    <a:lnTo>
                      <a:pt x="358" y="7"/>
                    </a:lnTo>
                    <a:close/>
                    <a:moveTo>
                      <a:pt x="473" y="42"/>
                    </a:moveTo>
                    <a:lnTo>
                      <a:pt x="473" y="43"/>
                    </a:lnTo>
                    <a:lnTo>
                      <a:pt x="474" y="44"/>
                    </a:lnTo>
                    <a:lnTo>
                      <a:pt x="474" y="45"/>
                    </a:lnTo>
                    <a:lnTo>
                      <a:pt x="475" y="45"/>
                    </a:lnTo>
                    <a:lnTo>
                      <a:pt x="476" y="45"/>
                    </a:lnTo>
                    <a:lnTo>
                      <a:pt x="476" y="46"/>
                    </a:lnTo>
                    <a:lnTo>
                      <a:pt x="475" y="46"/>
                    </a:lnTo>
                    <a:lnTo>
                      <a:pt x="475" y="48"/>
                    </a:lnTo>
                    <a:lnTo>
                      <a:pt x="475" y="46"/>
                    </a:lnTo>
                    <a:lnTo>
                      <a:pt x="475" y="48"/>
                    </a:lnTo>
                    <a:lnTo>
                      <a:pt x="476" y="48"/>
                    </a:lnTo>
                    <a:lnTo>
                      <a:pt x="475" y="48"/>
                    </a:lnTo>
                    <a:lnTo>
                      <a:pt x="475" y="46"/>
                    </a:lnTo>
                    <a:lnTo>
                      <a:pt x="476" y="48"/>
                    </a:lnTo>
                    <a:lnTo>
                      <a:pt x="476" y="46"/>
                    </a:lnTo>
                    <a:lnTo>
                      <a:pt x="476" y="48"/>
                    </a:lnTo>
                    <a:lnTo>
                      <a:pt x="476" y="49"/>
                    </a:lnTo>
                    <a:lnTo>
                      <a:pt x="476" y="48"/>
                    </a:lnTo>
                    <a:lnTo>
                      <a:pt x="476" y="49"/>
                    </a:lnTo>
                    <a:lnTo>
                      <a:pt x="476" y="48"/>
                    </a:lnTo>
                    <a:lnTo>
                      <a:pt x="477" y="48"/>
                    </a:lnTo>
                    <a:lnTo>
                      <a:pt x="476" y="48"/>
                    </a:lnTo>
                    <a:lnTo>
                      <a:pt x="476" y="46"/>
                    </a:lnTo>
                    <a:lnTo>
                      <a:pt x="477" y="46"/>
                    </a:lnTo>
                    <a:lnTo>
                      <a:pt x="477" y="45"/>
                    </a:lnTo>
                    <a:lnTo>
                      <a:pt x="476" y="45"/>
                    </a:lnTo>
                    <a:lnTo>
                      <a:pt x="476" y="44"/>
                    </a:lnTo>
                    <a:lnTo>
                      <a:pt x="477" y="44"/>
                    </a:lnTo>
                    <a:lnTo>
                      <a:pt x="478" y="44"/>
                    </a:lnTo>
                    <a:lnTo>
                      <a:pt x="478" y="43"/>
                    </a:lnTo>
                    <a:lnTo>
                      <a:pt x="479" y="43"/>
                    </a:lnTo>
                    <a:lnTo>
                      <a:pt x="479" y="42"/>
                    </a:lnTo>
                    <a:lnTo>
                      <a:pt x="479" y="43"/>
                    </a:lnTo>
                    <a:lnTo>
                      <a:pt x="480" y="44"/>
                    </a:lnTo>
                    <a:lnTo>
                      <a:pt x="480" y="45"/>
                    </a:lnTo>
                    <a:lnTo>
                      <a:pt x="480" y="46"/>
                    </a:lnTo>
                    <a:lnTo>
                      <a:pt x="480" y="48"/>
                    </a:lnTo>
                    <a:lnTo>
                      <a:pt x="480" y="49"/>
                    </a:lnTo>
                    <a:lnTo>
                      <a:pt x="480" y="50"/>
                    </a:lnTo>
                    <a:lnTo>
                      <a:pt x="479" y="51"/>
                    </a:lnTo>
                    <a:lnTo>
                      <a:pt x="479" y="50"/>
                    </a:lnTo>
                    <a:lnTo>
                      <a:pt x="478" y="50"/>
                    </a:lnTo>
                    <a:lnTo>
                      <a:pt x="478" y="51"/>
                    </a:lnTo>
                    <a:lnTo>
                      <a:pt x="477" y="51"/>
                    </a:lnTo>
                    <a:lnTo>
                      <a:pt x="477" y="50"/>
                    </a:lnTo>
                    <a:lnTo>
                      <a:pt x="477" y="51"/>
                    </a:lnTo>
                    <a:lnTo>
                      <a:pt x="476" y="51"/>
                    </a:lnTo>
                    <a:lnTo>
                      <a:pt x="476" y="50"/>
                    </a:lnTo>
                    <a:lnTo>
                      <a:pt x="475" y="49"/>
                    </a:lnTo>
                    <a:lnTo>
                      <a:pt x="476" y="49"/>
                    </a:lnTo>
                    <a:lnTo>
                      <a:pt x="475" y="49"/>
                    </a:lnTo>
                    <a:lnTo>
                      <a:pt x="474" y="50"/>
                    </a:lnTo>
                    <a:lnTo>
                      <a:pt x="473" y="50"/>
                    </a:lnTo>
                    <a:lnTo>
                      <a:pt x="473" y="51"/>
                    </a:lnTo>
                    <a:lnTo>
                      <a:pt x="473" y="52"/>
                    </a:lnTo>
                    <a:lnTo>
                      <a:pt x="474" y="52"/>
                    </a:lnTo>
                    <a:lnTo>
                      <a:pt x="474" y="53"/>
                    </a:lnTo>
                    <a:lnTo>
                      <a:pt x="474" y="54"/>
                    </a:lnTo>
                    <a:lnTo>
                      <a:pt x="475" y="55"/>
                    </a:lnTo>
                    <a:lnTo>
                      <a:pt x="476" y="55"/>
                    </a:lnTo>
                    <a:lnTo>
                      <a:pt x="476" y="54"/>
                    </a:lnTo>
                    <a:lnTo>
                      <a:pt x="477" y="55"/>
                    </a:lnTo>
                    <a:lnTo>
                      <a:pt x="478" y="55"/>
                    </a:lnTo>
                    <a:lnTo>
                      <a:pt x="477" y="55"/>
                    </a:lnTo>
                    <a:lnTo>
                      <a:pt x="477" y="56"/>
                    </a:lnTo>
                    <a:lnTo>
                      <a:pt x="477" y="57"/>
                    </a:lnTo>
                    <a:lnTo>
                      <a:pt x="477" y="58"/>
                    </a:lnTo>
                    <a:lnTo>
                      <a:pt x="477" y="59"/>
                    </a:lnTo>
                    <a:lnTo>
                      <a:pt x="477" y="58"/>
                    </a:lnTo>
                    <a:lnTo>
                      <a:pt x="476" y="58"/>
                    </a:lnTo>
                    <a:lnTo>
                      <a:pt x="476" y="57"/>
                    </a:lnTo>
                    <a:lnTo>
                      <a:pt x="475" y="56"/>
                    </a:lnTo>
                    <a:lnTo>
                      <a:pt x="474" y="56"/>
                    </a:lnTo>
                    <a:lnTo>
                      <a:pt x="474" y="57"/>
                    </a:lnTo>
                    <a:lnTo>
                      <a:pt x="474" y="58"/>
                    </a:lnTo>
                    <a:lnTo>
                      <a:pt x="473" y="58"/>
                    </a:lnTo>
                    <a:lnTo>
                      <a:pt x="473" y="59"/>
                    </a:lnTo>
                    <a:lnTo>
                      <a:pt x="472" y="59"/>
                    </a:lnTo>
                    <a:lnTo>
                      <a:pt x="472" y="61"/>
                    </a:lnTo>
                    <a:lnTo>
                      <a:pt x="471" y="61"/>
                    </a:lnTo>
                    <a:lnTo>
                      <a:pt x="469" y="62"/>
                    </a:lnTo>
                    <a:lnTo>
                      <a:pt x="469" y="61"/>
                    </a:lnTo>
                    <a:lnTo>
                      <a:pt x="469" y="59"/>
                    </a:lnTo>
                    <a:lnTo>
                      <a:pt x="471" y="59"/>
                    </a:lnTo>
                    <a:lnTo>
                      <a:pt x="472" y="59"/>
                    </a:lnTo>
                    <a:lnTo>
                      <a:pt x="472" y="58"/>
                    </a:lnTo>
                    <a:lnTo>
                      <a:pt x="471" y="58"/>
                    </a:lnTo>
                    <a:lnTo>
                      <a:pt x="472" y="58"/>
                    </a:lnTo>
                    <a:lnTo>
                      <a:pt x="471" y="57"/>
                    </a:lnTo>
                    <a:lnTo>
                      <a:pt x="469" y="57"/>
                    </a:lnTo>
                    <a:lnTo>
                      <a:pt x="468" y="57"/>
                    </a:lnTo>
                    <a:lnTo>
                      <a:pt x="467" y="57"/>
                    </a:lnTo>
                    <a:lnTo>
                      <a:pt x="467" y="56"/>
                    </a:lnTo>
                    <a:lnTo>
                      <a:pt x="467" y="55"/>
                    </a:lnTo>
                    <a:lnTo>
                      <a:pt x="467" y="54"/>
                    </a:lnTo>
                    <a:lnTo>
                      <a:pt x="467" y="53"/>
                    </a:lnTo>
                    <a:lnTo>
                      <a:pt x="467" y="52"/>
                    </a:lnTo>
                    <a:lnTo>
                      <a:pt x="467" y="51"/>
                    </a:lnTo>
                    <a:lnTo>
                      <a:pt x="468" y="51"/>
                    </a:lnTo>
                    <a:lnTo>
                      <a:pt x="468" y="50"/>
                    </a:lnTo>
                    <a:lnTo>
                      <a:pt x="469" y="51"/>
                    </a:lnTo>
                    <a:lnTo>
                      <a:pt x="468" y="51"/>
                    </a:lnTo>
                    <a:lnTo>
                      <a:pt x="469" y="52"/>
                    </a:lnTo>
                    <a:lnTo>
                      <a:pt x="469" y="53"/>
                    </a:lnTo>
                    <a:lnTo>
                      <a:pt x="469" y="54"/>
                    </a:lnTo>
                    <a:lnTo>
                      <a:pt x="471" y="54"/>
                    </a:lnTo>
                    <a:lnTo>
                      <a:pt x="471" y="53"/>
                    </a:lnTo>
                    <a:lnTo>
                      <a:pt x="471" y="52"/>
                    </a:lnTo>
                    <a:lnTo>
                      <a:pt x="469" y="52"/>
                    </a:lnTo>
                    <a:lnTo>
                      <a:pt x="469" y="51"/>
                    </a:lnTo>
                    <a:lnTo>
                      <a:pt x="469" y="50"/>
                    </a:lnTo>
                    <a:lnTo>
                      <a:pt x="469" y="49"/>
                    </a:lnTo>
                    <a:lnTo>
                      <a:pt x="468" y="49"/>
                    </a:lnTo>
                    <a:lnTo>
                      <a:pt x="468" y="48"/>
                    </a:lnTo>
                    <a:lnTo>
                      <a:pt x="468" y="49"/>
                    </a:lnTo>
                    <a:lnTo>
                      <a:pt x="467" y="49"/>
                    </a:lnTo>
                    <a:lnTo>
                      <a:pt x="468" y="49"/>
                    </a:lnTo>
                    <a:lnTo>
                      <a:pt x="469" y="50"/>
                    </a:lnTo>
                    <a:lnTo>
                      <a:pt x="468" y="50"/>
                    </a:lnTo>
                    <a:lnTo>
                      <a:pt x="467" y="51"/>
                    </a:lnTo>
                    <a:lnTo>
                      <a:pt x="467" y="50"/>
                    </a:lnTo>
                    <a:lnTo>
                      <a:pt x="466" y="50"/>
                    </a:lnTo>
                    <a:lnTo>
                      <a:pt x="466" y="49"/>
                    </a:lnTo>
                    <a:lnTo>
                      <a:pt x="467" y="49"/>
                    </a:lnTo>
                    <a:lnTo>
                      <a:pt x="467" y="48"/>
                    </a:lnTo>
                    <a:lnTo>
                      <a:pt x="468" y="48"/>
                    </a:lnTo>
                    <a:lnTo>
                      <a:pt x="468" y="46"/>
                    </a:lnTo>
                    <a:lnTo>
                      <a:pt x="467" y="46"/>
                    </a:lnTo>
                    <a:lnTo>
                      <a:pt x="467" y="48"/>
                    </a:lnTo>
                    <a:lnTo>
                      <a:pt x="467" y="46"/>
                    </a:lnTo>
                    <a:lnTo>
                      <a:pt x="468" y="46"/>
                    </a:lnTo>
                    <a:lnTo>
                      <a:pt x="469" y="46"/>
                    </a:lnTo>
                    <a:lnTo>
                      <a:pt x="471" y="45"/>
                    </a:lnTo>
                    <a:lnTo>
                      <a:pt x="471" y="44"/>
                    </a:lnTo>
                    <a:lnTo>
                      <a:pt x="471" y="43"/>
                    </a:lnTo>
                    <a:lnTo>
                      <a:pt x="469" y="43"/>
                    </a:lnTo>
                    <a:lnTo>
                      <a:pt x="469" y="42"/>
                    </a:lnTo>
                    <a:lnTo>
                      <a:pt x="471" y="42"/>
                    </a:lnTo>
                    <a:lnTo>
                      <a:pt x="471" y="43"/>
                    </a:lnTo>
                    <a:lnTo>
                      <a:pt x="472" y="43"/>
                    </a:lnTo>
                    <a:lnTo>
                      <a:pt x="472" y="42"/>
                    </a:lnTo>
                    <a:lnTo>
                      <a:pt x="471" y="42"/>
                    </a:lnTo>
                    <a:lnTo>
                      <a:pt x="472" y="42"/>
                    </a:lnTo>
                    <a:lnTo>
                      <a:pt x="472" y="41"/>
                    </a:lnTo>
                    <a:lnTo>
                      <a:pt x="472" y="42"/>
                    </a:lnTo>
                    <a:lnTo>
                      <a:pt x="473" y="42"/>
                    </a:lnTo>
                    <a:close/>
                    <a:moveTo>
                      <a:pt x="299" y="316"/>
                    </a:moveTo>
                    <a:lnTo>
                      <a:pt x="300" y="318"/>
                    </a:lnTo>
                    <a:lnTo>
                      <a:pt x="300" y="316"/>
                    </a:lnTo>
                    <a:lnTo>
                      <a:pt x="300" y="318"/>
                    </a:lnTo>
                    <a:lnTo>
                      <a:pt x="300" y="319"/>
                    </a:lnTo>
                    <a:lnTo>
                      <a:pt x="301" y="319"/>
                    </a:lnTo>
                    <a:lnTo>
                      <a:pt x="301" y="320"/>
                    </a:lnTo>
                    <a:lnTo>
                      <a:pt x="301" y="321"/>
                    </a:lnTo>
                    <a:lnTo>
                      <a:pt x="301" y="322"/>
                    </a:lnTo>
                    <a:lnTo>
                      <a:pt x="303" y="323"/>
                    </a:lnTo>
                    <a:lnTo>
                      <a:pt x="303" y="324"/>
                    </a:lnTo>
                    <a:lnTo>
                      <a:pt x="303" y="325"/>
                    </a:lnTo>
                    <a:lnTo>
                      <a:pt x="303" y="326"/>
                    </a:lnTo>
                    <a:lnTo>
                      <a:pt x="304" y="325"/>
                    </a:lnTo>
                    <a:lnTo>
                      <a:pt x="305" y="326"/>
                    </a:lnTo>
                    <a:lnTo>
                      <a:pt x="306" y="326"/>
                    </a:lnTo>
                    <a:lnTo>
                      <a:pt x="306" y="327"/>
                    </a:lnTo>
                    <a:lnTo>
                      <a:pt x="305" y="327"/>
                    </a:lnTo>
                    <a:lnTo>
                      <a:pt x="305" y="328"/>
                    </a:lnTo>
                    <a:lnTo>
                      <a:pt x="306" y="328"/>
                    </a:lnTo>
                    <a:lnTo>
                      <a:pt x="307" y="327"/>
                    </a:lnTo>
                    <a:lnTo>
                      <a:pt x="306" y="327"/>
                    </a:lnTo>
                    <a:lnTo>
                      <a:pt x="306" y="326"/>
                    </a:lnTo>
                    <a:lnTo>
                      <a:pt x="307" y="326"/>
                    </a:lnTo>
                    <a:lnTo>
                      <a:pt x="307" y="325"/>
                    </a:lnTo>
                    <a:lnTo>
                      <a:pt x="307" y="326"/>
                    </a:lnTo>
                    <a:lnTo>
                      <a:pt x="308" y="327"/>
                    </a:lnTo>
                    <a:lnTo>
                      <a:pt x="308" y="328"/>
                    </a:lnTo>
                    <a:lnTo>
                      <a:pt x="309" y="328"/>
                    </a:lnTo>
                    <a:lnTo>
                      <a:pt x="308" y="329"/>
                    </a:lnTo>
                    <a:lnTo>
                      <a:pt x="307" y="328"/>
                    </a:lnTo>
                    <a:lnTo>
                      <a:pt x="307" y="329"/>
                    </a:lnTo>
                    <a:lnTo>
                      <a:pt x="306" y="329"/>
                    </a:lnTo>
                    <a:lnTo>
                      <a:pt x="305" y="331"/>
                    </a:lnTo>
                    <a:lnTo>
                      <a:pt x="304" y="331"/>
                    </a:lnTo>
                    <a:lnTo>
                      <a:pt x="303" y="331"/>
                    </a:lnTo>
                    <a:lnTo>
                      <a:pt x="301" y="329"/>
                    </a:lnTo>
                    <a:lnTo>
                      <a:pt x="301" y="328"/>
                    </a:lnTo>
                    <a:lnTo>
                      <a:pt x="300" y="328"/>
                    </a:lnTo>
                    <a:lnTo>
                      <a:pt x="299" y="328"/>
                    </a:lnTo>
                    <a:lnTo>
                      <a:pt x="299" y="329"/>
                    </a:lnTo>
                    <a:lnTo>
                      <a:pt x="299" y="331"/>
                    </a:lnTo>
                    <a:lnTo>
                      <a:pt x="299" y="332"/>
                    </a:lnTo>
                    <a:lnTo>
                      <a:pt x="300" y="332"/>
                    </a:lnTo>
                    <a:lnTo>
                      <a:pt x="300" y="333"/>
                    </a:lnTo>
                    <a:lnTo>
                      <a:pt x="299" y="333"/>
                    </a:lnTo>
                    <a:lnTo>
                      <a:pt x="298" y="333"/>
                    </a:lnTo>
                    <a:lnTo>
                      <a:pt x="298" y="334"/>
                    </a:lnTo>
                    <a:lnTo>
                      <a:pt x="297" y="334"/>
                    </a:lnTo>
                    <a:lnTo>
                      <a:pt x="295" y="334"/>
                    </a:lnTo>
                    <a:lnTo>
                      <a:pt x="295" y="333"/>
                    </a:lnTo>
                    <a:lnTo>
                      <a:pt x="296" y="333"/>
                    </a:lnTo>
                    <a:lnTo>
                      <a:pt x="297" y="333"/>
                    </a:lnTo>
                    <a:lnTo>
                      <a:pt x="297" y="332"/>
                    </a:lnTo>
                    <a:lnTo>
                      <a:pt x="297" y="331"/>
                    </a:lnTo>
                    <a:lnTo>
                      <a:pt x="297" y="329"/>
                    </a:lnTo>
                    <a:lnTo>
                      <a:pt x="297" y="328"/>
                    </a:lnTo>
                    <a:lnTo>
                      <a:pt x="296" y="328"/>
                    </a:lnTo>
                    <a:lnTo>
                      <a:pt x="295" y="328"/>
                    </a:lnTo>
                    <a:lnTo>
                      <a:pt x="294" y="328"/>
                    </a:lnTo>
                    <a:lnTo>
                      <a:pt x="294" y="327"/>
                    </a:lnTo>
                    <a:lnTo>
                      <a:pt x="293" y="327"/>
                    </a:lnTo>
                    <a:lnTo>
                      <a:pt x="294" y="326"/>
                    </a:lnTo>
                    <a:lnTo>
                      <a:pt x="293" y="327"/>
                    </a:lnTo>
                    <a:lnTo>
                      <a:pt x="294" y="327"/>
                    </a:lnTo>
                    <a:lnTo>
                      <a:pt x="294" y="326"/>
                    </a:lnTo>
                    <a:lnTo>
                      <a:pt x="294" y="327"/>
                    </a:lnTo>
                    <a:lnTo>
                      <a:pt x="295" y="327"/>
                    </a:lnTo>
                    <a:lnTo>
                      <a:pt x="296" y="327"/>
                    </a:lnTo>
                    <a:lnTo>
                      <a:pt x="296" y="326"/>
                    </a:lnTo>
                    <a:lnTo>
                      <a:pt x="296" y="325"/>
                    </a:lnTo>
                    <a:lnTo>
                      <a:pt x="297" y="325"/>
                    </a:lnTo>
                    <a:lnTo>
                      <a:pt x="297" y="326"/>
                    </a:lnTo>
                    <a:lnTo>
                      <a:pt x="298" y="326"/>
                    </a:lnTo>
                    <a:lnTo>
                      <a:pt x="298" y="325"/>
                    </a:lnTo>
                    <a:lnTo>
                      <a:pt x="298" y="326"/>
                    </a:lnTo>
                    <a:lnTo>
                      <a:pt x="297" y="326"/>
                    </a:lnTo>
                    <a:lnTo>
                      <a:pt x="298" y="325"/>
                    </a:lnTo>
                    <a:lnTo>
                      <a:pt x="297" y="325"/>
                    </a:lnTo>
                    <a:lnTo>
                      <a:pt x="296" y="325"/>
                    </a:lnTo>
                    <a:lnTo>
                      <a:pt x="295" y="325"/>
                    </a:lnTo>
                    <a:lnTo>
                      <a:pt x="296" y="325"/>
                    </a:lnTo>
                    <a:lnTo>
                      <a:pt x="295" y="324"/>
                    </a:lnTo>
                    <a:lnTo>
                      <a:pt x="295" y="325"/>
                    </a:lnTo>
                    <a:lnTo>
                      <a:pt x="294" y="325"/>
                    </a:lnTo>
                    <a:lnTo>
                      <a:pt x="294" y="324"/>
                    </a:lnTo>
                    <a:lnTo>
                      <a:pt x="294" y="323"/>
                    </a:lnTo>
                    <a:lnTo>
                      <a:pt x="293" y="323"/>
                    </a:lnTo>
                    <a:lnTo>
                      <a:pt x="292" y="322"/>
                    </a:lnTo>
                    <a:lnTo>
                      <a:pt x="293" y="322"/>
                    </a:lnTo>
                    <a:lnTo>
                      <a:pt x="293" y="321"/>
                    </a:lnTo>
                    <a:lnTo>
                      <a:pt x="292" y="321"/>
                    </a:lnTo>
                    <a:lnTo>
                      <a:pt x="292" y="322"/>
                    </a:lnTo>
                    <a:lnTo>
                      <a:pt x="292" y="321"/>
                    </a:lnTo>
                    <a:lnTo>
                      <a:pt x="293" y="321"/>
                    </a:lnTo>
                    <a:lnTo>
                      <a:pt x="293" y="320"/>
                    </a:lnTo>
                    <a:lnTo>
                      <a:pt x="294" y="320"/>
                    </a:lnTo>
                    <a:lnTo>
                      <a:pt x="295" y="320"/>
                    </a:lnTo>
                    <a:lnTo>
                      <a:pt x="295" y="319"/>
                    </a:lnTo>
                    <a:lnTo>
                      <a:pt x="296" y="319"/>
                    </a:lnTo>
                    <a:lnTo>
                      <a:pt x="296" y="320"/>
                    </a:lnTo>
                    <a:lnTo>
                      <a:pt x="297" y="320"/>
                    </a:lnTo>
                    <a:lnTo>
                      <a:pt x="297" y="319"/>
                    </a:lnTo>
                    <a:lnTo>
                      <a:pt x="297" y="320"/>
                    </a:lnTo>
                    <a:lnTo>
                      <a:pt x="297" y="319"/>
                    </a:lnTo>
                    <a:lnTo>
                      <a:pt x="297" y="318"/>
                    </a:lnTo>
                    <a:lnTo>
                      <a:pt x="297" y="316"/>
                    </a:lnTo>
                    <a:lnTo>
                      <a:pt x="298" y="316"/>
                    </a:lnTo>
                    <a:lnTo>
                      <a:pt x="299" y="316"/>
                    </a:lnTo>
                    <a:close/>
                    <a:moveTo>
                      <a:pt x="387" y="75"/>
                    </a:moveTo>
                    <a:lnTo>
                      <a:pt x="387" y="76"/>
                    </a:lnTo>
                    <a:lnTo>
                      <a:pt x="387" y="77"/>
                    </a:lnTo>
                    <a:lnTo>
                      <a:pt x="388" y="77"/>
                    </a:lnTo>
                    <a:lnTo>
                      <a:pt x="389" y="77"/>
                    </a:lnTo>
                    <a:lnTo>
                      <a:pt x="390" y="77"/>
                    </a:lnTo>
                    <a:lnTo>
                      <a:pt x="391" y="77"/>
                    </a:lnTo>
                    <a:lnTo>
                      <a:pt x="393" y="77"/>
                    </a:lnTo>
                    <a:lnTo>
                      <a:pt x="391" y="77"/>
                    </a:lnTo>
                    <a:lnTo>
                      <a:pt x="390" y="78"/>
                    </a:lnTo>
                    <a:lnTo>
                      <a:pt x="389" y="78"/>
                    </a:lnTo>
                    <a:lnTo>
                      <a:pt x="389" y="79"/>
                    </a:lnTo>
                    <a:lnTo>
                      <a:pt x="388" y="80"/>
                    </a:lnTo>
                    <a:lnTo>
                      <a:pt x="387" y="81"/>
                    </a:lnTo>
                    <a:lnTo>
                      <a:pt x="387" y="82"/>
                    </a:lnTo>
                    <a:lnTo>
                      <a:pt x="387" y="83"/>
                    </a:lnTo>
                    <a:lnTo>
                      <a:pt x="387" y="84"/>
                    </a:lnTo>
                    <a:lnTo>
                      <a:pt x="388" y="84"/>
                    </a:lnTo>
                    <a:lnTo>
                      <a:pt x="389" y="84"/>
                    </a:lnTo>
                    <a:lnTo>
                      <a:pt x="390" y="86"/>
                    </a:lnTo>
                    <a:lnTo>
                      <a:pt x="391" y="87"/>
                    </a:lnTo>
                    <a:lnTo>
                      <a:pt x="391" y="88"/>
                    </a:lnTo>
                    <a:lnTo>
                      <a:pt x="391" y="89"/>
                    </a:lnTo>
                    <a:lnTo>
                      <a:pt x="390" y="89"/>
                    </a:lnTo>
                    <a:lnTo>
                      <a:pt x="389" y="89"/>
                    </a:lnTo>
                    <a:lnTo>
                      <a:pt x="389" y="88"/>
                    </a:lnTo>
                    <a:lnTo>
                      <a:pt x="387" y="88"/>
                    </a:lnTo>
                    <a:lnTo>
                      <a:pt x="386" y="88"/>
                    </a:lnTo>
                    <a:lnTo>
                      <a:pt x="385" y="88"/>
                    </a:lnTo>
                    <a:lnTo>
                      <a:pt x="384" y="88"/>
                    </a:lnTo>
                    <a:lnTo>
                      <a:pt x="383" y="88"/>
                    </a:lnTo>
                    <a:lnTo>
                      <a:pt x="382" y="89"/>
                    </a:lnTo>
                    <a:lnTo>
                      <a:pt x="382" y="88"/>
                    </a:lnTo>
                    <a:lnTo>
                      <a:pt x="382" y="87"/>
                    </a:lnTo>
                    <a:lnTo>
                      <a:pt x="382" y="86"/>
                    </a:lnTo>
                    <a:lnTo>
                      <a:pt x="382" y="84"/>
                    </a:lnTo>
                    <a:lnTo>
                      <a:pt x="381" y="84"/>
                    </a:lnTo>
                    <a:lnTo>
                      <a:pt x="382" y="84"/>
                    </a:lnTo>
                    <a:lnTo>
                      <a:pt x="382" y="83"/>
                    </a:lnTo>
                    <a:lnTo>
                      <a:pt x="382" y="82"/>
                    </a:lnTo>
                    <a:lnTo>
                      <a:pt x="383" y="82"/>
                    </a:lnTo>
                    <a:lnTo>
                      <a:pt x="383" y="81"/>
                    </a:lnTo>
                    <a:lnTo>
                      <a:pt x="383" y="82"/>
                    </a:lnTo>
                    <a:lnTo>
                      <a:pt x="382" y="81"/>
                    </a:lnTo>
                    <a:lnTo>
                      <a:pt x="382" y="80"/>
                    </a:lnTo>
                    <a:lnTo>
                      <a:pt x="381" y="80"/>
                    </a:lnTo>
                    <a:lnTo>
                      <a:pt x="381" y="79"/>
                    </a:lnTo>
                    <a:lnTo>
                      <a:pt x="381" y="78"/>
                    </a:lnTo>
                    <a:lnTo>
                      <a:pt x="381" y="77"/>
                    </a:lnTo>
                    <a:lnTo>
                      <a:pt x="380" y="77"/>
                    </a:lnTo>
                    <a:lnTo>
                      <a:pt x="381" y="78"/>
                    </a:lnTo>
                    <a:lnTo>
                      <a:pt x="380" y="78"/>
                    </a:lnTo>
                    <a:lnTo>
                      <a:pt x="381" y="78"/>
                    </a:lnTo>
                    <a:lnTo>
                      <a:pt x="381" y="79"/>
                    </a:lnTo>
                    <a:lnTo>
                      <a:pt x="381" y="78"/>
                    </a:lnTo>
                    <a:lnTo>
                      <a:pt x="380" y="79"/>
                    </a:lnTo>
                    <a:lnTo>
                      <a:pt x="380" y="80"/>
                    </a:lnTo>
                    <a:lnTo>
                      <a:pt x="378" y="80"/>
                    </a:lnTo>
                    <a:lnTo>
                      <a:pt x="378" y="81"/>
                    </a:lnTo>
                    <a:lnTo>
                      <a:pt x="378" y="80"/>
                    </a:lnTo>
                    <a:lnTo>
                      <a:pt x="377" y="80"/>
                    </a:lnTo>
                    <a:lnTo>
                      <a:pt x="377" y="81"/>
                    </a:lnTo>
                    <a:lnTo>
                      <a:pt x="376" y="81"/>
                    </a:lnTo>
                    <a:lnTo>
                      <a:pt x="375" y="81"/>
                    </a:lnTo>
                    <a:lnTo>
                      <a:pt x="375" y="82"/>
                    </a:lnTo>
                    <a:lnTo>
                      <a:pt x="374" y="82"/>
                    </a:lnTo>
                    <a:lnTo>
                      <a:pt x="374" y="81"/>
                    </a:lnTo>
                    <a:lnTo>
                      <a:pt x="373" y="81"/>
                    </a:lnTo>
                    <a:lnTo>
                      <a:pt x="372" y="81"/>
                    </a:lnTo>
                    <a:lnTo>
                      <a:pt x="372" y="80"/>
                    </a:lnTo>
                    <a:lnTo>
                      <a:pt x="371" y="79"/>
                    </a:lnTo>
                    <a:lnTo>
                      <a:pt x="372" y="79"/>
                    </a:lnTo>
                    <a:lnTo>
                      <a:pt x="372" y="78"/>
                    </a:lnTo>
                    <a:lnTo>
                      <a:pt x="373" y="78"/>
                    </a:lnTo>
                    <a:lnTo>
                      <a:pt x="374" y="78"/>
                    </a:lnTo>
                    <a:lnTo>
                      <a:pt x="375" y="78"/>
                    </a:lnTo>
                    <a:lnTo>
                      <a:pt x="376" y="78"/>
                    </a:lnTo>
                    <a:lnTo>
                      <a:pt x="377" y="78"/>
                    </a:lnTo>
                    <a:lnTo>
                      <a:pt x="378" y="78"/>
                    </a:lnTo>
                    <a:lnTo>
                      <a:pt x="380" y="78"/>
                    </a:lnTo>
                    <a:lnTo>
                      <a:pt x="380" y="77"/>
                    </a:lnTo>
                    <a:lnTo>
                      <a:pt x="380" y="76"/>
                    </a:lnTo>
                    <a:lnTo>
                      <a:pt x="381" y="76"/>
                    </a:lnTo>
                    <a:lnTo>
                      <a:pt x="382" y="76"/>
                    </a:lnTo>
                    <a:lnTo>
                      <a:pt x="381" y="77"/>
                    </a:lnTo>
                    <a:lnTo>
                      <a:pt x="382" y="78"/>
                    </a:lnTo>
                    <a:lnTo>
                      <a:pt x="383" y="79"/>
                    </a:lnTo>
                    <a:lnTo>
                      <a:pt x="382" y="78"/>
                    </a:lnTo>
                    <a:lnTo>
                      <a:pt x="381" y="77"/>
                    </a:lnTo>
                    <a:lnTo>
                      <a:pt x="382" y="76"/>
                    </a:lnTo>
                    <a:lnTo>
                      <a:pt x="383" y="76"/>
                    </a:lnTo>
                    <a:lnTo>
                      <a:pt x="383" y="77"/>
                    </a:lnTo>
                    <a:lnTo>
                      <a:pt x="383" y="78"/>
                    </a:lnTo>
                    <a:lnTo>
                      <a:pt x="384" y="78"/>
                    </a:lnTo>
                    <a:lnTo>
                      <a:pt x="384" y="79"/>
                    </a:lnTo>
                    <a:lnTo>
                      <a:pt x="384" y="78"/>
                    </a:lnTo>
                    <a:lnTo>
                      <a:pt x="384" y="77"/>
                    </a:lnTo>
                    <a:lnTo>
                      <a:pt x="385" y="77"/>
                    </a:lnTo>
                    <a:lnTo>
                      <a:pt x="385" y="76"/>
                    </a:lnTo>
                    <a:lnTo>
                      <a:pt x="384" y="76"/>
                    </a:lnTo>
                    <a:lnTo>
                      <a:pt x="385" y="76"/>
                    </a:lnTo>
                    <a:lnTo>
                      <a:pt x="386" y="76"/>
                    </a:lnTo>
                    <a:lnTo>
                      <a:pt x="386" y="75"/>
                    </a:lnTo>
                    <a:lnTo>
                      <a:pt x="387" y="75"/>
                    </a:lnTo>
                    <a:close/>
                    <a:moveTo>
                      <a:pt x="442" y="206"/>
                    </a:moveTo>
                    <a:lnTo>
                      <a:pt x="445" y="206"/>
                    </a:lnTo>
                    <a:lnTo>
                      <a:pt x="445" y="207"/>
                    </a:lnTo>
                    <a:lnTo>
                      <a:pt x="445" y="208"/>
                    </a:lnTo>
                    <a:lnTo>
                      <a:pt x="445" y="207"/>
                    </a:lnTo>
                    <a:lnTo>
                      <a:pt x="446" y="207"/>
                    </a:lnTo>
                    <a:lnTo>
                      <a:pt x="446" y="206"/>
                    </a:lnTo>
                    <a:lnTo>
                      <a:pt x="446" y="207"/>
                    </a:lnTo>
                    <a:lnTo>
                      <a:pt x="447" y="207"/>
                    </a:lnTo>
                    <a:lnTo>
                      <a:pt x="447" y="206"/>
                    </a:lnTo>
                    <a:lnTo>
                      <a:pt x="447" y="207"/>
                    </a:lnTo>
                    <a:lnTo>
                      <a:pt x="448" y="207"/>
                    </a:lnTo>
                    <a:lnTo>
                      <a:pt x="448" y="205"/>
                    </a:lnTo>
                    <a:lnTo>
                      <a:pt x="449" y="204"/>
                    </a:lnTo>
                    <a:lnTo>
                      <a:pt x="450" y="204"/>
                    </a:lnTo>
                    <a:lnTo>
                      <a:pt x="451" y="204"/>
                    </a:lnTo>
                    <a:lnTo>
                      <a:pt x="452" y="204"/>
                    </a:lnTo>
                    <a:lnTo>
                      <a:pt x="453" y="205"/>
                    </a:lnTo>
                    <a:lnTo>
                      <a:pt x="453" y="204"/>
                    </a:lnTo>
                    <a:lnTo>
                      <a:pt x="453" y="205"/>
                    </a:lnTo>
                    <a:lnTo>
                      <a:pt x="453" y="206"/>
                    </a:lnTo>
                    <a:lnTo>
                      <a:pt x="453" y="207"/>
                    </a:lnTo>
                    <a:lnTo>
                      <a:pt x="453" y="208"/>
                    </a:lnTo>
                    <a:lnTo>
                      <a:pt x="453" y="209"/>
                    </a:lnTo>
                    <a:lnTo>
                      <a:pt x="453" y="210"/>
                    </a:lnTo>
                    <a:lnTo>
                      <a:pt x="453" y="209"/>
                    </a:lnTo>
                    <a:lnTo>
                      <a:pt x="453" y="208"/>
                    </a:lnTo>
                    <a:lnTo>
                      <a:pt x="452" y="208"/>
                    </a:lnTo>
                    <a:lnTo>
                      <a:pt x="451" y="208"/>
                    </a:lnTo>
                    <a:lnTo>
                      <a:pt x="450" y="208"/>
                    </a:lnTo>
                    <a:lnTo>
                      <a:pt x="449" y="209"/>
                    </a:lnTo>
                    <a:lnTo>
                      <a:pt x="448" y="209"/>
                    </a:lnTo>
                    <a:lnTo>
                      <a:pt x="448" y="210"/>
                    </a:lnTo>
                    <a:lnTo>
                      <a:pt x="449" y="210"/>
                    </a:lnTo>
                    <a:lnTo>
                      <a:pt x="450" y="210"/>
                    </a:lnTo>
                    <a:lnTo>
                      <a:pt x="450" y="209"/>
                    </a:lnTo>
                    <a:lnTo>
                      <a:pt x="449" y="209"/>
                    </a:lnTo>
                    <a:lnTo>
                      <a:pt x="450" y="209"/>
                    </a:lnTo>
                    <a:lnTo>
                      <a:pt x="450" y="208"/>
                    </a:lnTo>
                    <a:lnTo>
                      <a:pt x="451" y="208"/>
                    </a:lnTo>
                    <a:lnTo>
                      <a:pt x="452" y="208"/>
                    </a:lnTo>
                    <a:lnTo>
                      <a:pt x="452" y="209"/>
                    </a:lnTo>
                    <a:lnTo>
                      <a:pt x="452" y="208"/>
                    </a:lnTo>
                    <a:lnTo>
                      <a:pt x="452" y="209"/>
                    </a:lnTo>
                    <a:lnTo>
                      <a:pt x="453" y="209"/>
                    </a:lnTo>
                    <a:lnTo>
                      <a:pt x="452" y="209"/>
                    </a:lnTo>
                    <a:lnTo>
                      <a:pt x="453" y="210"/>
                    </a:lnTo>
                    <a:lnTo>
                      <a:pt x="453" y="211"/>
                    </a:lnTo>
                    <a:lnTo>
                      <a:pt x="453" y="212"/>
                    </a:lnTo>
                    <a:lnTo>
                      <a:pt x="454" y="212"/>
                    </a:lnTo>
                    <a:lnTo>
                      <a:pt x="454" y="213"/>
                    </a:lnTo>
                    <a:lnTo>
                      <a:pt x="454" y="215"/>
                    </a:lnTo>
                    <a:lnTo>
                      <a:pt x="454" y="216"/>
                    </a:lnTo>
                    <a:lnTo>
                      <a:pt x="454" y="217"/>
                    </a:lnTo>
                    <a:lnTo>
                      <a:pt x="453" y="218"/>
                    </a:lnTo>
                    <a:lnTo>
                      <a:pt x="452" y="219"/>
                    </a:lnTo>
                    <a:lnTo>
                      <a:pt x="451" y="219"/>
                    </a:lnTo>
                    <a:lnTo>
                      <a:pt x="450" y="218"/>
                    </a:lnTo>
                    <a:lnTo>
                      <a:pt x="449" y="217"/>
                    </a:lnTo>
                    <a:lnTo>
                      <a:pt x="449" y="218"/>
                    </a:lnTo>
                    <a:lnTo>
                      <a:pt x="449" y="217"/>
                    </a:lnTo>
                    <a:lnTo>
                      <a:pt x="448" y="217"/>
                    </a:lnTo>
                    <a:lnTo>
                      <a:pt x="447" y="217"/>
                    </a:lnTo>
                    <a:lnTo>
                      <a:pt x="446" y="218"/>
                    </a:lnTo>
                    <a:lnTo>
                      <a:pt x="445" y="218"/>
                    </a:lnTo>
                    <a:lnTo>
                      <a:pt x="445" y="217"/>
                    </a:lnTo>
                    <a:lnTo>
                      <a:pt x="446" y="217"/>
                    </a:lnTo>
                    <a:lnTo>
                      <a:pt x="446" y="216"/>
                    </a:lnTo>
                    <a:lnTo>
                      <a:pt x="446" y="217"/>
                    </a:lnTo>
                    <a:lnTo>
                      <a:pt x="447" y="217"/>
                    </a:lnTo>
                    <a:lnTo>
                      <a:pt x="448" y="217"/>
                    </a:lnTo>
                    <a:lnTo>
                      <a:pt x="449" y="217"/>
                    </a:lnTo>
                    <a:lnTo>
                      <a:pt x="449" y="216"/>
                    </a:lnTo>
                    <a:lnTo>
                      <a:pt x="448" y="216"/>
                    </a:lnTo>
                    <a:lnTo>
                      <a:pt x="449" y="215"/>
                    </a:lnTo>
                    <a:lnTo>
                      <a:pt x="450" y="216"/>
                    </a:lnTo>
                    <a:lnTo>
                      <a:pt x="450" y="217"/>
                    </a:lnTo>
                    <a:lnTo>
                      <a:pt x="450" y="218"/>
                    </a:lnTo>
                    <a:lnTo>
                      <a:pt x="451" y="218"/>
                    </a:lnTo>
                    <a:lnTo>
                      <a:pt x="451" y="219"/>
                    </a:lnTo>
                    <a:lnTo>
                      <a:pt x="452" y="219"/>
                    </a:lnTo>
                    <a:lnTo>
                      <a:pt x="453" y="218"/>
                    </a:lnTo>
                    <a:lnTo>
                      <a:pt x="453" y="217"/>
                    </a:lnTo>
                    <a:lnTo>
                      <a:pt x="453" y="216"/>
                    </a:lnTo>
                    <a:lnTo>
                      <a:pt x="452" y="216"/>
                    </a:lnTo>
                    <a:lnTo>
                      <a:pt x="451" y="216"/>
                    </a:lnTo>
                    <a:lnTo>
                      <a:pt x="450" y="215"/>
                    </a:lnTo>
                    <a:lnTo>
                      <a:pt x="450" y="213"/>
                    </a:lnTo>
                    <a:lnTo>
                      <a:pt x="449" y="213"/>
                    </a:lnTo>
                    <a:lnTo>
                      <a:pt x="448" y="213"/>
                    </a:lnTo>
                    <a:lnTo>
                      <a:pt x="447" y="213"/>
                    </a:lnTo>
                    <a:lnTo>
                      <a:pt x="447" y="212"/>
                    </a:lnTo>
                    <a:lnTo>
                      <a:pt x="446" y="212"/>
                    </a:lnTo>
                    <a:lnTo>
                      <a:pt x="445" y="212"/>
                    </a:lnTo>
                    <a:lnTo>
                      <a:pt x="443" y="212"/>
                    </a:lnTo>
                    <a:lnTo>
                      <a:pt x="443" y="211"/>
                    </a:lnTo>
                    <a:lnTo>
                      <a:pt x="442" y="211"/>
                    </a:lnTo>
                    <a:lnTo>
                      <a:pt x="441" y="211"/>
                    </a:lnTo>
                    <a:lnTo>
                      <a:pt x="442" y="211"/>
                    </a:lnTo>
                    <a:lnTo>
                      <a:pt x="442" y="210"/>
                    </a:lnTo>
                    <a:lnTo>
                      <a:pt x="443" y="211"/>
                    </a:lnTo>
                    <a:lnTo>
                      <a:pt x="443" y="210"/>
                    </a:lnTo>
                    <a:lnTo>
                      <a:pt x="445" y="210"/>
                    </a:lnTo>
                    <a:lnTo>
                      <a:pt x="446" y="210"/>
                    </a:lnTo>
                    <a:lnTo>
                      <a:pt x="446" y="209"/>
                    </a:lnTo>
                    <a:lnTo>
                      <a:pt x="445" y="208"/>
                    </a:lnTo>
                    <a:lnTo>
                      <a:pt x="443" y="208"/>
                    </a:lnTo>
                    <a:lnTo>
                      <a:pt x="442" y="209"/>
                    </a:lnTo>
                    <a:lnTo>
                      <a:pt x="442" y="208"/>
                    </a:lnTo>
                    <a:lnTo>
                      <a:pt x="442" y="209"/>
                    </a:lnTo>
                    <a:lnTo>
                      <a:pt x="441" y="209"/>
                    </a:lnTo>
                    <a:lnTo>
                      <a:pt x="440" y="208"/>
                    </a:lnTo>
                    <a:lnTo>
                      <a:pt x="441" y="208"/>
                    </a:lnTo>
                    <a:lnTo>
                      <a:pt x="442" y="208"/>
                    </a:lnTo>
                    <a:lnTo>
                      <a:pt x="442" y="207"/>
                    </a:lnTo>
                    <a:lnTo>
                      <a:pt x="441" y="206"/>
                    </a:lnTo>
                    <a:lnTo>
                      <a:pt x="440" y="206"/>
                    </a:lnTo>
                    <a:lnTo>
                      <a:pt x="439" y="207"/>
                    </a:lnTo>
                    <a:lnTo>
                      <a:pt x="438" y="207"/>
                    </a:lnTo>
                    <a:lnTo>
                      <a:pt x="437" y="207"/>
                    </a:lnTo>
                    <a:lnTo>
                      <a:pt x="436" y="207"/>
                    </a:lnTo>
                    <a:lnTo>
                      <a:pt x="435" y="207"/>
                    </a:lnTo>
                    <a:lnTo>
                      <a:pt x="434" y="206"/>
                    </a:lnTo>
                    <a:lnTo>
                      <a:pt x="433" y="206"/>
                    </a:lnTo>
                    <a:lnTo>
                      <a:pt x="433" y="207"/>
                    </a:lnTo>
                    <a:lnTo>
                      <a:pt x="433" y="206"/>
                    </a:lnTo>
                    <a:lnTo>
                      <a:pt x="432" y="205"/>
                    </a:lnTo>
                    <a:lnTo>
                      <a:pt x="433" y="205"/>
                    </a:lnTo>
                    <a:lnTo>
                      <a:pt x="433" y="206"/>
                    </a:lnTo>
                    <a:lnTo>
                      <a:pt x="434" y="206"/>
                    </a:lnTo>
                    <a:lnTo>
                      <a:pt x="435" y="206"/>
                    </a:lnTo>
                    <a:lnTo>
                      <a:pt x="436" y="206"/>
                    </a:lnTo>
                    <a:lnTo>
                      <a:pt x="437" y="207"/>
                    </a:lnTo>
                    <a:lnTo>
                      <a:pt x="437" y="206"/>
                    </a:lnTo>
                    <a:lnTo>
                      <a:pt x="437" y="205"/>
                    </a:lnTo>
                    <a:lnTo>
                      <a:pt x="438" y="205"/>
                    </a:lnTo>
                    <a:lnTo>
                      <a:pt x="438" y="204"/>
                    </a:lnTo>
                    <a:lnTo>
                      <a:pt x="437" y="204"/>
                    </a:lnTo>
                    <a:lnTo>
                      <a:pt x="437" y="203"/>
                    </a:lnTo>
                    <a:lnTo>
                      <a:pt x="438" y="203"/>
                    </a:lnTo>
                    <a:lnTo>
                      <a:pt x="439" y="203"/>
                    </a:lnTo>
                    <a:lnTo>
                      <a:pt x="440" y="204"/>
                    </a:lnTo>
                    <a:lnTo>
                      <a:pt x="441" y="205"/>
                    </a:lnTo>
                    <a:lnTo>
                      <a:pt x="442" y="206"/>
                    </a:lnTo>
                    <a:close/>
                    <a:moveTo>
                      <a:pt x="424" y="69"/>
                    </a:moveTo>
                    <a:lnTo>
                      <a:pt x="425" y="70"/>
                    </a:lnTo>
                    <a:lnTo>
                      <a:pt x="426" y="70"/>
                    </a:lnTo>
                    <a:lnTo>
                      <a:pt x="426" y="71"/>
                    </a:lnTo>
                    <a:lnTo>
                      <a:pt x="427" y="71"/>
                    </a:lnTo>
                    <a:lnTo>
                      <a:pt x="428" y="71"/>
                    </a:lnTo>
                    <a:lnTo>
                      <a:pt x="429" y="71"/>
                    </a:lnTo>
                    <a:lnTo>
                      <a:pt x="429" y="70"/>
                    </a:lnTo>
                    <a:lnTo>
                      <a:pt x="430" y="70"/>
                    </a:lnTo>
                    <a:lnTo>
                      <a:pt x="430" y="69"/>
                    </a:lnTo>
                    <a:lnTo>
                      <a:pt x="430" y="68"/>
                    </a:lnTo>
                    <a:lnTo>
                      <a:pt x="432" y="68"/>
                    </a:lnTo>
                    <a:lnTo>
                      <a:pt x="432" y="69"/>
                    </a:lnTo>
                    <a:lnTo>
                      <a:pt x="432" y="70"/>
                    </a:lnTo>
                    <a:lnTo>
                      <a:pt x="433" y="71"/>
                    </a:lnTo>
                    <a:lnTo>
                      <a:pt x="433" y="72"/>
                    </a:lnTo>
                    <a:lnTo>
                      <a:pt x="432" y="72"/>
                    </a:lnTo>
                    <a:lnTo>
                      <a:pt x="432" y="74"/>
                    </a:lnTo>
                    <a:lnTo>
                      <a:pt x="430" y="74"/>
                    </a:lnTo>
                    <a:lnTo>
                      <a:pt x="429" y="75"/>
                    </a:lnTo>
                    <a:lnTo>
                      <a:pt x="429" y="76"/>
                    </a:lnTo>
                    <a:lnTo>
                      <a:pt x="429" y="75"/>
                    </a:lnTo>
                    <a:lnTo>
                      <a:pt x="429" y="74"/>
                    </a:lnTo>
                    <a:lnTo>
                      <a:pt x="429" y="72"/>
                    </a:lnTo>
                    <a:lnTo>
                      <a:pt x="429" y="71"/>
                    </a:lnTo>
                    <a:lnTo>
                      <a:pt x="428" y="71"/>
                    </a:lnTo>
                    <a:lnTo>
                      <a:pt x="427" y="71"/>
                    </a:lnTo>
                    <a:lnTo>
                      <a:pt x="427" y="72"/>
                    </a:lnTo>
                    <a:lnTo>
                      <a:pt x="426" y="72"/>
                    </a:lnTo>
                    <a:lnTo>
                      <a:pt x="425" y="72"/>
                    </a:lnTo>
                    <a:lnTo>
                      <a:pt x="425" y="71"/>
                    </a:lnTo>
                    <a:lnTo>
                      <a:pt x="426" y="71"/>
                    </a:lnTo>
                    <a:lnTo>
                      <a:pt x="425" y="71"/>
                    </a:lnTo>
                    <a:lnTo>
                      <a:pt x="424" y="72"/>
                    </a:lnTo>
                    <a:lnTo>
                      <a:pt x="424" y="74"/>
                    </a:lnTo>
                    <a:lnTo>
                      <a:pt x="423" y="72"/>
                    </a:lnTo>
                    <a:lnTo>
                      <a:pt x="422" y="72"/>
                    </a:lnTo>
                    <a:lnTo>
                      <a:pt x="422" y="74"/>
                    </a:lnTo>
                    <a:lnTo>
                      <a:pt x="421" y="74"/>
                    </a:lnTo>
                    <a:lnTo>
                      <a:pt x="420" y="74"/>
                    </a:lnTo>
                    <a:lnTo>
                      <a:pt x="420" y="75"/>
                    </a:lnTo>
                    <a:lnTo>
                      <a:pt x="419" y="75"/>
                    </a:lnTo>
                    <a:lnTo>
                      <a:pt x="419" y="76"/>
                    </a:lnTo>
                    <a:lnTo>
                      <a:pt x="419" y="77"/>
                    </a:lnTo>
                    <a:lnTo>
                      <a:pt x="419" y="78"/>
                    </a:lnTo>
                    <a:lnTo>
                      <a:pt x="417" y="78"/>
                    </a:lnTo>
                    <a:lnTo>
                      <a:pt x="417" y="79"/>
                    </a:lnTo>
                    <a:lnTo>
                      <a:pt x="417" y="80"/>
                    </a:lnTo>
                    <a:lnTo>
                      <a:pt x="417" y="81"/>
                    </a:lnTo>
                    <a:lnTo>
                      <a:pt x="419" y="82"/>
                    </a:lnTo>
                    <a:lnTo>
                      <a:pt x="417" y="82"/>
                    </a:lnTo>
                    <a:lnTo>
                      <a:pt x="417" y="83"/>
                    </a:lnTo>
                    <a:lnTo>
                      <a:pt x="417" y="84"/>
                    </a:lnTo>
                    <a:lnTo>
                      <a:pt x="419" y="84"/>
                    </a:lnTo>
                    <a:lnTo>
                      <a:pt x="419" y="86"/>
                    </a:lnTo>
                    <a:lnTo>
                      <a:pt x="420" y="86"/>
                    </a:lnTo>
                    <a:lnTo>
                      <a:pt x="419" y="86"/>
                    </a:lnTo>
                    <a:lnTo>
                      <a:pt x="417" y="86"/>
                    </a:lnTo>
                    <a:lnTo>
                      <a:pt x="417" y="87"/>
                    </a:lnTo>
                    <a:lnTo>
                      <a:pt x="416" y="87"/>
                    </a:lnTo>
                    <a:lnTo>
                      <a:pt x="416" y="86"/>
                    </a:lnTo>
                    <a:lnTo>
                      <a:pt x="415" y="86"/>
                    </a:lnTo>
                    <a:lnTo>
                      <a:pt x="415" y="84"/>
                    </a:lnTo>
                    <a:lnTo>
                      <a:pt x="416" y="84"/>
                    </a:lnTo>
                    <a:lnTo>
                      <a:pt x="415" y="84"/>
                    </a:lnTo>
                    <a:lnTo>
                      <a:pt x="415" y="83"/>
                    </a:lnTo>
                    <a:lnTo>
                      <a:pt x="414" y="83"/>
                    </a:lnTo>
                    <a:lnTo>
                      <a:pt x="414" y="82"/>
                    </a:lnTo>
                    <a:lnTo>
                      <a:pt x="413" y="82"/>
                    </a:lnTo>
                    <a:lnTo>
                      <a:pt x="413" y="81"/>
                    </a:lnTo>
                    <a:lnTo>
                      <a:pt x="412" y="80"/>
                    </a:lnTo>
                    <a:lnTo>
                      <a:pt x="413" y="80"/>
                    </a:lnTo>
                    <a:lnTo>
                      <a:pt x="414" y="80"/>
                    </a:lnTo>
                    <a:lnTo>
                      <a:pt x="414" y="81"/>
                    </a:lnTo>
                    <a:lnTo>
                      <a:pt x="415" y="81"/>
                    </a:lnTo>
                    <a:lnTo>
                      <a:pt x="415" y="80"/>
                    </a:lnTo>
                    <a:lnTo>
                      <a:pt x="415" y="79"/>
                    </a:lnTo>
                    <a:lnTo>
                      <a:pt x="414" y="79"/>
                    </a:lnTo>
                    <a:lnTo>
                      <a:pt x="415" y="79"/>
                    </a:lnTo>
                    <a:lnTo>
                      <a:pt x="414" y="79"/>
                    </a:lnTo>
                    <a:lnTo>
                      <a:pt x="414" y="78"/>
                    </a:lnTo>
                    <a:lnTo>
                      <a:pt x="414" y="77"/>
                    </a:lnTo>
                    <a:lnTo>
                      <a:pt x="414" y="76"/>
                    </a:lnTo>
                    <a:lnTo>
                      <a:pt x="415" y="76"/>
                    </a:lnTo>
                    <a:lnTo>
                      <a:pt x="415" y="75"/>
                    </a:lnTo>
                    <a:lnTo>
                      <a:pt x="415" y="74"/>
                    </a:lnTo>
                    <a:lnTo>
                      <a:pt x="416" y="74"/>
                    </a:lnTo>
                    <a:lnTo>
                      <a:pt x="415" y="72"/>
                    </a:lnTo>
                    <a:lnTo>
                      <a:pt x="416" y="71"/>
                    </a:lnTo>
                    <a:lnTo>
                      <a:pt x="415" y="71"/>
                    </a:lnTo>
                    <a:lnTo>
                      <a:pt x="415" y="70"/>
                    </a:lnTo>
                    <a:lnTo>
                      <a:pt x="416" y="69"/>
                    </a:lnTo>
                    <a:lnTo>
                      <a:pt x="417" y="69"/>
                    </a:lnTo>
                    <a:lnTo>
                      <a:pt x="419" y="69"/>
                    </a:lnTo>
                    <a:lnTo>
                      <a:pt x="420" y="69"/>
                    </a:lnTo>
                    <a:lnTo>
                      <a:pt x="420" y="68"/>
                    </a:lnTo>
                    <a:lnTo>
                      <a:pt x="421" y="68"/>
                    </a:lnTo>
                    <a:lnTo>
                      <a:pt x="421" y="67"/>
                    </a:lnTo>
                    <a:lnTo>
                      <a:pt x="422" y="67"/>
                    </a:lnTo>
                    <a:lnTo>
                      <a:pt x="422" y="66"/>
                    </a:lnTo>
                    <a:lnTo>
                      <a:pt x="422" y="67"/>
                    </a:lnTo>
                    <a:lnTo>
                      <a:pt x="423" y="67"/>
                    </a:lnTo>
                    <a:lnTo>
                      <a:pt x="423" y="68"/>
                    </a:lnTo>
                    <a:lnTo>
                      <a:pt x="424" y="69"/>
                    </a:lnTo>
                    <a:close/>
                    <a:moveTo>
                      <a:pt x="369" y="84"/>
                    </a:moveTo>
                    <a:lnTo>
                      <a:pt x="369" y="86"/>
                    </a:lnTo>
                    <a:lnTo>
                      <a:pt x="369" y="84"/>
                    </a:lnTo>
                    <a:lnTo>
                      <a:pt x="369" y="86"/>
                    </a:lnTo>
                    <a:lnTo>
                      <a:pt x="370" y="86"/>
                    </a:lnTo>
                    <a:lnTo>
                      <a:pt x="370" y="87"/>
                    </a:lnTo>
                    <a:lnTo>
                      <a:pt x="371" y="87"/>
                    </a:lnTo>
                    <a:lnTo>
                      <a:pt x="372" y="87"/>
                    </a:lnTo>
                    <a:lnTo>
                      <a:pt x="373" y="87"/>
                    </a:lnTo>
                    <a:lnTo>
                      <a:pt x="374" y="87"/>
                    </a:lnTo>
                    <a:lnTo>
                      <a:pt x="375" y="87"/>
                    </a:lnTo>
                    <a:lnTo>
                      <a:pt x="376" y="87"/>
                    </a:lnTo>
                    <a:lnTo>
                      <a:pt x="377" y="88"/>
                    </a:lnTo>
                    <a:lnTo>
                      <a:pt x="378" y="88"/>
                    </a:lnTo>
                    <a:lnTo>
                      <a:pt x="378" y="87"/>
                    </a:lnTo>
                    <a:lnTo>
                      <a:pt x="380" y="87"/>
                    </a:lnTo>
                    <a:lnTo>
                      <a:pt x="380" y="88"/>
                    </a:lnTo>
                    <a:lnTo>
                      <a:pt x="380" y="89"/>
                    </a:lnTo>
                    <a:lnTo>
                      <a:pt x="380" y="88"/>
                    </a:lnTo>
                    <a:lnTo>
                      <a:pt x="381" y="89"/>
                    </a:lnTo>
                    <a:lnTo>
                      <a:pt x="382" y="89"/>
                    </a:lnTo>
                    <a:lnTo>
                      <a:pt x="383" y="89"/>
                    </a:lnTo>
                    <a:lnTo>
                      <a:pt x="383" y="90"/>
                    </a:lnTo>
                    <a:lnTo>
                      <a:pt x="382" y="90"/>
                    </a:lnTo>
                    <a:lnTo>
                      <a:pt x="383" y="90"/>
                    </a:lnTo>
                    <a:lnTo>
                      <a:pt x="383" y="89"/>
                    </a:lnTo>
                    <a:lnTo>
                      <a:pt x="384" y="89"/>
                    </a:lnTo>
                    <a:lnTo>
                      <a:pt x="383" y="90"/>
                    </a:lnTo>
                    <a:lnTo>
                      <a:pt x="382" y="91"/>
                    </a:lnTo>
                    <a:lnTo>
                      <a:pt x="381" y="91"/>
                    </a:lnTo>
                    <a:lnTo>
                      <a:pt x="380" y="90"/>
                    </a:lnTo>
                    <a:lnTo>
                      <a:pt x="378" y="91"/>
                    </a:lnTo>
                    <a:lnTo>
                      <a:pt x="377" y="91"/>
                    </a:lnTo>
                    <a:lnTo>
                      <a:pt x="375" y="91"/>
                    </a:lnTo>
                    <a:lnTo>
                      <a:pt x="374" y="91"/>
                    </a:lnTo>
                    <a:lnTo>
                      <a:pt x="372" y="92"/>
                    </a:lnTo>
                    <a:lnTo>
                      <a:pt x="372" y="93"/>
                    </a:lnTo>
                    <a:lnTo>
                      <a:pt x="371" y="93"/>
                    </a:lnTo>
                    <a:lnTo>
                      <a:pt x="371" y="94"/>
                    </a:lnTo>
                    <a:lnTo>
                      <a:pt x="370" y="94"/>
                    </a:lnTo>
                    <a:lnTo>
                      <a:pt x="370" y="95"/>
                    </a:lnTo>
                    <a:lnTo>
                      <a:pt x="369" y="94"/>
                    </a:lnTo>
                    <a:lnTo>
                      <a:pt x="369" y="93"/>
                    </a:lnTo>
                    <a:lnTo>
                      <a:pt x="370" y="92"/>
                    </a:lnTo>
                    <a:lnTo>
                      <a:pt x="370" y="91"/>
                    </a:lnTo>
                    <a:lnTo>
                      <a:pt x="369" y="90"/>
                    </a:lnTo>
                    <a:lnTo>
                      <a:pt x="370" y="90"/>
                    </a:lnTo>
                    <a:lnTo>
                      <a:pt x="370" y="89"/>
                    </a:lnTo>
                    <a:lnTo>
                      <a:pt x="370" y="90"/>
                    </a:lnTo>
                    <a:lnTo>
                      <a:pt x="369" y="90"/>
                    </a:lnTo>
                    <a:lnTo>
                      <a:pt x="368" y="90"/>
                    </a:lnTo>
                    <a:lnTo>
                      <a:pt x="366" y="90"/>
                    </a:lnTo>
                    <a:lnTo>
                      <a:pt x="366" y="91"/>
                    </a:lnTo>
                    <a:lnTo>
                      <a:pt x="366" y="90"/>
                    </a:lnTo>
                    <a:lnTo>
                      <a:pt x="366" y="89"/>
                    </a:lnTo>
                    <a:lnTo>
                      <a:pt x="365" y="89"/>
                    </a:lnTo>
                    <a:lnTo>
                      <a:pt x="365" y="88"/>
                    </a:lnTo>
                    <a:lnTo>
                      <a:pt x="364" y="88"/>
                    </a:lnTo>
                    <a:lnTo>
                      <a:pt x="364" y="87"/>
                    </a:lnTo>
                    <a:lnTo>
                      <a:pt x="363" y="87"/>
                    </a:lnTo>
                    <a:lnTo>
                      <a:pt x="363" y="86"/>
                    </a:lnTo>
                    <a:lnTo>
                      <a:pt x="363" y="84"/>
                    </a:lnTo>
                    <a:lnTo>
                      <a:pt x="364" y="84"/>
                    </a:lnTo>
                    <a:lnTo>
                      <a:pt x="364" y="83"/>
                    </a:lnTo>
                    <a:lnTo>
                      <a:pt x="364" y="82"/>
                    </a:lnTo>
                    <a:lnTo>
                      <a:pt x="365" y="82"/>
                    </a:lnTo>
                    <a:lnTo>
                      <a:pt x="365" y="81"/>
                    </a:lnTo>
                    <a:lnTo>
                      <a:pt x="365" y="82"/>
                    </a:lnTo>
                    <a:lnTo>
                      <a:pt x="366" y="82"/>
                    </a:lnTo>
                    <a:lnTo>
                      <a:pt x="366" y="83"/>
                    </a:lnTo>
                    <a:lnTo>
                      <a:pt x="368" y="84"/>
                    </a:lnTo>
                    <a:lnTo>
                      <a:pt x="369" y="84"/>
                    </a:lnTo>
                    <a:close/>
                    <a:moveTo>
                      <a:pt x="482" y="79"/>
                    </a:moveTo>
                    <a:lnTo>
                      <a:pt x="484" y="79"/>
                    </a:lnTo>
                    <a:lnTo>
                      <a:pt x="484" y="80"/>
                    </a:lnTo>
                    <a:lnTo>
                      <a:pt x="482" y="80"/>
                    </a:lnTo>
                    <a:lnTo>
                      <a:pt x="482" y="81"/>
                    </a:lnTo>
                    <a:lnTo>
                      <a:pt x="482" y="82"/>
                    </a:lnTo>
                    <a:lnTo>
                      <a:pt x="482" y="83"/>
                    </a:lnTo>
                    <a:lnTo>
                      <a:pt x="481" y="84"/>
                    </a:lnTo>
                    <a:lnTo>
                      <a:pt x="480" y="84"/>
                    </a:lnTo>
                    <a:lnTo>
                      <a:pt x="479" y="84"/>
                    </a:lnTo>
                    <a:lnTo>
                      <a:pt x="479" y="86"/>
                    </a:lnTo>
                    <a:lnTo>
                      <a:pt x="479" y="87"/>
                    </a:lnTo>
                    <a:lnTo>
                      <a:pt x="479" y="88"/>
                    </a:lnTo>
                    <a:lnTo>
                      <a:pt x="478" y="88"/>
                    </a:lnTo>
                    <a:lnTo>
                      <a:pt x="478" y="90"/>
                    </a:lnTo>
                    <a:lnTo>
                      <a:pt x="478" y="91"/>
                    </a:lnTo>
                    <a:lnTo>
                      <a:pt x="478" y="92"/>
                    </a:lnTo>
                    <a:lnTo>
                      <a:pt x="479" y="92"/>
                    </a:lnTo>
                    <a:lnTo>
                      <a:pt x="480" y="92"/>
                    </a:lnTo>
                    <a:lnTo>
                      <a:pt x="480" y="93"/>
                    </a:lnTo>
                    <a:lnTo>
                      <a:pt x="481" y="93"/>
                    </a:lnTo>
                    <a:lnTo>
                      <a:pt x="482" y="93"/>
                    </a:lnTo>
                    <a:lnTo>
                      <a:pt x="481" y="93"/>
                    </a:lnTo>
                    <a:lnTo>
                      <a:pt x="481" y="94"/>
                    </a:lnTo>
                    <a:lnTo>
                      <a:pt x="481" y="95"/>
                    </a:lnTo>
                    <a:lnTo>
                      <a:pt x="481" y="96"/>
                    </a:lnTo>
                    <a:lnTo>
                      <a:pt x="481" y="95"/>
                    </a:lnTo>
                    <a:lnTo>
                      <a:pt x="480" y="94"/>
                    </a:lnTo>
                    <a:lnTo>
                      <a:pt x="479" y="93"/>
                    </a:lnTo>
                    <a:lnTo>
                      <a:pt x="479" y="92"/>
                    </a:lnTo>
                    <a:lnTo>
                      <a:pt x="478" y="92"/>
                    </a:lnTo>
                    <a:lnTo>
                      <a:pt x="478" y="91"/>
                    </a:lnTo>
                    <a:lnTo>
                      <a:pt x="477" y="91"/>
                    </a:lnTo>
                    <a:lnTo>
                      <a:pt x="476" y="90"/>
                    </a:lnTo>
                    <a:lnTo>
                      <a:pt x="476" y="89"/>
                    </a:lnTo>
                    <a:lnTo>
                      <a:pt x="477" y="89"/>
                    </a:lnTo>
                    <a:lnTo>
                      <a:pt x="477" y="88"/>
                    </a:lnTo>
                    <a:lnTo>
                      <a:pt x="478" y="87"/>
                    </a:lnTo>
                    <a:lnTo>
                      <a:pt x="478" y="86"/>
                    </a:lnTo>
                    <a:lnTo>
                      <a:pt x="478" y="84"/>
                    </a:lnTo>
                    <a:lnTo>
                      <a:pt x="478" y="86"/>
                    </a:lnTo>
                    <a:lnTo>
                      <a:pt x="477" y="87"/>
                    </a:lnTo>
                    <a:lnTo>
                      <a:pt x="477" y="88"/>
                    </a:lnTo>
                    <a:lnTo>
                      <a:pt x="476" y="89"/>
                    </a:lnTo>
                    <a:lnTo>
                      <a:pt x="475" y="89"/>
                    </a:lnTo>
                    <a:lnTo>
                      <a:pt x="476" y="90"/>
                    </a:lnTo>
                    <a:lnTo>
                      <a:pt x="475" y="90"/>
                    </a:lnTo>
                    <a:lnTo>
                      <a:pt x="475" y="89"/>
                    </a:lnTo>
                    <a:lnTo>
                      <a:pt x="475" y="88"/>
                    </a:lnTo>
                    <a:lnTo>
                      <a:pt x="476" y="88"/>
                    </a:lnTo>
                    <a:lnTo>
                      <a:pt x="476" y="87"/>
                    </a:lnTo>
                    <a:lnTo>
                      <a:pt x="476" y="86"/>
                    </a:lnTo>
                    <a:lnTo>
                      <a:pt x="476" y="84"/>
                    </a:lnTo>
                    <a:lnTo>
                      <a:pt x="476" y="83"/>
                    </a:lnTo>
                    <a:lnTo>
                      <a:pt x="476" y="82"/>
                    </a:lnTo>
                    <a:lnTo>
                      <a:pt x="475" y="81"/>
                    </a:lnTo>
                    <a:lnTo>
                      <a:pt x="474" y="81"/>
                    </a:lnTo>
                    <a:lnTo>
                      <a:pt x="475" y="81"/>
                    </a:lnTo>
                    <a:lnTo>
                      <a:pt x="475" y="80"/>
                    </a:lnTo>
                    <a:lnTo>
                      <a:pt x="475" y="79"/>
                    </a:lnTo>
                    <a:lnTo>
                      <a:pt x="474" y="79"/>
                    </a:lnTo>
                    <a:lnTo>
                      <a:pt x="473" y="80"/>
                    </a:lnTo>
                    <a:lnTo>
                      <a:pt x="473" y="79"/>
                    </a:lnTo>
                    <a:lnTo>
                      <a:pt x="474" y="79"/>
                    </a:lnTo>
                    <a:lnTo>
                      <a:pt x="475" y="79"/>
                    </a:lnTo>
                    <a:lnTo>
                      <a:pt x="475" y="78"/>
                    </a:lnTo>
                    <a:lnTo>
                      <a:pt x="475" y="77"/>
                    </a:lnTo>
                    <a:lnTo>
                      <a:pt x="475" y="76"/>
                    </a:lnTo>
                    <a:lnTo>
                      <a:pt x="474" y="76"/>
                    </a:lnTo>
                    <a:lnTo>
                      <a:pt x="475" y="76"/>
                    </a:lnTo>
                    <a:lnTo>
                      <a:pt x="476" y="76"/>
                    </a:lnTo>
                    <a:lnTo>
                      <a:pt x="477" y="77"/>
                    </a:lnTo>
                    <a:lnTo>
                      <a:pt x="476" y="77"/>
                    </a:lnTo>
                    <a:lnTo>
                      <a:pt x="476" y="78"/>
                    </a:lnTo>
                    <a:lnTo>
                      <a:pt x="476" y="79"/>
                    </a:lnTo>
                    <a:lnTo>
                      <a:pt x="477" y="79"/>
                    </a:lnTo>
                    <a:lnTo>
                      <a:pt x="478" y="79"/>
                    </a:lnTo>
                    <a:lnTo>
                      <a:pt x="479" y="79"/>
                    </a:lnTo>
                    <a:lnTo>
                      <a:pt x="479" y="78"/>
                    </a:lnTo>
                    <a:lnTo>
                      <a:pt x="479" y="77"/>
                    </a:lnTo>
                    <a:lnTo>
                      <a:pt x="478" y="76"/>
                    </a:lnTo>
                    <a:lnTo>
                      <a:pt x="478" y="75"/>
                    </a:lnTo>
                    <a:lnTo>
                      <a:pt x="479" y="75"/>
                    </a:lnTo>
                    <a:lnTo>
                      <a:pt x="480" y="76"/>
                    </a:lnTo>
                    <a:lnTo>
                      <a:pt x="481" y="76"/>
                    </a:lnTo>
                    <a:lnTo>
                      <a:pt x="482" y="76"/>
                    </a:lnTo>
                    <a:lnTo>
                      <a:pt x="482" y="77"/>
                    </a:lnTo>
                    <a:lnTo>
                      <a:pt x="484" y="77"/>
                    </a:lnTo>
                    <a:lnTo>
                      <a:pt x="484" y="78"/>
                    </a:lnTo>
                    <a:lnTo>
                      <a:pt x="484" y="79"/>
                    </a:lnTo>
                    <a:lnTo>
                      <a:pt x="482" y="79"/>
                    </a:lnTo>
                    <a:close/>
                    <a:moveTo>
                      <a:pt x="421" y="204"/>
                    </a:moveTo>
                    <a:lnTo>
                      <a:pt x="421" y="205"/>
                    </a:lnTo>
                    <a:lnTo>
                      <a:pt x="420" y="205"/>
                    </a:lnTo>
                    <a:lnTo>
                      <a:pt x="420" y="206"/>
                    </a:lnTo>
                    <a:lnTo>
                      <a:pt x="419" y="206"/>
                    </a:lnTo>
                    <a:lnTo>
                      <a:pt x="419" y="207"/>
                    </a:lnTo>
                    <a:lnTo>
                      <a:pt x="417" y="208"/>
                    </a:lnTo>
                    <a:lnTo>
                      <a:pt x="417" y="209"/>
                    </a:lnTo>
                    <a:lnTo>
                      <a:pt x="417" y="210"/>
                    </a:lnTo>
                    <a:lnTo>
                      <a:pt x="419" y="210"/>
                    </a:lnTo>
                    <a:lnTo>
                      <a:pt x="420" y="210"/>
                    </a:lnTo>
                    <a:lnTo>
                      <a:pt x="421" y="210"/>
                    </a:lnTo>
                    <a:lnTo>
                      <a:pt x="421" y="209"/>
                    </a:lnTo>
                    <a:lnTo>
                      <a:pt x="422" y="208"/>
                    </a:lnTo>
                    <a:lnTo>
                      <a:pt x="423" y="208"/>
                    </a:lnTo>
                    <a:lnTo>
                      <a:pt x="424" y="208"/>
                    </a:lnTo>
                    <a:lnTo>
                      <a:pt x="425" y="208"/>
                    </a:lnTo>
                    <a:lnTo>
                      <a:pt x="425" y="207"/>
                    </a:lnTo>
                    <a:lnTo>
                      <a:pt x="426" y="207"/>
                    </a:lnTo>
                    <a:lnTo>
                      <a:pt x="427" y="207"/>
                    </a:lnTo>
                    <a:lnTo>
                      <a:pt x="426" y="208"/>
                    </a:lnTo>
                    <a:lnTo>
                      <a:pt x="425" y="208"/>
                    </a:lnTo>
                    <a:lnTo>
                      <a:pt x="425" y="209"/>
                    </a:lnTo>
                    <a:lnTo>
                      <a:pt x="424" y="209"/>
                    </a:lnTo>
                    <a:lnTo>
                      <a:pt x="424" y="210"/>
                    </a:lnTo>
                    <a:lnTo>
                      <a:pt x="424" y="211"/>
                    </a:lnTo>
                    <a:lnTo>
                      <a:pt x="425" y="211"/>
                    </a:lnTo>
                    <a:lnTo>
                      <a:pt x="426" y="211"/>
                    </a:lnTo>
                    <a:lnTo>
                      <a:pt x="427" y="211"/>
                    </a:lnTo>
                    <a:lnTo>
                      <a:pt x="427" y="210"/>
                    </a:lnTo>
                    <a:lnTo>
                      <a:pt x="426" y="210"/>
                    </a:lnTo>
                    <a:lnTo>
                      <a:pt x="426" y="209"/>
                    </a:lnTo>
                    <a:lnTo>
                      <a:pt x="427" y="209"/>
                    </a:lnTo>
                    <a:lnTo>
                      <a:pt x="428" y="209"/>
                    </a:lnTo>
                    <a:lnTo>
                      <a:pt x="428" y="208"/>
                    </a:lnTo>
                    <a:lnTo>
                      <a:pt x="429" y="208"/>
                    </a:lnTo>
                    <a:lnTo>
                      <a:pt x="429" y="209"/>
                    </a:lnTo>
                    <a:lnTo>
                      <a:pt x="428" y="209"/>
                    </a:lnTo>
                    <a:lnTo>
                      <a:pt x="428" y="210"/>
                    </a:lnTo>
                    <a:lnTo>
                      <a:pt x="429" y="210"/>
                    </a:lnTo>
                    <a:lnTo>
                      <a:pt x="429" y="209"/>
                    </a:lnTo>
                    <a:lnTo>
                      <a:pt x="430" y="209"/>
                    </a:lnTo>
                    <a:lnTo>
                      <a:pt x="430" y="210"/>
                    </a:lnTo>
                    <a:lnTo>
                      <a:pt x="432" y="210"/>
                    </a:lnTo>
                    <a:lnTo>
                      <a:pt x="433" y="210"/>
                    </a:lnTo>
                    <a:lnTo>
                      <a:pt x="432" y="210"/>
                    </a:lnTo>
                    <a:lnTo>
                      <a:pt x="432" y="211"/>
                    </a:lnTo>
                    <a:lnTo>
                      <a:pt x="432" y="212"/>
                    </a:lnTo>
                    <a:lnTo>
                      <a:pt x="433" y="212"/>
                    </a:lnTo>
                    <a:lnTo>
                      <a:pt x="432" y="212"/>
                    </a:lnTo>
                    <a:lnTo>
                      <a:pt x="430" y="212"/>
                    </a:lnTo>
                    <a:lnTo>
                      <a:pt x="429" y="212"/>
                    </a:lnTo>
                    <a:lnTo>
                      <a:pt x="428" y="212"/>
                    </a:lnTo>
                    <a:lnTo>
                      <a:pt x="428" y="213"/>
                    </a:lnTo>
                    <a:lnTo>
                      <a:pt x="429" y="213"/>
                    </a:lnTo>
                    <a:lnTo>
                      <a:pt x="428" y="215"/>
                    </a:lnTo>
                    <a:lnTo>
                      <a:pt x="427" y="215"/>
                    </a:lnTo>
                    <a:lnTo>
                      <a:pt x="428" y="215"/>
                    </a:lnTo>
                    <a:lnTo>
                      <a:pt x="427" y="216"/>
                    </a:lnTo>
                    <a:lnTo>
                      <a:pt x="427" y="217"/>
                    </a:lnTo>
                    <a:lnTo>
                      <a:pt x="426" y="216"/>
                    </a:lnTo>
                    <a:lnTo>
                      <a:pt x="425" y="216"/>
                    </a:lnTo>
                    <a:lnTo>
                      <a:pt x="425" y="215"/>
                    </a:lnTo>
                    <a:lnTo>
                      <a:pt x="425" y="213"/>
                    </a:lnTo>
                    <a:lnTo>
                      <a:pt x="425" y="215"/>
                    </a:lnTo>
                    <a:lnTo>
                      <a:pt x="426" y="215"/>
                    </a:lnTo>
                    <a:lnTo>
                      <a:pt x="425" y="213"/>
                    </a:lnTo>
                    <a:lnTo>
                      <a:pt x="426" y="213"/>
                    </a:lnTo>
                    <a:lnTo>
                      <a:pt x="426" y="212"/>
                    </a:lnTo>
                    <a:lnTo>
                      <a:pt x="425" y="213"/>
                    </a:lnTo>
                    <a:lnTo>
                      <a:pt x="425" y="212"/>
                    </a:lnTo>
                    <a:lnTo>
                      <a:pt x="424" y="211"/>
                    </a:lnTo>
                    <a:lnTo>
                      <a:pt x="423" y="211"/>
                    </a:lnTo>
                    <a:lnTo>
                      <a:pt x="422" y="210"/>
                    </a:lnTo>
                    <a:lnTo>
                      <a:pt x="422" y="211"/>
                    </a:lnTo>
                    <a:lnTo>
                      <a:pt x="421" y="211"/>
                    </a:lnTo>
                    <a:lnTo>
                      <a:pt x="420" y="211"/>
                    </a:lnTo>
                    <a:lnTo>
                      <a:pt x="420" y="212"/>
                    </a:lnTo>
                    <a:lnTo>
                      <a:pt x="419" y="212"/>
                    </a:lnTo>
                    <a:lnTo>
                      <a:pt x="419" y="211"/>
                    </a:lnTo>
                    <a:lnTo>
                      <a:pt x="417" y="211"/>
                    </a:lnTo>
                    <a:lnTo>
                      <a:pt x="416" y="211"/>
                    </a:lnTo>
                    <a:lnTo>
                      <a:pt x="415" y="211"/>
                    </a:lnTo>
                    <a:lnTo>
                      <a:pt x="415" y="210"/>
                    </a:lnTo>
                    <a:lnTo>
                      <a:pt x="414" y="210"/>
                    </a:lnTo>
                    <a:lnTo>
                      <a:pt x="414" y="209"/>
                    </a:lnTo>
                    <a:lnTo>
                      <a:pt x="413" y="209"/>
                    </a:lnTo>
                    <a:lnTo>
                      <a:pt x="412" y="209"/>
                    </a:lnTo>
                    <a:lnTo>
                      <a:pt x="412" y="208"/>
                    </a:lnTo>
                    <a:lnTo>
                      <a:pt x="412" y="207"/>
                    </a:lnTo>
                    <a:lnTo>
                      <a:pt x="411" y="206"/>
                    </a:lnTo>
                    <a:lnTo>
                      <a:pt x="412" y="206"/>
                    </a:lnTo>
                    <a:lnTo>
                      <a:pt x="413" y="206"/>
                    </a:lnTo>
                    <a:lnTo>
                      <a:pt x="414" y="206"/>
                    </a:lnTo>
                    <a:lnTo>
                      <a:pt x="416" y="205"/>
                    </a:lnTo>
                    <a:lnTo>
                      <a:pt x="417" y="205"/>
                    </a:lnTo>
                    <a:lnTo>
                      <a:pt x="419" y="205"/>
                    </a:lnTo>
                    <a:lnTo>
                      <a:pt x="420" y="205"/>
                    </a:lnTo>
                    <a:lnTo>
                      <a:pt x="419" y="205"/>
                    </a:lnTo>
                    <a:lnTo>
                      <a:pt x="420" y="205"/>
                    </a:lnTo>
                    <a:lnTo>
                      <a:pt x="421" y="205"/>
                    </a:lnTo>
                    <a:lnTo>
                      <a:pt x="421" y="204"/>
                    </a:lnTo>
                    <a:lnTo>
                      <a:pt x="422" y="204"/>
                    </a:lnTo>
                    <a:lnTo>
                      <a:pt x="421" y="204"/>
                    </a:lnTo>
                    <a:close/>
                    <a:moveTo>
                      <a:pt x="409" y="177"/>
                    </a:moveTo>
                    <a:lnTo>
                      <a:pt x="410" y="177"/>
                    </a:lnTo>
                    <a:lnTo>
                      <a:pt x="410" y="178"/>
                    </a:lnTo>
                    <a:lnTo>
                      <a:pt x="410" y="179"/>
                    </a:lnTo>
                    <a:lnTo>
                      <a:pt x="409" y="179"/>
                    </a:lnTo>
                    <a:lnTo>
                      <a:pt x="409" y="180"/>
                    </a:lnTo>
                    <a:lnTo>
                      <a:pt x="409" y="181"/>
                    </a:lnTo>
                    <a:lnTo>
                      <a:pt x="408" y="182"/>
                    </a:lnTo>
                    <a:lnTo>
                      <a:pt x="407" y="182"/>
                    </a:lnTo>
                    <a:lnTo>
                      <a:pt x="406" y="183"/>
                    </a:lnTo>
                    <a:lnTo>
                      <a:pt x="404" y="184"/>
                    </a:lnTo>
                    <a:lnTo>
                      <a:pt x="404" y="186"/>
                    </a:lnTo>
                    <a:lnTo>
                      <a:pt x="404" y="187"/>
                    </a:lnTo>
                    <a:lnTo>
                      <a:pt x="404" y="186"/>
                    </a:lnTo>
                    <a:lnTo>
                      <a:pt x="406" y="186"/>
                    </a:lnTo>
                    <a:lnTo>
                      <a:pt x="406" y="187"/>
                    </a:lnTo>
                    <a:lnTo>
                      <a:pt x="406" y="189"/>
                    </a:lnTo>
                    <a:lnTo>
                      <a:pt x="404" y="189"/>
                    </a:lnTo>
                    <a:lnTo>
                      <a:pt x="403" y="190"/>
                    </a:lnTo>
                    <a:lnTo>
                      <a:pt x="403" y="189"/>
                    </a:lnTo>
                    <a:lnTo>
                      <a:pt x="403" y="190"/>
                    </a:lnTo>
                    <a:lnTo>
                      <a:pt x="404" y="189"/>
                    </a:lnTo>
                    <a:lnTo>
                      <a:pt x="406" y="189"/>
                    </a:lnTo>
                    <a:lnTo>
                      <a:pt x="406" y="187"/>
                    </a:lnTo>
                    <a:lnTo>
                      <a:pt x="406" y="186"/>
                    </a:lnTo>
                    <a:lnTo>
                      <a:pt x="407" y="186"/>
                    </a:lnTo>
                    <a:lnTo>
                      <a:pt x="407" y="187"/>
                    </a:lnTo>
                    <a:lnTo>
                      <a:pt x="408" y="187"/>
                    </a:lnTo>
                    <a:lnTo>
                      <a:pt x="408" y="189"/>
                    </a:lnTo>
                    <a:lnTo>
                      <a:pt x="409" y="189"/>
                    </a:lnTo>
                    <a:lnTo>
                      <a:pt x="410" y="189"/>
                    </a:lnTo>
                    <a:lnTo>
                      <a:pt x="410" y="190"/>
                    </a:lnTo>
                    <a:lnTo>
                      <a:pt x="410" y="191"/>
                    </a:lnTo>
                    <a:lnTo>
                      <a:pt x="409" y="191"/>
                    </a:lnTo>
                    <a:lnTo>
                      <a:pt x="408" y="191"/>
                    </a:lnTo>
                    <a:lnTo>
                      <a:pt x="408" y="192"/>
                    </a:lnTo>
                    <a:lnTo>
                      <a:pt x="407" y="192"/>
                    </a:lnTo>
                    <a:lnTo>
                      <a:pt x="406" y="192"/>
                    </a:lnTo>
                    <a:lnTo>
                      <a:pt x="404" y="192"/>
                    </a:lnTo>
                    <a:lnTo>
                      <a:pt x="404" y="193"/>
                    </a:lnTo>
                    <a:lnTo>
                      <a:pt x="404" y="194"/>
                    </a:lnTo>
                    <a:lnTo>
                      <a:pt x="403" y="194"/>
                    </a:lnTo>
                    <a:lnTo>
                      <a:pt x="403" y="195"/>
                    </a:lnTo>
                    <a:lnTo>
                      <a:pt x="403" y="196"/>
                    </a:lnTo>
                    <a:lnTo>
                      <a:pt x="404" y="197"/>
                    </a:lnTo>
                    <a:lnTo>
                      <a:pt x="404" y="198"/>
                    </a:lnTo>
                    <a:lnTo>
                      <a:pt x="403" y="197"/>
                    </a:lnTo>
                    <a:lnTo>
                      <a:pt x="402" y="197"/>
                    </a:lnTo>
                    <a:lnTo>
                      <a:pt x="401" y="197"/>
                    </a:lnTo>
                    <a:lnTo>
                      <a:pt x="401" y="196"/>
                    </a:lnTo>
                    <a:lnTo>
                      <a:pt x="400" y="196"/>
                    </a:lnTo>
                    <a:lnTo>
                      <a:pt x="400" y="197"/>
                    </a:lnTo>
                    <a:lnTo>
                      <a:pt x="399" y="197"/>
                    </a:lnTo>
                    <a:lnTo>
                      <a:pt x="398" y="197"/>
                    </a:lnTo>
                    <a:lnTo>
                      <a:pt x="398" y="196"/>
                    </a:lnTo>
                    <a:lnTo>
                      <a:pt x="398" y="195"/>
                    </a:lnTo>
                    <a:lnTo>
                      <a:pt x="399" y="195"/>
                    </a:lnTo>
                    <a:lnTo>
                      <a:pt x="400" y="195"/>
                    </a:lnTo>
                    <a:lnTo>
                      <a:pt x="400" y="194"/>
                    </a:lnTo>
                    <a:lnTo>
                      <a:pt x="400" y="193"/>
                    </a:lnTo>
                    <a:lnTo>
                      <a:pt x="401" y="193"/>
                    </a:lnTo>
                    <a:lnTo>
                      <a:pt x="401" y="192"/>
                    </a:lnTo>
                    <a:lnTo>
                      <a:pt x="402" y="192"/>
                    </a:lnTo>
                    <a:lnTo>
                      <a:pt x="402" y="191"/>
                    </a:lnTo>
                    <a:lnTo>
                      <a:pt x="401" y="192"/>
                    </a:lnTo>
                    <a:lnTo>
                      <a:pt x="402" y="192"/>
                    </a:lnTo>
                    <a:lnTo>
                      <a:pt x="401" y="192"/>
                    </a:lnTo>
                    <a:lnTo>
                      <a:pt x="401" y="193"/>
                    </a:lnTo>
                    <a:lnTo>
                      <a:pt x="400" y="193"/>
                    </a:lnTo>
                    <a:lnTo>
                      <a:pt x="400" y="192"/>
                    </a:lnTo>
                    <a:lnTo>
                      <a:pt x="400" y="191"/>
                    </a:lnTo>
                    <a:lnTo>
                      <a:pt x="401" y="191"/>
                    </a:lnTo>
                    <a:lnTo>
                      <a:pt x="402" y="191"/>
                    </a:lnTo>
                    <a:lnTo>
                      <a:pt x="402" y="190"/>
                    </a:lnTo>
                    <a:lnTo>
                      <a:pt x="402" y="189"/>
                    </a:lnTo>
                    <a:lnTo>
                      <a:pt x="402" y="187"/>
                    </a:lnTo>
                    <a:lnTo>
                      <a:pt x="402" y="186"/>
                    </a:lnTo>
                    <a:lnTo>
                      <a:pt x="402" y="185"/>
                    </a:lnTo>
                    <a:lnTo>
                      <a:pt x="403" y="185"/>
                    </a:lnTo>
                    <a:lnTo>
                      <a:pt x="403" y="184"/>
                    </a:lnTo>
                    <a:lnTo>
                      <a:pt x="403" y="183"/>
                    </a:lnTo>
                    <a:lnTo>
                      <a:pt x="404" y="183"/>
                    </a:lnTo>
                    <a:lnTo>
                      <a:pt x="404" y="182"/>
                    </a:lnTo>
                    <a:lnTo>
                      <a:pt x="406" y="182"/>
                    </a:lnTo>
                    <a:lnTo>
                      <a:pt x="406" y="181"/>
                    </a:lnTo>
                    <a:lnTo>
                      <a:pt x="406" y="180"/>
                    </a:lnTo>
                    <a:lnTo>
                      <a:pt x="404" y="180"/>
                    </a:lnTo>
                    <a:lnTo>
                      <a:pt x="404" y="179"/>
                    </a:lnTo>
                    <a:lnTo>
                      <a:pt x="406" y="179"/>
                    </a:lnTo>
                    <a:lnTo>
                      <a:pt x="407" y="179"/>
                    </a:lnTo>
                    <a:lnTo>
                      <a:pt x="408" y="179"/>
                    </a:lnTo>
                    <a:lnTo>
                      <a:pt x="409" y="179"/>
                    </a:lnTo>
                    <a:lnTo>
                      <a:pt x="409" y="178"/>
                    </a:lnTo>
                    <a:lnTo>
                      <a:pt x="409" y="177"/>
                    </a:lnTo>
                    <a:close/>
                    <a:moveTo>
                      <a:pt x="308" y="266"/>
                    </a:moveTo>
                    <a:lnTo>
                      <a:pt x="309" y="267"/>
                    </a:lnTo>
                    <a:lnTo>
                      <a:pt x="309" y="268"/>
                    </a:lnTo>
                    <a:lnTo>
                      <a:pt x="308" y="268"/>
                    </a:lnTo>
                    <a:lnTo>
                      <a:pt x="308" y="269"/>
                    </a:lnTo>
                    <a:lnTo>
                      <a:pt x="308" y="270"/>
                    </a:lnTo>
                    <a:lnTo>
                      <a:pt x="309" y="270"/>
                    </a:lnTo>
                    <a:lnTo>
                      <a:pt x="309" y="271"/>
                    </a:lnTo>
                    <a:lnTo>
                      <a:pt x="309" y="272"/>
                    </a:lnTo>
                    <a:lnTo>
                      <a:pt x="310" y="272"/>
                    </a:lnTo>
                    <a:lnTo>
                      <a:pt x="309" y="272"/>
                    </a:lnTo>
                    <a:lnTo>
                      <a:pt x="308" y="272"/>
                    </a:lnTo>
                    <a:lnTo>
                      <a:pt x="308" y="273"/>
                    </a:lnTo>
                    <a:lnTo>
                      <a:pt x="308" y="274"/>
                    </a:lnTo>
                    <a:lnTo>
                      <a:pt x="308" y="275"/>
                    </a:lnTo>
                    <a:lnTo>
                      <a:pt x="309" y="275"/>
                    </a:lnTo>
                    <a:lnTo>
                      <a:pt x="308" y="276"/>
                    </a:lnTo>
                    <a:lnTo>
                      <a:pt x="308" y="275"/>
                    </a:lnTo>
                    <a:lnTo>
                      <a:pt x="307" y="275"/>
                    </a:lnTo>
                    <a:lnTo>
                      <a:pt x="307" y="276"/>
                    </a:lnTo>
                    <a:lnTo>
                      <a:pt x="308" y="276"/>
                    </a:lnTo>
                    <a:lnTo>
                      <a:pt x="307" y="276"/>
                    </a:lnTo>
                    <a:lnTo>
                      <a:pt x="306" y="276"/>
                    </a:lnTo>
                    <a:lnTo>
                      <a:pt x="306" y="275"/>
                    </a:lnTo>
                    <a:lnTo>
                      <a:pt x="305" y="275"/>
                    </a:lnTo>
                    <a:lnTo>
                      <a:pt x="305" y="274"/>
                    </a:lnTo>
                    <a:lnTo>
                      <a:pt x="304" y="274"/>
                    </a:lnTo>
                    <a:lnTo>
                      <a:pt x="303" y="273"/>
                    </a:lnTo>
                    <a:lnTo>
                      <a:pt x="301" y="272"/>
                    </a:lnTo>
                    <a:lnTo>
                      <a:pt x="301" y="271"/>
                    </a:lnTo>
                    <a:lnTo>
                      <a:pt x="300" y="271"/>
                    </a:lnTo>
                    <a:lnTo>
                      <a:pt x="300" y="272"/>
                    </a:lnTo>
                    <a:lnTo>
                      <a:pt x="300" y="271"/>
                    </a:lnTo>
                    <a:lnTo>
                      <a:pt x="300" y="270"/>
                    </a:lnTo>
                    <a:lnTo>
                      <a:pt x="299" y="270"/>
                    </a:lnTo>
                    <a:lnTo>
                      <a:pt x="299" y="269"/>
                    </a:lnTo>
                    <a:lnTo>
                      <a:pt x="299" y="268"/>
                    </a:lnTo>
                    <a:lnTo>
                      <a:pt x="298" y="268"/>
                    </a:lnTo>
                    <a:lnTo>
                      <a:pt x="298" y="267"/>
                    </a:lnTo>
                    <a:lnTo>
                      <a:pt x="299" y="266"/>
                    </a:lnTo>
                    <a:lnTo>
                      <a:pt x="300" y="266"/>
                    </a:lnTo>
                    <a:lnTo>
                      <a:pt x="301" y="267"/>
                    </a:lnTo>
                    <a:lnTo>
                      <a:pt x="303" y="267"/>
                    </a:lnTo>
                    <a:lnTo>
                      <a:pt x="303" y="266"/>
                    </a:lnTo>
                    <a:lnTo>
                      <a:pt x="303" y="264"/>
                    </a:lnTo>
                    <a:lnTo>
                      <a:pt x="303" y="266"/>
                    </a:lnTo>
                    <a:lnTo>
                      <a:pt x="304" y="266"/>
                    </a:lnTo>
                    <a:lnTo>
                      <a:pt x="304" y="267"/>
                    </a:lnTo>
                    <a:lnTo>
                      <a:pt x="305" y="267"/>
                    </a:lnTo>
                    <a:lnTo>
                      <a:pt x="305" y="266"/>
                    </a:lnTo>
                    <a:lnTo>
                      <a:pt x="306" y="266"/>
                    </a:lnTo>
                    <a:lnTo>
                      <a:pt x="306" y="267"/>
                    </a:lnTo>
                    <a:lnTo>
                      <a:pt x="306" y="266"/>
                    </a:lnTo>
                    <a:lnTo>
                      <a:pt x="307" y="264"/>
                    </a:lnTo>
                    <a:lnTo>
                      <a:pt x="307" y="266"/>
                    </a:lnTo>
                    <a:lnTo>
                      <a:pt x="308" y="266"/>
                    </a:lnTo>
                    <a:close/>
                    <a:moveTo>
                      <a:pt x="398" y="127"/>
                    </a:moveTo>
                    <a:lnTo>
                      <a:pt x="399" y="127"/>
                    </a:lnTo>
                    <a:lnTo>
                      <a:pt x="400" y="127"/>
                    </a:lnTo>
                    <a:lnTo>
                      <a:pt x="400" y="128"/>
                    </a:lnTo>
                    <a:lnTo>
                      <a:pt x="400" y="129"/>
                    </a:lnTo>
                    <a:lnTo>
                      <a:pt x="401" y="129"/>
                    </a:lnTo>
                    <a:lnTo>
                      <a:pt x="402" y="130"/>
                    </a:lnTo>
                    <a:lnTo>
                      <a:pt x="403" y="130"/>
                    </a:lnTo>
                    <a:lnTo>
                      <a:pt x="403" y="131"/>
                    </a:lnTo>
                    <a:lnTo>
                      <a:pt x="404" y="131"/>
                    </a:lnTo>
                    <a:lnTo>
                      <a:pt x="406" y="131"/>
                    </a:lnTo>
                    <a:lnTo>
                      <a:pt x="406" y="132"/>
                    </a:lnTo>
                    <a:lnTo>
                      <a:pt x="404" y="132"/>
                    </a:lnTo>
                    <a:lnTo>
                      <a:pt x="404" y="131"/>
                    </a:lnTo>
                    <a:lnTo>
                      <a:pt x="403" y="131"/>
                    </a:lnTo>
                    <a:lnTo>
                      <a:pt x="402" y="131"/>
                    </a:lnTo>
                    <a:lnTo>
                      <a:pt x="401" y="131"/>
                    </a:lnTo>
                    <a:lnTo>
                      <a:pt x="400" y="131"/>
                    </a:lnTo>
                    <a:lnTo>
                      <a:pt x="399" y="131"/>
                    </a:lnTo>
                    <a:lnTo>
                      <a:pt x="398" y="131"/>
                    </a:lnTo>
                    <a:lnTo>
                      <a:pt x="397" y="132"/>
                    </a:lnTo>
                    <a:lnTo>
                      <a:pt x="398" y="132"/>
                    </a:lnTo>
                    <a:lnTo>
                      <a:pt x="397" y="132"/>
                    </a:lnTo>
                    <a:lnTo>
                      <a:pt x="398" y="132"/>
                    </a:lnTo>
                    <a:lnTo>
                      <a:pt x="398" y="133"/>
                    </a:lnTo>
                    <a:lnTo>
                      <a:pt x="398" y="134"/>
                    </a:lnTo>
                    <a:lnTo>
                      <a:pt x="399" y="134"/>
                    </a:lnTo>
                    <a:lnTo>
                      <a:pt x="399" y="135"/>
                    </a:lnTo>
                    <a:lnTo>
                      <a:pt x="399" y="136"/>
                    </a:lnTo>
                    <a:lnTo>
                      <a:pt x="400" y="138"/>
                    </a:lnTo>
                    <a:lnTo>
                      <a:pt x="401" y="138"/>
                    </a:lnTo>
                    <a:lnTo>
                      <a:pt x="401" y="139"/>
                    </a:lnTo>
                    <a:lnTo>
                      <a:pt x="402" y="139"/>
                    </a:lnTo>
                    <a:lnTo>
                      <a:pt x="403" y="139"/>
                    </a:lnTo>
                    <a:lnTo>
                      <a:pt x="404" y="139"/>
                    </a:lnTo>
                    <a:lnTo>
                      <a:pt x="404" y="140"/>
                    </a:lnTo>
                    <a:lnTo>
                      <a:pt x="404" y="141"/>
                    </a:lnTo>
                    <a:lnTo>
                      <a:pt x="403" y="141"/>
                    </a:lnTo>
                    <a:lnTo>
                      <a:pt x="403" y="142"/>
                    </a:lnTo>
                    <a:lnTo>
                      <a:pt x="403" y="143"/>
                    </a:lnTo>
                    <a:lnTo>
                      <a:pt x="402" y="143"/>
                    </a:lnTo>
                    <a:lnTo>
                      <a:pt x="401" y="143"/>
                    </a:lnTo>
                    <a:lnTo>
                      <a:pt x="401" y="142"/>
                    </a:lnTo>
                    <a:lnTo>
                      <a:pt x="400" y="142"/>
                    </a:lnTo>
                    <a:lnTo>
                      <a:pt x="400" y="143"/>
                    </a:lnTo>
                    <a:lnTo>
                      <a:pt x="401" y="144"/>
                    </a:lnTo>
                    <a:lnTo>
                      <a:pt x="400" y="144"/>
                    </a:lnTo>
                    <a:lnTo>
                      <a:pt x="400" y="145"/>
                    </a:lnTo>
                    <a:lnTo>
                      <a:pt x="399" y="145"/>
                    </a:lnTo>
                    <a:lnTo>
                      <a:pt x="399" y="144"/>
                    </a:lnTo>
                    <a:lnTo>
                      <a:pt x="398" y="144"/>
                    </a:lnTo>
                    <a:lnTo>
                      <a:pt x="398" y="145"/>
                    </a:lnTo>
                    <a:lnTo>
                      <a:pt x="399" y="146"/>
                    </a:lnTo>
                    <a:lnTo>
                      <a:pt x="398" y="146"/>
                    </a:lnTo>
                    <a:lnTo>
                      <a:pt x="397" y="147"/>
                    </a:lnTo>
                    <a:lnTo>
                      <a:pt x="396" y="147"/>
                    </a:lnTo>
                    <a:lnTo>
                      <a:pt x="396" y="146"/>
                    </a:lnTo>
                    <a:lnTo>
                      <a:pt x="395" y="146"/>
                    </a:lnTo>
                    <a:lnTo>
                      <a:pt x="395" y="145"/>
                    </a:lnTo>
                    <a:lnTo>
                      <a:pt x="396" y="145"/>
                    </a:lnTo>
                    <a:lnTo>
                      <a:pt x="397" y="144"/>
                    </a:lnTo>
                    <a:lnTo>
                      <a:pt x="398" y="144"/>
                    </a:lnTo>
                    <a:lnTo>
                      <a:pt x="398" y="143"/>
                    </a:lnTo>
                    <a:lnTo>
                      <a:pt x="398" y="142"/>
                    </a:lnTo>
                    <a:lnTo>
                      <a:pt x="398" y="141"/>
                    </a:lnTo>
                    <a:lnTo>
                      <a:pt x="399" y="141"/>
                    </a:lnTo>
                    <a:lnTo>
                      <a:pt x="399" y="140"/>
                    </a:lnTo>
                    <a:lnTo>
                      <a:pt x="399" y="139"/>
                    </a:lnTo>
                    <a:lnTo>
                      <a:pt x="399" y="140"/>
                    </a:lnTo>
                    <a:lnTo>
                      <a:pt x="400" y="140"/>
                    </a:lnTo>
                    <a:lnTo>
                      <a:pt x="400" y="139"/>
                    </a:lnTo>
                    <a:lnTo>
                      <a:pt x="399" y="139"/>
                    </a:lnTo>
                    <a:lnTo>
                      <a:pt x="399" y="138"/>
                    </a:lnTo>
                    <a:lnTo>
                      <a:pt x="398" y="136"/>
                    </a:lnTo>
                    <a:lnTo>
                      <a:pt x="398" y="135"/>
                    </a:lnTo>
                    <a:lnTo>
                      <a:pt x="397" y="135"/>
                    </a:lnTo>
                    <a:lnTo>
                      <a:pt x="397" y="134"/>
                    </a:lnTo>
                    <a:lnTo>
                      <a:pt x="397" y="133"/>
                    </a:lnTo>
                    <a:lnTo>
                      <a:pt x="396" y="132"/>
                    </a:lnTo>
                    <a:lnTo>
                      <a:pt x="397" y="132"/>
                    </a:lnTo>
                    <a:lnTo>
                      <a:pt x="397" y="131"/>
                    </a:lnTo>
                    <a:lnTo>
                      <a:pt x="397" y="130"/>
                    </a:lnTo>
                    <a:lnTo>
                      <a:pt x="396" y="129"/>
                    </a:lnTo>
                    <a:lnTo>
                      <a:pt x="396" y="128"/>
                    </a:lnTo>
                    <a:lnTo>
                      <a:pt x="397" y="128"/>
                    </a:lnTo>
                    <a:lnTo>
                      <a:pt x="397" y="127"/>
                    </a:lnTo>
                    <a:lnTo>
                      <a:pt x="398" y="127"/>
                    </a:lnTo>
                    <a:close/>
                    <a:moveTo>
                      <a:pt x="421" y="220"/>
                    </a:moveTo>
                    <a:lnTo>
                      <a:pt x="421" y="221"/>
                    </a:lnTo>
                    <a:lnTo>
                      <a:pt x="422" y="221"/>
                    </a:lnTo>
                    <a:lnTo>
                      <a:pt x="423" y="220"/>
                    </a:lnTo>
                    <a:lnTo>
                      <a:pt x="423" y="221"/>
                    </a:lnTo>
                    <a:lnTo>
                      <a:pt x="422" y="221"/>
                    </a:lnTo>
                    <a:lnTo>
                      <a:pt x="422" y="222"/>
                    </a:lnTo>
                    <a:lnTo>
                      <a:pt x="422" y="223"/>
                    </a:lnTo>
                    <a:lnTo>
                      <a:pt x="422" y="224"/>
                    </a:lnTo>
                    <a:lnTo>
                      <a:pt x="422" y="225"/>
                    </a:lnTo>
                    <a:lnTo>
                      <a:pt x="421" y="225"/>
                    </a:lnTo>
                    <a:lnTo>
                      <a:pt x="421" y="226"/>
                    </a:lnTo>
                    <a:lnTo>
                      <a:pt x="421" y="228"/>
                    </a:lnTo>
                    <a:lnTo>
                      <a:pt x="421" y="226"/>
                    </a:lnTo>
                    <a:lnTo>
                      <a:pt x="420" y="228"/>
                    </a:lnTo>
                    <a:lnTo>
                      <a:pt x="420" y="229"/>
                    </a:lnTo>
                    <a:lnTo>
                      <a:pt x="421" y="229"/>
                    </a:lnTo>
                    <a:lnTo>
                      <a:pt x="421" y="230"/>
                    </a:lnTo>
                    <a:lnTo>
                      <a:pt x="422" y="230"/>
                    </a:lnTo>
                    <a:lnTo>
                      <a:pt x="422" y="231"/>
                    </a:lnTo>
                    <a:lnTo>
                      <a:pt x="421" y="231"/>
                    </a:lnTo>
                    <a:lnTo>
                      <a:pt x="421" y="232"/>
                    </a:lnTo>
                    <a:lnTo>
                      <a:pt x="421" y="233"/>
                    </a:lnTo>
                    <a:lnTo>
                      <a:pt x="422" y="233"/>
                    </a:lnTo>
                    <a:lnTo>
                      <a:pt x="422" y="234"/>
                    </a:lnTo>
                    <a:lnTo>
                      <a:pt x="422" y="235"/>
                    </a:lnTo>
                    <a:lnTo>
                      <a:pt x="421" y="236"/>
                    </a:lnTo>
                    <a:lnTo>
                      <a:pt x="420" y="236"/>
                    </a:lnTo>
                    <a:lnTo>
                      <a:pt x="420" y="235"/>
                    </a:lnTo>
                    <a:lnTo>
                      <a:pt x="419" y="234"/>
                    </a:lnTo>
                    <a:lnTo>
                      <a:pt x="417" y="234"/>
                    </a:lnTo>
                    <a:lnTo>
                      <a:pt x="417" y="233"/>
                    </a:lnTo>
                    <a:lnTo>
                      <a:pt x="416" y="233"/>
                    </a:lnTo>
                    <a:lnTo>
                      <a:pt x="416" y="232"/>
                    </a:lnTo>
                    <a:lnTo>
                      <a:pt x="416" y="231"/>
                    </a:lnTo>
                    <a:lnTo>
                      <a:pt x="415" y="231"/>
                    </a:lnTo>
                    <a:lnTo>
                      <a:pt x="415" y="230"/>
                    </a:lnTo>
                    <a:lnTo>
                      <a:pt x="415" y="229"/>
                    </a:lnTo>
                    <a:lnTo>
                      <a:pt x="415" y="228"/>
                    </a:lnTo>
                    <a:lnTo>
                      <a:pt x="414" y="228"/>
                    </a:lnTo>
                    <a:lnTo>
                      <a:pt x="413" y="228"/>
                    </a:lnTo>
                    <a:lnTo>
                      <a:pt x="412" y="228"/>
                    </a:lnTo>
                    <a:lnTo>
                      <a:pt x="411" y="226"/>
                    </a:lnTo>
                    <a:lnTo>
                      <a:pt x="412" y="226"/>
                    </a:lnTo>
                    <a:lnTo>
                      <a:pt x="413" y="226"/>
                    </a:lnTo>
                    <a:lnTo>
                      <a:pt x="414" y="226"/>
                    </a:lnTo>
                    <a:lnTo>
                      <a:pt x="415" y="226"/>
                    </a:lnTo>
                    <a:lnTo>
                      <a:pt x="416" y="226"/>
                    </a:lnTo>
                    <a:lnTo>
                      <a:pt x="417" y="225"/>
                    </a:lnTo>
                    <a:lnTo>
                      <a:pt x="419" y="225"/>
                    </a:lnTo>
                    <a:lnTo>
                      <a:pt x="419" y="224"/>
                    </a:lnTo>
                    <a:lnTo>
                      <a:pt x="419" y="223"/>
                    </a:lnTo>
                    <a:lnTo>
                      <a:pt x="419" y="222"/>
                    </a:lnTo>
                    <a:lnTo>
                      <a:pt x="417" y="222"/>
                    </a:lnTo>
                    <a:lnTo>
                      <a:pt x="417" y="221"/>
                    </a:lnTo>
                    <a:lnTo>
                      <a:pt x="419" y="221"/>
                    </a:lnTo>
                    <a:lnTo>
                      <a:pt x="420" y="221"/>
                    </a:lnTo>
                    <a:lnTo>
                      <a:pt x="420" y="220"/>
                    </a:lnTo>
                    <a:lnTo>
                      <a:pt x="421" y="220"/>
                    </a:lnTo>
                    <a:close/>
                    <a:moveTo>
                      <a:pt x="337" y="335"/>
                    </a:moveTo>
                    <a:lnTo>
                      <a:pt x="338" y="335"/>
                    </a:lnTo>
                    <a:lnTo>
                      <a:pt x="338" y="336"/>
                    </a:lnTo>
                    <a:lnTo>
                      <a:pt x="339" y="336"/>
                    </a:lnTo>
                    <a:lnTo>
                      <a:pt x="342" y="336"/>
                    </a:lnTo>
                    <a:lnTo>
                      <a:pt x="342" y="337"/>
                    </a:lnTo>
                    <a:lnTo>
                      <a:pt x="343" y="337"/>
                    </a:lnTo>
                    <a:lnTo>
                      <a:pt x="343" y="338"/>
                    </a:lnTo>
                    <a:lnTo>
                      <a:pt x="342" y="338"/>
                    </a:lnTo>
                    <a:lnTo>
                      <a:pt x="343" y="338"/>
                    </a:lnTo>
                    <a:lnTo>
                      <a:pt x="343" y="339"/>
                    </a:lnTo>
                    <a:lnTo>
                      <a:pt x="342" y="339"/>
                    </a:lnTo>
                    <a:lnTo>
                      <a:pt x="342" y="340"/>
                    </a:lnTo>
                    <a:lnTo>
                      <a:pt x="343" y="341"/>
                    </a:lnTo>
                    <a:lnTo>
                      <a:pt x="343" y="343"/>
                    </a:lnTo>
                    <a:lnTo>
                      <a:pt x="344" y="343"/>
                    </a:lnTo>
                    <a:lnTo>
                      <a:pt x="343" y="343"/>
                    </a:lnTo>
                    <a:lnTo>
                      <a:pt x="342" y="343"/>
                    </a:lnTo>
                    <a:lnTo>
                      <a:pt x="342" y="344"/>
                    </a:lnTo>
                    <a:lnTo>
                      <a:pt x="342" y="345"/>
                    </a:lnTo>
                    <a:lnTo>
                      <a:pt x="342" y="346"/>
                    </a:lnTo>
                    <a:lnTo>
                      <a:pt x="342" y="347"/>
                    </a:lnTo>
                    <a:lnTo>
                      <a:pt x="342" y="348"/>
                    </a:lnTo>
                    <a:lnTo>
                      <a:pt x="343" y="348"/>
                    </a:lnTo>
                    <a:lnTo>
                      <a:pt x="342" y="348"/>
                    </a:lnTo>
                    <a:lnTo>
                      <a:pt x="342" y="349"/>
                    </a:lnTo>
                    <a:lnTo>
                      <a:pt x="340" y="349"/>
                    </a:lnTo>
                    <a:lnTo>
                      <a:pt x="340" y="350"/>
                    </a:lnTo>
                    <a:lnTo>
                      <a:pt x="339" y="350"/>
                    </a:lnTo>
                    <a:lnTo>
                      <a:pt x="339" y="349"/>
                    </a:lnTo>
                    <a:lnTo>
                      <a:pt x="338" y="349"/>
                    </a:lnTo>
                    <a:lnTo>
                      <a:pt x="338" y="348"/>
                    </a:lnTo>
                    <a:lnTo>
                      <a:pt x="337" y="348"/>
                    </a:lnTo>
                    <a:lnTo>
                      <a:pt x="337" y="349"/>
                    </a:lnTo>
                    <a:lnTo>
                      <a:pt x="336" y="349"/>
                    </a:lnTo>
                    <a:lnTo>
                      <a:pt x="336" y="350"/>
                    </a:lnTo>
                    <a:lnTo>
                      <a:pt x="337" y="350"/>
                    </a:lnTo>
                    <a:lnTo>
                      <a:pt x="337" y="351"/>
                    </a:lnTo>
                    <a:lnTo>
                      <a:pt x="336" y="351"/>
                    </a:lnTo>
                    <a:lnTo>
                      <a:pt x="336" y="350"/>
                    </a:lnTo>
                    <a:lnTo>
                      <a:pt x="336" y="349"/>
                    </a:lnTo>
                    <a:lnTo>
                      <a:pt x="337" y="348"/>
                    </a:lnTo>
                    <a:lnTo>
                      <a:pt x="336" y="348"/>
                    </a:lnTo>
                    <a:lnTo>
                      <a:pt x="336" y="347"/>
                    </a:lnTo>
                    <a:lnTo>
                      <a:pt x="336" y="346"/>
                    </a:lnTo>
                    <a:lnTo>
                      <a:pt x="337" y="346"/>
                    </a:lnTo>
                    <a:lnTo>
                      <a:pt x="337" y="345"/>
                    </a:lnTo>
                    <a:lnTo>
                      <a:pt x="337" y="344"/>
                    </a:lnTo>
                    <a:lnTo>
                      <a:pt x="337" y="343"/>
                    </a:lnTo>
                    <a:lnTo>
                      <a:pt x="338" y="343"/>
                    </a:lnTo>
                    <a:lnTo>
                      <a:pt x="338" y="341"/>
                    </a:lnTo>
                    <a:lnTo>
                      <a:pt x="338" y="340"/>
                    </a:lnTo>
                    <a:lnTo>
                      <a:pt x="338" y="339"/>
                    </a:lnTo>
                    <a:lnTo>
                      <a:pt x="337" y="338"/>
                    </a:lnTo>
                    <a:lnTo>
                      <a:pt x="337" y="337"/>
                    </a:lnTo>
                    <a:lnTo>
                      <a:pt x="337" y="336"/>
                    </a:lnTo>
                    <a:lnTo>
                      <a:pt x="336" y="336"/>
                    </a:lnTo>
                    <a:lnTo>
                      <a:pt x="336" y="335"/>
                    </a:lnTo>
                    <a:lnTo>
                      <a:pt x="337" y="335"/>
                    </a:lnTo>
                    <a:close/>
                    <a:moveTo>
                      <a:pt x="482" y="53"/>
                    </a:moveTo>
                    <a:lnTo>
                      <a:pt x="482" y="54"/>
                    </a:lnTo>
                    <a:lnTo>
                      <a:pt x="482" y="55"/>
                    </a:lnTo>
                    <a:lnTo>
                      <a:pt x="484" y="55"/>
                    </a:lnTo>
                    <a:lnTo>
                      <a:pt x="484" y="56"/>
                    </a:lnTo>
                    <a:lnTo>
                      <a:pt x="484" y="57"/>
                    </a:lnTo>
                    <a:lnTo>
                      <a:pt x="484" y="58"/>
                    </a:lnTo>
                    <a:lnTo>
                      <a:pt x="484" y="59"/>
                    </a:lnTo>
                    <a:lnTo>
                      <a:pt x="485" y="59"/>
                    </a:lnTo>
                    <a:lnTo>
                      <a:pt x="484" y="59"/>
                    </a:lnTo>
                    <a:lnTo>
                      <a:pt x="484" y="61"/>
                    </a:lnTo>
                    <a:lnTo>
                      <a:pt x="485" y="61"/>
                    </a:lnTo>
                    <a:lnTo>
                      <a:pt x="485" y="62"/>
                    </a:lnTo>
                    <a:lnTo>
                      <a:pt x="484" y="62"/>
                    </a:lnTo>
                    <a:lnTo>
                      <a:pt x="484" y="63"/>
                    </a:lnTo>
                    <a:lnTo>
                      <a:pt x="482" y="63"/>
                    </a:lnTo>
                    <a:lnTo>
                      <a:pt x="482" y="64"/>
                    </a:lnTo>
                    <a:lnTo>
                      <a:pt x="482" y="65"/>
                    </a:lnTo>
                    <a:lnTo>
                      <a:pt x="481" y="65"/>
                    </a:lnTo>
                    <a:lnTo>
                      <a:pt x="482" y="65"/>
                    </a:lnTo>
                    <a:lnTo>
                      <a:pt x="481" y="66"/>
                    </a:lnTo>
                    <a:lnTo>
                      <a:pt x="482" y="66"/>
                    </a:lnTo>
                    <a:lnTo>
                      <a:pt x="481" y="66"/>
                    </a:lnTo>
                    <a:lnTo>
                      <a:pt x="482" y="67"/>
                    </a:lnTo>
                    <a:lnTo>
                      <a:pt x="481" y="67"/>
                    </a:lnTo>
                    <a:lnTo>
                      <a:pt x="481" y="68"/>
                    </a:lnTo>
                    <a:lnTo>
                      <a:pt x="481" y="69"/>
                    </a:lnTo>
                    <a:lnTo>
                      <a:pt x="481" y="70"/>
                    </a:lnTo>
                    <a:lnTo>
                      <a:pt x="482" y="70"/>
                    </a:lnTo>
                    <a:lnTo>
                      <a:pt x="482" y="69"/>
                    </a:lnTo>
                    <a:lnTo>
                      <a:pt x="484" y="68"/>
                    </a:lnTo>
                    <a:lnTo>
                      <a:pt x="484" y="69"/>
                    </a:lnTo>
                    <a:lnTo>
                      <a:pt x="482" y="69"/>
                    </a:lnTo>
                    <a:lnTo>
                      <a:pt x="482" y="70"/>
                    </a:lnTo>
                    <a:lnTo>
                      <a:pt x="482" y="71"/>
                    </a:lnTo>
                    <a:lnTo>
                      <a:pt x="482" y="72"/>
                    </a:lnTo>
                    <a:lnTo>
                      <a:pt x="482" y="74"/>
                    </a:lnTo>
                    <a:lnTo>
                      <a:pt x="481" y="74"/>
                    </a:lnTo>
                    <a:lnTo>
                      <a:pt x="482" y="74"/>
                    </a:lnTo>
                    <a:lnTo>
                      <a:pt x="482" y="75"/>
                    </a:lnTo>
                    <a:lnTo>
                      <a:pt x="481" y="75"/>
                    </a:lnTo>
                    <a:lnTo>
                      <a:pt x="480" y="75"/>
                    </a:lnTo>
                    <a:lnTo>
                      <a:pt x="479" y="75"/>
                    </a:lnTo>
                    <a:lnTo>
                      <a:pt x="479" y="74"/>
                    </a:lnTo>
                    <a:lnTo>
                      <a:pt x="480" y="74"/>
                    </a:lnTo>
                    <a:lnTo>
                      <a:pt x="479" y="72"/>
                    </a:lnTo>
                    <a:lnTo>
                      <a:pt x="478" y="71"/>
                    </a:lnTo>
                    <a:lnTo>
                      <a:pt x="478" y="70"/>
                    </a:lnTo>
                    <a:lnTo>
                      <a:pt x="478" y="68"/>
                    </a:lnTo>
                    <a:lnTo>
                      <a:pt x="479" y="67"/>
                    </a:lnTo>
                    <a:lnTo>
                      <a:pt x="480" y="67"/>
                    </a:lnTo>
                    <a:lnTo>
                      <a:pt x="480" y="66"/>
                    </a:lnTo>
                    <a:lnTo>
                      <a:pt x="480" y="65"/>
                    </a:lnTo>
                    <a:lnTo>
                      <a:pt x="479" y="63"/>
                    </a:lnTo>
                    <a:lnTo>
                      <a:pt x="479" y="62"/>
                    </a:lnTo>
                    <a:lnTo>
                      <a:pt x="480" y="61"/>
                    </a:lnTo>
                    <a:lnTo>
                      <a:pt x="481" y="61"/>
                    </a:lnTo>
                    <a:lnTo>
                      <a:pt x="482" y="61"/>
                    </a:lnTo>
                    <a:lnTo>
                      <a:pt x="484" y="61"/>
                    </a:lnTo>
                    <a:lnTo>
                      <a:pt x="484" y="59"/>
                    </a:lnTo>
                    <a:lnTo>
                      <a:pt x="482" y="59"/>
                    </a:lnTo>
                    <a:lnTo>
                      <a:pt x="482" y="61"/>
                    </a:lnTo>
                    <a:lnTo>
                      <a:pt x="481" y="61"/>
                    </a:lnTo>
                    <a:lnTo>
                      <a:pt x="481" y="59"/>
                    </a:lnTo>
                    <a:lnTo>
                      <a:pt x="481" y="58"/>
                    </a:lnTo>
                    <a:lnTo>
                      <a:pt x="481" y="57"/>
                    </a:lnTo>
                    <a:lnTo>
                      <a:pt x="481" y="56"/>
                    </a:lnTo>
                    <a:lnTo>
                      <a:pt x="480" y="56"/>
                    </a:lnTo>
                    <a:lnTo>
                      <a:pt x="480" y="55"/>
                    </a:lnTo>
                    <a:lnTo>
                      <a:pt x="479" y="55"/>
                    </a:lnTo>
                    <a:lnTo>
                      <a:pt x="480" y="55"/>
                    </a:lnTo>
                    <a:lnTo>
                      <a:pt x="481" y="55"/>
                    </a:lnTo>
                    <a:lnTo>
                      <a:pt x="480" y="55"/>
                    </a:lnTo>
                    <a:lnTo>
                      <a:pt x="480" y="54"/>
                    </a:lnTo>
                    <a:lnTo>
                      <a:pt x="480" y="53"/>
                    </a:lnTo>
                    <a:lnTo>
                      <a:pt x="481" y="54"/>
                    </a:lnTo>
                    <a:lnTo>
                      <a:pt x="481" y="53"/>
                    </a:lnTo>
                    <a:lnTo>
                      <a:pt x="482" y="53"/>
                    </a:lnTo>
                    <a:close/>
                    <a:moveTo>
                      <a:pt x="467" y="117"/>
                    </a:moveTo>
                    <a:lnTo>
                      <a:pt x="468" y="117"/>
                    </a:lnTo>
                    <a:lnTo>
                      <a:pt x="469" y="117"/>
                    </a:lnTo>
                    <a:lnTo>
                      <a:pt x="468" y="118"/>
                    </a:lnTo>
                    <a:lnTo>
                      <a:pt x="469" y="118"/>
                    </a:lnTo>
                    <a:lnTo>
                      <a:pt x="468" y="118"/>
                    </a:lnTo>
                    <a:lnTo>
                      <a:pt x="468" y="119"/>
                    </a:lnTo>
                    <a:lnTo>
                      <a:pt x="467" y="119"/>
                    </a:lnTo>
                    <a:lnTo>
                      <a:pt x="467" y="120"/>
                    </a:lnTo>
                    <a:lnTo>
                      <a:pt x="467" y="121"/>
                    </a:lnTo>
                    <a:lnTo>
                      <a:pt x="467" y="122"/>
                    </a:lnTo>
                    <a:lnTo>
                      <a:pt x="467" y="123"/>
                    </a:lnTo>
                    <a:lnTo>
                      <a:pt x="466" y="125"/>
                    </a:lnTo>
                    <a:lnTo>
                      <a:pt x="466" y="126"/>
                    </a:lnTo>
                    <a:lnTo>
                      <a:pt x="466" y="127"/>
                    </a:lnTo>
                    <a:lnTo>
                      <a:pt x="466" y="128"/>
                    </a:lnTo>
                    <a:lnTo>
                      <a:pt x="465" y="128"/>
                    </a:lnTo>
                    <a:lnTo>
                      <a:pt x="465" y="129"/>
                    </a:lnTo>
                    <a:lnTo>
                      <a:pt x="465" y="130"/>
                    </a:lnTo>
                    <a:lnTo>
                      <a:pt x="465" y="131"/>
                    </a:lnTo>
                    <a:lnTo>
                      <a:pt x="464" y="132"/>
                    </a:lnTo>
                    <a:lnTo>
                      <a:pt x="463" y="133"/>
                    </a:lnTo>
                    <a:lnTo>
                      <a:pt x="462" y="133"/>
                    </a:lnTo>
                    <a:lnTo>
                      <a:pt x="462" y="132"/>
                    </a:lnTo>
                    <a:lnTo>
                      <a:pt x="462" y="133"/>
                    </a:lnTo>
                    <a:lnTo>
                      <a:pt x="462" y="132"/>
                    </a:lnTo>
                    <a:lnTo>
                      <a:pt x="462" y="131"/>
                    </a:lnTo>
                    <a:lnTo>
                      <a:pt x="463" y="130"/>
                    </a:lnTo>
                    <a:lnTo>
                      <a:pt x="463" y="129"/>
                    </a:lnTo>
                    <a:lnTo>
                      <a:pt x="463" y="130"/>
                    </a:lnTo>
                    <a:lnTo>
                      <a:pt x="463" y="129"/>
                    </a:lnTo>
                    <a:lnTo>
                      <a:pt x="464" y="129"/>
                    </a:lnTo>
                    <a:lnTo>
                      <a:pt x="464" y="128"/>
                    </a:lnTo>
                    <a:lnTo>
                      <a:pt x="463" y="128"/>
                    </a:lnTo>
                    <a:lnTo>
                      <a:pt x="463" y="129"/>
                    </a:lnTo>
                    <a:lnTo>
                      <a:pt x="463" y="128"/>
                    </a:lnTo>
                    <a:lnTo>
                      <a:pt x="462" y="128"/>
                    </a:lnTo>
                    <a:lnTo>
                      <a:pt x="461" y="128"/>
                    </a:lnTo>
                    <a:lnTo>
                      <a:pt x="461" y="127"/>
                    </a:lnTo>
                    <a:lnTo>
                      <a:pt x="460" y="127"/>
                    </a:lnTo>
                    <a:lnTo>
                      <a:pt x="459" y="127"/>
                    </a:lnTo>
                    <a:lnTo>
                      <a:pt x="460" y="127"/>
                    </a:lnTo>
                    <a:lnTo>
                      <a:pt x="459" y="127"/>
                    </a:lnTo>
                    <a:lnTo>
                      <a:pt x="459" y="126"/>
                    </a:lnTo>
                    <a:lnTo>
                      <a:pt x="458" y="127"/>
                    </a:lnTo>
                    <a:lnTo>
                      <a:pt x="459" y="127"/>
                    </a:lnTo>
                    <a:lnTo>
                      <a:pt x="458" y="127"/>
                    </a:lnTo>
                    <a:lnTo>
                      <a:pt x="456" y="127"/>
                    </a:lnTo>
                    <a:lnTo>
                      <a:pt x="458" y="126"/>
                    </a:lnTo>
                    <a:lnTo>
                      <a:pt x="459" y="126"/>
                    </a:lnTo>
                    <a:lnTo>
                      <a:pt x="460" y="126"/>
                    </a:lnTo>
                    <a:lnTo>
                      <a:pt x="460" y="125"/>
                    </a:lnTo>
                    <a:lnTo>
                      <a:pt x="460" y="123"/>
                    </a:lnTo>
                    <a:lnTo>
                      <a:pt x="461" y="123"/>
                    </a:lnTo>
                    <a:lnTo>
                      <a:pt x="462" y="122"/>
                    </a:lnTo>
                    <a:lnTo>
                      <a:pt x="462" y="123"/>
                    </a:lnTo>
                    <a:lnTo>
                      <a:pt x="461" y="123"/>
                    </a:lnTo>
                    <a:lnTo>
                      <a:pt x="461" y="125"/>
                    </a:lnTo>
                    <a:lnTo>
                      <a:pt x="460" y="125"/>
                    </a:lnTo>
                    <a:lnTo>
                      <a:pt x="460" y="126"/>
                    </a:lnTo>
                    <a:lnTo>
                      <a:pt x="461" y="126"/>
                    </a:lnTo>
                    <a:lnTo>
                      <a:pt x="461" y="127"/>
                    </a:lnTo>
                    <a:lnTo>
                      <a:pt x="461" y="126"/>
                    </a:lnTo>
                    <a:lnTo>
                      <a:pt x="461" y="127"/>
                    </a:lnTo>
                    <a:lnTo>
                      <a:pt x="462" y="127"/>
                    </a:lnTo>
                    <a:lnTo>
                      <a:pt x="462" y="126"/>
                    </a:lnTo>
                    <a:lnTo>
                      <a:pt x="463" y="126"/>
                    </a:lnTo>
                    <a:lnTo>
                      <a:pt x="464" y="126"/>
                    </a:lnTo>
                    <a:lnTo>
                      <a:pt x="463" y="126"/>
                    </a:lnTo>
                    <a:lnTo>
                      <a:pt x="463" y="125"/>
                    </a:lnTo>
                    <a:lnTo>
                      <a:pt x="464" y="125"/>
                    </a:lnTo>
                    <a:lnTo>
                      <a:pt x="464" y="126"/>
                    </a:lnTo>
                    <a:lnTo>
                      <a:pt x="464" y="125"/>
                    </a:lnTo>
                    <a:lnTo>
                      <a:pt x="464" y="123"/>
                    </a:lnTo>
                    <a:lnTo>
                      <a:pt x="464" y="125"/>
                    </a:lnTo>
                    <a:lnTo>
                      <a:pt x="463" y="125"/>
                    </a:lnTo>
                    <a:lnTo>
                      <a:pt x="463" y="126"/>
                    </a:lnTo>
                    <a:lnTo>
                      <a:pt x="462" y="126"/>
                    </a:lnTo>
                    <a:lnTo>
                      <a:pt x="462" y="125"/>
                    </a:lnTo>
                    <a:lnTo>
                      <a:pt x="463" y="125"/>
                    </a:lnTo>
                    <a:lnTo>
                      <a:pt x="463" y="123"/>
                    </a:lnTo>
                    <a:lnTo>
                      <a:pt x="462" y="123"/>
                    </a:lnTo>
                    <a:lnTo>
                      <a:pt x="463" y="123"/>
                    </a:lnTo>
                    <a:lnTo>
                      <a:pt x="463" y="122"/>
                    </a:lnTo>
                    <a:lnTo>
                      <a:pt x="464" y="122"/>
                    </a:lnTo>
                    <a:lnTo>
                      <a:pt x="464" y="121"/>
                    </a:lnTo>
                    <a:lnTo>
                      <a:pt x="464" y="120"/>
                    </a:lnTo>
                    <a:lnTo>
                      <a:pt x="463" y="120"/>
                    </a:lnTo>
                    <a:lnTo>
                      <a:pt x="463" y="119"/>
                    </a:lnTo>
                    <a:lnTo>
                      <a:pt x="464" y="119"/>
                    </a:lnTo>
                    <a:lnTo>
                      <a:pt x="464" y="118"/>
                    </a:lnTo>
                    <a:lnTo>
                      <a:pt x="465" y="118"/>
                    </a:lnTo>
                    <a:lnTo>
                      <a:pt x="465" y="117"/>
                    </a:lnTo>
                    <a:lnTo>
                      <a:pt x="466" y="117"/>
                    </a:lnTo>
                    <a:lnTo>
                      <a:pt x="467" y="116"/>
                    </a:lnTo>
                    <a:lnTo>
                      <a:pt x="466" y="116"/>
                    </a:lnTo>
                    <a:lnTo>
                      <a:pt x="466" y="115"/>
                    </a:lnTo>
                    <a:lnTo>
                      <a:pt x="467" y="116"/>
                    </a:lnTo>
                    <a:lnTo>
                      <a:pt x="467" y="117"/>
                    </a:lnTo>
                    <a:close/>
                    <a:moveTo>
                      <a:pt x="251" y="305"/>
                    </a:moveTo>
                    <a:lnTo>
                      <a:pt x="252" y="305"/>
                    </a:lnTo>
                    <a:lnTo>
                      <a:pt x="252" y="306"/>
                    </a:lnTo>
                    <a:lnTo>
                      <a:pt x="252" y="307"/>
                    </a:lnTo>
                    <a:lnTo>
                      <a:pt x="253" y="307"/>
                    </a:lnTo>
                    <a:lnTo>
                      <a:pt x="253" y="308"/>
                    </a:lnTo>
                    <a:lnTo>
                      <a:pt x="254" y="308"/>
                    </a:lnTo>
                    <a:lnTo>
                      <a:pt x="255" y="308"/>
                    </a:lnTo>
                    <a:lnTo>
                      <a:pt x="254" y="307"/>
                    </a:lnTo>
                    <a:lnTo>
                      <a:pt x="255" y="307"/>
                    </a:lnTo>
                    <a:lnTo>
                      <a:pt x="256" y="308"/>
                    </a:lnTo>
                    <a:lnTo>
                      <a:pt x="256" y="309"/>
                    </a:lnTo>
                    <a:lnTo>
                      <a:pt x="255" y="309"/>
                    </a:lnTo>
                    <a:lnTo>
                      <a:pt x="254" y="309"/>
                    </a:lnTo>
                    <a:lnTo>
                      <a:pt x="253" y="309"/>
                    </a:lnTo>
                    <a:lnTo>
                      <a:pt x="252" y="309"/>
                    </a:lnTo>
                    <a:lnTo>
                      <a:pt x="252" y="310"/>
                    </a:lnTo>
                    <a:lnTo>
                      <a:pt x="251" y="309"/>
                    </a:lnTo>
                    <a:lnTo>
                      <a:pt x="251" y="310"/>
                    </a:lnTo>
                    <a:lnTo>
                      <a:pt x="249" y="310"/>
                    </a:lnTo>
                    <a:lnTo>
                      <a:pt x="249" y="311"/>
                    </a:lnTo>
                    <a:lnTo>
                      <a:pt x="249" y="312"/>
                    </a:lnTo>
                    <a:lnTo>
                      <a:pt x="249" y="313"/>
                    </a:lnTo>
                    <a:lnTo>
                      <a:pt x="249" y="314"/>
                    </a:lnTo>
                    <a:lnTo>
                      <a:pt x="249" y="313"/>
                    </a:lnTo>
                    <a:lnTo>
                      <a:pt x="248" y="313"/>
                    </a:lnTo>
                    <a:lnTo>
                      <a:pt x="247" y="313"/>
                    </a:lnTo>
                    <a:lnTo>
                      <a:pt x="247" y="314"/>
                    </a:lnTo>
                    <a:lnTo>
                      <a:pt x="247" y="315"/>
                    </a:lnTo>
                    <a:lnTo>
                      <a:pt x="246" y="315"/>
                    </a:lnTo>
                    <a:lnTo>
                      <a:pt x="247" y="315"/>
                    </a:lnTo>
                    <a:lnTo>
                      <a:pt x="246" y="315"/>
                    </a:lnTo>
                    <a:lnTo>
                      <a:pt x="246" y="316"/>
                    </a:lnTo>
                    <a:lnTo>
                      <a:pt x="245" y="316"/>
                    </a:lnTo>
                    <a:lnTo>
                      <a:pt x="245" y="315"/>
                    </a:lnTo>
                    <a:lnTo>
                      <a:pt x="245" y="314"/>
                    </a:lnTo>
                    <a:lnTo>
                      <a:pt x="245" y="312"/>
                    </a:lnTo>
                    <a:lnTo>
                      <a:pt x="245" y="311"/>
                    </a:lnTo>
                    <a:lnTo>
                      <a:pt x="244" y="311"/>
                    </a:lnTo>
                    <a:lnTo>
                      <a:pt x="244" y="312"/>
                    </a:lnTo>
                    <a:lnTo>
                      <a:pt x="244" y="313"/>
                    </a:lnTo>
                    <a:lnTo>
                      <a:pt x="243" y="312"/>
                    </a:lnTo>
                    <a:lnTo>
                      <a:pt x="242" y="312"/>
                    </a:lnTo>
                    <a:lnTo>
                      <a:pt x="242" y="311"/>
                    </a:lnTo>
                    <a:lnTo>
                      <a:pt x="243" y="311"/>
                    </a:lnTo>
                    <a:lnTo>
                      <a:pt x="244" y="310"/>
                    </a:lnTo>
                    <a:lnTo>
                      <a:pt x="245" y="310"/>
                    </a:lnTo>
                    <a:lnTo>
                      <a:pt x="245" y="311"/>
                    </a:lnTo>
                    <a:lnTo>
                      <a:pt x="246" y="311"/>
                    </a:lnTo>
                    <a:lnTo>
                      <a:pt x="247" y="310"/>
                    </a:lnTo>
                    <a:lnTo>
                      <a:pt x="247" y="309"/>
                    </a:lnTo>
                    <a:lnTo>
                      <a:pt x="246" y="309"/>
                    </a:lnTo>
                    <a:lnTo>
                      <a:pt x="246" y="308"/>
                    </a:lnTo>
                    <a:lnTo>
                      <a:pt x="247" y="308"/>
                    </a:lnTo>
                    <a:lnTo>
                      <a:pt x="248" y="308"/>
                    </a:lnTo>
                    <a:lnTo>
                      <a:pt x="249" y="307"/>
                    </a:lnTo>
                    <a:lnTo>
                      <a:pt x="247" y="307"/>
                    </a:lnTo>
                    <a:lnTo>
                      <a:pt x="247" y="306"/>
                    </a:lnTo>
                    <a:lnTo>
                      <a:pt x="248" y="306"/>
                    </a:lnTo>
                    <a:lnTo>
                      <a:pt x="248" y="305"/>
                    </a:lnTo>
                    <a:lnTo>
                      <a:pt x="248" y="303"/>
                    </a:lnTo>
                    <a:lnTo>
                      <a:pt x="249" y="305"/>
                    </a:lnTo>
                    <a:lnTo>
                      <a:pt x="251" y="305"/>
                    </a:lnTo>
                    <a:close/>
                    <a:moveTo>
                      <a:pt x="453" y="131"/>
                    </a:moveTo>
                    <a:lnTo>
                      <a:pt x="453" y="130"/>
                    </a:lnTo>
                    <a:lnTo>
                      <a:pt x="454" y="130"/>
                    </a:lnTo>
                    <a:lnTo>
                      <a:pt x="454" y="131"/>
                    </a:lnTo>
                    <a:lnTo>
                      <a:pt x="454" y="132"/>
                    </a:lnTo>
                    <a:lnTo>
                      <a:pt x="454" y="133"/>
                    </a:lnTo>
                    <a:lnTo>
                      <a:pt x="453" y="133"/>
                    </a:lnTo>
                    <a:lnTo>
                      <a:pt x="451" y="134"/>
                    </a:lnTo>
                    <a:lnTo>
                      <a:pt x="450" y="134"/>
                    </a:lnTo>
                    <a:lnTo>
                      <a:pt x="448" y="134"/>
                    </a:lnTo>
                    <a:lnTo>
                      <a:pt x="446" y="138"/>
                    </a:lnTo>
                    <a:lnTo>
                      <a:pt x="443" y="140"/>
                    </a:lnTo>
                    <a:lnTo>
                      <a:pt x="441" y="143"/>
                    </a:lnTo>
                    <a:lnTo>
                      <a:pt x="439" y="147"/>
                    </a:lnTo>
                    <a:lnTo>
                      <a:pt x="438" y="151"/>
                    </a:lnTo>
                    <a:lnTo>
                      <a:pt x="438" y="149"/>
                    </a:lnTo>
                    <a:lnTo>
                      <a:pt x="438" y="148"/>
                    </a:lnTo>
                    <a:lnTo>
                      <a:pt x="437" y="148"/>
                    </a:lnTo>
                    <a:lnTo>
                      <a:pt x="437" y="147"/>
                    </a:lnTo>
                    <a:lnTo>
                      <a:pt x="437" y="146"/>
                    </a:lnTo>
                    <a:lnTo>
                      <a:pt x="438" y="146"/>
                    </a:lnTo>
                    <a:lnTo>
                      <a:pt x="439" y="146"/>
                    </a:lnTo>
                    <a:lnTo>
                      <a:pt x="439" y="145"/>
                    </a:lnTo>
                    <a:lnTo>
                      <a:pt x="440" y="145"/>
                    </a:lnTo>
                    <a:lnTo>
                      <a:pt x="440" y="144"/>
                    </a:lnTo>
                    <a:lnTo>
                      <a:pt x="441" y="144"/>
                    </a:lnTo>
                    <a:lnTo>
                      <a:pt x="441" y="143"/>
                    </a:lnTo>
                    <a:lnTo>
                      <a:pt x="441" y="142"/>
                    </a:lnTo>
                    <a:lnTo>
                      <a:pt x="442" y="142"/>
                    </a:lnTo>
                    <a:lnTo>
                      <a:pt x="442" y="141"/>
                    </a:lnTo>
                    <a:lnTo>
                      <a:pt x="442" y="140"/>
                    </a:lnTo>
                    <a:lnTo>
                      <a:pt x="443" y="140"/>
                    </a:lnTo>
                    <a:lnTo>
                      <a:pt x="443" y="139"/>
                    </a:lnTo>
                    <a:lnTo>
                      <a:pt x="445" y="139"/>
                    </a:lnTo>
                    <a:lnTo>
                      <a:pt x="445" y="138"/>
                    </a:lnTo>
                    <a:lnTo>
                      <a:pt x="445" y="136"/>
                    </a:lnTo>
                    <a:lnTo>
                      <a:pt x="446" y="136"/>
                    </a:lnTo>
                    <a:lnTo>
                      <a:pt x="446" y="135"/>
                    </a:lnTo>
                    <a:lnTo>
                      <a:pt x="445" y="135"/>
                    </a:lnTo>
                    <a:lnTo>
                      <a:pt x="445" y="136"/>
                    </a:lnTo>
                    <a:lnTo>
                      <a:pt x="443" y="136"/>
                    </a:lnTo>
                    <a:lnTo>
                      <a:pt x="443" y="135"/>
                    </a:lnTo>
                    <a:lnTo>
                      <a:pt x="445" y="135"/>
                    </a:lnTo>
                    <a:lnTo>
                      <a:pt x="445" y="134"/>
                    </a:lnTo>
                    <a:lnTo>
                      <a:pt x="446" y="134"/>
                    </a:lnTo>
                    <a:lnTo>
                      <a:pt x="446" y="133"/>
                    </a:lnTo>
                    <a:lnTo>
                      <a:pt x="447" y="133"/>
                    </a:lnTo>
                    <a:lnTo>
                      <a:pt x="447" y="132"/>
                    </a:lnTo>
                    <a:lnTo>
                      <a:pt x="447" y="131"/>
                    </a:lnTo>
                    <a:lnTo>
                      <a:pt x="449" y="131"/>
                    </a:lnTo>
                    <a:lnTo>
                      <a:pt x="451" y="130"/>
                    </a:lnTo>
                    <a:lnTo>
                      <a:pt x="451" y="129"/>
                    </a:lnTo>
                    <a:lnTo>
                      <a:pt x="452" y="128"/>
                    </a:lnTo>
                    <a:lnTo>
                      <a:pt x="452" y="129"/>
                    </a:lnTo>
                    <a:lnTo>
                      <a:pt x="452" y="130"/>
                    </a:lnTo>
                    <a:lnTo>
                      <a:pt x="453" y="131"/>
                    </a:lnTo>
                    <a:close/>
                    <a:moveTo>
                      <a:pt x="310" y="234"/>
                    </a:moveTo>
                    <a:lnTo>
                      <a:pt x="311" y="235"/>
                    </a:lnTo>
                    <a:lnTo>
                      <a:pt x="312" y="235"/>
                    </a:lnTo>
                    <a:lnTo>
                      <a:pt x="312" y="236"/>
                    </a:lnTo>
                    <a:lnTo>
                      <a:pt x="312" y="237"/>
                    </a:lnTo>
                    <a:lnTo>
                      <a:pt x="313" y="237"/>
                    </a:lnTo>
                    <a:lnTo>
                      <a:pt x="312" y="237"/>
                    </a:lnTo>
                    <a:lnTo>
                      <a:pt x="311" y="237"/>
                    </a:lnTo>
                    <a:lnTo>
                      <a:pt x="311" y="238"/>
                    </a:lnTo>
                    <a:lnTo>
                      <a:pt x="312" y="238"/>
                    </a:lnTo>
                    <a:lnTo>
                      <a:pt x="312" y="237"/>
                    </a:lnTo>
                    <a:lnTo>
                      <a:pt x="313" y="238"/>
                    </a:lnTo>
                    <a:lnTo>
                      <a:pt x="313" y="239"/>
                    </a:lnTo>
                    <a:lnTo>
                      <a:pt x="312" y="239"/>
                    </a:lnTo>
                    <a:lnTo>
                      <a:pt x="311" y="239"/>
                    </a:lnTo>
                    <a:lnTo>
                      <a:pt x="311" y="238"/>
                    </a:lnTo>
                    <a:lnTo>
                      <a:pt x="311" y="239"/>
                    </a:lnTo>
                    <a:lnTo>
                      <a:pt x="310" y="238"/>
                    </a:lnTo>
                    <a:lnTo>
                      <a:pt x="310" y="239"/>
                    </a:lnTo>
                    <a:lnTo>
                      <a:pt x="311" y="239"/>
                    </a:lnTo>
                    <a:lnTo>
                      <a:pt x="311" y="241"/>
                    </a:lnTo>
                    <a:lnTo>
                      <a:pt x="311" y="242"/>
                    </a:lnTo>
                    <a:lnTo>
                      <a:pt x="312" y="242"/>
                    </a:lnTo>
                    <a:lnTo>
                      <a:pt x="311" y="243"/>
                    </a:lnTo>
                    <a:lnTo>
                      <a:pt x="311" y="242"/>
                    </a:lnTo>
                    <a:lnTo>
                      <a:pt x="310" y="242"/>
                    </a:lnTo>
                    <a:lnTo>
                      <a:pt x="311" y="242"/>
                    </a:lnTo>
                    <a:lnTo>
                      <a:pt x="310" y="242"/>
                    </a:lnTo>
                    <a:lnTo>
                      <a:pt x="310" y="241"/>
                    </a:lnTo>
                    <a:lnTo>
                      <a:pt x="309" y="241"/>
                    </a:lnTo>
                    <a:lnTo>
                      <a:pt x="310" y="242"/>
                    </a:lnTo>
                    <a:lnTo>
                      <a:pt x="309" y="243"/>
                    </a:lnTo>
                    <a:lnTo>
                      <a:pt x="308" y="242"/>
                    </a:lnTo>
                    <a:lnTo>
                      <a:pt x="307" y="242"/>
                    </a:lnTo>
                    <a:lnTo>
                      <a:pt x="306" y="242"/>
                    </a:lnTo>
                    <a:lnTo>
                      <a:pt x="307" y="242"/>
                    </a:lnTo>
                    <a:lnTo>
                      <a:pt x="306" y="242"/>
                    </a:lnTo>
                    <a:lnTo>
                      <a:pt x="306" y="243"/>
                    </a:lnTo>
                    <a:lnTo>
                      <a:pt x="306" y="244"/>
                    </a:lnTo>
                    <a:lnTo>
                      <a:pt x="306" y="245"/>
                    </a:lnTo>
                    <a:lnTo>
                      <a:pt x="307" y="245"/>
                    </a:lnTo>
                    <a:lnTo>
                      <a:pt x="307" y="246"/>
                    </a:lnTo>
                    <a:lnTo>
                      <a:pt x="308" y="246"/>
                    </a:lnTo>
                    <a:lnTo>
                      <a:pt x="308" y="247"/>
                    </a:lnTo>
                    <a:lnTo>
                      <a:pt x="307" y="247"/>
                    </a:lnTo>
                    <a:lnTo>
                      <a:pt x="306" y="247"/>
                    </a:lnTo>
                    <a:lnTo>
                      <a:pt x="305" y="247"/>
                    </a:lnTo>
                    <a:lnTo>
                      <a:pt x="305" y="248"/>
                    </a:lnTo>
                    <a:lnTo>
                      <a:pt x="304" y="248"/>
                    </a:lnTo>
                    <a:lnTo>
                      <a:pt x="304" y="247"/>
                    </a:lnTo>
                    <a:lnTo>
                      <a:pt x="303" y="247"/>
                    </a:lnTo>
                    <a:lnTo>
                      <a:pt x="301" y="246"/>
                    </a:lnTo>
                    <a:lnTo>
                      <a:pt x="300" y="246"/>
                    </a:lnTo>
                    <a:lnTo>
                      <a:pt x="301" y="246"/>
                    </a:lnTo>
                    <a:lnTo>
                      <a:pt x="301" y="245"/>
                    </a:lnTo>
                    <a:lnTo>
                      <a:pt x="303" y="246"/>
                    </a:lnTo>
                    <a:lnTo>
                      <a:pt x="304" y="246"/>
                    </a:lnTo>
                    <a:lnTo>
                      <a:pt x="305" y="245"/>
                    </a:lnTo>
                    <a:lnTo>
                      <a:pt x="305" y="244"/>
                    </a:lnTo>
                    <a:lnTo>
                      <a:pt x="305" y="243"/>
                    </a:lnTo>
                    <a:lnTo>
                      <a:pt x="305" y="242"/>
                    </a:lnTo>
                    <a:lnTo>
                      <a:pt x="305" y="241"/>
                    </a:lnTo>
                    <a:lnTo>
                      <a:pt x="305" y="239"/>
                    </a:lnTo>
                    <a:lnTo>
                      <a:pt x="305" y="238"/>
                    </a:lnTo>
                    <a:lnTo>
                      <a:pt x="306" y="238"/>
                    </a:lnTo>
                    <a:lnTo>
                      <a:pt x="306" y="239"/>
                    </a:lnTo>
                    <a:lnTo>
                      <a:pt x="307" y="239"/>
                    </a:lnTo>
                    <a:lnTo>
                      <a:pt x="308" y="239"/>
                    </a:lnTo>
                    <a:lnTo>
                      <a:pt x="309" y="239"/>
                    </a:lnTo>
                    <a:lnTo>
                      <a:pt x="309" y="238"/>
                    </a:lnTo>
                    <a:lnTo>
                      <a:pt x="309" y="239"/>
                    </a:lnTo>
                    <a:lnTo>
                      <a:pt x="310" y="239"/>
                    </a:lnTo>
                    <a:lnTo>
                      <a:pt x="309" y="238"/>
                    </a:lnTo>
                    <a:lnTo>
                      <a:pt x="310" y="238"/>
                    </a:lnTo>
                    <a:lnTo>
                      <a:pt x="309" y="238"/>
                    </a:lnTo>
                    <a:lnTo>
                      <a:pt x="310" y="239"/>
                    </a:lnTo>
                    <a:lnTo>
                      <a:pt x="309" y="239"/>
                    </a:lnTo>
                    <a:lnTo>
                      <a:pt x="309" y="238"/>
                    </a:lnTo>
                    <a:lnTo>
                      <a:pt x="308" y="238"/>
                    </a:lnTo>
                    <a:lnTo>
                      <a:pt x="309" y="237"/>
                    </a:lnTo>
                    <a:lnTo>
                      <a:pt x="308" y="237"/>
                    </a:lnTo>
                    <a:lnTo>
                      <a:pt x="309" y="236"/>
                    </a:lnTo>
                    <a:lnTo>
                      <a:pt x="309" y="235"/>
                    </a:lnTo>
                    <a:lnTo>
                      <a:pt x="308" y="235"/>
                    </a:lnTo>
                    <a:lnTo>
                      <a:pt x="308" y="234"/>
                    </a:lnTo>
                    <a:lnTo>
                      <a:pt x="309" y="234"/>
                    </a:lnTo>
                    <a:lnTo>
                      <a:pt x="310" y="234"/>
                    </a:lnTo>
                    <a:close/>
                    <a:moveTo>
                      <a:pt x="459" y="58"/>
                    </a:moveTo>
                    <a:lnTo>
                      <a:pt x="460" y="58"/>
                    </a:lnTo>
                    <a:lnTo>
                      <a:pt x="460" y="59"/>
                    </a:lnTo>
                    <a:lnTo>
                      <a:pt x="461" y="59"/>
                    </a:lnTo>
                    <a:lnTo>
                      <a:pt x="461" y="58"/>
                    </a:lnTo>
                    <a:lnTo>
                      <a:pt x="461" y="59"/>
                    </a:lnTo>
                    <a:lnTo>
                      <a:pt x="461" y="61"/>
                    </a:lnTo>
                    <a:lnTo>
                      <a:pt x="462" y="61"/>
                    </a:lnTo>
                    <a:lnTo>
                      <a:pt x="463" y="61"/>
                    </a:lnTo>
                    <a:lnTo>
                      <a:pt x="463" y="63"/>
                    </a:lnTo>
                    <a:lnTo>
                      <a:pt x="463" y="64"/>
                    </a:lnTo>
                    <a:lnTo>
                      <a:pt x="464" y="66"/>
                    </a:lnTo>
                    <a:lnTo>
                      <a:pt x="465" y="66"/>
                    </a:lnTo>
                    <a:lnTo>
                      <a:pt x="466" y="66"/>
                    </a:lnTo>
                    <a:lnTo>
                      <a:pt x="467" y="66"/>
                    </a:lnTo>
                    <a:lnTo>
                      <a:pt x="467" y="65"/>
                    </a:lnTo>
                    <a:lnTo>
                      <a:pt x="467" y="66"/>
                    </a:lnTo>
                    <a:lnTo>
                      <a:pt x="467" y="67"/>
                    </a:lnTo>
                    <a:lnTo>
                      <a:pt x="467" y="68"/>
                    </a:lnTo>
                    <a:lnTo>
                      <a:pt x="468" y="68"/>
                    </a:lnTo>
                    <a:lnTo>
                      <a:pt x="468" y="69"/>
                    </a:lnTo>
                    <a:lnTo>
                      <a:pt x="467" y="69"/>
                    </a:lnTo>
                    <a:lnTo>
                      <a:pt x="467" y="70"/>
                    </a:lnTo>
                    <a:lnTo>
                      <a:pt x="467" y="69"/>
                    </a:lnTo>
                    <a:lnTo>
                      <a:pt x="466" y="69"/>
                    </a:lnTo>
                    <a:lnTo>
                      <a:pt x="466" y="68"/>
                    </a:lnTo>
                    <a:lnTo>
                      <a:pt x="466" y="69"/>
                    </a:lnTo>
                    <a:lnTo>
                      <a:pt x="465" y="69"/>
                    </a:lnTo>
                    <a:lnTo>
                      <a:pt x="465" y="68"/>
                    </a:lnTo>
                    <a:lnTo>
                      <a:pt x="464" y="68"/>
                    </a:lnTo>
                    <a:lnTo>
                      <a:pt x="464" y="67"/>
                    </a:lnTo>
                    <a:lnTo>
                      <a:pt x="463" y="67"/>
                    </a:lnTo>
                    <a:lnTo>
                      <a:pt x="462" y="67"/>
                    </a:lnTo>
                    <a:lnTo>
                      <a:pt x="461" y="67"/>
                    </a:lnTo>
                    <a:lnTo>
                      <a:pt x="461" y="68"/>
                    </a:lnTo>
                    <a:lnTo>
                      <a:pt x="460" y="68"/>
                    </a:lnTo>
                    <a:lnTo>
                      <a:pt x="459" y="69"/>
                    </a:lnTo>
                    <a:lnTo>
                      <a:pt x="459" y="68"/>
                    </a:lnTo>
                    <a:lnTo>
                      <a:pt x="458" y="68"/>
                    </a:lnTo>
                    <a:lnTo>
                      <a:pt x="458" y="67"/>
                    </a:lnTo>
                    <a:lnTo>
                      <a:pt x="456" y="66"/>
                    </a:lnTo>
                    <a:lnTo>
                      <a:pt x="456" y="65"/>
                    </a:lnTo>
                    <a:lnTo>
                      <a:pt x="456" y="64"/>
                    </a:lnTo>
                    <a:lnTo>
                      <a:pt x="455" y="64"/>
                    </a:lnTo>
                    <a:lnTo>
                      <a:pt x="455" y="63"/>
                    </a:lnTo>
                    <a:lnTo>
                      <a:pt x="456" y="63"/>
                    </a:lnTo>
                    <a:lnTo>
                      <a:pt x="458" y="63"/>
                    </a:lnTo>
                    <a:lnTo>
                      <a:pt x="459" y="64"/>
                    </a:lnTo>
                    <a:lnTo>
                      <a:pt x="460" y="64"/>
                    </a:lnTo>
                    <a:lnTo>
                      <a:pt x="460" y="65"/>
                    </a:lnTo>
                    <a:lnTo>
                      <a:pt x="461" y="65"/>
                    </a:lnTo>
                    <a:lnTo>
                      <a:pt x="462" y="65"/>
                    </a:lnTo>
                    <a:lnTo>
                      <a:pt x="462" y="66"/>
                    </a:lnTo>
                    <a:lnTo>
                      <a:pt x="463" y="66"/>
                    </a:lnTo>
                    <a:lnTo>
                      <a:pt x="464" y="66"/>
                    </a:lnTo>
                    <a:lnTo>
                      <a:pt x="464" y="65"/>
                    </a:lnTo>
                    <a:lnTo>
                      <a:pt x="463" y="65"/>
                    </a:lnTo>
                    <a:lnTo>
                      <a:pt x="462" y="65"/>
                    </a:lnTo>
                    <a:lnTo>
                      <a:pt x="462" y="64"/>
                    </a:lnTo>
                    <a:lnTo>
                      <a:pt x="463" y="64"/>
                    </a:lnTo>
                    <a:lnTo>
                      <a:pt x="462" y="64"/>
                    </a:lnTo>
                    <a:lnTo>
                      <a:pt x="462" y="63"/>
                    </a:lnTo>
                    <a:lnTo>
                      <a:pt x="462" y="62"/>
                    </a:lnTo>
                    <a:lnTo>
                      <a:pt x="462" y="61"/>
                    </a:lnTo>
                    <a:lnTo>
                      <a:pt x="461" y="61"/>
                    </a:lnTo>
                    <a:lnTo>
                      <a:pt x="460" y="61"/>
                    </a:lnTo>
                    <a:lnTo>
                      <a:pt x="459" y="61"/>
                    </a:lnTo>
                    <a:lnTo>
                      <a:pt x="459" y="62"/>
                    </a:lnTo>
                    <a:lnTo>
                      <a:pt x="458" y="62"/>
                    </a:lnTo>
                    <a:lnTo>
                      <a:pt x="456" y="62"/>
                    </a:lnTo>
                    <a:lnTo>
                      <a:pt x="456" y="61"/>
                    </a:lnTo>
                    <a:lnTo>
                      <a:pt x="456" y="59"/>
                    </a:lnTo>
                    <a:lnTo>
                      <a:pt x="456" y="58"/>
                    </a:lnTo>
                    <a:lnTo>
                      <a:pt x="458" y="58"/>
                    </a:lnTo>
                    <a:lnTo>
                      <a:pt x="458" y="57"/>
                    </a:lnTo>
                    <a:lnTo>
                      <a:pt x="459" y="57"/>
                    </a:lnTo>
                    <a:lnTo>
                      <a:pt x="459" y="58"/>
                    </a:lnTo>
                    <a:close/>
                    <a:moveTo>
                      <a:pt x="471" y="193"/>
                    </a:moveTo>
                    <a:lnTo>
                      <a:pt x="471" y="194"/>
                    </a:lnTo>
                    <a:lnTo>
                      <a:pt x="472" y="194"/>
                    </a:lnTo>
                    <a:lnTo>
                      <a:pt x="472" y="193"/>
                    </a:lnTo>
                    <a:lnTo>
                      <a:pt x="473" y="193"/>
                    </a:lnTo>
                    <a:lnTo>
                      <a:pt x="473" y="194"/>
                    </a:lnTo>
                    <a:lnTo>
                      <a:pt x="472" y="195"/>
                    </a:lnTo>
                    <a:lnTo>
                      <a:pt x="473" y="195"/>
                    </a:lnTo>
                    <a:lnTo>
                      <a:pt x="472" y="196"/>
                    </a:lnTo>
                    <a:lnTo>
                      <a:pt x="472" y="197"/>
                    </a:lnTo>
                    <a:lnTo>
                      <a:pt x="473" y="197"/>
                    </a:lnTo>
                    <a:lnTo>
                      <a:pt x="472" y="197"/>
                    </a:lnTo>
                    <a:lnTo>
                      <a:pt x="472" y="198"/>
                    </a:lnTo>
                    <a:lnTo>
                      <a:pt x="472" y="199"/>
                    </a:lnTo>
                    <a:lnTo>
                      <a:pt x="471" y="199"/>
                    </a:lnTo>
                    <a:lnTo>
                      <a:pt x="469" y="199"/>
                    </a:lnTo>
                    <a:lnTo>
                      <a:pt x="468" y="199"/>
                    </a:lnTo>
                    <a:lnTo>
                      <a:pt x="467" y="199"/>
                    </a:lnTo>
                    <a:lnTo>
                      <a:pt x="466" y="199"/>
                    </a:lnTo>
                    <a:lnTo>
                      <a:pt x="466" y="200"/>
                    </a:lnTo>
                    <a:lnTo>
                      <a:pt x="465" y="200"/>
                    </a:lnTo>
                    <a:lnTo>
                      <a:pt x="465" y="202"/>
                    </a:lnTo>
                    <a:lnTo>
                      <a:pt x="464" y="202"/>
                    </a:lnTo>
                    <a:lnTo>
                      <a:pt x="465" y="200"/>
                    </a:lnTo>
                    <a:lnTo>
                      <a:pt x="465" y="199"/>
                    </a:lnTo>
                    <a:lnTo>
                      <a:pt x="465" y="198"/>
                    </a:lnTo>
                    <a:lnTo>
                      <a:pt x="464" y="198"/>
                    </a:lnTo>
                    <a:lnTo>
                      <a:pt x="463" y="198"/>
                    </a:lnTo>
                    <a:lnTo>
                      <a:pt x="463" y="197"/>
                    </a:lnTo>
                    <a:lnTo>
                      <a:pt x="462" y="196"/>
                    </a:lnTo>
                    <a:lnTo>
                      <a:pt x="462" y="195"/>
                    </a:lnTo>
                    <a:lnTo>
                      <a:pt x="462" y="194"/>
                    </a:lnTo>
                    <a:lnTo>
                      <a:pt x="461" y="194"/>
                    </a:lnTo>
                    <a:lnTo>
                      <a:pt x="462" y="194"/>
                    </a:lnTo>
                    <a:lnTo>
                      <a:pt x="463" y="195"/>
                    </a:lnTo>
                    <a:lnTo>
                      <a:pt x="464" y="195"/>
                    </a:lnTo>
                    <a:lnTo>
                      <a:pt x="464" y="194"/>
                    </a:lnTo>
                    <a:lnTo>
                      <a:pt x="465" y="194"/>
                    </a:lnTo>
                    <a:lnTo>
                      <a:pt x="466" y="194"/>
                    </a:lnTo>
                    <a:lnTo>
                      <a:pt x="467" y="194"/>
                    </a:lnTo>
                    <a:lnTo>
                      <a:pt x="468" y="194"/>
                    </a:lnTo>
                    <a:lnTo>
                      <a:pt x="469" y="194"/>
                    </a:lnTo>
                    <a:lnTo>
                      <a:pt x="471" y="194"/>
                    </a:lnTo>
                    <a:lnTo>
                      <a:pt x="471" y="193"/>
                    </a:lnTo>
                    <a:close/>
                    <a:moveTo>
                      <a:pt x="450" y="139"/>
                    </a:moveTo>
                    <a:lnTo>
                      <a:pt x="449" y="139"/>
                    </a:lnTo>
                    <a:lnTo>
                      <a:pt x="450" y="139"/>
                    </a:lnTo>
                    <a:lnTo>
                      <a:pt x="449" y="139"/>
                    </a:lnTo>
                    <a:lnTo>
                      <a:pt x="449" y="140"/>
                    </a:lnTo>
                    <a:lnTo>
                      <a:pt x="448" y="140"/>
                    </a:lnTo>
                    <a:lnTo>
                      <a:pt x="448" y="141"/>
                    </a:lnTo>
                    <a:lnTo>
                      <a:pt x="448" y="142"/>
                    </a:lnTo>
                    <a:lnTo>
                      <a:pt x="448" y="143"/>
                    </a:lnTo>
                    <a:lnTo>
                      <a:pt x="447" y="142"/>
                    </a:lnTo>
                    <a:lnTo>
                      <a:pt x="447" y="141"/>
                    </a:lnTo>
                    <a:lnTo>
                      <a:pt x="446" y="141"/>
                    </a:lnTo>
                    <a:lnTo>
                      <a:pt x="445" y="142"/>
                    </a:lnTo>
                    <a:lnTo>
                      <a:pt x="443" y="143"/>
                    </a:lnTo>
                    <a:lnTo>
                      <a:pt x="442" y="143"/>
                    </a:lnTo>
                    <a:lnTo>
                      <a:pt x="442" y="144"/>
                    </a:lnTo>
                    <a:lnTo>
                      <a:pt x="442" y="145"/>
                    </a:lnTo>
                    <a:lnTo>
                      <a:pt x="441" y="146"/>
                    </a:lnTo>
                    <a:lnTo>
                      <a:pt x="441" y="147"/>
                    </a:lnTo>
                    <a:lnTo>
                      <a:pt x="440" y="148"/>
                    </a:lnTo>
                    <a:lnTo>
                      <a:pt x="441" y="148"/>
                    </a:lnTo>
                    <a:lnTo>
                      <a:pt x="442" y="147"/>
                    </a:lnTo>
                    <a:lnTo>
                      <a:pt x="441" y="147"/>
                    </a:lnTo>
                    <a:lnTo>
                      <a:pt x="442" y="147"/>
                    </a:lnTo>
                    <a:lnTo>
                      <a:pt x="442" y="146"/>
                    </a:lnTo>
                    <a:lnTo>
                      <a:pt x="443" y="146"/>
                    </a:lnTo>
                    <a:lnTo>
                      <a:pt x="445" y="145"/>
                    </a:lnTo>
                    <a:lnTo>
                      <a:pt x="445" y="146"/>
                    </a:lnTo>
                    <a:lnTo>
                      <a:pt x="443" y="147"/>
                    </a:lnTo>
                    <a:lnTo>
                      <a:pt x="443" y="146"/>
                    </a:lnTo>
                    <a:lnTo>
                      <a:pt x="442" y="146"/>
                    </a:lnTo>
                    <a:lnTo>
                      <a:pt x="442" y="147"/>
                    </a:lnTo>
                    <a:lnTo>
                      <a:pt x="442" y="148"/>
                    </a:lnTo>
                    <a:lnTo>
                      <a:pt x="443" y="148"/>
                    </a:lnTo>
                    <a:lnTo>
                      <a:pt x="442" y="149"/>
                    </a:lnTo>
                    <a:lnTo>
                      <a:pt x="443" y="151"/>
                    </a:lnTo>
                    <a:lnTo>
                      <a:pt x="442" y="151"/>
                    </a:lnTo>
                    <a:lnTo>
                      <a:pt x="442" y="152"/>
                    </a:lnTo>
                    <a:lnTo>
                      <a:pt x="441" y="152"/>
                    </a:lnTo>
                    <a:lnTo>
                      <a:pt x="441" y="153"/>
                    </a:lnTo>
                    <a:lnTo>
                      <a:pt x="440" y="153"/>
                    </a:lnTo>
                    <a:lnTo>
                      <a:pt x="441" y="154"/>
                    </a:lnTo>
                    <a:lnTo>
                      <a:pt x="440" y="153"/>
                    </a:lnTo>
                    <a:lnTo>
                      <a:pt x="439" y="153"/>
                    </a:lnTo>
                    <a:lnTo>
                      <a:pt x="438" y="153"/>
                    </a:lnTo>
                    <a:lnTo>
                      <a:pt x="437" y="153"/>
                    </a:lnTo>
                    <a:lnTo>
                      <a:pt x="437" y="154"/>
                    </a:lnTo>
                    <a:lnTo>
                      <a:pt x="436" y="155"/>
                    </a:lnTo>
                    <a:lnTo>
                      <a:pt x="437" y="154"/>
                    </a:lnTo>
                    <a:lnTo>
                      <a:pt x="437" y="153"/>
                    </a:lnTo>
                    <a:lnTo>
                      <a:pt x="438" y="152"/>
                    </a:lnTo>
                    <a:lnTo>
                      <a:pt x="438" y="153"/>
                    </a:lnTo>
                    <a:lnTo>
                      <a:pt x="438" y="152"/>
                    </a:lnTo>
                    <a:lnTo>
                      <a:pt x="439" y="151"/>
                    </a:lnTo>
                    <a:lnTo>
                      <a:pt x="439" y="149"/>
                    </a:lnTo>
                    <a:lnTo>
                      <a:pt x="439" y="148"/>
                    </a:lnTo>
                    <a:lnTo>
                      <a:pt x="440" y="148"/>
                    </a:lnTo>
                    <a:lnTo>
                      <a:pt x="440" y="147"/>
                    </a:lnTo>
                    <a:lnTo>
                      <a:pt x="440" y="146"/>
                    </a:lnTo>
                    <a:lnTo>
                      <a:pt x="441" y="146"/>
                    </a:lnTo>
                    <a:lnTo>
                      <a:pt x="441" y="145"/>
                    </a:lnTo>
                    <a:lnTo>
                      <a:pt x="441" y="144"/>
                    </a:lnTo>
                    <a:lnTo>
                      <a:pt x="442" y="144"/>
                    </a:lnTo>
                    <a:lnTo>
                      <a:pt x="442" y="143"/>
                    </a:lnTo>
                    <a:lnTo>
                      <a:pt x="443" y="142"/>
                    </a:lnTo>
                    <a:lnTo>
                      <a:pt x="443" y="141"/>
                    </a:lnTo>
                    <a:lnTo>
                      <a:pt x="445" y="140"/>
                    </a:lnTo>
                    <a:lnTo>
                      <a:pt x="445" y="139"/>
                    </a:lnTo>
                    <a:lnTo>
                      <a:pt x="446" y="138"/>
                    </a:lnTo>
                    <a:lnTo>
                      <a:pt x="448" y="136"/>
                    </a:lnTo>
                    <a:lnTo>
                      <a:pt x="448" y="135"/>
                    </a:lnTo>
                    <a:lnTo>
                      <a:pt x="449" y="135"/>
                    </a:lnTo>
                    <a:lnTo>
                      <a:pt x="450" y="134"/>
                    </a:lnTo>
                    <a:lnTo>
                      <a:pt x="450" y="136"/>
                    </a:lnTo>
                    <a:lnTo>
                      <a:pt x="450" y="138"/>
                    </a:lnTo>
                    <a:lnTo>
                      <a:pt x="450" y="139"/>
                    </a:lnTo>
                    <a:close/>
                    <a:moveTo>
                      <a:pt x="369" y="95"/>
                    </a:moveTo>
                    <a:lnTo>
                      <a:pt x="370" y="95"/>
                    </a:lnTo>
                    <a:lnTo>
                      <a:pt x="370" y="96"/>
                    </a:lnTo>
                    <a:lnTo>
                      <a:pt x="371" y="96"/>
                    </a:lnTo>
                    <a:lnTo>
                      <a:pt x="372" y="96"/>
                    </a:lnTo>
                    <a:lnTo>
                      <a:pt x="372" y="97"/>
                    </a:lnTo>
                    <a:lnTo>
                      <a:pt x="373" y="97"/>
                    </a:lnTo>
                    <a:lnTo>
                      <a:pt x="373" y="99"/>
                    </a:lnTo>
                    <a:lnTo>
                      <a:pt x="374" y="99"/>
                    </a:lnTo>
                    <a:lnTo>
                      <a:pt x="373" y="99"/>
                    </a:lnTo>
                    <a:lnTo>
                      <a:pt x="373" y="100"/>
                    </a:lnTo>
                    <a:lnTo>
                      <a:pt x="373" y="101"/>
                    </a:lnTo>
                    <a:lnTo>
                      <a:pt x="372" y="101"/>
                    </a:lnTo>
                    <a:lnTo>
                      <a:pt x="373" y="102"/>
                    </a:lnTo>
                    <a:lnTo>
                      <a:pt x="373" y="103"/>
                    </a:lnTo>
                    <a:lnTo>
                      <a:pt x="373" y="104"/>
                    </a:lnTo>
                    <a:lnTo>
                      <a:pt x="373" y="105"/>
                    </a:lnTo>
                    <a:lnTo>
                      <a:pt x="374" y="106"/>
                    </a:lnTo>
                    <a:lnTo>
                      <a:pt x="375" y="106"/>
                    </a:lnTo>
                    <a:lnTo>
                      <a:pt x="375" y="107"/>
                    </a:lnTo>
                    <a:lnTo>
                      <a:pt x="376" y="107"/>
                    </a:lnTo>
                    <a:lnTo>
                      <a:pt x="376" y="108"/>
                    </a:lnTo>
                    <a:lnTo>
                      <a:pt x="376" y="109"/>
                    </a:lnTo>
                    <a:lnTo>
                      <a:pt x="375" y="109"/>
                    </a:lnTo>
                    <a:lnTo>
                      <a:pt x="375" y="110"/>
                    </a:lnTo>
                    <a:lnTo>
                      <a:pt x="375" y="109"/>
                    </a:lnTo>
                    <a:lnTo>
                      <a:pt x="374" y="109"/>
                    </a:lnTo>
                    <a:lnTo>
                      <a:pt x="374" y="108"/>
                    </a:lnTo>
                    <a:lnTo>
                      <a:pt x="373" y="108"/>
                    </a:lnTo>
                    <a:lnTo>
                      <a:pt x="372" y="108"/>
                    </a:lnTo>
                    <a:lnTo>
                      <a:pt x="372" y="107"/>
                    </a:lnTo>
                    <a:lnTo>
                      <a:pt x="371" y="106"/>
                    </a:lnTo>
                    <a:lnTo>
                      <a:pt x="370" y="106"/>
                    </a:lnTo>
                    <a:lnTo>
                      <a:pt x="371" y="106"/>
                    </a:lnTo>
                    <a:lnTo>
                      <a:pt x="370" y="106"/>
                    </a:lnTo>
                    <a:lnTo>
                      <a:pt x="370" y="105"/>
                    </a:lnTo>
                    <a:lnTo>
                      <a:pt x="370" y="104"/>
                    </a:lnTo>
                    <a:lnTo>
                      <a:pt x="370" y="103"/>
                    </a:lnTo>
                    <a:lnTo>
                      <a:pt x="371" y="102"/>
                    </a:lnTo>
                    <a:lnTo>
                      <a:pt x="371" y="103"/>
                    </a:lnTo>
                    <a:lnTo>
                      <a:pt x="371" y="104"/>
                    </a:lnTo>
                    <a:lnTo>
                      <a:pt x="372" y="104"/>
                    </a:lnTo>
                    <a:lnTo>
                      <a:pt x="371" y="104"/>
                    </a:lnTo>
                    <a:lnTo>
                      <a:pt x="372" y="105"/>
                    </a:lnTo>
                    <a:lnTo>
                      <a:pt x="371" y="105"/>
                    </a:lnTo>
                    <a:lnTo>
                      <a:pt x="372" y="105"/>
                    </a:lnTo>
                    <a:lnTo>
                      <a:pt x="372" y="104"/>
                    </a:lnTo>
                    <a:lnTo>
                      <a:pt x="371" y="104"/>
                    </a:lnTo>
                    <a:lnTo>
                      <a:pt x="372" y="103"/>
                    </a:lnTo>
                    <a:lnTo>
                      <a:pt x="371" y="103"/>
                    </a:lnTo>
                    <a:lnTo>
                      <a:pt x="371" y="102"/>
                    </a:lnTo>
                    <a:lnTo>
                      <a:pt x="370" y="102"/>
                    </a:lnTo>
                    <a:lnTo>
                      <a:pt x="371" y="101"/>
                    </a:lnTo>
                    <a:lnTo>
                      <a:pt x="370" y="101"/>
                    </a:lnTo>
                    <a:lnTo>
                      <a:pt x="370" y="100"/>
                    </a:lnTo>
                    <a:lnTo>
                      <a:pt x="370" y="99"/>
                    </a:lnTo>
                    <a:lnTo>
                      <a:pt x="370" y="97"/>
                    </a:lnTo>
                    <a:lnTo>
                      <a:pt x="369" y="97"/>
                    </a:lnTo>
                    <a:lnTo>
                      <a:pt x="369" y="96"/>
                    </a:lnTo>
                    <a:lnTo>
                      <a:pt x="368" y="96"/>
                    </a:lnTo>
                    <a:lnTo>
                      <a:pt x="366" y="95"/>
                    </a:lnTo>
                    <a:lnTo>
                      <a:pt x="365" y="96"/>
                    </a:lnTo>
                    <a:lnTo>
                      <a:pt x="364" y="96"/>
                    </a:lnTo>
                    <a:lnTo>
                      <a:pt x="363" y="96"/>
                    </a:lnTo>
                    <a:lnTo>
                      <a:pt x="363" y="95"/>
                    </a:lnTo>
                    <a:lnTo>
                      <a:pt x="364" y="95"/>
                    </a:lnTo>
                    <a:lnTo>
                      <a:pt x="365" y="95"/>
                    </a:lnTo>
                    <a:lnTo>
                      <a:pt x="366" y="94"/>
                    </a:lnTo>
                    <a:lnTo>
                      <a:pt x="368" y="93"/>
                    </a:lnTo>
                    <a:lnTo>
                      <a:pt x="368" y="92"/>
                    </a:lnTo>
                    <a:lnTo>
                      <a:pt x="368" y="93"/>
                    </a:lnTo>
                    <a:lnTo>
                      <a:pt x="368" y="94"/>
                    </a:lnTo>
                    <a:lnTo>
                      <a:pt x="369" y="95"/>
                    </a:lnTo>
                    <a:close/>
                    <a:moveTo>
                      <a:pt x="459" y="76"/>
                    </a:moveTo>
                    <a:lnTo>
                      <a:pt x="460" y="76"/>
                    </a:lnTo>
                    <a:lnTo>
                      <a:pt x="461" y="76"/>
                    </a:lnTo>
                    <a:lnTo>
                      <a:pt x="461" y="77"/>
                    </a:lnTo>
                    <a:lnTo>
                      <a:pt x="462" y="77"/>
                    </a:lnTo>
                    <a:lnTo>
                      <a:pt x="461" y="77"/>
                    </a:lnTo>
                    <a:lnTo>
                      <a:pt x="460" y="77"/>
                    </a:lnTo>
                    <a:lnTo>
                      <a:pt x="459" y="77"/>
                    </a:lnTo>
                    <a:lnTo>
                      <a:pt x="458" y="78"/>
                    </a:lnTo>
                    <a:lnTo>
                      <a:pt x="456" y="79"/>
                    </a:lnTo>
                    <a:lnTo>
                      <a:pt x="456" y="80"/>
                    </a:lnTo>
                    <a:lnTo>
                      <a:pt x="455" y="80"/>
                    </a:lnTo>
                    <a:lnTo>
                      <a:pt x="455" y="81"/>
                    </a:lnTo>
                    <a:lnTo>
                      <a:pt x="455" y="82"/>
                    </a:lnTo>
                    <a:lnTo>
                      <a:pt x="454" y="82"/>
                    </a:lnTo>
                    <a:lnTo>
                      <a:pt x="454" y="83"/>
                    </a:lnTo>
                    <a:lnTo>
                      <a:pt x="453" y="84"/>
                    </a:lnTo>
                    <a:lnTo>
                      <a:pt x="452" y="84"/>
                    </a:lnTo>
                    <a:lnTo>
                      <a:pt x="452" y="86"/>
                    </a:lnTo>
                    <a:lnTo>
                      <a:pt x="451" y="87"/>
                    </a:lnTo>
                    <a:lnTo>
                      <a:pt x="451" y="88"/>
                    </a:lnTo>
                    <a:lnTo>
                      <a:pt x="451" y="89"/>
                    </a:lnTo>
                    <a:lnTo>
                      <a:pt x="451" y="90"/>
                    </a:lnTo>
                    <a:lnTo>
                      <a:pt x="451" y="91"/>
                    </a:lnTo>
                    <a:lnTo>
                      <a:pt x="450" y="91"/>
                    </a:lnTo>
                    <a:lnTo>
                      <a:pt x="450" y="92"/>
                    </a:lnTo>
                    <a:lnTo>
                      <a:pt x="451" y="93"/>
                    </a:lnTo>
                    <a:lnTo>
                      <a:pt x="451" y="94"/>
                    </a:lnTo>
                    <a:lnTo>
                      <a:pt x="451" y="95"/>
                    </a:lnTo>
                    <a:lnTo>
                      <a:pt x="451" y="94"/>
                    </a:lnTo>
                    <a:lnTo>
                      <a:pt x="450" y="94"/>
                    </a:lnTo>
                    <a:lnTo>
                      <a:pt x="450" y="93"/>
                    </a:lnTo>
                    <a:lnTo>
                      <a:pt x="450" y="92"/>
                    </a:lnTo>
                    <a:lnTo>
                      <a:pt x="449" y="92"/>
                    </a:lnTo>
                    <a:lnTo>
                      <a:pt x="449" y="91"/>
                    </a:lnTo>
                    <a:lnTo>
                      <a:pt x="450" y="91"/>
                    </a:lnTo>
                    <a:lnTo>
                      <a:pt x="450" y="90"/>
                    </a:lnTo>
                    <a:lnTo>
                      <a:pt x="449" y="90"/>
                    </a:lnTo>
                    <a:lnTo>
                      <a:pt x="449" y="89"/>
                    </a:lnTo>
                    <a:lnTo>
                      <a:pt x="449" y="88"/>
                    </a:lnTo>
                    <a:lnTo>
                      <a:pt x="449" y="87"/>
                    </a:lnTo>
                    <a:lnTo>
                      <a:pt x="449" y="86"/>
                    </a:lnTo>
                    <a:lnTo>
                      <a:pt x="449" y="84"/>
                    </a:lnTo>
                    <a:lnTo>
                      <a:pt x="450" y="84"/>
                    </a:lnTo>
                    <a:lnTo>
                      <a:pt x="451" y="84"/>
                    </a:lnTo>
                    <a:lnTo>
                      <a:pt x="451" y="83"/>
                    </a:lnTo>
                    <a:lnTo>
                      <a:pt x="451" y="82"/>
                    </a:lnTo>
                    <a:lnTo>
                      <a:pt x="450" y="82"/>
                    </a:lnTo>
                    <a:lnTo>
                      <a:pt x="450" y="81"/>
                    </a:lnTo>
                    <a:lnTo>
                      <a:pt x="451" y="81"/>
                    </a:lnTo>
                    <a:lnTo>
                      <a:pt x="452" y="81"/>
                    </a:lnTo>
                    <a:lnTo>
                      <a:pt x="453" y="81"/>
                    </a:lnTo>
                    <a:lnTo>
                      <a:pt x="453" y="80"/>
                    </a:lnTo>
                    <a:lnTo>
                      <a:pt x="453" y="79"/>
                    </a:lnTo>
                    <a:lnTo>
                      <a:pt x="454" y="79"/>
                    </a:lnTo>
                    <a:lnTo>
                      <a:pt x="454" y="78"/>
                    </a:lnTo>
                    <a:lnTo>
                      <a:pt x="455" y="78"/>
                    </a:lnTo>
                    <a:lnTo>
                      <a:pt x="456" y="78"/>
                    </a:lnTo>
                    <a:lnTo>
                      <a:pt x="456" y="77"/>
                    </a:lnTo>
                    <a:lnTo>
                      <a:pt x="458" y="77"/>
                    </a:lnTo>
                    <a:lnTo>
                      <a:pt x="458" y="76"/>
                    </a:lnTo>
                    <a:lnTo>
                      <a:pt x="459" y="76"/>
                    </a:lnTo>
                    <a:lnTo>
                      <a:pt x="459" y="75"/>
                    </a:lnTo>
                    <a:lnTo>
                      <a:pt x="459" y="74"/>
                    </a:lnTo>
                    <a:lnTo>
                      <a:pt x="459" y="72"/>
                    </a:lnTo>
                    <a:lnTo>
                      <a:pt x="459" y="74"/>
                    </a:lnTo>
                    <a:lnTo>
                      <a:pt x="459" y="75"/>
                    </a:lnTo>
                    <a:lnTo>
                      <a:pt x="459" y="76"/>
                    </a:lnTo>
                    <a:close/>
                    <a:moveTo>
                      <a:pt x="352" y="288"/>
                    </a:moveTo>
                    <a:lnTo>
                      <a:pt x="353" y="288"/>
                    </a:lnTo>
                    <a:lnTo>
                      <a:pt x="353" y="289"/>
                    </a:lnTo>
                    <a:lnTo>
                      <a:pt x="352" y="289"/>
                    </a:lnTo>
                    <a:lnTo>
                      <a:pt x="353" y="290"/>
                    </a:lnTo>
                    <a:lnTo>
                      <a:pt x="353" y="292"/>
                    </a:lnTo>
                    <a:lnTo>
                      <a:pt x="353" y="293"/>
                    </a:lnTo>
                    <a:lnTo>
                      <a:pt x="355" y="293"/>
                    </a:lnTo>
                    <a:lnTo>
                      <a:pt x="355" y="294"/>
                    </a:lnTo>
                    <a:lnTo>
                      <a:pt x="356" y="294"/>
                    </a:lnTo>
                    <a:lnTo>
                      <a:pt x="356" y="295"/>
                    </a:lnTo>
                    <a:lnTo>
                      <a:pt x="356" y="296"/>
                    </a:lnTo>
                    <a:lnTo>
                      <a:pt x="357" y="296"/>
                    </a:lnTo>
                    <a:lnTo>
                      <a:pt x="357" y="297"/>
                    </a:lnTo>
                    <a:lnTo>
                      <a:pt x="356" y="297"/>
                    </a:lnTo>
                    <a:lnTo>
                      <a:pt x="357" y="298"/>
                    </a:lnTo>
                    <a:lnTo>
                      <a:pt x="357" y="299"/>
                    </a:lnTo>
                    <a:lnTo>
                      <a:pt x="357" y="300"/>
                    </a:lnTo>
                    <a:lnTo>
                      <a:pt x="356" y="300"/>
                    </a:lnTo>
                    <a:lnTo>
                      <a:pt x="357" y="300"/>
                    </a:lnTo>
                    <a:lnTo>
                      <a:pt x="357" y="299"/>
                    </a:lnTo>
                    <a:lnTo>
                      <a:pt x="356" y="299"/>
                    </a:lnTo>
                    <a:lnTo>
                      <a:pt x="356" y="298"/>
                    </a:lnTo>
                    <a:lnTo>
                      <a:pt x="356" y="297"/>
                    </a:lnTo>
                    <a:lnTo>
                      <a:pt x="355" y="297"/>
                    </a:lnTo>
                    <a:lnTo>
                      <a:pt x="355" y="298"/>
                    </a:lnTo>
                    <a:lnTo>
                      <a:pt x="355" y="297"/>
                    </a:lnTo>
                    <a:lnTo>
                      <a:pt x="353" y="297"/>
                    </a:lnTo>
                    <a:lnTo>
                      <a:pt x="352" y="296"/>
                    </a:lnTo>
                    <a:lnTo>
                      <a:pt x="352" y="295"/>
                    </a:lnTo>
                    <a:lnTo>
                      <a:pt x="353" y="295"/>
                    </a:lnTo>
                    <a:lnTo>
                      <a:pt x="352" y="294"/>
                    </a:lnTo>
                    <a:lnTo>
                      <a:pt x="351" y="294"/>
                    </a:lnTo>
                    <a:lnTo>
                      <a:pt x="351" y="295"/>
                    </a:lnTo>
                    <a:lnTo>
                      <a:pt x="350" y="295"/>
                    </a:lnTo>
                    <a:lnTo>
                      <a:pt x="350" y="296"/>
                    </a:lnTo>
                    <a:lnTo>
                      <a:pt x="349" y="296"/>
                    </a:lnTo>
                    <a:lnTo>
                      <a:pt x="349" y="295"/>
                    </a:lnTo>
                    <a:lnTo>
                      <a:pt x="350" y="295"/>
                    </a:lnTo>
                    <a:lnTo>
                      <a:pt x="349" y="294"/>
                    </a:lnTo>
                    <a:lnTo>
                      <a:pt x="349" y="293"/>
                    </a:lnTo>
                    <a:lnTo>
                      <a:pt x="349" y="292"/>
                    </a:lnTo>
                    <a:lnTo>
                      <a:pt x="349" y="290"/>
                    </a:lnTo>
                    <a:lnTo>
                      <a:pt x="348" y="290"/>
                    </a:lnTo>
                    <a:lnTo>
                      <a:pt x="348" y="289"/>
                    </a:lnTo>
                    <a:lnTo>
                      <a:pt x="348" y="288"/>
                    </a:lnTo>
                    <a:lnTo>
                      <a:pt x="348" y="289"/>
                    </a:lnTo>
                    <a:lnTo>
                      <a:pt x="349" y="289"/>
                    </a:lnTo>
                    <a:lnTo>
                      <a:pt x="350" y="289"/>
                    </a:lnTo>
                    <a:lnTo>
                      <a:pt x="349" y="289"/>
                    </a:lnTo>
                    <a:lnTo>
                      <a:pt x="349" y="288"/>
                    </a:lnTo>
                    <a:lnTo>
                      <a:pt x="348" y="288"/>
                    </a:lnTo>
                    <a:lnTo>
                      <a:pt x="348" y="289"/>
                    </a:lnTo>
                    <a:lnTo>
                      <a:pt x="347" y="288"/>
                    </a:lnTo>
                    <a:lnTo>
                      <a:pt x="350" y="287"/>
                    </a:lnTo>
                    <a:lnTo>
                      <a:pt x="351" y="287"/>
                    </a:lnTo>
                    <a:lnTo>
                      <a:pt x="352" y="287"/>
                    </a:lnTo>
                    <a:lnTo>
                      <a:pt x="352" y="288"/>
                    </a:lnTo>
                    <a:close/>
                    <a:moveTo>
                      <a:pt x="448" y="197"/>
                    </a:moveTo>
                    <a:lnTo>
                      <a:pt x="449" y="198"/>
                    </a:lnTo>
                    <a:lnTo>
                      <a:pt x="448" y="198"/>
                    </a:lnTo>
                    <a:lnTo>
                      <a:pt x="448" y="199"/>
                    </a:lnTo>
                    <a:lnTo>
                      <a:pt x="449" y="199"/>
                    </a:lnTo>
                    <a:lnTo>
                      <a:pt x="448" y="199"/>
                    </a:lnTo>
                    <a:lnTo>
                      <a:pt x="448" y="198"/>
                    </a:lnTo>
                    <a:lnTo>
                      <a:pt x="447" y="198"/>
                    </a:lnTo>
                    <a:lnTo>
                      <a:pt x="447" y="199"/>
                    </a:lnTo>
                    <a:lnTo>
                      <a:pt x="447" y="200"/>
                    </a:lnTo>
                    <a:lnTo>
                      <a:pt x="448" y="200"/>
                    </a:lnTo>
                    <a:lnTo>
                      <a:pt x="448" y="202"/>
                    </a:lnTo>
                    <a:lnTo>
                      <a:pt x="449" y="202"/>
                    </a:lnTo>
                    <a:lnTo>
                      <a:pt x="449" y="200"/>
                    </a:lnTo>
                    <a:lnTo>
                      <a:pt x="450" y="200"/>
                    </a:lnTo>
                    <a:lnTo>
                      <a:pt x="451" y="200"/>
                    </a:lnTo>
                    <a:lnTo>
                      <a:pt x="451" y="202"/>
                    </a:lnTo>
                    <a:lnTo>
                      <a:pt x="453" y="203"/>
                    </a:lnTo>
                    <a:lnTo>
                      <a:pt x="452" y="203"/>
                    </a:lnTo>
                    <a:lnTo>
                      <a:pt x="451" y="203"/>
                    </a:lnTo>
                    <a:lnTo>
                      <a:pt x="450" y="203"/>
                    </a:lnTo>
                    <a:lnTo>
                      <a:pt x="449" y="203"/>
                    </a:lnTo>
                    <a:lnTo>
                      <a:pt x="448" y="203"/>
                    </a:lnTo>
                    <a:lnTo>
                      <a:pt x="446" y="205"/>
                    </a:lnTo>
                    <a:lnTo>
                      <a:pt x="445" y="205"/>
                    </a:lnTo>
                    <a:lnTo>
                      <a:pt x="443" y="205"/>
                    </a:lnTo>
                    <a:lnTo>
                      <a:pt x="442" y="205"/>
                    </a:lnTo>
                    <a:lnTo>
                      <a:pt x="442" y="204"/>
                    </a:lnTo>
                    <a:lnTo>
                      <a:pt x="442" y="202"/>
                    </a:lnTo>
                    <a:lnTo>
                      <a:pt x="441" y="202"/>
                    </a:lnTo>
                    <a:lnTo>
                      <a:pt x="442" y="200"/>
                    </a:lnTo>
                    <a:lnTo>
                      <a:pt x="442" y="199"/>
                    </a:lnTo>
                    <a:lnTo>
                      <a:pt x="442" y="198"/>
                    </a:lnTo>
                    <a:lnTo>
                      <a:pt x="441" y="198"/>
                    </a:lnTo>
                    <a:lnTo>
                      <a:pt x="442" y="197"/>
                    </a:lnTo>
                    <a:lnTo>
                      <a:pt x="442" y="198"/>
                    </a:lnTo>
                    <a:lnTo>
                      <a:pt x="442" y="199"/>
                    </a:lnTo>
                    <a:lnTo>
                      <a:pt x="443" y="199"/>
                    </a:lnTo>
                    <a:lnTo>
                      <a:pt x="443" y="198"/>
                    </a:lnTo>
                    <a:lnTo>
                      <a:pt x="443" y="199"/>
                    </a:lnTo>
                    <a:lnTo>
                      <a:pt x="445" y="199"/>
                    </a:lnTo>
                    <a:lnTo>
                      <a:pt x="445" y="198"/>
                    </a:lnTo>
                    <a:lnTo>
                      <a:pt x="445" y="199"/>
                    </a:lnTo>
                    <a:lnTo>
                      <a:pt x="445" y="198"/>
                    </a:lnTo>
                    <a:lnTo>
                      <a:pt x="443" y="198"/>
                    </a:lnTo>
                    <a:lnTo>
                      <a:pt x="445" y="198"/>
                    </a:lnTo>
                    <a:lnTo>
                      <a:pt x="445" y="197"/>
                    </a:lnTo>
                    <a:lnTo>
                      <a:pt x="445" y="198"/>
                    </a:lnTo>
                    <a:lnTo>
                      <a:pt x="446" y="198"/>
                    </a:lnTo>
                    <a:lnTo>
                      <a:pt x="446" y="197"/>
                    </a:lnTo>
                    <a:lnTo>
                      <a:pt x="446" y="198"/>
                    </a:lnTo>
                    <a:lnTo>
                      <a:pt x="447" y="198"/>
                    </a:lnTo>
                    <a:lnTo>
                      <a:pt x="447" y="197"/>
                    </a:lnTo>
                    <a:lnTo>
                      <a:pt x="447" y="198"/>
                    </a:lnTo>
                    <a:lnTo>
                      <a:pt x="447" y="197"/>
                    </a:lnTo>
                    <a:lnTo>
                      <a:pt x="448" y="197"/>
                    </a:lnTo>
                    <a:lnTo>
                      <a:pt x="448" y="196"/>
                    </a:lnTo>
                    <a:lnTo>
                      <a:pt x="449" y="196"/>
                    </a:lnTo>
                    <a:lnTo>
                      <a:pt x="448" y="197"/>
                    </a:lnTo>
                    <a:close/>
                    <a:moveTo>
                      <a:pt x="479" y="66"/>
                    </a:moveTo>
                    <a:lnTo>
                      <a:pt x="479" y="67"/>
                    </a:lnTo>
                    <a:lnTo>
                      <a:pt x="478" y="68"/>
                    </a:lnTo>
                    <a:lnTo>
                      <a:pt x="478" y="69"/>
                    </a:lnTo>
                    <a:lnTo>
                      <a:pt x="477" y="70"/>
                    </a:lnTo>
                    <a:lnTo>
                      <a:pt x="478" y="71"/>
                    </a:lnTo>
                    <a:lnTo>
                      <a:pt x="479" y="72"/>
                    </a:lnTo>
                    <a:lnTo>
                      <a:pt x="479" y="74"/>
                    </a:lnTo>
                    <a:lnTo>
                      <a:pt x="478" y="74"/>
                    </a:lnTo>
                    <a:lnTo>
                      <a:pt x="478" y="75"/>
                    </a:lnTo>
                    <a:lnTo>
                      <a:pt x="478" y="76"/>
                    </a:lnTo>
                    <a:lnTo>
                      <a:pt x="478" y="77"/>
                    </a:lnTo>
                    <a:lnTo>
                      <a:pt x="478" y="78"/>
                    </a:lnTo>
                    <a:lnTo>
                      <a:pt x="478" y="79"/>
                    </a:lnTo>
                    <a:lnTo>
                      <a:pt x="477" y="79"/>
                    </a:lnTo>
                    <a:lnTo>
                      <a:pt x="476" y="78"/>
                    </a:lnTo>
                    <a:lnTo>
                      <a:pt x="477" y="77"/>
                    </a:lnTo>
                    <a:lnTo>
                      <a:pt x="477" y="76"/>
                    </a:lnTo>
                    <a:lnTo>
                      <a:pt x="475" y="75"/>
                    </a:lnTo>
                    <a:lnTo>
                      <a:pt x="475" y="74"/>
                    </a:lnTo>
                    <a:lnTo>
                      <a:pt x="475" y="72"/>
                    </a:lnTo>
                    <a:lnTo>
                      <a:pt x="476" y="72"/>
                    </a:lnTo>
                    <a:lnTo>
                      <a:pt x="476" y="74"/>
                    </a:lnTo>
                    <a:lnTo>
                      <a:pt x="477" y="72"/>
                    </a:lnTo>
                    <a:lnTo>
                      <a:pt x="476" y="71"/>
                    </a:lnTo>
                    <a:lnTo>
                      <a:pt x="477" y="71"/>
                    </a:lnTo>
                    <a:lnTo>
                      <a:pt x="477" y="70"/>
                    </a:lnTo>
                    <a:lnTo>
                      <a:pt x="476" y="69"/>
                    </a:lnTo>
                    <a:lnTo>
                      <a:pt x="475" y="69"/>
                    </a:lnTo>
                    <a:lnTo>
                      <a:pt x="474" y="69"/>
                    </a:lnTo>
                    <a:lnTo>
                      <a:pt x="475" y="69"/>
                    </a:lnTo>
                    <a:lnTo>
                      <a:pt x="475" y="68"/>
                    </a:lnTo>
                    <a:lnTo>
                      <a:pt x="476" y="68"/>
                    </a:lnTo>
                    <a:lnTo>
                      <a:pt x="476" y="67"/>
                    </a:lnTo>
                    <a:lnTo>
                      <a:pt x="475" y="67"/>
                    </a:lnTo>
                    <a:lnTo>
                      <a:pt x="475" y="66"/>
                    </a:lnTo>
                    <a:lnTo>
                      <a:pt x="476" y="66"/>
                    </a:lnTo>
                    <a:lnTo>
                      <a:pt x="477" y="66"/>
                    </a:lnTo>
                    <a:lnTo>
                      <a:pt x="477" y="65"/>
                    </a:lnTo>
                    <a:lnTo>
                      <a:pt x="477" y="64"/>
                    </a:lnTo>
                    <a:lnTo>
                      <a:pt x="477" y="63"/>
                    </a:lnTo>
                    <a:lnTo>
                      <a:pt x="478" y="63"/>
                    </a:lnTo>
                    <a:lnTo>
                      <a:pt x="479" y="61"/>
                    </a:lnTo>
                    <a:lnTo>
                      <a:pt x="480" y="61"/>
                    </a:lnTo>
                    <a:lnTo>
                      <a:pt x="479" y="62"/>
                    </a:lnTo>
                    <a:lnTo>
                      <a:pt x="479" y="63"/>
                    </a:lnTo>
                    <a:lnTo>
                      <a:pt x="480" y="65"/>
                    </a:lnTo>
                    <a:lnTo>
                      <a:pt x="479" y="66"/>
                    </a:lnTo>
                    <a:close/>
                    <a:moveTo>
                      <a:pt x="351" y="350"/>
                    </a:moveTo>
                    <a:lnTo>
                      <a:pt x="351" y="351"/>
                    </a:lnTo>
                    <a:lnTo>
                      <a:pt x="352" y="352"/>
                    </a:lnTo>
                    <a:lnTo>
                      <a:pt x="352" y="353"/>
                    </a:lnTo>
                    <a:lnTo>
                      <a:pt x="351" y="353"/>
                    </a:lnTo>
                    <a:lnTo>
                      <a:pt x="350" y="353"/>
                    </a:lnTo>
                    <a:lnTo>
                      <a:pt x="349" y="353"/>
                    </a:lnTo>
                    <a:lnTo>
                      <a:pt x="350" y="354"/>
                    </a:lnTo>
                    <a:lnTo>
                      <a:pt x="350" y="356"/>
                    </a:lnTo>
                    <a:lnTo>
                      <a:pt x="351" y="356"/>
                    </a:lnTo>
                    <a:lnTo>
                      <a:pt x="350" y="356"/>
                    </a:lnTo>
                    <a:lnTo>
                      <a:pt x="349" y="356"/>
                    </a:lnTo>
                    <a:lnTo>
                      <a:pt x="349" y="357"/>
                    </a:lnTo>
                    <a:lnTo>
                      <a:pt x="348" y="357"/>
                    </a:lnTo>
                    <a:lnTo>
                      <a:pt x="348" y="358"/>
                    </a:lnTo>
                    <a:lnTo>
                      <a:pt x="347" y="358"/>
                    </a:lnTo>
                    <a:lnTo>
                      <a:pt x="348" y="358"/>
                    </a:lnTo>
                    <a:lnTo>
                      <a:pt x="347" y="359"/>
                    </a:lnTo>
                    <a:lnTo>
                      <a:pt x="347" y="358"/>
                    </a:lnTo>
                    <a:lnTo>
                      <a:pt x="346" y="357"/>
                    </a:lnTo>
                    <a:lnTo>
                      <a:pt x="345" y="357"/>
                    </a:lnTo>
                    <a:lnTo>
                      <a:pt x="344" y="356"/>
                    </a:lnTo>
                    <a:lnTo>
                      <a:pt x="344" y="354"/>
                    </a:lnTo>
                    <a:lnTo>
                      <a:pt x="343" y="354"/>
                    </a:lnTo>
                    <a:lnTo>
                      <a:pt x="343" y="353"/>
                    </a:lnTo>
                    <a:lnTo>
                      <a:pt x="343" y="354"/>
                    </a:lnTo>
                    <a:lnTo>
                      <a:pt x="343" y="353"/>
                    </a:lnTo>
                    <a:lnTo>
                      <a:pt x="344" y="353"/>
                    </a:lnTo>
                    <a:lnTo>
                      <a:pt x="343" y="352"/>
                    </a:lnTo>
                    <a:lnTo>
                      <a:pt x="344" y="352"/>
                    </a:lnTo>
                    <a:lnTo>
                      <a:pt x="345" y="352"/>
                    </a:lnTo>
                    <a:lnTo>
                      <a:pt x="346" y="352"/>
                    </a:lnTo>
                    <a:lnTo>
                      <a:pt x="347" y="352"/>
                    </a:lnTo>
                    <a:lnTo>
                      <a:pt x="348" y="352"/>
                    </a:lnTo>
                    <a:lnTo>
                      <a:pt x="349" y="352"/>
                    </a:lnTo>
                    <a:lnTo>
                      <a:pt x="349" y="351"/>
                    </a:lnTo>
                    <a:lnTo>
                      <a:pt x="350" y="351"/>
                    </a:lnTo>
                    <a:lnTo>
                      <a:pt x="350" y="352"/>
                    </a:lnTo>
                    <a:lnTo>
                      <a:pt x="351" y="352"/>
                    </a:lnTo>
                    <a:lnTo>
                      <a:pt x="350" y="352"/>
                    </a:lnTo>
                    <a:lnTo>
                      <a:pt x="350" y="351"/>
                    </a:lnTo>
                    <a:lnTo>
                      <a:pt x="349" y="351"/>
                    </a:lnTo>
                    <a:lnTo>
                      <a:pt x="350" y="350"/>
                    </a:lnTo>
                    <a:lnTo>
                      <a:pt x="351" y="350"/>
                    </a:lnTo>
                    <a:close/>
                    <a:moveTo>
                      <a:pt x="488" y="104"/>
                    </a:moveTo>
                    <a:lnTo>
                      <a:pt x="489" y="104"/>
                    </a:lnTo>
                    <a:lnTo>
                      <a:pt x="489" y="105"/>
                    </a:lnTo>
                    <a:lnTo>
                      <a:pt x="490" y="105"/>
                    </a:lnTo>
                    <a:lnTo>
                      <a:pt x="490" y="106"/>
                    </a:lnTo>
                    <a:lnTo>
                      <a:pt x="491" y="105"/>
                    </a:lnTo>
                    <a:lnTo>
                      <a:pt x="491" y="106"/>
                    </a:lnTo>
                    <a:lnTo>
                      <a:pt x="492" y="106"/>
                    </a:lnTo>
                    <a:lnTo>
                      <a:pt x="492" y="107"/>
                    </a:lnTo>
                    <a:lnTo>
                      <a:pt x="493" y="107"/>
                    </a:lnTo>
                    <a:lnTo>
                      <a:pt x="493" y="108"/>
                    </a:lnTo>
                    <a:lnTo>
                      <a:pt x="493" y="109"/>
                    </a:lnTo>
                    <a:lnTo>
                      <a:pt x="494" y="109"/>
                    </a:lnTo>
                    <a:lnTo>
                      <a:pt x="494" y="110"/>
                    </a:lnTo>
                    <a:lnTo>
                      <a:pt x="494" y="109"/>
                    </a:lnTo>
                    <a:lnTo>
                      <a:pt x="495" y="110"/>
                    </a:lnTo>
                    <a:lnTo>
                      <a:pt x="494" y="110"/>
                    </a:lnTo>
                    <a:lnTo>
                      <a:pt x="494" y="112"/>
                    </a:lnTo>
                    <a:lnTo>
                      <a:pt x="494" y="110"/>
                    </a:lnTo>
                    <a:lnTo>
                      <a:pt x="493" y="110"/>
                    </a:lnTo>
                    <a:lnTo>
                      <a:pt x="493" y="109"/>
                    </a:lnTo>
                    <a:lnTo>
                      <a:pt x="492" y="109"/>
                    </a:lnTo>
                    <a:lnTo>
                      <a:pt x="492" y="108"/>
                    </a:lnTo>
                    <a:lnTo>
                      <a:pt x="491" y="109"/>
                    </a:lnTo>
                    <a:lnTo>
                      <a:pt x="491" y="108"/>
                    </a:lnTo>
                    <a:lnTo>
                      <a:pt x="492" y="108"/>
                    </a:lnTo>
                    <a:lnTo>
                      <a:pt x="491" y="108"/>
                    </a:lnTo>
                    <a:lnTo>
                      <a:pt x="491" y="109"/>
                    </a:lnTo>
                    <a:lnTo>
                      <a:pt x="491" y="110"/>
                    </a:lnTo>
                    <a:lnTo>
                      <a:pt x="491" y="112"/>
                    </a:lnTo>
                    <a:lnTo>
                      <a:pt x="490" y="112"/>
                    </a:lnTo>
                    <a:lnTo>
                      <a:pt x="490" y="113"/>
                    </a:lnTo>
                    <a:lnTo>
                      <a:pt x="490" y="114"/>
                    </a:lnTo>
                    <a:lnTo>
                      <a:pt x="491" y="114"/>
                    </a:lnTo>
                    <a:lnTo>
                      <a:pt x="490" y="115"/>
                    </a:lnTo>
                    <a:lnTo>
                      <a:pt x="490" y="114"/>
                    </a:lnTo>
                    <a:lnTo>
                      <a:pt x="489" y="114"/>
                    </a:lnTo>
                    <a:lnTo>
                      <a:pt x="489" y="115"/>
                    </a:lnTo>
                    <a:lnTo>
                      <a:pt x="488" y="115"/>
                    </a:lnTo>
                    <a:lnTo>
                      <a:pt x="488" y="114"/>
                    </a:lnTo>
                    <a:lnTo>
                      <a:pt x="488" y="113"/>
                    </a:lnTo>
                    <a:lnTo>
                      <a:pt x="488" y="112"/>
                    </a:lnTo>
                    <a:lnTo>
                      <a:pt x="487" y="112"/>
                    </a:lnTo>
                    <a:lnTo>
                      <a:pt x="487" y="113"/>
                    </a:lnTo>
                    <a:lnTo>
                      <a:pt x="487" y="112"/>
                    </a:lnTo>
                    <a:lnTo>
                      <a:pt x="488" y="112"/>
                    </a:lnTo>
                    <a:lnTo>
                      <a:pt x="487" y="112"/>
                    </a:lnTo>
                    <a:lnTo>
                      <a:pt x="487" y="110"/>
                    </a:lnTo>
                    <a:lnTo>
                      <a:pt x="486" y="110"/>
                    </a:lnTo>
                    <a:lnTo>
                      <a:pt x="487" y="110"/>
                    </a:lnTo>
                    <a:lnTo>
                      <a:pt x="487" y="109"/>
                    </a:lnTo>
                    <a:lnTo>
                      <a:pt x="488" y="109"/>
                    </a:lnTo>
                    <a:lnTo>
                      <a:pt x="488" y="108"/>
                    </a:lnTo>
                    <a:lnTo>
                      <a:pt x="489" y="108"/>
                    </a:lnTo>
                    <a:lnTo>
                      <a:pt x="488" y="108"/>
                    </a:lnTo>
                    <a:lnTo>
                      <a:pt x="488" y="107"/>
                    </a:lnTo>
                    <a:lnTo>
                      <a:pt x="488" y="106"/>
                    </a:lnTo>
                    <a:lnTo>
                      <a:pt x="489" y="106"/>
                    </a:lnTo>
                    <a:lnTo>
                      <a:pt x="489" y="105"/>
                    </a:lnTo>
                    <a:lnTo>
                      <a:pt x="488" y="105"/>
                    </a:lnTo>
                    <a:lnTo>
                      <a:pt x="488" y="104"/>
                    </a:lnTo>
                    <a:lnTo>
                      <a:pt x="487" y="104"/>
                    </a:lnTo>
                    <a:lnTo>
                      <a:pt x="488" y="104"/>
                    </a:lnTo>
                    <a:close/>
                    <a:moveTo>
                      <a:pt x="433" y="280"/>
                    </a:moveTo>
                    <a:lnTo>
                      <a:pt x="433" y="279"/>
                    </a:lnTo>
                    <a:lnTo>
                      <a:pt x="434" y="279"/>
                    </a:lnTo>
                    <a:lnTo>
                      <a:pt x="435" y="279"/>
                    </a:lnTo>
                    <a:lnTo>
                      <a:pt x="436" y="279"/>
                    </a:lnTo>
                    <a:lnTo>
                      <a:pt x="438" y="279"/>
                    </a:lnTo>
                    <a:lnTo>
                      <a:pt x="438" y="280"/>
                    </a:lnTo>
                    <a:lnTo>
                      <a:pt x="439" y="280"/>
                    </a:lnTo>
                    <a:lnTo>
                      <a:pt x="439" y="281"/>
                    </a:lnTo>
                    <a:lnTo>
                      <a:pt x="439" y="282"/>
                    </a:lnTo>
                    <a:lnTo>
                      <a:pt x="438" y="282"/>
                    </a:lnTo>
                    <a:lnTo>
                      <a:pt x="437" y="282"/>
                    </a:lnTo>
                    <a:lnTo>
                      <a:pt x="436" y="282"/>
                    </a:lnTo>
                    <a:lnTo>
                      <a:pt x="435" y="282"/>
                    </a:lnTo>
                    <a:lnTo>
                      <a:pt x="434" y="282"/>
                    </a:lnTo>
                    <a:lnTo>
                      <a:pt x="434" y="283"/>
                    </a:lnTo>
                    <a:lnTo>
                      <a:pt x="433" y="282"/>
                    </a:lnTo>
                    <a:lnTo>
                      <a:pt x="433" y="281"/>
                    </a:lnTo>
                    <a:lnTo>
                      <a:pt x="432" y="280"/>
                    </a:lnTo>
                    <a:lnTo>
                      <a:pt x="430" y="280"/>
                    </a:lnTo>
                    <a:lnTo>
                      <a:pt x="429" y="280"/>
                    </a:lnTo>
                    <a:lnTo>
                      <a:pt x="428" y="280"/>
                    </a:lnTo>
                    <a:lnTo>
                      <a:pt x="427" y="280"/>
                    </a:lnTo>
                    <a:lnTo>
                      <a:pt x="427" y="279"/>
                    </a:lnTo>
                    <a:lnTo>
                      <a:pt x="427" y="277"/>
                    </a:lnTo>
                    <a:lnTo>
                      <a:pt x="426" y="276"/>
                    </a:lnTo>
                    <a:lnTo>
                      <a:pt x="426" y="275"/>
                    </a:lnTo>
                    <a:lnTo>
                      <a:pt x="425" y="275"/>
                    </a:lnTo>
                    <a:lnTo>
                      <a:pt x="426" y="275"/>
                    </a:lnTo>
                    <a:lnTo>
                      <a:pt x="430" y="277"/>
                    </a:lnTo>
                    <a:lnTo>
                      <a:pt x="433" y="279"/>
                    </a:lnTo>
                    <a:lnTo>
                      <a:pt x="433" y="280"/>
                    </a:lnTo>
                    <a:close/>
                    <a:moveTo>
                      <a:pt x="402" y="161"/>
                    </a:moveTo>
                    <a:lnTo>
                      <a:pt x="403" y="161"/>
                    </a:lnTo>
                    <a:lnTo>
                      <a:pt x="404" y="162"/>
                    </a:lnTo>
                    <a:lnTo>
                      <a:pt x="404" y="164"/>
                    </a:lnTo>
                    <a:lnTo>
                      <a:pt x="403" y="164"/>
                    </a:lnTo>
                    <a:lnTo>
                      <a:pt x="404" y="164"/>
                    </a:lnTo>
                    <a:lnTo>
                      <a:pt x="404" y="165"/>
                    </a:lnTo>
                    <a:lnTo>
                      <a:pt x="404" y="166"/>
                    </a:lnTo>
                    <a:lnTo>
                      <a:pt x="403" y="166"/>
                    </a:lnTo>
                    <a:lnTo>
                      <a:pt x="403" y="167"/>
                    </a:lnTo>
                    <a:lnTo>
                      <a:pt x="402" y="167"/>
                    </a:lnTo>
                    <a:lnTo>
                      <a:pt x="402" y="168"/>
                    </a:lnTo>
                    <a:lnTo>
                      <a:pt x="402" y="169"/>
                    </a:lnTo>
                    <a:lnTo>
                      <a:pt x="401" y="169"/>
                    </a:lnTo>
                    <a:lnTo>
                      <a:pt x="400" y="169"/>
                    </a:lnTo>
                    <a:lnTo>
                      <a:pt x="399" y="169"/>
                    </a:lnTo>
                    <a:lnTo>
                      <a:pt x="399" y="168"/>
                    </a:lnTo>
                    <a:lnTo>
                      <a:pt x="398" y="167"/>
                    </a:lnTo>
                    <a:lnTo>
                      <a:pt x="399" y="167"/>
                    </a:lnTo>
                    <a:lnTo>
                      <a:pt x="399" y="166"/>
                    </a:lnTo>
                    <a:lnTo>
                      <a:pt x="400" y="166"/>
                    </a:lnTo>
                    <a:lnTo>
                      <a:pt x="400" y="165"/>
                    </a:lnTo>
                    <a:lnTo>
                      <a:pt x="399" y="165"/>
                    </a:lnTo>
                    <a:lnTo>
                      <a:pt x="399" y="164"/>
                    </a:lnTo>
                    <a:lnTo>
                      <a:pt x="400" y="164"/>
                    </a:lnTo>
                    <a:lnTo>
                      <a:pt x="400" y="162"/>
                    </a:lnTo>
                    <a:lnTo>
                      <a:pt x="400" y="161"/>
                    </a:lnTo>
                    <a:lnTo>
                      <a:pt x="401" y="161"/>
                    </a:lnTo>
                    <a:lnTo>
                      <a:pt x="400" y="161"/>
                    </a:lnTo>
                    <a:lnTo>
                      <a:pt x="401" y="161"/>
                    </a:lnTo>
                    <a:lnTo>
                      <a:pt x="401" y="160"/>
                    </a:lnTo>
                    <a:lnTo>
                      <a:pt x="401" y="159"/>
                    </a:lnTo>
                    <a:lnTo>
                      <a:pt x="402" y="159"/>
                    </a:lnTo>
                    <a:lnTo>
                      <a:pt x="402" y="160"/>
                    </a:lnTo>
                    <a:lnTo>
                      <a:pt x="402" y="161"/>
                    </a:lnTo>
                    <a:close/>
                    <a:moveTo>
                      <a:pt x="475" y="139"/>
                    </a:moveTo>
                    <a:lnTo>
                      <a:pt x="475" y="140"/>
                    </a:lnTo>
                    <a:lnTo>
                      <a:pt x="474" y="140"/>
                    </a:lnTo>
                    <a:lnTo>
                      <a:pt x="474" y="141"/>
                    </a:lnTo>
                    <a:lnTo>
                      <a:pt x="473" y="141"/>
                    </a:lnTo>
                    <a:lnTo>
                      <a:pt x="472" y="141"/>
                    </a:lnTo>
                    <a:lnTo>
                      <a:pt x="472" y="142"/>
                    </a:lnTo>
                    <a:lnTo>
                      <a:pt x="471" y="142"/>
                    </a:lnTo>
                    <a:lnTo>
                      <a:pt x="471" y="143"/>
                    </a:lnTo>
                    <a:lnTo>
                      <a:pt x="471" y="144"/>
                    </a:lnTo>
                    <a:lnTo>
                      <a:pt x="469" y="144"/>
                    </a:lnTo>
                    <a:lnTo>
                      <a:pt x="469" y="145"/>
                    </a:lnTo>
                    <a:lnTo>
                      <a:pt x="468" y="145"/>
                    </a:lnTo>
                    <a:lnTo>
                      <a:pt x="468" y="146"/>
                    </a:lnTo>
                    <a:lnTo>
                      <a:pt x="467" y="146"/>
                    </a:lnTo>
                    <a:lnTo>
                      <a:pt x="466" y="147"/>
                    </a:lnTo>
                    <a:lnTo>
                      <a:pt x="466" y="148"/>
                    </a:lnTo>
                    <a:lnTo>
                      <a:pt x="466" y="149"/>
                    </a:lnTo>
                    <a:lnTo>
                      <a:pt x="466" y="151"/>
                    </a:lnTo>
                    <a:lnTo>
                      <a:pt x="465" y="151"/>
                    </a:lnTo>
                    <a:lnTo>
                      <a:pt x="466" y="151"/>
                    </a:lnTo>
                    <a:lnTo>
                      <a:pt x="466" y="149"/>
                    </a:lnTo>
                    <a:lnTo>
                      <a:pt x="465" y="148"/>
                    </a:lnTo>
                    <a:lnTo>
                      <a:pt x="464" y="148"/>
                    </a:lnTo>
                    <a:lnTo>
                      <a:pt x="464" y="149"/>
                    </a:lnTo>
                    <a:lnTo>
                      <a:pt x="464" y="151"/>
                    </a:lnTo>
                    <a:lnTo>
                      <a:pt x="463" y="151"/>
                    </a:lnTo>
                    <a:lnTo>
                      <a:pt x="464" y="151"/>
                    </a:lnTo>
                    <a:lnTo>
                      <a:pt x="464" y="149"/>
                    </a:lnTo>
                    <a:lnTo>
                      <a:pt x="463" y="149"/>
                    </a:lnTo>
                    <a:lnTo>
                      <a:pt x="463" y="148"/>
                    </a:lnTo>
                    <a:lnTo>
                      <a:pt x="463" y="149"/>
                    </a:lnTo>
                    <a:lnTo>
                      <a:pt x="462" y="149"/>
                    </a:lnTo>
                    <a:lnTo>
                      <a:pt x="461" y="151"/>
                    </a:lnTo>
                    <a:lnTo>
                      <a:pt x="461" y="149"/>
                    </a:lnTo>
                    <a:lnTo>
                      <a:pt x="462" y="149"/>
                    </a:lnTo>
                    <a:lnTo>
                      <a:pt x="462" y="148"/>
                    </a:lnTo>
                    <a:lnTo>
                      <a:pt x="462" y="149"/>
                    </a:lnTo>
                    <a:lnTo>
                      <a:pt x="461" y="149"/>
                    </a:lnTo>
                    <a:lnTo>
                      <a:pt x="460" y="149"/>
                    </a:lnTo>
                    <a:lnTo>
                      <a:pt x="459" y="151"/>
                    </a:lnTo>
                    <a:lnTo>
                      <a:pt x="458" y="151"/>
                    </a:lnTo>
                    <a:lnTo>
                      <a:pt x="458" y="152"/>
                    </a:lnTo>
                    <a:lnTo>
                      <a:pt x="459" y="152"/>
                    </a:lnTo>
                    <a:lnTo>
                      <a:pt x="458" y="152"/>
                    </a:lnTo>
                    <a:lnTo>
                      <a:pt x="458" y="153"/>
                    </a:lnTo>
                    <a:lnTo>
                      <a:pt x="456" y="153"/>
                    </a:lnTo>
                    <a:lnTo>
                      <a:pt x="456" y="152"/>
                    </a:lnTo>
                    <a:lnTo>
                      <a:pt x="458" y="152"/>
                    </a:lnTo>
                    <a:lnTo>
                      <a:pt x="458" y="151"/>
                    </a:lnTo>
                    <a:lnTo>
                      <a:pt x="458" y="149"/>
                    </a:lnTo>
                    <a:lnTo>
                      <a:pt x="459" y="149"/>
                    </a:lnTo>
                    <a:lnTo>
                      <a:pt x="460" y="149"/>
                    </a:lnTo>
                    <a:lnTo>
                      <a:pt x="460" y="148"/>
                    </a:lnTo>
                    <a:lnTo>
                      <a:pt x="461" y="148"/>
                    </a:lnTo>
                    <a:lnTo>
                      <a:pt x="462" y="148"/>
                    </a:lnTo>
                    <a:lnTo>
                      <a:pt x="463" y="148"/>
                    </a:lnTo>
                    <a:lnTo>
                      <a:pt x="463" y="147"/>
                    </a:lnTo>
                    <a:lnTo>
                      <a:pt x="463" y="146"/>
                    </a:lnTo>
                    <a:lnTo>
                      <a:pt x="464" y="146"/>
                    </a:lnTo>
                    <a:lnTo>
                      <a:pt x="463" y="146"/>
                    </a:lnTo>
                    <a:lnTo>
                      <a:pt x="464" y="145"/>
                    </a:lnTo>
                    <a:lnTo>
                      <a:pt x="465" y="145"/>
                    </a:lnTo>
                    <a:lnTo>
                      <a:pt x="465" y="144"/>
                    </a:lnTo>
                    <a:lnTo>
                      <a:pt x="466" y="144"/>
                    </a:lnTo>
                    <a:lnTo>
                      <a:pt x="466" y="145"/>
                    </a:lnTo>
                    <a:lnTo>
                      <a:pt x="467" y="145"/>
                    </a:lnTo>
                    <a:lnTo>
                      <a:pt x="467" y="144"/>
                    </a:lnTo>
                    <a:lnTo>
                      <a:pt x="468" y="144"/>
                    </a:lnTo>
                    <a:lnTo>
                      <a:pt x="469" y="143"/>
                    </a:lnTo>
                    <a:lnTo>
                      <a:pt x="469" y="142"/>
                    </a:lnTo>
                    <a:lnTo>
                      <a:pt x="469" y="143"/>
                    </a:lnTo>
                    <a:lnTo>
                      <a:pt x="468" y="143"/>
                    </a:lnTo>
                    <a:lnTo>
                      <a:pt x="468" y="142"/>
                    </a:lnTo>
                    <a:lnTo>
                      <a:pt x="469" y="142"/>
                    </a:lnTo>
                    <a:lnTo>
                      <a:pt x="471" y="142"/>
                    </a:lnTo>
                    <a:lnTo>
                      <a:pt x="471" y="141"/>
                    </a:lnTo>
                    <a:lnTo>
                      <a:pt x="472" y="141"/>
                    </a:lnTo>
                    <a:lnTo>
                      <a:pt x="473" y="141"/>
                    </a:lnTo>
                    <a:lnTo>
                      <a:pt x="473" y="140"/>
                    </a:lnTo>
                    <a:lnTo>
                      <a:pt x="474" y="140"/>
                    </a:lnTo>
                    <a:lnTo>
                      <a:pt x="474" y="139"/>
                    </a:lnTo>
                    <a:lnTo>
                      <a:pt x="475" y="139"/>
                    </a:lnTo>
                    <a:close/>
                    <a:moveTo>
                      <a:pt x="437" y="174"/>
                    </a:moveTo>
                    <a:lnTo>
                      <a:pt x="437" y="176"/>
                    </a:lnTo>
                    <a:lnTo>
                      <a:pt x="436" y="177"/>
                    </a:lnTo>
                    <a:lnTo>
                      <a:pt x="436" y="176"/>
                    </a:lnTo>
                    <a:lnTo>
                      <a:pt x="435" y="176"/>
                    </a:lnTo>
                    <a:lnTo>
                      <a:pt x="434" y="176"/>
                    </a:lnTo>
                    <a:lnTo>
                      <a:pt x="433" y="177"/>
                    </a:lnTo>
                    <a:lnTo>
                      <a:pt x="432" y="177"/>
                    </a:lnTo>
                    <a:lnTo>
                      <a:pt x="432" y="178"/>
                    </a:lnTo>
                    <a:lnTo>
                      <a:pt x="430" y="178"/>
                    </a:lnTo>
                    <a:lnTo>
                      <a:pt x="429" y="178"/>
                    </a:lnTo>
                    <a:lnTo>
                      <a:pt x="428" y="179"/>
                    </a:lnTo>
                    <a:lnTo>
                      <a:pt x="428" y="180"/>
                    </a:lnTo>
                    <a:lnTo>
                      <a:pt x="427" y="180"/>
                    </a:lnTo>
                    <a:lnTo>
                      <a:pt x="427" y="181"/>
                    </a:lnTo>
                    <a:lnTo>
                      <a:pt x="426" y="181"/>
                    </a:lnTo>
                    <a:lnTo>
                      <a:pt x="426" y="182"/>
                    </a:lnTo>
                    <a:lnTo>
                      <a:pt x="425" y="182"/>
                    </a:lnTo>
                    <a:lnTo>
                      <a:pt x="424" y="182"/>
                    </a:lnTo>
                    <a:lnTo>
                      <a:pt x="425" y="181"/>
                    </a:lnTo>
                    <a:lnTo>
                      <a:pt x="425" y="180"/>
                    </a:lnTo>
                    <a:lnTo>
                      <a:pt x="425" y="179"/>
                    </a:lnTo>
                    <a:lnTo>
                      <a:pt x="426" y="179"/>
                    </a:lnTo>
                    <a:lnTo>
                      <a:pt x="427" y="178"/>
                    </a:lnTo>
                    <a:lnTo>
                      <a:pt x="428" y="178"/>
                    </a:lnTo>
                    <a:lnTo>
                      <a:pt x="428" y="177"/>
                    </a:lnTo>
                    <a:lnTo>
                      <a:pt x="429" y="177"/>
                    </a:lnTo>
                    <a:lnTo>
                      <a:pt x="430" y="176"/>
                    </a:lnTo>
                    <a:lnTo>
                      <a:pt x="430" y="174"/>
                    </a:lnTo>
                    <a:lnTo>
                      <a:pt x="432" y="174"/>
                    </a:lnTo>
                    <a:lnTo>
                      <a:pt x="433" y="174"/>
                    </a:lnTo>
                    <a:lnTo>
                      <a:pt x="433" y="173"/>
                    </a:lnTo>
                    <a:lnTo>
                      <a:pt x="434" y="173"/>
                    </a:lnTo>
                    <a:lnTo>
                      <a:pt x="434" y="174"/>
                    </a:lnTo>
                    <a:lnTo>
                      <a:pt x="435" y="174"/>
                    </a:lnTo>
                    <a:lnTo>
                      <a:pt x="436" y="174"/>
                    </a:lnTo>
                    <a:lnTo>
                      <a:pt x="436" y="173"/>
                    </a:lnTo>
                    <a:lnTo>
                      <a:pt x="437" y="172"/>
                    </a:lnTo>
                    <a:lnTo>
                      <a:pt x="438" y="172"/>
                    </a:lnTo>
                    <a:lnTo>
                      <a:pt x="437" y="172"/>
                    </a:lnTo>
                    <a:lnTo>
                      <a:pt x="437" y="173"/>
                    </a:lnTo>
                    <a:lnTo>
                      <a:pt x="437" y="174"/>
                    </a:lnTo>
                    <a:close/>
                    <a:moveTo>
                      <a:pt x="337" y="251"/>
                    </a:moveTo>
                    <a:lnTo>
                      <a:pt x="338" y="251"/>
                    </a:lnTo>
                    <a:lnTo>
                      <a:pt x="338" y="252"/>
                    </a:lnTo>
                    <a:lnTo>
                      <a:pt x="338" y="251"/>
                    </a:lnTo>
                    <a:lnTo>
                      <a:pt x="338" y="252"/>
                    </a:lnTo>
                    <a:lnTo>
                      <a:pt x="339" y="252"/>
                    </a:lnTo>
                    <a:lnTo>
                      <a:pt x="339" y="254"/>
                    </a:lnTo>
                    <a:lnTo>
                      <a:pt x="340" y="254"/>
                    </a:lnTo>
                    <a:lnTo>
                      <a:pt x="340" y="255"/>
                    </a:lnTo>
                    <a:lnTo>
                      <a:pt x="342" y="255"/>
                    </a:lnTo>
                    <a:lnTo>
                      <a:pt x="343" y="255"/>
                    </a:lnTo>
                    <a:lnTo>
                      <a:pt x="344" y="255"/>
                    </a:lnTo>
                    <a:lnTo>
                      <a:pt x="345" y="255"/>
                    </a:lnTo>
                    <a:lnTo>
                      <a:pt x="345" y="256"/>
                    </a:lnTo>
                    <a:lnTo>
                      <a:pt x="346" y="256"/>
                    </a:lnTo>
                    <a:lnTo>
                      <a:pt x="346" y="257"/>
                    </a:lnTo>
                    <a:lnTo>
                      <a:pt x="347" y="258"/>
                    </a:lnTo>
                    <a:lnTo>
                      <a:pt x="347" y="259"/>
                    </a:lnTo>
                    <a:lnTo>
                      <a:pt x="346" y="258"/>
                    </a:lnTo>
                    <a:lnTo>
                      <a:pt x="346" y="257"/>
                    </a:lnTo>
                    <a:lnTo>
                      <a:pt x="345" y="257"/>
                    </a:lnTo>
                    <a:lnTo>
                      <a:pt x="345" y="258"/>
                    </a:lnTo>
                    <a:lnTo>
                      <a:pt x="344" y="257"/>
                    </a:lnTo>
                    <a:lnTo>
                      <a:pt x="343" y="258"/>
                    </a:lnTo>
                    <a:lnTo>
                      <a:pt x="343" y="257"/>
                    </a:lnTo>
                    <a:lnTo>
                      <a:pt x="342" y="257"/>
                    </a:lnTo>
                    <a:lnTo>
                      <a:pt x="340" y="257"/>
                    </a:lnTo>
                    <a:lnTo>
                      <a:pt x="340" y="256"/>
                    </a:lnTo>
                    <a:lnTo>
                      <a:pt x="340" y="257"/>
                    </a:lnTo>
                    <a:lnTo>
                      <a:pt x="339" y="257"/>
                    </a:lnTo>
                    <a:lnTo>
                      <a:pt x="339" y="256"/>
                    </a:lnTo>
                    <a:lnTo>
                      <a:pt x="338" y="257"/>
                    </a:lnTo>
                    <a:lnTo>
                      <a:pt x="338" y="256"/>
                    </a:lnTo>
                    <a:lnTo>
                      <a:pt x="338" y="257"/>
                    </a:lnTo>
                    <a:lnTo>
                      <a:pt x="337" y="256"/>
                    </a:lnTo>
                    <a:lnTo>
                      <a:pt x="337" y="257"/>
                    </a:lnTo>
                    <a:lnTo>
                      <a:pt x="337" y="256"/>
                    </a:lnTo>
                    <a:lnTo>
                      <a:pt x="336" y="256"/>
                    </a:lnTo>
                    <a:lnTo>
                      <a:pt x="337" y="256"/>
                    </a:lnTo>
                    <a:lnTo>
                      <a:pt x="337" y="255"/>
                    </a:lnTo>
                    <a:lnTo>
                      <a:pt x="337" y="254"/>
                    </a:lnTo>
                    <a:lnTo>
                      <a:pt x="336" y="252"/>
                    </a:lnTo>
                    <a:lnTo>
                      <a:pt x="337" y="252"/>
                    </a:lnTo>
                    <a:lnTo>
                      <a:pt x="336" y="252"/>
                    </a:lnTo>
                    <a:lnTo>
                      <a:pt x="336" y="251"/>
                    </a:lnTo>
                    <a:lnTo>
                      <a:pt x="337" y="251"/>
                    </a:lnTo>
                    <a:close/>
                    <a:moveTo>
                      <a:pt x="390" y="102"/>
                    </a:moveTo>
                    <a:lnTo>
                      <a:pt x="389" y="103"/>
                    </a:lnTo>
                    <a:lnTo>
                      <a:pt x="389" y="104"/>
                    </a:lnTo>
                    <a:lnTo>
                      <a:pt x="390" y="104"/>
                    </a:lnTo>
                    <a:lnTo>
                      <a:pt x="390" y="105"/>
                    </a:lnTo>
                    <a:lnTo>
                      <a:pt x="391" y="105"/>
                    </a:lnTo>
                    <a:lnTo>
                      <a:pt x="393" y="106"/>
                    </a:lnTo>
                    <a:lnTo>
                      <a:pt x="394" y="106"/>
                    </a:lnTo>
                    <a:lnTo>
                      <a:pt x="395" y="106"/>
                    </a:lnTo>
                    <a:lnTo>
                      <a:pt x="395" y="105"/>
                    </a:lnTo>
                    <a:lnTo>
                      <a:pt x="396" y="106"/>
                    </a:lnTo>
                    <a:lnTo>
                      <a:pt x="397" y="106"/>
                    </a:lnTo>
                    <a:lnTo>
                      <a:pt x="397" y="107"/>
                    </a:lnTo>
                    <a:lnTo>
                      <a:pt x="396" y="107"/>
                    </a:lnTo>
                    <a:lnTo>
                      <a:pt x="396" y="108"/>
                    </a:lnTo>
                    <a:lnTo>
                      <a:pt x="395" y="108"/>
                    </a:lnTo>
                    <a:lnTo>
                      <a:pt x="395" y="107"/>
                    </a:lnTo>
                    <a:lnTo>
                      <a:pt x="395" y="108"/>
                    </a:lnTo>
                    <a:lnTo>
                      <a:pt x="394" y="108"/>
                    </a:lnTo>
                    <a:lnTo>
                      <a:pt x="394" y="107"/>
                    </a:lnTo>
                    <a:lnTo>
                      <a:pt x="393" y="107"/>
                    </a:lnTo>
                    <a:lnTo>
                      <a:pt x="391" y="107"/>
                    </a:lnTo>
                    <a:lnTo>
                      <a:pt x="390" y="107"/>
                    </a:lnTo>
                    <a:lnTo>
                      <a:pt x="390" y="108"/>
                    </a:lnTo>
                    <a:lnTo>
                      <a:pt x="389" y="108"/>
                    </a:lnTo>
                    <a:lnTo>
                      <a:pt x="389" y="109"/>
                    </a:lnTo>
                    <a:lnTo>
                      <a:pt x="388" y="109"/>
                    </a:lnTo>
                    <a:lnTo>
                      <a:pt x="388" y="108"/>
                    </a:lnTo>
                    <a:lnTo>
                      <a:pt x="387" y="108"/>
                    </a:lnTo>
                    <a:lnTo>
                      <a:pt x="387" y="107"/>
                    </a:lnTo>
                    <a:lnTo>
                      <a:pt x="387" y="106"/>
                    </a:lnTo>
                    <a:lnTo>
                      <a:pt x="387" y="105"/>
                    </a:lnTo>
                    <a:lnTo>
                      <a:pt x="388" y="105"/>
                    </a:lnTo>
                    <a:lnTo>
                      <a:pt x="389" y="105"/>
                    </a:lnTo>
                    <a:lnTo>
                      <a:pt x="389" y="104"/>
                    </a:lnTo>
                    <a:lnTo>
                      <a:pt x="389" y="103"/>
                    </a:lnTo>
                    <a:lnTo>
                      <a:pt x="388" y="103"/>
                    </a:lnTo>
                    <a:lnTo>
                      <a:pt x="387" y="103"/>
                    </a:lnTo>
                    <a:lnTo>
                      <a:pt x="388" y="103"/>
                    </a:lnTo>
                    <a:lnTo>
                      <a:pt x="388" y="102"/>
                    </a:lnTo>
                    <a:lnTo>
                      <a:pt x="389" y="102"/>
                    </a:lnTo>
                    <a:lnTo>
                      <a:pt x="390" y="102"/>
                    </a:lnTo>
                    <a:close/>
                    <a:moveTo>
                      <a:pt x="344" y="336"/>
                    </a:moveTo>
                    <a:lnTo>
                      <a:pt x="344" y="338"/>
                    </a:lnTo>
                    <a:lnTo>
                      <a:pt x="345" y="339"/>
                    </a:lnTo>
                    <a:lnTo>
                      <a:pt x="345" y="340"/>
                    </a:lnTo>
                    <a:lnTo>
                      <a:pt x="346" y="340"/>
                    </a:lnTo>
                    <a:lnTo>
                      <a:pt x="346" y="341"/>
                    </a:lnTo>
                    <a:lnTo>
                      <a:pt x="347" y="341"/>
                    </a:lnTo>
                    <a:lnTo>
                      <a:pt x="347" y="343"/>
                    </a:lnTo>
                    <a:lnTo>
                      <a:pt x="348" y="343"/>
                    </a:lnTo>
                    <a:lnTo>
                      <a:pt x="348" y="344"/>
                    </a:lnTo>
                    <a:lnTo>
                      <a:pt x="348" y="345"/>
                    </a:lnTo>
                    <a:lnTo>
                      <a:pt x="347" y="345"/>
                    </a:lnTo>
                    <a:lnTo>
                      <a:pt x="346" y="345"/>
                    </a:lnTo>
                    <a:lnTo>
                      <a:pt x="345" y="346"/>
                    </a:lnTo>
                    <a:lnTo>
                      <a:pt x="345" y="347"/>
                    </a:lnTo>
                    <a:lnTo>
                      <a:pt x="345" y="348"/>
                    </a:lnTo>
                    <a:lnTo>
                      <a:pt x="345" y="349"/>
                    </a:lnTo>
                    <a:lnTo>
                      <a:pt x="345" y="350"/>
                    </a:lnTo>
                    <a:lnTo>
                      <a:pt x="345" y="349"/>
                    </a:lnTo>
                    <a:lnTo>
                      <a:pt x="344" y="349"/>
                    </a:lnTo>
                    <a:lnTo>
                      <a:pt x="345" y="349"/>
                    </a:lnTo>
                    <a:lnTo>
                      <a:pt x="344" y="349"/>
                    </a:lnTo>
                    <a:lnTo>
                      <a:pt x="344" y="348"/>
                    </a:lnTo>
                    <a:lnTo>
                      <a:pt x="343" y="347"/>
                    </a:lnTo>
                    <a:lnTo>
                      <a:pt x="343" y="346"/>
                    </a:lnTo>
                    <a:lnTo>
                      <a:pt x="342" y="346"/>
                    </a:lnTo>
                    <a:lnTo>
                      <a:pt x="342" y="345"/>
                    </a:lnTo>
                    <a:lnTo>
                      <a:pt x="342" y="344"/>
                    </a:lnTo>
                    <a:lnTo>
                      <a:pt x="343" y="344"/>
                    </a:lnTo>
                    <a:lnTo>
                      <a:pt x="344" y="343"/>
                    </a:lnTo>
                    <a:lnTo>
                      <a:pt x="345" y="343"/>
                    </a:lnTo>
                    <a:lnTo>
                      <a:pt x="345" y="341"/>
                    </a:lnTo>
                    <a:lnTo>
                      <a:pt x="345" y="343"/>
                    </a:lnTo>
                    <a:lnTo>
                      <a:pt x="345" y="341"/>
                    </a:lnTo>
                    <a:lnTo>
                      <a:pt x="345" y="340"/>
                    </a:lnTo>
                    <a:lnTo>
                      <a:pt x="344" y="340"/>
                    </a:lnTo>
                    <a:lnTo>
                      <a:pt x="344" y="339"/>
                    </a:lnTo>
                    <a:lnTo>
                      <a:pt x="343" y="338"/>
                    </a:lnTo>
                    <a:lnTo>
                      <a:pt x="343" y="337"/>
                    </a:lnTo>
                    <a:lnTo>
                      <a:pt x="344" y="337"/>
                    </a:lnTo>
                    <a:lnTo>
                      <a:pt x="344" y="336"/>
                    </a:lnTo>
                    <a:lnTo>
                      <a:pt x="343" y="336"/>
                    </a:lnTo>
                    <a:lnTo>
                      <a:pt x="342" y="336"/>
                    </a:lnTo>
                    <a:lnTo>
                      <a:pt x="343" y="336"/>
                    </a:lnTo>
                    <a:lnTo>
                      <a:pt x="344" y="336"/>
                    </a:lnTo>
                    <a:close/>
                    <a:moveTo>
                      <a:pt x="415" y="215"/>
                    </a:moveTo>
                    <a:lnTo>
                      <a:pt x="416" y="215"/>
                    </a:lnTo>
                    <a:lnTo>
                      <a:pt x="417" y="215"/>
                    </a:lnTo>
                    <a:lnTo>
                      <a:pt x="417" y="216"/>
                    </a:lnTo>
                    <a:lnTo>
                      <a:pt x="419" y="216"/>
                    </a:lnTo>
                    <a:lnTo>
                      <a:pt x="417" y="216"/>
                    </a:lnTo>
                    <a:lnTo>
                      <a:pt x="417" y="217"/>
                    </a:lnTo>
                    <a:lnTo>
                      <a:pt x="419" y="217"/>
                    </a:lnTo>
                    <a:lnTo>
                      <a:pt x="417" y="217"/>
                    </a:lnTo>
                    <a:lnTo>
                      <a:pt x="419" y="217"/>
                    </a:lnTo>
                    <a:lnTo>
                      <a:pt x="419" y="218"/>
                    </a:lnTo>
                    <a:lnTo>
                      <a:pt x="419" y="217"/>
                    </a:lnTo>
                    <a:lnTo>
                      <a:pt x="419" y="216"/>
                    </a:lnTo>
                    <a:lnTo>
                      <a:pt x="419" y="215"/>
                    </a:lnTo>
                    <a:lnTo>
                      <a:pt x="419" y="216"/>
                    </a:lnTo>
                    <a:lnTo>
                      <a:pt x="420" y="216"/>
                    </a:lnTo>
                    <a:lnTo>
                      <a:pt x="421" y="217"/>
                    </a:lnTo>
                    <a:lnTo>
                      <a:pt x="422" y="216"/>
                    </a:lnTo>
                    <a:lnTo>
                      <a:pt x="423" y="216"/>
                    </a:lnTo>
                    <a:lnTo>
                      <a:pt x="424" y="216"/>
                    </a:lnTo>
                    <a:lnTo>
                      <a:pt x="424" y="217"/>
                    </a:lnTo>
                    <a:lnTo>
                      <a:pt x="423" y="217"/>
                    </a:lnTo>
                    <a:lnTo>
                      <a:pt x="423" y="218"/>
                    </a:lnTo>
                    <a:lnTo>
                      <a:pt x="422" y="218"/>
                    </a:lnTo>
                    <a:lnTo>
                      <a:pt x="422" y="217"/>
                    </a:lnTo>
                    <a:lnTo>
                      <a:pt x="422" y="218"/>
                    </a:lnTo>
                    <a:lnTo>
                      <a:pt x="421" y="218"/>
                    </a:lnTo>
                    <a:lnTo>
                      <a:pt x="421" y="219"/>
                    </a:lnTo>
                    <a:lnTo>
                      <a:pt x="420" y="219"/>
                    </a:lnTo>
                    <a:lnTo>
                      <a:pt x="419" y="219"/>
                    </a:lnTo>
                    <a:lnTo>
                      <a:pt x="419" y="218"/>
                    </a:lnTo>
                    <a:lnTo>
                      <a:pt x="417" y="218"/>
                    </a:lnTo>
                    <a:lnTo>
                      <a:pt x="417" y="217"/>
                    </a:lnTo>
                    <a:lnTo>
                      <a:pt x="416" y="216"/>
                    </a:lnTo>
                    <a:lnTo>
                      <a:pt x="416" y="217"/>
                    </a:lnTo>
                    <a:lnTo>
                      <a:pt x="415" y="217"/>
                    </a:lnTo>
                    <a:lnTo>
                      <a:pt x="415" y="216"/>
                    </a:lnTo>
                    <a:lnTo>
                      <a:pt x="414" y="216"/>
                    </a:lnTo>
                    <a:lnTo>
                      <a:pt x="413" y="216"/>
                    </a:lnTo>
                    <a:lnTo>
                      <a:pt x="412" y="217"/>
                    </a:lnTo>
                    <a:lnTo>
                      <a:pt x="411" y="217"/>
                    </a:lnTo>
                    <a:lnTo>
                      <a:pt x="411" y="218"/>
                    </a:lnTo>
                    <a:lnTo>
                      <a:pt x="410" y="218"/>
                    </a:lnTo>
                    <a:lnTo>
                      <a:pt x="410" y="217"/>
                    </a:lnTo>
                    <a:lnTo>
                      <a:pt x="409" y="217"/>
                    </a:lnTo>
                    <a:lnTo>
                      <a:pt x="410" y="216"/>
                    </a:lnTo>
                    <a:lnTo>
                      <a:pt x="411" y="216"/>
                    </a:lnTo>
                    <a:lnTo>
                      <a:pt x="412" y="215"/>
                    </a:lnTo>
                    <a:lnTo>
                      <a:pt x="413" y="215"/>
                    </a:lnTo>
                    <a:lnTo>
                      <a:pt x="414" y="215"/>
                    </a:lnTo>
                    <a:lnTo>
                      <a:pt x="414" y="213"/>
                    </a:lnTo>
                    <a:lnTo>
                      <a:pt x="415" y="215"/>
                    </a:lnTo>
                    <a:close/>
                    <a:moveTo>
                      <a:pt x="412" y="178"/>
                    </a:moveTo>
                    <a:lnTo>
                      <a:pt x="413" y="178"/>
                    </a:lnTo>
                    <a:lnTo>
                      <a:pt x="413" y="179"/>
                    </a:lnTo>
                    <a:lnTo>
                      <a:pt x="414" y="179"/>
                    </a:lnTo>
                    <a:lnTo>
                      <a:pt x="415" y="179"/>
                    </a:lnTo>
                    <a:lnTo>
                      <a:pt x="416" y="179"/>
                    </a:lnTo>
                    <a:lnTo>
                      <a:pt x="416" y="180"/>
                    </a:lnTo>
                    <a:lnTo>
                      <a:pt x="415" y="180"/>
                    </a:lnTo>
                    <a:lnTo>
                      <a:pt x="414" y="180"/>
                    </a:lnTo>
                    <a:lnTo>
                      <a:pt x="414" y="181"/>
                    </a:lnTo>
                    <a:lnTo>
                      <a:pt x="413" y="181"/>
                    </a:lnTo>
                    <a:lnTo>
                      <a:pt x="414" y="181"/>
                    </a:lnTo>
                    <a:lnTo>
                      <a:pt x="413" y="182"/>
                    </a:lnTo>
                    <a:lnTo>
                      <a:pt x="413" y="181"/>
                    </a:lnTo>
                    <a:lnTo>
                      <a:pt x="412" y="181"/>
                    </a:lnTo>
                    <a:lnTo>
                      <a:pt x="412" y="182"/>
                    </a:lnTo>
                    <a:lnTo>
                      <a:pt x="412" y="181"/>
                    </a:lnTo>
                    <a:lnTo>
                      <a:pt x="411" y="181"/>
                    </a:lnTo>
                    <a:lnTo>
                      <a:pt x="410" y="181"/>
                    </a:lnTo>
                    <a:lnTo>
                      <a:pt x="410" y="182"/>
                    </a:lnTo>
                    <a:lnTo>
                      <a:pt x="410" y="181"/>
                    </a:lnTo>
                    <a:lnTo>
                      <a:pt x="409" y="181"/>
                    </a:lnTo>
                    <a:lnTo>
                      <a:pt x="409" y="182"/>
                    </a:lnTo>
                    <a:lnTo>
                      <a:pt x="408" y="182"/>
                    </a:lnTo>
                    <a:lnTo>
                      <a:pt x="408" y="183"/>
                    </a:lnTo>
                    <a:lnTo>
                      <a:pt x="409" y="183"/>
                    </a:lnTo>
                    <a:lnTo>
                      <a:pt x="409" y="184"/>
                    </a:lnTo>
                    <a:lnTo>
                      <a:pt x="409" y="185"/>
                    </a:lnTo>
                    <a:lnTo>
                      <a:pt x="410" y="185"/>
                    </a:lnTo>
                    <a:lnTo>
                      <a:pt x="410" y="186"/>
                    </a:lnTo>
                    <a:lnTo>
                      <a:pt x="409" y="186"/>
                    </a:lnTo>
                    <a:lnTo>
                      <a:pt x="410" y="186"/>
                    </a:lnTo>
                    <a:lnTo>
                      <a:pt x="409" y="186"/>
                    </a:lnTo>
                    <a:lnTo>
                      <a:pt x="408" y="186"/>
                    </a:lnTo>
                    <a:lnTo>
                      <a:pt x="407" y="185"/>
                    </a:lnTo>
                    <a:lnTo>
                      <a:pt x="407" y="186"/>
                    </a:lnTo>
                    <a:lnTo>
                      <a:pt x="406" y="186"/>
                    </a:lnTo>
                    <a:lnTo>
                      <a:pt x="406" y="185"/>
                    </a:lnTo>
                    <a:lnTo>
                      <a:pt x="406" y="184"/>
                    </a:lnTo>
                    <a:lnTo>
                      <a:pt x="407" y="183"/>
                    </a:lnTo>
                    <a:lnTo>
                      <a:pt x="408" y="183"/>
                    </a:lnTo>
                    <a:lnTo>
                      <a:pt x="408" y="182"/>
                    </a:lnTo>
                    <a:lnTo>
                      <a:pt x="409" y="181"/>
                    </a:lnTo>
                    <a:lnTo>
                      <a:pt x="409" y="180"/>
                    </a:lnTo>
                    <a:lnTo>
                      <a:pt x="410" y="179"/>
                    </a:lnTo>
                    <a:lnTo>
                      <a:pt x="410" y="178"/>
                    </a:lnTo>
                    <a:lnTo>
                      <a:pt x="411" y="178"/>
                    </a:lnTo>
                    <a:lnTo>
                      <a:pt x="412" y="178"/>
                    </a:lnTo>
                    <a:close/>
                    <a:moveTo>
                      <a:pt x="727" y="149"/>
                    </a:moveTo>
                    <a:lnTo>
                      <a:pt x="729" y="149"/>
                    </a:lnTo>
                    <a:lnTo>
                      <a:pt x="727" y="149"/>
                    </a:lnTo>
                    <a:lnTo>
                      <a:pt x="726" y="149"/>
                    </a:lnTo>
                    <a:lnTo>
                      <a:pt x="726" y="151"/>
                    </a:lnTo>
                    <a:lnTo>
                      <a:pt x="727" y="149"/>
                    </a:lnTo>
                    <a:lnTo>
                      <a:pt x="727" y="151"/>
                    </a:lnTo>
                    <a:lnTo>
                      <a:pt x="729" y="151"/>
                    </a:lnTo>
                    <a:lnTo>
                      <a:pt x="729" y="152"/>
                    </a:lnTo>
                    <a:lnTo>
                      <a:pt x="727" y="152"/>
                    </a:lnTo>
                    <a:lnTo>
                      <a:pt x="726" y="153"/>
                    </a:lnTo>
                    <a:lnTo>
                      <a:pt x="725" y="153"/>
                    </a:lnTo>
                    <a:lnTo>
                      <a:pt x="724" y="153"/>
                    </a:lnTo>
                    <a:lnTo>
                      <a:pt x="723" y="153"/>
                    </a:lnTo>
                    <a:lnTo>
                      <a:pt x="722" y="153"/>
                    </a:lnTo>
                    <a:lnTo>
                      <a:pt x="722" y="152"/>
                    </a:lnTo>
                    <a:lnTo>
                      <a:pt x="723" y="152"/>
                    </a:lnTo>
                    <a:lnTo>
                      <a:pt x="722" y="152"/>
                    </a:lnTo>
                    <a:lnTo>
                      <a:pt x="721" y="152"/>
                    </a:lnTo>
                    <a:lnTo>
                      <a:pt x="721" y="151"/>
                    </a:lnTo>
                    <a:lnTo>
                      <a:pt x="721" y="149"/>
                    </a:lnTo>
                    <a:lnTo>
                      <a:pt x="721" y="151"/>
                    </a:lnTo>
                    <a:lnTo>
                      <a:pt x="721" y="149"/>
                    </a:lnTo>
                    <a:lnTo>
                      <a:pt x="721" y="148"/>
                    </a:lnTo>
                    <a:lnTo>
                      <a:pt x="722" y="148"/>
                    </a:lnTo>
                    <a:lnTo>
                      <a:pt x="723" y="148"/>
                    </a:lnTo>
                    <a:lnTo>
                      <a:pt x="724" y="148"/>
                    </a:lnTo>
                    <a:lnTo>
                      <a:pt x="724" y="149"/>
                    </a:lnTo>
                    <a:lnTo>
                      <a:pt x="725" y="149"/>
                    </a:lnTo>
                    <a:lnTo>
                      <a:pt x="725" y="148"/>
                    </a:lnTo>
                    <a:lnTo>
                      <a:pt x="724" y="148"/>
                    </a:lnTo>
                    <a:lnTo>
                      <a:pt x="725" y="147"/>
                    </a:lnTo>
                    <a:lnTo>
                      <a:pt x="726" y="147"/>
                    </a:lnTo>
                    <a:lnTo>
                      <a:pt x="726" y="148"/>
                    </a:lnTo>
                    <a:lnTo>
                      <a:pt x="727" y="149"/>
                    </a:lnTo>
                    <a:close/>
                    <a:moveTo>
                      <a:pt x="435" y="79"/>
                    </a:moveTo>
                    <a:lnTo>
                      <a:pt x="435" y="80"/>
                    </a:lnTo>
                    <a:lnTo>
                      <a:pt x="436" y="80"/>
                    </a:lnTo>
                    <a:lnTo>
                      <a:pt x="437" y="80"/>
                    </a:lnTo>
                    <a:lnTo>
                      <a:pt x="437" y="79"/>
                    </a:lnTo>
                    <a:lnTo>
                      <a:pt x="437" y="80"/>
                    </a:lnTo>
                    <a:lnTo>
                      <a:pt x="438" y="80"/>
                    </a:lnTo>
                    <a:lnTo>
                      <a:pt x="438" y="81"/>
                    </a:lnTo>
                    <a:lnTo>
                      <a:pt x="437" y="81"/>
                    </a:lnTo>
                    <a:lnTo>
                      <a:pt x="437" y="82"/>
                    </a:lnTo>
                    <a:lnTo>
                      <a:pt x="437" y="83"/>
                    </a:lnTo>
                    <a:lnTo>
                      <a:pt x="436" y="83"/>
                    </a:lnTo>
                    <a:lnTo>
                      <a:pt x="435" y="83"/>
                    </a:lnTo>
                    <a:lnTo>
                      <a:pt x="434" y="83"/>
                    </a:lnTo>
                    <a:lnTo>
                      <a:pt x="432" y="83"/>
                    </a:lnTo>
                    <a:lnTo>
                      <a:pt x="430" y="83"/>
                    </a:lnTo>
                    <a:lnTo>
                      <a:pt x="430" y="82"/>
                    </a:lnTo>
                    <a:lnTo>
                      <a:pt x="430" y="81"/>
                    </a:lnTo>
                    <a:lnTo>
                      <a:pt x="430" y="82"/>
                    </a:lnTo>
                    <a:lnTo>
                      <a:pt x="430" y="81"/>
                    </a:lnTo>
                    <a:lnTo>
                      <a:pt x="429" y="81"/>
                    </a:lnTo>
                    <a:lnTo>
                      <a:pt x="429" y="80"/>
                    </a:lnTo>
                    <a:lnTo>
                      <a:pt x="430" y="80"/>
                    </a:lnTo>
                    <a:lnTo>
                      <a:pt x="430" y="79"/>
                    </a:lnTo>
                    <a:lnTo>
                      <a:pt x="430" y="80"/>
                    </a:lnTo>
                    <a:lnTo>
                      <a:pt x="432" y="80"/>
                    </a:lnTo>
                    <a:lnTo>
                      <a:pt x="432" y="81"/>
                    </a:lnTo>
                    <a:lnTo>
                      <a:pt x="433" y="80"/>
                    </a:lnTo>
                    <a:lnTo>
                      <a:pt x="433" y="79"/>
                    </a:lnTo>
                    <a:lnTo>
                      <a:pt x="434" y="79"/>
                    </a:lnTo>
                    <a:lnTo>
                      <a:pt x="435" y="79"/>
                    </a:lnTo>
                    <a:close/>
                    <a:moveTo>
                      <a:pt x="482" y="22"/>
                    </a:moveTo>
                    <a:lnTo>
                      <a:pt x="484" y="22"/>
                    </a:lnTo>
                    <a:lnTo>
                      <a:pt x="484" y="23"/>
                    </a:lnTo>
                    <a:lnTo>
                      <a:pt x="484" y="24"/>
                    </a:lnTo>
                    <a:lnTo>
                      <a:pt x="484" y="25"/>
                    </a:lnTo>
                    <a:lnTo>
                      <a:pt x="485" y="25"/>
                    </a:lnTo>
                    <a:lnTo>
                      <a:pt x="484" y="25"/>
                    </a:lnTo>
                    <a:lnTo>
                      <a:pt x="482" y="26"/>
                    </a:lnTo>
                    <a:lnTo>
                      <a:pt x="481" y="26"/>
                    </a:lnTo>
                    <a:lnTo>
                      <a:pt x="481" y="27"/>
                    </a:lnTo>
                    <a:lnTo>
                      <a:pt x="480" y="27"/>
                    </a:lnTo>
                    <a:lnTo>
                      <a:pt x="480" y="28"/>
                    </a:lnTo>
                    <a:lnTo>
                      <a:pt x="479" y="27"/>
                    </a:lnTo>
                    <a:lnTo>
                      <a:pt x="479" y="26"/>
                    </a:lnTo>
                    <a:lnTo>
                      <a:pt x="478" y="26"/>
                    </a:lnTo>
                    <a:lnTo>
                      <a:pt x="478" y="25"/>
                    </a:lnTo>
                    <a:lnTo>
                      <a:pt x="479" y="24"/>
                    </a:lnTo>
                    <a:lnTo>
                      <a:pt x="479" y="23"/>
                    </a:lnTo>
                    <a:lnTo>
                      <a:pt x="478" y="23"/>
                    </a:lnTo>
                    <a:lnTo>
                      <a:pt x="478" y="22"/>
                    </a:lnTo>
                    <a:lnTo>
                      <a:pt x="479" y="22"/>
                    </a:lnTo>
                    <a:lnTo>
                      <a:pt x="479" y="23"/>
                    </a:lnTo>
                    <a:lnTo>
                      <a:pt x="480" y="22"/>
                    </a:lnTo>
                    <a:lnTo>
                      <a:pt x="481" y="22"/>
                    </a:lnTo>
                    <a:lnTo>
                      <a:pt x="482" y="22"/>
                    </a:lnTo>
                    <a:close/>
                    <a:moveTo>
                      <a:pt x="422" y="226"/>
                    </a:moveTo>
                    <a:lnTo>
                      <a:pt x="423" y="228"/>
                    </a:lnTo>
                    <a:lnTo>
                      <a:pt x="423" y="226"/>
                    </a:lnTo>
                    <a:lnTo>
                      <a:pt x="424" y="228"/>
                    </a:lnTo>
                    <a:lnTo>
                      <a:pt x="424" y="229"/>
                    </a:lnTo>
                    <a:lnTo>
                      <a:pt x="424" y="230"/>
                    </a:lnTo>
                    <a:lnTo>
                      <a:pt x="425" y="231"/>
                    </a:lnTo>
                    <a:lnTo>
                      <a:pt x="425" y="232"/>
                    </a:lnTo>
                    <a:lnTo>
                      <a:pt x="426" y="232"/>
                    </a:lnTo>
                    <a:lnTo>
                      <a:pt x="426" y="233"/>
                    </a:lnTo>
                    <a:lnTo>
                      <a:pt x="427" y="233"/>
                    </a:lnTo>
                    <a:lnTo>
                      <a:pt x="427" y="234"/>
                    </a:lnTo>
                    <a:lnTo>
                      <a:pt x="428" y="234"/>
                    </a:lnTo>
                    <a:lnTo>
                      <a:pt x="429" y="234"/>
                    </a:lnTo>
                    <a:lnTo>
                      <a:pt x="429" y="235"/>
                    </a:lnTo>
                    <a:lnTo>
                      <a:pt x="428" y="235"/>
                    </a:lnTo>
                    <a:lnTo>
                      <a:pt x="427" y="235"/>
                    </a:lnTo>
                    <a:lnTo>
                      <a:pt x="425" y="235"/>
                    </a:lnTo>
                    <a:lnTo>
                      <a:pt x="425" y="234"/>
                    </a:lnTo>
                    <a:lnTo>
                      <a:pt x="425" y="232"/>
                    </a:lnTo>
                    <a:lnTo>
                      <a:pt x="424" y="232"/>
                    </a:lnTo>
                    <a:lnTo>
                      <a:pt x="424" y="233"/>
                    </a:lnTo>
                    <a:lnTo>
                      <a:pt x="425" y="233"/>
                    </a:lnTo>
                    <a:lnTo>
                      <a:pt x="425" y="234"/>
                    </a:lnTo>
                    <a:lnTo>
                      <a:pt x="425" y="235"/>
                    </a:lnTo>
                    <a:lnTo>
                      <a:pt x="426" y="235"/>
                    </a:lnTo>
                    <a:lnTo>
                      <a:pt x="427" y="235"/>
                    </a:lnTo>
                    <a:lnTo>
                      <a:pt x="428" y="235"/>
                    </a:lnTo>
                    <a:lnTo>
                      <a:pt x="428" y="236"/>
                    </a:lnTo>
                    <a:lnTo>
                      <a:pt x="427" y="236"/>
                    </a:lnTo>
                    <a:lnTo>
                      <a:pt x="426" y="236"/>
                    </a:lnTo>
                    <a:lnTo>
                      <a:pt x="425" y="236"/>
                    </a:lnTo>
                    <a:lnTo>
                      <a:pt x="425" y="237"/>
                    </a:lnTo>
                    <a:lnTo>
                      <a:pt x="425" y="236"/>
                    </a:lnTo>
                    <a:lnTo>
                      <a:pt x="424" y="236"/>
                    </a:lnTo>
                    <a:lnTo>
                      <a:pt x="424" y="235"/>
                    </a:lnTo>
                    <a:lnTo>
                      <a:pt x="424" y="234"/>
                    </a:lnTo>
                    <a:lnTo>
                      <a:pt x="424" y="233"/>
                    </a:lnTo>
                    <a:lnTo>
                      <a:pt x="423" y="232"/>
                    </a:lnTo>
                    <a:lnTo>
                      <a:pt x="424" y="232"/>
                    </a:lnTo>
                    <a:lnTo>
                      <a:pt x="424" y="231"/>
                    </a:lnTo>
                    <a:lnTo>
                      <a:pt x="424" y="230"/>
                    </a:lnTo>
                    <a:lnTo>
                      <a:pt x="423" y="230"/>
                    </a:lnTo>
                    <a:lnTo>
                      <a:pt x="423" y="229"/>
                    </a:lnTo>
                    <a:lnTo>
                      <a:pt x="422" y="229"/>
                    </a:lnTo>
                    <a:lnTo>
                      <a:pt x="422" y="228"/>
                    </a:lnTo>
                    <a:lnTo>
                      <a:pt x="421" y="228"/>
                    </a:lnTo>
                    <a:lnTo>
                      <a:pt x="422" y="228"/>
                    </a:lnTo>
                    <a:lnTo>
                      <a:pt x="422" y="226"/>
                    </a:lnTo>
                    <a:close/>
                    <a:moveTo>
                      <a:pt x="464" y="234"/>
                    </a:moveTo>
                    <a:lnTo>
                      <a:pt x="465" y="234"/>
                    </a:lnTo>
                    <a:lnTo>
                      <a:pt x="466" y="234"/>
                    </a:lnTo>
                    <a:lnTo>
                      <a:pt x="467" y="234"/>
                    </a:lnTo>
                    <a:lnTo>
                      <a:pt x="466" y="234"/>
                    </a:lnTo>
                    <a:lnTo>
                      <a:pt x="467" y="234"/>
                    </a:lnTo>
                    <a:lnTo>
                      <a:pt x="468" y="234"/>
                    </a:lnTo>
                    <a:lnTo>
                      <a:pt x="469" y="234"/>
                    </a:lnTo>
                    <a:lnTo>
                      <a:pt x="469" y="235"/>
                    </a:lnTo>
                    <a:lnTo>
                      <a:pt x="471" y="235"/>
                    </a:lnTo>
                    <a:lnTo>
                      <a:pt x="469" y="235"/>
                    </a:lnTo>
                    <a:lnTo>
                      <a:pt x="469" y="236"/>
                    </a:lnTo>
                    <a:lnTo>
                      <a:pt x="468" y="237"/>
                    </a:lnTo>
                    <a:lnTo>
                      <a:pt x="467" y="237"/>
                    </a:lnTo>
                    <a:lnTo>
                      <a:pt x="466" y="237"/>
                    </a:lnTo>
                    <a:lnTo>
                      <a:pt x="466" y="236"/>
                    </a:lnTo>
                    <a:lnTo>
                      <a:pt x="465" y="237"/>
                    </a:lnTo>
                    <a:lnTo>
                      <a:pt x="464" y="236"/>
                    </a:lnTo>
                    <a:lnTo>
                      <a:pt x="463" y="236"/>
                    </a:lnTo>
                    <a:lnTo>
                      <a:pt x="464" y="236"/>
                    </a:lnTo>
                    <a:lnTo>
                      <a:pt x="463" y="236"/>
                    </a:lnTo>
                    <a:lnTo>
                      <a:pt x="464" y="235"/>
                    </a:lnTo>
                    <a:lnTo>
                      <a:pt x="463" y="235"/>
                    </a:lnTo>
                    <a:lnTo>
                      <a:pt x="464" y="235"/>
                    </a:lnTo>
                    <a:lnTo>
                      <a:pt x="463" y="235"/>
                    </a:lnTo>
                    <a:lnTo>
                      <a:pt x="463" y="234"/>
                    </a:lnTo>
                    <a:lnTo>
                      <a:pt x="463" y="235"/>
                    </a:lnTo>
                    <a:lnTo>
                      <a:pt x="463" y="236"/>
                    </a:lnTo>
                    <a:lnTo>
                      <a:pt x="462" y="236"/>
                    </a:lnTo>
                    <a:lnTo>
                      <a:pt x="461" y="236"/>
                    </a:lnTo>
                    <a:lnTo>
                      <a:pt x="460" y="236"/>
                    </a:lnTo>
                    <a:lnTo>
                      <a:pt x="461" y="236"/>
                    </a:lnTo>
                    <a:lnTo>
                      <a:pt x="460" y="237"/>
                    </a:lnTo>
                    <a:lnTo>
                      <a:pt x="460" y="236"/>
                    </a:lnTo>
                    <a:lnTo>
                      <a:pt x="460" y="237"/>
                    </a:lnTo>
                    <a:lnTo>
                      <a:pt x="460" y="236"/>
                    </a:lnTo>
                    <a:lnTo>
                      <a:pt x="460" y="235"/>
                    </a:lnTo>
                    <a:lnTo>
                      <a:pt x="461" y="235"/>
                    </a:lnTo>
                    <a:lnTo>
                      <a:pt x="461" y="236"/>
                    </a:lnTo>
                    <a:lnTo>
                      <a:pt x="461" y="235"/>
                    </a:lnTo>
                    <a:lnTo>
                      <a:pt x="461" y="234"/>
                    </a:lnTo>
                    <a:lnTo>
                      <a:pt x="460" y="234"/>
                    </a:lnTo>
                    <a:lnTo>
                      <a:pt x="460" y="235"/>
                    </a:lnTo>
                    <a:lnTo>
                      <a:pt x="460" y="234"/>
                    </a:lnTo>
                    <a:lnTo>
                      <a:pt x="461" y="234"/>
                    </a:lnTo>
                    <a:lnTo>
                      <a:pt x="462" y="234"/>
                    </a:lnTo>
                    <a:lnTo>
                      <a:pt x="463" y="234"/>
                    </a:lnTo>
                    <a:lnTo>
                      <a:pt x="464" y="233"/>
                    </a:lnTo>
                    <a:lnTo>
                      <a:pt x="464" y="234"/>
                    </a:lnTo>
                    <a:close/>
                    <a:moveTo>
                      <a:pt x="355" y="307"/>
                    </a:moveTo>
                    <a:lnTo>
                      <a:pt x="356" y="307"/>
                    </a:lnTo>
                    <a:lnTo>
                      <a:pt x="357" y="307"/>
                    </a:lnTo>
                    <a:lnTo>
                      <a:pt x="357" y="309"/>
                    </a:lnTo>
                    <a:lnTo>
                      <a:pt x="357" y="308"/>
                    </a:lnTo>
                    <a:lnTo>
                      <a:pt x="356" y="308"/>
                    </a:lnTo>
                    <a:lnTo>
                      <a:pt x="356" y="309"/>
                    </a:lnTo>
                    <a:lnTo>
                      <a:pt x="356" y="310"/>
                    </a:lnTo>
                    <a:lnTo>
                      <a:pt x="357" y="310"/>
                    </a:lnTo>
                    <a:lnTo>
                      <a:pt x="357" y="311"/>
                    </a:lnTo>
                    <a:lnTo>
                      <a:pt x="357" y="312"/>
                    </a:lnTo>
                    <a:lnTo>
                      <a:pt x="356" y="313"/>
                    </a:lnTo>
                    <a:lnTo>
                      <a:pt x="356" y="312"/>
                    </a:lnTo>
                    <a:lnTo>
                      <a:pt x="356" y="313"/>
                    </a:lnTo>
                    <a:lnTo>
                      <a:pt x="355" y="312"/>
                    </a:lnTo>
                    <a:lnTo>
                      <a:pt x="353" y="311"/>
                    </a:lnTo>
                    <a:lnTo>
                      <a:pt x="352" y="311"/>
                    </a:lnTo>
                    <a:lnTo>
                      <a:pt x="352" y="312"/>
                    </a:lnTo>
                    <a:lnTo>
                      <a:pt x="351" y="313"/>
                    </a:lnTo>
                    <a:lnTo>
                      <a:pt x="351" y="312"/>
                    </a:lnTo>
                    <a:lnTo>
                      <a:pt x="352" y="312"/>
                    </a:lnTo>
                    <a:lnTo>
                      <a:pt x="352" y="311"/>
                    </a:lnTo>
                    <a:lnTo>
                      <a:pt x="352" y="310"/>
                    </a:lnTo>
                    <a:lnTo>
                      <a:pt x="352" y="309"/>
                    </a:lnTo>
                    <a:lnTo>
                      <a:pt x="351" y="308"/>
                    </a:lnTo>
                    <a:lnTo>
                      <a:pt x="351" y="307"/>
                    </a:lnTo>
                    <a:lnTo>
                      <a:pt x="352" y="307"/>
                    </a:lnTo>
                    <a:lnTo>
                      <a:pt x="353" y="307"/>
                    </a:lnTo>
                    <a:lnTo>
                      <a:pt x="353" y="306"/>
                    </a:lnTo>
                    <a:lnTo>
                      <a:pt x="355" y="307"/>
                    </a:lnTo>
                    <a:close/>
                    <a:moveTo>
                      <a:pt x="429" y="197"/>
                    </a:moveTo>
                    <a:lnTo>
                      <a:pt x="430" y="197"/>
                    </a:lnTo>
                    <a:lnTo>
                      <a:pt x="432" y="197"/>
                    </a:lnTo>
                    <a:lnTo>
                      <a:pt x="433" y="197"/>
                    </a:lnTo>
                    <a:lnTo>
                      <a:pt x="434" y="197"/>
                    </a:lnTo>
                    <a:lnTo>
                      <a:pt x="434" y="198"/>
                    </a:lnTo>
                    <a:lnTo>
                      <a:pt x="435" y="198"/>
                    </a:lnTo>
                    <a:lnTo>
                      <a:pt x="436" y="198"/>
                    </a:lnTo>
                    <a:lnTo>
                      <a:pt x="437" y="198"/>
                    </a:lnTo>
                    <a:lnTo>
                      <a:pt x="438" y="198"/>
                    </a:lnTo>
                    <a:lnTo>
                      <a:pt x="438" y="197"/>
                    </a:lnTo>
                    <a:lnTo>
                      <a:pt x="439" y="197"/>
                    </a:lnTo>
                    <a:lnTo>
                      <a:pt x="439" y="198"/>
                    </a:lnTo>
                    <a:lnTo>
                      <a:pt x="438" y="198"/>
                    </a:lnTo>
                    <a:lnTo>
                      <a:pt x="438" y="199"/>
                    </a:lnTo>
                    <a:lnTo>
                      <a:pt x="438" y="198"/>
                    </a:lnTo>
                    <a:lnTo>
                      <a:pt x="437" y="198"/>
                    </a:lnTo>
                    <a:lnTo>
                      <a:pt x="437" y="199"/>
                    </a:lnTo>
                    <a:lnTo>
                      <a:pt x="438" y="199"/>
                    </a:lnTo>
                    <a:lnTo>
                      <a:pt x="437" y="199"/>
                    </a:lnTo>
                    <a:lnTo>
                      <a:pt x="436" y="199"/>
                    </a:lnTo>
                    <a:lnTo>
                      <a:pt x="436" y="200"/>
                    </a:lnTo>
                    <a:lnTo>
                      <a:pt x="436" y="202"/>
                    </a:lnTo>
                    <a:lnTo>
                      <a:pt x="436" y="200"/>
                    </a:lnTo>
                    <a:lnTo>
                      <a:pt x="435" y="202"/>
                    </a:lnTo>
                    <a:lnTo>
                      <a:pt x="434" y="202"/>
                    </a:lnTo>
                    <a:lnTo>
                      <a:pt x="434" y="200"/>
                    </a:lnTo>
                    <a:lnTo>
                      <a:pt x="433" y="200"/>
                    </a:lnTo>
                    <a:lnTo>
                      <a:pt x="432" y="200"/>
                    </a:lnTo>
                    <a:lnTo>
                      <a:pt x="430" y="200"/>
                    </a:lnTo>
                    <a:lnTo>
                      <a:pt x="429" y="200"/>
                    </a:lnTo>
                    <a:lnTo>
                      <a:pt x="428" y="200"/>
                    </a:lnTo>
                    <a:lnTo>
                      <a:pt x="427" y="200"/>
                    </a:lnTo>
                    <a:lnTo>
                      <a:pt x="426" y="202"/>
                    </a:lnTo>
                    <a:lnTo>
                      <a:pt x="427" y="200"/>
                    </a:lnTo>
                    <a:lnTo>
                      <a:pt x="428" y="200"/>
                    </a:lnTo>
                    <a:lnTo>
                      <a:pt x="429" y="199"/>
                    </a:lnTo>
                    <a:lnTo>
                      <a:pt x="430" y="199"/>
                    </a:lnTo>
                    <a:lnTo>
                      <a:pt x="432" y="199"/>
                    </a:lnTo>
                    <a:lnTo>
                      <a:pt x="433" y="198"/>
                    </a:lnTo>
                    <a:lnTo>
                      <a:pt x="432" y="199"/>
                    </a:lnTo>
                    <a:lnTo>
                      <a:pt x="430" y="199"/>
                    </a:lnTo>
                    <a:lnTo>
                      <a:pt x="429" y="199"/>
                    </a:lnTo>
                    <a:lnTo>
                      <a:pt x="428" y="200"/>
                    </a:lnTo>
                    <a:lnTo>
                      <a:pt x="429" y="199"/>
                    </a:lnTo>
                    <a:lnTo>
                      <a:pt x="430" y="199"/>
                    </a:lnTo>
                    <a:lnTo>
                      <a:pt x="430" y="198"/>
                    </a:lnTo>
                    <a:lnTo>
                      <a:pt x="430" y="197"/>
                    </a:lnTo>
                    <a:lnTo>
                      <a:pt x="429" y="197"/>
                    </a:lnTo>
                    <a:lnTo>
                      <a:pt x="428" y="197"/>
                    </a:lnTo>
                    <a:lnTo>
                      <a:pt x="428" y="196"/>
                    </a:lnTo>
                    <a:lnTo>
                      <a:pt x="429" y="196"/>
                    </a:lnTo>
                    <a:lnTo>
                      <a:pt x="429" y="197"/>
                    </a:lnTo>
                    <a:close/>
                    <a:moveTo>
                      <a:pt x="286" y="301"/>
                    </a:moveTo>
                    <a:lnTo>
                      <a:pt x="286" y="302"/>
                    </a:lnTo>
                    <a:lnTo>
                      <a:pt x="285" y="302"/>
                    </a:lnTo>
                    <a:lnTo>
                      <a:pt x="285" y="303"/>
                    </a:lnTo>
                    <a:lnTo>
                      <a:pt x="285" y="306"/>
                    </a:lnTo>
                    <a:lnTo>
                      <a:pt x="286" y="306"/>
                    </a:lnTo>
                    <a:lnTo>
                      <a:pt x="286" y="307"/>
                    </a:lnTo>
                    <a:lnTo>
                      <a:pt x="285" y="307"/>
                    </a:lnTo>
                    <a:lnTo>
                      <a:pt x="284" y="308"/>
                    </a:lnTo>
                    <a:lnTo>
                      <a:pt x="284" y="310"/>
                    </a:lnTo>
                    <a:lnTo>
                      <a:pt x="284" y="311"/>
                    </a:lnTo>
                    <a:lnTo>
                      <a:pt x="285" y="311"/>
                    </a:lnTo>
                    <a:lnTo>
                      <a:pt x="285" y="312"/>
                    </a:lnTo>
                    <a:lnTo>
                      <a:pt x="286" y="312"/>
                    </a:lnTo>
                    <a:lnTo>
                      <a:pt x="285" y="313"/>
                    </a:lnTo>
                    <a:lnTo>
                      <a:pt x="284" y="313"/>
                    </a:lnTo>
                    <a:lnTo>
                      <a:pt x="283" y="313"/>
                    </a:lnTo>
                    <a:lnTo>
                      <a:pt x="283" y="312"/>
                    </a:lnTo>
                    <a:lnTo>
                      <a:pt x="284" y="312"/>
                    </a:lnTo>
                    <a:lnTo>
                      <a:pt x="283" y="312"/>
                    </a:lnTo>
                    <a:lnTo>
                      <a:pt x="283" y="311"/>
                    </a:lnTo>
                    <a:lnTo>
                      <a:pt x="283" y="310"/>
                    </a:lnTo>
                    <a:lnTo>
                      <a:pt x="283" y="309"/>
                    </a:lnTo>
                    <a:lnTo>
                      <a:pt x="283" y="308"/>
                    </a:lnTo>
                    <a:lnTo>
                      <a:pt x="284" y="308"/>
                    </a:lnTo>
                    <a:lnTo>
                      <a:pt x="283" y="308"/>
                    </a:lnTo>
                    <a:lnTo>
                      <a:pt x="284" y="308"/>
                    </a:lnTo>
                    <a:lnTo>
                      <a:pt x="284" y="307"/>
                    </a:lnTo>
                    <a:lnTo>
                      <a:pt x="284" y="306"/>
                    </a:lnTo>
                    <a:lnTo>
                      <a:pt x="284" y="305"/>
                    </a:lnTo>
                    <a:lnTo>
                      <a:pt x="283" y="305"/>
                    </a:lnTo>
                    <a:lnTo>
                      <a:pt x="282" y="305"/>
                    </a:lnTo>
                    <a:lnTo>
                      <a:pt x="282" y="303"/>
                    </a:lnTo>
                    <a:lnTo>
                      <a:pt x="281" y="303"/>
                    </a:lnTo>
                    <a:lnTo>
                      <a:pt x="281" y="302"/>
                    </a:lnTo>
                    <a:lnTo>
                      <a:pt x="282" y="303"/>
                    </a:lnTo>
                    <a:lnTo>
                      <a:pt x="283" y="303"/>
                    </a:lnTo>
                    <a:lnTo>
                      <a:pt x="283" y="302"/>
                    </a:lnTo>
                    <a:lnTo>
                      <a:pt x="284" y="302"/>
                    </a:lnTo>
                    <a:lnTo>
                      <a:pt x="285" y="302"/>
                    </a:lnTo>
                    <a:lnTo>
                      <a:pt x="285" y="301"/>
                    </a:lnTo>
                    <a:lnTo>
                      <a:pt x="286" y="301"/>
                    </a:lnTo>
                    <a:close/>
                    <a:moveTo>
                      <a:pt x="420" y="186"/>
                    </a:moveTo>
                    <a:lnTo>
                      <a:pt x="421" y="186"/>
                    </a:lnTo>
                    <a:lnTo>
                      <a:pt x="420" y="186"/>
                    </a:lnTo>
                    <a:lnTo>
                      <a:pt x="420" y="187"/>
                    </a:lnTo>
                    <a:lnTo>
                      <a:pt x="421" y="186"/>
                    </a:lnTo>
                    <a:lnTo>
                      <a:pt x="422" y="186"/>
                    </a:lnTo>
                    <a:lnTo>
                      <a:pt x="422" y="187"/>
                    </a:lnTo>
                    <a:lnTo>
                      <a:pt x="423" y="187"/>
                    </a:lnTo>
                    <a:lnTo>
                      <a:pt x="423" y="189"/>
                    </a:lnTo>
                    <a:lnTo>
                      <a:pt x="422" y="190"/>
                    </a:lnTo>
                    <a:lnTo>
                      <a:pt x="422" y="191"/>
                    </a:lnTo>
                    <a:lnTo>
                      <a:pt x="421" y="191"/>
                    </a:lnTo>
                    <a:lnTo>
                      <a:pt x="420" y="191"/>
                    </a:lnTo>
                    <a:lnTo>
                      <a:pt x="419" y="191"/>
                    </a:lnTo>
                    <a:lnTo>
                      <a:pt x="417" y="191"/>
                    </a:lnTo>
                    <a:lnTo>
                      <a:pt x="416" y="191"/>
                    </a:lnTo>
                    <a:lnTo>
                      <a:pt x="416" y="192"/>
                    </a:lnTo>
                    <a:lnTo>
                      <a:pt x="415" y="192"/>
                    </a:lnTo>
                    <a:lnTo>
                      <a:pt x="415" y="193"/>
                    </a:lnTo>
                    <a:lnTo>
                      <a:pt x="415" y="192"/>
                    </a:lnTo>
                    <a:lnTo>
                      <a:pt x="415" y="191"/>
                    </a:lnTo>
                    <a:lnTo>
                      <a:pt x="416" y="191"/>
                    </a:lnTo>
                    <a:lnTo>
                      <a:pt x="416" y="190"/>
                    </a:lnTo>
                    <a:lnTo>
                      <a:pt x="417" y="190"/>
                    </a:lnTo>
                    <a:lnTo>
                      <a:pt x="417" y="189"/>
                    </a:lnTo>
                    <a:lnTo>
                      <a:pt x="419" y="189"/>
                    </a:lnTo>
                    <a:lnTo>
                      <a:pt x="419" y="187"/>
                    </a:lnTo>
                    <a:lnTo>
                      <a:pt x="419" y="186"/>
                    </a:lnTo>
                    <a:lnTo>
                      <a:pt x="420" y="186"/>
                    </a:lnTo>
                    <a:lnTo>
                      <a:pt x="419" y="186"/>
                    </a:lnTo>
                    <a:lnTo>
                      <a:pt x="420" y="186"/>
                    </a:lnTo>
                    <a:close/>
                    <a:moveTo>
                      <a:pt x="261" y="298"/>
                    </a:moveTo>
                    <a:lnTo>
                      <a:pt x="261" y="299"/>
                    </a:lnTo>
                    <a:lnTo>
                      <a:pt x="261" y="300"/>
                    </a:lnTo>
                    <a:lnTo>
                      <a:pt x="261" y="301"/>
                    </a:lnTo>
                    <a:lnTo>
                      <a:pt x="260" y="303"/>
                    </a:lnTo>
                    <a:lnTo>
                      <a:pt x="260" y="306"/>
                    </a:lnTo>
                    <a:lnTo>
                      <a:pt x="261" y="306"/>
                    </a:lnTo>
                    <a:lnTo>
                      <a:pt x="261" y="307"/>
                    </a:lnTo>
                    <a:lnTo>
                      <a:pt x="260" y="307"/>
                    </a:lnTo>
                    <a:lnTo>
                      <a:pt x="260" y="306"/>
                    </a:lnTo>
                    <a:lnTo>
                      <a:pt x="259" y="306"/>
                    </a:lnTo>
                    <a:lnTo>
                      <a:pt x="259" y="305"/>
                    </a:lnTo>
                    <a:lnTo>
                      <a:pt x="258" y="305"/>
                    </a:lnTo>
                    <a:lnTo>
                      <a:pt x="258" y="306"/>
                    </a:lnTo>
                    <a:lnTo>
                      <a:pt x="258" y="307"/>
                    </a:lnTo>
                    <a:lnTo>
                      <a:pt x="257" y="307"/>
                    </a:lnTo>
                    <a:lnTo>
                      <a:pt x="257" y="308"/>
                    </a:lnTo>
                    <a:lnTo>
                      <a:pt x="258" y="308"/>
                    </a:lnTo>
                    <a:lnTo>
                      <a:pt x="258" y="307"/>
                    </a:lnTo>
                    <a:lnTo>
                      <a:pt x="258" y="306"/>
                    </a:lnTo>
                    <a:lnTo>
                      <a:pt x="259" y="307"/>
                    </a:lnTo>
                    <a:lnTo>
                      <a:pt x="260" y="308"/>
                    </a:lnTo>
                    <a:lnTo>
                      <a:pt x="260" y="309"/>
                    </a:lnTo>
                    <a:lnTo>
                      <a:pt x="261" y="309"/>
                    </a:lnTo>
                    <a:lnTo>
                      <a:pt x="261" y="310"/>
                    </a:lnTo>
                    <a:lnTo>
                      <a:pt x="260" y="310"/>
                    </a:lnTo>
                    <a:lnTo>
                      <a:pt x="260" y="309"/>
                    </a:lnTo>
                    <a:lnTo>
                      <a:pt x="259" y="309"/>
                    </a:lnTo>
                    <a:lnTo>
                      <a:pt x="258" y="309"/>
                    </a:lnTo>
                    <a:lnTo>
                      <a:pt x="257" y="309"/>
                    </a:lnTo>
                    <a:lnTo>
                      <a:pt x="257" y="308"/>
                    </a:lnTo>
                    <a:lnTo>
                      <a:pt x="256" y="307"/>
                    </a:lnTo>
                    <a:lnTo>
                      <a:pt x="257" y="307"/>
                    </a:lnTo>
                    <a:lnTo>
                      <a:pt x="257" y="308"/>
                    </a:lnTo>
                    <a:lnTo>
                      <a:pt x="257" y="307"/>
                    </a:lnTo>
                    <a:lnTo>
                      <a:pt x="256" y="307"/>
                    </a:lnTo>
                    <a:lnTo>
                      <a:pt x="257" y="307"/>
                    </a:lnTo>
                    <a:lnTo>
                      <a:pt x="257" y="306"/>
                    </a:lnTo>
                    <a:lnTo>
                      <a:pt x="257" y="307"/>
                    </a:lnTo>
                    <a:lnTo>
                      <a:pt x="257" y="306"/>
                    </a:lnTo>
                    <a:lnTo>
                      <a:pt x="256" y="306"/>
                    </a:lnTo>
                    <a:lnTo>
                      <a:pt x="255" y="306"/>
                    </a:lnTo>
                    <a:lnTo>
                      <a:pt x="254" y="306"/>
                    </a:lnTo>
                    <a:lnTo>
                      <a:pt x="254" y="305"/>
                    </a:lnTo>
                    <a:lnTo>
                      <a:pt x="255" y="306"/>
                    </a:lnTo>
                    <a:lnTo>
                      <a:pt x="255" y="305"/>
                    </a:lnTo>
                    <a:lnTo>
                      <a:pt x="256" y="305"/>
                    </a:lnTo>
                    <a:lnTo>
                      <a:pt x="257" y="305"/>
                    </a:lnTo>
                    <a:lnTo>
                      <a:pt x="258" y="305"/>
                    </a:lnTo>
                    <a:lnTo>
                      <a:pt x="259" y="303"/>
                    </a:lnTo>
                    <a:lnTo>
                      <a:pt x="260" y="302"/>
                    </a:lnTo>
                    <a:lnTo>
                      <a:pt x="260" y="301"/>
                    </a:lnTo>
                    <a:lnTo>
                      <a:pt x="260" y="300"/>
                    </a:lnTo>
                    <a:lnTo>
                      <a:pt x="261" y="300"/>
                    </a:lnTo>
                    <a:lnTo>
                      <a:pt x="261" y="299"/>
                    </a:lnTo>
                    <a:lnTo>
                      <a:pt x="260" y="299"/>
                    </a:lnTo>
                    <a:lnTo>
                      <a:pt x="261" y="299"/>
                    </a:lnTo>
                    <a:lnTo>
                      <a:pt x="261" y="300"/>
                    </a:lnTo>
                    <a:lnTo>
                      <a:pt x="260" y="299"/>
                    </a:lnTo>
                    <a:lnTo>
                      <a:pt x="260" y="298"/>
                    </a:lnTo>
                    <a:lnTo>
                      <a:pt x="260" y="297"/>
                    </a:lnTo>
                    <a:lnTo>
                      <a:pt x="261" y="298"/>
                    </a:lnTo>
                    <a:close/>
                    <a:moveTo>
                      <a:pt x="297" y="301"/>
                    </a:moveTo>
                    <a:lnTo>
                      <a:pt x="298" y="301"/>
                    </a:lnTo>
                    <a:lnTo>
                      <a:pt x="298" y="302"/>
                    </a:lnTo>
                    <a:lnTo>
                      <a:pt x="298" y="301"/>
                    </a:lnTo>
                    <a:lnTo>
                      <a:pt x="297" y="301"/>
                    </a:lnTo>
                    <a:lnTo>
                      <a:pt x="297" y="302"/>
                    </a:lnTo>
                    <a:lnTo>
                      <a:pt x="296" y="302"/>
                    </a:lnTo>
                    <a:lnTo>
                      <a:pt x="295" y="302"/>
                    </a:lnTo>
                    <a:lnTo>
                      <a:pt x="296" y="303"/>
                    </a:lnTo>
                    <a:lnTo>
                      <a:pt x="297" y="303"/>
                    </a:lnTo>
                    <a:lnTo>
                      <a:pt x="297" y="302"/>
                    </a:lnTo>
                    <a:lnTo>
                      <a:pt x="297" y="303"/>
                    </a:lnTo>
                    <a:lnTo>
                      <a:pt x="298" y="303"/>
                    </a:lnTo>
                    <a:lnTo>
                      <a:pt x="298" y="302"/>
                    </a:lnTo>
                    <a:lnTo>
                      <a:pt x="299" y="302"/>
                    </a:lnTo>
                    <a:lnTo>
                      <a:pt x="300" y="302"/>
                    </a:lnTo>
                    <a:lnTo>
                      <a:pt x="300" y="303"/>
                    </a:lnTo>
                    <a:lnTo>
                      <a:pt x="299" y="303"/>
                    </a:lnTo>
                    <a:lnTo>
                      <a:pt x="299" y="305"/>
                    </a:lnTo>
                    <a:lnTo>
                      <a:pt x="299" y="306"/>
                    </a:lnTo>
                    <a:lnTo>
                      <a:pt x="298" y="306"/>
                    </a:lnTo>
                    <a:lnTo>
                      <a:pt x="298" y="307"/>
                    </a:lnTo>
                    <a:lnTo>
                      <a:pt x="298" y="306"/>
                    </a:lnTo>
                    <a:lnTo>
                      <a:pt x="297" y="305"/>
                    </a:lnTo>
                    <a:lnTo>
                      <a:pt x="296" y="305"/>
                    </a:lnTo>
                    <a:lnTo>
                      <a:pt x="296" y="303"/>
                    </a:lnTo>
                    <a:lnTo>
                      <a:pt x="295" y="303"/>
                    </a:lnTo>
                    <a:lnTo>
                      <a:pt x="294" y="303"/>
                    </a:lnTo>
                    <a:lnTo>
                      <a:pt x="293" y="303"/>
                    </a:lnTo>
                    <a:lnTo>
                      <a:pt x="292" y="305"/>
                    </a:lnTo>
                    <a:lnTo>
                      <a:pt x="291" y="306"/>
                    </a:lnTo>
                    <a:lnTo>
                      <a:pt x="290" y="306"/>
                    </a:lnTo>
                    <a:lnTo>
                      <a:pt x="288" y="306"/>
                    </a:lnTo>
                    <a:lnTo>
                      <a:pt x="287" y="307"/>
                    </a:lnTo>
                    <a:lnTo>
                      <a:pt x="287" y="306"/>
                    </a:lnTo>
                    <a:lnTo>
                      <a:pt x="287" y="305"/>
                    </a:lnTo>
                    <a:lnTo>
                      <a:pt x="288" y="305"/>
                    </a:lnTo>
                    <a:lnTo>
                      <a:pt x="291" y="305"/>
                    </a:lnTo>
                    <a:lnTo>
                      <a:pt x="292" y="303"/>
                    </a:lnTo>
                    <a:lnTo>
                      <a:pt x="293" y="303"/>
                    </a:lnTo>
                    <a:lnTo>
                      <a:pt x="294" y="302"/>
                    </a:lnTo>
                    <a:lnTo>
                      <a:pt x="295" y="302"/>
                    </a:lnTo>
                    <a:lnTo>
                      <a:pt x="295" y="301"/>
                    </a:lnTo>
                    <a:lnTo>
                      <a:pt x="296" y="301"/>
                    </a:lnTo>
                    <a:lnTo>
                      <a:pt x="297" y="301"/>
                    </a:lnTo>
                    <a:close/>
                    <a:moveTo>
                      <a:pt x="319" y="238"/>
                    </a:moveTo>
                    <a:lnTo>
                      <a:pt x="320" y="239"/>
                    </a:lnTo>
                    <a:lnTo>
                      <a:pt x="320" y="241"/>
                    </a:lnTo>
                    <a:lnTo>
                      <a:pt x="321" y="241"/>
                    </a:lnTo>
                    <a:lnTo>
                      <a:pt x="322" y="241"/>
                    </a:lnTo>
                    <a:lnTo>
                      <a:pt x="323" y="241"/>
                    </a:lnTo>
                    <a:lnTo>
                      <a:pt x="324" y="241"/>
                    </a:lnTo>
                    <a:lnTo>
                      <a:pt x="325" y="241"/>
                    </a:lnTo>
                    <a:lnTo>
                      <a:pt x="326" y="239"/>
                    </a:lnTo>
                    <a:lnTo>
                      <a:pt x="327" y="239"/>
                    </a:lnTo>
                    <a:lnTo>
                      <a:pt x="327" y="241"/>
                    </a:lnTo>
                    <a:lnTo>
                      <a:pt x="327" y="242"/>
                    </a:lnTo>
                    <a:lnTo>
                      <a:pt x="326" y="242"/>
                    </a:lnTo>
                    <a:lnTo>
                      <a:pt x="325" y="242"/>
                    </a:lnTo>
                    <a:lnTo>
                      <a:pt x="325" y="241"/>
                    </a:lnTo>
                    <a:lnTo>
                      <a:pt x="324" y="242"/>
                    </a:lnTo>
                    <a:lnTo>
                      <a:pt x="324" y="241"/>
                    </a:lnTo>
                    <a:lnTo>
                      <a:pt x="325" y="241"/>
                    </a:lnTo>
                    <a:lnTo>
                      <a:pt x="324" y="241"/>
                    </a:lnTo>
                    <a:lnTo>
                      <a:pt x="324" y="242"/>
                    </a:lnTo>
                    <a:lnTo>
                      <a:pt x="323" y="242"/>
                    </a:lnTo>
                    <a:lnTo>
                      <a:pt x="323" y="243"/>
                    </a:lnTo>
                    <a:lnTo>
                      <a:pt x="322" y="243"/>
                    </a:lnTo>
                    <a:lnTo>
                      <a:pt x="321" y="243"/>
                    </a:lnTo>
                    <a:lnTo>
                      <a:pt x="321" y="242"/>
                    </a:lnTo>
                    <a:lnTo>
                      <a:pt x="322" y="242"/>
                    </a:lnTo>
                    <a:lnTo>
                      <a:pt x="321" y="241"/>
                    </a:lnTo>
                    <a:lnTo>
                      <a:pt x="320" y="241"/>
                    </a:lnTo>
                    <a:lnTo>
                      <a:pt x="320" y="242"/>
                    </a:lnTo>
                    <a:lnTo>
                      <a:pt x="320" y="241"/>
                    </a:lnTo>
                    <a:lnTo>
                      <a:pt x="319" y="241"/>
                    </a:lnTo>
                    <a:lnTo>
                      <a:pt x="318" y="239"/>
                    </a:lnTo>
                    <a:lnTo>
                      <a:pt x="318" y="241"/>
                    </a:lnTo>
                    <a:lnTo>
                      <a:pt x="317" y="241"/>
                    </a:lnTo>
                    <a:lnTo>
                      <a:pt x="317" y="242"/>
                    </a:lnTo>
                    <a:lnTo>
                      <a:pt x="316" y="241"/>
                    </a:lnTo>
                    <a:lnTo>
                      <a:pt x="314" y="241"/>
                    </a:lnTo>
                    <a:lnTo>
                      <a:pt x="316" y="241"/>
                    </a:lnTo>
                    <a:lnTo>
                      <a:pt x="316" y="239"/>
                    </a:lnTo>
                    <a:lnTo>
                      <a:pt x="314" y="239"/>
                    </a:lnTo>
                    <a:lnTo>
                      <a:pt x="314" y="238"/>
                    </a:lnTo>
                    <a:lnTo>
                      <a:pt x="316" y="238"/>
                    </a:lnTo>
                    <a:lnTo>
                      <a:pt x="317" y="238"/>
                    </a:lnTo>
                    <a:lnTo>
                      <a:pt x="318" y="238"/>
                    </a:lnTo>
                    <a:lnTo>
                      <a:pt x="318" y="237"/>
                    </a:lnTo>
                    <a:lnTo>
                      <a:pt x="318" y="238"/>
                    </a:lnTo>
                    <a:lnTo>
                      <a:pt x="318" y="237"/>
                    </a:lnTo>
                    <a:lnTo>
                      <a:pt x="319" y="237"/>
                    </a:lnTo>
                    <a:lnTo>
                      <a:pt x="319" y="238"/>
                    </a:lnTo>
                    <a:close/>
                    <a:moveTo>
                      <a:pt x="412" y="209"/>
                    </a:moveTo>
                    <a:lnTo>
                      <a:pt x="413" y="210"/>
                    </a:lnTo>
                    <a:lnTo>
                      <a:pt x="414" y="210"/>
                    </a:lnTo>
                    <a:lnTo>
                      <a:pt x="413" y="210"/>
                    </a:lnTo>
                    <a:lnTo>
                      <a:pt x="413" y="211"/>
                    </a:lnTo>
                    <a:lnTo>
                      <a:pt x="412" y="211"/>
                    </a:lnTo>
                    <a:lnTo>
                      <a:pt x="411" y="211"/>
                    </a:lnTo>
                    <a:lnTo>
                      <a:pt x="410" y="211"/>
                    </a:lnTo>
                    <a:lnTo>
                      <a:pt x="410" y="212"/>
                    </a:lnTo>
                    <a:lnTo>
                      <a:pt x="410" y="211"/>
                    </a:lnTo>
                    <a:lnTo>
                      <a:pt x="409" y="211"/>
                    </a:lnTo>
                    <a:lnTo>
                      <a:pt x="409" y="210"/>
                    </a:lnTo>
                    <a:lnTo>
                      <a:pt x="408" y="209"/>
                    </a:lnTo>
                    <a:lnTo>
                      <a:pt x="407" y="209"/>
                    </a:lnTo>
                    <a:lnTo>
                      <a:pt x="406" y="209"/>
                    </a:lnTo>
                    <a:lnTo>
                      <a:pt x="408" y="208"/>
                    </a:lnTo>
                    <a:lnTo>
                      <a:pt x="409" y="208"/>
                    </a:lnTo>
                    <a:lnTo>
                      <a:pt x="410" y="208"/>
                    </a:lnTo>
                    <a:lnTo>
                      <a:pt x="410" y="207"/>
                    </a:lnTo>
                    <a:lnTo>
                      <a:pt x="411" y="207"/>
                    </a:lnTo>
                    <a:lnTo>
                      <a:pt x="411" y="208"/>
                    </a:lnTo>
                    <a:lnTo>
                      <a:pt x="412" y="209"/>
                    </a:lnTo>
                    <a:close/>
                    <a:moveTo>
                      <a:pt x="423" y="145"/>
                    </a:moveTo>
                    <a:lnTo>
                      <a:pt x="423" y="146"/>
                    </a:lnTo>
                    <a:lnTo>
                      <a:pt x="423" y="147"/>
                    </a:lnTo>
                    <a:lnTo>
                      <a:pt x="423" y="146"/>
                    </a:lnTo>
                    <a:lnTo>
                      <a:pt x="424" y="146"/>
                    </a:lnTo>
                    <a:lnTo>
                      <a:pt x="425" y="145"/>
                    </a:lnTo>
                    <a:lnTo>
                      <a:pt x="425" y="146"/>
                    </a:lnTo>
                    <a:lnTo>
                      <a:pt x="425" y="147"/>
                    </a:lnTo>
                    <a:lnTo>
                      <a:pt x="425" y="148"/>
                    </a:lnTo>
                    <a:lnTo>
                      <a:pt x="424" y="148"/>
                    </a:lnTo>
                    <a:lnTo>
                      <a:pt x="423" y="149"/>
                    </a:lnTo>
                    <a:lnTo>
                      <a:pt x="422" y="151"/>
                    </a:lnTo>
                    <a:lnTo>
                      <a:pt x="422" y="149"/>
                    </a:lnTo>
                    <a:lnTo>
                      <a:pt x="421" y="149"/>
                    </a:lnTo>
                    <a:lnTo>
                      <a:pt x="420" y="149"/>
                    </a:lnTo>
                    <a:lnTo>
                      <a:pt x="421" y="149"/>
                    </a:lnTo>
                    <a:lnTo>
                      <a:pt x="421" y="148"/>
                    </a:lnTo>
                    <a:lnTo>
                      <a:pt x="421" y="149"/>
                    </a:lnTo>
                    <a:lnTo>
                      <a:pt x="421" y="148"/>
                    </a:lnTo>
                    <a:lnTo>
                      <a:pt x="421" y="147"/>
                    </a:lnTo>
                    <a:lnTo>
                      <a:pt x="421" y="146"/>
                    </a:lnTo>
                    <a:lnTo>
                      <a:pt x="421" y="147"/>
                    </a:lnTo>
                    <a:lnTo>
                      <a:pt x="420" y="147"/>
                    </a:lnTo>
                    <a:lnTo>
                      <a:pt x="420" y="146"/>
                    </a:lnTo>
                    <a:lnTo>
                      <a:pt x="420" y="145"/>
                    </a:lnTo>
                    <a:lnTo>
                      <a:pt x="420" y="146"/>
                    </a:lnTo>
                    <a:lnTo>
                      <a:pt x="421" y="145"/>
                    </a:lnTo>
                    <a:lnTo>
                      <a:pt x="421" y="144"/>
                    </a:lnTo>
                    <a:lnTo>
                      <a:pt x="421" y="143"/>
                    </a:lnTo>
                    <a:lnTo>
                      <a:pt x="421" y="144"/>
                    </a:lnTo>
                    <a:lnTo>
                      <a:pt x="422" y="144"/>
                    </a:lnTo>
                    <a:lnTo>
                      <a:pt x="423" y="144"/>
                    </a:lnTo>
                    <a:lnTo>
                      <a:pt x="423" y="145"/>
                    </a:lnTo>
                    <a:close/>
                    <a:moveTo>
                      <a:pt x="727" y="144"/>
                    </a:moveTo>
                    <a:lnTo>
                      <a:pt x="729" y="144"/>
                    </a:lnTo>
                    <a:lnTo>
                      <a:pt x="727" y="144"/>
                    </a:lnTo>
                    <a:lnTo>
                      <a:pt x="727" y="145"/>
                    </a:lnTo>
                    <a:lnTo>
                      <a:pt x="729" y="145"/>
                    </a:lnTo>
                    <a:lnTo>
                      <a:pt x="729" y="146"/>
                    </a:lnTo>
                    <a:lnTo>
                      <a:pt x="727" y="146"/>
                    </a:lnTo>
                    <a:lnTo>
                      <a:pt x="726" y="146"/>
                    </a:lnTo>
                    <a:lnTo>
                      <a:pt x="725" y="146"/>
                    </a:lnTo>
                    <a:lnTo>
                      <a:pt x="725" y="145"/>
                    </a:lnTo>
                    <a:lnTo>
                      <a:pt x="726" y="145"/>
                    </a:lnTo>
                    <a:lnTo>
                      <a:pt x="725" y="145"/>
                    </a:lnTo>
                    <a:lnTo>
                      <a:pt x="724" y="146"/>
                    </a:lnTo>
                    <a:lnTo>
                      <a:pt x="723" y="145"/>
                    </a:lnTo>
                    <a:lnTo>
                      <a:pt x="723" y="144"/>
                    </a:lnTo>
                    <a:lnTo>
                      <a:pt x="724" y="143"/>
                    </a:lnTo>
                    <a:lnTo>
                      <a:pt x="725" y="142"/>
                    </a:lnTo>
                    <a:lnTo>
                      <a:pt x="726" y="141"/>
                    </a:lnTo>
                    <a:lnTo>
                      <a:pt x="727" y="141"/>
                    </a:lnTo>
                    <a:lnTo>
                      <a:pt x="727" y="142"/>
                    </a:lnTo>
                    <a:lnTo>
                      <a:pt x="727" y="143"/>
                    </a:lnTo>
                    <a:lnTo>
                      <a:pt x="727" y="144"/>
                    </a:lnTo>
                    <a:close/>
                    <a:moveTo>
                      <a:pt x="502" y="4"/>
                    </a:moveTo>
                    <a:lnTo>
                      <a:pt x="502" y="5"/>
                    </a:lnTo>
                    <a:lnTo>
                      <a:pt x="501" y="4"/>
                    </a:lnTo>
                    <a:lnTo>
                      <a:pt x="500" y="5"/>
                    </a:lnTo>
                    <a:lnTo>
                      <a:pt x="499" y="6"/>
                    </a:lnTo>
                    <a:lnTo>
                      <a:pt x="499" y="7"/>
                    </a:lnTo>
                    <a:lnTo>
                      <a:pt x="499" y="9"/>
                    </a:lnTo>
                    <a:lnTo>
                      <a:pt x="498" y="10"/>
                    </a:lnTo>
                    <a:lnTo>
                      <a:pt x="498" y="9"/>
                    </a:lnTo>
                    <a:lnTo>
                      <a:pt x="497" y="9"/>
                    </a:lnTo>
                    <a:lnTo>
                      <a:pt x="497" y="7"/>
                    </a:lnTo>
                    <a:lnTo>
                      <a:pt x="498" y="7"/>
                    </a:lnTo>
                    <a:lnTo>
                      <a:pt x="498" y="6"/>
                    </a:lnTo>
                    <a:lnTo>
                      <a:pt x="499" y="5"/>
                    </a:lnTo>
                    <a:lnTo>
                      <a:pt x="499" y="4"/>
                    </a:lnTo>
                    <a:lnTo>
                      <a:pt x="499" y="3"/>
                    </a:lnTo>
                    <a:lnTo>
                      <a:pt x="500" y="3"/>
                    </a:lnTo>
                    <a:lnTo>
                      <a:pt x="500" y="2"/>
                    </a:lnTo>
                    <a:lnTo>
                      <a:pt x="501" y="1"/>
                    </a:lnTo>
                    <a:lnTo>
                      <a:pt x="502" y="0"/>
                    </a:lnTo>
                    <a:lnTo>
                      <a:pt x="502" y="1"/>
                    </a:lnTo>
                    <a:lnTo>
                      <a:pt x="502" y="2"/>
                    </a:lnTo>
                    <a:lnTo>
                      <a:pt x="503" y="3"/>
                    </a:lnTo>
                    <a:lnTo>
                      <a:pt x="502" y="3"/>
                    </a:lnTo>
                    <a:lnTo>
                      <a:pt x="503" y="4"/>
                    </a:lnTo>
                    <a:lnTo>
                      <a:pt x="502" y="4"/>
                    </a:lnTo>
                    <a:close/>
                    <a:moveTo>
                      <a:pt x="486" y="19"/>
                    </a:moveTo>
                    <a:lnTo>
                      <a:pt x="487" y="20"/>
                    </a:lnTo>
                    <a:lnTo>
                      <a:pt x="486" y="20"/>
                    </a:lnTo>
                    <a:lnTo>
                      <a:pt x="485" y="20"/>
                    </a:lnTo>
                    <a:lnTo>
                      <a:pt x="485" y="22"/>
                    </a:lnTo>
                    <a:lnTo>
                      <a:pt x="486" y="22"/>
                    </a:lnTo>
                    <a:lnTo>
                      <a:pt x="487" y="23"/>
                    </a:lnTo>
                    <a:lnTo>
                      <a:pt x="486" y="24"/>
                    </a:lnTo>
                    <a:lnTo>
                      <a:pt x="485" y="25"/>
                    </a:lnTo>
                    <a:lnTo>
                      <a:pt x="486" y="25"/>
                    </a:lnTo>
                    <a:lnTo>
                      <a:pt x="485" y="25"/>
                    </a:lnTo>
                    <a:lnTo>
                      <a:pt x="485" y="24"/>
                    </a:lnTo>
                    <a:lnTo>
                      <a:pt x="484" y="24"/>
                    </a:lnTo>
                    <a:lnTo>
                      <a:pt x="484" y="23"/>
                    </a:lnTo>
                    <a:lnTo>
                      <a:pt x="485" y="23"/>
                    </a:lnTo>
                    <a:lnTo>
                      <a:pt x="484" y="22"/>
                    </a:lnTo>
                    <a:lnTo>
                      <a:pt x="484" y="20"/>
                    </a:lnTo>
                    <a:lnTo>
                      <a:pt x="482" y="20"/>
                    </a:lnTo>
                    <a:lnTo>
                      <a:pt x="482" y="19"/>
                    </a:lnTo>
                    <a:lnTo>
                      <a:pt x="484" y="19"/>
                    </a:lnTo>
                    <a:lnTo>
                      <a:pt x="484" y="18"/>
                    </a:lnTo>
                    <a:lnTo>
                      <a:pt x="485" y="18"/>
                    </a:lnTo>
                    <a:lnTo>
                      <a:pt x="485" y="17"/>
                    </a:lnTo>
                    <a:lnTo>
                      <a:pt x="486" y="18"/>
                    </a:lnTo>
                    <a:lnTo>
                      <a:pt x="486" y="19"/>
                    </a:lnTo>
                    <a:close/>
                    <a:moveTo>
                      <a:pt x="460" y="202"/>
                    </a:moveTo>
                    <a:lnTo>
                      <a:pt x="461" y="202"/>
                    </a:lnTo>
                    <a:lnTo>
                      <a:pt x="462" y="202"/>
                    </a:lnTo>
                    <a:lnTo>
                      <a:pt x="462" y="203"/>
                    </a:lnTo>
                    <a:lnTo>
                      <a:pt x="462" y="204"/>
                    </a:lnTo>
                    <a:lnTo>
                      <a:pt x="461" y="204"/>
                    </a:lnTo>
                    <a:lnTo>
                      <a:pt x="461" y="205"/>
                    </a:lnTo>
                    <a:lnTo>
                      <a:pt x="460" y="205"/>
                    </a:lnTo>
                    <a:lnTo>
                      <a:pt x="461" y="206"/>
                    </a:lnTo>
                    <a:lnTo>
                      <a:pt x="462" y="206"/>
                    </a:lnTo>
                    <a:lnTo>
                      <a:pt x="461" y="206"/>
                    </a:lnTo>
                    <a:lnTo>
                      <a:pt x="460" y="206"/>
                    </a:lnTo>
                    <a:lnTo>
                      <a:pt x="460" y="207"/>
                    </a:lnTo>
                    <a:lnTo>
                      <a:pt x="459" y="206"/>
                    </a:lnTo>
                    <a:lnTo>
                      <a:pt x="458" y="206"/>
                    </a:lnTo>
                    <a:lnTo>
                      <a:pt x="456" y="206"/>
                    </a:lnTo>
                    <a:lnTo>
                      <a:pt x="456" y="205"/>
                    </a:lnTo>
                    <a:lnTo>
                      <a:pt x="455" y="205"/>
                    </a:lnTo>
                    <a:lnTo>
                      <a:pt x="455" y="204"/>
                    </a:lnTo>
                    <a:lnTo>
                      <a:pt x="456" y="204"/>
                    </a:lnTo>
                    <a:lnTo>
                      <a:pt x="458" y="204"/>
                    </a:lnTo>
                    <a:lnTo>
                      <a:pt x="458" y="205"/>
                    </a:lnTo>
                    <a:lnTo>
                      <a:pt x="459" y="205"/>
                    </a:lnTo>
                    <a:lnTo>
                      <a:pt x="459" y="204"/>
                    </a:lnTo>
                    <a:lnTo>
                      <a:pt x="460" y="204"/>
                    </a:lnTo>
                    <a:lnTo>
                      <a:pt x="459" y="203"/>
                    </a:lnTo>
                    <a:lnTo>
                      <a:pt x="459" y="202"/>
                    </a:lnTo>
                    <a:lnTo>
                      <a:pt x="460" y="202"/>
                    </a:lnTo>
                    <a:close/>
                    <a:moveTo>
                      <a:pt x="448" y="83"/>
                    </a:moveTo>
                    <a:lnTo>
                      <a:pt x="447" y="83"/>
                    </a:lnTo>
                    <a:lnTo>
                      <a:pt x="448" y="83"/>
                    </a:lnTo>
                    <a:lnTo>
                      <a:pt x="447" y="83"/>
                    </a:lnTo>
                    <a:lnTo>
                      <a:pt x="447" y="84"/>
                    </a:lnTo>
                    <a:lnTo>
                      <a:pt x="447" y="83"/>
                    </a:lnTo>
                    <a:lnTo>
                      <a:pt x="446" y="83"/>
                    </a:lnTo>
                    <a:lnTo>
                      <a:pt x="446" y="84"/>
                    </a:lnTo>
                    <a:lnTo>
                      <a:pt x="445" y="83"/>
                    </a:lnTo>
                    <a:lnTo>
                      <a:pt x="443" y="83"/>
                    </a:lnTo>
                    <a:lnTo>
                      <a:pt x="443" y="82"/>
                    </a:lnTo>
                    <a:lnTo>
                      <a:pt x="445" y="82"/>
                    </a:lnTo>
                    <a:lnTo>
                      <a:pt x="445" y="81"/>
                    </a:lnTo>
                    <a:lnTo>
                      <a:pt x="445" y="80"/>
                    </a:lnTo>
                    <a:lnTo>
                      <a:pt x="445" y="79"/>
                    </a:lnTo>
                    <a:lnTo>
                      <a:pt x="443" y="79"/>
                    </a:lnTo>
                    <a:lnTo>
                      <a:pt x="443" y="78"/>
                    </a:lnTo>
                    <a:lnTo>
                      <a:pt x="443" y="77"/>
                    </a:lnTo>
                    <a:lnTo>
                      <a:pt x="443" y="76"/>
                    </a:lnTo>
                    <a:lnTo>
                      <a:pt x="443" y="75"/>
                    </a:lnTo>
                    <a:lnTo>
                      <a:pt x="445" y="75"/>
                    </a:lnTo>
                    <a:lnTo>
                      <a:pt x="445" y="76"/>
                    </a:lnTo>
                    <a:lnTo>
                      <a:pt x="446" y="76"/>
                    </a:lnTo>
                    <a:lnTo>
                      <a:pt x="446" y="77"/>
                    </a:lnTo>
                    <a:lnTo>
                      <a:pt x="445" y="77"/>
                    </a:lnTo>
                    <a:lnTo>
                      <a:pt x="445" y="78"/>
                    </a:lnTo>
                    <a:lnTo>
                      <a:pt x="446" y="79"/>
                    </a:lnTo>
                    <a:lnTo>
                      <a:pt x="446" y="80"/>
                    </a:lnTo>
                    <a:lnTo>
                      <a:pt x="446" y="81"/>
                    </a:lnTo>
                    <a:lnTo>
                      <a:pt x="447" y="81"/>
                    </a:lnTo>
                    <a:lnTo>
                      <a:pt x="447" y="82"/>
                    </a:lnTo>
                    <a:lnTo>
                      <a:pt x="448" y="82"/>
                    </a:lnTo>
                    <a:lnTo>
                      <a:pt x="448" y="83"/>
                    </a:lnTo>
                    <a:close/>
                    <a:moveTo>
                      <a:pt x="705" y="213"/>
                    </a:moveTo>
                    <a:lnTo>
                      <a:pt x="705" y="215"/>
                    </a:lnTo>
                    <a:lnTo>
                      <a:pt x="705" y="216"/>
                    </a:lnTo>
                    <a:lnTo>
                      <a:pt x="705" y="217"/>
                    </a:lnTo>
                    <a:lnTo>
                      <a:pt x="706" y="217"/>
                    </a:lnTo>
                    <a:lnTo>
                      <a:pt x="706" y="218"/>
                    </a:lnTo>
                    <a:lnTo>
                      <a:pt x="706" y="219"/>
                    </a:lnTo>
                    <a:lnTo>
                      <a:pt x="706" y="220"/>
                    </a:lnTo>
                    <a:lnTo>
                      <a:pt x="706" y="221"/>
                    </a:lnTo>
                    <a:lnTo>
                      <a:pt x="705" y="221"/>
                    </a:lnTo>
                    <a:lnTo>
                      <a:pt x="704" y="221"/>
                    </a:lnTo>
                    <a:lnTo>
                      <a:pt x="703" y="221"/>
                    </a:lnTo>
                    <a:lnTo>
                      <a:pt x="703" y="220"/>
                    </a:lnTo>
                    <a:lnTo>
                      <a:pt x="704" y="220"/>
                    </a:lnTo>
                    <a:lnTo>
                      <a:pt x="705" y="220"/>
                    </a:lnTo>
                    <a:lnTo>
                      <a:pt x="704" y="220"/>
                    </a:lnTo>
                    <a:lnTo>
                      <a:pt x="703" y="220"/>
                    </a:lnTo>
                    <a:lnTo>
                      <a:pt x="703" y="219"/>
                    </a:lnTo>
                    <a:lnTo>
                      <a:pt x="703" y="218"/>
                    </a:lnTo>
                    <a:lnTo>
                      <a:pt x="704" y="218"/>
                    </a:lnTo>
                    <a:lnTo>
                      <a:pt x="704" y="217"/>
                    </a:lnTo>
                    <a:lnTo>
                      <a:pt x="703" y="217"/>
                    </a:lnTo>
                    <a:lnTo>
                      <a:pt x="704" y="217"/>
                    </a:lnTo>
                    <a:lnTo>
                      <a:pt x="704" y="216"/>
                    </a:lnTo>
                    <a:lnTo>
                      <a:pt x="704" y="215"/>
                    </a:lnTo>
                    <a:lnTo>
                      <a:pt x="705" y="215"/>
                    </a:lnTo>
                    <a:lnTo>
                      <a:pt x="704" y="215"/>
                    </a:lnTo>
                    <a:lnTo>
                      <a:pt x="703" y="213"/>
                    </a:lnTo>
                    <a:lnTo>
                      <a:pt x="704" y="213"/>
                    </a:lnTo>
                    <a:lnTo>
                      <a:pt x="703" y="213"/>
                    </a:lnTo>
                    <a:lnTo>
                      <a:pt x="704" y="213"/>
                    </a:lnTo>
                    <a:lnTo>
                      <a:pt x="704" y="212"/>
                    </a:lnTo>
                    <a:lnTo>
                      <a:pt x="705" y="212"/>
                    </a:lnTo>
                    <a:lnTo>
                      <a:pt x="705" y="213"/>
                    </a:lnTo>
                    <a:close/>
                    <a:moveTo>
                      <a:pt x="453" y="118"/>
                    </a:moveTo>
                    <a:lnTo>
                      <a:pt x="454" y="118"/>
                    </a:lnTo>
                    <a:lnTo>
                      <a:pt x="453" y="118"/>
                    </a:lnTo>
                    <a:lnTo>
                      <a:pt x="454" y="118"/>
                    </a:lnTo>
                    <a:lnTo>
                      <a:pt x="455" y="118"/>
                    </a:lnTo>
                    <a:lnTo>
                      <a:pt x="455" y="119"/>
                    </a:lnTo>
                    <a:lnTo>
                      <a:pt x="455" y="118"/>
                    </a:lnTo>
                    <a:lnTo>
                      <a:pt x="456" y="118"/>
                    </a:lnTo>
                    <a:lnTo>
                      <a:pt x="456" y="119"/>
                    </a:lnTo>
                    <a:lnTo>
                      <a:pt x="456" y="120"/>
                    </a:lnTo>
                    <a:lnTo>
                      <a:pt x="455" y="120"/>
                    </a:lnTo>
                    <a:lnTo>
                      <a:pt x="455" y="121"/>
                    </a:lnTo>
                    <a:lnTo>
                      <a:pt x="454" y="121"/>
                    </a:lnTo>
                    <a:lnTo>
                      <a:pt x="454" y="122"/>
                    </a:lnTo>
                    <a:lnTo>
                      <a:pt x="454" y="123"/>
                    </a:lnTo>
                    <a:lnTo>
                      <a:pt x="453" y="125"/>
                    </a:lnTo>
                    <a:lnTo>
                      <a:pt x="453" y="123"/>
                    </a:lnTo>
                    <a:lnTo>
                      <a:pt x="453" y="122"/>
                    </a:lnTo>
                    <a:lnTo>
                      <a:pt x="453" y="121"/>
                    </a:lnTo>
                    <a:lnTo>
                      <a:pt x="452" y="121"/>
                    </a:lnTo>
                    <a:lnTo>
                      <a:pt x="452" y="120"/>
                    </a:lnTo>
                    <a:lnTo>
                      <a:pt x="452" y="119"/>
                    </a:lnTo>
                    <a:lnTo>
                      <a:pt x="452" y="118"/>
                    </a:lnTo>
                    <a:lnTo>
                      <a:pt x="452" y="117"/>
                    </a:lnTo>
                    <a:lnTo>
                      <a:pt x="453" y="117"/>
                    </a:lnTo>
                    <a:lnTo>
                      <a:pt x="453" y="118"/>
                    </a:lnTo>
                    <a:close/>
                    <a:moveTo>
                      <a:pt x="360" y="319"/>
                    </a:moveTo>
                    <a:lnTo>
                      <a:pt x="361" y="319"/>
                    </a:lnTo>
                    <a:lnTo>
                      <a:pt x="362" y="320"/>
                    </a:lnTo>
                    <a:lnTo>
                      <a:pt x="363" y="320"/>
                    </a:lnTo>
                    <a:lnTo>
                      <a:pt x="363" y="321"/>
                    </a:lnTo>
                    <a:lnTo>
                      <a:pt x="364" y="321"/>
                    </a:lnTo>
                    <a:lnTo>
                      <a:pt x="364" y="322"/>
                    </a:lnTo>
                    <a:lnTo>
                      <a:pt x="365" y="323"/>
                    </a:lnTo>
                    <a:lnTo>
                      <a:pt x="366" y="323"/>
                    </a:lnTo>
                    <a:lnTo>
                      <a:pt x="366" y="324"/>
                    </a:lnTo>
                    <a:lnTo>
                      <a:pt x="368" y="325"/>
                    </a:lnTo>
                    <a:lnTo>
                      <a:pt x="368" y="326"/>
                    </a:lnTo>
                    <a:lnTo>
                      <a:pt x="359" y="320"/>
                    </a:lnTo>
                    <a:lnTo>
                      <a:pt x="359" y="319"/>
                    </a:lnTo>
                    <a:lnTo>
                      <a:pt x="358" y="319"/>
                    </a:lnTo>
                    <a:lnTo>
                      <a:pt x="358" y="318"/>
                    </a:lnTo>
                    <a:lnTo>
                      <a:pt x="357" y="316"/>
                    </a:lnTo>
                    <a:lnTo>
                      <a:pt x="357" y="315"/>
                    </a:lnTo>
                    <a:lnTo>
                      <a:pt x="358" y="316"/>
                    </a:lnTo>
                    <a:lnTo>
                      <a:pt x="359" y="318"/>
                    </a:lnTo>
                    <a:lnTo>
                      <a:pt x="360" y="319"/>
                    </a:lnTo>
                    <a:close/>
                    <a:moveTo>
                      <a:pt x="412" y="199"/>
                    </a:moveTo>
                    <a:lnTo>
                      <a:pt x="413" y="199"/>
                    </a:lnTo>
                    <a:lnTo>
                      <a:pt x="412" y="199"/>
                    </a:lnTo>
                    <a:lnTo>
                      <a:pt x="412" y="200"/>
                    </a:lnTo>
                    <a:lnTo>
                      <a:pt x="412" y="202"/>
                    </a:lnTo>
                    <a:lnTo>
                      <a:pt x="413" y="203"/>
                    </a:lnTo>
                    <a:lnTo>
                      <a:pt x="413" y="202"/>
                    </a:lnTo>
                    <a:lnTo>
                      <a:pt x="414" y="203"/>
                    </a:lnTo>
                    <a:lnTo>
                      <a:pt x="415" y="203"/>
                    </a:lnTo>
                    <a:lnTo>
                      <a:pt x="416" y="203"/>
                    </a:lnTo>
                    <a:lnTo>
                      <a:pt x="417" y="203"/>
                    </a:lnTo>
                    <a:lnTo>
                      <a:pt x="419" y="203"/>
                    </a:lnTo>
                    <a:lnTo>
                      <a:pt x="419" y="204"/>
                    </a:lnTo>
                    <a:lnTo>
                      <a:pt x="417" y="204"/>
                    </a:lnTo>
                    <a:lnTo>
                      <a:pt x="416" y="204"/>
                    </a:lnTo>
                    <a:lnTo>
                      <a:pt x="415" y="204"/>
                    </a:lnTo>
                    <a:lnTo>
                      <a:pt x="414" y="205"/>
                    </a:lnTo>
                    <a:lnTo>
                      <a:pt x="412" y="206"/>
                    </a:lnTo>
                    <a:lnTo>
                      <a:pt x="411" y="206"/>
                    </a:lnTo>
                    <a:lnTo>
                      <a:pt x="411" y="205"/>
                    </a:lnTo>
                    <a:lnTo>
                      <a:pt x="412" y="205"/>
                    </a:lnTo>
                    <a:lnTo>
                      <a:pt x="413" y="204"/>
                    </a:lnTo>
                    <a:lnTo>
                      <a:pt x="412" y="204"/>
                    </a:lnTo>
                    <a:lnTo>
                      <a:pt x="413" y="204"/>
                    </a:lnTo>
                    <a:lnTo>
                      <a:pt x="413" y="203"/>
                    </a:lnTo>
                    <a:lnTo>
                      <a:pt x="412" y="203"/>
                    </a:lnTo>
                    <a:lnTo>
                      <a:pt x="412" y="202"/>
                    </a:lnTo>
                    <a:lnTo>
                      <a:pt x="412" y="203"/>
                    </a:lnTo>
                    <a:lnTo>
                      <a:pt x="411" y="203"/>
                    </a:lnTo>
                    <a:lnTo>
                      <a:pt x="411" y="204"/>
                    </a:lnTo>
                    <a:lnTo>
                      <a:pt x="410" y="204"/>
                    </a:lnTo>
                    <a:lnTo>
                      <a:pt x="410" y="203"/>
                    </a:lnTo>
                    <a:lnTo>
                      <a:pt x="411" y="203"/>
                    </a:lnTo>
                    <a:lnTo>
                      <a:pt x="411" y="202"/>
                    </a:lnTo>
                    <a:lnTo>
                      <a:pt x="411" y="200"/>
                    </a:lnTo>
                    <a:lnTo>
                      <a:pt x="411" y="199"/>
                    </a:lnTo>
                    <a:lnTo>
                      <a:pt x="412" y="199"/>
                    </a:lnTo>
                    <a:close/>
                    <a:moveTo>
                      <a:pt x="487" y="105"/>
                    </a:moveTo>
                    <a:lnTo>
                      <a:pt x="486" y="106"/>
                    </a:lnTo>
                    <a:lnTo>
                      <a:pt x="487" y="107"/>
                    </a:lnTo>
                    <a:lnTo>
                      <a:pt x="487" y="106"/>
                    </a:lnTo>
                    <a:lnTo>
                      <a:pt x="487" y="107"/>
                    </a:lnTo>
                    <a:lnTo>
                      <a:pt x="488" y="107"/>
                    </a:lnTo>
                    <a:lnTo>
                      <a:pt x="488" y="108"/>
                    </a:lnTo>
                    <a:lnTo>
                      <a:pt x="488" y="109"/>
                    </a:lnTo>
                    <a:lnTo>
                      <a:pt x="487" y="109"/>
                    </a:lnTo>
                    <a:lnTo>
                      <a:pt x="486" y="109"/>
                    </a:lnTo>
                    <a:lnTo>
                      <a:pt x="485" y="109"/>
                    </a:lnTo>
                    <a:lnTo>
                      <a:pt x="485" y="108"/>
                    </a:lnTo>
                    <a:lnTo>
                      <a:pt x="486" y="108"/>
                    </a:lnTo>
                    <a:lnTo>
                      <a:pt x="487" y="108"/>
                    </a:lnTo>
                    <a:lnTo>
                      <a:pt x="487" y="107"/>
                    </a:lnTo>
                    <a:lnTo>
                      <a:pt x="486" y="107"/>
                    </a:lnTo>
                    <a:lnTo>
                      <a:pt x="485" y="107"/>
                    </a:lnTo>
                    <a:lnTo>
                      <a:pt x="485" y="108"/>
                    </a:lnTo>
                    <a:lnTo>
                      <a:pt x="485" y="109"/>
                    </a:lnTo>
                    <a:lnTo>
                      <a:pt x="484" y="110"/>
                    </a:lnTo>
                    <a:lnTo>
                      <a:pt x="484" y="112"/>
                    </a:lnTo>
                    <a:lnTo>
                      <a:pt x="482" y="112"/>
                    </a:lnTo>
                    <a:lnTo>
                      <a:pt x="482" y="110"/>
                    </a:lnTo>
                    <a:lnTo>
                      <a:pt x="484" y="110"/>
                    </a:lnTo>
                    <a:lnTo>
                      <a:pt x="482" y="110"/>
                    </a:lnTo>
                    <a:lnTo>
                      <a:pt x="484" y="110"/>
                    </a:lnTo>
                    <a:lnTo>
                      <a:pt x="484" y="109"/>
                    </a:lnTo>
                    <a:lnTo>
                      <a:pt x="484" y="108"/>
                    </a:lnTo>
                    <a:lnTo>
                      <a:pt x="484" y="107"/>
                    </a:lnTo>
                    <a:lnTo>
                      <a:pt x="484" y="108"/>
                    </a:lnTo>
                    <a:lnTo>
                      <a:pt x="484" y="107"/>
                    </a:lnTo>
                    <a:lnTo>
                      <a:pt x="485" y="107"/>
                    </a:lnTo>
                    <a:lnTo>
                      <a:pt x="485" y="106"/>
                    </a:lnTo>
                    <a:lnTo>
                      <a:pt x="485" y="105"/>
                    </a:lnTo>
                    <a:lnTo>
                      <a:pt x="486" y="105"/>
                    </a:lnTo>
                    <a:lnTo>
                      <a:pt x="487" y="105"/>
                    </a:lnTo>
                    <a:lnTo>
                      <a:pt x="487" y="104"/>
                    </a:lnTo>
                    <a:lnTo>
                      <a:pt x="487" y="105"/>
                    </a:lnTo>
                    <a:close/>
                    <a:moveTo>
                      <a:pt x="372" y="328"/>
                    </a:moveTo>
                    <a:lnTo>
                      <a:pt x="373" y="329"/>
                    </a:lnTo>
                    <a:lnTo>
                      <a:pt x="374" y="329"/>
                    </a:lnTo>
                    <a:lnTo>
                      <a:pt x="375" y="331"/>
                    </a:lnTo>
                    <a:lnTo>
                      <a:pt x="376" y="331"/>
                    </a:lnTo>
                    <a:lnTo>
                      <a:pt x="376" y="329"/>
                    </a:lnTo>
                    <a:lnTo>
                      <a:pt x="377" y="329"/>
                    </a:lnTo>
                    <a:lnTo>
                      <a:pt x="376" y="329"/>
                    </a:lnTo>
                    <a:lnTo>
                      <a:pt x="377" y="328"/>
                    </a:lnTo>
                    <a:lnTo>
                      <a:pt x="377" y="329"/>
                    </a:lnTo>
                    <a:lnTo>
                      <a:pt x="377" y="331"/>
                    </a:lnTo>
                    <a:lnTo>
                      <a:pt x="377" y="334"/>
                    </a:lnTo>
                    <a:lnTo>
                      <a:pt x="377" y="333"/>
                    </a:lnTo>
                    <a:lnTo>
                      <a:pt x="376" y="333"/>
                    </a:lnTo>
                    <a:lnTo>
                      <a:pt x="375" y="332"/>
                    </a:lnTo>
                    <a:lnTo>
                      <a:pt x="374" y="331"/>
                    </a:lnTo>
                    <a:lnTo>
                      <a:pt x="373" y="329"/>
                    </a:lnTo>
                    <a:lnTo>
                      <a:pt x="371" y="328"/>
                    </a:lnTo>
                    <a:lnTo>
                      <a:pt x="372" y="328"/>
                    </a:lnTo>
                    <a:close/>
                    <a:moveTo>
                      <a:pt x="694" y="206"/>
                    </a:moveTo>
                    <a:lnTo>
                      <a:pt x="693" y="206"/>
                    </a:lnTo>
                    <a:lnTo>
                      <a:pt x="693" y="205"/>
                    </a:lnTo>
                    <a:lnTo>
                      <a:pt x="694" y="204"/>
                    </a:lnTo>
                    <a:lnTo>
                      <a:pt x="694" y="203"/>
                    </a:lnTo>
                    <a:lnTo>
                      <a:pt x="694" y="202"/>
                    </a:lnTo>
                    <a:lnTo>
                      <a:pt x="694" y="200"/>
                    </a:lnTo>
                    <a:lnTo>
                      <a:pt x="695" y="198"/>
                    </a:lnTo>
                    <a:lnTo>
                      <a:pt x="696" y="196"/>
                    </a:lnTo>
                    <a:lnTo>
                      <a:pt x="696" y="195"/>
                    </a:lnTo>
                    <a:lnTo>
                      <a:pt x="697" y="194"/>
                    </a:lnTo>
                    <a:lnTo>
                      <a:pt x="697" y="195"/>
                    </a:lnTo>
                    <a:lnTo>
                      <a:pt x="697" y="196"/>
                    </a:lnTo>
                    <a:lnTo>
                      <a:pt x="697" y="198"/>
                    </a:lnTo>
                    <a:lnTo>
                      <a:pt x="696" y="199"/>
                    </a:lnTo>
                    <a:lnTo>
                      <a:pt x="696" y="200"/>
                    </a:lnTo>
                    <a:lnTo>
                      <a:pt x="696" y="202"/>
                    </a:lnTo>
                    <a:lnTo>
                      <a:pt x="695" y="202"/>
                    </a:lnTo>
                    <a:lnTo>
                      <a:pt x="695" y="203"/>
                    </a:lnTo>
                    <a:lnTo>
                      <a:pt x="694" y="204"/>
                    </a:lnTo>
                    <a:lnTo>
                      <a:pt x="694" y="205"/>
                    </a:lnTo>
                    <a:lnTo>
                      <a:pt x="694" y="206"/>
                    </a:lnTo>
                    <a:close/>
                    <a:moveTo>
                      <a:pt x="312" y="268"/>
                    </a:moveTo>
                    <a:lnTo>
                      <a:pt x="313" y="269"/>
                    </a:lnTo>
                    <a:lnTo>
                      <a:pt x="313" y="270"/>
                    </a:lnTo>
                    <a:lnTo>
                      <a:pt x="313" y="271"/>
                    </a:lnTo>
                    <a:lnTo>
                      <a:pt x="312" y="271"/>
                    </a:lnTo>
                    <a:lnTo>
                      <a:pt x="312" y="272"/>
                    </a:lnTo>
                    <a:lnTo>
                      <a:pt x="313" y="272"/>
                    </a:lnTo>
                    <a:lnTo>
                      <a:pt x="313" y="273"/>
                    </a:lnTo>
                    <a:lnTo>
                      <a:pt x="314" y="273"/>
                    </a:lnTo>
                    <a:lnTo>
                      <a:pt x="313" y="273"/>
                    </a:lnTo>
                    <a:lnTo>
                      <a:pt x="314" y="273"/>
                    </a:lnTo>
                    <a:lnTo>
                      <a:pt x="314" y="274"/>
                    </a:lnTo>
                    <a:lnTo>
                      <a:pt x="316" y="274"/>
                    </a:lnTo>
                    <a:lnTo>
                      <a:pt x="316" y="273"/>
                    </a:lnTo>
                    <a:lnTo>
                      <a:pt x="316" y="274"/>
                    </a:lnTo>
                    <a:lnTo>
                      <a:pt x="316" y="275"/>
                    </a:lnTo>
                    <a:lnTo>
                      <a:pt x="314" y="275"/>
                    </a:lnTo>
                    <a:lnTo>
                      <a:pt x="314" y="274"/>
                    </a:lnTo>
                    <a:lnTo>
                      <a:pt x="313" y="274"/>
                    </a:lnTo>
                    <a:lnTo>
                      <a:pt x="312" y="273"/>
                    </a:lnTo>
                    <a:lnTo>
                      <a:pt x="312" y="272"/>
                    </a:lnTo>
                    <a:lnTo>
                      <a:pt x="312" y="273"/>
                    </a:lnTo>
                    <a:lnTo>
                      <a:pt x="312" y="272"/>
                    </a:lnTo>
                    <a:lnTo>
                      <a:pt x="312" y="271"/>
                    </a:lnTo>
                    <a:lnTo>
                      <a:pt x="312" y="270"/>
                    </a:lnTo>
                    <a:lnTo>
                      <a:pt x="312" y="271"/>
                    </a:lnTo>
                    <a:lnTo>
                      <a:pt x="311" y="271"/>
                    </a:lnTo>
                    <a:lnTo>
                      <a:pt x="311" y="270"/>
                    </a:lnTo>
                    <a:lnTo>
                      <a:pt x="310" y="270"/>
                    </a:lnTo>
                    <a:lnTo>
                      <a:pt x="309" y="270"/>
                    </a:lnTo>
                    <a:lnTo>
                      <a:pt x="309" y="269"/>
                    </a:lnTo>
                    <a:lnTo>
                      <a:pt x="309" y="268"/>
                    </a:lnTo>
                    <a:lnTo>
                      <a:pt x="310" y="268"/>
                    </a:lnTo>
                    <a:lnTo>
                      <a:pt x="310" y="269"/>
                    </a:lnTo>
                    <a:lnTo>
                      <a:pt x="311" y="269"/>
                    </a:lnTo>
                    <a:lnTo>
                      <a:pt x="311" y="268"/>
                    </a:lnTo>
                    <a:lnTo>
                      <a:pt x="312" y="268"/>
                    </a:lnTo>
                    <a:close/>
                    <a:moveTo>
                      <a:pt x="454" y="160"/>
                    </a:moveTo>
                    <a:lnTo>
                      <a:pt x="455" y="160"/>
                    </a:lnTo>
                    <a:lnTo>
                      <a:pt x="456" y="160"/>
                    </a:lnTo>
                    <a:lnTo>
                      <a:pt x="458" y="160"/>
                    </a:lnTo>
                    <a:lnTo>
                      <a:pt x="458" y="161"/>
                    </a:lnTo>
                    <a:lnTo>
                      <a:pt x="458" y="160"/>
                    </a:lnTo>
                    <a:lnTo>
                      <a:pt x="458" y="161"/>
                    </a:lnTo>
                    <a:lnTo>
                      <a:pt x="458" y="160"/>
                    </a:lnTo>
                    <a:lnTo>
                      <a:pt x="459" y="161"/>
                    </a:lnTo>
                    <a:lnTo>
                      <a:pt x="460" y="161"/>
                    </a:lnTo>
                    <a:lnTo>
                      <a:pt x="459" y="161"/>
                    </a:lnTo>
                    <a:lnTo>
                      <a:pt x="458" y="161"/>
                    </a:lnTo>
                    <a:lnTo>
                      <a:pt x="456" y="161"/>
                    </a:lnTo>
                    <a:lnTo>
                      <a:pt x="456" y="160"/>
                    </a:lnTo>
                    <a:lnTo>
                      <a:pt x="455" y="160"/>
                    </a:lnTo>
                    <a:lnTo>
                      <a:pt x="455" y="161"/>
                    </a:lnTo>
                    <a:lnTo>
                      <a:pt x="454" y="161"/>
                    </a:lnTo>
                    <a:lnTo>
                      <a:pt x="453" y="161"/>
                    </a:lnTo>
                    <a:lnTo>
                      <a:pt x="453" y="162"/>
                    </a:lnTo>
                    <a:lnTo>
                      <a:pt x="452" y="162"/>
                    </a:lnTo>
                    <a:lnTo>
                      <a:pt x="452" y="164"/>
                    </a:lnTo>
                    <a:lnTo>
                      <a:pt x="451" y="164"/>
                    </a:lnTo>
                    <a:lnTo>
                      <a:pt x="450" y="164"/>
                    </a:lnTo>
                    <a:lnTo>
                      <a:pt x="449" y="164"/>
                    </a:lnTo>
                    <a:lnTo>
                      <a:pt x="448" y="164"/>
                    </a:lnTo>
                    <a:lnTo>
                      <a:pt x="448" y="165"/>
                    </a:lnTo>
                    <a:lnTo>
                      <a:pt x="447" y="165"/>
                    </a:lnTo>
                    <a:lnTo>
                      <a:pt x="447" y="166"/>
                    </a:lnTo>
                    <a:lnTo>
                      <a:pt x="446" y="167"/>
                    </a:lnTo>
                    <a:lnTo>
                      <a:pt x="446" y="166"/>
                    </a:lnTo>
                    <a:lnTo>
                      <a:pt x="446" y="165"/>
                    </a:lnTo>
                    <a:lnTo>
                      <a:pt x="447" y="165"/>
                    </a:lnTo>
                    <a:lnTo>
                      <a:pt x="448" y="164"/>
                    </a:lnTo>
                    <a:lnTo>
                      <a:pt x="449" y="164"/>
                    </a:lnTo>
                    <a:lnTo>
                      <a:pt x="449" y="162"/>
                    </a:lnTo>
                    <a:lnTo>
                      <a:pt x="450" y="162"/>
                    </a:lnTo>
                    <a:lnTo>
                      <a:pt x="451" y="161"/>
                    </a:lnTo>
                    <a:lnTo>
                      <a:pt x="452" y="161"/>
                    </a:lnTo>
                    <a:lnTo>
                      <a:pt x="452" y="160"/>
                    </a:lnTo>
                    <a:lnTo>
                      <a:pt x="453" y="160"/>
                    </a:lnTo>
                    <a:lnTo>
                      <a:pt x="453" y="159"/>
                    </a:lnTo>
                    <a:lnTo>
                      <a:pt x="454" y="160"/>
                    </a:lnTo>
                    <a:close/>
                    <a:moveTo>
                      <a:pt x="505" y="67"/>
                    </a:moveTo>
                    <a:lnTo>
                      <a:pt x="506" y="67"/>
                    </a:lnTo>
                    <a:lnTo>
                      <a:pt x="506" y="68"/>
                    </a:lnTo>
                    <a:lnTo>
                      <a:pt x="506" y="67"/>
                    </a:lnTo>
                    <a:lnTo>
                      <a:pt x="507" y="67"/>
                    </a:lnTo>
                    <a:lnTo>
                      <a:pt x="507" y="68"/>
                    </a:lnTo>
                    <a:lnTo>
                      <a:pt x="508" y="68"/>
                    </a:lnTo>
                    <a:lnTo>
                      <a:pt x="508" y="69"/>
                    </a:lnTo>
                    <a:lnTo>
                      <a:pt x="510" y="69"/>
                    </a:lnTo>
                    <a:lnTo>
                      <a:pt x="510" y="68"/>
                    </a:lnTo>
                    <a:lnTo>
                      <a:pt x="511" y="68"/>
                    </a:lnTo>
                    <a:lnTo>
                      <a:pt x="512" y="68"/>
                    </a:lnTo>
                    <a:lnTo>
                      <a:pt x="511" y="69"/>
                    </a:lnTo>
                    <a:lnTo>
                      <a:pt x="510" y="69"/>
                    </a:lnTo>
                    <a:lnTo>
                      <a:pt x="510" y="70"/>
                    </a:lnTo>
                    <a:lnTo>
                      <a:pt x="508" y="70"/>
                    </a:lnTo>
                    <a:lnTo>
                      <a:pt x="507" y="70"/>
                    </a:lnTo>
                    <a:lnTo>
                      <a:pt x="506" y="70"/>
                    </a:lnTo>
                    <a:lnTo>
                      <a:pt x="506" y="71"/>
                    </a:lnTo>
                    <a:lnTo>
                      <a:pt x="505" y="71"/>
                    </a:lnTo>
                    <a:lnTo>
                      <a:pt x="506" y="70"/>
                    </a:lnTo>
                    <a:lnTo>
                      <a:pt x="507" y="70"/>
                    </a:lnTo>
                    <a:lnTo>
                      <a:pt x="506" y="70"/>
                    </a:lnTo>
                    <a:lnTo>
                      <a:pt x="506" y="69"/>
                    </a:lnTo>
                    <a:lnTo>
                      <a:pt x="505" y="69"/>
                    </a:lnTo>
                    <a:lnTo>
                      <a:pt x="506" y="69"/>
                    </a:lnTo>
                    <a:lnTo>
                      <a:pt x="506" y="68"/>
                    </a:lnTo>
                    <a:lnTo>
                      <a:pt x="505" y="68"/>
                    </a:lnTo>
                    <a:lnTo>
                      <a:pt x="505" y="69"/>
                    </a:lnTo>
                    <a:lnTo>
                      <a:pt x="505" y="68"/>
                    </a:lnTo>
                    <a:lnTo>
                      <a:pt x="505" y="67"/>
                    </a:lnTo>
                    <a:close/>
                    <a:moveTo>
                      <a:pt x="451" y="144"/>
                    </a:moveTo>
                    <a:lnTo>
                      <a:pt x="451" y="145"/>
                    </a:lnTo>
                    <a:lnTo>
                      <a:pt x="450" y="145"/>
                    </a:lnTo>
                    <a:lnTo>
                      <a:pt x="450" y="146"/>
                    </a:lnTo>
                    <a:lnTo>
                      <a:pt x="450" y="147"/>
                    </a:lnTo>
                    <a:lnTo>
                      <a:pt x="450" y="148"/>
                    </a:lnTo>
                    <a:lnTo>
                      <a:pt x="449" y="148"/>
                    </a:lnTo>
                    <a:lnTo>
                      <a:pt x="448" y="148"/>
                    </a:lnTo>
                    <a:lnTo>
                      <a:pt x="449" y="148"/>
                    </a:lnTo>
                    <a:lnTo>
                      <a:pt x="449" y="147"/>
                    </a:lnTo>
                    <a:lnTo>
                      <a:pt x="449" y="146"/>
                    </a:lnTo>
                    <a:lnTo>
                      <a:pt x="448" y="146"/>
                    </a:lnTo>
                    <a:lnTo>
                      <a:pt x="447" y="146"/>
                    </a:lnTo>
                    <a:lnTo>
                      <a:pt x="446" y="146"/>
                    </a:lnTo>
                    <a:lnTo>
                      <a:pt x="446" y="147"/>
                    </a:lnTo>
                    <a:lnTo>
                      <a:pt x="446" y="146"/>
                    </a:lnTo>
                    <a:lnTo>
                      <a:pt x="445" y="145"/>
                    </a:lnTo>
                    <a:lnTo>
                      <a:pt x="446" y="145"/>
                    </a:lnTo>
                    <a:lnTo>
                      <a:pt x="447" y="145"/>
                    </a:lnTo>
                    <a:lnTo>
                      <a:pt x="447" y="144"/>
                    </a:lnTo>
                    <a:lnTo>
                      <a:pt x="448" y="144"/>
                    </a:lnTo>
                    <a:lnTo>
                      <a:pt x="448" y="145"/>
                    </a:lnTo>
                    <a:lnTo>
                      <a:pt x="449" y="145"/>
                    </a:lnTo>
                    <a:lnTo>
                      <a:pt x="449" y="144"/>
                    </a:lnTo>
                    <a:lnTo>
                      <a:pt x="450" y="144"/>
                    </a:lnTo>
                    <a:lnTo>
                      <a:pt x="450" y="143"/>
                    </a:lnTo>
                    <a:lnTo>
                      <a:pt x="451" y="144"/>
                    </a:lnTo>
                    <a:close/>
                    <a:moveTo>
                      <a:pt x="411" y="129"/>
                    </a:moveTo>
                    <a:lnTo>
                      <a:pt x="412" y="129"/>
                    </a:lnTo>
                    <a:lnTo>
                      <a:pt x="411" y="130"/>
                    </a:lnTo>
                    <a:lnTo>
                      <a:pt x="411" y="131"/>
                    </a:lnTo>
                    <a:lnTo>
                      <a:pt x="410" y="131"/>
                    </a:lnTo>
                    <a:lnTo>
                      <a:pt x="409" y="131"/>
                    </a:lnTo>
                    <a:lnTo>
                      <a:pt x="408" y="131"/>
                    </a:lnTo>
                    <a:lnTo>
                      <a:pt x="408" y="130"/>
                    </a:lnTo>
                    <a:lnTo>
                      <a:pt x="408" y="129"/>
                    </a:lnTo>
                    <a:lnTo>
                      <a:pt x="409" y="129"/>
                    </a:lnTo>
                    <a:lnTo>
                      <a:pt x="409" y="128"/>
                    </a:lnTo>
                    <a:lnTo>
                      <a:pt x="410" y="128"/>
                    </a:lnTo>
                    <a:lnTo>
                      <a:pt x="410" y="127"/>
                    </a:lnTo>
                    <a:lnTo>
                      <a:pt x="410" y="126"/>
                    </a:lnTo>
                    <a:lnTo>
                      <a:pt x="411" y="127"/>
                    </a:lnTo>
                    <a:lnTo>
                      <a:pt x="411" y="128"/>
                    </a:lnTo>
                    <a:lnTo>
                      <a:pt x="411" y="129"/>
                    </a:lnTo>
                    <a:close/>
                    <a:moveTo>
                      <a:pt x="406" y="176"/>
                    </a:moveTo>
                    <a:lnTo>
                      <a:pt x="407" y="176"/>
                    </a:lnTo>
                    <a:lnTo>
                      <a:pt x="408" y="176"/>
                    </a:lnTo>
                    <a:lnTo>
                      <a:pt x="409" y="174"/>
                    </a:lnTo>
                    <a:lnTo>
                      <a:pt x="409" y="176"/>
                    </a:lnTo>
                    <a:lnTo>
                      <a:pt x="409" y="174"/>
                    </a:lnTo>
                    <a:lnTo>
                      <a:pt x="410" y="176"/>
                    </a:lnTo>
                    <a:lnTo>
                      <a:pt x="409" y="176"/>
                    </a:lnTo>
                    <a:lnTo>
                      <a:pt x="409" y="177"/>
                    </a:lnTo>
                    <a:lnTo>
                      <a:pt x="408" y="177"/>
                    </a:lnTo>
                    <a:lnTo>
                      <a:pt x="408" y="178"/>
                    </a:lnTo>
                    <a:lnTo>
                      <a:pt x="408" y="179"/>
                    </a:lnTo>
                    <a:lnTo>
                      <a:pt x="407" y="179"/>
                    </a:lnTo>
                    <a:lnTo>
                      <a:pt x="406" y="178"/>
                    </a:lnTo>
                    <a:lnTo>
                      <a:pt x="404" y="178"/>
                    </a:lnTo>
                    <a:lnTo>
                      <a:pt x="404" y="177"/>
                    </a:lnTo>
                    <a:lnTo>
                      <a:pt x="406" y="177"/>
                    </a:lnTo>
                    <a:lnTo>
                      <a:pt x="406" y="176"/>
                    </a:lnTo>
                    <a:lnTo>
                      <a:pt x="404" y="176"/>
                    </a:lnTo>
                    <a:lnTo>
                      <a:pt x="403" y="177"/>
                    </a:lnTo>
                    <a:lnTo>
                      <a:pt x="403" y="176"/>
                    </a:lnTo>
                    <a:lnTo>
                      <a:pt x="403" y="174"/>
                    </a:lnTo>
                    <a:lnTo>
                      <a:pt x="404" y="176"/>
                    </a:lnTo>
                    <a:lnTo>
                      <a:pt x="406" y="176"/>
                    </a:lnTo>
                    <a:close/>
                    <a:moveTo>
                      <a:pt x="720" y="208"/>
                    </a:moveTo>
                    <a:lnTo>
                      <a:pt x="719" y="208"/>
                    </a:lnTo>
                    <a:lnTo>
                      <a:pt x="718" y="209"/>
                    </a:lnTo>
                    <a:lnTo>
                      <a:pt x="717" y="209"/>
                    </a:lnTo>
                    <a:lnTo>
                      <a:pt x="717" y="208"/>
                    </a:lnTo>
                    <a:lnTo>
                      <a:pt x="718" y="207"/>
                    </a:lnTo>
                    <a:lnTo>
                      <a:pt x="719" y="207"/>
                    </a:lnTo>
                    <a:lnTo>
                      <a:pt x="719" y="206"/>
                    </a:lnTo>
                    <a:lnTo>
                      <a:pt x="720" y="206"/>
                    </a:lnTo>
                    <a:lnTo>
                      <a:pt x="721" y="206"/>
                    </a:lnTo>
                    <a:lnTo>
                      <a:pt x="721" y="205"/>
                    </a:lnTo>
                    <a:lnTo>
                      <a:pt x="722" y="205"/>
                    </a:lnTo>
                    <a:lnTo>
                      <a:pt x="723" y="206"/>
                    </a:lnTo>
                    <a:lnTo>
                      <a:pt x="722" y="206"/>
                    </a:lnTo>
                    <a:lnTo>
                      <a:pt x="722" y="207"/>
                    </a:lnTo>
                    <a:lnTo>
                      <a:pt x="721" y="207"/>
                    </a:lnTo>
                    <a:lnTo>
                      <a:pt x="721" y="208"/>
                    </a:lnTo>
                    <a:lnTo>
                      <a:pt x="720" y="208"/>
                    </a:lnTo>
                    <a:close/>
                    <a:moveTo>
                      <a:pt x="433" y="164"/>
                    </a:moveTo>
                    <a:lnTo>
                      <a:pt x="433" y="165"/>
                    </a:lnTo>
                    <a:lnTo>
                      <a:pt x="432" y="165"/>
                    </a:lnTo>
                    <a:lnTo>
                      <a:pt x="432" y="164"/>
                    </a:lnTo>
                    <a:lnTo>
                      <a:pt x="430" y="164"/>
                    </a:lnTo>
                    <a:lnTo>
                      <a:pt x="430" y="165"/>
                    </a:lnTo>
                    <a:lnTo>
                      <a:pt x="429" y="166"/>
                    </a:lnTo>
                    <a:lnTo>
                      <a:pt x="428" y="166"/>
                    </a:lnTo>
                    <a:lnTo>
                      <a:pt x="427" y="167"/>
                    </a:lnTo>
                    <a:lnTo>
                      <a:pt x="427" y="168"/>
                    </a:lnTo>
                    <a:lnTo>
                      <a:pt x="426" y="168"/>
                    </a:lnTo>
                    <a:lnTo>
                      <a:pt x="426" y="169"/>
                    </a:lnTo>
                    <a:lnTo>
                      <a:pt x="426" y="168"/>
                    </a:lnTo>
                    <a:lnTo>
                      <a:pt x="427" y="168"/>
                    </a:lnTo>
                    <a:lnTo>
                      <a:pt x="427" y="167"/>
                    </a:lnTo>
                    <a:lnTo>
                      <a:pt x="427" y="166"/>
                    </a:lnTo>
                    <a:lnTo>
                      <a:pt x="428" y="166"/>
                    </a:lnTo>
                    <a:lnTo>
                      <a:pt x="429" y="165"/>
                    </a:lnTo>
                    <a:lnTo>
                      <a:pt x="430" y="164"/>
                    </a:lnTo>
                    <a:lnTo>
                      <a:pt x="430" y="162"/>
                    </a:lnTo>
                    <a:lnTo>
                      <a:pt x="430" y="161"/>
                    </a:lnTo>
                    <a:lnTo>
                      <a:pt x="432" y="161"/>
                    </a:lnTo>
                    <a:lnTo>
                      <a:pt x="432" y="160"/>
                    </a:lnTo>
                    <a:lnTo>
                      <a:pt x="432" y="159"/>
                    </a:lnTo>
                    <a:lnTo>
                      <a:pt x="433" y="158"/>
                    </a:lnTo>
                    <a:lnTo>
                      <a:pt x="434" y="157"/>
                    </a:lnTo>
                    <a:lnTo>
                      <a:pt x="433" y="158"/>
                    </a:lnTo>
                    <a:lnTo>
                      <a:pt x="433" y="159"/>
                    </a:lnTo>
                    <a:lnTo>
                      <a:pt x="433" y="160"/>
                    </a:lnTo>
                    <a:lnTo>
                      <a:pt x="433" y="161"/>
                    </a:lnTo>
                    <a:lnTo>
                      <a:pt x="433" y="162"/>
                    </a:lnTo>
                    <a:lnTo>
                      <a:pt x="433" y="164"/>
                    </a:lnTo>
                    <a:close/>
                    <a:moveTo>
                      <a:pt x="422" y="170"/>
                    </a:moveTo>
                    <a:lnTo>
                      <a:pt x="422" y="171"/>
                    </a:lnTo>
                    <a:lnTo>
                      <a:pt x="423" y="171"/>
                    </a:lnTo>
                    <a:lnTo>
                      <a:pt x="423" y="172"/>
                    </a:lnTo>
                    <a:lnTo>
                      <a:pt x="422" y="173"/>
                    </a:lnTo>
                    <a:lnTo>
                      <a:pt x="422" y="174"/>
                    </a:lnTo>
                    <a:lnTo>
                      <a:pt x="421" y="174"/>
                    </a:lnTo>
                    <a:lnTo>
                      <a:pt x="420" y="174"/>
                    </a:lnTo>
                    <a:lnTo>
                      <a:pt x="419" y="174"/>
                    </a:lnTo>
                    <a:lnTo>
                      <a:pt x="419" y="173"/>
                    </a:lnTo>
                    <a:lnTo>
                      <a:pt x="420" y="173"/>
                    </a:lnTo>
                    <a:lnTo>
                      <a:pt x="420" y="172"/>
                    </a:lnTo>
                    <a:lnTo>
                      <a:pt x="420" y="171"/>
                    </a:lnTo>
                    <a:lnTo>
                      <a:pt x="420" y="172"/>
                    </a:lnTo>
                    <a:lnTo>
                      <a:pt x="421" y="172"/>
                    </a:lnTo>
                    <a:lnTo>
                      <a:pt x="421" y="171"/>
                    </a:lnTo>
                    <a:lnTo>
                      <a:pt x="422" y="171"/>
                    </a:lnTo>
                    <a:lnTo>
                      <a:pt x="421" y="171"/>
                    </a:lnTo>
                    <a:lnTo>
                      <a:pt x="422" y="171"/>
                    </a:lnTo>
                    <a:lnTo>
                      <a:pt x="421" y="171"/>
                    </a:lnTo>
                    <a:lnTo>
                      <a:pt x="420" y="171"/>
                    </a:lnTo>
                    <a:lnTo>
                      <a:pt x="421" y="170"/>
                    </a:lnTo>
                    <a:lnTo>
                      <a:pt x="422" y="170"/>
                    </a:lnTo>
                    <a:close/>
                    <a:moveTo>
                      <a:pt x="729" y="177"/>
                    </a:moveTo>
                    <a:lnTo>
                      <a:pt x="729" y="178"/>
                    </a:lnTo>
                    <a:lnTo>
                      <a:pt x="730" y="178"/>
                    </a:lnTo>
                    <a:lnTo>
                      <a:pt x="731" y="178"/>
                    </a:lnTo>
                    <a:lnTo>
                      <a:pt x="731" y="179"/>
                    </a:lnTo>
                    <a:lnTo>
                      <a:pt x="730" y="178"/>
                    </a:lnTo>
                    <a:lnTo>
                      <a:pt x="730" y="179"/>
                    </a:lnTo>
                    <a:lnTo>
                      <a:pt x="730" y="180"/>
                    </a:lnTo>
                    <a:lnTo>
                      <a:pt x="729" y="180"/>
                    </a:lnTo>
                    <a:lnTo>
                      <a:pt x="730" y="180"/>
                    </a:lnTo>
                    <a:lnTo>
                      <a:pt x="730" y="181"/>
                    </a:lnTo>
                    <a:lnTo>
                      <a:pt x="729" y="181"/>
                    </a:lnTo>
                    <a:lnTo>
                      <a:pt x="727" y="181"/>
                    </a:lnTo>
                    <a:lnTo>
                      <a:pt x="727" y="180"/>
                    </a:lnTo>
                    <a:lnTo>
                      <a:pt x="726" y="180"/>
                    </a:lnTo>
                    <a:lnTo>
                      <a:pt x="726" y="179"/>
                    </a:lnTo>
                    <a:lnTo>
                      <a:pt x="726" y="178"/>
                    </a:lnTo>
                    <a:lnTo>
                      <a:pt x="727" y="177"/>
                    </a:lnTo>
                    <a:lnTo>
                      <a:pt x="729" y="177"/>
                    </a:lnTo>
                    <a:close/>
                    <a:moveTo>
                      <a:pt x="725" y="141"/>
                    </a:moveTo>
                    <a:lnTo>
                      <a:pt x="724" y="141"/>
                    </a:lnTo>
                    <a:lnTo>
                      <a:pt x="724" y="142"/>
                    </a:lnTo>
                    <a:lnTo>
                      <a:pt x="724" y="141"/>
                    </a:lnTo>
                    <a:lnTo>
                      <a:pt x="723" y="141"/>
                    </a:lnTo>
                    <a:lnTo>
                      <a:pt x="723" y="142"/>
                    </a:lnTo>
                    <a:lnTo>
                      <a:pt x="722" y="142"/>
                    </a:lnTo>
                    <a:lnTo>
                      <a:pt x="721" y="142"/>
                    </a:lnTo>
                    <a:lnTo>
                      <a:pt x="721" y="141"/>
                    </a:lnTo>
                    <a:lnTo>
                      <a:pt x="722" y="141"/>
                    </a:lnTo>
                    <a:lnTo>
                      <a:pt x="722" y="140"/>
                    </a:lnTo>
                    <a:lnTo>
                      <a:pt x="723" y="140"/>
                    </a:lnTo>
                    <a:lnTo>
                      <a:pt x="723" y="139"/>
                    </a:lnTo>
                    <a:lnTo>
                      <a:pt x="724" y="139"/>
                    </a:lnTo>
                    <a:lnTo>
                      <a:pt x="725" y="139"/>
                    </a:lnTo>
                    <a:lnTo>
                      <a:pt x="725" y="138"/>
                    </a:lnTo>
                    <a:lnTo>
                      <a:pt x="726" y="138"/>
                    </a:lnTo>
                    <a:lnTo>
                      <a:pt x="726" y="139"/>
                    </a:lnTo>
                    <a:lnTo>
                      <a:pt x="726" y="140"/>
                    </a:lnTo>
                    <a:lnTo>
                      <a:pt x="725" y="141"/>
                    </a:lnTo>
                    <a:close/>
                    <a:moveTo>
                      <a:pt x="372" y="239"/>
                    </a:moveTo>
                    <a:lnTo>
                      <a:pt x="373" y="239"/>
                    </a:lnTo>
                    <a:lnTo>
                      <a:pt x="374" y="241"/>
                    </a:lnTo>
                    <a:lnTo>
                      <a:pt x="373" y="241"/>
                    </a:lnTo>
                    <a:lnTo>
                      <a:pt x="373" y="242"/>
                    </a:lnTo>
                    <a:lnTo>
                      <a:pt x="372" y="242"/>
                    </a:lnTo>
                    <a:lnTo>
                      <a:pt x="371" y="242"/>
                    </a:lnTo>
                    <a:lnTo>
                      <a:pt x="370" y="242"/>
                    </a:lnTo>
                    <a:lnTo>
                      <a:pt x="370" y="243"/>
                    </a:lnTo>
                    <a:lnTo>
                      <a:pt x="370" y="242"/>
                    </a:lnTo>
                    <a:lnTo>
                      <a:pt x="369" y="242"/>
                    </a:lnTo>
                    <a:lnTo>
                      <a:pt x="369" y="243"/>
                    </a:lnTo>
                    <a:lnTo>
                      <a:pt x="368" y="244"/>
                    </a:lnTo>
                    <a:lnTo>
                      <a:pt x="368" y="243"/>
                    </a:lnTo>
                    <a:lnTo>
                      <a:pt x="366" y="243"/>
                    </a:lnTo>
                    <a:lnTo>
                      <a:pt x="366" y="242"/>
                    </a:lnTo>
                    <a:lnTo>
                      <a:pt x="368" y="242"/>
                    </a:lnTo>
                    <a:lnTo>
                      <a:pt x="368" y="241"/>
                    </a:lnTo>
                    <a:lnTo>
                      <a:pt x="369" y="241"/>
                    </a:lnTo>
                    <a:lnTo>
                      <a:pt x="370" y="241"/>
                    </a:lnTo>
                    <a:lnTo>
                      <a:pt x="370" y="239"/>
                    </a:lnTo>
                    <a:lnTo>
                      <a:pt x="371" y="241"/>
                    </a:lnTo>
                    <a:lnTo>
                      <a:pt x="371" y="239"/>
                    </a:lnTo>
                    <a:lnTo>
                      <a:pt x="372" y="239"/>
                    </a:lnTo>
                    <a:close/>
                    <a:moveTo>
                      <a:pt x="277" y="307"/>
                    </a:moveTo>
                    <a:lnTo>
                      <a:pt x="278" y="307"/>
                    </a:lnTo>
                    <a:lnTo>
                      <a:pt x="278" y="308"/>
                    </a:lnTo>
                    <a:lnTo>
                      <a:pt x="279" y="308"/>
                    </a:lnTo>
                    <a:lnTo>
                      <a:pt x="278" y="309"/>
                    </a:lnTo>
                    <a:lnTo>
                      <a:pt x="277" y="309"/>
                    </a:lnTo>
                    <a:lnTo>
                      <a:pt x="275" y="309"/>
                    </a:lnTo>
                    <a:lnTo>
                      <a:pt x="277" y="310"/>
                    </a:lnTo>
                    <a:lnTo>
                      <a:pt x="275" y="310"/>
                    </a:lnTo>
                    <a:lnTo>
                      <a:pt x="275" y="309"/>
                    </a:lnTo>
                    <a:lnTo>
                      <a:pt x="274" y="310"/>
                    </a:lnTo>
                    <a:lnTo>
                      <a:pt x="273" y="310"/>
                    </a:lnTo>
                    <a:lnTo>
                      <a:pt x="273" y="309"/>
                    </a:lnTo>
                    <a:lnTo>
                      <a:pt x="273" y="308"/>
                    </a:lnTo>
                    <a:lnTo>
                      <a:pt x="274" y="309"/>
                    </a:lnTo>
                    <a:lnTo>
                      <a:pt x="274" y="308"/>
                    </a:lnTo>
                    <a:lnTo>
                      <a:pt x="273" y="308"/>
                    </a:lnTo>
                    <a:lnTo>
                      <a:pt x="274" y="308"/>
                    </a:lnTo>
                    <a:lnTo>
                      <a:pt x="274" y="307"/>
                    </a:lnTo>
                    <a:lnTo>
                      <a:pt x="275" y="307"/>
                    </a:lnTo>
                    <a:lnTo>
                      <a:pt x="277" y="307"/>
                    </a:lnTo>
                    <a:close/>
                    <a:moveTo>
                      <a:pt x="433" y="222"/>
                    </a:moveTo>
                    <a:lnTo>
                      <a:pt x="434" y="222"/>
                    </a:lnTo>
                    <a:lnTo>
                      <a:pt x="434" y="223"/>
                    </a:lnTo>
                    <a:lnTo>
                      <a:pt x="435" y="223"/>
                    </a:lnTo>
                    <a:lnTo>
                      <a:pt x="434" y="223"/>
                    </a:lnTo>
                    <a:lnTo>
                      <a:pt x="434" y="224"/>
                    </a:lnTo>
                    <a:lnTo>
                      <a:pt x="435" y="224"/>
                    </a:lnTo>
                    <a:lnTo>
                      <a:pt x="435" y="225"/>
                    </a:lnTo>
                    <a:lnTo>
                      <a:pt x="436" y="225"/>
                    </a:lnTo>
                    <a:lnTo>
                      <a:pt x="436" y="226"/>
                    </a:lnTo>
                    <a:lnTo>
                      <a:pt x="436" y="228"/>
                    </a:lnTo>
                    <a:lnTo>
                      <a:pt x="435" y="228"/>
                    </a:lnTo>
                    <a:lnTo>
                      <a:pt x="435" y="226"/>
                    </a:lnTo>
                    <a:lnTo>
                      <a:pt x="435" y="225"/>
                    </a:lnTo>
                    <a:lnTo>
                      <a:pt x="434" y="225"/>
                    </a:lnTo>
                    <a:lnTo>
                      <a:pt x="433" y="224"/>
                    </a:lnTo>
                    <a:lnTo>
                      <a:pt x="434" y="224"/>
                    </a:lnTo>
                    <a:lnTo>
                      <a:pt x="433" y="224"/>
                    </a:lnTo>
                    <a:lnTo>
                      <a:pt x="433" y="223"/>
                    </a:lnTo>
                    <a:lnTo>
                      <a:pt x="433" y="224"/>
                    </a:lnTo>
                    <a:lnTo>
                      <a:pt x="432" y="224"/>
                    </a:lnTo>
                    <a:lnTo>
                      <a:pt x="430" y="224"/>
                    </a:lnTo>
                    <a:lnTo>
                      <a:pt x="430" y="223"/>
                    </a:lnTo>
                    <a:lnTo>
                      <a:pt x="432" y="224"/>
                    </a:lnTo>
                    <a:lnTo>
                      <a:pt x="432" y="223"/>
                    </a:lnTo>
                    <a:lnTo>
                      <a:pt x="433" y="223"/>
                    </a:lnTo>
                    <a:lnTo>
                      <a:pt x="433" y="222"/>
                    </a:lnTo>
                    <a:lnTo>
                      <a:pt x="432" y="222"/>
                    </a:lnTo>
                    <a:lnTo>
                      <a:pt x="430" y="222"/>
                    </a:lnTo>
                    <a:lnTo>
                      <a:pt x="430" y="223"/>
                    </a:lnTo>
                    <a:lnTo>
                      <a:pt x="429" y="223"/>
                    </a:lnTo>
                    <a:lnTo>
                      <a:pt x="429" y="222"/>
                    </a:lnTo>
                    <a:lnTo>
                      <a:pt x="430" y="222"/>
                    </a:lnTo>
                    <a:lnTo>
                      <a:pt x="432" y="222"/>
                    </a:lnTo>
                    <a:lnTo>
                      <a:pt x="432" y="221"/>
                    </a:lnTo>
                    <a:lnTo>
                      <a:pt x="433" y="222"/>
                    </a:lnTo>
                    <a:close/>
                    <a:moveTo>
                      <a:pt x="730" y="157"/>
                    </a:moveTo>
                    <a:lnTo>
                      <a:pt x="730" y="158"/>
                    </a:lnTo>
                    <a:lnTo>
                      <a:pt x="729" y="158"/>
                    </a:lnTo>
                    <a:lnTo>
                      <a:pt x="729" y="159"/>
                    </a:lnTo>
                    <a:lnTo>
                      <a:pt x="727" y="159"/>
                    </a:lnTo>
                    <a:lnTo>
                      <a:pt x="726" y="159"/>
                    </a:lnTo>
                    <a:lnTo>
                      <a:pt x="726" y="160"/>
                    </a:lnTo>
                    <a:lnTo>
                      <a:pt x="725" y="160"/>
                    </a:lnTo>
                    <a:lnTo>
                      <a:pt x="724" y="159"/>
                    </a:lnTo>
                    <a:lnTo>
                      <a:pt x="725" y="159"/>
                    </a:lnTo>
                    <a:lnTo>
                      <a:pt x="724" y="158"/>
                    </a:lnTo>
                    <a:lnTo>
                      <a:pt x="725" y="158"/>
                    </a:lnTo>
                    <a:lnTo>
                      <a:pt x="726" y="157"/>
                    </a:lnTo>
                    <a:lnTo>
                      <a:pt x="727" y="157"/>
                    </a:lnTo>
                    <a:lnTo>
                      <a:pt x="729" y="157"/>
                    </a:lnTo>
                    <a:lnTo>
                      <a:pt x="730" y="157"/>
                    </a:lnTo>
                    <a:close/>
                    <a:moveTo>
                      <a:pt x="714" y="248"/>
                    </a:moveTo>
                    <a:lnTo>
                      <a:pt x="713" y="249"/>
                    </a:lnTo>
                    <a:lnTo>
                      <a:pt x="713" y="250"/>
                    </a:lnTo>
                    <a:lnTo>
                      <a:pt x="712" y="250"/>
                    </a:lnTo>
                    <a:lnTo>
                      <a:pt x="712" y="249"/>
                    </a:lnTo>
                    <a:lnTo>
                      <a:pt x="711" y="249"/>
                    </a:lnTo>
                    <a:lnTo>
                      <a:pt x="710" y="249"/>
                    </a:lnTo>
                    <a:lnTo>
                      <a:pt x="711" y="249"/>
                    </a:lnTo>
                    <a:lnTo>
                      <a:pt x="711" y="248"/>
                    </a:lnTo>
                    <a:lnTo>
                      <a:pt x="710" y="249"/>
                    </a:lnTo>
                    <a:lnTo>
                      <a:pt x="710" y="248"/>
                    </a:lnTo>
                    <a:lnTo>
                      <a:pt x="710" y="247"/>
                    </a:lnTo>
                    <a:lnTo>
                      <a:pt x="711" y="247"/>
                    </a:lnTo>
                    <a:lnTo>
                      <a:pt x="711" y="246"/>
                    </a:lnTo>
                    <a:lnTo>
                      <a:pt x="712" y="247"/>
                    </a:lnTo>
                    <a:lnTo>
                      <a:pt x="713" y="247"/>
                    </a:lnTo>
                    <a:lnTo>
                      <a:pt x="714" y="248"/>
                    </a:lnTo>
                    <a:close/>
                    <a:moveTo>
                      <a:pt x="412" y="70"/>
                    </a:moveTo>
                    <a:lnTo>
                      <a:pt x="413" y="70"/>
                    </a:lnTo>
                    <a:lnTo>
                      <a:pt x="414" y="70"/>
                    </a:lnTo>
                    <a:lnTo>
                      <a:pt x="413" y="70"/>
                    </a:lnTo>
                    <a:lnTo>
                      <a:pt x="414" y="71"/>
                    </a:lnTo>
                    <a:lnTo>
                      <a:pt x="415" y="71"/>
                    </a:lnTo>
                    <a:lnTo>
                      <a:pt x="415" y="72"/>
                    </a:lnTo>
                    <a:lnTo>
                      <a:pt x="415" y="74"/>
                    </a:lnTo>
                    <a:lnTo>
                      <a:pt x="414" y="75"/>
                    </a:lnTo>
                    <a:lnTo>
                      <a:pt x="413" y="75"/>
                    </a:lnTo>
                    <a:lnTo>
                      <a:pt x="413" y="76"/>
                    </a:lnTo>
                    <a:lnTo>
                      <a:pt x="413" y="75"/>
                    </a:lnTo>
                    <a:lnTo>
                      <a:pt x="412" y="75"/>
                    </a:lnTo>
                    <a:lnTo>
                      <a:pt x="412" y="74"/>
                    </a:lnTo>
                    <a:lnTo>
                      <a:pt x="413" y="74"/>
                    </a:lnTo>
                    <a:lnTo>
                      <a:pt x="413" y="72"/>
                    </a:lnTo>
                    <a:lnTo>
                      <a:pt x="414" y="72"/>
                    </a:lnTo>
                    <a:lnTo>
                      <a:pt x="413" y="72"/>
                    </a:lnTo>
                    <a:lnTo>
                      <a:pt x="414" y="72"/>
                    </a:lnTo>
                    <a:lnTo>
                      <a:pt x="413" y="71"/>
                    </a:lnTo>
                    <a:lnTo>
                      <a:pt x="414" y="71"/>
                    </a:lnTo>
                    <a:lnTo>
                      <a:pt x="413" y="71"/>
                    </a:lnTo>
                    <a:lnTo>
                      <a:pt x="413" y="70"/>
                    </a:lnTo>
                    <a:lnTo>
                      <a:pt x="413" y="71"/>
                    </a:lnTo>
                    <a:lnTo>
                      <a:pt x="412" y="71"/>
                    </a:lnTo>
                    <a:lnTo>
                      <a:pt x="411" y="71"/>
                    </a:lnTo>
                    <a:lnTo>
                      <a:pt x="411" y="70"/>
                    </a:lnTo>
                    <a:lnTo>
                      <a:pt x="412" y="70"/>
                    </a:lnTo>
                    <a:close/>
                    <a:moveTo>
                      <a:pt x="725" y="200"/>
                    </a:moveTo>
                    <a:lnTo>
                      <a:pt x="725" y="202"/>
                    </a:lnTo>
                    <a:lnTo>
                      <a:pt x="726" y="202"/>
                    </a:lnTo>
                    <a:lnTo>
                      <a:pt x="727" y="202"/>
                    </a:lnTo>
                    <a:lnTo>
                      <a:pt x="726" y="202"/>
                    </a:lnTo>
                    <a:lnTo>
                      <a:pt x="726" y="203"/>
                    </a:lnTo>
                    <a:lnTo>
                      <a:pt x="726" y="204"/>
                    </a:lnTo>
                    <a:lnTo>
                      <a:pt x="725" y="203"/>
                    </a:lnTo>
                    <a:lnTo>
                      <a:pt x="724" y="203"/>
                    </a:lnTo>
                    <a:lnTo>
                      <a:pt x="723" y="203"/>
                    </a:lnTo>
                    <a:lnTo>
                      <a:pt x="723" y="202"/>
                    </a:lnTo>
                    <a:lnTo>
                      <a:pt x="722" y="202"/>
                    </a:lnTo>
                    <a:lnTo>
                      <a:pt x="722" y="200"/>
                    </a:lnTo>
                    <a:lnTo>
                      <a:pt x="723" y="200"/>
                    </a:lnTo>
                    <a:lnTo>
                      <a:pt x="724" y="200"/>
                    </a:lnTo>
                    <a:lnTo>
                      <a:pt x="724" y="199"/>
                    </a:lnTo>
                    <a:lnTo>
                      <a:pt x="725" y="200"/>
                    </a:lnTo>
                    <a:close/>
                    <a:moveTo>
                      <a:pt x="400" y="108"/>
                    </a:moveTo>
                    <a:lnTo>
                      <a:pt x="401" y="108"/>
                    </a:lnTo>
                    <a:lnTo>
                      <a:pt x="402" y="108"/>
                    </a:lnTo>
                    <a:lnTo>
                      <a:pt x="402" y="109"/>
                    </a:lnTo>
                    <a:lnTo>
                      <a:pt x="401" y="109"/>
                    </a:lnTo>
                    <a:lnTo>
                      <a:pt x="402" y="110"/>
                    </a:lnTo>
                    <a:lnTo>
                      <a:pt x="403" y="110"/>
                    </a:lnTo>
                    <a:lnTo>
                      <a:pt x="402" y="110"/>
                    </a:lnTo>
                    <a:lnTo>
                      <a:pt x="401" y="110"/>
                    </a:lnTo>
                    <a:lnTo>
                      <a:pt x="401" y="109"/>
                    </a:lnTo>
                    <a:lnTo>
                      <a:pt x="400" y="109"/>
                    </a:lnTo>
                    <a:lnTo>
                      <a:pt x="399" y="109"/>
                    </a:lnTo>
                    <a:lnTo>
                      <a:pt x="398" y="109"/>
                    </a:lnTo>
                    <a:lnTo>
                      <a:pt x="398" y="108"/>
                    </a:lnTo>
                    <a:lnTo>
                      <a:pt x="398" y="107"/>
                    </a:lnTo>
                    <a:lnTo>
                      <a:pt x="399" y="107"/>
                    </a:lnTo>
                    <a:lnTo>
                      <a:pt x="400" y="107"/>
                    </a:lnTo>
                    <a:lnTo>
                      <a:pt x="400" y="108"/>
                    </a:lnTo>
                    <a:close/>
                    <a:moveTo>
                      <a:pt x="445" y="114"/>
                    </a:moveTo>
                    <a:lnTo>
                      <a:pt x="443" y="114"/>
                    </a:lnTo>
                    <a:lnTo>
                      <a:pt x="443" y="115"/>
                    </a:lnTo>
                    <a:lnTo>
                      <a:pt x="443" y="116"/>
                    </a:lnTo>
                    <a:lnTo>
                      <a:pt x="442" y="116"/>
                    </a:lnTo>
                    <a:lnTo>
                      <a:pt x="442" y="115"/>
                    </a:lnTo>
                    <a:lnTo>
                      <a:pt x="441" y="115"/>
                    </a:lnTo>
                    <a:lnTo>
                      <a:pt x="440" y="116"/>
                    </a:lnTo>
                    <a:lnTo>
                      <a:pt x="440" y="115"/>
                    </a:lnTo>
                    <a:lnTo>
                      <a:pt x="440" y="114"/>
                    </a:lnTo>
                    <a:lnTo>
                      <a:pt x="440" y="113"/>
                    </a:lnTo>
                    <a:lnTo>
                      <a:pt x="440" y="112"/>
                    </a:lnTo>
                    <a:lnTo>
                      <a:pt x="441" y="112"/>
                    </a:lnTo>
                    <a:lnTo>
                      <a:pt x="441" y="113"/>
                    </a:lnTo>
                    <a:lnTo>
                      <a:pt x="441" y="114"/>
                    </a:lnTo>
                    <a:lnTo>
                      <a:pt x="442" y="114"/>
                    </a:lnTo>
                    <a:lnTo>
                      <a:pt x="443" y="114"/>
                    </a:lnTo>
                    <a:lnTo>
                      <a:pt x="443" y="113"/>
                    </a:lnTo>
                    <a:lnTo>
                      <a:pt x="443" y="112"/>
                    </a:lnTo>
                    <a:lnTo>
                      <a:pt x="445" y="112"/>
                    </a:lnTo>
                    <a:lnTo>
                      <a:pt x="445" y="113"/>
                    </a:lnTo>
                    <a:lnTo>
                      <a:pt x="445" y="114"/>
                    </a:lnTo>
                    <a:close/>
                    <a:moveTo>
                      <a:pt x="331" y="238"/>
                    </a:moveTo>
                    <a:lnTo>
                      <a:pt x="332" y="239"/>
                    </a:lnTo>
                    <a:lnTo>
                      <a:pt x="333" y="239"/>
                    </a:lnTo>
                    <a:lnTo>
                      <a:pt x="334" y="239"/>
                    </a:lnTo>
                    <a:lnTo>
                      <a:pt x="334" y="238"/>
                    </a:lnTo>
                    <a:lnTo>
                      <a:pt x="335" y="238"/>
                    </a:lnTo>
                    <a:lnTo>
                      <a:pt x="335" y="239"/>
                    </a:lnTo>
                    <a:lnTo>
                      <a:pt x="334" y="239"/>
                    </a:lnTo>
                    <a:lnTo>
                      <a:pt x="334" y="241"/>
                    </a:lnTo>
                    <a:lnTo>
                      <a:pt x="334" y="242"/>
                    </a:lnTo>
                    <a:lnTo>
                      <a:pt x="335" y="242"/>
                    </a:lnTo>
                    <a:lnTo>
                      <a:pt x="335" y="241"/>
                    </a:lnTo>
                    <a:lnTo>
                      <a:pt x="336" y="241"/>
                    </a:lnTo>
                    <a:lnTo>
                      <a:pt x="337" y="241"/>
                    </a:lnTo>
                    <a:lnTo>
                      <a:pt x="336" y="242"/>
                    </a:lnTo>
                    <a:lnTo>
                      <a:pt x="335" y="242"/>
                    </a:lnTo>
                    <a:lnTo>
                      <a:pt x="335" y="243"/>
                    </a:lnTo>
                    <a:lnTo>
                      <a:pt x="335" y="242"/>
                    </a:lnTo>
                    <a:lnTo>
                      <a:pt x="334" y="242"/>
                    </a:lnTo>
                    <a:lnTo>
                      <a:pt x="334" y="241"/>
                    </a:lnTo>
                    <a:lnTo>
                      <a:pt x="333" y="241"/>
                    </a:lnTo>
                    <a:lnTo>
                      <a:pt x="333" y="242"/>
                    </a:lnTo>
                    <a:lnTo>
                      <a:pt x="332" y="242"/>
                    </a:lnTo>
                    <a:lnTo>
                      <a:pt x="332" y="241"/>
                    </a:lnTo>
                    <a:lnTo>
                      <a:pt x="332" y="239"/>
                    </a:lnTo>
                    <a:lnTo>
                      <a:pt x="331" y="239"/>
                    </a:lnTo>
                    <a:lnTo>
                      <a:pt x="331" y="238"/>
                    </a:lnTo>
                    <a:lnTo>
                      <a:pt x="330" y="238"/>
                    </a:lnTo>
                    <a:lnTo>
                      <a:pt x="330" y="239"/>
                    </a:lnTo>
                    <a:lnTo>
                      <a:pt x="330" y="238"/>
                    </a:lnTo>
                    <a:lnTo>
                      <a:pt x="331" y="238"/>
                    </a:lnTo>
                    <a:lnTo>
                      <a:pt x="331" y="237"/>
                    </a:lnTo>
                    <a:lnTo>
                      <a:pt x="331" y="238"/>
                    </a:lnTo>
                    <a:close/>
                    <a:moveTo>
                      <a:pt x="729" y="184"/>
                    </a:moveTo>
                    <a:lnTo>
                      <a:pt x="730" y="186"/>
                    </a:lnTo>
                    <a:lnTo>
                      <a:pt x="729" y="186"/>
                    </a:lnTo>
                    <a:lnTo>
                      <a:pt x="727" y="187"/>
                    </a:lnTo>
                    <a:lnTo>
                      <a:pt x="727" y="186"/>
                    </a:lnTo>
                    <a:lnTo>
                      <a:pt x="726" y="187"/>
                    </a:lnTo>
                    <a:lnTo>
                      <a:pt x="725" y="187"/>
                    </a:lnTo>
                    <a:lnTo>
                      <a:pt x="724" y="187"/>
                    </a:lnTo>
                    <a:lnTo>
                      <a:pt x="724" y="186"/>
                    </a:lnTo>
                    <a:lnTo>
                      <a:pt x="725" y="186"/>
                    </a:lnTo>
                    <a:lnTo>
                      <a:pt x="725" y="187"/>
                    </a:lnTo>
                    <a:lnTo>
                      <a:pt x="725" y="186"/>
                    </a:lnTo>
                    <a:lnTo>
                      <a:pt x="725" y="185"/>
                    </a:lnTo>
                    <a:lnTo>
                      <a:pt x="724" y="185"/>
                    </a:lnTo>
                    <a:lnTo>
                      <a:pt x="725" y="185"/>
                    </a:lnTo>
                    <a:lnTo>
                      <a:pt x="725" y="184"/>
                    </a:lnTo>
                    <a:lnTo>
                      <a:pt x="725" y="185"/>
                    </a:lnTo>
                    <a:lnTo>
                      <a:pt x="726" y="185"/>
                    </a:lnTo>
                    <a:lnTo>
                      <a:pt x="727" y="185"/>
                    </a:lnTo>
                    <a:lnTo>
                      <a:pt x="727" y="184"/>
                    </a:lnTo>
                    <a:lnTo>
                      <a:pt x="729" y="184"/>
                    </a:lnTo>
                    <a:close/>
                    <a:moveTo>
                      <a:pt x="705" y="258"/>
                    </a:moveTo>
                    <a:lnTo>
                      <a:pt x="706" y="258"/>
                    </a:lnTo>
                    <a:lnTo>
                      <a:pt x="707" y="258"/>
                    </a:lnTo>
                    <a:lnTo>
                      <a:pt x="708" y="259"/>
                    </a:lnTo>
                    <a:lnTo>
                      <a:pt x="709" y="259"/>
                    </a:lnTo>
                    <a:lnTo>
                      <a:pt x="709" y="260"/>
                    </a:lnTo>
                    <a:lnTo>
                      <a:pt x="708" y="260"/>
                    </a:lnTo>
                    <a:lnTo>
                      <a:pt x="707" y="260"/>
                    </a:lnTo>
                    <a:lnTo>
                      <a:pt x="706" y="260"/>
                    </a:lnTo>
                    <a:lnTo>
                      <a:pt x="705" y="260"/>
                    </a:lnTo>
                    <a:lnTo>
                      <a:pt x="705" y="259"/>
                    </a:lnTo>
                    <a:lnTo>
                      <a:pt x="704" y="259"/>
                    </a:lnTo>
                    <a:lnTo>
                      <a:pt x="704" y="258"/>
                    </a:lnTo>
                    <a:lnTo>
                      <a:pt x="705" y="258"/>
                    </a:lnTo>
                    <a:close/>
                    <a:moveTo>
                      <a:pt x="414" y="117"/>
                    </a:moveTo>
                    <a:lnTo>
                      <a:pt x="414" y="118"/>
                    </a:lnTo>
                    <a:lnTo>
                      <a:pt x="414" y="119"/>
                    </a:lnTo>
                    <a:lnTo>
                      <a:pt x="414" y="120"/>
                    </a:lnTo>
                    <a:lnTo>
                      <a:pt x="414" y="121"/>
                    </a:lnTo>
                    <a:lnTo>
                      <a:pt x="414" y="122"/>
                    </a:lnTo>
                    <a:lnTo>
                      <a:pt x="414" y="121"/>
                    </a:lnTo>
                    <a:lnTo>
                      <a:pt x="413" y="121"/>
                    </a:lnTo>
                    <a:lnTo>
                      <a:pt x="414" y="121"/>
                    </a:lnTo>
                    <a:lnTo>
                      <a:pt x="414" y="120"/>
                    </a:lnTo>
                    <a:lnTo>
                      <a:pt x="413" y="120"/>
                    </a:lnTo>
                    <a:lnTo>
                      <a:pt x="413" y="121"/>
                    </a:lnTo>
                    <a:lnTo>
                      <a:pt x="413" y="120"/>
                    </a:lnTo>
                    <a:lnTo>
                      <a:pt x="412" y="120"/>
                    </a:lnTo>
                    <a:lnTo>
                      <a:pt x="412" y="119"/>
                    </a:lnTo>
                    <a:lnTo>
                      <a:pt x="412" y="118"/>
                    </a:lnTo>
                    <a:lnTo>
                      <a:pt x="413" y="118"/>
                    </a:lnTo>
                    <a:lnTo>
                      <a:pt x="412" y="118"/>
                    </a:lnTo>
                    <a:lnTo>
                      <a:pt x="413" y="118"/>
                    </a:lnTo>
                    <a:lnTo>
                      <a:pt x="412" y="117"/>
                    </a:lnTo>
                    <a:lnTo>
                      <a:pt x="413" y="117"/>
                    </a:lnTo>
                    <a:lnTo>
                      <a:pt x="414" y="117"/>
                    </a:lnTo>
                    <a:close/>
                    <a:moveTo>
                      <a:pt x="296" y="309"/>
                    </a:moveTo>
                    <a:lnTo>
                      <a:pt x="297" y="309"/>
                    </a:lnTo>
                    <a:lnTo>
                      <a:pt x="298" y="309"/>
                    </a:lnTo>
                    <a:lnTo>
                      <a:pt x="299" y="309"/>
                    </a:lnTo>
                    <a:lnTo>
                      <a:pt x="299" y="310"/>
                    </a:lnTo>
                    <a:lnTo>
                      <a:pt x="300" y="310"/>
                    </a:lnTo>
                    <a:lnTo>
                      <a:pt x="300" y="311"/>
                    </a:lnTo>
                    <a:lnTo>
                      <a:pt x="299" y="311"/>
                    </a:lnTo>
                    <a:lnTo>
                      <a:pt x="299" y="312"/>
                    </a:lnTo>
                    <a:lnTo>
                      <a:pt x="300" y="312"/>
                    </a:lnTo>
                    <a:lnTo>
                      <a:pt x="300" y="313"/>
                    </a:lnTo>
                    <a:lnTo>
                      <a:pt x="300" y="314"/>
                    </a:lnTo>
                    <a:lnTo>
                      <a:pt x="299" y="314"/>
                    </a:lnTo>
                    <a:lnTo>
                      <a:pt x="299" y="313"/>
                    </a:lnTo>
                    <a:lnTo>
                      <a:pt x="299" y="314"/>
                    </a:lnTo>
                    <a:lnTo>
                      <a:pt x="299" y="313"/>
                    </a:lnTo>
                    <a:lnTo>
                      <a:pt x="298" y="313"/>
                    </a:lnTo>
                    <a:lnTo>
                      <a:pt x="298" y="312"/>
                    </a:lnTo>
                    <a:lnTo>
                      <a:pt x="297" y="311"/>
                    </a:lnTo>
                    <a:lnTo>
                      <a:pt x="298" y="312"/>
                    </a:lnTo>
                    <a:lnTo>
                      <a:pt x="298" y="311"/>
                    </a:lnTo>
                    <a:lnTo>
                      <a:pt x="299" y="311"/>
                    </a:lnTo>
                    <a:lnTo>
                      <a:pt x="299" y="310"/>
                    </a:lnTo>
                    <a:lnTo>
                      <a:pt x="298" y="310"/>
                    </a:lnTo>
                    <a:lnTo>
                      <a:pt x="297" y="310"/>
                    </a:lnTo>
                    <a:lnTo>
                      <a:pt x="296" y="309"/>
                    </a:lnTo>
                    <a:lnTo>
                      <a:pt x="295" y="309"/>
                    </a:lnTo>
                    <a:lnTo>
                      <a:pt x="296" y="309"/>
                    </a:lnTo>
                    <a:close/>
                    <a:moveTo>
                      <a:pt x="721" y="228"/>
                    </a:moveTo>
                    <a:lnTo>
                      <a:pt x="722" y="228"/>
                    </a:lnTo>
                    <a:lnTo>
                      <a:pt x="722" y="229"/>
                    </a:lnTo>
                    <a:lnTo>
                      <a:pt x="721" y="230"/>
                    </a:lnTo>
                    <a:lnTo>
                      <a:pt x="720" y="230"/>
                    </a:lnTo>
                    <a:lnTo>
                      <a:pt x="719" y="230"/>
                    </a:lnTo>
                    <a:lnTo>
                      <a:pt x="719" y="229"/>
                    </a:lnTo>
                    <a:lnTo>
                      <a:pt x="720" y="229"/>
                    </a:lnTo>
                    <a:lnTo>
                      <a:pt x="720" y="228"/>
                    </a:lnTo>
                    <a:lnTo>
                      <a:pt x="719" y="229"/>
                    </a:lnTo>
                    <a:lnTo>
                      <a:pt x="719" y="228"/>
                    </a:lnTo>
                    <a:lnTo>
                      <a:pt x="718" y="228"/>
                    </a:lnTo>
                    <a:lnTo>
                      <a:pt x="718" y="226"/>
                    </a:lnTo>
                    <a:lnTo>
                      <a:pt x="719" y="226"/>
                    </a:lnTo>
                    <a:lnTo>
                      <a:pt x="720" y="226"/>
                    </a:lnTo>
                    <a:lnTo>
                      <a:pt x="721" y="226"/>
                    </a:lnTo>
                    <a:lnTo>
                      <a:pt x="721" y="228"/>
                    </a:lnTo>
                    <a:close/>
                    <a:moveTo>
                      <a:pt x="722" y="138"/>
                    </a:moveTo>
                    <a:lnTo>
                      <a:pt x="723" y="138"/>
                    </a:lnTo>
                    <a:lnTo>
                      <a:pt x="723" y="139"/>
                    </a:lnTo>
                    <a:lnTo>
                      <a:pt x="723" y="140"/>
                    </a:lnTo>
                    <a:lnTo>
                      <a:pt x="722" y="140"/>
                    </a:lnTo>
                    <a:lnTo>
                      <a:pt x="721" y="141"/>
                    </a:lnTo>
                    <a:lnTo>
                      <a:pt x="720" y="142"/>
                    </a:lnTo>
                    <a:lnTo>
                      <a:pt x="720" y="141"/>
                    </a:lnTo>
                    <a:lnTo>
                      <a:pt x="720" y="140"/>
                    </a:lnTo>
                    <a:lnTo>
                      <a:pt x="720" y="139"/>
                    </a:lnTo>
                    <a:lnTo>
                      <a:pt x="721" y="139"/>
                    </a:lnTo>
                    <a:lnTo>
                      <a:pt x="721" y="138"/>
                    </a:lnTo>
                    <a:lnTo>
                      <a:pt x="722" y="138"/>
                    </a:lnTo>
                    <a:close/>
                    <a:moveTo>
                      <a:pt x="388" y="168"/>
                    </a:moveTo>
                    <a:lnTo>
                      <a:pt x="387" y="169"/>
                    </a:lnTo>
                    <a:lnTo>
                      <a:pt x="386" y="170"/>
                    </a:lnTo>
                    <a:lnTo>
                      <a:pt x="386" y="169"/>
                    </a:lnTo>
                    <a:lnTo>
                      <a:pt x="386" y="168"/>
                    </a:lnTo>
                    <a:lnTo>
                      <a:pt x="385" y="168"/>
                    </a:lnTo>
                    <a:lnTo>
                      <a:pt x="385" y="167"/>
                    </a:lnTo>
                    <a:lnTo>
                      <a:pt x="386" y="168"/>
                    </a:lnTo>
                    <a:lnTo>
                      <a:pt x="386" y="167"/>
                    </a:lnTo>
                    <a:lnTo>
                      <a:pt x="387" y="166"/>
                    </a:lnTo>
                    <a:lnTo>
                      <a:pt x="387" y="165"/>
                    </a:lnTo>
                    <a:lnTo>
                      <a:pt x="387" y="166"/>
                    </a:lnTo>
                    <a:lnTo>
                      <a:pt x="388" y="166"/>
                    </a:lnTo>
                    <a:lnTo>
                      <a:pt x="388" y="167"/>
                    </a:lnTo>
                    <a:lnTo>
                      <a:pt x="388" y="168"/>
                    </a:lnTo>
                    <a:close/>
                    <a:moveTo>
                      <a:pt x="488" y="20"/>
                    </a:moveTo>
                    <a:lnTo>
                      <a:pt x="488" y="22"/>
                    </a:lnTo>
                    <a:lnTo>
                      <a:pt x="487" y="23"/>
                    </a:lnTo>
                    <a:lnTo>
                      <a:pt x="486" y="22"/>
                    </a:lnTo>
                    <a:lnTo>
                      <a:pt x="485" y="22"/>
                    </a:lnTo>
                    <a:lnTo>
                      <a:pt x="485" y="20"/>
                    </a:lnTo>
                    <a:lnTo>
                      <a:pt x="486" y="20"/>
                    </a:lnTo>
                    <a:lnTo>
                      <a:pt x="486" y="22"/>
                    </a:lnTo>
                    <a:lnTo>
                      <a:pt x="487" y="22"/>
                    </a:lnTo>
                    <a:lnTo>
                      <a:pt x="487" y="20"/>
                    </a:lnTo>
                    <a:lnTo>
                      <a:pt x="486" y="18"/>
                    </a:lnTo>
                    <a:lnTo>
                      <a:pt x="486" y="17"/>
                    </a:lnTo>
                    <a:lnTo>
                      <a:pt x="487" y="17"/>
                    </a:lnTo>
                    <a:lnTo>
                      <a:pt x="487" y="18"/>
                    </a:lnTo>
                    <a:lnTo>
                      <a:pt x="488" y="19"/>
                    </a:lnTo>
                    <a:lnTo>
                      <a:pt x="488" y="20"/>
                    </a:lnTo>
                    <a:close/>
                    <a:moveTo>
                      <a:pt x="467" y="130"/>
                    </a:moveTo>
                    <a:lnTo>
                      <a:pt x="468" y="131"/>
                    </a:lnTo>
                    <a:lnTo>
                      <a:pt x="469" y="131"/>
                    </a:lnTo>
                    <a:lnTo>
                      <a:pt x="468" y="131"/>
                    </a:lnTo>
                    <a:lnTo>
                      <a:pt x="467" y="131"/>
                    </a:lnTo>
                    <a:lnTo>
                      <a:pt x="466" y="131"/>
                    </a:lnTo>
                    <a:lnTo>
                      <a:pt x="466" y="132"/>
                    </a:lnTo>
                    <a:lnTo>
                      <a:pt x="465" y="132"/>
                    </a:lnTo>
                    <a:lnTo>
                      <a:pt x="466" y="133"/>
                    </a:lnTo>
                    <a:lnTo>
                      <a:pt x="465" y="133"/>
                    </a:lnTo>
                    <a:lnTo>
                      <a:pt x="465" y="134"/>
                    </a:lnTo>
                    <a:lnTo>
                      <a:pt x="464" y="134"/>
                    </a:lnTo>
                    <a:lnTo>
                      <a:pt x="463" y="134"/>
                    </a:lnTo>
                    <a:lnTo>
                      <a:pt x="464" y="134"/>
                    </a:lnTo>
                    <a:lnTo>
                      <a:pt x="465" y="133"/>
                    </a:lnTo>
                    <a:lnTo>
                      <a:pt x="464" y="133"/>
                    </a:lnTo>
                    <a:lnTo>
                      <a:pt x="463" y="134"/>
                    </a:lnTo>
                    <a:lnTo>
                      <a:pt x="464" y="133"/>
                    </a:lnTo>
                    <a:lnTo>
                      <a:pt x="464" y="132"/>
                    </a:lnTo>
                    <a:lnTo>
                      <a:pt x="465" y="132"/>
                    </a:lnTo>
                    <a:lnTo>
                      <a:pt x="465" y="131"/>
                    </a:lnTo>
                    <a:lnTo>
                      <a:pt x="466" y="130"/>
                    </a:lnTo>
                    <a:lnTo>
                      <a:pt x="467" y="130"/>
                    </a:lnTo>
                    <a:close/>
                    <a:moveTo>
                      <a:pt x="416" y="139"/>
                    </a:moveTo>
                    <a:lnTo>
                      <a:pt x="417" y="139"/>
                    </a:lnTo>
                    <a:lnTo>
                      <a:pt x="417" y="140"/>
                    </a:lnTo>
                    <a:lnTo>
                      <a:pt x="416" y="140"/>
                    </a:lnTo>
                    <a:lnTo>
                      <a:pt x="416" y="141"/>
                    </a:lnTo>
                    <a:lnTo>
                      <a:pt x="415" y="141"/>
                    </a:lnTo>
                    <a:lnTo>
                      <a:pt x="414" y="141"/>
                    </a:lnTo>
                    <a:lnTo>
                      <a:pt x="413" y="141"/>
                    </a:lnTo>
                    <a:lnTo>
                      <a:pt x="413" y="140"/>
                    </a:lnTo>
                    <a:lnTo>
                      <a:pt x="414" y="140"/>
                    </a:lnTo>
                    <a:lnTo>
                      <a:pt x="414" y="139"/>
                    </a:lnTo>
                    <a:lnTo>
                      <a:pt x="415" y="139"/>
                    </a:lnTo>
                    <a:lnTo>
                      <a:pt x="416" y="139"/>
                    </a:lnTo>
                    <a:close/>
                    <a:moveTo>
                      <a:pt x="724" y="215"/>
                    </a:moveTo>
                    <a:lnTo>
                      <a:pt x="725" y="215"/>
                    </a:lnTo>
                    <a:lnTo>
                      <a:pt x="725" y="216"/>
                    </a:lnTo>
                    <a:lnTo>
                      <a:pt x="724" y="216"/>
                    </a:lnTo>
                    <a:lnTo>
                      <a:pt x="724" y="217"/>
                    </a:lnTo>
                    <a:lnTo>
                      <a:pt x="724" y="218"/>
                    </a:lnTo>
                    <a:lnTo>
                      <a:pt x="723" y="218"/>
                    </a:lnTo>
                    <a:lnTo>
                      <a:pt x="722" y="218"/>
                    </a:lnTo>
                    <a:lnTo>
                      <a:pt x="721" y="218"/>
                    </a:lnTo>
                    <a:lnTo>
                      <a:pt x="721" y="217"/>
                    </a:lnTo>
                    <a:lnTo>
                      <a:pt x="722" y="217"/>
                    </a:lnTo>
                    <a:lnTo>
                      <a:pt x="722" y="216"/>
                    </a:lnTo>
                    <a:lnTo>
                      <a:pt x="723" y="216"/>
                    </a:lnTo>
                    <a:lnTo>
                      <a:pt x="724" y="215"/>
                    </a:lnTo>
                    <a:close/>
                    <a:moveTo>
                      <a:pt x="313" y="277"/>
                    </a:moveTo>
                    <a:lnTo>
                      <a:pt x="312" y="277"/>
                    </a:lnTo>
                    <a:lnTo>
                      <a:pt x="312" y="279"/>
                    </a:lnTo>
                    <a:lnTo>
                      <a:pt x="311" y="279"/>
                    </a:lnTo>
                    <a:lnTo>
                      <a:pt x="310" y="279"/>
                    </a:lnTo>
                    <a:lnTo>
                      <a:pt x="310" y="280"/>
                    </a:lnTo>
                    <a:lnTo>
                      <a:pt x="310" y="279"/>
                    </a:lnTo>
                    <a:lnTo>
                      <a:pt x="310" y="277"/>
                    </a:lnTo>
                    <a:lnTo>
                      <a:pt x="311" y="277"/>
                    </a:lnTo>
                    <a:lnTo>
                      <a:pt x="312" y="276"/>
                    </a:lnTo>
                    <a:lnTo>
                      <a:pt x="312" y="275"/>
                    </a:lnTo>
                    <a:lnTo>
                      <a:pt x="311" y="275"/>
                    </a:lnTo>
                    <a:lnTo>
                      <a:pt x="312" y="275"/>
                    </a:lnTo>
                    <a:lnTo>
                      <a:pt x="312" y="274"/>
                    </a:lnTo>
                    <a:lnTo>
                      <a:pt x="312" y="275"/>
                    </a:lnTo>
                    <a:lnTo>
                      <a:pt x="313" y="275"/>
                    </a:lnTo>
                    <a:lnTo>
                      <a:pt x="313" y="276"/>
                    </a:lnTo>
                    <a:lnTo>
                      <a:pt x="313" y="277"/>
                    </a:lnTo>
                    <a:close/>
                    <a:moveTo>
                      <a:pt x="691" y="213"/>
                    </a:moveTo>
                    <a:lnTo>
                      <a:pt x="690" y="213"/>
                    </a:lnTo>
                    <a:lnTo>
                      <a:pt x="690" y="212"/>
                    </a:lnTo>
                    <a:lnTo>
                      <a:pt x="690" y="211"/>
                    </a:lnTo>
                    <a:lnTo>
                      <a:pt x="691" y="210"/>
                    </a:lnTo>
                    <a:lnTo>
                      <a:pt x="691" y="209"/>
                    </a:lnTo>
                    <a:lnTo>
                      <a:pt x="692" y="208"/>
                    </a:lnTo>
                    <a:lnTo>
                      <a:pt x="692" y="207"/>
                    </a:lnTo>
                    <a:lnTo>
                      <a:pt x="692" y="208"/>
                    </a:lnTo>
                    <a:lnTo>
                      <a:pt x="693" y="208"/>
                    </a:lnTo>
                    <a:lnTo>
                      <a:pt x="692" y="209"/>
                    </a:lnTo>
                    <a:lnTo>
                      <a:pt x="692" y="210"/>
                    </a:lnTo>
                    <a:lnTo>
                      <a:pt x="692" y="211"/>
                    </a:lnTo>
                    <a:lnTo>
                      <a:pt x="691" y="211"/>
                    </a:lnTo>
                    <a:lnTo>
                      <a:pt x="691" y="212"/>
                    </a:lnTo>
                    <a:lnTo>
                      <a:pt x="691" y="213"/>
                    </a:lnTo>
                    <a:close/>
                    <a:moveTo>
                      <a:pt x="726" y="136"/>
                    </a:moveTo>
                    <a:lnTo>
                      <a:pt x="725" y="138"/>
                    </a:lnTo>
                    <a:lnTo>
                      <a:pt x="724" y="138"/>
                    </a:lnTo>
                    <a:lnTo>
                      <a:pt x="723" y="138"/>
                    </a:lnTo>
                    <a:lnTo>
                      <a:pt x="722" y="136"/>
                    </a:lnTo>
                    <a:lnTo>
                      <a:pt x="723" y="136"/>
                    </a:lnTo>
                    <a:lnTo>
                      <a:pt x="722" y="136"/>
                    </a:lnTo>
                    <a:lnTo>
                      <a:pt x="723" y="136"/>
                    </a:lnTo>
                    <a:lnTo>
                      <a:pt x="723" y="135"/>
                    </a:lnTo>
                    <a:lnTo>
                      <a:pt x="724" y="135"/>
                    </a:lnTo>
                    <a:lnTo>
                      <a:pt x="725" y="135"/>
                    </a:lnTo>
                    <a:lnTo>
                      <a:pt x="726" y="135"/>
                    </a:lnTo>
                    <a:lnTo>
                      <a:pt x="726" y="136"/>
                    </a:lnTo>
                    <a:close/>
                    <a:moveTo>
                      <a:pt x="437" y="75"/>
                    </a:moveTo>
                    <a:lnTo>
                      <a:pt x="438" y="75"/>
                    </a:lnTo>
                    <a:lnTo>
                      <a:pt x="437" y="75"/>
                    </a:lnTo>
                    <a:lnTo>
                      <a:pt x="437" y="76"/>
                    </a:lnTo>
                    <a:lnTo>
                      <a:pt x="437" y="77"/>
                    </a:lnTo>
                    <a:lnTo>
                      <a:pt x="436" y="78"/>
                    </a:lnTo>
                    <a:lnTo>
                      <a:pt x="436" y="79"/>
                    </a:lnTo>
                    <a:lnTo>
                      <a:pt x="435" y="79"/>
                    </a:lnTo>
                    <a:lnTo>
                      <a:pt x="436" y="78"/>
                    </a:lnTo>
                    <a:lnTo>
                      <a:pt x="436" y="77"/>
                    </a:lnTo>
                    <a:lnTo>
                      <a:pt x="436" y="76"/>
                    </a:lnTo>
                    <a:lnTo>
                      <a:pt x="435" y="76"/>
                    </a:lnTo>
                    <a:lnTo>
                      <a:pt x="436" y="75"/>
                    </a:lnTo>
                    <a:lnTo>
                      <a:pt x="436" y="74"/>
                    </a:lnTo>
                    <a:lnTo>
                      <a:pt x="435" y="74"/>
                    </a:lnTo>
                    <a:lnTo>
                      <a:pt x="436" y="74"/>
                    </a:lnTo>
                    <a:lnTo>
                      <a:pt x="437" y="75"/>
                    </a:lnTo>
                    <a:close/>
                    <a:moveTo>
                      <a:pt x="730" y="146"/>
                    </a:moveTo>
                    <a:lnTo>
                      <a:pt x="730" y="147"/>
                    </a:lnTo>
                    <a:lnTo>
                      <a:pt x="729" y="148"/>
                    </a:lnTo>
                    <a:lnTo>
                      <a:pt x="730" y="149"/>
                    </a:lnTo>
                    <a:lnTo>
                      <a:pt x="729" y="149"/>
                    </a:lnTo>
                    <a:lnTo>
                      <a:pt x="727" y="149"/>
                    </a:lnTo>
                    <a:lnTo>
                      <a:pt x="727" y="148"/>
                    </a:lnTo>
                    <a:lnTo>
                      <a:pt x="726" y="147"/>
                    </a:lnTo>
                    <a:lnTo>
                      <a:pt x="727" y="146"/>
                    </a:lnTo>
                    <a:lnTo>
                      <a:pt x="729" y="146"/>
                    </a:lnTo>
                    <a:lnTo>
                      <a:pt x="730" y="146"/>
                    </a:lnTo>
                    <a:close/>
                    <a:moveTo>
                      <a:pt x="704" y="209"/>
                    </a:moveTo>
                    <a:lnTo>
                      <a:pt x="704" y="210"/>
                    </a:lnTo>
                    <a:lnTo>
                      <a:pt x="704" y="211"/>
                    </a:lnTo>
                    <a:lnTo>
                      <a:pt x="704" y="212"/>
                    </a:lnTo>
                    <a:lnTo>
                      <a:pt x="704" y="213"/>
                    </a:lnTo>
                    <a:lnTo>
                      <a:pt x="704" y="212"/>
                    </a:lnTo>
                    <a:lnTo>
                      <a:pt x="703" y="212"/>
                    </a:lnTo>
                    <a:lnTo>
                      <a:pt x="704" y="212"/>
                    </a:lnTo>
                    <a:lnTo>
                      <a:pt x="703" y="212"/>
                    </a:lnTo>
                    <a:lnTo>
                      <a:pt x="703" y="211"/>
                    </a:lnTo>
                    <a:lnTo>
                      <a:pt x="701" y="211"/>
                    </a:lnTo>
                    <a:lnTo>
                      <a:pt x="701" y="210"/>
                    </a:lnTo>
                    <a:lnTo>
                      <a:pt x="703" y="209"/>
                    </a:lnTo>
                    <a:lnTo>
                      <a:pt x="704" y="209"/>
                    </a:lnTo>
                    <a:close/>
                    <a:moveTo>
                      <a:pt x="729" y="159"/>
                    </a:moveTo>
                    <a:lnTo>
                      <a:pt x="730" y="159"/>
                    </a:lnTo>
                    <a:lnTo>
                      <a:pt x="731" y="159"/>
                    </a:lnTo>
                    <a:lnTo>
                      <a:pt x="730" y="159"/>
                    </a:lnTo>
                    <a:lnTo>
                      <a:pt x="731" y="160"/>
                    </a:lnTo>
                    <a:lnTo>
                      <a:pt x="730" y="161"/>
                    </a:lnTo>
                    <a:lnTo>
                      <a:pt x="730" y="160"/>
                    </a:lnTo>
                    <a:lnTo>
                      <a:pt x="729" y="160"/>
                    </a:lnTo>
                    <a:lnTo>
                      <a:pt x="727" y="160"/>
                    </a:lnTo>
                    <a:lnTo>
                      <a:pt x="727" y="161"/>
                    </a:lnTo>
                    <a:lnTo>
                      <a:pt x="729" y="161"/>
                    </a:lnTo>
                    <a:lnTo>
                      <a:pt x="730" y="161"/>
                    </a:lnTo>
                    <a:lnTo>
                      <a:pt x="731" y="161"/>
                    </a:lnTo>
                    <a:lnTo>
                      <a:pt x="730" y="161"/>
                    </a:lnTo>
                    <a:lnTo>
                      <a:pt x="729" y="161"/>
                    </a:lnTo>
                    <a:lnTo>
                      <a:pt x="727" y="161"/>
                    </a:lnTo>
                    <a:lnTo>
                      <a:pt x="725" y="161"/>
                    </a:lnTo>
                    <a:lnTo>
                      <a:pt x="725" y="160"/>
                    </a:lnTo>
                    <a:lnTo>
                      <a:pt x="725" y="161"/>
                    </a:lnTo>
                    <a:lnTo>
                      <a:pt x="726" y="160"/>
                    </a:lnTo>
                    <a:lnTo>
                      <a:pt x="727" y="160"/>
                    </a:lnTo>
                    <a:lnTo>
                      <a:pt x="727" y="159"/>
                    </a:lnTo>
                    <a:lnTo>
                      <a:pt x="729" y="159"/>
                    </a:lnTo>
                    <a:lnTo>
                      <a:pt x="729" y="160"/>
                    </a:lnTo>
                    <a:lnTo>
                      <a:pt x="729" y="159"/>
                    </a:lnTo>
                    <a:close/>
                    <a:moveTo>
                      <a:pt x="312" y="305"/>
                    </a:moveTo>
                    <a:lnTo>
                      <a:pt x="313" y="305"/>
                    </a:lnTo>
                    <a:lnTo>
                      <a:pt x="313" y="306"/>
                    </a:lnTo>
                    <a:lnTo>
                      <a:pt x="314" y="306"/>
                    </a:lnTo>
                    <a:lnTo>
                      <a:pt x="314" y="305"/>
                    </a:lnTo>
                    <a:lnTo>
                      <a:pt x="316" y="305"/>
                    </a:lnTo>
                    <a:lnTo>
                      <a:pt x="317" y="305"/>
                    </a:lnTo>
                    <a:lnTo>
                      <a:pt x="317" y="306"/>
                    </a:lnTo>
                    <a:lnTo>
                      <a:pt x="318" y="306"/>
                    </a:lnTo>
                    <a:lnTo>
                      <a:pt x="318" y="307"/>
                    </a:lnTo>
                    <a:lnTo>
                      <a:pt x="317" y="307"/>
                    </a:lnTo>
                    <a:lnTo>
                      <a:pt x="316" y="307"/>
                    </a:lnTo>
                    <a:lnTo>
                      <a:pt x="314" y="306"/>
                    </a:lnTo>
                    <a:lnTo>
                      <a:pt x="313" y="306"/>
                    </a:lnTo>
                    <a:lnTo>
                      <a:pt x="312" y="305"/>
                    </a:lnTo>
                    <a:lnTo>
                      <a:pt x="311" y="303"/>
                    </a:lnTo>
                    <a:lnTo>
                      <a:pt x="310" y="303"/>
                    </a:lnTo>
                    <a:lnTo>
                      <a:pt x="311" y="303"/>
                    </a:lnTo>
                    <a:lnTo>
                      <a:pt x="312" y="303"/>
                    </a:lnTo>
                    <a:lnTo>
                      <a:pt x="312" y="305"/>
                    </a:lnTo>
                    <a:close/>
                    <a:moveTo>
                      <a:pt x="332" y="242"/>
                    </a:moveTo>
                    <a:lnTo>
                      <a:pt x="333" y="242"/>
                    </a:lnTo>
                    <a:lnTo>
                      <a:pt x="333" y="243"/>
                    </a:lnTo>
                    <a:lnTo>
                      <a:pt x="334" y="243"/>
                    </a:lnTo>
                    <a:lnTo>
                      <a:pt x="334" y="244"/>
                    </a:lnTo>
                    <a:lnTo>
                      <a:pt x="335" y="244"/>
                    </a:lnTo>
                    <a:lnTo>
                      <a:pt x="335" y="245"/>
                    </a:lnTo>
                    <a:lnTo>
                      <a:pt x="334" y="245"/>
                    </a:lnTo>
                    <a:lnTo>
                      <a:pt x="333" y="245"/>
                    </a:lnTo>
                    <a:lnTo>
                      <a:pt x="333" y="244"/>
                    </a:lnTo>
                    <a:lnTo>
                      <a:pt x="332" y="244"/>
                    </a:lnTo>
                    <a:lnTo>
                      <a:pt x="331" y="243"/>
                    </a:lnTo>
                    <a:lnTo>
                      <a:pt x="332" y="244"/>
                    </a:lnTo>
                    <a:lnTo>
                      <a:pt x="332" y="243"/>
                    </a:lnTo>
                    <a:lnTo>
                      <a:pt x="331" y="243"/>
                    </a:lnTo>
                    <a:lnTo>
                      <a:pt x="330" y="242"/>
                    </a:lnTo>
                    <a:lnTo>
                      <a:pt x="331" y="242"/>
                    </a:lnTo>
                    <a:lnTo>
                      <a:pt x="332" y="242"/>
                    </a:lnTo>
                    <a:close/>
                    <a:moveTo>
                      <a:pt x="706" y="261"/>
                    </a:moveTo>
                    <a:lnTo>
                      <a:pt x="707" y="261"/>
                    </a:lnTo>
                    <a:lnTo>
                      <a:pt x="708" y="261"/>
                    </a:lnTo>
                    <a:lnTo>
                      <a:pt x="707" y="262"/>
                    </a:lnTo>
                    <a:lnTo>
                      <a:pt x="707" y="263"/>
                    </a:lnTo>
                    <a:lnTo>
                      <a:pt x="706" y="263"/>
                    </a:lnTo>
                    <a:lnTo>
                      <a:pt x="706" y="264"/>
                    </a:lnTo>
                    <a:lnTo>
                      <a:pt x="706" y="263"/>
                    </a:lnTo>
                    <a:lnTo>
                      <a:pt x="705" y="263"/>
                    </a:lnTo>
                    <a:lnTo>
                      <a:pt x="706" y="262"/>
                    </a:lnTo>
                    <a:lnTo>
                      <a:pt x="705" y="262"/>
                    </a:lnTo>
                    <a:lnTo>
                      <a:pt x="704" y="262"/>
                    </a:lnTo>
                    <a:lnTo>
                      <a:pt x="704" y="261"/>
                    </a:lnTo>
                    <a:lnTo>
                      <a:pt x="705" y="261"/>
                    </a:lnTo>
                    <a:lnTo>
                      <a:pt x="706" y="261"/>
                    </a:lnTo>
                    <a:close/>
                    <a:moveTo>
                      <a:pt x="729" y="189"/>
                    </a:moveTo>
                    <a:lnTo>
                      <a:pt x="729" y="190"/>
                    </a:lnTo>
                    <a:lnTo>
                      <a:pt x="729" y="191"/>
                    </a:lnTo>
                    <a:lnTo>
                      <a:pt x="727" y="191"/>
                    </a:lnTo>
                    <a:lnTo>
                      <a:pt x="726" y="191"/>
                    </a:lnTo>
                    <a:lnTo>
                      <a:pt x="725" y="190"/>
                    </a:lnTo>
                    <a:lnTo>
                      <a:pt x="726" y="190"/>
                    </a:lnTo>
                    <a:lnTo>
                      <a:pt x="725" y="190"/>
                    </a:lnTo>
                    <a:lnTo>
                      <a:pt x="725" y="189"/>
                    </a:lnTo>
                    <a:lnTo>
                      <a:pt x="726" y="189"/>
                    </a:lnTo>
                    <a:lnTo>
                      <a:pt x="727" y="189"/>
                    </a:lnTo>
                    <a:lnTo>
                      <a:pt x="729" y="189"/>
                    </a:lnTo>
                    <a:close/>
                    <a:moveTo>
                      <a:pt x="386" y="141"/>
                    </a:moveTo>
                    <a:lnTo>
                      <a:pt x="386" y="142"/>
                    </a:lnTo>
                    <a:lnTo>
                      <a:pt x="386" y="143"/>
                    </a:lnTo>
                    <a:lnTo>
                      <a:pt x="385" y="143"/>
                    </a:lnTo>
                    <a:lnTo>
                      <a:pt x="384" y="143"/>
                    </a:lnTo>
                    <a:lnTo>
                      <a:pt x="383" y="142"/>
                    </a:lnTo>
                    <a:lnTo>
                      <a:pt x="384" y="142"/>
                    </a:lnTo>
                    <a:lnTo>
                      <a:pt x="385" y="142"/>
                    </a:lnTo>
                    <a:lnTo>
                      <a:pt x="384" y="142"/>
                    </a:lnTo>
                    <a:lnTo>
                      <a:pt x="384" y="141"/>
                    </a:lnTo>
                    <a:lnTo>
                      <a:pt x="386" y="141"/>
                    </a:lnTo>
                    <a:close/>
                    <a:moveTo>
                      <a:pt x="311" y="306"/>
                    </a:moveTo>
                    <a:lnTo>
                      <a:pt x="310" y="306"/>
                    </a:lnTo>
                    <a:lnTo>
                      <a:pt x="310" y="305"/>
                    </a:lnTo>
                    <a:lnTo>
                      <a:pt x="309" y="305"/>
                    </a:lnTo>
                    <a:lnTo>
                      <a:pt x="308" y="303"/>
                    </a:lnTo>
                    <a:lnTo>
                      <a:pt x="307" y="303"/>
                    </a:lnTo>
                    <a:lnTo>
                      <a:pt x="308" y="303"/>
                    </a:lnTo>
                    <a:lnTo>
                      <a:pt x="308" y="302"/>
                    </a:lnTo>
                    <a:lnTo>
                      <a:pt x="309" y="302"/>
                    </a:lnTo>
                    <a:lnTo>
                      <a:pt x="310" y="303"/>
                    </a:lnTo>
                    <a:lnTo>
                      <a:pt x="311" y="305"/>
                    </a:lnTo>
                    <a:lnTo>
                      <a:pt x="310" y="305"/>
                    </a:lnTo>
                    <a:lnTo>
                      <a:pt x="311" y="306"/>
                    </a:lnTo>
                    <a:close/>
                    <a:moveTo>
                      <a:pt x="446" y="147"/>
                    </a:moveTo>
                    <a:lnTo>
                      <a:pt x="447" y="147"/>
                    </a:lnTo>
                    <a:lnTo>
                      <a:pt x="447" y="148"/>
                    </a:lnTo>
                    <a:lnTo>
                      <a:pt x="448" y="148"/>
                    </a:lnTo>
                    <a:lnTo>
                      <a:pt x="448" y="149"/>
                    </a:lnTo>
                    <a:lnTo>
                      <a:pt x="447" y="149"/>
                    </a:lnTo>
                    <a:lnTo>
                      <a:pt x="446" y="149"/>
                    </a:lnTo>
                    <a:lnTo>
                      <a:pt x="445" y="149"/>
                    </a:lnTo>
                    <a:lnTo>
                      <a:pt x="443" y="149"/>
                    </a:lnTo>
                    <a:lnTo>
                      <a:pt x="443" y="148"/>
                    </a:lnTo>
                    <a:lnTo>
                      <a:pt x="443" y="147"/>
                    </a:lnTo>
                    <a:lnTo>
                      <a:pt x="443" y="148"/>
                    </a:lnTo>
                    <a:lnTo>
                      <a:pt x="445" y="148"/>
                    </a:lnTo>
                    <a:lnTo>
                      <a:pt x="445" y="147"/>
                    </a:lnTo>
                    <a:lnTo>
                      <a:pt x="446" y="148"/>
                    </a:lnTo>
                    <a:lnTo>
                      <a:pt x="446" y="147"/>
                    </a:lnTo>
                    <a:close/>
                    <a:moveTo>
                      <a:pt x="725" y="161"/>
                    </a:moveTo>
                    <a:lnTo>
                      <a:pt x="726" y="161"/>
                    </a:lnTo>
                    <a:lnTo>
                      <a:pt x="727" y="161"/>
                    </a:lnTo>
                    <a:lnTo>
                      <a:pt x="727" y="162"/>
                    </a:lnTo>
                    <a:lnTo>
                      <a:pt x="729" y="162"/>
                    </a:lnTo>
                    <a:lnTo>
                      <a:pt x="730" y="162"/>
                    </a:lnTo>
                    <a:lnTo>
                      <a:pt x="731" y="162"/>
                    </a:lnTo>
                    <a:lnTo>
                      <a:pt x="731" y="164"/>
                    </a:lnTo>
                    <a:lnTo>
                      <a:pt x="730" y="164"/>
                    </a:lnTo>
                    <a:lnTo>
                      <a:pt x="729" y="164"/>
                    </a:lnTo>
                    <a:lnTo>
                      <a:pt x="727" y="164"/>
                    </a:lnTo>
                    <a:lnTo>
                      <a:pt x="726" y="162"/>
                    </a:lnTo>
                    <a:lnTo>
                      <a:pt x="725" y="162"/>
                    </a:lnTo>
                    <a:lnTo>
                      <a:pt x="725" y="161"/>
                    </a:lnTo>
                    <a:close/>
                    <a:moveTo>
                      <a:pt x="724" y="126"/>
                    </a:moveTo>
                    <a:lnTo>
                      <a:pt x="724" y="127"/>
                    </a:lnTo>
                    <a:lnTo>
                      <a:pt x="723" y="127"/>
                    </a:lnTo>
                    <a:lnTo>
                      <a:pt x="722" y="127"/>
                    </a:lnTo>
                    <a:lnTo>
                      <a:pt x="721" y="128"/>
                    </a:lnTo>
                    <a:lnTo>
                      <a:pt x="720" y="128"/>
                    </a:lnTo>
                    <a:lnTo>
                      <a:pt x="720" y="127"/>
                    </a:lnTo>
                    <a:lnTo>
                      <a:pt x="721" y="126"/>
                    </a:lnTo>
                    <a:lnTo>
                      <a:pt x="721" y="127"/>
                    </a:lnTo>
                    <a:lnTo>
                      <a:pt x="721" y="126"/>
                    </a:lnTo>
                    <a:lnTo>
                      <a:pt x="722" y="126"/>
                    </a:lnTo>
                    <a:lnTo>
                      <a:pt x="723" y="126"/>
                    </a:lnTo>
                    <a:lnTo>
                      <a:pt x="724" y="126"/>
                    </a:lnTo>
                    <a:close/>
                    <a:moveTo>
                      <a:pt x="262" y="321"/>
                    </a:moveTo>
                    <a:lnTo>
                      <a:pt x="264" y="321"/>
                    </a:lnTo>
                    <a:lnTo>
                      <a:pt x="265" y="321"/>
                    </a:lnTo>
                    <a:lnTo>
                      <a:pt x="265" y="322"/>
                    </a:lnTo>
                    <a:lnTo>
                      <a:pt x="264" y="322"/>
                    </a:lnTo>
                    <a:lnTo>
                      <a:pt x="262" y="322"/>
                    </a:lnTo>
                    <a:lnTo>
                      <a:pt x="261" y="322"/>
                    </a:lnTo>
                    <a:lnTo>
                      <a:pt x="261" y="321"/>
                    </a:lnTo>
                    <a:lnTo>
                      <a:pt x="261" y="320"/>
                    </a:lnTo>
                    <a:lnTo>
                      <a:pt x="262" y="320"/>
                    </a:lnTo>
                    <a:lnTo>
                      <a:pt x="262" y="321"/>
                    </a:lnTo>
                    <a:close/>
                    <a:moveTo>
                      <a:pt x="508" y="86"/>
                    </a:moveTo>
                    <a:lnTo>
                      <a:pt x="510" y="86"/>
                    </a:lnTo>
                    <a:lnTo>
                      <a:pt x="508" y="87"/>
                    </a:lnTo>
                    <a:lnTo>
                      <a:pt x="506" y="90"/>
                    </a:lnTo>
                    <a:lnTo>
                      <a:pt x="505" y="90"/>
                    </a:lnTo>
                    <a:lnTo>
                      <a:pt x="505" y="89"/>
                    </a:lnTo>
                    <a:lnTo>
                      <a:pt x="505" y="88"/>
                    </a:lnTo>
                    <a:lnTo>
                      <a:pt x="506" y="88"/>
                    </a:lnTo>
                    <a:lnTo>
                      <a:pt x="507" y="88"/>
                    </a:lnTo>
                    <a:lnTo>
                      <a:pt x="507" y="87"/>
                    </a:lnTo>
                    <a:lnTo>
                      <a:pt x="508" y="87"/>
                    </a:lnTo>
                    <a:lnTo>
                      <a:pt x="508" y="86"/>
                    </a:lnTo>
                    <a:close/>
                    <a:moveTo>
                      <a:pt x="353" y="103"/>
                    </a:moveTo>
                    <a:lnTo>
                      <a:pt x="355" y="104"/>
                    </a:lnTo>
                    <a:lnTo>
                      <a:pt x="356" y="104"/>
                    </a:lnTo>
                    <a:lnTo>
                      <a:pt x="356" y="105"/>
                    </a:lnTo>
                    <a:lnTo>
                      <a:pt x="355" y="105"/>
                    </a:lnTo>
                    <a:lnTo>
                      <a:pt x="353" y="105"/>
                    </a:lnTo>
                    <a:lnTo>
                      <a:pt x="352" y="104"/>
                    </a:lnTo>
                    <a:lnTo>
                      <a:pt x="351" y="104"/>
                    </a:lnTo>
                    <a:lnTo>
                      <a:pt x="350" y="105"/>
                    </a:lnTo>
                    <a:lnTo>
                      <a:pt x="349" y="105"/>
                    </a:lnTo>
                    <a:lnTo>
                      <a:pt x="349" y="104"/>
                    </a:lnTo>
                    <a:lnTo>
                      <a:pt x="350" y="104"/>
                    </a:lnTo>
                    <a:lnTo>
                      <a:pt x="351" y="104"/>
                    </a:lnTo>
                    <a:lnTo>
                      <a:pt x="352" y="104"/>
                    </a:lnTo>
                    <a:lnTo>
                      <a:pt x="352" y="103"/>
                    </a:lnTo>
                    <a:lnTo>
                      <a:pt x="353" y="103"/>
                    </a:lnTo>
                    <a:close/>
                    <a:moveTo>
                      <a:pt x="430" y="76"/>
                    </a:moveTo>
                    <a:lnTo>
                      <a:pt x="430" y="77"/>
                    </a:lnTo>
                    <a:lnTo>
                      <a:pt x="429" y="77"/>
                    </a:lnTo>
                    <a:lnTo>
                      <a:pt x="429" y="78"/>
                    </a:lnTo>
                    <a:lnTo>
                      <a:pt x="429" y="79"/>
                    </a:lnTo>
                    <a:lnTo>
                      <a:pt x="428" y="78"/>
                    </a:lnTo>
                    <a:lnTo>
                      <a:pt x="428" y="77"/>
                    </a:lnTo>
                    <a:lnTo>
                      <a:pt x="427" y="77"/>
                    </a:lnTo>
                    <a:lnTo>
                      <a:pt x="427" y="76"/>
                    </a:lnTo>
                    <a:lnTo>
                      <a:pt x="428" y="76"/>
                    </a:lnTo>
                    <a:lnTo>
                      <a:pt x="428" y="77"/>
                    </a:lnTo>
                    <a:lnTo>
                      <a:pt x="429" y="77"/>
                    </a:lnTo>
                    <a:lnTo>
                      <a:pt x="429" y="76"/>
                    </a:lnTo>
                    <a:lnTo>
                      <a:pt x="430" y="76"/>
                    </a:lnTo>
                    <a:lnTo>
                      <a:pt x="430" y="75"/>
                    </a:lnTo>
                    <a:lnTo>
                      <a:pt x="430" y="76"/>
                    </a:lnTo>
                    <a:close/>
                    <a:moveTo>
                      <a:pt x="500" y="141"/>
                    </a:moveTo>
                    <a:lnTo>
                      <a:pt x="501" y="141"/>
                    </a:lnTo>
                    <a:lnTo>
                      <a:pt x="501" y="142"/>
                    </a:lnTo>
                    <a:lnTo>
                      <a:pt x="500" y="142"/>
                    </a:lnTo>
                    <a:lnTo>
                      <a:pt x="499" y="142"/>
                    </a:lnTo>
                    <a:lnTo>
                      <a:pt x="498" y="142"/>
                    </a:lnTo>
                    <a:lnTo>
                      <a:pt x="497" y="142"/>
                    </a:lnTo>
                    <a:lnTo>
                      <a:pt x="497" y="141"/>
                    </a:lnTo>
                    <a:lnTo>
                      <a:pt x="498" y="141"/>
                    </a:lnTo>
                    <a:lnTo>
                      <a:pt x="499" y="141"/>
                    </a:lnTo>
                    <a:lnTo>
                      <a:pt x="499" y="140"/>
                    </a:lnTo>
                    <a:lnTo>
                      <a:pt x="499" y="141"/>
                    </a:lnTo>
                    <a:lnTo>
                      <a:pt x="500" y="141"/>
                    </a:lnTo>
                    <a:close/>
                    <a:moveTo>
                      <a:pt x="239" y="309"/>
                    </a:moveTo>
                    <a:lnTo>
                      <a:pt x="240" y="309"/>
                    </a:lnTo>
                    <a:lnTo>
                      <a:pt x="239" y="310"/>
                    </a:lnTo>
                    <a:lnTo>
                      <a:pt x="239" y="311"/>
                    </a:lnTo>
                    <a:lnTo>
                      <a:pt x="239" y="312"/>
                    </a:lnTo>
                    <a:lnTo>
                      <a:pt x="238" y="312"/>
                    </a:lnTo>
                    <a:lnTo>
                      <a:pt x="236" y="311"/>
                    </a:lnTo>
                    <a:lnTo>
                      <a:pt x="236" y="310"/>
                    </a:lnTo>
                    <a:lnTo>
                      <a:pt x="236" y="311"/>
                    </a:lnTo>
                    <a:lnTo>
                      <a:pt x="238" y="311"/>
                    </a:lnTo>
                    <a:lnTo>
                      <a:pt x="238" y="310"/>
                    </a:lnTo>
                    <a:lnTo>
                      <a:pt x="238" y="309"/>
                    </a:lnTo>
                    <a:lnTo>
                      <a:pt x="239" y="308"/>
                    </a:lnTo>
                    <a:lnTo>
                      <a:pt x="239" y="309"/>
                    </a:lnTo>
                    <a:close/>
                    <a:moveTo>
                      <a:pt x="726" y="205"/>
                    </a:moveTo>
                    <a:lnTo>
                      <a:pt x="726" y="206"/>
                    </a:lnTo>
                    <a:lnTo>
                      <a:pt x="726" y="207"/>
                    </a:lnTo>
                    <a:lnTo>
                      <a:pt x="725" y="207"/>
                    </a:lnTo>
                    <a:lnTo>
                      <a:pt x="725" y="208"/>
                    </a:lnTo>
                    <a:lnTo>
                      <a:pt x="724" y="207"/>
                    </a:lnTo>
                    <a:lnTo>
                      <a:pt x="725" y="207"/>
                    </a:lnTo>
                    <a:lnTo>
                      <a:pt x="725" y="206"/>
                    </a:lnTo>
                    <a:lnTo>
                      <a:pt x="725" y="207"/>
                    </a:lnTo>
                    <a:lnTo>
                      <a:pt x="724" y="207"/>
                    </a:lnTo>
                    <a:lnTo>
                      <a:pt x="724" y="206"/>
                    </a:lnTo>
                    <a:lnTo>
                      <a:pt x="724" y="205"/>
                    </a:lnTo>
                    <a:lnTo>
                      <a:pt x="725" y="205"/>
                    </a:lnTo>
                    <a:lnTo>
                      <a:pt x="726" y="205"/>
                    </a:lnTo>
                    <a:close/>
                    <a:moveTo>
                      <a:pt x="503" y="67"/>
                    </a:moveTo>
                    <a:lnTo>
                      <a:pt x="502" y="68"/>
                    </a:lnTo>
                    <a:lnTo>
                      <a:pt x="501" y="68"/>
                    </a:lnTo>
                    <a:lnTo>
                      <a:pt x="501" y="67"/>
                    </a:lnTo>
                    <a:lnTo>
                      <a:pt x="502" y="66"/>
                    </a:lnTo>
                    <a:lnTo>
                      <a:pt x="502" y="65"/>
                    </a:lnTo>
                    <a:lnTo>
                      <a:pt x="502" y="64"/>
                    </a:lnTo>
                    <a:lnTo>
                      <a:pt x="503" y="65"/>
                    </a:lnTo>
                    <a:lnTo>
                      <a:pt x="503" y="66"/>
                    </a:lnTo>
                    <a:lnTo>
                      <a:pt x="503" y="67"/>
                    </a:lnTo>
                    <a:close/>
                    <a:moveTo>
                      <a:pt x="383" y="141"/>
                    </a:moveTo>
                    <a:lnTo>
                      <a:pt x="383" y="142"/>
                    </a:lnTo>
                    <a:lnTo>
                      <a:pt x="382" y="142"/>
                    </a:lnTo>
                    <a:lnTo>
                      <a:pt x="381" y="142"/>
                    </a:lnTo>
                    <a:lnTo>
                      <a:pt x="380" y="142"/>
                    </a:lnTo>
                    <a:lnTo>
                      <a:pt x="381" y="141"/>
                    </a:lnTo>
                    <a:lnTo>
                      <a:pt x="381" y="140"/>
                    </a:lnTo>
                    <a:lnTo>
                      <a:pt x="381" y="139"/>
                    </a:lnTo>
                    <a:lnTo>
                      <a:pt x="382" y="140"/>
                    </a:lnTo>
                    <a:lnTo>
                      <a:pt x="383" y="140"/>
                    </a:lnTo>
                    <a:lnTo>
                      <a:pt x="383" y="141"/>
                    </a:lnTo>
                    <a:close/>
                    <a:moveTo>
                      <a:pt x="428" y="140"/>
                    </a:moveTo>
                    <a:lnTo>
                      <a:pt x="427" y="140"/>
                    </a:lnTo>
                    <a:lnTo>
                      <a:pt x="426" y="140"/>
                    </a:lnTo>
                    <a:lnTo>
                      <a:pt x="426" y="139"/>
                    </a:lnTo>
                    <a:lnTo>
                      <a:pt x="426" y="138"/>
                    </a:lnTo>
                    <a:lnTo>
                      <a:pt x="427" y="138"/>
                    </a:lnTo>
                    <a:lnTo>
                      <a:pt x="427" y="139"/>
                    </a:lnTo>
                    <a:lnTo>
                      <a:pt x="428" y="139"/>
                    </a:lnTo>
                    <a:lnTo>
                      <a:pt x="429" y="140"/>
                    </a:lnTo>
                    <a:lnTo>
                      <a:pt x="428" y="140"/>
                    </a:lnTo>
                    <a:close/>
                    <a:moveTo>
                      <a:pt x="458" y="203"/>
                    </a:moveTo>
                    <a:lnTo>
                      <a:pt x="459" y="203"/>
                    </a:lnTo>
                    <a:lnTo>
                      <a:pt x="459" y="204"/>
                    </a:lnTo>
                    <a:lnTo>
                      <a:pt x="458" y="204"/>
                    </a:lnTo>
                    <a:lnTo>
                      <a:pt x="456" y="203"/>
                    </a:lnTo>
                    <a:lnTo>
                      <a:pt x="455" y="203"/>
                    </a:lnTo>
                    <a:lnTo>
                      <a:pt x="454" y="203"/>
                    </a:lnTo>
                    <a:lnTo>
                      <a:pt x="455" y="202"/>
                    </a:lnTo>
                    <a:lnTo>
                      <a:pt x="456" y="200"/>
                    </a:lnTo>
                    <a:lnTo>
                      <a:pt x="456" y="202"/>
                    </a:lnTo>
                    <a:lnTo>
                      <a:pt x="456" y="203"/>
                    </a:lnTo>
                    <a:lnTo>
                      <a:pt x="458" y="203"/>
                    </a:lnTo>
                    <a:close/>
                    <a:moveTo>
                      <a:pt x="409" y="182"/>
                    </a:moveTo>
                    <a:lnTo>
                      <a:pt x="410" y="183"/>
                    </a:lnTo>
                    <a:lnTo>
                      <a:pt x="410" y="182"/>
                    </a:lnTo>
                    <a:lnTo>
                      <a:pt x="410" y="183"/>
                    </a:lnTo>
                    <a:lnTo>
                      <a:pt x="411" y="183"/>
                    </a:lnTo>
                    <a:lnTo>
                      <a:pt x="410" y="183"/>
                    </a:lnTo>
                    <a:lnTo>
                      <a:pt x="411" y="183"/>
                    </a:lnTo>
                    <a:lnTo>
                      <a:pt x="411" y="184"/>
                    </a:lnTo>
                    <a:lnTo>
                      <a:pt x="411" y="185"/>
                    </a:lnTo>
                    <a:lnTo>
                      <a:pt x="412" y="184"/>
                    </a:lnTo>
                    <a:lnTo>
                      <a:pt x="412" y="185"/>
                    </a:lnTo>
                    <a:lnTo>
                      <a:pt x="411" y="185"/>
                    </a:lnTo>
                    <a:lnTo>
                      <a:pt x="410" y="185"/>
                    </a:lnTo>
                    <a:lnTo>
                      <a:pt x="409" y="185"/>
                    </a:lnTo>
                    <a:lnTo>
                      <a:pt x="410" y="184"/>
                    </a:lnTo>
                    <a:lnTo>
                      <a:pt x="410" y="183"/>
                    </a:lnTo>
                    <a:lnTo>
                      <a:pt x="409" y="183"/>
                    </a:lnTo>
                    <a:lnTo>
                      <a:pt x="409" y="182"/>
                    </a:lnTo>
                    <a:close/>
                    <a:moveTo>
                      <a:pt x="403" y="294"/>
                    </a:moveTo>
                    <a:lnTo>
                      <a:pt x="403" y="295"/>
                    </a:lnTo>
                    <a:lnTo>
                      <a:pt x="403" y="296"/>
                    </a:lnTo>
                    <a:lnTo>
                      <a:pt x="402" y="296"/>
                    </a:lnTo>
                    <a:lnTo>
                      <a:pt x="401" y="296"/>
                    </a:lnTo>
                    <a:lnTo>
                      <a:pt x="400" y="296"/>
                    </a:lnTo>
                    <a:lnTo>
                      <a:pt x="400" y="295"/>
                    </a:lnTo>
                    <a:lnTo>
                      <a:pt x="401" y="295"/>
                    </a:lnTo>
                    <a:lnTo>
                      <a:pt x="401" y="294"/>
                    </a:lnTo>
                    <a:lnTo>
                      <a:pt x="402" y="295"/>
                    </a:lnTo>
                    <a:lnTo>
                      <a:pt x="402" y="294"/>
                    </a:lnTo>
                    <a:lnTo>
                      <a:pt x="403" y="294"/>
                    </a:lnTo>
                    <a:close/>
                    <a:moveTo>
                      <a:pt x="716" y="244"/>
                    </a:moveTo>
                    <a:lnTo>
                      <a:pt x="716" y="245"/>
                    </a:lnTo>
                    <a:lnTo>
                      <a:pt x="714" y="246"/>
                    </a:lnTo>
                    <a:lnTo>
                      <a:pt x="713" y="246"/>
                    </a:lnTo>
                    <a:lnTo>
                      <a:pt x="712" y="246"/>
                    </a:lnTo>
                    <a:lnTo>
                      <a:pt x="711" y="246"/>
                    </a:lnTo>
                    <a:lnTo>
                      <a:pt x="711" y="245"/>
                    </a:lnTo>
                    <a:lnTo>
                      <a:pt x="712" y="245"/>
                    </a:lnTo>
                    <a:lnTo>
                      <a:pt x="713" y="245"/>
                    </a:lnTo>
                    <a:lnTo>
                      <a:pt x="714" y="245"/>
                    </a:lnTo>
                    <a:lnTo>
                      <a:pt x="716" y="245"/>
                    </a:lnTo>
                    <a:lnTo>
                      <a:pt x="716" y="244"/>
                    </a:lnTo>
                    <a:close/>
                    <a:moveTo>
                      <a:pt x="722" y="220"/>
                    </a:moveTo>
                    <a:lnTo>
                      <a:pt x="722" y="221"/>
                    </a:lnTo>
                    <a:lnTo>
                      <a:pt x="721" y="221"/>
                    </a:lnTo>
                    <a:lnTo>
                      <a:pt x="721" y="220"/>
                    </a:lnTo>
                    <a:lnTo>
                      <a:pt x="721" y="221"/>
                    </a:lnTo>
                    <a:lnTo>
                      <a:pt x="720" y="220"/>
                    </a:lnTo>
                    <a:lnTo>
                      <a:pt x="720" y="219"/>
                    </a:lnTo>
                    <a:lnTo>
                      <a:pt x="721" y="219"/>
                    </a:lnTo>
                    <a:lnTo>
                      <a:pt x="722" y="219"/>
                    </a:lnTo>
                    <a:lnTo>
                      <a:pt x="723" y="219"/>
                    </a:lnTo>
                    <a:lnTo>
                      <a:pt x="723" y="220"/>
                    </a:lnTo>
                    <a:lnTo>
                      <a:pt x="722" y="220"/>
                    </a:lnTo>
                    <a:close/>
                    <a:moveTo>
                      <a:pt x="259" y="311"/>
                    </a:moveTo>
                    <a:lnTo>
                      <a:pt x="259" y="312"/>
                    </a:lnTo>
                    <a:lnTo>
                      <a:pt x="260" y="312"/>
                    </a:lnTo>
                    <a:lnTo>
                      <a:pt x="260" y="313"/>
                    </a:lnTo>
                    <a:lnTo>
                      <a:pt x="259" y="313"/>
                    </a:lnTo>
                    <a:lnTo>
                      <a:pt x="259" y="314"/>
                    </a:lnTo>
                    <a:lnTo>
                      <a:pt x="258" y="314"/>
                    </a:lnTo>
                    <a:lnTo>
                      <a:pt x="258" y="313"/>
                    </a:lnTo>
                    <a:lnTo>
                      <a:pt x="259" y="313"/>
                    </a:lnTo>
                    <a:lnTo>
                      <a:pt x="258" y="313"/>
                    </a:lnTo>
                    <a:lnTo>
                      <a:pt x="259" y="312"/>
                    </a:lnTo>
                    <a:lnTo>
                      <a:pt x="258" y="312"/>
                    </a:lnTo>
                    <a:lnTo>
                      <a:pt x="258" y="313"/>
                    </a:lnTo>
                    <a:lnTo>
                      <a:pt x="258" y="312"/>
                    </a:lnTo>
                    <a:lnTo>
                      <a:pt x="259" y="311"/>
                    </a:lnTo>
                    <a:lnTo>
                      <a:pt x="260" y="311"/>
                    </a:lnTo>
                    <a:lnTo>
                      <a:pt x="259" y="311"/>
                    </a:lnTo>
                    <a:close/>
                    <a:moveTo>
                      <a:pt x="314" y="241"/>
                    </a:moveTo>
                    <a:lnTo>
                      <a:pt x="316" y="241"/>
                    </a:lnTo>
                    <a:lnTo>
                      <a:pt x="316" y="242"/>
                    </a:lnTo>
                    <a:lnTo>
                      <a:pt x="316" y="243"/>
                    </a:lnTo>
                    <a:lnTo>
                      <a:pt x="316" y="244"/>
                    </a:lnTo>
                    <a:lnTo>
                      <a:pt x="317" y="244"/>
                    </a:lnTo>
                    <a:lnTo>
                      <a:pt x="316" y="245"/>
                    </a:lnTo>
                    <a:lnTo>
                      <a:pt x="316" y="244"/>
                    </a:lnTo>
                    <a:lnTo>
                      <a:pt x="314" y="244"/>
                    </a:lnTo>
                    <a:lnTo>
                      <a:pt x="316" y="244"/>
                    </a:lnTo>
                    <a:lnTo>
                      <a:pt x="316" y="243"/>
                    </a:lnTo>
                    <a:lnTo>
                      <a:pt x="314" y="243"/>
                    </a:lnTo>
                    <a:lnTo>
                      <a:pt x="314" y="242"/>
                    </a:lnTo>
                    <a:lnTo>
                      <a:pt x="314" y="241"/>
                    </a:lnTo>
                    <a:lnTo>
                      <a:pt x="313" y="241"/>
                    </a:lnTo>
                    <a:lnTo>
                      <a:pt x="312" y="241"/>
                    </a:lnTo>
                    <a:lnTo>
                      <a:pt x="313" y="241"/>
                    </a:lnTo>
                    <a:lnTo>
                      <a:pt x="314" y="241"/>
                    </a:lnTo>
                    <a:close/>
                    <a:moveTo>
                      <a:pt x="325" y="312"/>
                    </a:moveTo>
                    <a:lnTo>
                      <a:pt x="325" y="311"/>
                    </a:lnTo>
                    <a:lnTo>
                      <a:pt x="324" y="311"/>
                    </a:lnTo>
                    <a:lnTo>
                      <a:pt x="324" y="310"/>
                    </a:lnTo>
                    <a:lnTo>
                      <a:pt x="324" y="309"/>
                    </a:lnTo>
                    <a:lnTo>
                      <a:pt x="325" y="309"/>
                    </a:lnTo>
                    <a:lnTo>
                      <a:pt x="326" y="309"/>
                    </a:lnTo>
                    <a:lnTo>
                      <a:pt x="325" y="310"/>
                    </a:lnTo>
                    <a:lnTo>
                      <a:pt x="326" y="310"/>
                    </a:lnTo>
                    <a:lnTo>
                      <a:pt x="325" y="311"/>
                    </a:lnTo>
                    <a:lnTo>
                      <a:pt x="325" y="312"/>
                    </a:lnTo>
                    <a:close/>
                    <a:moveTo>
                      <a:pt x="724" y="134"/>
                    </a:moveTo>
                    <a:lnTo>
                      <a:pt x="723" y="134"/>
                    </a:lnTo>
                    <a:lnTo>
                      <a:pt x="723" y="133"/>
                    </a:lnTo>
                    <a:lnTo>
                      <a:pt x="723" y="132"/>
                    </a:lnTo>
                    <a:lnTo>
                      <a:pt x="724" y="132"/>
                    </a:lnTo>
                    <a:lnTo>
                      <a:pt x="725" y="132"/>
                    </a:lnTo>
                    <a:lnTo>
                      <a:pt x="725" y="133"/>
                    </a:lnTo>
                    <a:lnTo>
                      <a:pt x="724" y="133"/>
                    </a:lnTo>
                    <a:lnTo>
                      <a:pt x="724" y="134"/>
                    </a:lnTo>
                    <a:close/>
                    <a:moveTo>
                      <a:pt x="701" y="260"/>
                    </a:moveTo>
                    <a:lnTo>
                      <a:pt x="703" y="260"/>
                    </a:lnTo>
                    <a:lnTo>
                      <a:pt x="704" y="261"/>
                    </a:lnTo>
                    <a:lnTo>
                      <a:pt x="704" y="262"/>
                    </a:lnTo>
                    <a:lnTo>
                      <a:pt x="703" y="262"/>
                    </a:lnTo>
                    <a:lnTo>
                      <a:pt x="701" y="261"/>
                    </a:lnTo>
                    <a:lnTo>
                      <a:pt x="701" y="262"/>
                    </a:lnTo>
                    <a:lnTo>
                      <a:pt x="700" y="262"/>
                    </a:lnTo>
                    <a:lnTo>
                      <a:pt x="700" y="261"/>
                    </a:lnTo>
                    <a:lnTo>
                      <a:pt x="700" y="260"/>
                    </a:lnTo>
                    <a:lnTo>
                      <a:pt x="701" y="260"/>
                    </a:lnTo>
                    <a:close/>
                    <a:moveTo>
                      <a:pt x="262" y="310"/>
                    </a:moveTo>
                    <a:lnTo>
                      <a:pt x="262" y="311"/>
                    </a:lnTo>
                    <a:lnTo>
                      <a:pt x="264" y="311"/>
                    </a:lnTo>
                    <a:lnTo>
                      <a:pt x="264" y="312"/>
                    </a:lnTo>
                    <a:lnTo>
                      <a:pt x="264" y="313"/>
                    </a:lnTo>
                    <a:lnTo>
                      <a:pt x="262" y="313"/>
                    </a:lnTo>
                    <a:lnTo>
                      <a:pt x="262" y="312"/>
                    </a:lnTo>
                    <a:lnTo>
                      <a:pt x="262" y="311"/>
                    </a:lnTo>
                    <a:lnTo>
                      <a:pt x="261" y="311"/>
                    </a:lnTo>
                    <a:lnTo>
                      <a:pt x="261" y="310"/>
                    </a:lnTo>
                    <a:lnTo>
                      <a:pt x="262" y="310"/>
                    </a:lnTo>
                    <a:close/>
                    <a:moveTo>
                      <a:pt x="430" y="206"/>
                    </a:moveTo>
                    <a:lnTo>
                      <a:pt x="430" y="207"/>
                    </a:lnTo>
                    <a:lnTo>
                      <a:pt x="432" y="207"/>
                    </a:lnTo>
                    <a:lnTo>
                      <a:pt x="432" y="208"/>
                    </a:lnTo>
                    <a:lnTo>
                      <a:pt x="430" y="208"/>
                    </a:lnTo>
                    <a:lnTo>
                      <a:pt x="429" y="208"/>
                    </a:lnTo>
                    <a:lnTo>
                      <a:pt x="429" y="207"/>
                    </a:lnTo>
                    <a:lnTo>
                      <a:pt x="428" y="207"/>
                    </a:lnTo>
                    <a:lnTo>
                      <a:pt x="427" y="207"/>
                    </a:lnTo>
                    <a:lnTo>
                      <a:pt x="428" y="207"/>
                    </a:lnTo>
                    <a:lnTo>
                      <a:pt x="428" y="206"/>
                    </a:lnTo>
                    <a:lnTo>
                      <a:pt x="429" y="206"/>
                    </a:lnTo>
                    <a:lnTo>
                      <a:pt x="430" y="206"/>
                    </a:lnTo>
                    <a:close/>
                    <a:moveTo>
                      <a:pt x="331" y="241"/>
                    </a:moveTo>
                    <a:lnTo>
                      <a:pt x="332" y="241"/>
                    </a:lnTo>
                    <a:lnTo>
                      <a:pt x="332" y="242"/>
                    </a:lnTo>
                    <a:lnTo>
                      <a:pt x="330" y="242"/>
                    </a:lnTo>
                    <a:lnTo>
                      <a:pt x="329" y="242"/>
                    </a:lnTo>
                    <a:lnTo>
                      <a:pt x="329" y="241"/>
                    </a:lnTo>
                    <a:lnTo>
                      <a:pt x="330" y="241"/>
                    </a:lnTo>
                    <a:lnTo>
                      <a:pt x="331" y="241"/>
                    </a:lnTo>
                    <a:lnTo>
                      <a:pt x="331" y="239"/>
                    </a:lnTo>
                    <a:lnTo>
                      <a:pt x="331" y="238"/>
                    </a:lnTo>
                    <a:lnTo>
                      <a:pt x="331" y="239"/>
                    </a:lnTo>
                    <a:lnTo>
                      <a:pt x="331" y="241"/>
                    </a:lnTo>
                    <a:close/>
                    <a:moveTo>
                      <a:pt x="727" y="183"/>
                    </a:moveTo>
                    <a:lnTo>
                      <a:pt x="727" y="184"/>
                    </a:lnTo>
                    <a:lnTo>
                      <a:pt x="726" y="184"/>
                    </a:lnTo>
                    <a:lnTo>
                      <a:pt x="726" y="183"/>
                    </a:lnTo>
                    <a:lnTo>
                      <a:pt x="726" y="184"/>
                    </a:lnTo>
                    <a:lnTo>
                      <a:pt x="725" y="184"/>
                    </a:lnTo>
                    <a:lnTo>
                      <a:pt x="725" y="183"/>
                    </a:lnTo>
                    <a:lnTo>
                      <a:pt x="726" y="183"/>
                    </a:lnTo>
                    <a:lnTo>
                      <a:pt x="726" y="182"/>
                    </a:lnTo>
                    <a:lnTo>
                      <a:pt x="727" y="182"/>
                    </a:lnTo>
                    <a:lnTo>
                      <a:pt x="729" y="182"/>
                    </a:lnTo>
                    <a:lnTo>
                      <a:pt x="729" y="183"/>
                    </a:lnTo>
                    <a:lnTo>
                      <a:pt x="727" y="183"/>
                    </a:lnTo>
                    <a:close/>
                    <a:moveTo>
                      <a:pt x="459" y="168"/>
                    </a:moveTo>
                    <a:lnTo>
                      <a:pt x="460" y="168"/>
                    </a:lnTo>
                    <a:lnTo>
                      <a:pt x="461" y="168"/>
                    </a:lnTo>
                    <a:lnTo>
                      <a:pt x="461" y="169"/>
                    </a:lnTo>
                    <a:lnTo>
                      <a:pt x="460" y="169"/>
                    </a:lnTo>
                    <a:lnTo>
                      <a:pt x="460" y="170"/>
                    </a:lnTo>
                    <a:lnTo>
                      <a:pt x="461" y="170"/>
                    </a:lnTo>
                    <a:lnTo>
                      <a:pt x="460" y="170"/>
                    </a:lnTo>
                    <a:lnTo>
                      <a:pt x="459" y="170"/>
                    </a:lnTo>
                    <a:lnTo>
                      <a:pt x="459" y="169"/>
                    </a:lnTo>
                    <a:lnTo>
                      <a:pt x="459" y="168"/>
                    </a:lnTo>
                    <a:close/>
                    <a:moveTo>
                      <a:pt x="319" y="285"/>
                    </a:moveTo>
                    <a:lnTo>
                      <a:pt x="320" y="285"/>
                    </a:lnTo>
                    <a:lnTo>
                      <a:pt x="319" y="286"/>
                    </a:lnTo>
                    <a:lnTo>
                      <a:pt x="318" y="286"/>
                    </a:lnTo>
                    <a:lnTo>
                      <a:pt x="318" y="285"/>
                    </a:lnTo>
                    <a:lnTo>
                      <a:pt x="317" y="284"/>
                    </a:lnTo>
                    <a:lnTo>
                      <a:pt x="318" y="284"/>
                    </a:lnTo>
                    <a:lnTo>
                      <a:pt x="318" y="285"/>
                    </a:lnTo>
                    <a:lnTo>
                      <a:pt x="318" y="284"/>
                    </a:lnTo>
                    <a:lnTo>
                      <a:pt x="318" y="283"/>
                    </a:lnTo>
                    <a:lnTo>
                      <a:pt x="319" y="283"/>
                    </a:lnTo>
                    <a:lnTo>
                      <a:pt x="319" y="284"/>
                    </a:lnTo>
                    <a:lnTo>
                      <a:pt x="319" y="285"/>
                    </a:lnTo>
                    <a:close/>
                    <a:moveTo>
                      <a:pt x="228" y="313"/>
                    </a:moveTo>
                    <a:lnTo>
                      <a:pt x="229" y="313"/>
                    </a:lnTo>
                    <a:lnTo>
                      <a:pt x="230" y="313"/>
                    </a:lnTo>
                    <a:lnTo>
                      <a:pt x="231" y="314"/>
                    </a:lnTo>
                    <a:lnTo>
                      <a:pt x="230" y="314"/>
                    </a:lnTo>
                    <a:lnTo>
                      <a:pt x="228" y="314"/>
                    </a:lnTo>
                    <a:lnTo>
                      <a:pt x="227" y="314"/>
                    </a:lnTo>
                    <a:lnTo>
                      <a:pt x="228" y="313"/>
                    </a:lnTo>
                    <a:lnTo>
                      <a:pt x="229" y="313"/>
                    </a:lnTo>
                    <a:lnTo>
                      <a:pt x="228" y="313"/>
                    </a:lnTo>
                    <a:close/>
                    <a:moveTo>
                      <a:pt x="697" y="212"/>
                    </a:moveTo>
                    <a:lnTo>
                      <a:pt x="697" y="213"/>
                    </a:lnTo>
                    <a:lnTo>
                      <a:pt x="697" y="215"/>
                    </a:lnTo>
                    <a:lnTo>
                      <a:pt x="697" y="213"/>
                    </a:lnTo>
                    <a:lnTo>
                      <a:pt x="697" y="215"/>
                    </a:lnTo>
                    <a:lnTo>
                      <a:pt x="696" y="215"/>
                    </a:lnTo>
                    <a:lnTo>
                      <a:pt x="695" y="215"/>
                    </a:lnTo>
                    <a:lnTo>
                      <a:pt x="695" y="216"/>
                    </a:lnTo>
                    <a:lnTo>
                      <a:pt x="695" y="217"/>
                    </a:lnTo>
                    <a:lnTo>
                      <a:pt x="694" y="217"/>
                    </a:lnTo>
                    <a:lnTo>
                      <a:pt x="694" y="216"/>
                    </a:lnTo>
                    <a:lnTo>
                      <a:pt x="695" y="216"/>
                    </a:lnTo>
                    <a:lnTo>
                      <a:pt x="695" y="215"/>
                    </a:lnTo>
                    <a:lnTo>
                      <a:pt x="696" y="215"/>
                    </a:lnTo>
                    <a:lnTo>
                      <a:pt x="696" y="213"/>
                    </a:lnTo>
                    <a:lnTo>
                      <a:pt x="697" y="213"/>
                    </a:lnTo>
                    <a:lnTo>
                      <a:pt x="697" y="212"/>
                    </a:lnTo>
                    <a:close/>
                    <a:moveTo>
                      <a:pt x="729" y="154"/>
                    </a:moveTo>
                    <a:lnTo>
                      <a:pt x="727" y="154"/>
                    </a:lnTo>
                    <a:lnTo>
                      <a:pt x="726" y="154"/>
                    </a:lnTo>
                    <a:lnTo>
                      <a:pt x="727" y="153"/>
                    </a:lnTo>
                    <a:lnTo>
                      <a:pt x="729" y="153"/>
                    </a:lnTo>
                    <a:lnTo>
                      <a:pt x="729" y="152"/>
                    </a:lnTo>
                    <a:lnTo>
                      <a:pt x="730" y="152"/>
                    </a:lnTo>
                    <a:lnTo>
                      <a:pt x="730" y="153"/>
                    </a:lnTo>
                    <a:lnTo>
                      <a:pt x="729" y="154"/>
                    </a:lnTo>
                    <a:close/>
                    <a:moveTo>
                      <a:pt x="252" y="318"/>
                    </a:moveTo>
                    <a:lnTo>
                      <a:pt x="252" y="319"/>
                    </a:lnTo>
                    <a:lnTo>
                      <a:pt x="252" y="320"/>
                    </a:lnTo>
                    <a:lnTo>
                      <a:pt x="251" y="320"/>
                    </a:lnTo>
                    <a:lnTo>
                      <a:pt x="251" y="319"/>
                    </a:lnTo>
                    <a:lnTo>
                      <a:pt x="251" y="318"/>
                    </a:lnTo>
                    <a:lnTo>
                      <a:pt x="252" y="318"/>
                    </a:lnTo>
                    <a:close/>
                    <a:moveTo>
                      <a:pt x="305" y="302"/>
                    </a:moveTo>
                    <a:lnTo>
                      <a:pt x="306" y="302"/>
                    </a:lnTo>
                    <a:lnTo>
                      <a:pt x="307" y="302"/>
                    </a:lnTo>
                    <a:lnTo>
                      <a:pt x="307" y="303"/>
                    </a:lnTo>
                    <a:lnTo>
                      <a:pt x="307" y="305"/>
                    </a:lnTo>
                    <a:lnTo>
                      <a:pt x="306" y="305"/>
                    </a:lnTo>
                    <a:lnTo>
                      <a:pt x="306" y="303"/>
                    </a:lnTo>
                    <a:lnTo>
                      <a:pt x="305" y="302"/>
                    </a:lnTo>
                    <a:lnTo>
                      <a:pt x="304" y="302"/>
                    </a:lnTo>
                    <a:lnTo>
                      <a:pt x="305" y="302"/>
                    </a:lnTo>
                    <a:close/>
                    <a:moveTo>
                      <a:pt x="480" y="133"/>
                    </a:moveTo>
                    <a:lnTo>
                      <a:pt x="480" y="134"/>
                    </a:lnTo>
                    <a:lnTo>
                      <a:pt x="481" y="134"/>
                    </a:lnTo>
                    <a:lnTo>
                      <a:pt x="481" y="133"/>
                    </a:lnTo>
                    <a:lnTo>
                      <a:pt x="481" y="134"/>
                    </a:lnTo>
                    <a:lnTo>
                      <a:pt x="481" y="135"/>
                    </a:lnTo>
                    <a:lnTo>
                      <a:pt x="482" y="135"/>
                    </a:lnTo>
                    <a:lnTo>
                      <a:pt x="481" y="135"/>
                    </a:lnTo>
                    <a:lnTo>
                      <a:pt x="481" y="136"/>
                    </a:lnTo>
                    <a:lnTo>
                      <a:pt x="480" y="136"/>
                    </a:lnTo>
                    <a:lnTo>
                      <a:pt x="480" y="135"/>
                    </a:lnTo>
                    <a:lnTo>
                      <a:pt x="480" y="134"/>
                    </a:lnTo>
                    <a:lnTo>
                      <a:pt x="480" y="133"/>
                    </a:lnTo>
                    <a:close/>
                    <a:moveTo>
                      <a:pt x="350" y="287"/>
                    </a:moveTo>
                    <a:lnTo>
                      <a:pt x="349" y="287"/>
                    </a:lnTo>
                    <a:lnTo>
                      <a:pt x="350" y="286"/>
                    </a:lnTo>
                    <a:lnTo>
                      <a:pt x="350" y="285"/>
                    </a:lnTo>
                    <a:lnTo>
                      <a:pt x="350" y="284"/>
                    </a:lnTo>
                    <a:lnTo>
                      <a:pt x="350" y="283"/>
                    </a:lnTo>
                    <a:lnTo>
                      <a:pt x="350" y="284"/>
                    </a:lnTo>
                    <a:lnTo>
                      <a:pt x="351" y="285"/>
                    </a:lnTo>
                    <a:lnTo>
                      <a:pt x="351" y="286"/>
                    </a:lnTo>
                    <a:lnTo>
                      <a:pt x="350" y="286"/>
                    </a:lnTo>
                    <a:lnTo>
                      <a:pt x="350" y="287"/>
                    </a:lnTo>
                    <a:close/>
                    <a:moveTo>
                      <a:pt x="713" y="107"/>
                    </a:moveTo>
                    <a:lnTo>
                      <a:pt x="712" y="107"/>
                    </a:lnTo>
                    <a:lnTo>
                      <a:pt x="712" y="106"/>
                    </a:lnTo>
                    <a:lnTo>
                      <a:pt x="713" y="106"/>
                    </a:lnTo>
                    <a:lnTo>
                      <a:pt x="713" y="105"/>
                    </a:lnTo>
                    <a:lnTo>
                      <a:pt x="714" y="105"/>
                    </a:lnTo>
                    <a:lnTo>
                      <a:pt x="714" y="106"/>
                    </a:lnTo>
                    <a:lnTo>
                      <a:pt x="714" y="107"/>
                    </a:lnTo>
                    <a:lnTo>
                      <a:pt x="713" y="107"/>
                    </a:lnTo>
                    <a:close/>
                    <a:moveTo>
                      <a:pt x="719" y="235"/>
                    </a:moveTo>
                    <a:lnTo>
                      <a:pt x="718" y="235"/>
                    </a:lnTo>
                    <a:lnTo>
                      <a:pt x="718" y="236"/>
                    </a:lnTo>
                    <a:lnTo>
                      <a:pt x="718" y="235"/>
                    </a:lnTo>
                    <a:lnTo>
                      <a:pt x="717" y="235"/>
                    </a:lnTo>
                    <a:lnTo>
                      <a:pt x="718" y="235"/>
                    </a:lnTo>
                    <a:lnTo>
                      <a:pt x="718" y="234"/>
                    </a:lnTo>
                    <a:lnTo>
                      <a:pt x="719" y="234"/>
                    </a:lnTo>
                    <a:lnTo>
                      <a:pt x="719" y="235"/>
                    </a:lnTo>
                    <a:close/>
                    <a:moveTo>
                      <a:pt x="422" y="78"/>
                    </a:moveTo>
                    <a:lnTo>
                      <a:pt x="423" y="78"/>
                    </a:lnTo>
                    <a:lnTo>
                      <a:pt x="423" y="77"/>
                    </a:lnTo>
                    <a:lnTo>
                      <a:pt x="423" y="78"/>
                    </a:lnTo>
                    <a:lnTo>
                      <a:pt x="424" y="78"/>
                    </a:lnTo>
                    <a:lnTo>
                      <a:pt x="425" y="78"/>
                    </a:lnTo>
                    <a:lnTo>
                      <a:pt x="426" y="78"/>
                    </a:lnTo>
                    <a:lnTo>
                      <a:pt x="426" y="79"/>
                    </a:lnTo>
                    <a:lnTo>
                      <a:pt x="425" y="79"/>
                    </a:lnTo>
                    <a:lnTo>
                      <a:pt x="424" y="79"/>
                    </a:lnTo>
                    <a:lnTo>
                      <a:pt x="423" y="79"/>
                    </a:lnTo>
                    <a:lnTo>
                      <a:pt x="423" y="78"/>
                    </a:lnTo>
                    <a:lnTo>
                      <a:pt x="422" y="78"/>
                    </a:lnTo>
                    <a:lnTo>
                      <a:pt x="422" y="77"/>
                    </a:lnTo>
                    <a:lnTo>
                      <a:pt x="422" y="78"/>
                    </a:lnTo>
                    <a:close/>
                    <a:moveTo>
                      <a:pt x="425" y="110"/>
                    </a:moveTo>
                    <a:lnTo>
                      <a:pt x="426" y="110"/>
                    </a:lnTo>
                    <a:lnTo>
                      <a:pt x="427" y="110"/>
                    </a:lnTo>
                    <a:lnTo>
                      <a:pt x="426" y="110"/>
                    </a:lnTo>
                    <a:lnTo>
                      <a:pt x="426" y="112"/>
                    </a:lnTo>
                    <a:lnTo>
                      <a:pt x="426" y="113"/>
                    </a:lnTo>
                    <a:lnTo>
                      <a:pt x="427" y="113"/>
                    </a:lnTo>
                    <a:lnTo>
                      <a:pt x="426" y="113"/>
                    </a:lnTo>
                    <a:lnTo>
                      <a:pt x="426" y="112"/>
                    </a:lnTo>
                    <a:lnTo>
                      <a:pt x="425" y="112"/>
                    </a:lnTo>
                    <a:lnTo>
                      <a:pt x="424" y="112"/>
                    </a:lnTo>
                    <a:lnTo>
                      <a:pt x="424" y="110"/>
                    </a:lnTo>
                    <a:lnTo>
                      <a:pt x="425" y="110"/>
                    </a:lnTo>
                    <a:close/>
                    <a:moveTo>
                      <a:pt x="716" y="109"/>
                    </a:moveTo>
                    <a:lnTo>
                      <a:pt x="714" y="109"/>
                    </a:lnTo>
                    <a:lnTo>
                      <a:pt x="713" y="109"/>
                    </a:lnTo>
                    <a:lnTo>
                      <a:pt x="714" y="109"/>
                    </a:lnTo>
                    <a:lnTo>
                      <a:pt x="716" y="108"/>
                    </a:lnTo>
                    <a:lnTo>
                      <a:pt x="717" y="108"/>
                    </a:lnTo>
                    <a:lnTo>
                      <a:pt x="716" y="109"/>
                    </a:lnTo>
                    <a:close/>
                    <a:moveTo>
                      <a:pt x="717" y="113"/>
                    </a:moveTo>
                    <a:lnTo>
                      <a:pt x="716" y="113"/>
                    </a:lnTo>
                    <a:lnTo>
                      <a:pt x="717" y="112"/>
                    </a:lnTo>
                    <a:lnTo>
                      <a:pt x="718" y="112"/>
                    </a:lnTo>
                    <a:lnTo>
                      <a:pt x="718" y="110"/>
                    </a:lnTo>
                    <a:lnTo>
                      <a:pt x="719" y="110"/>
                    </a:lnTo>
                    <a:lnTo>
                      <a:pt x="719" y="112"/>
                    </a:lnTo>
                    <a:lnTo>
                      <a:pt x="718" y="113"/>
                    </a:lnTo>
                    <a:lnTo>
                      <a:pt x="717" y="113"/>
                    </a:lnTo>
                    <a:close/>
                    <a:moveTo>
                      <a:pt x="233" y="314"/>
                    </a:moveTo>
                    <a:lnTo>
                      <a:pt x="232" y="314"/>
                    </a:lnTo>
                    <a:lnTo>
                      <a:pt x="231" y="314"/>
                    </a:lnTo>
                    <a:lnTo>
                      <a:pt x="231" y="313"/>
                    </a:lnTo>
                    <a:lnTo>
                      <a:pt x="232" y="313"/>
                    </a:lnTo>
                    <a:lnTo>
                      <a:pt x="233" y="314"/>
                    </a:lnTo>
                    <a:close/>
                    <a:moveTo>
                      <a:pt x="727" y="197"/>
                    </a:moveTo>
                    <a:lnTo>
                      <a:pt x="726" y="197"/>
                    </a:lnTo>
                    <a:lnTo>
                      <a:pt x="726" y="198"/>
                    </a:lnTo>
                    <a:lnTo>
                      <a:pt x="725" y="198"/>
                    </a:lnTo>
                    <a:lnTo>
                      <a:pt x="725" y="197"/>
                    </a:lnTo>
                    <a:lnTo>
                      <a:pt x="726" y="196"/>
                    </a:lnTo>
                    <a:lnTo>
                      <a:pt x="727" y="196"/>
                    </a:lnTo>
                    <a:lnTo>
                      <a:pt x="727" y="197"/>
                    </a:lnTo>
                    <a:close/>
                    <a:moveTo>
                      <a:pt x="716" y="106"/>
                    </a:moveTo>
                    <a:lnTo>
                      <a:pt x="717" y="106"/>
                    </a:lnTo>
                    <a:lnTo>
                      <a:pt x="717" y="107"/>
                    </a:lnTo>
                    <a:lnTo>
                      <a:pt x="716" y="107"/>
                    </a:lnTo>
                    <a:lnTo>
                      <a:pt x="714" y="107"/>
                    </a:lnTo>
                    <a:lnTo>
                      <a:pt x="716" y="106"/>
                    </a:lnTo>
                    <a:close/>
                    <a:moveTo>
                      <a:pt x="316" y="307"/>
                    </a:moveTo>
                    <a:lnTo>
                      <a:pt x="317" y="307"/>
                    </a:lnTo>
                    <a:lnTo>
                      <a:pt x="318" y="307"/>
                    </a:lnTo>
                    <a:lnTo>
                      <a:pt x="319" y="307"/>
                    </a:lnTo>
                    <a:lnTo>
                      <a:pt x="318" y="307"/>
                    </a:lnTo>
                    <a:lnTo>
                      <a:pt x="317" y="307"/>
                    </a:lnTo>
                    <a:lnTo>
                      <a:pt x="316" y="307"/>
                    </a:lnTo>
                    <a:lnTo>
                      <a:pt x="316" y="308"/>
                    </a:lnTo>
                    <a:lnTo>
                      <a:pt x="314" y="307"/>
                    </a:lnTo>
                    <a:lnTo>
                      <a:pt x="316" y="307"/>
                    </a:lnTo>
                    <a:close/>
                    <a:moveTo>
                      <a:pt x="729" y="156"/>
                    </a:moveTo>
                    <a:lnTo>
                      <a:pt x="727" y="156"/>
                    </a:lnTo>
                    <a:lnTo>
                      <a:pt x="726" y="156"/>
                    </a:lnTo>
                    <a:lnTo>
                      <a:pt x="725" y="156"/>
                    </a:lnTo>
                    <a:lnTo>
                      <a:pt x="726" y="156"/>
                    </a:lnTo>
                    <a:lnTo>
                      <a:pt x="727" y="156"/>
                    </a:lnTo>
                    <a:lnTo>
                      <a:pt x="727" y="155"/>
                    </a:lnTo>
                    <a:lnTo>
                      <a:pt x="729" y="155"/>
                    </a:lnTo>
                    <a:lnTo>
                      <a:pt x="729" y="156"/>
                    </a:lnTo>
                    <a:close/>
                    <a:moveTo>
                      <a:pt x="285" y="323"/>
                    </a:moveTo>
                    <a:lnTo>
                      <a:pt x="284" y="323"/>
                    </a:lnTo>
                    <a:lnTo>
                      <a:pt x="284" y="324"/>
                    </a:lnTo>
                    <a:lnTo>
                      <a:pt x="283" y="324"/>
                    </a:lnTo>
                    <a:lnTo>
                      <a:pt x="283" y="323"/>
                    </a:lnTo>
                    <a:lnTo>
                      <a:pt x="284" y="322"/>
                    </a:lnTo>
                    <a:lnTo>
                      <a:pt x="284" y="323"/>
                    </a:lnTo>
                    <a:lnTo>
                      <a:pt x="284" y="322"/>
                    </a:lnTo>
                    <a:lnTo>
                      <a:pt x="285" y="322"/>
                    </a:lnTo>
                    <a:lnTo>
                      <a:pt x="286" y="322"/>
                    </a:lnTo>
                    <a:lnTo>
                      <a:pt x="286" y="323"/>
                    </a:lnTo>
                    <a:lnTo>
                      <a:pt x="285" y="323"/>
                    </a:lnTo>
                    <a:close/>
                    <a:moveTo>
                      <a:pt x="414" y="213"/>
                    </a:moveTo>
                    <a:lnTo>
                      <a:pt x="413" y="213"/>
                    </a:lnTo>
                    <a:lnTo>
                      <a:pt x="414" y="212"/>
                    </a:lnTo>
                    <a:lnTo>
                      <a:pt x="414" y="211"/>
                    </a:lnTo>
                    <a:lnTo>
                      <a:pt x="415" y="211"/>
                    </a:lnTo>
                    <a:lnTo>
                      <a:pt x="414" y="212"/>
                    </a:lnTo>
                    <a:lnTo>
                      <a:pt x="414" y="213"/>
                    </a:lnTo>
                    <a:close/>
                    <a:moveTo>
                      <a:pt x="303" y="235"/>
                    </a:moveTo>
                    <a:lnTo>
                      <a:pt x="303" y="234"/>
                    </a:lnTo>
                    <a:lnTo>
                      <a:pt x="304" y="234"/>
                    </a:lnTo>
                    <a:lnTo>
                      <a:pt x="304" y="235"/>
                    </a:lnTo>
                    <a:lnTo>
                      <a:pt x="305" y="236"/>
                    </a:lnTo>
                    <a:lnTo>
                      <a:pt x="305" y="237"/>
                    </a:lnTo>
                    <a:lnTo>
                      <a:pt x="305" y="236"/>
                    </a:lnTo>
                    <a:lnTo>
                      <a:pt x="304" y="236"/>
                    </a:lnTo>
                    <a:lnTo>
                      <a:pt x="304" y="235"/>
                    </a:lnTo>
                    <a:lnTo>
                      <a:pt x="303" y="235"/>
                    </a:lnTo>
                    <a:lnTo>
                      <a:pt x="301" y="234"/>
                    </a:lnTo>
                    <a:lnTo>
                      <a:pt x="303" y="234"/>
                    </a:lnTo>
                    <a:lnTo>
                      <a:pt x="303" y="235"/>
                    </a:lnTo>
                    <a:close/>
                    <a:moveTo>
                      <a:pt x="494" y="64"/>
                    </a:moveTo>
                    <a:lnTo>
                      <a:pt x="494" y="65"/>
                    </a:lnTo>
                    <a:lnTo>
                      <a:pt x="494" y="66"/>
                    </a:lnTo>
                    <a:lnTo>
                      <a:pt x="494" y="68"/>
                    </a:lnTo>
                    <a:lnTo>
                      <a:pt x="494" y="67"/>
                    </a:lnTo>
                    <a:lnTo>
                      <a:pt x="493" y="66"/>
                    </a:lnTo>
                    <a:lnTo>
                      <a:pt x="493" y="65"/>
                    </a:lnTo>
                    <a:lnTo>
                      <a:pt x="492" y="65"/>
                    </a:lnTo>
                    <a:lnTo>
                      <a:pt x="492" y="64"/>
                    </a:lnTo>
                    <a:lnTo>
                      <a:pt x="493" y="64"/>
                    </a:lnTo>
                    <a:lnTo>
                      <a:pt x="493" y="63"/>
                    </a:lnTo>
                    <a:lnTo>
                      <a:pt x="494" y="64"/>
                    </a:lnTo>
                    <a:close/>
                    <a:moveTo>
                      <a:pt x="448" y="143"/>
                    </a:moveTo>
                    <a:lnTo>
                      <a:pt x="449" y="143"/>
                    </a:lnTo>
                    <a:lnTo>
                      <a:pt x="449" y="142"/>
                    </a:lnTo>
                    <a:lnTo>
                      <a:pt x="448" y="142"/>
                    </a:lnTo>
                    <a:lnTo>
                      <a:pt x="449" y="142"/>
                    </a:lnTo>
                    <a:lnTo>
                      <a:pt x="449" y="143"/>
                    </a:lnTo>
                    <a:lnTo>
                      <a:pt x="449" y="144"/>
                    </a:lnTo>
                    <a:lnTo>
                      <a:pt x="448" y="144"/>
                    </a:lnTo>
                    <a:lnTo>
                      <a:pt x="448" y="143"/>
                    </a:lnTo>
                    <a:lnTo>
                      <a:pt x="447" y="143"/>
                    </a:lnTo>
                    <a:lnTo>
                      <a:pt x="446" y="144"/>
                    </a:lnTo>
                    <a:lnTo>
                      <a:pt x="447" y="143"/>
                    </a:lnTo>
                    <a:lnTo>
                      <a:pt x="447" y="142"/>
                    </a:lnTo>
                    <a:lnTo>
                      <a:pt x="447" y="143"/>
                    </a:lnTo>
                    <a:lnTo>
                      <a:pt x="448" y="143"/>
                    </a:lnTo>
                    <a:close/>
                    <a:moveTo>
                      <a:pt x="299" y="243"/>
                    </a:moveTo>
                    <a:lnTo>
                      <a:pt x="300" y="243"/>
                    </a:lnTo>
                    <a:lnTo>
                      <a:pt x="301" y="244"/>
                    </a:lnTo>
                    <a:lnTo>
                      <a:pt x="301" y="245"/>
                    </a:lnTo>
                    <a:lnTo>
                      <a:pt x="300" y="245"/>
                    </a:lnTo>
                    <a:lnTo>
                      <a:pt x="300" y="244"/>
                    </a:lnTo>
                    <a:lnTo>
                      <a:pt x="299" y="244"/>
                    </a:lnTo>
                    <a:lnTo>
                      <a:pt x="299" y="243"/>
                    </a:lnTo>
                    <a:close/>
                    <a:moveTo>
                      <a:pt x="423" y="202"/>
                    </a:moveTo>
                    <a:lnTo>
                      <a:pt x="422" y="202"/>
                    </a:lnTo>
                    <a:lnTo>
                      <a:pt x="422" y="203"/>
                    </a:lnTo>
                    <a:lnTo>
                      <a:pt x="421" y="203"/>
                    </a:lnTo>
                    <a:lnTo>
                      <a:pt x="420" y="203"/>
                    </a:lnTo>
                    <a:lnTo>
                      <a:pt x="420" y="202"/>
                    </a:lnTo>
                    <a:lnTo>
                      <a:pt x="421" y="202"/>
                    </a:lnTo>
                    <a:lnTo>
                      <a:pt x="422" y="202"/>
                    </a:lnTo>
                    <a:lnTo>
                      <a:pt x="423" y="202"/>
                    </a:lnTo>
                    <a:close/>
                    <a:moveTo>
                      <a:pt x="426" y="76"/>
                    </a:moveTo>
                    <a:lnTo>
                      <a:pt x="425" y="77"/>
                    </a:lnTo>
                    <a:lnTo>
                      <a:pt x="425" y="76"/>
                    </a:lnTo>
                    <a:lnTo>
                      <a:pt x="424" y="76"/>
                    </a:lnTo>
                    <a:lnTo>
                      <a:pt x="424" y="77"/>
                    </a:lnTo>
                    <a:lnTo>
                      <a:pt x="424" y="76"/>
                    </a:lnTo>
                    <a:lnTo>
                      <a:pt x="425" y="76"/>
                    </a:lnTo>
                    <a:lnTo>
                      <a:pt x="425" y="75"/>
                    </a:lnTo>
                    <a:lnTo>
                      <a:pt x="426" y="75"/>
                    </a:lnTo>
                    <a:lnTo>
                      <a:pt x="426" y="76"/>
                    </a:lnTo>
                    <a:close/>
                    <a:moveTo>
                      <a:pt x="304" y="303"/>
                    </a:moveTo>
                    <a:lnTo>
                      <a:pt x="305" y="303"/>
                    </a:lnTo>
                    <a:lnTo>
                      <a:pt x="306" y="305"/>
                    </a:lnTo>
                    <a:lnTo>
                      <a:pt x="305" y="305"/>
                    </a:lnTo>
                    <a:lnTo>
                      <a:pt x="304" y="305"/>
                    </a:lnTo>
                    <a:lnTo>
                      <a:pt x="304" y="303"/>
                    </a:lnTo>
                    <a:lnTo>
                      <a:pt x="303" y="303"/>
                    </a:lnTo>
                    <a:lnTo>
                      <a:pt x="304" y="303"/>
                    </a:lnTo>
                    <a:close/>
                    <a:moveTo>
                      <a:pt x="464" y="161"/>
                    </a:moveTo>
                    <a:lnTo>
                      <a:pt x="464" y="162"/>
                    </a:lnTo>
                    <a:lnTo>
                      <a:pt x="463" y="162"/>
                    </a:lnTo>
                    <a:lnTo>
                      <a:pt x="462" y="162"/>
                    </a:lnTo>
                    <a:lnTo>
                      <a:pt x="461" y="161"/>
                    </a:lnTo>
                    <a:lnTo>
                      <a:pt x="462" y="161"/>
                    </a:lnTo>
                    <a:lnTo>
                      <a:pt x="464" y="161"/>
                    </a:lnTo>
                    <a:close/>
                    <a:moveTo>
                      <a:pt x="331" y="311"/>
                    </a:moveTo>
                    <a:lnTo>
                      <a:pt x="330" y="311"/>
                    </a:lnTo>
                    <a:lnTo>
                      <a:pt x="329" y="311"/>
                    </a:lnTo>
                    <a:lnTo>
                      <a:pt x="329" y="310"/>
                    </a:lnTo>
                    <a:lnTo>
                      <a:pt x="330" y="310"/>
                    </a:lnTo>
                    <a:lnTo>
                      <a:pt x="331" y="310"/>
                    </a:lnTo>
                    <a:lnTo>
                      <a:pt x="331" y="311"/>
                    </a:lnTo>
                    <a:close/>
                    <a:moveTo>
                      <a:pt x="340" y="358"/>
                    </a:moveTo>
                    <a:lnTo>
                      <a:pt x="342" y="358"/>
                    </a:lnTo>
                    <a:lnTo>
                      <a:pt x="342" y="359"/>
                    </a:lnTo>
                    <a:lnTo>
                      <a:pt x="342" y="358"/>
                    </a:lnTo>
                    <a:lnTo>
                      <a:pt x="340" y="359"/>
                    </a:lnTo>
                    <a:lnTo>
                      <a:pt x="339" y="358"/>
                    </a:lnTo>
                    <a:lnTo>
                      <a:pt x="339" y="359"/>
                    </a:lnTo>
                    <a:lnTo>
                      <a:pt x="338" y="359"/>
                    </a:lnTo>
                    <a:lnTo>
                      <a:pt x="338" y="358"/>
                    </a:lnTo>
                    <a:lnTo>
                      <a:pt x="339" y="358"/>
                    </a:lnTo>
                    <a:lnTo>
                      <a:pt x="340" y="358"/>
                    </a:lnTo>
                    <a:close/>
                    <a:moveTo>
                      <a:pt x="719" y="231"/>
                    </a:moveTo>
                    <a:lnTo>
                      <a:pt x="720" y="231"/>
                    </a:lnTo>
                    <a:lnTo>
                      <a:pt x="719" y="232"/>
                    </a:lnTo>
                    <a:lnTo>
                      <a:pt x="718" y="232"/>
                    </a:lnTo>
                    <a:lnTo>
                      <a:pt x="718" y="231"/>
                    </a:lnTo>
                    <a:lnTo>
                      <a:pt x="719" y="231"/>
                    </a:lnTo>
                    <a:close/>
                    <a:moveTo>
                      <a:pt x="727" y="194"/>
                    </a:moveTo>
                    <a:lnTo>
                      <a:pt x="727" y="195"/>
                    </a:lnTo>
                    <a:lnTo>
                      <a:pt x="726" y="195"/>
                    </a:lnTo>
                    <a:lnTo>
                      <a:pt x="726" y="194"/>
                    </a:lnTo>
                    <a:lnTo>
                      <a:pt x="725" y="194"/>
                    </a:lnTo>
                    <a:lnTo>
                      <a:pt x="726" y="194"/>
                    </a:lnTo>
                    <a:lnTo>
                      <a:pt x="727" y="194"/>
                    </a:lnTo>
                    <a:close/>
                    <a:moveTo>
                      <a:pt x="720" y="117"/>
                    </a:moveTo>
                    <a:lnTo>
                      <a:pt x="719" y="117"/>
                    </a:lnTo>
                    <a:lnTo>
                      <a:pt x="719" y="116"/>
                    </a:lnTo>
                    <a:lnTo>
                      <a:pt x="720" y="116"/>
                    </a:lnTo>
                    <a:lnTo>
                      <a:pt x="721" y="116"/>
                    </a:lnTo>
                    <a:lnTo>
                      <a:pt x="720" y="117"/>
                    </a:lnTo>
                    <a:close/>
                    <a:moveTo>
                      <a:pt x="293" y="264"/>
                    </a:moveTo>
                    <a:lnTo>
                      <a:pt x="294" y="264"/>
                    </a:lnTo>
                    <a:lnTo>
                      <a:pt x="294" y="267"/>
                    </a:lnTo>
                    <a:lnTo>
                      <a:pt x="293" y="267"/>
                    </a:lnTo>
                    <a:lnTo>
                      <a:pt x="293" y="264"/>
                    </a:lnTo>
                    <a:close/>
                    <a:moveTo>
                      <a:pt x="721" y="135"/>
                    </a:moveTo>
                    <a:lnTo>
                      <a:pt x="722" y="135"/>
                    </a:lnTo>
                    <a:lnTo>
                      <a:pt x="722" y="138"/>
                    </a:lnTo>
                    <a:lnTo>
                      <a:pt x="721" y="138"/>
                    </a:lnTo>
                    <a:lnTo>
                      <a:pt x="721" y="135"/>
                    </a:lnTo>
                    <a:close/>
                    <a:moveTo>
                      <a:pt x="455" y="38"/>
                    </a:moveTo>
                    <a:lnTo>
                      <a:pt x="458" y="38"/>
                    </a:lnTo>
                    <a:lnTo>
                      <a:pt x="458" y="40"/>
                    </a:lnTo>
                    <a:lnTo>
                      <a:pt x="455" y="40"/>
                    </a:lnTo>
                    <a:lnTo>
                      <a:pt x="455" y="38"/>
                    </a:lnTo>
                    <a:close/>
                    <a:moveTo>
                      <a:pt x="406" y="208"/>
                    </a:moveTo>
                    <a:lnTo>
                      <a:pt x="404" y="209"/>
                    </a:lnTo>
                    <a:lnTo>
                      <a:pt x="402" y="209"/>
                    </a:lnTo>
                    <a:lnTo>
                      <a:pt x="403" y="209"/>
                    </a:lnTo>
                    <a:lnTo>
                      <a:pt x="404" y="208"/>
                    </a:lnTo>
                    <a:lnTo>
                      <a:pt x="406" y="208"/>
                    </a:lnTo>
                    <a:close/>
                    <a:moveTo>
                      <a:pt x="730" y="168"/>
                    </a:moveTo>
                    <a:lnTo>
                      <a:pt x="730" y="169"/>
                    </a:lnTo>
                    <a:lnTo>
                      <a:pt x="729" y="169"/>
                    </a:lnTo>
                    <a:lnTo>
                      <a:pt x="729" y="168"/>
                    </a:lnTo>
                    <a:lnTo>
                      <a:pt x="727" y="168"/>
                    </a:lnTo>
                    <a:lnTo>
                      <a:pt x="730" y="168"/>
                    </a:lnTo>
                    <a:lnTo>
                      <a:pt x="729" y="168"/>
                    </a:lnTo>
                    <a:lnTo>
                      <a:pt x="730" y="168"/>
                    </a:lnTo>
                    <a:close/>
                    <a:moveTo>
                      <a:pt x="324" y="310"/>
                    </a:moveTo>
                    <a:lnTo>
                      <a:pt x="323" y="310"/>
                    </a:lnTo>
                    <a:lnTo>
                      <a:pt x="323" y="309"/>
                    </a:lnTo>
                    <a:lnTo>
                      <a:pt x="323" y="308"/>
                    </a:lnTo>
                    <a:lnTo>
                      <a:pt x="324" y="308"/>
                    </a:lnTo>
                    <a:lnTo>
                      <a:pt x="324" y="309"/>
                    </a:lnTo>
                    <a:lnTo>
                      <a:pt x="324" y="310"/>
                    </a:lnTo>
                    <a:close/>
                    <a:moveTo>
                      <a:pt x="726" y="200"/>
                    </a:moveTo>
                    <a:lnTo>
                      <a:pt x="725" y="200"/>
                    </a:lnTo>
                    <a:lnTo>
                      <a:pt x="725" y="199"/>
                    </a:lnTo>
                    <a:lnTo>
                      <a:pt x="726" y="199"/>
                    </a:lnTo>
                    <a:lnTo>
                      <a:pt x="727" y="199"/>
                    </a:lnTo>
                    <a:lnTo>
                      <a:pt x="727" y="200"/>
                    </a:lnTo>
                    <a:lnTo>
                      <a:pt x="726" y="200"/>
                    </a:lnTo>
                    <a:close/>
                    <a:moveTo>
                      <a:pt x="723" y="205"/>
                    </a:moveTo>
                    <a:lnTo>
                      <a:pt x="724" y="205"/>
                    </a:lnTo>
                    <a:lnTo>
                      <a:pt x="724" y="207"/>
                    </a:lnTo>
                    <a:lnTo>
                      <a:pt x="723" y="207"/>
                    </a:lnTo>
                    <a:lnTo>
                      <a:pt x="723" y="205"/>
                    </a:lnTo>
                    <a:close/>
                    <a:moveTo>
                      <a:pt x="247" y="321"/>
                    </a:moveTo>
                    <a:lnTo>
                      <a:pt x="248" y="321"/>
                    </a:lnTo>
                    <a:lnTo>
                      <a:pt x="248" y="322"/>
                    </a:lnTo>
                    <a:lnTo>
                      <a:pt x="247" y="322"/>
                    </a:lnTo>
                    <a:lnTo>
                      <a:pt x="247" y="321"/>
                    </a:lnTo>
                    <a:close/>
                    <a:moveTo>
                      <a:pt x="314" y="233"/>
                    </a:moveTo>
                    <a:lnTo>
                      <a:pt x="314" y="234"/>
                    </a:lnTo>
                    <a:lnTo>
                      <a:pt x="316" y="234"/>
                    </a:lnTo>
                    <a:lnTo>
                      <a:pt x="314" y="234"/>
                    </a:lnTo>
                    <a:lnTo>
                      <a:pt x="313" y="234"/>
                    </a:lnTo>
                    <a:lnTo>
                      <a:pt x="313" y="233"/>
                    </a:lnTo>
                    <a:lnTo>
                      <a:pt x="314" y="233"/>
                    </a:lnTo>
                    <a:close/>
                    <a:moveTo>
                      <a:pt x="727" y="198"/>
                    </a:moveTo>
                    <a:lnTo>
                      <a:pt x="726" y="199"/>
                    </a:lnTo>
                    <a:lnTo>
                      <a:pt x="725" y="199"/>
                    </a:lnTo>
                    <a:lnTo>
                      <a:pt x="725" y="198"/>
                    </a:lnTo>
                    <a:lnTo>
                      <a:pt x="726" y="198"/>
                    </a:lnTo>
                    <a:lnTo>
                      <a:pt x="727" y="198"/>
                    </a:lnTo>
                    <a:close/>
                    <a:moveTo>
                      <a:pt x="275" y="321"/>
                    </a:moveTo>
                    <a:lnTo>
                      <a:pt x="274" y="321"/>
                    </a:lnTo>
                    <a:lnTo>
                      <a:pt x="273" y="321"/>
                    </a:lnTo>
                    <a:lnTo>
                      <a:pt x="274" y="320"/>
                    </a:lnTo>
                    <a:lnTo>
                      <a:pt x="274" y="321"/>
                    </a:lnTo>
                    <a:lnTo>
                      <a:pt x="275" y="321"/>
                    </a:lnTo>
                    <a:close/>
                    <a:moveTo>
                      <a:pt x="485" y="88"/>
                    </a:moveTo>
                    <a:lnTo>
                      <a:pt x="486" y="88"/>
                    </a:lnTo>
                    <a:lnTo>
                      <a:pt x="486" y="89"/>
                    </a:lnTo>
                    <a:lnTo>
                      <a:pt x="485" y="89"/>
                    </a:lnTo>
                    <a:lnTo>
                      <a:pt x="485" y="88"/>
                    </a:lnTo>
                    <a:close/>
                    <a:moveTo>
                      <a:pt x="448" y="249"/>
                    </a:moveTo>
                    <a:lnTo>
                      <a:pt x="449" y="249"/>
                    </a:lnTo>
                    <a:lnTo>
                      <a:pt x="449" y="251"/>
                    </a:lnTo>
                    <a:lnTo>
                      <a:pt x="448" y="251"/>
                    </a:lnTo>
                    <a:lnTo>
                      <a:pt x="448" y="249"/>
                    </a:lnTo>
                    <a:close/>
                    <a:moveTo>
                      <a:pt x="247" y="316"/>
                    </a:moveTo>
                    <a:lnTo>
                      <a:pt x="248" y="316"/>
                    </a:lnTo>
                    <a:lnTo>
                      <a:pt x="248" y="319"/>
                    </a:lnTo>
                    <a:lnTo>
                      <a:pt x="247" y="319"/>
                    </a:lnTo>
                    <a:lnTo>
                      <a:pt x="247" y="316"/>
                    </a:lnTo>
                    <a:close/>
                    <a:moveTo>
                      <a:pt x="337" y="358"/>
                    </a:moveTo>
                    <a:lnTo>
                      <a:pt x="336" y="358"/>
                    </a:lnTo>
                    <a:lnTo>
                      <a:pt x="335" y="359"/>
                    </a:lnTo>
                    <a:lnTo>
                      <a:pt x="335" y="358"/>
                    </a:lnTo>
                    <a:lnTo>
                      <a:pt x="336" y="357"/>
                    </a:lnTo>
                    <a:lnTo>
                      <a:pt x="336" y="358"/>
                    </a:lnTo>
                    <a:lnTo>
                      <a:pt x="337" y="358"/>
                    </a:lnTo>
                    <a:close/>
                    <a:moveTo>
                      <a:pt x="369" y="123"/>
                    </a:moveTo>
                    <a:lnTo>
                      <a:pt x="370" y="123"/>
                    </a:lnTo>
                    <a:lnTo>
                      <a:pt x="370" y="126"/>
                    </a:lnTo>
                    <a:lnTo>
                      <a:pt x="369" y="126"/>
                    </a:lnTo>
                    <a:lnTo>
                      <a:pt x="369" y="123"/>
                    </a:lnTo>
                    <a:close/>
                    <a:moveTo>
                      <a:pt x="436" y="77"/>
                    </a:moveTo>
                    <a:lnTo>
                      <a:pt x="435" y="77"/>
                    </a:lnTo>
                    <a:lnTo>
                      <a:pt x="435" y="78"/>
                    </a:lnTo>
                    <a:lnTo>
                      <a:pt x="434" y="77"/>
                    </a:lnTo>
                    <a:lnTo>
                      <a:pt x="433" y="78"/>
                    </a:lnTo>
                    <a:lnTo>
                      <a:pt x="433" y="77"/>
                    </a:lnTo>
                    <a:lnTo>
                      <a:pt x="434" y="77"/>
                    </a:lnTo>
                    <a:lnTo>
                      <a:pt x="435" y="77"/>
                    </a:lnTo>
                    <a:lnTo>
                      <a:pt x="436" y="77"/>
                    </a:lnTo>
                    <a:close/>
                    <a:moveTo>
                      <a:pt x="445" y="49"/>
                    </a:moveTo>
                    <a:lnTo>
                      <a:pt x="446" y="49"/>
                    </a:lnTo>
                    <a:lnTo>
                      <a:pt x="446" y="50"/>
                    </a:lnTo>
                    <a:lnTo>
                      <a:pt x="445" y="50"/>
                    </a:lnTo>
                    <a:lnTo>
                      <a:pt x="445" y="49"/>
                    </a:lnTo>
                    <a:close/>
                    <a:moveTo>
                      <a:pt x="493" y="11"/>
                    </a:moveTo>
                    <a:lnTo>
                      <a:pt x="494" y="11"/>
                    </a:lnTo>
                    <a:lnTo>
                      <a:pt x="494" y="12"/>
                    </a:lnTo>
                    <a:lnTo>
                      <a:pt x="493" y="12"/>
                    </a:lnTo>
                    <a:lnTo>
                      <a:pt x="493" y="11"/>
                    </a:lnTo>
                    <a:close/>
                    <a:moveTo>
                      <a:pt x="455" y="37"/>
                    </a:moveTo>
                    <a:lnTo>
                      <a:pt x="456" y="37"/>
                    </a:lnTo>
                    <a:lnTo>
                      <a:pt x="456" y="38"/>
                    </a:lnTo>
                    <a:lnTo>
                      <a:pt x="455" y="38"/>
                    </a:lnTo>
                    <a:lnTo>
                      <a:pt x="455" y="37"/>
                    </a:lnTo>
                    <a:close/>
                    <a:moveTo>
                      <a:pt x="473" y="70"/>
                    </a:moveTo>
                    <a:lnTo>
                      <a:pt x="474" y="70"/>
                    </a:lnTo>
                    <a:lnTo>
                      <a:pt x="474" y="71"/>
                    </a:lnTo>
                    <a:lnTo>
                      <a:pt x="473" y="71"/>
                    </a:lnTo>
                    <a:lnTo>
                      <a:pt x="473" y="70"/>
                    </a:lnTo>
                    <a:close/>
                    <a:moveTo>
                      <a:pt x="316" y="233"/>
                    </a:moveTo>
                    <a:lnTo>
                      <a:pt x="317" y="233"/>
                    </a:lnTo>
                    <a:lnTo>
                      <a:pt x="317" y="235"/>
                    </a:lnTo>
                    <a:lnTo>
                      <a:pt x="316" y="235"/>
                    </a:lnTo>
                    <a:lnTo>
                      <a:pt x="316" y="233"/>
                    </a:lnTo>
                    <a:close/>
                    <a:moveTo>
                      <a:pt x="456" y="36"/>
                    </a:moveTo>
                    <a:lnTo>
                      <a:pt x="459" y="36"/>
                    </a:lnTo>
                    <a:lnTo>
                      <a:pt x="459" y="37"/>
                    </a:lnTo>
                    <a:lnTo>
                      <a:pt x="456" y="37"/>
                    </a:lnTo>
                    <a:lnTo>
                      <a:pt x="456" y="36"/>
                    </a:lnTo>
                    <a:close/>
                    <a:moveTo>
                      <a:pt x="436" y="107"/>
                    </a:moveTo>
                    <a:lnTo>
                      <a:pt x="437" y="107"/>
                    </a:lnTo>
                    <a:lnTo>
                      <a:pt x="437" y="108"/>
                    </a:lnTo>
                    <a:lnTo>
                      <a:pt x="436" y="108"/>
                    </a:lnTo>
                    <a:lnTo>
                      <a:pt x="436" y="107"/>
                    </a:lnTo>
                    <a:close/>
                    <a:moveTo>
                      <a:pt x="339" y="352"/>
                    </a:moveTo>
                    <a:lnTo>
                      <a:pt x="342" y="352"/>
                    </a:lnTo>
                    <a:lnTo>
                      <a:pt x="339" y="352"/>
                    </a:lnTo>
                    <a:close/>
                    <a:moveTo>
                      <a:pt x="472" y="70"/>
                    </a:moveTo>
                    <a:lnTo>
                      <a:pt x="471" y="70"/>
                    </a:lnTo>
                    <a:lnTo>
                      <a:pt x="469" y="70"/>
                    </a:lnTo>
                    <a:lnTo>
                      <a:pt x="471" y="70"/>
                    </a:lnTo>
                    <a:lnTo>
                      <a:pt x="472" y="70"/>
                    </a:lnTo>
                    <a:close/>
                    <a:moveTo>
                      <a:pt x="344" y="350"/>
                    </a:moveTo>
                    <a:lnTo>
                      <a:pt x="345" y="350"/>
                    </a:lnTo>
                    <a:lnTo>
                      <a:pt x="345" y="351"/>
                    </a:lnTo>
                    <a:lnTo>
                      <a:pt x="344" y="351"/>
                    </a:lnTo>
                    <a:lnTo>
                      <a:pt x="344" y="350"/>
                    </a:lnTo>
                    <a:close/>
                    <a:moveTo>
                      <a:pt x="437" y="184"/>
                    </a:moveTo>
                    <a:lnTo>
                      <a:pt x="436" y="184"/>
                    </a:lnTo>
                    <a:lnTo>
                      <a:pt x="435" y="184"/>
                    </a:lnTo>
                    <a:lnTo>
                      <a:pt x="435" y="185"/>
                    </a:lnTo>
                    <a:lnTo>
                      <a:pt x="435" y="184"/>
                    </a:lnTo>
                    <a:lnTo>
                      <a:pt x="436" y="184"/>
                    </a:lnTo>
                    <a:lnTo>
                      <a:pt x="437" y="183"/>
                    </a:lnTo>
                    <a:lnTo>
                      <a:pt x="437" y="184"/>
                    </a:lnTo>
                    <a:close/>
                    <a:moveTo>
                      <a:pt x="272" y="313"/>
                    </a:moveTo>
                    <a:lnTo>
                      <a:pt x="273" y="313"/>
                    </a:lnTo>
                    <a:lnTo>
                      <a:pt x="273" y="314"/>
                    </a:lnTo>
                    <a:lnTo>
                      <a:pt x="272" y="314"/>
                    </a:lnTo>
                    <a:lnTo>
                      <a:pt x="272" y="313"/>
                    </a:lnTo>
                    <a:close/>
                    <a:moveTo>
                      <a:pt x="468" y="63"/>
                    </a:moveTo>
                    <a:lnTo>
                      <a:pt x="469" y="63"/>
                    </a:lnTo>
                    <a:lnTo>
                      <a:pt x="469" y="65"/>
                    </a:lnTo>
                    <a:lnTo>
                      <a:pt x="468" y="65"/>
                    </a:lnTo>
                    <a:lnTo>
                      <a:pt x="468" y="63"/>
                    </a:lnTo>
                    <a:close/>
                    <a:moveTo>
                      <a:pt x="729" y="177"/>
                    </a:moveTo>
                    <a:lnTo>
                      <a:pt x="731" y="177"/>
                    </a:lnTo>
                    <a:lnTo>
                      <a:pt x="729" y="177"/>
                    </a:lnTo>
                    <a:close/>
                    <a:moveTo>
                      <a:pt x="314" y="309"/>
                    </a:moveTo>
                    <a:lnTo>
                      <a:pt x="316" y="309"/>
                    </a:lnTo>
                    <a:lnTo>
                      <a:pt x="316" y="310"/>
                    </a:lnTo>
                    <a:lnTo>
                      <a:pt x="314" y="310"/>
                    </a:lnTo>
                    <a:lnTo>
                      <a:pt x="314" y="309"/>
                    </a:lnTo>
                    <a:close/>
                    <a:moveTo>
                      <a:pt x="724" y="146"/>
                    </a:moveTo>
                    <a:lnTo>
                      <a:pt x="726" y="146"/>
                    </a:lnTo>
                    <a:lnTo>
                      <a:pt x="726" y="147"/>
                    </a:lnTo>
                    <a:lnTo>
                      <a:pt x="724" y="147"/>
                    </a:lnTo>
                    <a:lnTo>
                      <a:pt x="724" y="146"/>
                    </a:lnTo>
                    <a:close/>
                    <a:moveTo>
                      <a:pt x="361" y="81"/>
                    </a:moveTo>
                    <a:lnTo>
                      <a:pt x="362" y="81"/>
                    </a:lnTo>
                    <a:lnTo>
                      <a:pt x="362" y="82"/>
                    </a:lnTo>
                    <a:lnTo>
                      <a:pt x="361" y="82"/>
                    </a:lnTo>
                    <a:lnTo>
                      <a:pt x="361" y="81"/>
                    </a:lnTo>
                    <a:close/>
                    <a:moveTo>
                      <a:pt x="494" y="10"/>
                    </a:moveTo>
                    <a:lnTo>
                      <a:pt x="495" y="10"/>
                    </a:lnTo>
                    <a:lnTo>
                      <a:pt x="495" y="12"/>
                    </a:lnTo>
                    <a:lnTo>
                      <a:pt x="494" y="12"/>
                    </a:lnTo>
                    <a:lnTo>
                      <a:pt x="494" y="10"/>
                    </a:lnTo>
                    <a:close/>
                    <a:moveTo>
                      <a:pt x="361" y="100"/>
                    </a:moveTo>
                    <a:lnTo>
                      <a:pt x="362" y="100"/>
                    </a:lnTo>
                    <a:lnTo>
                      <a:pt x="362" y="101"/>
                    </a:lnTo>
                    <a:lnTo>
                      <a:pt x="361" y="101"/>
                    </a:lnTo>
                    <a:lnTo>
                      <a:pt x="361" y="100"/>
                    </a:lnTo>
                    <a:close/>
                    <a:moveTo>
                      <a:pt x="415" y="72"/>
                    </a:moveTo>
                    <a:lnTo>
                      <a:pt x="416" y="72"/>
                    </a:lnTo>
                    <a:lnTo>
                      <a:pt x="416" y="74"/>
                    </a:lnTo>
                    <a:lnTo>
                      <a:pt x="415" y="74"/>
                    </a:lnTo>
                    <a:lnTo>
                      <a:pt x="415" y="72"/>
                    </a:lnTo>
                    <a:close/>
                    <a:moveTo>
                      <a:pt x="433" y="74"/>
                    </a:moveTo>
                    <a:lnTo>
                      <a:pt x="434" y="74"/>
                    </a:lnTo>
                    <a:lnTo>
                      <a:pt x="434" y="75"/>
                    </a:lnTo>
                    <a:lnTo>
                      <a:pt x="433" y="75"/>
                    </a:lnTo>
                    <a:lnTo>
                      <a:pt x="433" y="74"/>
                    </a:lnTo>
                    <a:close/>
                    <a:moveTo>
                      <a:pt x="308" y="305"/>
                    </a:moveTo>
                    <a:lnTo>
                      <a:pt x="309" y="305"/>
                    </a:lnTo>
                    <a:lnTo>
                      <a:pt x="309" y="306"/>
                    </a:lnTo>
                    <a:lnTo>
                      <a:pt x="308" y="306"/>
                    </a:lnTo>
                    <a:lnTo>
                      <a:pt x="308" y="305"/>
                    </a:lnTo>
                    <a:close/>
                    <a:moveTo>
                      <a:pt x="246" y="319"/>
                    </a:moveTo>
                    <a:lnTo>
                      <a:pt x="248" y="319"/>
                    </a:lnTo>
                    <a:lnTo>
                      <a:pt x="248" y="320"/>
                    </a:lnTo>
                    <a:lnTo>
                      <a:pt x="246" y="320"/>
                    </a:lnTo>
                    <a:lnTo>
                      <a:pt x="246" y="319"/>
                    </a:lnTo>
                    <a:close/>
                    <a:moveTo>
                      <a:pt x="290" y="310"/>
                    </a:moveTo>
                    <a:lnTo>
                      <a:pt x="291" y="310"/>
                    </a:lnTo>
                    <a:lnTo>
                      <a:pt x="291" y="311"/>
                    </a:lnTo>
                    <a:lnTo>
                      <a:pt x="290" y="311"/>
                    </a:lnTo>
                    <a:lnTo>
                      <a:pt x="290" y="310"/>
                    </a:lnTo>
                    <a:close/>
                    <a:moveTo>
                      <a:pt x="727" y="167"/>
                    </a:moveTo>
                    <a:lnTo>
                      <a:pt x="729" y="167"/>
                    </a:lnTo>
                    <a:lnTo>
                      <a:pt x="729" y="168"/>
                    </a:lnTo>
                    <a:lnTo>
                      <a:pt x="727" y="168"/>
                    </a:lnTo>
                    <a:lnTo>
                      <a:pt x="727" y="167"/>
                    </a:lnTo>
                    <a:close/>
                    <a:moveTo>
                      <a:pt x="427" y="89"/>
                    </a:moveTo>
                    <a:lnTo>
                      <a:pt x="428" y="89"/>
                    </a:lnTo>
                    <a:lnTo>
                      <a:pt x="428" y="90"/>
                    </a:lnTo>
                    <a:lnTo>
                      <a:pt x="427" y="90"/>
                    </a:lnTo>
                    <a:lnTo>
                      <a:pt x="427" y="89"/>
                    </a:lnTo>
                    <a:close/>
                    <a:moveTo>
                      <a:pt x="478" y="108"/>
                    </a:moveTo>
                    <a:lnTo>
                      <a:pt x="479" y="108"/>
                    </a:lnTo>
                    <a:lnTo>
                      <a:pt x="479" y="109"/>
                    </a:lnTo>
                    <a:lnTo>
                      <a:pt x="478" y="109"/>
                    </a:lnTo>
                    <a:lnTo>
                      <a:pt x="478" y="108"/>
                    </a:lnTo>
                    <a:close/>
                    <a:moveTo>
                      <a:pt x="463" y="152"/>
                    </a:moveTo>
                    <a:lnTo>
                      <a:pt x="465" y="152"/>
                    </a:lnTo>
                    <a:lnTo>
                      <a:pt x="465" y="153"/>
                    </a:lnTo>
                    <a:lnTo>
                      <a:pt x="463" y="153"/>
                    </a:lnTo>
                    <a:lnTo>
                      <a:pt x="463" y="152"/>
                    </a:lnTo>
                    <a:close/>
                    <a:moveTo>
                      <a:pt x="430" y="112"/>
                    </a:moveTo>
                    <a:lnTo>
                      <a:pt x="433" y="112"/>
                    </a:lnTo>
                    <a:lnTo>
                      <a:pt x="430" y="112"/>
                    </a:lnTo>
                    <a:close/>
                    <a:moveTo>
                      <a:pt x="719" y="230"/>
                    </a:moveTo>
                    <a:lnTo>
                      <a:pt x="720" y="230"/>
                    </a:lnTo>
                    <a:lnTo>
                      <a:pt x="720" y="231"/>
                    </a:lnTo>
                    <a:lnTo>
                      <a:pt x="719" y="231"/>
                    </a:lnTo>
                    <a:lnTo>
                      <a:pt x="719" y="230"/>
                    </a:lnTo>
                    <a:close/>
                    <a:moveTo>
                      <a:pt x="313" y="306"/>
                    </a:moveTo>
                    <a:lnTo>
                      <a:pt x="314" y="306"/>
                    </a:lnTo>
                    <a:lnTo>
                      <a:pt x="314" y="307"/>
                    </a:lnTo>
                    <a:lnTo>
                      <a:pt x="313" y="307"/>
                    </a:lnTo>
                    <a:lnTo>
                      <a:pt x="313" y="306"/>
                    </a:lnTo>
                    <a:close/>
                    <a:moveTo>
                      <a:pt x="487" y="86"/>
                    </a:moveTo>
                    <a:lnTo>
                      <a:pt x="489" y="86"/>
                    </a:lnTo>
                    <a:lnTo>
                      <a:pt x="489" y="87"/>
                    </a:lnTo>
                    <a:lnTo>
                      <a:pt x="487" y="87"/>
                    </a:lnTo>
                    <a:lnTo>
                      <a:pt x="487" y="86"/>
                    </a:lnTo>
                    <a:close/>
                    <a:moveTo>
                      <a:pt x="722" y="133"/>
                    </a:moveTo>
                    <a:lnTo>
                      <a:pt x="723" y="133"/>
                    </a:lnTo>
                    <a:lnTo>
                      <a:pt x="723" y="134"/>
                    </a:lnTo>
                    <a:lnTo>
                      <a:pt x="722" y="134"/>
                    </a:lnTo>
                    <a:lnTo>
                      <a:pt x="722" y="133"/>
                    </a:lnTo>
                    <a:close/>
                    <a:moveTo>
                      <a:pt x="346" y="305"/>
                    </a:moveTo>
                    <a:lnTo>
                      <a:pt x="347" y="305"/>
                    </a:lnTo>
                    <a:lnTo>
                      <a:pt x="347" y="306"/>
                    </a:lnTo>
                    <a:lnTo>
                      <a:pt x="346" y="306"/>
                    </a:lnTo>
                    <a:lnTo>
                      <a:pt x="346" y="305"/>
                    </a:lnTo>
                    <a:close/>
                    <a:moveTo>
                      <a:pt x="349" y="281"/>
                    </a:moveTo>
                    <a:lnTo>
                      <a:pt x="350" y="281"/>
                    </a:lnTo>
                    <a:lnTo>
                      <a:pt x="350" y="282"/>
                    </a:lnTo>
                    <a:lnTo>
                      <a:pt x="349" y="282"/>
                    </a:lnTo>
                    <a:lnTo>
                      <a:pt x="349" y="281"/>
                    </a:lnTo>
                    <a:close/>
                    <a:moveTo>
                      <a:pt x="719" y="141"/>
                    </a:moveTo>
                    <a:lnTo>
                      <a:pt x="720" y="141"/>
                    </a:lnTo>
                    <a:lnTo>
                      <a:pt x="720" y="142"/>
                    </a:lnTo>
                    <a:lnTo>
                      <a:pt x="719" y="142"/>
                    </a:lnTo>
                    <a:lnTo>
                      <a:pt x="719" y="141"/>
                    </a:lnTo>
                    <a:close/>
                    <a:moveTo>
                      <a:pt x="487" y="116"/>
                    </a:moveTo>
                    <a:lnTo>
                      <a:pt x="488" y="116"/>
                    </a:lnTo>
                    <a:lnTo>
                      <a:pt x="488" y="117"/>
                    </a:lnTo>
                    <a:lnTo>
                      <a:pt x="487" y="117"/>
                    </a:lnTo>
                    <a:lnTo>
                      <a:pt x="487" y="116"/>
                    </a:lnTo>
                    <a:close/>
                    <a:moveTo>
                      <a:pt x="432" y="74"/>
                    </a:moveTo>
                    <a:lnTo>
                      <a:pt x="432" y="75"/>
                    </a:lnTo>
                    <a:lnTo>
                      <a:pt x="432" y="74"/>
                    </a:lnTo>
                    <a:close/>
                    <a:moveTo>
                      <a:pt x="480" y="51"/>
                    </a:moveTo>
                    <a:lnTo>
                      <a:pt x="481" y="51"/>
                    </a:lnTo>
                    <a:lnTo>
                      <a:pt x="481" y="52"/>
                    </a:lnTo>
                    <a:lnTo>
                      <a:pt x="480" y="52"/>
                    </a:lnTo>
                    <a:lnTo>
                      <a:pt x="480" y="51"/>
                    </a:lnTo>
                    <a:close/>
                    <a:moveTo>
                      <a:pt x="247" y="320"/>
                    </a:moveTo>
                    <a:lnTo>
                      <a:pt x="248" y="320"/>
                    </a:lnTo>
                    <a:lnTo>
                      <a:pt x="248" y="321"/>
                    </a:lnTo>
                    <a:lnTo>
                      <a:pt x="247" y="321"/>
                    </a:lnTo>
                    <a:lnTo>
                      <a:pt x="247" y="320"/>
                    </a:lnTo>
                    <a:close/>
                    <a:moveTo>
                      <a:pt x="357" y="127"/>
                    </a:moveTo>
                    <a:lnTo>
                      <a:pt x="358" y="127"/>
                    </a:lnTo>
                    <a:lnTo>
                      <a:pt x="358" y="128"/>
                    </a:lnTo>
                    <a:lnTo>
                      <a:pt x="357" y="128"/>
                    </a:lnTo>
                    <a:lnTo>
                      <a:pt x="357" y="127"/>
                    </a:lnTo>
                    <a:close/>
                    <a:moveTo>
                      <a:pt x="484" y="104"/>
                    </a:moveTo>
                    <a:lnTo>
                      <a:pt x="485" y="104"/>
                    </a:lnTo>
                    <a:lnTo>
                      <a:pt x="485" y="105"/>
                    </a:lnTo>
                    <a:lnTo>
                      <a:pt x="484" y="105"/>
                    </a:lnTo>
                    <a:lnTo>
                      <a:pt x="484" y="104"/>
                    </a:lnTo>
                    <a:close/>
                    <a:moveTo>
                      <a:pt x="437" y="211"/>
                    </a:moveTo>
                    <a:lnTo>
                      <a:pt x="438" y="211"/>
                    </a:lnTo>
                    <a:lnTo>
                      <a:pt x="437" y="211"/>
                    </a:lnTo>
                    <a:close/>
                    <a:moveTo>
                      <a:pt x="425" y="168"/>
                    </a:moveTo>
                    <a:lnTo>
                      <a:pt x="426" y="168"/>
                    </a:lnTo>
                    <a:lnTo>
                      <a:pt x="425" y="168"/>
                    </a:lnTo>
                    <a:close/>
                    <a:moveTo>
                      <a:pt x="504" y="69"/>
                    </a:moveTo>
                    <a:lnTo>
                      <a:pt x="505" y="69"/>
                    </a:lnTo>
                    <a:lnTo>
                      <a:pt x="505" y="70"/>
                    </a:lnTo>
                    <a:lnTo>
                      <a:pt x="504" y="70"/>
                    </a:lnTo>
                    <a:lnTo>
                      <a:pt x="504" y="69"/>
                    </a:lnTo>
                    <a:close/>
                    <a:moveTo>
                      <a:pt x="387" y="136"/>
                    </a:moveTo>
                    <a:lnTo>
                      <a:pt x="388" y="136"/>
                    </a:lnTo>
                    <a:lnTo>
                      <a:pt x="387" y="136"/>
                    </a:lnTo>
                    <a:close/>
                    <a:moveTo>
                      <a:pt x="408" y="248"/>
                    </a:moveTo>
                    <a:lnTo>
                      <a:pt x="409" y="248"/>
                    </a:lnTo>
                    <a:lnTo>
                      <a:pt x="409" y="249"/>
                    </a:lnTo>
                    <a:lnTo>
                      <a:pt x="408" y="249"/>
                    </a:lnTo>
                    <a:lnTo>
                      <a:pt x="408" y="248"/>
                    </a:lnTo>
                    <a:close/>
                    <a:moveTo>
                      <a:pt x="454" y="39"/>
                    </a:moveTo>
                    <a:lnTo>
                      <a:pt x="455" y="39"/>
                    </a:lnTo>
                    <a:lnTo>
                      <a:pt x="454" y="39"/>
                    </a:lnTo>
                    <a:close/>
                    <a:moveTo>
                      <a:pt x="461" y="57"/>
                    </a:moveTo>
                    <a:lnTo>
                      <a:pt x="461" y="58"/>
                    </a:lnTo>
                    <a:lnTo>
                      <a:pt x="461" y="57"/>
                    </a:lnTo>
                    <a:close/>
                    <a:moveTo>
                      <a:pt x="355" y="315"/>
                    </a:moveTo>
                    <a:lnTo>
                      <a:pt x="356" y="315"/>
                    </a:lnTo>
                    <a:lnTo>
                      <a:pt x="355" y="315"/>
                    </a:lnTo>
                    <a:close/>
                    <a:moveTo>
                      <a:pt x="436" y="183"/>
                    </a:moveTo>
                    <a:lnTo>
                      <a:pt x="437" y="183"/>
                    </a:lnTo>
                    <a:lnTo>
                      <a:pt x="437" y="184"/>
                    </a:lnTo>
                    <a:lnTo>
                      <a:pt x="436" y="184"/>
                    </a:lnTo>
                    <a:lnTo>
                      <a:pt x="436" y="183"/>
                    </a:lnTo>
                    <a:close/>
                    <a:moveTo>
                      <a:pt x="292" y="305"/>
                    </a:moveTo>
                    <a:lnTo>
                      <a:pt x="293" y="305"/>
                    </a:lnTo>
                    <a:lnTo>
                      <a:pt x="293" y="306"/>
                    </a:lnTo>
                    <a:lnTo>
                      <a:pt x="292" y="306"/>
                    </a:lnTo>
                    <a:lnTo>
                      <a:pt x="292" y="305"/>
                    </a:lnTo>
                    <a:close/>
                    <a:moveTo>
                      <a:pt x="465" y="49"/>
                    </a:moveTo>
                    <a:lnTo>
                      <a:pt x="466" y="49"/>
                    </a:lnTo>
                    <a:lnTo>
                      <a:pt x="466" y="50"/>
                    </a:lnTo>
                    <a:lnTo>
                      <a:pt x="465" y="50"/>
                    </a:lnTo>
                    <a:lnTo>
                      <a:pt x="465" y="49"/>
                    </a:lnTo>
                    <a:close/>
                  </a:path>
                </a:pathLst>
              </a:custGeom>
              <a:solidFill>
                <a:srgbClr val="2578D9"/>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09" name="Freeform 337">
                <a:extLst>
                  <a:ext uri="{FF2B5EF4-FFF2-40B4-BE49-F238E27FC236}">
                    <a16:creationId xmlns:a16="http://schemas.microsoft.com/office/drawing/2014/main" id="{3A73A302-E4E2-1888-9D0E-23398E925030}"/>
                  </a:ext>
                </a:extLst>
              </p:cNvPr>
              <p:cNvSpPr>
                <a:spLocks noEditPoints="1"/>
              </p:cNvSpPr>
              <p:nvPr/>
            </p:nvSpPr>
            <p:spPr bwMode="auto">
              <a:xfrm>
                <a:off x="5002213" y="4679950"/>
                <a:ext cx="1022350" cy="1092200"/>
              </a:xfrm>
              <a:custGeom>
                <a:avLst/>
                <a:gdLst>
                  <a:gd name="T0" fmla="*/ 254 w 644"/>
                  <a:gd name="T1" fmla="*/ 186 h 688"/>
                  <a:gd name="T2" fmla="*/ 235 w 644"/>
                  <a:gd name="T3" fmla="*/ 264 h 688"/>
                  <a:gd name="T4" fmla="*/ 337 w 644"/>
                  <a:gd name="T5" fmla="*/ 316 h 688"/>
                  <a:gd name="T6" fmla="*/ 386 w 644"/>
                  <a:gd name="T7" fmla="*/ 364 h 688"/>
                  <a:gd name="T8" fmla="*/ 448 w 644"/>
                  <a:gd name="T9" fmla="*/ 390 h 688"/>
                  <a:gd name="T10" fmla="*/ 496 w 644"/>
                  <a:gd name="T11" fmla="*/ 415 h 688"/>
                  <a:gd name="T12" fmla="*/ 492 w 644"/>
                  <a:gd name="T13" fmla="*/ 487 h 688"/>
                  <a:gd name="T14" fmla="*/ 480 w 644"/>
                  <a:gd name="T15" fmla="*/ 474 h 688"/>
                  <a:gd name="T16" fmla="*/ 457 w 644"/>
                  <a:gd name="T17" fmla="*/ 504 h 688"/>
                  <a:gd name="T18" fmla="*/ 390 w 644"/>
                  <a:gd name="T19" fmla="*/ 503 h 688"/>
                  <a:gd name="T20" fmla="*/ 258 w 644"/>
                  <a:gd name="T21" fmla="*/ 351 h 688"/>
                  <a:gd name="T22" fmla="*/ 144 w 644"/>
                  <a:gd name="T23" fmla="*/ 340 h 688"/>
                  <a:gd name="T24" fmla="*/ 59 w 644"/>
                  <a:gd name="T25" fmla="*/ 270 h 688"/>
                  <a:gd name="T26" fmla="*/ 523 w 644"/>
                  <a:gd name="T27" fmla="*/ 455 h 688"/>
                  <a:gd name="T28" fmla="*/ 552 w 644"/>
                  <a:gd name="T29" fmla="*/ 606 h 688"/>
                  <a:gd name="T30" fmla="*/ 468 w 644"/>
                  <a:gd name="T31" fmla="*/ 580 h 688"/>
                  <a:gd name="T32" fmla="*/ 545 w 644"/>
                  <a:gd name="T33" fmla="*/ 575 h 688"/>
                  <a:gd name="T34" fmla="*/ 441 w 644"/>
                  <a:gd name="T35" fmla="*/ 631 h 688"/>
                  <a:gd name="T36" fmla="*/ 610 w 644"/>
                  <a:gd name="T37" fmla="*/ 543 h 688"/>
                  <a:gd name="T38" fmla="*/ 468 w 644"/>
                  <a:gd name="T39" fmla="*/ 604 h 688"/>
                  <a:gd name="T40" fmla="*/ 506 w 644"/>
                  <a:gd name="T41" fmla="*/ 511 h 688"/>
                  <a:gd name="T42" fmla="*/ 565 w 644"/>
                  <a:gd name="T43" fmla="*/ 439 h 688"/>
                  <a:gd name="T44" fmla="*/ 584 w 644"/>
                  <a:gd name="T45" fmla="*/ 570 h 688"/>
                  <a:gd name="T46" fmla="*/ 320 w 644"/>
                  <a:gd name="T47" fmla="*/ 399 h 688"/>
                  <a:gd name="T48" fmla="*/ 256 w 644"/>
                  <a:gd name="T49" fmla="*/ 404 h 688"/>
                  <a:gd name="T50" fmla="*/ 418 w 644"/>
                  <a:gd name="T51" fmla="*/ 677 h 688"/>
                  <a:gd name="T52" fmla="*/ 232 w 644"/>
                  <a:gd name="T53" fmla="*/ 409 h 688"/>
                  <a:gd name="T54" fmla="*/ 479 w 644"/>
                  <a:gd name="T55" fmla="*/ 598 h 688"/>
                  <a:gd name="T56" fmla="*/ 246 w 644"/>
                  <a:gd name="T57" fmla="*/ 414 h 688"/>
                  <a:gd name="T58" fmla="*/ 270 w 644"/>
                  <a:gd name="T59" fmla="*/ 209 h 688"/>
                  <a:gd name="T60" fmla="*/ 209 w 644"/>
                  <a:gd name="T61" fmla="*/ 418 h 688"/>
                  <a:gd name="T62" fmla="*/ 564 w 644"/>
                  <a:gd name="T63" fmla="*/ 542 h 688"/>
                  <a:gd name="T64" fmla="*/ 87 w 644"/>
                  <a:gd name="T65" fmla="*/ 324 h 688"/>
                  <a:gd name="T66" fmla="*/ 569 w 644"/>
                  <a:gd name="T67" fmla="*/ 443 h 688"/>
                  <a:gd name="T68" fmla="*/ 475 w 644"/>
                  <a:gd name="T69" fmla="*/ 600 h 688"/>
                  <a:gd name="T70" fmla="*/ 562 w 644"/>
                  <a:gd name="T71" fmla="*/ 552 h 688"/>
                  <a:gd name="T72" fmla="*/ 232 w 644"/>
                  <a:gd name="T73" fmla="*/ 404 h 688"/>
                  <a:gd name="T74" fmla="*/ 204 w 644"/>
                  <a:gd name="T75" fmla="*/ 348 h 688"/>
                  <a:gd name="T76" fmla="*/ 579 w 644"/>
                  <a:gd name="T77" fmla="*/ 505 h 688"/>
                  <a:gd name="T78" fmla="*/ 414 w 644"/>
                  <a:gd name="T79" fmla="*/ 366 h 688"/>
                  <a:gd name="T80" fmla="*/ 267 w 644"/>
                  <a:gd name="T81" fmla="*/ 246 h 688"/>
                  <a:gd name="T82" fmla="*/ 169 w 644"/>
                  <a:gd name="T83" fmla="*/ 410 h 688"/>
                  <a:gd name="T84" fmla="*/ 287 w 644"/>
                  <a:gd name="T85" fmla="*/ 455 h 688"/>
                  <a:gd name="T86" fmla="*/ 363 w 644"/>
                  <a:gd name="T87" fmla="*/ 482 h 688"/>
                  <a:gd name="T88" fmla="*/ 553 w 644"/>
                  <a:gd name="T89" fmla="*/ 516 h 688"/>
                  <a:gd name="T90" fmla="*/ 570 w 644"/>
                  <a:gd name="T91" fmla="*/ 436 h 688"/>
                  <a:gd name="T92" fmla="*/ 500 w 644"/>
                  <a:gd name="T93" fmla="*/ 575 h 688"/>
                  <a:gd name="T94" fmla="*/ 257 w 644"/>
                  <a:gd name="T95" fmla="*/ 371 h 688"/>
                  <a:gd name="T96" fmla="*/ 418 w 644"/>
                  <a:gd name="T97" fmla="*/ 375 h 688"/>
                  <a:gd name="T98" fmla="*/ 242 w 644"/>
                  <a:gd name="T99" fmla="*/ 389 h 688"/>
                  <a:gd name="T100" fmla="*/ 553 w 644"/>
                  <a:gd name="T101" fmla="*/ 447 h 688"/>
                  <a:gd name="T102" fmla="*/ 215 w 644"/>
                  <a:gd name="T103" fmla="*/ 403 h 688"/>
                  <a:gd name="T104" fmla="*/ 236 w 644"/>
                  <a:gd name="T105" fmla="*/ 405 h 688"/>
                  <a:gd name="T106" fmla="*/ 381 w 644"/>
                  <a:gd name="T107" fmla="*/ 363 h 688"/>
                  <a:gd name="T108" fmla="*/ 500 w 644"/>
                  <a:gd name="T109" fmla="*/ 459 h 688"/>
                  <a:gd name="T110" fmla="*/ 481 w 644"/>
                  <a:gd name="T111" fmla="*/ 421 h 688"/>
                  <a:gd name="T112" fmla="*/ 444 w 644"/>
                  <a:gd name="T113" fmla="*/ 550 h 688"/>
                  <a:gd name="T114" fmla="*/ 408 w 644"/>
                  <a:gd name="T115" fmla="*/ 374 h 688"/>
                  <a:gd name="T116" fmla="*/ 491 w 644"/>
                  <a:gd name="T117" fmla="*/ 425 h 688"/>
                  <a:gd name="T118" fmla="*/ 484 w 644"/>
                  <a:gd name="T119" fmla="*/ 418 h 688"/>
                  <a:gd name="T120" fmla="*/ 324 w 644"/>
                  <a:gd name="T121" fmla="*/ 467 h 688"/>
                  <a:gd name="T122" fmla="*/ 493 w 644"/>
                  <a:gd name="T123" fmla="*/ 429 h 688"/>
                  <a:gd name="T124" fmla="*/ 236 w 644"/>
                  <a:gd name="T125" fmla="*/ 391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4" h="688">
                    <a:moveTo>
                      <a:pt x="101" y="25"/>
                    </a:moveTo>
                    <a:lnTo>
                      <a:pt x="102" y="28"/>
                    </a:lnTo>
                    <a:lnTo>
                      <a:pt x="102" y="29"/>
                    </a:lnTo>
                    <a:lnTo>
                      <a:pt x="102" y="30"/>
                    </a:lnTo>
                    <a:lnTo>
                      <a:pt x="103" y="30"/>
                    </a:lnTo>
                    <a:lnTo>
                      <a:pt x="102" y="30"/>
                    </a:lnTo>
                    <a:lnTo>
                      <a:pt x="103" y="31"/>
                    </a:lnTo>
                    <a:lnTo>
                      <a:pt x="103" y="32"/>
                    </a:lnTo>
                    <a:lnTo>
                      <a:pt x="103" y="33"/>
                    </a:lnTo>
                    <a:lnTo>
                      <a:pt x="104" y="33"/>
                    </a:lnTo>
                    <a:lnTo>
                      <a:pt x="104" y="35"/>
                    </a:lnTo>
                    <a:lnTo>
                      <a:pt x="104" y="36"/>
                    </a:lnTo>
                    <a:lnTo>
                      <a:pt x="105" y="37"/>
                    </a:lnTo>
                    <a:lnTo>
                      <a:pt x="105" y="38"/>
                    </a:lnTo>
                    <a:lnTo>
                      <a:pt x="105" y="39"/>
                    </a:lnTo>
                    <a:lnTo>
                      <a:pt x="107" y="43"/>
                    </a:lnTo>
                    <a:lnTo>
                      <a:pt x="106" y="43"/>
                    </a:lnTo>
                    <a:lnTo>
                      <a:pt x="107" y="43"/>
                    </a:lnTo>
                    <a:lnTo>
                      <a:pt x="107" y="44"/>
                    </a:lnTo>
                    <a:lnTo>
                      <a:pt x="110" y="50"/>
                    </a:lnTo>
                    <a:lnTo>
                      <a:pt x="114" y="55"/>
                    </a:lnTo>
                    <a:lnTo>
                      <a:pt x="115" y="56"/>
                    </a:lnTo>
                    <a:lnTo>
                      <a:pt x="115" y="57"/>
                    </a:lnTo>
                    <a:lnTo>
                      <a:pt x="116" y="57"/>
                    </a:lnTo>
                    <a:lnTo>
                      <a:pt x="116" y="58"/>
                    </a:lnTo>
                    <a:lnTo>
                      <a:pt x="118" y="59"/>
                    </a:lnTo>
                    <a:lnTo>
                      <a:pt x="120" y="63"/>
                    </a:lnTo>
                    <a:lnTo>
                      <a:pt x="119" y="64"/>
                    </a:lnTo>
                    <a:lnTo>
                      <a:pt x="119" y="65"/>
                    </a:lnTo>
                    <a:lnTo>
                      <a:pt x="119" y="66"/>
                    </a:lnTo>
                    <a:lnTo>
                      <a:pt x="119" y="67"/>
                    </a:lnTo>
                    <a:lnTo>
                      <a:pt x="119" y="68"/>
                    </a:lnTo>
                    <a:lnTo>
                      <a:pt x="120" y="68"/>
                    </a:lnTo>
                    <a:lnTo>
                      <a:pt x="122" y="69"/>
                    </a:lnTo>
                    <a:lnTo>
                      <a:pt x="123" y="69"/>
                    </a:lnTo>
                    <a:lnTo>
                      <a:pt x="123" y="70"/>
                    </a:lnTo>
                    <a:lnTo>
                      <a:pt x="123" y="71"/>
                    </a:lnTo>
                    <a:lnTo>
                      <a:pt x="123" y="72"/>
                    </a:lnTo>
                    <a:lnTo>
                      <a:pt x="124" y="72"/>
                    </a:lnTo>
                    <a:lnTo>
                      <a:pt x="125" y="75"/>
                    </a:lnTo>
                    <a:lnTo>
                      <a:pt x="125" y="76"/>
                    </a:lnTo>
                    <a:lnTo>
                      <a:pt x="126" y="77"/>
                    </a:lnTo>
                    <a:lnTo>
                      <a:pt x="127" y="78"/>
                    </a:lnTo>
                    <a:lnTo>
                      <a:pt x="128" y="78"/>
                    </a:lnTo>
                    <a:lnTo>
                      <a:pt x="129" y="79"/>
                    </a:lnTo>
                    <a:lnTo>
                      <a:pt x="130" y="79"/>
                    </a:lnTo>
                    <a:lnTo>
                      <a:pt x="131" y="78"/>
                    </a:lnTo>
                    <a:lnTo>
                      <a:pt x="138" y="77"/>
                    </a:lnTo>
                    <a:lnTo>
                      <a:pt x="150" y="72"/>
                    </a:lnTo>
                    <a:lnTo>
                      <a:pt x="152" y="72"/>
                    </a:lnTo>
                    <a:lnTo>
                      <a:pt x="153" y="72"/>
                    </a:lnTo>
                    <a:lnTo>
                      <a:pt x="155" y="72"/>
                    </a:lnTo>
                    <a:lnTo>
                      <a:pt x="156" y="72"/>
                    </a:lnTo>
                    <a:lnTo>
                      <a:pt x="158" y="72"/>
                    </a:lnTo>
                    <a:lnTo>
                      <a:pt x="160" y="74"/>
                    </a:lnTo>
                    <a:lnTo>
                      <a:pt x="161" y="74"/>
                    </a:lnTo>
                    <a:lnTo>
                      <a:pt x="163" y="75"/>
                    </a:lnTo>
                    <a:lnTo>
                      <a:pt x="164" y="76"/>
                    </a:lnTo>
                    <a:lnTo>
                      <a:pt x="166" y="78"/>
                    </a:lnTo>
                    <a:lnTo>
                      <a:pt x="167" y="79"/>
                    </a:lnTo>
                    <a:lnTo>
                      <a:pt x="167" y="80"/>
                    </a:lnTo>
                    <a:lnTo>
                      <a:pt x="171" y="86"/>
                    </a:lnTo>
                    <a:lnTo>
                      <a:pt x="171" y="87"/>
                    </a:lnTo>
                    <a:lnTo>
                      <a:pt x="173" y="87"/>
                    </a:lnTo>
                    <a:lnTo>
                      <a:pt x="174" y="88"/>
                    </a:lnTo>
                    <a:lnTo>
                      <a:pt x="174" y="89"/>
                    </a:lnTo>
                    <a:lnTo>
                      <a:pt x="175" y="90"/>
                    </a:lnTo>
                    <a:lnTo>
                      <a:pt x="175" y="91"/>
                    </a:lnTo>
                    <a:lnTo>
                      <a:pt x="177" y="92"/>
                    </a:lnTo>
                    <a:lnTo>
                      <a:pt x="177" y="93"/>
                    </a:lnTo>
                    <a:lnTo>
                      <a:pt x="176" y="94"/>
                    </a:lnTo>
                    <a:lnTo>
                      <a:pt x="175" y="95"/>
                    </a:lnTo>
                    <a:lnTo>
                      <a:pt x="174" y="96"/>
                    </a:lnTo>
                    <a:lnTo>
                      <a:pt x="174" y="97"/>
                    </a:lnTo>
                    <a:lnTo>
                      <a:pt x="174" y="99"/>
                    </a:lnTo>
                    <a:lnTo>
                      <a:pt x="174" y="100"/>
                    </a:lnTo>
                    <a:lnTo>
                      <a:pt x="174" y="101"/>
                    </a:lnTo>
                    <a:lnTo>
                      <a:pt x="176" y="102"/>
                    </a:lnTo>
                    <a:lnTo>
                      <a:pt x="178" y="103"/>
                    </a:lnTo>
                    <a:lnTo>
                      <a:pt x="179" y="104"/>
                    </a:lnTo>
                    <a:lnTo>
                      <a:pt x="180" y="104"/>
                    </a:lnTo>
                    <a:lnTo>
                      <a:pt x="181" y="105"/>
                    </a:lnTo>
                    <a:lnTo>
                      <a:pt x="182" y="105"/>
                    </a:lnTo>
                    <a:lnTo>
                      <a:pt x="183" y="105"/>
                    </a:lnTo>
                    <a:lnTo>
                      <a:pt x="184" y="105"/>
                    </a:lnTo>
                    <a:lnTo>
                      <a:pt x="187" y="105"/>
                    </a:lnTo>
                    <a:lnTo>
                      <a:pt x="188" y="105"/>
                    </a:lnTo>
                    <a:lnTo>
                      <a:pt x="190" y="105"/>
                    </a:lnTo>
                    <a:lnTo>
                      <a:pt x="191" y="104"/>
                    </a:lnTo>
                    <a:lnTo>
                      <a:pt x="192" y="104"/>
                    </a:lnTo>
                    <a:lnTo>
                      <a:pt x="193" y="103"/>
                    </a:lnTo>
                    <a:lnTo>
                      <a:pt x="194" y="103"/>
                    </a:lnTo>
                    <a:lnTo>
                      <a:pt x="195" y="103"/>
                    </a:lnTo>
                    <a:lnTo>
                      <a:pt x="196" y="103"/>
                    </a:lnTo>
                    <a:lnTo>
                      <a:pt x="197" y="103"/>
                    </a:lnTo>
                    <a:lnTo>
                      <a:pt x="199" y="104"/>
                    </a:lnTo>
                    <a:lnTo>
                      <a:pt x="200" y="104"/>
                    </a:lnTo>
                    <a:lnTo>
                      <a:pt x="202" y="104"/>
                    </a:lnTo>
                    <a:lnTo>
                      <a:pt x="203" y="104"/>
                    </a:lnTo>
                    <a:lnTo>
                      <a:pt x="204" y="103"/>
                    </a:lnTo>
                    <a:lnTo>
                      <a:pt x="205" y="103"/>
                    </a:lnTo>
                    <a:lnTo>
                      <a:pt x="206" y="103"/>
                    </a:lnTo>
                    <a:lnTo>
                      <a:pt x="208" y="103"/>
                    </a:lnTo>
                    <a:lnTo>
                      <a:pt x="209" y="103"/>
                    </a:lnTo>
                    <a:lnTo>
                      <a:pt x="212" y="103"/>
                    </a:lnTo>
                    <a:lnTo>
                      <a:pt x="213" y="103"/>
                    </a:lnTo>
                    <a:lnTo>
                      <a:pt x="214" y="104"/>
                    </a:lnTo>
                    <a:lnTo>
                      <a:pt x="217" y="103"/>
                    </a:lnTo>
                    <a:lnTo>
                      <a:pt x="218" y="104"/>
                    </a:lnTo>
                    <a:lnTo>
                      <a:pt x="219" y="104"/>
                    </a:lnTo>
                    <a:lnTo>
                      <a:pt x="221" y="105"/>
                    </a:lnTo>
                    <a:lnTo>
                      <a:pt x="223" y="106"/>
                    </a:lnTo>
                    <a:lnTo>
                      <a:pt x="225" y="106"/>
                    </a:lnTo>
                    <a:lnTo>
                      <a:pt x="226" y="106"/>
                    </a:lnTo>
                    <a:lnTo>
                      <a:pt x="227" y="107"/>
                    </a:lnTo>
                    <a:lnTo>
                      <a:pt x="228" y="107"/>
                    </a:lnTo>
                    <a:lnTo>
                      <a:pt x="228" y="109"/>
                    </a:lnTo>
                    <a:lnTo>
                      <a:pt x="229" y="110"/>
                    </a:lnTo>
                    <a:lnTo>
                      <a:pt x="230" y="113"/>
                    </a:lnTo>
                    <a:lnTo>
                      <a:pt x="231" y="114"/>
                    </a:lnTo>
                    <a:lnTo>
                      <a:pt x="234" y="117"/>
                    </a:lnTo>
                    <a:lnTo>
                      <a:pt x="235" y="119"/>
                    </a:lnTo>
                    <a:lnTo>
                      <a:pt x="235" y="120"/>
                    </a:lnTo>
                    <a:lnTo>
                      <a:pt x="236" y="123"/>
                    </a:lnTo>
                    <a:lnTo>
                      <a:pt x="236" y="125"/>
                    </a:lnTo>
                    <a:lnTo>
                      <a:pt x="236" y="126"/>
                    </a:lnTo>
                    <a:lnTo>
                      <a:pt x="236" y="127"/>
                    </a:lnTo>
                    <a:lnTo>
                      <a:pt x="238" y="128"/>
                    </a:lnTo>
                    <a:lnTo>
                      <a:pt x="238" y="129"/>
                    </a:lnTo>
                    <a:lnTo>
                      <a:pt x="238" y="130"/>
                    </a:lnTo>
                    <a:lnTo>
                      <a:pt x="239" y="131"/>
                    </a:lnTo>
                    <a:lnTo>
                      <a:pt x="239" y="132"/>
                    </a:lnTo>
                    <a:lnTo>
                      <a:pt x="240" y="133"/>
                    </a:lnTo>
                    <a:lnTo>
                      <a:pt x="241" y="133"/>
                    </a:lnTo>
                    <a:lnTo>
                      <a:pt x="242" y="134"/>
                    </a:lnTo>
                    <a:lnTo>
                      <a:pt x="243" y="134"/>
                    </a:lnTo>
                    <a:lnTo>
                      <a:pt x="244" y="134"/>
                    </a:lnTo>
                    <a:lnTo>
                      <a:pt x="244" y="135"/>
                    </a:lnTo>
                    <a:lnTo>
                      <a:pt x="247" y="136"/>
                    </a:lnTo>
                    <a:lnTo>
                      <a:pt x="248" y="136"/>
                    </a:lnTo>
                    <a:lnTo>
                      <a:pt x="251" y="136"/>
                    </a:lnTo>
                    <a:lnTo>
                      <a:pt x="252" y="136"/>
                    </a:lnTo>
                    <a:lnTo>
                      <a:pt x="253" y="136"/>
                    </a:lnTo>
                    <a:lnTo>
                      <a:pt x="254" y="138"/>
                    </a:lnTo>
                    <a:lnTo>
                      <a:pt x="256" y="140"/>
                    </a:lnTo>
                    <a:lnTo>
                      <a:pt x="258" y="141"/>
                    </a:lnTo>
                    <a:lnTo>
                      <a:pt x="260" y="143"/>
                    </a:lnTo>
                    <a:lnTo>
                      <a:pt x="261" y="143"/>
                    </a:lnTo>
                    <a:lnTo>
                      <a:pt x="262" y="144"/>
                    </a:lnTo>
                    <a:lnTo>
                      <a:pt x="262" y="145"/>
                    </a:lnTo>
                    <a:lnTo>
                      <a:pt x="264" y="146"/>
                    </a:lnTo>
                    <a:lnTo>
                      <a:pt x="264" y="147"/>
                    </a:lnTo>
                    <a:lnTo>
                      <a:pt x="265" y="147"/>
                    </a:lnTo>
                    <a:lnTo>
                      <a:pt x="265" y="148"/>
                    </a:lnTo>
                    <a:lnTo>
                      <a:pt x="267" y="149"/>
                    </a:lnTo>
                    <a:lnTo>
                      <a:pt x="268" y="152"/>
                    </a:lnTo>
                    <a:lnTo>
                      <a:pt x="270" y="153"/>
                    </a:lnTo>
                    <a:lnTo>
                      <a:pt x="270" y="154"/>
                    </a:lnTo>
                    <a:lnTo>
                      <a:pt x="271" y="155"/>
                    </a:lnTo>
                    <a:lnTo>
                      <a:pt x="272" y="156"/>
                    </a:lnTo>
                    <a:lnTo>
                      <a:pt x="272" y="157"/>
                    </a:lnTo>
                    <a:lnTo>
                      <a:pt x="273" y="158"/>
                    </a:lnTo>
                    <a:lnTo>
                      <a:pt x="274" y="158"/>
                    </a:lnTo>
                    <a:lnTo>
                      <a:pt x="276" y="159"/>
                    </a:lnTo>
                    <a:lnTo>
                      <a:pt x="277" y="159"/>
                    </a:lnTo>
                    <a:lnTo>
                      <a:pt x="279" y="160"/>
                    </a:lnTo>
                    <a:lnTo>
                      <a:pt x="284" y="161"/>
                    </a:lnTo>
                    <a:lnTo>
                      <a:pt x="286" y="161"/>
                    </a:lnTo>
                    <a:lnTo>
                      <a:pt x="287" y="161"/>
                    </a:lnTo>
                    <a:lnTo>
                      <a:pt x="290" y="161"/>
                    </a:lnTo>
                    <a:lnTo>
                      <a:pt x="291" y="161"/>
                    </a:lnTo>
                    <a:lnTo>
                      <a:pt x="292" y="163"/>
                    </a:lnTo>
                    <a:lnTo>
                      <a:pt x="294" y="164"/>
                    </a:lnTo>
                    <a:lnTo>
                      <a:pt x="295" y="164"/>
                    </a:lnTo>
                    <a:lnTo>
                      <a:pt x="296" y="165"/>
                    </a:lnTo>
                    <a:lnTo>
                      <a:pt x="297" y="166"/>
                    </a:lnTo>
                    <a:lnTo>
                      <a:pt x="298" y="167"/>
                    </a:lnTo>
                    <a:lnTo>
                      <a:pt x="299" y="167"/>
                    </a:lnTo>
                    <a:lnTo>
                      <a:pt x="302" y="168"/>
                    </a:lnTo>
                    <a:lnTo>
                      <a:pt x="303" y="168"/>
                    </a:lnTo>
                    <a:lnTo>
                      <a:pt x="304" y="168"/>
                    </a:lnTo>
                    <a:lnTo>
                      <a:pt x="305" y="168"/>
                    </a:lnTo>
                    <a:lnTo>
                      <a:pt x="306" y="168"/>
                    </a:lnTo>
                    <a:lnTo>
                      <a:pt x="307" y="168"/>
                    </a:lnTo>
                    <a:lnTo>
                      <a:pt x="308" y="168"/>
                    </a:lnTo>
                    <a:lnTo>
                      <a:pt x="309" y="169"/>
                    </a:lnTo>
                    <a:lnTo>
                      <a:pt x="311" y="171"/>
                    </a:lnTo>
                    <a:lnTo>
                      <a:pt x="312" y="172"/>
                    </a:lnTo>
                    <a:lnTo>
                      <a:pt x="313" y="172"/>
                    </a:lnTo>
                    <a:lnTo>
                      <a:pt x="312" y="173"/>
                    </a:lnTo>
                    <a:lnTo>
                      <a:pt x="310" y="173"/>
                    </a:lnTo>
                    <a:lnTo>
                      <a:pt x="309" y="173"/>
                    </a:lnTo>
                    <a:lnTo>
                      <a:pt x="308" y="174"/>
                    </a:lnTo>
                    <a:lnTo>
                      <a:pt x="308" y="173"/>
                    </a:lnTo>
                    <a:lnTo>
                      <a:pt x="307" y="173"/>
                    </a:lnTo>
                    <a:lnTo>
                      <a:pt x="306" y="174"/>
                    </a:lnTo>
                    <a:lnTo>
                      <a:pt x="305" y="174"/>
                    </a:lnTo>
                    <a:lnTo>
                      <a:pt x="304" y="176"/>
                    </a:lnTo>
                    <a:lnTo>
                      <a:pt x="303" y="176"/>
                    </a:lnTo>
                    <a:lnTo>
                      <a:pt x="302" y="176"/>
                    </a:lnTo>
                    <a:lnTo>
                      <a:pt x="300" y="176"/>
                    </a:lnTo>
                    <a:lnTo>
                      <a:pt x="300" y="174"/>
                    </a:lnTo>
                    <a:lnTo>
                      <a:pt x="299" y="174"/>
                    </a:lnTo>
                    <a:lnTo>
                      <a:pt x="299" y="173"/>
                    </a:lnTo>
                    <a:lnTo>
                      <a:pt x="298" y="173"/>
                    </a:lnTo>
                    <a:lnTo>
                      <a:pt x="298" y="172"/>
                    </a:lnTo>
                    <a:lnTo>
                      <a:pt x="297" y="172"/>
                    </a:lnTo>
                    <a:lnTo>
                      <a:pt x="295" y="172"/>
                    </a:lnTo>
                    <a:lnTo>
                      <a:pt x="294" y="172"/>
                    </a:lnTo>
                    <a:lnTo>
                      <a:pt x="294" y="171"/>
                    </a:lnTo>
                    <a:lnTo>
                      <a:pt x="293" y="171"/>
                    </a:lnTo>
                    <a:lnTo>
                      <a:pt x="292" y="171"/>
                    </a:lnTo>
                    <a:lnTo>
                      <a:pt x="291" y="171"/>
                    </a:lnTo>
                    <a:lnTo>
                      <a:pt x="290" y="171"/>
                    </a:lnTo>
                    <a:lnTo>
                      <a:pt x="289" y="171"/>
                    </a:lnTo>
                    <a:lnTo>
                      <a:pt x="287" y="171"/>
                    </a:lnTo>
                    <a:lnTo>
                      <a:pt x="286" y="171"/>
                    </a:lnTo>
                    <a:lnTo>
                      <a:pt x="285" y="172"/>
                    </a:lnTo>
                    <a:lnTo>
                      <a:pt x="284" y="172"/>
                    </a:lnTo>
                    <a:lnTo>
                      <a:pt x="284" y="173"/>
                    </a:lnTo>
                    <a:lnTo>
                      <a:pt x="283" y="173"/>
                    </a:lnTo>
                    <a:lnTo>
                      <a:pt x="282" y="173"/>
                    </a:lnTo>
                    <a:lnTo>
                      <a:pt x="281" y="173"/>
                    </a:lnTo>
                    <a:lnTo>
                      <a:pt x="281" y="172"/>
                    </a:lnTo>
                    <a:lnTo>
                      <a:pt x="280" y="172"/>
                    </a:lnTo>
                    <a:lnTo>
                      <a:pt x="279" y="172"/>
                    </a:lnTo>
                    <a:lnTo>
                      <a:pt x="280" y="172"/>
                    </a:lnTo>
                    <a:lnTo>
                      <a:pt x="279" y="172"/>
                    </a:lnTo>
                    <a:lnTo>
                      <a:pt x="279" y="173"/>
                    </a:lnTo>
                    <a:lnTo>
                      <a:pt x="278" y="173"/>
                    </a:lnTo>
                    <a:lnTo>
                      <a:pt x="278" y="172"/>
                    </a:lnTo>
                    <a:lnTo>
                      <a:pt x="278" y="171"/>
                    </a:lnTo>
                    <a:lnTo>
                      <a:pt x="278" y="170"/>
                    </a:lnTo>
                    <a:lnTo>
                      <a:pt x="278" y="169"/>
                    </a:lnTo>
                    <a:lnTo>
                      <a:pt x="278" y="168"/>
                    </a:lnTo>
                    <a:lnTo>
                      <a:pt x="277" y="168"/>
                    </a:lnTo>
                    <a:lnTo>
                      <a:pt x="276" y="168"/>
                    </a:lnTo>
                    <a:lnTo>
                      <a:pt x="274" y="169"/>
                    </a:lnTo>
                    <a:lnTo>
                      <a:pt x="274" y="168"/>
                    </a:lnTo>
                    <a:lnTo>
                      <a:pt x="274" y="167"/>
                    </a:lnTo>
                    <a:lnTo>
                      <a:pt x="276" y="167"/>
                    </a:lnTo>
                    <a:lnTo>
                      <a:pt x="274" y="166"/>
                    </a:lnTo>
                    <a:lnTo>
                      <a:pt x="274" y="165"/>
                    </a:lnTo>
                    <a:lnTo>
                      <a:pt x="273" y="165"/>
                    </a:lnTo>
                    <a:lnTo>
                      <a:pt x="272" y="164"/>
                    </a:lnTo>
                    <a:lnTo>
                      <a:pt x="270" y="164"/>
                    </a:lnTo>
                    <a:lnTo>
                      <a:pt x="269" y="164"/>
                    </a:lnTo>
                    <a:lnTo>
                      <a:pt x="270" y="164"/>
                    </a:lnTo>
                    <a:lnTo>
                      <a:pt x="270" y="163"/>
                    </a:lnTo>
                    <a:lnTo>
                      <a:pt x="270" y="161"/>
                    </a:lnTo>
                    <a:lnTo>
                      <a:pt x="270" y="160"/>
                    </a:lnTo>
                    <a:lnTo>
                      <a:pt x="271" y="160"/>
                    </a:lnTo>
                    <a:lnTo>
                      <a:pt x="271" y="159"/>
                    </a:lnTo>
                    <a:lnTo>
                      <a:pt x="272" y="159"/>
                    </a:lnTo>
                    <a:lnTo>
                      <a:pt x="273" y="159"/>
                    </a:lnTo>
                    <a:lnTo>
                      <a:pt x="272" y="159"/>
                    </a:lnTo>
                    <a:lnTo>
                      <a:pt x="272" y="158"/>
                    </a:lnTo>
                    <a:lnTo>
                      <a:pt x="271" y="159"/>
                    </a:lnTo>
                    <a:lnTo>
                      <a:pt x="271" y="158"/>
                    </a:lnTo>
                    <a:lnTo>
                      <a:pt x="270" y="158"/>
                    </a:lnTo>
                    <a:lnTo>
                      <a:pt x="269" y="157"/>
                    </a:lnTo>
                    <a:lnTo>
                      <a:pt x="268" y="157"/>
                    </a:lnTo>
                    <a:lnTo>
                      <a:pt x="267" y="156"/>
                    </a:lnTo>
                    <a:lnTo>
                      <a:pt x="266" y="156"/>
                    </a:lnTo>
                    <a:lnTo>
                      <a:pt x="266" y="157"/>
                    </a:lnTo>
                    <a:lnTo>
                      <a:pt x="265" y="157"/>
                    </a:lnTo>
                    <a:lnTo>
                      <a:pt x="265" y="158"/>
                    </a:lnTo>
                    <a:lnTo>
                      <a:pt x="264" y="158"/>
                    </a:lnTo>
                    <a:lnTo>
                      <a:pt x="262" y="158"/>
                    </a:lnTo>
                    <a:lnTo>
                      <a:pt x="264" y="159"/>
                    </a:lnTo>
                    <a:lnTo>
                      <a:pt x="262" y="159"/>
                    </a:lnTo>
                    <a:lnTo>
                      <a:pt x="262" y="160"/>
                    </a:lnTo>
                    <a:lnTo>
                      <a:pt x="261" y="160"/>
                    </a:lnTo>
                    <a:lnTo>
                      <a:pt x="260" y="160"/>
                    </a:lnTo>
                    <a:lnTo>
                      <a:pt x="259" y="161"/>
                    </a:lnTo>
                    <a:lnTo>
                      <a:pt x="258" y="161"/>
                    </a:lnTo>
                    <a:lnTo>
                      <a:pt x="258" y="163"/>
                    </a:lnTo>
                    <a:lnTo>
                      <a:pt x="258" y="161"/>
                    </a:lnTo>
                    <a:lnTo>
                      <a:pt x="259" y="160"/>
                    </a:lnTo>
                    <a:lnTo>
                      <a:pt x="259" y="159"/>
                    </a:lnTo>
                    <a:lnTo>
                      <a:pt x="258" y="158"/>
                    </a:lnTo>
                    <a:lnTo>
                      <a:pt x="258" y="157"/>
                    </a:lnTo>
                    <a:lnTo>
                      <a:pt x="257" y="157"/>
                    </a:lnTo>
                    <a:lnTo>
                      <a:pt x="257" y="156"/>
                    </a:lnTo>
                    <a:lnTo>
                      <a:pt x="256" y="156"/>
                    </a:lnTo>
                    <a:lnTo>
                      <a:pt x="255" y="156"/>
                    </a:lnTo>
                    <a:lnTo>
                      <a:pt x="254" y="155"/>
                    </a:lnTo>
                    <a:lnTo>
                      <a:pt x="253" y="155"/>
                    </a:lnTo>
                    <a:lnTo>
                      <a:pt x="252" y="155"/>
                    </a:lnTo>
                    <a:lnTo>
                      <a:pt x="251" y="156"/>
                    </a:lnTo>
                    <a:lnTo>
                      <a:pt x="249" y="155"/>
                    </a:lnTo>
                    <a:lnTo>
                      <a:pt x="248" y="154"/>
                    </a:lnTo>
                    <a:lnTo>
                      <a:pt x="247" y="154"/>
                    </a:lnTo>
                    <a:lnTo>
                      <a:pt x="246" y="154"/>
                    </a:lnTo>
                    <a:lnTo>
                      <a:pt x="246" y="155"/>
                    </a:lnTo>
                    <a:lnTo>
                      <a:pt x="245" y="155"/>
                    </a:lnTo>
                    <a:lnTo>
                      <a:pt x="244" y="156"/>
                    </a:lnTo>
                    <a:lnTo>
                      <a:pt x="245" y="156"/>
                    </a:lnTo>
                    <a:lnTo>
                      <a:pt x="246" y="156"/>
                    </a:lnTo>
                    <a:lnTo>
                      <a:pt x="246" y="157"/>
                    </a:lnTo>
                    <a:lnTo>
                      <a:pt x="246" y="158"/>
                    </a:lnTo>
                    <a:lnTo>
                      <a:pt x="247" y="158"/>
                    </a:lnTo>
                    <a:lnTo>
                      <a:pt x="248" y="158"/>
                    </a:lnTo>
                    <a:lnTo>
                      <a:pt x="248" y="159"/>
                    </a:lnTo>
                    <a:lnTo>
                      <a:pt x="248" y="160"/>
                    </a:lnTo>
                    <a:lnTo>
                      <a:pt x="249" y="160"/>
                    </a:lnTo>
                    <a:lnTo>
                      <a:pt x="249" y="161"/>
                    </a:lnTo>
                    <a:lnTo>
                      <a:pt x="251" y="161"/>
                    </a:lnTo>
                    <a:lnTo>
                      <a:pt x="252" y="161"/>
                    </a:lnTo>
                    <a:lnTo>
                      <a:pt x="252" y="163"/>
                    </a:lnTo>
                    <a:lnTo>
                      <a:pt x="253" y="163"/>
                    </a:lnTo>
                    <a:lnTo>
                      <a:pt x="253" y="164"/>
                    </a:lnTo>
                    <a:lnTo>
                      <a:pt x="253" y="163"/>
                    </a:lnTo>
                    <a:lnTo>
                      <a:pt x="252" y="164"/>
                    </a:lnTo>
                    <a:lnTo>
                      <a:pt x="252" y="163"/>
                    </a:lnTo>
                    <a:lnTo>
                      <a:pt x="251" y="164"/>
                    </a:lnTo>
                    <a:lnTo>
                      <a:pt x="251" y="165"/>
                    </a:lnTo>
                    <a:lnTo>
                      <a:pt x="249" y="166"/>
                    </a:lnTo>
                    <a:lnTo>
                      <a:pt x="249" y="167"/>
                    </a:lnTo>
                    <a:lnTo>
                      <a:pt x="251" y="168"/>
                    </a:lnTo>
                    <a:lnTo>
                      <a:pt x="249" y="168"/>
                    </a:lnTo>
                    <a:lnTo>
                      <a:pt x="249" y="167"/>
                    </a:lnTo>
                    <a:lnTo>
                      <a:pt x="249" y="166"/>
                    </a:lnTo>
                    <a:lnTo>
                      <a:pt x="248" y="166"/>
                    </a:lnTo>
                    <a:lnTo>
                      <a:pt x="247" y="166"/>
                    </a:lnTo>
                    <a:lnTo>
                      <a:pt x="246" y="166"/>
                    </a:lnTo>
                    <a:lnTo>
                      <a:pt x="246" y="167"/>
                    </a:lnTo>
                    <a:lnTo>
                      <a:pt x="247" y="168"/>
                    </a:lnTo>
                    <a:lnTo>
                      <a:pt x="248" y="168"/>
                    </a:lnTo>
                    <a:lnTo>
                      <a:pt x="247" y="168"/>
                    </a:lnTo>
                    <a:lnTo>
                      <a:pt x="246" y="168"/>
                    </a:lnTo>
                    <a:lnTo>
                      <a:pt x="245" y="168"/>
                    </a:lnTo>
                    <a:lnTo>
                      <a:pt x="244" y="168"/>
                    </a:lnTo>
                    <a:lnTo>
                      <a:pt x="244" y="169"/>
                    </a:lnTo>
                    <a:lnTo>
                      <a:pt x="245" y="169"/>
                    </a:lnTo>
                    <a:lnTo>
                      <a:pt x="245" y="170"/>
                    </a:lnTo>
                    <a:lnTo>
                      <a:pt x="246" y="170"/>
                    </a:lnTo>
                    <a:lnTo>
                      <a:pt x="246" y="171"/>
                    </a:lnTo>
                    <a:lnTo>
                      <a:pt x="247" y="171"/>
                    </a:lnTo>
                    <a:lnTo>
                      <a:pt x="247" y="172"/>
                    </a:lnTo>
                    <a:lnTo>
                      <a:pt x="247" y="173"/>
                    </a:lnTo>
                    <a:lnTo>
                      <a:pt x="248" y="173"/>
                    </a:lnTo>
                    <a:lnTo>
                      <a:pt x="248" y="174"/>
                    </a:lnTo>
                    <a:lnTo>
                      <a:pt x="249" y="174"/>
                    </a:lnTo>
                    <a:lnTo>
                      <a:pt x="249" y="176"/>
                    </a:lnTo>
                    <a:lnTo>
                      <a:pt x="251" y="176"/>
                    </a:lnTo>
                    <a:lnTo>
                      <a:pt x="251" y="174"/>
                    </a:lnTo>
                    <a:lnTo>
                      <a:pt x="252" y="176"/>
                    </a:lnTo>
                    <a:lnTo>
                      <a:pt x="253" y="176"/>
                    </a:lnTo>
                    <a:lnTo>
                      <a:pt x="252" y="177"/>
                    </a:lnTo>
                    <a:lnTo>
                      <a:pt x="253" y="178"/>
                    </a:lnTo>
                    <a:lnTo>
                      <a:pt x="253" y="177"/>
                    </a:lnTo>
                    <a:lnTo>
                      <a:pt x="254" y="177"/>
                    </a:lnTo>
                    <a:lnTo>
                      <a:pt x="255" y="176"/>
                    </a:lnTo>
                    <a:lnTo>
                      <a:pt x="255" y="174"/>
                    </a:lnTo>
                    <a:lnTo>
                      <a:pt x="254" y="174"/>
                    </a:lnTo>
                    <a:lnTo>
                      <a:pt x="254" y="173"/>
                    </a:lnTo>
                    <a:lnTo>
                      <a:pt x="255" y="173"/>
                    </a:lnTo>
                    <a:lnTo>
                      <a:pt x="255" y="174"/>
                    </a:lnTo>
                    <a:lnTo>
                      <a:pt x="255" y="176"/>
                    </a:lnTo>
                    <a:lnTo>
                      <a:pt x="256" y="176"/>
                    </a:lnTo>
                    <a:lnTo>
                      <a:pt x="257" y="176"/>
                    </a:lnTo>
                    <a:lnTo>
                      <a:pt x="257" y="174"/>
                    </a:lnTo>
                    <a:lnTo>
                      <a:pt x="258" y="176"/>
                    </a:lnTo>
                    <a:lnTo>
                      <a:pt x="259" y="176"/>
                    </a:lnTo>
                    <a:lnTo>
                      <a:pt x="259" y="174"/>
                    </a:lnTo>
                    <a:lnTo>
                      <a:pt x="258" y="174"/>
                    </a:lnTo>
                    <a:lnTo>
                      <a:pt x="258" y="173"/>
                    </a:lnTo>
                    <a:lnTo>
                      <a:pt x="259" y="174"/>
                    </a:lnTo>
                    <a:lnTo>
                      <a:pt x="260" y="174"/>
                    </a:lnTo>
                    <a:lnTo>
                      <a:pt x="260" y="176"/>
                    </a:lnTo>
                    <a:lnTo>
                      <a:pt x="261" y="176"/>
                    </a:lnTo>
                    <a:lnTo>
                      <a:pt x="262" y="176"/>
                    </a:lnTo>
                    <a:lnTo>
                      <a:pt x="262" y="177"/>
                    </a:lnTo>
                    <a:lnTo>
                      <a:pt x="264" y="178"/>
                    </a:lnTo>
                    <a:lnTo>
                      <a:pt x="264" y="179"/>
                    </a:lnTo>
                    <a:lnTo>
                      <a:pt x="265" y="179"/>
                    </a:lnTo>
                    <a:lnTo>
                      <a:pt x="264" y="180"/>
                    </a:lnTo>
                    <a:lnTo>
                      <a:pt x="265" y="180"/>
                    </a:lnTo>
                    <a:lnTo>
                      <a:pt x="265" y="181"/>
                    </a:lnTo>
                    <a:lnTo>
                      <a:pt x="264" y="181"/>
                    </a:lnTo>
                    <a:lnTo>
                      <a:pt x="264" y="180"/>
                    </a:lnTo>
                    <a:lnTo>
                      <a:pt x="262" y="180"/>
                    </a:lnTo>
                    <a:lnTo>
                      <a:pt x="262" y="179"/>
                    </a:lnTo>
                    <a:lnTo>
                      <a:pt x="261" y="179"/>
                    </a:lnTo>
                    <a:lnTo>
                      <a:pt x="260" y="179"/>
                    </a:lnTo>
                    <a:lnTo>
                      <a:pt x="260" y="180"/>
                    </a:lnTo>
                    <a:lnTo>
                      <a:pt x="260" y="181"/>
                    </a:lnTo>
                    <a:lnTo>
                      <a:pt x="261" y="181"/>
                    </a:lnTo>
                    <a:lnTo>
                      <a:pt x="261" y="182"/>
                    </a:lnTo>
                    <a:lnTo>
                      <a:pt x="262" y="182"/>
                    </a:lnTo>
                    <a:lnTo>
                      <a:pt x="262" y="181"/>
                    </a:lnTo>
                    <a:lnTo>
                      <a:pt x="264" y="181"/>
                    </a:lnTo>
                    <a:lnTo>
                      <a:pt x="264" y="182"/>
                    </a:lnTo>
                    <a:lnTo>
                      <a:pt x="264" y="181"/>
                    </a:lnTo>
                    <a:lnTo>
                      <a:pt x="265" y="181"/>
                    </a:lnTo>
                    <a:lnTo>
                      <a:pt x="265" y="182"/>
                    </a:lnTo>
                    <a:lnTo>
                      <a:pt x="264" y="182"/>
                    </a:lnTo>
                    <a:lnTo>
                      <a:pt x="262" y="182"/>
                    </a:lnTo>
                    <a:lnTo>
                      <a:pt x="261" y="182"/>
                    </a:lnTo>
                    <a:lnTo>
                      <a:pt x="260" y="182"/>
                    </a:lnTo>
                    <a:lnTo>
                      <a:pt x="259" y="182"/>
                    </a:lnTo>
                    <a:lnTo>
                      <a:pt x="258" y="182"/>
                    </a:lnTo>
                    <a:lnTo>
                      <a:pt x="257" y="182"/>
                    </a:lnTo>
                    <a:lnTo>
                      <a:pt x="256" y="182"/>
                    </a:lnTo>
                    <a:lnTo>
                      <a:pt x="255" y="182"/>
                    </a:lnTo>
                    <a:lnTo>
                      <a:pt x="254" y="182"/>
                    </a:lnTo>
                    <a:lnTo>
                      <a:pt x="253" y="182"/>
                    </a:lnTo>
                    <a:lnTo>
                      <a:pt x="253" y="183"/>
                    </a:lnTo>
                    <a:lnTo>
                      <a:pt x="252" y="183"/>
                    </a:lnTo>
                    <a:lnTo>
                      <a:pt x="251" y="183"/>
                    </a:lnTo>
                    <a:lnTo>
                      <a:pt x="251" y="184"/>
                    </a:lnTo>
                    <a:lnTo>
                      <a:pt x="252" y="184"/>
                    </a:lnTo>
                    <a:lnTo>
                      <a:pt x="252" y="185"/>
                    </a:lnTo>
                    <a:lnTo>
                      <a:pt x="253" y="185"/>
                    </a:lnTo>
                    <a:lnTo>
                      <a:pt x="254" y="186"/>
                    </a:lnTo>
                    <a:lnTo>
                      <a:pt x="255" y="186"/>
                    </a:lnTo>
                    <a:lnTo>
                      <a:pt x="255" y="187"/>
                    </a:lnTo>
                    <a:lnTo>
                      <a:pt x="254" y="187"/>
                    </a:lnTo>
                    <a:lnTo>
                      <a:pt x="254" y="189"/>
                    </a:lnTo>
                    <a:lnTo>
                      <a:pt x="254" y="190"/>
                    </a:lnTo>
                    <a:lnTo>
                      <a:pt x="255" y="190"/>
                    </a:lnTo>
                    <a:lnTo>
                      <a:pt x="256" y="190"/>
                    </a:lnTo>
                    <a:lnTo>
                      <a:pt x="256" y="191"/>
                    </a:lnTo>
                    <a:lnTo>
                      <a:pt x="257" y="191"/>
                    </a:lnTo>
                    <a:lnTo>
                      <a:pt x="257" y="192"/>
                    </a:lnTo>
                    <a:lnTo>
                      <a:pt x="258" y="191"/>
                    </a:lnTo>
                    <a:lnTo>
                      <a:pt x="258" y="192"/>
                    </a:lnTo>
                    <a:lnTo>
                      <a:pt x="259" y="192"/>
                    </a:lnTo>
                    <a:lnTo>
                      <a:pt x="260" y="192"/>
                    </a:lnTo>
                    <a:lnTo>
                      <a:pt x="260" y="193"/>
                    </a:lnTo>
                    <a:lnTo>
                      <a:pt x="260" y="192"/>
                    </a:lnTo>
                    <a:lnTo>
                      <a:pt x="260" y="193"/>
                    </a:lnTo>
                    <a:lnTo>
                      <a:pt x="261" y="193"/>
                    </a:lnTo>
                    <a:lnTo>
                      <a:pt x="261" y="194"/>
                    </a:lnTo>
                    <a:lnTo>
                      <a:pt x="260" y="194"/>
                    </a:lnTo>
                    <a:lnTo>
                      <a:pt x="260" y="195"/>
                    </a:lnTo>
                    <a:lnTo>
                      <a:pt x="259" y="195"/>
                    </a:lnTo>
                    <a:lnTo>
                      <a:pt x="260" y="196"/>
                    </a:lnTo>
                    <a:lnTo>
                      <a:pt x="261" y="196"/>
                    </a:lnTo>
                    <a:lnTo>
                      <a:pt x="262" y="196"/>
                    </a:lnTo>
                    <a:lnTo>
                      <a:pt x="264" y="196"/>
                    </a:lnTo>
                    <a:lnTo>
                      <a:pt x="264" y="195"/>
                    </a:lnTo>
                    <a:lnTo>
                      <a:pt x="262" y="194"/>
                    </a:lnTo>
                    <a:lnTo>
                      <a:pt x="264" y="194"/>
                    </a:lnTo>
                    <a:lnTo>
                      <a:pt x="265" y="194"/>
                    </a:lnTo>
                    <a:lnTo>
                      <a:pt x="266" y="194"/>
                    </a:lnTo>
                    <a:lnTo>
                      <a:pt x="266" y="195"/>
                    </a:lnTo>
                    <a:lnTo>
                      <a:pt x="266" y="194"/>
                    </a:lnTo>
                    <a:lnTo>
                      <a:pt x="266" y="195"/>
                    </a:lnTo>
                    <a:lnTo>
                      <a:pt x="267" y="195"/>
                    </a:lnTo>
                    <a:lnTo>
                      <a:pt x="268" y="195"/>
                    </a:lnTo>
                    <a:lnTo>
                      <a:pt x="269" y="195"/>
                    </a:lnTo>
                    <a:lnTo>
                      <a:pt x="270" y="195"/>
                    </a:lnTo>
                    <a:lnTo>
                      <a:pt x="270" y="196"/>
                    </a:lnTo>
                    <a:lnTo>
                      <a:pt x="271" y="196"/>
                    </a:lnTo>
                    <a:lnTo>
                      <a:pt x="271" y="197"/>
                    </a:lnTo>
                    <a:lnTo>
                      <a:pt x="271" y="198"/>
                    </a:lnTo>
                    <a:lnTo>
                      <a:pt x="270" y="199"/>
                    </a:lnTo>
                    <a:lnTo>
                      <a:pt x="270" y="200"/>
                    </a:lnTo>
                    <a:lnTo>
                      <a:pt x="270" y="202"/>
                    </a:lnTo>
                    <a:lnTo>
                      <a:pt x="270" y="203"/>
                    </a:lnTo>
                    <a:lnTo>
                      <a:pt x="271" y="203"/>
                    </a:lnTo>
                    <a:lnTo>
                      <a:pt x="271" y="204"/>
                    </a:lnTo>
                    <a:lnTo>
                      <a:pt x="269" y="203"/>
                    </a:lnTo>
                    <a:lnTo>
                      <a:pt x="268" y="203"/>
                    </a:lnTo>
                    <a:lnTo>
                      <a:pt x="267" y="203"/>
                    </a:lnTo>
                    <a:lnTo>
                      <a:pt x="267" y="202"/>
                    </a:lnTo>
                    <a:lnTo>
                      <a:pt x="266" y="202"/>
                    </a:lnTo>
                    <a:lnTo>
                      <a:pt x="265" y="200"/>
                    </a:lnTo>
                    <a:lnTo>
                      <a:pt x="264" y="200"/>
                    </a:lnTo>
                    <a:lnTo>
                      <a:pt x="262" y="199"/>
                    </a:lnTo>
                    <a:lnTo>
                      <a:pt x="262" y="198"/>
                    </a:lnTo>
                    <a:lnTo>
                      <a:pt x="262" y="199"/>
                    </a:lnTo>
                    <a:lnTo>
                      <a:pt x="262" y="198"/>
                    </a:lnTo>
                    <a:lnTo>
                      <a:pt x="261" y="197"/>
                    </a:lnTo>
                    <a:lnTo>
                      <a:pt x="260" y="197"/>
                    </a:lnTo>
                    <a:lnTo>
                      <a:pt x="259" y="197"/>
                    </a:lnTo>
                    <a:lnTo>
                      <a:pt x="258" y="197"/>
                    </a:lnTo>
                    <a:lnTo>
                      <a:pt x="257" y="197"/>
                    </a:lnTo>
                    <a:lnTo>
                      <a:pt x="256" y="197"/>
                    </a:lnTo>
                    <a:lnTo>
                      <a:pt x="256" y="196"/>
                    </a:lnTo>
                    <a:lnTo>
                      <a:pt x="256" y="197"/>
                    </a:lnTo>
                    <a:lnTo>
                      <a:pt x="255" y="196"/>
                    </a:lnTo>
                    <a:lnTo>
                      <a:pt x="255" y="197"/>
                    </a:lnTo>
                    <a:lnTo>
                      <a:pt x="255" y="196"/>
                    </a:lnTo>
                    <a:lnTo>
                      <a:pt x="255" y="195"/>
                    </a:lnTo>
                    <a:lnTo>
                      <a:pt x="255" y="194"/>
                    </a:lnTo>
                    <a:lnTo>
                      <a:pt x="255" y="195"/>
                    </a:lnTo>
                    <a:lnTo>
                      <a:pt x="254" y="195"/>
                    </a:lnTo>
                    <a:lnTo>
                      <a:pt x="254" y="194"/>
                    </a:lnTo>
                    <a:lnTo>
                      <a:pt x="253" y="194"/>
                    </a:lnTo>
                    <a:lnTo>
                      <a:pt x="253" y="193"/>
                    </a:lnTo>
                    <a:lnTo>
                      <a:pt x="253" y="194"/>
                    </a:lnTo>
                    <a:lnTo>
                      <a:pt x="253" y="195"/>
                    </a:lnTo>
                    <a:lnTo>
                      <a:pt x="252" y="194"/>
                    </a:lnTo>
                    <a:lnTo>
                      <a:pt x="251" y="194"/>
                    </a:lnTo>
                    <a:lnTo>
                      <a:pt x="252" y="194"/>
                    </a:lnTo>
                    <a:lnTo>
                      <a:pt x="252" y="195"/>
                    </a:lnTo>
                    <a:lnTo>
                      <a:pt x="252" y="194"/>
                    </a:lnTo>
                    <a:lnTo>
                      <a:pt x="252" y="195"/>
                    </a:lnTo>
                    <a:lnTo>
                      <a:pt x="252" y="196"/>
                    </a:lnTo>
                    <a:lnTo>
                      <a:pt x="253" y="195"/>
                    </a:lnTo>
                    <a:lnTo>
                      <a:pt x="253" y="196"/>
                    </a:lnTo>
                    <a:lnTo>
                      <a:pt x="254" y="196"/>
                    </a:lnTo>
                    <a:lnTo>
                      <a:pt x="253" y="196"/>
                    </a:lnTo>
                    <a:lnTo>
                      <a:pt x="254" y="196"/>
                    </a:lnTo>
                    <a:lnTo>
                      <a:pt x="254" y="197"/>
                    </a:lnTo>
                    <a:lnTo>
                      <a:pt x="253" y="197"/>
                    </a:lnTo>
                    <a:lnTo>
                      <a:pt x="252" y="197"/>
                    </a:lnTo>
                    <a:lnTo>
                      <a:pt x="252" y="198"/>
                    </a:lnTo>
                    <a:lnTo>
                      <a:pt x="251" y="198"/>
                    </a:lnTo>
                    <a:lnTo>
                      <a:pt x="251" y="197"/>
                    </a:lnTo>
                    <a:lnTo>
                      <a:pt x="251" y="196"/>
                    </a:lnTo>
                    <a:lnTo>
                      <a:pt x="249" y="196"/>
                    </a:lnTo>
                    <a:lnTo>
                      <a:pt x="249" y="195"/>
                    </a:lnTo>
                    <a:lnTo>
                      <a:pt x="248" y="195"/>
                    </a:lnTo>
                    <a:lnTo>
                      <a:pt x="248" y="196"/>
                    </a:lnTo>
                    <a:lnTo>
                      <a:pt x="248" y="195"/>
                    </a:lnTo>
                    <a:lnTo>
                      <a:pt x="247" y="195"/>
                    </a:lnTo>
                    <a:lnTo>
                      <a:pt x="246" y="195"/>
                    </a:lnTo>
                    <a:lnTo>
                      <a:pt x="246" y="194"/>
                    </a:lnTo>
                    <a:lnTo>
                      <a:pt x="245" y="194"/>
                    </a:lnTo>
                    <a:lnTo>
                      <a:pt x="244" y="194"/>
                    </a:lnTo>
                    <a:lnTo>
                      <a:pt x="243" y="194"/>
                    </a:lnTo>
                    <a:lnTo>
                      <a:pt x="242" y="194"/>
                    </a:lnTo>
                    <a:lnTo>
                      <a:pt x="241" y="194"/>
                    </a:lnTo>
                    <a:lnTo>
                      <a:pt x="240" y="195"/>
                    </a:lnTo>
                    <a:lnTo>
                      <a:pt x="239" y="195"/>
                    </a:lnTo>
                    <a:lnTo>
                      <a:pt x="239" y="196"/>
                    </a:lnTo>
                    <a:lnTo>
                      <a:pt x="238" y="196"/>
                    </a:lnTo>
                    <a:lnTo>
                      <a:pt x="236" y="196"/>
                    </a:lnTo>
                    <a:lnTo>
                      <a:pt x="236" y="197"/>
                    </a:lnTo>
                    <a:lnTo>
                      <a:pt x="236" y="198"/>
                    </a:lnTo>
                    <a:lnTo>
                      <a:pt x="236" y="199"/>
                    </a:lnTo>
                    <a:lnTo>
                      <a:pt x="235" y="199"/>
                    </a:lnTo>
                    <a:lnTo>
                      <a:pt x="235" y="200"/>
                    </a:lnTo>
                    <a:lnTo>
                      <a:pt x="236" y="200"/>
                    </a:lnTo>
                    <a:lnTo>
                      <a:pt x="236" y="202"/>
                    </a:lnTo>
                    <a:lnTo>
                      <a:pt x="236" y="203"/>
                    </a:lnTo>
                    <a:lnTo>
                      <a:pt x="236" y="204"/>
                    </a:lnTo>
                    <a:lnTo>
                      <a:pt x="235" y="204"/>
                    </a:lnTo>
                    <a:lnTo>
                      <a:pt x="234" y="204"/>
                    </a:lnTo>
                    <a:lnTo>
                      <a:pt x="234" y="205"/>
                    </a:lnTo>
                    <a:lnTo>
                      <a:pt x="233" y="206"/>
                    </a:lnTo>
                    <a:lnTo>
                      <a:pt x="234" y="206"/>
                    </a:lnTo>
                    <a:lnTo>
                      <a:pt x="234" y="207"/>
                    </a:lnTo>
                    <a:lnTo>
                      <a:pt x="233" y="207"/>
                    </a:lnTo>
                    <a:lnTo>
                      <a:pt x="233" y="206"/>
                    </a:lnTo>
                    <a:lnTo>
                      <a:pt x="232" y="206"/>
                    </a:lnTo>
                    <a:lnTo>
                      <a:pt x="232" y="205"/>
                    </a:lnTo>
                    <a:lnTo>
                      <a:pt x="231" y="205"/>
                    </a:lnTo>
                    <a:lnTo>
                      <a:pt x="230" y="205"/>
                    </a:lnTo>
                    <a:lnTo>
                      <a:pt x="229" y="205"/>
                    </a:lnTo>
                    <a:lnTo>
                      <a:pt x="229" y="206"/>
                    </a:lnTo>
                    <a:lnTo>
                      <a:pt x="229" y="205"/>
                    </a:lnTo>
                    <a:lnTo>
                      <a:pt x="228" y="205"/>
                    </a:lnTo>
                    <a:lnTo>
                      <a:pt x="227" y="205"/>
                    </a:lnTo>
                    <a:lnTo>
                      <a:pt x="226" y="205"/>
                    </a:lnTo>
                    <a:lnTo>
                      <a:pt x="225" y="205"/>
                    </a:lnTo>
                    <a:lnTo>
                      <a:pt x="223" y="206"/>
                    </a:lnTo>
                    <a:lnTo>
                      <a:pt x="223" y="205"/>
                    </a:lnTo>
                    <a:lnTo>
                      <a:pt x="222" y="205"/>
                    </a:lnTo>
                    <a:lnTo>
                      <a:pt x="221" y="204"/>
                    </a:lnTo>
                    <a:lnTo>
                      <a:pt x="220" y="204"/>
                    </a:lnTo>
                    <a:lnTo>
                      <a:pt x="219" y="204"/>
                    </a:lnTo>
                    <a:lnTo>
                      <a:pt x="218" y="204"/>
                    </a:lnTo>
                    <a:lnTo>
                      <a:pt x="217" y="204"/>
                    </a:lnTo>
                    <a:lnTo>
                      <a:pt x="217" y="205"/>
                    </a:lnTo>
                    <a:lnTo>
                      <a:pt x="216" y="205"/>
                    </a:lnTo>
                    <a:lnTo>
                      <a:pt x="217" y="206"/>
                    </a:lnTo>
                    <a:lnTo>
                      <a:pt x="218" y="206"/>
                    </a:lnTo>
                    <a:lnTo>
                      <a:pt x="218" y="205"/>
                    </a:lnTo>
                    <a:lnTo>
                      <a:pt x="219" y="205"/>
                    </a:lnTo>
                    <a:lnTo>
                      <a:pt x="219" y="206"/>
                    </a:lnTo>
                    <a:lnTo>
                      <a:pt x="219" y="207"/>
                    </a:lnTo>
                    <a:lnTo>
                      <a:pt x="220" y="207"/>
                    </a:lnTo>
                    <a:lnTo>
                      <a:pt x="220" y="208"/>
                    </a:lnTo>
                    <a:lnTo>
                      <a:pt x="221" y="208"/>
                    </a:lnTo>
                    <a:lnTo>
                      <a:pt x="222" y="208"/>
                    </a:lnTo>
                    <a:lnTo>
                      <a:pt x="221" y="208"/>
                    </a:lnTo>
                    <a:lnTo>
                      <a:pt x="220" y="208"/>
                    </a:lnTo>
                    <a:lnTo>
                      <a:pt x="219" y="208"/>
                    </a:lnTo>
                    <a:lnTo>
                      <a:pt x="219" y="209"/>
                    </a:lnTo>
                    <a:lnTo>
                      <a:pt x="219" y="208"/>
                    </a:lnTo>
                    <a:lnTo>
                      <a:pt x="218" y="208"/>
                    </a:lnTo>
                    <a:lnTo>
                      <a:pt x="217" y="208"/>
                    </a:lnTo>
                    <a:lnTo>
                      <a:pt x="216" y="208"/>
                    </a:lnTo>
                    <a:lnTo>
                      <a:pt x="215" y="208"/>
                    </a:lnTo>
                    <a:lnTo>
                      <a:pt x="216" y="208"/>
                    </a:lnTo>
                    <a:lnTo>
                      <a:pt x="216" y="209"/>
                    </a:lnTo>
                    <a:lnTo>
                      <a:pt x="215" y="209"/>
                    </a:lnTo>
                    <a:lnTo>
                      <a:pt x="214" y="209"/>
                    </a:lnTo>
                    <a:lnTo>
                      <a:pt x="213" y="209"/>
                    </a:lnTo>
                    <a:lnTo>
                      <a:pt x="212" y="209"/>
                    </a:lnTo>
                    <a:lnTo>
                      <a:pt x="210" y="209"/>
                    </a:lnTo>
                    <a:lnTo>
                      <a:pt x="210" y="208"/>
                    </a:lnTo>
                    <a:lnTo>
                      <a:pt x="212" y="208"/>
                    </a:lnTo>
                    <a:lnTo>
                      <a:pt x="212" y="207"/>
                    </a:lnTo>
                    <a:lnTo>
                      <a:pt x="213" y="207"/>
                    </a:lnTo>
                    <a:lnTo>
                      <a:pt x="212" y="207"/>
                    </a:lnTo>
                    <a:lnTo>
                      <a:pt x="210" y="207"/>
                    </a:lnTo>
                    <a:lnTo>
                      <a:pt x="210" y="206"/>
                    </a:lnTo>
                    <a:lnTo>
                      <a:pt x="210" y="205"/>
                    </a:lnTo>
                    <a:lnTo>
                      <a:pt x="209" y="205"/>
                    </a:lnTo>
                    <a:lnTo>
                      <a:pt x="208" y="205"/>
                    </a:lnTo>
                    <a:lnTo>
                      <a:pt x="207" y="205"/>
                    </a:lnTo>
                    <a:lnTo>
                      <a:pt x="206" y="205"/>
                    </a:lnTo>
                    <a:lnTo>
                      <a:pt x="205" y="205"/>
                    </a:lnTo>
                    <a:lnTo>
                      <a:pt x="205" y="206"/>
                    </a:lnTo>
                    <a:lnTo>
                      <a:pt x="205" y="207"/>
                    </a:lnTo>
                    <a:lnTo>
                      <a:pt x="206" y="207"/>
                    </a:lnTo>
                    <a:lnTo>
                      <a:pt x="205" y="207"/>
                    </a:lnTo>
                    <a:lnTo>
                      <a:pt x="205" y="206"/>
                    </a:lnTo>
                    <a:lnTo>
                      <a:pt x="205" y="205"/>
                    </a:lnTo>
                    <a:lnTo>
                      <a:pt x="206" y="205"/>
                    </a:lnTo>
                    <a:lnTo>
                      <a:pt x="206" y="206"/>
                    </a:lnTo>
                    <a:lnTo>
                      <a:pt x="206" y="205"/>
                    </a:lnTo>
                    <a:lnTo>
                      <a:pt x="207" y="205"/>
                    </a:lnTo>
                    <a:lnTo>
                      <a:pt x="208" y="205"/>
                    </a:lnTo>
                    <a:lnTo>
                      <a:pt x="209" y="206"/>
                    </a:lnTo>
                    <a:lnTo>
                      <a:pt x="208" y="207"/>
                    </a:lnTo>
                    <a:lnTo>
                      <a:pt x="207" y="207"/>
                    </a:lnTo>
                    <a:lnTo>
                      <a:pt x="207" y="208"/>
                    </a:lnTo>
                    <a:lnTo>
                      <a:pt x="206" y="208"/>
                    </a:lnTo>
                    <a:lnTo>
                      <a:pt x="206" y="209"/>
                    </a:lnTo>
                    <a:lnTo>
                      <a:pt x="207" y="209"/>
                    </a:lnTo>
                    <a:lnTo>
                      <a:pt x="207" y="210"/>
                    </a:lnTo>
                    <a:lnTo>
                      <a:pt x="208" y="210"/>
                    </a:lnTo>
                    <a:lnTo>
                      <a:pt x="208" y="211"/>
                    </a:lnTo>
                    <a:lnTo>
                      <a:pt x="209" y="211"/>
                    </a:lnTo>
                    <a:lnTo>
                      <a:pt x="210" y="211"/>
                    </a:lnTo>
                    <a:lnTo>
                      <a:pt x="210" y="212"/>
                    </a:lnTo>
                    <a:lnTo>
                      <a:pt x="212" y="212"/>
                    </a:lnTo>
                    <a:lnTo>
                      <a:pt x="212" y="213"/>
                    </a:lnTo>
                    <a:lnTo>
                      <a:pt x="213" y="213"/>
                    </a:lnTo>
                    <a:lnTo>
                      <a:pt x="214" y="213"/>
                    </a:lnTo>
                    <a:lnTo>
                      <a:pt x="213" y="213"/>
                    </a:lnTo>
                    <a:lnTo>
                      <a:pt x="214" y="213"/>
                    </a:lnTo>
                    <a:lnTo>
                      <a:pt x="215" y="213"/>
                    </a:lnTo>
                    <a:lnTo>
                      <a:pt x="215" y="215"/>
                    </a:lnTo>
                    <a:lnTo>
                      <a:pt x="216" y="213"/>
                    </a:lnTo>
                    <a:lnTo>
                      <a:pt x="216" y="212"/>
                    </a:lnTo>
                    <a:lnTo>
                      <a:pt x="217" y="212"/>
                    </a:lnTo>
                    <a:lnTo>
                      <a:pt x="217" y="213"/>
                    </a:lnTo>
                    <a:lnTo>
                      <a:pt x="217" y="215"/>
                    </a:lnTo>
                    <a:lnTo>
                      <a:pt x="217" y="216"/>
                    </a:lnTo>
                    <a:lnTo>
                      <a:pt x="217" y="217"/>
                    </a:lnTo>
                    <a:lnTo>
                      <a:pt x="218" y="217"/>
                    </a:lnTo>
                    <a:lnTo>
                      <a:pt x="219" y="217"/>
                    </a:lnTo>
                    <a:lnTo>
                      <a:pt x="219" y="218"/>
                    </a:lnTo>
                    <a:lnTo>
                      <a:pt x="220" y="218"/>
                    </a:lnTo>
                    <a:lnTo>
                      <a:pt x="219" y="218"/>
                    </a:lnTo>
                    <a:lnTo>
                      <a:pt x="219" y="219"/>
                    </a:lnTo>
                    <a:lnTo>
                      <a:pt x="218" y="219"/>
                    </a:lnTo>
                    <a:lnTo>
                      <a:pt x="218" y="218"/>
                    </a:lnTo>
                    <a:lnTo>
                      <a:pt x="217" y="217"/>
                    </a:lnTo>
                    <a:lnTo>
                      <a:pt x="216" y="217"/>
                    </a:lnTo>
                    <a:lnTo>
                      <a:pt x="215" y="217"/>
                    </a:lnTo>
                    <a:lnTo>
                      <a:pt x="215" y="216"/>
                    </a:lnTo>
                    <a:lnTo>
                      <a:pt x="214" y="216"/>
                    </a:lnTo>
                    <a:lnTo>
                      <a:pt x="213" y="216"/>
                    </a:lnTo>
                    <a:lnTo>
                      <a:pt x="213" y="215"/>
                    </a:lnTo>
                    <a:lnTo>
                      <a:pt x="212" y="216"/>
                    </a:lnTo>
                    <a:lnTo>
                      <a:pt x="210" y="216"/>
                    </a:lnTo>
                    <a:lnTo>
                      <a:pt x="209" y="216"/>
                    </a:lnTo>
                    <a:lnTo>
                      <a:pt x="209" y="217"/>
                    </a:lnTo>
                    <a:lnTo>
                      <a:pt x="209" y="218"/>
                    </a:lnTo>
                    <a:lnTo>
                      <a:pt x="210" y="218"/>
                    </a:lnTo>
                    <a:lnTo>
                      <a:pt x="210" y="217"/>
                    </a:lnTo>
                    <a:lnTo>
                      <a:pt x="210" y="218"/>
                    </a:lnTo>
                    <a:lnTo>
                      <a:pt x="212" y="217"/>
                    </a:lnTo>
                    <a:lnTo>
                      <a:pt x="212" y="218"/>
                    </a:lnTo>
                    <a:lnTo>
                      <a:pt x="212" y="217"/>
                    </a:lnTo>
                    <a:lnTo>
                      <a:pt x="213" y="218"/>
                    </a:lnTo>
                    <a:lnTo>
                      <a:pt x="212" y="218"/>
                    </a:lnTo>
                    <a:lnTo>
                      <a:pt x="212" y="219"/>
                    </a:lnTo>
                    <a:lnTo>
                      <a:pt x="213" y="219"/>
                    </a:lnTo>
                    <a:lnTo>
                      <a:pt x="213" y="220"/>
                    </a:lnTo>
                    <a:lnTo>
                      <a:pt x="213" y="221"/>
                    </a:lnTo>
                    <a:lnTo>
                      <a:pt x="214" y="221"/>
                    </a:lnTo>
                    <a:lnTo>
                      <a:pt x="214" y="222"/>
                    </a:lnTo>
                    <a:lnTo>
                      <a:pt x="215" y="222"/>
                    </a:lnTo>
                    <a:lnTo>
                      <a:pt x="215" y="223"/>
                    </a:lnTo>
                    <a:lnTo>
                      <a:pt x="215" y="224"/>
                    </a:lnTo>
                    <a:lnTo>
                      <a:pt x="216" y="224"/>
                    </a:lnTo>
                    <a:lnTo>
                      <a:pt x="216" y="225"/>
                    </a:lnTo>
                    <a:lnTo>
                      <a:pt x="217" y="226"/>
                    </a:lnTo>
                    <a:lnTo>
                      <a:pt x="218" y="226"/>
                    </a:lnTo>
                    <a:lnTo>
                      <a:pt x="218" y="228"/>
                    </a:lnTo>
                    <a:lnTo>
                      <a:pt x="219" y="228"/>
                    </a:lnTo>
                    <a:lnTo>
                      <a:pt x="219" y="229"/>
                    </a:lnTo>
                    <a:lnTo>
                      <a:pt x="220" y="230"/>
                    </a:lnTo>
                    <a:lnTo>
                      <a:pt x="221" y="230"/>
                    </a:lnTo>
                    <a:lnTo>
                      <a:pt x="222" y="230"/>
                    </a:lnTo>
                    <a:lnTo>
                      <a:pt x="222" y="231"/>
                    </a:lnTo>
                    <a:lnTo>
                      <a:pt x="223" y="231"/>
                    </a:lnTo>
                    <a:lnTo>
                      <a:pt x="225" y="231"/>
                    </a:lnTo>
                    <a:lnTo>
                      <a:pt x="226" y="231"/>
                    </a:lnTo>
                    <a:lnTo>
                      <a:pt x="227" y="231"/>
                    </a:lnTo>
                    <a:lnTo>
                      <a:pt x="228" y="231"/>
                    </a:lnTo>
                    <a:lnTo>
                      <a:pt x="229" y="231"/>
                    </a:lnTo>
                    <a:lnTo>
                      <a:pt x="230" y="231"/>
                    </a:lnTo>
                    <a:lnTo>
                      <a:pt x="231" y="232"/>
                    </a:lnTo>
                    <a:lnTo>
                      <a:pt x="232" y="233"/>
                    </a:lnTo>
                    <a:lnTo>
                      <a:pt x="233" y="233"/>
                    </a:lnTo>
                    <a:lnTo>
                      <a:pt x="234" y="234"/>
                    </a:lnTo>
                    <a:lnTo>
                      <a:pt x="233" y="234"/>
                    </a:lnTo>
                    <a:lnTo>
                      <a:pt x="232" y="234"/>
                    </a:lnTo>
                    <a:lnTo>
                      <a:pt x="231" y="234"/>
                    </a:lnTo>
                    <a:lnTo>
                      <a:pt x="232" y="234"/>
                    </a:lnTo>
                    <a:lnTo>
                      <a:pt x="232" y="235"/>
                    </a:lnTo>
                    <a:lnTo>
                      <a:pt x="231" y="235"/>
                    </a:lnTo>
                    <a:lnTo>
                      <a:pt x="230" y="234"/>
                    </a:lnTo>
                    <a:lnTo>
                      <a:pt x="229" y="234"/>
                    </a:lnTo>
                    <a:lnTo>
                      <a:pt x="228" y="234"/>
                    </a:lnTo>
                    <a:lnTo>
                      <a:pt x="227" y="234"/>
                    </a:lnTo>
                    <a:lnTo>
                      <a:pt x="226" y="234"/>
                    </a:lnTo>
                    <a:lnTo>
                      <a:pt x="225" y="233"/>
                    </a:lnTo>
                    <a:lnTo>
                      <a:pt x="223" y="233"/>
                    </a:lnTo>
                    <a:lnTo>
                      <a:pt x="223" y="232"/>
                    </a:lnTo>
                    <a:lnTo>
                      <a:pt x="223" y="233"/>
                    </a:lnTo>
                    <a:lnTo>
                      <a:pt x="225" y="234"/>
                    </a:lnTo>
                    <a:lnTo>
                      <a:pt x="226" y="234"/>
                    </a:lnTo>
                    <a:lnTo>
                      <a:pt x="226" y="235"/>
                    </a:lnTo>
                    <a:lnTo>
                      <a:pt x="227" y="236"/>
                    </a:lnTo>
                    <a:lnTo>
                      <a:pt x="228" y="236"/>
                    </a:lnTo>
                    <a:lnTo>
                      <a:pt x="228" y="237"/>
                    </a:lnTo>
                    <a:lnTo>
                      <a:pt x="228" y="238"/>
                    </a:lnTo>
                    <a:lnTo>
                      <a:pt x="229" y="238"/>
                    </a:lnTo>
                    <a:lnTo>
                      <a:pt x="230" y="239"/>
                    </a:lnTo>
                    <a:lnTo>
                      <a:pt x="230" y="238"/>
                    </a:lnTo>
                    <a:lnTo>
                      <a:pt x="231" y="239"/>
                    </a:lnTo>
                    <a:lnTo>
                      <a:pt x="231" y="241"/>
                    </a:lnTo>
                    <a:lnTo>
                      <a:pt x="230" y="241"/>
                    </a:lnTo>
                    <a:lnTo>
                      <a:pt x="230" y="239"/>
                    </a:lnTo>
                    <a:lnTo>
                      <a:pt x="229" y="239"/>
                    </a:lnTo>
                    <a:lnTo>
                      <a:pt x="229" y="241"/>
                    </a:lnTo>
                    <a:lnTo>
                      <a:pt x="229" y="239"/>
                    </a:lnTo>
                    <a:lnTo>
                      <a:pt x="228" y="241"/>
                    </a:lnTo>
                    <a:lnTo>
                      <a:pt x="227" y="241"/>
                    </a:lnTo>
                    <a:lnTo>
                      <a:pt x="226" y="241"/>
                    </a:lnTo>
                    <a:lnTo>
                      <a:pt x="225" y="241"/>
                    </a:lnTo>
                    <a:lnTo>
                      <a:pt x="223" y="241"/>
                    </a:lnTo>
                    <a:lnTo>
                      <a:pt x="225" y="242"/>
                    </a:lnTo>
                    <a:lnTo>
                      <a:pt x="226" y="243"/>
                    </a:lnTo>
                    <a:lnTo>
                      <a:pt x="227" y="243"/>
                    </a:lnTo>
                    <a:lnTo>
                      <a:pt x="228" y="243"/>
                    </a:lnTo>
                    <a:lnTo>
                      <a:pt x="228" y="244"/>
                    </a:lnTo>
                    <a:lnTo>
                      <a:pt x="229" y="244"/>
                    </a:lnTo>
                    <a:lnTo>
                      <a:pt x="229" y="245"/>
                    </a:lnTo>
                    <a:lnTo>
                      <a:pt x="230" y="245"/>
                    </a:lnTo>
                    <a:lnTo>
                      <a:pt x="231" y="245"/>
                    </a:lnTo>
                    <a:lnTo>
                      <a:pt x="232" y="245"/>
                    </a:lnTo>
                    <a:lnTo>
                      <a:pt x="232" y="246"/>
                    </a:lnTo>
                    <a:lnTo>
                      <a:pt x="233" y="247"/>
                    </a:lnTo>
                    <a:lnTo>
                      <a:pt x="232" y="247"/>
                    </a:lnTo>
                    <a:lnTo>
                      <a:pt x="232" y="246"/>
                    </a:lnTo>
                    <a:lnTo>
                      <a:pt x="232" y="247"/>
                    </a:lnTo>
                    <a:lnTo>
                      <a:pt x="231" y="247"/>
                    </a:lnTo>
                    <a:lnTo>
                      <a:pt x="230" y="247"/>
                    </a:lnTo>
                    <a:lnTo>
                      <a:pt x="230" y="248"/>
                    </a:lnTo>
                    <a:lnTo>
                      <a:pt x="231" y="248"/>
                    </a:lnTo>
                    <a:lnTo>
                      <a:pt x="230" y="248"/>
                    </a:lnTo>
                    <a:lnTo>
                      <a:pt x="231" y="248"/>
                    </a:lnTo>
                    <a:lnTo>
                      <a:pt x="232" y="248"/>
                    </a:lnTo>
                    <a:lnTo>
                      <a:pt x="231" y="248"/>
                    </a:lnTo>
                    <a:lnTo>
                      <a:pt x="231" y="247"/>
                    </a:lnTo>
                    <a:lnTo>
                      <a:pt x="232" y="247"/>
                    </a:lnTo>
                    <a:lnTo>
                      <a:pt x="232" y="248"/>
                    </a:lnTo>
                    <a:lnTo>
                      <a:pt x="233" y="248"/>
                    </a:lnTo>
                    <a:lnTo>
                      <a:pt x="233" y="249"/>
                    </a:lnTo>
                    <a:lnTo>
                      <a:pt x="232" y="249"/>
                    </a:lnTo>
                    <a:lnTo>
                      <a:pt x="233" y="249"/>
                    </a:lnTo>
                    <a:lnTo>
                      <a:pt x="233" y="250"/>
                    </a:lnTo>
                    <a:lnTo>
                      <a:pt x="233" y="249"/>
                    </a:lnTo>
                    <a:lnTo>
                      <a:pt x="233" y="250"/>
                    </a:lnTo>
                    <a:lnTo>
                      <a:pt x="234" y="250"/>
                    </a:lnTo>
                    <a:lnTo>
                      <a:pt x="234" y="251"/>
                    </a:lnTo>
                    <a:lnTo>
                      <a:pt x="234" y="253"/>
                    </a:lnTo>
                    <a:lnTo>
                      <a:pt x="234" y="254"/>
                    </a:lnTo>
                    <a:lnTo>
                      <a:pt x="234" y="253"/>
                    </a:lnTo>
                    <a:lnTo>
                      <a:pt x="235" y="253"/>
                    </a:lnTo>
                    <a:lnTo>
                      <a:pt x="236" y="253"/>
                    </a:lnTo>
                    <a:lnTo>
                      <a:pt x="236" y="251"/>
                    </a:lnTo>
                    <a:lnTo>
                      <a:pt x="238" y="251"/>
                    </a:lnTo>
                    <a:lnTo>
                      <a:pt x="239" y="251"/>
                    </a:lnTo>
                    <a:lnTo>
                      <a:pt x="240" y="251"/>
                    </a:lnTo>
                    <a:lnTo>
                      <a:pt x="240" y="250"/>
                    </a:lnTo>
                    <a:lnTo>
                      <a:pt x="241" y="251"/>
                    </a:lnTo>
                    <a:lnTo>
                      <a:pt x="241" y="253"/>
                    </a:lnTo>
                    <a:lnTo>
                      <a:pt x="242" y="253"/>
                    </a:lnTo>
                    <a:lnTo>
                      <a:pt x="242" y="254"/>
                    </a:lnTo>
                    <a:lnTo>
                      <a:pt x="242" y="255"/>
                    </a:lnTo>
                    <a:lnTo>
                      <a:pt x="243" y="255"/>
                    </a:lnTo>
                    <a:lnTo>
                      <a:pt x="243" y="256"/>
                    </a:lnTo>
                    <a:lnTo>
                      <a:pt x="244" y="256"/>
                    </a:lnTo>
                    <a:lnTo>
                      <a:pt x="244" y="257"/>
                    </a:lnTo>
                    <a:lnTo>
                      <a:pt x="243" y="256"/>
                    </a:lnTo>
                    <a:lnTo>
                      <a:pt x="242" y="256"/>
                    </a:lnTo>
                    <a:lnTo>
                      <a:pt x="242" y="257"/>
                    </a:lnTo>
                    <a:lnTo>
                      <a:pt x="241" y="257"/>
                    </a:lnTo>
                    <a:lnTo>
                      <a:pt x="241" y="258"/>
                    </a:lnTo>
                    <a:lnTo>
                      <a:pt x="241" y="259"/>
                    </a:lnTo>
                    <a:lnTo>
                      <a:pt x="241" y="260"/>
                    </a:lnTo>
                    <a:lnTo>
                      <a:pt x="242" y="260"/>
                    </a:lnTo>
                    <a:lnTo>
                      <a:pt x="242" y="259"/>
                    </a:lnTo>
                    <a:lnTo>
                      <a:pt x="243" y="259"/>
                    </a:lnTo>
                    <a:lnTo>
                      <a:pt x="244" y="259"/>
                    </a:lnTo>
                    <a:lnTo>
                      <a:pt x="244" y="260"/>
                    </a:lnTo>
                    <a:lnTo>
                      <a:pt x="244" y="261"/>
                    </a:lnTo>
                    <a:lnTo>
                      <a:pt x="243" y="260"/>
                    </a:lnTo>
                    <a:lnTo>
                      <a:pt x="242" y="260"/>
                    </a:lnTo>
                    <a:lnTo>
                      <a:pt x="242" y="261"/>
                    </a:lnTo>
                    <a:lnTo>
                      <a:pt x="243" y="261"/>
                    </a:lnTo>
                    <a:lnTo>
                      <a:pt x="243" y="262"/>
                    </a:lnTo>
                    <a:lnTo>
                      <a:pt x="244" y="262"/>
                    </a:lnTo>
                    <a:lnTo>
                      <a:pt x="243" y="263"/>
                    </a:lnTo>
                    <a:lnTo>
                      <a:pt x="243" y="264"/>
                    </a:lnTo>
                    <a:lnTo>
                      <a:pt x="242" y="264"/>
                    </a:lnTo>
                    <a:lnTo>
                      <a:pt x="241" y="264"/>
                    </a:lnTo>
                    <a:lnTo>
                      <a:pt x="241" y="263"/>
                    </a:lnTo>
                    <a:lnTo>
                      <a:pt x="240" y="263"/>
                    </a:lnTo>
                    <a:lnTo>
                      <a:pt x="240" y="262"/>
                    </a:lnTo>
                    <a:lnTo>
                      <a:pt x="240" y="263"/>
                    </a:lnTo>
                    <a:lnTo>
                      <a:pt x="239" y="263"/>
                    </a:lnTo>
                    <a:lnTo>
                      <a:pt x="238" y="263"/>
                    </a:lnTo>
                    <a:lnTo>
                      <a:pt x="238" y="264"/>
                    </a:lnTo>
                    <a:lnTo>
                      <a:pt x="236" y="264"/>
                    </a:lnTo>
                    <a:lnTo>
                      <a:pt x="235" y="264"/>
                    </a:lnTo>
                    <a:lnTo>
                      <a:pt x="235" y="266"/>
                    </a:lnTo>
                    <a:lnTo>
                      <a:pt x="235" y="264"/>
                    </a:lnTo>
                    <a:lnTo>
                      <a:pt x="236" y="264"/>
                    </a:lnTo>
                    <a:lnTo>
                      <a:pt x="236" y="263"/>
                    </a:lnTo>
                    <a:lnTo>
                      <a:pt x="238" y="263"/>
                    </a:lnTo>
                    <a:lnTo>
                      <a:pt x="236" y="262"/>
                    </a:lnTo>
                    <a:lnTo>
                      <a:pt x="235" y="261"/>
                    </a:lnTo>
                    <a:lnTo>
                      <a:pt x="235" y="262"/>
                    </a:lnTo>
                    <a:lnTo>
                      <a:pt x="234" y="262"/>
                    </a:lnTo>
                    <a:lnTo>
                      <a:pt x="234" y="261"/>
                    </a:lnTo>
                    <a:lnTo>
                      <a:pt x="233" y="261"/>
                    </a:lnTo>
                    <a:lnTo>
                      <a:pt x="233" y="262"/>
                    </a:lnTo>
                    <a:lnTo>
                      <a:pt x="234" y="262"/>
                    </a:lnTo>
                    <a:lnTo>
                      <a:pt x="233" y="262"/>
                    </a:lnTo>
                    <a:lnTo>
                      <a:pt x="232" y="262"/>
                    </a:lnTo>
                    <a:lnTo>
                      <a:pt x="231" y="262"/>
                    </a:lnTo>
                    <a:lnTo>
                      <a:pt x="231" y="261"/>
                    </a:lnTo>
                    <a:lnTo>
                      <a:pt x="230" y="262"/>
                    </a:lnTo>
                    <a:lnTo>
                      <a:pt x="231" y="262"/>
                    </a:lnTo>
                    <a:lnTo>
                      <a:pt x="231" y="263"/>
                    </a:lnTo>
                    <a:lnTo>
                      <a:pt x="232" y="263"/>
                    </a:lnTo>
                    <a:lnTo>
                      <a:pt x="232" y="264"/>
                    </a:lnTo>
                    <a:lnTo>
                      <a:pt x="232" y="263"/>
                    </a:lnTo>
                    <a:lnTo>
                      <a:pt x="233" y="263"/>
                    </a:lnTo>
                    <a:lnTo>
                      <a:pt x="233" y="264"/>
                    </a:lnTo>
                    <a:lnTo>
                      <a:pt x="234" y="264"/>
                    </a:lnTo>
                    <a:lnTo>
                      <a:pt x="233" y="264"/>
                    </a:lnTo>
                    <a:lnTo>
                      <a:pt x="233" y="266"/>
                    </a:lnTo>
                    <a:lnTo>
                      <a:pt x="234" y="266"/>
                    </a:lnTo>
                    <a:lnTo>
                      <a:pt x="235" y="266"/>
                    </a:lnTo>
                    <a:lnTo>
                      <a:pt x="236" y="266"/>
                    </a:lnTo>
                    <a:lnTo>
                      <a:pt x="236" y="264"/>
                    </a:lnTo>
                    <a:lnTo>
                      <a:pt x="238" y="264"/>
                    </a:lnTo>
                    <a:lnTo>
                      <a:pt x="239" y="264"/>
                    </a:lnTo>
                    <a:lnTo>
                      <a:pt x="240" y="264"/>
                    </a:lnTo>
                    <a:lnTo>
                      <a:pt x="239" y="264"/>
                    </a:lnTo>
                    <a:lnTo>
                      <a:pt x="239" y="266"/>
                    </a:lnTo>
                    <a:lnTo>
                      <a:pt x="238" y="266"/>
                    </a:lnTo>
                    <a:lnTo>
                      <a:pt x="239" y="266"/>
                    </a:lnTo>
                    <a:lnTo>
                      <a:pt x="240" y="266"/>
                    </a:lnTo>
                    <a:lnTo>
                      <a:pt x="241" y="266"/>
                    </a:lnTo>
                    <a:lnTo>
                      <a:pt x="238" y="267"/>
                    </a:lnTo>
                    <a:lnTo>
                      <a:pt x="236" y="267"/>
                    </a:lnTo>
                    <a:lnTo>
                      <a:pt x="234" y="268"/>
                    </a:lnTo>
                    <a:lnTo>
                      <a:pt x="233" y="268"/>
                    </a:lnTo>
                    <a:lnTo>
                      <a:pt x="232" y="268"/>
                    </a:lnTo>
                    <a:lnTo>
                      <a:pt x="232" y="269"/>
                    </a:lnTo>
                    <a:lnTo>
                      <a:pt x="233" y="269"/>
                    </a:lnTo>
                    <a:lnTo>
                      <a:pt x="233" y="270"/>
                    </a:lnTo>
                    <a:lnTo>
                      <a:pt x="234" y="270"/>
                    </a:lnTo>
                    <a:lnTo>
                      <a:pt x="233" y="270"/>
                    </a:lnTo>
                    <a:lnTo>
                      <a:pt x="233" y="269"/>
                    </a:lnTo>
                    <a:lnTo>
                      <a:pt x="233" y="270"/>
                    </a:lnTo>
                    <a:lnTo>
                      <a:pt x="234" y="270"/>
                    </a:lnTo>
                    <a:lnTo>
                      <a:pt x="235" y="270"/>
                    </a:lnTo>
                    <a:lnTo>
                      <a:pt x="236" y="269"/>
                    </a:lnTo>
                    <a:lnTo>
                      <a:pt x="238" y="269"/>
                    </a:lnTo>
                    <a:lnTo>
                      <a:pt x="239" y="269"/>
                    </a:lnTo>
                    <a:lnTo>
                      <a:pt x="240" y="270"/>
                    </a:lnTo>
                    <a:lnTo>
                      <a:pt x="240" y="271"/>
                    </a:lnTo>
                    <a:lnTo>
                      <a:pt x="239" y="271"/>
                    </a:lnTo>
                    <a:lnTo>
                      <a:pt x="238" y="271"/>
                    </a:lnTo>
                    <a:lnTo>
                      <a:pt x="238" y="272"/>
                    </a:lnTo>
                    <a:lnTo>
                      <a:pt x="238" y="273"/>
                    </a:lnTo>
                    <a:lnTo>
                      <a:pt x="239" y="272"/>
                    </a:lnTo>
                    <a:lnTo>
                      <a:pt x="240" y="272"/>
                    </a:lnTo>
                    <a:lnTo>
                      <a:pt x="241" y="272"/>
                    </a:lnTo>
                    <a:lnTo>
                      <a:pt x="242" y="272"/>
                    </a:lnTo>
                    <a:lnTo>
                      <a:pt x="243" y="272"/>
                    </a:lnTo>
                    <a:lnTo>
                      <a:pt x="243" y="273"/>
                    </a:lnTo>
                    <a:lnTo>
                      <a:pt x="244" y="274"/>
                    </a:lnTo>
                    <a:lnTo>
                      <a:pt x="245" y="274"/>
                    </a:lnTo>
                    <a:lnTo>
                      <a:pt x="246" y="274"/>
                    </a:lnTo>
                    <a:lnTo>
                      <a:pt x="246" y="275"/>
                    </a:lnTo>
                    <a:lnTo>
                      <a:pt x="247" y="275"/>
                    </a:lnTo>
                    <a:lnTo>
                      <a:pt x="247" y="276"/>
                    </a:lnTo>
                    <a:lnTo>
                      <a:pt x="247" y="277"/>
                    </a:lnTo>
                    <a:lnTo>
                      <a:pt x="248" y="277"/>
                    </a:lnTo>
                    <a:lnTo>
                      <a:pt x="249" y="277"/>
                    </a:lnTo>
                    <a:lnTo>
                      <a:pt x="251" y="277"/>
                    </a:lnTo>
                    <a:lnTo>
                      <a:pt x="251" y="279"/>
                    </a:lnTo>
                    <a:lnTo>
                      <a:pt x="252" y="279"/>
                    </a:lnTo>
                    <a:lnTo>
                      <a:pt x="253" y="277"/>
                    </a:lnTo>
                    <a:lnTo>
                      <a:pt x="253" y="279"/>
                    </a:lnTo>
                    <a:lnTo>
                      <a:pt x="254" y="277"/>
                    </a:lnTo>
                    <a:lnTo>
                      <a:pt x="255" y="277"/>
                    </a:lnTo>
                    <a:lnTo>
                      <a:pt x="255" y="279"/>
                    </a:lnTo>
                    <a:lnTo>
                      <a:pt x="256" y="279"/>
                    </a:lnTo>
                    <a:lnTo>
                      <a:pt x="255" y="277"/>
                    </a:lnTo>
                    <a:lnTo>
                      <a:pt x="254" y="277"/>
                    </a:lnTo>
                    <a:lnTo>
                      <a:pt x="253" y="277"/>
                    </a:lnTo>
                    <a:lnTo>
                      <a:pt x="252" y="277"/>
                    </a:lnTo>
                    <a:lnTo>
                      <a:pt x="252" y="276"/>
                    </a:lnTo>
                    <a:lnTo>
                      <a:pt x="251" y="276"/>
                    </a:lnTo>
                    <a:lnTo>
                      <a:pt x="252" y="275"/>
                    </a:lnTo>
                    <a:lnTo>
                      <a:pt x="253" y="275"/>
                    </a:lnTo>
                    <a:lnTo>
                      <a:pt x="253" y="276"/>
                    </a:lnTo>
                    <a:lnTo>
                      <a:pt x="254" y="275"/>
                    </a:lnTo>
                    <a:lnTo>
                      <a:pt x="255" y="275"/>
                    </a:lnTo>
                    <a:lnTo>
                      <a:pt x="256" y="275"/>
                    </a:lnTo>
                    <a:lnTo>
                      <a:pt x="257" y="275"/>
                    </a:lnTo>
                    <a:lnTo>
                      <a:pt x="258" y="275"/>
                    </a:lnTo>
                    <a:lnTo>
                      <a:pt x="258" y="274"/>
                    </a:lnTo>
                    <a:lnTo>
                      <a:pt x="259" y="274"/>
                    </a:lnTo>
                    <a:lnTo>
                      <a:pt x="260" y="274"/>
                    </a:lnTo>
                    <a:lnTo>
                      <a:pt x="259" y="275"/>
                    </a:lnTo>
                    <a:lnTo>
                      <a:pt x="258" y="275"/>
                    </a:lnTo>
                    <a:lnTo>
                      <a:pt x="259" y="276"/>
                    </a:lnTo>
                    <a:lnTo>
                      <a:pt x="258" y="276"/>
                    </a:lnTo>
                    <a:lnTo>
                      <a:pt x="259" y="276"/>
                    </a:lnTo>
                    <a:lnTo>
                      <a:pt x="259" y="277"/>
                    </a:lnTo>
                    <a:lnTo>
                      <a:pt x="260" y="277"/>
                    </a:lnTo>
                    <a:lnTo>
                      <a:pt x="261" y="277"/>
                    </a:lnTo>
                    <a:lnTo>
                      <a:pt x="261" y="279"/>
                    </a:lnTo>
                    <a:lnTo>
                      <a:pt x="262" y="279"/>
                    </a:lnTo>
                    <a:lnTo>
                      <a:pt x="261" y="279"/>
                    </a:lnTo>
                    <a:lnTo>
                      <a:pt x="260" y="279"/>
                    </a:lnTo>
                    <a:lnTo>
                      <a:pt x="260" y="277"/>
                    </a:lnTo>
                    <a:lnTo>
                      <a:pt x="260" y="279"/>
                    </a:lnTo>
                    <a:lnTo>
                      <a:pt x="260" y="277"/>
                    </a:lnTo>
                    <a:lnTo>
                      <a:pt x="259" y="277"/>
                    </a:lnTo>
                    <a:lnTo>
                      <a:pt x="259" y="276"/>
                    </a:lnTo>
                    <a:lnTo>
                      <a:pt x="258" y="276"/>
                    </a:lnTo>
                    <a:lnTo>
                      <a:pt x="258" y="277"/>
                    </a:lnTo>
                    <a:lnTo>
                      <a:pt x="259" y="277"/>
                    </a:lnTo>
                    <a:lnTo>
                      <a:pt x="259" y="279"/>
                    </a:lnTo>
                    <a:lnTo>
                      <a:pt x="260" y="279"/>
                    </a:lnTo>
                    <a:lnTo>
                      <a:pt x="260" y="280"/>
                    </a:lnTo>
                    <a:lnTo>
                      <a:pt x="260" y="281"/>
                    </a:lnTo>
                    <a:lnTo>
                      <a:pt x="261" y="281"/>
                    </a:lnTo>
                    <a:lnTo>
                      <a:pt x="261" y="282"/>
                    </a:lnTo>
                    <a:lnTo>
                      <a:pt x="262" y="283"/>
                    </a:lnTo>
                    <a:lnTo>
                      <a:pt x="262" y="284"/>
                    </a:lnTo>
                    <a:lnTo>
                      <a:pt x="264" y="284"/>
                    </a:lnTo>
                    <a:lnTo>
                      <a:pt x="265" y="284"/>
                    </a:lnTo>
                    <a:lnTo>
                      <a:pt x="265" y="285"/>
                    </a:lnTo>
                    <a:lnTo>
                      <a:pt x="265" y="284"/>
                    </a:lnTo>
                    <a:lnTo>
                      <a:pt x="266" y="284"/>
                    </a:lnTo>
                    <a:lnTo>
                      <a:pt x="266" y="283"/>
                    </a:lnTo>
                    <a:lnTo>
                      <a:pt x="266" y="282"/>
                    </a:lnTo>
                    <a:lnTo>
                      <a:pt x="267" y="283"/>
                    </a:lnTo>
                    <a:lnTo>
                      <a:pt x="268" y="283"/>
                    </a:lnTo>
                    <a:lnTo>
                      <a:pt x="268" y="284"/>
                    </a:lnTo>
                    <a:lnTo>
                      <a:pt x="268" y="285"/>
                    </a:lnTo>
                    <a:lnTo>
                      <a:pt x="269" y="285"/>
                    </a:lnTo>
                    <a:lnTo>
                      <a:pt x="270" y="285"/>
                    </a:lnTo>
                    <a:lnTo>
                      <a:pt x="270" y="286"/>
                    </a:lnTo>
                    <a:lnTo>
                      <a:pt x="271" y="286"/>
                    </a:lnTo>
                    <a:lnTo>
                      <a:pt x="272" y="286"/>
                    </a:lnTo>
                    <a:lnTo>
                      <a:pt x="273" y="286"/>
                    </a:lnTo>
                    <a:lnTo>
                      <a:pt x="272" y="286"/>
                    </a:lnTo>
                    <a:lnTo>
                      <a:pt x="273" y="285"/>
                    </a:lnTo>
                    <a:lnTo>
                      <a:pt x="273" y="286"/>
                    </a:lnTo>
                    <a:lnTo>
                      <a:pt x="274" y="286"/>
                    </a:lnTo>
                    <a:lnTo>
                      <a:pt x="274" y="285"/>
                    </a:lnTo>
                    <a:lnTo>
                      <a:pt x="274" y="286"/>
                    </a:lnTo>
                    <a:lnTo>
                      <a:pt x="274" y="285"/>
                    </a:lnTo>
                    <a:lnTo>
                      <a:pt x="276" y="285"/>
                    </a:lnTo>
                    <a:lnTo>
                      <a:pt x="274" y="285"/>
                    </a:lnTo>
                    <a:lnTo>
                      <a:pt x="274" y="284"/>
                    </a:lnTo>
                    <a:lnTo>
                      <a:pt x="273" y="284"/>
                    </a:lnTo>
                    <a:lnTo>
                      <a:pt x="272" y="284"/>
                    </a:lnTo>
                    <a:lnTo>
                      <a:pt x="272" y="285"/>
                    </a:lnTo>
                    <a:lnTo>
                      <a:pt x="272" y="286"/>
                    </a:lnTo>
                    <a:lnTo>
                      <a:pt x="271" y="285"/>
                    </a:lnTo>
                    <a:lnTo>
                      <a:pt x="272" y="285"/>
                    </a:lnTo>
                    <a:lnTo>
                      <a:pt x="271" y="285"/>
                    </a:lnTo>
                    <a:lnTo>
                      <a:pt x="271" y="284"/>
                    </a:lnTo>
                    <a:lnTo>
                      <a:pt x="272" y="284"/>
                    </a:lnTo>
                    <a:lnTo>
                      <a:pt x="273" y="284"/>
                    </a:lnTo>
                    <a:lnTo>
                      <a:pt x="274" y="284"/>
                    </a:lnTo>
                    <a:lnTo>
                      <a:pt x="274" y="285"/>
                    </a:lnTo>
                    <a:lnTo>
                      <a:pt x="276" y="285"/>
                    </a:lnTo>
                    <a:lnTo>
                      <a:pt x="277" y="285"/>
                    </a:lnTo>
                    <a:lnTo>
                      <a:pt x="278" y="286"/>
                    </a:lnTo>
                    <a:lnTo>
                      <a:pt x="277" y="286"/>
                    </a:lnTo>
                    <a:lnTo>
                      <a:pt x="277" y="287"/>
                    </a:lnTo>
                    <a:lnTo>
                      <a:pt x="276" y="287"/>
                    </a:lnTo>
                    <a:lnTo>
                      <a:pt x="274" y="287"/>
                    </a:lnTo>
                    <a:lnTo>
                      <a:pt x="273" y="287"/>
                    </a:lnTo>
                    <a:lnTo>
                      <a:pt x="273" y="288"/>
                    </a:lnTo>
                    <a:lnTo>
                      <a:pt x="272" y="288"/>
                    </a:lnTo>
                    <a:lnTo>
                      <a:pt x="272" y="289"/>
                    </a:lnTo>
                    <a:lnTo>
                      <a:pt x="272" y="290"/>
                    </a:lnTo>
                    <a:lnTo>
                      <a:pt x="273" y="290"/>
                    </a:lnTo>
                    <a:lnTo>
                      <a:pt x="273" y="292"/>
                    </a:lnTo>
                    <a:lnTo>
                      <a:pt x="274" y="292"/>
                    </a:lnTo>
                    <a:lnTo>
                      <a:pt x="274" y="293"/>
                    </a:lnTo>
                    <a:lnTo>
                      <a:pt x="276" y="293"/>
                    </a:lnTo>
                    <a:lnTo>
                      <a:pt x="276" y="294"/>
                    </a:lnTo>
                    <a:lnTo>
                      <a:pt x="277" y="294"/>
                    </a:lnTo>
                    <a:lnTo>
                      <a:pt x="278" y="294"/>
                    </a:lnTo>
                    <a:lnTo>
                      <a:pt x="278" y="293"/>
                    </a:lnTo>
                    <a:lnTo>
                      <a:pt x="279" y="293"/>
                    </a:lnTo>
                    <a:lnTo>
                      <a:pt x="280" y="293"/>
                    </a:lnTo>
                    <a:lnTo>
                      <a:pt x="281" y="293"/>
                    </a:lnTo>
                    <a:lnTo>
                      <a:pt x="281" y="292"/>
                    </a:lnTo>
                    <a:lnTo>
                      <a:pt x="281" y="290"/>
                    </a:lnTo>
                    <a:lnTo>
                      <a:pt x="282" y="290"/>
                    </a:lnTo>
                    <a:lnTo>
                      <a:pt x="283" y="290"/>
                    </a:lnTo>
                    <a:lnTo>
                      <a:pt x="284" y="290"/>
                    </a:lnTo>
                    <a:lnTo>
                      <a:pt x="284" y="289"/>
                    </a:lnTo>
                    <a:lnTo>
                      <a:pt x="284" y="290"/>
                    </a:lnTo>
                    <a:lnTo>
                      <a:pt x="284" y="292"/>
                    </a:lnTo>
                    <a:lnTo>
                      <a:pt x="285" y="293"/>
                    </a:lnTo>
                    <a:lnTo>
                      <a:pt x="286" y="292"/>
                    </a:lnTo>
                    <a:lnTo>
                      <a:pt x="286" y="293"/>
                    </a:lnTo>
                    <a:lnTo>
                      <a:pt x="287" y="293"/>
                    </a:lnTo>
                    <a:lnTo>
                      <a:pt x="289" y="292"/>
                    </a:lnTo>
                    <a:lnTo>
                      <a:pt x="287" y="293"/>
                    </a:lnTo>
                    <a:lnTo>
                      <a:pt x="289" y="293"/>
                    </a:lnTo>
                    <a:lnTo>
                      <a:pt x="290" y="292"/>
                    </a:lnTo>
                    <a:lnTo>
                      <a:pt x="290" y="290"/>
                    </a:lnTo>
                    <a:lnTo>
                      <a:pt x="289" y="290"/>
                    </a:lnTo>
                    <a:lnTo>
                      <a:pt x="290" y="290"/>
                    </a:lnTo>
                    <a:lnTo>
                      <a:pt x="291" y="290"/>
                    </a:lnTo>
                    <a:lnTo>
                      <a:pt x="292" y="290"/>
                    </a:lnTo>
                    <a:lnTo>
                      <a:pt x="291" y="290"/>
                    </a:lnTo>
                    <a:lnTo>
                      <a:pt x="292" y="290"/>
                    </a:lnTo>
                    <a:lnTo>
                      <a:pt x="292" y="289"/>
                    </a:lnTo>
                    <a:lnTo>
                      <a:pt x="293" y="289"/>
                    </a:lnTo>
                    <a:lnTo>
                      <a:pt x="294" y="289"/>
                    </a:lnTo>
                    <a:lnTo>
                      <a:pt x="295" y="289"/>
                    </a:lnTo>
                    <a:lnTo>
                      <a:pt x="296" y="289"/>
                    </a:lnTo>
                    <a:lnTo>
                      <a:pt x="296" y="290"/>
                    </a:lnTo>
                    <a:lnTo>
                      <a:pt x="297" y="290"/>
                    </a:lnTo>
                    <a:lnTo>
                      <a:pt x="297" y="289"/>
                    </a:lnTo>
                    <a:lnTo>
                      <a:pt x="298" y="289"/>
                    </a:lnTo>
                    <a:lnTo>
                      <a:pt x="299" y="289"/>
                    </a:lnTo>
                    <a:lnTo>
                      <a:pt x="298" y="289"/>
                    </a:lnTo>
                    <a:lnTo>
                      <a:pt x="298" y="290"/>
                    </a:lnTo>
                    <a:lnTo>
                      <a:pt x="299" y="290"/>
                    </a:lnTo>
                    <a:lnTo>
                      <a:pt x="298" y="292"/>
                    </a:lnTo>
                    <a:lnTo>
                      <a:pt x="298" y="293"/>
                    </a:lnTo>
                    <a:lnTo>
                      <a:pt x="298" y="292"/>
                    </a:lnTo>
                    <a:lnTo>
                      <a:pt x="297" y="292"/>
                    </a:lnTo>
                    <a:lnTo>
                      <a:pt x="296" y="292"/>
                    </a:lnTo>
                    <a:lnTo>
                      <a:pt x="296" y="290"/>
                    </a:lnTo>
                    <a:lnTo>
                      <a:pt x="296" y="292"/>
                    </a:lnTo>
                    <a:lnTo>
                      <a:pt x="295" y="292"/>
                    </a:lnTo>
                    <a:lnTo>
                      <a:pt x="295" y="290"/>
                    </a:lnTo>
                    <a:lnTo>
                      <a:pt x="294" y="290"/>
                    </a:lnTo>
                    <a:lnTo>
                      <a:pt x="293" y="290"/>
                    </a:lnTo>
                    <a:lnTo>
                      <a:pt x="293" y="292"/>
                    </a:lnTo>
                    <a:lnTo>
                      <a:pt x="294" y="292"/>
                    </a:lnTo>
                    <a:lnTo>
                      <a:pt x="295" y="292"/>
                    </a:lnTo>
                    <a:lnTo>
                      <a:pt x="296" y="292"/>
                    </a:lnTo>
                    <a:lnTo>
                      <a:pt x="296" y="293"/>
                    </a:lnTo>
                    <a:lnTo>
                      <a:pt x="297" y="293"/>
                    </a:lnTo>
                    <a:lnTo>
                      <a:pt x="296" y="293"/>
                    </a:lnTo>
                    <a:lnTo>
                      <a:pt x="296" y="294"/>
                    </a:lnTo>
                    <a:lnTo>
                      <a:pt x="296" y="293"/>
                    </a:lnTo>
                    <a:lnTo>
                      <a:pt x="295" y="294"/>
                    </a:lnTo>
                    <a:lnTo>
                      <a:pt x="295" y="293"/>
                    </a:lnTo>
                    <a:lnTo>
                      <a:pt x="294" y="293"/>
                    </a:lnTo>
                    <a:lnTo>
                      <a:pt x="294" y="292"/>
                    </a:lnTo>
                    <a:lnTo>
                      <a:pt x="293" y="293"/>
                    </a:lnTo>
                    <a:lnTo>
                      <a:pt x="293" y="292"/>
                    </a:lnTo>
                    <a:lnTo>
                      <a:pt x="292" y="292"/>
                    </a:lnTo>
                    <a:lnTo>
                      <a:pt x="292" y="293"/>
                    </a:lnTo>
                    <a:lnTo>
                      <a:pt x="293" y="293"/>
                    </a:lnTo>
                    <a:lnTo>
                      <a:pt x="294" y="293"/>
                    </a:lnTo>
                    <a:lnTo>
                      <a:pt x="294" y="294"/>
                    </a:lnTo>
                    <a:lnTo>
                      <a:pt x="295" y="294"/>
                    </a:lnTo>
                    <a:lnTo>
                      <a:pt x="296" y="294"/>
                    </a:lnTo>
                    <a:lnTo>
                      <a:pt x="296" y="295"/>
                    </a:lnTo>
                    <a:lnTo>
                      <a:pt x="295" y="295"/>
                    </a:lnTo>
                    <a:lnTo>
                      <a:pt x="294" y="295"/>
                    </a:lnTo>
                    <a:lnTo>
                      <a:pt x="295" y="295"/>
                    </a:lnTo>
                    <a:lnTo>
                      <a:pt x="295" y="296"/>
                    </a:lnTo>
                    <a:lnTo>
                      <a:pt x="295" y="295"/>
                    </a:lnTo>
                    <a:lnTo>
                      <a:pt x="296" y="296"/>
                    </a:lnTo>
                    <a:lnTo>
                      <a:pt x="295" y="296"/>
                    </a:lnTo>
                    <a:lnTo>
                      <a:pt x="295" y="297"/>
                    </a:lnTo>
                    <a:lnTo>
                      <a:pt x="295" y="298"/>
                    </a:lnTo>
                    <a:lnTo>
                      <a:pt x="295" y="299"/>
                    </a:lnTo>
                    <a:lnTo>
                      <a:pt x="296" y="300"/>
                    </a:lnTo>
                    <a:lnTo>
                      <a:pt x="297" y="300"/>
                    </a:lnTo>
                    <a:lnTo>
                      <a:pt x="298" y="300"/>
                    </a:lnTo>
                    <a:lnTo>
                      <a:pt x="298" y="299"/>
                    </a:lnTo>
                    <a:lnTo>
                      <a:pt x="299" y="299"/>
                    </a:lnTo>
                    <a:lnTo>
                      <a:pt x="299" y="300"/>
                    </a:lnTo>
                    <a:lnTo>
                      <a:pt x="299" y="301"/>
                    </a:lnTo>
                    <a:lnTo>
                      <a:pt x="299" y="302"/>
                    </a:lnTo>
                    <a:lnTo>
                      <a:pt x="300" y="302"/>
                    </a:lnTo>
                    <a:lnTo>
                      <a:pt x="302" y="302"/>
                    </a:lnTo>
                    <a:lnTo>
                      <a:pt x="302" y="303"/>
                    </a:lnTo>
                    <a:lnTo>
                      <a:pt x="300" y="303"/>
                    </a:lnTo>
                    <a:lnTo>
                      <a:pt x="299" y="302"/>
                    </a:lnTo>
                    <a:lnTo>
                      <a:pt x="299" y="303"/>
                    </a:lnTo>
                    <a:lnTo>
                      <a:pt x="299" y="302"/>
                    </a:lnTo>
                    <a:lnTo>
                      <a:pt x="298" y="302"/>
                    </a:lnTo>
                    <a:lnTo>
                      <a:pt x="298" y="303"/>
                    </a:lnTo>
                    <a:lnTo>
                      <a:pt x="299" y="305"/>
                    </a:lnTo>
                    <a:lnTo>
                      <a:pt x="300" y="305"/>
                    </a:lnTo>
                    <a:lnTo>
                      <a:pt x="300" y="306"/>
                    </a:lnTo>
                    <a:lnTo>
                      <a:pt x="302" y="306"/>
                    </a:lnTo>
                    <a:lnTo>
                      <a:pt x="303" y="306"/>
                    </a:lnTo>
                    <a:lnTo>
                      <a:pt x="303" y="307"/>
                    </a:lnTo>
                    <a:lnTo>
                      <a:pt x="303" y="308"/>
                    </a:lnTo>
                    <a:lnTo>
                      <a:pt x="304" y="308"/>
                    </a:lnTo>
                    <a:lnTo>
                      <a:pt x="304" y="309"/>
                    </a:lnTo>
                    <a:lnTo>
                      <a:pt x="305" y="309"/>
                    </a:lnTo>
                    <a:lnTo>
                      <a:pt x="305" y="310"/>
                    </a:lnTo>
                    <a:lnTo>
                      <a:pt x="306" y="310"/>
                    </a:lnTo>
                    <a:lnTo>
                      <a:pt x="306" y="311"/>
                    </a:lnTo>
                    <a:lnTo>
                      <a:pt x="307" y="311"/>
                    </a:lnTo>
                    <a:lnTo>
                      <a:pt x="307" y="310"/>
                    </a:lnTo>
                    <a:lnTo>
                      <a:pt x="307" y="311"/>
                    </a:lnTo>
                    <a:lnTo>
                      <a:pt x="308" y="311"/>
                    </a:lnTo>
                    <a:lnTo>
                      <a:pt x="307" y="311"/>
                    </a:lnTo>
                    <a:lnTo>
                      <a:pt x="307" y="310"/>
                    </a:lnTo>
                    <a:lnTo>
                      <a:pt x="308" y="310"/>
                    </a:lnTo>
                    <a:lnTo>
                      <a:pt x="308" y="309"/>
                    </a:lnTo>
                    <a:lnTo>
                      <a:pt x="307" y="309"/>
                    </a:lnTo>
                    <a:lnTo>
                      <a:pt x="307" y="308"/>
                    </a:lnTo>
                    <a:lnTo>
                      <a:pt x="308" y="308"/>
                    </a:lnTo>
                    <a:lnTo>
                      <a:pt x="307" y="308"/>
                    </a:lnTo>
                    <a:lnTo>
                      <a:pt x="307" y="307"/>
                    </a:lnTo>
                    <a:lnTo>
                      <a:pt x="307" y="308"/>
                    </a:lnTo>
                    <a:lnTo>
                      <a:pt x="307" y="307"/>
                    </a:lnTo>
                    <a:lnTo>
                      <a:pt x="308" y="307"/>
                    </a:lnTo>
                    <a:lnTo>
                      <a:pt x="308" y="306"/>
                    </a:lnTo>
                    <a:lnTo>
                      <a:pt x="307" y="306"/>
                    </a:lnTo>
                    <a:lnTo>
                      <a:pt x="308" y="306"/>
                    </a:lnTo>
                    <a:lnTo>
                      <a:pt x="308" y="305"/>
                    </a:lnTo>
                    <a:lnTo>
                      <a:pt x="307" y="305"/>
                    </a:lnTo>
                    <a:lnTo>
                      <a:pt x="306" y="305"/>
                    </a:lnTo>
                    <a:lnTo>
                      <a:pt x="306" y="306"/>
                    </a:lnTo>
                    <a:lnTo>
                      <a:pt x="307" y="306"/>
                    </a:lnTo>
                    <a:lnTo>
                      <a:pt x="306" y="306"/>
                    </a:lnTo>
                    <a:lnTo>
                      <a:pt x="306" y="305"/>
                    </a:lnTo>
                    <a:lnTo>
                      <a:pt x="307" y="305"/>
                    </a:lnTo>
                    <a:lnTo>
                      <a:pt x="307" y="303"/>
                    </a:lnTo>
                    <a:lnTo>
                      <a:pt x="306" y="303"/>
                    </a:lnTo>
                    <a:lnTo>
                      <a:pt x="306" y="302"/>
                    </a:lnTo>
                    <a:lnTo>
                      <a:pt x="307" y="302"/>
                    </a:lnTo>
                    <a:lnTo>
                      <a:pt x="307" y="301"/>
                    </a:lnTo>
                    <a:lnTo>
                      <a:pt x="307" y="302"/>
                    </a:lnTo>
                    <a:lnTo>
                      <a:pt x="308" y="302"/>
                    </a:lnTo>
                    <a:lnTo>
                      <a:pt x="308" y="303"/>
                    </a:lnTo>
                    <a:lnTo>
                      <a:pt x="309" y="303"/>
                    </a:lnTo>
                    <a:lnTo>
                      <a:pt x="309" y="305"/>
                    </a:lnTo>
                    <a:lnTo>
                      <a:pt x="310" y="306"/>
                    </a:lnTo>
                    <a:lnTo>
                      <a:pt x="311" y="306"/>
                    </a:lnTo>
                    <a:lnTo>
                      <a:pt x="312" y="307"/>
                    </a:lnTo>
                    <a:lnTo>
                      <a:pt x="312" y="308"/>
                    </a:lnTo>
                    <a:lnTo>
                      <a:pt x="312" y="309"/>
                    </a:lnTo>
                    <a:lnTo>
                      <a:pt x="312" y="310"/>
                    </a:lnTo>
                    <a:lnTo>
                      <a:pt x="313" y="310"/>
                    </a:lnTo>
                    <a:lnTo>
                      <a:pt x="313" y="311"/>
                    </a:lnTo>
                    <a:lnTo>
                      <a:pt x="313" y="312"/>
                    </a:lnTo>
                    <a:lnTo>
                      <a:pt x="313" y="313"/>
                    </a:lnTo>
                    <a:lnTo>
                      <a:pt x="313" y="314"/>
                    </a:lnTo>
                    <a:lnTo>
                      <a:pt x="315" y="314"/>
                    </a:lnTo>
                    <a:lnTo>
                      <a:pt x="316" y="314"/>
                    </a:lnTo>
                    <a:lnTo>
                      <a:pt x="316" y="313"/>
                    </a:lnTo>
                    <a:lnTo>
                      <a:pt x="316" y="314"/>
                    </a:lnTo>
                    <a:lnTo>
                      <a:pt x="317" y="314"/>
                    </a:lnTo>
                    <a:lnTo>
                      <a:pt x="318" y="314"/>
                    </a:lnTo>
                    <a:lnTo>
                      <a:pt x="318" y="313"/>
                    </a:lnTo>
                    <a:lnTo>
                      <a:pt x="318" y="312"/>
                    </a:lnTo>
                    <a:lnTo>
                      <a:pt x="319" y="311"/>
                    </a:lnTo>
                    <a:lnTo>
                      <a:pt x="318" y="311"/>
                    </a:lnTo>
                    <a:lnTo>
                      <a:pt x="319" y="311"/>
                    </a:lnTo>
                    <a:lnTo>
                      <a:pt x="320" y="311"/>
                    </a:lnTo>
                    <a:lnTo>
                      <a:pt x="320" y="310"/>
                    </a:lnTo>
                    <a:lnTo>
                      <a:pt x="321" y="310"/>
                    </a:lnTo>
                    <a:lnTo>
                      <a:pt x="321" y="311"/>
                    </a:lnTo>
                    <a:lnTo>
                      <a:pt x="320" y="311"/>
                    </a:lnTo>
                    <a:lnTo>
                      <a:pt x="320" y="312"/>
                    </a:lnTo>
                    <a:lnTo>
                      <a:pt x="319" y="312"/>
                    </a:lnTo>
                    <a:lnTo>
                      <a:pt x="319" y="313"/>
                    </a:lnTo>
                    <a:lnTo>
                      <a:pt x="319" y="314"/>
                    </a:lnTo>
                    <a:lnTo>
                      <a:pt x="319" y="315"/>
                    </a:lnTo>
                    <a:lnTo>
                      <a:pt x="320" y="315"/>
                    </a:lnTo>
                    <a:lnTo>
                      <a:pt x="319" y="315"/>
                    </a:lnTo>
                    <a:lnTo>
                      <a:pt x="319" y="316"/>
                    </a:lnTo>
                    <a:lnTo>
                      <a:pt x="320" y="318"/>
                    </a:lnTo>
                    <a:lnTo>
                      <a:pt x="320" y="319"/>
                    </a:lnTo>
                    <a:lnTo>
                      <a:pt x="321" y="319"/>
                    </a:lnTo>
                    <a:lnTo>
                      <a:pt x="321" y="320"/>
                    </a:lnTo>
                    <a:lnTo>
                      <a:pt x="322" y="320"/>
                    </a:lnTo>
                    <a:lnTo>
                      <a:pt x="323" y="321"/>
                    </a:lnTo>
                    <a:lnTo>
                      <a:pt x="324" y="321"/>
                    </a:lnTo>
                    <a:lnTo>
                      <a:pt x="325" y="321"/>
                    </a:lnTo>
                    <a:lnTo>
                      <a:pt x="325" y="322"/>
                    </a:lnTo>
                    <a:lnTo>
                      <a:pt x="326" y="322"/>
                    </a:lnTo>
                    <a:lnTo>
                      <a:pt x="328" y="322"/>
                    </a:lnTo>
                    <a:lnTo>
                      <a:pt x="329" y="322"/>
                    </a:lnTo>
                    <a:lnTo>
                      <a:pt x="329" y="321"/>
                    </a:lnTo>
                    <a:lnTo>
                      <a:pt x="329" y="320"/>
                    </a:lnTo>
                    <a:lnTo>
                      <a:pt x="330" y="319"/>
                    </a:lnTo>
                    <a:lnTo>
                      <a:pt x="331" y="319"/>
                    </a:lnTo>
                    <a:lnTo>
                      <a:pt x="331" y="318"/>
                    </a:lnTo>
                    <a:lnTo>
                      <a:pt x="332" y="318"/>
                    </a:lnTo>
                    <a:lnTo>
                      <a:pt x="332" y="316"/>
                    </a:lnTo>
                    <a:lnTo>
                      <a:pt x="332" y="318"/>
                    </a:lnTo>
                    <a:lnTo>
                      <a:pt x="333" y="318"/>
                    </a:lnTo>
                    <a:lnTo>
                      <a:pt x="333" y="316"/>
                    </a:lnTo>
                    <a:lnTo>
                      <a:pt x="333" y="318"/>
                    </a:lnTo>
                    <a:lnTo>
                      <a:pt x="334" y="318"/>
                    </a:lnTo>
                    <a:lnTo>
                      <a:pt x="334" y="316"/>
                    </a:lnTo>
                    <a:lnTo>
                      <a:pt x="334" y="318"/>
                    </a:lnTo>
                    <a:lnTo>
                      <a:pt x="335" y="318"/>
                    </a:lnTo>
                    <a:lnTo>
                      <a:pt x="335" y="316"/>
                    </a:lnTo>
                    <a:lnTo>
                      <a:pt x="336" y="316"/>
                    </a:lnTo>
                    <a:lnTo>
                      <a:pt x="336" y="318"/>
                    </a:lnTo>
                    <a:lnTo>
                      <a:pt x="336" y="316"/>
                    </a:lnTo>
                    <a:lnTo>
                      <a:pt x="337" y="315"/>
                    </a:lnTo>
                    <a:lnTo>
                      <a:pt x="337" y="316"/>
                    </a:lnTo>
                    <a:lnTo>
                      <a:pt x="337" y="315"/>
                    </a:lnTo>
                    <a:lnTo>
                      <a:pt x="338" y="314"/>
                    </a:lnTo>
                    <a:lnTo>
                      <a:pt x="338" y="315"/>
                    </a:lnTo>
                    <a:lnTo>
                      <a:pt x="339" y="315"/>
                    </a:lnTo>
                    <a:lnTo>
                      <a:pt x="338" y="315"/>
                    </a:lnTo>
                    <a:lnTo>
                      <a:pt x="338" y="316"/>
                    </a:lnTo>
                    <a:lnTo>
                      <a:pt x="337" y="316"/>
                    </a:lnTo>
                    <a:lnTo>
                      <a:pt x="337" y="318"/>
                    </a:lnTo>
                    <a:lnTo>
                      <a:pt x="336" y="318"/>
                    </a:lnTo>
                    <a:lnTo>
                      <a:pt x="336" y="319"/>
                    </a:lnTo>
                    <a:lnTo>
                      <a:pt x="335" y="320"/>
                    </a:lnTo>
                    <a:lnTo>
                      <a:pt x="334" y="319"/>
                    </a:lnTo>
                    <a:lnTo>
                      <a:pt x="333" y="319"/>
                    </a:lnTo>
                    <a:lnTo>
                      <a:pt x="332" y="319"/>
                    </a:lnTo>
                    <a:lnTo>
                      <a:pt x="331" y="319"/>
                    </a:lnTo>
                    <a:lnTo>
                      <a:pt x="331" y="320"/>
                    </a:lnTo>
                    <a:lnTo>
                      <a:pt x="330" y="320"/>
                    </a:lnTo>
                    <a:lnTo>
                      <a:pt x="330" y="321"/>
                    </a:lnTo>
                    <a:lnTo>
                      <a:pt x="330" y="322"/>
                    </a:lnTo>
                    <a:lnTo>
                      <a:pt x="329" y="322"/>
                    </a:lnTo>
                    <a:lnTo>
                      <a:pt x="330" y="322"/>
                    </a:lnTo>
                    <a:lnTo>
                      <a:pt x="329" y="322"/>
                    </a:lnTo>
                    <a:lnTo>
                      <a:pt x="330" y="322"/>
                    </a:lnTo>
                    <a:lnTo>
                      <a:pt x="330" y="323"/>
                    </a:lnTo>
                    <a:lnTo>
                      <a:pt x="329" y="323"/>
                    </a:lnTo>
                    <a:lnTo>
                      <a:pt x="329" y="324"/>
                    </a:lnTo>
                    <a:lnTo>
                      <a:pt x="328" y="324"/>
                    </a:lnTo>
                    <a:lnTo>
                      <a:pt x="328" y="323"/>
                    </a:lnTo>
                    <a:lnTo>
                      <a:pt x="326" y="323"/>
                    </a:lnTo>
                    <a:lnTo>
                      <a:pt x="326" y="324"/>
                    </a:lnTo>
                    <a:lnTo>
                      <a:pt x="328" y="324"/>
                    </a:lnTo>
                    <a:lnTo>
                      <a:pt x="328" y="325"/>
                    </a:lnTo>
                    <a:lnTo>
                      <a:pt x="326" y="325"/>
                    </a:lnTo>
                    <a:lnTo>
                      <a:pt x="326" y="326"/>
                    </a:lnTo>
                    <a:lnTo>
                      <a:pt x="325" y="326"/>
                    </a:lnTo>
                    <a:lnTo>
                      <a:pt x="325" y="327"/>
                    </a:lnTo>
                    <a:lnTo>
                      <a:pt x="326" y="327"/>
                    </a:lnTo>
                    <a:lnTo>
                      <a:pt x="328" y="328"/>
                    </a:lnTo>
                    <a:lnTo>
                      <a:pt x="329" y="328"/>
                    </a:lnTo>
                    <a:lnTo>
                      <a:pt x="329" y="329"/>
                    </a:lnTo>
                    <a:lnTo>
                      <a:pt x="328" y="329"/>
                    </a:lnTo>
                    <a:lnTo>
                      <a:pt x="326" y="331"/>
                    </a:lnTo>
                    <a:lnTo>
                      <a:pt x="325" y="331"/>
                    </a:lnTo>
                    <a:lnTo>
                      <a:pt x="325" y="329"/>
                    </a:lnTo>
                    <a:lnTo>
                      <a:pt x="325" y="328"/>
                    </a:lnTo>
                    <a:lnTo>
                      <a:pt x="324" y="328"/>
                    </a:lnTo>
                    <a:lnTo>
                      <a:pt x="323" y="328"/>
                    </a:lnTo>
                    <a:lnTo>
                      <a:pt x="323" y="327"/>
                    </a:lnTo>
                    <a:lnTo>
                      <a:pt x="322" y="327"/>
                    </a:lnTo>
                    <a:lnTo>
                      <a:pt x="322" y="326"/>
                    </a:lnTo>
                    <a:lnTo>
                      <a:pt x="321" y="326"/>
                    </a:lnTo>
                    <a:lnTo>
                      <a:pt x="320" y="326"/>
                    </a:lnTo>
                    <a:lnTo>
                      <a:pt x="320" y="327"/>
                    </a:lnTo>
                    <a:lnTo>
                      <a:pt x="320" y="326"/>
                    </a:lnTo>
                    <a:lnTo>
                      <a:pt x="320" y="325"/>
                    </a:lnTo>
                    <a:lnTo>
                      <a:pt x="320" y="324"/>
                    </a:lnTo>
                    <a:lnTo>
                      <a:pt x="320" y="323"/>
                    </a:lnTo>
                    <a:lnTo>
                      <a:pt x="320" y="322"/>
                    </a:lnTo>
                    <a:lnTo>
                      <a:pt x="320" y="323"/>
                    </a:lnTo>
                    <a:lnTo>
                      <a:pt x="321" y="323"/>
                    </a:lnTo>
                    <a:lnTo>
                      <a:pt x="322" y="323"/>
                    </a:lnTo>
                    <a:lnTo>
                      <a:pt x="322" y="322"/>
                    </a:lnTo>
                    <a:lnTo>
                      <a:pt x="322" y="321"/>
                    </a:lnTo>
                    <a:lnTo>
                      <a:pt x="322" y="320"/>
                    </a:lnTo>
                    <a:lnTo>
                      <a:pt x="322" y="321"/>
                    </a:lnTo>
                    <a:lnTo>
                      <a:pt x="321" y="320"/>
                    </a:lnTo>
                    <a:lnTo>
                      <a:pt x="321" y="321"/>
                    </a:lnTo>
                    <a:lnTo>
                      <a:pt x="321" y="322"/>
                    </a:lnTo>
                    <a:lnTo>
                      <a:pt x="320" y="322"/>
                    </a:lnTo>
                    <a:lnTo>
                      <a:pt x="320" y="321"/>
                    </a:lnTo>
                    <a:lnTo>
                      <a:pt x="319" y="321"/>
                    </a:lnTo>
                    <a:lnTo>
                      <a:pt x="319" y="320"/>
                    </a:lnTo>
                    <a:lnTo>
                      <a:pt x="318" y="320"/>
                    </a:lnTo>
                    <a:lnTo>
                      <a:pt x="317" y="320"/>
                    </a:lnTo>
                    <a:lnTo>
                      <a:pt x="317" y="319"/>
                    </a:lnTo>
                    <a:lnTo>
                      <a:pt x="317" y="318"/>
                    </a:lnTo>
                    <a:lnTo>
                      <a:pt x="317" y="319"/>
                    </a:lnTo>
                    <a:lnTo>
                      <a:pt x="317" y="318"/>
                    </a:lnTo>
                    <a:lnTo>
                      <a:pt x="317" y="319"/>
                    </a:lnTo>
                    <a:lnTo>
                      <a:pt x="316" y="319"/>
                    </a:lnTo>
                    <a:lnTo>
                      <a:pt x="316" y="318"/>
                    </a:lnTo>
                    <a:lnTo>
                      <a:pt x="316" y="319"/>
                    </a:lnTo>
                    <a:lnTo>
                      <a:pt x="316" y="320"/>
                    </a:lnTo>
                    <a:lnTo>
                      <a:pt x="316" y="321"/>
                    </a:lnTo>
                    <a:lnTo>
                      <a:pt x="315" y="321"/>
                    </a:lnTo>
                    <a:lnTo>
                      <a:pt x="315" y="320"/>
                    </a:lnTo>
                    <a:lnTo>
                      <a:pt x="315" y="321"/>
                    </a:lnTo>
                    <a:lnTo>
                      <a:pt x="316" y="321"/>
                    </a:lnTo>
                    <a:lnTo>
                      <a:pt x="316" y="322"/>
                    </a:lnTo>
                    <a:lnTo>
                      <a:pt x="316" y="323"/>
                    </a:lnTo>
                    <a:lnTo>
                      <a:pt x="315" y="323"/>
                    </a:lnTo>
                    <a:lnTo>
                      <a:pt x="315" y="324"/>
                    </a:lnTo>
                    <a:lnTo>
                      <a:pt x="316" y="324"/>
                    </a:lnTo>
                    <a:lnTo>
                      <a:pt x="315" y="324"/>
                    </a:lnTo>
                    <a:lnTo>
                      <a:pt x="315" y="323"/>
                    </a:lnTo>
                    <a:lnTo>
                      <a:pt x="313" y="323"/>
                    </a:lnTo>
                    <a:lnTo>
                      <a:pt x="312" y="323"/>
                    </a:lnTo>
                    <a:lnTo>
                      <a:pt x="312" y="324"/>
                    </a:lnTo>
                    <a:lnTo>
                      <a:pt x="312" y="325"/>
                    </a:lnTo>
                    <a:lnTo>
                      <a:pt x="312" y="326"/>
                    </a:lnTo>
                    <a:lnTo>
                      <a:pt x="312" y="327"/>
                    </a:lnTo>
                    <a:lnTo>
                      <a:pt x="312" y="328"/>
                    </a:lnTo>
                    <a:lnTo>
                      <a:pt x="313" y="329"/>
                    </a:lnTo>
                    <a:lnTo>
                      <a:pt x="315" y="329"/>
                    </a:lnTo>
                    <a:lnTo>
                      <a:pt x="316" y="329"/>
                    </a:lnTo>
                    <a:lnTo>
                      <a:pt x="316" y="331"/>
                    </a:lnTo>
                    <a:lnTo>
                      <a:pt x="317" y="331"/>
                    </a:lnTo>
                    <a:lnTo>
                      <a:pt x="318" y="331"/>
                    </a:lnTo>
                    <a:lnTo>
                      <a:pt x="318" y="332"/>
                    </a:lnTo>
                    <a:lnTo>
                      <a:pt x="318" y="333"/>
                    </a:lnTo>
                    <a:lnTo>
                      <a:pt x="319" y="333"/>
                    </a:lnTo>
                    <a:lnTo>
                      <a:pt x="320" y="333"/>
                    </a:lnTo>
                    <a:lnTo>
                      <a:pt x="320" y="334"/>
                    </a:lnTo>
                    <a:lnTo>
                      <a:pt x="319" y="335"/>
                    </a:lnTo>
                    <a:lnTo>
                      <a:pt x="319" y="336"/>
                    </a:lnTo>
                    <a:lnTo>
                      <a:pt x="319" y="335"/>
                    </a:lnTo>
                    <a:lnTo>
                      <a:pt x="320" y="335"/>
                    </a:lnTo>
                    <a:lnTo>
                      <a:pt x="321" y="335"/>
                    </a:lnTo>
                    <a:lnTo>
                      <a:pt x="322" y="335"/>
                    </a:lnTo>
                    <a:lnTo>
                      <a:pt x="322" y="334"/>
                    </a:lnTo>
                    <a:lnTo>
                      <a:pt x="322" y="333"/>
                    </a:lnTo>
                    <a:lnTo>
                      <a:pt x="321" y="333"/>
                    </a:lnTo>
                    <a:lnTo>
                      <a:pt x="322" y="333"/>
                    </a:lnTo>
                    <a:lnTo>
                      <a:pt x="323" y="333"/>
                    </a:lnTo>
                    <a:lnTo>
                      <a:pt x="324" y="333"/>
                    </a:lnTo>
                    <a:lnTo>
                      <a:pt x="324" y="334"/>
                    </a:lnTo>
                    <a:lnTo>
                      <a:pt x="324" y="335"/>
                    </a:lnTo>
                    <a:lnTo>
                      <a:pt x="324" y="334"/>
                    </a:lnTo>
                    <a:lnTo>
                      <a:pt x="325" y="334"/>
                    </a:lnTo>
                    <a:lnTo>
                      <a:pt x="326" y="334"/>
                    </a:lnTo>
                    <a:lnTo>
                      <a:pt x="326" y="335"/>
                    </a:lnTo>
                    <a:lnTo>
                      <a:pt x="325" y="335"/>
                    </a:lnTo>
                    <a:lnTo>
                      <a:pt x="325" y="336"/>
                    </a:lnTo>
                    <a:lnTo>
                      <a:pt x="325" y="335"/>
                    </a:lnTo>
                    <a:lnTo>
                      <a:pt x="324" y="335"/>
                    </a:lnTo>
                    <a:lnTo>
                      <a:pt x="323" y="335"/>
                    </a:lnTo>
                    <a:lnTo>
                      <a:pt x="323" y="336"/>
                    </a:lnTo>
                    <a:lnTo>
                      <a:pt x="322" y="336"/>
                    </a:lnTo>
                    <a:lnTo>
                      <a:pt x="322" y="337"/>
                    </a:lnTo>
                    <a:lnTo>
                      <a:pt x="322" y="338"/>
                    </a:lnTo>
                    <a:lnTo>
                      <a:pt x="323" y="338"/>
                    </a:lnTo>
                    <a:lnTo>
                      <a:pt x="323" y="339"/>
                    </a:lnTo>
                    <a:lnTo>
                      <a:pt x="324" y="339"/>
                    </a:lnTo>
                    <a:lnTo>
                      <a:pt x="324" y="340"/>
                    </a:lnTo>
                    <a:lnTo>
                      <a:pt x="325" y="340"/>
                    </a:lnTo>
                    <a:lnTo>
                      <a:pt x="325" y="341"/>
                    </a:lnTo>
                    <a:lnTo>
                      <a:pt x="326" y="341"/>
                    </a:lnTo>
                    <a:lnTo>
                      <a:pt x="326" y="343"/>
                    </a:lnTo>
                    <a:lnTo>
                      <a:pt x="328" y="343"/>
                    </a:lnTo>
                    <a:lnTo>
                      <a:pt x="328" y="341"/>
                    </a:lnTo>
                    <a:lnTo>
                      <a:pt x="328" y="343"/>
                    </a:lnTo>
                    <a:lnTo>
                      <a:pt x="326" y="343"/>
                    </a:lnTo>
                    <a:lnTo>
                      <a:pt x="325" y="343"/>
                    </a:lnTo>
                    <a:lnTo>
                      <a:pt x="325" y="341"/>
                    </a:lnTo>
                    <a:lnTo>
                      <a:pt x="325" y="343"/>
                    </a:lnTo>
                    <a:lnTo>
                      <a:pt x="325" y="344"/>
                    </a:lnTo>
                    <a:lnTo>
                      <a:pt x="325" y="345"/>
                    </a:lnTo>
                    <a:lnTo>
                      <a:pt x="326" y="346"/>
                    </a:lnTo>
                    <a:lnTo>
                      <a:pt x="326" y="347"/>
                    </a:lnTo>
                    <a:lnTo>
                      <a:pt x="326" y="346"/>
                    </a:lnTo>
                    <a:lnTo>
                      <a:pt x="326" y="347"/>
                    </a:lnTo>
                    <a:lnTo>
                      <a:pt x="326" y="346"/>
                    </a:lnTo>
                    <a:lnTo>
                      <a:pt x="326" y="347"/>
                    </a:lnTo>
                    <a:lnTo>
                      <a:pt x="325" y="347"/>
                    </a:lnTo>
                    <a:lnTo>
                      <a:pt x="325" y="346"/>
                    </a:lnTo>
                    <a:lnTo>
                      <a:pt x="324" y="346"/>
                    </a:lnTo>
                    <a:lnTo>
                      <a:pt x="323" y="345"/>
                    </a:lnTo>
                    <a:lnTo>
                      <a:pt x="322" y="344"/>
                    </a:lnTo>
                    <a:lnTo>
                      <a:pt x="323" y="344"/>
                    </a:lnTo>
                    <a:lnTo>
                      <a:pt x="323" y="343"/>
                    </a:lnTo>
                    <a:lnTo>
                      <a:pt x="323" y="341"/>
                    </a:lnTo>
                    <a:lnTo>
                      <a:pt x="324" y="341"/>
                    </a:lnTo>
                    <a:lnTo>
                      <a:pt x="323" y="340"/>
                    </a:lnTo>
                    <a:lnTo>
                      <a:pt x="323" y="341"/>
                    </a:lnTo>
                    <a:lnTo>
                      <a:pt x="323" y="340"/>
                    </a:lnTo>
                    <a:lnTo>
                      <a:pt x="322" y="340"/>
                    </a:lnTo>
                    <a:lnTo>
                      <a:pt x="321" y="339"/>
                    </a:lnTo>
                    <a:lnTo>
                      <a:pt x="320" y="339"/>
                    </a:lnTo>
                    <a:lnTo>
                      <a:pt x="320" y="340"/>
                    </a:lnTo>
                    <a:lnTo>
                      <a:pt x="320" y="341"/>
                    </a:lnTo>
                    <a:lnTo>
                      <a:pt x="319" y="341"/>
                    </a:lnTo>
                    <a:lnTo>
                      <a:pt x="320" y="343"/>
                    </a:lnTo>
                    <a:lnTo>
                      <a:pt x="320" y="344"/>
                    </a:lnTo>
                    <a:lnTo>
                      <a:pt x="319" y="344"/>
                    </a:lnTo>
                    <a:lnTo>
                      <a:pt x="319" y="343"/>
                    </a:lnTo>
                    <a:lnTo>
                      <a:pt x="319" y="341"/>
                    </a:lnTo>
                    <a:lnTo>
                      <a:pt x="319" y="340"/>
                    </a:lnTo>
                    <a:lnTo>
                      <a:pt x="318" y="340"/>
                    </a:lnTo>
                    <a:lnTo>
                      <a:pt x="318" y="339"/>
                    </a:lnTo>
                    <a:lnTo>
                      <a:pt x="317" y="339"/>
                    </a:lnTo>
                    <a:lnTo>
                      <a:pt x="317" y="338"/>
                    </a:lnTo>
                    <a:lnTo>
                      <a:pt x="316" y="338"/>
                    </a:lnTo>
                    <a:lnTo>
                      <a:pt x="316" y="339"/>
                    </a:lnTo>
                    <a:lnTo>
                      <a:pt x="316" y="340"/>
                    </a:lnTo>
                    <a:lnTo>
                      <a:pt x="316" y="341"/>
                    </a:lnTo>
                    <a:lnTo>
                      <a:pt x="315" y="341"/>
                    </a:lnTo>
                    <a:lnTo>
                      <a:pt x="315" y="343"/>
                    </a:lnTo>
                    <a:lnTo>
                      <a:pt x="313" y="343"/>
                    </a:lnTo>
                    <a:lnTo>
                      <a:pt x="313" y="344"/>
                    </a:lnTo>
                    <a:lnTo>
                      <a:pt x="312" y="344"/>
                    </a:lnTo>
                    <a:lnTo>
                      <a:pt x="311" y="343"/>
                    </a:lnTo>
                    <a:lnTo>
                      <a:pt x="311" y="344"/>
                    </a:lnTo>
                    <a:lnTo>
                      <a:pt x="310" y="343"/>
                    </a:lnTo>
                    <a:lnTo>
                      <a:pt x="309" y="343"/>
                    </a:lnTo>
                    <a:lnTo>
                      <a:pt x="308" y="343"/>
                    </a:lnTo>
                    <a:lnTo>
                      <a:pt x="308" y="344"/>
                    </a:lnTo>
                    <a:lnTo>
                      <a:pt x="309" y="344"/>
                    </a:lnTo>
                    <a:lnTo>
                      <a:pt x="310" y="344"/>
                    </a:lnTo>
                    <a:lnTo>
                      <a:pt x="311" y="344"/>
                    </a:lnTo>
                    <a:lnTo>
                      <a:pt x="311" y="345"/>
                    </a:lnTo>
                    <a:lnTo>
                      <a:pt x="310" y="345"/>
                    </a:lnTo>
                    <a:lnTo>
                      <a:pt x="309" y="345"/>
                    </a:lnTo>
                    <a:lnTo>
                      <a:pt x="308" y="345"/>
                    </a:lnTo>
                    <a:lnTo>
                      <a:pt x="307" y="345"/>
                    </a:lnTo>
                    <a:lnTo>
                      <a:pt x="307" y="346"/>
                    </a:lnTo>
                    <a:lnTo>
                      <a:pt x="308" y="346"/>
                    </a:lnTo>
                    <a:lnTo>
                      <a:pt x="308" y="347"/>
                    </a:lnTo>
                    <a:lnTo>
                      <a:pt x="307" y="347"/>
                    </a:lnTo>
                    <a:lnTo>
                      <a:pt x="307" y="348"/>
                    </a:lnTo>
                    <a:lnTo>
                      <a:pt x="308" y="348"/>
                    </a:lnTo>
                    <a:lnTo>
                      <a:pt x="307" y="349"/>
                    </a:lnTo>
                    <a:lnTo>
                      <a:pt x="307" y="348"/>
                    </a:lnTo>
                    <a:lnTo>
                      <a:pt x="306" y="348"/>
                    </a:lnTo>
                    <a:lnTo>
                      <a:pt x="305" y="348"/>
                    </a:lnTo>
                    <a:lnTo>
                      <a:pt x="305" y="349"/>
                    </a:lnTo>
                    <a:lnTo>
                      <a:pt x="306" y="349"/>
                    </a:lnTo>
                    <a:lnTo>
                      <a:pt x="305" y="349"/>
                    </a:lnTo>
                    <a:lnTo>
                      <a:pt x="305" y="350"/>
                    </a:lnTo>
                    <a:lnTo>
                      <a:pt x="306" y="349"/>
                    </a:lnTo>
                    <a:lnTo>
                      <a:pt x="306" y="350"/>
                    </a:lnTo>
                    <a:lnTo>
                      <a:pt x="307" y="350"/>
                    </a:lnTo>
                    <a:lnTo>
                      <a:pt x="307" y="351"/>
                    </a:lnTo>
                    <a:lnTo>
                      <a:pt x="306" y="351"/>
                    </a:lnTo>
                    <a:lnTo>
                      <a:pt x="306" y="352"/>
                    </a:lnTo>
                    <a:lnTo>
                      <a:pt x="307" y="352"/>
                    </a:lnTo>
                    <a:lnTo>
                      <a:pt x="307" y="351"/>
                    </a:lnTo>
                    <a:lnTo>
                      <a:pt x="307" y="352"/>
                    </a:lnTo>
                    <a:lnTo>
                      <a:pt x="306" y="352"/>
                    </a:lnTo>
                    <a:lnTo>
                      <a:pt x="305" y="352"/>
                    </a:lnTo>
                    <a:lnTo>
                      <a:pt x="306" y="352"/>
                    </a:lnTo>
                    <a:lnTo>
                      <a:pt x="306" y="353"/>
                    </a:lnTo>
                    <a:lnTo>
                      <a:pt x="307" y="353"/>
                    </a:lnTo>
                    <a:lnTo>
                      <a:pt x="307" y="354"/>
                    </a:lnTo>
                    <a:lnTo>
                      <a:pt x="308" y="354"/>
                    </a:lnTo>
                    <a:lnTo>
                      <a:pt x="308" y="353"/>
                    </a:lnTo>
                    <a:lnTo>
                      <a:pt x="308" y="354"/>
                    </a:lnTo>
                    <a:lnTo>
                      <a:pt x="308" y="353"/>
                    </a:lnTo>
                    <a:lnTo>
                      <a:pt x="309" y="353"/>
                    </a:lnTo>
                    <a:lnTo>
                      <a:pt x="309" y="352"/>
                    </a:lnTo>
                    <a:lnTo>
                      <a:pt x="309" y="351"/>
                    </a:lnTo>
                    <a:lnTo>
                      <a:pt x="308" y="350"/>
                    </a:lnTo>
                    <a:lnTo>
                      <a:pt x="309" y="350"/>
                    </a:lnTo>
                    <a:lnTo>
                      <a:pt x="310" y="351"/>
                    </a:lnTo>
                    <a:lnTo>
                      <a:pt x="311" y="351"/>
                    </a:lnTo>
                    <a:lnTo>
                      <a:pt x="312" y="351"/>
                    </a:lnTo>
                    <a:lnTo>
                      <a:pt x="311" y="352"/>
                    </a:lnTo>
                    <a:lnTo>
                      <a:pt x="312" y="352"/>
                    </a:lnTo>
                    <a:lnTo>
                      <a:pt x="312" y="351"/>
                    </a:lnTo>
                    <a:lnTo>
                      <a:pt x="312" y="352"/>
                    </a:lnTo>
                    <a:lnTo>
                      <a:pt x="312" y="353"/>
                    </a:lnTo>
                    <a:lnTo>
                      <a:pt x="311" y="354"/>
                    </a:lnTo>
                    <a:lnTo>
                      <a:pt x="312" y="354"/>
                    </a:lnTo>
                    <a:lnTo>
                      <a:pt x="311" y="354"/>
                    </a:lnTo>
                    <a:lnTo>
                      <a:pt x="311" y="356"/>
                    </a:lnTo>
                    <a:lnTo>
                      <a:pt x="311" y="357"/>
                    </a:lnTo>
                    <a:lnTo>
                      <a:pt x="312" y="357"/>
                    </a:lnTo>
                    <a:lnTo>
                      <a:pt x="311" y="357"/>
                    </a:lnTo>
                    <a:lnTo>
                      <a:pt x="311" y="358"/>
                    </a:lnTo>
                    <a:lnTo>
                      <a:pt x="312" y="358"/>
                    </a:lnTo>
                    <a:lnTo>
                      <a:pt x="313" y="358"/>
                    </a:lnTo>
                    <a:lnTo>
                      <a:pt x="313" y="357"/>
                    </a:lnTo>
                    <a:lnTo>
                      <a:pt x="315" y="357"/>
                    </a:lnTo>
                    <a:lnTo>
                      <a:pt x="315" y="356"/>
                    </a:lnTo>
                    <a:lnTo>
                      <a:pt x="315" y="357"/>
                    </a:lnTo>
                    <a:lnTo>
                      <a:pt x="315" y="358"/>
                    </a:lnTo>
                    <a:lnTo>
                      <a:pt x="313" y="359"/>
                    </a:lnTo>
                    <a:lnTo>
                      <a:pt x="315" y="359"/>
                    </a:lnTo>
                    <a:lnTo>
                      <a:pt x="315" y="360"/>
                    </a:lnTo>
                    <a:lnTo>
                      <a:pt x="313" y="360"/>
                    </a:lnTo>
                    <a:lnTo>
                      <a:pt x="315" y="360"/>
                    </a:lnTo>
                    <a:lnTo>
                      <a:pt x="316" y="360"/>
                    </a:lnTo>
                    <a:lnTo>
                      <a:pt x="316" y="361"/>
                    </a:lnTo>
                    <a:lnTo>
                      <a:pt x="316" y="360"/>
                    </a:lnTo>
                    <a:lnTo>
                      <a:pt x="317" y="360"/>
                    </a:lnTo>
                    <a:lnTo>
                      <a:pt x="317" y="361"/>
                    </a:lnTo>
                    <a:lnTo>
                      <a:pt x="318" y="360"/>
                    </a:lnTo>
                    <a:lnTo>
                      <a:pt x="319" y="360"/>
                    </a:lnTo>
                    <a:lnTo>
                      <a:pt x="320" y="360"/>
                    </a:lnTo>
                    <a:lnTo>
                      <a:pt x="321" y="360"/>
                    </a:lnTo>
                    <a:lnTo>
                      <a:pt x="322" y="360"/>
                    </a:lnTo>
                    <a:lnTo>
                      <a:pt x="323" y="360"/>
                    </a:lnTo>
                    <a:lnTo>
                      <a:pt x="324" y="360"/>
                    </a:lnTo>
                    <a:lnTo>
                      <a:pt x="324" y="361"/>
                    </a:lnTo>
                    <a:lnTo>
                      <a:pt x="324" y="362"/>
                    </a:lnTo>
                    <a:lnTo>
                      <a:pt x="324" y="363"/>
                    </a:lnTo>
                    <a:lnTo>
                      <a:pt x="325" y="363"/>
                    </a:lnTo>
                    <a:lnTo>
                      <a:pt x="324" y="364"/>
                    </a:lnTo>
                    <a:lnTo>
                      <a:pt x="325" y="364"/>
                    </a:lnTo>
                    <a:lnTo>
                      <a:pt x="326" y="364"/>
                    </a:lnTo>
                    <a:lnTo>
                      <a:pt x="326" y="365"/>
                    </a:lnTo>
                    <a:lnTo>
                      <a:pt x="328" y="365"/>
                    </a:lnTo>
                    <a:lnTo>
                      <a:pt x="329" y="365"/>
                    </a:lnTo>
                    <a:lnTo>
                      <a:pt x="329" y="364"/>
                    </a:lnTo>
                    <a:lnTo>
                      <a:pt x="329" y="365"/>
                    </a:lnTo>
                    <a:lnTo>
                      <a:pt x="330" y="365"/>
                    </a:lnTo>
                    <a:lnTo>
                      <a:pt x="331" y="366"/>
                    </a:lnTo>
                    <a:lnTo>
                      <a:pt x="332" y="366"/>
                    </a:lnTo>
                    <a:lnTo>
                      <a:pt x="333" y="366"/>
                    </a:lnTo>
                    <a:lnTo>
                      <a:pt x="334" y="366"/>
                    </a:lnTo>
                    <a:lnTo>
                      <a:pt x="335" y="366"/>
                    </a:lnTo>
                    <a:lnTo>
                      <a:pt x="336" y="366"/>
                    </a:lnTo>
                    <a:lnTo>
                      <a:pt x="337" y="366"/>
                    </a:lnTo>
                    <a:lnTo>
                      <a:pt x="338" y="366"/>
                    </a:lnTo>
                    <a:lnTo>
                      <a:pt x="339" y="366"/>
                    </a:lnTo>
                    <a:lnTo>
                      <a:pt x="339" y="367"/>
                    </a:lnTo>
                    <a:lnTo>
                      <a:pt x="341" y="367"/>
                    </a:lnTo>
                    <a:lnTo>
                      <a:pt x="342" y="367"/>
                    </a:lnTo>
                    <a:lnTo>
                      <a:pt x="343" y="367"/>
                    </a:lnTo>
                    <a:lnTo>
                      <a:pt x="344" y="367"/>
                    </a:lnTo>
                    <a:lnTo>
                      <a:pt x="345" y="367"/>
                    </a:lnTo>
                    <a:lnTo>
                      <a:pt x="346" y="367"/>
                    </a:lnTo>
                    <a:lnTo>
                      <a:pt x="346" y="366"/>
                    </a:lnTo>
                    <a:lnTo>
                      <a:pt x="347" y="366"/>
                    </a:lnTo>
                    <a:lnTo>
                      <a:pt x="347" y="365"/>
                    </a:lnTo>
                    <a:lnTo>
                      <a:pt x="348" y="365"/>
                    </a:lnTo>
                    <a:lnTo>
                      <a:pt x="349" y="365"/>
                    </a:lnTo>
                    <a:lnTo>
                      <a:pt x="350" y="365"/>
                    </a:lnTo>
                    <a:lnTo>
                      <a:pt x="350" y="364"/>
                    </a:lnTo>
                    <a:lnTo>
                      <a:pt x="351" y="364"/>
                    </a:lnTo>
                    <a:lnTo>
                      <a:pt x="352" y="364"/>
                    </a:lnTo>
                    <a:lnTo>
                      <a:pt x="352" y="363"/>
                    </a:lnTo>
                    <a:lnTo>
                      <a:pt x="354" y="363"/>
                    </a:lnTo>
                    <a:lnTo>
                      <a:pt x="355" y="363"/>
                    </a:lnTo>
                    <a:lnTo>
                      <a:pt x="355" y="362"/>
                    </a:lnTo>
                    <a:lnTo>
                      <a:pt x="356" y="362"/>
                    </a:lnTo>
                    <a:lnTo>
                      <a:pt x="357" y="362"/>
                    </a:lnTo>
                    <a:lnTo>
                      <a:pt x="358" y="362"/>
                    </a:lnTo>
                    <a:lnTo>
                      <a:pt x="357" y="362"/>
                    </a:lnTo>
                    <a:lnTo>
                      <a:pt x="358" y="362"/>
                    </a:lnTo>
                    <a:lnTo>
                      <a:pt x="358" y="361"/>
                    </a:lnTo>
                    <a:lnTo>
                      <a:pt x="359" y="361"/>
                    </a:lnTo>
                    <a:lnTo>
                      <a:pt x="360" y="360"/>
                    </a:lnTo>
                    <a:lnTo>
                      <a:pt x="361" y="359"/>
                    </a:lnTo>
                    <a:lnTo>
                      <a:pt x="361" y="358"/>
                    </a:lnTo>
                    <a:lnTo>
                      <a:pt x="362" y="358"/>
                    </a:lnTo>
                    <a:lnTo>
                      <a:pt x="363" y="358"/>
                    </a:lnTo>
                    <a:lnTo>
                      <a:pt x="363" y="359"/>
                    </a:lnTo>
                    <a:lnTo>
                      <a:pt x="364" y="358"/>
                    </a:lnTo>
                    <a:lnTo>
                      <a:pt x="364" y="359"/>
                    </a:lnTo>
                    <a:lnTo>
                      <a:pt x="364" y="358"/>
                    </a:lnTo>
                    <a:lnTo>
                      <a:pt x="365" y="358"/>
                    </a:lnTo>
                    <a:lnTo>
                      <a:pt x="365" y="359"/>
                    </a:lnTo>
                    <a:lnTo>
                      <a:pt x="365" y="358"/>
                    </a:lnTo>
                    <a:lnTo>
                      <a:pt x="367" y="358"/>
                    </a:lnTo>
                    <a:lnTo>
                      <a:pt x="367" y="359"/>
                    </a:lnTo>
                    <a:lnTo>
                      <a:pt x="367" y="358"/>
                    </a:lnTo>
                    <a:lnTo>
                      <a:pt x="368" y="357"/>
                    </a:lnTo>
                    <a:lnTo>
                      <a:pt x="369" y="356"/>
                    </a:lnTo>
                    <a:lnTo>
                      <a:pt x="370" y="354"/>
                    </a:lnTo>
                    <a:lnTo>
                      <a:pt x="371" y="354"/>
                    </a:lnTo>
                    <a:lnTo>
                      <a:pt x="371" y="356"/>
                    </a:lnTo>
                    <a:lnTo>
                      <a:pt x="372" y="356"/>
                    </a:lnTo>
                    <a:lnTo>
                      <a:pt x="373" y="357"/>
                    </a:lnTo>
                    <a:lnTo>
                      <a:pt x="371" y="357"/>
                    </a:lnTo>
                    <a:lnTo>
                      <a:pt x="370" y="357"/>
                    </a:lnTo>
                    <a:lnTo>
                      <a:pt x="369" y="357"/>
                    </a:lnTo>
                    <a:lnTo>
                      <a:pt x="369" y="358"/>
                    </a:lnTo>
                    <a:lnTo>
                      <a:pt x="370" y="358"/>
                    </a:lnTo>
                    <a:lnTo>
                      <a:pt x="372" y="357"/>
                    </a:lnTo>
                    <a:lnTo>
                      <a:pt x="373" y="357"/>
                    </a:lnTo>
                    <a:lnTo>
                      <a:pt x="373" y="358"/>
                    </a:lnTo>
                    <a:lnTo>
                      <a:pt x="373" y="359"/>
                    </a:lnTo>
                    <a:lnTo>
                      <a:pt x="374" y="359"/>
                    </a:lnTo>
                    <a:lnTo>
                      <a:pt x="375" y="360"/>
                    </a:lnTo>
                    <a:lnTo>
                      <a:pt x="376" y="360"/>
                    </a:lnTo>
                    <a:lnTo>
                      <a:pt x="376" y="361"/>
                    </a:lnTo>
                    <a:lnTo>
                      <a:pt x="377" y="361"/>
                    </a:lnTo>
                    <a:lnTo>
                      <a:pt x="376" y="361"/>
                    </a:lnTo>
                    <a:lnTo>
                      <a:pt x="377" y="361"/>
                    </a:lnTo>
                    <a:lnTo>
                      <a:pt x="378" y="361"/>
                    </a:lnTo>
                    <a:lnTo>
                      <a:pt x="380" y="361"/>
                    </a:lnTo>
                    <a:lnTo>
                      <a:pt x="381" y="361"/>
                    </a:lnTo>
                    <a:lnTo>
                      <a:pt x="381" y="362"/>
                    </a:lnTo>
                    <a:lnTo>
                      <a:pt x="380" y="362"/>
                    </a:lnTo>
                    <a:lnTo>
                      <a:pt x="380" y="361"/>
                    </a:lnTo>
                    <a:lnTo>
                      <a:pt x="378" y="361"/>
                    </a:lnTo>
                    <a:lnTo>
                      <a:pt x="378" y="362"/>
                    </a:lnTo>
                    <a:lnTo>
                      <a:pt x="377" y="363"/>
                    </a:lnTo>
                    <a:lnTo>
                      <a:pt x="377" y="362"/>
                    </a:lnTo>
                    <a:lnTo>
                      <a:pt x="376" y="363"/>
                    </a:lnTo>
                    <a:lnTo>
                      <a:pt x="375" y="363"/>
                    </a:lnTo>
                    <a:lnTo>
                      <a:pt x="375" y="362"/>
                    </a:lnTo>
                    <a:lnTo>
                      <a:pt x="375" y="361"/>
                    </a:lnTo>
                    <a:lnTo>
                      <a:pt x="375" y="362"/>
                    </a:lnTo>
                    <a:lnTo>
                      <a:pt x="375" y="363"/>
                    </a:lnTo>
                    <a:lnTo>
                      <a:pt x="374" y="363"/>
                    </a:lnTo>
                    <a:lnTo>
                      <a:pt x="374" y="362"/>
                    </a:lnTo>
                    <a:lnTo>
                      <a:pt x="374" y="363"/>
                    </a:lnTo>
                    <a:lnTo>
                      <a:pt x="375" y="363"/>
                    </a:lnTo>
                    <a:lnTo>
                      <a:pt x="374" y="363"/>
                    </a:lnTo>
                    <a:lnTo>
                      <a:pt x="375" y="363"/>
                    </a:lnTo>
                    <a:lnTo>
                      <a:pt x="374" y="363"/>
                    </a:lnTo>
                    <a:lnTo>
                      <a:pt x="375" y="363"/>
                    </a:lnTo>
                    <a:lnTo>
                      <a:pt x="375" y="364"/>
                    </a:lnTo>
                    <a:lnTo>
                      <a:pt x="375" y="363"/>
                    </a:lnTo>
                    <a:lnTo>
                      <a:pt x="376" y="363"/>
                    </a:lnTo>
                    <a:lnTo>
                      <a:pt x="377" y="363"/>
                    </a:lnTo>
                    <a:lnTo>
                      <a:pt x="378" y="363"/>
                    </a:lnTo>
                    <a:lnTo>
                      <a:pt x="380" y="363"/>
                    </a:lnTo>
                    <a:lnTo>
                      <a:pt x="380" y="364"/>
                    </a:lnTo>
                    <a:lnTo>
                      <a:pt x="381" y="364"/>
                    </a:lnTo>
                    <a:lnTo>
                      <a:pt x="381" y="363"/>
                    </a:lnTo>
                    <a:lnTo>
                      <a:pt x="382" y="363"/>
                    </a:lnTo>
                    <a:lnTo>
                      <a:pt x="383" y="363"/>
                    </a:lnTo>
                    <a:lnTo>
                      <a:pt x="382" y="362"/>
                    </a:lnTo>
                    <a:lnTo>
                      <a:pt x="383" y="362"/>
                    </a:lnTo>
                    <a:lnTo>
                      <a:pt x="383" y="363"/>
                    </a:lnTo>
                    <a:lnTo>
                      <a:pt x="384" y="363"/>
                    </a:lnTo>
                    <a:lnTo>
                      <a:pt x="384" y="362"/>
                    </a:lnTo>
                    <a:lnTo>
                      <a:pt x="385" y="362"/>
                    </a:lnTo>
                    <a:lnTo>
                      <a:pt x="385" y="363"/>
                    </a:lnTo>
                    <a:lnTo>
                      <a:pt x="385" y="364"/>
                    </a:lnTo>
                    <a:lnTo>
                      <a:pt x="386" y="364"/>
                    </a:lnTo>
                    <a:lnTo>
                      <a:pt x="387" y="364"/>
                    </a:lnTo>
                    <a:lnTo>
                      <a:pt x="388" y="364"/>
                    </a:lnTo>
                    <a:lnTo>
                      <a:pt x="389" y="364"/>
                    </a:lnTo>
                    <a:lnTo>
                      <a:pt x="390" y="364"/>
                    </a:lnTo>
                    <a:lnTo>
                      <a:pt x="390" y="365"/>
                    </a:lnTo>
                    <a:lnTo>
                      <a:pt x="390" y="364"/>
                    </a:lnTo>
                    <a:lnTo>
                      <a:pt x="390" y="365"/>
                    </a:lnTo>
                    <a:lnTo>
                      <a:pt x="389" y="365"/>
                    </a:lnTo>
                    <a:lnTo>
                      <a:pt x="389" y="366"/>
                    </a:lnTo>
                    <a:lnTo>
                      <a:pt x="390" y="366"/>
                    </a:lnTo>
                    <a:lnTo>
                      <a:pt x="389" y="366"/>
                    </a:lnTo>
                    <a:lnTo>
                      <a:pt x="389" y="365"/>
                    </a:lnTo>
                    <a:lnTo>
                      <a:pt x="390" y="366"/>
                    </a:lnTo>
                    <a:lnTo>
                      <a:pt x="390" y="365"/>
                    </a:lnTo>
                    <a:lnTo>
                      <a:pt x="391" y="364"/>
                    </a:lnTo>
                    <a:lnTo>
                      <a:pt x="391" y="365"/>
                    </a:lnTo>
                    <a:lnTo>
                      <a:pt x="393" y="365"/>
                    </a:lnTo>
                    <a:lnTo>
                      <a:pt x="391" y="365"/>
                    </a:lnTo>
                    <a:lnTo>
                      <a:pt x="390" y="365"/>
                    </a:lnTo>
                    <a:lnTo>
                      <a:pt x="391" y="365"/>
                    </a:lnTo>
                    <a:lnTo>
                      <a:pt x="391" y="366"/>
                    </a:lnTo>
                    <a:lnTo>
                      <a:pt x="390" y="366"/>
                    </a:lnTo>
                    <a:lnTo>
                      <a:pt x="390" y="367"/>
                    </a:lnTo>
                    <a:lnTo>
                      <a:pt x="391" y="367"/>
                    </a:lnTo>
                    <a:lnTo>
                      <a:pt x="391" y="369"/>
                    </a:lnTo>
                    <a:lnTo>
                      <a:pt x="393" y="369"/>
                    </a:lnTo>
                    <a:lnTo>
                      <a:pt x="394" y="369"/>
                    </a:lnTo>
                    <a:lnTo>
                      <a:pt x="394" y="367"/>
                    </a:lnTo>
                    <a:lnTo>
                      <a:pt x="395" y="367"/>
                    </a:lnTo>
                    <a:lnTo>
                      <a:pt x="396" y="367"/>
                    </a:lnTo>
                    <a:lnTo>
                      <a:pt x="395" y="369"/>
                    </a:lnTo>
                    <a:lnTo>
                      <a:pt x="395" y="370"/>
                    </a:lnTo>
                    <a:lnTo>
                      <a:pt x="395" y="369"/>
                    </a:lnTo>
                    <a:lnTo>
                      <a:pt x="394" y="369"/>
                    </a:lnTo>
                    <a:lnTo>
                      <a:pt x="393" y="369"/>
                    </a:lnTo>
                    <a:lnTo>
                      <a:pt x="391" y="370"/>
                    </a:lnTo>
                    <a:lnTo>
                      <a:pt x="393" y="369"/>
                    </a:lnTo>
                    <a:lnTo>
                      <a:pt x="394" y="369"/>
                    </a:lnTo>
                    <a:lnTo>
                      <a:pt x="394" y="370"/>
                    </a:lnTo>
                    <a:lnTo>
                      <a:pt x="393" y="370"/>
                    </a:lnTo>
                    <a:lnTo>
                      <a:pt x="393" y="371"/>
                    </a:lnTo>
                    <a:lnTo>
                      <a:pt x="394" y="371"/>
                    </a:lnTo>
                    <a:lnTo>
                      <a:pt x="394" y="372"/>
                    </a:lnTo>
                    <a:lnTo>
                      <a:pt x="394" y="373"/>
                    </a:lnTo>
                    <a:lnTo>
                      <a:pt x="394" y="374"/>
                    </a:lnTo>
                    <a:lnTo>
                      <a:pt x="393" y="374"/>
                    </a:lnTo>
                    <a:lnTo>
                      <a:pt x="394" y="374"/>
                    </a:lnTo>
                    <a:lnTo>
                      <a:pt x="394" y="375"/>
                    </a:lnTo>
                    <a:lnTo>
                      <a:pt x="394" y="376"/>
                    </a:lnTo>
                    <a:lnTo>
                      <a:pt x="394" y="375"/>
                    </a:lnTo>
                    <a:lnTo>
                      <a:pt x="395" y="375"/>
                    </a:lnTo>
                    <a:lnTo>
                      <a:pt x="395" y="374"/>
                    </a:lnTo>
                    <a:lnTo>
                      <a:pt x="396" y="373"/>
                    </a:lnTo>
                    <a:lnTo>
                      <a:pt x="396" y="374"/>
                    </a:lnTo>
                    <a:lnTo>
                      <a:pt x="395" y="374"/>
                    </a:lnTo>
                    <a:lnTo>
                      <a:pt x="395" y="375"/>
                    </a:lnTo>
                    <a:lnTo>
                      <a:pt x="395" y="374"/>
                    </a:lnTo>
                    <a:lnTo>
                      <a:pt x="396" y="374"/>
                    </a:lnTo>
                    <a:lnTo>
                      <a:pt x="396" y="373"/>
                    </a:lnTo>
                    <a:lnTo>
                      <a:pt x="397" y="373"/>
                    </a:lnTo>
                    <a:lnTo>
                      <a:pt x="397" y="374"/>
                    </a:lnTo>
                    <a:lnTo>
                      <a:pt x="396" y="375"/>
                    </a:lnTo>
                    <a:lnTo>
                      <a:pt x="397" y="375"/>
                    </a:lnTo>
                    <a:lnTo>
                      <a:pt x="396" y="375"/>
                    </a:lnTo>
                    <a:lnTo>
                      <a:pt x="396" y="376"/>
                    </a:lnTo>
                    <a:lnTo>
                      <a:pt x="396" y="375"/>
                    </a:lnTo>
                    <a:lnTo>
                      <a:pt x="397" y="376"/>
                    </a:lnTo>
                    <a:lnTo>
                      <a:pt x="397" y="375"/>
                    </a:lnTo>
                    <a:lnTo>
                      <a:pt x="396" y="375"/>
                    </a:lnTo>
                    <a:lnTo>
                      <a:pt x="397" y="374"/>
                    </a:lnTo>
                    <a:lnTo>
                      <a:pt x="397" y="375"/>
                    </a:lnTo>
                    <a:lnTo>
                      <a:pt x="397" y="374"/>
                    </a:lnTo>
                    <a:lnTo>
                      <a:pt x="397" y="373"/>
                    </a:lnTo>
                    <a:lnTo>
                      <a:pt x="396" y="372"/>
                    </a:lnTo>
                    <a:lnTo>
                      <a:pt x="396" y="373"/>
                    </a:lnTo>
                    <a:lnTo>
                      <a:pt x="395" y="374"/>
                    </a:lnTo>
                    <a:lnTo>
                      <a:pt x="394" y="374"/>
                    </a:lnTo>
                    <a:lnTo>
                      <a:pt x="394" y="373"/>
                    </a:lnTo>
                    <a:lnTo>
                      <a:pt x="394" y="374"/>
                    </a:lnTo>
                    <a:lnTo>
                      <a:pt x="394" y="373"/>
                    </a:lnTo>
                    <a:lnTo>
                      <a:pt x="394" y="372"/>
                    </a:lnTo>
                    <a:lnTo>
                      <a:pt x="395" y="372"/>
                    </a:lnTo>
                    <a:lnTo>
                      <a:pt x="394" y="371"/>
                    </a:lnTo>
                    <a:lnTo>
                      <a:pt x="393" y="371"/>
                    </a:lnTo>
                    <a:lnTo>
                      <a:pt x="394" y="371"/>
                    </a:lnTo>
                    <a:lnTo>
                      <a:pt x="393" y="371"/>
                    </a:lnTo>
                    <a:lnTo>
                      <a:pt x="393" y="370"/>
                    </a:lnTo>
                    <a:lnTo>
                      <a:pt x="394" y="370"/>
                    </a:lnTo>
                    <a:lnTo>
                      <a:pt x="395" y="370"/>
                    </a:lnTo>
                    <a:lnTo>
                      <a:pt x="395" y="371"/>
                    </a:lnTo>
                    <a:lnTo>
                      <a:pt x="396" y="371"/>
                    </a:lnTo>
                    <a:lnTo>
                      <a:pt x="396" y="372"/>
                    </a:lnTo>
                    <a:lnTo>
                      <a:pt x="397" y="372"/>
                    </a:lnTo>
                    <a:lnTo>
                      <a:pt x="398" y="372"/>
                    </a:lnTo>
                    <a:lnTo>
                      <a:pt x="399" y="372"/>
                    </a:lnTo>
                    <a:lnTo>
                      <a:pt x="398" y="373"/>
                    </a:lnTo>
                    <a:lnTo>
                      <a:pt x="398" y="374"/>
                    </a:lnTo>
                    <a:lnTo>
                      <a:pt x="398" y="375"/>
                    </a:lnTo>
                    <a:lnTo>
                      <a:pt x="397" y="375"/>
                    </a:lnTo>
                    <a:lnTo>
                      <a:pt x="398" y="375"/>
                    </a:lnTo>
                    <a:lnTo>
                      <a:pt x="398" y="374"/>
                    </a:lnTo>
                    <a:lnTo>
                      <a:pt x="399" y="373"/>
                    </a:lnTo>
                    <a:lnTo>
                      <a:pt x="400" y="373"/>
                    </a:lnTo>
                    <a:lnTo>
                      <a:pt x="401" y="373"/>
                    </a:lnTo>
                    <a:lnTo>
                      <a:pt x="401" y="372"/>
                    </a:lnTo>
                    <a:lnTo>
                      <a:pt x="402" y="372"/>
                    </a:lnTo>
                    <a:lnTo>
                      <a:pt x="403" y="372"/>
                    </a:lnTo>
                    <a:lnTo>
                      <a:pt x="403" y="373"/>
                    </a:lnTo>
                    <a:lnTo>
                      <a:pt x="402" y="373"/>
                    </a:lnTo>
                    <a:lnTo>
                      <a:pt x="401" y="373"/>
                    </a:lnTo>
                    <a:lnTo>
                      <a:pt x="402" y="373"/>
                    </a:lnTo>
                    <a:lnTo>
                      <a:pt x="403" y="373"/>
                    </a:lnTo>
                    <a:lnTo>
                      <a:pt x="403" y="372"/>
                    </a:lnTo>
                    <a:lnTo>
                      <a:pt x="403" y="371"/>
                    </a:lnTo>
                    <a:lnTo>
                      <a:pt x="403" y="370"/>
                    </a:lnTo>
                    <a:lnTo>
                      <a:pt x="404" y="370"/>
                    </a:lnTo>
                    <a:lnTo>
                      <a:pt x="404" y="371"/>
                    </a:lnTo>
                    <a:lnTo>
                      <a:pt x="404" y="372"/>
                    </a:lnTo>
                    <a:lnTo>
                      <a:pt x="403" y="372"/>
                    </a:lnTo>
                    <a:lnTo>
                      <a:pt x="403" y="374"/>
                    </a:lnTo>
                    <a:lnTo>
                      <a:pt x="402" y="374"/>
                    </a:lnTo>
                    <a:lnTo>
                      <a:pt x="401" y="374"/>
                    </a:lnTo>
                    <a:lnTo>
                      <a:pt x="400" y="374"/>
                    </a:lnTo>
                    <a:lnTo>
                      <a:pt x="401" y="374"/>
                    </a:lnTo>
                    <a:lnTo>
                      <a:pt x="402" y="374"/>
                    </a:lnTo>
                    <a:lnTo>
                      <a:pt x="403" y="374"/>
                    </a:lnTo>
                    <a:lnTo>
                      <a:pt x="403" y="375"/>
                    </a:lnTo>
                    <a:lnTo>
                      <a:pt x="403" y="376"/>
                    </a:lnTo>
                    <a:lnTo>
                      <a:pt x="406" y="375"/>
                    </a:lnTo>
                    <a:lnTo>
                      <a:pt x="404" y="375"/>
                    </a:lnTo>
                    <a:lnTo>
                      <a:pt x="404" y="376"/>
                    </a:lnTo>
                    <a:lnTo>
                      <a:pt x="406" y="376"/>
                    </a:lnTo>
                    <a:lnTo>
                      <a:pt x="404" y="376"/>
                    </a:lnTo>
                    <a:lnTo>
                      <a:pt x="404" y="375"/>
                    </a:lnTo>
                    <a:lnTo>
                      <a:pt x="403" y="375"/>
                    </a:lnTo>
                    <a:lnTo>
                      <a:pt x="403" y="376"/>
                    </a:lnTo>
                    <a:lnTo>
                      <a:pt x="404" y="376"/>
                    </a:lnTo>
                    <a:lnTo>
                      <a:pt x="404" y="377"/>
                    </a:lnTo>
                    <a:lnTo>
                      <a:pt x="404" y="378"/>
                    </a:lnTo>
                    <a:lnTo>
                      <a:pt x="403" y="378"/>
                    </a:lnTo>
                    <a:lnTo>
                      <a:pt x="404" y="378"/>
                    </a:lnTo>
                    <a:lnTo>
                      <a:pt x="406" y="378"/>
                    </a:lnTo>
                    <a:lnTo>
                      <a:pt x="406" y="377"/>
                    </a:lnTo>
                    <a:lnTo>
                      <a:pt x="406" y="378"/>
                    </a:lnTo>
                    <a:lnTo>
                      <a:pt x="407" y="378"/>
                    </a:lnTo>
                    <a:lnTo>
                      <a:pt x="407" y="377"/>
                    </a:lnTo>
                    <a:lnTo>
                      <a:pt x="407" y="378"/>
                    </a:lnTo>
                    <a:lnTo>
                      <a:pt x="406" y="378"/>
                    </a:lnTo>
                    <a:lnTo>
                      <a:pt x="406" y="379"/>
                    </a:lnTo>
                    <a:lnTo>
                      <a:pt x="406" y="380"/>
                    </a:lnTo>
                    <a:lnTo>
                      <a:pt x="404" y="380"/>
                    </a:lnTo>
                    <a:lnTo>
                      <a:pt x="406" y="380"/>
                    </a:lnTo>
                    <a:lnTo>
                      <a:pt x="406" y="379"/>
                    </a:lnTo>
                    <a:lnTo>
                      <a:pt x="407" y="379"/>
                    </a:lnTo>
                    <a:lnTo>
                      <a:pt x="407" y="380"/>
                    </a:lnTo>
                    <a:lnTo>
                      <a:pt x="407" y="382"/>
                    </a:lnTo>
                    <a:lnTo>
                      <a:pt x="407" y="380"/>
                    </a:lnTo>
                    <a:lnTo>
                      <a:pt x="407" y="379"/>
                    </a:lnTo>
                    <a:lnTo>
                      <a:pt x="408" y="379"/>
                    </a:lnTo>
                    <a:lnTo>
                      <a:pt x="409" y="378"/>
                    </a:lnTo>
                    <a:lnTo>
                      <a:pt x="410" y="378"/>
                    </a:lnTo>
                    <a:lnTo>
                      <a:pt x="411" y="378"/>
                    </a:lnTo>
                    <a:lnTo>
                      <a:pt x="411" y="377"/>
                    </a:lnTo>
                    <a:lnTo>
                      <a:pt x="412" y="377"/>
                    </a:lnTo>
                    <a:lnTo>
                      <a:pt x="412" y="378"/>
                    </a:lnTo>
                    <a:lnTo>
                      <a:pt x="411" y="378"/>
                    </a:lnTo>
                    <a:lnTo>
                      <a:pt x="410" y="378"/>
                    </a:lnTo>
                    <a:lnTo>
                      <a:pt x="410" y="379"/>
                    </a:lnTo>
                    <a:lnTo>
                      <a:pt x="409" y="379"/>
                    </a:lnTo>
                    <a:lnTo>
                      <a:pt x="408" y="379"/>
                    </a:lnTo>
                    <a:lnTo>
                      <a:pt x="408" y="380"/>
                    </a:lnTo>
                    <a:lnTo>
                      <a:pt x="407" y="380"/>
                    </a:lnTo>
                    <a:lnTo>
                      <a:pt x="407" y="382"/>
                    </a:lnTo>
                    <a:lnTo>
                      <a:pt x="407" y="383"/>
                    </a:lnTo>
                    <a:lnTo>
                      <a:pt x="408" y="384"/>
                    </a:lnTo>
                    <a:lnTo>
                      <a:pt x="409" y="383"/>
                    </a:lnTo>
                    <a:lnTo>
                      <a:pt x="410" y="383"/>
                    </a:lnTo>
                    <a:lnTo>
                      <a:pt x="409" y="383"/>
                    </a:lnTo>
                    <a:lnTo>
                      <a:pt x="410" y="383"/>
                    </a:lnTo>
                    <a:lnTo>
                      <a:pt x="409" y="382"/>
                    </a:lnTo>
                    <a:lnTo>
                      <a:pt x="410" y="383"/>
                    </a:lnTo>
                    <a:lnTo>
                      <a:pt x="411" y="383"/>
                    </a:lnTo>
                    <a:lnTo>
                      <a:pt x="412" y="382"/>
                    </a:lnTo>
                    <a:lnTo>
                      <a:pt x="412" y="383"/>
                    </a:lnTo>
                    <a:lnTo>
                      <a:pt x="413" y="383"/>
                    </a:lnTo>
                    <a:lnTo>
                      <a:pt x="413" y="382"/>
                    </a:lnTo>
                    <a:lnTo>
                      <a:pt x="413" y="383"/>
                    </a:lnTo>
                    <a:lnTo>
                      <a:pt x="414" y="383"/>
                    </a:lnTo>
                    <a:lnTo>
                      <a:pt x="414" y="382"/>
                    </a:lnTo>
                    <a:lnTo>
                      <a:pt x="413" y="382"/>
                    </a:lnTo>
                    <a:lnTo>
                      <a:pt x="413" y="383"/>
                    </a:lnTo>
                    <a:lnTo>
                      <a:pt x="413" y="382"/>
                    </a:lnTo>
                    <a:lnTo>
                      <a:pt x="414" y="380"/>
                    </a:lnTo>
                    <a:lnTo>
                      <a:pt x="414" y="382"/>
                    </a:lnTo>
                    <a:lnTo>
                      <a:pt x="414" y="380"/>
                    </a:lnTo>
                    <a:lnTo>
                      <a:pt x="414" y="382"/>
                    </a:lnTo>
                    <a:lnTo>
                      <a:pt x="415" y="382"/>
                    </a:lnTo>
                    <a:lnTo>
                      <a:pt x="416" y="383"/>
                    </a:lnTo>
                    <a:lnTo>
                      <a:pt x="418" y="383"/>
                    </a:lnTo>
                    <a:lnTo>
                      <a:pt x="418" y="384"/>
                    </a:lnTo>
                    <a:lnTo>
                      <a:pt x="416" y="385"/>
                    </a:lnTo>
                    <a:lnTo>
                      <a:pt x="416" y="384"/>
                    </a:lnTo>
                    <a:lnTo>
                      <a:pt x="415" y="384"/>
                    </a:lnTo>
                    <a:lnTo>
                      <a:pt x="414" y="383"/>
                    </a:lnTo>
                    <a:lnTo>
                      <a:pt x="413" y="383"/>
                    </a:lnTo>
                    <a:lnTo>
                      <a:pt x="413" y="384"/>
                    </a:lnTo>
                    <a:lnTo>
                      <a:pt x="412" y="384"/>
                    </a:lnTo>
                    <a:lnTo>
                      <a:pt x="412" y="383"/>
                    </a:lnTo>
                    <a:lnTo>
                      <a:pt x="411" y="383"/>
                    </a:lnTo>
                    <a:lnTo>
                      <a:pt x="410" y="383"/>
                    </a:lnTo>
                    <a:lnTo>
                      <a:pt x="410" y="384"/>
                    </a:lnTo>
                    <a:lnTo>
                      <a:pt x="410" y="385"/>
                    </a:lnTo>
                    <a:lnTo>
                      <a:pt x="411" y="385"/>
                    </a:lnTo>
                    <a:lnTo>
                      <a:pt x="411" y="386"/>
                    </a:lnTo>
                    <a:lnTo>
                      <a:pt x="412" y="386"/>
                    </a:lnTo>
                    <a:lnTo>
                      <a:pt x="411" y="386"/>
                    </a:lnTo>
                    <a:lnTo>
                      <a:pt x="411" y="387"/>
                    </a:lnTo>
                    <a:lnTo>
                      <a:pt x="412" y="387"/>
                    </a:lnTo>
                    <a:lnTo>
                      <a:pt x="411" y="386"/>
                    </a:lnTo>
                    <a:lnTo>
                      <a:pt x="412" y="386"/>
                    </a:lnTo>
                    <a:lnTo>
                      <a:pt x="411" y="385"/>
                    </a:lnTo>
                    <a:lnTo>
                      <a:pt x="412" y="385"/>
                    </a:lnTo>
                    <a:lnTo>
                      <a:pt x="412" y="386"/>
                    </a:lnTo>
                    <a:lnTo>
                      <a:pt x="413" y="386"/>
                    </a:lnTo>
                    <a:lnTo>
                      <a:pt x="413" y="387"/>
                    </a:lnTo>
                    <a:lnTo>
                      <a:pt x="413" y="388"/>
                    </a:lnTo>
                    <a:lnTo>
                      <a:pt x="414" y="388"/>
                    </a:lnTo>
                    <a:lnTo>
                      <a:pt x="414" y="387"/>
                    </a:lnTo>
                    <a:lnTo>
                      <a:pt x="415" y="387"/>
                    </a:lnTo>
                    <a:lnTo>
                      <a:pt x="416" y="388"/>
                    </a:lnTo>
                    <a:lnTo>
                      <a:pt x="415" y="388"/>
                    </a:lnTo>
                    <a:lnTo>
                      <a:pt x="415" y="389"/>
                    </a:lnTo>
                    <a:lnTo>
                      <a:pt x="415" y="388"/>
                    </a:lnTo>
                    <a:lnTo>
                      <a:pt x="415" y="389"/>
                    </a:lnTo>
                    <a:lnTo>
                      <a:pt x="414" y="389"/>
                    </a:lnTo>
                    <a:lnTo>
                      <a:pt x="415" y="389"/>
                    </a:lnTo>
                    <a:lnTo>
                      <a:pt x="415" y="390"/>
                    </a:lnTo>
                    <a:lnTo>
                      <a:pt x="416" y="390"/>
                    </a:lnTo>
                    <a:lnTo>
                      <a:pt x="416" y="389"/>
                    </a:lnTo>
                    <a:lnTo>
                      <a:pt x="416" y="390"/>
                    </a:lnTo>
                    <a:lnTo>
                      <a:pt x="418" y="390"/>
                    </a:lnTo>
                    <a:lnTo>
                      <a:pt x="418" y="391"/>
                    </a:lnTo>
                    <a:lnTo>
                      <a:pt x="416" y="391"/>
                    </a:lnTo>
                    <a:lnTo>
                      <a:pt x="415" y="391"/>
                    </a:lnTo>
                    <a:lnTo>
                      <a:pt x="416" y="392"/>
                    </a:lnTo>
                    <a:lnTo>
                      <a:pt x="418" y="391"/>
                    </a:lnTo>
                    <a:lnTo>
                      <a:pt x="418" y="392"/>
                    </a:lnTo>
                    <a:lnTo>
                      <a:pt x="418" y="393"/>
                    </a:lnTo>
                    <a:lnTo>
                      <a:pt x="419" y="393"/>
                    </a:lnTo>
                    <a:lnTo>
                      <a:pt x="418" y="393"/>
                    </a:lnTo>
                    <a:lnTo>
                      <a:pt x="419" y="395"/>
                    </a:lnTo>
                    <a:lnTo>
                      <a:pt x="420" y="395"/>
                    </a:lnTo>
                    <a:lnTo>
                      <a:pt x="420" y="393"/>
                    </a:lnTo>
                    <a:lnTo>
                      <a:pt x="419" y="392"/>
                    </a:lnTo>
                    <a:lnTo>
                      <a:pt x="420" y="392"/>
                    </a:lnTo>
                    <a:lnTo>
                      <a:pt x="420" y="393"/>
                    </a:lnTo>
                    <a:lnTo>
                      <a:pt x="420" y="392"/>
                    </a:lnTo>
                    <a:lnTo>
                      <a:pt x="421" y="392"/>
                    </a:lnTo>
                    <a:lnTo>
                      <a:pt x="420" y="392"/>
                    </a:lnTo>
                    <a:lnTo>
                      <a:pt x="421" y="392"/>
                    </a:lnTo>
                    <a:lnTo>
                      <a:pt x="421" y="393"/>
                    </a:lnTo>
                    <a:lnTo>
                      <a:pt x="420" y="393"/>
                    </a:lnTo>
                    <a:lnTo>
                      <a:pt x="420" y="395"/>
                    </a:lnTo>
                    <a:lnTo>
                      <a:pt x="421" y="395"/>
                    </a:lnTo>
                    <a:lnTo>
                      <a:pt x="421" y="393"/>
                    </a:lnTo>
                    <a:lnTo>
                      <a:pt x="422" y="393"/>
                    </a:lnTo>
                    <a:lnTo>
                      <a:pt x="422" y="395"/>
                    </a:lnTo>
                    <a:lnTo>
                      <a:pt x="421" y="395"/>
                    </a:lnTo>
                    <a:lnTo>
                      <a:pt x="420" y="395"/>
                    </a:lnTo>
                    <a:lnTo>
                      <a:pt x="420" y="396"/>
                    </a:lnTo>
                    <a:lnTo>
                      <a:pt x="421" y="396"/>
                    </a:lnTo>
                    <a:lnTo>
                      <a:pt x="422" y="396"/>
                    </a:lnTo>
                    <a:lnTo>
                      <a:pt x="423" y="396"/>
                    </a:lnTo>
                    <a:lnTo>
                      <a:pt x="423" y="397"/>
                    </a:lnTo>
                    <a:lnTo>
                      <a:pt x="423" y="398"/>
                    </a:lnTo>
                    <a:lnTo>
                      <a:pt x="423" y="397"/>
                    </a:lnTo>
                    <a:lnTo>
                      <a:pt x="423" y="396"/>
                    </a:lnTo>
                    <a:lnTo>
                      <a:pt x="424" y="396"/>
                    </a:lnTo>
                    <a:lnTo>
                      <a:pt x="423" y="397"/>
                    </a:lnTo>
                    <a:lnTo>
                      <a:pt x="424" y="397"/>
                    </a:lnTo>
                    <a:lnTo>
                      <a:pt x="424" y="396"/>
                    </a:lnTo>
                    <a:lnTo>
                      <a:pt x="424" y="397"/>
                    </a:lnTo>
                    <a:lnTo>
                      <a:pt x="424" y="396"/>
                    </a:lnTo>
                    <a:lnTo>
                      <a:pt x="425" y="396"/>
                    </a:lnTo>
                    <a:lnTo>
                      <a:pt x="424" y="397"/>
                    </a:lnTo>
                    <a:lnTo>
                      <a:pt x="425" y="397"/>
                    </a:lnTo>
                    <a:lnTo>
                      <a:pt x="425" y="396"/>
                    </a:lnTo>
                    <a:lnTo>
                      <a:pt x="425" y="397"/>
                    </a:lnTo>
                    <a:lnTo>
                      <a:pt x="426" y="397"/>
                    </a:lnTo>
                    <a:lnTo>
                      <a:pt x="426" y="396"/>
                    </a:lnTo>
                    <a:lnTo>
                      <a:pt x="426" y="397"/>
                    </a:lnTo>
                    <a:lnTo>
                      <a:pt x="426" y="398"/>
                    </a:lnTo>
                    <a:lnTo>
                      <a:pt x="427" y="398"/>
                    </a:lnTo>
                    <a:lnTo>
                      <a:pt x="427" y="397"/>
                    </a:lnTo>
                    <a:lnTo>
                      <a:pt x="427" y="395"/>
                    </a:lnTo>
                    <a:lnTo>
                      <a:pt x="427" y="393"/>
                    </a:lnTo>
                    <a:lnTo>
                      <a:pt x="428" y="393"/>
                    </a:lnTo>
                    <a:lnTo>
                      <a:pt x="428" y="392"/>
                    </a:lnTo>
                    <a:lnTo>
                      <a:pt x="428" y="393"/>
                    </a:lnTo>
                    <a:lnTo>
                      <a:pt x="429" y="393"/>
                    </a:lnTo>
                    <a:lnTo>
                      <a:pt x="429" y="392"/>
                    </a:lnTo>
                    <a:lnTo>
                      <a:pt x="431" y="392"/>
                    </a:lnTo>
                    <a:lnTo>
                      <a:pt x="429" y="392"/>
                    </a:lnTo>
                    <a:lnTo>
                      <a:pt x="429" y="393"/>
                    </a:lnTo>
                    <a:lnTo>
                      <a:pt x="428" y="393"/>
                    </a:lnTo>
                    <a:lnTo>
                      <a:pt x="428" y="395"/>
                    </a:lnTo>
                    <a:lnTo>
                      <a:pt x="428" y="396"/>
                    </a:lnTo>
                    <a:lnTo>
                      <a:pt x="429" y="396"/>
                    </a:lnTo>
                    <a:lnTo>
                      <a:pt x="429" y="397"/>
                    </a:lnTo>
                    <a:lnTo>
                      <a:pt x="428" y="397"/>
                    </a:lnTo>
                    <a:lnTo>
                      <a:pt x="428" y="396"/>
                    </a:lnTo>
                    <a:lnTo>
                      <a:pt x="428" y="397"/>
                    </a:lnTo>
                    <a:lnTo>
                      <a:pt x="428" y="398"/>
                    </a:lnTo>
                    <a:lnTo>
                      <a:pt x="428" y="399"/>
                    </a:lnTo>
                    <a:lnTo>
                      <a:pt x="429" y="399"/>
                    </a:lnTo>
                    <a:lnTo>
                      <a:pt x="429" y="400"/>
                    </a:lnTo>
                    <a:lnTo>
                      <a:pt x="431" y="400"/>
                    </a:lnTo>
                    <a:lnTo>
                      <a:pt x="429" y="400"/>
                    </a:lnTo>
                    <a:lnTo>
                      <a:pt x="431" y="399"/>
                    </a:lnTo>
                    <a:lnTo>
                      <a:pt x="432" y="399"/>
                    </a:lnTo>
                    <a:lnTo>
                      <a:pt x="432" y="400"/>
                    </a:lnTo>
                    <a:lnTo>
                      <a:pt x="431" y="400"/>
                    </a:lnTo>
                    <a:lnTo>
                      <a:pt x="432" y="400"/>
                    </a:lnTo>
                    <a:lnTo>
                      <a:pt x="432" y="399"/>
                    </a:lnTo>
                    <a:lnTo>
                      <a:pt x="432" y="398"/>
                    </a:lnTo>
                    <a:lnTo>
                      <a:pt x="433" y="398"/>
                    </a:lnTo>
                    <a:lnTo>
                      <a:pt x="433" y="399"/>
                    </a:lnTo>
                    <a:lnTo>
                      <a:pt x="433" y="400"/>
                    </a:lnTo>
                    <a:lnTo>
                      <a:pt x="434" y="400"/>
                    </a:lnTo>
                    <a:lnTo>
                      <a:pt x="434" y="401"/>
                    </a:lnTo>
                    <a:lnTo>
                      <a:pt x="435" y="401"/>
                    </a:lnTo>
                    <a:lnTo>
                      <a:pt x="435" y="400"/>
                    </a:lnTo>
                    <a:lnTo>
                      <a:pt x="436" y="399"/>
                    </a:lnTo>
                    <a:lnTo>
                      <a:pt x="436" y="398"/>
                    </a:lnTo>
                    <a:lnTo>
                      <a:pt x="437" y="398"/>
                    </a:lnTo>
                    <a:lnTo>
                      <a:pt x="437" y="399"/>
                    </a:lnTo>
                    <a:lnTo>
                      <a:pt x="437" y="400"/>
                    </a:lnTo>
                    <a:lnTo>
                      <a:pt x="436" y="400"/>
                    </a:lnTo>
                    <a:lnTo>
                      <a:pt x="437" y="400"/>
                    </a:lnTo>
                    <a:lnTo>
                      <a:pt x="438" y="399"/>
                    </a:lnTo>
                    <a:lnTo>
                      <a:pt x="438" y="400"/>
                    </a:lnTo>
                    <a:lnTo>
                      <a:pt x="438" y="399"/>
                    </a:lnTo>
                    <a:lnTo>
                      <a:pt x="439" y="399"/>
                    </a:lnTo>
                    <a:lnTo>
                      <a:pt x="439" y="398"/>
                    </a:lnTo>
                    <a:lnTo>
                      <a:pt x="440" y="398"/>
                    </a:lnTo>
                    <a:lnTo>
                      <a:pt x="440" y="399"/>
                    </a:lnTo>
                    <a:lnTo>
                      <a:pt x="440" y="400"/>
                    </a:lnTo>
                    <a:lnTo>
                      <a:pt x="439" y="400"/>
                    </a:lnTo>
                    <a:lnTo>
                      <a:pt x="439" y="401"/>
                    </a:lnTo>
                    <a:lnTo>
                      <a:pt x="439" y="402"/>
                    </a:lnTo>
                    <a:lnTo>
                      <a:pt x="440" y="402"/>
                    </a:lnTo>
                    <a:lnTo>
                      <a:pt x="440" y="403"/>
                    </a:lnTo>
                    <a:lnTo>
                      <a:pt x="440" y="404"/>
                    </a:lnTo>
                    <a:lnTo>
                      <a:pt x="441" y="404"/>
                    </a:lnTo>
                    <a:lnTo>
                      <a:pt x="441" y="403"/>
                    </a:lnTo>
                    <a:lnTo>
                      <a:pt x="441" y="404"/>
                    </a:lnTo>
                    <a:lnTo>
                      <a:pt x="442" y="404"/>
                    </a:lnTo>
                    <a:lnTo>
                      <a:pt x="442" y="403"/>
                    </a:lnTo>
                    <a:lnTo>
                      <a:pt x="442" y="404"/>
                    </a:lnTo>
                    <a:lnTo>
                      <a:pt x="441" y="404"/>
                    </a:lnTo>
                    <a:lnTo>
                      <a:pt x="441" y="405"/>
                    </a:lnTo>
                    <a:lnTo>
                      <a:pt x="440" y="405"/>
                    </a:lnTo>
                    <a:lnTo>
                      <a:pt x="440" y="406"/>
                    </a:lnTo>
                    <a:lnTo>
                      <a:pt x="441" y="406"/>
                    </a:lnTo>
                    <a:lnTo>
                      <a:pt x="441" y="408"/>
                    </a:lnTo>
                    <a:lnTo>
                      <a:pt x="442" y="408"/>
                    </a:lnTo>
                    <a:lnTo>
                      <a:pt x="442" y="406"/>
                    </a:lnTo>
                    <a:lnTo>
                      <a:pt x="442" y="405"/>
                    </a:lnTo>
                    <a:lnTo>
                      <a:pt x="442" y="404"/>
                    </a:lnTo>
                    <a:lnTo>
                      <a:pt x="444" y="404"/>
                    </a:lnTo>
                    <a:lnTo>
                      <a:pt x="444" y="403"/>
                    </a:lnTo>
                    <a:lnTo>
                      <a:pt x="444" y="404"/>
                    </a:lnTo>
                    <a:lnTo>
                      <a:pt x="445" y="404"/>
                    </a:lnTo>
                    <a:lnTo>
                      <a:pt x="446" y="404"/>
                    </a:lnTo>
                    <a:lnTo>
                      <a:pt x="446" y="403"/>
                    </a:lnTo>
                    <a:lnTo>
                      <a:pt x="447" y="402"/>
                    </a:lnTo>
                    <a:lnTo>
                      <a:pt x="447" y="401"/>
                    </a:lnTo>
                    <a:lnTo>
                      <a:pt x="447" y="400"/>
                    </a:lnTo>
                    <a:lnTo>
                      <a:pt x="447" y="399"/>
                    </a:lnTo>
                    <a:lnTo>
                      <a:pt x="448" y="399"/>
                    </a:lnTo>
                    <a:lnTo>
                      <a:pt x="448" y="398"/>
                    </a:lnTo>
                    <a:lnTo>
                      <a:pt x="448" y="397"/>
                    </a:lnTo>
                    <a:lnTo>
                      <a:pt x="449" y="397"/>
                    </a:lnTo>
                    <a:lnTo>
                      <a:pt x="448" y="397"/>
                    </a:lnTo>
                    <a:lnTo>
                      <a:pt x="448" y="396"/>
                    </a:lnTo>
                    <a:lnTo>
                      <a:pt x="449" y="396"/>
                    </a:lnTo>
                    <a:lnTo>
                      <a:pt x="449" y="395"/>
                    </a:lnTo>
                    <a:lnTo>
                      <a:pt x="449" y="393"/>
                    </a:lnTo>
                    <a:lnTo>
                      <a:pt x="449" y="392"/>
                    </a:lnTo>
                    <a:lnTo>
                      <a:pt x="449" y="393"/>
                    </a:lnTo>
                    <a:lnTo>
                      <a:pt x="450" y="393"/>
                    </a:lnTo>
                    <a:lnTo>
                      <a:pt x="450" y="392"/>
                    </a:lnTo>
                    <a:lnTo>
                      <a:pt x="449" y="392"/>
                    </a:lnTo>
                    <a:lnTo>
                      <a:pt x="448" y="392"/>
                    </a:lnTo>
                    <a:lnTo>
                      <a:pt x="448" y="391"/>
                    </a:lnTo>
                    <a:lnTo>
                      <a:pt x="449" y="391"/>
                    </a:lnTo>
                    <a:lnTo>
                      <a:pt x="449" y="392"/>
                    </a:lnTo>
                    <a:lnTo>
                      <a:pt x="450" y="392"/>
                    </a:lnTo>
                    <a:lnTo>
                      <a:pt x="450" y="393"/>
                    </a:lnTo>
                    <a:lnTo>
                      <a:pt x="451" y="393"/>
                    </a:lnTo>
                    <a:lnTo>
                      <a:pt x="451" y="392"/>
                    </a:lnTo>
                    <a:lnTo>
                      <a:pt x="451" y="393"/>
                    </a:lnTo>
                    <a:lnTo>
                      <a:pt x="451" y="395"/>
                    </a:lnTo>
                    <a:lnTo>
                      <a:pt x="452" y="395"/>
                    </a:lnTo>
                    <a:lnTo>
                      <a:pt x="452" y="393"/>
                    </a:lnTo>
                    <a:lnTo>
                      <a:pt x="452" y="392"/>
                    </a:lnTo>
                    <a:lnTo>
                      <a:pt x="451" y="392"/>
                    </a:lnTo>
                    <a:lnTo>
                      <a:pt x="450" y="392"/>
                    </a:lnTo>
                    <a:lnTo>
                      <a:pt x="450" y="391"/>
                    </a:lnTo>
                    <a:lnTo>
                      <a:pt x="449" y="391"/>
                    </a:lnTo>
                    <a:lnTo>
                      <a:pt x="448" y="391"/>
                    </a:lnTo>
                    <a:lnTo>
                      <a:pt x="448" y="390"/>
                    </a:lnTo>
                    <a:lnTo>
                      <a:pt x="448" y="388"/>
                    </a:lnTo>
                    <a:lnTo>
                      <a:pt x="448" y="390"/>
                    </a:lnTo>
                    <a:lnTo>
                      <a:pt x="448" y="391"/>
                    </a:lnTo>
                    <a:lnTo>
                      <a:pt x="448" y="390"/>
                    </a:lnTo>
                    <a:lnTo>
                      <a:pt x="449" y="391"/>
                    </a:lnTo>
                    <a:lnTo>
                      <a:pt x="450" y="391"/>
                    </a:lnTo>
                    <a:lnTo>
                      <a:pt x="451" y="391"/>
                    </a:lnTo>
                    <a:lnTo>
                      <a:pt x="452" y="392"/>
                    </a:lnTo>
                    <a:lnTo>
                      <a:pt x="453" y="392"/>
                    </a:lnTo>
                    <a:lnTo>
                      <a:pt x="453" y="391"/>
                    </a:lnTo>
                    <a:lnTo>
                      <a:pt x="454" y="391"/>
                    </a:lnTo>
                    <a:lnTo>
                      <a:pt x="453" y="390"/>
                    </a:lnTo>
                    <a:lnTo>
                      <a:pt x="453" y="389"/>
                    </a:lnTo>
                    <a:lnTo>
                      <a:pt x="452" y="389"/>
                    </a:lnTo>
                    <a:lnTo>
                      <a:pt x="452" y="388"/>
                    </a:lnTo>
                    <a:lnTo>
                      <a:pt x="451" y="388"/>
                    </a:lnTo>
                    <a:lnTo>
                      <a:pt x="451" y="389"/>
                    </a:lnTo>
                    <a:lnTo>
                      <a:pt x="451" y="388"/>
                    </a:lnTo>
                    <a:lnTo>
                      <a:pt x="451" y="387"/>
                    </a:lnTo>
                    <a:lnTo>
                      <a:pt x="450" y="388"/>
                    </a:lnTo>
                    <a:lnTo>
                      <a:pt x="450" y="387"/>
                    </a:lnTo>
                    <a:lnTo>
                      <a:pt x="451" y="387"/>
                    </a:lnTo>
                    <a:lnTo>
                      <a:pt x="450" y="387"/>
                    </a:lnTo>
                    <a:lnTo>
                      <a:pt x="451" y="387"/>
                    </a:lnTo>
                    <a:lnTo>
                      <a:pt x="452" y="387"/>
                    </a:lnTo>
                    <a:lnTo>
                      <a:pt x="451" y="387"/>
                    </a:lnTo>
                    <a:lnTo>
                      <a:pt x="452" y="387"/>
                    </a:lnTo>
                    <a:lnTo>
                      <a:pt x="452" y="388"/>
                    </a:lnTo>
                    <a:lnTo>
                      <a:pt x="453" y="387"/>
                    </a:lnTo>
                    <a:lnTo>
                      <a:pt x="453" y="388"/>
                    </a:lnTo>
                    <a:lnTo>
                      <a:pt x="454" y="388"/>
                    </a:lnTo>
                    <a:lnTo>
                      <a:pt x="455" y="388"/>
                    </a:lnTo>
                    <a:lnTo>
                      <a:pt x="454" y="387"/>
                    </a:lnTo>
                    <a:lnTo>
                      <a:pt x="455" y="387"/>
                    </a:lnTo>
                    <a:lnTo>
                      <a:pt x="455" y="388"/>
                    </a:lnTo>
                    <a:lnTo>
                      <a:pt x="455" y="387"/>
                    </a:lnTo>
                    <a:lnTo>
                      <a:pt x="455" y="388"/>
                    </a:lnTo>
                    <a:lnTo>
                      <a:pt x="457" y="388"/>
                    </a:lnTo>
                    <a:lnTo>
                      <a:pt x="455" y="389"/>
                    </a:lnTo>
                    <a:lnTo>
                      <a:pt x="457" y="389"/>
                    </a:lnTo>
                    <a:lnTo>
                      <a:pt x="458" y="389"/>
                    </a:lnTo>
                    <a:lnTo>
                      <a:pt x="459" y="389"/>
                    </a:lnTo>
                    <a:lnTo>
                      <a:pt x="460" y="389"/>
                    </a:lnTo>
                    <a:lnTo>
                      <a:pt x="461" y="389"/>
                    </a:lnTo>
                    <a:lnTo>
                      <a:pt x="462" y="389"/>
                    </a:lnTo>
                    <a:lnTo>
                      <a:pt x="463" y="389"/>
                    </a:lnTo>
                    <a:lnTo>
                      <a:pt x="464" y="389"/>
                    </a:lnTo>
                    <a:lnTo>
                      <a:pt x="464" y="388"/>
                    </a:lnTo>
                    <a:lnTo>
                      <a:pt x="465" y="388"/>
                    </a:lnTo>
                    <a:lnTo>
                      <a:pt x="464" y="388"/>
                    </a:lnTo>
                    <a:lnTo>
                      <a:pt x="465" y="387"/>
                    </a:lnTo>
                    <a:lnTo>
                      <a:pt x="466" y="387"/>
                    </a:lnTo>
                    <a:lnTo>
                      <a:pt x="467" y="387"/>
                    </a:lnTo>
                    <a:lnTo>
                      <a:pt x="467" y="386"/>
                    </a:lnTo>
                    <a:lnTo>
                      <a:pt x="467" y="387"/>
                    </a:lnTo>
                    <a:lnTo>
                      <a:pt x="467" y="386"/>
                    </a:lnTo>
                    <a:lnTo>
                      <a:pt x="468" y="386"/>
                    </a:lnTo>
                    <a:lnTo>
                      <a:pt x="468" y="385"/>
                    </a:lnTo>
                    <a:lnTo>
                      <a:pt x="470" y="385"/>
                    </a:lnTo>
                    <a:lnTo>
                      <a:pt x="471" y="385"/>
                    </a:lnTo>
                    <a:lnTo>
                      <a:pt x="471" y="384"/>
                    </a:lnTo>
                    <a:lnTo>
                      <a:pt x="471" y="383"/>
                    </a:lnTo>
                    <a:lnTo>
                      <a:pt x="472" y="383"/>
                    </a:lnTo>
                    <a:lnTo>
                      <a:pt x="472" y="382"/>
                    </a:lnTo>
                    <a:lnTo>
                      <a:pt x="472" y="380"/>
                    </a:lnTo>
                    <a:lnTo>
                      <a:pt x="471" y="380"/>
                    </a:lnTo>
                    <a:lnTo>
                      <a:pt x="471" y="382"/>
                    </a:lnTo>
                    <a:lnTo>
                      <a:pt x="470" y="380"/>
                    </a:lnTo>
                    <a:lnTo>
                      <a:pt x="470" y="379"/>
                    </a:lnTo>
                    <a:lnTo>
                      <a:pt x="471" y="379"/>
                    </a:lnTo>
                    <a:lnTo>
                      <a:pt x="470" y="379"/>
                    </a:lnTo>
                    <a:lnTo>
                      <a:pt x="468" y="379"/>
                    </a:lnTo>
                    <a:lnTo>
                      <a:pt x="470" y="377"/>
                    </a:lnTo>
                    <a:lnTo>
                      <a:pt x="470" y="376"/>
                    </a:lnTo>
                    <a:lnTo>
                      <a:pt x="468" y="376"/>
                    </a:lnTo>
                    <a:lnTo>
                      <a:pt x="467" y="376"/>
                    </a:lnTo>
                    <a:lnTo>
                      <a:pt x="467" y="375"/>
                    </a:lnTo>
                    <a:lnTo>
                      <a:pt x="468" y="375"/>
                    </a:lnTo>
                    <a:lnTo>
                      <a:pt x="468" y="374"/>
                    </a:lnTo>
                    <a:lnTo>
                      <a:pt x="467" y="374"/>
                    </a:lnTo>
                    <a:lnTo>
                      <a:pt x="466" y="373"/>
                    </a:lnTo>
                    <a:lnTo>
                      <a:pt x="465" y="373"/>
                    </a:lnTo>
                    <a:lnTo>
                      <a:pt x="464" y="373"/>
                    </a:lnTo>
                    <a:lnTo>
                      <a:pt x="464" y="372"/>
                    </a:lnTo>
                    <a:lnTo>
                      <a:pt x="464" y="371"/>
                    </a:lnTo>
                    <a:lnTo>
                      <a:pt x="463" y="370"/>
                    </a:lnTo>
                    <a:lnTo>
                      <a:pt x="463" y="369"/>
                    </a:lnTo>
                    <a:lnTo>
                      <a:pt x="463" y="370"/>
                    </a:lnTo>
                    <a:lnTo>
                      <a:pt x="464" y="370"/>
                    </a:lnTo>
                    <a:lnTo>
                      <a:pt x="464" y="371"/>
                    </a:lnTo>
                    <a:lnTo>
                      <a:pt x="465" y="371"/>
                    </a:lnTo>
                    <a:lnTo>
                      <a:pt x="465" y="372"/>
                    </a:lnTo>
                    <a:lnTo>
                      <a:pt x="465" y="371"/>
                    </a:lnTo>
                    <a:lnTo>
                      <a:pt x="465" y="370"/>
                    </a:lnTo>
                    <a:lnTo>
                      <a:pt x="464" y="369"/>
                    </a:lnTo>
                    <a:lnTo>
                      <a:pt x="465" y="369"/>
                    </a:lnTo>
                    <a:lnTo>
                      <a:pt x="465" y="367"/>
                    </a:lnTo>
                    <a:lnTo>
                      <a:pt x="466" y="367"/>
                    </a:lnTo>
                    <a:lnTo>
                      <a:pt x="466" y="369"/>
                    </a:lnTo>
                    <a:lnTo>
                      <a:pt x="467" y="369"/>
                    </a:lnTo>
                    <a:lnTo>
                      <a:pt x="467" y="367"/>
                    </a:lnTo>
                    <a:lnTo>
                      <a:pt x="467" y="366"/>
                    </a:lnTo>
                    <a:lnTo>
                      <a:pt x="468" y="366"/>
                    </a:lnTo>
                    <a:lnTo>
                      <a:pt x="468" y="367"/>
                    </a:lnTo>
                    <a:lnTo>
                      <a:pt x="468" y="369"/>
                    </a:lnTo>
                    <a:lnTo>
                      <a:pt x="468" y="370"/>
                    </a:lnTo>
                    <a:lnTo>
                      <a:pt x="467" y="370"/>
                    </a:lnTo>
                    <a:lnTo>
                      <a:pt x="467" y="371"/>
                    </a:lnTo>
                    <a:lnTo>
                      <a:pt x="467" y="372"/>
                    </a:lnTo>
                    <a:lnTo>
                      <a:pt x="468" y="373"/>
                    </a:lnTo>
                    <a:lnTo>
                      <a:pt x="470" y="373"/>
                    </a:lnTo>
                    <a:lnTo>
                      <a:pt x="471" y="373"/>
                    </a:lnTo>
                    <a:lnTo>
                      <a:pt x="471" y="374"/>
                    </a:lnTo>
                    <a:lnTo>
                      <a:pt x="471" y="375"/>
                    </a:lnTo>
                    <a:lnTo>
                      <a:pt x="472" y="375"/>
                    </a:lnTo>
                    <a:lnTo>
                      <a:pt x="472" y="376"/>
                    </a:lnTo>
                    <a:lnTo>
                      <a:pt x="472" y="377"/>
                    </a:lnTo>
                    <a:lnTo>
                      <a:pt x="472" y="378"/>
                    </a:lnTo>
                    <a:lnTo>
                      <a:pt x="473" y="379"/>
                    </a:lnTo>
                    <a:lnTo>
                      <a:pt x="473" y="378"/>
                    </a:lnTo>
                    <a:lnTo>
                      <a:pt x="473" y="377"/>
                    </a:lnTo>
                    <a:lnTo>
                      <a:pt x="474" y="377"/>
                    </a:lnTo>
                    <a:lnTo>
                      <a:pt x="475" y="377"/>
                    </a:lnTo>
                    <a:lnTo>
                      <a:pt x="475" y="378"/>
                    </a:lnTo>
                    <a:lnTo>
                      <a:pt x="476" y="378"/>
                    </a:lnTo>
                    <a:lnTo>
                      <a:pt x="476" y="377"/>
                    </a:lnTo>
                    <a:lnTo>
                      <a:pt x="477" y="377"/>
                    </a:lnTo>
                    <a:lnTo>
                      <a:pt x="478" y="377"/>
                    </a:lnTo>
                    <a:lnTo>
                      <a:pt x="478" y="378"/>
                    </a:lnTo>
                    <a:lnTo>
                      <a:pt x="479" y="378"/>
                    </a:lnTo>
                    <a:lnTo>
                      <a:pt x="479" y="379"/>
                    </a:lnTo>
                    <a:lnTo>
                      <a:pt x="478" y="379"/>
                    </a:lnTo>
                    <a:lnTo>
                      <a:pt x="478" y="380"/>
                    </a:lnTo>
                    <a:lnTo>
                      <a:pt x="478" y="382"/>
                    </a:lnTo>
                    <a:lnTo>
                      <a:pt x="478" y="383"/>
                    </a:lnTo>
                    <a:lnTo>
                      <a:pt x="478" y="384"/>
                    </a:lnTo>
                    <a:lnTo>
                      <a:pt x="478" y="385"/>
                    </a:lnTo>
                    <a:lnTo>
                      <a:pt x="477" y="386"/>
                    </a:lnTo>
                    <a:lnTo>
                      <a:pt x="478" y="386"/>
                    </a:lnTo>
                    <a:lnTo>
                      <a:pt x="477" y="386"/>
                    </a:lnTo>
                    <a:lnTo>
                      <a:pt x="477" y="387"/>
                    </a:lnTo>
                    <a:lnTo>
                      <a:pt x="478" y="387"/>
                    </a:lnTo>
                    <a:lnTo>
                      <a:pt x="478" y="386"/>
                    </a:lnTo>
                    <a:lnTo>
                      <a:pt x="478" y="385"/>
                    </a:lnTo>
                    <a:lnTo>
                      <a:pt x="478" y="386"/>
                    </a:lnTo>
                    <a:lnTo>
                      <a:pt x="479" y="386"/>
                    </a:lnTo>
                    <a:lnTo>
                      <a:pt x="479" y="385"/>
                    </a:lnTo>
                    <a:lnTo>
                      <a:pt x="479" y="384"/>
                    </a:lnTo>
                    <a:lnTo>
                      <a:pt x="479" y="385"/>
                    </a:lnTo>
                    <a:lnTo>
                      <a:pt x="479" y="386"/>
                    </a:lnTo>
                    <a:lnTo>
                      <a:pt x="479" y="387"/>
                    </a:lnTo>
                    <a:lnTo>
                      <a:pt x="478" y="387"/>
                    </a:lnTo>
                    <a:lnTo>
                      <a:pt x="478" y="388"/>
                    </a:lnTo>
                    <a:lnTo>
                      <a:pt x="477" y="388"/>
                    </a:lnTo>
                    <a:lnTo>
                      <a:pt x="476" y="388"/>
                    </a:lnTo>
                    <a:lnTo>
                      <a:pt x="476" y="389"/>
                    </a:lnTo>
                    <a:lnTo>
                      <a:pt x="475" y="389"/>
                    </a:lnTo>
                    <a:lnTo>
                      <a:pt x="476" y="389"/>
                    </a:lnTo>
                    <a:lnTo>
                      <a:pt x="476" y="390"/>
                    </a:lnTo>
                    <a:lnTo>
                      <a:pt x="477" y="390"/>
                    </a:lnTo>
                    <a:lnTo>
                      <a:pt x="478" y="390"/>
                    </a:lnTo>
                    <a:lnTo>
                      <a:pt x="478" y="389"/>
                    </a:lnTo>
                    <a:lnTo>
                      <a:pt x="478" y="390"/>
                    </a:lnTo>
                    <a:lnTo>
                      <a:pt x="478" y="389"/>
                    </a:lnTo>
                    <a:lnTo>
                      <a:pt x="478" y="390"/>
                    </a:lnTo>
                    <a:lnTo>
                      <a:pt x="479" y="390"/>
                    </a:lnTo>
                    <a:lnTo>
                      <a:pt x="479" y="389"/>
                    </a:lnTo>
                    <a:lnTo>
                      <a:pt x="479" y="390"/>
                    </a:lnTo>
                    <a:lnTo>
                      <a:pt x="479" y="389"/>
                    </a:lnTo>
                    <a:lnTo>
                      <a:pt x="479" y="390"/>
                    </a:lnTo>
                    <a:lnTo>
                      <a:pt x="480" y="390"/>
                    </a:lnTo>
                    <a:lnTo>
                      <a:pt x="480" y="389"/>
                    </a:lnTo>
                    <a:lnTo>
                      <a:pt x="481" y="389"/>
                    </a:lnTo>
                    <a:lnTo>
                      <a:pt x="480" y="390"/>
                    </a:lnTo>
                    <a:lnTo>
                      <a:pt x="481" y="390"/>
                    </a:lnTo>
                    <a:lnTo>
                      <a:pt x="481" y="391"/>
                    </a:lnTo>
                    <a:lnTo>
                      <a:pt x="481" y="390"/>
                    </a:lnTo>
                    <a:lnTo>
                      <a:pt x="481" y="391"/>
                    </a:lnTo>
                    <a:lnTo>
                      <a:pt x="481" y="392"/>
                    </a:lnTo>
                    <a:lnTo>
                      <a:pt x="483" y="392"/>
                    </a:lnTo>
                    <a:lnTo>
                      <a:pt x="483" y="391"/>
                    </a:lnTo>
                    <a:lnTo>
                      <a:pt x="484" y="391"/>
                    </a:lnTo>
                    <a:lnTo>
                      <a:pt x="484" y="392"/>
                    </a:lnTo>
                    <a:lnTo>
                      <a:pt x="483" y="392"/>
                    </a:lnTo>
                    <a:lnTo>
                      <a:pt x="483" y="393"/>
                    </a:lnTo>
                    <a:lnTo>
                      <a:pt x="484" y="392"/>
                    </a:lnTo>
                    <a:lnTo>
                      <a:pt x="484" y="391"/>
                    </a:lnTo>
                    <a:lnTo>
                      <a:pt x="484" y="392"/>
                    </a:lnTo>
                    <a:lnTo>
                      <a:pt x="485" y="392"/>
                    </a:lnTo>
                    <a:lnTo>
                      <a:pt x="485" y="391"/>
                    </a:lnTo>
                    <a:lnTo>
                      <a:pt x="486" y="392"/>
                    </a:lnTo>
                    <a:lnTo>
                      <a:pt x="486" y="391"/>
                    </a:lnTo>
                    <a:lnTo>
                      <a:pt x="486" y="392"/>
                    </a:lnTo>
                    <a:lnTo>
                      <a:pt x="486" y="393"/>
                    </a:lnTo>
                    <a:lnTo>
                      <a:pt x="486" y="395"/>
                    </a:lnTo>
                    <a:lnTo>
                      <a:pt x="487" y="395"/>
                    </a:lnTo>
                    <a:lnTo>
                      <a:pt x="486" y="395"/>
                    </a:lnTo>
                    <a:lnTo>
                      <a:pt x="487" y="395"/>
                    </a:lnTo>
                    <a:lnTo>
                      <a:pt x="486" y="396"/>
                    </a:lnTo>
                    <a:lnTo>
                      <a:pt x="485" y="396"/>
                    </a:lnTo>
                    <a:lnTo>
                      <a:pt x="484" y="396"/>
                    </a:lnTo>
                    <a:lnTo>
                      <a:pt x="484" y="397"/>
                    </a:lnTo>
                    <a:lnTo>
                      <a:pt x="485" y="397"/>
                    </a:lnTo>
                    <a:lnTo>
                      <a:pt x="485" y="396"/>
                    </a:lnTo>
                    <a:lnTo>
                      <a:pt x="485" y="397"/>
                    </a:lnTo>
                    <a:lnTo>
                      <a:pt x="485" y="396"/>
                    </a:lnTo>
                    <a:lnTo>
                      <a:pt x="485" y="397"/>
                    </a:lnTo>
                    <a:lnTo>
                      <a:pt x="485" y="396"/>
                    </a:lnTo>
                    <a:lnTo>
                      <a:pt x="486" y="396"/>
                    </a:lnTo>
                    <a:lnTo>
                      <a:pt x="487" y="396"/>
                    </a:lnTo>
                    <a:lnTo>
                      <a:pt x="487" y="395"/>
                    </a:lnTo>
                    <a:lnTo>
                      <a:pt x="487" y="393"/>
                    </a:lnTo>
                    <a:lnTo>
                      <a:pt x="487" y="392"/>
                    </a:lnTo>
                    <a:lnTo>
                      <a:pt x="487" y="391"/>
                    </a:lnTo>
                    <a:lnTo>
                      <a:pt x="487" y="392"/>
                    </a:lnTo>
                    <a:lnTo>
                      <a:pt x="487" y="391"/>
                    </a:lnTo>
                    <a:lnTo>
                      <a:pt x="487" y="390"/>
                    </a:lnTo>
                    <a:lnTo>
                      <a:pt x="486" y="390"/>
                    </a:lnTo>
                    <a:lnTo>
                      <a:pt x="487" y="390"/>
                    </a:lnTo>
                    <a:lnTo>
                      <a:pt x="487" y="389"/>
                    </a:lnTo>
                    <a:lnTo>
                      <a:pt x="486" y="388"/>
                    </a:lnTo>
                    <a:lnTo>
                      <a:pt x="485" y="388"/>
                    </a:lnTo>
                    <a:lnTo>
                      <a:pt x="485" y="387"/>
                    </a:lnTo>
                    <a:lnTo>
                      <a:pt x="484" y="387"/>
                    </a:lnTo>
                    <a:lnTo>
                      <a:pt x="483" y="387"/>
                    </a:lnTo>
                    <a:lnTo>
                      <a:pt x="483" y="388"/>
                    </a:lnTo>
                    <a:lnTo>
                      <a:pt x="483" y="387"/>
                    </a:lnTo>
                    <a:lnTo>
                      <a:pt x="481" y="387"/>
                    </a:lnTo>
                    <a:lnTo>
                      <a:pt x="481" y="386"/>
                    </a:lnTo>
                    <a:lnTo>
                      <a:pt x="481" y="385"/>
                    </a:lnTo>
                    <a:lnTo>
                      <a:pt x="481" y="384"/>
                    </a:lnTo>
                    <a:lnTo>
                      <a:pt x="481" y="385"/>
                    </a:lnTo>
                    <a:lnTo>
                      <a:pt x="481" y="386"/>
                    </a:lnTo>
                    <a:lnTo>
                      <a:pt x="483" y="386"/>
                    </a:lnTo>
                    <a:lnTo>
                      <a:pt x="484" y="386"/>
                    </a:lnTo>
                    <a:lnTo>
                      <a:pt x="485" y="386"/>
                    </a:lnTo>
                    <a:lnTo>
                      <a:pt x="486" y="386"/>
                    </a:lnTo>
                    <a:lnTo>
                      <a:pt x="487" y="386"/>
                    </a:lnTo>
                    <a:lnTo>
                      <a:pt x="487" y="387"/>
                    </a:lnTo>
                    <a:lnTo>
                      <a:pt x="486" y="387"/>
                    </a:lnTo>
                    <a:lnTo>
                      <a:pt x="485" y="387"/>
                    </a:lnTo>
                    <a:lnTo>
                      <a:pt x="486" y="387"/>
                    </a:lnTo>
                    <a:lnTo>
                      <a:pt x="486" y="388"/>
                    </a:lnTo>
                    <a:lnTo>
                      <a:pt x="487" y="388"/>
                    </a:lnTo>
                    <a:lnTo>
                      <a:pt x="488" y="388"/>
                    </a:lnTo>
                    <a:lnTo>
                      <a:pt x="488" y="389"/>
                    </a:lnTo>
                    <a:lnTo>
                      <a:pt x="488" y="390"/>
                    </a:lnTo>
                    <a:lnTo>
                      <a:pt x="488" y="391"/>
                    </a:lnTo>
                    <a:lnTo>
                      <a:pt x="488" y="392"/>
                    </a:lnTo>
                    <a:lnTo>
                      <a:pt x="488" y="393"/>
                    </a:lnTo>
                    <a:lnTo>
                      <a:pt x="489" y="393"/>
                    </a:lnTo>
                    <a:lnTo>
                      <a:pt x="489" y="395"/>
                    </a:lnTo>
                    <a:lnTo>
                      <a:pt x="489" y="396"/>
                    </a:lnTo>
                    <a:lnTo>
                      <a:pt x="489" y="397"/>
                    </a:lnTo>
                    <a:lnTo>
                      <a:pt x="489" y="398"/>
                    </a:lnTo>
                    <a:lnTo>
                      <a:pt x="489" y="399"/>
                    </a:lnTo>
                    <a:lnTo>
                      <a:pt x="488" y="399"/>
                    </a:lnTo>
                    <a:lnTo>
                      <a:pt x="489" y="399"/>
                    </a:lnTo>
                    <a:lnTo>
                      <a:pt x="489" y="400"/>
                    </a:lnTo>
                    <a:lnTo>
                      <a:pt x="490" y="400"/>
                    </a:lnTo>
                    <a:lnTo>
                      <a:pt x="490" y="399"/>
                    </a:lnTo>
                    <a:lnTo>
                      <a:pt x="489" y="399"/>
                    </a:lnTo>
                    <a:lnTo>
                      <a:pt x="489" y="398"/>
                    </a:lnTo>
                    <a:lnTo>
                      <a:pt x="490" y="398"/>
                    </a:lnTo>
                    <a:lnTo>
                      <a:pt x="490" y="397"/>
                    </a:lnTo>
                    <a:lnTo>
                      <a:pt x="490" y="396"/>
                    </a:lnTo>
                    <a:lnTo>
                      <a:pt x="490" y="395"/>
                    </a:lnTo>
                    <a:lnTo>
                      <a:pt x="490" y="393"/>
                    </a:lnTo>
                    <a:lnTo>
                      <a:pt x="491" y="392"/>
                    </a:lnTo>
                    <a:lnTo>
                      <a:pt x="492" y="392"/>
                    </a:lnTo>
                    <a:lnTo>
                      <a:pt x="492" y="391"/>
                    </a:lnTo>
                    <a:lnTo>
                      <a:pt x="493" y="391"/>
                    </a:lnTo>
                    <a:lnTo>
                      <a:pt x="494" y="390"/>
                    </a:lnTo>
                    <a:lnTo>
                      <a:pt x="492" y="391"/>
                    </a:lnTo>
                    <a:lnTo>
                      <a:pt x="492" y="392"/>
                    </a:lnTo>
                    <a:lnTo>
                      <a:pt x="492" y="393"/>
                    </a:lnTo>
                    <a:lnTo>
                      <a:pt x="491" y="393"/>
                    </a:lnTo>
                    <a:lnTo>
                      <a:pt x="492" y="393"/>
                    </a:lnTo>
                    <a:lnTo>
                      <a:pt x="492" y="395"/>
                    </a:lnTo>
                    <a:lnTo>
                      <a:pt x="493" y="395"/>
                    </a:lnTo>
                    <a:lnTo>
                      <a:pt x="492" y="395"/>
                    </a:lnTo>
                    <a:lnTo>
                      <a:pt x="493" y="395"/>
                    </a:lnTo>
                    <a:lnTo>
                      <a:pt x="494" y="395"/>
                    </a:lnTo>
                    <a:lnTo>
                      <a:pt x="494" y="396"/>
                    </a:lnTo>
                    <a:lnTo>
                      <a:pt x="496" y="397"/>
                    </a:lnTo>
                    <a:lnTo>
                      <a:pt x="494" y="397"/>
                    </a:lnTo>
                    <a:lnTo>
                      <a:pt x="496" y="397"/>
                    </a:lnTo>
                    <a:lnTo>
                      <a:pt x="496" y="398"/>
                    </a:lnTo>
                    <a:lnTo>
                      <a:pt x="497" y="398"/>
                    </a:lnTo>
                    <a:lnTo>
                      <a:pt x="497" y="399"/>
                    </a:lnTo>
                    <a:lnTo>
                      <a:pt x="497" y="400"/>
                    </a:lnTo>
                    <a:lnTo>
                      <a:pt x="496" y="400"/>
                    </a:lnTo>
                    <a:lnTo>
                      <a:pt x="496" y="401"/>
                    </a:lnTo>
                    <a:lnTo>
                      <a:pt x="497" y="401"/>
                    </a:lnTo>
                    <a:lnTo>
                      <a:pt x="498" y="400"/>
                    </a:lnTo>
                    <a:lnTo>
                      <a:pt x="498" y="399"/>
                    </a:lnTo>
                    <a:lnTo>
                      <a:pt x="499" y="399"/>
                    </a:lnTo>
                    <a:lnTo>
                      <a:pt x="498" y="399"/>
                    </a:lnTo>
                    <a:lnTo>
                      <a:pt x="499" y="400"/>
                    </a:lnTo>
                    <a:lnTo>
                      <a:pt x="499" y="399"/>
                    </a:lnTo>
                    <a:lnTo>
                      <a:pt x="500" y="399"/>
                    </a:lnTo>
                    <a:lnTo>
                      <a:pt x="500" y="398"/>
                    </a:lnTo>
                    <a:lnTo>
                      <a:pt x="500" y="399"/>
                    </a:lnTo>
                    <a:lnTo>
                      <a:pt x="501" y="399"/>
                    </a:lnTo>
                    <a:lnTo>
                      <a:pt x="500" y="399"/>
                    </a:lnTo>
                    <a:lnTo>
                      <a:pt x="500" y="400"/>
                    </a:lnTo>
                    <a:lnTo>
                      <a:pt x="501" y="400"/>
                    </a:lnTo>
                    <a:lnTo>
                      <a:pt x="500" y="401"/>
                    </a:lnTo>
                    <a:lnTo>
                      <a:pt x="501" y="401"/>
                    </a:lnTo>
                    <a:lnTo>
                      <a:pt x="501" y="402"/>
                    </a:lnTo>
                    <a:lnTo>
                      <a:pt x="502" y="402"/>
                    </a:lnTo>
                    <a:lnTo>
                      <a:pt x="502" y="403"/>
                    </a:lnTo>
                    <a:lnTo>
                      <a:pt x="503" y="403"/>
                    </a:lnTo>
                    <a:lnTo>
                      <a:pt x="503" y="404"/>
                    </a:lnTo>
                    <a:lnTo>
                      <a:pt x="502" y="403"/>
                    </a:lnTo>
                    <a:lnTo>
                      <a:pt x="501" y="402"/>
                    </a:lnTo>
                    <a:lnTo>
                      <a:pt x="500" y="401"/>
                    </a:lnTo>
                    <a:lnTo>
                      <a:pt x="500" y="402"/>
                    </a:lnTo>
                    <a:lnTo>
                      <a:pt x="500" y="403"/>
                    </a:lnTo>
                    <a:lnTo>
                      <a:pt x="499" y="403"/>
                    </a:lnTo>
                    <a:lnTo>
                      <a:pt x="498" y="403"/>
                    </a:lnTo>
                    <a:lnTo>
                      <a:pt x="499" y="403"/>
                    </a:lnTo>
                    <a:lnTo>
                      <a:pt x="499" y="402"/>
                    </a:lnTo>
                    <a:lnTo>
                      <a:pt x="498" y="402"/>
                    </a:lnTo>
                    <a:lnTo>
                      <a:pt x="498" y="403"/>
                    </a:lnTo>
                    <a:lnTo>
                      <a:pt x="497" y="403"/>
                    </a:lnTo>
                    <a:lnTo>
                      <a:pt x="496" y="403"/>
                    </a:lnTo>
                    <a:lnTo>
                      <a:pt x="496" y="404"/>
                    </a:lnTo>
                    <a:lnTo>
                      <a:pt x="494" y="404"/>
                    </a:lnTo>
                    <a:lnTo>
                      <a:pt x="496" y="404"/>
                    </a:lnTo>
                    <a:lnTo>
                      <a:pt x="497" y="404"/>
                    </a:lnTo>
                    <a:lnTo>
                      <a:pt x="497" y="405"/>
                    </a:lnTo>
                    <a:lnTo>
                      <a:pt x="498" y="405"/>
                    </a:lnTo>
                    <a:lnTo>
                      <a:pt x="498" y="406"/>
                    </a:lnTo>
                    <a:lnTo>
                      <a:pt x="499" y="406"/>
                    </a:lnTo>
                    <a:lnTo>
                      <a:pt x="499" y="408"/>
                    </a:lnTo>
                    <a:lnTo>
                      <a:pt x="499" y="409"/>
                    </a:lnTo>
                    <a:lnTo>
                      <a:pt x="498" y="409"/>
                    </a:lnTo>
                    <a:lnTo>
                      <a:pt x="499" y="410"/>
                    </a:lnTo>
                    <a:lnTo>
                      <a:pt x="499" y="409"/>
                    </a:lnTo>
                    <a:lnTo>
                      <a:pt x="500" y="410"/>
                    </a:lnTo>
                    <a:lnTo>
                      <a:pt x="500" y="409"/>
                    </a:lnTo>
                    <a:lnTo>
                      <a:pt x="500" y="410"/>
                    </a:lnTo>
                    <a:lnTo>
                      <a:pt x="500" y="409"/>
                    </a:lnTo>
                    <a:lnTo>
                      <a:pt x="501" y="409"/>
                    </a:lnTo>
                    <a:lnTo>
                      <a:pt x="502" y="409"/>
                    </a:lnTo>
                    <a:lnTo>
                      <a:pt x="503" y="409"/>
                    </a:lnTo>
                    <a:lnTo>
                      <a:pt x="503" y="410"/>
                    </a:lnTo>
                    <a:lnTo>
                      <a:pt x="503" y="409"/>
                    </a:lnTo>
                    <a:lnTo>
                      <a:pt x="503" y="410"/>
                    </a:lnTo>
                    <a:lnTo>
                      <a:pt x="502" y="410"/>
                    </a:lnTo>
                    <a:lnTo>
                      <a:pt x="501" y="410"/>
                    </a:lnTo>
                    <a:lnTo>
                      <a:pt x="501" y="411"/>
                    </a:lnTo>
                    <a:lnTo>
                      <a:pt x="500" y="411"/>
                    </a:lnTo>
                    <a:lnTo>
                      <a:pt x="500" y="412"/>
                    </a:lnTo>
                    <a:lnTo>
                      <a:pt x="500" y="413"/>
                    </a:lnTo>
                    <a:lnTo>
                      <a:pt x="501" y="413"/>
                    </a:lnTo>
                    <a:lnTo>
                      <a:pt x="501" y="414"/>
                    </a:lnTo>
                    <a:lnTo>
                      <a:pt x="502" y="414"/>
                    </a:lnTo>
                    <a:lnTo>
                      <a:pt x="502" y="415"/>
                    </a:lnTo>
                    <a:lnTo>
                      <a:pt x="501" y="414"/>
                    </a:lnTo>
                    <a:lnTo>
                      <a:pt x="500" y="414"/>
                    </a:lnTo>
                    <a:lnTo>
                      <a:pt x="500" y="413"/>
                    </a:lnTo>
                    <a:lnTo>
                      <a:pt x="499" y="413"/>
                    </a:lnTo>
                    <a:lnTo>
                      <a:pt x="498" y="413"/>
                    </a:lnTo>
                    <a:lnTo>
                      <a:pt x="498" y="412"/>
                    </a:lnTo>
                    <a:lnTo>
                      <a:pt x="498" y="413"/>
                    </a:lnTo>
                    <a:lnTo>
                      <a:pt x="498" y="412"/>
                    </a:lnTo>
                    <a:lnTo>
                      <a:pt x="497" y="412"/>
                    </a:lnTo>
                    <a:lnTo>
                      <a:pt x="497" y="411"/>
                    </a:lnTo>
                    <a:lnTo>
                      <a:pt x="498" y="411"/>
                    </a:lnTo>
                    <a:lnTo>
                      <a:pt x="497" y="411"/>
                    </a:lnTo>
                    <a:lnTo>
                      <a:pt x="496" y="411"/>
                    </a:lnTo>
                    <a:lnTo>
                      <a:pt x="496" y="412"/>
                    </a:lnTo>
                    <a:lnTo>
                      <a:pt x="494" y="412"/>
                    </a:lnTo>
                    <a:lnTo>
                      <a:pt x="494" y="411"/>
                    </a:lnTo>
                    <a:lnTo>
                      <a:pt x="494" y="410"/>
                    </a:lnTo>
                    <a:lnTo>
                      <a:pt x="493" y="410"/>
                    </a:lnTo>
                    <a:lnTo>
                      <a:pt x="493" y="411"/>
                    </a:lnTo>
                    <a:lnTo>
                      <a:pt x="493" y="410"/>
                    </a:lnTo>
                    <a:lnTo>
                      <a:pt x="493" y="411"/>
                    </a:lnTo>
                    <a:lnTo>
                      <a:pt x="492" y="411"/>
                    </a:lnTo>
                    <a:lnTo>
                      <a:pt x="493" y="411"/>
                    </a:lnTo>
                    <a:lnTo>
                      <a:pt x="492" y="411"/>
                    </a:lnTo>
                    <a:lnTo>
                      <a:pt x="492" y="412"/>
                    </a:lnTo>
                    <a:lnTo>
                      <a:pt x="491" y="412"/>
                    </a:lnTo>
                    <a:lnTo>
                      <a:pt x="491" y="411"/>
                    </a:lnTo>
                    <a:lnTo>
                      <a:pt x="492" y="411"/>
                    </a:lnTo>
                    <a:lnTo>
                      <a:pt x="492" y="410"/>
                    </a:lnTo>
                    <a:lnTo>
                      <a:pt x="491" y="410"/>
                    </a:lnTo>
                    <a:lnTo>
                      <a:pt x="492" y="410"/>
                    </a:lnTo>
                    <a:lnTo>
                      <a:pt x="491" y="410"/>
                    </a:lnTo>
                    <a:lnTo>
                      <a:pt x="491" y="411"/>
                    </a:lnTo>
                    <a:lnTo>
                      <a:pt x="490" y="411"/>
                    </a:lnTo>
                    <a:lnTo>
                      <a:pt x="491" y="411"/>
                    </a:lnTo>
                    <a:lnTo>
                      <a:pt x="491" y="412"/>
                    </a:lnTo>
                    <a:lnTo>
                      <a:pt x="492" y="413"/>
                    </a:lnTo>
                    <a:lnTo>
                      <a:pt x="493" y="413"/>
                    </a:lnTo>
                    <a:lnTo>
                      <a:pt x="493" y="414"/>
                    </a:lnTo>
                    <a:lnTo>
                      <a:pt x="494" y="414"/>
                    </a:lnTo>
                    <a:lnTo>
                      <a:pt x="493" y="414"/>
                    </a:lnTo>
                    <a:lnTo>
                      <a:pt x="493" y="415"/>
                    </a:lnTo>
                    <a:lnTo>
                      <a:pt x="492" y="415"/>
                    </a:lnTo>
                    <a:lnTo>
                      <a:pt x="492" y="414"/>
                    </a:lnTo>
                    <a:lnTo>
                      <a:pt x="492" y="415"/>
                    </a:lnTo>
                    <a:lnTo>
                      <a:pt x="493" y="414"/>
                    </a:lnTo>
                    <a:lnTo>
                      <a:pt x="492" y="414"/>
                    </a:lnTo>
                    <a:lnTo>
                      <a:pt x="493" y="414"/>
                    </a:lnTo>
                    <a:lnTo>
                      <a:pt x="492" y="414"/>
                    </a:lnTo>
                    <a:lnTo>
                      <a:pt x="491" y="414"/>
                    </a:lnTo>
                    <a:lnTo>
                      <a:pt x="492" y="415"/>
                    </a:lnTo>
                    <a:lnTo>
                      <a:pt x="491" y="415"/>
                    </a:lnTo>
                    <a:lnTo>
                      <a:pt x="492" y="415"/>
                    </a:lnTo>
                    <a:lnTo>
                      <a:pt x="492" y="416"/>
                    </a:lnTo>
                    <a:lnTo>
                      <a:pt x="493" y="416"/>
                    </a:lnTo>
                    <a:lnTo>
                      <a:pt x="492" y="416"/>
                    </a:lnTo>
                    <a:lnTo>
                      <a:pt x="493" y="416"/>
                    </a:lnTo>
                    <a:lnTo>
                      <a:pt x="494" y="416"/>
                    </a:lnTo>
                    <a:lnTo>
                      <a:pt x="496" y="416"/>
                    </a:lnTo>
                    <a:lnTo>
                      <a:pt x="496" y="415"/>
                    </a:lnTo>
                    <a:lnTo>
                      <a:pt x="497" y="415"/>
                    </a:lnTo>
                    <a:lnTo>
                      <a:pt x="496" y="416"/>
                    </a:lnTo>
                    <a:lnTo>
                      <a:pt x="497" y="416"/>
                    </a:lnTo>
                    <a:lnTo>
                      <a:pt x="497" y="415"/>
                    </a:lnTo>
                    <a:lnTo>
                      <a:pt x="498" y="415"/>
                    </a:lnTo>
                    <a:lnTo>
                      <a:pt x="498" y="416"/>
                    </a:lnTo>
                    <a:lnTo>
                      <a:pt x="498" y="417"/>
                    </a:lnTo>
                    <a:lnTo>
                      <a:pt x="497" y="417"/>
                    </a:lnTo>
                    <a:lnTo>
                      <a:pt x="498" y="417"/>
                    </a:lnTo>
                    <a:lnTo>
                      <a:pt x="497" y="417"/>
                    </a:lnTo>
                    <a:lnTo>
                      <a:pt x="497" y="418"/>
                    </a:lnTo>
                    <a:lnTo>
                      <a:pt x="498" y="418"/>
                    </a:lnTo>
                    <a:lnTo>
                      <a:pt x="497" y="418"/>
                    </a:lnTo>
                    <a:lnTo>
                      <a:pt x="498" y="420"/>
                    </a:lnTo>
                    <a:lnTo>
                      <a:pt x="499" y="420"/>
                    </a:lnTo>
                    <a:lnTo>
                      <a:pt x="500" y="420"/>
                    </a:lnTo>
                    <a:lnTo>
                      <a:pt x="499" y="420"/>
                    </a:lnTo>
                    <a:lnTo>
                      <a:pt x="498" y="420"/>
                    </a:lnTo>
                    <a:lnTo>
                      <a:pt x="497" y="420"/>
                    </a:lnTo>
                    <a:lnTo>
                      <a:pt x="497" y="418"/>
                    </a:lnTo>
                    <a:lnTo>
                      <a:pt x="496" y="417"/>
                    </a:lnTo>
                    <a:lnTo>
                      <a:pt x="497" y="417"/>
                    </a:lnTo>
                    <a:lnTo>
                      <a:pt x="497" y="418"/>
                    </a:lnTo>
                    <a:lnTo>
                      <a:pt x="497" y="417"/>
                    </a:lnTo>
                    <a:lnTo>
                      <a:pt x="496" y="417"/>
                    </a:lnTo>
                    <a:lnTo>
                      <a:pt x="494" y="417"/>
                    </a:lnTo>
                    <a:lnTo>
                      <a:pt x="493" y="417"/>
                    </a:lnTo>
                    <a:lnTo>
                      <a:pt x="492" y="417"/>
                    </a:lnTo>
                    <a:lnTo>
                      <a:pt x="492" y="416"/>
                    </a:lnTo>
                    <a:lnTo>
                      <a:pt x="491" y="416"/>
                    </a:lnTo>
                    <a:lnTo>
                      <a:pt x="491" y="417"/>
                    </a:lnTo>
                    <a:lnTo>
                      <a:pt x="490" y="417"/>
                    </a:lnTo>
                    <a:lnTo>
                      <a:pt x="489" y="417"/>
                    </a:lnTo>
                    <a:lnTo>
                      <a:pt x="488" y="417"/>
                    </a:lnTo>
                    <a:lnTo>
                      <a:pt x="489" y="417"/>
                    </a:lnTo>
                    <a:lnTo>
                      <a:pt x="488" y="417"/>
                    </a:lnTo>
                    <a:lnTo>
                      <a:pt x="488" y="418"/>
                    </a:lnTo>
                    <a:lnTo>
                      <a:pt x="488" y="417"/>
                    </a:lnTo>
                    <a:lnTo>
                      <a:pt x="488" y="418"/>
                    </a:lnTo>
                    <a:lnTo>
                      <a:pt x="488" y="420"/>
                    </a:lnTo>
                    <a:lnTo>
                      <a:pt x="488" y="421"/>
                    </a:lnTo>
                    <a:lnTo>
                      <a:pt x="488" y="422"/>
                    </a:lnTo>
                    <a:lnTo>
                      <a:pt x="487" y="421"/>
                    </a:lnTo>
                    <a:lnTo>
                      <a:pt x="487" y="420"/>
                    </a:lnTo>
                    <a:lnTo>
                      <a:pt x="488" y="420"/>
                    </a:lnTo>
                    <a:lnTo>
                      <a:pt x="488" y="418"/>
                    </a:lnTo>
                    <a:lnTo>
                      <a:pt x="487" y="418"/>
                    </a:lnTo>
                    <a:lnTo>
                      <a:pt x="488" y="418"/>
                    </a:lnTo>
                    <a:lnTo>
                      <a:pt x="487" y="418"/>
                    </a:lnTo>
                    <a:lnTo>
                      <a:pt x="488" y="418"/>
                    </a:lnTo>
                    <a:lnTo>
                      <a:pt x="487" y="418"/>
                    </a:lnTo>
                    <a:lnTo>
                      <a:pt x="487" y="420"/>
                    </a:lnTo>
                    <a:lnTo>
                      <a:pt x="486" y="420"/>
                    </a:lnTo>
                    <a:lnTo>
                      <a:pt x="486" y="421"/>
                    </a:lnTo>
                    <a:lnTo>
                      <a:pt x="485" y="421"/>
                    </a:lnTo>
                    <a:lnTo>
                      <a:pt x="485" y="422"/>
                    </a:lnTo>
                    <a:lnTo>
                      <a:pt x="486" y="422"/>
                    </a:lnTo>
                    <a:lnTo>
                      <a:pt x="486" y="423"/>
                    </a:lnTo>
                    <a:lnTo>
                      <a:pt x="485" y="423"/>
                    </a:lnTo>
                    <a:lnTo>
                      <a:pt x="485" y="422"/>
                    </a:lnTo>
                    <a:lnTo>
                      <a:pt x="485" y="421"/>
                    </a:lnTo>
                    <a:lnTo>
                      <a:pt x="485" y="420"/>
                    </a:lnTo>
                    <a:lnTo>
                      <a:pt x="486" y="420"/>
                    </a:lnTo>
                    <a:lnTo>
                      <a:pt x="486" y="418"/>
                    </a:lnTo>
                    <a:lnTo>
                      <a:pt x="487" y="418"/>
                    </a:lnTo>
                    <a:lnTo>
                      <a:pt x="486" y="418"/>
                    </a:lnTo>
                    <a:lnTo>
                      <a:pt x="486" y="417"/>
                    </a:lnTo>
                    <a:lnTo>
                      <a:pt x="486" y="418"/>
                    </a:lnTo>
                    <a:lnTo>
                      <a:pt x="485" y="418"/>
                    </a:lnTo>
                    <a:lnTo>
                      <a:pt x="485" y="417"/>
                    </a:lnTo>
                    <a:lnTo>
                      <a:pt x="484" y="417"/>
                    </a:lnTo>
                    <a:lnTo>
                      <a:pt x="484" y="416"/>
                    </a:lnTo>
                    <a:lnTo>
                      <a:pt x="483" y="416"/>
                    </a:lnTo>
                    <a:lnTo>
                      <a:pt x="481" y="416"/>
                    </a:lnTo>
                    <a:lnTo>
                      <a:pt x="481" y="417"/>
                    </a:lnTo>
                    <a:lnTo>
                      <a:pt x="481" y="416"/>
                    </a:lnTo>
                    <a:lnTo>
                      <a:pt x="480" y="416"/>
                    </a:lnTo>
                    <a:lnTo>
                      <a:pt x="480" y="417"/>
                    </a:lnTo>
                    <a:lnTo>
                      <a:pt x="479" y="417"/>
                    </a:lnTo>
                    <a:lnTo>
                      <a:pt x="478" y="417"/>
                    </a:lnTo>
                    <a:lnTo>
                      <a:pt x="479" y="418"/>
                    </a:lnTo>
                    <a:lnTo>
                      <a:pt x="480" y="418"/>
                    </a:lnTo>
                    <a:lnTo>
                      <a:pt x="479" y="418"/>
                    </a:lnTo>
                    <a:lnTo>
                      <a:pt x="478" y="418"/>
                    </a:lnTo>
                    <a:lnTo>
                      <a:pt x="477" y="418"/>
                    </a:lnTo>
                    <a:lnTo>
                      <a:pt x="477" y="420"/>
                    </a:lnTo>
                    <a:lnTo>
                      <a:pt x="476" y="420"/>
                    </a:lnTo>
                    <a:lnTo>
                      <a:pt x="476" y="421"/>
                    </a:lnTo>
                    <a:lnTo>
                      <a:pt x="475" y="421"/>
                    </a:lnTo>
                    <a:lnTo>
                      <a:pt x="476" y="421"/>
                    </a:lnTo>
                    <a:lnTo>
                      <a:pt x="476" y="422"/>
                    </a:lnTo>
                    <a:lnTo>
                      <a:pt x="477" y="422"/>
                    </a:lnTo>
                    <a:lnTo>
                      <a:pt x="477" y="423"/>
                    </a:lnTo>
                    <a:lnTo>
                      <a:pt x="477" y="422"/>
                    </a:lnTo>
                    <a:lnTo>
                      <a:pt x="477" y="423"/>
                    </a:lnTo>
                    <a:lnTo>
                      <a:pt x="476" y="423"/>
                    </a:lnTo>
                    <a:lnTo>
                      <a:pt x="476" y="422"/>
                    </a:lnTo>
                    <a:lnTo>
                      <a:pt x="475" y="422"/>
                    </a:lnTo>
                    <a:lnTo>
                      <a:pt x="474" y="421"/>
                    </a:lnTo>
                    <a:lnTo>
                      <a:pt x="474" y="420"/>
                    </a:lnTo>
                    <a:lnTo>
                      <a:pt x="474" y="421"/>
                    </a:lnTo>
                    <a:lnTo>
                      <a:pt x="474" y="422"/>
                    </a:lnTo>
                    <a:lnTo>
                      <a:pt x="475" y="423"/>
                    </a:lnTo>
                    <a:lnTo>
                      <a:pt x="474" y="423"/>
                    </a:lnTo>
                    <a:lnTo>
                      <a:pt x="474" y="422"/>
                    </a:lnTo>
                    <a:lnTo>
                      <a:pt x="474" y="421"/>
                    </a:lnTo>
                    <a:lnTo>
                      <a:pt x="473" y="421"/>
                    </a:lnTo>
                    <a:lnTo>
                      <a:pt x="474" y="421"/>
                    </a:lnTo>
                    <a:lnTo>
                      <a:pt x="474" y="422"/>
                    </a:lnTo>
                    <a:lnTo>
                      <a:pt x="474" y="423"/>
                    </a:lnTo>
                    <a:lnTo>
                      <a:pt x="474" y="424"/>
                    </a:lnTo>
                    <a:lnTo>
                      <a:pt x="474" y="423"/>
                    </a:lnTo>
                    <a:lnTo>
                      <a:pt x="474" y="424"/>
                    </a:lnTo>
                    <a:lnTo>
                      <a:pt x="473" y="424"/>
                    </a:lnTo>
                    <a:lnTo>
                      <a:pt x="473" y="423"/>
                    </a:lnTo>
                    <a:lnTo>
                      <a:pt x="472" y="423"/>
                    </a:lnTo>
                    <a:lnTo>
                      <a:pt x="473" y="423"/>
                    </a:lnTo>
                    <a:lnTo>
                      <a:pt x="473" y="422"/>
                    </a:lnTo>
                    <a:lnTo>
                      <a:pt x="472" y="422"/>
                    </a:lnTo>
                    <a:lnTo>
                      <a:pt x="472" y="423"/>
                    </a:lnTo>
                    <a:lnTo>
                      <a:pt x="473" y="424"/>
                    </a:lnTo>
                    <a:lnTo>
                      <a:pt x="472" y="423"/>
                    </a:lnTo>
                    <a:lnTo>
                      <a:pt x="472" y="424"/>
                    </a:lnTo>
                    <a:lnTo>
                      <a:pt x="473" y="424"/>
                    </a:lnTo>
                    <a:lnTo>
                      <a:pt x="473" y="425"/>
                    </a:lnTo>
                    <a:lnTo>
                      <a:pt x="472" y="425"/>
                    </a:lnTo>
                    <a:lnTo>
                      <a:pt x="472" y="424"/>
                    </a:lnTo>
                    <a:lnTo>
                      <a:pt x="471" y="424"/>
                    </a:lnTo>
                    <a:lnTo>
                      <a:pt x="470" y="424"/>
                    </a:lnTo>
                    <a:lnTo>
                      <a:pt x="470" y="425"/>
                    </a:lnTo>
                    <a:lnTo>
                      <a:pt x="471" y="425"/>
                    </a:lnTo>
                    <a:lnTo>
                      <a:pt x="470" y="425"/>
                    </a:lnTo>
                    <a:lnTo>
                      <a:pt x="471" y="425"/>
                    </a:lnTo>
                    <a:lnTo>
                      <a:pt x="471" y="426"/>
                    </a:lnTo>
                    <a:lnTo>
                      <a:pt x="472" y="427"/>
                    </a:lnTo>
                    <a:lnTo>
                      <a:pt x="472" y="426"/>
                    </a:lnTo>
                    <a:lnTo>
                      <a:pt x="473" y="426"/>
                    </a:lnTo>
                    <a:lnTo>
                      <a:pt x="473" y="427"/>
                    </a:lnTo>
                    <a:lnTo>
                      <a:pt x="474" y="427"/>
                    </a:lnTo>
                    <a:lnTo>
                      <a:pt x="474" y="428"/>
                    </a:lnTo>
                    <a:lnTo>
                      <a:pt x="475" y="428"/>
                    </a:lnTo>
                    <a:lnTo>
                      <a:pt x="474" y="428"/>
                    </a:lnTo>
                    <a:lnTo>
                      <a:pt x="474" y="429"/>
                    </a:lnTo>
                    <a:lnTo>
                      <a:pt x="473" y="429"/>
                    </a:lnTo>
                    <a:lnTo>
                      <a:pt x="472" y="429"/>
                    </a:lnTo>
                    <a:lnTo>
                      <a:pt x="472" y="428"/>
                    </a:lnTo>
                    <a:lnTo>
                      <a:pt x="472" y="427"/>
                    </a:lnTo>
                    <a:lnTo>
                      <a:pt x="471" y="427"/>
                    </a:lnTo>
                    <a:lnTo>
                      <a:pt x="470" y="427"/>
                    </a:lnTo>
                    <a:lnTo>
                      <a:pt x="468" y="427"/>
                    </a:lnTo>
                    <a:lnTo>
                      <a:pt x="470" y="427"/>
                    </a:lnTo>
                    <a:lnTo>
                      <a:pt x="468" y="428"/>
                    </a:lnTo>
                    <a:lnTo>
                      <a:pt x="468" y="427"/>
                    </a:lnTo>
                    <a:lnTo>
                      <a:pt x="468" y="428"/>
                    </a:lnTo>
                    <a:lnTo>
                      <a:pt x="470" y="428"/>
                    </a:lnTo>
                    <a:lnTo>
                      <a:pt x="468" y="428"/>
                    </a:lnTo>
                    <a:lnTo>
                      <a:pt x="470" y="428"/>
                    </a:lnTo>
                    <a:lnTo>
                      <a:pt x="470" y="429"/>
                    </a:lnTo>
                    <a:lnTo>
                      <a:pt x="468" y="429"/>
                    </a:lnTo>
                    <a:lnTo>
                      <a:pt x="468" y="428"/>
                    </a:lnTo>
                    <a:lnTo>
                      <a:pt x="468" y="429"/>
                    </a:lnTo>
                    <a:lnTo>
                      <a:pt x="467" y="429"/>
                    </a:lnTo>
                    <a:lnTo>
                      <a:pt x="467" y="430"/>
                    </a:lnTo>
                    <a:lnTo>
                      <a:pt x="467" y="431"/>
                    </a:lnTo>
                    <a:lnTo>
                      <a:pt x="467" y="430"/>
                    </a:lnTo>
                    <a:lnTo>
                      <a:pt x="466" y="430"/>
                    </a:lnTo>
                    <a:lnTo>
                      <a:pt x="467" y="430"/>
                    </a:lnTo>
                    <a:lnTo>
                      <a:pt x="467" y="431"/>
                    </a:lnTo>
                    <a:lnTo>
                      <a:pt x="466" y="433"/>
                    </a:lnTo>
                    <a:lnTo>
                      <a:pt x="465" y="433"/>
                    </a:lnTo>
                    <a:lnTo>
                      <a:pt x="465" y="434"/>
                    </a:lnTo>
                    <a:lnTo>
                      <a:pt x="465" y="433"/>
                    </a:lnTo>
                    <a:lnTo>
                      <a:pt x="464" y="433"/>
                    </a:lnTo>
                    <a:lnTo>
                      <a:pt x="464" y="434"/>
                    </a:lnTo>
                    <a:lnTo>
                      <a:pt x="463" y="434"/>
                    </a:lnTo>
                    <a:lnTo>
                      <a:pt x="463" y="433"/>
                    </a:lnTo>
                    <a:lnTo>
                      <a:pt x="462" y="433"/>
                    </a:lnTo>
                    <a:lnTo>
                      <a:pt x="462" y="434"/>
                    </a:lnTo>
                    <a:lnTo>
                      <a:pt x="461" y="433"/>
                    </a:lnTo>
                    <a:lnTo>
                      <a:pt x="461" y="434"/>
                    </a:lnTo>
                    <a:lnTo>
                      <a:pt x="461" y="435"/>
                    </a:lnTo>
                    <a:lnTo>
                      <a:pt x="461" y="436"/>
                    </a:lnTo>
                    <a:lnTo>
                      <a:pt x="461" y="437"/>
                    </a:lnTo>
                    <a:lnTo>
                      <a:pt x="462" y="437"/>
                    </a:lnTo>
                    <a:lnTo>
                      <a:pt x="462" y="436"/>
                    </a:lnTo>
                    <a:lnTo>
                      <a:pt x="463" y="436"/>
                    </a:lnTo>
                    <a:lnTo>
                      <a:pt x="463" y="437"/>
                    </a:lnTo>
                    <a:lnTo>
                      <a:pt x="463" y="438"/>
                    </a:lnTo>
                    <a:lnTo>
                      <a:pt x="464" y="437"/>
                    </a:lnTo>
                    <a:lnTo>
                      <a:pt x="465" y="437"/>
                    </a:lnTo>
                    <a:lnTo>
                      <a:pt x="465" y="438"/>
                    </a:lnTo>
                    <a:lnTo>
                      <a:pt x="466" y="438"/>
                    </a:lnTo>
                    <a:lnTo>
                      <a:pt x="466" y="437"/>
                    </a:lnTo>
                    <a:lnTo>
                      <a:pt x="466" y="438"/>
                    </a:lnTo>
                    <a:lnTo>
                      <a:pt x="467" y="438"/>
                    </a:lnTo>
                    <a:lnTo>
                      <a:pt x="467" y="439"/>
                    </a:lnTo>
                    <a:lnTo>
                      <a:pt x="466" y="439"/>
                    </a:lnTo>
                    <a:lnTo>
                      <a:pt x="466" y="440"/>
                    </a:lnTo>
                    <a:lnTo>
                      <a:pt x="466" y="439"/>
                    </a:lnTo>
                    <a:lnTo>
                      <a:pt x="466" y="440"/>
                    </a:lnTo>
                    <a:lnTo>
                      <a:pt x="465" y="440"/>
                    </a:lnTo>
                    <a:lnTo>
                      <a:pt x="464" y="440"/>
                    </a:lnTo>
                    <a:lnTo>
                      <a:pt x="463" y="439"/>
                    </a:lnTo>
                    <a:lnTo>
                      <a:pt x="463" y="440"/>
                    </a:lnTo>
                    <a:lnTo>
                      <a:pt x="463" y="441"/>
                    </a:lnTo>
                    <a:lnTo>
                      <a:pt x="463" y="442"/>
                    </a:lnTo>
                    <a:lnTo>
                      <a:pt x="462" y="442"/>
                    </a:lnTo>
                    <a:lnTo>
                      <a:pt x="461" y="442"/>
                    </a:lnTo>
                    <a:lnTo>
                      <a:pt x="461" y="441"/>
                    </a:lnTo>
                    <a:lnTo>
                      <a:pt x="460" y="441"/>
                    </a:lnTo>
                    <a:lnTo>
                      <a:pt x="459" y="441"/>
                    </a:lnTo>
                    <a:lnTo>
                      <a:pt x="460" y="441"/>
                    </a:lnTo>
                    <a:lnTo>
                      <a:pt x="460" y="442"/>
                    </a:lnTo>
                    <a:lnTo>
                      <a:pt x="459" y="442"/>
                    </a:lnTo>
                    <a:lnTo>
                      <a:pt x="460" y="442"/>
                    </a:lnTo>
                    <a:lnTo>
                      <a:pt x="460" y="443"/>
                    </a:lnTo>
                    <a:lnTo>
                      <a:pt x="460" y="444"/>
                    </a:lnTo>
                    <a:lnTo>
                      <a:pt x="460" y="443"/>
                    </a:lnTo>
                    <a:lnTo>
                      <a:pt x="461" y="442"/>
                    </a:lnTo>
                    <a:lnTo>
                      <a:pt x="461" y="443"/>
                    </a:lnTo>
                    <a:lnTo>
                      <a:pt x="460" y="443"/>
                    </a:lnTo>
                    <a:lnTo>
                      <a:pt x="460" y="444"/>
                    </a:lnTo>
                    <a:lnTo>
                      <a:pt x="461" y="444"/>
                    </a:lnTo>
                    <a:lnTo>
                      <a:pt x="460" y="444"/>
                    </a:lnTo>
                    <a:lnTo>
                      <a:pt x="461" y="444"/>
                    </a:lnTo>
                    <a:lnTo>
                      <a:pt x="462" y="444"/>
                    </a:lnTo>
                    <a:lnTo>
                      <a:pt x="463" y="444"/>
                    </a:lnTo>
                    <a:lnTo>
                      <a:pt x="462" y="444"/>
                    </a:lnTo>
                    <a:lnTo>
                      <a:pt x="462" y="446"/>
                    </a:lnTo>
                    <a:lnTo>
                      <a:pt x="461" y="446"/>
                    </a:lnTo>
                    <a:lnTo>
                      <a:pt x="461" y="447"/>
                    </a:lnTo>
                    <a:lnTo>
                      <a:pt x="462" y="446"/>
                    </a:lnTo>
                    <a:lnTo>
                      <a:pt x="462" y="447"/>
                    </a:lnTo>
                    <a:lnTo>
                      <a:pt x="462" y="448"/>
                    </a:lnTo>
                    <a:lnTo>
                      <a:pt x="463" y="448"/>
                    </a:lnTo>
                    <a:lnTo>
                      <a:pt x="463" y="449"/>
                    </a:lnTo>
                    <a:lnTo>
                      <a:pt x="463" y="450"/>
                    </a:lnTo>
                    <a:lnTo>
                      <a:pt x="462" y="451"/>
                    </a:lnTo>
                    <a:lnTo>
                      <a:pt x="463" y="451"/>
                    </a:lnTo>
                    <a:lnTo>
                      <a:pt x="463" y="452"/>
                    </a:lnTo>
                    <a:lnTo>
                      <a:pt x="464" y="452"/>
                    </a:lnTo>
                    <a:lnTo>
                      <a:pt x="463" y="452"/>
                    </a:lnTo>
                    <a:lnTo>
                      <a:pt x="463" y="453"/>
                    </a:lnTo>
                    <a:lnTo>
                      <a:pt x="464" y="453"/>
                    </a:lnTo>
                    <a:lnTo>
                      <a:pt x="464" y="454"/>
                    </a:lnTo>
                    <a:lnTo>
                      <a:pt x="465" y="454"/>
                    </a:lnTo>
                    <a:lnTo>
                      <a:pt x="465" y="455"/>
                    </a:lnTo>
                    <a:lnTo>
                      <a:pt x="466" y="455"/>
                    </a:lnTo>
                    <a:lnTo>
                      <a:pt x="466" y="456"/>
                    </a:lnTo>
                    <a:lnTo>
                      <a:pt x="467" y="456"/>
                    </a:lnTo>
                    <a:lnTo>
                      <a:pt x="467" y="457"/>
                    </a:lnTo>
                    <a:lnTo>
                      <a:pt x="468" y="457"/>
                    </a:lnTo>
                    <a:lnTo>
                      <a:pt x="468" y="459"/>
                    </a:lnTo>
                    <a:lnTo>
                      <a:pt x="470" y="459"/>
                    </a:lnTo>
                    <a:lnTo>
                      <a:pt x="471" y="459"/>
                    </a:lnTo>
                    <a:lnTo>
                      <a:pt x="472" y="459"/>
                    </a:lnTo>
                    <a:lnTo>
                      <a:pt x="471" y="459"/>
                    </a:lnTo>
                    <a:lnTo>
                      <a:pt x="472" y="460"/>
                    </a:lnTo>
                    <a:lnTo>
                      <a:pt x="472" y="459"/>
                    </a:lnTo>
                    <a:lnTo>
                      <a:pt x="472" y="460"/>
                    </a:lnTo>
                    <a:lnTo>
                      <a:pt x="473" y="460"/>
                    </a:lnTo>
                    <a:lnTo>
                      <a:pt x="473" y="461"/>
                    </a:lnTo>
                    <a:lnTo>
                      <a:pt x="473" y="462"/>
                    </a:lnTo>
                    <a:lnTo>
                      <a:pt x="473" y="461"/>
                    </a:lnTo>
                    <a:lnTo>
                      <a:pt x="473" y="462"/>
                    </a:lnTo>
                    <a:lnTo>
                      <a:pt x="474" y="462"/>
                    </a:lnTo>
                    <a:lnTo>
                      <a:pt x="475" y="461"/>
                    </a:lnTo>
                    <a:lnTo>
                      <a:pt x="476" y="460"/>
                    </a:lnTo>
                    <a:lnTo>
                      <a:pt x="477" y="459"/>
                    </a:lnTo>
                    <a:lnTo>
                      <a:pt x="477" y="457"/>
                    </a:lnTo>
                    <a:lnTo>
                      <a:pt x="476" y="457"/>
                    </a:lnTo>
                    <a:lnTo>
                      <a:pt x="475" y="456"/>
                    </a:lnTo>
                    <a:lnTo>
                      <a:pt x="474" y="456"/>
                    </a:lnTo>
                    <a:lnTo>
                      <a:pt x="474" y="455"/>
                    </a:lnTo>
                    <a:lnTo>
                      <a:pt x="473" y="455"/>
                    </a:lnTo>
                    <a:lnTo>
                      <a:pt x="472" y="454"/>
                    </a:lnTo>
                    <a:lnTo>
                      <a:pt x="471" y="453"/>
                    </a:lnTo>
                    <a:lnTo>
                      <a:pt x="470" y="453"/>
                    </a:lnTo>
                    <a:lnTo>
                      <a:pt x="470" y="452"/>
                    </a:lnTo>
                    <a:lnTo>
                      <a:pt x="468" y="452"/>
                    </a:lnTo>
                    <a:lnTo>
                      <a:pt x="468" y="451"/>
                    </a:lnTo>
                    <a:lnTo>
                      <a:pt x="468" y="452"/>
                    </a:lnTo>
                    <a:lnTo>
                      <a:pt x="470" y="452"/>
                    </a:lnTo>
                    <a:lnTo>
                      <a:pt x="471" y="452"/>
                    </a:lnTo>
                    <a:lnTo>
                      <a:pt x="471" y="453"/>
                    </a:lnTo>
                    <a:lnTo>
                      <a:pt x="472" y="453"/>
                    </a:lnTo>
                    <a:lnTo>
                      <a:pt x="472" y="452"/>
                    </a:lnTo>
                    <a:lnTo>
                      <a:pt x="472" y="453"/>
                    </a:lnTo>
                    <a:lnTo>
                      <a:pt x="473" y="454"/>
                    </a:lnTo>
                    <a:lnTo>
                      <a:pt x="474" y="455"/>
                    </a:lnTo>
                    <a:lnTo>
                      <a:pt x="475" y="456"/>
                    </a:lnTo>
                    <a:lnTo>
                      <a:pt x="476" y="456"/>
                    </a:lnTo>
                    <a:lnTo>
                      <a:pt x="477" y="457"/>
                    </a:lnTo>
                    <a:lnTo>
                      <a:pt x="478" y="457"/>
                    </a:lnTo>
                    <a:lnTo>
                      <a:pt x="478" y="459"/>
                    </a:lnTo>
                    <a:lnTo>
                      <a:pt x="478" y="457"/>
                    </a:lnTo>
                    <a:lnTo>
                      <a:pt x="479" y="456"/>
                    </a:lnTo>
                    <a:lnTo>
                      <a:pt x="478" y="456"/>
                    </a:lnTo>
                    <a:lnTo>
                      <a:pt x="478" y="457"/>
                    </a:lnTo>
                    <a:lnTo>
                      <a:pt x="477" y="457"/>
                    </a:lnTo>
                    <a:lnTo>
                      <a:pt x="477" y="456"/>
                    </a:lnTo>
                    <a:lnTo>
                      <a:pt x="477" y="455"/>
                    </a:lnTo>
                    <a:lnTo>
                      <a:pt x="478" y="455"/>
                    </a:lnTo>
                    <a:lnTo>
                      <a:pt x="479" y="455"/>
                    </a:lnTo>
                    <a:lnTo>
                      <a:pt x="480" y="455"/>
                    </a:lnTo>
                    <a:lnTo>
                      <a:pt x="481" y="455"/>
                    </a:lnTo>
                    <a:lnTo>
                      <a:pt x="481" y="456"/>
                    </a:lnTo>
                    <a:lnTo>
                      <a:pt x="483" y="456"/>
                    </a:lnTo>
                    <a:lnTo>
                      <a:pt x="481" y="456"/>
                    </a:lnTo>
                    <a:lnTo>
                      <a:pt x="480" y="456"/>
                    </a:lnTo>
                    <a:lnTo>
                      <a:pt x="479" y="457"/>
                    </a:lnTo>
                    <a:lnTo>
                      <a:pt x="478" y="459"/>
                    </a:lnTo>
                    <a:lnTo>
                      <a:pt x="478" y="460"/>
                    </a:lnTo>
                    <a:lnTo>
                      <a:pt x="479" y="460"/>
                    </a:lnTo>
                    <a:lnTo>
                      <a:pt x="479" y="461"/>
                    </a:lnTo>
                    <a:lnTo>
                      <a:pt x="478" y="462"/>
                    </a:lnTo>
                    <a:lnTo>
                      <a:pt x="478" y="461"/>
                    </a:lnTo>
                    <a:lnTo>
                      <a:pt x="478" y="462"/>
                    </a:lnTo>
                    <a:lnTo>
                      <a:pt x="478" y="463"/>
                    </a:lnTo>
                    <a:lnTo>
                      <a:pt x="478" y="464"/>
                    </a:lnTo>
                    <a:lnTo>
                      <a:pt x="479" y="464"/>
                    </a:lnTo>
                    <a:lnTo>
                      <a:pt x="479" y="463"/>
                    </a:lnTo>
                    <a:lnTo>
                      <a:pt x="479" y="464"/>
                    </a:lnTo>
                    <a:lnTo>
                      <a:pt x="480" y="464"/>
                    </a:lnTo>
                    <a:lnTo>
                      <a:pt x="480" y="463"/>
                    </a:lnTo>
                    <a:lnTo>
                      <a:pt x="480" y="462"/>
                    </a:lnTo>
                    <a:lnTo>
                      <a:pt x="480" y="463"/>
                    </a:lnTo>
                    <a:lnTo>
                      <a:pt x="481" y="462"/>
                    </a:lnTo>
                    <a:lnTo>
                      <a:pt x="481" y="461"/>
                    </a:lnTo>
                    <a:lnTo>
                      <a:pt x="481" y="463"/>
                    </a:lnTo>
                    <a:lnTo>
                      <a:pt x="480" y="464"/>
                    </a:lnTo>
                    <a:lnTo>
                      <a:pt x="481" y="464"/>
                    </a:lnTo>
                    <a:lnTo>
                      <a:pt x="481" y="463"/>
                    </a:lnTo>
                    <a:lnTo>
                      <a:pt x="481" y="462"/>
                    </a:lnTo>
                    <a:lnTo>
                      <a:pt x="483" y="461"/>
                    </a:lnTo>
                    <a:lnTo>
                      <a:pt x="483" y="460"/>
                    </a:lnTo>
                    <a:lnTo>
                      <a:pt x="483" y="461"/>
                    </a:lnTo>
                    <a:lnTo>
                      <a:pt x="481" y="461"/>
                    </a:lnTo>
                    <a:lnTo>
                      <a:pt x="481" y="462"/>
                    </a:lnTo>
                    <a:lnTo>
                      <a:pt x="481" y="463"/>
                    </a:lnTo>
                    <a:lnTo>
                      <a:pt x="483" y="463"/>
                    </a:lnTo>
                    <a:lnTo>
                      <a:pt x="481" y="463"/>
                    </a:lnTo>
                    <a:lnTo>
                      <a:pt x="481" y="464"/>
                    </a:lnTo>
                    <a:lnTo>
                      <a:pt x="483" y="465"/>
                    </a:lnTo>
                    <a:lnTo>
                      <a:pt x="485" y="466"/>
                    </a:lnTo>
                    <a:lnTo>
                      <a:pt x="484" y="466"/>
                    </a:lnTo>
                    <a:lnTo>
                      <a:pt x="483" y="465"/>
                    </a:lnTo>
                    <a:lnTo>
                      <a:pt x="483" y="466"/>
                    </a:lnTo>
                    <a:lnTo>
                      <a:pt x="481" y="466"/>
                    </a:lnTo>
                    <a:lnTo>
                      <a:pt x="483" y="466"/>
                    </a:lnTo>
                    <a:lnTo>
                      <a:pt x="483" y="467"/>
                    </a:lnTo>
                    <a:lnTo>
                      <a:pt x="483" y="468"/>
                    </a:lnTo>
                    <a:lnTo>
                      <a:pt x="484" y="468"/>
                    </a:lnTo>
                    <a:lnTo>
                      <a:pt x="484" y="469"/>
                    </a:lnTo>
                    <a:lnTo>
                      <a:pt x="485" y="469"/>
                    </a:lnTo>
                    <a:lnTo>
                      <a:pt x="485" y="470"/>
                    </a:lnTo>
                    <a:lnTo>
                      <a:pt x="485" y="472"/>
                    </a:lnTo>
                    <a:lnTo>
                      <a:pt x="486" y="472"/>
                    </a:lnTo>
                    <a:lnTo>
                      <a:pt x="486" y="473"/>
                    </a:lnTo>
                    <a:lnTo>
                      <a:pt x="486" y="474"/>
                    </a:lnTo>
                    <a:lnTo>
                      <a:pt x="486" y="475"/>
                    </a:lnTo>
                    <a:lnTo>
                      <a:pt x="486" y="474"/>
                    </a:lnTo>
                    <a:lnTo>
                      <a:pt x="486" y="473"/>
                    </a:lnTo>
                    <a:lnTo>
                      <a:pt x="485" y="473"/>
                    </a:lnTo>
                    <a:lnTo>
                      <a:pt x="485" y="470"/>
                    </a:lnTo>
                    <a:lnTo>
                      <a:pt x="484" y="470"/>
                    </a:lnTo>
                    <a:lnTo>
                      <a:pt x="484" y="469"/>
                    </a:lnTo>
                    <a:lnTo>
                      <a:pt x="483" y="469"/>
                    </a:lnTo>
                    <a:lnTo>
                      <a:pt x="483" y="468"/>
                    </a:lnTo>
                    <a:lnTo>
                      <a:pt x="483" y="469"/>
                    </a:lnTo>
                    <a:lnTo>
                      <a:pt x="483" y="470"/>
                    </a:lnTo>
                    <a:lnTo>
                      <a:pt x="484" y="470"/>
                    </a:lnTo>
                    <a:lnTo>
                      <a:pt x="484" y="472"/>
                    </a:lnTo>
                    <a:lnTo>
                      <a:pt x="485" y="472"/>
                    </a:lnTo>
                    <a:lnTo>
                      <a:pt x="485" y="473"/>
                    </a:lnTo>
                    <a:lnTo>
                      <a:pt x="484" y="473"/>
                    </a:lnTo>
                    <a:lnTo>
                      <a:pt x="485" y="473"/>
                    </a:lnTo>
                    <a:lnTo>
                      <a:pt x="485" y="474"/>
                    </a:lnTo>
                    <a:lnTo>
                      <a:pt x="485" y="475"/>
                    </a:lnTo>
                    <a:lnTo>
                      <a:pt x="485" y="476"/>
                    </a:lnTo>
                    <a:lnTo>
                      <a:pt x="486" y="477"/>
                    </a:lnTo>
                    <a:lnTo>
                      <a:pt x="487" y="478"/>
                    </a:lnTo>
                    <a:lnTo>
                      <a:pt x="487" y="477"/>
                    </a:lnTo>
                    <a:lnTo>
                      <a:pt x="487" y="476"/>
                    </a:lnTo>
                    <a:lnTo>
                      <a:pt x="487" y="475"/>
                    </a:lnTo>
                    <a:lnTo>
                      <a:pt x="487" y="474"/>
                    </a:lnTo>
                    <a:lnTo>
                      <a:pt x="487" y="475"/>
                    </a:lnTo>
                    <a:lnTo>
                      <a:pt x="487" y="476"/>
                    </a:lnTo>
                    <a:lnTo>
                      <a:pt x="487" y="477"/>
                    </a:lnTo>
                    <a:lnTo>
                      <a:pt x="487" y="476"/>
                    </a:lnTo>
                    <a:lnTo>
                      <a:pt x="487" y="475"/>
                    </a:lnTo>
                    <a:lnTo>
                      <a:pt x="487" y="474"/>
                    </a:lnTo>
                    <a:lnTo>
                      <a:pt x="488" y="474"/>
                    </a:lnTo>
                    <a:lnTo>
                      <a:pt x="488" y="475"/>
                    </a:lnTo>
                    <a:lnTo>
                      <a:pt x="488" y="476"/>
                    </a:lnTo>
                    <a:lnTo>
                      <a:pt x="488" y="477"/>
                    </a:lnTo>
                    <a:lnTo>
                      <a:pt x="488" y="478"/>
                    </a:lnTo>
                    <a:lnTo>
                      <a:pt x="489" y="478"/>
                    </a:lnTo>
                    <a:lnTo>
                      <a:pt x="489" y="479"/>
                    </a:lnTo>
                    <a:lnTo>
                      <a:pt x="489" y="480"/>
                    </a:lnTo>
                    <a:lnTo>
                      <a:pt x="489" y="479"/>
                    </a:lnTo>
                    <a:lnTo>
                      <a:pt x="489" y="480"/>
                    </a:lnTo>
                    <a:lnTo>
                      <a:pt x="490" y="480"/>
                    </a:lnTo>
                    <a:lnTo>
                      <a:pt x="489" y="481"/>
                    </a:lnTo>
                    <a:lnTo>
                      <a:pt x="490" y="481"/>
                    </a:lnTo>
                    <a:lnTo>
                      <a:pt x="490" y="482"/>
                    </a:lnTo>
                    <a:lnTo>
                      <a:pt x="491" y="482"/>
                    </a:lnTo>
                    <a:lnTo>
                      <a:pt x="491" y="483"/>
                    </a:lnTo>
                    <a:lnTo>
                      <a:pt x="491" y="485"/>
                    </a:lnTo>
                    <a:lnTo>
                      <a:pt x="492" y="485"/>
                    </a:lnTo>
                    <a:lnTo>
                      <a:pt x="492" y="483"/>
                    </a:lnTo>
                    <a:lnTo>
                      <a:pt x="492" y="485"/>
                    </a:lnTo>
                    <a:lnTo>
                      <a:pt x="492" y="486"/>
                    </a:lnTo>
                    <a:lnTo>
                      <a:pt x="493" y="486"/>
                    </a:lnTo>
                    <a:lnTo>
                      <a:pt x="493" y="487"/>
                    </a:lnTo>
                    <a:lnTo>
                      <a:pt x="492" y="487"/>
                    </a:lnTo>
                    <a:lnTo>
                      <a:pt x="493" y="488"/>
                    </a:lnTo>
                    <a:lnTo>
                      <a:pt x="493" y="489"/>
                    </a:lnTo>
                    <a:lnTo>
                      <a:pt x="494" y="489"/>
                    </a:lnTo>
                    <a:lnTo>
                      <a:pt x="494" y="490"/>
                    </a:lnTo>
                    <a:lnTo>
                      <a:pt x="494" y="491"/>
                    </a:lnTo>
                    <a:lnTo>
                      <a:pt x="493" y="491"/>
                    </a:lnTo>
                    <a:lnTo>
                      <a:pt x="494" y="491"/>
                    </a:lnTo>
                    <a:lnTo>
                      <a:pt x="494" y="492"/>
                    </a:lnTo>
                    <a:lnTo>
                      <a:pt x="494" y="493"/>
                    </a:lnTo>
                    <a:lnTo>
                      <a:pt x="496" y="493"/>
                    </a:lnTo>
                    <a:lnTo>
                      <a:pt x="497" y="493"/>
                    </a:lnTo>
                    <a:lnTo>
                      <a:pt x="497" y="492"/>
                    </a:lnTo>
                    <a:lnTo>
                      <a:pt x="497" y="491"/>
                    </a:lnTo>
                    <a:lnTo>
                      <a:pt x="497" y="492"/>
                    </a:lnTo>
                    <a:lnTo>
                      <a:pt x="498" y="491"/>
                    </a:lnTo>
                    <a:lnTo>
                      <a:pt x="498" y="490"/>
                    </a:lnTo>
                    <a:lnTo>
                      <a:pt x="498" y="489"/>
                    </a:lnTo>
                    <a:lnTo>
                      <a:pt x="499" y="489"/>
                    </a:lnTo>
                    <a:lnTo>
                      <a:pt x="498" y="489"/>
                    </a:lnTo>
                    <a:lnTo>
                      <a:pt x="498" y="488"/>
                    </a:lnTo>
                    <a:lnTo>
                      <a:pt x="498" y="487"/>
                    </a:lnTo>
                    <a:lnTo>
                      <a:pt x="498" y="486"/>
                    </a:lnTo>
                    <a:lnTo>
                      <a:pt x="498" y="487"/>
                    </a:lnTo>
                    <a:lnTo>
                      <a:pt x="498" y="488"/>
                    </a:lnTo>
                    <a:lnTo>
                      <a:pt x="497" y="488"/>
                    </a:lnTo>
                    <a:lnTo>
                      <a:pt x="498" y="488"/>
                    </a:lnTo>
                    <a:lnTo>
                      <a:pt x="497" y="489"/>
                    </a:lnTo>
                    <a:lnTo>
                      <a:pt x="497" y="488"/>
                    </a:lnTo>
                    <a:lnTo>
                      <a:pt x="496" y="488"/>
                    </a:lnTo>
                    <a:lnTo>
                      <a:pt x="497" y="488"/>
                    </a:lnTo>
                    <a:lnTo>
                      <a:pt x="497" y="487"/>
                    </a:lnTo>
                    <a:lnTo>
                      <a:pt x="497" y="486"/>
                    </a:lnTo>
                    <a:lnTo>
                      <a:pt x="497" y="485"/>
                    </a:lnTo>
                    <a:lnTo>
                      <a:pt x="498" y="483"/>
                    </a:lnTo>
                    <a:lnTo>
                      <a:pt x="497" y="483"/>
                    </a:lnTo>
                    <a:lnTo>
                      <a:pt x="497" y="482"/>
                    </a:lnTo>
                    <a:lnTo>
                      <a:pt x="497" y="481"/>
                    </a:lnTo>
                    <a:lnTo>
                      <a:pt x="497" y="480"/>
                    </a:lnTo>
                    <a:lnTo>
                      <a:pt x="498" y="480"/>
                    </a:lnTo>
                    <a:lnTo>
                      <a:pt x="498" y="481"/>
                    </a:lnTo>
                    <a:lnTo>
                      <a:pt x="499" y="481"/>
                    </a:lnTo>
                    <a:lnTo>
                      <a:pt x="499" y="480"/>
                    </a:lnTo>
                    <a:lnTo>
                      <a:pt x="500" y="480"/>
                    </a:lnTo>
                    <a:lnTo>
                      <a:pt x="500" y="479"/>
                    </a:lnTo>
                    <a:lnTo>
                      <a:pt x="499" y="479"/>
                    </a:lnTo>
                    <a:lnTo>
                      <a:pt x="497" y="478"/>
                    </a:lnTo>
                    <a:lnTo>
                      <a:pt x="496" y="478"/>
                    </a:lnTo>
                    <a:lnTo>
                      <a:pt x="494" y="478"/>
                    </a:lnTo>
                    <a:lnTo>
                      <a:pt x="493" y="477"/>
                    </a:lnTo>
                    <a:lnTo>
                      <a:pt x="494" y="476"/>
                    </a:lnTo>
                    <a:lnTo>
                      <a:pt x="494" y="477"/>
                    </a:lnTo>
                    <a:lnTo>
                      <a:pt x="496" y="476"/>
                    </a:lnTo>
                    <a:lnTo>
                      <a:pt x="498" y="476"/>
                    </a:lnTo>
                    <a:lnTo>
                      <a:pt x="498" y="477"/>
                    </a:lnTo>
                    <a:lnTo>
                      <a:pt x="500" y="477"/>
                    </a:lnTo>
                    <a:lnTo>
                      <a:pt x="500" y="476"/>
                    </a:lnTo>
                    <a:lnTo>
                      <a:pt x="501" y="476"/>
                    </a:lnTo>
                    <a:lnTo>
                      <a:pt x="501" y="477"/>
                    </a:lnTo>
                    <a:lnTo>
                      <a:pt x="502" y="477"/>
                    </a:lnTo>
                    <a:lnTo>
                      <a:pt x="502" y="476"/>
                    </a:lnTo>
                    <a:lnTo>
                      <a:pt x="502" y="475"/>
                    </a:lnTo>
                    <a:lnTo>
                      <a:pt x="502" y="474"/>
                    </a:lnTo>
                    <a:lnTo>
                      <a:pt x="503" y="473"/>
                    </a:lnTo>
                    <a:lnTo>
                      <a:pt x="504" y="472"/>
                    </a:lnTo>
                    <a:lnTo>
                      <a:pt x="504" y="470"/>
                    </a:lnTo>
                    <a:lnTo>
                      <a:pt x="505" y="470"/>
                    </a:lnTo>
                    <a:lnTo>
                      <a:pt x="506" y="470"/>
                    </a:lnTo>
                    <a:lnTo>
                      <a:pt x="506" y="469"/>
                    </a:lnTo>
                    <a:lnTo>
                      <a:pt x="505" y="469"/>
                    </a:lnTo>
                    <a:lnTo>
                      <a:pt x="505" y="468"/>
                    </a:lnTo>
                    <a:lnTo>
                      <a:pt x="506" y="467"/>
                    </a:lnTo>
                    <a:lnTo>
                      <a:pt x="507" y="468"/>
                    </a:lnTo>
                    <a:lnTo>
                      <a:pt x="507" y="467"/>
                    </a:lnTo>
                    <a:lnTo>
                      <a:pt x="506" y="466"/>
                    </a:lnTo>
                    <a:lnTo>
                      <a:pt x="507" y="466"/>
                    </a:lnTo>
                    <a:lnTo>
                      <a:pt x="507" y="465"/>
                    </a:lnTo>
                    <a:lnTo>
                      <a:pt x="509" y="464"/>
                    </a:lnTo>
                    <a:lnTo>
                      <a:pt x="510" y="464"/>
                    </a:lnTo>
                    <a:lnTo>
                      <a:pt x="509" y="464"/>
                    </a:lnTo>
                    <a:lnTo>
                      <a:pt x="509" y="463"/>
                    </a:lnTo>
                    <a:lnTo>
                      <a:pt x="510" y="463"/>
                    </a:lnTo>
                    <a:lnTo>
                      <a:pt x="509" y="463"/>
                    </a:lnTo>
                    <a:lnTo>
                      <a:pt x="509" y="462"/>
                    </a:lnTo>
                    <a:lnTo>
                      <a:pt x="510" y="462"/>
                    </a:lnTo>
                    <a:lnTo>
                      <a:pt x="510" y="461"/>
                    </a:lnTo>
                    <a:lnTo>
                      <a:pt x="510" y="462"/>
                    </a:lnTo>
                    <a:lnTo>
                      <a:pt x="511" y="462"/>
                    </a:lnTo>
                    <a:lnTo>
                      <a:pt x="511" y="461"/>
                    </a:lnTo>
                    <a:lnTo>
                      <a:pt x="511" y="460"/>
                    </a:lnTo>
                    <a:lnTo>
                      <a:pt x="512" y="460"/>
                    </a:lnTo>
                    <a:lnTo>
                      <a:pt x="512" y="459"/>
                    </a:lnTo>
                    <a:lnTo>
                      <a:pt x="512" y="457"/>
                    </a:lnTo>
                    <a:lnTo>
                      <a:pt x="513" y="457"/>
                    </a:lnTo>
                    <a:lnTo>
                      <a:pt x="512" y="456"/>
                    </a:lnTo>
                    <a:lnTo>
                      <a:pt x="512" y="457"/>
                    </a:lnTo>
                    <a:lnTo>
                      <a:pt x="512" y="459"/>
                    </a:lnTo>
                    <a:lnTo>
                      <a:pt x="511" y="459"/>
                    </a:lnTo>
                    <a:lnTo>
                      <a:pt x="511" y="460"/>
                    </a:lnTo>
                    <a:lnTo>
                      <a:pt x="511" y="461"/>
                    </a:lnTo>
                    <a:lnTo>
                      <a:pt x="510" y="460"/>
                    </a:lnTo>
                    <a:lnTo>
                      <a:pt x="511" y="460"/>
                    </a:lnTo>
                    <a:lnTo>
                      <a:pt x="511" y="459"/>
                    </a:lnTo>
                    <a:lnTo>
                      <a:pt x="511" y="457"/>
                    </a:lnTo>
                    <a:lnTo>
                      <a:pt x="511" y="459"/>
                    </a:lnTo>
                    <a:lnTo>
                      <a:pt x="511" y="457"/>
                    </a:lnTo>
                    <a:lnTo>
                      <a:pt x="512" y="457"/>
                    </a:lnTo>
                    <a:lnTo>
                      <a:pt x="512" y="456"/>
                    </a:lnTo>
                    <a:lnTo>
                      <a:pt x="512" y="455"/>
                    </a:lnTo>
                    <a:lnTo>
                      <a:pt x="513" y="455"/>
                    </a:lnTo>
                    <a:lnTo>
                      <a:pt x="512" y="455"/>
                    </a:lnTo>
                    <a:lnTo>
                      <a:pt x="513" y="455"/>
                    </a:lnTo>
                    <a:lnTo>
                      <a:pt x="512" y="454"/>
                    </a:lnTo>
                    <a:lnTo>
                      <a:pt x="511" y="454"/>
                    </a:lnTo>
                    <a:lnTo>
                      <a:pt x="511" y="453"/>
                    </a:lnTo>
                    <a:lnTo>
                      <a:pt x="512" y="453"/>
                    </a:lnTo>
                    <a:lnTo>
                      <a:pt x="512" y="452"/>
                    </a:lnTo>
                    <a:lnTo>
                      <a:pt x="511" y="452"/>
                    </a:lnTo>
                    <a:lnTo>
                      <a:pt x="511" y="451"/>
                    </a:lnTo>
                    <a:lnTo>
                      <a:pt x="511" y="450"/>
                    </a:lnTo>
                    <a:lnTo>
                      <a:pt x="510" y="449"/>
                    </a:lnTo>
                    <a:lnTo>
                      <a:pt x="509" y="447"/>
                    </a:lnTo>
                    <a:lnTo>
                      <a:pt x="509" y="446"/>
                    </a:lnTo>
                    <a:lnTo>
                      <a:pt x="509" y="444"/>
                    </a:lnTo>
                    <a:lnTo>
                      <a:pt x="507" y="444"/>
                    </a:lnTo>
                    <a:lnTo>
                      <a:pt x="507" y="446"/>
                    </a:lnTo>
                    <a:lnTo>
                      <a:pt x="507" y="444"/>
                    </a:lnTo>
                    <a:lnTo>
                      <a:pt x="506" y="446"/>
                    </a:lnTo>
                    <a:lnTo>
                      <a:pt x="507" y="444"/>
                    </a:lnTo>
                    <a:lnTo>
                      <a:pt x="506" y="444"/>
                    </a:lnTo>
                    <a:lnTo>
                      <a:pt x="506" y="446"/>
                    </a:lnTo>
                    <a:lnTo>
                      <a:pt x="505" y="446"/>
                    </a:lnTo>
                    <a:lnTo>
                      <a:pt x="506" y="444"/>
                    </a:lnTo>
                    <a:lnTo>
                      <a:pt x="505" y="444"/>
                    </a:lnTo>
                    <a:lnTo>
                      <a:pt x="505" y="443"/>
                    </a:lnTo>
                    <a:lnTo>
                      <a:pt x="505" y="442"/>
                    </a:lnTo>
                    <a:lnTo>
                      <a:pt x="504" y="442"/>
                    </a:lnTo>
                    <a:lnTo>
                      <a:pt x="505" y="442"/>
                    </a:lnTo>
                    <a:lnTo>
                      <a:pt x="505" y="441"/>
                    </a:lnTo>
                    <a:lnTo>
                      <a:pt x="506" y="442"/>
                    </a:lnTo>
                    <a:lnTo>
                      <a:pt x="506" y="443"/>
                    </a:lnTo>
                    <a:lnTo>
                      <a:pt x="507" y="442"/>
                    </a:lnTo>
                    <a:lnTo>
                      <a:pt x="506" y="441"/>
                    </a:lnTo>
                    <a:lnTo>
                      <a:pt x="506" y="440"/>
                    </a:lnTo>
                    <a:lnTo>
                      <a:pt x="506" y="439"/>
                    </a:lnTo>
                    <a:lnTo>
                      <a:pt x="505" y="438"/>
                    </a:lnTo>
                    <a:lnTo>
                      <a:pt x="505" y="437"/>
                    </a:lnTo>
                    <a:lnTo>
                      <a:pt x="505" y="436"/>
                    </a:lnTo>
                    <a:lnTo>
                      <a:pt x="505" y="434"/>
                    </a:lnTo>
                    <a:lnTo>
                      <a:pt x="506" y="433"/>
                    </a:lnTo>
                    <a:lnTo>
                      <a:pt x="506" y="431"/>
                    </a:lnTo>
                    <a:lnTo>
                      <a:pt x="507" y="431"/>
                    </a:lnTo>
                    <a:lnTo>
                      <a:pt x="509" y="431"/>
                    </a:lnTo>
                    <a:lnTo>
                      <a:pt x="510" y="431"/>
                    </a:lnTo>
                    <a:lnTo>
                      <a:pt x="510" y="433"/>
                    </a:lnTo>
                    <a:lnTo>
                      <a:pt x="510" y="431"/>
                    </a:lnTo>
                    <a:lnTo>
                      <a:pt x="509" y="431"/>
                    </a:lnTo>
                    <a:lnTo>
                      <a:pt x="507" y="431"/>
                    </a:lnTo>
                    <a:lnTo>
                      <a:pt x="506" y="431"/>
                    </a:lnTo>
                    <a:lnTo>
                      <a:pt x="506" y="430"/>
                    </a:lnTo>
                    <a:lnTo>
                      <a:pt x="506" y="429"/>
                    </a:lnTo>
                    <a:lnTo>
                      <a:pt x="506" y="428"/>
                    </a:lnTo>
                    <a:lnTo>
                      <a:pt x="506" y="427"/>
                    </a:lnTo>
                    <a:lnTo>
                      <a:pt x="507" y="427"/>
                    </a:lnTo>
                    <a:lnTo>
                      <a:pt x="509" y="427"/>
                    </a:lnTo>
                    <a:lnTo>
                      <a:pt x="509" y="428"/>
                    </a:lnTo>
                    <a:lnTo>
                      <a:pt x="509" y="427"/>
                    </a:lnTo>
                    <a:lnTo>
                      <a:pt x="507" y="427"/>
                    </a:lnTo>
                    <a:lnTo>
                      <a:pt x="506" y="427"/>
                    </a:lnTo>
                    <a:lnTo>
                      <a:pt x="505" y="427"/>
                    </a:lnTo>
                    <a:lnTo>
                      <a:pt x="505" y="426"/>
                    </a:lnTo>
                    <a:lnTo>
                      <a:pt x="505" y="425"/>
                    </a:lnTo>
                    <a:lnTo>
                      <a:pt x="505" y="424"/>
                    </a:lnTo>
                    <a:lnTo>
                      <a:pt x="504" y="424"/>
                    </a:lnTo>
                    <a:lnTo>
                      <a:pt x="504" y="423"/>
                    </a:lnTo>
                    <a:lnTo>
                      <a:pt x="505" y="423"/>
                    </a:lnTo>
                    <a:lnTo>
                      <a:pt x="505" y="422"/>
                    </a:lnTo>
                    <a:lnTo>
                      <a:pt x="505" y="423"/>
                    </a:lnTo>
                    <a:lnTo>
                      <a:pt x="504" y="423"/>
                    </a:lnTo>
                    <a:lnTo>
                      <a:pt x="505" y="423"/>
                    </a:lnTo>
                    <a:lnTo>
                      <a:pt x="505" y="422"/>
                    </a:lnTo>
                    <a:lnTo>
                      <a:pt x="506" y="421"/>
                    </a:lnTo>
                    <a:lnTo>
                      <a:pt x="507" y="421"/>
                    </a:lnTo>
                    <a:lnTo>
                      <a:pt x="507" y="420"/>
                    </a:lnTo>
                    <a:lnTo>
                      <a:pt x="509" y="420"/>
                    </a:lnTo>
                    <a:lnTo>
                      <a:pt x="509" y="418"/>
                    </a:lnTo>
                    <a:lnTo>
                      <a:pt x="509" y="417"/>
                    </a:lnTo>
                    <a:lnTo>
                      <a:pt x="510" y="417"/>
                    </a:lnTo>
                    <a:lnTo>
                      <a:pt x="511" y="417"/>
                    </a:lnTo>
                    <a:lnTo>
                      <a:pt x="511" y="418"/>
                    </a:lnTo>
                    <a:lnTo>
                      <a:pt x="511" y="420"/>
                    </a:lnTo>
                    <a:lnTo>
                      <a:pt x="511" y="421"/>
                    </a:lnTo>
                    <a:lnTo>
                      <a:pt x="511" y="422"/>
                    </a:lnTo>
                    <a:lnTo>
                      <a:pt x="512" y="422"/>
                    </a:lnTo>
                    <a:lnTo>
                      <a:pt x="512" y="423"/>
                    </a:lnTo>
                    <a:lnTo>
                      <a:pt x="513" y="423"/>
                    </a:lnTo>
                    <a:lnTo>
                      <a:pt x="514" y="423"/>
                    </a:lnTo>
                    <a:lnTo>
                      <a:pt x="515" y="423"/>
                    </a:lnTo>
                    <a:lnTo>
                      <a:pt x="515" y="424"/>
                    </a:lnTo>
                    <a:lnTo>
                      <a:pt x="516" y="424"/>
                    </a:lnTo>
                    <a:lnTo>
                      <a:pt x="516" y="423"/>
                    </a:lnTo>
                    <a:lnTo>
                      <a:pt x="517" y="423"/>
                    </a:lnTo>
                    <a:lnTo>
                      <a:pt x="518" y="423"/>
                    </a:lnTo>
                    <a:lnTo>
                      <a:pt x="518" y="422"/>
                    </a:lnTo>
                    <a:lnTo>
                      <a:pt x="517" y="422"/>
                    </a:lnTo>
                    <a:lnTo>
                      <a:pt x="517" y="421"/>
                    </a:lnTo>
                    <a:lnTo>
                      <a:pt x="518" y="421"/>
                    </a:lnTo>
                    <a:lnTo>
                      <a:pt x="518" y="420"/>
                    </a:lnTo>
                    <a:lnTo>
                      <a:pt x="519" y="420"/>
                    </a:lnTo>
                    <a:lnTo>
                      <a:pt x="519" y="418"/>
                    </a:lnTo>
                    <a:lnTo>
                      <a:pt x="520" y="418"/>
                    </a:lnTo>
                    <a:lnTo>
                      <a:pt x="520" y="417"/>
                    </a:lnTo>
                    <a:lnTo>
                      <a:pt x="520" y="418"/>
                    </a:lnTo>
                    <a:lnTo>
                      <a:pt x="520" y="417"/>
                    </a:lnTo>
                    <a:lnTo>
                      <a:pt x="520" y="416"/>
                    </a:lnTo>
                    <a:lnTo>
                      <a:pt x="522" y="416"/>
                    </a:lnTo>
                    <a:lnTo>
                      <a:pt x="520" y="415"/>
                    </a:lnTo>
                    <a:lnTo>
                      <a:pt x="522" y="415"/>
                    </a:lnTo>
                    <a:lnTo>
                      <a:pt x="522" y="416"/>
                    </a:lnTo>
                    <a:lnTo>
                      <a:pt x="522" y="415"/>
                    </a:lnTo>
                    <a:lnTo>
                      <a:pt x="522" y="414"/>
                    </a:lnTo>
                    <a:lnTo>
                      <a:pt x="522" y="413"/>
                    </a:lnTo>
                    <a:lnTo>
                      <a:pt x="520" y="412"/>
                    </a:lnTo>
                    <a:lnTo>
                      <a:pt x="520" y="411"/>
                    </a:lnTo>
                    <a:lnTo>
                      <a:pt x="520" y="410"/>
                    </a:lnTo>
                    <a:lnTo>
                      <a:pt x="522" y="411"/>
                    </a:lnTo>
                    <a:lnTo>
                      <a:pt x="522" y="410"/>
                    </a:lnTo>
                    <a:lnTo>
                      <a:pt x="523" y="410"/>
                    </a:lnTo>
                    <a:lnTo>
                      <a:pt x="524" y="410"/>
                    </a:lnTo>
                    <a:lnTo>
                      <a:pt x="524" y="409"/>
                    </a:lnTo>
                    <a:lnTo>
                      <a:pt x="525" y="409"/>
                    </a:lnTo>
                    <a:lnTo>
                      <a:pt x="526" y="409"/>
                    </a:lnTo>
                    <a:lnTo>
                      <a:pt x="526" y="410"/>
                    </a:lnTo>
                    <a:lnTo>
                      <a:pt x="525" y="410"/>
                    </a:lnTo>
                    <a:lnTo>
                      <a:pt x="526" y="410"/>
                    </a:lnTo>
                    <a:lnTo>
                      <a:pt x="525" y="410"/>
                    </a:lnTo>
                    <a:lnTo>
                      <a:pt x="525" y="411"/>
                    </a:lnTo>
                    <a:lnTo>
                      <a:pt x="526" y="411"/>
                    </a:lnTo>
                    <a:lnTo>
                      <a:pt x="526" y="412"/>
                    </a:lnTo>
                    <a:lnTo>
                      <a:pt x="527" y="412"/>
                    </a:lnTo>
                    <a:lnTo>
                      <a:pt x="527" y="413"/>
                    </a:lnTo>
                    <a:lnTo>
                      <a:pt x="528" y="413"/>
                    </a:lnTo>
                    <a:lnTo>
                      <a:pt x="528" y="414"/>
                    </a:lnTo>
                    <a:lnTo>
                      <a:pt x="527" y="414"/>
                    </a:lnTo>
                    <a:lnTo>
                      <a:pt x="527" y="415"/>
                    </a:lnTo>
                    <a:lnTo>
                      <a:pt x="528" y="415"/>
                    </a:lnTo>
                    <a:lnTo>
                      <a:pt x="527" y="415"/>
                    </a:lnTo>
                    <a:lnTo>
                      <a:pt x="527" y="414"/>
                    </a:lnTo>
                    <a:lnTo>
                      <a:pt x="528" y="414"/>
                    </a:lnTo>
                    <a:lnTo>
                      <a:pt x="528" y="413"/>
                    </a:lnTo>
                    <a:lnTo>
                      <a:pt x="528" y="414"/>
                    </a:lnTo>
                    <a:lnTo>
                      <a:pt x="529" y="414"/>
                    </a:lnTo>
                    <a:lnTo>
                      <a:pt x="529" y="415"/>
                    </a:lnTo>
                    <a:lnTo>
                      <a:pt x="530" y="415"/>
                    </a:lnTo>
                    <a:lnTo>
                      <a:pt x="530" y="414"/>
                    </a:lnTo>
                    <a:lnTo>
                      <a:pt x="529" y="414"/>
                    </a:lnTo>
                    <a:lnTo>
                      <a:pt x="529" y="415"/>
                    </a:lnTo>
                    <a:lnTo>
                      <a:pt x="529" y="414"/>
                    </a:lnTo>
                    <a:lnTo>
                      <a:pt x="528" y="414"/>
                    </a:lnTo>
                    <a:lnTo>
                      <a:pt x="528" y="413"/>
                    </a:lnTo>
                    <a:lnTo>
                      <a:pt x="529" y="413"/>
                    </a:lnTo>
                    <a:lnTo>
                      <a:pt x="528" y="413"/>
                    </a:lnTo>
                    <a:lnTo>
                      <a:pt x="528" y="412"/>
                    </a:lnTo>
                    <a:lnTo>
                      <a:pt x="528" y="411"/>
                    </a:lnTo>
                    <a:lnTo>
                      <a:pt x="527" y="411"/>
                    </a:lnTo>
                    <a:lnTo>
                      <a:pt x="527" y="410"/>
                    </a:lnTo>
                    <a:lnTo>
                      <a:pt x="527" y="409"/>
                    </a:lnTo>
                    <a:lnTo>
                      <a:pt x="526" y="409"/>
                    </a:lnTo>
                    <a:lnTo>
                      <a:pt x="527" y="409"/>
                    </a:lnTo>
                    <a:lnTo>
                      <a:pt x="527" y="408"/>
                    </a:lnTo>
                    <a:lnTo>
                      <a:pt x="527" y="406"/>
                    </a:lnTo>
                    <a:lnTo>
                      <a:pt x="527" y="405"/>
                    </a:lnTo>
                    <a:lnTo>
                      <a:pt x="526" y="405"/>
                    </a:lnTo>
                    <a:lnTo>
                      <a:pt x="526" y="404"/>
                    </a:lnTo>
                    <a:lnTo>
                      <a:pt x="527" y="404"/>
                    </a:lnTo>
                    <a:lnTo>
                      <a:pt x="527" y="403"/>
                    </a:lnTo>
                    <a:lnTo>
                      <a:pt x="527" y="404"/>
                    </a:lnTo>
                    <a:lnTo>
                      <a:pt x="528" y="404"/>
                    </a:lnTo>
                    <a:lnTo>
                      <a:pt x="528" y="403"/>
                    </a:lnTo>
                    <a:lnTo>
                      <a:pt x="529" y="403"/>
                    </a:lnTo>
                    <a:lnTo>
                      <a:pt x="529" y="404"/>
                    </a:lnTo>
                    <a:lnTo>
                      <a:pt x="530" y="404"/>
                    </a:lnTo>
                    <a:lnTo>
                      <a:pt x="531" y="404"/>
                    </a:lnTo>
                    <a:lnTo>
                      <a:pt x="530" y="404"/>
                    </a:lnTo>
                    <a:lnTo>
                      <a:pt x="530" y="405"/>
                    </a:lnTo>
                    <a:lnTo>
                      <a:pt x="530" y="406"/>
                    </a:lnTo>
                    <a:lnTo>
                      <a:pt x="531" y="406"/>
                    </a:lnTo>
                    <a:lnTo>
                      <a:pt x="531" y="408"/>
                    </a:lnTo>
                    <a:lnTo>
                      <a:pt x="531" y="409"/>
                    </a:lnTo>
                    <a:lnTo>
                      <a:pt x="532" y="409"/>
                    </a:lnTo>
                    <a:lnTo>
                      <a:pt x="532" y="410"/>
                    </a:lnTo>
                    <a:lnTo>
                      <a:pt x="533" y="410"/>
                    </a:lnTo>
                    <a:lnTo>
                      <a:pt x="533" y="411"/>
                    </a:lnTo>
                    <a:lnTo>
                      <a:pt x="533" y="410"/>
                    </a:lnTo>
                    <a:lnTo>
                      <a:pt x="533" y="409"/>
                    </a:lnTo>
                    <a:lnTo>
                      <a:pt x="535" y="409"/>
                    </a:lnTo>
                    <a:lnTo>
                      <a:pt x="533" y="409"/>
                    </a:lnTo>
                    <a:lnTo>
                      <a:pt x="535" y="408"/>
                    </a:lnTo>
                    <a:lnTo>
                      <a:pt x="535" y="406"/>
                    </a:lnTo>
                    <a:lnTo>
                      <a:pt x="533" y="406"/>
                    </a:lnTo>
                    <a:lnTo>
                      <a:pt x="533" y="405"/>
                    </a:lnTo>
                    <a:lnTo>
                      <a:pt x="532" y="405"/>
                    </a:lnTo>
                    <a:lnTo>
                      <a:pt x="532" y="404"/>
                    </a:lnTo>
                    <a:lnTo>
                      <a:pt x="531" y="404"/>
                    </a:lnTo>
                    <a:lnTo>
                      <a:pt x="532" y="404"/>
                    </a:lnTo>
                    <a:lnTo>
                      <a:pt x="532" y="403"/>
                    </a:lnTo>
                    <a:lnTo>
                      <a:pt x="532" y="402"/>
                    </a:lnTo>
                    <a:lnTo>
                      <a:pt x="533" y="402"/>
                    </a:lnTo>
                    <a:lnTo>
                      <a:pt x="532" y="402"/>
                    </a:lnTo>
                    <a:lnTo>
                      <a:pt x="533" y="402"/>
                    </a:lnTo>
                    <a:lnTo>
                      <a:pt x="532" y="401"/>
                    </a:lnTo>
                    <a:lnTo>
                      <a:pt x="532" y="400"/>
                    </a:lnTo>
                    <a:lnTo>
                      <a:pt x="533" y="400"/>
                    </a:lnTo>
                    <a:lnTo>
                      <a:pt x="532" y="400"/>
                    </a:lnTo>
                    <a:lnTo>
                      <a:pt x="532" y="399"/>
                    </a:lnTo>
                    <a:lnTo>
                      <a:pt x="533" y="399"/>
                    </a:lnTo>
                    <a:lnTo>
                      <a:pt x="532" y="399"/>
                    </a:lnTo>
                    <a:lnTo>
                      <a:pt x="532" y="398"/>
                    </a:lnTo>
                    <a:lnTo>
                      <a:pt x="532" y="397"/>
                    </a:lnTo>
                    <a:lnTo>
                      <a:pt x="533" y="397"/>
                    </a:lnTo>
                    <a:lnTo>
                      <a:pt x="535" y="396"/>
                    </a:lnTo>
                    <a:lnTo>
                      <a:pt x="536" y="396"/>
                    </a:lnTo>
                    <a:lnTo>
                      <a:pt x="537" y="396"/>
                    </a:lnTo>
                    <a:lnTo>
                      <a:pt x="538" y="397"/>
                    </a:lnTo>
                    <a:lnTo>
                      <a:pt x="538" y="400"/>
                    </a:lnTo>
                    <a:lnTo>
                      <a:pt x="538" y="401"/>
                    </a:lnTo>
                    <a:lnTo>
                      <a:pt x="539" y="403"/>
                    </a:lnTo>
                    <a:lnTo>
                      <a:pt x="540" y="405"/>
                    </a:lnTo>
                    <a:lnTo>
                      <a:pt x="541" y="408"/>
                    </a:lnTo>
                    <a:lnTo>
                      <a:pt x="541" y="409"/>
                    </a:lnTo>
                    <a:lnTo>
                      <a:pt x="541" y="411"/>
                    </a:lnTo>
                    <a:lnTo>
                      <a:pt x="542" y="412"/>
                    </a:lnTo>
                    <a:lnTo>
                      <a:pt x="542" y="414"/>
                    </a:lnTo>
                    <a:lnTo>
                      <a:pt x="541" y="418"/>
                    </a:lnTo>
                    <a:lnTo>
                      <a:pt x="540" y="422"/>
                    </a:lnTo>
                    <a:lnTo>
                      <a:pt x="540" y="424"/>
                    </a:lnTo>
                    <a:lnTo>
                      <a:pt x="538" y="427"/>
                    </a:lnTo>
                    <a:lnTo>
                      <a:pt x="537" y="429"/>
                    </a:lnTo>
                    <a:lnTo>
                      <a:pt x="536" y="430"/>
                    </a:lnTo>
                    <a:lnTo>
                      <a:pt x="536" y="431"/>
                    </a:lnTo>
                    <a:lnTo>
                      <a:pt x="535" y="431"/>
                    </a:lnTo>
                    <a:lnTo>
                      <a:pt x="533" y="434"/>
                    </a:lnTo>
                    <a:lnTo>
                      <a:pt x="532" y="434"/>
                    </a:lnTo>
                    <a:lnTo>
                      <a:pt x="531" y="435"/>
                    </a:lnTo>
                    <a:lnTo>
                      <a:pt x="530" y="435"/>
                    </a:lnTo>
                    <a:lnTo>
                      <a:pt x="530" y="436"/>
                    </a:lnTo>
                    <a:lnTo>
                      <a:pt x="529" y="436"/>
                    </a:lnTo>
                    <a:lnTo>
                      <a:pt x="529" y="437"/>
                    </a:lnTo>
                    <a:lnTo>
                      <a:pt x="528" y="436"/>
                    </a:lnTo>
                    <a:lnTo>
                      <a:pt x="527" y="436"/>
                    </a:lnTo>
                    <a:lnTo>
                      <a:pt x="526" y="436"/>
                    </a:lnTo>
                    <a:lnTo>
                      <a:pt x="525" y="436"/>
                    </a:lnTo>
                    <a:lnTo>
                      <a:pt x="524" y="437"/>
                    </a:lnTo>
                    <a:lnTo>
                      <a:pt x="523" y="437"/>
                    </a:lnTo>
                    <a:lnTo>
                      <a:pt x="524" y="439"/>
                    </a:lnTo>
                    <a:lnTo>
                      <a:pt x="525" y="439"/>
                    </a:lnTo>
                    <a:lnTo>
                      <a:pt x="526" y="439"/>
                    </a:lnTo>
                    <a:lnTo>
                      <a:pt x="526" y="440"/>
                    </a:lnTo>
                    <a:lnTo>
                      <a:pt x="527" y="440"/>
                    </a:lnTo>
                    <a:lnTo>
                      <a:pt x="526" y="441"/>
                    </a:lnTo>
                    <a:lnTo>
                      <a:pt x="525" y="442"/>
                    </a:lnTo>
                    <a:lnTo>
                      <a:pt x="523" y="444"/>
                    </a:lnTo>
                    <a:lnTo>
                      <a:pt x="520" y="448"/>
                    </a:lnTo>
                    <a:lnTo>
                      <a:pt x="518" y="450"/>
                    </a:lnTo>
                    <a:lnTo>
                      <a:pt x="517" y="452"/>
                    </a:lnTo>
                    <a:lnTo>
                      <a:pt x="514" y="457"/>
                    </a:lnTo>
                    <a:lnTo>
                      <a:pt x="513" y="457"/>
                    </a:lnTo>
                    <a:lnTo>
                      <a:pt x="513" y="459"/>
                    </a:lnTo>
                    <a:lnTo>
                      <a:pt x="512" y="460"/>
                    </a:lnTo>
                    <a:lnTo>
                      <a:pt x="512" y="461"/>
                    </a:lnTo>
                    <a:lnTo>
                      <a:pt x="511" y="462"/>
                    </a:lnTo>
                    <a:lnTo>
                      <a:pt x="511" y="463"/>
                    </a:lnTo>
                    <a:lnTo>
                      <a:pt x="510" y="464"/>
                    </a:lnTo>
                    <a:lnTo>
                      <a:pt x="510" y="466"/>
                    </a:lnTo>
                    <a:lnTo>
                      <a:pt x="509" y="468"/>
                    </a:lnTo>
                    <a:lnTo>
                      <a:pt x="506" y="473"/>
                    </a:lnTo>
                    <a:lnTo>
                      <a:pt x="505" y="474"/>
                    </a:lnTo>
                    <a:lnTo>
                      <a:pt x="505" y="475"/>
                    </a:lnTo>
                    <a:lnTo>
                      <a:pt x="505" y="476"/>
                    </a:lnTo>
                    <a:lnTo>
                      <a:pt x="504" y="477"/>
                    </a:lnTo>
                    <a:lnTo>
                      <a:pt x="502" y="480"/>
                    </a:lnTo>
                    <a:lnTo>
                      <a:pt x="502" y="481"/>
                    </a:lnTo>
                    <a:lnTo>
                      <a:pt x="501" y="480"/>
                    </a:lnTo>
                    <a:lnTo>
                      <a:pt x="502" y="481"/>
                    </a:lnTo>
                    <a:lnTo>
                      <a:pt x="502" y="482"/>
                    </a:lnTo>
                    <a:lnTo>
                      <a:pt x="500" y="487"/>
                    </a:lnTo>
                    <a:lnTo>
                      <a:pt x="499" y="492"/>
                    </a:lnTo>
                    <a:lnTo>
                      <a:pt x="498" y="492"/>
                    </a:lnTo>
                    <a:lnTo>
                      <a:pt x="498" y="493"/>
                    </a:lnTo>
                    <a:lnTo>
                      <a:pt x="497" y="493"/>
                    </a:lnTo>
                    <a:lnTo>
                      <a:pt x="497" y="494"/>
                    </a:lnTo>
                    <a:lnTo>
                      <a:pt x="494" y="494"/>
                    </a:lnTo>
                    <a:lnTo>
                      <a:pt x="493" y="494"/>
                    </a:lnTo>
                    <a:lnTo>
                      <a:pt x="493" y="493"/>
                    </a:lnTo>
                    <a:lnTo>
                      <a:pt x="493" y="492"/>
                    </a:lnTo>
                    <a:lnTo>
                      <a:pt x="492" y="492"/>
                    </a:lnTo>
                    <a:lnTo>
                      <a:pt x="491" y="492"/>
                    </a:lnTo>
                    <a:lnTo>
                      <a:pt x="490" y="492"/>
                    </a:lnTo>
                    <a:lnTo>
                      <a:pt x="490" y="491"/>
                    </a:lnTo>
                    <a:lnTo>
                      <a:pt x="489" y="489"/>
                    </a:lnTo>
                    <a:lnTo>
                      <a:pt x="489" y="488"/>
                    </a:lnTo>
                    <a:lnTo>
                      <a:pt x="488" y="487"/>
                    </a:lnTo>
                    <a:lnTo>
                      <a:pt x="488" y="486"/>
                    </a:lnTo>
                    <a:lnTo>
                      <a:pt x="487" y="486"/>
                    </a:lnTo>
                    <a:lnTo>
                      <a:pt x="487" y="485"/>
                    </a:lnTo>
                    <a:lnTo>
                      <a:pt x="487" y="483"/>
                    </a:lnTo>
                    <a:lnTo>
                      <a:pt x="486" y="483"/>
                    </a:lnTo>
                    <a:lnTo>
                      <a:pt x="486" y="482"/>
                    </a:lnTo>
                    <a:lnTo>
                      <a:pt x="485" y="482"/>
                    </a:lnTo>
                    <a:lnTo>
                      <a:pt x="485" y="481"/>
                    </a:lnTo>
                    <a:lnTo>
                      <a:pt x="485" y="480"/>
                    </a:lnTo>
                    <a:lnTo>
                      <a:pt x="484" y="479"/>
                    </a:lnTo>
                    <a:lnTo>
                      <a:pt x="484" y="478"/>
                    </a:lnTo>
                    <a:lnTo>
                      <a:pt x="483" y="477"/>
                    </a:lnTo>
                    <a:lnTo>
                      <a:pt x="481" y="476"/>
                    </a:lnTo>
                    <a:lnTo>
                      <a:pt x="481" y="475"/>
                    </a:lnTo>
                    <a:lnTo>
                      <a:pt x="480" y="474"/>
                    </a:lnTo>
                    <a:lnTo>
                      <a:pt x="479" y="474"/>
                    </a:lnTo>
                    <a:lnTo>
                      <a:pt x="479" y="473"/>
                    </a:lnTo>
                    <a:lnTo>
                      <a:pt x="478" y="472"/>
                    </a:lnTo>
                    <a:lnTo>
                      <a:pt x="478" y="470"/>
                    </a:lnTo>
                    <a:lnTo>
                      <a:pt x="477" y="468"/>
                    </a:lnTo>
                    <a:lnTo>
                      <a:pt x="476" y="468"/>
                    </a:lnTo>
                    <a:lnTo>
                      <a:pt x="476" y="467"/>
                    </a:lnTo>
                    <a:lnTo>
                      <a:pt x="475" y="467"/>
                    </a:lnTo>
                    <a:lnTo>
                      <a:pt x="475" y="466"/>
                    </a:lnTo>
                    <a:lnTo>
                      <a:pt x="474" y="466"/>
                    </a:lnTo>
                    <a:lnTo>
                      <a:pt x="474" y="465"/>
                    </a:lnTo>
                    <a:lnTo>
                      <a:pt x="473" y="465"/>
                    </a:lnTo>
                    <a:lnTo>
                      <a:pt x="473" y="464"/>
                    </a:lnTo>
                    <a:lnTo>
                      <a:pt x="472" y="463"/>
                    </a:lnTo>
                    <a:lnTo>
                      <a:pt x="471" y="462"/>
                    </a:lnTo>
                    <a:lnTo>
                      <a:pt x="470" y="461"/>
                    </a:lnTo>
                    <a:lnTo>
                      <a:pt x="468" y="460"/>
                    </a:lnTo>
                    <a:lnTo>
                      <a:pt x="466" y="457"/>
                    </a:lnTo>
                    <a:lnTo>
                      <a:pt x="464" y="455"/>
                    </a:lnTo>
                    <a:lnTo>
                      <a:pt x="460" y="451"/>
                    </a:lnTo>
                    <a:lnTo>
                      <a:pt x="453" y="446"/>
                    </a:lnTo>
                    <a:lnTo>
                      <a:pt x="449" y="441"/>
                    </a:lnTo>
                    <a:lnTo>
                      <a:pt x="447" y="439"/>
                    </a:lnTo>
                    <a:lnTo>
                      <a:pt x="446" y="437"/>
                    </a:lnTo>
                    <a:lnTo>
                      <a:pt x="445" y="435"/>
                    </a:lnTo>
                    <a:lnTo>
                      <a:pt x="444" y="434"/>
                    </a:lnTo>
                    <a:lnTo>
                      <a:pt x="444" y="435"/>
                    </a:lnTo>
                    <a:lnTo>
                      <a:pt x="444" y="434"/>
                    </a:lnTo>
                    <a:lnTo>
                      <a:pt x="442" y="431"/>
                    </a:lnTo>
                    <a:lnTo>
                      <a:pt x="442" y="433"/>
                    </a:lnTo>
                    <a:lnTo>
                      <a:pt x="441" y="433"/>
                    </a:lnTo>
                    <a:lnTo>
                      <a:pt x="441" y="431"/>
                    </a:lnTo>
                    <a:lnTo>
                      <a:pt x="440" y="430"/>
                    </a:lnTo>
                    <a:lnTo>
                      <a:pt x="441" y="430"/>
                    </a:lnTo>
                    <a:lnTo>
                      <a:pt x="440" y="430"/>
                    </a:lnTo>
                    <a:lnTo>
                      <a:pt x="440" y="429"/>
                    </a:lnTo>
                    <a:lnTo>
                      <a:pt x="439" y="429"/>
                    </a:lnTo>
                    <a:lnTo>
                      <a:pt x="439" y="428"/>
                    </a:lnTo>
                    <a:lnTo>
                      <a:pt x="438" y="428"/>
                    </a:lnTo>
                    <a:lnTo>
                      <a:pt x="438" y="427"/>
                    </a:lnTo>
                    <a:lnTo>
                      <a:pt x="437" y="426"/>
                    </a:lnTo>
                    <a:lnTo>
                      <a:pt x="437" y="425"/>
                    </a:lnTo>
                    <a:lnTo>
                      <a:pt x="436" y="425"/>
                    </a:lnTo>
                    <a:lnTo>
                      <a:pt x="436" y="424"/>
                    </a:lnTo>
                    <a:lnTo>
                      <a:pt x="436" y="423"/>
                    </a:lnTo>
                    <a:lnTo>
                      <a:pt x="435" y="423"/>
                    </a:lnTo>
                    <a:lnTo>
                      <a:pt x="436" y="423"/>
                    </a:lnTo>
                    <a:lnTo>
                      <a:pt x="435" y="423"/>
                    </a:lnTo>
                    <a:lnTo>
                      <a:pt x="435" y="422"/>
                    </a:lnTo>
                    <a:lnTo>
                      <a:pt x="434" y="421"/>
                    </a:lnTo>
                    <a:lnTo>
                      <a:pt x="434" y="422"/>
                    </a:lnTo>
                    <a:lnTo>
                      <a:pt x="434" y="421"/>
                    </a:lnTo>
                    <a:lnTo>
                      <a:pt x="433" y="420"/>
                    </a:lnTo>
                    <a:lnTo>
                      <a:pt x="433" y="418"/>
                    </a:lnTo>
                    <a:lnTo>
                      <a:pt x="434" y="420"/>
                    </a:lnTo>
                    <a:lnTo>
                      <a:pt x="433" y="417"/>
                    </a:lnTo>
                    <a:lnTo>
                      <a:pt x="432" y="417"/>
                    </a:lnTo>
                    <a:lnTo>
                      <a:pt x="432" y="416"/>
                    </a:lnTo>
                    <a:lnTo>
                      <a:pt x="432" y="417"/>
                    </a:lnTo>
                    <a:lnTo>
                      <a:pt x="431" y="416"/>
                    </a:lnTo>
                    <a:lnTo>
                      <a:pt x="431" y="415"/>
                    </a:lnTo>
                    <a:lnTo>
                      <a:pt x="429" y="415"/>
                    </a:lnTo>
                    <a:lnTo>
                      <a:pt x="428" y="414"/>
                    </a:lnTo>
                    <a:lnTo>
                      <a:pt x="428" y="413"/>
                    </a:lnTo>
                    <a:lnTo>
                      <a:pt x="426" y="412"/>
                    </a:lnTo>
                    <a:lnTo>
                      <a:pt x="426" y="411"/>
                    </a:lnTo>
                    <a:lnTo>
                      <a:pt x="425" y="410"/>
                    </a:lnTo>
                    <a:lnTo>
                      <a:pt x="425" y="409"/>
                    </a:lnTo>
                    <a:lnTo>
                      <a:pt x="424" y="408"/>
                    </a:lnTo>
                    <a:lnTo>
                      <a:pt x="423" y="406"/>
                    </a:lnTo>
                    <a:lnTo>
                      <a:pt x="421" y="404"/>
                    </a:lnTo>
                    <a:lnTo>
                      <a:pt x="421" y="403"/>
                    </a:lnTo>
                    <a:lnTo>
                      <a:pt x="421" y="402"/>
                    </a:lnTo>
                    <a:lnTo>
                      <a:pt x="420" y="402"/>
                    </a:lnTo>
                    <a:lnTo>
                      <a:pt x="419" y="401"/>
                    </a:lnTo>
                    <a:lnTo>
                      <a:pt x="418" y="400"/>
                    </a:lnTo>
                    <a:lnTo>
                      <a:pt x="416" y="399"/>
                    </a:lnTo>
                    <a:lnTo>
                      <a:pt x="415" y="398"/>
                    </a:lnTo>
                    <a:lnTo>
                      <a:pt x="415" y="397"/>
                    </a:lnTo>
                    <a:lnTo>
                      <a:pt x="414" y="396"/>
                    </a:lnTo>
                    <a:lnTo>
                      <a:pt x="413" y="396"/>
                    </a:lnTo>
                    <a:lnTo>
                      <a:pt x="412" y="395"/>
                    </a:lnTo>
                    <a:lnTo>
                      <a:pt x="412" y="393"/>
                    </a:lnTo>
                    <a:lnTo>
                      <a:pt x="410" y="392"/>
                    </a:lnTo>
                    <a:lnTo>
                      <a:pt x="409" y="395"/>
                    </a:lnTo>
                    <a:lnTo>
                      <a:pt x="408" y="397"/>
                    </a:lnTo>
                    <a:lnTo>
                      <a:pt x="409" y="398"/>
                    </a:lnTo>
                    <a:lnTo>
                      <a:pt x="410" y="399"/>
                    </a:lnTo>
                    <a:lnTo>
                      <a:pt x="415" y="404"/>
                    </a:lnTo>
                    <a:lnTo>
                      <a:pt x="416" y="405"/>
                    </a:lnTo>
                    <a:lnTo>
                      <a:pt x="418" y="408"/>
                    </a:lnTo>
                    <a:lnTo>
                      <a:pt x="421" y="411"/>
                    </a:lnTo>
                    <a:lnTo>
                      <a:pt x="422" y="413"/>
                    </a:lnTo>
                    <a:lnTo>
                      <a:pt x="424" y="415"/>
                    </a:lnTo>
                    <a:lnTo>
                      <a:pt x="425" y="417"/>
                    </a:lnTo>
                    <a:lnTo>
                      <a:pt x="426" y="418"/>
                    </a:lnTo>
                    <a:lnTo>
                      <a:pt x="427" y="421"/>
                    </a:lnTo>
                    <a:lnTo>
                      <a:pt x="427" y="422"/>
                    </a:lnTo>
                    <a:lnTo>
                      <a:pt x="429" y="423"/>
                    </a:lnTo>
                    <a:lnTo>
                      <a:pt x="429" y="424"/>
                    </a:lnTo>
                    <a:lnTo>
                      <a:pt x="429" y="425"/>
                    </a:lnTo>
                    <a:lnTo>
                      <a:pt x="431" y="425"/>
                    </a:lnTo>
                    <a:lnTo>
                      <a:pt x="433" y="428"/>
                    </a:lnTo>
                    <a:lnTo>
                      <a:pt x="433" y="429"/>
                    </a:lnTo>
                    <a:lnTo>
                      <a:pt x="435" y="431"/>
                    </a:lnTo>
                    <a:lnTo>
                      <a:pt x="435" y="433"/>
                    </a:lnTo>
                    <a:lnTo>
                      <a:pt x="436" y="434"/>
                    </a:lnTo>
                    <a:lnTo>
                      <a:pt x="437" y="436"/>
                    </a:lnTo>
                    <a:lnTo>
                      <a:pt x="438" y="437"/>
                    </a:lnTo>
                    <a:lnTo>
                      <a:pt x="440" y="440"/>
                    </a:lnTo>
                    <a:lnTo>
                      <a:pt x="441" y="441"/>
                    </a:lnTo>
                    <a:lnTo>
                      <a:pt x="441" y="442"/>
                    </a:lnTo>
                    <a:lnTo>
                      <a:pt x="442" y="442"/>
                    </a:lnTo>
                    <a:lnTo>
                      <a:pt x="442" y="443"/>
                    </a:lnTo>
                    <a:lnTo>
                      <a:pt x="442" y="444"/>
                    </a:lnTo>
                    <a:lnTo>
                      <a:pt x="444" y="444"/>
                    </a:lnTo>
                    <a:lnTo>
                      <a:pt x="442" y="446"/>
                    </a:lnTo>
                    <a:lnTo>
                      <a:pt x="442" y="447"/>
                    </a:lnTo>
                    <a:lnTo>
                      <a:pt x="442" y="448"/>
                    </a:lnTo>
                    <a:lnTo>
                      <a:pt x="442" y="449"/>
                    </a:lnTo>
                    <a:lnTo>
                      <a:pt x="442" y="450"/>
                    </a:lnTo>
                    <a:lnTo>
                      <a:pt x="442" y="451"/>
                    </a:lnTo>
                    <a:lnTo>
                      <a:pt x="441" y="451"/>
                    </a:lnTo>
                    <a:lnTo>
                      <a:pt x="442" y="452"/>
                    </a:lnTo>
                    <a:lnTo>
                      <a:pt x="441" y="452"/>
                    </a:lnTo>
                    <a:lnTo>
                      <a:pt x="442" y="453"/>
                    </a:lnTo>
                    <a:lnTo>
                      <a:pt x="442" y="454"/>
                    </a:lnTo>
                    <a:lnTo>
                      <a:pt x="445" y="454"/>
                    </a:lnTo>
                    <a:lnTo>
                      <a:pt x="445" y="453"/>
                    </a:lnTo>
                    <a:lnTo>
                      <a:pt x="445" y="452"/>
                    </a:lnTo>
                    <a:lnTo>
                      <a:pt x="444" y="451"/>
                    </a:lnTo>
                    <a:lnTo>
                      <a:pt x="444" y="450"/>
                    </a:lnTo>
                    <a:lnTo>
                      <a:pt x="444" y="449"/>
                    </a:lnTo>
                    <a:lnTo>
                      <a:pt x="444" y="448"/>
                    </a:lnTo>
                    <a:lnTo>
                      <a:pt x="444" y="447"/>
                    </a:lnTo>
                    <a:lnTo>
                      <a:pt x="445" y="447"/>
                    </a:lnTo>
                    <a:lnTo>
                      <a:pt x="445" y="448"/>
                    </a:lnTo>
                    <a:lnTo>
                      <a:pt x="447" y="449"/>
                    </a:lnTo>
                    <a:lnTo>
                      <a:pt x="449" y="451"/>
                    </a:lnTo>
                    <a:lnTo>
                      <a:pt x="450" y="451"/>
                    </a:lnTo>
                    <a:lnTo>
                      <a:pt x="451" y="452"/>
                    </a:lnTo>
                    <a:lnTo>
                      <a:pt x="452" y="453"/>
                    </a:lnTo>
                    <a:lnTo>
                      <a:pt x="452" y="454"/>
                    </a:lnTo>
                    <a:lnTo>
                      <a:pt x="453" y="454"/>
                    </a:lnTo>
                    <a:lnTo>
                      <a:pt x="453" y="455"/>
                    </a:lnTo>
                    <a:lnTo>
                      <a:pt x="454" y="455"/>
                    </a:lnTo>
                    <a:lnTo>
                      <a:pt x="455" y="455"/>
                    </a:lnTo>
                    <a:lnTo>
                      <a:pt x="457" y="456"/>
                    </a:lnTo>
                    <a:lnTo>
                      <a:pt x="458" y="459"/>
                    </a:lnTo>
                    <a:lnTo>
                      <a:pt x="459" y="459"/>
                    </a:lnTo>
                    <a:lnTo>
                      <a:pt x="460" y="460"/>
                    </a:lnTo>
                    <a:lnTo>
                      <a:pt x="461" y="461"/>
                    </a:lnTo>
                    <a:lnTo>
                      <a:pt x="462" y="462"/>
                    </a:lnTo>
                    <a:lnTo>
                      <a:pt x="463" y="462"/>
                    </a:lnTo>
                    <a:lnTo>
                      <a:pt x="464" y="463"/>
                    </a:lnTo>
                    <a:lnTo>
                      <a:pt x="464" y="464"/>
                    </a:lnTo>
                    <a:lnTo>
                      <a:pt x="466" y="466"/>
                    </a:lnTo>
                    <a:lnTo>
                      <a:pt x="467" y="467"/>
                    </a:lnTo>
                    <a:lnTo>
                      <a:pt x="467" y="468"/>
                    </a:lnTo>
                    <a:lnTo>
                      <a:pt x="468" y="468"/>
                    </a:lnTo>
                    <a:lnTo>
                      <a:pt x="467" y="469"/>
                    </a:lnTo>
                    <a:lnTo>
                      <a:pt x="466" y="469"/>
                    </a:lnTo>
                    <a:lnTo>
                      <a:pt x="460" y="468"/>
                    </a:lnTo>
                    <a:lnTo>
                      <a:pt x="455" y="468"/>
                    </a:lnTo>
                    <a:lnTo>
                      <a:pt x="457" y="468"/>
                    </a:lnTo>
                    <a:lnTo>
                      <a:pt x="457" y="469"/>
                    </a:lnTo>
                    <a:lnTo>
                      <a:pt x="455" y="469"/>
                    </a:lnTo>
                    <a:lnTo>
                      <a:pt x="455" y="468"/>
                    </a:lnTo>
                    <a:lnTo>
                      <a:pt x="454" y="469"/>
                    </a:lnTo>
                    <a:lnTo>
                      <a:pt x="454" y="468"/>
                    </a:lnTo>
                    <a:lnTo>
                      <a:pt x="453" y="469"/>
                    </a:lnTo>
                    <a:lnTo>
                      <a:pt x="454" y="469"/>
                    </a:lnTo>
                    <a:lnTo>
                      <a:pt x="454" y="470"/>
                    </a:lnTo>
                    <a:lnTo>
                      <a:pt x="454" y="472"/>
                    </a:lnTo>
                    <a:lnTo>
                      <a:pt x="454" y="473"/>
                    </a:lnTo>
                    <a:lnTo>
                      <a:pt x="453" y="473"/>
                    </a:lnTo>
                    <a:lnTo>
                      <a:pt x="454" y="473"/>
                    </a:lnTo>
                    <a:lnTo>
                      <a:pt x="454" y="474"/>
                    </a:lnTo>
                    <a:lnTo>
                      <a:pt x="455" y="474"/>
                    </a:lnTo>
                    <a:lnTo>
                      <a:pt x="455" y="475"/>
                    </a:lnTo>
                    <a:lnTo>
                      <a:pt x="455" y="474"/>
                    </a:lnTo>
                    <a:lnTo>
                      <a:pt x="457" y="474"/>
                    </a:lnTo>
                    <a:lnTo>
                      <a:pt x="457" y="475"/>
                    </a:lnTo>
                    <a:lnTo>
                      <a:pt x="458" y="476"/>
                    </a:lnTo>
                    <a:lnTo>
                      <a:pt x="459" y="476"/>
                    </a:lnTo>
                    <a:lnTo>
                      <a:pt x="459" y="477"/>
                    </a:lnTo>
                    <a:lnTo>
                      <a:pt x="459" y="478"/>
                    </a:lnTo>
                    <a:lnTo>
                      <a:pt x="460" y="479"/>
                    </a:lnTo>
                    <a:lnTo>
                      <a:pt x="461" y="479"/>
                    </a:lnTo>
                    <a:lnTo>
                      <a:pt x="461" y="478"/>
                    </a:lnTo>
                    <a:lnTo>
                      <a:pt x="462" y="478"/>
                    </a:lnTo>
                    <a:lnTo>
                      <a:pt x="463" y="478"/>
                    </a:lnTo>
                    <a:lnTo>
                      <a:pt x="463" y="477"/>
                    </a:lnTo>
                    <a:lnTo>
                      <a:pt x="464" y="477"/>
                    </a:lnTo>
                    <a:lnTo>
                      <a:pt x="464" y="478"/>
                    </a:lnTo>
                    <a:lnTo>
                      <a:pt x="464" y="477"/>
                    </a:lnTo>
                    <a:lnTo>
                      <a:pt x="464" y="476"/>
                    </a:lnTo>
                    <a:lnTo>
                      <a:pt x="465" y="476"/>
                    </a:lnTo>
                    <a:lnTo>
                      <a:pt x="465" y="475"/>
                    </a:lnTo>
                    <a:lnTo>
                      <a:pt x="466" y="474"/>
                    </a:lnTo>
                    <a:lnTo>
                      <a:pt x="465" y="474"/>
                    </a:lnTo>
                    <a:lnTo>
                      <a:pt x="465" y="475"/>
                    </a:lnTo>
                    <a:lnTo>
                      <a:pt x="465" y="474"/>
                    </a:lnTo>
                    <a:lnTo>
                      <a:pt x="466" y="473"/>
                    </a:lnTo>
                    <a:lnTo>
                      <a:pt x="466" y="472"/>
                    </a:lnTo>
                    <a:lnTo>
                      <a:pt x="467" y="472"/>
                    </a:lnTo>
                    <a:lnTo>
                      <a:pt x="467" y="470"/>
                    </a:lnTo>
                    <a:lnTo>
                      <a:pt x="468" y="470"/>
                    </a:lnTo>
                    <a:lnTo>
                      <a:pt x="470" y="470"/>
                    </a:lnTo>
                    <a:lnTo>
                      <a:pt x="471" y="472"/>
                    </a:lnTo>
                    <a:lnTo>
                      <a:pt x="472" y="473"/>
                    </a:lnTo>
                    <a:lnTo>
                      <a:pt x="472" y="474"/>
                    </a:lnTo>
                    <a:lnTo>
                      <a:pt x="471" y="474"/>
                    </a:lnTo>
                    <a:lnTo>
                      <a:pt x="472" y="474"/>
                    </a:lnTo>
                    <a:lnTo>
                      <a:pt x="473" y="475"/>
                    </a:lnTo>
                    <a:lnTo>
                      <a:pt x="474" y="476"/>
                    </a:lnTo>
                    <a:lnTo>
                      <a:pt x="474" y="477"/>
                    </a:lnTo>
                    <a:lnTo>
                      <a:pt x="475" y="478"/>
                    </a:lnTo>
                    <a:lnTo>
                      <a:pt x="475" y="479"/>
                    </a:lnTo>
                    <a:lnTo>
                      <a:pt x="476" y="479"/>
                    </a:lnTo>
                    <a:lnTo>
                      <a:pt x="476" y="480"/>
                    </a:lnTo>
                    <a:lnTo>
                      <a:pt x="477" y="481"/>
                    </a:lnTo>
                    <a:lnTo>
                      <a:pt x="477" y="482"/>
                    </a:lnTo>
                    <a:lnTo>
                      <a:pt x="478" y="483"/>
                    </a:lnTo>
                    <a:lnTo>
                      <a:pt x="478" y="485"/>
                    </a:lnTo>
                    <a:lnTo>
                      <a:pt x="478" y="486"/>
                    </a:lnTo>
                    <a:lnTo>
                      <a:pt x="479" y="486"/>
                    </a:lnTo>
                    <a:lnTo>
                      <a:pt x="479" y="487"/>
                    </a:lnTo>
                    <a:lnTo>
                      <a:pt x="479" y="488"/>
                    </a:lnTo>
                    <a:lnTo>
                      <a:pt x="480" y="488"/>
                    </a:lnTo>
                    <a:lnTo>
                      <a:pt x="480" y="489"/>
                    </a:lnTo>
                    <a:lnTo>
                      <a:pt x="481" y="490"/>
                    </a:lnTo>
                    <a:lnTo>
                      <a:pt x="481" y="491"/>
                    </a:lnTo>
                    <a:lnTo>
                      <a:pt x="481" y="492"/>
                    </a:lnTo>
                    <a:lnTo>
                      <a:pt x="483" y="492"/>
                    </a:lnTo>
                    <a:lnTo>
                      <a:pt x="483" y="493"/>
                    </a:lnTo>
                    <a:lnTo>
                      <a:pt x="483" y="494"/>
                    </a:lnTo>
                    <a:lnTo>
                      <a:pt x="484" y="496"/>
                    </a:lnTo>
                    <a:lnTo>
                      <a:pt x="485" y="499"/>
                    </a:lnTo>
                    <a:lnTo>
                      <a:pt x="484" y="499"/>
                    </a:lnTo>
                    <a:lnTo>
                      <a:pt x="483" y="499"/>
                    </a:lnTo>
                    <a:lnTo>
                      <a:pt x="481" y="499"/>
                    </a:lnTo>
                    <a:lnTo>
                      <a:pt x="481" y="498"/>
                    </a:lnTo>
                    <a:lnTo>
                      <a:pt x="481" y="496"/>
                    </a:lnTo>
                    <a:lnTo>
                      <a:pt x="480" y="496"/>
                    </a:lnTo>
                    <a:lnTo>
                      <a:pt x="479" y="495"/>
                    </a:lnTo>
                    <a:lnTo>
                      <a:pt x="479" y="494"/>
                    </a:lnTo>
                    <a:lnTo>
                      <a:pt x="478" y="494"/>
                    </a:lnTo>
                    <a:lnTo>
                      <a:pt x="477" y="493"/>
                    </a:lnTo>
                    <a:lnTo>
                      <a:pt x="477" y="492"/>
                    </a:lnTo>
                    <a:lnTo>
                      <a:pt x="478" y="491"/>
                    </a:lnTo>
                    <a:lnTo>
                      <a:pt x="478" y="490"/>
                    </a:lnTo>
                    <a:lnTo>
                      <a:pt x="478" y="489"/>
                    </a:lnTo>
                    <a:lnTo>
                      <a:pt x="478" y="488"/>
                    </a:lnTo>
                    <a:lnTo>
                      <a:pt x="479" y="488"/>
                    </a:lnTo>
                    <a:lnTo>
                      <a:pt x="478" y="487"/>
                    </a:lnTo>
                    <a:lnTo>
                      <a:pt x="477" y="487"/>
                    </a:lnTo>
                    <a:lnTo>
                      <a:pt x="476" y="486"/>
                    </a:lnTo>
                    <a:lnTo>
                      <a:pt x="476" y="485"/>
                    </a:lnTo>
                    <a:lnTo>
                      <a:pt x="475" y="483"/>
                    </a:lnTo>
                    <a:lnTo>
                      <a:pt x="475" y="482"/>
                    </a:lnTo>
                    <a:lnTo>
                      <a:pt x="475" y="481"/>
                    </a:lnTo>
                    <a:lnTo>
                      <a:pt x="474" y="480"/>
                    </a:lnTo>
                    <a:lnTo>
                      <a:pt x="474" y="479"/>
                    </a:lnTo>
                    <a:lnTo>
                      <a:pt x="473" y="479"/>
                    </a:lnTo>
                    <a:lnTo>
                      <a:pt x="473" y="478"/>
                    </a:lnTo>
                    <a:lnTo>
                      <a:pt x="473" y="479"/>
                    </a:lnTo>
                    <a:lnTo>
                      <a:pt x="474" y="480"/>
                    </a:lnTo>
                    <a:lnTo>
                      <a:pt x="474" y="481"/>
                    </a:lnTo>
                    <a:lnTo>
                      <a:pt x="474" y="482"/>
                    </a:lnTo>
                    <a:lnTo>
                      <a:pt x="474" y="483"/>
                    </a:lnTo>
                    <a:lnTo>
                      <a:pt x="473" y="483"/>
                    </a:lnTo>
                    <a:lnTo>
                      <a:pt x="473" y="482"/>
                    </a:lnTo>
                    <a:lnTo>
                      <a:pt x="473" y="481"/>
                    </a:lnTo>
                    <a:lnTo>
                      <a:pt x="472" y="481"/>
                    </a:lnTo>
                    <a:lnTo>
                      <a:pt x="472" y="482"/>
                    </a:lnTo>
                    <a:lnTo>
                      <a:pt x="472" y="483"/>
                    </a:lnTo>
                    <a:lnTo>
                      <a:pt x="472" y="485"/>
                    </a:lnTo>
                    <a:lnTo>
                      <a:pt x="471" y="483"/>
                    </a:lnTo>
                    <a:lnTo>
                      <a:pt x="471" y="482"/>
                    </a:lnTo>
                    <a:lnTo>
                      <a:pt x="471" y="481"/>
                    </a:lnTo>
                    <a:lnTo>
                      <a:pt x="471" y="480"/>
                    </a:lnTo>
                    <a:lnTo>
                      <a:pt x="471" y="479"/>
                    </a:lnTo>
                    <a:lnTo>
                      <a:pt x="470" y="478"/>
                    </a:lnTo>
                    <a:lnTo>
                      <a:pt x="468" y="478"/>
                    </a:lnTo>
                    <a:lnTo>
                      <a:pt x="467" y="478"/>
                    </a:lnTo>
                    <a:lnTo>
                      <a:pt x="468" y="478"/>
                    </a:lnTo>
                    <a:lnTo>
                      <a:pt x="468" y="477"/>
                    </a:lnTo>
                    <a:lnTo>
                      <a:pt x="467" y="478"/>
                    </a:lnTo>
                    <a:lnTo>
                      <a:pt x="466" y="478"/>
                    </a:lnTo>
                    <a:lnTo>
                      <a:pt x="466" y="479"/>
                    </a:lnTo>
                    <a:lnTo>
                      <a:pt x="465" y="479"/>
                    </a:lnTo>
                    <a:lnTo>
                      <a:pt x="466" y="479"/>
                    </a:lnTo>
                    <a:lnTo>
                      <a:pt x="465" y="479"/>
                    </a:lnTo>
                    <a:lnTo>
                      <a:pt x="464" y="479"/>
                    </a:lnTo>
                    <a:lnTo>
                      <a:pt x="464" y="480"/>
                    </a:lnTo>
                    <a:lnTo>
                      <a:pt x="463" y="480"/>
                    </a:lnTo>
                    <a:lnTo>
                      <a:pt x="462" y="480"/>
                    </a:lnTo>
                    <a:lnTo>
                      <a:pt x="462" y="481"/>
                    </a:lnTo>
                    <a:lnTo>
                      <a:pt x="463" y="481"/>
                    </a:lnTo>
                    <a:lnTo>
                      <a:pt x="464" y="482"/>
                    </a:lnTo>
                    <a:lnTo>
                      <a:pt x="463" y="482"/>
                    </a:lnTo>
                    <a:lnTo>
                      <a:pt x="463" y="483"/>
                    </a:lnTo>
                    <a:lnTo>
                      <a:pt x="464" y="483"/>
                    </a:lnTo>
                    <a:lnTo>
                      <a:pt x="464" y="485"/>
                    </a:lnTo>
                    <a:lnTo>
                      <a:pt x="464" y="486"/>
                    </a:lnTo>
                    <a:lnTo>
                      <a:pt x="463" y="486"/>
                    </a:lnTo>
                    <a:lnTo>
                      <a:pt x="463" y="485"/>
                    </a:lnTo>
                    <a:lnTo>
                      <a:pt x="463" y="483"/>
                    </a:lnTo>
                    <a:lnTo>
                      <a:pt x="462" y="483"/>
                    </a:lnTo>
                    <a:lnTo>
                      <a:pt x="462" y="482"/>
                    </a:lnTo>
                    <a:lnTo>
                      <a:pt x="462" y="481"/>
                    </a:lnTo>
                    <a:lnTo>
                      <a:pt x="461" y="481"/>
                    </a:lnTo>
                    <a:lnTo>
                      <a:pt x="460" y="481"/>
                    </a:lnTo>
                    <a:lnTo>
                      <a:pt x="460" y="482"/>
                    </a:lnTo>
                    <a:lnTo>
                      <a:pt x="460" y="483"/>
                    </a:lnTo>
                    <a:lnTo>
                      <a:pt x="459" y="482"/>
                    </a:lnTo>
                    <a:lnTo>
                      <a:pt x="459" y="481"/>
                    </a:lnTo>
                    <a:lnTo>
                      <a:pt x="458" y="481"/>
                    </a:lnTo>
                    <a:lnTo>
                      <a:pt x="458" y="482"/>
                    </a:lnTo>
                    <a:lnTo>
                      <a:pt x="458" y="483"/>
                    </a:lnTo>
                    <a:lnTo>
                      <a:pt x="459" y="483"/>
                    </a:lnTo>
                    <a:lnTo>
                      <a:pt x="459" y="485"/>
                    </a:lnTo>
                    <a:lnTo>
                      <a:pt x="458" y="485"/>
                    </a:lnTo>
                    <a:lnTo>
                      <a:pt x="458" y="483"/>
                    </a:lnTo>
                    <a:lnTo>
                      <a:pt x="457" y="483"/>
                    </a:lnTo>
                    <a:lnTo>
                      <a:pt x="457" y="485"/>
                    </a:lnTo>
                    <a:lnTo>
                      <a:pt x="457" y="486"/>
                    </a:lnTo>
                    <a:lnTo>
                      <a:pt x="457" y="487"/>
                    </a:lnTo>
                    <a:lnTo>
                      <a:pt x="457" y="488"/>
                    </a:lnTo>
                    <a:lnTo>
                      <a:pt x="457" y="489"/>
                    </a:lnTo>
                    <a:lnTo>
                      <a:pt x="458" y="489"/>
                    </a:lnTo>
                    <a:lnTo>
                      <a:pt x="458" y="490"/>
                    </a:lnTo>
                    <a:lnTo>
                      <a:pt x="457" y="490"/>
                    </a:lnTo>
                    <a:lnTo>
                      <a:pt x="455" y="489"/>
                    </a:lnTo>
                    <a:lnTo>
                      <a:pt x="455" y="488"/>
                    </a:lnTo>
                    <a:lnTo>
                      <a:pt x="455" y="487"/>
                    </a:lnTo>
                    <a:lnTo>
                      <a:pt x="455" y="486"/>
                    </a:lnTo>
                    <a:lnTo>
                      <a:pt x="455" y="485"/>
                    </a:lnTo>
                    <a:lnTo>
                      <a:pt x="454" y="485"/>
                    </a:lnTo>
                    <a:lnTo>
                      <a:pt x="454" y="483"/>
                    </a:lnTo>
                    <a:lnTo>
                      <a:pt x="454" y="482"/>
                    </a:lnTo>
                    <a:lnTo>
                      <a:pt x="454" y="481"/>
                    </a:lnTo>
                    <a:lnTo>
                      <a:pt x="453" y="481"/>
                    </a:lnTo>
                    <a:lnTo>
                      <a:pt x="453" y="480"/>
                    </a:lnTo>
                    <a:lnTo>
                      <a:pt x="453" y="479"/>
                    </a:lnTo>
                    <a:lnTo>
                      <a:pt x="453" y="478"/>
                    </a:lnTo>
                    <a:lnTo>
                      <a:pt x="453" y="479"/>
                    </a:lnTo>
                    <a:lnTo>
                      <a:pt x="454" y="479"/>
                    </a:lnTo>
                    <a:lnTo>
                      <a:pt x="454" y="478"/>
                    </a:lnTo>
                    <a:lnTo>
                      <a:pt x="454" y="477"/>
                    </a:lnTo>
                    <a:lnTo>
                      <a:pt x="453" y="477"/>
                    </a:lnTo>
                    <a:lnTo>
                      <a:pt x="452" y="477"/>
                    </a:lnTo>
                    <a:lnTo>
                      <a:pt x="452" y="478"/>
                    </a:lnTo>
                    <a:lnTo>
                      <a:pt x="451" y="478"/>
                    </a:lnTo>
                    <a:lnTo>
                      <a:pt x="452" y="477"/>
                    </a:lnTo>
                    <a:lnTo>
                      <a:pt x="452" y="476"/>
                    </a:lnTo>
                    <a:lnTo>
                      <a:pt x="451" y="476"/>
                    </a:lnTo>
                    <a:lnTo>
                      <a:pt x="451" y="477"/>
                    </a:lnTo>
                    <a:lnTo>
                      <a:pt x="451" y="478"/>
                    </a:lnTo>
                    <a:lnTo>
                      <a:pt x="451" y="479"/>
                    </a:lnTo>
                    <a:lnTo>
                      <a:pt x="450" y="479"/>
                    </a:lnTo>
                    <a:lnTo>
                      <a:pt x="450" y="480"/>
                    </a:lnTo>
                    <a:lnTo>
                      <a:pt x="450" y="481"/>
                    </a:lnTo>
                    <a:lnTo>
                      <a:pt x="450" y="482"/>
                    </a:lnTo>
                    <a:lnTo>
                      <a:pt x="450" y="483"/>
                    </a:lnTo>
                    <a:lnTo>
                      <a:pt x="450" y="485"/>
                    </a:lnTo>
                    <a:lnTo>
                      <a:pt x="450" y="486"/>
                    </a:lnTo>
                    <a:lnTo>
                      <a:pt x="451" y="487"/>
                    </a:lnTo>
                    <a:lnTo>
                      <a:pt x="450" y="487"/>
                    </a:lnTo>
                    <a:lnTo>
                      <a:pt x="450" y="488"/>
                    </a:lnTo>
                    <a:lnTo>
                      <a:pt x="450" y="489"/>
                    </a:lnTo>
                    <a:lnTo>
                      <a:pt x="450" y="490"/>
                    </a:lnTo>
                    <a:lnTo>
                      <a:pt x="450" y="491"/>
                    </a:lnTo>
                    <a:lnTo>
                      <a:pt x="450" y="492"/>
                    </a:lnTo>
                    <a:lnTo>
                      <a:pt x="451" y="493"/>
                    </a:lnTo>
                    <a:lnTo>
                      <a:pt x="452" y="493"/>
                    </a:lnTo>
                    <a:lnTo>
                      <a:pt x="453" y="493"/>
                    </a:lnTo>
                    <a:lnTo>
                      <a:pt x="454" y="493"/>
                    </a:lnTo>
                    <a:lnTo>
                      <a:pt x="455" y="493"/>
                    </a:lnTo>
                    <a:lnTo>
                      <a:pt x="457" y="493"/>
                    </a:lnTo>
                    <a:lnTo>
                      <a:pt x="457" y="492"/>
                    </a:lnTo>
                    <a:lnTo>
                      <a:pt x="458" y="492"/>
                    </a:lnTo>
                    <a:lnTo>
                      <a:pt x="459" y="492"/>
                    </a:lnTo>
                    <a:lnTo>
                      <a:pt x="459" y="493"/>
                    </a:lnTo>
                    <a:lnTo>
                      <a:pt x="460" y="493"/>
                    </a:lnTo>
                    <a:lnTo>
                      <a:pt x="460" y="494"/>
                    </a:lnTo>
                    <a:lnTo>
                      <a:pt x="459" y="494"/>
                    </a:lnTo>
                    <a:lnTo>
                      <a:pt x="460" y="494"/>
                    </a:lnTo>
                    <a:lnTo>
                      <a:pt x="460" y="495"/>
                    </a:lnTo>
                    <a:lnTo>
                      <a:pt x="460" y="496"/>
                    </a:lnTo>
                    <a:lnTo>
                      <a:pt x="459" y="496"/>
                    </a:lnTo>
                    <a:lnTo>
                      <a:pt x="458" y="496"/>
                    </a:lnTo>
                    <a:lnTo>
                      <a:pt x="457" y="496"/>
                    </a:lnTo>
                    <a:lnTo>
                      <a:pt x="458" y="496"/>
                    </a:lnTo>
                    <a:lnTo>
                      <a:pt x="458" y="498"/>
                    </a:lnTo>
                    <a:lnTo>
                      <a:pt x="458" y="499"/>
                    </a:lnTo>
                    <a:lnTo>
                      <a:pt x="458" y="498"/>
                    </a:lnTo>
                    <a:lnTo>
                      <a:pt x="457" y="498"/>
                    </a:lnTo>
                    <a:lnTo>
                      <a:pt x="455" y="496"/>
                    </a:lnTo>
                    <a:lnTo>
                      <a:pt x="455" y="498"/>
                    </a:lnTo>
                    <a:lnTo>
                      <a:pt x="454" y="498"/>
                    </a:lnTo>
                    <a:lnTo>
                      <a:pt x="453" y="498"/>
                    </a:lnTo>
                    <a:lnTo>
                      <a:pt x="453" y="499"/>
                    </a:lnTo>
                    <a:lnTo>
                      <a:pt x="453" y="500"/>
                    </a:lnTo>
                    <a:lnTo>
                      <a:pt x="453" y="501"/>
                    </a:lnTo>
                    <a:lnTo>
                      <a:pt x="452" y="501"/>
                    </a:lnTo>
                    <a:lnTo>
                      <a:pt x="452" y="500"/>
                    </a:lnTo>
                    <a:lnTo>
                      <a:pt x="451" y="500"/>
                    </a:lnTo>
                    <a:lnTo>
                      <a:pt x="451" y="501"/>
                    </a:lnTo>
                    <a:lnTo>
                      <a:pt x="451" y="502"/>
                    </a:lnTo>
                    <a:lnTo>
                      <a:pt x="452" y="502"/>
                    </a:lnTo>
                    <a:lnTo>
                      <a:pt x="454" y="502"/>
                    </a:lnTo>
                    <a:lnTo>
                      <a:pt x="455" y="502"/>
                    </a:lnTo>
                    <a:lnTo>
                      <a:pt x="457" y="503"/>
                    </a:lnTo>
                    <a:lnTo>
                      <a:pt x="457" y="504"/>
                    </a:lnTo>
                    <a:lnTo>
                      <a:pt x="455" y="503"/>
                    </a:lnTo>
                    <a:lnTo>
                      <a:pt x="454" y="503"/>
                    </a:lnTo>
                    <a:lnTo>
                      <a:pt x="453" y="503"/>
                    </a:lnTo>
                    <a:lnTo>
                      <a:pt x="452" y="503"/>
                    </a:lnTo>
                    <a:lnTo>
                      <a:pt x="452" y="504"/>
                    </a:lnTo>
                    <a:lnTo>
                      <a:pt x="451" y="504"/>
                    </a:lnTo>
                    <a:lnTo>
                      <a:pt x="450" y="503"/>
                    </a:lnTo>
                    <a:lnTo>
                      <a:pt x="450" y="504"/>
                    </a:lnTo>
                    <a:lnTo>
                      <a:pt x="450" y="505"/>
                    </a:lnTo>
                    <a:lnTo>
                      <a:pt x="450" y="506"/>
                    </a:lnTo>
                    <a:lnTo>
                      <a:pt x="449" y="506"/>
                    </a:lnTo>
                    <a:lnTo>
                      <a:pt x="449" y="507"/>
                    </a:lnTo>
                    <a:lnTo>
                      <a:pt x="448" y="507"/>
                    </a:lnTo>
                    <a:lnTo>
                      <a:pt x="449" y="507"/>
                    </a:lnTo>
                    <a:lnTo>
                      <a:pt x="449" y="508"/>
                    </a:lnTo>
                    <a:lnTo>
                      <a:pt x="450" y="508"/>
                    </a:lnTo>
                    <a:lnTo>
                      <a:pt x="450" y="510"/>
                    </a:lnTo>
                    <a:lnTo>
                      <a:pt x="449" y="510"/>
                    </a:lnTo>
                    <a:lnTo>
                      <a:pt x="449" y="508"/>
                    </a:lnTo>
                    <a:lnTo>
                      <a:pt x="448" y="508"/>
                    </a:lnTo>
                    <a:lnTo>
                      <a:pt x="448" y="507"/>
                    </a:lnTo>
                    <a:lnTo>
                      <a:pt x="448" y="506"/>
                    </a:lnTo>
                    <a:lnTo>
                      <a:pt x="448" y="505"/>
                    </a:lnTo>
                    <a:lnTo>
                      <a:pt x="448" y="504"/>
                    </a:lnTo>
                    <a:lnTo>
                      <a:pt x="449" y="503"/>
                    </a:lnTo>
                    <a:lnTo>
                      <a:pt x="449" y="502"/>
                    </a:lnTo>
                    <a:lnTo>
                      <a:pt x="449" y="501"/>
                    </a:lnTo>
                    <a:lnTo>
                      <a:pt x="448" y="501"/>
                    </a:lnTo>
                    <a:lnTo>
                      <a:pt x="448" y="502"/>
                    </a:lnTo>
                    <a:lnTo>
                      <a:pt x="447" y="502"/>
                    </a:lnTo>
                    <a:lnTo>
                      <a:pt x="447" y="503"/>
                    </a:lnTo>
                    <a:lnTo>
                      <a:pt x="447" y="504"/>
                    </a:lnTo>
                    <a:lnTo>
                      <a:pt x="446" y="505"/>
                    </a:lnTo>
                    <a:lnTo>
                      <a:pt x="446" y="506"/>
                    </a:lnTo>
                    <a:lnTo>
                      <a:pt x="446" y="510"/>
                    </a:lnTo>
                    <a:lnTo>
                      <a:pt x="446" y="511"/>
                    </a:lnTo>
                    <a:lnTo>
                      <a:pt x="446" y="512"/>
                    </a:lnTo>
                    <a:lnTo>
                      <a:pt x="445" y="513"/>
                    </a:lnTo>
                    <a:lnTo>
                      <a:pt x="445" y="514"/>
                    </a:lnTo>
                    <a:lnTo>
                      <a:pt x="445" y="516"/>
                    </a:lnTo>
                    <a:lnTo>
                      <a:pt x="445" y="517"/>
                    </a:lnTo>
                    <a:lnTo>
                      <a:pt x="444" y="518"/>
                    </a:lnTo>
                    <a:lnTo>
                      <a:pt x="444" y="517"/>
                    </a:lnTo>
                    <a:lnTo>
                      <a:pt x="444" y="516"/>
                    </a:lnTo>
                    <a:lnTo>
                      <a:pt x="442" y="516"/>
                    </a:lnTo>
                    <a:lnTo>
                      <a:pt x="442" y="515"/>
                    </a:lnTo>
                    <a:lnTo>
                      <a:pt x="444" y="515"/>
                    </a:lnTo>
                    <a:lnTo>
                      <a:pt x="444" y="514"/>
                    </a:lnTo>
                    <a:lnTo>
                      <a:pt x="445" y="514"/>
                    </a:lnTo>
                    <a:lnTo>
                      <a:pt x="445" y="513"/>
                    </a:lnTo>
                    <a:lnTo>
                      <a:pt x="444" y="513"/>
                    </a:lnTo>
                    <a:lnTo>
                      <a:pt x="442" y="514"/>
                    </a:lnTo>
                    <a:lnTo>
                      <a:pt x="441" y="514"/>
                    </a:lnTo>
                    <a:lnTo>
                      <a:pt x="441" y="513"/>
                    </a:lnTo>
                    <a:lnTo>
                      <a:pt x="442" y="513"/>
                    </a:lnTo>
                    <a:lnTo>
                      <a:pt x="442" y="512"/>
                    </a:lnTo>
                    <a:lnTo>
                      <a:pt x="444" y="512"/>
                    </a:lnTo>
                    <a:lnTo>
                      <a:pt x="444" y="511"/>
                    </a:lnTo>
                    <a:lnTo>
                      <a:pt x="445" y="511"/>
                    </a:lnTo>
                    <a:lnTo>
                      <a:pt x="445" y="510"/>
                    </a:lnTo>
                    <a:lnTo>
                      <a:pt x="445" y="508"/>
                    </a:lnTo>
                    <a:lnTo>
                      <a:pt x="445" y="507"/>
                    </a:lnTo>
                    <a:lnTo>
                      <a:pt x="446" y="507"/>
                    </a:lnTo>
                    <a:lnTo>
                      <a:pt x="446" y="506"/>
                    </a:lnTo>
                    <a:lnTo>
                      <a:pt x="446" y="505"/>
                    </a:lnTo>
                    <a:lnTo>
                      <a:pt x="446" y="504"/>
                    </a:lnTo>
                    <a:lnTo>
                      <a:pt x="447" y="503"/>
                    </a:lnTo>
                    <a:lnTo>
                      <a:pt x="447" y="502"/>
                    </a:lnTo>
                    <a:lnTo>
                      <a:pt x="447" y="501"/>
                    </a:lnTo>
                    <a:lnTo>
                      <a:pt x="448" y="501"/>
                    </a:lnTo>
                    <a:lnTo>
                      <a:pt x="448" y="500"/>
                    </a:lnTo>
                    <a:lnTo>
                      <a:pt x="448" y="499"/>
                    </a:lnTo>
                    <a:lnTo>
                      <a:pt x="448" y="498"/>
                    </a:lnTo>
                    <a:lnTo>
                      <a:pt x="449" y="496"/>
                    </a:lnTo>
                    <a:lnTo>
                      <a:pt x="449" y="495"/>
                    </a:lnTo>
                    <a:lnTo>
                      <a:pt x="448" y="494"/>
                    </a:lnTo>
                    <a:lnTo>
                      <a:pt x="448" y="493"/>
                    </a:lnTo>
                    <a:lnTo>
                      <a:pt x="448" y="492"/>
                    </a:lnTo>
                    <a:lnTo>
                      <a:pt x="447" y="491"/>
                    </a:lnTo>
                    <a:lnTo>
                      <a:pt x="447" y="490"/>
                    </a:lnTo>
                    <a:lnTo>
                      <a:pt x="446" y="490"/>
                    </a:lnTo>
                    <a:lnTo>
                      <a:pt x="446" y="491"/>
                    </a:lnTo>
                    <a:lnTo>
                      <a:pt x="445" y="491"/>
                    </a:lnTo>
                    <a:lnTo>
                      <a:pt x="444" y="491"/>
                    </a:lnTo>
                    <a:lnTo>
                      <a:pt x="444" y="492"/>
                    </a:lnTo>
                    <a:lnTo>
                      <a:pt x="442" y="492"/>
                    </a:lnTo>
                    <a:lnTo>
                      <a:pt x="444" y="491"/>
                    </a:lnTo>
                    <a:lnTo>
                      <a:pt x="445" y="490"/>
                    </a:lnTo>
                    <a:lnTo>
                      <a:pt x="446" y="490"/>
                    </a:lnTo>
                    <a:lnTo>
                      <a:pt x="446" y="489"/>
                    </a:lnTo>
                    <a:lnTo>
                      <a:pt x="447" y="489"/>
                    </a:lnTo>
                    <a:lnTo>
                      <a:pt x="447" y="488"/>
                    </a:lnTo>
                    <a:lnTo>
                      <a:pt x="447" y="487"/>
                    </a:lnTo>
                    <a:lnTo>
                      <a:pt x="446" y="487"/>
                    </a:lnTo>
                    <a:lnTo>
                      <a:pt x="447" y="487"/>
                    </a:lnTo>
                    <a:lnTo>
                      <a:pt x="446" y="486"/>
                    </a:lnTo>
                    <a:lnTo>
                      <a:pt x="447" y="486"/>
                    </a:lnTo>
                    <a:lnTo>
                      <a:pt x="446" y="486"/>
                    </a:lnTo>
                    <a:lnTo>
                      <a:pt x="446" y="485"/>
                    </a:lnTo>
                    <a:lnTo>
                      <a:pt x="447" y="485"/>
                    </a:lnTo>
                    <a:lnTo>
                      <a:pt x="446" y="483"/>
                    </a:lnTo>
                    <a:lnTo>
                      <a:pt x="447" y="483"/>
                    </a:lnTo>
                    <a:lnTo>
                      <a:pt x="447" y="482"/>
                    </a:lnTo>
                    <a:lnTo>
                      <a:pt x="447" y="481"/>
                    </a:lnTo>
                    <a:lnTo>
                      <a:pt x="447" y="480"/>
                    </a:lnTo>
                    <a:lnTo>
                      <a:pt x="448" y="479"/>
                    </a:lnTo>
                    <a:lnTo>
                      <a:pt x="448" y="478"/>
                    </a:lnTo>
                    <a:lnTo>
                      <a:pt x="448" y="477"/>
                    </a:lnTo>
                    <a:lnTo>
                      <a:pt x="448" y="476"/>
                    </a:lnTo>
                    <a:lnTo>
                      <a:pt x="448" y="475"/>
                    </a:lnTo>
                    <a:lnTo>
                      <a:pt x="447" y="474"/>
                    </a:lnTo>
                    <a:lnTo>
                      <a:pt x="447" y="473"/>
                    </a:lnTo>
                    <a:lnTo>
                      <a:pt x="447" y="472"/>
                    </a:lnTo>
                    <a:lnTo>
                      <a:pt x="447" y="470"/>
                    </a:lnTo>
                    <a:lnTo>
                      <a:pt x="446" y="469"/>
                    </a:lnTo>
                    <a:lnTo>
                      <a:pt x="446" y="470"/>
                    </a:lnTo>
                    <a:lnTo>
                      <a:pt x="445" y="470"/>
                    </a:lnTo>
                    <a:lnTo>
                      <a:pt x="445" y="472"/>
                    </a:lnTo>
                    <a:lnTo>
                      <a:pt x="445" y="470"/>
                    </a:lnTo>
                    <a:lnTo>
                      <a:pt x="445" y="469"/>
                    </a:lnTo>
                    <a:lnTo>
                      <a:pt x="446" y="470"/>
                    </a:lnTo>
                    <a:lnTo>
                      <a:pt x="446" y="469"/>
                    </a:lnTo>
                    <a:lnTo>
                      <a:pt x="445" y="469"/>
                    </a:lnTo>
                    <a:lnTo>
                      <a:pt x="445" y="468"/>
                    </a:lnTo>
                    <a:lnTo>
                      <a:pt x="445" y="467"/>
                    </a:lnTo>
                    <a:lnTo>
                      <a:pt x="444" y="467"/>
                    </a:lnTo>
                    <a:lnTo>
                      <a:pt x="444" y="468"/>
                    </a:lnTo>
                    <a:lnTo>
                      <a:pt x="444" y="467"/>
                    </a:lnTo>
                    <a:lnTo>
                      <a:pt x="444" y="466"/>
                    </a:lnTo>
                    <a:lnTo>
                      <a:pt x="444" y="465"/>
                    </a:lnTo>
                    <a:lnTo>
                      <a:pt x="445" y="465"/>
                    </a:lnTo>
                    <a:lnTo>
                      <a:pt x="444" y="465"/>
                    </a:lnTo>
                    <a:lnTo>
                      <a:pt x="444" y="464"/>
                    </a:lnTo>
                    <a:lnTo>
                      <a:pt x="444" y="465"/>
                    </a:lnTo>
                    <a:lnTo>
                      <a:pt x="444" y="464"/>
                    </a:lnTo>
                    <a:lnTo>
                      <a:pt x="444" y="463"/>
                    </a:lnTo>
                    <a:lnTo>
                      <a:pt x="445" y="463"/>
                    </a:lnTo>
                    <a:lnTo>
                      <a:pt x="445" y="462"/>
                    </a:lnTo>
                    <a:lnTo>
                      <a:pt x="445" y="461"/>
                    </a:lnTo>
                    <a:lnTo>
                      <a:pt x="445" y="462"/>
                    </a:lnTo>
                    <a:lnTo>
                      <a:pt x="444" y="462"/>
                    </a:lnTo>
                    <a:lnTo>
                      <a:pt x="444" y="461"/>
                    </a:lnTo>
                    <a:lnTo>
                      <a:pt x="442" y="461"/>
                    </a:lnTo>
                    <a:lnTo>
                      <a:pt x="442" y="462"/>
                    </a:lnTo>
                    <a:lnTo>
                      <a:pt x="442" y="463"/>
                    </a:lnTo>
                    <a:lnTo>
                      <a:pt x="441" y="462"/>
                    </a:lnTo>
                    <a:lnTo>
                      <a:pt x="442" y="463"/>
                    </a:lnTo>
                    <a:lnTo>
                      <a:pt x="441" y="463"/>
                    </a:lnTo>
                    <a:lnTo>
                      <a:pt x="442" y="464"/>
                    </a:lnTo>
                    <a:lnTo>
                      <a:pt x="442" y="465"/>
                    </a:lnTo>
                    <a:lnTo>
                      <a:pt x="442" y="466"/>
                    </a:lnTo>
                    <a:lnTo>
                      <a:pt x="442" y="467"/>
                    </a:lnTo>
                    <a:lnTo>
                      <a:pt x="441" y="467"/>
                    </a:lnTo>
                    <a:lnTo>
                      <a:pt x="441" y="468"/>
                    </a:lnTo>
                    <a:lnTo>
                      <a:pt x="441" y="469"/>
                    </a:lnTo>
                    <a:lnTo>
                      <a:pt x="440" y="470"/>
                    </a:lnTo>
                    <a:lnTo>
                      <a:pt x="441" y="470"/>
                    </a:lnTo>
                    <a:lnTo>
                      <a:pt x="441" y="469"/>
                    </a:lnTo>
                    <a:lnTo>
                      <a:pt x="442" y="469"/>
                    </a:lnTo>
                    <a:lnTo>
                      <a:pt x="444" y="469"/>
                    </a:lnTo>
                    <a:lnTo>
                      <a:pt x="444" y="470"/>
                    </a:lnTo>
                    <a:lnTo>
                      <a:pt x="444" y="472"/>
                    </a:lnTo>
                    <a:lnTo>
                      <a:pt x="445" y="472"/>
                    </a:lnTo>
                    <a:lnTo>
                      <a:pt x="445" y="473"/>
                    </a:lnTo>
                    <a:lnTo>
                      <a:pt x="446" y="473"/>
                    </a:lnTo>
                    <a:lnTo>
                      <a:pt x="446" y="474"/>
                    </a:lnTo>
                    <a:lnTo>
                      <a:pt x="447" y="474"/>
                    </a:lnTo>
                    <a:lnTo>
                      <a:pt x="447" y="475"/>
                    </a:lnTo>
                    <a:lnTo>
                      <a:pt x="447" y="476"/>
                    </a:lnTo>
                    <a:lnTo>
                      <a:pt x="446" y="475"/>
                    </a:lnTo>
                    <a:lnTo>
                      <a:pt x="446" y="476"/>
                    </a:lnTo>
                    <a:lnTo>
                      <a:pt x="447" y="476"/>
                    </a:lnTo>
                    <a:lnTo>
                      <a:pt x="447" y="477"/>
                    </a:lnTo>
                    <a:lnTo>
                      <a:pt x="446" y="477"/>
                    </a:lnTo>
                    <a:lnTo>
                      <a:pt x="447" y="478"/>
                    </a:lnTo>
                    <a:lnTo>
                      <a:pt x="446" y="478"/>
                    </a:lnTo>
                    <a:lnTo>
                      <a:pt x="446" y="479"/>
                    </a:lnTo>
                    <a:lnTo>
                      <a:pt x="445" y="479"/>
                    </a:lnTo>
                    <a:lnTo>
                      <a:pt x="445" y="480"/>
                    </a:lnTo>
                    <a:lnTo>
                      <a:pt x="445" y="481"/>
                    </a:lnTo>
                    <a:lnTo>
                      <a:pt x="444" y="481"/>
                    </a:lnTo>
                    <a:lnTo>
                      <a:pt x="445" y="481"/>
                    </a:lnTo>
                    <a:lnTo>
                      <a:pt x="444" y="482"/>
                    </a:lnTo>
                    <a:lnTo>
                      <a:pt x="444" y="483"/>
                    </a:lnTo>
                    <a:lnTo>
                      <a:pt x="445" y="485"/>
                    </a:lnTo>
                    <a:lnTo>
                      <a:pt x="445" y="486"/>
                    </a:lnTo>
                    <a:lnTo>
                      <a:pt x="444" y="486"/>
                    </a:lnTo>
                    <a:lnTo>
                      <a:pt x="444" y="487"/>
                    </a:lnTo>
                    <a:lnTo>
                      <a:pt x="442" y="487"/>
                    </a:lnTo>
                    <a:lnTo>
                      <a:pt x="442" y="488"/>
                    </a:lnTo>
                    <a:lnTo>
                      <a:pt x="442" y="489"/>
                    </a:lnTo>
                    <a:lnTo>
                      <a:pt x="441" y="490"/>
                    </a:lnTo>
                    <a:lnTo>
                      <a:pt x="440" y="489"/>
                    </a:lnTo>
                    <a:lnTo>
                      <a:pt x="441" y="489"/>
                    </a:lnTo>
                    <a:lnTo>
                      <a:pt x="441" y="488"/>
                    </a:lnTo>
                    <a:lnTo>
                      <a:pt x="442" y="487"/>
                    </a:lnTo>
                    <a:lnTo>
                      <a:pt x="441" y="487"/>
                    </a:lnTo>
                    <a:lnTo>
                      <a:pt x="441" y="486"/>
                    </a:lnTo>
                    <a:lnTo>
                      <a:pt x="441" y="485"/>
                    </a:lnTo>
                    <a:lnTo>
                      <a:pt x="440" y="485"/>
                    </a:lnTo>
                    <a:lnTo>
                      <a:pt x="440" y="483"/>
                    </a:lnTo>
                    <a:lnTo>
                      <a:pt x="441" y="483"/>
                    </a:lnTo>
                    <a:lnTo>
                      <a:pt x="441" y="482"/>
                    </a:lnTo>
                    <a:lnTo>
                      <a:pt x="441" y="481"/>
                    </a:lnTo>
                    <a:lnTo>
                      <a:pt x="441" y="482"/>
                    </a:lnTo>
                    <a:lnTo>
                      <a:pt x="441" y="481"/>
                    </a:lnTo>
                    <a:lnTo>
                      <a:pt x="441" y="480"/>
                    </a:lnTo>
                    <a:lnTo>
                      <a:pt x="442" y="480"/>
                    </a:lnTo>
                    <a:lnTo>
                      <a:pt x="442" y="479"/>
                    </a:lnTo>
                    <a:lnTo>
                      <a:pt x="442" y="478"/>
                    </a:lnTo>
                    <a:lnTo>
                      <a:pt x="444" y="478"/>
                    </a:lnTo>
                    <a:lnTo>
                      <a:pt x="442" y="478"/>
                    </a:lnTo>
                    <a:lnTo>
                      <a:pt x="442" y="477"/>
                    </a:lnTo>
                    <a:lnTo>
                      <a:pt x="444" y="477"/>
                    </a:lnTo>
                    <a:lnTo>
                      <a:pt x="442" y="477"/>
                    </a:lnTo>
                    <a:lnTo>
                      <a:pt x="441" y="478"/>
                    </a:lnTo>
                    <a:lnTo>
                      <a:pt x="441" y="479"/>
                    </a:lnTo>
                    <a:lnTo>
                      <a:pt x="440" y="480"/>
                    </a:lnTo>
                    <a:lnTo>
                      <a:pt x="440" y="479"/>
                    </a:lnTo>
                    <a:lnTo>
                      <a:pt x="441" y="479"/>
                    </a:lnTo>
                    <a:lnTo>
                      <a:pt x="441" y="478"/>
                    </a:lnTo>
                    <a:lnTo>
                      <a:pt x="441" y="477"/>
                    </a:lnTo>
                    <a:lnTo>
                      <a:pt x="440" y="477"/>
                    </a:lnTo>
                    <a:lnTo>
                      <a:pt x="441" y="477"/>
                    </a:lnTo>
                    <a:lnTo>
                      <a:pt x="441" y="476"/>
                    </a:lnTo>
                    <a:lnTo>
                      <a:pt x="441" y="475"/>
                    </a:lnTo>
                    <a:lnTo>
                      <a:pt x="441" y="476"/>
                    </a:lnTo>
                    <a:lnTo>
                      <a:pt x="440" y="476"/>
                    </a:lnTo>
                    <a:lnTo>
                      <a:pt x="440" y="475"/>
                    </a:lnTo>
                    <a:lnTo>
                      <a:pt x="441" y="475"/>
                    </a:lnTo>
                    <a:lnTo>
                      <a:pt x="441" y="474"/>
                    </a:lnTo>
                    <a:lnTo>
                      <a:pt x="441" y="475"/>
                    </a:lnTo>
                    <a:lnTo>
                      <a:pt x="440" y="474"/>
                    </a:lnTo>
                    <a:lnTo>
                      <a:pt x="440" y="475"/>
                    </a:lnTo>
                    <a:lnTo>
                      <a:pt x="439" y="475"/>
                    </a:lnTo>
                    <a:lnTo>
                      <a:pt x="438" y="475"/>
                    </a:lnTo>
                    <a:lnTo>
                      <a:pt x="438" y="476"/>
                    </a:lnTo>
                    <a:lnTo>
                      <a:pt x="438" y="477"/>
                    </a:lnTo>
                    <a:lnTo>
                      <a:pt x="437" y="477"/>
                    </a:lnTo>
                    <a:lnTo>
                      <a:pt x="436" y="477"/>
                    </a:lnTo>
                    <a:lnTo>
                      <a:pt x="436" y="476"/>
                    </a:lnTo>
                    <a:lnTo>
                      <a:pt x="436" y="475"/>
                    </a:lnTo>
                    <a:lnTo>
                      <a:pt x="437" y="475"/>
                    </a:lnTo>
                    <a:lnTo>
                      <a:pt x="438" y="475"/>
                    </a:lnTo>
                    <a:lnTo>
                      <a:pt x="438" y="474"/>
                    </a:lnTo>
                    <a:lnTo>
                      <a:pt x="438" y="473"/>
                    </a:lnTo>
                    <a:lnTo>
                      <a:pt x="437" y="473"/>
                    </a:lnTo>
                    <a:lnTo>
                      <a:pt x="436" y="473"/>
                    </a:lnTo>
                    <a:lnTo>
                      <a:pt x="436" y="474"/>
                    </a:lnTo>
                    <a:lnTo>
                      <a:pt x="435" y="474"/>
                    </a:lnTo>
                    <a:lnTo>
                      <a:pt x="434" y="474"/>
                    </a:lnTo>
                    <a:lnTo>
                      <a:pt x="433" y="474"/>
                    </a:lnTo>
                    <a:lnTo>
                      <a:pt x="432" y="474"/>
                    </a:lnTo>
                    <a:lnTo>
                      <a:pt x="432" y="475"/>
                    </a:lnTo>
                    <a:lnTo>
                      <a:pt x="432" y="476"/>
                    </a:lnTo>
                    <a:lnTo>
                      <a:pt x="432" y="477"/>
                    </a:lnTo>
                    <a:lnTo>
                      <a:pt x="433" y="477"/>
                    </a:lnTo>
                    <a:lnTo>
                      <a:pt x="433" y="476"/>
                    </a:lnTo>
                    <a:lnTo>
                      <a:pt x="434" y="476"/>
                    </a:lnTo>
                    <a:lnTo>
                      <a:pt x="434" y="477"/>
                    </a:lnTo>
                    <a:lnTo>
                      <a:pt x="433" y="477"/>
                    </a:lnTo>
                    <a:lnTo>
                      <a:pt x="434" y="478"/>
                    </a:lnTo>
                    <a:lnTo>
                      <a:pt x="433" y="478"/>
                    </a:lnTo>
                    <a:lnTo>
                      <a:pt x="433" y="479"/>
                    </a:lnTo>
                    <a:lnTo>
                      <a:pt x="432" y="479"/>
                    </a:lnTo>
                    <a:lnTo>
                      <a:pt x="433" y="480"/>
                    </a:lnTo>
                    <a:lnTo>
                      <a:pt x="433" y="481"/>
                    </a:lnTo>
                    <a:lnTo>
                      <a:pt x="433" y="482"/>
                    </a:lnTo>
                    <a:lnTo>
                      <a:pt x="433" y="483"/>
                    </a:lnTo>
                    <a:lnTo>
                      <a:pt x="433" y="485"/>
                    </a:lnTo>
                    <a:lnTo>
                      <a:pt x="433" y="486"/>
                    </a:lnTo>
                    <a:lnTo>
                      <a:pt x="433" y="487"/>
                    </a:lnTo>
                    <a:lnTo>
                      <a:pt x="433" y="488"/>
                    </a:lnTo>
                    <a:lnTo>
                      <a:pt x="433" y="487"/>
                    </a:lnTo>
                    <a:lnTo>
                      <a:pt x="433" y="486"/>
                    </a:lnTo>
                    <a:lnTo>
                      <a:pt x="432" y="485"/>
                    </a:lnTo>
                    <a:lnTo>
                      <a:pt x="432" y="483"/>
                    </a:lnTo>
                    <a:lnTo>
                      <a:pt x="432" y="482"/>
                    </a:lnTo>
                    <a:lnTo>
                      <a:pt x="432" y="483"/>
                    </a:lnTo>
                    <a:lnTo>
                      <a:pt x="432" y="482"/>
                    </a:lnTo>
                    <a:lnTo>
                      <a:pt x="432" y="483"/>
                    </a:lnTo>
                    <a:lnTo>
                      <a:pt x="432" y="485"/>
                    </a:lnTo>
                    <a:lnTo>
                      <a:pt x="431" y="485"/>
                    </a:lnTo>
                    <a:lnTo>
                      <a:pt x="431" y="486"/>
                    </a:lnTo>
                    <a:lnTo>
                      <a:pt x="431" y="485"/>
                    </a:lnTo>
                    <a:lnTo>
                      <a:pt x="429" y="485"/>
                    </a:lnTo>
                    <a:lnTo>
                      <a:pt x="429" y="483"/>
                    </a:lnTo>
                    <a:lnTo>
                      <a:pt x="431" y="483"/>
                    </a:lnTo>
                    <a:lnTo>
                      <a:pt x="431" y="482"/>
                    </a:lnTo>
                    <a:lnTo>
                      <a:pt x="431" y="481"/>
                    </a:lnTo>
                    <a:lnTo>
                      <a:pt x="432" y="481"/>
                    </a:lnTo>
                    <a:lnTo>
                      <a:pt x="432" y="480"/>
                    </a:lnTo>
                    <a:lnTo>
                      <a:pt x="432" y="481"/>
                    </a:lnTo>
                    <a:lnTo>
                      <a:pt x="432" y="480"/>
                    </a:lnTo>
                    <a:lnTo>
                      <a:pt x="431" y="480"/>
                    </a:lnTo>
                    <a:lnTo>
                      <a:pt x="431" y="479"/>
                    </a:lnTo>
                    <a:lnTo>
                      <a:pt x="431" y="478"/>
                    </a:lnTo>
                    <a:lnTo>
                      <a:pt x="431" y="477"/>
                    </a:lnTo>
                    <a:lnTo>
                      <a:pt x="432" y="477"/>
                    </a:lnTo>
                    <a:lnTo>
                      <a:pt x="431" y="477"/>
                    </a:lnTo>
                    <a:lnTo>
                      <a:pt x="431" y="476"/>
                    </a:lnTo>
                    <a:lnTo>
                      <a:pt x="431" y="477"/>
                    </a:lnTo>
                    <a:lnTo>
                      <a:pt x="431" y="476"/>
                    </a:lnTo>
                    <a:lnTo>
                      <a:pt x="431" y="477"/>
                    </a:lnTo>
                    <a:lnTo>
                      <a:pt x="431" y="478"/>
                    </a:lnTo>
                    <a:lnTo>
                      <a:pt x="429" y="478"/>
                    </a:lnTo>
                    <a:lnTo>
                      <a:pt x="429" y="477"/>
                    </a:lnTo>
                    <a:lnTo>
                      <a:pt x="428" y="478"/>
                    </a:lnTo>
                    <a:lnTo>
                      <a:pt x="428" y="479"/>
                    </a:lnTo>
                    <a:lnTo>
                      <a:pt x="428" y="480"/>
                    </a:lnTo>
                    <a:lnTo>
                      <a:pt x="429" y="480"/>
                    </a:lnTo>
                    <a:lnTo>
                      <a:pt x="428" y="480"/>
                    </a:lnTo>
                    <a:lnTo>
                      <a:pt x="427" y="480"/>
                    </a:lnTo>
                    <a:lnTo>
                      <a:pt x="426" y="480"/>
                    </a:lnTo>
                    <a:lnTo>
                      <a:pt x="426" y="479"/>
                    </a:lnTo>
                    <a:lnTo>
                      <a:pt x="425" y="478"/>
                    </a:lnTo>
                    <a:lnTo>
                      <a:pt x="424" y="477"/>
                    </a:lnTo>
                    <a:lnTo>
                      <a:pt x="423" y="477"/>
                    </a:lnTo>
                    <a:lnTo>
                      <a:pt x="422" y="477"/>
                    </a:lnTo>
                    <a:lnTo>
                      <a:pt x="422" y="478"/>
                    </a:lnTo>
                    <a:lnTo>
                      <a:pt x="421" y="478"/>
                    </a:lnTo>
                    <a:lnTo>
                      <a:pt x="421" y="479"/>
                    </a:lnTo>
                    <a:lnTo>
                      <a:pt x="421" y="480"/>
                    </a:lnTo>
                    <a:lnTo>
                      <a:pt x="421" y="481"/>
                    </a:lnTo>
                    <a:lnTo>
                      <a:pt x="421" y="482"/>
                    </a:lnTo>
                    <a:lnTo>
                      <a:pt x="420" y="482"/>
                    </a:lnTo>
                    <a:lnTo>
                      <a:pt x="421" y="483"/>
                    </a:lnTo>
                    <a:lnTo>
                      <a:pt x="421" y="485"/>
                    </a:lnTo>
                    <a:lnTo>
                      <a:pt x="422" y="485"/>
                    </a:lnTo>
                    <a:lnTo>
                      <a:pt x="422" y="486"/>
                    </a:lnTo>
                    <a:lnTo>
                      <a:pt x="422" y="487"/>
                    </a:lnTo>
                    <a:lnTo>
                      <a:pt x="422" y="488"/>
                    </a:lnTo>
                    <a:lnTo>
                      <a:pt x="421" y="488"/>
                    </a:lnTo>
                    <a:lnTo>
                      <a:pt x="420" y="488"/>
                    </a:lnTo>
                    <a:lnTo>
                      <a:pt x="420" y="489"/>
                    </a:lnTo>
                    <a:lnTo>
                      <a:pt x="419" y="490"/>
                    </a:lnTo>
                    <a:lnTo>
                      <a:pt x="419" y="491"/>
                    </a:lnTo>
                    <a:lnTo>
                      <a:pt x="419" y="492"/>
                    </a:lnTo>
                    <a:lnTo>
                      <a:pt x="419" y="493"/>
                    </a:lnTo>
                    <a:lnTo>
                      <a:pt x="418" y="493"/>
                    </a:lnTo>
                    <a:lnTo>
                      <a:pt x="418" y="494"/>
                    </a:lnTo>
                    <a:lnTo>
                      <a:pt x="416" y="494"/>
                    </a:lnTo>
                    <a:lnTo>
                      <a:pt x="414" y="494"/>
                    </a:lnTo>
                    <a:lnTo>
                      <a:pt x="413" y="494"/>
                    </a:lnTo>
                    <a:lnTo>
                      <a:pt x="412" y="495"/>
                    </a:lnTo>
                    <a:lnTo>
                      <a:pt x="411" y="495"/>
                    </a:lnTo>
                    <a:lnTo>
                      <a:pt x="411" y="496"/>
                    </a:lnTo>
                    <a:lnTo>
                      <a:pt x="412" y="496"/>
                    </a:lnTo>
                    <a:lnTo>
                      <a:pt x="413" y="496"/>
                    </a:lnTo>
                    <a:lnTo>
                      <a:pt x="413" y="498"/>
                    </a:lnTo>
                    <a:lnTo>
                      <a:pt x="413" y="499"/>
                    </a:lnTo>
                    <a:lnTo>
                      <a:pt x="412" y="499"/>
                    </a:lnTo>
                    <a:lnTo>
                      <a:pt x="412" y="500"/>
                    </a:lnTo>
                    <a:lnTo>
                      <a:pt x="411" y="500"/>
                    </a:lnTo>
                    <a:lnTo>
                      <a:pt x="411" y="501"/>
                    </a:lnTo>
                    <a:lnTo>
                      <a:pt x="410" y="501"/>
                    </a:lnTo>
                    <a:lnTo>
                      <a:pt x="410" y="502"/>
                    </a:lnTo>
                    <a:lnTo>
                      <a:pt x="409" y="502"/>
                    </a:lnTo>
                    <a:lnTo>
                      <a:pt x="409" y="503"/>
                    </a:lnTo>
                    <a:lnTo>
                      <a:pt x="409" y="504"/>
                    </a:lnTo>
                    <a:lnTo>
                      <a:pt x="408" y="505"/>
                    </a:lnTo>
                    <a:lnTo>
                      <a:pt x="407" y="507"/>
                    </a:lnTo>
                    <a:lnTo>
                      <a:pt x="406" y="507"/>
                    </a:lnTo>
                    <a:lnTo>
                      <a:pt x="406" y="508"/>
                    </a:lnTo>
                    <a:lnTo>
                      <a:pt x="406" y="510"/>
                    </a:lnTo>
                    <a:lnTo>
                      <a:pt x="406" y="508"/>
                    </a:lnTo>
                    <a:lnTo>
                      <a:pt x="406" y="507"/>
                    </a:lnTo>
                    <a:lnTo>
                      <a:pt x="406" y="505"/>
                    </a:lnTo>
                    <a:lnTo>
                      <a:pt x="406" y="504"/>
                    </a:lnTo>
                    <a:lnTo>
                      <a:pt x="404" y="504"/>
                    </a:lnTo>
                    <a:lnTo>
                      <a:pt x="404" y="505"/>
                    </a:lnTo>
                    <a:lnTo>
                      <a:pt x="403" y="505"/>
                    </a:lnTo>
                    <a:lnTo>
                      <a:pt x="403" y="504"/>
                    </a:lnTo>
                    <a:lnTo>
                      <a:pt x="402" y="503"/>
                    </a:lnTo>
                    <a:lnTo>
                      <a:pt x="401" y="502"/>
                    </a:lnTo>
                    <a:lnTo>
                      <a:pt x="401" y="503"/>
                    </a:lnTo>
                    <a:lnTo>
                      <a:pt x="400" y="504"/>
                    </a:lnTo>
                    <a:lnTo>
                      <a:pt x="400" y="505"/>
                    </a:lnTo>
                    <a:lnTo>
                      <a:pt x="399" y="505"/>
                    </a:lnTo>
                    <a:lnTo>
                      <a:pt x="398" y="505"/>
                    </a:lnTo>
                    <a:lnTo>
                      <a:pt x="398" y="504"/>
                    </a:lnTo>
                    <a:lnTo>
                      <a:pt x="398" y="503"/>
                    </a:lnTo>
                    <a:lnTo>
                      <a:pt x="398" y="502"/>
                    </a:lnTo>
                    <a:lnTo>
                      <a:pt x="398" y="501"/>
                    </a:lnTo>
                    <a:lnTo>
                      <a:pt x="398" y="500"/>
                    </a:lnTo>
                    <a:lnTo>
                      <a:pt x="398" y="499"/>
                    </a:lnTo>
                    <a:lnTo>
                      <a:pt x="398" y="498"/>
                    </a:lnTo>
                    <a:lnTo>
                      <a:pt x="398" y="496"/>
                    </a:lnTo>
                    <a:lnTo>
                      <a:pt x="398" y="495"/>
                    </a:lnTo>
                    <a:lnTo>
                      <a:pt x="397" y="495"/>
                    </a:lnTo>
                    <a:lnTo>
                      <a:pt x="396" y="495"/>
                    </a:lnTo>
                    <a:lnTo>
                      <a:pt x="396" y="496"/>
                    </a:lnTo>
                    <a:lnTo>
                      <a:pt x="396" y="495"/>
                    </a:lnTo>
                    <a:lnTo>
                      <a:pt x="395" y="494"/>
                    </a:lnTo>
                    <a:lnTo>
                      <a:pt x="394" y="494"/>
                    </a:lnTo>
                    <a:lnTo>
                      <a:pt x="393" y="494"/>
                    </a:lnTo>
                    <a:lnTo>
                      <a:pt x="393" y="495"/>
                    </a:lnTo>
                    <a:lnTo>
                      <a:pt x="393" y="496"/>
                    </a:lnTo>
                    <a:lnTo>
                      <a:pt x="393" y="498"/>
                    </a:lnTo>
                    <a:lnTo>
                      <a:pt x="391" y="498"/>
                    </a:lnTo>
                    <a:lnTo>
                      <a:pt x="390" y="499"/>
                    </a:lnTo>
                    <a:lnTo>
                      <a:pt x="388" y="499"/>
                    </a:lnTo>
                    <a:lnTo>
                      <a:pt x="387" y="499"/>
                    </a:lnTo>
                    <a:lnTo>
                      <a:pt x="386" y="500"/>
                    </a:lnTo>
                    <a:lnTo>
                      <a:pt x="385" y="500"/>
                    </a:lnTo>
                    <a:lnTo>
                      <a:pt x="385" y="501"/>
                    </a:lnTo>
                    <a:lnTo>
                      <a:pt x="385" y="502"/>
                    </a:lnTo>
                    <a:lnTo>
                      <a:pt x="386" y="502"/>
                    </a:lnTo>
                    <a:lnTo>
                      <a:pt x="387" y="502"/>
                    </a:lnTo>
                    <a:lnTo>
                      <a:pt x="388" y="501"/>
                    </a:lnTo>
                    <a:lnTo>
                      <a:pt x="389" y="501"/>
                    </a:lnTo>
                    <a:lnTo>
                      <a:pt x="390" y="501"/>
                    </a:lnTo>
                    <a:lnTo>
                      <a:pt x="391" y="501"/>
                    </a:lnTo>
                    <a:lnTo>
                      <a:pt x="393" y="501"/>
                    </a:lnTo>
                    <a:lnTo>
                      <a:pt x="393" y="502"/>
                    </a:lnTo>
                    <a:lnTo>
                      <a:pt x="390" y="503"/>
                    </a:lnTo>
                    <a:lnTo>
                      <a:pt x="389" y="503"/>
                    </a:lnTo>
                    <a:lnTo>
                      <a:pt x="388" y="503"/>
                    </a:lnTo>
                    <a:lnTo>
                      <a:pt x="387" y="503"/>
                    </a:lnTo>
                    <a:lnTo>
                      <a:pt x="386" y="503"/>
                    </a:lnTo>
                    <a:lnTo>
                      <a:pt x="385" y="503"/>
                    </a:lnTo>
                    <a:lnTo>
                      <a:pt x="384" y="503"/>
                    </a:lnTo>
                    <a:lnTo>
                      <a:pt x="384" y="504"/>
                    </a:lnTo>
                    <a:lnTo>
                      <a:pt x="384" y="505"/>
                    </a:lnTo>
                    <a:lnTo>
                      <a:pt x="384" y="506"/>
                    </a:lnTo>
                    <a:lnTo>
                      <a:pt x="383" y="506"/>
                    </a:lnTo>
                    <a:lnTo>
                      <a:pt x="382" y="505"/>
                    </a:lnTo>
                    <a:lnTo>
                      <a:pt x="381" y="503"/>
                    </a:lnTo>
                    <a:lnTo>
                      <a:pt x="381" y="502"/>
                    </a:lnTo>
                    <a:lnTo>
                      <a:pt x="382" y="502"/>
                    </a:lnTo>
                    <a:lnTo>
                      <a:pt x="381" y="501"/>
                    </a:lnTo>
                    <a:lnTo>
                      <a:pt x="378" y="500"/>
                    </a:lnTo>
                    <a:lnTo>
                      <a:pt x="377" y="498"/>
                    </a:lnTo>
                    <a:lnTo>
                      <a:pt x="375" y="494"/>
                    </a:lnTo>
                    <a:lnTo>
                      <a:pt x="374" y="494"/>
                    </a:lnTo>
                    <a:lnTo>
                      <a:pt x="373" y="493"/>
                    </a:lnTo>
                    <a:lnTo>
                      <a:pt x="373" y="492"/>
                    </a:lnTo>
                    <a:lnTo>
                      <a:pt x="372" y="491"/>
                    </a:lnTo>
                    <a:lnTo>
                      <a:pt x="371" y="489"/>
                    </a:lnTo>
                    <a:lnTo>
                      <a:pt x="371" y="488"/>
                    </a:lnTo>
                    <a:lnTo>
                      <a:pt x="370" y="487"/>
                    </a:lnTo>
                    <a:lnTo>
                      <a:pt x="368" y="485"/>
                    </a:lnTo>
                    <a:lnTo>
                      <a:pt x="367" y="482"/>
                    </a:lnTo>
                    <a:lnTo>
                      <a:pt x="365" y="481"/>
                    </a:lnTo>
                    <a:lnTo>
                      <a:pt x="364" y="481"/>
                    </a:lnTo>
                    <a:lnTo>
                      <a:pt x="363" y="480"/>
                    </a:lnTo>
                    <a:lnTo>
                      <a:pt x="362" y="479"/>
                    </a:lnTo>
                    <a:lnTo>
                      <a:pt x="361" y="478"/>
                    </a:lnTo>
                    <a:lnTo>
                      <a:pt x="360" y="477"/>
                    </a:lnTo>
                    <a:lnTo>
                      <a:pt x="360" y="476"/>
                    </a:lnTo>
                    <a:lnTo>
                      <a:pt x="360" y="475"/>
                    </a:lnTo>
                    <a:lnTo>
                      <a:pt x="360" y="474"/>
                    </a:lnTo>
                    <a:lnTo>
                      <a:pt x="360" y="473"/>
                    </a:lnTo>
                    <a:lnTo>
                      <a:pt x="360" y="472"/>
                    </a:lnTo>
                    <a:lnTo>
                      <a:pt x="360" y="470"/>
                    </a:lnTo>
                    <a:lnTo>
                      <a:pt x="361" y="469"/>
                    </a:lnTo>
                    <a:lnTo>
                      <a:pt x="362" y="467"/>
                    </a:lnTo>
                    <a:lnTo>
                      <a:pt x="362" y="466"/>
                    </a:lnTo>
                    <a:lnTo>
                      <a:pt x="363" y="465"/>
                    </a:lnTo>
                    <a:lnTo>
                      <a:pt x="364" y="465"/>
                    </a:lnTo>
                    <a:lnTo>
                      <a:pt x="365" y="465"/>
                    </a:lnTo>
                    <a:lnTo>
                      <a:pt x="367" y="465"/>
                    </a:lnTo>
                    <a:lnTo>
                      <a:pt x="368" y="465"/>
                    </a:lnTo>
                    <a:lnTo>
                      <a:pt x="368" y="466"/>
                    </a:lnTo>
                    <a:lnTo>
                      <a:pt x="368" y="467"/>
                    </a:lnTo>
                    <a:lnTo>
                      <a:pt x="368" y="468"/>
                    </a:lnTo>
                    <a:lnTo>
                      <a:pt x="368" y="469"/>
                    </a:lnTo>
                    <a:lnTo>
                      <a:pt x="368" y="470"/>
                    </a:lnTo>
                    <a:lnTo>
                      <a:pt x="369" y="470"/>
                    </a:lnTo>
                    <a:lnTo>
                      <a:pt x="369" y="472"/>
                    </a:lnTo>
                    <a:lnTo>
                      <a:pt x="369" y="470"/>
                    </a:lnTo>
                    <a:lnTo>
                      <a:pt x="370" y="470"/>
                    </a:lnTo>
                    <a:lnTo>
                      <a:pt x="370" y="472"/>
                    </a:lnTo>
                    <a:lnTo>
                      <a:pt x="370" y="470"/>
                    </a:lnTo>
                    <a:lnTo>
                      <a:pt x="371" y="470"/>
                    </a:lnTo>
                    <a:lnTo>
                      <a:pt x="372" y="470"/>
                    </a:lnTo>
                    <a:lnTo>
                      <a:pt x="372" y="472"/>
                    </a:lnTo>
                    <a:lnTo>
                      <a:pt x="372" y="470"/>
                    </a:lnTo>
                    <a:lnTo>
                      <a:pt x="373" y="472"/>
                    </a:lnTo>
                    <a:lnTo>
                      <a:pt x="374" y="472"/>
                    </a:lnTo>
                    <a:lnTo>
                      <a:pt x="373" y="472"/>
                    </a:lnTo>
                    <a:lnTo>
                      <a:pt x="373" y="470"/>
                    </a:lnTo>
                    <a:lnTo>
                      <a:pt x="373" y="469"/>
                    </a:lnTo>
                    <a:lnTo>
                      <a:pt x="373" y="468"/>
                    </a:lnTo>
                    <a:lnTo>
                      <a:pt x="374" y="468"/>
                    </a:lnTo>
                    <a:lnTo>
                      <a:pt x="374" y="467"/>
                    </a:lnTo>
                    <a:lnTo>
                      <a:pt x="375" y="467"/>
                    </a:lnTo>
                    <a:lnTo>
                      <a:pt x="375" y="466"/>
                    </a:lnTo>
                    <a:lnTo>
                      <a:pt x="375" y="465"/>
                    </a:lnTo>
                    <a:lnTo>
                      <a:pt x="376" y="465"/>
                    </a:lnTo>
                    <a:lnTo>
                      <a:pt x="376" y="464"/>
                    </a:lnTo>
                    <a:lnTo>
                      <a:pt x="375" y="464"/>
                    </a:lnTo>
                    <a:lnTo>
                      <a:pt x="375" y="463"/>
                    </a:lnTo>
                    <a:lnTo>
                      <a:pt x="375" y="462"/>
                    </a:lnTo>
                    <a:lnTo>
                      <a:pt x="374" y="462"/>
                    </a:lnTo>
                    <a:lnTo>
                      <a:pt x="374" y="461"/>
                    </a:lnTo>
                    <a:lnTo>
                      <a:pt x="373" y="461"/>
                    </a:lnTo>
                    <a:lnTo>
                      <a:pt x="372" y="460"/>
                    </a:lnTo>
                    <a:lnTo>
                      <a:pt x="371" y="460"/>
                    </a:lnTo>
                    <a:lnTo>
                      <a:pt x="370" y="460"/>
                    </a:lnTo>
                    <a:lnTo>
                      <a:pt x="370" y="461"/>
                    </a:lnTo>
                    <a:lnTo>
                      <a:pt x="370" y="462"/>
                    </a:lnTo>
                    <a:lnTo>
                      <a:pt x="370" y="463"/>
                    </a:lnTo>
                    <a:lnTo>
                      <a:pt x="370" y="464"/>
                    </a:lnTo>
                    <a:lnTo>
                      <a:pt x="369" y="463"/>
                    </a:lnTo>
                    <a:lnTo>
                      <a:pt x="369" y="464"/>
                    </a:lnTo>
                    <a:lnTo>
                      <a:pt x="368" y="463"/>
                    </a:lnTo>
                    <a:lnTo>
                      <a:pt x="368" y="464"/>
                    </a:lnTo>
                    <a:lnTo>
                      <a:pt x="368" y="463"/>
                    </a:lnTo>
                    <a:lnTo>
                      <a:pt x="367" y="463"/>
                    </a:lnTo>
                    <a:lnTo>
                      <a:pt x="365" y="463"/>
                    </a:lnTo>
                    <a:lnTo>
                      <a:pt x="365" y="464"/>
                    </a:lnTo>
                    <a:lnTo>
                      <a:pt x="364" y="464"/>
                    </a:lnTo>
                    <a:lnTo>
                      <a:pt x="363" y="464"/>
                    </a:lnTo>
                    <a:lnTo>
                      <a:pt x="363" y="463"/>
                    </a:lnTo>
                    <a:lnTo>
                      <a:pt x="363" y="462"/>
                    </a:lnTo>
                    <a:lnTo>
                      <a:pt x="363" y="461"/>
                    </a:lnTo>
                    <a:lnTo>
                      <a:pt x="363" y="460"/>
                    </a:lnTo>
                    <a:lnTo>
                      <a:pt x="363" y="459"/>
                    </a:lnTo>
                    <a:lnTo>
                      <a:pt x="364" y="459"/>
                    </a:lnTo>
                    <a:lnTo>
                      <a:pt x="364" y="457"/>
                    </a:lnTo>
                    <a:lnTo>
                      <a:pt x="364" y="455"/>
                    </a:lnTo>
                    <a:lnTo>
                      <a:pt x="365" y="455"/>
                    </a:lnTo>
                    <a:lnTo>
                      <a:pt x="364" y="455"/>
                    </a:lnTo>
                    <a:lnTo>
                      <a:pt x="365" y="455"/>
                    </a:lnTo>
                    <a:lnTo>
                      <a:pt x="367" y="455"/>
                    </a:lnTo>
                    <a:lnTo>
                      <a:pt x="365" y="455"/>
                    </a:lnTo>
                    <a:lnTo>
                      <a:pt x="364" y="455"/>
                    </a:lnTo>
                    <a:lnTo>
                      <a:pt x="365" y="455"/>
                    </a:lnTo>
                    <a:lnTo>
                      <a:pt x="364" y="455"/>
                    </a:lnTo>
                    <a:lnTo>
                      <a:pt x="364" y="454"/>
                    </a:lnTo>
                    <a:lnTo>
                      <a:pt x="365" y="454"/>
                    </a:lnTo>
                    <a:lnTo>
                      <a:pt x="367" y="454"/>
                    </a:lnTo>
                    <a:lnTo>
                      <a:pt x="368" y="454"/>
                    </a:lnTo>
                    <a:lnTo>
                      <a:pt x="368" y="453"/>
                    </a:lnTo>
                    <a:lnTo>
                      <a:pt x="369" y="453"/>
                    </a:lnTo>
                    <a:lnTo>
                      <a:pt x="369" y="454"/>
                    </a:lnTo>
                    <a:lnTo>
                      <a:pt x="369" y="453"/>
                    </a:lnTo>
                    <a:lnTo>
                      <a:pt x="369" y="452"/>
                    </a:lnTo>
                    <a:lnTo>
                      <a:pt x="368" y="452"/>
                    </a:lnTo>
                    <a:lnTo>
                      <a:pt x="368" y="451"/>
                    </a:lnTo>
                    <a:lnTo>
                      <a:pt x="368" y="450"/>
                    </a:lnTo>
                    <a:lnTo>
                      <a:pt x="367" y="450"/>
                    </a:lnTo>
                    <a:lnTo>
                      <a:pt x="367" y="449"/>
                    </a:lnTo>
                    <a:lnTo>
                      <a:pt x="368" y="449"/>
                    </a:lnTo>
                    <a:lnTo>
                      <a:pt x="368" y="448"/>
                    </a:lnTo>
                    <a:lnTo>
                      <a:pt x="367" y="448"/>
                    </a:lnTo>
                    <a:lnTo>
                      <a:pt x="368" y="448"/>
                    </a:lnTo>
                    <a:lnTo>
                      <a:pt x="367" y="447"/>
                    </a:lnTo>
                    <a:lnTo>
                      <a:pt x="368" y="447"/>
                    </a:lnTo>
                    <a:lnTo>
                      <a:pt x="368" y="446"/>
                    </a:lnTo>
                    <a:lnTo>
                      <a:pt x="368" y="444"/>
                    </a:lnTo>
                    <a:lnTo>
                      <a:pt x="368" y="443"/>
                    </a:lnTo>
                    <a:lnTo>
                      <a:pt x="367" y="443"/>
                    </a:lnTo>
                    <a:lnTo>
                      <a:pt x="365" y="443"/>
                    </a:lnTo>
                    <a:lnTo>
                      <a:pt x="365" y="442"/>
                    </a:lnTo>
                    <a:lnTo>
                      <a:pt x="364" y="442"/>
                    </a:lnTo>
                    <a:lnTo>
                      <a:pt x="363" y="441"/>
                    </a:lnTo>
                    <a:lnTo>
                      <a:pt x="364" y="440"/>
                    </a:lnTo>
                    <a:lnTo>
                      <a:pt x="365" y="439"/>
                    </a:lnTo>
                    <a:lnTo>
                      <a:pt x="367" y="439"/>
                    </a:lnTo>
                    <a:lnTo>
                      <a:pt x="367" y="438"/>
                    </a:lnTo>
                    <a:lnTo>
                      <a:pt x="368" y="438"/>
                    </a:lnTo>
                    <a:lnTo>
                      <a:pt x="368" y="437"/>
                    </a:lnTo>
                    <a:lnTo>
                      <a:pt x="368" y="436"/>
                    </a:lnTo>
                    <a:lnTo>
                      <a:pt x="368" y="435"/>
                    </a:lnTo>
                    <a:lnTo>
                      <a:pt x="367" y="434"/>
                    </a:lnTo>
                    <a:lnTo>
                      <a:pt x="368" y="433"/>
                    </a:lnTo>
                    <a:lnTo>
                      <a:pt x="367" y="433"/>
                    </a:lnTo>
                    <a:lnTo>
                      <a:pt x="368" y="433"/>
                    </a:lnTo>
                    <a:lnTo>
                      <a:pt x="368" y="431"/>
                    </a:lnTo>
                    <a:lnTo>
                      <a:pt x="367" y="431"/>
                    </a:lnTo>
                    <a:lnTo>
                      <a:pt x="368" y="431"/>
                    </a:lnTo>
                    <a:lnTo>
                      <a:pt x="367" y="430"/>
                    </a:lnTo>
                    <a:lnTo>
                      <a:pt x="367" y="429"/>
                    </a:lnTo>
                    <a:lnTo>
                      <a:pt x="367" y="428"/>
                    </a:lnTo>
                    <a:lnTo>
                      <a:pt x="365" y="427"/>
                    </a:lnTo>
                    <a:lnTo>
                      <a:pt x="364" y="427"/>
                    </a:lnTo>
                    <a:lnTo>
                      <a:pt x="364" y="428"/>
                    </a:lnTo>
                    <a:lnTo>
                      <a:pt x="364" y="427"/>
                    </a:lnTo>
                    <a:lnTo>
                      <a:pt x="364" y="426"/>
                    </a:lnTo>
                    <a:lnTo>
                      <a:pt x="365" y="426"/>
                    </a:lnTo>
                    <a:lnTo>
                      <a:pt x="364" y="426"/>
                    </a:lnTo>
                    <a:lnTo>
                      <a:pt x="364" y="425"/>
                    </a:lnTo>
                    <a:lnTo>
                      <a:pt x="364" y="424"/>
                    </a:lnTo>
                    <a:lnTo>
                      <a:pt x="363" y="423"/>
                    </a:lnTo>
                    <a:lnTo>
                      <a:pt x="363" y="422"/>
                    </a:lnTo>
                    <a:lnTo>
                      <a:pt x="362" y="422"/>
                    </a:lnTo>
                    <a:lnTo>
                      <a:pt x="362" y="421"/>
                    </a:lnTo>
                    <a:lnTo>
                      <a:pt x="363" y="421"/>
                    </a:lnTo>
                    <a:lnTo>
                      <a:pt x="363" y="420"/>
                    </a:lnTo>
                    <a:lnTo>
                      <a:pt x="363" y="421"/>
                    </a:lnTo>
                    <a:lnTo>
                      <a:pt x="363" y="420"/>
                    </a:lnTo>
                    <a:lnTo>
                      <a:pt x="362" y="418"/>
                    </a:lnTo>
                    <a:lnTo>
                      <a:pt x="362" y="417"/>
                    </a:lnTo>
                    <a:lnTo>
                      <a:pt x="362" y="416"/>
                    </a:lnTo>
                    <a:lnTo>
                      <a:pt x="362" y="417"/>
                    </a:lnTo>
                    <a:lnTo>
                      <a:pt x="363" y="416"/>
                    </a:lnTo>
                    <a:lnTo>
                      <a:pt x="362" y="416"/>
                    </a:lnTo>
                    <a:lnTo>
                      <a:pt x="362" y="415"/>
                    </a:lnTo>
                    <a:lnTo>
                      <a:pt x="362" y="414"/>
                    </a:lnTo>
                    <a:lnTo>
                      <a:pt x="361" y="414"/>
                    </a:lnTo>
                    <a:lnTo>
                      <a:pt x="361" y="413"/>
                    </a:lnTo>
                    <a:lnTo>
                      <a:pt x="361" y="412"/>
                    </a:lnTo>
                    <a:lnTo>
                      <a:pt x="360" y="412"/>
                    </a:lnTo>
                    <a:lnTo>
                      <a:pt x="358" y="411"/>
                    </a:lnTo>
                    <a:lnTo>
                      <a:pt x="358" y="410"/>
                    </a:lnTo>
                    <a:lnTo>
                      <a:pt x="354" y="408"/>
                    </a:lnTo>
                    <a:lnTo>
                      <a:pt x="352" y="406"/>
                    </a:lnTo>
                    <a:lnTo>
                      <a:pt x="348" y="404"/>
                    </a:lnTo>
                    <a:lnTo>
                      <a:pt x="347" y="404"/>
                    </a:lnTo>
                    <a:lnTo>
                      <a:pt x="345" y="403"/>
                    </a:lnTo>
                    <a:lnTo>
                      <a:pt x="344" y="403"/>
                    </a:lnTo>
                    <a:lnTo>
                      <a:pt x="343" y="403"/>
                    </a:lnTo>
                    <a:lnTo>
                      <a:pt x="341" y="403"/>
                    </a:lnTo>
                    <a:lnTo>
                      <a:pt x="342" y="402"/>
                    </a:lnTo>
                    <a:lnTo>
                      <a:pt x="342" y="401"/>
                    </a:lnTo>
                    <a:lnTo>
                      <a:pt x="343" y="401"/>
                    </a:lnTo>
                    <a:lnTo>
                      <a:pt x="342" y="400"/>
                    </a:lnTo>
                    <a:lnTo>
                      <a:pt x="342" y="401"/>
                    </a:lnTo>
                    <a:lnTo>
                      <a:pt x="341" y="402"/>
                    </a:lnTo>
                    <a:lnTo>
                      <a:pt x="341" y="403"/>
                    </a:lnTo>
                    <a:lnTo>
                      <a:pt x="339" y="403"/>
                    </a:lnTo>
                    <a:lnTo>
                      <a:pt x="338" y="402"/>
                    </a:lnTo>
                    <a:lnTo>
                      <a:pt x="337" y="401"/>
                    </a:lnTo>
                    <a:lnTo>
                      <a:pt x="336" y="400"/>
                    </a:lnTo>
                    <a:lnTo>
                      <a:pt x="337" y="400"/>
                    </a:lnTo>
                    <a:lnTo>
                      <a:pt x="336" y="400"/>
                    </a:lnTo>
                    <a:lnTo>
                      <a:pt x="336" y="399"/>
                    </a:lnTo>
                    <a:lnTo>
                      <a:pt x="335" y="398"/>
                    </a:lnTo>
                    <a:lnTo>
                      <a:pt x="335" y="397"/>
                    </a:lnTo>
                    <a:lnTo>
                      <a:pt x="334" y="397"/>
                    </a:lnTo>
                    <a:lnTo>
                      <a:pt x="335" y="398"/>
                    </a:lnTo>
                    <a:lnTo>
                      <a:pt x="334" y="397"/>
                    </a:lnTo>
                    <a:lnTo>
                      <a:pt x="336" y="396"/>
                    </a:lnTo>
                    <a:lnTo>
                      <a:pt x="336" y="395"/>
                    </a:lnTo>
                    <a:lnTo>
                      <a:pt x="336" y="393"/>
                    </a:lnTo>
                    <a:lnTo>
                      <a:pt x="336" y="395"/>
                    </a:lnTo>
                    <a:lnTo>
                      <a:pt x="335" y="396"/>
                    </a:lnTo>
                    <a:lnTo>
                      <a:pt x="334" y="397"/>
                    </a:lnTo>
                    <a:lnTo>
                      <a:pt x="333" y="396"/>
                    </a:lnTo>
                    <a:lnTo>
                      <a:pt x="333" y="395"/>
                    </a:lnTo>
                    <a:lnTo>
                      <a:pt x="332" y="395"/>
                    </a:lnTo>
                    <a:lnTo>
                      <a:pt x="331" y="393"/>
                    </a:lnTo>
                    <a:lnTo>
                      <a:pt x="330" y="392"/>
                    </a:lnTo>
                    <a:lnTo>
                      <a:pt x="330" y="391"/>
                    </a:lnTo>
                    <a:lnTo>
                      <a:pt x="329" y="391"/>
                    </a:lnTo>
                    <a:lnTo>
                      <a:pt x="329" y="390"/>
                    </a:lnTo>
                    <a:lnTo>
                      <a:pt x="328" y="390"/>
                    </a:lnTo>
                    <a:lnTo>
                      <a:pt x="328" y="389"/>
                    </a:lnTo>
                    <a:lnTo>
                      <a:pt x="329" y="390"/>
                    </a:lnTo>
                    <a:lnTo>
                      <a:pt x="330" y="388"/>
                    </a:lnTo>
                    <a:lnTo>
                      <a:pt x="329" y="388"/>
                    </a:lnTo>
                    <a:lnTo>
                      <a:pt x="329" y="387"/>
                    </a:lnTo>
                    <a:lnTo>
                      <a:pt x="328" y="387"/>
                    </a:lnTo>
                    <a:lnTo>
                      <a:pt x="328" y="388"/>
                    </a:lnTo>
                    <a:lnTo>
                      <a:pt x="328" y="387"/>
                    </a:lnTo>
                    <a:lnTo>
                      <a:pt x="326" y="387"/>
                    </a:lnTo>
                    <a:lnTo>
                      <a:pt x="326" y="388"/>
                    </a:lnTo>
                    <a:lnTo>
                      <a:pt x="326" y="389"/>
                    </a:lnTo>
                    <a:lnTo>
                      <a:pt x="325" y="389"/>
                    </a:lnTo>
                    <a:lnTo>
                      <a:pt x="324" y="389"/>
                    </a:lnTo>
                    <a:lnTo>
                      <a:pt x="323" y="389"/>
                    </a:lnTo>
                    <a:lnTo>
                      <a:pt x="323" y="388"/>
                    </a:lnTo>
                    <a:lnTo>
                      <a:pt x="322" y="388"/>
                    </a:lnTo>
                    <a:lnTo>
                      <a:pt x="321" y="388"/>
                    </a:lnTo>
                    <a:lnTo>
                      <a:pt x="320" y="388"/>
                    </a:lnTo>
                    <a:lnTo>
                      <a:pt x="320" y="387"/>
                    </a:lnTo>
                    <a:lnTo>
                      <a:pt x="319" y="386"/>
                    </a:lnTo>
                    <a:lnTo>
                      <a:pt x="319" y="385"/>
                    </a:lnTo>
                    <a:lnTo>
                      <a:pt x="318" y="385"/>
                    </a:lnTo>
                    <a:lnTo>
                      <a:pt x="317" y="385"/>
                    </a:lnTo>
                    <a:lnTo>
                      <a:pt x="316" y="385"/>
                    </a:lnTo>
                    <a:lnTo>
                      <a:pt x="315" y="384"/>
                    </a:lnTo>
                    <a:lnTo>
                      <a:pt x="313" y="384"/>
                    </a:lnTo>
                    <a:lnTo>
                      <a:pt x="313" y="383"/>
                    </a:lnTo>
                    <a:lnTo>
                      <a:pt x="315" y="383"/>
                    </a:lnTo>
                    <a:lnTo>
                      <a:pt x="315" y="382"/>
                    </a:lnTo>
                    <a:lnTo>
                      <a:pt x="313" y="382"/>
                    </a:lnTo>
                    <a:lnTo>
                      <a:pt x="313" y="383"/>
                    </a:lnTo>
                    <a:lnTo>
                      <a:pt x="312" y="383"/>
                    </a:lnTo>
                    <a:lnTo>
                      <a:pt x="310" y="383"/>
                    </a:lnTo>
                    <a:lnTo>
                      <a:pt x="311" y="383"/>
                    </a:lnTo>
                    <a:lnTo>
                      <a:pt x="311" y="382"/>
                    </a:lnTo>
                    <a:lnTo>
                      <a:pt x="310" y="382"/>
                    </a:lnTo>
                    <a:lnTo>
                      <a:pt x="310" y="383"/>
                    </a:lnTo>
                    <a:lnTo>
                      <a:pt x="310" y="382"/>
                    </a:lnTo>
                    <a:lnTo>
                      <a:pt x="310" y="383"/>
                    </a:lnTo>
                    <a:lnTo>
                      <a:pt x="307" y="382"/>
                    </a:lnTo>
                    <a:lnTo>
                      <a:pt x="306" y="382"/>
                    </a:lnTo>
                    <a:lnTo>
                      <a:pt x="306" y="380"/>
                    </a:lnTo>
                    <a:lnTo>
                      <a:pt x="304" y="380"/>
                    </a:lnTo>
                    <a:lnTo>
                      <a:pt x="303" y="379"/>
                    </a:lnTo>
                    <a:lnTo>
                      <a:pt x="299" y="379"/>
                    </a:lnTo>
                    <a:lnTo>
                      <a:pt x="297" y="378"/>
                    </a:lnTo>
                    <a:lnTo>
                      <a:pt x="295" y="377"/>
                    </a:lnTo>
                    <a:lnTo>
                      <a:pt x="294" y="378"/>
                    </a:lnTo>
                    <a:lnTo>
                      <a:pt x="295" y="378"/>
                    </a:lnTo>
                    <a:lnTo>
                      <a:pt x="300" y="380"/>
                    </a:lnTo>
                    <a:lnTo>
                      <a:pt x="300" y="382"/>
                    </a:lnTo>
                    <a:lnTo>
                      <a:pt x="297" y="385"/>
                    </a:lnTo>
                    <a:lnTo>
                      <a:pt x="295" y="387"/>
                    </a:lnTo>
                    <a:lnTo>
                      <a:pt x="294" y="387"/>
                    </a:lnTo>
                    <a:lnTo>
                      <a:pt x="294" y="386"/>
                    </a:lnTo>
                    <a:lnTo>
                      <a:pt x="294" y="385"/>
                    </a:lnTo>
                    <a:lnTo>
                      <a:pt x="293" y="385"/>
                    </a:lnTo>
                    <a:lnTo>
                      <a:pt x="293" y="384"/>
                    </a:lnTo>
                    <a:lnTo>
                      <a:pt x="293" y="382"/>
                    </a:lnTo>
                    <a:lnTo>
                      <a:pt x="293" y="380"/>
                    </a:lnTo>
                    <a:lnTo>
                      <a:pt x="292" y="380"/>
                    </a:lnTo>
                    <a:lnTo>
                      <a:pt x="292" y="379"/>
                    </a:lnTo>
                    <a:lnTo>
                      <a:pt x="292" y="378"/>
                    </a:lnTo>
                    <a:lnTo>
                      <a:pt x="292" y="377"/>
                    </a:lnTo>
                    <a:lnTo>
                      <a:pt x="292" y="376"/>
                    </a:lnTo>
                    <a:lnTo>
                      <a:pt x="291" y="375"/>
                    </a:lnTo>
                    <a:lnTo>
                      <a:pt x="291" y="374"/>
                    </a:lnTo>
                    <a:lnTo>
                      <a:pt x="291" y="373"/>
                    </a:lnTo>
                    <a:lnTo>
                      <a:pt x="291" y="372"/>
                    </a:lnTo>
                    <a:lnTo>
                      <a:pt x="290" y="372"/>
                    </a:lnTo>
                    <a:lnTo>
                      <a:pt x="290" y="371"/>
                    </a:lnTo>
                    <a:lnTo>
                      <a:pt x="290" y="370"/>
                    </a:lnTo>
                    <a:lnTo>
                      <a:pt x="289" y="371"/>
                    </a:lnTo>
                    <a:lnTo>
                      <a:pt x="289" y="372"/>
                    </a:lnTo>
                    <a:lnTo>
                      <a:pt x="290" y="372"/>
                    </a:lnTo>
                    <a:lnTo>
                      <a:pt x="290" y="373"/>
                    </a:lnTo>
                    <a:lnTo>
                      <a:pt x="290" y="374"/>
                    </a:lnTo>
                    <a:lnTo>
                      <a:pt x="290" y="373"/>
                    </a:lnTo>
                    <a:lnTo>
                      <a:pt x="289" y="373"/>
                    </a:lnTo>
                    <a:lnTo>
                      <a:pt x="289" y="372"/>
                    </a:lnTo>
                    <a:lnTo>
                      <a:pt x="287" y="372"/>
                    </a:lnTo>
                    <a:lnTo>
                      <a:pt x="289" y="372"/>
                    </a:lnTo>
                    <a:lnTo>
                      <a:pt x="289" y="371"/>
                    </a:lnTo>
                    <a:lnTo>
                      <a:pt x="287" y="370"/>
                    </a:lnTo>
                    <a:lnTo>
                      <a:pt x="287" y="369"/>
                    </a:lnTo>
                    <a:lnTo>
                      <a:pt x="286" y="369"/>
                    </a:lnTo>
                    <a:lnTo>
                      <a:pt x="287" y="373"/>
                    </a:lnTo>
                    <a:lnTo>
                      <a:pt x="286" y="370"/>
                    </a:lnTo>
                    <a:lnTo>
                      <a:pt x="285" y="370"/>
                    </a:lnTo>
                    <a:lnTo>
                      <a:pt x="287" y="369"/>
                    </a:lnTo>
                    <a:lnTo>
                      <a:pt x="287" y="367"/>
                    </a:lnTo>
                    <a:lnTo>
                      <a:pt x="287" y="366"/>
                    </a:lnTo>
                    <a:lnTo>
                      <a:pt x="286" y="366"/>
                    </a:lnTo>
                    <a:lnTo>
                      <a:pt x="286" y="365"/>
                    </a:lnTo>
                    <a:lnTo>
                      <a:pt x="286" y="364"/>
                    </a:lnTo>
                    <a:lnTo>
                      <a:pt x="286" y="365"/>
                    </a:lnTo>
                    <a:lnTo>
                      <a:pt x="286" y="364"/>
                    </a:lnTo>
                    <a:lnTo>
                      <a:pt x="285" y="365"/>
                    </a:lnTo>
                    <a:lnTo>
                      <a:pt x="285" y="364"/>
                    </a:lnTo>
                    <a:lnTo>
                      <a:pt x="284" y="364"/>
                    </a:lnTo>
                    <a:lnTo>
                      <a:pt x="284" y="363"/>
                    </a:lnTo>
                    <a:lnTo>
                      <a:pt x="283" y="363"/>
                    </a:lnTo>
                    <a:lnTo>
                      <a:pt x="283" y="364"/>
                    </a:lnTo>
                    <a:lnTo>
                      <a:pt x="282" y="364"/>
                    </a:lnTo>
                    <a:lnTo>
                      <a:pt x="282" y="363"/>
                    </a:lnTo>
                    <a:lnTo>
                      <a:pt x="281" y="363"/>
                    </a:lnTo>
                    <a:lnTo>
                      <a:pt x="281" y="362"/>
                    </a:lnTo>
                    <a:lnTo>
                      <a:pt x="281" y="361"/>
                    </a:lnTo>
                    <a:lnTo>
                      <a:pt x="280" y="361"/>
                    </a:lnTo>
                    <a:lnTo>
                      <a:pt x="280" y="362"/>
                    </a:lnTo>
                    <a:lnTo>
                      <a:pt x="280" y="361"/>
                    </a:lnTo>
                    <a:lnTo>
                      <a:pt x="279" y="361"/>
                    </a:lnTo>
                    <a:lnTo>
                      <a:pt x="278" y="361"/>
                    </a:lnTo>
                    <a:lnTo>
                      <a:pt x="278" y="360"/>
                    </a:lnTo>
                    <a:lnTo>
                      <a:pt x="278" y="359"/>
                    </a:lnTo>
                    <a:lnTo>
                      <a:pt x="277" y="359"/>
                    </a:lnTo>
                    <a:lnTo>
                      <a:pt x="276" y="359"/>
                    </a:lnTo>
                    <a:lnTo>
                      <a:pt x="276" y="358"/>
                    </a:lnTo>
                    <a:lnTo>
                      <a:pt x="274" y="358"/>
                    </a:lnTo>
                    <a:lnTo>
                      <a:pt x="274" y="357"/>
                    </a:lnTo>
                    <a:lnTo>
                      <a:pt x="276" y="357"/>
                    </a:lnTo>
                    <a:lnTo>
                      <a:pt x="276" y="356"/>
                    </a:lnTo>
                    <a:lnTo>
                      <a:pt x="276" y="357"/>
                    </a:lnTo>
                    <a:lnTo>
                      <a:pt x="276" y="356"/>
                    </a:lnTo>
                    <a:lnTo>
                      <a:pt x="274" y="356"/>
                    </a:lnTo>
                    <a:lnTo>
                      <a:pt x="274" y="354"/>
                    </a:lnTo>
                    <a:lnTo>
                      <a:pt x="274" y="356"/>
                    </a:lnTo>
                    <a:lnTo>
                      <a:pt x="273" y="356"/>
                    </a:lnTo>
                    <a:lnTo>
                      <a:pt x="273" y="354"/>
                    </a:lnTo>
                    <a:lnTo>
                      <a:pt x="273" y="356"/>
                    </a:lnTo>
                    <a:lnTo>
                      <a:pt x="274" y="356"/>
                    </a:lnTo>
                    <a:lnTo>
                      <a:pt x="273" y="356"/>
                    </a:lnTo>
                    <a:lnTo>
                      <a:pt x="273" y="357"/>
                    </a:lnTo>
                    <a:lnTo>
                      <a:pt x="272" y="357"/>
                    </a:lnTo>
                    <a:lnTo>
                      <a:pt x="272" y="358"/>
                    </a:lnTo>
                    <a:lnTo>
                      <a:pt x="273" y="358"/>
                    </a:lnTo>
                    <a:lnTo>
                      <a:pt x="273" y="357"/>
                    </a:lnTo>
                    <a:lnTo>
                      <a:pt x="273" y="358"/>
                    </a:lnTo>
                    <a:lnTo>
                      <a:pt x="274" y="358"/>
                    </a:lnTo>
                    <a:lnTo>
                      <a:pt x="273" y="358"/>
                    </a:lnTo>
                    <a:lnTo>
                      <a:pt x="274" y="358"/>
                    </a:lnTo>
                    <a:lnTo>
                      <a:pt x="274" y="359"/>
                    </a:lnTo>
                    <a:lnTo>
                      <a:pt x="273" y="359"/>
                    </a:lnTo>
                    <a:lnTo>
                      <a:pt x="273" y="358"/>
                    </a:lnTo>
                    <a:lnTo>
                      <a:pt x="274" y="358"/>
                    </a:lnTo>
                    <a:lnTo>
                      <a:pt x="273" y="358"/>
                    </a:lnTo>
                    <a:lnTo>
                      <a:pt x="272" y="358"/>
                    </a:lnTo>
                    <a:lnTo>
                      <a:pt x="271" y="358"/>
                    </a:lnTo>
                    <a:lnTo>
                      <a:pt x="270" y="358"/>
                    </a:lnTo>
                    <a:lnTo>
                      <a:pt x="269" y="358"/>
                    </a:lnTo>
                    <a:lnTo>
                      <a:pt x="268" y="358"/>
                    </a:lnTo>
                    <a:lnTo>
                      <a:pt x="268" y="357"/>
                    </a:lnTo>
                    <a:lnTo>
                      <a:pt x="268" y="356"/>
                    </a:lnTo>
                    <a:lnTo>
                      <a:pt x="268" y="354"/>
                    </a:lnTo>
                    <a:lnTo>
                      <a:pt x="267" y="354"/>
                    </a:lnTo>
                    <a:lnTo>
                      <a:pt x="267" y="353"/>
                    </a:lnTo>
                    <a:lnTo>
                      <a:pt x="266" y="353"/>
                    </a:lnTo>
                    <a:lnTo>
                      <a:pt x="266" y="352"/>
                    </a:lnTo>
                    <a:lnTo>
                      <a:pt x="266" y="351"/>
                    </a:lnTo>
                    <a:lnTo>
                      <a:pt x="265" y="351"/>
                    </a:lnTo>
                    <a:lnTo>
                      <a:pt x="264" y="351"/>
                    </a:lnTo>
                    <a:lnTo>
                      <a:pt x="264" y="350"/>
                    </a:lnTo>
                    <a:lnTo>
                      <a:pt x="265" y="351"/>
                    </a:lnTo>
                    <a:lnTo>
                      <a:pt x="265" y="350"/>
                    </a:lnTo>
                    <a:lnTo>
                      <a:pt x="266" y="351"/>
                    </a:lnTo>
                    <a:lnTo>
                      <a:pt x="267" y="351"/>
                    </a:lnTo>
                    <a:lnTo>
                      <a:pt x="264" y="349"/>
                    </a:lnTo>
                    <a:lnTo>
                      <a:pt x="262" y="349"/>
                    </a:lnTo>
                    <a:lnTo>
                      <a:pt x="264" y="349"/>
                    </a:lnTo>
                    <a:lnTo>
                      <a:pt x="262" y="349"/>
                    </a:lnTo>
                    <a:lnTo>
                      <a:pt x="262" y="350"/>
                    </a:lnTo>
                    <a:lnTo>
                      <a:pt x="264" y="350"/>
                    </a:lnTo>
                    <a:lnTo>
                      <a:pt x="262" y="350"/>
                    </a:lnTo>
                    <a:lnTo>
                      <a:pt x="262" y="349"/>
                    </a:lnTo>
                    <a:lnTo>
                      <a:pt x="261" y="348"/>
                    </a:lnTo>
                    <a:lnTo>
                      <a:pt x="260" y="348"/>
                    </a:lnTo>
                    <a:lnTo>
                      <a:pt x="260" y="349"/>
                    </a:lnTo>
                    <a:lnTo>
                      <a:pt x="259" y="349"/>
                    </a:lnTo>
                    <a:lnTo>
                      <a:pt x="260" y="350"/>
                    </a:lnTo>
                    <a:lnTo>
                      <a:pt x="259" y="350"/>
                    </a:lnTo>
                    <a:lnTo>
                      <a:pt x="259" y="349"/>
                    </a:lnTo>
                    <a:lnTo>
                      <a:pt x="259" y="350"/>
                    </a:lnTo>
                    <a:lnTo>
                      <a:pt x="258" y="351"/>
                    </a:lnTo>
                    <a:lnTo>
                      <a:pt x="259" y="351"/>
                    </a:lnTo>
                    <a:lnTo>
                      <a:pt x="259" y="352"/>
                    </a:lnTo>
                    <a:lnTo>
                      <a:pt x="259" y="353"/>
                    </a:lnTo>
                    <a:lnTo>
                      <a:pt x="259" y="354"/>
                    </a:lnTo>
                    <a:lnTo>
                      <a:pt x="258" y="356"/>
                    </a:lnTo>
                    <a:lnTo>
                      <a:pt x="258" y="357"/>
                    </a:lnTo>
                    <a:lnTo>
                      <a:pt x="259" y="357"/>
                    </a:lnTo>
                    <a:lnTo>
                      <a:pt x="259" y="358"/>
                    </a:lnTo>
                    <a:lnTo>
                      <a:pt x="259" y="359"/>
                    </a:lnTo>
                    <a:lnTo>
                      <a:pt x="260" y="359"/>
                    </a:lnTo>
                    <a:lnTo>
                      <a:pt x="260" y="360"/>
                    </a:lnTo>
                    <a:lnTo>
                      <a:pt x="260" y="361"/>
                    </a:lnTo>
                    <a:lnTo>
                      <a:pt x="261" y="362"/>
                    </a:lnTo>
                    <a:lnTo>
                      <a:pt x="259" y="362"/>
                    </a:lnTo>
                    <a:lnTo>
                      <a:pt x="258" y="362"/>
                    </a:lnTo>
                    <a:lnTo>
                      <a:pt x="257" y="362"/>
                    </a:lnTo>
                    <a:lnTo>
                      <a:pt x="257" y="361"/>
                    </a:lnTo>
                    <a:lnTo>
                      <a:pt x="257" y="360"/>
                    </a:lnTo>
                    <a:lnTo>
                      <a:pt x="256" y="360"/>
                    </a:lnTo>
                    <a:lnTo>
                      <a:pt x="255" y="361"/>
                    </a:lnTo>
                    <a:lnTo>
                      <a:pt x="255" y="360"/>
                    </a:lnTo>
                    <a:lnTo>
                      <a:pt x="254" y="360"/>
                    </a:lnTo>
                    <a:lnTo>
                      <a:pt x="254" y="361"/>
                    </a:lnTo>
                    <a:lnTo>
                      <a:pt x="255" y="361"/>
                    </a:lnTo>
                    <a:lnTo>
                      <a:pt x="256" y="361"/>
                    </a:lnTo>
                    <a:lnTo>
                      <a:pt x="256" y="362"/>
                    </a:lnTo>
                    <a:lnTo>
                      <a:pt x="257" y="362"/>
                    </a:lnTo>
                    <a:lnTo>
                      <a:pt x="256" y="362"/>
                    </a:lnTo>
                    <a:lnTo>
                      <a:pt x="255" y="362"/>
                    </a:lnTo>
                    <a:lnTo>
                      <a:pt x="254" y="363"/>
                    </a:lnTo>
                    <a:lnTo>
                      <a:pt x="253" y="362"/>
                    </a:lnTo>
                    <a:lnTo>
                      <a:pt x="253" y="363"/>
                    </a:lnTo>
                    <a:lnTo>
                      <a:pt x="253" y="362"/>
                    </a:lnTo>
                    <a:lnTo>
                      <a:pt x="254" y="362"/>
                    </a:lnTo>
                    <a:lnTo>
                      <a:pt x="253" y="362"/>
                    </a:lnTo>
                    <a:lnTo>
                      <a:pt x="253" y="363"/>
                    </a:lnTo>
                    <a:lnTo>
                      <a:pt x="253" y="362"/>
                    </a:lnTo>
                    <a:lnTo>
                      <a:pt x="252" y="362"/>
                    </a:lnTo>
                    <a:lnTo>
                      <a:pt x="252" y="361"/>
                    </a:lnTo>
                    <a:lnTo>
                      <a:pt x="252" y="362"/>
                    </a:lnTo>
                    <a:lnTo>
                      <a:pt x="251" y="362"/>
                    </a:lnTo>
                    <a:lnTo>
                      <a:pt x="252" y="362"/>
                    </a:lnTo>
                    <a:lnTo>
                      <a:pt x="252" y="363"/>
                    </a:lnTo>
                    <a:lnTo>
                      <a:pt x="252" y="362"/>
                    </a:lnTo>
                    <a:lnTo>
                      <a:pt x="251" y="362"/>
                    </a:lnTo>
                    <a:lnTo>
                      <a:pt x="249" y="363"/>
                    </a:lnTo>
                    <a:lnTo>
                      <a:pt x="249" y="362"/>
                    </a:lnTo>
                    <a:lnTo>
                      <a:pt x="248" y="362"/>
                    </a:lnTo>
                    <a:lnTo>
                      <a:pt x="247" y="362"/>
                    </a:lnTo>
                    <a:lnTo>
                      <a:pt x="247" y="361"/>
                    </a:lnTo>
                    <a:lnTo>
                      <a:pt x="246" y="361"/>
                    </a:lnTo>
                    <a:lnTo>
                      <a:pt x="246" y="360"/>
                    </a:lnTo>
                    <a:lnTo>
                      <a:pt x="246" y="359"/>
                    </a:lnTo>
                    <a:lnTo>
                      <a:pt x="245" y="359"/>
                    </a:lnTo>
                    <a:lnTo>
                      <a:pt x="245" y="358"/>
                    </a:lnTo>
                    <a:lnTo>
                      <a:pt x="245" y="359"/>
                    </a:lnTo>
                    <a:lnTo>
                      <a:pt x="244" y="359"/>
                    </a:lnTo>
                    <a:lnTo>
                      <a:pt x="244" y="360"/>
                    </a:lnTo>
                    <a:lnTo>
                      <a:pt x="244" y="361"/>
                    </a:lnTo>
                    <a:lnTo>
                      <a:pt x="244" y="360"/>
                    </a:lnTo>
                    <a:lnTo>
                      <a:pt x="243" y="360"/>
                    </a:lnTo>
                    <a:lnTo>
                      <a:pt x="242" y="360"/>
                    </a:lnTo>
                    <a:lnTo>
                      <a:pt x="241" y="361"/>
                    </a:lnTo>
                    <a:lnTo>
                      <a:pt x="240" y="360"/>
                    </a:lnTo>
                    <a:lnTo>
                      <a:pt x="239" y="360"/>
                    </a:lnTo>
                    <a:lnTo>
                      <a:pt x="239" y="361"/>
                    </a:lnTo>
                    <a:lnTo>
                      <a:pt x="238" y="360"/>
                    </a:lnTo>
                    <a:lnTo>
                      <a:pt x="236" y="361"/>
                    </a:lnTo>
                    <a:lnTo>
                      <a:pt x="236" y="360"/>
                    </a:lnTo>
                    <a:lnTo>
                      <a:pt x="235" y="360"/>
                    </a:lnTo>
                    <a:lnTo>
                      <a:pt x="234" y="360"/>
                    </a:lnTo>
                    <a:lnTo>
                      <a:pt x="234" y="361"/>
                    </a:lnTo>
                    <a:lnTo>
                      <a:pt x="233" y="361"/>
                    </a:lnTo>
                    <a:lnTo>
                      <a:pt x="232" y="361"/>
                    </a:lnTo>
                    <a:lnTo>
                      <a:pt x="231" y="361"/>
                    </a:lnTo>
                    <a:lnTo>
                      <a:pt x="230" y="361"/>
                    </a:lnTo>
                    <a:lnTo>
                      <a:pt x="231" y="361"/>
                    </a:lnTo>
                    <a:lnTo>
                      <a:pt x="230" y="361"/>
                    </a:lnTo>
                    <a:lnTo>
                      <a:pt x="230" y="362"/>
                    </a:lnTo>
                    <a:lnTo>
                      <a:pt x="229" y="362"/>
                    </a:lnTo>
                    <a:lnTo>
                      <a:pt x="229" y="361"/>
                    </a:lnTo>
                    <a:lnTo>
                      <a:pt x="229" y="362"/>
                    </a:lnTo>
                    <a:lnTo>
                      <a:pt x="228" y="361"/>
                    </a:lnTo>
                    <a:lnTo>
                      <a:pt x="227" y="360"/>
                    </a:lnTo>
                    <a:lnTo>
                      <a:pt x="226" y="359"/>
                    </a:lnTo>
                    <a:lnTo>
                      <a:pt x="226" y="360"/>
                    </a:lnTo>
                    <a:lnTo>
                      <a:pt x="227" y="360"/>
                    </a:lnTo>
                    <a:lnTo>
                      <a:pt x="228" y="361"/>
                    </a:lnTo>
                    <a:lnTo>
                      <a:pt x="228" y="362"/>
                    </a:lnTo>
                    <a:lnTo>
                      <a:pt x="226" y="362"/>
                    </a:lnTo>
                    <a:lnTo>
                      <a:pt x="225" y="362"/>
                    </a:lnTo>
                    <a:lnTo>
                      <a:pt x="223" y="363"/>
                    </a:lnTo>
                    <a:lnTo>
                      <a:pt x="222" y="363"/>
                    </a:lnTo>
                    <a:lnTo>
                      <a:pt x="220" y="364"/>
                    </a:lnTo>
                    <a:lnTo>
                      <a:pt x="219" y="363"/>
                    </a:lnTo>
                    <a:lnTo>
                      <a:pt x="218" y="363"/>
                    </a:lnTo>
                    <a:lnTo>
                      <a:pt x="217" y="363"/>
                    </a:lnTo>
                    <a:lnTo>
                      <a:pt x="216" y="363"/>
                    </a:lnTo>
                    <a:lnTo>
                      <a:pt x="216" y="362"/>
                    </a:lnTo>
                    <a:lnTo>
                      <a:pt x="215" y="362"/>
                    </a:lnTo>
                    <a:lnTo>
                      <a:pt x="215" y="363"/>
                    </a:lnTo>
                    <a:lnTo>
                      <a:pt x="214" y="362"/>
                    </a:lnTo>
                    <a:lnTo>
                      <a:pt x="213" y="362"/>
                    </a:lnTo>
                    <a:lnTo>
                      <a:pt x="213" y="361"/>
                    </a:lnTo>
                    <a:lnTo>
                      <a:pt x="213" y="360"/>
                    </a:lnTo>
                    <a:lnTo>
                      <a:pt x="214" y="360"/>
                    </a:lnTo>
                    <a:lnTo>
                      <a:pt x="214" y="359"/>
                    </a:lnTo>
                    <a:lnTo>
                      <a:pt x="214" y="358"/>
                    </a:lnTo>
                    <a:lnTo>
                      <a:pt x="214" y="359"/>
                    </a:lnTo>
                    <a:lnTo>
                      <a:pt x="214" y="360"/>
                    </a:lnTo>
                    <a:lnTo>
                      <a:pt x="215" y="360"/>
                    </a:lnTo>
                    <a:lnTo>
                      <a:pt x="215" y="359"/>
                    </a:lnTo>
                    <a:lnTo>
                      <a:pt x="215" y="358"/>
                    </a:lnTo>
                    <a:lnTo>
                      <a:pt x="215" y="357"/>
                    </a:lnTo>
                    <a:lnTo>
                      <a:pt x="215" y="356"/>
                    </a:lnTo>
                    <a:lnTo>
                      <a:pt x="214" y="356"/>
                    </a:lnTo>
                    <a:lnTo>
                      <a:pt x="214" y="354"/>
                    </a:lnTo>
                    <a:lnTo>
                      <a:pt x="214" y="353"/>
                    </a:lnTo>
                    <a:lnTo>
                      <a:pt x="214" y="354"/>
                    </a:lnTo>
                    <a:lnTo>
                      <a:pt x="213" y="354"/>
                    </a:lnTo>
                    <a:lnTo>
                      <a:pt x="213" y="353"/>
                    </a:lnTo>
                    <a:lnTo>
                      <a:pt x="212" y="352"/>
                    </a:lnTo>
                    <a:lnTo>
                      <a:pt x="212" y="353"/>
                    </a:lnTo>
                    <a:lnTo>
                      <a:pt x="212" y="354"/>
                    </a:lnTo>
                    <a:lnTo>
                      <a:pt x="212" y="353"/>
                    </a:lnTo>
                    <a:lnTo>
                      <a:pt x="210" y="353"/>
                    </a:lnTo>
                    <a:lnTo>
                      <a:pt x="210" y="352"/>
                    </a:lnTo>
                    <a:lnTo>
                      <a:pt x="210" y="353"/>
                    </a:lnTo>
                    <a:lnTo>
                      <a:pt x="209" y="353"/>
                    </a:lnTo>
                    <a:lnTo>
                      <a:pt x="209" y="352"/>
                    </a:lnTo>
                    <a:lnTo>
                      <a:pt x="208" y="351"/>
                    </a:lnTo>
                    <a:lnTo>
                      <a:pt x="209" y="351"/>
                    </a:lnTo>
                    <a:lnTo>
                      <a:pt x="208" y="351"/>
                    </a:lnTo>
                    <a:lnTo>
                      <a:pt x="208" y="350"/>
                    </a:lnTo>
                    <a:lnTo>
                      <a:pt x="208" y="349"/>
                    </a:lnTo>
                    <a:lnTo>
                      <a:pt x="208" y="348"/>
                    </a:lnTo>
                    <a:lnTo>
                      <a:pt x="207" y="347"/>
                    </a:lnTo>
                    <a:lnTo>
                      <a:pt x="208" y="347"/>
                    </a:lnTo>
                    <a:lnTo>
                      <a:pt x="207" y="347"/>
                    </a:lnTo>
                    <a:lnTo>
                      <a:pt x="206" y="347"/>
                    </a:lnTo>
                    <a:lnTo>
                      <a:pt x="206" y="346"/>
                    </a:lnTo>
                    <a:lnTo>
                      <a:pt x="205" y="346"/>
                    </a:lnTo>
                    <a:lnTo>
                      <a:pt x="205" y="345"/>
                    </a:lnTo>
                    <a:lnTo>
                      <a:pt x="206" y="345"/>
                    </a:lnTo>
                    <a:lnTo>
                      <a:pt x="205" y="345"/>
                    </a:lnTo>
                    <a:lnTo>
                      <a:pt x="206" y="345"/>
                    </a:lnTo>
                    <a:lnTo>
                      <a:pt x="206" y="344"/>
                    </a:lnTo>
                    <a:lnTo>
                      <a:pt x="206" y="343"/>
                    </a:lnTo>
                    <a:lnTo>
                      <a:pt x="207" y="343"/>
                    </a:lnTo>
                    <a:lnTo>
                      <a:pt x="207" y="341"/>
                    </a:lnTo>
                    <a:lnTo>
                      <a:pt x="206" y="341"/>
                    </a:lnTo>
                    <a:lnTo>
                      <a:pt x="206" y="340"/>
                    </a:lnTo>
                    <a:lnTo>
                      <a:pt x="205" y="339"/>
                    </a:lnTo>
                    <a:lnTo>
                      <a:pt x="204" y="339"/>
                    </a:lnTo>
                    <a:lnTo>
                      <a:pt x="204" y="340"/>
                    </a:lnTo>
                    <a:lnTo>
                      <a:pt x="203" y="341"/>
                    </a:lnTo>
                    <a:lnTo>
                      <a:pt x="203" y="343"/>
                    </a:lnTo>
                    <a:lnTo>
                      <a:pt x="203" y="344"/>
                    </a:lnTo>
                    <a:lnTo>
                      <a:pt x="202" y="344"/>
                    </a:lnTo>
                    <a:lnTo>
                      <a:pt x="203" y="344"/>
                    </a:lnTo>
                    <a:lnTo>
                      <a:pt x="202" y="345"/>
                    </a:lnTo>
                    <a:lnTo>
                      <a:pt x="202" y="346"/>
                    </a:lnTo>
                    <a:lnTo>
                      <a:pt x="201" y="346"/>
                    </a:lnTo>
                    <a:lnTo>
                      <a:pt x="201" y="345"/>
                    </a:lnTo>
                    <a:lnTo>
                      <a:pt x="200" y="346"/>
                    </a:lnTo>
                    <a:lnTo>
                      <a:pt x="200" y="348"/>
                    </a:lnTo>
                    <a:lnTo>
                      <a:pt x="199" y="348"/>
                    </a:lnTo>
                    <a:lnTo>
                      <a:pt x="199" y="349"/>
                    </a:lnTo>
                    <a:lnTo>
                      <a:pt x="197" y="350"/>
                    </a:lnTo>
                    <a:lnTo>
                      <a:pt x="197" y="351"/>
                    </a:lnTo>
                    <a:lnTo>
                      <a:pt x="196" y="351"/>
                    </a:lnTo>
                    <a:lnTo>
                      <a:pt x="197" y="351"/>
                    </a:lnTo>
                    <a:lnTo>
                      <a:pt x="197" y="350"/>
                    </a:lnTo>
                    <a:lnTo>
                      <a:pt x="196" y="350"/>
                    </a:lnTo>
                    <a:lnTo>
                      <a:pt x="195" y="350"/>
                    </a:lnTo>
                    <a:lnTo>
                      <a:pt x="195" y="349"/>
                    </a:lnTo>
                    <a:lnTo>
                      <a:pt x="195" y="350"/>
                    </a:lnTo>
                    <a:lnTo>
                      <a:pt x="195" y="349"/>
                    </a:lnTo>
                    <a:lnTo>
                      <a:pt x="196" y="349"/>
                    </a:lnTo>
                    <a:lnTo>
                      <a:pt x="195" y="349"/>
                    </a:lnTo>
                    <a:lnTo>
                      <a:pt x="196" y="349"/>
                    </a:lnTo>
                    <a:lnTo>
                      <a:pt x="196" y="348"/>
                    </a:lnTo>
                    <a:lnTo>
                      <a:pt x="196" y="347"/>
                    </a:lnTo>
                    <a:lnTo>
                      <a:pt x="195" y="347"/>
                    </a:lnTo>
                    <a:lnTo>
                      <a:pt x="197" y="347"/>
                    </a:lnTo>
                    <a:lnTo>
                      <a:pt x="199" y="347"/>
                    </a:lnTo>
                    <a:lnTo>
                      <a:pt x="199" y="346"/>
                    </a:lnTo>
                    <a:lnTo>
                      <a:pt x="200" y="346"/>
                    </a:lnTo>
                    <a:lnTo>
                      <a:pt x="200" y="345"/>
                    </a:lnTo>
                    <a:lnTo>
                      <a:pt x="199" y="345"/>
                    </a:lnTo>
                    <a:lnTo>
                      <a:pt x="199" y="346"/>
                    </a:lnTo>
                    <a:lnTo>
                      <a:pt x="197" y="346"/>
                    </a:lnTo>
                    <a:lnTo>
                      <a:pt x="199" y="346"/>
                    </a:lnTo>
                    <a:lnTo>
                      <a:pt x="199" y="347"/>
                    </a:lnTo>
                    <a:lnTo>
                      <a:pt x="197" y="347"/>
                    </a:lnTo>
                    <a:lnTo>
                      <a:pt x="196" y="347"/>
                    </a:lnTo>
                    <a:lnTo>
                      <a:pt x="195" y="347"/>
                    </a:lnTo>
                    <a:lnTo>
                      <a:pt x="195" y="346"/>
                    </a:lnTo>
                    <a:lnTo>
                      <a:pt x="195" y="347"/>
                    </a:lnTo>
                    <a:lnTo>
                      <a:pt x="194" y="347"/>
                    </a:lnTo>
                    <a:lnTo>
                      <a:pt x="194" y="346"/>
                    </a:lnTo>
                    <a:lnTo>
                      <a:pt x="194" y="347"/>
                    </a:lnTo>
                    <a:lnTo>
                      <a:pt x="195" y="347"/>
                    </a:lnTo>
                    <a:lnTo>
                      <a:pt x="194" y="348"/>
                    </a:lnTo>
                    <a:lnTo>
                      <a:pt x="194" y="347"/>
                    </a:lnTo>
                    <a:lnTo>
                      <a:pt x="194" y="348"/>
                    </a:lnTo>
                    <a:lnTo>
                      <a:pt x="193" y="347"/>
                    </a:lnTo>
                    <a:lnTo>
                      <a:pt x="193" y="348"/>
                    </a:lnTo>
                    <a:lnTo>
                      <a:pt x="193" y="347"/>
                    </a:lnTo>
                    <a:lnTo>
                      <a:pt x="192" y="348"/>
                    </a:lnTo>
                    <a:lnTo>
                      <a:pt x="192" y="349"/>
                    </a:lnTo>
                    <a:lnTo>
                      <a:pt x="193" y="349"/>
                    </a:lnTo>
                    <a:lnTo>
                      <a:pt x="192" y="349"/>
                    </a:lnTo>
                    <a:lnTo>
                      <a:pt x="191" y="350"/>
                    </a:lnTo>
                    <a:lnTo>
                      <a:pt x="190" y="350"/>
                    </a:lnTo>
                    <a:lnTo>
                      <a:pt x="190" y="351"/>
                    </a:lnTo>
                    <a:lnTo>
                      <a:pt x="189" y="352"/>
                    </a:lnTo>
                    <a:lnTo>
                      <a:pt x="188" y="352"/>
                    </a:lnTo>
                    <a:lnTo>
                      <a:pt x="188" y="353"/>
                    </a:lnTo>
                    <a:lnTo>
                      <a:pt x="188" y="354"/>
                    </a:lnTo>
                    <a:lnTo>
                      <a:pt x="188" y="353"/>
                    </a:lnTo>
                    <a:lnTo>
                      <a:pt x="187" y="353"/>
                    </a:lnTo>
                    <a:lnTo>
                      <a:pt x="186" y="353"/>
                    </a:lnTo>
                    <a:lnTo>
                      <a:pt x="186" y="352"/>
                    </a:lnTo>
                    <a:lnTo>
                      <a:pt x="184" y="352"/>
                    </a:lnTo>
                    <a:lnTo>
                      <a:pt x="183" y="351"/>
                    </a:lnTo>
                    <a:lnTo>
                      <a:pt x="184" y="351"/>
                    </a:lnTo>
                    <a:lnTo>
                      <a:pt x="183" y="351"/>
                    </a:lnTo>
                    <a:lnTo>
                      <a:pt x="183" y="349"/>
                    </a:lnTo>
                    <a:lnTo>
                      <a:pt x="184" y="349"/>
                    </a:lnTo>
                    <a:lnTo>
                      <a:pt x="184" y="348"/>
                    </a:lnTo>
                    <a:lnTo>
                      <a:pt x="184" y="349"/>
                    </a:lnTo>
                    <a:lnTo>
                      <a:pt x="184" y="348"/>
                    </a:lnTo>
                    <a:lnTo>
                      <a:pt x="183" y="348"/>
                    </a:lnTo>
                    <a:lnTo>
                      <a:pt x="183" y="349"/>
                    </a:lnTo>
                    <a:lnTo>
                      <a:pt x="183" y="348"/>
                    </a:lnTo>
                    <a:lnTo>
                      <a:pt x="183" y="347"/>
                    </a:lnTo>
                    <a:lnTo>
                      <a:pt x="183" y="346"/>
                    </a:lnTo>
                    <a:lnTo>
                      <a:pt x="184" y="346"/>
                    </a:lnTo>
                    <a:lnTo>
                      <a:pt x="184" y="347"/>
                    </a:lnTo>
                    <a:lnTo>
                      <a:pt x="184" y="348"/>
                    </a:lnTo>
                    <a:lnTo>
                      <a:pt x="186" y="349"/>
                    </a:lnTo>
                    <a:lnTo>
                      <a:pt x="184" y="349"/>
                    </a:lnTo>
                    <a:lnTo>
                      <a:pt x="186" y="349"/>
                    </a:lnTo>
                    <a:lnTo>
                      <a:pt x="186" y="350"/>
                    </a:lnTo>
                    <a:lnTo>
                      <a:pt x="187" y="350"/>
                    </a:lnTo>
                    <a:lnTo>
                      <a:pt x="186" y="350"/>
                    </a:lnTo>
                    <a:lnTo>
                      <a:pt x="186" y="349"/>
                    </a:lnTo>
                    <a:lnTo>
                      <a:pt x="187" y="349"/>
                    </a:lnTo>
                    <a:lnTo>
                      <a:pt x="187" y="350"/>
                    </a:lnTo>
                    <a:lnTo>
                      <a:pt x="188" y="349"/>
                    </a:lnTo>
                    <a:lnTo>
                      <a:pt x="187" y="349"/>
                    </a:lnTo>
                    <a:lnTo>
                      <a:pt x="188" y="348"/>
                    </a:lnTo>
                    <a:lnTo>
                      <a:pt x="189" y="349"/>
                    </a:lnTo>
                    <a:lnTo>
                      <a:pt x="189" y="348"/>
                    </a:lnTo>
                    <a:lnTo>
                      <a:pt x="189" y="349"/>
                    </a:lnTo>
                    <a:lnTo>
                      <a:pt x="189" y="348"/>
                    </a:lnTo>
                    <a:lnTo>
                      <a:pt x="188" y="348"/>
                    </a:lnTo>
                    <a:lnTo>
                      <a:pt x="188" y="347"/>
                    </a:lnTo>
                    <a:lnTo>
                      <a:pt x="189" y="347"/>
                    </a:lnTo>
                    <a:lnTo>
                      <a:pt x="190" y="347"/>
                    </a:lnTo>
                    <a:lnTo>
                      <a:pt x="189" y="347"/>
                    </a:lnTo>
                    <a:lnTo>
                      <a:pt x="190" y="346"/>
                    </a:lnTo>
                    <a:lnTo>
                      <a:pt x="190" y="347"/>
                    </a:lnTo>
                    <a:lnTo>
                      <a:pt x="190" y="346"/>
                    </a:lnTo>
                    <a:lnTo>
                      <a:pt x="191" y="346"/>
                    </a:lnTo>
                    <a:lnTo>
                      <a:pt x="191" y="347"/>
                    </a:lnTo>
                    <a:lnTo>
                      <a:pt x="193" y="345"/>
                    </a:lnTo>
                    <a:lnTo>
                      <a:pt x="192" y="345"/>
                    </a:lnTo>
                    <a:lnTo>
                      <a:pt x="192" y="344"/>
                    </a:lnTo>
                    <a:lnTo>
                      <a:pt x="190" y="346"/>
                    </a:lnTo>
                    <a:lnTo>
                      <a:pt x="192" y="345"/>
                    </a:lnTo>
                    <a:lnTo>
                      <a:pt x="192" y="344"/>
                    </a:lnTo>
                    <a:lnTo>
                      <a:pt x="191" y="344"/>
                    </a:lnTo>
                    <a:lnTo>
                      <a:pt x="191" y="345"/>
                    </a:lnTo>
                    <a:lnTo>
                      <a:pt x="190" y="345"/>
                    </a:lnTo>
                    <a:lnTo>
                      <a:pt x="191" y="345"/>
                    </a:lnTo>
                    <a:lnTo>
                      <a:pt x="191" y="344"/>
                    </a:lnTo>
                    <a:lnTo>
                      <a:pt x="190" y="344"/>
                    </a:lnTo>
                    <a:lnTo>
                      <a:pt x="190" y="345"/>
                    </a:lnTo>
                    <a:lnTo>
                      <a:pt x="190" y="344"/>
                    </a:lnTo>
                    <a:lnTo>
                      <a:pt x="189" y="344"/>
                    </a:lnTo>
                    <a:lnTo>
                      <a:pt x="189" y="345"/>
                    </a:lnTo>
                    <a:lnTo>
                      <a:pt x="190" y="345"/>
                    </a:lnTo>
                    <a:lnTo>
                      <a:pt x="190" y="346"/>
                    </a:lnTo>
                    <a:lnTo>
                      <a:pt x="189" y="346"/>
                    </a:lnTo>
                    <a:lnTo>
                      <a:pt x="188" y="346"/>
                    </a:lnTo>
                    <a:lnTo>
                      <a:pt x="188" y="347"/>
                    </a:lnTo>
                    <a:lnTo>
                      <a:pt x="188" y="346"/>
                    </a:lnTo>
                    <a:lnTo>
                      <a:pt x="189" y="345"/>
                    </a:lnTo>
                    <a:lnTo>
                      <a:pt x="188" y="345"/>
                    </a:lnTo>
                    <a:lnTo>
                      <a:pt x="188" y="344"/>
                    </a:lnTo>
                    <a:lnTo>
                      <a:pt x="188" y="345"/>
                    </a:lnTo>
                    <a:lnTo>
                      <a:pt x="188" y="346"/>
                    </a:lnTo>
                    <a:lnTo>
                      <a:pt x="188" y="347"/>
                    </a:lnTo>
                    <a:lnTo>
                      <a:pt x="187" y="347"/>
                    </a:lnTo>
                    <a:lnTo>
                      <a:pt x="187" y="349"/>
                    </a:lnTo>
                    <a:lnTo>
                      <a:pt x="186" y="349"/>
                    </a:lnTo>
                    <a:lnTo>
                      <a:pt x="186" y="348"/>
                    </a:lnTo>
                    <a:lnTo>
                      <a:pt x="186" y="347"/>
                    </a:lnTo>
                    <a:lnTo>
                      <a:pt x="187" y="348"/>
                    </a:lnTo>
                    <a:lnTo>
                      <a:pt x="187" y="349"/>
                    </a:lnTo>
                    <a:lnTo>
                      <a:pt x="187" y="348"/>
                    </a:lnTo>
                    <a:lnTo>
                      <a:pt x="186" y="346"/>
                    </a:lnTo>
                    <a:lnTo>
                      <a:pt x="186" y="345"/>
                    </a:lnTo>
                    <a:lnTo>
                      <a:pt x="186" y="344"/>
                    </a:lnTo>
                    <a:lnTo>
                      <a:pt x="184" y="344"/>
                    </a:lnTo>
                    <a:lnTo>
                      <a:pt x="183" y="344"/>
                    </a:lnTo>
                    <a:lnTo>
                      <a:pt x="183" y="343"/>
                    </a:lnTo>
                    <a:lnTo>
                      <a:pt x="182" y="343"/>
                    </a:lnTo>
                    <a:lnTo>
                      <a:pt x="179" y="344"/>
                    </a:lnTo>
                    <a:lnTo>
                      <a:pt x="177" y="345"/>
                    </a:lnTo>
                    <a:lnTo>
                      <a:pt x="177" y="344"/>
                    </a:lnTo>
                    <a:lnTo>
                      <a:pt x="176" y="344"/>
                    </a:lnTo>
                    <a:lnTo>
                      <a:pt x="175" y="344"/>
                    </a:lnTo>
                    <a:lnTo>
                      <a:pt x="175" y="345"/>
                    </a:lnTo>
                    <a:lnTo>
                      <a:pt x="176" y="345"/>
                    </a:lnTo>
                    <a:lnTo>
                      <a:pt x="176" y="344"/>
                    </a:lnTo>
                    <a:lnTo>
                      <a:pt x="176" y="345"/>
                    </a:lnTo>
                    <a:lnTo>
                      <a:pt x="177" y="345"/>
                    </a:lnTo>
                    <a:lnTo>
                      <a:pt x="176" y="345"/>
                    </a:lnTo>
                    <a:lnTo>
                      <a:pt x="176" y="346"/>
                    </a:lnTo>
                    <a:lnTo>
                      <a:pt x="175" y="346"/>
                    </a:lnTo>
                    <a:lnTo>
                      <a:pt x="174" y="347"/>
                    </a:lnTo>
                    <a:lnTo>
                      <a:pt x="173" y="347"/>
                    </a:lnTo>
                    <a:lnTo>
                      <a:pt x="173" y="346"/>
                    </a:lnTo>
                    <a:lnTo>
                      <a:pt x="174" y="346"/>
                    </a:lnTo>
                    <a:lnTo>
                      <a:pt x="173" y="346"/>
                    </a:lnTo>
                    <a:lnTo>
                      <a:pt x="174" y="346"/>
                    </a:lnTo>
                    <a:lnTo>
                      <a:pt x="173" y="346"/>
                    </a:lnTo>
                    <a:lnTo>
                      <a:pt x="171" y="346"/>
                    </a:lnTo>
                    <a:lnTo>
                      <a:pt x="173" y="346"/>
                    </a:lnTo>
                    <a:lnTo>
                      <a:pt x="173" y="347"/>
                    </a:lnTo>
                    <a:lnTo>
                      <a:pt x="171" y="346"/>
                    </a:lnTo>
                    <a:lnTo>
                      <a:pt x="171" y="347"/>
                    </a:lnTo>
                    <a:lnTo>
                      <a:pt x="170" y="347"/>
                    </a:lnTo>
                    <a:lnTo>
                      <a:pt x="170" y="346"/>
                    </a:lnTo>
                    <a:lnTo>
                      <a:pt x="170" y="345"/>
                    </a:lnTo>
                    <a:lnTo>
                      <a:pt x="170" y="346"/>
                    </a:lnTo>
                    <a:lnTo>
                      <a:pt x="170" y="347"/>
                    </a:lnTo>
                    <a:lnTo>
                      <a:pt x="169" y="346"/>
                    </a:lnTo>
                    <a:lnTo>
                      <a:pt x="169" y="347"/>
                    </a:lnTo>
                    <a:lnTo>
                      <a:pt x="168" y="347"/>
                    </a:lnTo>
                    <a:lnTo>
                      <a:pt x="168" y="346"/>
                    </a:lnTo>
                    <a:lnTo>
                      <a:pt x="167" y="347"/>
                    </a:lnTo>
                    <a:lnTo>
                      <a:pt x="166" y="347"/>
                    </a:lnTo>
                    <a:lnTo>
                      <a:pt x="166" y="346"/>
                    </a:lnTo>
                    <a:lnTo>
                      <a:pt x="166" y="345"/>
                    </a:lnTo>
                    <a:lnTo>
                      <a:pt x="166" y="346"/>
                    </a:lnTo>
                    <a:lnTo>
                      <a:pt x="165" y="346"/>
                    </a:lnTo>
                    <a:lnTo>
                      <a:pt x="164" y="346"/>
                    </a:lnTo>
                    <a:lnTo>
                      <a:pt x="164" y="347"/>
                    </a:lnTo>
                    <a:lnTo>
                      <a:pt x="163" y="347"/>
                    </a:lnTo>
                    <a:lnTo>
                      <a:pt x="163" y="346"/>
                    </a:lnTo>
                    <a:lnTo>
                      <a:pt x="164" y="346"/>
                    </a:lnTo>
                    <a:lnTo>
                      <a:pt x="164" y="345"/>
                    </a:lnTo>
                    <a:lnTo>
                      <a:pt x="163" y="345"/>
                    </a:lnTo>
                    <a:lnTo>
                      <a:pt x="163" y="347"/>
                    </a:lnTo>
                    <a:lnTo>
                      <a:pt x="162" y="347"/>
                    </a:lnTo>
                    <a:lnTo>
                      <a:pt x="162" y="346"/>
                    </a:lnTo>
                    <a:lnTo>
                      <a:pt x="162" y="345"/>
                    </a:lnTo>
                    <a:lnTo>
                      <a:pt x="161" y="344"/>
                    </a:lnTo>
                    <a:lnTo>
                      <a:pt x="161" y="345"/>
                    </a:lnTo>
                    <a:lnTo>
                      <a:pt x="161" y="344"/>
                    </a:lnTo>
                    <a:lnTo>
                      <a:pt x="161" y="343"/>
                    </a:lnTo>
                    <a:lnTo>
                      <a:pt x="162" y="343"/>
                    </a:lnTo>
                    <a:lnTo>
                      <a:pt x="161" y="343"/>
                    </a:lnTo>
                    <a:lnTo>
                      <a:pt x="160" y="343"/>
                    </a:lnTo>
                    <a:lnTo>
                      <a:pt x="160" y="341"/>
                    </a:lnTo>
                    <a:lnTo>
                      <a:pt x="160" y="340"/>
                    </a:lnTo>
                    <a:lnTo>
                      <a:pt x="160" y="339"/>
                    </a:lnTo>
                    <a:lnTo>
                      <a:pt x="161" y="339"/>
                    </a:lnTo>
                    <a:lnTo>
                      <a:pt x="161" y="338"/>
                    </a:lnTo>
                    <a:lnTo>
                      <a:pt x="162" y="337"/>
                    </a:lnTo>
                    <a:lnTo>
                      <a:pt x="162" y="336"/>
                    </a:lnTo>
                    <a:lnTo>
                      <a:pt x="162" y="335"/>
                    </a:lnTo>
                    <a:lnTo>
                      <a:pt x="162" y="334"/>
                    </a:lnTo>
                    <a:lnTo>
                      <a:pt x="161" y="333"/>
                    </a:lnTo>
                    <a:lnTo>
                      <a:pt x="162" y="333"/>
                    </a:lnTo>
                    <a:lnTo>
                      <a:pt x="162" y="332"/>
                    </a:lnTo>
                    <a:lnTo>
                      <a:pt x="161" y="333"/>
                    </a:lnTo>
                    <a:lnTo>
                      <a:pt x="160" y="334"/>
                    </a:lnTo>
                    <a:lnTo>
                      <a:pt x="160" y="333"/>
                    </a:lnTo>
                    <a:lnTo>
                      <a:pt x="158" y="333"/>
                    </a:lnTo>
                    <a:lnTo>
                      <a:pt x="160" y="334"/>
                    </a:lnTo>
                    <a:lnTo>
                      <a:pt x="158" y="334"/>
                    </a:lnTo>
                    <a:lnTo>
                      <a:pt x="157" y="334"/>
                    </a:lnTo>
                    <a:lnTo>
                      <a:pt x="157" y="335"/>
                    </a:lnTo>
                    <a:lnTo>
                      <a:pt x="156" y="335"/>
                    </a:lnTo>
                    <a:lnTo>
                      <a:pt x="156" y="336"/>
                    </a:lnTo>
                    <a:lnTo>
                      <a:pt x="155" y="336"/>
                    </a:lnTo>
                    <a:lnTo>
                      <a:pt x="154" y="336"/>
                    </a:lnTo>
                    <a:lnTo>
                      <a:pt x="154" y="337"/>
                    </a:lnTo>
                    <a:lnTo>
                      <a:pt x="154" y="338"/>
                    </a:lnTo>
                    <a:lnTo>
                      <a:pt x="153" y="338"/>
                    </a:lnTo>
                    <a:lnTo>
                      <a:pt x="152" y="338"/>
                    </a:lnTo>
                    <a:lnTo>
                      <a:pt x="151" y="339"/>
                    </a:lnTo>
                    <a:lnTo>
                      <a:pt x="150" y="339"/>
                    </a:lnTo>
                    <a:lnTo>
                      <a:pt x="151" y="340"/>
                    </a:lnTo>
                    <a:lnTo>
                      <a:pt x="150" y="340"/>
                    </a:lnTo>
                    <a:lnTo>
                      <a:pt x="149" y="340"/>
                    </a:lnTo>
                    <a:lnTo>
                      <a:pt x="148" y="340"/>
                    </a:lnTo>
                    <a:lnTo>
                      <a:pt x="148" y="339"/>
                    </a:lnTo>
                    <a:lnTo>
                      <a:pt x="148" y="340"/>
                    </a:lnTo>
                    <a:lnTo>
                      <a:pt x="147" y="341"/>
                    </a:lnTo>
                    <a:lnTo>
                      <a:pt x="147" y="343"/>
                    </a:lnTo>
                    <a:lnTo>
                      <a:pt x="145" y="343"/>
                    </a:lnTo>
                    <a:lnTo>
                      <a:pt x="144" y="341"/>
                    </a:lnTo>
                    <a:lnTo>
                      <a:pt x="145" y="340"/>
                    </a:lnTo>
                    <a:lnTo>
                      <a:pt x="147" y="340"/>
                    </a:lnTo>
                    <a:lnTo>
                      <a:pt x="147" y="339"/>
                    </a:lnTo>
                    <a:lnTo>
                      <a:pt x="147" y="340"/>
                    </a:lnTo>
                    <a:lnTo>
                      <a:pt x="147" y="339"/>
                    </a:lnTo>
                    <a:lnTo>
                      <a:pt x="145" y="339"/>
                    </a:lnTo>
                    <a:lnTo>
                      <a:pt x="145" y="340"/>
                    </a:lnTo>
                    <a:lnTo>
                      <a:pt x="144" y="340"/>
                    </a:lnTo>
                    <a:lnTo>
                      <a:pt x="143" y="340"/>
                    </a:lnTo>
                    <a:lnTo>
                      <a:pt x="143" y="339"/>
                    </a:lnTo>
                    <a:lnTo>
                      <a:pt x="142" y="340"/>
                    </a:lnTo>
                    <a:lnTo>
                      <a:pt x="142" y="339"/>
                    </a:lnTo>
                    <a:lnTo>
                      <a:pt x="141" y="339"/>
                    </a:lnTo>
                    <a:lnTo>
                      <a:pt x="141" y="338"/>
                    </a:lnTo>
                    <a:lnTo>
                      <a:pt x="142" y="338"/>
                    </a:lnTo>
                    <a:lnTo>
                      <a:pt x="143" y="338"/>
                    </a:lnTo>
                    <a:lnTo>
                      <a:pt x="144" y="338"/>
                    </a:lnTo>
                    <a:lnTo>
                      <a:pt x="143" y="337"/>
                    </a:lnTo>
                    <a:lnTo>
                      <a:pt x="143" y="336"/>
                    </a:lnTo>
                    <a:lnTo>
                      <a:pt x="144" y="336"/>
                    </a:lnTo>
                    <a:lnTo>
                      <a:pt x="145" y="336"/>
                    </a:lnTo>
                    <a:lnTo>
                      <a:pt x="147" y="335"/>
                    </a:lnTo>
                    <a:lnTo>
                      <a:pt x="148" y="335"/>
                    </a:lnTo>
                    <a:lnTo>
                      <a:pt x="148" y="336"/>
                    </a:lnTo>
                    <a:lnTo>
                      <a:pt x="149" y="336"/>
                    </a:lnTo>
                    <a:lnTo>
                      <a:pt x="150" y="335"/>
                    </a:lnTo>
                    <a:lnTo>
                      <a:pt x="150" y="334"/>
                    </a:lnTo>
                    <a:lnTo>
                      <a:pt x="149" y="334"/>
                    </a:lnTo>
                    <a:lnTo>
                      <a:pt x="148" y="334"/>
                    </a:lnTo>
                    <a:lnTo>
                      <a:pt x="147" y="334"/>
                    </a:lnTo>
                    <a:lnTo>
                      <a:pt x="145" y="334"/>
                    </a:lnTo>
                    <a:lnTo>
                      <a:pt x="145" y="333"/>
                    </a:lnTo>
                    <a:lnTo>
                      <a:pt x="147" y="333"/>
                    </a:lnTo>
                    <a:lnTo>
                      <a:pt x="148" y="333"/>
                    </a:lnTo>
                    <a:lnTo>
                      <a:pt x="149" y="333"/>
                    </a:lnTo>
                    <a:lnTo>
                      <a:pt x="150" y="333"/>
                    </a:lnTo>
                    <a:lnTo>
                      <a:pt x="151" y="333"/>
                    </a:lnTo>
                    <a:lnTo>
                      <a:pt x="152" y="332"/>
                    </a:lnTo>
                    <a:lnTo>
                      <a:pt x="152" y="331"/>
                    </a:lnTo>
                    <a:lnTo>
                      <a:pt x="153" y="331"/>
                    </a:lnTo>
                    <a:lnTo>
                      <a:pt x="153" y="329"/>
                    </a:lnTo>
                    <a:lnTo>
                      <a:pt x="152" y="329"/>
                    </a:lnTo>
                    <a:lnTo>
                      <a:pt x="153" y="329"/>
                    </a:lnTo>
                    <a:lnTo>
                      <a:pt x="153" y="328"/>
                    </a:lnTo>
                    <a:lnTo>
                      <a:pt x="152" y="328"/>
                    </a:lnTo>
                    <a:lnTo>
                      <a:pt x="152" y="329"/>
                    </a:lnTo>
                    <a:lnTo>
                      <a:pt x="152" y="328"/>
                    </a:lnTo>
                    <a:lnTo>
                      <a:pt x="151" y="327"/>
                    </a:lnTo>
                    <a:lnTo>
                      <a:pt x="150" y="327"/>
                    </a:lnTo>
                    <a:lnTo>
                      <a:pt x="150" y="328"/>
                    </a:lnTo>
                    <a:lnTo>
                      <a:pt x="149" y="328"/>
                    </a:lnTo>
                    <a:lnTo>
                      <a:pt x="149" y="329"/>
                    </a:lnTo>
                    <a:lnTo>
                      <a:pt x="150" y="329"/>
                    </a:lnTo>
                    <a:lnTo>
                      <a:pt x="150" y="331"/>
                    </a:lnTo>
                    <a:lnTo>
                      <a:pt x="149" y="331"/>
                    </a:lnTo>
                    <a:lnTo>
                      <a:pt x="149" y="329"/>
                    </a:lnTo>
                    <a:lnTo>
                      <a:pt x="149" y="331"/>
                    </a:lnTo>
                    <a:lnTo>
                      <a:pt x="148" y="331"/>
                    </a:lnTo>
                    <a:lnTo>
                      <a:pt x="148" y="332"/>
                    </a:lnTo>
                    <a:lnTo>
                      <a:pt x="148" y="331"/>
                    </a:lnTo>
                    <a:lnTo>
                      <a:pt x="147" y="331"/>
                    </a:lnTo>
                    <a:lnTo>
                      <a:pt x="147" y="329"/>
                    </a:lnTo>
                    <a:lnTo>
                      <a:pt x="145" y="329"/>
                    </a:lnTo>
                    <a:lnTo>
                      <a:pt x="144" y="331"/>
                    </a:lnTo>
                    <a:lnTo>
                      <a:pt x="143" y="331"/>
                    </a:lnTo>
                    <a:lnTo>
                      <a:pt x="142" y="331"/>
                    </a:lnTo>
                    <a:lnTo>
                      <a:pt x="143" y="331"/>
                    </a:lnTo>
                    <a:lnTo>
                      <a:pt x="143" y="329"/>
                    </a:lnTo>
                    <a:lnTo>
                      <a:pt x="144" y="329"/>
                    </a:lnTo>
                    <a:lnTo>
                      <a:pt x="143" y="328"/>
                    </a:lnTo>
                    <a:lnTo>
                      <a:pt x="144" y="328"/>
                    </a:lnTo>
                    <a:lnTo>
                      <a:pt x="144" y="327"/>
                    </a:lnTo>
                    <a:lnTo>
                      <a:pt x="145" y="327"/>
                    </a:lnTo>
                    <a:lnTo>
                      <a:pt x="147" y="327"/>
                    </a:lnTo>
                    <a:lnTo>
                      <a:pt x="147" y="326"/>
                    </a:lnTo>
                    <a:lnTo>
                      <a:pt x="148" y="326"/>
                    </a:lnTo>
                    <a:lnTo>
                      <a:pt x="149" y="326"/>
                    </a:lnTo>
                    <a:lnTo>
                      <a:pt x="149" y="325"/>
                    </a:lnTo>
                    <a:lnTo>
                      <a:pt x="148" y="325"/>
                    </a:lnTo>
                    <a:lnTo>
                      <a:pt x="148" y="326"/>
                    </a:lnTo>
                    <a:lnTo>
                      <a:pt x="147" y="325"/>
                    </a:lnTo>
                    <a:lnTo>
                      <a:pt x="147" y="326"/>
                    </a:lnTo>
                    <a:lnTo>
                      <a:pt x="145" y="325"/>
                    </a:lnTo>
                    <a:lnTo>
                      <a:pt x="147" y="325"/>
                    </a:lnTo>
                    <a:lnTo>
                      <a:pt x="147" y="324"/>
                    </a:lnTo>
                    <a:lnTo>
                      <a:pt x="147" y="323"/>
                    </a:lnTo>
                    <a:lnTo>
                      <a:pt x="147" y="322"/>
                    </a:lnTo>
                    <a:lnTo>
                      <a:pt x="147" y="321"/>
                    </a:lnTo>
                    <a:lnTo>
                      <a:pt x="147" y="319"/>
                    </a:lnTo>
                    <a:lnTo>
                      <a:pt x="148" y="319"/>
                    </a:lnTo>
                    <a:lnTo>
                      <a:pt x="149" y="319"/>
                    </a:lnTo>
                    <a:lnTo>
                      <a:pt x="150" y="320"/>
                    </a:lnTo>
                    <a:lnTo>
                      <a:pt x="150" y="321"/>
                    </a:lnTo>
                    <a:lnTo>
                      <a:pt x="149" y="321"/>
                    </a:lnTo>
                    <a:lnTo>
                      <a:pt x="150" y="321"/>
                    </a:lnTo>
                    <a:lnTo>
                      <a:pt x="150" y="320"/>
                    </a:lnTo>
                    <a:lnTo>
                      <a:pt x="150" y="319"/>
                    </a:lnTo>
                    <a:lnTo>
                      <a:pt x="151" y="319"/>
                    </a:lnTo>
                    <a:lnTo>
                      <a:pt x="151" y="318"/>
                    </a:lnTo>
                    <a:lnTo>
                      <a:pt x="151" y="319"/>
                    </a:lnTo>
                    <a:lnTo>
                      <a:pt x="152" y="320"/>
                    </a:lnTo>
                    <a:lnTo>
                      <a:pt x="153" y="321"/>
                    </a:lnTo>
                    <a:lnTo>
                      <a:pt x="153" y="322"/>
                    </a:lnTo>
                    <a:lnTo>
                      <a:pt x="153" y="323"/>
                    </a:lnTo>
                    <a:lnTo>
                      <a:pt x="154" y="323"/>
                    </a:lnTo>
                    <a:lnTo>
                      <a:pt x="155" y="323"/>
                    </a:lnTo>
                    <a:lnTo>
                      <a:pt x="156" y="323"/>
                    </a:lnTo>
                    <a:lnTo>
                      <a:pt x="156" y="322"/>
                    </a:lnTo>
                    <a:lnTo>
                      <a:pt x="157" y="322"/>
                    </a:lnTo>
                    <a:lnTo>
                      <a:pt x="158" y="322"/>
                    </a:lnTo>
                    <a:lnTo>
                      <a:pt x="158" y="321"/>
                    </a:lnTo>
                    <a:lnTo>
                      <a:pt x="158" y="320"/>
                    </a:lnTo>
                    <a:lnTo>
                      <a:pt x="158" y="319"/>
                    </a:lnTo>
                    <a:lnTo>
                      <a:pt x="160" y="319"/>
                    </a:lnTo>
                    <a:lnTo>
                      <a:pt x="160" y="318"/>
                    </a:lnTo>
                    <a:lnTo>
                      <a:pt x="160" y="316"/>
                    </a:lnTo>
                    <a:lnTo>
                      <a:pt x="161" y="314"/>
                    </a:lnTo>
                    <a:lnTo>
                      <a:pt x="160" y="314"/>
                    </a:lnTo>
                    <a:lnTo>
                      <a:pt x="158" y="313"/>
                    </a:lnTo>
                    <a:lnTo>
                      <a:pt x="158" y="312"/>
                    </a:lnTo>
                    <a:lnTo>
                      <a:pt x="157" y="312"/>
                    </a:lnTo>
                    <a:lnTo>
                      <a:pt x="156" y="311"/>
                    </a:lnTo>
                    <a:lnTo>
                      <a:pt x="156" y="310"/>
                    </a:lnTo>
                    <a:lnTo>
                      <a:pt x="154" y="310"/>
                    </a:lnTo>
                    <a:lnTo>
                      <a:pt x="154" y="309"/>
                    </a:lnTo>
                    <a:lnTo>
                      <a:pt x="153" y="308"/>
                    </a:lnTo>
                    <a:lnTo>
                      <a:pt x="153" y="307"/>
                    </a:lnTo>
                    <a:lnTo>
                      <a:pt x="152" y="307"/>
                    </a:lnTo>
                    <a:lnTo>
                      <a:pt x="152" y="306"/>
                    </a:lnTo>
                    <a:lnTo>
                      <a:pt x="151" y="306"/>
                    </a:lnTo>
                    <a:lnTo>
                      <a:pt x="150" y="305"/>
                    </a:lnTo>
                    <a:lnTo>
                      <a:pt x="149" y="305"/>
                    </a:lnTo>
                    <a:lnTo>
                      <a:pt x="148" y="303"/>
                    </a:lnTo>
                    <a:lnTo>
                      <a:pt x="147" y="302"/>
                    </a:lnTo>
                    <a:lnTo>
                      <a:pt x="145" y="302"/>
                    </a:lnTo>
                    <a:lnTo>
                      <a:pt x="144" y="302"/>
                    </a:lnTo>
                    <a:lnTo>
                      <a:pt x="143" y="302"/>
                    </a:lnTo>
                    <a:lnTo>
                      <a:pt x="141" y="302"/>
                    </a:lnTo>
                    <a:lnTo>
                      <a:pt x="140" y="302"/>
                    </a:lnTo>
                    <a:lnTo>
                      <a:pt x="139" y="302"/>
                    </a:lnTo>
                    <a:lnTo>
                      <a:pt x="139" y="301"/>
                    </a:lnTo>
                    <a:lnTo>
                      <a:pt x="137" y="302"/>
                    </a:lnTo>
                    <a:lnTo>
                      <a:pt x="136" y="302"/>
                    </a:lnTo>
                    <a:lnTo>
                      <a:pt x="133" y="303"/>
                    </a:lnTo>
                    <a:lnTo>
                      <a:pt x="132" y="303"/>
                    </a:lnTo>
                    <a:lnTo>
                      <a:pt x="131" y="303"/>
                    </a:lnTo>
                    <a:lnTo>
                      <a:pt x="130" y="302"/>
                    </a:lnTo>
                    <a:lnTo>
                      <a:pt x="131" y="302"/>
                    </a:lnTo>
                    <a:lnTo>
                      <a:pt x="130" y="302"/>
                    </a:lnTo>
                    <a:lnTo>
                      <a:pt x="129" y="302"/>
                    </a:lnTo>
                    <a:lnTo>
                      <a:pt x="129" y="301"/>
                    </a:lnTo>
                    <a:lnTo>
                      <a:pt x="130" y="301"/>
                    </a:lnTo>
                    <a:lnTo>
                      <a:pt x="130" y="299"/>
                    </a:lnTo>
                    <a:lnTo>
                      <a:pt x="129" y="299"/>
                    </a:lnTo>
                    <a:lnTo>
                      <a:pt x="129" y="298"/>
                    </a:lnTo>
                    <a:lnTo>
                      <a:pt x="128" y="298"/>
                    </a:lnTo>
                    <a:lnTo>
                      <a:pt x="127" y="298"/>
                    </a:lnTo>
                    <a:lnTo>
                      <a:pt x="126" y="298"/>
                    </a:lnTo>
                    <a:lnTo>
                      <a:pt x="126" y="299"/>
                    </a:lnTo>
                    <a:lnTo>
                      <a:pt x="125" y="299"/>
                    </a:lnTo>
                    <a:lnTo>
                      <a:pt x="125" y="300"/>
                    </a:lnTo>
                    <a:lnTo>
                      <a:pt x="124" y="300"/>
                    </a:lnTo>
                    <a:lnTo>
                      <a:pt x="124" y="301"/>
                    </a:lnTo>
                    <a:lnTo>
                      <a:pt x="124" y="302"/>
                    </a:lnTo>
                    <a:lnTo>
                      <a:pt x="124" y="303"/>
                    </a:lnTo>
                    <a:lnTo>
                      <a:pt x="125" y="303"/>
                    </a:lnTo>
                    <a:lnTo>
                      <a:pt x="124" y="303"/>
                    </a:lnTo>
                    <a:lnTo>
                      <a:pt x="123" y="303"/>
                    </a:lnTo>
                    <a:lnTo>
                      <a:pt x="122" y="305"/>
                    </a:lnTo>
                    <a:lnTo>
                      <a:pt x="122" y="306"/>
                    </a:lnTo>
                    <a:lnTo>
                      <a:pt x="120" y="306"/>
                    </a:lnTo>
                    <a:lnTo>
                      <a:pt x="120" y="307"/>
                    </a:lnTo>
                    <a:lnTo>
                      <a:pt x="119" y="307"/>
                    </a:lnTo>
                    <a:lnTo>
                      <a:pt x="119" y="306"/>
                    </a:lnTo>
                    <a:lnTo>
                      <a:pt x="118" y="306"/>
                    </a:lnTo>
                    <a:lnTo>
                      <a:pt x="118" y="307"/>
                    </a:lnTo>
                    <a:lnTo>
                      <a:pt x="119" y="307"/>
                    </a:lnTo>
                    <a:lnTo>
                      <a:pt x="119" y="308"/>
                    </a:lnTo>
                    <a:lnTo>
                      <a:pt x="118" y="308"/>
                    </a:lnTo>
                    <a:lnTo>
                      <a:pt x="117" y="307"/>
                    </a:lnTo>
                    <a:lnTo>
                      <a:pt x="116" y="307"/>
                    </a:lnTo>
                    <a:lnTo>
                      <a:pt x="115" y="308"/>
                    </a:lnTo>
                    <a:lnTo>
                      <a:pt x="115" y="309"/>
                    </a:lnTo>
                    <a:lnTo>
                      <a:pt x="114" y="309"/>
                    </a:lnTo>
                    <a:lnTo>
                      <a:pt x="113" y="309"/>
                    </a:lnTo>
                    <a:lnTo>
                      <a:pt x="113" y="308"/>
                    </a:lnTo>
                    <a:lnTo>
                      <a:pt x="113" y="307"/>
                    </a:lnTo>
                    <a:lnTo>
                      <a:pt x="114" y="307"/>
                    </a:lnTo>
                    <a:lnTo>
                      <a:pt x="114" y="308"/>
                    </a:lnTo>
                    <a:lnTo>
                      <a:pt x="115" y="308"/>
                    </a:lnTo>
                    <a:lnTo>
                      <a:pt x="115" y="307"/>
                    </a:lnTo>
                    <a:lnTo>
                      <a:pt x="114" y="306"/>
                    </a:lnTo>
                    <a:lnTo>
                      <a:pt x="114" y="307"/>
                    </a:lnTo>
                    <a:lnTo>
                      <a:pt x="113" y="306"/>
                    </a:lnTo>
                    <a:lnTo>
                      <a:pt x="113" y="307"/>
                    </a:lnTo>
                    <a:lnTo>
                      <a:pt x="112" y="307"/>
                    </a:lnTo>
                    <a:lnTo>
                      <a:pt x="112" y="306"/>
                    </a:lnTo>
                    <a:lnTo>
                      <a:pt x="111" y="306"/>
                    </a:lnTo>
                    <a:lnTo>
                      <a:pt x="110" y="306"/>
                    </a:lnTo>
                    <a:lnTo>
                      <a:pt x="109" y="307"/>
                    </a:lnTo>
                    <a:lnTo>
                      <a:pt x="109" y="306"/>
                    </a:lnTo>
                    <a:lnTo>
                      <a:pt x="110" y="306"/>
                    </a:lnTo>
                    <a:lnTo>
                      <a:pt x="110" y="305"/>
                    </a:lnTo>
                    <a:lnTo>
                      <a:pt x="110" y="303"/>
                    </a:lnTo>
                    <a:lnTo>
                      <a:pt x="109" y="303"/>
                    </a:lnTo>
                    <a:lnTo>
                      <a:pt x="110" y="303"/>
                    </a:lnTo>
                    <a:lnTo>
                      <a:pt x="110" y="302"/>
                    </a:lnTo>
                    <a:lnTo>
                      <a:pt x="111" y="302"/>
                    </a:lnTo>
                    <a:lnTo>
                      <a:pt x="112" y="302"/>
                    </a:lnTo>
                    <a:lnTo>
                      <a:pt x="113" y="302"/>
                    </a:lnTo>
                    <a:lnTo>
                      <a:pt x="113" y="303"/>
                    </a:lnTo>
                    <a:lnTo>
                      <a:pt x="112" y="303"/>
                    </a:lnTo>
                    <a:lnTo>
                      <a:pt x="113" y="303"/>
                    </a:lnTo>
                    <a:lnTo>
                      <a:pt x="114" y="303"/>
                    </a:lnTo>
                    <a:lnTo>
                      <a:pt x="114" y="302"/>
                    </a:lnTo>
                    <a:lnTo>
                      <a:pt x="114" y="301"/>
                    </a:lnTo>
                    <a:lnTo>
                      <a:pt x="115" y="301"/>
                    </a:lnTo>
                    <a:lnTo>
                      <a:pt x="115" y="300"/>
                    </a:lnTo>
                    <a:lnTo>
                      <a:pt x="116" y="299"/>
                    </a:lnTo>
                    <a:lnTo>
                      <a:pt x="117" y="298"/>
                    </a:lnTo>
                    <a:lnTo>
                      <a:pt x="118" y="297"/>
                    </a:lnTo>
                    <a:lnTo>
                      <a:pt x="118" y="295"/>
                    </a:lnTo>
                    <a:lnTo>
                      <a:pt x="118" y="294"/>
                    </a:lnTo>
                    <a:lnTo>
                      <a:pt x="117" y="293"/>
                    </a:lnTo>
                    <a:lnTo>
                      <a:pt x="116" y="293"/>
                    </a:lnTo>
                    <a:lnTo>
                      <a:pt x="116" y="292"/>
                    </a:lnTo>
                    <a:lnTo>
                      <a:pt x="115" y="292"/>
                    </a:lnTo>
                    <a:lnTo>
                      <a:pt x="114" y="292"/>
                    </a:lnTo>
                    <a:lnTo>
                      <a:pt x="114" y="290"/>
                    </a:lnTo>
                    <a:lnTo>
                      <a:pt x="113" y="290"/>
                    </a:lnTo>
                    <a:lnTo>
                      <a:pt x="112" y="290"/>
                    </a:lnTo>
                    <a:lnTo>
                      <a:pt x="111" y="290"/>
                    </a:lnTo>
                    <a:lnTo>
                      <a:pt x="110" y="290"/>
                    </a:lnTo>
                    <a:lnTo>
                      <a:pt x="109" y="290"/>
                    </a:lnTo>
                    <a:lnTo>
                      <a:pt x="107" y="290"/>
                    </a:lnTo>
                    <a:lnTo>
                      <a:pt x="106" y="290"/>
                    </a:lnTo>
                    <a:lnTo>
                      <a:pt x="106" y="292"/>
                    </a:lnTo>
                    <a:lnTo>
                      <a:pt x="105" y="292"/>
                    </a:lnTo>
                    <a:lnTo>
                      <a:pt x="105" y="293"/>
                    </a:lnTo>
                    <a:lnTo>
                      <a:pt x="104" y="294"/>
                    </a:lnTo>
                    <a:lnTo>
                      <a:pt x="104" y="295"/>
                    </a:lnTo>
                    <a:lnTo>
                      <a:pt x="104" y="296"/>
                    </a:lnTo>
                    <a:lnTo>
                      <a:pt x="103" y="296"/>
                    </a:lnTo>
                    <a:lnTo>
                      <a:pt x="103" y="297"/>
                    </a:lnTo>
                    <a:lnTo>
                      <a:pt x="103" y="299"/>
                    </a:lnTo>
                    <a:lnTo>
                      <a:pt x="103" y="300"/>
                    </a:lnTo>
                    <a:lnTo>
                      <a:pt x="102" y="300"/>
                    </a:lnTo>
                    <a:lnTo>
                      <a:pt x="101" y="300"/>
                    </a:lnTo>
                    <a:lnTo>
                      <a:pt x="101" y="299"/>
                    </a:lnTo>
                    <a:lnTo>
                      <a:pt x="100" y="299"/>
                    </a:lnTo>
                    <a:lnTo>
                      <a:pt x="101" y="299"/>
                    </a:lnTo>
                    <a:lnTo>
                      <a:pt x="101" y="298"/>
                    </a:lnTo>
                    <a:lnTo>
                      <a:pt x="102" y="298"/>
                    </a:lnTo>
                    <a:lnTo>
                      <a:pt x="102" y="297"/>
                    </a:lnTo>
                    <a:lnTo>
                      <a:pt x="102" y="296"/>
                    </a:lnTo>
                    <a:lnTo>
                      <a:pt x="102" y="295"/>
                    </a:lnTo>
                    <a:lnTo>
                      <a:pt x="102" y="294"/>
                    </a:lnTo>
                    <a:lnTo>
                      <a:pt x="102" y="293"/>
                    </a:lnTo>
                    <a:lnTo>
                      <a:pt x="102" y="292"/>
                    </a:lnTo>
                    <a:lnTo>
                      <a:pt x="102" y="290"/>
                    </a:lnTo>
                    <a:lnTo>
                      <a:pt x="102" y="289"/>
                    </a:lnTo>
                    <a:lnTo>
                      <a:pt x="101" y="289"/>
                    </a:lnTo>
                    <a:lnTo>
                      <a:pt x="101" y="290"/>
                    </a:lnTo>
                    <a:lnTo>
                      <a:pt x="101" y="292"/>
                    </a:lnTo>
                    <a:lnTo>
                      <a:pt x="100" y="292"/>
                    </a:lnTo>
                    <a:lnTo>
                      <a:pt x="100" y="293"/>
                    </a:lnTo>
                    <a:lnTo>
                      <a:pt x="100" y="294"/>
                    </a:lnTo>
                    <a:lnTo>
                      <a:pt x="100" y="295"/>
                    </a:lnTo>
                    <a:lnTo>
                      <a:pt x="100" y="296"/>
                    </a:lnTo>
                    <a:lnTo>
                      <a:pt x="99" y="296"/>
                    </a:lnTo>
                    <a:lnTo>
                      <a:pt x="99" y="295"/>
                    </a:lnTo>
                    <a:lnTo>
                      <a:pt x="98" y="295"/>
                    </a:lnTo>
                    <a:lnTo>
                      <a:pt x="97" y="295"/>
                    </a:lnTo>
                    <a:lnTo>
                      <a:pt x="97" y="294"/>
                    </a:lnTo>
                    <a:lnTo>
                      <a:pt x="97" y="293"/>
                    </a:lnTo>
                    <a:lnTo>
                      <a:pt x="96" y="293"/>
                    </a:lnTo>
                    <a:lnTo>
                      <a:pt x="96" y="292"/>
                    </a:lnTo>
                    <a:lnTo>
                      <a:pt x="94" y="292"/>
                    </a:lnTo>
                    <a:lnTo>
                      <a:pt x="94" y="290"/>
                    </a:lnTo>
                    <a:lnTo>
                      <a:pt x="94" y="289"/>
                    </a:lnTo>
                    <a:lnTo>
                      <a:pt x="94" y="288"/>
                    </a:lnTo>
                    <a:lnTo>
                      <a:pt x="94" y="287"/>
                    </a:lnTo>
                    <a:lnTo>
                      <a:pt x="96" y="287"/>
                    </a:lnTo>
                    <a:lnTo>
                      <a:pt x="96" y="286"/>
                    </a:lnTo>
                    <a:lnTo>
                      <a:pt x="96" y="285"/>
                    </a:lnTo>
                    <a:lnTo>
                      <a:pt x="96" y="284"/>
                    </a:lnTo>
                    <a:lnTo>
                      <a:pt x="96" y="283"/>
                    </a:lnTo>
                    <a:lnTo>
                      <a:pt x="97" y="282"/>
                    </a:lnTo>
                    <a:lnTo>
                      <a:pt x="97" y="281"/>
                    </a:lnTo>
                    <a:lnTo>
                      <a:pt x="97" y="280"/>
                    </a:lnTo>
                    <a:lnTo>
                      <a:pt x="97" y="279"/>
                    </a:lnTo>
                    <a:lnTo>
                      <a:pt x="96" y="279"/>
                    </a:lnTo>
                    <a:lnTo>
                      <a:pt x="96" y="277"/>
                    </a:lnTo>
                    <a:lnTo>
                      <a:pt x="94" y="277"/>
                    </a:lnTo>
                    <a:lnTo>
                      <a:pt x="93" y="277"/>
                    </a:lnTo>
                    <a:lnTo>
                      <a:pt x="90" y="277"/>
                    </a:lnTo>
                    <a:lnTo>
                      <a:pt x="89" y="277"/>
                    </a:lnTo>
                    <a:lnTo>
                      <a:pt x="88" y="279"/>
                    </a:lnTo>
                    <a:lnTo>
                      <a:pt x="87" y="279"/>
                    </a:lnTo>
                    <a:lnTo>
                      <a:pt x="87" y="280"/>
                    </a:lnTo>
                    <a:lnTo>
                      <a:pt x="86" y="279"/>
                    </a:lnTo>
                    <a:lnTo>
                      <a:pt x="86" y="280"/>
                    </a:lnTo>
                    <a:lnTo>
                      <a:pt x="86" y="281"/>
                    </a:lnTo>
                    <a:lnTo>
                      <a:pt x="87" y="281"/>
                    </a:lnTo>
                    <a:lnTo>
                      <a:pt x="87" y="283"/>
                    </a:lnTo>
                    <a:lnTo>
                      <a:pt x="87" y="284"/>
                    </a:lnTo>
                    <a:lnTo>
                      <a:pt x="88" y="284"/>
                    </a:lnTo>
                    <a:lnTo>
                      <a:pt x="89" y="285"/>
                    </a:lnTo>
                    <a:lnTo>
                      <a:pt x="90" y="285"/>
                    </a:lnTo>
                    <a:lnTo>
                      <a:pt x="90" y="286"/>
                    </a:lnTo>
                    <a:lnTo>
                      <a:pt x="91" y="286"/>
                    </a:lnTo>
                    <a:lnTo>
                      <a:pt x="92" y="286"/>
                    </a:lnTo>
                    <a:lnTo>
                      <a:pt x="92" y="287"/>
                    </a:lnTo>
                    <a:lnTo>
                      <a:pt x="92" y="288"/>
                    </a:lnTo>
                    <a:lnTo>
                      <a:pt x="91" y="289"/>
                    </a:lnTo>
                    <a:lnTo>
                      <a:pt x="91" y="290"/>
                    </a:lnTo>
                    <a:lnTo>
                      <a:pt x="91" y="292"/>
                    </a:lnTo>
                    <a:lnTo>
                      <a:pt x="90" y="292"/>
                    </a:lnTo>
                    <a:lnTo>
                      <a:pt x="89" y="292"/>
                    </a:lnTo>
                    <a:lnTo>
                      <a:pt x="89" y="293"/>
                    </a:lnTo>
                    <a:lnTo>
                      <a:pt x="90" y="293"/>
                    </a:lnTo>
                    <a:lnTo>
                      <a:pt x="90" y="294"/>
                    </a:lnTo>
                    <a:lnTo>
                      <a:pt x="89" y="294"/>
                    </a:lnTo>
                    <a:lnTo>
                      <a:pt x="88" y="295"/>
                    </a:lnTo>
                    <a:lnTo>
                      <a:pt x="88" y="296"/>
                    </a:lnTo>
                    <a:lnTo>
                      <a:pt x="89" y="296"/>
                    </a:lnTo>
                    <a:lnTo>
                      <a:pt x="89" y="297"/>
                    </a:lnTo>
                    <a:lnTo>
                      <a:pt x="88" y="297"/>
                    </a:lnTo>
                    <a:lnTo>
                      <a:pt x="88" y="298"/>
                    </a:lnTo>
                    <a:lnTo>
                      <a:pt x="88" y="299"/>
                    </a:lnTo>
                    <a:lnTo>
                      <a:pt x="88" y="300"/>
                    </a:lnTo>
                    <a:lnTo>
                      <a:pt x="88" y="301"/>
                    </a:lnTo>
                    <a:lnTo>
                      <a:pt x="87" y="301"/>
                    </a:lnTo>
                    <a:lnTo>
                      <a:pt x="87" y="302"/>
                    </a:lnTo>
                    <a:lnTo>
                      <a:pt x="87" y="303"/>
                    </a:lnTo>
                    <a:lnTo>
                      <a:pt x="88" y="303"/>
                    </a:lnTo>
                    <a:lnTo>
                      <a:pt x="89" y="303"/>
                    </a:lnTo>
                    <a:lnTo>
                      <a:pt x="89" y="305"/>
                    </a:lnTo>
                    <a:lnTo>
                      <a:pt x="90" y="305"/>
                    </a:lnTo>
                    <a:lnTo>
                      <a:pt x="90" y="306"/>
                    </a:lnTo>
                    <a:lnTo>
                      <a:pt x="91" y="306"/>
                    </a:lnTo>
                    <a:lnTo>
                      <a:pt x="91" y="307"/>
                    </a:lnTo>
                    <a:lnTo>
                      <a:pt x="90" y="307"/>
                    </a:lnTo>
                    <a:lnTo>
                      <a:pt x="89" y="307"/>
                    </a:lnTo>
                    <a:lnTo>
                      <a:pt x="88" y="307"/>
                    </a:lnTo>
                    <a:lnTo>
                      <a:pt x="88" y="308"/>
                    </a:lnTo>
                    <a:lnTo>
                      <a:pt x="87" y="308"/>
                    </a:lnTo>
                    <a:lnTo>
                      <a:pt x="87" y="309"/>
                    </a:lnTo>
                    <a:lnTo>
                      <a:pt x="87" y="310"/>
                    </a:lnTo>
                    <a:lnTo>
                      <a:pt x="87" y="311"/>
                    </a:lnTo>
                    <a:lnTo>
                      <a:pt x="88" y="311"/>
                    </a:lnTo>
                    <a:lnTo>
                      <a:pt x="88" y="312"/>
                    </a:lnTo>
                    <a:lnTo>
                      <a:pt x="89" y="312"/>
                    </a:lnTo>
                    <a:lnTo>
                      <a:pt x="90" y="312"/>
                    </a:lnTo>
                    <a:lnTo>
                      <a:pt x="90" y="311"/>
                    </a:lnTo>
                    <a:lnTo>
                      <a:pt x="91" y="311"/>
                    </a:lnTo>
                    <a:lnTo>
                      <a:pt x="92" y="311"/>
                    </a:lnTo>
                    <a:lnTo>
                      <a:pt x="92" y="312"/>
                    </a:lnTo>
                    <a:lnTo>
                      <a:pt x="92" y="311"/>
                    </a:lnTo>
                    <a:lnTo>
                      <a:pt x="93" y="311"/>
                    </a:lnTo>
                    <a:lnTo>
                      <a:pt x="93" y="312"/>
                    </a:lnTo>
                    <a:lnTo>
                      <a:pt x="94" y="311"/>
                    </a:lnTo>
                    <a:lnTo>
                      <a:pt x="96" y="311"/>
                    </a:lnTo>
                    <a:lnTo>
                      <a:pt x="96" y="312"/>
                    </a:lnTo>
                    <a:lnTo>
                      <a:pt x="96" y="313"/>
                    </a:lnTo>
                    <a:lnTo>
                      <a:pt x="94" y="313"/>
                    </a:lnTo>
                    <a:lnTo>
                      <a:pt x="93" y="313"/>
                    </a:lnTo>
                    <a:lnTo>
                      <a:pt x="92" y="313"/>
                    </a:lnTo>
                    <a:lnTo>
                      <a:pt x="92" y="312"/>
                    </a:lnTo>
                    <a:lnTo>
                      <a:pt x="91" y="312"/>
                    </a:lnTo>
                    <a:lnTo>
                      <a:pt x="90" y="313"/>
                    </a:lnTo>
                    <a:lnTo>
                      <a:pt x="89" y="313"/>
                    </a:lnTo>
                    <a:lnTo>
                      <a:pt x="88" y="313"/>
                    </a:lnTo>
                    <a:lnTo>
                      <a:pt x="87" y="313"/>
                    </a:lnTo>
                    <a:lnTo>
                      <a:pt x="86" y="312"/>
                    </a:lnTo>
                    <a:lnTo>
                      <a:pt x="85" y="312"/>
                    </a:lnTo>
                    <a:lnTo>
                      <a:pt x="85" y="313"/>
                    </a:lnTo>
                    <a:lnTo>
                      <a:pt x="84" y="313"/>
                    </a:lnTo>
                    <a:lnTo>
                      <a:pt x="84" y="314"/>
                    </a:lnTo>
                    <a:lnTo>
                      <a:pt x="84" y="315"/>
                    </a:lnTo>
                    <a:lnTo>
                      <a:pt x="83" y="314"/>
                    </a:lnTo>
                    <a:lnTo>
                      <a:pt x="81" y="314"/>
                    </a:lnTo>
                    <a:lnTo>
                      <a:pt x="83" y="314"/>
                    </a:lnTo>
                    <a:lnTo>
                      <a:pt x="81" y="314"/>
                    </a:lnTo>
                    <a:lnTo>
                      <a:pt x="80" y="314"/>
                    </a:lnTo>
                    <a:lnTo>
                      <a:pt x="80" y="313"/>
                    </a:lnTo>
                    <a:lnTo>
                      <a:pt x="80" y="314"/>
                    </a:lnTo>
                    <a:lnTo>
                      <a:pt x="79" y="313"/>
                    </a:lnTo>
                    <a:lnTo>
                      <a:pt x="79" y="314"/>
                    </a:lnTo>
                    <a:lnTo>
                      <a:pt x="78" y="314"/>
                    </a:lnTo>
                    <a:lnTo>
                      <a:pt x="77" y="314"/>
                    </a:lnTo>
                    <a:lnTo>
                      <a:pt x="76" y="314"/>
                    </a:lnTo>
                    <a:lnTo>
                      <a:pt x="75" y="315"/>
                    </a:lnTo>
                    <a:lnTo>
                      <a:pt x="74" y="315"/>
                    </a:lnTo>
                    <a:lnTo>
                      <a:pt x="73" y="315"/>
                    </a:lnTo>
                    <a:lnTo>
                      <a:pt x="72" y="315"/>
                    </a:lnTo>
                    <a:lnTo>
                      <a:pt x="71" y="314"/>
                    </a:lnTo>
                    <a:lnTo>
                      <a:pt x="71" y="313"/>
                    </a:lnTo>
                    <a:lnTo>
                      <a:pt x="71" y="312"/>
                    </a:lnTo>
                    <a:lnTo>
                      <a:pt x="70" y="312"/>
                    </a:lnTo>
                    <a:lnTo>
                      <a:pt x="70" y="311"/>
                    </a:lnTo>
                    <a:lnTo>
                      <a:pt x="68" y="311"/>
                    </a:lnTo>
                    <a:lnTo>
                      <a:pt x="67" y="311"/>
                    </a:lnTo>
                    <a:lnTo>
                      <a:pt x="67" y="310"/>
                    </a:lnTo>
                    <a:lnTo>
                      <a:pt x="66" y="311"/>
                    </a:lnTo>
                    <a:lnTo>
                      <a:pt x="65" y="311"/>
                    </a:lnTo>
                    <a:lnTo>
                      <a:pt x="64" y="311"/>
                    </a:lnTo>
                    <a:lnTo>
                      <a:pt x="63" y="311"/>
                    </a:lnTo>
                    <a:lnTo>
                      <a:pt x="63" y="312"/>
                    </a:lnTo>
                    <a:lnTo>
                      <a:pt x="62" y="312"/>
                    </a:lnTo>
                    <a:lnTo>
                      <a:pt x="61" y="313"/>
                    </a:lnTo>
                    <a:lnTo>
                      <a:pt x="60" y="313"/>
                    </a:lnTo>
                    <a:lnTo>
                      <a:pt x="60" y="305"/>
                    </a:lnTo>
                    <a:lnTo>
                      <a:pt x="60" y="302"/>
                    </a:lnTo>
                    <a:lnTo>
                      <a:pt x="60" y="301"/>
                    </a:lnTo>
                    <a:lnTo>
                      <a:pt x="60" y="295"/>
                    </a:lnTo>
                    <a:lnTo>
                      <a:pt x="59" y="295"/>
                    </a:lnTo>
                    <a:lnTo>
                      <a:pt x="59" y="287"/>
                    </a:lnTo>
                    <a:lnTo>
                      <a:pt x="59" y="286"/>
                    </a:lnTo>
                    <a:lnTo>
                      <a:pt x="59" y="282"/>
                    </a:lnTo>
                    <a:lnTo>
                      <a:pt x="59" y="281"/>
                    </a:lnTo>
                    <a:lnTo>
                      <a:pt x="59" y="272"/>
                    </a:lnTo>
                    <a:lnTo>
                      <a:pt x="59" y="271"/>
                    </a:lnTo>
                    <a:lnTo>
                      <a:pt x="59" y="270"/>
                    </a:lnTo>
                    <a:lnTo>
                      <a:pt x="59" y="268"/>
                    </a:lnTo>
                    <a:lnTo>
                      <a:pt x="59" y="266"/>
                    </a:lnTo>
                    <a:lnTo>
                      <a:pt x="59" y="264"/>
                    </a:lnTo>
                    <a:lnTo>
                      <a:pt x="59" y="262"/>
                    </a:lnTo>
                    <a:lnTo>
                      <a:pt x="59" y="261"/>
                    </a:lnTo>
                    <a:lnTo>
                      <a:pt x="59" y="260"/>
                    </a:lnTo>
                    <a:lnTo>
                      <a:pt x="59" y="259"/>
                    </a:lnTo>
                    <a:lnTo>
                      <a:pt x="59" y="258"/>
                    </a:lnTo>
                    <a:lnTo>
                      <a:pt x="58" y="258"/>
                    </a:lnTo>
                    <a:lnTo>
                      <a:pt x="58" y="259"/>
                    </a:lnTo>
                    <a:lnTo>
                      <a:pt x="57" y="260"/>
                    </a:lnTo>
                    <a:lnTo>
                      <a:pt x="55" y="260"/>
                    </a:lnTo>
                    <a:lnTo>
                      <a:pt x="55" y="259"/>
                    </a:lnTo>
                    <a:lnTo>
                      <a:pt x="54" y="259"/>
                    </a:lnTo>
                    <a:lnTo>
                      <a:pt x="54" y="258"/>
                    </a:lnTo>
                    <a:lnTo>
                      <a:pt x="55" y="258"/>
                    </a:lnTo>
                    <a:lnTo>
                      <a:pt x="55" y="257"/>
                    </a:lnTo>
                    <a:lnTo>
                      <a:pt x="54" y="256"/>
                    </a:lnTo>
                    <a:lnTo>
                      <a:pt x="54" y="255"/>
                    </a:lnTo>
                    <a:lnTo>
                      <a:pt x="54" y="254"/>
                    </a:lnTo>
                    <a:lnTo>
                      <a:pt x="54" y="253"/>
                    </a:lnTo>
                    <a:lnTo>
                      <a:pt x="53" y="251"/>
                    </a:lnTo>
                    <a:lnTo>
                      <a:pt x="53" y="250"/>
                    </a:lnTo>
                    <a:lnTo>
                      <a:pt x="53" y="245"/>
                    </a:lnTo>
                    <a:lnTo>
                      <a:pt x="53" y="243"/>
                    </a:lnTo>
                    <a:lnTo>
                      <a:pt x="53" y="242"/>
                    </a:lnTo>
                    <a:lnTo>
                      <a:pt x="53" y="241"/>
                    </a:lnTo>
                    <a:lnTo>
                      <a:pt x="54" y="239"/>
                    </a:lnTo>
                    <a:lnTo>
                      <a:pt x="55" y="238"/>
                    </a:lnTo>
                    <a:lnTo>
                      <a:pt x="57" y="238"/>
                    </a:lnTo>
                    <a:lnTo>
                      <a:pt x="57" y="237"/>
                    </a:lnTo>
                    <a:lnTo>
                      <a:pt x="57" y="236"/>
                    </a:lnTo>
                    <a:lnTo>
                      <a:pt x="57" y="235"/>
                    </a:lnTo>
                    <a:lnTo>
                      <a:pt x="57" y="234"/>
                    </a:lnTo>
                    <a:lnTo>
                      <a:pt x="55" y="234"/>
                    </a:lnTo>
                    <a:lnTo>
                      <a:pt x="55" y="233"/>
                    </a:lnTo>
                    <a:lnTo>
                      <a:pt x="54" y="233"/>
                    </a:lnTo>
                    <a:lnTo>
                      <a:pt x="54" y="232"/>
                    </a:lnTo>
                    <a:lnTo>
                      <a:pt x="55" y="231"/>
                    </a:lnTo>
                    <a:lnTo>
                      <a:pt x="57" y="230"/>
                    </a:lnTo>
                    <a:lnTo>
                      <a:pt x="58" y="230"/>
                    </a:lnTo>
                    <a:lnTo>
                      <a:pt x="58" y="229"/>
                    </a:lnTo>
                    <a:lnTo>
                      <a:pt x="58" y="228"/>
                    </a:lnTo>
                    <a:lnTo>
                      <a:pt x="58" y="226"/>
                    </a:lnTo>
                    <a:lnTo>
                      <a:pt x="58" y="225"/>
                    </a:lnTo>
                    <a:lnTo>
                      <a:pt x="59" y="224"/>
                    </a:lnTo>
                    <a:lnTo>
                      <a:pt x="60" y="224"/>
                    </a:lnTo>
                    <a:lnTo>
                      <a:pt x="61" y="223"/>
                    </a:lnTo>
                    <a:lnTo>
                      <a:pt x="61" y="222"/>
                    </a:lnTo>
                    <a:lnTo>
                      <a:pt x="60" y="222"/>
                    </a:lnTo>
                    <a:lnTo>
                      <a:pt x="60" y="223"/>
                    </a:lnTo>
                    <a:lnTo>
                      <a:pt x="59" y="223"/>
                    </a:lnTo>
                    <a:lnTo>
                      <a:pt x="58" y="223"/>
                    </a:lnTo>
                    <a:lnTo>
                      <a:pt x="58" y="222"/>
                    </a:lnTo>
                    <a:lnTo>
                      <a:pt x="58" y="221"/>
                    </a:lnTo>
                    <a:lnTo>
                      <a:pt x="58" y="220"/>
                    </a:lnTo>
                    <a:lnTo>
                      <a:pt x="58" y="219"/>
                    </a:lnTo>
                    <a:lnTo>
                      <a:pt x="58" y="218"/>
                    </a:lnTo>
                    <a:lnTo>
                      <a:pt x="59" y="217"/>
                    </a:lnTo>
                    <a:lnTo>
                      <a:pt x="58" y="216"/>
                    </a:lnTo>
                    <a:lnTo>
                      <a:pt x="57" y="215"/>
                    </a:lnTo>
                    <a:lnTo>
                      <a:pt x="57" y="213"/>
                    </a:lnTo>
                    <a:lnTo>
                      <a:pt x="57" y="212"/>
                    </a:lnTo>
                    <a:lnTo>
                      <a:pt x="58" y="211"/>
                    </a:lnTo>
                    <a:lnTo>
                      <a:pt x="58" y="210"/>
                    </a:lnTo>
                    <a:lnTo>
                      <a:pt x="59" y="209"/>
                    </a:lnTo>
                    <a:lnTo>
                      <a:pt x="58" y="209"/>
                    </a:lnTo>
                    <a:lnTo>
                      <a:pt x="58" y="208"/>
                    </a:lnTo>
                    <a:lnTo>
                      <a:pt x="57" y="208"/>
                    </a:lnTo>
                    <a:lnTo>
                      <a:pt x="55" y="208"/>
                    </a:lnTo>
                    <a:lnTo>
                      <a:pt x="54" y="207"/>
                    </a:lnTo>
                    <a:lnTo>
                      <a:pt x="54" y="206"/>
                    </a:lnTo>
                    <a:lnTo>
                      <a:pt x="53" y="205"/>
                    </a:lnTo>
                    <a:lnTo>
                      <a:pt x="53" y="204"/>
                    </a:lnTo>
                    <a:lnTo>
                      <a:pt x="54" y="204"/>
                    </a:lnTo>
                    <a:lnTo>
                      <a:pt x="55" y="204"/>
                    </a:lnTo>
                    <a:lnTo>
                      <a:pt x="55" y="203"/>
                    </a:lnTo>
                    <a:lnTo>
                      <a:pt x="55" y="202"/>
                    </a:lnTo>
                    <a:lnTo>
                      <a:pt x="54" y="200"/>
                    </a:lnTo>
                    <a:lnTo>
                      <a:pt x="53" y="199"/>
                    </a:lnTo>
                    <a:lnTo>
                      <a:pt x="52" y="199"/>
                    </a:lnTo>
                    <a:lnTo>
                      <a:pt x="52" y="198"/>
                    </a:lnTo>
                    <a:lnTo>
                      <a:pt x="51" y="199"/>
                    </a:lnTo>
                    <a:lnTo>
                      <a:pt x="50" y="199"/>
                    </a:lnTo>
                    <a:lnTo>
                      <a:pt x="49" y="199"/>
                    </a:lnTo>
                    <a:lnTo>
                      <a:pt x="48" y="199"/>
                    </a:lnTo>
                    <a:lnTo>
                      <a:pt x="48" y="198"/>
                    </a:lnTo>
                    <a:lnTo>
                      <a:pt x="47" y="198"/>
                    </a:lnTo>
                    <a:lnTo>
                      <a:pt x="46" y="199"/>
                    </a:lnTo>
                    <a:lnTo>
                      <a:pt x="45" y="198"/>
                    </a:lnTo>
                    <a:lnTo>
                      <a:pt x="45" y="197"/>
                    </a:lnTo>
                    <a:lnTo>
                      <a:pt x="45" y="196"/>
                    </a:lnTo>
                    <a:lnTo>
                      <a:pt x="44" y="193"/>
                    </a:lnTo>
                    <a:lnTo>
                      <a:pt x="42" y="189"/>
                    </a:lnTo>
                    <a:lnTo>
                      <a:pt x="42" y="186"/>
                    </a:lnTo>
                    <a:lnTo>
                      <a:pt x="41" y="184"/>
                    </a:lnTo>
                    <a:lnTo>
                      <a:pt x="40" y="181"/>
                    </a:lnTo>
                    <a:lnTo>
                      <a:pt x="40" y="178"/>
                    </a:lnTo>
                    <a:lnTo>
                      <a:pt x="40" y="177"/>
                    </a:lnTo>
                    <a:lnTo>
                      <a:pt x="39" y="174"/>
                    </a:lnTo>
                    <a:lnTo>
                      <a:pt x="39" y="173"/>
                    </a:lnTo>
                    <a:lnTo>
                      <a:pt x="38" y="170"/>
                    </a:lnTo>
                    <a:lnTo>
                      <a:pt x="36" y="163"/>
                    </a:lnTo>
                    <a:lnTo>
                      <a:pt x="34" y="159"/>
                    </a:lnTo>
                    <a:lnTo>
                      <a:pt x="29" y="154"/>
                    </a:lnTo>
                    <a:lnTo>
                      <a:pt x="28" y="154"/>
                    </a:lnTo>
                    <a:lnTo>
                      <a:pt x="28" y="153"/>
                    </a:lnTo>
                    <a:lnTo>
                      <a:pt x="27" y="152"/>
                    </a:lnTo>
                    <a:lnTo>
                      <a:pt x="26" y="151"/>
                    </a:lnTo>
                    <a:lnTo>
                      <a:pt x="25" y="149"/>
                    </a:lnTo>
                    <a:lnTo>
                      <a:pt x="23" y="144"/>
                    </a:lnTo>
                    <a:lnTo>
                      <a:pt x="22" y="141"/>
                    </a:lnTo>
                    <a:lnTo>
                      <a:pt x="22" y="140"/>
                    </a:lnTo>
                    <a:lnTo>
                      <a:pt x="21" y="139"/>
                    </a:lnTo>
                    <a:lnTo>
                      <a:pt x="20" y="138"/>
                    </a:lnTo>
                    <a:lnTo>
                      <a:pt x="20" y="136"/>
                    </a:lnTo>
                    <a:lnTo>
                      <a:pt x="18" y="133"/>
                    </a:lnTo>
                    <a:lnTo>
                      <a:pt x="16" y="133"/>
                    </a:lnTo>
                    <a:lnTo>
                      <a:pt x="13" y="129"/>
                    </a:lnTo>
                    <a:lnTo>
                      <a:pt x="12" y="128"/>
                    </a:lnTo>
                    <a:lnTo>
                      <a:pt x="8" y="122"/>
                    </a:lnTo>
                    <a:lnTo>
                      <a:pt x="5" y="117"/>
                    </a:lnTo>
                    <a:lnTo>
                      <a:pt x="5" y="116"/>
                    </a:lnTo>
                    <a:lnTo>
                      <a:pt x="5" y="115"/>
                    </a:lnTo>
                    <a:lnTo>
                      <a:pt x="6" y="114"/>
                    </a:lnTo>
                    <a:lnTo>
                      <a:pt x="6" y="109"/>
                    </a:lnTo>
                    <a:lnTo>
                      <a:pt x="6" y="108"/>
                    </a:lnTo>
                    <a:lnTo>
                      <a:pt x="6" y="106"/>
                    </a:lnTo>
                    <a:lnTo>
                      <a:pt x="2" y="100"/>
                    </a:lnTo>
                    <a:lnTo>
                      <a:pt x="0" y="94"/>
                    </a:lnTo>
                    <a:lnTo>
                      <a:pt x="0" y="93"/>
                    </a:lnTo>
                    <a:lnTo>
                      <a:pt x="1" y="93"/>
                    </a:lnTo>
                    <a:lnTo>
                      <a:pt x="1" y="92"/>
                    </a:lnTo>
                    <a:lnTo>
                      <a:pt x="2" y="91"/>
                    </a:lnTo>
                    <a:lnTo>
                      <a:pt x="3" y="90"/>
                    </a:lnTo>
                    <a:lnTo>
                      <a:pt x="5" y="89"/>
                    </a:lnTo>
                    <a:lnTo>
                      <a:pt x="8" y="86"/>
                    </a:lnTo>
                    <a:lnTo>
                      <a:pt x="9" y="86"/>
                    </a:lnTo>
                    <a:lnTo>
                      <a:pt x="9" y="84"/>
                    </a:lnTo>
                    <a:lnTo>
                      <a:pt x="9" y="83"/>
                    </a:lnTo>
                    <a:lnTo>
                      <a:pt x="8" y="83"/>
                    </a:lnTo>
                    <a:lnTo>
                      <a:pt x="7" y="82"/>
                    </a:lnTo>
                    <a:lnTo>
                      <a:pt x="7" y="81"/>
                    </a:lnTo>
                    <a:lnTo>
                      <a:pt x="7" y="80"/>
                    </a:lnTo>
                    <a:lnTo>
                      <a:pt x="6" y="79"/>
                    </a:lnTo>
                    <a:lnTo>
                      <a:pt x="5" y="75"/>
                    </a:lnTo>
                    <a:lnTo>
                      <a:pt x="5" y="74"/>
                    </a:lnTo>
                    <a:lnTo>
                      <a:pt x="5" y="72"/>
                    </a:lnTo>
                    <a:lnTo>
                      <a:pt x="3" y="71"/>
                    </a:lnTo>
                    <a:lnTo>
                      <a:pt x="2" y="70"/>
                    </a:lnTo>
                    <a:lnTo>
                      <a:pt x="2" y="69"/>
                    </a:lnTo>
                    <a:lnTo>
                      <a:pt x="2" y="68"/>
                    </a:lnTo>
                    <a:lnTo>
                      <a:pt x="2" y="67"/>
                    </a:lnTo>
                    <a:lnTo>
                      <a:pt x="2" y="66"/>
                    </a:lnTo>
                    <a:lnTo>
                      <a:pt x="3" y="62"/>
                    </a:lnTo>
                    <a:lnTo>
                      <a:pt x="3" y="59"/>
                    </a:lnTo>
                    <a:lnTo>
                      <a:pt x="5" y="57"/>
                    </a:lnTo>
                    <a:lnTo>
                      <a:pt x="5" y="56"/>
                    </a:lnTo>
                    <a:lnTo>
                      <a:pt x="5" y="55"/>
                    </a:lnTo>
                    <a:lnTo>
                      <a:pt x="3" y="54"/>
                    </a:lnTo>
                    <a:lnTo>
                      <a:pt x="3" y="53"/>
                    </a:lnTo>
                    <a:lnTo>
                      <a:pt x="5" y="53"/>
                    </a:lnTo>
                    <a:lnTo>
                      <a:pt x="5" y="52"/>
                    </a:lnTo>
                    <a:lnTo>
                      <a:pt x="6" y="52"/>
                    </a:lnTo>
                    <a:lnTo>
                      <a:pt x="6" y="51"/>
                    </a:lnTo>
                    <a:lnTo>
                      <a:pt x="7" y="50"/>
                    </a:lnTo>
                    <a:lnTo>
                      <a:pt x="8" y="50"/>
                    </a:lnTo>
                    <a:lnTo>
                      <a:pt x="9" y="50"/>
                    </a:lnTo>
                    <a:lnTo>
                      <a:pt x="9" y="49"/>
                    </a:lnTo>
                    <a:lnTo>
                      <a:pt x="10" y="49"/>
                    </a:lnTo>
                    <a:lnTo>
                      <a:pt x="10" y="48"/>
                    </a:lnTo>
                    <a:lnTo>
                      <a:pt x="11" y="48"/>
                    </a:lnTo>
                    <a:lnTo>
                      <a:pt x="12" y="48"/>
                    </a:lnTo>
                    <a:lnTo>
                      <a:pt x="13" y="46"/>
                    </a:lnTo>
                    <a:lnTo>
                      <a:pt x="14" y="46"/>
                    </a:lnTo>
                    <a:lnTo>
                      <a:pt x="15" y="45"/>
                    </a:lnTo>
                    <a:lnTo>
                      <a:pt x="19" y="44"/>
                    </a:lnTo>
                    <a:lnTo>
                      <a:pt x="20" y="43"/>
                    </a:lnTo>
                    <a:lnTo>
                      <a:pt x="21" y="42"/>
                    </a:lnTo>
                    <a:lnTo>
                      <a:pt x="21" y="41"/>
                    </a:lnTo>
                    <a:lnTo>
                      <a:pt x="22" y="41"/>
                    </a:lnTo>
                    <a:lnTo>
                      <a:pt x="23" y="41"/>
                    </a:lnTo>
                    <a:lnTo>
                      <a:pt x="25" y="40"/>
                    </a:lnTo>
                    <a:lnTo>
                      <a:pt x="26" y="39"/>
                    </a:lnTo>
                    <a:lnTo>
                      <a:pt x="27" y="38"/>
                    </a:lnTo>
                    <a:lnTo>
                      <a:pt x="29" y="36"/>
                    </a:lnTo>
                    <a:lnTo>
                      <a:pt x="31" y="35"/>
                    </a:lnTo>
                    <a:lnTo>
                      <a:pt x="31" y="33"/>
                    </a:lnTo>
                    <a:lnTo>
                      <a:pt x="31" y="31"/>
                    </a:lnTo>
                    <a:lnTo>
                      <a:pt x="32" y="30"/>
                    </a:lnTo>
                    <a:lnTo>
                      <a:pt x="32" y="29"/>
                    </a:lnTo>
                    <a:lnTo>
                      <a:pt x="32" y="28"/>
                    </a:lnTo>
                    <a:lnTo>
                      <a:pt x="32" y="27"/>
                    </a:lnTo>
                    <a:lnTo>
                      <a:pt x="32" y="26"/>
                    </a:lnTo>
                    <a:lnTo>
                      <a:pt x="33" y="24"/>
                    </a:lnTo>
                    <a:lnTo>
                      <a:pt x="34" y="23"/>
                    </a:lnTo>
                    <a:lnTo>
                      <a:pt x="34" y="20"/>
                    </a:lnTo>
                    <a:lnTo>
                      <a:pt x="35" y="20"/>
                    </a:lnTo>
                    <a:lnTo>
                      <a:pt x="35" y="18"/>
                    </a:lnTo>
                    <a:lnTo>
                      <a:pt x="36" y="16"/>
                    </a:lnTo>
                    <a:lnTo>
                      <a:pt x="37" y="16"/>
                    </a:lnTo>
                    <a:lnTo>
                      <a:pt x="38" y="13"/>
                    </a:lnTo>
                    <a:lnTo>
                      <a:pt x="40" y="9"/>
                    </a:lnTo>
                    <a:lnTo>
                      <a:pt x="41" y="6"/>
                    </a:lnTo>
                    <a:lnTo>
                      <a:pt x="45" y="9"/>
                    </a:lnTo>
                    <a:lnTo>
                      <a:pt x="45" y="4"/>
                    </a:lnTo>
                    <a:lnTo>
                      <a:pt x="48" y="7"/>
                    </a:lnTo>
                    <a:lnTo>
                      <a:pt x="49" y="7"/>
                    </a:lnTo>
                    <a:lnTo>
                      <a:pt x="49" y="9"/>
                    </a:lnTo>
                    <a:lnTo>
                      <a:pt x="50" y="9"/>
                    </a:lnTo>
                    <a:lnTo>
                      <a:pt x="52" y="11"/>
                    </a:lnTo>
                    <a:lnTo>
                      <a:pt x="53" y="5"/>
                    </a:lnTo>
                    <a:lnTo>
                      <a:pt x="53" y="4"/>
                    </a:lnTo>
                    <a:lnTo>
                      <a:pt x="53" y="0"/>
                    </a:lnTo>
                    <a:lnTo>
                      <a:pt x="54" y="0"/>
                    </a:lnTo>
                    <a:lnTo>
                      <a:pt x="55" y="0"/>
                    </a:lnTo>
                    <a:lnTo>
                      <a:pt x="57" y="0"/>
                    </a:lnTo>
                    <a:lnTo>
                      <a:pt x="59" y="1"/>
                    </a:lnTo>
                    <a:lnTo>
                      <a:pt x="59" y="2"/>
                    </a:lnTo>
                    <a:lnTo>
                      <a:pt x="60" y="2"/>
                    </a:lnTo>
                    <a:lnTo>
                      <a:pt x="60" y="1"/>
                    </a:lnTo>
                    <a:lnTo>
                      <a:pt x="62" y="0"/>
                    </a:lnTo>
                    <a:lnTo>
                      <a:pt x="63" y="0"/>
                    </a:lnTo>
                    <a:lnTo>
                      <a:pt x="64" y="0"/>
                    </a:lnTo>
                    <a:lnTo>
                      <a:pt x="71" y="1"/>
                    </a:lnTo>
                    <a:lnTo>
                      <a:pt x="75" y="3"/>
                    </a:lnTo>
                    <a:lnTo>
                      <a:pt x="76" y="3"/>
                    </a:lnTo>
                    <a:lnTo>
                      <a:pt x="77" y="4"/>
                    </a:lnTo>
                    <a:lnTo>
                      <a:pt x="85" y="7"/>
                    </a:lnTo>
                    <a:lnTo>
                      <a:pt x="86" y="7"/>
                    </a:lnTo>
                    <a:lnTo>
                      <a:pt x="86" y="9"/>
                    </a:lnTo>
                    <a:lnTo>
                      <a:pt x="87" y="11"/>
                    </a:lnTo>
                    <a:lnTo>
                      <a:pt x="89" y="13"/>
                    </a:lnTo>
                    <a:lnTo>
                      <a:pt x="89" y="14"/>
                    </a:lnTo>
                    <a:lnTo>
                      <a:pt x="93" y="20"/>
                    </a:lnTo>
                    <a:lnTo>
                      <a:pt x="94" y="24"/>
                    </a:lnTo>
                    <a:lnTo>
                      <a:pt x="96" y="26"/>
                    </a:lnTo>
                    <a:lnTo>
                      <a:pt x="97" y="27"/>
                    </a:lnTo>
                    <a:lnTo>
                      <a:pt x="98" y="26"/>
                    </a:lnTo>
                    <a:lnTo>
                      <a:pt x="99" y="26"/>
                    </a:lnTo>
                    <a:lnTo>
                      <a:pt x="101" y="25"/>
                    </a:lnTo>
                    <a:close/>
                    <a:moveTo>
                      <a:pt x="549" y="428"/>
                    </a:moveTo>
                    <a:lnTo>
                      <a:pt x="550" y="428"/>
                    </a:lnTo>
                    <a:lnTo>
                      <a:pt x="551" y="428"/>
                    </a:lnTo>
                    <a:lnTo>
                      <a:pt x="552" y="428"/>
                    </a:lnTo>
                    <a:lnTo>
                      <a:pt x="553" y="428"/>
                    </a:lnTo>
                    <a:lnTo>
                      <a:pt x="553" y="429"/>
                    </a:lnTo>
                    <a:lnTo>
                      <a:pt x="554" y="429"/>
                    </a:lnTo>
                    <a:lnTo>
                      <a:pt x="555" y="430"/>
                    </a:lnTo>
                    <a:lnTo>
                      <a:pt x="554" y="430"/>
                    </a:lnTo>
                    <a:lnTo>
                      <a:pt x="554" y="429"/>
                    </a:lnTo>
                    <a:lnTo>
                      <a:pt x="554" y="430"/>
                    </a:lnTo>
                    <a:lnTo>
                      <a:pt x="555" y="430"/>
                    </a:lnTo>
                    <a:lnTo>
                      <a:pt x="554" y="430"/>
                    </a:lnTo>
                    <a:lnTo>
                      <a:pt x="555" y="430"/>
                    </a:lnTo>
                    <a:lnTo>
                      <a:pt x="556" y="430"/>
                    </a:lnTo>
                    <a:lnTo>
                      <a:pt x="557" y="431"/>
                    </a:lnTo>
                    <a:lnTo>
                      <a:pt x="558" y="431"/>
                    </a:lnTo>
                    <a:lnTo>
                      <a:pt x="557" y="433"/>
                    </a:lnTo>
                    <a:lnTo>
                      <a:pt x="555" y="435"/>
                    </a:lnTo>
                    <a:lnTo>
                      <a:pt x="555" y="436"/>
                    </a:lnTo>
                    <a:lnTo>
                      <a:pt x="554" y="436"/>
                    </a:lnTo>
                    <a:lnTo>
                      <a:pt x="553" y="437"/>
                    </a:lnTo>
                    <a:lnTo>
                      <a:pt x="552" y="436"/>
                    </a:lnTo>
                    <a:lnTo>
                      <a:pt x="552" y="435"/>
                    </a:lnTo>
                    <a:lnTo>
                      <a:pt x="551" y="435"/>
                    </a:lnTo>
                    <a:lnTo>
                      <a:pt x="551" y="434"/>
                    </a:lnTo>
                    <a:lnTo>
                      <a:pt x="551" y="435"/>
                    </a:lnTo>
                    <a:lnTo>
                      <a:pt x="552" y="436"/>
                    </a:lnTo>
                    <a:lnTo>
                      <a:pt x="553" y="437"/>
                    </a:lnTo>
                    <a:lnTo>
                      <a:pt x="552" y="437"/>
                    </a:lnTo>
                    <a:lnTo>
                      <a:pt x="552" y="438"/>
                    </a:lnTo>
                    <a:lnTo>
                      <a:pt x="552" y="439"/>
                    </a:lnTo>
                    <a:lnTo>
                      <a:pt x="552" y="438"/>
                    </a:lnTo>
                    <a:lnTo>
                      <a:pt x="553" y="438"/>
                    </a:lnTo>
                    <a:lnTo>
                      <a:pt x="553" y="439"/>
                    </a:lnTo>
                    <a:lnTo>
                      <a:pt x="553" y="440"/>
                    </a:lnTo>
                    <a:lnTo>
                      <a:pt x="552" y="441"/>
                    </a:lnTo>
                    <a:lnTo>
                      <a:pt x="552" y="442"/>
                    </a:lnTo>
                    <a:lnTo>
                      <a:pt x="552" y="443"/>
                    </a:lnTo>
                    <a:lnTo>
                      <a:pt x="552" y="444"/>
                    </a:lnTo>
                    <a:lnTo>
                      <a:pt x="552" y="446"/>
                    </a:lnTo>
                    <a:lnTo>
                      <a:pt x="552" y="447"/>
                    </a:lnTo>
                    <a:lnTo>
                      <a:pt x="552" y="448"/>
                    </a:lnTo>
                    <a:lnTo>
                      <a:pt x="552" y="449"/>
                    </a:lnTo>
                    <a:lnTo>
                      <a:pt x="552" y="450"/>
                    </a:lnTo>
                    <a:lnTo>
                      <a:pt x="552" y="451"/>
                    </a:lnTo>
                    <a:lnTo>
                      <a:pt x="552" y="452"/>
                    </a:lnTo>
                    <a:lnTo>
                      <a:pt x="552" y="453"/>
                    </a:lnTo>
                    <a:lnTo>
                      <a:pt x="553" y="453"/>
                    </a:lnTo>
                    <a:lnTo>
                      <a:pt x="553" y="454"/>
                    </a:lnTo>
                    <a:lnTo>
                      <a:pt x="553" y="455"/>
                    </a:lnTo>
                    <a:lnTo>
                      <a:pt x="553" y="456"/>
                    </a:lnTo>
                    <a:lnTo>
                      <a:pt x="552" y="456"/>
                    </a:lnTo>
                    <a:lnTo>
                      <a:pt x="552" y="457"/>
                    </a:lnTo>
                    <a:lnTo>
                      <a:pt x="551" y="459"/>
                    </a:lnTo>
                    <a:lnTo>
                      <a:pt x="551" y="460"/>
                    </a:lnTo>
                    <a:lnTo>
                      <a:pt x="550" y="461"/>
                    </a:lnTo>
                    <a:lnTo>
                      <a:pt x="550" y="460"/>
                    </a:lnTo>
                    <a:lnTo>
                      <a:pt x="550" y="461"/>
                    </a:lnTo>
                    <a:lnTo>
                      <a:pt x="550" y="460"/>
                    </a:lnTo>
                    <a:lnTo>
                      <a:pt x="550" y="461"/>
                    </a:lnTo>
                    <a:lnTo>
                      <a:pt x="549" y="461"/>
                    </a:lnTo>
                    <a:lnTo>
                      <a:pt x="549" y="462"/>
                    </a:lnTo>
                    <a:lnTo>
                      <a:pt x="548" y="462"/>
                    </a:lnTo>
                    <a:lnTo>
                      <a:pt x="548" y="463"/>
                    </a:lnTo>
                    <a:lnTo>
                      <a:pt x="548" y="464"/>
                    </a:lnTo>
                    <a:lnTo>
                      <a:pt x="546" y="465"/>
                    </a:lnTo>
                    <a:lnTo>
                      <a:pt x="546" y="466"/>
                    </a:lnTo>
                    <a:lnTo>
                      <a:pt x="546" y="467"/>
                    </a:lnTo>
                    <a:lnTo>
                      <a:pt x="546" y="468"/>
                    </a:lnTo>
                    <a:lnTo>
                      <a:pt x="545" y="469"/>
                    </a:lnTo>
                    <a:lnTo>
                      <a:pt x="545" y="468"/>
                    </a:lnTo>
                    <a:lnTo>
                      <a:pt x="545" y="469"/>
                    </a:lnTo>
                    <a:lnTo>
                      <a:pt x="545" y="470"/>
                    </a:lnTo>
                    <a:lnTo>
                      <a:pt x="544" y="470"/>
                    </a:lnTo>
                    <a:lnTo>
                      <a:pt x="545" y="470"/>
                    </a:lnTo>
                    <a:lnTo>
                      <a:pt x="544" y="470"/>
                    </a:lnTo>
                    <a:lnTo>
                      <a:pt x="544" y="472"/>
                    </a:lnTo>
                    <a:lnTo>
                      <a:pt x="543" y="472"/>
                    </a:lnTo>
                    <a:lnTo>
                      <a:pt x="543" y="473"/>
                    </a:lnTo>
                    <a:lnTo>
                      <a:pt x="542" y="474"/>
                    </a:lnTo>
                    <a:lnTo>
                      <a:pt x="541" y="474"/>
                    </a:lnTo>
                    <a:lnTo>
                      <a:pt x="541" y="475"/>
                    </a:lnTo>
                    <a:lnTo>
                      <a:pt x="540" y="475"/>
                    </a:lnTo>
                    <a:lnTo>
                      <a:pt x="539" y="475"/>
                    </a:lnTo>
                    <a:lnTo>
                      <a:pt x="539" y="476"/>
                    </a:lnTo>
                    <a:lnTo>
                      <a:pt x="538" y="476"/>
                    </a:lnTo>
                    <a:lnTo>
                      <a:pt x="538" y="477"/>
                    </a:lnTo>
                    <a:lnTo>
                      <a:pt x="537" y="477"/>
                    </a:lnTo>
                    <a:lnTo>
                      <a:pt x="537" y="478"/>
                    </a:lnTo>
                    <a:lnTo>
                      <a:pt x="536" y="478"/>
                    </a:lnTo>
                    <a:lnTo>
                      <a:pt x="536" y="479"/>
                    </a:lnTo>
                    <a:lnTo>
                      <a:pt x="536" y="480"/>
                    </a:lnTo>
                    <a:lnTo>
                      <a:pt x="535" y="480"/>
                    </a:lnTo>
                    <a:lnTo>
                      <a:pt x="535" y="481"/>
                    </a:lnTo>
                    <a:lnTo>
                      <a:pt x="533" y="482"/>
                    </a:lnTo>
                    <a:lnTo>
                      <a:pt x="533" y="483"/>
                    </a:lnTo>
                    <a:lnTo>
                      <a:pt x="532" y="483"/>
                    </a:lnTo>
                    <a:lnTo>
                      <a:pt x="530" y="485"/>
                    </a:lnTo>
                    <a:lnTo>
                      <a:pt x="529" y="485"/>
                    </a:lnTo>
                    <a:lnTo>
                      <a:pt x="529" y="486"/>
                    </a:lnTo>
                    <a:lnTo>
                      <a:pt x="528" y="486"/>
                    </a:lnTo>
                    <a:lnTo>
                      <a:pt x="527" y="487"/>
                    </a:lnTo>
                    <a:lnTo>
                      <a:pt x="525" y="487"/>
                    </a:lnTo>
                    <a:lnTo>
                      <a:pt x="525" y="488"/>
                    </a:lnTo>
                    <a:lnTo>
                      <a:pt x="524" y="488"/>
                    </a:lnTo>
                    <a:lnTo>
                      <a:pt x="523" y="488"/>
                    </a:lnTo>
                    <a:lnTo>
                      <a:pt x="523" y="489"/>
                    </a:lnTo>
                    <a:lnTo>
                      <a:pt x="522" y="489"/>
                    </a:lnTo>
                    <a:lnTo>
                      <a:pt x="520" y="489"/>
                    </a:lnTo>
                    <a:lnTo>
                      <a:pt x="519" y="489"/>
                    </a:lnTo>
                    <a:lnTo>
                      <a:pt x="518" y="490"/>
                    </a:lnTo>
                    <a:lnTo>
                      <a:pt x="516" y="491"/>
                    </a:lnTo>
                    <a:lnTo>
                      <a:pt x="513" y="492"/>
                    </a:lnTo>
                    <a:lnTo>
                      <a:pt x="513" y="493"/>
                    </a:lnTo>
                    <a:lnTo>
                      <a:pt x="512" y="493"/>
                    </a:lnTo>
                    <a:lnTo>
                      <a:pt x="511" y="494"/>
                    </a:lnTo>
                    <a:lnTo>
                      <a:pt x="510" y="494"/>
                    </a:lnTo>
                    <a:lnTo>
                      <a:pt x="507" y="494"/>
                    </a:lnTo>
                    <a:lnTo>
                      <a:pt x="506" y="495"/>
                    </a:lnTo>
                    <a:lnTo>
                      <a:pt x="505" y="495"/>
                    </a:lnTo>
                    <a:lnTo>
                      <a:pt x="503" y="495"/>
                    </a:lnTo>
                    <a:lnTo>
                      <a:pt x="502" y="495"/>
                    </a:lnTo>
                    <a:lnTo>
                      <a:pt x="500" y="495"/>
                    </a:lnTo>
                    <a:lnTo>
                      <a:pt x="501" y="494"/>
                    </a:lnTo>
                    <a:lnTo>
                      <a:pt x="501" y="493"/>
                    </a:lnTo>
                    <a:lnTo>
                      <a:pt x="501" y="492"/>
                    </a:lnTo>
                    <a:lnTo>
                      <a:pt x="502" y="491"/>
                    </a:lnTo>
                    <a:lnTo>
                      <a:pt x="502" y="490"/>
                    </a:lnTo>
                    <a:lnTo>
                      <a:pt x="502" y="489"/>
                    </a:lnTo>
                    <a:lnTo>
                      <a:pt x="502" y="488"/>
                    </a:lnTo>
                    <a:lnTo>
                      <a:pt x="503" y="487"/>
                    </a:lnTo>
                    <a:lnTo>
                      <a:pt x="503" y="486"/>
                    </a:lnTo>
                    <a:lnTo>
                      <a:pt x="504" y="483"/>
                    </a:lnTo>
                    <a:lnTo>
                      <a:pt x="505" y="482"/>
                    </a:lnTo>
                    <a:lnTo>
                      <a:pt x="505" y="483"/>
                    </a:lnTo>
                    <a:lnTo>
                      <a:pt x="505" y="482"/>
                    </a:lnTo>
                    <a:lnTo>
                      <a:pt x="505" y="481"/>
                    </a:lnTo>
                    <a:lnTo>
                      <a:pt x="506" y="481"/>
                    </a:lnTo>
                    <a:lnTo>
                      <a:pt x="506" y="479"/>
                    </a:lnTo>
                    <a:lnTo>
                      <a:pt x="507" y="477"/>
                    </a:lnTo>
                    <a:lnTo>
                      <a:pt x="509" y="476"/>
                    </a:lnTo>
                    <a:lnTo>
                      <a:pt x="509" y="475"/>
                    </a:lnTo>
                    <a:lnTo>
                      <a:pt x="509" y="474"/>
                    </a:lnTo>
                    <a:lnTo>
                      <a:pt x="510" y="474"/>
                    </a:lnTo>
                    <a:lnTo>
                      <a:pt x="510" y="473"/>
                    </a:lnTo>
                    <a:lnTo>
                      <a:pt x="510" y="470"/>
                    </a:lnTo>
                    <a:lnTo>
                      <a:pt x="511" y="468"/>
                    </a:lnTo>
                    <a:lnTo>
                      <a:pt x="511" y="467"/>
                    </a:lnTo>
                    <a:lnTo>
                      <a:pt x="512" y="467"/>
                    </a:lnTo>
                    <a:lnTo>
                      <a:pt x="512" y="466"/>
                    </a:lnTo>
                    <a:lnTo>
                      <a:pt x="512" y="465"/>
                    </a:lnTo>
                    <a:lnTo>
                      <a:pt x="513" y="465"/>
                    </a:lnTo>
                    <a:lnTo>
                      <a:pt x="513" y="464"/>
                    </a:lnTo>
                    <a:lnTo>
                      <a:pt x="513" y="463"/>
                    </a:lnTo>
                    <a:lnTo>
                      <a:pt x="514" y="463"/>
                    </a:lnTo>
                    <a:lnTo>
                      <a:pt x="514" y="462"/>
                    </a:lnTo>
                    <a:lnTo>
                      <a:pt x="515" y="461"/>
                    </a:lnTo>
                    <a:lnTo>
                      <a:pt x="515" y="460"/>
                    </a:lnTo>
                    <a:lnTo>
                      <a:pt x="516" y="460"/>
                    </a:lnTo>
                    <a:lnTo>
                      <a:pt x="516" y="459"/>
                    </a:lnTo>
                    <a:lnTo>
                      <a:pt x="517" y="459"/>
                    </a:lnTo>
                    <a:lnTo>
                      <a:pt x="517" y="457"/>
                    </a:lnTo>
                    <a:lnTo>
                      <a:pt x="517" y="456"/>
                    </a:lnTo>
                    <a:lnTo>
                      <a:pt x="518" y="456"/>
                    </a:lnTo>
                    <a:lnTo>
                      <a:pt x="518" y="455"/>
                    </a:lnTo>
                    <a:lnTo>
                      <a:pt x="519" y="455"/>
                    </a:lnTo>
                    <a:lnTo>
                      <a:pt x="519" y="454"/>
                    </a:lnTo>
                    <a:lnTo>
                      <a:pt x="520" y="453"/>
                    </a:lnTo>
                    <a:lnTo>
                      <a:pt x="520" y="452"/>
                    </a:lnTo>
                    <a:lnTo>
                      <a:pt x="522" y="452"/>
                    </a:lnTo>
                    <a:lnTo>
                      <a:pt x="522" y="453"/>
                    </a:lnTo>
                    <a:lnTo>
                      <a:pt x="522" y="454"/>
                    </a:lnTo>
                    <a:lnTo>
                      <a:pt x="523" y="454"/>
                    </a:lnTo>
                    <a:lnTo>
                      <a:pt x="523" y="455"/>
                    </a:lnTo>
                    <a:lnTo>
                      <a:pt x="523" y="456"/>
                    </a:lnTo>
                    <a:lnTo>
                      <a:pt x="524" y="456"/>
                    </a:lnTo>
                    <a:lnTo>
                      <a:pt x="523" y="456"/>
                    </a:lnTo>
                    <a:lnTo>
                      <a:pt x="523" y="455"/>
                    </a:lnTo>
                    <a:lnTo>
                      <a:pt x="523" y="454"/>
                    </a:lnTo>
                    <a:lnTo>
                      <a:pt x="524" y="454"/>
                    </a:lnTo>
                    <a:lnTo>
                      <a:pt x="523" y="454"/>
                    </a:lnTo>
                    <a:lnTo>
                      <a:pt x="522" y="453"/>
                    </a:lnTo>
                    <a:lnTo>
                      <a:pt x="522" y="452"/>
                    </a:lnTo>
                    <a:lnTo>
                      <a:pt x="522" y="451"/>
                    </a:lnTo>
                    <a:lnTo>
                      <a:pt x="523" y="451"/>
                    </a:lnTo>
                    <a:lnTo>
                      <a:pt x="524" y="451"/>
                    </a:lnTo>
                    <a:lnTo>
                      <a:pt x="523" y="451"/>
                    </a:lnTo>
                    <a:lnTo>
                      <a:pt x="523" y="450"/>
                    </a:lnTo>
                    <a:lnTo>
                      <a:pt x="524" y="449"/>
                    </a:lnTo>
                    <a:lnTo>
                      <a:pt x="524" y="448"/>
                    </a:lnTo>
                    <a:lnTo>
                      <a:pt x="525" y="448"/>
                    </a:lnTo>
                    <a:lnTo>
                      <a:pt x="524" y="448"/>
                    </a:lnTo>
                    <a:lnTo>
                      <a:pt x="524" y="447"/>
                    </a:lnTo>
                    <a:lnTo>
                      <a:pt x="525" y="447"/>
                    </a:lnTo>
                    <a:lnTo>
                      <a:pt x="525" y="446"/>
                    </a:lnTo>
                    <a:lnTo>
                      <a:pt x="526" y="446"/>
                    </a:lnTo>
                    <a:lnTo>
                      <a:pt x="526" y="444"/>
                    </a:lnTo>
                    <a:lnTo>
                      <a:pt x="527" y="443"/>
                    </a:lnTo>
                    <a:lnTo>
                      <a:pt x="528" y="442"/>
                    </a:lnTo>
                    <a:lnTo>
                      <a:pt x="529" y="443"/>
                    </a:lnTo>
                    <a:lnTo>
                      <a:pt x="530" y="444"/>
                    </a:lnTo>
                    <a:lnTo>
                      <a:pt x="530" y="443"/>
                    </a:lnTo>
                    <a:lnTo>
                      <a:pt x="529" y="443"/>
                    </a:lnTo>
                    <a:lnTo>
                      <a:pt x="529" y="442"/>
                    </a:lnTo>
                    <a:lnTo>
                      <a:pt x="528" y="442"/>
                    </a:lnTo>
                    <a:lnTo>
                      <a:pt x="529" y="441"/>
                    </a:lnTo>
                    <a:lnTo>
                      <a:pt x="529" y="440"/>
                    </a:lnTo>
                    <a:lnTo>
                      <a:pt x="530" y="440"/>
                    </a:lnTo>
                    <a:lnTo>
                      <a:pt x="530" y="439"/>
                    </a:lnTo>
                    <a:lnTo>
                      <a:pt x="531" y="439"/>
                    </a:lnTo>
                    <a:lnTo>
                      <a:pt x="531" y="438"/>
                    </a:lnTo>
                    <a:lnTo>
                      <a:pt x="531" y="439"/>
                    </a:lnTo>
                    <a:lnTo>
                      <a:pt x="531" y="438"/>
                    </a:lnTo>
                    <a:lnTo>
                      <a:pt x="532" y="438"/>
                    </a:lnTo>
                    <a:lnTo>
                      <a:pt x="532" y="437"/>
                    </a:lnTo>
                    <a:lnTo>
                      <a:pt x="533" y="437"/>
                    </a:lnTo>
                    <a:lnTo>
                      <a:pt x="535" y="436"/>
                    </a:lnTo>
                    <a:lnTo>
                      <a:pt x="536" y="435"/>
                    </a:lnTo>
                    <a:lnTo>
                      <a:pt x="537" y="434"/>
                    </a:lnTo>
                    <a:lnTo>
                      <a:pt x="537" y="433"/>
                    </a:lnTo>
                    <a:lnTo>
                      <a:pt x="538" y="433"/>
                    </a:lnTo>
                    <a:lnTo>
                      <a:pt x="538" y="431"/>
                    </a:lnTo>
                    <a:lnTo>
                      <a:pt x="539" y="431"/>
                    </a:lnTo>
                    <a:lnTo>
                      <a:pt x="539" y="430"/>
                    </a:lnTo>
                    <a:lnTo>
                      <a:pt x="539" y="429"/>
                    </a:lnTo>
                    <a:lnTo>
                      <a:pt x="540" y="430"/>
                    </a:lnTo>
                    <a:lnTo>
                      <a:pt x="540" y="429"/>
                    </a:lnTo>
                    <a:lnTo>
                      <a:pt x="539" y="429"/>
                    </a:lnTo>
                    <a:lnTo>
                      <a:pt x="540" y="429"/>
                    </a:lnTo>
                    <a:lnTo>
                      <a:pt x="541" y="430"/>
                    </a:lnTo>
                    <a:lnTo>
                      <a:pt x="542" y="430"/>
                    </a:lnTo>
                    <a:lnTo>
                      <a:pt x="543" y="431"/>
                    </a:lnTo>
                    <a:lnTo>
                      <a:pt x="544" y="431"/>
                    </a:lnTo>
                    <a:lnTo>
                      <a:pt x="545" y="431"/>
                    </a:lnTo>
                    <a:lnTo>
                      <a:pt x="544" y="431"/>
                    </a:lnTo>
                    <a:lnTo>
                      <a:pt x="543" y="431"/>
                    </a:lnTo>
                    <a:lnTo>
                      <a:pt x="543" y="430"/>
                    </a:lnTo>
                    <a:lnTo>
                      <a:pt x="542" y="430"/>
                    </a:lnTo>
                    <a:lnTo>
                      <a:pt x="541" y="430"/>
                    </a:lnTo>
                    <a:lnTo>
                      <a:pt x="540" y="429"/>
                    </a:lnTo>
                    <a:lnTo>
                      <a:pt x="540" y="428"/>
                    </a:lnTo>
                    <a:lnTo>
                      <a:pt x="541" y="427"/>
                    </a:lnTo>
                    <a:lnTo>
                      <a:pt x="541" y="426"/>
                    </a:lnTo>
                    <a:lnTo>
                      <a:pt x="542" y="426"/>
                    </a:lnTo>
                    <a:lnTo>
                      <a:pt x="543" y="426"/>
                    </a:lnTo>
                    <a:lnTo>
                      <a:pt x="544" y="426"/>
                    </a:lnTo>
                    <a:lnTo>
                      <a:pt x="545" y="427"/>
                    </a:lnTo>
                    <a:lnTo>
                      <a:pt x="548" y="427"/>
                    </a:lnTo>
                    <a:lnTo>
                      <a:pt x="549" y="428"/>
                    </a:lnTo>
                    <a:close/>
                    <a:moveTo>
                      <a:pt x="579" y="487"/>
                    </a:moveTo>
                    <a:lnTo>
                      <a:pt x="579" y="488"/>
                    </a:lnTo>
                    <a:lnTo>
                      <a:pt x="578" y="488"/>
                    </a:lnTo>
                    <a:lnTo>
                      <a:pt x="578" y="489"/>
                    </a:lnTo>
                    <a:lnTo>
                      <a:pt x="578" y="490"/>
                    </a:lnTo>
                    <a:lnTo>
                      <a:pt x="576" y="491"/>
                    </a:lnTo>
                    <a:lnTo>
                      <a:pt x="573" y="493"/>
                    </a:lnTo>
                    <a:lnTo>
                      <a:pt x="573" y="494"/>
                    </a:lnTo>
                    <a:lnTo>
                      <a:pt x="571" y="494"/>
                    </a:lnTo>
                    <a:lnTo>
                      <a:pt x="570" y="495"/>
                    </a:lnTo>
                    <a:lnTo>
                      <a:pt x="569" y="495"/>
                    </a:lnTo>
                    <a:lnTo>
                      <a:pt x="569" y="496"/>
                    </a:lnTo>
                    <a:lnTo>
                      <a:pt x="568" y="496"/>
                    </a:lnTo>
                    <a:lnTo>
                      <a:pt x="567" y="498"/>
                    </a:lnTo>
                    <a:lnTo>
                      <a:pt x="566" y="499"/>
                    </a:lnTo>
                    <a:lnTo>
                      <a:pt x="566" y="501"/>
                    </a:lnTo>
                    <a:lnTo>
                      <a:pt x="565" y="501"/>
                    </a:lnTo>
                    <a:lnTo>
                      <a:pt x="565" y="502"/>
                    </a:lnTo>
                    <a:lnTo>
                      <a:pt x="565" y="503"/>
                    </a:lnTo>
                    <a:lnTo>
                      <a:pt x="564" y="503"/>
                    </a:lnTo>
                    <a:lnTo>
                      <a:pt x="564" y="504"/>
                    </a:lnTo>
                    <a:lnTo>
                      <a:pt x="563" y="504"/>
                    </a:lnTo>
                    <a:lnTo>
                      <a:pt x="564" y="504"/>
                    </a:lnTo>
                    <a:lnTo>
                      <a:pt x="564" y="503"/>
                    </a:lnTo>
                    <a:lnTo>
                      <a:pt x="565" y="503"/>
                    </a:lnTo>
                    <a:lnTo>
                      <a:pt x="565" y="502"/>
                    </a:lnTo>
                    <a:lnTo>
                      <a:pt x="566" y="501"/>
                    </a:lnTo>
                    <a:lnTo>
                      <a:pt x="566" y="500"/>
                    </a:lnTo>
                    <a:lnTo>
                      <a:pt x="566" y="499"/>
                    </a:lnTo>
                    <a:lnTo>
                      <a:pt x="567" y="499"/>
                    </a:lnTo>
                    <a:lnTo>
                      <a:pt x="567" y="498"/>
                    </a:lnTo>
                    <a:lnTo>
                      <a:pt x="568" y="498"/>
                    </a:lnTo>
                    <a:lnTo>
                      <a:pt x="568" y="496"/>
                    </a:lnTo>
                    <a:lnTo>
                      <a:pt x="569" y="496"/>
                    </a:lnTo>
                    <a:lnTo>
                      <a:pt x="570" y="495"/>
                    </a:lnTo>
                    <a:lnTo>
                      <a:pt x="571" y="495"/>
                    </a:lnTo>
                    <a:lnTo>
                      <a:pt x="570" y="498"/>
                    </a:lnTo>
                    <a:lnTo>
                      <a:pt x="569" y="498"/>
                    </a:lnTo>
                    <a:lnTo>
                      <a:pt x="569" y="499"/>
                    </a:lnTo>
                    <a:lnTo>
                      <a:pt x="569" y="500"/>
                    </a:lnTo>
                    <a:lnTo>
                      <a:pt x="569" y="502"/>
                    </a:lnTo>
                    <a:lnTo>
                      <a:pt x="569" y="503"/>
                    </a:lnTo>
                    <a:lnTo>
                      <a:pt x="568" y="504"/>
                    </a:lnTo>
                    <a:lnTo>
                      <a:pt x="568" y="505"/>
                    </a:lnTo>
                    <a:lnTo>
                      <a:pt x="567" y="506"/>
                    </a:lnTo>
                    <a:lnTo>
                      <a:pt x="564" y="508"/>
                    </a:lnTo>
                    <a:lnTo>
                      <a:pt x="562" y="511"/>
                    </a:lnTo>
                    <a:lnTo>
                      <a:pt x="561" y="511"/>
                    </a:lnTo>
                    <a:lnTo>
                      <a:pt x="561" y="512"/>
                    </a:lnTo>
                    <a:lnTo>
                      <a:pt x="560" y="513"/>
                    </a:lnTo>
                    <a:lnTo>
                      <a:pt x="560" y="514"/>
                    </a:lnTo>
                    <a:lnTo>
                      <a:pt x="558" y="514"/>
                    </a:lnTo>
                    <a:lnTo>
                      <a:pt x="557" y="514"/>
                    </a:lnTo>
                    <a:lnTo>
                      <a:pt x="556" y="514"/>
                    </a:lnTo>
                    <a:lnTo>
                      <a:pt x="555" y="513"/>
                    </a:lnTo>
                    <a:lnTo>
                      <a:pt x="554" y="512"/>
                    </a:lnTo>
                    <a:lnTo>
                      <a:pt x="553" y="512"/>
                    </a:lnTo>
                    <a:lnTo>
                      <a:pt x="552" y="512"/>
                    </a:lnTo>
                    <a:lnTo>
                      <a:pt x="550" y="512"/>
                    </a:lnTo>
                    <a:lnTo>
                      <a:pt x="550" y="511"/>
                    </a:lnTo>
                    <a:lnTo>
                      <a:pt x="550" y="512"/>
                    </a:lnTo>
                    <a:lnTo>
                      <a:pt x="549" y="512"/>
                    </a:lnTo>
                    <a:lnTo>
                      <a:pt x="549" y="511"/>
                    </a:lnTo>
                    <a:lnTo>
                      <a:pt x="548" y="511"/>
                    </a:lnTo>
                    <a:lnTo>
                      <a:pt x="546" y="511"/>
                    </a:lnTo>
                    <a:lnTo>
                      <a:pt x="545" y="511"/>
                    </a:lnTo>
                    <a:lnTo>
                      <a:pt x="544" y="511"/>
                    </a:lnTo>
                    <a:lnTo>
                      <a:pt x="543" y="511"/>
                    </a:lnTo>
                    <a:lnTo>
                      <a:pt x="543" y="510"/>
                    </a:lnTo>
                    <a:lnTo>
                      <a:pt x="542" y="510"/>
                    </a:lnTo>
                    <a:lnTo>
                      <a:pt x="542" y="508"/>
                    </a:lnTo>
                    <a:lnTo>
                      <a:pt x="541" y="508"/>
                    </a:lnTo>
                    <a:lnTo>
                      <a:pt x="542" y="508"/>
                    </a:lnTo>
                    <a:lnTo>
                      <a:pt x="543" y="507"/>
                    </a:lnTo>
                    <a:lnTo>
                      <a:pt x="544" y="507"/>
                    </a:lnTo>
                    <a:lnTo>
                      <a:pt x="546" y="506"/>
                    </a:lnTo>
                    <a:lnTo>
                      <a:pt x="548" y="506"/>
                    </a:lnTo>
                    <a:lnTo>
                      <a:pt x="549" y="505"/>
                    </a:lnTo>
                    <a:lnTo>
                      <a:pt x="551" y="505"/>
                    </a:lnTo>
                    <a:lnTo>
                      <a:pt x="550" y="505"/>
                    </a:lnTo>
                    <a:lnTo>
                      <a:pt x="549" y="505"/>
                    </a:lnTo>
                    <a:lnTo>
                      <a:pt x="548" y="506"/>
                    </a:lnTo>
                    <a:lnTo>
                      <a:pt x="546" y="506"/>
                    </a:lnTo>
                    <a:lnTo>
                      <a:pt x="545" y="507"/>
                    </a:lnTo>
                    <a:lnTo>
                      <a:pt x="544" y="507"/>
                    </a:lnTo>
                    <a:lnTo>
                      <a:pt x="542" y="507"/>
                    </a:lnTo>
                    <a:lnTo>
                      <a:pt x="541" y="508"/>
                    </a:lnTo>
                    <a:lnTo>
                      <a:pt x="541" y="507"/>
                    </a:lnTo>
                    <a:lnTo>
                      <a:pt x="540" y="507"/>
                    </a:lnTo>
                    <a:lnTo>
                      <a:pt x="538" y="507"/>
                    </a:lnTo>
                    <a:lnTo>
                      <a:pt x="536" y="508"/>
                    </a:lnTo>
                    <a:lnTo>
                      <a:pt x="533" y="508"/>
                    </a:lnTo>
                    <a:lnTo>
                      <a:pt x="532" y="510"/>
                    </a:lnTo>
                    <a:lnTo>
                      <a:pt x="531" y="510"/>
                    </a:lnTo>
                    <a:lnTo>
                      <a:pt x="532" y="510"/>
                    </a:lnTo>
                    <a:lnTo>
                      <a:pt x="531" y="510"/>
                    </a:lnTo>
                    <a:lnTo>
                      <a:pt x="530" y="510"/>
                    </a:lnTo>
                    <a:lnTo>
                      <a:pt x="529" y="510"/>
                    </a:lnTo>
                    <a:lnTo>
                      <a:pt x="528" y="510"/>
                    </a:lnTo>
                    <a:lnTo>
                      <a:pt x="525" y="510"/>
                    </a:lnTo>
                    <a:lnTo>
                      <a:pt x="525" y="508"/>
                    </a:lnTo>
                    <a:lnTo>
                      <a:pt x="523" y="508"/>
                    </a:lnTo>
                    <a:lnTo>
                      <a:pt x="522" y="508"/>
                    </a:lnTo>
                    <a:lnTo>
                      <a:pt x="518" y="507"/>
                    </a:lnTo>
                    <a:lnTo>
                      <a:pt x="516" y="507"/>
                    </a:lnTo>
                    <a:lnTo>
                      <a:pt x="515" y="507"/>
                    </a:lnTo>
                    <a:lnTo>
                      <a:pt x="514" y="507"/>
                    </a:lnTo>
                    <a:lnTo>
                      <a:pt x="512" y="507"/>
                    </a:lnTo>
                    <a:lnTo>
                      <a:pt x="511" y="507"/>
                    </a:lnTo>
                    <a:lnTo>
                      <a:pt x="510" y="506"/>
                    </a:lnTo>
                    <a:lnTo>
                      <a:pt x="507" y="506"/>
                    </a:lnTo>
                    <a:lnTo>
                      <a:pt x="506" y="505"/>
                    </a:lnTo>
                    <a:lnTo>
                      <a:pt x="505" y="504"/>
                    </a:lnTo>
                    <a:lnTo>
                      <a:pt x="504" y="504"/>
                    </a:lnTo>
                    <a:lnTo>
                      <a:pt x="503" y="503"/>
                    </a:lnTo>
                    <a:lnTo>
                      <a:pt x="502" y="503"/>
                    </a:lnTo>
                    <a:lnTo>
                      <a:pt x="502" y="502"/>
                    </a:lnTo>
                    <a:lnTo>
                      <a:pt x="502" y="501"/>
                    </a:lnTo>
                    <a:lnTo>
                      <a:pt x="503" y="501"/>
                    </a:lnTo>
                    <a:lnTo>
                      <a:pt x="505" y="500"/>
                    </a:lnTo>
                    <a:lnTo>
                      <a:pt x="506" y="500"/>
                    </a:lnTo>
                    <a:lnTo>
                      <a:pt x="507" y="500"/>
                    </a:lnTo>
                    <a:lnTo>
                      <a:pt x="510" y="499"/>
                    </a:lnTo>
                    <a:lnTo>
                      <a:pt x="511" y="499"/>
                    </a:lnTo>
                    <a:lnTo>
                      <a:pt x="512" y="499"/>
                    </a:lnTo>
                    <a:lnTo>
                      <a:pt x="513" y="499"/>
                    </a:lnTo>
                    <a:lnTo>
                      <a:pt x="514" y="499"/>
                    </a:lnTo>
                    <a:lnTo>
                      <a:pt x="515" y="499"/>
                    </a:lnTo>
                    <a:lnTo>
                      <a:pt x="516" y="498"/>
                    </a:lnTo>
                    <a:lnTo>
                      <a:pt x="517" y="498"/>
                    </a:lnTo>
                    <a:lnTo>
                      <a:pt x="518" y="496"/>
                    </a:lnTo>
                    <a:lnTo>
                      <a:pt x="518" y="495"/>
                    </a:lnTo>
                    <a:lnTo>
                      <a:pt x="519" y="495"/>
                    </a:lnTo>
                    <a:lnTo>
                      <a:pt x="519" y="494"/>
                    </a:lnTo>
                    <a:lnTo>
                      <a:pt x="520" y="492"/>
                    </a:lnTo>
                    <a:lnTo>
                      <a:pt x="520" y="491"/>
                    </a:lnTo>
                    <a:lnTo>
                      <a:pt x="522" y="491"/>
                    </a:lnTo>
                    <a:lnTo>
                      <a:pt x="522" y="490"/>
                    </a:lnTo>
                    <a:lnTo>
                      <a:pt x="523" y="490"/>
                    </a:lnTo>
                    <a:lnTo>
                      <a:pt x="524" y="490"/>
                    </a:lnTo>
                    <a:lnTo>
                      <a:pt x="524" y="489"/>
                    </a:lnTo>
                    <a:lnTo>
                      <a:pt x="525" y="489"/>
                    </a:lnTo>
                    <a:lnTo>
                      <a:pt x="526" y="488"/>
                    </a:lnTo>
                    <a:lnTo>
                      <a:pt x="527" y="488"/>
                    </a:lnTo>
                    <a:lnTo>
                      <a:pt x="528" y="488"/>
                    </a:lnTo>
                    <a:lnTo>
                      <a:pt x="528" y="487"/>
                    </a:lnTo>
                    <a:lnTo>
                      <a:pt x="530" y="487"/>
                    </a:lnTo>
                    <a:lnTo>
                      <a:pt x="531" y="487"/>
                    </a:lnTo>
                    <a:lnTo>
                      <a:pt x="531" y="486"/>
                    </a:lnTo>
                    <a:lnTo>
                      <a:pt x="532" y="485"/>
                    </a:lnTo>
                    <a:lnTo>
                      <a:pt x="533" y="485"/>
                    </a:lnTo>
                    <a:lnTo>
                      <a:pt x="535" y="483"/>
                    </a:lnTo>
                    <a:lnTo>
                      <a:pt x="536" y="485"/>
                    </a:lnTo>
                    <a:lnTo>
                      <a:pt x="535" y="485"/>
                    </a:lnTo>
                    <a:lnTo>
                      <a:pt x="533" y="485"/>
                    </a:lnTo>
                    <a:lnTo>
                      <a:pt x="533" y="486"/>
                    </a:lnTo>
                    <a:lnTo>
                      <a:pt x="533" y="485"/>
                    </a:lnTo>
                    <a:lnTo>
                      <a:pt x="535" y="485"/>
                    </a:lnTo>
                    <a:lnTo>
                      <a:pt x="536" y="485"/>
                    </a:lnTo>
                    <a:lnTo>
                      <a:pt x="537" y="485"/>
                    </a:lnTo>
                    <a:lnTo>
                      <a:pt x="538" y="485"/>
                    </a:lnTo>
                    <a:lnTo>
                      <a:pt x="539" y="485"/>
                    </a:lnTo>
                    <a:lnTo>
                      <a:pt x="540" y="486"/>
                    </a:lnTo>
                    <a:lnTo>
                      <a:pt x="541" y="486"/>
                    </a:lnTo>
                    <a:lnTo>
                      <a:pt x="541" y="485"/>
                    </a:lnTo>
                    <a:lnTo>
                      <a:pt x="542" y="485"/>
                    </a:lnTo>
                    <a:lnTo>
                      <a:pt x="542" y="486"/>
                    </a:lnTo>
                    <a:lnTo>
                      <a:pt x="542" y="485"/>
                    </a:lnTo>
                    <a:lnTo>
                      <a:pt x="543" y="485"/>
                    </a:lnTo>
                    <a:lnTo>
                      <a:pt x="544" y="485"/>
                    </a:lnTo>
                    <a:lnTo>
                      <a:pt x="545" y="486"/>
                    </a:lnTo>
                    <a:lnTo>
                      <a:pt x="548" y="487"/>
                    </a:lnTo>
                    <a:lnTo>
                      <a:pt x="549" y="487"/>
                    </a:lnTo>
                    <a:lnTo>
                      <a:pt x="550" y="487"/>
                    </a:lnTo>
                    <a:lnTo>
                      <a:pt x="551" y="487"/>
                    </a:lnTo>
                    <a:lnTo>
                      <a:pt x="552" y="487"/>
                    </a:lnTo>
                    <a:lnTo>
                      <a:pt x="553" y="487"/>
                    </a:lnTo>
                    <a:lnTo>
                      <a:pt x="554" y="486"/>
                    </a:lnTo>
                    <a:lnTo>
                      <a:pt x="556" y="485"/>
                    </a:lnTo>
                    <a:lnTo>
                      <a:pt x="557" y="485"/>
                    </a:lnTo>
                    <a:lnTo>
                      <a:pt x="558" y="485"/>
                    </a:lnTo>
                    <a:lnTo>
                      <a:pt x="560" y="483"/>
                    </a:lnTo>
                    <a:lnTo>
                      <a:pt x="560" y="482"/>
                    </a:lnTo>
                    <a:lnTo>
                      <a:pt x="561" y="482"/>
                    </a:lnTo>
                    <a:lnTo>
                      <a:pt x="563" y="482"/>
                    </a:lnTo>
                    <a:lnTo>
                      <a:pt x="564" y="481"/>
                    </a:lnTo>
                    <a:lnTo>
                      <a:pt x="565" y="480"/>
                    </a:lnTo>
                    <a:lnTo>
                      <a:pt x="565" y="479"/>
                    </a:lnTo>
                    <a:lnTo>
                      <a:pt x="566" y="478"/>
                    </a:lnTo>
                    <a:lnTo>
                      <a:pt x="567" y="477"/>
                    </a:lnTo>
                    <a:lnTo>
                      <a:pt x="568" y="476"/>
                    </a:lnTo>
                    <a:lnTo>
                      <a:pt x="568" y="477"/>
                    </a:lnTo>
                    <a:lnTo>
                      <a:pt x="569" y="477"/>
                    </a:lnTo>
                    <a:lnTo>
                      <a:pt x="570" y="479"/>
                    </a:lnTo>
                    <a:lnTo>
                      <a:pt x="571" y="479"/>
                    </a:lnTo>
                    <a:lnTo>
                      <a:pt x="573" y="479"/>
                    </a:lnTo>
                    <a:lnTo>
                      <a:pt x="573" y="480"/>
                    </a:lnTo>
                    <a:lnTo>
                      <a:pt x="573" y="482"/>
                    </a:lnTo>
                    <a:lnTo>
                      <a:pt x="574" y="483"/>
                    </a:lnTo>
                    <a:lnTo>
                      <a:pt x="575" y="483"/>
                    </a:lnTo>
                    <a:lnTo>
                      <a:pt x="576" y="483"/>
                    </a:lnTo>
                    <a:lnTo>
                      <a:pt x="577" y="485"/>
                    </a:lnTo>
                    <a:lnTo>
                      <a:pt x="578" y="485"/>
                    </a:lnTo>
                    <a:lnTo>
                      <a:pt x="578" y="486"/>
                    </a:lnTo>
                    <a:lnTo>
                      <a:pt x="579" y="486"/>
                    </a:lnTo>
                    <a:lnTo>
                      <a:pt x="579" y="487"/>
                    </a:lnTo>
                    <a:close/>
                    <a:moveTo>
                      <a:pt x="514" y="537"/>
                    </a:moveTo>
                    <a:lnTo>
                      <a:pt x="515" y="537"/>
                    </a:lnTo>
                    <a:lnTo>
                      <a:pt x="516" y="537"/>
                    </a:lnTo>
                    <a:lnTo>
                      <a:pt x="517" y="538"/>
                    </a:lnTo>
                    <a:lnTo>
                      <a:pt x="518" y="538"/>
                    </a:lnTo>
                    <a:lnTo>
                      <a:pt x="519" y="538"/>
                    </a:lnTo>
                    <a:lnTo>
                      <a:pt x="520" y="538"/>
                    </a:lnTo>
                    <a:lnTo>
                      <a:pt x="522" y="538"/>
                    </a:lnTo>
                    <a:lnTo>
                      <a:pt x="524" y="539"/>
                    </a:lnTo>
                    <a:lnTo>
                      <a:pt x="525" y="539"/>
                    </a:lnTo>
                    <a:lnTo>
                      <a:pt x="526" y="539"/>
                    </a:lnTo>
                    <a:lnTo>
                      <a:pt x="526" y="540"/>
                    </a:lnTo>
                    <a:lnTo>
                      <a:pt x="527" y="540"/>
                    </a:lnTo>
                    <a:lnTo>
                      <a:pt x="527" y="541"/>
                    </a:lnTo>
                    <a:lnTo>
                      <a:pt x="526" y="541"/>
                    </a:lnTo>
                    <a:lnTo>
                      <a:pt x="526" y="542"/>
                    </a:lnTo>
                    <a:lnTo>
                      <a:pt x="527" y="544"/>
                    </a:lnTo>
                    <a:lnTo>
                      <a:pt x="527" y="545"/>
                    </a:lnTo>
                    <a:lnTo>
                      <a:pt x="528" y="546"/>
                    </a:lnTo>
                    <a:lnTo>
                      <a:pt x="528" y="547"/>
                    </a:lnTo>
                    <a:lnTo>
                      <a:pt x="529" y="549"/>
                    </a:lnTo>
                    <a:lnTo>
                      <a:pt x="529" y="550"/>
                    </a:lnTo>
                    <a:lnTo>
                      <a:pt x="530" y="552"/>
                    </a:lnTo>
                    <a:lnTo>
                      <a:pt x="530" y="553"/>
                    </a:lnTo>
                    <a:lnTo>
                      <a:pt x="529" y="553"/>
                    </a:lnTo>
                    <a:lnTo>
                      <a:pt x="528" y="553"/>
                    </a:lnTo>
                    <a:lnTo>
                      <a:pt x="528" y="552"/>
                    </a:lnTo>
                    <a:lnTo>
                      <a:pt x="528" y="553"/>
                    </a:lnTo>
                    <a:lnTo>
                      <a:pt x="529" y="553"/>
                    </a:lnTo>
                    <a:lnTo>
                      <a:pt x="528" y="553"/>
                    </a:lnTo>
                    <a:lnTo>
                      <a:pt x="528" y="554"/>
                    </a:lnTo>
                    <a:lnTo>
                      <a:pt x="527" y="555"/>
                    </a:lnTo>
                    <a:lnTo>
                      <a:pt x="526" y="555"/>
                    </a:lnTo>
                    <a:lnTo>
                      <a:pt x="527" y="555"/>
                    </a:lnTo>
                    <a:lnTo>
                      <a:pt x="528" y="555"/>
                    </a:lnTo>
                    <a:lnTo>
                      <a:pt x="527" y="555"/>
                    </a:lnTo>
                    <a:lnTo>
                      <a:pt x="527" y="554"/>
                    </a:lnTo>
                    <a:lnTo>
                      <a:pt x="528" y="554"/>
                    </a:lnTo>
                    <a:lnTo>
                      <a:pt x="529" y="553"/>
                    </a:lnTo>
                    <a:lnTo>
                      <a:pt x="530" y="553"/>
                    </a:lnTo>
                    <a:lnTo>
                      <a:pt x="530" y="554"/>
                    </a:lnTo>
                    <a:lnTo>
                      <a:pt x="530" y="555"/>
                    </a:lnTo>
                    <a:lnTo>
                      <a:pt x="530" y="556"/>
                    </a:lnTo>
                    <a:lnTo>
                      <a:pt x="530" y="558"/>
                    </a:lnTo>
                    <a:lnTo>
                      <a:pt x="530" y="559"/>
                    </a:lnTo>
                    <a:lnTo>
                      <a:pt x="531" y="560"/>
                    </a:lnTo>
                    <a:lnTo>
                      <a:pt x="530" y="562"/>
                    </a:lnTo>
                    <a:lnTo>
                      <a:pt x="529" y="562"/>
                    </a:lnTo>
                    <a:lnTo>
                      <a:pt x="530" y="562"/>
                    </a:lnTo>
                    <a:lnTo>
                      <a:pt x="531" y="562"/>
                    </a:lnTo>
                    <a:lnTo>
                      <a:pt x="531" y="563"/>
                    </a:lnTo>
                    <a:lnTo>
                      <a:pt x="531" y="564"/>
                    </a:lnTo>
                    <a:lnTo>
                      <a:pt x="530" y="567"/>
                    </a:lnTo>
                    <a:lnTo>
                      <a:pt x="530" y="568"/>
                    </a:lnTo>
                    <a:lnTo>
                      <a:pt x="530" y="569"/>
                    </a:lnTo>
                    <a:lnTo>
                      <a:pt x="530" y="570"/>
                    </a:lnTo>
                    <a:lnTo>
                      <a:pt x="529" y="570"/>
                    </a:lnTo>
                    <a:lnTo>
                      <a:pt x="529" y="571"/>
                    </a:lnTo>
                    <a:lnTo>
                      <a:pt x="528" y="572"/>
                    </a:lnTo>
                    <a:lnTo>
                      <a:pt x="527" y="575"/>
                    </a:lnTo>
                    <a:lnTo>
                      <a:pt x="527" y="576"/>
                    </a:lnTo>
                    <a:lnTo>
                      <a:pt x="527" y="577"/>
                    </a:lnTo>
                    <a:lnTo>
                      <a:pt x="527" y="578"/>
                    </a:lnTo>
                    <a:lnTo>
                      <a:pt x="528" y="579"/>
                    </a:lnTo>
                    <a:lnTo>
                      <a:pt x="530" y="580"/>
                    </a:lnTo>
                    <a:lnTo>
                      <a:pt x="531" y="580"/>
                    </a:lnTo>
                    <a:lnTo>
                      <a:pt x="531" y="581"/>
                    </a:lnTo>
                    <a:lnTo>
                      <a:pt x="533" y="581"/>
                    </a:lnTo>
                    <a:lnTo>
                      <a:pt x="535" y="582"/>
                    </a:lnTo>
                    <a:lnTo>
                      <a:pt x="536" y="582"/>
                    </a:lnTo>
                    <a:lnTo>
                      <a:pt x="536" y="583"/>
                    </a:lnTo>
                    <a:lnTo>
                      <a:pt x="537" y="583"/>
                    </a:lnTo>
                    <a:lnTo>
                      <a:pt x="537" y="584"/>
                    </a:lnTo>
                    <a:lnTo>
                      <a:pt x="537" y="586"/>
                    </a:lnTo>
                    <a:lnTo>
                      <a:pt x="538" y="586"/>
                    </a:lnTo>
                    <a:lnTo>
                      <a:pt x="538" y="588"/>
                    </a:lnTo>
                    <a:lnTo>
                      <a:pt x="540" y="589"/>
                    </a:lnTo>
                    <a:lnTo>
                      <a:pt x="541" y="589"/>
                    </a:lnTo>
                    <a:lnTo>
                      <a:pt x="541" y="590"/>
                    </a:lnTo>
                    <a:lnTo>
                      <a:pt x="542" y="590"/>
                    </a:lnTo>
                    <a:lnTo>
                      <a:pt x="542" y="591"/>
                    </a:lnTo>
                    <a:lnTo>
                      <a:pt x="541" y="590"/>
                    </a:lnTo>
                    <a:lnTo>
                      <a:pt x="541" y="591"/>
                    </a:lnTo>
                    <a:lnTo>
                      <a:pt x="542" y="591"/>
                    </a:lnTo>
                    <a:lnTo>
                      <a:pt x="543" y="592"/>
                    </a:lnTo>
                    <a:lnTo>
                      <a:pt x="543" y="593"/>
                    </a:lnTo>
                    <a:lnTo>
                      <a:pt x="542" y="593"/>
                    </a:lnTo>
                    <a:lnTo>
                      <a:pt x="542" y="594"/>
                    </a:lnTo>
                    <a:lnTo>
                      <a:pt x="543" y="594"/>
                    </a:lnTo>
                    <a:lnTo>
                      <a:pt x="544" y="596"/>
                    </a:lnTo>
                    <a:lnTo>
                      <a:pt x="545" y="597"/>
                    </a:lnTo>
                    <a:lnTo>
                      <a:pt x="546" y="598"/>
                    </a:lnTo>
                    <a:lnTo>
                      <a:pt x="546" y="600"/>
                    </a:lnTo>
                    <a:lnTo>
                      <a:pt x="548" y="600"/>
                    </a:lnTo>
                    <a:lnTo>
                      <a:pt x="548" y="601"/>
                    </a:lnTo>
                    <a:lnTo>
                      <a:pt x="548" y="600"/>
                    </a:lnTo>
                    <a:lnTo>
                      <a:pt x="549" y="600"/>
                    </a:lnTo>
                    <a:lnTo>
                      <a:pt x="550" y="601"/>
                    </a:lnTo>
                    <a:lnTo>
                      <a:pt x="552" y="602"/>
                    </a:lnTo>
                    <a:lnTo>
                      <a:pt x="552" y="603"/>
                    </a:lnTo>
                    <a:lnTo>
                      <a:pt x="553" y="603"/>
                    </a:lnTo>
                    <a:lnTo>
                      <a:pt x="554" y="603"/>
                    </a:lnTo>
                    <a:lnTo>
                      <a:pt x="555" y="603"/>
                    </a:lnTo>
                    <a:lnTo>
                      <a:pt x="556" y="603"/>
                    </a:lnTo>
                    <a:lnTo>
                      <a:pt x="557" y="603"/>
                    </a:lnTo>
                    <a:lnTo>
                      <a:pt x="557" y="604"/>
                    </a:lnTo>
                    <a:lnTo>
                      <a:pt x="558" y="604"/>
                    </a:lnTo>
                    <a:lnTo>
                      <a:pt x="560" y="605"/>
                    </a:lnTo>
                    <a:lnTo>
                      <a:pt x="560" y="606"/>
                    </a:lnTo>
                    <a:lnTo>
                      <a:pt x="561" y="607"/>
                    </a:lnTo>
                    <a:lnTo>
                      <a:pt x="560" y="607"/>
                    </a:lnTo>
                    <a:lnTo>
                      <a:pt x="560" y="606"/>
                    </a:lnTo>
                    <a:lnTo>
                      <a:pt x="558" y="606"/>
                    </a:lnTo>
                    <a:lnTo>
                      <a:pt x="557" y="606"/>
                    </a:lnTo>
                    <a:lnTo>
                      <a:pt x="556" y="606"/>
                    </a:lnTo>
                    <a:lnTo>
                      <a:pt x="555" y="606"/>
                    </a:lnTo>
                    <a:lnTo>
                      <a:pt x="555" y="605"/>
                    </a:lnTo>
                    <a:lnTo>
                      <a:pt x="555" y="606"/>
                    </a:lnTo>
                    <a:lnTo>
                      <a:pt x="554" y="605"/>
                    </a:lnTo>
                    <a:lnTo>
                      <a:pt x="554" y="606"/>
                    </a:lnTo>
                    <a:lnTo>
                      <a:pt x="553" y="606"/>
                    </a:lnTo>
                    <a:lnTo>
                      <a:pt x="553" y="605"/>
                    </a:lnTo>
                    <a:lnTo>
                      <a:pt x="553" y="606"/>
                    </a:lnTo>
                    <a:lnTo>
                      <a:pt x="552" y="605"/>
                    </a:lnTo>
                    <a:lnTo>
                      <a:pt x="552" y="606"/>
                    </a:lnTo>
                    <a:lnTo>
                      <a:pt x="551" y="606"/>
                    </a:lnTo>
                    <a:lnTo>
                      <a:pt x="551" y="605"/>
                    </a:lnTo>
                    <a:lnTo>
                      <a:pt x="550" y="605"/>
                    </a:lnTo>
                    <a:lnTo>
                      <a:pt x="550" y="604"/>
                    </a:lnTo>
                    <a:lnTo>
                      <a:pt x="549" y="604"/>
                    </a:lnTo>
                    <a:lnTo>
                      <a:pt x="550" y="604"/>
                    </a:lnTo>
                    <a:lnTo>
                      <a:pt x="550" y="605"/>
                    </a:lnTo>
                    <a:lnTo>
                      <a:pt x="551" y="605"/>
                    </a:lnTo>
                    <a:lnTo>
                      <a:pt x="551" y="606"/>
                    </a:lnTo>
                    <a:lnTo>
                      <a:pt x="552" y="606"/>
                    </a:lnTo>
                    <a:lnTo>
                      <a:pt x="551" y="606"/>
                    </a:lnTo>
                    <a:lnTo>
                      <a:pt x="551" y="607"/>
                    </a:lnTo>
                    <a:lnTo>
                      <a:pt x="550" y="607"/>
                    </a:lnTo>
                    <a:lnTo>
                      <a:pt x="549" y="606"/>
                    </a:lnTo>
                    <a:lnTo>
                      <a:pt x="548" y="605"/>
                    </a:lnTo>
                    <a:lnTo>
                      <a:pt x="548" y="604"/>
                    </a:lnTo>
                    <a:lnTo>
                      <a:pt x="546" y="604"/>
                    </a:lnTo>
                    <a:lnTo>
                      <a:pt x="546" y="603"/>
                    </a:lnTo>
                    <a:lnTo>
                      <a:pt x="545" y="603"/>
                    </a:lnTo>
                    <a:lnTo>
                      <a:pt x="545" y="602"/>
                    </a:lnTo>
                    <a:lnTo>
                      <a:pt x="544" y="602"/>
                    </a:lnTo>
                    <a:lnTo>
                      <a:pt x="544" y="601"/>
                    </a:lnTo>
                    <a:lnTo>
                      <a:pt x="542" y="601"/>
                    </a:lnTo>
                    <a:lnTo>
                      <a:pt x="543" y="601"/>
                    </a:lnTo>
                    <a:lnTo>
                      <a:pt x="543" y="602"/>
                    </a:lnTo>
                    <a:lnTo>
                      <a:pt x="544" y="602"/>
                    </a:lnTo>
                    <a:lnTo>
                      <a:pt x="544" y="603"/>
                    </a:lnTo>
                    <a:lnTo>
                      <a:pt x="545" y="603"/>
                    </a:lnTo>
                    <a:lnTo>
                      <a:pt x="545" y="604"/>
                    </a:lnTo>
                    <a:lnTo>
                      <a:pt x="546" y="604"/>
                    </a:lnTo>
                    <a:lnTo>
                      <a:pt x="549" y="606"/>
                    </a:lnTo>
                    <a:lnTo>
                      <a:pt x="549" y="607"/>
                    </a:lnTo>
                    <a:lnTo>
                      <a:pt x="550" y="607"/>
                    </a:lnTo>
                    <a:lnTo>
                      <a:pt x="550" y="608"/>
                    </a:lnTo>
                    <a:lnTo>
                      <a:pt x="550" y="609"/>
                    </a:lnTo>
                    <a:lnTo>
                      <a:pt x="551" y="609"/>
                    </a:lnTo>
                    <a:lnTo>
                      <a:pt x="551" y="610"/>
                    </a:lnTo>
                    <a:lnTo>
                      <a:pt x="552" y="610"/>
                    </a:lnTo>
                    <a:lnTo>
                      <a:pt x="553" y="610"/>
                    </a:lnTo>
                    <a:lnTo>
                      <a:pt x="554" y="611"/>
                    </a:lnTo>
                    <a:lnTo>
                      <a:pt x="555" y="610"/>
                    </a:lnTo>
                    <a:lnTo>
                      <a:pt x="556" y="610"/>
                    </a:lnTo>
                    <a:lnTo>
                      <a:pt x="556" y="611"/>
                    </a:lnTo>
                    <a:lnTo>
                      <a:pt x="555" y="611"/>
                    </a:lnTo>
                    <a:lnTo>
                      <a:pt x="555" y="613"/>
                    </a:lnTo>
                    <a:lnTo>
                      <a:pt x="555" y="614"/>
                    </a:lnTo>
                    <a:lnTo>
                      <a:pt x="557" y="614"/>
                    </a:lnTo>
                    <a:lnTo>
                      <a:pt x="558" y="614"/>
                    </a:lnTo>
                    <a:lnTo>
                      <a:pt x="560" y="613"/>
                    </a:lnTo>
                    <a:lnTo>
                      <a:pt x="561" y="613"/>
                    </a:lnTo>
                    <a:lnTo>
                      <a:pt x="562" y="614"/>
                    </a:lnTo>
                    <a:lnTo>
                      <a:pt x="563" y="615"/>
                    </a:lnTo>
                    <a:lnTo>
                      <a:pt x="563" y="616"/>
                    </a:lnTo>
                    <a:lnTo>
                      <a:pt x="562" y="616"/>
                    </a:lnTo>
                    <a:lnTo>
                      <a:pt x="561" y="615"/>
                    </a:lnTo>
                    <a:lnTo>
                      <a:pt x="560" y="615"/>
                    </a:lnTo>
                    <a:lnTo>
                      <a:pt x="557" y="616"/>
                    </a:lnTo>
                    <a:lnTo>
                      <a:pt x="558" y="617"/>
                    </a:lnTo>
                    <a:lnTo>
                      <a:pt x="558" y="618"/>
                    </a:lnTo>
                    <a:lnTo>
                      <a:pt x="558" y="619"/>
                    </a:lnTo>
                    <a:lnTo>
                      <a:pt x="558" y="620"/>
                    </a:lnTo>
                    <a:lnTo>
                      <a:pt x="560" y="620"/>
                    </a:lnTo>
                    <a:lnTo>
                      <a:pt x="560" y="622"/>
                    </a:lnTo>
                    <a:lnTo>
                      <a:pt x="560" y="623"/>
                    </a:lnTo>
                    <a:lnTo>
                      <a:pt x="561" y="624"/>
                    </a:lnTo>
                    <a:lnTo>
                      <a:pt x="562" y="627"/>
                    </a:lnTo>
                    <a:lnTo>
                      <a:pt x="563" y="628"/>
                    </a:lnTo>
                    <a:lnTo>
                      <a:pt x="563" y="627"/>
                    </a:lnTo>
                    <a:lnTo>
                      <a:pt x="564" y="627"/>
                    </a:lnTo>
                    <a:lnTo>
                      <a:pt x="565" y="627"/>
                    </a:lnTo>
                    <a:lnTo>
                      <a:pt x="565" y="628"/>
                    </a:lnTo>
                    <a:lnTo>
                      <a:pt x="565" y="629"/>
                    </a:lnTo>
                    <a:lnTo>
                      <a:pt x="566" y="630"/>
                    </a:lnTo>
                    <a:lnTo>
                      <a:pt x="566" y="631"/>
                    </a:lnTo>
                    <a:lnTo>
                      <a:pt x="567" y="631"/>
                    </a:lnTo>
                    <a:lnTo>
                      <a:pt x="568" y="630"/>
                    </a:lnTo>
                    <a:lnTo>
                      <a:pt x="569" y="630"/>
                    </a:lnTo>
                    <a:lnTo>
                      <a:pt x="570" y="629"/>
                    </a:lnTo>
                    <a:lnTo>
                      <a:pt x="569" y="628"/>
                    </a:lnTo>
                    <a:lnTo>
                      <a:pt x="569" y="627"/>
                    </a:lnTo>
                    <a:lnTo>
                      <a:pt x="571" y="626"/>
                    </a:lnTo>
                    <a:lnTo>
                      <a:pt x="573" y="624"/>
                    </a:lnTo>
                    <a:lnTo>
                      <a:pt x="573" y="626"/>
                    </a:lnTo>
                    <a:lnTo>
                      <a:pt x="571" y="628"/>
                    </a:lnTo>
                    <a:lnTo>
                      <a:pt x="570" y="631"/>
                    </a:lnTo>
                    <a:lnTo>
                      <a:pt x="567" y="633"/>
                    </a:lnTo>
                    <a:lnTo>
                      <a:pt x="567" y="634"/>
                    </a:lnTo>
                    <a:lnTo>
                      <a:pt x="567" y="633"/>
                    </a:lnTo>
                    <a:lnTo>
                      <a:pt x="565" y="632"/>
                    </a:lnTo>
                    <a:lnTo>
                      <a:pt x="564" y="631"/>
                    </a:lnTo>
                    <a:lnTo>
                      <a:pt x="564" y="630"/>
                    </a:lnTo>
                    <a:lnTo>
                      <a:pt x="563" y="630"/>
                    </a:lnTo>
                    <a:lnTo>
                      <a:pt x="553" y="620"/>
                    </a:lnTo>
                    <a:lnTo>
                      <a:pt x="551" y="619"/>
                    </a:lnTo>
                    <a:lnTo>
                      <a:pt x="550" y="617"/>
                    </a:lnTo>
                    <a:lnTo>
                      <a:pt x="549" y="617"/>
                    </a:lnTo>
                    <a:lnTo>
                      <a:pt x="549" y="616"/>
                    </a:lnTo>
                    <a:lnTo>
                      <a:pt x="548" y="616"/>
                    </a:lnTo>
                    <a:lnTo>
                      <a:pt x="548" y="615"/>
                    </a:lnTo>
                    <a:lnTo>
                      <a:pt x="546" y="614"/>
                    </a:lnTo>
                    <a:lnTo>
                      <a:pt x="546" y="613"/>
                    </a:lnTo>
                    <a:lnTo>
                      <a:pt x="545" y="613"/>
                    </a:lnTo>
                    <a:lnTo>
                      <a:pt x="546" y="613"/>
                    </a:lnTo>
                    <a:lnTo>
                      <a:pt x="546" y="611"/>
                    </a:lnTo>
                    <a:lnTo>
                      <a:pt x="545" y="611"/>
                    </a:lnTo>
                    <a:lnTo>
                      <a:pt x="546" y="611"/>
                    </a:lnTo>
                    <a:lnTo>
                      <a:pt x="545" y="611"/>
                    </a:lnTo>
                    <a:lnTo>
                      <a:pt x="544" y="611"/>
                    </a:lnTo>
                    <a:lnTo>
                      <a:pt x="544" y="610"/>
                    </a:lnTo>
                    <a:lnTo>
                      <a:pt x="543" y="610"/>
                    </a:lnTo>
                    <a:lnTo>
                      <a:pt x="543" y="609"/>
                    </a:lnTo>
                    <a:lnTo>
                      <a:pt x="543" y="608"/>
                    </a:lnTo>
                    <a:lnTo>
                      <a:pt x="544" y="608"/>
                    </a:lnTo>
                    <a:lnTo>
                      <a:pt x="543" y="608"/>
                    </a:lnTo>
                    <a:lnTo>
                      <a:pt x="543" y="607"/>
                    </a:lnTo>
                    <a:lnTo>
                      <a:pt x="542" y="607"/>
                    </a:lnTo>
                    <a:lnTo>
                      <a:pt x="542" y="608"/>
                    </a:lnTo>
                    <a:lnTo>
                      <a:pt x="542" y="607"/>
                    </a:lnTo>
                    <a:lnTo>
                      <a:pt x="541" y="607"/>
                    </a:lnTo>
                    <a:lnTo>
                      <a:pt x="541" y="606"/>
                    </a:lnTo>
                    <a:lnTo>
                      <a:pt x="540" y="605"/>
                    </a:lnTo>
                    <a:lnTo>
                      <a:pt x="540" y="604"/>
                    </a:lnTo>
                    <a:lnTo>
                      <a:pt x="539" y="603"/>
                    </a:lnTo>
                    <a:lnTo>
                      <a:pt x="539" y="602"/>
                    </a:lnTo>
                    <a:lnTo>
                      <a:pt x="538" y="602"/>
                    </a:lnTo>
                    <a:lnTo>
                      <a:pt x="538" y="601"/>
                    </a:lnTo>
                    <a:lnTo>
                      <a:pt x="537" y="601"/>
                    </a:lnTo>
                    <a:lnTo>
                      <a:pt x="537" y="600"/>
                    </a:lnTo>
                    <a:lnTo>
                      <a:pt x="536" y="598"/>
                    </a:lnTo>
                    <a:lnTo>
                      <a:pt x="536" y="597"/>
                    </a:lnTo>
                    <a:lnTo>
                      <a:pt x="536" y="596"/>
                    </a:lnTo>
                    <a:lnTo>
                      <a:pt x="535" y="596"/>
                    </a:lnTo>
                    <a:lnTo>
                      <a:pt x="535" y="595"/>
                    </a:lnTo>
                    <a:lnTo>
                      <a:pt x="533" y="595"/>
                    </a:lnTo>
                    <a:lnTo>
                      <a:pt x="533" y="594"/>
                    </a:lnTo>
                    <a:lnTo>
                      <a:pt x="533" y="593"/>
                    </a:lnTo>
                    <a:lnTo>
                      <a:pt x="532" y="593"/>
                    </a:lnTo>
                    <a:lnTo>
                      <a:pt x="532" y="592"/>
                    </a:lnTo>
                    <a:lnTo>
                      <a:pt x="532" y="591"/>
                    </a:lnTo>
                    <a:lnTo>
                      <a:pt x="531" y="591"/>
                    </a:lnTo>
                    <a:lnTo>
                      <a:pt x="531" y="590"/>
                    </a:lnTo>
                    <a:lnTo>
                      <a:pt x="531" y="589"/>
                    </a:lnTo>
                    <a:lnTo>
                      <a:pt x="531" y="588"/>
                    </a:lnTo>
                    <a:lnTo>
                      <a:pt x="530" y="586"/>
                    </a:lnTo>
                    <a:lnTo>
                      <a:pt x="530" y="585"/>
                    </a:lnTo>
                    <a:lnTo>
                      <a:pt x="529" y="584"/>
                    </a:lnTo>
                    <a:lnTo>
                      <a:pt x="529" y="583"/>
                    </a:lnTo>
                    <a:lnTo>
                      <a:pt x="529" y="582"/>
                    </a:lnTo>
                    <a:lnTo>
                      <a:pt x="528" y="582"/>
                    </a:lnTo>
                    <a:lnTo>
                      <a:pt x="528" y="581"/>
                    </a:lnTo>
                    <a:lnTo>
                      <a:pt x="527" y="581"/>
                    </a:lnTo>
                    <a:lnTo>
                      <a:pt x="527" y="580"/>
                    </a:lnTo>
                    <a:lnTo>
                      <a:pt x="526" y="579"/>
                    </a:lnTo>
                    <a:lnTo>
                      <a:pt x="526" y="578"/>
                    </a:lnTo>
                    <a:lnTo>
                      <a:pt x="526" y="579"/>
                    </a:lnTo>
                    <a:lnTo>
                      <a:pt x="525" y="579"/>
                    </a:lnTo>
                    <a:lnTo>
                      <a:pt x="525" y="578"/>
                    </a:lnTo>
                    <a:lnTo>
                      <a:pt x="525" y="577"/>
                    </a:lnTo>
                    <a:lnTo>
                      <a:pt x="524" y="577"/>
                    </a:lnTo>
                    <a:lnTo>
                      <a:pt x="524" y="576"/>
                    </a:lnTo>
                    <a:lnTo>
                      <a:pt x="523" y="575"/>
                    </a:lnTo>
                    <a:lnTo>
                      <a:pt x="523" y="573"/>
                    </a:lnTo>
                    <a:lnTo>
                      <a:pt x="522" y="573"/>
                    </a:lnTo>
                    <a:lnTo>
                      <a:pt x="522" y="572"/>
                    </a:lnTo>
                    <a:lnTo>
                      <a:pt x="520" y="572"/>
                    </a:lnTo>
                    <a:lnTo>
                      <a:pt x="520" y="571"/>
                    </a:lnTo>
                    <a:lnTo>
                      <a:pt x="519" y="571"/>
                    </a:lnTo>
                    <a:lnTo>
                      <a:pt x="519" y="570"/>
                    </a:lnTo>
                    <a:lnTo>
                      <a:pt x="519" y="569"/>
                    </a:lnTo>
                    <a:lnTo>
                      <a:pt x="518" y="569"/>
                    </a:lnTo>
                    <a:lnTo>
                      <a:pt x="518" y="568"/>
                    </a:lnTo>
                    <a:lnTo>
                      <a:pt x="517" y="568"/>
                    </a:lnTo>
                    <a:lnTo>
                      <a:pt x="517" y="567"/>
                    </a:lnTo>
                    <a:lnTo>
                      <a:pt x="516" y="566"/>
                    </a:lnTo>
                    <a:lnTo>
                      <a:pt x="516" y="565"/>
                    </a:lnTo>
                    <a:lnTo>
                      <a:pt x="516" y="564"/>
                    </a:lnTo>
                    <a:lnTo>
                      <a:pt x="515" y="564"/>
                    </a:lnTo>
                    <a:lnTo>
                      <a:pt x="515" y="563"/>
                    </a:lnTo>
                    <a:lnTo>
                      <a:pt x="514" y="563"/>
                    </a:lnTo>
                    <a:lnTo>
                      <a:pt x="514" y="562"/>
                    </a:lnTo>
                    <a:lnTo>
                      <a:pt x="514" y="560"/>
                    </a:lnTo>
                    <a:lnTo>
                      <a:pt x="513" y="560"/>
                    </a:lnTo>
                    <a:lnTo>
                      <a:pt x="513" y="559"/>
                    </a:lnTo>
                    <a:lnTo>
                      <a:pt x="513" y="558"/>
                    </a:lnTo>
                    <a:lnTo>
                      <a:pt x="512" y="558"/>
                    </a:lnTo>
                    <a:lnTo>
                      <a:pt x="512" y="557"/>
                    </a:lnTo>
                    <a:lnTo>
                      <a:pt x="512" y="556"/>
                    </a:lnTo>
                    <a:lnTo>
                      <a:pt x="512" y="555"/>
                    </a:lnTo>
                    <a:lnTo>
                      <a:pt x="512" y="554"/>
                    </a:lnTo>
                    <a:lnTo>
                      <a:pt x="512" y="553"/>
                    </a:lnTo>
                    <a:lnTo>
                      <a:pt x="512" y="552"/>
                    </a:lnTo>
                    <a:lnTo>
                      <a:pt x="511" y="552"/>
                    </a:lnTo>
                    <a:lnTo>
                      <a:pt x="512" y="552"/>
                    </a:lnTo>
                    <a:lnTo>
                      <a:pt x="512" y="551"/>
                    </a:lnTo>
                    <a:lnTo>
                      <a:pt x="511" y="551"/>
                    </a:lnTo>
                    <a:lnTo>
                      <a:pt x="511" y="550"/>
                    </a:lnTo>
                    <a:lnTo>
                      <a:pt x="511" y="549"/>
                    </a:lnTo>
                    <a:lnTo>
                      <a:pt x="511" y="547"/>
                    </a:lnTo>
                    <a:lnTo>
                      <a:pt x="511" y="546"/>
                    </a:lnTo>
                    <a:lnTo>
                      <a:pt x="511" y="545"/>
                    </a:lnTo>
                    <a:lnTo>
                      <a:pt x="511" y="544"/>
                    </a:lnTo>
                    <a:lnTo>
                      <a:pt x="511" y="543"/>
                    </a:lnTo>
                    <a:lnTo>
                      <a:pt x="511" y="542"/>
                    </a:lnTo>
                    <a:lnTo>
                      <a:pt x="511" y="541"/>
                    </a:lnTo>
                    <a:lnTo>
                      <a:pt x="510" y="540"/>
                    </a:lnTo>
                    <a:lnTo>
                      <a:pt x="510" y="539"/>
                    </a:lnTo>
                    <a:lnTo>
                      <a:pt x="509" y="539"/>
                    </a:lnTo>
                    <a:lnTo>
                      <a:pt x="509" y="538"/>
                    </a:lnTo>
                    <a:lnTo>
                      <a:pt x="507" y="538"/>
                    </a:lnTo>
                    <a:lnTo>
                      <a:pt x="507" y="537"/>
                    </a:lnTo>
                    <a:lnTo>
                      <a:pt x="507" y="536"/>
                    </a:lnTo>
                    <a:lnTo>
                      <a:pt x="506" y="536"/>
                    </a:lnTo>
                    <a:lnTo>
                      <a:pt x="506" y="534"/>
                    </a:lnTo>
                    <a:lnTo>
                      <a:pt x="506" y="533"/>
                    </a:lnTo>
                    <a:lnTo>
                      <a:pt x="506" y="532"/>
                    </a:lnTo>
                    <a:lnTo>
                      <a:pt x="505" y="531"/>
                    </a:lnTo>
                    <a:lnTo>
                      <a:pt x="505" y="530"/>
                    </a:lnTo>
                    <a:lnTo>
                      <a:pt x="505" y="531"/>
                    </a:lnTo>
                    <a:lnTo>
                      <a:pt x="506" y="531"/>
                    </a:lnTo>
                    <a:lnTo>
                      <a:pt x="506" y="532"/>
                    </a:lnTo>
                    <a:lnTo>
                      <a:pt x="507" y="533"/>
                    </a:lnTo>
                    <a:lnTo>
                      <a:pt x="509" y="534"/>
                    </a:lnTo>
                    <a:lnTo>
                      <a:pt x="511" y="536"/>
                    </a:lnTo>
                    <a:lnTo>
                      <a:pt x="512" y="537"/>
                    </a:lnTo>
                    <a:lnTo>
                      <a:pt x="513" y="537"/>
                    </a:lnTo>
                    <a:lnTo>
                      <a:pt x="514" y="537"/>
                    </a:lnTo>
                    <a:close/>
                    <a:moveTo>
                      <a:pt x="489" y="506"/>
                    </a:moveTo>
                    <a:lnTo>
                      <a:pt x="490" y="510"/>
                    </a:lnTo>
                    <a:lnTo>
                      <a:pt x="492" y="515"/>
                    </a:lnTo>
                    <a:lnTo>
                      <a:pt x="494" y="519"/>
                    </a:lnTo>
                    <a:lnTo>
                      <a:pt x="496" y="521"/>
                    </a:lnTo>
                    <a:lnTo>
                      <a:pt x="497" y="524"/>
                    </a:lnTo>
                    <a:lnTo>
                      <a:pt x="497" y="525"/>
                    </a:lnTo>
                    <a:lnTo>
                      <a:pt x="497" y="526"/>
                    </a:lnTo>
                    <a:lnTo>
                      <a:pt x="498" y="527"/>
                    </a:lnTo>
                    <a:lnTo>
                      <a:pt x="498" y="528"/>
                    </a:lnTo>
                    <a:lnTo>
                      <a:pt x="498" y="529"/>
                    </a:lnTo>
                    <a:lnTo>
                      <a:pt x="499" y="530"/>
                    </a:lnTo>
                    <a:lnTo>
                      <a:pt x="499" y="531"/>
                    </a:lnTo>
                    <a:lnTo>
                      <a:pt x="499" y="532"/>
                    </a:lnTo>
                    <a:lnTo>
                      <a:pt x="499" y="533"/>
                    </a:lnTo>
                    <a:lnTo>
                      <a:pt x="499" y="534"/>
                    </a:lnTo>
                    <a:lnTo>
                      <a:pt x="499" y="536"/>
                    </a:lnTo>
                    <a:lnTo>
                      <a:pt x="498" y="537"/>
                    </a:lnTo>
                    <a:lnTo>
                      <a:pt x="498" y="539"/>
                    </a:lnTo>
                    <a:lnTo>
                      <a:pt x="499" y="538"/>
                    </a:lnTo>
                    <a:lnTo>
                      <a:pt x="499" y="539"/>
                    </a:lnTo>
                    <a:lnTo>
                      <a:pt x="499" y="540"/>
                    </a:lnTo>
                    <a:lnTo>
                      <a:pt x="498" y="541"/>
                    </a:lnTo>
                    <a:lnTo>
                      <a:pt x="498" y="543"/>
                    </a:lnTo>
                    <a:lnTo>
                      <a:pt x="497" y="544"/>
                    </a:lnTo>
                    <a:lnTo>
                      <a:pt x="497" y="546"/>
                    </a:lnTo>
                    <a:lnTo>
                      <a:pt x="496" y="547"/>
                    </a:lnTo>
                    <a:lnTo>
                      <a:pt x="496" y="549"/>
                    </a:lnTo>
                    <a:lnTo>
                      <a:pt x="494" y="549"/>
                    </a:lnTo>
                    <a:lnTo>
                      <a:pt x="494" y="550"/>
                    </a:lnTo>
                    <a:lnTo>
                      <a:pt x="494" y="551"/>
                    </a:lnTo>
                    <a:lnTo>
                      <a:pt x="493" y="552"/>
                    </a:lnTo>
                    <a:lnTo>
                      <a:pt x="493" y="553"/>
                    </a:lnTo>
                    <a:lnTo>
                      <a:pt x="492" y="554"/>
                    </a:lnTo>
                    <a:lnTo>
                      <a:pt x="492" y="555"/>
                    </a:lnTo>
                    <a:lnTo>
                      <a:pt x="492" y="556"/>
                    </a:lnTo>
                    <a:lnTo>
                      <a:pt x="491" y="556"/>
                    </a:lnTo>
                    <a:lnTo>
                      <a:pt x="491" y="557"/>
                    </a:lnTo>
                    <a:lnTo>
                      <a:pt x="490" y="557"/>
                    </a:lnTo>
                    <a:lnTo>
                      <a:pt x="489" y="557"/>
                    </a:lnTo>
                    <a:lnTo>
                      <a:pt x="488" y="556"/>
                    </a:lnTo>
                    <a:lnTo>
                      <a:pt x="487" y="555"/>
                    </a:lnTo>
                    <a:lnTo>
                      <a:pt x="486" y="555"/>
                    </a:lnTo>
                    <a:lnTo>
                      <a:pt x="487" y="556"/>
                    </a:lnTo>
                    <a:lnTo>
                      <a:pt x="487" y="557"/>
                    </a:lnTo>
                    <a:lnTo>
                      <a:pt x="488" y="557"/>
                    </a:lnTo>
                    <a:lnTo>
                      <a:pt x="489" y="557"/>
                    </a:lnTo>
                    <a:lnTo>
                      <a:pt x="489" y="558"/>
                    </a:lnTo>
                    <a:lnTo>
                      <a:pt x="490" y="558"/>
                    </a:lnTo>
                    <a:lnTo>
                      <a:pt x="491" y="558"/>
                    </a:lnTo>
                    <a:lnTo>
                      <a:pt x="491" y="559"/>
                    </a:lnTo>
                    <a:lnTo>
                      <a:pt x="490" y="560"/>
                    </a:lnTo>
                    <a:lnTo>
                      <a:pt x="490" y="562"/>
                    </a:lnTo>
                    <a:lnTo>
                      <a:pt x="489" y="563"/>
                    </a:lnTo>
                    <a:lnTo>
                      <a:pt x="489" y="564"/>
                    </a:lnTo>
                    <a:lnTo>
                      <a:pt x="488" y="563"/>
                    </a:lnTo>
                    <a:lnTo>
                      <a:pt x="488" y="564"/>
                    </a:lnTo>
                    <a:lnTo>
                      <a:pt x="489" y="564"/>
                    </a:lnTo>
                    <a:lnTo>
                      <a:pt x="488" y="564"/>
                    </a:lnTo>
                    <a:lnTo>
                      <a:pt x="488" y="565"/>
                    </a:lnTo>
                    <a:lnTo>
                      <a:pt x="487" y="567"/>
                    </a:lnTo>
                    <a:lnTo>
                      <a:pt x="487" y="568"/>
                    </a:lnTo>
                    <a:lnTo>
                      <a:pt x="486" y="569"/>
                    </a:lnTo>
                    <a:lnTo>
                      <a:pt x="486" y="570"/>
                    </a:lnTo>
                    <a:lnTo>
                      <a:pt x="486" y="571"/>
                    </a:lnTo>
                    <a:lnTo>
                      <a:pt x="485" y="571"/>
                    </a:lnTo>
                    <a:lnTo>
                      <a:pt x="485" y="572"/>
                    </a:lnTo>
                    <a:lnTo>
                      <a:pt x="485" y="573"/>
                    </a:lnTo>
                    <a:lnTo>
                      <a:pt x="484" y="573"/>
                    </a:lnTo>
                    <a:lnTo>
                      <a:pt x="484" y="575"/>
                    </a:lnTo>
                    <a:lnTo>
                      <a:pt x="483" y="576"/>
                    </a:lnTo>
                    <a:lnTo>
                      <a:pt x="483" y="577"/>
                    </a:lnTo>
                    <a:lnTo>
                      <a:pt x="481" y="578"/>
                    </a:lnTo>
                    <a:lnTo>
                      <a:pt x="480" y="579"/>
                    </a:lnTo>
                    <a:lnTo>
                      <a:pt x="477" y="582"/>
                    </a:lnTo>
                    <a:lnTo>
                      <a:pt x="476" y="583"/>
                    </a:lnTo>
                    <a:lnTo>
                      <a:pt x="476" y="584"/>
                    </a:lnTo>
                    <a:lnTo>
                      <a:pt x="475" y="584"/>
                    </a:lnTo>
                    <a:lnTo>
                      <a:pt x="474" y="584"/>
                    </a:lnTo>
                    <a:lnTo>
                      <a:pt x="474" y="585"/>
                    </a:lnTo>
                    <a:lnTo>
                      <a:pt x="473" y="585"/>
                    </a:lnTo>
                    <a:lnTo>
                      <a:pt x="474" y="585"/>
                    </a:lnTo>
                    <a:lnTo>
                      <a:pt x="474" y="586"/>
                    </a:lnTo>
                    <a:lnTo>
                      <a:pt x="473" y="585"/>
                    </a:lnTo>
                    <a:lnTo>
                      <a:pt x="473" y="586"/>
                    </a:lnTo>
                    <a:lnTo>
                      <a:pt x="472" y="586"/>
                    </a:lnTo>
                    <a:lnTo>
                      <a:pt x="472" y="588"/>
                    </a:lnTo>
                    <a:lnTo>
                      <a:pt x="471" y="588"/>
                    </a:lnTo>
                    <a:lnTo>
                      <a:pt x="471" y="589"/>
                    </a:lnTo>
                    <a:lnTo>
                      <a:pt x="470" y="590"/>
                    </a:lnTo>
                    <a:lnTo>
                      <a:pt x="468" y="591"/>
                    </a:lnTo>
                    <a:lnTo>
                      <a:pt x="468" y="592"/>
                    </a:lnTo>
                    <a:lnTo>
                      <a:pt x="467" y="592"/>
                    </a:lnTo>
                    <a:lnTo>
                      <a:pt x="467" y="593"/>
                    </a:lnTo>
                    <a:lnTo>
                      <a:pt x="466" y="594"/>
                    </a:lnTo>
                    <a:lnTo>
                      <a:pt x="466" y="595"/>
                    </a:lnTo>
                    <a:lnTo>
                      <a:pt x="465" y="595"/>
                    </a:lnTo>
                    <a:lnTo>
                      <a:pt x="465" y="596"/>
                    </a:lnTo>
                    <a:lnTo>
                      <a:pt x="462" y="603"/>
                    </a:lnTo>
                    <a:lnTo>
                      <a:pt x="462" y="604"/>
                    </a:lnTo>
                    <a:lnTo>
                      <a:pt x="461" y="604"/>
                    </a:lnTo>
                    <a:lnTo>
                      <a:pt x="461" y="605"/>
                    </a:lnTo>
                    <a:lnTo>
                      <a:pt x="460" y="605"/>
                    </a:lnTo>
                    <a:lnTo>
                      <a:pt x="460" y="606"/>
                    </a:lnTo>
                    <a:lnTo>
                      <a:pt x="460" y="607"/>
                    </a:lnTo>
                    <a:lnTo>
                      <a:pt x="459" y="606"/>
                    </a:lnTo>
                    <a:lnTo>
                      <a:pt x="459" y="607"/>
                    </a:lnTo>
                    <a:lnTo>
                      <a:pt x="459" y="608"/>
                    </a:lnTo>
                    <a:lnTo>
                      <a:pt x="458" y="608"/>
                    </a:lnTo>
                    <a:lnTo>
                      <a:pt x="458" y="609"/>
                    </a:lnTo>
                    <a:lnTo>
                      <a:pt x="457" y="609"/>
                    </a:lnTo>
                    <a:lnTo>
                      <a:pt x="457" y="610"/>
                    </a:lnTo>
                    <a:lnTo>
                      <a:pt x="455" y="610"/>
                    </a:lnTo>
                    <a:lnTo>
                      <a:pt x="455" y="611"/>
                    </a:lnTo>
                    <a:lnTo>
                      <a:pt x="454" y="613"/>
                    </a:lnTo>
                    <a:lnTo>
                      <a:pt x="454" y="614"/>
                    </a:lnTo>
                    <a:lnTo>
                      <a:pt x="453" y="614"/>
                    </a:lnTo>
                    <a:lnTo>
                      <a:pt x="453" y="615"/>
                    </a:lnTo>
                    <a:lnTo>
                      <a:pt x="453" y="614"/>
                    </a:lnTo>
                    <a:lnTo>
                      <a:pt x="452" y="614"/>
                    </a:lnTo>
                    <a:lnTo>
                      <a:pt x="451" y="613"/>
                    </a:lnTo>
                    <a:lnTo>
                      <a:pt x="450" y="613"/>
                    </a:lnTo>
                    <a:lnTo>
                      <a:pt x="449" y="613"/>
                    </a:lnTo>
                    <a:lnTo>
                      <a:pt x="449" y="611"/>
                    </a:lnTo>
                    <a:lnTo>
                      <a:pt x="448" y="611"/>
                    </a:lnTo>
                    <a:lnTo>
                      <a:pt x="447" y="610"/>
                    </a:lnTo>
                    <a:lnTo>
                      <a:pt x="446" y="609"/>
                    </a:lnTo>
                    <a:lnTo>
                      <a:pt x="445" y="608"/>
                    </a:lnTo>
                    <a:lnTo>
                      <a:pt x="444" y="607"/>
                    </a:lnTo>
                    <a:lnTo>
                      <a:pt x="442" y="607"/>
                    </a:lnTo>
                    <a:lnTo>
                      <a:pt x="442" y="606"/>
                    </a:lnTo>
                    <a:lnTo>
                      <a:pt x="444" y="606"/>
                    </a:lnTo>
                    <a:lnTo>
                      <a:pt x="445" y="606"/>
                    </a:lnTo>
                    <a:lnTo>
                      <a:pt x="446" y="606"/>
                    </a:lnTo>
                    <a:lnTo>
                      <a:pt x="446" y="605"/>
                    </a:lnTo>
                    <a:lnTo>
                      <a:pt x="447" y="605"/>
                    </a:lnTo>
                    <a:lnTo>
                      <a:pt x="448" y="605"/>
                    </a:lnTo>
                    <a:lnTo>
                      <a:pt x="449" y="605"/>
                    </a:lnTo>
                    <a:lnTo>
                      <a:pt x="450" y="604"/>
                    </a:lnTo>
                    <a:lnTo>
                      <a:pt x="451" y="604"/>
                    </a:lnTo>
                    <a:lnTo>
                      <a:pt x="451" y="603"/>
                    </a:lnTo>
                    <a:lnTo>
                      <a:pt x="452" y="602"/>
                    </a:lnTo>
                    <a:lnTo>
                      <a:pt x="453" y="602"/>
                    </a:lnTo>
                    <a:lnTo>
                      <a:pt x="453" y="603"/>
                    </a:lnTo>
                    <a:lnTo>
                      <a:pt x="453" y="604"/>
                    </a:lnTo>
                    <a:lnTo>
                      <a:pt x="452" y="604"/>
                    </a:lnTo>
                    <a:lnTo>
                      <a:pt x="453" y="605"/>
                    </a:lnTo>
                    <a:lnTo>
                      <a:pt x="454" y="605"/>
                    </a:lnTo>
                    <a:lnTo>
                      <a:pt x="454" y="604"/>
                    </a:lnTo>
                    <a:lnTo>
                      <a:pt x="454" y="603"/>
                    </a:lnTo>
                    <a:lnTo>
                      <a:pt x="454" y="602"/>
                    </a:lnTo>
                    <a:lnTo>
                      <a:pt x="453" y="602"/>
                    </a:lnTo>
                    <a:lnTo>
                      <a:pt x="453" y="601"/>
                    </a:lnTo>
                    <a:lnTo>
                      <a:pt x="452" y="600"/>
                    </a:lnTo>
                    <a:lnTo>
                      <a:pt x="451" y="600"/>
                    </a:lnTo>
                    <a:lnTo>
                      <a:pt x="451" y="598"/>
                    </a:lnTo>
                    <a:lnTo>
                      <a:pt x="452" y="598"/>
                    </a:lnTo>
                    <a:lnTo>
                      <a:pt x="452" y="597"/>
                    </a:lnTo>
                    <a:lnTo>
                      <a:pt x="453" y="597"/>
                    </a:lnTo>
                    <a:lnTo>
                      <a:pt x="453" y="596"/>
                    </a:lnTo>
                    <a:lnTo>
                      <a:pt x="454" y="597"/>
                    </a:lnTo>
                    <a:lnTo>
                      <a:pt x="454" y="598"/>
                    </a:lnTo>
                    <a:lnTo>
                      <a:pt x="455" y="598"/>
                    </a:lnTo>
                    <a:lnTo>
                      <a:pt x="455" y="600"/>
                    </a:lnTo>
                    <a:lnTo>
                      <a:pt x="457" y="600"/>
                    </a:lnTo>
                    <a:lnTo>
                      <a:pt x="458" y="601"/>
                    </a:lnTo>
                    <a:lnTo>
                      <a:pt x="458" y="600"/>
                    </a:lnTo>
                    <a:lnTo>
                      <a:pt x="459" y="600"/>
                    </a:lnTo>
                    <a:lnTo>
                      <a:pt x="460" y="600"/>
                    </a:lnTo>
                    <a:lnTo>
                      <a:pt x="460" y="598"/>
                    </a:lnTo>
                    <a:lnTo>
                      <a:pt x="459" y="598"/>
                    </a:lnTo>
                    <a:lnTo>
                      <a:pt x="460" y="597"/>
                    </a:lnTo>
                    <a:lnTo>
                      <a:pt x="460" y="598"/>
                    </a:lnTo>
                    <a:lnTo>
                      <a:pt x="461" y="598"/>
                    </a:lnTo>
                    <a:lnTo>
                      <a:pt x="461" y="597"/>
                    </a:lnTo>
                    <a:lnTo>
                      <a:pt x="461" y="596"/>
                    </a:lnTo>
                    <a:lnTo>
                      <a:pt x="462" y="596"/>
                    </a:lnTo>
                    <a:lnTo>
                      <a:pt x="463" y="596"/>
                    </a:lnTo>
                    <a:lnTo>
                      <a:pt x="463" y="595"/>
                    </a:lnTo>
                    <a:lnTo>
                      <a:pt x="464" y="595"/>
                    </a:lnTo>
                    <a:lnTo>
                      <a:pt x="464" y="594"/>
                    </a:lnTo>
                    <a:lnTo>
                      <a:pt x="465" y="594"/>
                    </a:lnTo>
                    <a:lnTo>
                      <a:pt x="465" y="593"/>
                    </a:lnTo>
                    <a:lnTo>
                      <a:pt x="465" y="592"/>
                    </a:lnTo>
                    <a:lnTo>
                      <a:pt x="466" y="592"/>
                    </a:lnTo>
                    <a:lnTo>
                      <a:pt x="466" y="591"/>
                    </a:lnTo>
                    <a:lnTo>
                      <a:pt x="467" y="590"/>
                    </a:lnTo>
                    <a:lnTo>
                      <a:pt x="467" y="589"/>
                    </a:lnTo>
                    <a:lnTo>
                      <a:pt x="468" y="589"/>
                    </a:lnTo>
                    <a:lnTo>
                      <a:pt x="468" y="588"/>
                    </a:lnTo>
                    <a:lnTo>
                      <a:pt x="470" y="588"/>
                    </a:lnTo>
                    <a:lnTo>
                      <a:pt x="471" y="588"/>
                    </a:lnTo>
                    <a:lnTo>
                      <a:pt x="471" y="586"/>
                    </a:lnTo>
                    <a:lnTo>
                      <a:pt x="471" y="585"/>
                    </a:lnTo>
                    <a:lnTo>
                      <a:pt x="470" y="585"/>
                    </a:lnTo>
                    <a:lnTo>
                      <a:pt x="470" y="584"/>
                    </a:lnTo>
                    <a:lnTo>
                      <a:pt x="468" y="583"/>
                    </a:lnTo>
                    <a:lnTo>
                      <a:pt x="468" y="582"/>
                    </a:lnTo>
                    <a:lnTo>
                      <a:pt x="468" y="581"/>
                    </a:lnTo>
                    <a:lnTo>
                      <a:pt x="468" y="580"/>
                    </a:lnTo>
                    <a:lnTo>
                      <a:pt x="468" y="579"/>
                    </a:lnTo>
                    <a:lnTo>
                      <a:pt x="467" y="579"/>
                    </a:lnTo>
                    <a:lnTo>
                      <a:pt x="467" y="578"/>
                    </a:lnTo>
                    <a:lnTo>
                      <a:pt x="466" y="578"/>
                    </a:lnTo>
                    <a:lnTo>
                      <a:pt x="466" y="577"/>
                    </a:lnTo>
                    <a:lnTo>
                      <a:pt x="467" y="576"/>
                    </a:lnTo>
                    <a:lnTo>
                      <a:pt x="467" y="575"/>
                    </a:lnTo>
                    <a:lnTo>
                      <a:pt x="470" y="575"/>
                    </a:lnTo>
                    <a:lnTo>
                      <a:pt x="472" y="575"/>
                    </a:lnTo>
                    <a:lnTo>
                      <a:pt x="472" y="576"/>
                    </a:lnTo>
                    <a:lnTo>
                      <a:pt x="473" y="576"/>
                    </a:lnTo>
                    <a:lnTo>
                      <a:pt x="474" y="575"/>
                    </a:lnTo>
                    <a:lnTo>
                      <a:pt x="475" y="575"/>
                    </a:lnTo>
                    <a:lnTo>
                      <a:pt x="476" y="575"/>
                    </a:lnTo>
                    <a:lnTo>
                      <a:pt x="476" y="573"/>
                    </a:lnTo>
                    <a:lnTo>
                      <a:pt x="475" y="573"/>
                    </a:lnTo>
                    <a:lnTo>
                      <a:pt x="474" y="573"/>
                    </a:lnTo>
                    <a:lnTo>
                      <a:pt x="474" y="572"/>
                    </a:lnTo>
                    <a:lnTo>
                      <a:pt x="475" y="572"/>
                    </a:lnTo>
                    <a:lnTo>
                      <a:pt x="475" y="573"/>
                    </a:lnTo>
                    <a:lnTo>
                      <a:pt x="476" y="573"/>
                    </a:lnTo>
                    <a:lnTo>
                      <a:pt x="477" y="573"/>
                    </a:lnTo>
                    <a:lnTo>
                      <a:pt x="478" y="573"/>
                    </a:lnTo>
                    <a:lnTo>
                      <a:pt x="478" y="572"/>
                    </a:lnTo>
                    <a:lnTo>
                      <a:pt x="477" y="572"/>
                    </a:lnTo>
                    <a:lnTo>
                      <a:pt x="478" y="571"/>
                    </a:lnTo>
                    <a:lnTo>
                      <a:pt x="477" y="570"/>
                    </a:lnTo>
                    <a:lnTo>
                      <a:pt x="477" y="568"/>
                    </a:lnTo>
                    <a:lnTo>
                      <a:pt x="476" y="568"/>
                    </a:lnTo>
                    <a:lnTo>
                      <a:pt x="476" y="567"/>
                    </a:lnTo>
                    <a:lnTo>
                      <a:pt x="477" y="567"/>
                    </a:lnTo>
                    <a:lnTo>
                      <a:pt x="477" y="566"/>
                    </a:lnTo>
                    <a:lnTo>
                      <a:pt x="478" y="566"/>
                    </a:lnTo>
                    <a:lnTo>
                      <a:pt x="478" y="565"/>
                    </a:lnTo>
                    <a:lnTo>
                      <a:pt x="477" y="565"/>
                    </a:lnTo>
                    <a:lnTo>
                      <a:pt x="477" y="564"/>
                    </a:lnTo>
                    <a:lnTo>
                      <a:pt x="476" y="564"/>
                    </a:lnTo>
                    <a:lnTo>
                      <a:pt x="476" y="563"/>
                    </a:lnTo>
                    <a:lnTo>
                      <a:pt x="476" y="562"/>
                    </a:lnTo>
                    <a:lnTo>
                      <a:pt x="475" y="562"/>
                    </a:lnTo>
                    <a:lnTo>
                      <a:pt x="474" y="560"/>
                    </a:lnTo>
                    <a:lnTo>
                      <a:pt x="473" y="560"/>
                    </a:lnTo>
                    <a:lnTo>
                      <a:pt x="473" y="559"/>
                    </a:lnTo>
                    <a:lnTo>
                      <a:pt x="474" y="559"/>
                    </a:lnTo>
                    <a:lnTo>
                      <a:pt x="474" y="558"/>
                    </a:lnTo>
                    <a:lnTo>
                      <a:pt x="473" y="558"/>
                    </a:lnTo>
                    <a:lnTo>
                      <a:pt x="473" y="557"/>
                    </a:lnTo>
                    <a:lnTo>
                      <a:pt x="473" y="556"/>
                    </a:lnTo>
                    <a:lnTo>
                      <a:pt x="473" y="555"/>
                    </a:lnTo>
                    <a:lnTo>
                      <a:pt x="472" y="555"/>
                    </a:lnTo>
                    <a:lnTo>
                      <a:pt x="472" y="554"/>
                    </a:lnTo>
                    <a:lnTo>
                      <a:pt x="471" y="554"/>
                    </a:lnTo>
                    <a:lnTo>
                      <a:pt x="471" y="553"/>
                    </a:lnTo>
                    <a:lnTo>
                      <a:pt x="470" y="553"/>
                    </a:lnTo>
                    <a:lnTo>
                      <a:pt x="471" y="553"/>
                    </a:lnTo>
                    <a:lnTo>
                      <a:pt x="472" y="553"/>
                    </a:lnTo>
                    <a:lnTo>
                      <a:pt x="473" y="553"/>
                    </a:lnTo>
                    <a:lnTo>
                      <a:pt x="474" y="553"/>
                    </a:lnTo>
                    <a:lnTo>
                      <a:pt x="475" y="553"/>
                    </a:lnTo>
                    <a:lnTo>
                      <a:pt x="476" y="553"/>
                    </a:lnTo>
                    <a:lnTo>
                      <a:pt x="477" y="553"/>
                    </a:lnTo>
                    <a:lnTo>
                      <a:pt x="478" y="553"/>
                    </a:lnTo>
                    <a:lnTo>
                      <a:pt x="478" y="554"/>
                    </a:lnTo>
                    <a:lnTo>
                      <a:pt x="479" y="553"/>
                    </a:lnTo>
                    <a:lnTo>
                      <a:pt x="479" y="552"/>
                    </a:lnTo>
                    <a:lnTo>
                      <a:pt x="478" y="552"/>
                    </a:lnTo>
                    <a:lnTo>
                      <a:pt x="479" y="552"/>
                    </a:lnTo>
                    <a:lnTo>
                      <a:pt x="480" y="552"/>
                    </a:lnTo>
                    <a:lnTo>
                      <a:pt x="480" y="551"/>
                    </a:lnTo>
                    <a:lnTo>
                      <a:pt x="479" y="551"/>
                    </a:lnTo>
                    <a:lnTo>
                      <a:pt x="479" y="550"/>
                    </a:lnTo>
                    <a:lnTo>
                      <a:pt x="480" y="550"/>
                    </a:lnTo>
                    <a:lnTo>
                      <a:pt x="480" y="549"/>
                    </a:lnTo>
                    <a:lnTo>
                      <a:pt x="479" y="549"/>
                    </a:lnTo>
                    <a:lnTo>
                      <a:pt x="478" y="549"/>
                    </a:lnTo>
                    <a:lnTo>
                      <a:pt x="477" y="547"/>
                    </a:lnTo>
                    <a:lnTo>
                      <a:pt x="478" y="549"/>
                    </a:lnTo>
                    <a:lnTo>
                      <a:pt x="478" y="547"/>
                    </a:lnTo>
                    <a:lnTo>
                      <a:pt x="477" y="547"/>
                    </a:lnTo>
                    <a:lnTo>
                      <a:pt x="476" y="547"/>
                    </a:lnTo>
                    <a:lnTo>
                      <a:pt x="476" y="546"/>
                    </a:lnTo>
                    <a:lnTo>
                      <a:pt x="477" y="546"/>
                    </a:lnTo>
                    <a:lnTo>
                      <a:pt x="478" y="546"/>
                    </a:lnTo>
                    <a:lnTo>
                      <a:pt x="477" y="546"/>
                    </a:lnTo>
                    <a:lnTo>
                      <a:pt x="477" y="545"/>
                    </a:lnTo>
                    <a:lnTo>
                      <a:pt x="477" y="544"/>
                    </a:lnTo>
                    <a:lnTo>
                      <a:pt x="478" y="544"/>
                    </a:lnTo>
                    <a:lnTo>
                      <a:pt x="479" y="544"/>
                    </a:lnTo>
                    <a:lnTo>
                      <a:pt x="480" y="544"/>
                    </a:lnTo>
                    <a:lnTo>
                      <a:pt x="481" y="544"/>
                    </a:lnTo>
                    <a:lnTo>
                      <a:pt x="483" y="544"/>
                    </a:lnTo>
                    <a:lnTo>
                      <a:pt x="483" y="545"/>
                    </a:lnTo>
                    <a:lnTo>
                      <a:pt x="483" y="546"/>
                    </a:lnTo>
                    <a:lnTo>
                      <a:pt x="481" y="546"/>
                    </a:lnTo>
                    <a:lnTo>
                      <a:pt x="481" y="547"/>
                    </a:lnTo>
                    <a:lnTo>
                      <a:pt x="481" y="549"/>
                    </a:lnTo>
                    <a:lnTo>
                      <a:pt x="483" y="549"/>
                    </a:lnTo>
                    <a:lnTo>
                      <a:pt x="484" y="549"/>
                    </a:lnTo>
                    <a:lnTo>
                      <a:pt x="485" y="549"/>
                    </a:lnTo>
                    <a:lnTo>
                      <a:pt x="485" y="550"/>
                    </a:lnTo>
                    <a:lnTo>
                      <a:pt x="484" y="550"/>
                    </a:lnTo>
                    <a:lnTo>
                      <a:pt x="484" y="551"/>
                    </a:lnTo>
                    <a:lnTo>
                      <a:pt x="485" y="551"/>
                    </a:lnTo>
                    <a:lnTo>
                      <a:pt x="486" y="551"/>
                    </a:lnTo>
                    <a:lnTo>
                      <a:pt x="486" y="552"/>
                    </a:lnTo>
                    <a:lnTo>
                      <a:pt x="487" y="552"/>
                    </a:lnTo>
                    <a:lnTo>
                      <a:pt x="487" y="551"/>
                    </a:lnTo>
                    <a:lnTo>
                      <a:pt x="486" y="551"/>
                    </a:lnTo>
                    <a:lnTo>
                      <a:pt x="486" y="550"/>
                    </a:lnTo>
                    <a:lnTo>
                      <a:pt x="486" y="549"/>
                    </a:lnTo>
                    <a:lnTo>
                      <a:pt x="486" y="550"/>
                    </a:lnTo>
                    <a:lnTo>
                      <a:pt x="487" y="550"/>
                    </a:lnTo>
                    <a:lnTo>
                      <a:pt x="487" y="549"/>
                    </a:lnTo>
                    <a:lnTo>
                      <a:pt x="487" y="547"/>
                    </a:lnTo>
                    <a:lnTo>
                      <a:pt x="486" y="546"/>
                    </a:lnTo>
                    <a:lnTo>
                      <a:pt x="486" y="545"/>
                    </a:lnTo>
                    <a:lnTo>
                      <a:pt x="487" y="546"/>
                    </a:lnTo>
                    <a:lnTo>
                      <a:pt x="487" y="547"/>
                    </a:lnTo>
                    <a:lnTo>
                      <a:pt x="488" y="547"/>
                    </a:lnTo>
                    <a:lnTo>
                      <a:pt x="488" y="546"/>
                    </a:lnTo>
                    <a:lnTo>
                      <a:pt x="489" y="546"/>
                    </a:lnTo>
                    <a:lnTo>
                      <a:pt x="490" y="547"/>
                    </a:lnTo>
                    <a:lnTo>
                      <a:pt x="491" y="547"/>
                    </a:lnTo>
                    <a:lnTo>
                      <a:pt x="491" y="546"/>
                    </a:lnTo>
                    <a:lnTo>
                      <a:pt x="490" y="545"/>
                    </a:lnTo>
                    <a:lnTo>
                      <a:pt x="491" y="545"/>
                    </a:lnTo>
                    <a:lnTo>
                      <a:pt x="492" y="545"/>
                    </a:lnTo>
                    <a:lnTo>
                      <a:pt x="491" y="545"/>
                    </a:lnTo>
                    <a:lnTo>
                      <a:pt x="490" y="544"/>
                    </a:lnTo>
                    <a:lnTo>
                      <a:pt x="491" y="544"/>
                    </a:lnTo>
                    <a:lnTo>
                      <a:pt x="492" y="544"/>
                    </a:lnTo>
                    <a:lnTo>
                      <a:pt x="493" y="544"/>
                    </a:lnTo>
                    <a:lnTo>
                      <a:pt x="492" y="543"/>
                    </a:lnTo>
                    <a:lnTo>
                      <a:pt x="491" y="543"/>
                    </a:lnTo>
                    <a:lnTo>
                      <a:pt x="490" y="543"/>
                    </a:lnTo>
                    <a:lnTo>
                      <a:pt x="490" y="542"/>
                    </a:lnTo>
                    <a:lnTo>
                      <a:pt x="490" y="543"/>
                    </a:lnTo>
                    <a:lnTo>
                      <a:pt x="489" y="543"/>
                    </a:lnTo>
                    <a:lnTo>
                      <a:pt x="488" y="542"/>
                    </a:lnTo>
                    <a:lnTo>
                      <a:pt x="487" y="542"/>
                    </a:lnTo>
                    <a:lnTo>
                      <a:pt x="487" y="541"/>
                    </a:lnTo>
                    <a:lnTo>
                      <a:pt x="487" y="540"/>
                    </a:lnTo>
                    <a:lnTo>
                      <a:pt x="488" y="540"/>
                    </a:lnTo>
                    <a:lnTo>
                      <a:pt x="489" y="540"/>
                    </a:lnTo>
                    <a:lnTo>
                      <a:pt x="489" y="539"/>
                    </a:lnTo>
                    <a:lnTo>
                      <a:pt x="490" y="539"/>
                    </a:lnTo>
                    <a:lnTo>
                      <a:pt x="490" y="538"/>
                    </a:lnTo>
                    <a:lnTo>
                      <a:pt x="490" y="537"/>
                    </a:lnTo>
                    <a:lnTo>
                      <a:pt x="489" y="537"/>
                    </a:lnTo>
                    <a:lnTo>
                      <a:pt x="489" y="536"/>
                    </a:lnTo>
                    <a:lnTo>
                      <a:pt x="489" y="534"/>
                    </a:lnTo>
                    <a:lnTo>
                      <a:pt x="489" y="533"/>
                    </a:lnTo>
                    <a:lnTo>
                      <a:pt x="489" y="532"/>
                    </a:lnTo>
                    <a:lnTo>
                      <a:pt x="488" y="532"/>
                    </a:lnTo>
                    <a:lnTo>
                      <a:pt x="488" y="531"/>
                    </a:lnTo>
                    <a:lnTo>
                      <a:pt x="489" y="531"/>
                    </a:lnTo>
                    <a:lnTo>
                      <a:pt x="489" y="530"/>
                    </a:lnTo>
                    <a:lnTo>
                      <a:pt x="490" y="529"/>
                    </a:lnTo>
                    <a:lnTo>
                      <a:pt x="489" y="529"/>
                    </a:lnTo>
                    <a:lnTo>
                      <a:pt x="489" y="528"/>
                    </a:lnTo>
                    <a:lnTo>
                      <a:pt x="488" y="528"/>
                    </a:lnTo>
                    <a:lnTo>
                      <a:pt x="488" y="527"/>
                    </a:lnTo>
                    <a:lnTo>
                      <a:pt x="487" y="527"/>
                    </a:lnTo>
                    <a:lnTo>
                      <a:pt x="487" y="526"/>
                    </a:lnTo>
                    <a:lnTo>
                      <a:pt x="487" y="525"/>
                    </a:lnTo>
                    <a:lnTo>
                      <a:pt x="487" y="524"/>
                    </a:lnTo>
                    <a:lnTo>
                      <a:pt x="487" y="523"/>
                    </a:lnTo>
                    <a:lnTo>
                      <a:pt x="487" y="521"/>
                    </a:lnTo>
                    <a:lnTo>
                      <a:pt x="488" y="521"/>
                    </a:lnTo>
                    <a:lnTo>
                      <a:pt x="489" y="521"/>
                    </a:lnTo>
                    <a:lnTo>
                      <a:pt x="489" y="520"/>
                    </a:lnTo>
                    <a:lnTo>
                      <a:pt x="490" y="520"/>
                    </a:lnTo>
                    <a:lnTo>
                      <a:pt x="491" y="519"/>
                    </a:lnTo>
                    <a:lnTo>
                      <a:pt x="492" y="520"/>
                    </a:lnTo>
                    <a:lnTo>
                      <a:pt x="492" y="519"/>
                    </a:lnTo>
                    <a:lnTo>
                      <a:pt x="492" y="518"/>
                    </a:lnTo>
                    <a:lnTo>
                      <a:pt x="491" y="518"/>
                    </a:lnTo>
                    <a:lnTo>
                      <a:pt x="491" y="517"/>
                    </a:lnTo>
                    <a:lnTo>
                      <a:pt x="492" y="517"/>
                    </a:lnTo>
                    <a:lnTo>
                      <a:pt x="492" y="516"/>
                    </a:lnTo>
                    <a:lnTo>
                      <a:pt x="491" y="516"/>
                    </a:lnTo>
                    <a:lnTo>
                      <a:pt x="492" y="516"/>
                    </a:lnTo>
                    <a:lnTo>
                      <a:pt x="491" y="515"/>
                    </a:lnTo>
                    <a:lnTo>
                      <a:pt x="490" y="515"/>
                    </a:lnTo>
                    <a:lnTo>
                      <a:pt x="489" y="515"/>
                    </a:lnTo>
                    <a:lnTo>
                      <a:pt x="488" y="514"/>
                    </a:lnTo>
                    <a:lnTo>
                      <a:pt x="488" y="515"/>
                    </a:lnTo>
                    <a:lnTo>
                      <a:pt x="489" y="515"/>
                    </a:lnTo>
                    <a:lnTo>
                      <a:pt x="488" y="515"/>
                    </a:lnTo>
                    <a:lnTo>
                      <a:pt x="488" y="514"/>
                    </a:lnTo>
                    <a:lnTo>
                      <a:pt x="488" y="513"/>
                    </a:lnTo>
                    <a:lnTo>
                      <a:pt x="489" y="513"/>
                    </a:lnTo>
                    <a:lnTo>
                      <a:pt x="489" y="512"/>
                    </a:lnTo>
                    <a:lnTo>
                      <a:pt x="489" y="511"/>
                    </a:lnTo>
                    <a:lnTo>
                      <a:pt x="488" y="511"/>
                    </a:lnTo>
                    <a:lnTo>
                      <a:pt x="489" y="511"/>
                    </a:lnTo>
                    <a:lnTo>
                      <a:pt x="489" y="510"/>
                    </a:lnTo>
                    <a:lnTo>
                      <a:pt x="488" y="510"/>
                    </a:lnTo>
                    <a:lnTo>
                      <a:pt x="488" y="508"/>
                    </a:lnTo>
                    <a:lnTo>
                      <a:pt x="487" y="508"/>
                    </a:lnTo>
                    <a:lnTo>
                      <a:pt x="486" y="508"/>
                    </a:lnTo>
                    <a:lnTo>
                      <a:pt x="486" y="507"/>
                    </a:lnTo>
                    <a:lnTo>
                      <a:pt x="487" y="507"/>
                    </a:lnTo>
                    <a:lnTo>
                      <a:pt x="487" y="506"/>
                    </a:lnTo>
                    <a:lnTo>
                      <a:pt x="487" y="505"/>
                    </a:lnTo>
                    <a:lnTo>
                      <a:pt x="488" y="505"/>
                    </a:lnTo>
                    <a:lnTo>
                      <a:pt x="489" y="505"/>
                    </a:lnTo>
                    <a:lnTo>
                      <a:pt x="489" y="506"/>
                    </a:lnTo>
                    <a:close/>
                    <a:moveTo>
                      <a:pt x="530" y="547"/>
                    </a:moveTo>
                    <a:lnTo>
                      <a:pt x="531" y="547"/>
                    </a:lnTo>
                    <a:lnTo>
                      <a:pt x="531" y="549"/>
                    </a:lnTo>
                    <a:lnTo>
                      <a:pt x="531" y="550"/>
                    </a:lnTo>
                    <a:lnTo>
                      <a:pt x="532" y="551"/>
                    </a:lnTo>
                    <a:lnTo>
                      <a:pt x="532" y="552"/>
                    </a:lnTo>
                    <a:lnTo>
                      <a:pt x="531" y="552"/>
                    </a:lnTo>
                    <a:lnTo>
                      <a:pt x="532" y="553"/>
                    </a:lnTo>
                    <a:lnTo>
                      <a:pt x="533" y="553"/>
                    </a:lnTo>
                    <a:lnTo>
                      <a:pt x="533" y="554"/>
                    </a:lnTo>
                    <a:lnTo>
                      <a:pt x="535" y="554"/>
                    </a:lnTo>
                    <a:lnTo>
                      <a:pt x="536" y="554"/>
                    </a:lnTo>
                    <a:lnTo>
                      <a:pt x="536" y="555"/>
                    </a:lnTo>
                    <a:lnTo>
                      <a:pt x="536" y="554"/>
                    </a:lnTo>
                    <a:lnTo>
                      <a:pt x="536" y="555"/>
                    </a:lnTo>
                    <a:lnTo>
                      <a:pt x="537" y="555"/>
                    </a:lnTo>
                    <a:lnTo>
                      <a:pt x="539" y="556"/>
                    </a:lnTo>
                    <a:lnTo>
                      <a:pt x="540" y="557"/>
                    </a:lnTo>
                    <a:lnTo>
                      <a:pt x="541" y="557"/>
                    </a:lnTo>
                    <a:lnTo>
                      <a:pt x="541" y="558"/>
                    </a:lnTo>
                    <a:lnTo>
                      <a:pt x="540" y="558"/>
                    </a:lnTo>
                    <a:lnTo>
                      <a:pt x="539" y="558"/>
                    </a:lnTo>
                    <a:lnTo>
                      <a:pt x="538" y="558"/>
                    </a:lnTo>
                    <a:lnTo>
                      <a:pt x="538" y="559"/>
                    </a:lnTo>
                    <a:lnTo>
                      <a:pt x="539" y="558"/>
                    </a:lnTo>
                    <a:lnTo>
                      <a:pt x="539" y="559"/>
                    </a:lnTo>
                    <a:lnTo>
                      <a:pt x="540" y="559"/>
                    </a:lnTo>
                    <a:lnTo>
                      <a:pt x="540" y="560"/>
                    </a:lnTo>
                    <a:lnTo>
                      <a:pt x="540" y="562"/>
                    </a:lnTo>
                    <a:lnTo>
                      <a:pt x="540" y="563"/>
                    </a:lnTo>
                    <a:lnTo>
                      <a:pt x="540" y="564"/>
                    </a:lnTo>
                    <a:lnTo>
                      <a:pt x="540" y="565"/>
                    </a:lnTo>
                    <a:lnTo>
                      <a:pt x="541" y="566"/>
                    </a:lnTo>
                    <a:lnTo>
                      <a:pt x="541" y="565"/>
                    </a:lnTo>
                    <a:lnTo>
                      <a:pt x="540" y="565"/>
                    </a:lnTo>
                    <a:lnTo>
                      <a:pt x="540" y="564"/>
                    </a:lnTo>
                    <a:lnTo>
                      <a:pt x="540" y="563"/>
                    </a:lnTo>
                    <a:lnTo>
                      <a:pt x="540" y="562"/>
                    </a:lnTo>
                    <a:lnTo>
                      <a:pt x="540" y="560"/>
                    </a:lnTo>
                    <a:lnTo>
                      <a:pt x="540" y="559"/>
                    </a:lnTo>
                    <a:lnTo>
                      <a:pt x="540" y="558"/>
                    </a:lnTo>
                    <a:lnTo>
                      <a:pt x="541" y="558"/>
                    </a:lnTo>
                    <a:lnTo>
                      <a:pt x="542" y="558"/>
                    </a:lnTo>
                    <a:lnTo>
                      <a:pt x="543" y="559"/>
                    </a:lnTo>
                    <a:lnTo>
                      <a:pt x="544" y="560"/>
                    </a:lnTo>
                    <a:lnTo>
                      <a:pt x="544" y="562"/>
                    </a:lnTo>
                    <a:lnTo>
                      <a:pt x="545" y="562"/>
                    </a:lnTo>
                    <a:lnTo>
                      <a:pt x="545" y="563"/>
                    </a:lnTo>
                    <a:lnTo>
                      <a:pt x="545" y="564"/>
                    </a:lnTo>
                    <a:lnTo>
                      <a:pt x="546" y="564"/>
                    </a:lnTo>
                    <a:lnTo>
                      <a:pt x="545" y="563"/>
                    </a:lnTo>
                    <a:lnTo>
                      <a:pt x="546" y="564"/>
                    </a:lnTo>
                    <a:lnTo>
                      <a:pt x="545" y="564"/>
                    </a:lnTo>
                    <a:lnTo>
                      <a:pt x="545" y="563"/>
                    </a:lnTo>
                    <a:lnTo>
                      <a:pt x="544" y="562"/>
                    </a:lnTo>
                    <a:lnTo>
                      <a:pt x="543" y="560"/>
                    </a:lnTo>
                    <a:lnTo>
                      <a:pt x="542" y="559"/>
                    </a:lnTo>
                    <a:lnTo>
                      <a:pt x="542" y="558"/>
                    </a:lnTo>
                    <a:lnTo>
                      <a:pt x="542" y="559"/>
                    </a:lnTo>
                    <a:lnTo>
                      <a:pt x="543" y="562"/>
                    </a:lnTo>
                    <a:lnTo>
                      <a:pt x="544" y="562"/>
                    </a:lnTo>
                    <a:lnTo>
                      <a:pt x="544" y="563"/>
                    </a:lnTo>
                    <a:lnTo>
                      <a:pt x="545" y="564"/>
                    </a:lnTo>
                    <a:lnTo>
                      <a:pt x="546" y="564"/>
                    </a:lnTo>
                    <a:lnTo>
                      <a:pt x="548" y="565"/>
                    </a:lnTo>
                    <a:lnTo>
                      <a:pt x="549" y="565"/>
                    </a:lnTo>
                    <a:lnTo>
                      <a:pt x="550" y="566"/>
                    </a:lnTo>
                    <a:lnTo>
                      <a:pt x="551" y="566"/>
                    </a:lnTo>
                    <a:lnTo>
                      <a:pt x="552" y="566"/>
                    </a:lnTo>
                    <a:lnTo>
                      <a:pt x="551" y="566"/>
                    </a:lnTo>
                    <a:lnTo>
                      <a:pt x="551" y="567"/>
                    </a:lnTo>
                    <a:lnTo>
                      <a:pt x="550" y="567"/>
                    </a:lnTo>
                    <a:lnTo>
                      <a:pt x="549" y="567"/>
                    </a:lnTo>
                    <a:lnTo>
                      <a:pt x="548" y="567"/>
                    </a:lnTo>
                    <a:lnTo>
                      <a:pt x="548" y="566"/>
                    </a:lnTo>
                    <a:lnTo>
                      <a:pt x="546" y="566"/>
                    </a:lnTo>
                    <a:lnTo>
                      <a:pt x="545" y="566"/>
                    </a:lnTo>
                    <a:lnTo>
                      <a:pt x="545" y="567"/>
                    </a:lnTo>
                    <a:lnTo>
                      <a:pt x="546" y="566"/>
                    </a:lnTo>
                    <a:lnTo>
                      <a:pt x="546" y="567"/>
                    </a:lnTo>
                    <a:lnTo>
                      <a:pt x="548" y="567"/>
                    </a:lnTo>
                    <a:lnTo>
                      <a:pt x="549" y="567"/>
                    </a:lnTo>
                    <a:lnTo>
                      <a:pt x="550" y="567"/>
                    </a:lnTo>
                    <a:lnTo>
                      <a:pt x="551" y="567"/>
                    </a:lnTo>
                    <a:lnTo>
                      <a:pt x="552" y="567"/>
                    </a:lnTo>
                    <a:lnTo>
                      <a:pt x="553" y="568"/>
                    </a:lnTo>
                    <a:lnTo>
                      <a:pt x="553" y="569"/>
                    </a:lnTo>
                    <a:lnTo>
                      <a:pt x="554" y="569"/>
                    </a:lnTo>
                    <a:lnTo>
                      <a:pt x="555" y="569"/>
                    </a:lnTo>
                    <a:lnTo>
                      <a:pt x="556" y="571"/>
                    </a:lnTo>
                    <a:lnTo>
                      <a:pt x="557" y="571"/>
                    </a:lnTo>
                    <a:lnTo>
                      <a:pt x="560" y="573"/>
                    </a:lnTo>
                    <a:lnTo>
                      <a:pt x="561" y="573"/>
                    </a:lnTo>
                    <a:lnTo>
                      <a:pt x="562" y="573"/>
                    </a:lnTo>
                    <a:lnTo>
                      <a:pt x="563" y="573"/>
                    </a:lnTo>
                    <a:lnTo>
                      <a:pt x="563" y="575"/>
                    </a:lnTo>
                    <a:lnTo>
                      <a:pt x="563" y="573"/>
                    </a:lnTo>
                    <a:lnTo>
                      <a:pt x="562" y="573"/>
                    </a:lnTo>
                    <a:lnTo>
                      <a:pt x="562" y="575"/>
                    </a:lnTo>
                    <a:lnTo>
                      <a:pt x="563" y="575"/>
                    </a:lnTo>
                    <a:lnTo>
                      <a:pt x="563" y="573"/>
                    </a:lnTo>
                    <a:lnTo>
                      <a:pt x="564" y="573"/>
                    </a:lnTo>
                    <a:lnTo>
                      <a:pt x="564" y="575"/>
                    </a:lnTo>
                    <a:lnTo>
                      <a:pt x="565" y="575"/>
                    </a:lnTo>
                    <a:lnTo>
                      <a:pt x="566" y="575"/>
                    </a:lnTo>
                    <a:lnTo>
                      <a:pt x="567" y="576"/>
                    </a:lnTo>
                    <a:lnTo>
                      <a:pt x="568" y="576"/>
                    </a:lnTo>
                    <a:lnTo>
                      <a:pt x="569" y="576"/>
                    </a:lnTo>
                    <a:lnTo>
                      <a:pt x="570" y="576"/>
                    </a:lnTo>
                    <a:lnTo>
                      <a:pt x="570" y="577"/>
                    </a:lnTo>
                    <a:lnTo>
                      <a:pt x="571" y="577"/>
                    </a:lnTo>
                    <a:lnTo>
                      <a:pt x="573" y="577"/>
                    </a:lnTo>
                    <a:lnTo>
                      <a:pt x="574" y="577"/>
                    </a:lnTo>
                    <a:lnTo>
                      <a:pt x="574" y="578"/>
                    </a:lnTo>
                    <a:lnTo>
                      <a:pt x="575" y="578"/>
                    </a:lnTo>
                    <a:lnTo>
                      <a:pt x="576" y="578"/>
                    </a:lnTo>
                    <a:lnTo>
                      <a:pt x="577" y="579"/>
                    </a:lnTo>
                    <a:lnTo>
                      <a:pt x="578" y="579"/>
                    </a:lnTo>
                    <a:lnTo>
                      <a:pt x="579" y="580"/>
                    </a:lnTo>
                    <a:lnTo>
                      <a:pt x="580" y="580"/>
                    </a:lnTo>
                    <a:lnTo>
                      <a:pt x="581" y="581"/>
                    </a:lnTo>
                    <a:lnTo>
                      <a:pt x="582" y="581"/>
                    </a:lnTo>
                    <a:lnTo>
                      <a:pt x="581" y="582"/>
                    </a:lnTo>
                    <a:lnTo>
                      <a:pt x="581" y="581"/>
                    </a:lnTo>
                    <a:lnTo>
                      <a:pt x="580" y="581"/>
                    </a:lnTo>
                    <a:lnTo>
                      <a:pt x="579" y="582"/>
                    </a:lnTo>
                    <a:lnTo>
                      <a:pt x="579" y="581"/>
                    </a:lnTo>
                    <a:lnTo>
                      <a:pt x="578" y="581"/>
                    </a:lnTo>
                    <a:lnTo>
                      <a:pt x="577" y="580"/>
                    </a:lnTo>
                    <a:lnTo>
                      <a:pt x="576" y="580"/>
                    </a:lnTo>
                    <a:lnTo>
                      <a:pt x="576" y="581"/>
                    </a:lnTo>
                    <a:lnTo>
                      <a:pt x="575" y="581"/>
                    </a:lnTo>
                    <a:lnTo>
                      <a:pt x="574" y="581"/>
                    </a:lnTo>
                    <a:lnTo>
                      <a:pt x="573" y="581"/>
                    </a:lnTo>
                    <a:lnTo>
                      <a:pt x="571" y="580"/>
                    </a:lnTo>
                    <a:lnTo>
                      <a:pt x="573" y="579"/>
                    </a:lnTo>
                    <a:lnTo>
                      <a:pt x="571" y="579"/>
                    </a:lnTo>
                    <a:lnTo>
                      <a:pt x="570" y="579"/>
                    </a:lnTo>
                    <a:lnTo>
                      <a:pt x="570" y="578"/>
                    </a:lnTo>
                    <a:lnTo>
                      <a:pt x="569" y="578"/>
                    </a:lnTo>
                    <a:lnTo>
                      <a:pt x="568" y="577"/>
                    </a:lnTo>
                    <a:lnTo>
                      <a:pt x="567" y="577"/>
                    </a:lnTo>
                    <a:lnTo>
                      <a:pt x="567" y="576"/>
                    </a:lnTo>
                    <a:lnTo>
                      <a:pt x="566" y="576"/>
                    </a:lnTo>
                    <a:lnTo>
                      <a:pt x="565" y="575"/>
                    </a:lnTo>
                    <a:lnTo>
                      <a:pt x="565" y="576"/>
                    </a:lnTo>
                    <a:lnTo>
                      <a:pt x="565" y="577"/>
                    </a:lnTo>
                    <a:lnTo>
                      <a:pt x="565" y="578"/>
                    </a:lnTo>
                    <a:lnTo>
                      <a:pt x="566" y="578"/>
                    </a:lnTo>
                    <a:lnTo>
                      <a:pt x="566" y="579"/>
                    </a:lnTo>
                    <a:lnTo>
                      <a:pt x="567" y="580"/>
                    </a:lnTo>
                    <a:lnTo>
                      <a:pt x="566" y="580"/>
                    </a:lnTo>
                    <a:lnTo>
                      <a:pt x="565" y="581"/>
                    </a:lnTo>
                    <a:lnTo>
                      <a:pt x="567" y="582"/>
                    </a:lnTo>
                    <a:lnTo>
                      <a:pt x="568" y="582"/>
                    </a:lnTo>
                    <a:lnTo>
                      <a:pt x="569" y="582"/>
                    </a:lnTo>
                    <a:lnTo>
                      <a:pt x="570" y="583"/>
                    </a:lnTo>
                    <a:lnTo>
                      <a:pt x="571" y="583"/>
                    </a:lnTo>
                    <a:lnTo>
                      <a:pt x="571" y="584"/>
                    </a:lnTo>
                    <a:lnTo>
                      <a:pt x="569" y="583"/>
                    </a:lnTo>
                    <a:lnTo>
                      <a:pt x="568" y="583"/>
                    </a:lnTo>
                    <a:lnTo>
                      <a:pt x="567" y="583"/>
                    </a:lnTo>
                    <a:lnTo>
                      <a:pt x="566" y="583"/>
                    </a:lnTo>
                    <a:lnTo>
                      <a:pt x="565" y="583"/>
                    </a:lnTo>
                    <a:lnTo>
                      <a:pt x="564" y="584"/>
                    </a:lnTo>
                    <a:lnTo>
                      <a:pt x="564" y="585"/>
                    </a:lnTo>
                    <a:lnTo>
                      <a:pt x="563" y="585"/>
                    </a:lnTo>
                    <a:lnTo>
                      <a:pt x="562" y="585"/>
                    </a:lnTo>
                    <a:lnTo>
                      <a:pt x="562" y="586"/>
                    </a:lnTo>
                    <a:lnTo>
                      <a:pt x="561" y="586"/>
                    </a:lnTo>
                    <a:lnTo>
                      <a:pt x="562" y="588"/>
                    </a:lnTo>
                    <a:lnTo>
                      <a:pt x="563" y="588"/>
                    </a:lnTo>
                    <a:lnTo>
                      <a:pt x="563" y="589"/>
                    </a:lnTo>
                    <a:lnTo>
                      <a:pt x="564" y="589"/>
                    </a:lnTo>
                    <a:lnTo>
                      <a:pt x="563" y="589"/>
                    </a:lnTo>
                    <a:lnTo>
                      <a:pt x="561" y="590"/>
                    </a:lnTo>
                    <a:lnTo>
                      <a:pt x="560" y="590"/>
                    </a:lnTo>
                    <a:lnTo>
                      <a:pt x="560" y="591"/>
                    </a:lnTo>
                    <a:lnTo>
                      <a:pt x="558" y="591"/>
                    </a:lnTo>
                    <a:lnTo>
                      <a:pt x="558" y="590"/>
                    </a:lnTo>
                    <a:lnTo>
                      <a:pt x="557" y="590"/>
                    </a:lnTo>
                    <a:lnTo>
                      <a:pt x="556" y="590"/>
                    </a:lnTo>
                    <a:lnTo>
                      <a:pt x="555" y="590"/>
                    </a:lnTo>
                    <a:lnTo>
                      <a:pt x="555" y="589"/>
                    </a:lnTo>
                    <a:lnTo>
                      <a:pt x="554" y="589"/>
                    </a:lnTo>
                    <a:lnTo>
                      <a:pt x="553" y="588"/>
                    </a:lnTo>
                    <a:lnTo>
                      <a:pt x="553" y="589"/>
                    </a:lnTo>
                    <a:lnTo>
                      <a:pt x="553" y="588"/>
                    </a:lnTo>
                    <a:lnTo>
                      <a:pt x="552" y="588"/>
                    </a:lnTo>
                    <a:lnTo>
                      <a:pt x="552" y="586"/>
                    </a:lnTo>
                    <a:lnTo>
                      <a:pt x="552" y="585"/>
                    </a:lnTo>
                    <a:lnTo>
                      <a:pt x="551" y="585"/>
                    </a:lnTo>
                    <a:lnTo>
                      <a:pt x="552" y="585"/>
                    </a:lnTo>
                    <a:lnTo>
                      <a:pt x="551" y="584"/>
                    </a:lnTo>
                    <a:lnTo>
                      <a:pt x="551" y="583"/>
                    </a:lnTo>
                    <a:lnTo>
                      <a:pt x="550" y="583"/>
                    </a:lnTo>
                    <a:lnTo>
                      <a:pt x="550" y="582"/>
                    </a:lnTo>
                    <a:lnTo>
                      <a:pt x="550" y="581"/>
                    </a:lnTo>
                    <a:lnTo>
                      <a:pt x="550" y="582"/>
                    </a:lnTo>
                    <a:lnTo>
                      <a:pt x="550" y="581"/>
                    </a:lnTo>
                    <a:lnTo>
                      <a:pt x="549" y="581"/>
                    </a:lnTo>
                    <a:lnTo>
                      <a:pt x="549" y="580"/>
                    </a:lnTo>
                    <a:lnTo>
                      <a:pt x="548" y="579"/>
                    </a:lnTo>
                    <a:lnTo>
                      <a:pt x="548" y="578"/>
                    </a:lnTo>
                    <a:lnTo>
                      <a:pt x="548" y="577"/>
                    </a:lnTo>
                    <a:lnTo>
                      <a:pt x="546" y="577"/>
                    </a:lnTo>
                    <a:lnTo>
                      <a:pt x="546" y="576"/>
                    </a:lnTo>
                    <a:lnTo>
                      <a:pt x="545" y="575"/>
                    </a:lnTo>
                    <a:lnTo>
                      <a:pt x="545" y="573"/>
                    </a:lnTo>
                    <a:lnTo>
                      <a:pt x="544" y="573"/>
                    </a:lnTo>
                    <a:lnTo>
                      <a:pt x="544" y="572"/>
                    </a:lnTo>
                    <a:lnTo>
                      <a:pt x="544" y="573"/>
                    </a:lnTo>
                    <a:lnTo>
                      <a:pt x="544" y="572"/>
                    </a:lnTo>
                    <a:lnTo>
                      <a:pt x="544" y="573"/>
                    </a:lnTo>
                    <a:lnTo>
                      <a:pt x="543" y="572"/>
                    </a:lnTo>
                    <a:lnTo>
                      <a:pt x="542" y="572"/>
                    </a:lnTo>
                    <a:lnTo>
                      <a:pt x="541" y="572"/>
                    </a:lnTo>
                    <a:lnTo>
                      <a:pt x="541" y="571"/>
                    </a:lnTo>
                    <a:lnTo>
                      <a:pt x="540" y="571"/>
                    </a:lnTo>
                    <a:lnTo>
                      <a:pt x="539" y="571"/>
                    </a:lnTo>
                    <a:lnTo>
                      <a:pt x="538" y="570"/>
                    </a:lnTo>
                    <a:lnTo>
                      <a:pt x="539" y="570"/>
                    </a:lnTo>
                    <a:lnTo>
                      <a:pt x="538" y="570"/>
                    </a:lnTo>
                    <a:lnTo>
                      <a:pt x="539" y="570"/>
                    </a:lnTo>
                    <a:lnTo>
                      <a:pt x="538" y="570"/>
                    </a:lnTo>
                    <a:lnTo>
                      <a:pt x="538" y="569"/>
                    </a:lnTo>
                    <a:lnTo>
                      <a:pt x="537" y="569"/>
                    </a:lnTo>
                    <a:lnTo>
                      <a:pt x="537" y="568"/>
                    </a:lnTo>
                    <a:lnTo>
                      <a:pt x="537" y="567"/>
                    </a:lnTo>
                    <a:lnTo>
                      <a:pt x="536" y="567"/>
                    </a:lnTo>
                    <a:lnTo>
                      <a:pt x="535" y="565"/>
                    </a:lnTo>
                    <a:lnTo>
                      <a:pt x="533" y="565"/>
                    </a:lnTo>
                    <a:lnTo>
                      <a:pt x="533" y="564"/>
                    </a:lnTo>
                    <a:lnTo>
                      <a:pt x="533" y="563"/>
                    </a:lnTo>
                    <a:lnTo>
                      <a:pt x="532" y="562"/>
                    </a:lnTo>
                    <a:lnTo>
                      <a:pt x="532" y="559"/>
                    </a:lnTo>
                    <a:lnTo>
                      <a:pt x="531" y="557"/>
                    </a:lnTo>
                    <a:lnTo>
                      <a:pt x="531" y="555"/>
                    </a:lnTo>
                    <a:lnTo>
                      <a:pt x="531" y="554"/>
                    </a:lnTo>
                    <a:lnTo>
                      <a:pt x="531" y="553"/>
                    </a:lnTo>
                    <a:lnTo>
                      <a:pt x="531" y="552"/>
                    </a:lnTo>
                    <a:lnTo>
                      <a:pt x="531" y="551"/>
                    </a:lnTo>
                    <a:lnTo>
                      <a:pt x="531" y="550"/>
                    </a:lnTo>
                    <a:lnTo>
                      <a:pt x="530" y="549"/>
                    </a:lnTo>
                    <a:lnTo>
                      <a:pt x="530" y="547"/>
                    </a:lnTo>
                    <a:lnTo>
                      <a:pt x="529" y="547"/>
                    </a:lnTo>
                    <a:lnTo>
                      <a:pt x="530" y="547"/>
                    </a:lnTo>
                    <a:close/>
                    <a:moveTo>
                      <a:pt x="511" y="560"/>
                    </a:moveTo>
                    <a:lnTo>
                      <a:pt x="512" y="560"/>
                    </a:lnTo>
                    <a:lnTo>
                      <a:pt x="511" y="562"/>
                    </a:lnTo>
                    <a:lnTo>
                      <a:pt x="512" y="562"/>
                    </a:lnTo>
                    <a:lnTo>
                      <a:pt x="511" y="562"/>
                    </a:lnTo>
                    <a:lnTo>
                      <a:pt x="512" y="563"/>
                    </a:lnTo>
                    <a:lnTo>
                      <a:pt x="513" y="564"/>
                    </a:lnTo>
                    <a:lnTo>
                      <a:pt x="513" y="565"/>
                    </a:lnTo>
                    <a:lnTo>
                      <a:pt x="514" y="566"/>
                    </a:lnTo>
                    <a:lnTo>
                      <a:pt x="514" y="567"/>
                    </a:lnTo>
                    <a:lnTo>
                      <a:pt x="515" y="567"/>
                    </a:lnTo>
                    <a:lnTo>
                      <a:pt x="515" y="568"/>
                    </a:lnTo>
                    <a:lnTo>
                      <a:pt x="516" y="569"/>
                    </a:lnTo>
                    <a:lnTo>
                      <a:pt x="516" y="570"/>
                    </a:lnTo>
                    <a:lnTo>
                      <a:pt x="516" y="571"/>
                    </a:lnTo>
                    <a:lnTo>
                      <a:pt x="517" y="571"/>
                    </a:lnTo>
                    <a:lnTo>
                      <a:pt x="517" y="572"/>
                    </a:lnTo>
                    <a:lnTo>
                      <a:pt x="518" y="572"/>
                    </a:lnTo>
                    <a:lnTo>
                      <a:pt x="518" y="573"/>
                    </a:lnTo>
                    <a:lnTo>
                      <a:pt x="519" y="573"/>
                    </a:lnTo>
                    <a:lnTo>
                      <a:pt x="519" y="575"/>
                    </a:lnTo>
                    <a:lnTo>
                      <a:pt x="524" y="581"/>
                    </a:lnTo>
                    <a:lnTo>
                      <a:pt x="527" y="584"/>
                    </a:lnTo>
                    <a:lnTo>
                      <a:pt x="529" y="590"/>
                    </a:lnTo>
                    <a:lnTo>
                      <a:pt x="530" y="593"/>
                    </a:lnTo>
                    <a:lnTo>
                      <a:pt x="532" y="598"/>
                    </a:lnTo>
                    <a:lnTo>
                      <a:pt x="533" y="601"/>
                    </a:lnTo>
                    <a:lnTo>
                      <a:pt x="535" y="602"/>
                    </a:lnTo>
                    <a:lnTo>
                      <a:pt x="536" y="603"/>
                    </a:lnTo>
                    <a:lnTo>
                      <a:pt x="539" y="607"/>
                    </a:lnTo>
                    <a:lnTo>
                      <a:pt x="548" y="619"/>
                    </a:lnTo>
                    <a:lnTo>
                      <a:pt x="549" y="620"/>
                    </a:lnTo>
                    <a:lnTo>
                      <a:pt x="550" y="621"/>
                    </a:lnTo>
                    <a:lnTo>
                      <a:pt x="554" y="623"/>
                    </a:lnTo>
                    <a:lnTo>
                      <a:pt x="555" y="624"/>
                    </a:lnTo>
                    <a:lnTo>
                      <a:pt x="566" y="635"/>
                    </a:lnTo>
                    <a:lnTo>
                      <a:pt x="567" y="636"/>
                    </a:lnTo>
                    <a:lnTo>
                      <a:pt x="567" y="637"/>
                    </a:lnTo>
                    <a:lnTo>
                      <a:pt x="567" y="639"/>
                    </a:lnTo>
                    <a:lnTo>
                      <a:pt x="566" y="639"/>
                    </a:lnTo>
                    <a:lnTo>
                      <a:pt x="565" y="639"/>
                    </a:lnTo>
                    <a:lnTo>
                      <a:pt x="563" y="636"/>
                    </a:lnTo>
                    <a:lnTo>
                      <a:pt x="560" y="633"/>
                    </a:lnTo>
                    <a:lnTo>
                      <a:pt x="558" y="631"/>
                    </a:lnTo>
                    <a:lnTo>
                      <a:pt x="557" y="631"/>
                    </a:lnTo>
                    <a:lnTo>
                      <a:pt x="556" y="631"/>
                    </a:lnTo>
                    <a:lnTo>
                      <a:pt x="555" y="631"/>
                    </a:lnTo>
                    <a:lnTo>
                      <a:pt x="555" y="632"/>
                    </a:lnTo>
                    <a:lnTo>
                      <a:pt x="554" y="631"/>
                    </a:lnTo>
                    <a:lnTo>
                      <a:pt x="553" y="631"/>
                    </a:lnTo>
                    <a:lnTo>
                      <a:pt x="553" y="630"/>
                    </a:lnTo>
                    <a:lnTo>
                      <a:pt x="552" y="628"/>
                    </a:lnTo>
                    <a:lnTo>
                      <a:pt x="551" y="627"/>
                    </a:lnTo>
                    <a:lnTo>
                      <a:pt x="550" y="628"/>
                    </a:lnTo>
                    <a:lnTo>
                      <a:pt x="550" y="626"/>
                    </a:lnTo>
                    <a:lnTo>
                      <a:pt x="549" y="624"/>
                    </a:lnTo>
                    <a:lnTo>
                      <a:pt x="548" y="624"/>
                    </a:lnTo>
                    <a:lnTo>
                      <a:pt x="545" y="623"/>
                    </a:lnTo>
                    <a:lnTo>
                      <a:pt x="544" y="622"/>
                    </a:lnTo>
                    <a:lnTo>
                      <a:pt x="544" y="621"/>
                    </a:lnTo>
                    <a:lnTo>
                      <a:pt x="544" y="620"/>
                    </a:lnTo>
                    <a:lnTo>
                      <a:pt x="544" y="619"/>
                    </a:lnTo>
                    <a:lnTo>
                      <a:pt x="543" y="617"/>
                    </a:lnTo>
                    <a:lnTo>
                      <a:pt x="542" y="616"/>
                    </a:lnTo>
                    <a:lnTo>
                      <a:pt x="541" y="615"/>
                    </a:lnTo>
                    <a:lnTo>
                      <a:pt x="539" y="615"/>
                    </a:lnTo>
                    <a:lnTo>
                      <a:pt x="540" y="617"/>
                    </a:lnTo>
                    <a:lnTo>
                      <a:pt x="539" y="617"/>
                    </a:lnTo>
                    <a:lnTo>
                      <a:pt x="538" y="617"/>
                    </a:lnTo>
                    <a:lnTo>
                      <a:pt x="538" y="616"/>
                    </a:lnTo>
                    <a:lnTo>
                      <a:pt x="537" y="615"/>
                    </a:lnTo>
                    <a:lnTo>
                      <a:pt x="537" y="616"/>
                    </a:lnTo>
                    <a:lnTo>
                      <a:pt x="536" y="616"/>
                    </a:lnTo>
                    <a:lnTo>
                      <a:pt x="536" y="615"/>
                    </a:lnTo>
                    <a:lnTo>
                      <a:pt x="535" y="615"/>
                    </a:lnTo>
                    <a:lnTo>
                      <a:pt x="533" y="615"/>
                    </a:lnTo>
                    <a:lnTo>
                      <a:pt x="533" y="614"/>
                    </a:lnTo>
                    <a:lnTo>
                      <a:pt x="533" y="613"/>
                    </a:lnTo>
                    <a:lnTo>
                      <a:pt x="532" y="611"/>
                    </a:lnTo>
                    <a:lnTo>
                      <a:pt x="531" y="610"/>
                    </a:lnTo>
                    <a:lnTo>
                      <a:pt x="531" y="609"/>
                    </a:lnTo>
                    <a:lnTo>
                      <a:pt x="530" y="609"/>
                    </a:lnTo>
                    <a:lnTo>
                      <a:pt x="530" y="608"/>
                    </a:lnTo>
                    <a:lnTo>
                      <a:pt x="529" y="608"/>
                    </a:lnTo>
                    <a:lnTo>
                      <a:pt x="528" y="607"/>
                    </a:lnTo>
                    <a:lnTo>
                      <a:pt x="529" y="606"/>
                    </a:lnTo>
                    <a:lnTo>
                      <a:pt x="530" y="606"/>
                    </a:lnTo>
                    <a:lnTo>
                      <a:pt x="529" y="605"/>
                    </a:lnTo>
                    <a:lnTo>
                      <a:pt x="528" y="605"/>
                    </a:lnTo>
                    <a:lnTo>
                      <a:pt x="528" y="604"/>
                    </a:lnTo>
                    <a:lnTo>
                      <a:pt x="528" y="602"/>
                    </a:lnTo>
                    <a:lnTo>
                      <a:pt x="527" y="601"/>
                    </a:lnTo>
                    <a:lnTo>
                      <a:pt x="527" y="600"/>
                    </a:lnTo>
                    <a:lnTo>
                      <a:pt x="526" y="600"/>
                    </a:lnTo>
                    <a:lnTo>
                      <a:pt x="525" y="601"/>
                    </a:lnTo>
                    <a:lnTo>
                      <a:pt x="525" y="600"/>
                    </a:lnTo>
                    <a:lnTo>
                      <a:pt x="526" y="597"/>
                    </a:lnTo>
                    <a:lnTo>
                      <a:pt x="527" y="597"/>
                    </a:lnTo>
                    <a:lnTo>
                      <a:pt x="527" y="596"/>
                    </a:lnTo>
                    <a:lnTo>
                      <a:pt x="526" y="596"/>
                    </a:lnTo>
                    <a:lnTo>
                      <a:pt x="525" y="597"/>
                    </a:lnTo>
                    <a:lnTo>
                      <a:pt x="524" y="596"/>
                    </a:lnTo>
                    <a:lnTo>
                      <a:pt x="525" y="596"/>
                    </a:lnTo>
                    <a:lnTo>
                      <a:pt x="526" y="595"/>
                    </a:lnTo>
                    <a:lnTo>
                      <a:pt x="527" y="594"/>
                    </a:lnTo>
                    <a:lnTo>
                      <a:pt x="527" y="592"/>
                    </a:lnTo>
                    <a:lnTo>
                      <a:pt x="526" y="591"/>
                    </a:lnTo>
                    <a:lnTo>
                      <a:pt x="525" y="591"/>
                    </a:lnTo>
                    <a:lnTo>
                      <a:pt x="525" y="590"/>
                    </a:lnTo>
                    <a:lnTo>
                      <a:pt x="525" y="589"/>
                    </a:lnTo>
                    <a:lnTo>
                      <a:pt x="525" y="588"/>
                    </a:lnTo>
                    <a:lnTo>
                      <a:pt x="525" y="586"/>
                    </a:lnTo>
                    <a:lnTo>
                      <a:pt x="524" y="586"/>
                    </a:lnTo>
                    <a:lnTo>
                      <a:pt x="523" y="588"/>
                    </a:lnTo>
                    <a:lnTo>
                      <a:pt x="523" y="589"/>
                    </a:lnTo>
                    <a:lnTo>
                      <a:pt x="522" y="588"/>
                    </a:lnTo>
                    <a:lnTo>
                      <a:pt x="522" y="586"/>
                    </a:lnTo>
                    <a:lnTo>
                      <a:pt x="522" y="585"/>
                    </a:lnTo>
                    <a:lnTo>
                      <a:pt x="522" y="584"/>
                    </a:lnTo>
                    <a:lnTo>
                      <a:pt x="522" y="585"/>
                    </a:lnTo>
                    <a:lnTo>
                      <a:pt x="520" y="585"/>
                    </a:lnTo>
                    <a:lnTo>
                      <a:pt x="519" y="585"/>
                    </a:lnTo>
                    <a:lnTo>
                      <a:pt x="519" y="584"/>
                    </a:lnTo>
                    <a:lnTo>
                      <a:pt x="519" y="583"/>
                    </a:lnTo>
                    <a:lnTo>
                      <a:pt x="519" y="582"/>
                    </a:lnTo>
                    <a:lnTo>
                      <a:pt x="519" y="581"/>
                    </a:lnTo>
                    <a:lnTo>
                      <a:pt x="520" y="580"/>
                    </a:lnTo>
                    <a:lnTo>
                      <a:pt x="519" y="580"/>
                    </a:lnTo>
                    <a:lnTo>
                      <a:pt x="518" y="580"/>
                    </a:lnTo>
                    <a:lnTo>
                      <a:pt x="517" y="579"/>
                    </a:lnTo>
                    <a:lnTo>
                      <a:pt x="516" y="579"/>
                    </a:lnTo>
                    <a:lnTo>
                      <a:pt x="515" y="579"/>
                    </a:lnTo>
                    <a:lnTo>
                      <a:pt x="515" y="580"/>
                    </a:lnTo>
                    <a:lnTo>
                      <a:pt x="515" y="579"/>
                    </a:lnTo>
                    <a:lnTo>
                      <a:pt x="513" y="577"/>
                    </a:lnTo>
                    <a:lnTo>
                      <a:pt x="513" y="576"/>
                    </a:lnTo>
                    <a:lnTo>
                      <a:pt x="513" y="575"/>
                    </a:lnTo>
                    <a:lnTo>
                      <a:pt x="514" y="575"/>
                    </a:lnTo>
                    <a:lnTo>
                      <a:pt x="515" y="575"/>
                    </a:lnTo>
                    <a:lnTo>
                      <a:pt x="515" y="573"/>
                    </a:lnTo>
                    <a:lnTo>
                      <a:pt x="515" y="572"/>
                    </a:lnTo>
                    <a:lnTo>
                      <a:pt x="516" y="572"/>
                    </a:lnTo>
                    <a:lnTo>
                      <a:pt x="516" y="571"/>
                    </a:lnTo>
                    <a:lnTo>
                      <a:pt x="515" y="571"/>
                    </a:lnTo>
                    <a:lnTo>
                      <a:pt x="515" y="570"/>
                    </a:lnTo>
                    <a:lnTo>
                      <a:pt x="515" y="569"/>
                    </a:lnTo>
                    <a:lnTo>
                      <a:pt x="514" y="569"/>
                    </a:lnTo>
                    <a:lnTo>
                      <a:pt x="514" y="568"/>
                    </a:lnTo>
                    <a:lnTo>
                      <a:pt x="514" y="567"/>
                    </a:lnTo>
                    <a:lnTo>
                      <a:pt x="513" y="566"/>
                    </a:lnTo>
                    <a:lnTo>
                      <a:pt x="513" y="565"/>
                    </a:lnTo>
                    <a:lnTo>
                      <a:pt x="512" y="565"/>
                    </a:lnTo>
                    <a:lnTo>
                      <a:pt x="512" y="564"/>
                    </a:lnTo>
                    <a:lnTo>
                      <a:pt x="511" y="564"/>
                    </a:lnTo>
                    <a:lnTo>
                      <a:pt x="511" y="563"/>
                    </a:lnTo>
                    <a:lnTo>
                      <a:pt x="510" y="563"/>
                    </a:lnTo>
                    <a:lnTo>
                      <a:pt x="509" y="563"/>
                    </a:lnTo>
                    <a:lnTo>
                      <a:pt x="510" y="563"/>
                    </a:lnTo>
                    <a:lnTo>
                      <a:pt x="510" y="562"/>
                    </a:lnTo>
                    <a:lnTo>
                      <a:pt x="510" y="560"/>
                    </a:lnTo>
                    <a:lnTo>
                      <a:pt x="510" y="562"/>
                    </a:lnTo>
                    <a:lnTo>
                      <a:pt x="510" y="560"/>
                    </a:lnTo>
                    <a:lnTo>
                      <a:pt x="510" y="559"/>
                    </a:lnTo>
                    <a:lnTo>
                      <a:pt x="511" y="560"/>
                    </a:lnTo>
                    <a:close/>
                    <a:moveTo>
                      <a:pt x="607" y="508"/>
                    </a:moveTo>
                    <a:lnTo>
                      <a:pt x="606" y="508"/>
                    </a:lnTo>
                    <a:lnTo>
                      <a:pt x="605" y="508"/>
                    </a:lnTo>
                    <a:lnTo>
                      <a:pt x="604" y="510"/>
                    </a:lnTo>
                    <a:lnTo>
                      <a:pt x="602" y="510"/>
                    </a:lnTo>
                    <a:lnTo>
                      <a:pt x="602" y="511"/>
                    </a:lnTo>
                    <a:lnTo>
                      <a:pt x="601" y="511"/>
                    </a:lnTo>
                    <a:lnTo>
                      <a:pt x="600" y="511"/>
                    </a:lnTo>
                    <a:lnTo>
                      <a:pt x="600" y="512"/>
                    </a:lnTo>
                    <a:lnTo>
                      <a:pt x="599" y="512"/>
                    </a:lnTo>
                    <a:lnTo>
                      <a:pt x="599" y="513"/>
                    </a:lnTo>
                    <a:lnTo>
                      <a:pt x="600" y="514"/>
                    </a:lnTo>
                    <a:lnTo>
                      <a:pt x="601" y="515"/>
                    </a:lnTo>
                    <a:lnTo>
                      <a:pt x="601" y="517"/>
                    </a:lnTo>
                    <a:lnTo>
                      <a:pt x="602" y="518"/>
                    </a:lnTo>
                    <a:lnTo>
                      <a:pt x="602" y="519"/>
                    </a:lnTo>
                    <a:lnTo>
                      <a:pt x="603" y="519"/>
                    </a:lnTo>
                    <a:lnTo>
                      <a:pt x="603" y="520"/>
                    </a:lnTo>
                    <a:lnTo>
                      <a:pt x="602" y="520"/>
                    </a:lnTo>
                    <a:lnTo>
                      <a:pt x="601" y="520"/>
                    </a:lnTo>
                    <a:lnTo>
                      <a:pt x="600" y="520"/>
                    </a:lnTo>
                    <a:lnTo>
                      <a:pt x="600" y="519"/>
                    </a:lnTo>
                    <a:lnTo>
                      <a:pt x="601" y="518"/>
                    </a:lnTo>
                    <a:lnTo>
                      <a:pt x="601" y="517"/>
                    </a:lnTo>
                    <a:lnTo>
                      <a:pt x="600" y="515"/>
                    </a:lnTo>
                    <a:lnTo>
                      <a:pt x="599" y="513"/>
                    </a:lnTo>
                    <a:lnTo>
                      <a:pt x="597" y="513"/>
                    </a:lnTo>
                    <a:lnTo>
                      <a:pt x="596" y="513"/>
                    </a:lnTo>
                    <a:lnTo>
                      <a:pt x="595" y="513"/>
                    </a:lnTo>
                    <a:lnTo>
                      <a:pt x="594" y="513"/>
                    </a:lnTo>
                    <a:lnTo>
                      <a:pt x="594" y="514"/>
                    </a:lnTo>
                    <a:lnTo>
                      <a:pt x="594" y="515"/>
                    </a:lnTo>
                    <a:lnTo>
                      <a:pt x="593" y="515"/>
                    </a:lnTo>
                    <a:lnTo>
                      <a:pt x="593" y="516"/>
                    </a:lnTo>
                    <a:lnTo>
                      <a:pt x="593" y="517"/>
                    </a:lnTo>
                    <a:lnTo>
                      <a:pt x="594" y="518"/>
                    </a:lnTo>
                    <a:lnTo>
                      <a:pt x="594" y="519"/>
                    </a:lnTo>
                    <a:lnTo>
                      <a:pt x="594" y="520"/>
                    </a:lnTo>
                    <a:lnTo>
                      <a:pt x="593" y="520"/>
                    </a:lnTo>
                    <a:lnTo>
                      <a:pt x="592" y="521"/>
                    </a:lnTo>
                    <a:lnTo>
                      <a:pt x="591" y="521"/>
                    </a:lnTo>
                    <a:lnTo>
                      <a:pt x="591" y="523"/>
                    </a:lnTo>
                    <a:lnTo>
                      <a:pt x="590" y="524"/>
                    </a:lnTo>
                    <a:lnTo>
                      <a:pt x="589" y="524"/>
                    </a:lnTo>
                    <a:lnTo>
                      <a:pt x="588" y="524"/>
                    </a:lnTo>
                    <a:lnTo>
                      <a:pt x="587" y="525"/>
                    </a:lnTo>
                    <a:lnTo>
                      <a:pt x="586" y="525"/>
                    </a:lnTo>
                    <a:lnTo>
                      <a:pt x="584" y="526"/>
                    </a:lnTo>
                    <a:lnTo>
                      <a:pt x="584" y="527"/>
                    </a:lnTo>
                    <a:lnTo>
                      <a:pt x="583" y="527"/>
                    </a:lnTo>
                    <a:lnTo>
                      <a:pt x="584" y="527"/>
                    </a:lnTo>
                    <a:lnTo>
                      <a:pt x="587" y="527"/>
                    </a:lnTo>
                    <a:lnTo>
                      <a:pt x="587" y="528"/>
                    </a:lnTo>
                    <a:lnTo>
                      <a:pt x="586" y="529"/>
                    </a:lnTo>
                    <a:lnTo>
                      <a:pt x="586" y="530"/>
                    </a:lnTo>
                    <a:lnTo>
                      <a:pt x="584" y="530"/>
                    </a:lnTo>
                    <a:lnTo>
                      <a:pt x="584" y="531"/>
                    </a:lnTo>
                    <a:lnTo>
                      <a:pt x="584" y="532"/>
                    </a:lnTo>
                    <a:lnTo>
                      <a:pt x="583" y="531"/>
                    </a:lnTo>
                    <a:lnTo>
                      <a:pt x="582" y="530"/>
                    </a:lnTo>
                    <a:lnTo>
                      <a:pt x="582" y="529"/>
                    </a:lnTo>
                    <a:lnTo>
                      <a:pt x="581" y="529"/>
                    </a:lnTo>
                    <a:lnTo>
                      <a:pt x="581" y="528"/>
                    </a:lnTo>
                    <a:lnTo>
                      <a:pt x="580" y="528"/>
                    </a:lnTo>
                    <a:lnTo>
                      <a:pt x="579" y="528"/>
                    </a:lnTo>
                    <a:lnTo>
                      <a:pt x="579" y="529"/>
                    </a:lnTo>
                    <a:lnTo>
                      <a:pt x="579" y="530"/>
                    </a:lnTo>
                    <a:lnTo>
                      <a:pt x="580" y="530"/>
                    </a:lnTo>
                    <a:lnTo>
                      <a:pt x="580" y="531"/>
                    </a:lnTo>
                    <a:lnTo>
                      <a:pt x="581" y="531"/>
                    </a:lnTo>
                    <a:lnTo>
                      <a:pt x="581" y="532"/>
                    </a:lnTo>
                    <a:lnTo>
                      <a:pt x="582" y="533"/>
                    </a:lnTo>
                    <a:lnTo>
                      <a:pt x="583" y="533"/>
                    </a:lnTo>
                    <a:lnTo>
                      <a:pt x="583" y="534"/>
                    </a:lnTo>
                    <a:lnTo>
                      <a:pt x="584" y="534"/>
                    </a:lnTo>
                    <a:lnTo>
                      <a:pt x="586" y="536"/>
                    </a:lnTo>
                    <a:lnTo>
                      <a:pt x="587" y="536"/>
                    </a:lnTo>
                    <a:lnTo>
                      <a:pt x="588" y="534"/>
                    </a:lnTo>
                    <a:lnTo>
                      <a:pt x="588" y="533"/>
                    </a:lnTo>
                    <a:lnTo>
                      <a:pt x="589" y="533"/>
                    </a:lnTo>
                    <a:lnTo>
                      <a:pt x="590" y="533"/>
                    </a:lnTo>
                    <a:lnTo>
                      <a:pt x="590" y="534"/>
                    </a:lnTo>
                    <a:lnTo>
                      <a:pt x="589" y="533"/>
                    </a:lnTo>
                    <a:lnTo>
                      <a:pt x="588" y="533"/>
                    </a:lnTo>
                    <a:lnTo>
                      <a:pt x="588" y="534"/>
                    </a:lnTo>
                    <a:lnTo>
                      <a:pt x="588" y="536"/>
                    </a:lnTo>
                    <a:lnTo>
                      <a:pt x="588" y="537"/>
                    </a:lnTo>
                    <a:lnTo>
                      <a:pt x="584" y="536"/>
                    </a:lnTo>
                    <a:lnTo>
                      <a:pt x="584" y="534"/>
                    </a:lnTo>
                    <a:lnTo>
                      <a:pt x="583" y="534"/>
                    </a:lnTo>
                    <a:lnTo>
                      <a:pt x="581" y="534"/>
                    </a:lnTo>
                    <a:lnTo>
                      <a:pt x="574" y="531"/>
                    </a:lnTo>
                    <a:lnTo>
                      <a:pt x="571" y="531"/>
                    </a:lnTo>
                    <a:lnTo>
                      <a:pt x="570" y="530"/>
                    </a:lnTo>
                    <a:lnTo>
                      <a:pt x="568" y="530"/>
                    </a:lnTo>
                    <a:lnTo>
                      <a:pt x="569" y="530"/>
                    </a:lnTo>
                    <a:lnTo>
                      <a:pt x="570" y="530"/>
                    </a:lnTo>
                    <a:lnTo>
                      <a:pt x="571" y="531"/>
                    </a:lnTo>
                    <a:lnTo>
                      <a:pt x="570" y="531"/>
                    </a:lnTo>
                    <a:lnTo>
                      <a:pt x="570" y="532"/>
                    </a:lnTo>
                    <a:lnTo>
                      <a:pt x="570" y="533"/>
                    </a:lnTo>
                    <a:lnTo>
                      <a:pt x="568" y="533"/>
                    </a:lnTo>
                    <a:lnTo>
                      <a:pt x="567" y="533"/>
                    </a:lnTo>
                    <a:lnTo>
                      <a:pt x="566" y="533"/>
                    </a:lnTo>
                    <a:lnTo>
                      <a:pt x="566" y="532"/>
                    </a:lnTo>
                    <a:lnTo>
                      <a:pt x="565" y="531"/>
                    </a:lnTo>
                    <a:lnTo>
                      <a:pt x="565" y="530"/>
                    </a:lnTo>
                    <a:lnTo>
                      <a:pt x="564" y="529"/>
                    </a:lnTo>
                    <a:lnTo>
                      <a:pt x="564" y="528"/>
                    </a:lnTo>
                    <a:lnTo>
                      <a:pt x="563" y="528"/>
                    </a:lnTo>
                    <a:lnTo>
                      <a:pt x="563" y="527"/>
                    </a:lnTo>
                    <a:lnTo>
                      <a:pt x="562" y="527"/>
                    </a:lnTo>
                    <a:lnTo>
                      <a:pt x="562" y="526"/>
                    </a:lnTo>
                    <a:lnTo>
                      <a:pt x="561" y="526"/>
                    </a:lnTo>
                    <a:lnTo>
                      <a:pt x="560" y="525"/>
                    </a:lnTo>
                    <a:lnTo>
                      <a:pt x="558" y="525"/>
                    </a:lnTo>
                    <a:lnTo>
                      <a:pt x="560" y="525"/>
                    </a:lnTo>
                    <a:lnTo>
                      <a:pt x="560" y="524"/>
                    </a:lnTo>
                    <a:lnTo>
                      <a:pt x="561" y="524"/>
                    </a:lnTo>
                    <a:lnTo>
                      <a:pt x="562" y="524"/>
                    </a:lnTo>
                    <a:lnTo>
                      <a:pt x="562" y="523"/>
                    </a:lnTo>
                    <a:lnTo>
                      <a:pt x="563" y="523"/>
                    </a:lnTo>
                    <a:lnTo>
                      <a:pt x="564" y="523"/>
                    </a:lnTo>
                    <a:lnTo>
                      <a:pt x="564" y="521"/>
                    </a:lnTo>
                    <a:lnTo>
                      <a:pt x="565" y="521"/>
                    </a:lnTo>
                    <a:lnTo>
                      <a:pt x="565" y="520"/>
                    </a:lnTo>
                    <a:lnTo>
                      <a:pt x="566" y="520"/>
                    </a:lnTo>
                    <a:lnTo>
                      <a:pt x="567" y="520"/>
                    </a:lnTo>
                    <a:lnTo>
                      <a:pt x="568" y="520"/>
                    </a:lnTo>
                    <a:lnTo>
                      <a:pt x="569" y="519"/>
                    </a:lnTo>
                    <a:lnTo>
                      <a:pt x="570" y="519"/>
                    </a:lnTo>
                    <a:lnTo>
                      <a:pt x="571" y="519"/>
                    </a:lnTo>
                    <a:lnTo>
                      <a:pt x="573" y="519"/>
                    </a:lnTo>
                    <a:lnTo>
                      <a:pt x="574" y="519"/>
                    </a:lnTo>
                    <a:lnTo>
                      <a:pt x="574" y="518"/>
                    </a:lnTo>
                    <a:lnTo>
                      <a:pt x="575" y="518"/>
                    </a:lnTo>
                    <a:lnTo>
                      <a:pt x="576" y="518"/>
                    </a:lnTo>
                    <a:lnTo>
                      <a:pt x="576" y="519"/>
                    </a:lnTo>
                    <a:lnTo>
                      <a:pt x="576" y="518"/>
                    </a:lnTo>
                    <a:lnTo>
                      <a:pt x="577" y="518"/>
                    </a:lnTo>
                    <a:lnTo>
                      <a:pt x="578" y="518"/>
                    </a:lnTo>
                    <a:lnTo>
                      <a:pt x="578" y="517"/>
                    </a:lnTo>
                    <a:lnTo>
                      <a:pt x="579" y="517"/>
                    </a:lnTo>
                    <a:lnTo>
                      <a:pt x="580" y="517"/>
                    </a:lnTo>
                    <a:lnTo>
                      <a:pt x="581" y="517"/>
                    </a:lnTo>
                    <a:lnTo>
                      <a:pt x="581" y="516"/>
                    </a:lnTo>
                    <a:lnTo>
                      <a:pt x="582" y="516"/>
                    </a:lnTo>
                    <a:lnTo>
                      <a:pt x="582" y="515"/>
                    </a:lnTo>
                    <a:lnTo>
                      <a:pt x="582" y="516"/>
                    </a:lnTo>
                    <a:lnTo>
                      <a:pt x="583" y="516"/>
                    </a:lnTo>
                    <a:lnTo>
                      <a:pt x="583" y="515"/>
                    </a:lnTo>
                    <a:lnTo>
                      <a:pt x="583" y="516"/>
                    </a:lnTo>
                    <a:lnTo>
                      <a:pt x="584" y="515"/>
                    </a:lnTo>
                    <a:lnTo>
                      <a:pt x="586" y="515"/>
                    </a:lnTo>
                    <a:lnTo>
                      <a:pt x="587" y="515"/>
                    </a:lnTo>
                    <a:lnTo>
                      <a:pt x="587" y="514"/>
                    </a:lnTo>
                    <a:lnTo>
                      <a:pt x="588" y="514"/>
                    </a:lnTo>
                    <a:lnTo>
                      <a:pt x="589" y="514"/>
                    </a:lnTo>
                    <a:lnTo>
                      <a:pt x="590" y="514"/>
                    </a:lnTo>
                    <a:lnTo>
                      <a:pt x="590" y="513"/>
                    </a:lnTo>
                    <a:lnTo>
                      <a:pt x="591" y="513"/>
                    </a:lnTo>
                    <a:lnTo>
                      <a:pt x="591" y="514"/>
                    </a:lnTo>
                    <a:lnTo>
                      <a:pt x="590" y="514"/>
                    </a:lnTo>
                    <a:lnTo>
                      <a:pt x="590" y="515"/>
                    </a:lnTo>
                    <a:lnTo>
                      <a:pt x="590" y="516"/>
                    </a:lnTo>
                    <a:lnTo>
                      <a:pt x="590" y="515"/>
                    </a:lnTo>
                    <a:lnTo>
                      <a:pt x="591" y="515"/>
                    </a:lnTo>
                    <a:lnTo>
                      <a:pt x="590" y="515"/>
                    </a:lnTo>
                    <a:lnTo>
                      <a:pt x="591" y="514"/>
                    </a:lnTo>
                    <a:lnTo>
                      <a:pt x="591" y="513"/>
                    </a:lnTo>
                    <a:lnTo>
                      <a:pt x="592" y="513"/>
                    </a:lnTo>
                    <a:lnTo>
                      <a:pt x="592" y="512"/>
                    </a:lnTo>
                    <a:lnTo>
                      <a:pt x="593" y="512"/>
                    </a:lnTo>
                    <a:lnTo>
                      <a:pt x="594" y="512"/>
                    </a:lnTo>
                    <a:lnTo>
                      <a:pt x="595" y="511"/>
                    </a:lnTo>
                    <a:lnTo>
                      <a:pt x="596" y="511"/>
                    </a:lnTo>
                    <a:lnTo>
                      <a:pt x="597" y="511"/>
                    </a:lnTo>
                    <a:lnTo>
                      <a:pt x="599" y="511"/>
                    </a:lnTo>
                    <a:lnTo>
                      <a:pt x="599" y="510"/>
                    </a:lnTo>
                    <a:lnTo>
                      <a:pt x="600" y="510"/>
                    </a:lnTo>
                    <a:lnTo>
                      <a:pt x="601" y="510"/>
                    </a:lnTo>
                    <a:lnTo>
                      <a:pt x="602" y="510"/>
                    </a:lnTo>
                    <a:lnTo>
                      <a:pt x="603" y="510"/>
                    </a:lnTo>
                    <a:lnTo>
                      <a:pt x="603" y="508"/>
                    </a:lnTo>
                    <a:lnTo>
                      <a:pt x="604" y="508"/>
                    </a:lnTo>
                    <a:lnTo>
                      <a:pt x="605" y="508"/>
                    </a:lnTo>
                    <a:lnTo>
                      <a:pt x="606" y="508"/>
                    </a:lnTo>
                    <a:lnTo>
                      <a:pt x="607" y="508"/>
                    </a:lnTo>
                    <a:close/>
                    <a:moveTo>
                      <a:pt x="450" y="614"/>
                    </a:moveTo>
                    <a:lnTo>
                      <a:pt x="450" y="615"/>
                    </a:lnTo>
                    <a:lnTo>
                      <a:pt x="449" y="616"/>
                    </a:lnTo>
                    <a:lnTo>
                      <a:pt x="448" y="617"/>
                    </a:lnTo>
                    <a:lnTo>
                      <a:pt x="448" y="618"/>
                    </a:lnTo>
                    <a:lnTo>
                      <a:pt x="447" y="618"/>
                    </a:lnTo>
                    <a:lnTo>
                      <a:pt x="447" y="619"/>
                    </a:lnTo>
                    <a:lnTo>
                      <a:pt x="446" y="620"/>
                    </a:lnTo>
                    <a:lnTo>
                      <a:pt x="445" y="621"/>
                    </a:lnTo>
                    <a:lnTo>
                      <a:pt x="445" y="622"/>
                    </a:lnTo>
                    <a:lnTo>
                      <a:pt x="446" y="622"/>
                    </a:lnTo>
                    <a:lnTo>
                      <a:pt x="445" y="622"/>
                    </a:lnTo>
                    <a:lnTo>
                      <a:pt x="446" y="622"/>
                    </a:lnTo>
                    <a:lnTo>
                      <a:pt x="447" y="622"/>
                    </a:lnTo>
                    <a:lnTo>
                      <a:pt x="447" y="623"/>
                    </a:lnTo>
                    <a:lnTo>
                      <a:pt x="446" y="623"/>
                    </a:lnTo>
                    <a:lnTo>
                      <a:pt x="446" y="624"/>
                    </a:lnTo>
                    <a:lnTo>
                      <a:pt x="446" y="626"/>
                    </a:lnTo>
                    <a:lnTo>
                      <a:pt x="445" y="626"/>
                    </a:lnTo>
                    <a:lnTo>
                      <a:pt x="445" y="627"/>
                    </a:lnTo>
                    <a:lnTo>
                      <a:pt x="444" y="628"/>
                    </a:lnTo>
                    <a:lnTo>
                      <a:pt x="444" y="629"/>
                    </a:lnTo>
                    <a:lnTo>
                      <a:pt x="442" y="629"/>
                    </a:lnTo>
                    <a:lnTo>
                      <a:pt x="442" y="630"/>
                    </a:lnTo>
                    <a:lnTo>
                      <a:pt x="441" y="631"/>
                    </a:lnTo>
                    <a:lnTo>
                      <a:pt x="441" y="632"/>
                    </a:lnTo>
                    <a:lnTo>
                      <a:pt x="440" y="632"/>
                    </a:lnTo>
                    <a:lnTo>
                      <a:pt x="440" y="633"/>
                    </a:lnTo>
                    <a:lnTo>
                      <a:pt x="439" y="633"/>
                    </a:lnTo>
                    <a:lnTo>
                      <a:pt x="439" y="634"/>
                    </a:lnTo>
                    <a:lnTo>
                      <a:pt x="438" y="634"/>
                    </a:lnTo>
                    <a:lnTo>
                      <a:pt x="438" y="635"/>
                    </a:lnTo>
                    <a:lnTo>
                      <a:pt x="437" y="636"/>
                    </a:lnTo>
                    <a:lnTo>
                      <a:pt x="437" y="637"/>
                    </a:lnTo>
                    <a:lnTo>
                      <a:pt x="436" y="637"/>
                    </a:lnTo>
                    <a:lnTo>
                      <a:pt x="436" y="639"/>
                    </a:lnTo>
                    <a:lnTo>
                      <a:pt x="435" y="640"/>
                    </a:lnTo>
                    <a:lnTo>
                      <a:pt x="435" y="641"/>
                    </a:lnTo>
                    <a:lnTo>
                      <a:pt x="434" y="641"/>
                    </a:lnTo>
                    <a:lnTo>
                      <a:pt x="434" y="642"/>
                    </a:lnTo>
                    <a:lnTo>
                      <a:pt x="433" y="642"/>
                    </a:lnTo>
                    <a:lnTo>
                      <a:pt x="433" y="643"/>
                    </a:lnTo>
                    <a:lnTo>
                      <a:pt x="432" y="644"/>
                    </a:lnTo>
                    <a:lnTo>
                      <a:pt x="431" y="644"/>
                    </a:lnTo>
                    <a:lnTo>
                      <a:pt x="431" y="645"/>
                    </a:lnTo>
                    <a:lnTo>
                      <a:pt x="431" y="646"/>
                    </a:lnTo>
                    <a:lnTo>
                      <a:pt x="429" y="647"/>
                    </a:lnTo>
                    <a:lnTo>
                      <a:pt x="428" y="647"/>
                    </a:lnTo>
                    <a:lnTo>
                      <a:pt x="428" y="648"/>
                    </a:lnTo>
                    <a:lnTo>
                      <a:pt x="427" y="649"/>
                    </a:lnTo>
                    <a:lnTo>
                      <a:pt x="427" y="650"/>
                    </a:lnTo>
                    <a:lnTo>
                      <a:pt x="426" y="650"/>
                    </a:lnTo>
                    <a:lnTo>
                      <a:pt x="426" y="652"/>
                    </a:lnTo>
                    <a:lnTo>
                      <a:pt x="425" y="653"/>
                    </a:lnTo>
                    <a:lnTo>
                      <a:pt x="425" y="654"/>
                    </a:lnTo>
                    <a:lnTo>
                      <a:pt x="424" y="654"/>
                    </a:lnTo>
                    <a:lnTo>
                      <a:pt x="423" y="654"/>
                    </a:lnTo>
                    <a:lnTo>
                      <a:pt x="423" y="655"/>
                    </a:lnTo>
                    <a:lnTo>
                      <a:pt x="423" y="656"/>
                    </a:lnTo>
                    <a:lnTo>
                      <a:pt x="422" y="656"/>
                    </a:lnTo>
                    <a:lnTo>
                      <a:pt x="422" y="657"/>
                    </a:lnTo>
                    <a:lnTo>
                      <a:pt x="422" y="656"/>
                    </a:lnTo>
                    <a:lnTo>
                      <a:pt x="421" y="657"/>
                    </a:lnTo>
                    <a:lnTo>
                      <a:pt x="421" y="658"/>
                    </a:lnTo>
                    <a:lnTo>
                      <a:pt x="421" y="659"/>
                    </a:lnTo>
                    <a:lnTo>
                      <a:pt x="420" y="659"/>
                    </a:lnTo>
                    <a:lnTo>
                      <a:pt x="420" y="660"/>
                    </a:lnTo>
                    <a:lnTo>
                      <a:pt x="418" y="663"/>
                    </a:lnTo>
                    <a:lnTo>
                      <a:pt x="416" y="665"/>
                    </a:lnTo>
                    <a:lnTo>
                      <a:pt x="415" y="665"/>
                    </a:lnTo>
                    <a:lnTo>
                      <a:pt x="415" y="666"/>
                    </a:lnTo>
                    <a:lnTo>
                      <a:pt x="415" y="667"/>
                    </a:lnTo>
                    <a:lnTo>
                      <a:pt x="414" y="667"/>
                    </a:lnTo>
                    <a:lnTo>
                      <a:pt x="414" y="668"/>
                    </a:lnTo>
                    <a:lnTo>
                      <a:pt x="413" y="669"/>
                    </a:lnTo>
                    <a:lnTo>
                      <a:pt x="413" y="670"/>
                    </a:lnTo>
                    <a:lnTo>
                      <a:pt x="412" y="670"/>
                    </a:lnTo>
                    <a:lnTo>
                      <a:pt x="411" y="670"/>
                    </a:lnTo>
                    <a:lnTo>
                      <a:pt x="411" y="671"/>
                    </a:lnTo>
                    <a:lnTo>
                      <a:pt x="412" y="671"/>
                    </a:lnTo>
                    <a:lnTo>
                      <a:pt x="411" y="672"/>
                    </a:lnTo>
                    <a:lnTo>
                      <a:pt x="410" y="672"/>
                    </a:lnTo>
                    <a:lnTo>
                      <a:pt x="410" y="671"/>
                    </a:lnTo>
                    <a:lnTo>
                      <a:pt x="410" y="670"/>
                    </a:lnTo>
                    <a:lnTo>
                      <a:pt x="411" y="670"/>
                    </a:lnTo>
                    <a:lnTo>
                      <a:pt x="411" y="669"/>
                    </a:lnTo>
                    <a:lnTo>
                      <a:pt x="412" y="668"/>
                    </a:lnTo>
                    <a:lnTo>
                      <a:pt x="412" y="667"/>
                    </a:lnTo>
                    <a:lnTo>
                      <a:pt x="413" y="667"/>
                    </a:lnTo>
                    <a:lnTo>
                      <a:pt x="412" y="667"/>
                    </a:lnTo>
                    <a:lnTo>
                      <a:pt x="413" y="667"/>
                    </a:lnTo>
                    <a:lnTo>
                      <a:pt x="412" y="667"/>
                    </a:lnTo>
                    <a:lnTo>
                      <a:pt x="413" y="667"/>
                    </a:lnTo>
                    <a:lnTo>
                      <a:pt x="413" y="666"/>
                    </a:lnTo>
                    <a:lnTo>
                      <a:pt x="414" y="665"/>
                    </a:lnTo>
                    <a:lnTo>
                      <a:pt x="413" y="665"/>
                    </a:lnTo>
                    <a:lnTo>
                      <a:pt x="412" y="665"/>
                    </a:lnTo>
                    <a:lnTo>
                      <a:pt x="413" y="665"/>
                    </a:lnTo>
                    <a:lnTo>
                      <a:pt x="413" y="663"/>
                    </a:lnTo>
                    <a:lnTo>
                      <a:pt x="414" y="663"/>
                    </a:lnTo>
                    <a:lnTo>
                      <a:pt x="414" y="662"/>
                    </a:lnTo>
                    <a:lnTo>
                      <a:pt x="415" y="662"/>
                    </a:lnTo>
                    <a:lnTo>
                      <a:pt x="415" y="661"/>
                    </a:lnTo>
                    <a:lnTo>
                      <a:pt x="414" y="662"/>
                    </a:lnTo>
                    <a:lnTo>
                      <a:pt x="413" y="663"/>
                    </a:lnTo>
                    <a:lnTo>
                      <a:pt x="412" y="665"/>
                    </a:lnTo>
                    <a:lnTo>
                      <a:pt x="412" y="663"/>
                    </a:lnTo>
                    <a:lnTo>
                      <a:pt x="412" y="662"/>
                    </a:lnTo>
                    <a:lnTo>
                      <a:pt x="412" y="661"/>
                    </a:lnTo>
                    <a:lnTo>
                      <a:pt x="413" y="661"/>
                    </a:lnTo>
                    <a:lnTo>
                      <a:pt x="413" y="660"/>
                    </a:lnTo>
                    <a:lnTo>
                      <a:pt x="413" y="659"/>
                    </a:lnTo>
                    <a:lnTo>
                      <a:pt x="413" y="658"/>
                    </a:lnTo>
                    <a:lnTo>
                      <a:pt x="414" y="658"/>
                    </a:lnTo>
                    <a:lnTo>
                      <a:pt x="414" y="657"/>
                    </a:lnTo>
                    <a:lnTo>
                      <a:pt x="414" y="655"/>
                    </a:lnTo>
                    <a:lnTo>
                      <a:pt x="415" y="655"/>
                    </a:lnTo>
                    <a:lnTo>
                      <a:pt x="416" y="655"/>
                    </a:lnTo>
                    <a:lnTo>
                      <a:pt x="416" y="654"/>
                    </a:lnTo>
                    <a:lnTo>
                      <a:pt x="416" y="653"/>
                    </a:lnTo>
                    <a:lnTo>
                      <a:pt x="418" y="653"/>
                    </a:lnTo>
                    <a:lnTo>
                      <a:pt x="418" y="652"/>
                    </a:lnTo>
                    <a:lnTo>
                      <a:pt x="418" y="650"/>
                    </a:lnTo>
                    <a:lnTo>
                      <a:pt x="418" y="649"/>
                    </a:lnTo>
                    <a:lnTo>
                      <a:pt x="418" y="648"/>
                    </a:lnTo>
                    <a:lnTo>
                      <a:pt x="419" y="648"/>
                    </a:lnTo>
                    <a:lnTo>
                      <a:pt x="419" y="647"/>
                    </a:lnTo>
                    <a:lnTo>
                      <a:pt x="419" y="646"/>
                    </a:lnTo>
                    <a:lnTo>
                      <a:pt x="420" y="646"/>
                    </a:lnTo>
                    <a:lnTo>
                      <a:pt x="421" y="647"/>
                    </a:lnTo>
                    <a:lnTo>
                      <a:pt x="422" y="647"/>
                    </a:lnTo>
                    <a:lnTo>
                      <a:pt x="422" y="646"/>
                    </a:lnTo>
                    <a:lnTo>
                      <a:pt x="422" y="645"/>
                    </a:lnTo>
                    <a:lnTo>
                      <a:pt x="423" y="645"/>
                    </a:lnTo>
                    <a:lnTo>
                      <a:pt x="424" y="645"/>
                    </a:lnTo>
                    <a:lnTo>
                      <a:pt x="425" y="644"/>
                    </a:lnTo>
                    <a:lnTo>
                      <a:pt x="425" y="643"/>
                    </a:lnTo>
                    <a:lnTo>
                      <a:pt x="426" y="643"/>
                    </a:lnTo>
                    <a:lnTo>
                      <a:pt x="426" y="642"/>
                    </a:lnTo>
                    <a:lnTo>
                      <a:pt x="426" y="641"/>
                    </a:lnTo>
                    <a:lnTo>
                      <a:pt x="427" y="641"/>
                    </a:lnTo>
                    <a:lnTo>
                      <a:pt x="428" y="640"/>
                    </a:lnTo>
                    <a:lnTo>
                      <a:pt x="431" y="639"/>
                    </a:lnTo>
                    <a:lnTo>
                      <a:pt x="432" y="639"/>
                    </a:lnTo>
                    <a:lnTo>
                      <a:pt x="432" y="637"/>
                    </a:lnTo>
                    <a:lnTo>
                      <a:pt x="433" y="637"/>
                    </a:lnTo>
                    <a:lnTo>
                      <a:pt x="434" y="637"/>
                    </a:lnTo>
                    <a:lnTo>
                      <a:pt x="434" y="636"/>
                    </a:lnTo>
                    <a:lnTo>
                      <a:pt x="433" y="636"/>
                    </a:lnTo>
                    <a:lnTo>
                      <a:pt x="433" y="635"/>
                    </a:lnTo>
                    <a:lnTo>
                      <a:pt x="434" y="634"/>
                    </a:lnTo>
                    <a:lnTo>
                      <a:pt x="433" y="634"/>
                    </a:lnTo>
                    <a:lnTo>
                      <a:pt x="434" y="633"/>
                    </a:lnTo>
                    <a:lnTo>
                      <a:pt x="434" y="634"/>
                    </a:lnTo>
                    <a:lnTo>
                      <a:pt x="434" y="633"/>
                    </a:lnTo>
                    <a:lnTo>
                      <a:pt x="435" y="633"/>
                    </a:lnTo>
                    <a:lnTo>
                      <a:pt x="434" y="632"/>
                    </a:lnTo>
                    <a:lnTo>
                      <a:pt x="433" y="633"/>
                    </a:lnTo>
                    <a:lnTo>
                      <a:pt x="433" y="632"/>
                    </a:lnTo>
                    <a:lnTo>
                      <a:pt x="433" y="631"/>
                    </a:lnTo>
                    <a:lnTo>
                      <a:pt x="434" y="631"/>
                    </a:lnTo>
                    <a:lnTo>
                      <a:pt x="434" y="630"/>
                    </a:lnTo>
                    <a:lnTo>
                      <a:pt x="435" y="630"/>
                    </a:lnTo>
                    <a:lnTo>
                      <a:pt x="436" y="630"/>
                    </a:lnTo>
                    <a:lnTo>
                      <a:pt x="436" y="629"/>
                    </a:lnTo>
                    <a:lnTo>
                      <a:pt x="437" y="629"/>
                    </a:lnTo>
                    <a:lnTo>
                      <a:pt x="437" y="628"/>
                    </a:lnTo>
                    <a:lnTo>
                      <a:pt x="437" y="627"/>
                    </a:lnTo>
                    <a:lnTo>
                      <a:pt x="438" y="626"/>
                    </a:lnTo>
                    <a:lnTo>
                      <a:pt x="438" y="624"/>
                    </a:lnTo>
                    <a:lnTo>
                      <a:pt x="438" y="623"/>
                    </a:lnTo>
                    <a:lnTo>
                      <a:pt x="439" y="623"/>
                    </a:lnTo>
                    <a:lnTo>
                      <a:pt x="438" y="623"/>
                    </a:lnTo>
                    <a:lnTo>
                      <a:pt x="439" y="622"/>
                    </a:lnTo>
                    <a:lnTo>
                      <a:pt x="440" y="622"/>
                    </a:lnTo>
                    <a:lnTo>
                      <a:pt x="441" y="622"/>
                    </a:lnTo>
                    <a:lnTo>
                      <a:pt x="442" y="622"/>
                    </a:lnTo>
                    <a:lnTo>
                      <a:pt x="442" y="621"/>
                    </a:lnTo>
                    <a:lnTo>
                      <a:pt x="444" y="621"/>
                    </a:lnTo>
                    <a:lnTo>
                      <a:pt x="442" y="620"/>
                    </a:lnTo>
                    <a:lnTo>
                      <a:pt x="442" y="619"/>
                    </a:lnTo>
                    <a:lnTo>
                      <a:pt x="444" y="619"/>
                    </a:lnTo>
                    <a:lnTo>
                      <a:pt x="444" y="618"/>
                    </a:lnTo>
                    <a:lnTo>
                      <a:pt x="442" y="618"/>
                    </a:lnTo>
                    <a:lnTo>
                      <a:pt x="444" y="618"/>
                    </a:lnTo>
                    <a:lnTo>
                      <a:pt x="444" y="617"/>
                    </a:lnTo>
                    <a:lnTo>
                      <a:pt x="445" y="617"/>
                    </a:lnTo>
                    <a:lnTo>
                      <a:pt x="445" y="616"/>
                    </a:lnTo>
                    <a:lnTo>
                      <a:pt x="444" y="616"/>
                    </a:lnTo>
                    <a:lnTo>
                      <a:pt x="444" y="615"/>
                    </a:lnTo>
                    <a:lnTo>
                      <a:pt x="444" y="614"/>
                    </a:lnTo>
                    <a:lnTo>
                      <a:pt x="445" y="614"/>
                    </a:lnTo>
                    <a:lnTo>
                      <a:pt x="445" y="613"/>
                    </a:lnTo>
                    <a:lnTo>
                      <a:pt x="444" y="613"/>
                    </a:lnTo>
                    <a:lnTo>
                      <a:pt x="444" y="611"/>
                    </a:lnTo>
                    <a:lnTo>
                      <a:pt x="445" y="611"/>
                    </a:lnTo>
                    <a:lnTo>
                      <a:pt x="446" y="613"/>
                    </a:lnTo>
                    <a:lnTo>
                      <a:pt x="447" y="613"/>
                    </a:lnTo>
                    <a:lnTo>
                      <a:pt x="448" y="613"/>
                    </a:lnTo>
                    <a:lnTo>
                      <a:pt x="449" y="613"/>
                    </a:lnTo>
                    <a:lnTo>
                      <a:pt x="449" y="614"/>
                    </a:lnTo>
                    <a:lnTo>
                      <a:pt x="450" y="614"/>
                    </a:lnTo>
                    <a:close/>
                    <a:moveTo>
                      <a:pt x="569" y="541"/>
                    </a:moveTo>
                    <a:lnTo>
                      <a:pt x="570" y="542"/>
                    </a:lnTo>
                    <a:lnTo>
                      <a:pt x="570" y="543"/>
                    </a:lnTo>
                    <a:lnTo>
                      <a:pt x="571" y="543"/>
                    </a:lnTo>
                    <a:lnTo>
                      <a:pt x="571" y="544"/>
                    </a:lnTo>
                    <a:lnTo>
                      <a:pt x="570" y="544"/>
                    </a:lnTo>
                    <a:lnTo>
                      <a:pt x="571" y="544"/>
                    </a:lnTo>
                    <a:lnTo>
                      <a:pt x="571" y="543"/>
                    </a:lnTo>
                    <a:lnTo>
                      <a:pt x="573" y="543"/>
                    </a:lnTo>
                    <a:lnTo>
                      <a:pt x="574" y="543"/>
                    </a:lnTo>
                    <a:lnTo>
                      <a:pt x="575" y="543"/>
                    </a:lnTo>
                    <a:lnTo>
                      <a:pt x="576" y="543"/>
                    </a:lnTo>
                    <a:lnTo>
                      <a:pt x="577" y="543"/>
                    </a:lnTo>
                    <a:lnTo>
                      <a:pt x="578" y="543"/>
                    </a:lnTo>
                    <a:lnTo>
                      <a:pt x="579" y="543"/>
                    </a:lnTo>
                    <a:lnTo>
                      <a:pt x="582" y="543"/>
                    </a:lnTo>
                    <a:lnTo>
                      <a:pt x="584" y="543"/>
                    </a:lnTo>
                    <a:lnTo>
                      <a:pt x="588" y="543"/>
                    </a:lnTo>
                    <a:lnTo>
                      <a:pt x="589" y="544"/>
                    </a:lnTo>
                    <a:lnTo>
                      <a:pt x="593" y="544"/>
                    </a:lnTo>
                    <a:lnTo>
                      <a:pt x="595" y="545"/>
                    </a:lnTo>
                    <a:lnTo>
                      <a:pt x="608" y="550"/>
                    </a:lnTo>
                    <a:lnTo>
                      <a:pt x="612" y="551"/>
                    </a:lnTo>
                    <a:lnTo>
                      <a:pt x="614" y="552"/>
                    </a:lnTo>
                    <a:lnTo>
                      <a:pt x="616" y="553"/>
                    </a:lnTo>
                    <a:lnTo>
                      <a:pt x="617" y="553"/>
                    </a:lnTo>
                    <a:lnTo>
                      <a:pt x="619" y="552"/>
                    </a:lnTo>
                    <a:lnTo>
                      <a:pt x="622" y="550"/>
                    </a:lnTo>
                    <a:lnTo>
                      <a:pt x="623" y="549"/>
                    </a:lnTo>
                    <a:lnTo>
                      <a:pt x="626" y="546"/>
                    </a:lnTo>
                    <a:lnTo>
                      <a:pt x="625" y="547"/>
                    </a:lnTo>
                    <a:lnTo>
                      <a:pt x="625" y="549"/>
                    </a:lnTo>
                    <a:lnTo>
                      <a:pt x="625" y="550"/>
                    </a:lnTo>
                    <a:lnTo>
                      <a:pt x="626" y="551"/>
                    </a:lnTo>
                    <a:lnTo>
                      <a:pt x="626" y="552"/>
                    </a:lnTo>
                    <a:lnTo>
                      <a:pt x="625" y="551"/>
                    </a:lnTo>
                    <a:lnTo>
                      <a:pt x="622" y="550"/>
                    </a:lnTo>
                    <a:lnTo>
                      <a:pt x="621" y="551"/>
                    </a:lnTo>
                    <a:lnTo>
                      <a:pt x="620" y="552"/>
                    </a:lnTo>
                    <a:lnTo>
                      <a:pt x="619" y="553"/>
                    </a:lnTo>
                    <a:lnTo>
                      <a:pt x="618" y="553"/>
                    </a:lnTo>
                    <a:lnTo>
                      <a:pt x="618" y="554"/>
                    </a:lnTo>
                    <a:lnTo>
                      <a:pt x="619" y="554"/>
                    </a:lnTo>
                    <a:lnTo>
                      <a:pt x="618" y="555"/>
                    </a:lnTo>
                    <a:lnTo>
                      <a:pt x="618" y="556"/>
                    </a:lnTo>
                    <a:lnTo>
                      <a:pt x="617" y="557"/>
                    </a:lnTo>
                    <a:lnTo>
                      <a:pt x="618" y="557"/>
                    </a:lnTo>
                    <a:lnTo>
                      <a:pt x="619" y="557"/>
                    </a:lnTo>
                    <a:lnTo>
                      <a:pt x="619" y="556"/>
                    </a:lnTo>
                    <a:lnTo>
                      <a:pt x="620" y="556"/>
                    </a:lnTo>
                    <a:lnTo>
                      <a:pt x="620" y="557"/>
                    </a:lnTo>
                    <a:lnTo>
                      <a:pt x="620" y="556"/>
                    </a:lnTo>
                    <a:lnTo>
                      <a:pt x="620" y="555"/>
                    </a:lnTo>
                    <a:lnTo>
                      <a:pt x="621" y="555"/>
                    </a:lnTo>
                    <a:lnTo>
                      <a:pt x="621" y="556"/>
                    </a:lnTo>
                    <a:lnTo>
                      <a:pt x="622" y="556"/>
                    </a:lnTo>
                    <a:lnTo>
                      <a:pt x="623" y="556"/>
                    </a:lnTo>
                    <a:lnTo>
                      <a:pt x="622" y="556"/>
                    </a:lnTo>
                    <a:lnTo>
                      <a:pt x="621" y="557"/>
                    </a:lnTo>
                    <a:lnTo>
                      <a:pt x="622" y="558"/>
                    </a:lnTo>
                    <a:lnTo>
                      <a:pt x="621" y="558"/>
                    </a:lnTo>
                    <a:lnTo>
                      <a:pt x="620" y="557"/>
                    </a:lnTo>
                    <a:lnTo>
                      <a:pt x="618" y="558"/>
                    </a:lnTo>
                    <a:lnTo>
                      <a:pt x="617" y="559"/>
                    </a:lnTo>
                    <a:lnTo>
                      <a:pt x="618" y="560"/>
                    </a:lnTo>
                    <a:lnTo>
                      <a:pt x="619" y="562"/>
                    </a:lnTo>
                    <a:lnTo>
                      <a:pt x="621" y="562"/>
                    </a:lnTo>
                    <a:lnTo>
                      <a:pt x="621" y="560"/>
                    </a:lnTo>
                    <a:lnTo>
                      <a:pt x="622" y="560"/>
                    </a:lnTo>
                    <a:lnTo>
                      <a:pt x="622" y="562"/>
                    </a:lnTo>
                    <a:lnTo>
                      <a:pt x="621" y="563"/>
                    </a:lnTo>
                    <a:lnTo>
                      <a:pt x="619" y="562"/>
                    </a:lnTo>
                    <a:lnTo>
                      <a:pt x="619" y="563"/>
                    </a:lnTo>
                    <a:lnTo>
                      <a:pt x="619" y="564"/>
                    </a:lnTo>
                    <a:lnTo>
                      <a:pt x="618" y="565"/>
                    </a:lnTo>
                    <a:lnTo>
                      <a:pt x="617" y="566"/>
                    </a:lnTo>
                    <a:lnTo>
                      <a:pt x="616" y="567"/>
                    </a:lnTo>
                    <a:lnTo>
                      <a:pt x="615" y="568"/>
                    </a:lnTo>
                    <a:lnTo>
                      <a:pt x="614" y="570"/>
                    </a:lnTo>
                    <a:lnTo>
                      <a:pt x="615" y="571"/>
                    </a:lnTo>
                    <a:lnTo>
                      <a:pt x="615" y="572"/>
                    </a:lnTo>
                    <a:lnTo>
                      <a:pt x="614" y="572"/>
                    </a:lnTo>
                    <a:lnTo>
                      <a:pt x="613" y="571"/>
                    </a:lnTo>
                    <a:lnTo>
                      <a:pt x="613" y="568"/>
                    </a:lnTo>
                    <a:lnTo>
                      <a:pt x="613" y="567"/>
                    </a:lnTo>
                    <a:lnTo>
                      <a:pt x="613" y="566"/>
                    </a:lnTo>
                    <a:lnTo>
                      <a:pt x="614" y="566"/>
                    </a:lnTo>
                    <a:lnTo>
                      <a:pt x="615" y="565"/>
                    </a:lnTo>
                    <a:lnTo>
                      <a:pt x="614" y="564"/>
                    </a:lnTo>
                    <a:lnTo>
                      <a:pt x="614" y="563"/>
                    </a:lnTo>
                    <a:lnTo>
                      <a:pt x="615" y="562"/>
                    </a:lnTo>
                    <a:lnTo>
                      <a:pt x="614" y="560"/>
                    </a:lnTo>
                    <a:lnTo>
                      <a:pt x="613" y="559"/>
                    </a:lnTo>
                    <a:lnTo>
                      <a:pt x="612" y="558"/>
                    </a:lnTo>
                    <a:lnTo>
                      <a:pt x="610" y="556"/>
                    </a:lnTo>
                    <a:lnTo>
                      <a:pt x="610" y="555"/>
                    </a:lnTo>
                    <a:lnTo>
                      <a:pt x="609" y="554"/>
                    </a:lnTo>
                    <a:lnTo>
                      <a:pt x="608" y="554"/>
                    </a:lnTo>
                    <a:lnTo>
                      <a:pt x="607" y="554"/>
                    </a:lnTo>
                    <a:lnTo>
                      <a:pt x="607" y="555"/>
                    </a:lnTo>
                    <a:lnTo>
                      <a:pt x="607" y="556"/>
                    </a:lnTo>
                    <a:lnTo>
                      <a:pt x="606" y="556"/>
                    </a:lnTo>
                    <a:lnTo>
                      <a:pt x="606" y="557"/>
                    </a:lnTo>
                    <a:lnTo>
                      <a:pt x="605" y="557"/>
                    </a:lnTo>
                    <a:lnTo>
                      <a:pt x="605" y="556"/>
                    </a:lnTo>
                    <a:lnTo>
                      <a:pt x="605" y="555"/>
                    </a:lnTo>
                    <a:lnTo>
                      <a:pt x="605" y="554"/>
                    </a:lnTo>
                    <a:lnTo>
                      <a:pt x="604" y="553"/>
                    </a:lnTo>
                    <a:lnTo>
                      <a:pt x="603" y="553"/>
                    </a:lnTo>
                    <a:lnTo>
                      <a:pt x="603" y="552"/>
                    </a:lnTo>
                    <a:lnTo>
                      <a:pt x="603" y="551"/>
                    </a:lnTo>
                    <a:lnTo>
                      <a:pt x="602" y="551"/>
                    </a:lnTo>
                    <a:lnTo>
                      <a:pt x="601" y="552"/>
                    </a:lnTo>
                    <a:lnTo>
                      <a:pt x="599" y="552"/>
                    </a:lnTo>
                    <a:lnTo>
                      <a:pt x="597" y="552"/>
                    </a:lnTo>
                    <a:lnTo>
                      <a:pt x="596" y="553"/>
                    </a:lnTo>
                    <a:lnTo>
                      <a:pt x="595" y="552"/>
                    </a:lnTo>
                    <a:lnTo>
                      <a:pt x="594" y="552"/>
                    </a:lnTo>
                    <a:lnTo>
                      <a:pt x="593" y="553"/>
                    </a:lnTo>
                    <a:lnTo>
                      <a:pt x="593" y="554"/>
                    </a:lnTo>
                    <a:lnTo>
                      <a:pt x="592" y="555"/>
                    </a:lnTo>
                    <a:lnTo>
                      <a:pt x="592" y="556"/>
                    </a:lnTo>
                    <a:lnTo>
                      <a:pt x="591" y="554"/>
                    </a:lnTo>
                    <a:lnTo>
                      <a:pt x="591" y="555"/>
                    </a:lnTo>
                    <a:lnTo>
                      <a:pt x="590" y="555"/>
                    </a:lnTo>
                    <a:lnTo>
                      <a:pt x="590" y="554"/>
                    </a:lnTo>
                    <a:lnTo>
                      <a:pt x="590" y="553"/>
                    </a:lnTo>
                    <a:lnTo>
                      <a:pt x="590" y="552"/>
                    </a:lnTo>
                    <a:lnTo>
                      <a:pt x="590" y="551"/>
                    </a:lnTo>
                    <a:lnTo>
                      <a:pt x="589" y="551"/>
                    </a:lnTo>
                    <a:lnTo>
                      <a:pt x="589" y="550"/>
                    </a:lnTo>
                    <a:lnTo>
                      <a:pt x="588" y="550"/>
                    </a:lnTo>
                    <a:lnTo>
                      <a:pt x="587" y="549"/>
                    </a:lnTo>
                    <a:lnTo>
                      <a:pt x="586" y="547"/>
                    </a:lnTo>
                    <a:lnTo>
                      <a:pt x="584" y="547"/>
                    </a:lnTo>
                    <a:lnTo>
                      <a:pt x="583" y="547"/>
                    </a:lnTo>
                    <a:lnTo>
                      <a:pt x="581" y="546"/>
                    </a:lnTo>
                    <a:lnTo>
                      <a:pt x="581" y="547"/>
                    </a:lnTo>
                    <a:lnTo>
                      <a:pt x="582" y="549"/>
                    </a:lnTo>
                    <a:lnTo>
                      <a:pt x="583" y="550"/>
                    </a:lnTo>
                    <a:lnTo>
                      <a:pt x="584" y="551"/>
                    </a:lnTo>
                    <a:lnTo>
                      <a:pt x="583" y="551"/>
                    </a:lnTo>
                    <a:lnTo>
                      <a:pt x="582" y="550"/>
                    </a:lnTo>
                    <a:lnTo>
                      <a:pt x="581" y="550"/>
                    </a:lnTo>
                    <a:lnTo>
                      <a:pt x="580" y="549"/>
                    </a:lnTo>
                    <a:lnTo>
                      <a:pt x="579" y="547"/>
                    </a:lnTo>
                    <a:lnTo>
                      <a:pt x="579" y="546"/>
                    </a:lnTo>
                    <a:lnTo>
                      <a:pt x="578" y="547"/>
                    </a:lnTo>
                    <a:lnTo>
                      <a:pt x="578" y="546"/>
                    </a:lnTo>
                    <a:lnTo>
                      <a:pt x="577" y="546"/>
                    </a:lnTo>
                    <a:lnTo>
                      <a:pt x="577" y="547"/>
                    </a:lnTo>
                    <a:lnTo>
                      <a:pt x="576" y="546"/>
                    </a:lnTo>
                    <a:lnTo>
                      <a:pt x="577" y="546"/>
                    </a:lnTo>
                    <a:lnTo>
                      <a:pt x="576" y="546"/>
                    </a:lnTo>
                    <a:lnTo>
                      <a:pt x="575" y="546"/>
                    </a:lnTo>
                    <a:lnTo>
                      <a:pt x="575" y="545"/>
                    </a:lnTo>
                    <a:lnTo>
                      <a:pt x="574" y="545"/>
                    </a:lnTo>
                    <a:lnTo>
                      <a:pt x="573" y="545"/>
                    </a:lnTo>
                    <a:lnTo>
                      <a:pt x="571" y="544"/>
                    </a:lnTo>
                    <a:lnTo>
                      <a:pt x="570" y="545"/>
                    </a:lnTo>
                    <a:lnTo>
                      <a:pt x="569" y="544"/>
                    </a:lnTo>
                    <a:lnTo>
                      <a:pt x="569" y="545"/>
                    </a:lnTo>
                    <a:lnTo>
                      <a:pt x="568" y="545"/>
                    </a:lnTo>
                    <a:lnTo>
                      <a:pt x="568" y="544"/>
                    </a:lnTo>
                    <a:lnTo>
                      <a:pt x="567" y="544"/>
                    </a:lnTo>
                    <a:lnTo>
                      <a:pt x="567" y="543"/>
                    </a:lnTo>
                    <a:lnTo>
                      <a:pt x="566" y="543"/>
                    </a:lnTo>
                    <a:lnTo>
                      <a:pt x="567" y="542"/>
                    </a:lnTo>
                    <a:lnTo>
                      <a:pt x="567" y="541"/>
                    </a:lnTo>
                    <a:lnTo>
                      <a:pt x="567" y="542"/>
                    </a:lnTo>
                    <a:lnTo>
                      <a:pt x="566" y="542"/>
                    </a:lnTo>
                    <a:lnTo>
                      <a:pt x="566" y="541"/>
                    </a:lnTo>
                    <a:lnTo>
                      <a:pt x="567" y="541"/>
                    </a:lnTo>
                    <a:lnTo>
                      <a:pt x="566" y="541"/>
                    </a:lnTo>
                    <a:lnTo>
                      <a:pt x="566" y="540"/>
                    </a:lnTo>
                    <a:lnTo>
                      <a:pt x="567" y="539"/>
                    </a:lnTo>
                    <a:lnTo>
                      <a:pt x="568" y="540"/>
                    </a:lnTo>
                    <a:lnTo>
                      <a:pt x="569" y="541"/>
                    </a:lnTo>
                    <a:close/>
                    <a:moveTo>
                      <a:pt x="576" y="536"/>
                    </a:moveTo>
                    <a:lnTo>
                      <a:pt x="577" y="537"/>
                    </a:lnTo>
                    <a:lnTo>
                      <a:pt x="578" y="537"/>
                    </a:lnTo>
                    <a:lnTo>
                      <a:pt x="579" y="537"/>
                    </a:lnTo>
                    <a:lnTo>
                      <a:pt x="580" y="537"/>
                    </a:lnTo>
                    <a:lnTo>
                      <a:pt x="581" y="537"/>
                    </a:lnTo>
                    <a:lnTo>
                      <a:pt x="582" y="537"/>
                    </a:lnTo>
                    <a:lnTo>
                      <a:pt x="581" y="537"/>
                    </a:lnTo>
                    <a:lnTo>
                      <a:pt x="582" y="537"/>
                    </a:lnTo>
                    <a:lnTo>
                      <a:pt x="582" y="538"/>
                    </a:lnTo>
                    <a:lnTo>
                      <a:pt x="583" y="538"/>
                    </a:lnTo>
                    <a:lnTo>
                      <a:pt x="584" y="538"/>
                    </a:lnTo>
                    <a:lnTo>
                      <a:pt x="584" y="539"/>
                    </a:lnTo>
                    <a:lnTo>
                      <a:pt x="583" y="539"/>
                    </a:lnTo>
                    <a:lnTo>
                      <a:pt x="584" y="539"/>
                    </a:lnTo>
                    <a:lnTo>
                      <a:pt x="584" y="538"/>
                    </a:lnTo>
                    <a:lnTo>
                      <a:pt x="587" y="537"/>
                    </a:lnTo>
                    <a:lnTo>
                      <a:pt x="588" y="537"/>
                    </a:lnTo>
                    <a:lnTo>
                      <a:pt x="591" y="538"/>
                    </a:lnTo>
                    <a:lnTo>
                      <a:pt x="592" y="538"/>
                    </a:lnTo>
                    <a:lnTo>
                      <a:pt x="591" y="539"/>
                    </a:lnTo>
                    <a:lnTo>
                      <a:pt x="592" y="539"/>
                    </a:lnTo>
                    <a:lnTo>
                      <a:pt x="592" y="540"/>
                    </a:lnTo>
                    <a:lnTo>
                      <a:pt x="593" y="540"/>
                    </a:lnTo>
                    <a:lnTo>
                      <a:pt x="593" y="541"/>
                    </a:lnTo>
                    <a:lnTo>
                      <a:pt x="594" y="541"/>
                    </a:lnTo>
                    <a:lnTo>
                      <a:pt x="594" y="542"/>
                    </a:lnTo>
                    <a:lnTo>
                      <a:pt x="595" y="541"/>
                    </a:lnTo>
                    <a:lnTo>
                      <a:pt x="596" y="541"/>
                    </a:lnTo>
                    <a:lnTo>
                      <a:pt x="597" y="541"/>
                    </a:lnTo>
                    <a:lnTo>
                      <a:pt x="597" y="540"/>
                    </a:lnTo>
                    <a:lnTo>
                      <a:pt x="599" y="539"/>
                    </a:lnTo>
                    <a:lnTo>
                      <a:pt x="599" y="540"/>
                    </a:lnTo>
                    <a:lnTo>
                      <a:pt x="599" y="541"/>
                    </a:lnTo>
                    <a:lnTo>
                      <a:pt x="599" y="542"/>
                    </a:lnTo>
                    <a:lnTo>
                      <a:pt x="599" y="541"/>
                    </a:lnTo>
                    <a:lnTo>
                      <a:pt x="599" y="542"/>
                    </a:lnTo>
                    <a:lnTo>
                      <a:pt x="600" y="542"/>
                    </a:lnTo>
                    <a:lnTo>
                      <a:pt x="601" y="542"/>
                    </a:lnTo>
                    <a:lnTo>
                      <a:pt x="601" y="543"/>
                    </a:lnTo>
                    <a:lnTo>
                      <a:pt x="601" y="544"/>
                    </a:lnTo>
                    <a:lnTo>
                      <a:pt x="602" y="544"/>
                    </a:lnTo>
                    <a:lnTo>
                      <a:pt x="601" y="544"/>
                    </a:lnTo>
                    <a:lnTo>
                      <a:pt x="602" y="544"/>
                    </a:lnTo>
                    <a:lnTo>
                      <a:pt x="602" y="543"/>
                    </a:lnTo>
                    <a:lnTo>
                      <a:pt x="602" y="542"/>
                    </a:lnTo>
                    <a:lnTo>
                      <a:pt x="601" y="541"/>
                    </a:lnTo>
                    <a:lnTo>
                      <a:pt x="602" y="542"/>
                    </a:lnTo>
                    <a:lnTo>
                      <a:pt x="603" y="542"/>
                    </a:lnTo>
                    <a:lnTo>
                      <a:pt x="604" y="542"/>
                    </a:lnTo>
                    <a:lnTo>
                      <a:pt x="605" y="542"/>
                    </a:lnTo>
                    <a:lnTo>
                      <a:pt x="605" y="543"/>
                    </a:lnTo>
                    <a:lnTo>
                      <a:pt x="606" y="545"/>
                    </a:lnTo>
                    <a:lnTo>
                      <a:pt x="606" y="546"/>
                    </a:lnTo>
                    <a:lnTo>
                      <a:pt x="607" y="547"/>
                    </a:lnTo>
                    <a:lnTo>
                      <a:pt x="607" y="546"/>
                    </a:lnTo>
                    <a:lnTo>
                      <a:pt x="607" y="545"/>
                    </a:lnTo>
                    <a:lnTo>
                      <a:pt x="608" y="544"/>
                    </a:lnTo>
                    <a:lnTo>
                      <a:pt x="609" y="544"/>
                    </a:lnTo>
                    <a:lnTo>
                      <a:pt x="610" y="544"/>
                    </a:lnTo>
                    <a:lnTo>
                      <a:pt x="610" y="543"/>
                    </a:lnTo>
                    <a:lnTo>
                      <a:pt x="610" y="542"/>
                    </a:lnTo>
                    <a:lnTo>
                      <a:pt x="612" y="542"/>
                    </a:lnTo>
                    <a:lnTo>
                      <a:pt x="612" y="543"/>
                    </a:lnTo>
                    <a:lnTo>
                      <a:pt x="612" y="544"/>
                    </a:lnTo>
                    <a:lnTo>
                      <a:pt x="613" y="545"/>
                    </a:lnTo>
                    <a:lnTo>
                      <a:pt x="612" y="546"/>
                    </a:lnTo>
                    <a:lnTo>
                      <a:pt x="613" y="547"/>
                    </a:lnTo>
                    <a:lnTo>
                      <a:pt x="614" y="549"/>
                    </a:lnTo>
                    <a:lnTo>
                      <a:pt x="615" y="549"/>
                    </a:lnTo>
                    <a:lnTo>
                      <a:pt x="615" y="547"/>
                    </a:lnTo>
                    <a:lnTo>
                      <a:pt x="615" y="546"/>
                    </a:lnTo>
                    <a:lnTo>
                      <a:pt x="616" y="546"/>
                    </a:lnTo>
                    <a:lnTo>
                      <a:pt x="617" y="544"/>
                    </a:lnTo>
                    <a:lnTo>
                      <a:pt x="617" y="545"/>
                    </a:lnTo>
                    <a:lnTo>
                      <a:pt x="617" y="546"/>
                    </a:lnTo>
                    <a:lnTo>
                      <a:pt x="616" y="547"/>
                    </a:lnTo>
                    <a:lnTo>
                      <a:pt x="616" y="550"/>
                    </a:lnTo>
                    <a:lnTo>
                      <a:pt x="617" y="551"/>
                    </a:lnTo>
                    <a:lnTo>
                      <a:pt x="618" y="551"/>
                    </a:lnTo>
                    <a:lnTo>
                      <a:pt x="617" y="550"/>
                    </a:lnTo>
                    <a:lnTo>
                      <a:pt x="618" y="550"/>
                    </a:lnTo>
                    <a:lnTo>
                      <a:pt x="619" y="550"/>
                    </a:lnTo>
                    <a:lnTo>
                      <a:pt x="620" y="550"/>
                    </a:lnTo>
                    <a:lnTo>
                      <a:pt x="621" y="549"/>
                    </a:lnTo>
                    <a:lnTo>
                      <a:pt x="622" y="549"/>
                    </a:lnTo>
                    <a:lnTo>
                      <a:pt x="623" y="547"/>
                    </a:lnTo>
                    <a:lnTo>
                      <a:pt x="623" y="546"/>
                    </a:lnTo>
                    <a:lnTo>
                      <a:pt x="623" y="545"/>
                    </a:lnTo>
                    <a:lnTo>
                      <a:pt x="625" y="545"/>
                    </a:lnTo>
                    <a:lnTo>
                      <a:pt x="627" y="543"/>
                    </a:lnTo>
                    <a:lnTo>
                      <a:pt x="628" y="544"/>
                    </a:lnTo>
                    <a:lnTo>
                      <a:pt x="622" y="549"/>
                    </a:lnTo>
                    <a:lnTo>
                      <a:pt x="619" y="551"/>
                    </a:lnTo>
                    <a:lnTo>
                      <a:pt x="618" y="552"/>
                    </a:lnTo>
                    <a:lnTo>
                      <a:pt x="617" y="552"/>
                    </a:lnTo>
                    <a:lnTo>
                      <a:pt x="615" y="551"/>
                    </a:lnTo>
                    <a:lnTo>
                      <a:pt x="613" y="550"/>
                    </a:lnTo>
                    <a:lnTo>
                      <a:pt x="609" y="549"/>
                    </a:lnTo>
                    <a:lnTo>
                      <a:pt x="603" y="546"/>
                    </a:lnTo>
                    <a:lnTo>
                      <a:pt x="602" y="545"/>
                    </a:lnTo>
                    <a:lnTo>
                      <a:pt x="601" y="545"/>
                    </a:lnTo>
                    <a:lnTo>
                      <a:pt x="601" y="544"/>
                    </a:lnTo>
                    <a:lnTo>
                      <a:pt x="601" y="545"/>
                    </a:lnTo>
                    <a:lnTo>
                      <a:pt x="600" y="544"/>
                    </a:lnTo>
                    <a:lnTo>
                      <a:pt x="600" y="545"/>
                    </a:lnTo>
                    <a:lnTo>
                      <a:pt x="597" y="545"/>
                    </a:lnTo>
                    <a:lnTo>
                      <a:pt x="597" y="544"/>
                    </a:lnTo>
                    <a:lnTo>
                      <a:pt x="596" y="544"/>
                    </a:lnTo>
                    <a:lnTo>
                      <a:pt x="595" y="544"/>
                    </a:lnTo>
                    <a:lnTo>
                      <a:pt x="594" y="543"/>
                    </a:lnTo>
                    <a:lnTo>
                      <a:pt x="593" y="543"/>
                    </a:lnTo>
                    <a:lnTo>
                      <a:pt x="592" y="543"/>
                    </a:lnTo>
                    <a:lnTo>
                      <a:pt x="591" y="542"/>
                    </a:lnTo>
                    <a:lnTo>
                      <a:pt x="590" y="542"/>
                    </a:lnTo>
                    <a:lnTo>
                      <a:pt x="589" y="542"/>
                    </a:lnTo>
                    <a:lnTo>
                      <a:pt x="588" y="542"/>
                    </a:lnTo>
                    <a:lnTo>
                      <a:pt x="587" y="542"/>
                    </a:lnTo>
                    <a:lnTo>
                      <a:pt x="584" y="542"/>
                    </a:lnTo>
                    <a:lnTo>
                      <a:pt x="581" y="542"/>
                    </a:lnTo>
                    <a:lnTo>
                      <a:pt x="580" y="542"/>
                    </a:lnTo>
                    <a:lnTo>
                      <a:pt x="578" y="542"/>
                    </a:lnTo>
                    <a:lnTo>
                      <a:pt x="577" y="542"/>
                    </a:lnTo>
                    <a:lnTo>
                      <a:pt x="576" y="543"/>
                    </a:lnTo>
                    <a:lnTo>
                      <a:pt x="575" y="542"/>
                    </a:lnTo>
                    <a:lnTo>
                      <a:pt x="574" y="542"/>
                    </a:lnTo>
                    <a:lnTo>
                      <a:pt x="573" y="542"/>
                    </a:lnTo>
                    <a:lnTo>
                      <a:pt x="571" y="542"/>
                    </a:lnTo>
                    <a:lnTo>
                      <a:pt x="571" y="541"/>
                    </a:lnTo>
                    <a:lnTo>
                      <a:pt x="570" y="541"/>
                    </a:lnTo>
                    <a:lnTo>
                      <a:pt x="570" y="540"/>
                    </a:lnTo>
                    <a:lnTo>
                      <a:pt x="569" y="539"/>
                    </a:lnTo>
                    <a:lnTo>
                      <a:pt x="568" y="539"/>
                    </a:lnTo>
                    <a:lnTo>
                      <a:pt x="568" y="538"/>
                    </a:lnTo>
                    <a:lnTo>
                      <a:pt x="569" y="538"/>
                    </a:lnTo>
                    <a:lnTo>
                      <a:pt x="569" y="537"/>
                    </a:lnTo>
                    <a:lnTo>
                      <a:pt x="568" y="537"/>
                    </a:lnTo>
                    <a:lnTo>
                      <a:pt x="569" y="537"/>
                    </a:lnTo>
                    <a:lnTo>
                      <a:pt x="568" y="537"/>
                    </a:lnTo>
                    <a:lnTo>
                      <a:pt x="568" y="536"/>
                    </a:lnTo>
                    <a:lnTo>
                      <a:pt x="567" y="536"/>
                    </a:lnTo>
                    <a:lnTo>
                      <a:pt x="567" y="534"/>
                    </a:lnTo>
                    <a:lnTo>
                      <a:pt x="567" y="533"/>
                    </a:lnTo>
                    <a:lnTo>
                      <a:pt x="568" y="533"/>
                    </a:lnTo>
                    <a:lnTo>
                      <a:pt x="569" y="533"/>
                    </a:lnTo>
                    <a:lnTo>
                      <a:pt x="570" y="533"/>
                    </a:lnTo>
                    <a:lnTo>
                      <a:pt x="570" y="534"/>
                    </a:lnTo>
                    <a:lnTo>
                      <a:pt x="571" y="534"/>
                    </a:lnTo>
                    <a:lnTo>
                      <a:pt x="574" y="534"/>
                    </a:lnTo>
                    <a:lnTo>
                      <a:pt x="575" y="536"/>
                    </a:lnTo>
                    <a:lnTo>
                      <a:pt x="576" y="536"/>
                    </a:lnTo>
                    <a:close/>
                    <a:moveTo>
                      <a:pt x="551" y="527"/>
                    </a:moveTo>
                    <a:lnTo>
                      <a:pt x="550" y="528"/>
                    </a:lnTo>
                    <a:lnTo>
                      <a:pt x="550" y="529"/>
                    </a:lnTo>
                    <a:lnTo>
                      <a:pt x="546" y="532"/>
                    </a:lnTo>
                    <a:lnTo>
                      <a:pt x="544" y="534"/>
                    </a:lnTo>
                    <a:lnTo>
                      <a:pt x="544" y="536"/>
                    </a:lnTo>
                    <a:lnTo>
                      <a:pt x="543" y="537"/>
                    </a:lnTo>
                    <a:lnTo>
                      <a:pt x="539" y="539"/>
                    </a:lnTo>
                    <a:lnTo>
                      <a:pt x="538" y="540"/>
                    </a:lnTo>
                    <a:lnTo>
                      <a:pt x="537" y="541"/>
                    </a:lnTo>
                    <a:lnTo>
                      <a:pt x="537" y="540"/>
                    </a:lnTo>
                    <a:lnTo>
                      <a:pt x="537" y="541"/>
                    </a:lnTo>
                    <a:lnTo>
                      <a:pt x="536" y="541"/>
                    </a:lnTo>
                    <a:lnTo>
                      <a:pt x="536" y="542"/>
                    </a:lnTo>
                    <a:lnTo>
                      <a:pt x="535" y="542"/>
                    </a:lnTo>
                    <a:lnTo>
                      <a:pt x="533" y="542"/>
                    </a:lnTo>
                    <a:lnTo>
                      <a:pt x="532" y="543"/>
                    </a:lnTo>
                    <a:lnTo>
                      <a:pt x="533" y="543"/>
                    </a:lnTo>
                    <a:lnTo>
                      <a:pt x="535" y="542"/>
                    </a:lnTo>
                    <a:lnTo>
                      <a:pt x="538" y="540"/>
                    </a:lnTo>
                    <a:lnTo>
                      <a:pt x="540" y="539"/>
                    </a:lnTo>
                    <a:lnTo>
                      <a:pt x="542" y="538"/>
                    </a:lnTo>
                    <a:lnTo>
                      <a:pt x="543" y="538"/>
                    </a:lnTo>
                    <a:lnTo>
                      <a:pt x="542" y="538"/>
                    </a:lnTo>
                    <a:lnTo>
                      <a:pt x="540" y="539"/>
                    </a:lnTo>
                    <a:lnTo>
                      <a:pt x="540" y="540"/>
                    </a:lnTo>
                    <a:lnTo>
                      <a:pt x="541" y="541"/>
                    </a:lnTo>
                    <a:lnTo>
                      <a:pt x="541" y="542"/>
                    </a:lnTo>
                    <a:lnTo>
                      <a:pt x="542" y="543"/>
                    </a:lnTo>
                    <a:lnTo>
                      <a:pt x="542" y="544"/>
                    </a:lnTo>
                    <a:lnTo>
                      <a:pt x="541" y="545"/>
                    </a:lnTo>
                    <a:lnTo>
                      <a:pt x="540" y="546"/>
                    </a:lnTo>
                    <a:lnTo>
                      <a:pt x="539" y="546"/>
                    </a:lnTo>
                    <a:lnTo>
                      <a:pt x="538" y="546"/>
                    </a:lnTo>
                    <a:lnTo>
                      <a:pt x="537" y="546"/>
                    </a:lnTo>
                    <a:lnTo>
                      <a:pt x="536" y="546"/>
                    </a:lnTo>
                    <a:lnTo>
                      <a:pt x="535" y="546"/>
                    </a:lnTo>
                    <a:lnTo>
                      <a:pt x="533" y="546"/>
                    </a:lnTo>
                    <a:lnTo>
                      <a:pt x="532" y="546"/>
                    </a:lnTo>
                    <a:lnTo>
                      <a:pt x="531" y="546"/>
                    </a:lnTo>
                    <a:lnTo>
                      <a:pt x="530" y="546"/>
                    </a:lnTo>
                    <a:lnTo>
                      <a:pt x="530" y="545"/>
                    </a:lnTo>
                    <a:lnTo>
                      <a:pt x="529" y="545"/>
                    </a:lnTo>
                    <a:lnTo>
                      <a:pt x="529" y="544"/>
                    </a:lnTo>
                    <a:lnTo>
                      <a:pt x="528" y="544"/>
                    </a:lnTo>
                    <a:lnTo>
                      <a:pt x="528" y="543"/>
                    </a:lnTo>
                    <a:lnTo>
                      <a:pt x="528" y="542"/>
                    </a:lnTo>
                    <a:lnTo>
                      <a:pt x="528" y="541"/>
                    </a:lnTo>
                    <a:lnTo>
                      <a:pt x="528" y="540"/>
                    </a:lnTo>
                    <a:lnTo>
                      <a:pt x="527" y="539"/>
                    </a:lnTo>
                    <a:lnTo>
                      <a:pt x="527" y="538"/>
                    </a:lnTo>
                    <a:lnTo>
                      <a:pt x="528" y="538"/>
                    </a:lnTo>
                    <a:lnTo>
                      <a:pt x="529" y="538"/>
                    </a:lnTo>
                    <a:lnTo>
                      <a:pt x="530" y="538"/>
                    </a:lnTo>
                    <a:lnTo>
                      <a:pt x="530" y="537"/>
                    </a:lnTo>
                    <a:lnTo>
                      <a:pt x="531" y="537"/>
                    </a:lnTo>
                    <a:lnTo>
                      <a:pt x="532" y="536"/>
                    </a:lnTo>
                    <a:lnTo>
                      <a:pt x="532" y="537"/>
                    </a:lnTo>
                    <a:lnTo>
                      <a:pt x="533" y="536"/>
                    </a:lnTo>
                    <a:lnTo>
                      <a:pt x="535" y="534"/>
                    </a:lnTo>
                    <a:lnTo>
                      <a:pt x="536" y="534"/>
                    </a:lnTo>
                    <a:lnTo>
                      <a:pt x="536" y="533"/>
                    </a:lnTo>
                    <a:lnTo>
                      <a:pt x="537" y="533"/>
                    </a:lnTo>
                    <a:lnTo>
                      <a:pt x="538" y="532"/>
                    </a:lnTo>
                    <a:lnTo>
                      <a:pt x="538" y="531"/>
                    </a:lnTo>
                    <a:lnTo>
                      <a:pt x="539" y="531"/>
                    </a:lnTo>
                    <a:lnTo>
                      <a:pt x="539" y="530"/>
                    </a:lnTo>
                    <a:lnTo>
                      <a:pt x="540" y="530"/>
                    </a:lnTo>
                    <a:lnTo>
                      <a:pt x="540" y="529"/>
                    </a:lnTo>
                    <a:lnTo>
                      <a:pt x="541" y="529"/>
                    </a:lnTo>
                    <a:lnTo>
                      <a:pt x="542" y="528"/>
                    </a:lnTo>
                    <a:lnTo>
                      <a:pt x="543" y="528"/>
                    </a:lnTo>
                    <a:lnTo>
                      <a:pt x="544" y="528"/>
                    </a:lnTo>
                    <a:lnTo>
                      <a:pt x="545" y="528"/>
                    </a:lnTo>
                    <a:lnTo>
                      <a:pt x="546" y="528"/>
                    </a:lnTo>
                    <a:lnTo>
                      <a:pt x="548" y="528"/>
                    </a:lnTo>
                    <a:lnTo>
                      <a:pt x="548" y="527"/>
                    </a:lnTo>
                    <a:lnTo>
                      <a:pt x="549" y="527"/>
                    </a:lnTo>
                    <a:lnTo>
                      <a:pt x="550" y="527"/>
                    </a:lnTo>
                    <a:lnTo>
                      <a:pt x="551" y="527"/>
                    </a:lnTo>
                    <a:lnTo>
                      <a:pt x="551" y="526"/>
                    </a:lnTo>
                    <a:lnTo>
                      <a:pt x="551" y="527"/>
                    </a:lnTo>
                    <a:close/>
                    <a:moveTo>
                      <a:pt x="297" y="251"/>
                    </a:moveTo>
                    <a:lnTo>
                      <a:pt x="298" y="251"/>
                    </a:lnTo>
                    <a:lnTo>
                      <a:pt x="298" y="253"/>
                    </a:lnTo>
                    <a:lnTo>
                      <a:pt x="299" y="254"/>
                    </a:lnTo>
                    <a:lnTo>
                      <a:pt x="300" y="254"/>
                    </a:lnTo>
                    <a:lnTo>
                      <a:pt x="302" y="254"/>
                    </a:lnTo>
                    <a:lnTo>
                      <a:pt x="303" y="254"/>
                    </a:lnTo>
                    <a:lnTo>
                      <a:pt x="304" y="254"/>
                    </a:lnTo>
                    <a:lnTo>
                      <a:pt x="304" y="253"/>
                    </a:lnTo>
                    <a:lnTo>
                      <a:pt x="305" y="253"/>
                    </a:lnTo>
                    <a:lnTo>
                      <a:pt x="306" y="253"/>
                    </a:lnTo>
                    <a:lnTo>
                      <a:pt x="307" y="253"/>
                    </a:lnTo>
                    <a:lnTo>
                      <a:pt x="308" y="253"/>
                    </a:lnTo>
                    <a:lnTo>
                      <a:pt x="309" y="254"/>
                    </a:lnTo>
                    <a:lnTo>
                      <a:pt x="309" y="255"/>
                    </a:lnTo>
                    <a:lnTo>
                      <a:pt x="310" y="255"/>
                    </a:lnTo>
                    <a:lnTo>
                      <a:pt x="311" y="256"/>
                    </a:lnTo>
                    <a:lnTo>
                      <a:pt x="312" y="256"/>
                    </a:lnTo>
                    <a:lnTo>
                      <a:pt x="312" y="257"/>
                    </a:lnTo>
                    <a:lnTo>
                      <a:pt x="311" y="257"/>
                    </a:lnTo>
                    <a:lnTo>
                      <a:pt x="310" y="257"/>
                    </a:lnTo>
                    <a:lnTo>
                      <a:pt x="310" y="256"/>
                    </a:lnTo>
                    <a:lnTo>
                      <a:pt x="309" y="256"/>
                    </a:lnTo>
                    <a:lnTo>
                      <a:pt x="309" y="255"/>
                    </a:lnTo>
                    <a:lnTo>
                      <a:pt x="308" y="255"/>
                    </a:lnTo>
                    <a:lnTo>
                      <a:pt x="307" y="255"/>
                    </a:lnTo>
                    <a:lnTo>
                      <a:pt x="306" y="255"/>
                    </a:lnTo>
                    <a:lnTo>
                      <a:pt x="306" y="256"/>
                    </a:lnTo>
                    <a:lnTo>
                      <a:pt x="307" y="255"/>
                    </a:lnTo>
                    <a:lnTo>
                      <a:pt x="307" y="256"/>
                    </a:lnTo>
                    <a:lnTo>
                      <a:pt x="306" y="256"/>
                    </a:lnTo>
                    <a:lnTo>
                      <a:pt x="305" y="256"/>
                    </a:lnTo>
                    <a:lnTo>
                      <a:pt x="306" y="256"/>
                    </a:lnTo>
                    <a:lnTo>
                      <a:pt x="306" y="255"/>
                    </a:lnTo>
                    <a:lnTo>
                      <a:pt x="305" y="255"/>
                    </a:lnTo>
                    <a:lnTo>
                      <a:pt x="305" y="256"/>
                    </a:lnTo>
                    <a:lnTo>
                      <a:pt x="305" y="257"/>
                    </a:lnTo>
                    <a:lnTo>
                      <a:pt x="305" y="258"/>
                    </a:lnTo>
                    <a:lnTo>
                      <a:pt x="306" y="258"/>
                    </a:lnTo>
                    <a:lnTo>
                      <a:pt x="305" y="258"/>
                    </a:lnTo>
                    <a:lnTo>
                      <a:pt x="306" y="258"/>
                    </a:lnTo>
                    <a:lnTo>
                      <a:pt x="307" y="258"/>
                    </a:lnTo>
                    <a:lnTo>
                      <a:pt x="306" y="259"/>
                    </a:lnTo>
                    <a:lnTo>
                      <a:pt x="305" y="260"/>
                    </a:lnTo>
                    <a:lnTo>
                      <a:pt x="305" y="261"/>
                    </a:lnTo>
                    <a:lnTo>
                      <a:pt x="304" y="261"/>
                    </a:lnTo>
                    <a:lnTo>
                      <a:pt x="304" y="260"/>
                    </a:lnTo>
                    <a:lnTo>
                      <a:pt x="303" y="260"/>
                    </a:lnTo>
                    <a:lnTo>
                      <a:pt x="302" y="261"/>
                    </a:lnTo>
                    <a:lnTo>
                      <a:pt x="300" y="261"/>
                    </a:lnTo>
                    <a:lnTo>
                      <a:pt x="300" y="260"/>
                    </a:lnTo>
                    <a:lnTo>
                      <a:pt x="300" y="259"/>
                    </a:lnTo>
                    <a:lnTo>
                      <a:pt x="300" y="258"/>
                    </a:lnTo>
                    <a:lnTo>
                      <a:pt x="300" y="257"/>
                    </a:lnTo>
                    <a:lnTo>
                      <a:pt x="300" y="256"/>
                    </a:lnTo>
                    <a:lnTo>
                      <a:pt x="299" y="256"/>
                    </a:lnTo>
                    <a:lnTo>
                      <a:pt x="298" y="256"/>
                    </a:lnTo>
                    <a:lnTo>
                      <a:pt x="297" y="256"/>
                    </a:lnTo>
                    <a:lnTo>
                      <a:pt x="296" y="256"/>
                    </a:lnTo>
                    <a:lnTo>
                      <a:pt x="295" y="256"/>
                    </a:lnTo>
                    <a:lnTo>
                      <a:pt x="295" y="257"/>
                    </a:lnTo>
                    <a:lnTo>
                      <a:pt x="294" y="257"/>
                    </a:lnTo>
                    <a:lnTo>
                      <a:pt x="294" y="258"/>
                    </a:lnTo>
                    <a:lnTo>
                      <a:pt x="293" y="258"/>
                    </a:lnTo>
                    <a:lnTo>
                      <a:pt x="293" y="259"/>
                    </a:lnTo>
                    <a:lnTo>
                      <a:pt x="293" y="260"/>
                    </a:lnTo>
                    <a:lnTo>
                      <a:pt x="294" y="260"/>
                    </a:lnTo>
                    <a:lnTo>
                      <a:pt x="295" y="260"/>
                    </a:lnTo>
                    <a:lnTo>
                      <a:pt x="296" y="260"/>
                    </a:lnTo>
                    <a:lnTo>
                      <a:pt x="297" y="260"/>
                    </a:lnTo>
                    <a:lnTo>
                      <a:pt x="298" y="260"/>
                    </a:lnTo>
                    <a:lnTo>
                      <a:pt x="299" y="260"/>
                    </a:lnTo>
                    <a:lnTo>
                      <a:pt x="299" y="261"/>
                    </a:lnTo>
                    <a:lnTo>
                      <a:pt x="299" y="262"/>
                    </a:lnTo>
                    <a:lnTo>
                      <a:pt x="299" y="263"/>
                    </a:lnTo>
                    <a:lnTo>
                      <a:pt x="300" y="263"/>
                    </a:lnTo>
                    <a:lnTo>
                      <a:pt x="300" y="264"/>
                    </a:lnTo>
                    <a:lnTo>
                      <a:pt x="300" y="266"/>
                    </a:lnTo>
                    <a:lnTo>
                      <a:pt x="299" y="267"/>
                    </a:lnTo>
                    <a:lnTo>
                      <a:pt x="297" y="267"/>
                    </a:lnTo>
                    <a:lnTo>
                      <a:pt x="296" y="267"/>
                    </a:lnTo>
                    <a:lnTo>
                      <a:pt x="296" y="268"/>
                    </a:lnTo>
                    <a:lnTo>
                      <a:pt x="296" y="269"/>
                    </a:lnTo>
                    <a:lnTo>
                      <a:pt x="296" y="270"/>
                    </a:lnTo>
                    <a:lnTo>
                      <a:pt x="296" y="271"/>
                    </a:lnTo>
                    <a:lnTo>
                      <a:pt x="297" y="271"/>
                    </a:lnTo>
                    <a:lnTo>
                      <a:pt x="297" y="272"/>
                    </a:lnTo>
                    <a:lnTo>
                      <a:pt x="296" y="272"/>
                    </a:lnTo>
                    <a:lnTo>
                      <a:pt x="296" y="271"/>
                    </a:lnTo>
                    <a:lnTo>
                      <a:pt x="295" y="272"/>
                    </a:lnTo>
                    <a:lnTo>
                      <a:pt x="295" y="273"/>
                    </a:lnTo>
                    <a:lnTo>
                      <a:pt x="294" y="273"/>
                    </a:lnTo>
                    <a:lnTo>
                      <a:pt x="294" y="274"/>
                    </a:lnTo>
                    <a:lnTo>
                      <a:pt x="295" y="274"/>
                    </a:lnTo>
                    <a:lnTo>
                      <a:pt x="295" y="275"/>
                    </a:lnTo>
                    <a:lnTo>
                      <a:pt x="294" y="275"/>
                    </a:lnTo>
                    <a:lnTo>
                      <a:pt x="294" y="274"/>
                    </a:lnTo>
                    <a:lnTo>
                      <a:pt x="294" y="273"/>
                    </a:lnTo>
                    <a:lnTo>
                      <a:pt x="293" y="273"/>
                    </a:lnTo>
                    <a:lnTo>
                      <a:pt x="293" y="274"/>
                    </a:lnTo>
                    <a:lnTo>
                      <a:pt x="293" y="273"/>
                    </a:lnTo>
                    <a:lnTo>
                      <a:pt x="294" y="273"/>
                    </a:lnTo>
                    <a:lnTo>
                      <a:pt x="294" y="274"/>
                    </a:lnTo>
                    <a:lnTo>
                      <a:pt x="293" y="274"/>
                    </a:lnTo>
                    <a:lnTo>
                      <a:pt x="293" y="273"/>
                    </a:lnTo>
                    <a:lnTo>
                      <a:pt x="293" y="272"/>
                    </a:lnTo>
                    <a:lnTo>
                      <a:pt x="293" y="271"/>
                    </a:lnTo>
                    <a:lnTo>
                      <a:pt x="294" y="271"/>
                    </a:lnTo>
                    <a:lnTo>
                      <a:pt x="295" y="271"/>
                    </a:lnTo>
                    <a:lnTo>
                      <a:pt x="295" y="270"/>
                    </a:lnTo>
                    <a:lnTo>
                      <a:pt x="295" y="271"/>
                    </a:lnTo>
                    <a:lnTo>
                      <a:pt x="295" y="270"/>
                    </a:lnTo>
                    <a:lnTo>
                      <a:pt x="294" y="270"/>
                    </a:lnTo>
                    <a:lnTo>
                      <a:pt x="293" y="270"/>
                    </a:lnTo>
                    <a:lnTo>
                      <a:pt x="293" y="271"/>
                    </a:lnTo>
                    <a:lnTo>
                      <a:pt x="293" y="270"/>
                    </a:lnTo>
                    <a:lnTo>
                      <a:pt x="292" y="270"/>
                    </a:lnTo>
                    <a:lnTo>
                      <a:pt x="292" y="269"/>
                    </a:lnTo>
                    <a:lnTo>
                      <a:pt x="293" y="268"/>
                    </a:lnTo>
                    <a:lnTo>
                      <a:pt x="292" y="268"/>
                    </a:lnTo>
                    <a:lnTo>
                      <a:pt x="291" y="269"/>
                    </a:lnTo>
                    <a:lnTo>
                      <a:pt x="291" y="268"/>
                    </a:lnTo>
                    <a:lnTo>
                      <a:pt x="290" y="268"/>
                    </a:lnTo>
                    <a:lnTo>
                      <a:pt x="289" y="268"/>
                    </a:lnTo>
                    <a:lnTo>
                      <a:pt x="289" y="267"/>
                    </a:lnTo>
                    <a:lnTo>
                      <a:pt x="287" y="267"/>
                    </a:lnTo>
                    <a:lnTo>
                      <a:pt x="287" y="266"/>
                    </a:lnTo>
                    <a:lnTo>
                      <a:pt x="289" y="266"/>
                    </a:lnTo>
                    <a:lnTo>
                      <a:pt x="287" y="264"/>
                    </a:lnTo>
                    <a:lnTo>
                      <a:pt x="289" y="264"/>
                    </a:lnTo>
                    <a:lnTo>
                      <a:pt x="287" y="264"/>
                    </a:lnTo>
                    <a:lnTo>
                      <a:pt x="286" y="264"/>
                    </a:lnTo>
                    <a:lnTo>
                      <a:pt x="285" y="264"/>
                    </a:lnTo>
                    <a:lnTo>
                      <a:pt x="284" y="264"/>
                    </a:lnTo>
                    <a:lnTo>
                      <a:pt x="285" y="264"/>
                    </a:lnTo>
                    <a:lnTo>
                      <a:pt x="285" y="263"/>
                    </a:lnTo>
                    <a:lnTo>
                      <a:pt x="285" y="264"/>
                    </a:lnTo>
                    <a:lnTo>
                      <a:pt x="285" y="263"/>
                    </a:lnTo>
                    <a:lnTo>
                      <a:pt x="285" y="264"/>
                    </a:lnTo>
                    <a:lnTo>
                      <a:pt x="285" y="263"/>
                    </a:lnTo>
                    <a:lnTo>
                      <a:pt x="285" y="264"/>
                    </a:lnTo>
                    <a:lnTo>
                      <a:pt x="284" y="264"/>
                    </a:lnTo>
                    <a:lnTo>
                      <a:pt x="284" y="263"/>
                    </a:lnTo>
                    <a:lnTo>
                      <a:pt x="284" y="262"/>
                    </a:lnTo>
                    <a:lnTo>
                      <a:pt x="285" y="262"/>
                    </a:lnTo>
                    <a:lnTo>
                      <a:pt x="285" y="263"/>
                    </a:lnTo>
                    <a:lnTo>
                      <a:pt x="286" y="262"/>
                    </a:lnTo>
                    <a:lnTo>
                      <a:pt x="287" y="262"/>
                    </a:lnTo>
                    <a:lnTo>
                      <a:pt x="289" y="262"/>
                    </a:lnTo>
                    <a:lnTo>
                      <a:pt x="289" y="263"/>
                    </a:lnTo>
                    <a:lnTo>
                      <a:pt x="289" y="262"/>
                    </a:lnTo>
                    <a:lnTo>
                      <a:pt x="290" y="262"/>
                    </a:lnTo>
                    <a:lnTo>
                      <a:pt x="291" y="263"/>
                    </a:lnTo>
                    <a:lnTo>
                      <a:pt x="291" y="262"/>
                    </a:lnTo>
                    <a:lnTo>
                      <a:pt x="290" y="262"/>
                    </a:lnTo>
                    <a:lnTo>
                      <a:pt x="290" y="261"/>
                    </a:lnTo>
                    <a:lnTo>
                      <a:pt x="291" y="261"/>
                    </a:lnTo>
                    <a:lnTo>
                      <a:pt x="291" y="260"/>
                    </a:lnTo>
                    <a:lnTo>
                      <a:pt x="290" y="260"/>
                    </a:lnTo>
                    <a:lnTo>
                      <a:pt x="290" y="259"/>
                    </a:lnTo>
                    <a:lnTo>
                      <a:pt x="289" y="259"/>
                    </a:lnTo>
                    <a:lnTo>
                      <a:pt x="287" y="258"/>
                    </a:lnTo>
                    <a:lnTo>
                      <a:pt x="289" y="258"/>
                    </a:lnTo>
                    <a:lnTo>
                      <a:pt x="290" y="257"/>
                    </a:lnTo>
                    <a:lnTo>
                      <a:pt x="291" y="257"/>
                    </a:lnTo>
                    <a:lnTo>
                      <a:pt x="291" y="256"/>
                    </a:lnTo>
                    <a:lnTo>
                      <a:pt x="292" y="256"/>
                    </a:lnTo>
                    <a:lnTo>
                      <a:pt x="292" y="255"/>
                    </a:lnTo>
                    <a:lnTo>
                      <a:pt x="293" y="254"/>
                    </a:lnTo>
                    <a:lnTo>
                      <a:pt x="294" y="254"/>
                    </a:lnTo>
                    <a:lnTo>
                      <a:pt x="294" y="253"/>
                    </a:lnTo>
                    <a:lnTo>
                      <a:pt x="295" y="253"/>
                    </a:lnTo>
                    <a:lnTo>
                      <a:pt x="296" y="253"/>
                    </a:lnTo>
                    <a:lnTo>
                      <a:pt x="296" y="251"/>
                    </a:lnTo>
                    <a:lnTo>
                      <a:pt x="297" y="251"/>
                    </a:lnTo>
                    <a:close/>
                    <a:moveTo>
                      <a:pt x="490" y="575"/>
                    </a:moveTo>
                    <a:lnTo>
                      <a:pt x="491" y="576"/>
                    </a:lnTo>
                    <a:lnTo>
                      <a:pt x="491" y="577"/>
                    </a:lnTo>
                    <a:lnTo>
                      <a:pt x="490" y="576"/>
                    </a:lnTo>
                    <a:lnTo>
                      <a:pt x="490" y="575"/>
                    </a:lnTo>
                    <a:lnTo>
                      <a:pt x="490" y="576"/>
                    </a:lnTo>
                    <a:lnTo>
                      <a:pt x="489" y="576"/>
                    </a:lnTo>
                    <a:lnTo>
                      <a:pt x="489" y="575"/>
                    </a:lnTo>
                    <a:lnTo>
                      <a:pt x="490" y="575"/>
                    </a:lnTo>
                    <a:lnTo>
                      <a:pt x="489" y="575"/>
                    </a:lnTo>
                    <a:lnTo>
                      <a:pt x="489" y="576"/>
                    </a:lnTo>
                    <a:lnTo>
                      <a:pt x="488" y="576"/>
                    </a:lnTo>
                    <a:lnTo>
                      <a:pt x="488" y="577"/>
                    </a:lnTo>
                    <a:lnTo>
                      <a:pt x="487" y="579"/>
                    </a:lnTo>
                    <a:lnTo>
                      <a:pt x="486" y="579"/>
                    </a:lnTo>
                    <a:lnTo>
                      <a:pt x="487" y="580"/>
                    </a:lnTo>
                    <a:lnTo>
                      <a:pt x="486" y="581"/>
                    </a:lnTo>
                    <a:lnTo>
                      <a:pt x="485" y="581"/>
                    </a:lnTo>
                    <a:lnTo>
                      <a:pt x="485" y="582"/>
                    </a:lnTo>
                    <a:lnTo>
                      <a:pt x="484" y="583"/>
                    </a:lnTo>
                    <a:lnTo>
                      <a:pt x="483" y="583"/>
                    </a:lnTo>
                    <a:lnTo>
                      <a:pt x="484" y="584"/>
                    </a:lnTo>
                    <a:lnTo>
                      <a:pt x="483" y="584"/>
                    </a:lnTo>
                    <a:lnTo>
                      <a:pt x="481" y="585"/>
                    </a:lnTo>
                    <a:lnTo>
                      <a:pt x="481" y="586"/>
                    </a:lnTo>
                    <a:lnTo>
                      <a:pt x="481" y="585"/>
                    </a:lnTo>
                    <a:lnTo>
                      <a:pt x="480" y="585"/>
                    </a:lnTo>
                    <a:lnTo>
                      <a:pt x="480" y="586"/>
                    </a:lnTo>
                    <a:lnTo>
                      <a:pt x="481" y="586"/>
                    </a:lnTo>
                    <a:lnTo>
                      <a:pt x="480" y="586"/>
                    </a:lnTo>
                    <a:lnTo>
                      <a:pt x="479" y="588"/>
                    </a:lnTo>
                    <a:lnTo>
                      <a:pt x="478" y="588"/>
                    </a:lnTo>
                    <a:lnTo>
                      <a:pt x="479" y="589"/>
                    </a:lnTo>
                    <a:lnTo>
                      <a:pt x="478" y="589"/>
                    </a:lnTo>
                    <a:lnTo>
                      <a:pt x="478" y="590"/>
                    </a:lnTo>
                    <a:lnTo>
                      <a:pt x="477" y="590"/>
                    </a:lnTo>
                    <a:lnTo>
                      <a:pt x="476" y="590"/>
                    </a:lnTo>
                    <a:lnTo>
                      <a:pt x="476" y="591"/>
                    </a:lnTo>
                    <a:lnTo>
                      <a:pt x="475" y="591"/>
                    </a:lnTo>
                    <a:lnTo>
                      <a:pt x="475" y="592"/>
                    </a:lnTo>
                    <a:lnTo>
                      <a:pt x="474" y="592"/>
                    </a:lnTo>
                    <a:lnTo>
                      <a:pt x="474" y="593"/>
                    </a:lnTo>
                    <a:lnTo>
                      <a:pt x="474" y="594"/>
                    </a:lnTo>
                    <a:lnTo>
                      <a:pt x="474" y="593"/>
                    </a:lnTo>
                    <a:lnTo>
                      <a:pt x="473" y="593"/>
                    </a:lnTo>
                    <a:lnTo>
                      <a:pt x="473" y="594"/>
                    </a:lnTo>
                    <a:lnTo>
                      <a:pt x="474" y="594"/>
                    </a:lnTo>
                    <a:lnTo>
                      <a:pt x="473" y="594"/>
                    </a:lnTo>
                    <a:lnTo>
                      <a:pt x="473" y="595"/>
                    </a:lnTo>
                    <a:lnTo>
                      <a:pt x="472" y="595"/>
                    </a:lnTo>
                    <a:lnTo>
                      <a:pt x="473" y="595"/>
                    </a:lnTo>
                    <a:lnTo>
                      <a:pt x="473" y="596"/>
                    </a:lnTo>
                    <a:lnTo>
                      <a:pt x="472" y="595"/>
                    </a:lnTo>
                    <a:lnTo>
                      <a:pt x="472" y="596"/>
                    </a:lnTo>
                    <a:lnTo>
                      <a:pt x="472" y="597"/>
                    </a:lnTo>
                    <a:lnTo>
                      <a:pt x="471" y="598"/>
                    </a:lnTo>
                    <a:lnTo>
                      <a:pt x="471" y="600"/>
                    </a:lnTo>
                    <a:lnTo>
                      <a:pt x="470" y="600"/>
                    </a:lnTo>
                    <a:lnTo>
                      <a:pt x="470" y="601"/>
                    </a:lnTo>
                    <a:lnTo>
                      <a:pt x="468" y="601"/>
                    </a:lnTo>
                    <a:lnTo>
                      <a:pt x="470" y="601"/>
                    </a:lnTo>
                    <a:lnTo>
                      <a:pt x="470" y="602"/>
                    </a:lnTo>
                    <a:lnTo>
                      <a:pt x="468" y="602"/>
                    </a:lnTo>
                    <a:lnTo>
                      <a:pt x="468" y="603"/>
                    </a:lnTo>
                    <a:lnTo>
                      <a:pt x="468" y="604"/>
                    </a:lnTo>
                    <a:lnTo>
                      <a:pt x="468" y="603"/>
                    </a:lnTo>
                    <a:lnTo>
                      <a:pt x="467" y="603"/>
                    </a:lnTo>
                    <a:lnTo>
                      <a:pt x="467" y="604"/>
                    </a:lnTo>
                    <a:lnTo>
                      <a:pt x="468" y="604"/>
                    </a:lnTo>
                    <a:lnTo>
                      <a:pt x="468" y="605"/>
                    </a:lnTo>
                    <a:lnTo>
                      <a:pt x="467" y="605"/>
                    </a:lnTo>
                    <a:lnTo>
                      <a:pt x="468" y="605"/>
                    </a:lnTo>
                    <a:lnTo>
                      <a:pt x="467" y="605"/>
                    </a:lnTo>
                    <a:lnTo>
                      <a:pt x="468" y="605"/>
                    </a:lnTo>
                    <a:lnTo>
                      <a:pt x="467" y="605"/>
                    </a:lnTo>
                    <a:lnTo>
                      <a:pt x="467" y="604"/>
                    </a:lnTo>
                    <a:lnTo>
                      <a:pt x="467" y="605"/>
                    </a:lnTo>
                    <a:lnTo>
                      <a:pt x="467" y="606"/>
                    </a:lnTo>
                    <a:lnTo>
                      <a:pt x="467" y="605"/>
                    </a:lnTo>
                    <a:lnTo>
                      <a:pt x="466" y="605"/>
                    </a:lnTo>
                    <a:lnTo>
                      <a:pt x="466" y="606"/>
                    </a:lnTo>
                    <a:lnTo>
                      <a:pt x="466" y="607"/>
                    </a:lnTo>
                    <a:lnTo>
                      <a:pt x="465" y="607"/>
                    </a:lnTo>
                    <a:lnTo>
                      <a:pt x="465" y="608"/>
                    </a:lnTo>
                    <a:lnTo>
                      <a:pt x="465" y="607"/>
                    </a:lnTo>
                    <a:lnTo>
                      <a:pt x="465" y="608"/>
                    </a:lnTo>
                    <a:lnTo>
                      <a:pt x="464" y="608"/>
                    </a:lnTo>
                    <a:lnTo>
                      <a:pt x="464" y="609"/>
                    </a:lnTo>
                    <a:lnTo>
                      <a:pt x="463" y="609"/>
                    </a:lnTo>
                    <a:lnTo>
                      <a:pt x="462" y="610"/>
                    </a:lnTo>
                    <a:lnTo>
                      <a:pt x="461" y="611"/>
                    </a:lnTo>
                    <a:lnTo>
                      <a:pt x="461" y="613"/>
                    </a:lnTo>
                    <a:lnTo>
                      <a:pt x="460" y="613"/>
                    </a:lnTo>
                    <a:lnTo>
                      <a:pt x="460" y="614"/>
                    </a:lnTo>
                    <a:lnTo>
                      <a:pt x="459" y="615"/>
                    </a:lnTo>
                    <a:lnTo>
                      <a:pt x="459" y="616"/>
                    </a:lnTo>
                    <a:lnTo>
                      <a:pt x="458" y="616"/>
                    </a:lnTo>
                    <a:lnTo>
                      <a:pt x="458" y="617"/>
                    </a:lnTo>
                    <a:lnTo>
                      <a:pt x="458" y="618"/>
                    </a:lnTo>
                    <a:lnTo>
                      <a:pt x="458" y="619"/>
                    </a:lnTo>
                    <a:lnTo>
                      <a:pt x="457" y="619"/>
                    </a:lnTo>
                    <a:lnTo>
                      <a:pt x="457" y="620"/>
                    </a:lnTo>
                    <a:lnTo>
                      <a:pt x="455" y="620"/>
                    </a:lnTo>
                    <a:lnTo>
                      <a:pt x="455" y="621"/>
                    </a:lnTo>
                    <a:lnTo>
                      <a:pt x="455" y="622"/>
                    </a:lnTo>
                    <a:lnTo>
                      <a:pt x="454" y="622"/>
                    </a:lnTo>
                    <a:lnTo>
                      <a:pt x="454" y="623"/>
                    </a:lnTo>
                    <a:lnTo>
                      <a:pt x="454" y="624"/>
                    </a:lnTo>
                    <a:lnTo>
                      <a:pt x="453" y="626"/>
                    </a:lnTo>
                    <a:lnTo>
                      <a:pt x="453" y="627"/>
                    </a:lnTo>
                    <a:lnTo>
                      <a:pt x="452" y="627"/>
                    </a:lnTo>
                    <a:lnTo>
                      <a:pt x="451" y="627"/>
                    </a:lnTo>
                    <a:lnTo>
                      <a:pt x="451" y="628"/>
                    </a:lnTo>
                    <a:lnTo>
                      <a:pt x="452" y="628"/>
                    </a:lnTo>
                    <a:lnTo>
                      <a:pt x="451" y="630"/>
                    </a:lnTo>
                    <a:lnTo>
                      <a:pt x="450" y="632"/>
                    </a:lnTo>
                    <a:lnTo>
                      <a:pt x="449" y="634"/>
                    </a:lnTo>
                    <a:lnTo>
                      <a:pt x="448" y="635"/>
                    </a:lnTo>
                    <a:lnTo>
                      <a:pt x="448" y="636"/>
                    </a:lnTo>
                    <a:lnTo>
                      <a:pt x="447" y="636"/>
                    </a:lnTo>
                    <a:lnTo>
                      <a:pt x="446" y="636"/>
                    </a:lnTo>
                    <a:lnTo>
                      <a:pt x="446" y="637"/>
                    </a:lnTo>
                    <a:lnTo>
                      <a:pt x="446" y="636"/>
                    </a:lnTo>
                    <a:lnTo>
                      <a:pt x="446" y="635"/>
                    </a:lnTo>
                    <a:lnTo>
                      <a:pt x="446" y="636"/>
                    </a:lnTo>
                    <a:lnTo>
                      <a:pt x="446" y="637"/>
                    </a:lnTo>
                    <a:lnTo>
                      <a:pt x="445" y="637"/>
                    </a:lnTo>
                    <a:lnTo>
                      <a:pt x="446" y="637"/>
                    </a:lnTo>
                    <a:lnTo>
                      <a:pt x="445" y="637"/>
                    </a:lnTo>
                    <a:lnTo>
                      <a:pt x="445" y="639"/>
                    </a:lnTo>
                    <a:lnTo>
                      <a:pt x="446" y="639"/>
                    </a:lnTo>
                    <a:lnTo>
                      <a:pt x="445" y="639"/>
                    </a:lnTo>
                    <a:lnTo>
                      <a:pt x="445" y="640"/>
                    </a:lnTo>
                    <a:lnTo>
                      <a:pt x="444" y="641"/>
                    </a:lnTo>
                    <a:lnTo>
                      <a:pt x="442" y="642"/>
                    </a:lnTo>
                    <a:lnTo>
                      <a:pt x="441" y="642"/>
                    </a:lnTo>
                    <a:lnTo>
                      <a:pt x="440" y="642"/>
                    </a:lnTo>
                    <a:lnTo>
                      <a:pt x="440" y="643"/>
                    </a:lnTo>
                    <a:lnTo>
                      <a:pt x="441" y="643"/>
                    </a:lnTo>
                    <a:lnTo>
                      <a:pt x="440" y="643"/>
                    </a:lnTo>
                    <a:lnTo>
                      <a:pt x="440" y="644"/>
                    </a:lnTo>
                    <a:lnTo>
                      <a:pt x="440" y="643"/>
                    </a:lnTo>
                    <a:lnTo>
                      <a:pt x="440" y="644"/>
                    </a:lnTo>
                    <a:lnTo>
                      <a:pt x="440" y="645"/>
                    </a:lnTo>
                    <a:lnTo>
                      <a:pt x="439" y="645"/>
                    </a:lnTo>
                    <a:lnTo>
                      <a:pt x="438" y="646"/>
                    </a:lnTo>
                    <a:lnTo>
                      <a:pt x="437" y="647"/>
                    </a:lnTo>
                    <a:lnTo>
                      <a:pt x="437" y="648"/>
                    </a:lnTo>
                    <a:lnTo>
                      <a:pt x="436" y="648"/>
                    </a:lnTo>
                    <a:lnTo>
                      <a:pt x="436" y="649"/>
                    </a:lnTo>
                    <a:lnTo>
                      <a:pt x="436" y="648"/>
                    </a:lnTo>
                    <a:lnTo>
                      <a:pt x="435" y="649"/>
                    </a:lnTo>
                    <a:lnTo>
                      <a:pt x="436" y="649"/>
                    </a:lnTo>
                    <a:lnTo>
                      <a:pt x="435" y="649"/>
                    </a:lnTo>
                    <a:lnTo>
                      <a:pt x="435" y="650"/>
                    </a:lnTo>
                    <a:lnTo>
                      <a:pt x="435" y="652"/>
                    </a:lnTo>
                    <a:lnTo>
                      <a:pt x="434" y="652"/>
                    </a:lnTo>
                    <a:lnTo>
                      <a:pt x="434" y="653"/>
                    </a:lnTo>
                    <a:lnTo>
                      <a:pt x="433" y="652"/>
                    </a:lnTo>
                    <a:lnTo>
                      <a:pt x="433" y="653"/>
                    </a:lnTo>
                    <a:lnTo>
                      <a:pt x="434" y="653"/>
                    </a:lnTo>
                    <a:lnTo>
                      <a:pt x="433" y="654"/>
                    </a:lnTo>
                    <a:lnTo>
                      <a:pt x="432" y="654"/>
                    </a:lnTo>
                    <a:lnTo>
                      <a:pt x="432" y="655"/>
                    </a:lnTo>
                    <a:lnTo>
                      <a:pt x="431" y="656"/>
                    </a:lnTo>
                    <a:lnTo>
                      <a:pt x="431" y="655"/>
                    </a:lnTo>
                    <a:lnTo>
                      <a:pt x="431" y="654"/>
                    </a:lnTo>
                    <a:lnTo>
                      <a:pt x="431" y="653"/>
                    </a:lnTo>
                    <a:lnTo>
                      <a:pt x="432" y="652"/>
                    </a:lnTo>
                    <a:lnTo>
                      <a:pt x="432" y="650"/>
                    </a:lnTo>
                    <a:lnTo>
                      <a:pt x="433" y="650"/>
                    </a:lnTo>
                    <a:lnTo>
                      <a:pt x="433" y="649"/>
                    </a:lnTo>
                    <a:lnTo>
                      <a:pt x="434" y="648"/>
                    </a:lnTo>
                    <a:lnTo>
                      <a:pt x="435" y="647"/>
                    </a:lnTo>
                    <a:lnTo>
                      <a:pt x="435" y="646"/>
                    </a:lnTo>
                    <a:lnTo>
                      <a:pt x="436" y="646"/>
                    </a:lnTo>
                    <a:lnTo>
                      <a:pt x="436" y="645"/>
                    </a:lnTo>
                    <a:lnTo>
                      <a:pt x="437" y="645"/>
                    </a:lnTo>
                    <a:lnTo>
                      <a:pt x="437" y="644"/>
                    </a:lnTo>
                    <a:lnTo>
                      <a:pt x="438" y="644"/>
                    </a:lnTo>
                    <a:lnTo>
                      <a:pt x="438" y="643"/>
                    </a:lnTo>
                    <a:lnTo>
                      <a:pt x="439" y="642"/>
                    </a:lnTo>
                    <a:lnTo>
                      <a:pt x="439" y="641"/>
                    </a:lnTo>
                    <a:lnTo>
                      <a:pt x="440" y="641"/>
                    </a:lnTo>
                    <a:lnTo>
                      <a:pt x="440" y="640"/>
                    </a:lnTo>
                    <a:lnTo>
                      <a:pt x="441" y="639"/>
                    </a:lnTo>
                    <a:lnTo>
                      <a:pt x="442" y="636"/>
                    </a:lnTo>
                    <a:lnTo>
                      <a:pt x="444" y="635"/>
                    </a:lnTo>
                    <a:lnTo>
                      <a:pt x="445" y="634"/>
                    </a:lnTo>
                    <a:lnTo>
                      <a:pt x="446" y="632"/>
                    </a:lnTo>
                    <a:lnTo>
                      <a:pt x="447" y="631"/>
                    </a:lnTo>
                    <a:lnTo>
                      <a:pt x="447" y="630"/>
                    </a:lnTo>
                    <a:lnTo>
                      <a:pt x="448" y="630"/>
                    </a:lnTo>
                    <a:lnTo>
                      <a:pt x="448" y="629"/>
                    </a:lnTo>
                    <a:lnTo>
                      <a:pt x="449" y="628"/>
                    </a:lnTo>
                    <a:lnTo>
                      <a:pt x="449" y="627"/>
                    </a:lnTo>
                    <a:lnTo>
                      <a:pt x="450" y="627"/>
                    </a:lnTo>
                    <a:lnTo>
                      <a:pt x="450" y="626"/>
                    </a:lnTo>
                    <a:lnTo>
                      <a:pt x="451" y="626"/>
                    </a:lnTo>
                    <a:lnTo>
                      <a:pt x="451" y="624"/>
                    </a:lnTo>
                    <a:lnTo>
                      <a:pt x="451" y="623"/>
                    </a:lnTo>
                    <a:lnTo>
                      <a:pt x="452" y="623"/>
                    </a:lnTo>
                    <a:lnTo>
                      <a:pt x="452" y="622"/>
                    </a:lnTo>
                    <a:lnTo>
                      <a:pt x="453" y="621"/>
                    </a:lnTo>
                    <a:lnTo>
                      <a:pt x="453" y="620"/>
                    </a:lnTo>
                    <a:lnTo>
                      <a:pt x="454" y="620"/>
                    </a:lnTo>
                    <a:lnTo>
                      <a:pt x="455" y="618"/>
                    </a:lnTo>
                    <a:lnTo>
                      <a:pt x="455" y="617"/>
                    </a:lnTo>
                    <a:lnTo>
                      <a:pt x="457" y="616"/>
                    </a:lnTo>
                    <a:lnTo>
                      <a:pt x="458" y="615"/>
                    </a:lnTo>
                    <a:lnTo>
                      <a:pt x="459" y="614"/>
                    </a:lnTo>
                    <a:lnTo>
                      <a:pt x="459" y="613"/>
                    </a:lnTo>
                    <a:lnTo>
                      <a:pt x="460" y="613"/>
                    </a:lnTo>
                    <a:lnTo>
                      <a:pt x="460" y="611"/>
                    </a:lnTo>
                    <a:lnTo>
                      <a:pt x="461" y="611"/>
                    </a:lnTo>
                    <a:lnTo>
                      <a:pt x="461" y="610"/>
                    </a:lnTo>
                    <a:lnTo>
                      <a:pt x="461" y="609"/>
                    </a:lnTo>
                    <a:lnTo>
                      <a:pt x="462" y="609"/>
                    </a:lnTo>
                    <a:lnTo>
                      <a:pt x="462" y="608"/>
                    </a:lnTo>
                    <a:lnTo>
                      <a:pt x="463" y="608"/>
                    </a:lnTo>
                    <a:lnTo>
                      <a:pt x="463" y="607"/>
                    </a:lnTo>
                    <a:lnTo>
                      <a:pt x="464" y="607"/>
                    </a:lnTo>
                    <a:lnTo>
                      <a:pt x="464" y="606"/>
                    </a:lnTo>
                    <a:lnTo>
                      <a:pt x="465" y="605"/>
                    </a:lnTo>
                    <a:lnTo>
                      <a:pt x="465" y="604"/>
                    </a:lnTo>
                    <a:lnTo>
                      <a:pt x="466" y="603"/>
                    </a:lnTo>
                    <a:lnTo>
                      <a:pt x="467" y="602"/>
                    </a:lnTo>
                    <a:lnTo>
                      <a:pt x="467" y="601"/>
                    </a:lnTo>
                    <a:lnTo>
                      <a:pt x="468" y="600"/>
                    </a:lnTo>
                    <a:lnTo>
                      <a:pt x="468" y="598"/>
                    </a:lnTo>
                    <a:lnTo>
                      <a:pt x="470" y="597"/>
                    </a:lnTo>
                    <a:lnTo>
                      <a:pt x="470" y="596"/>
                    </a:lnTo>
                    <a:lnTo>
                      <a:pt x="471" y="596"/>
                    </a:lnTo>
                    <a:lnTo>
                      <a:pt x="471" y="594"/>
                    </a:lnTo>
                    <a:lnTo>
                      <a:pt x="472" y="594"/>
                    </a:lnTo>
                    <a:lnTo>
                      <a:pt x="472" y="593"/>
                    </a:lnTo>
                    <a:lnTo>
                      <a:pt x="473" y="592"/>
                    </a:lnTo>
                    <a:lnTo>
                      <a:pt x="474" y="591"/>
                    </a:lnTo>
                    <a:lnTo>
                      <a:pt x="474" y="590"/>
                    </a:lnTo>
                    <a:lnTo>
                      <a:pt x="475" y="590"/>
                    </a:lnTo>
                    <a:lnTo>
                      <a:pt x="475" y="589"/>
                    </a:lnTo>
                    <a:lnTo>
                      <a:pt x="477" y="588"/>
                    </a:lnTo>
                    <a:lnTo>
                      <a:pt x="478" y="586"/>
                    </a:lnTo>
                    <a:lnTo>
                      <a:pt x="479" y="585"/>
                    </a:lnTo>
                    <a:lnTo>
                      <a:pt x="480" y="585"/>
                    </a:lnTo>
                    <a:lnTo>
                      <a:pt x="480" y="584"/>
                    </a:lnTo>
                    <a:lnTo>
                      <a:pt x="481" y="583"/>
                    </a:lnTo>
                    <a:lnTo>
                      <a:pt x="483" y="582"/>
                    </a:lnTo>
                    <a:lnTo>
                      <a:pt x="484" y="580"/>
                    </a:lnTo>
                    <a:lnTo>
                      <a:pt x="485" y="579"/>
                    </a:lnTo>
                    <a:lnTo>
                      <a:pt x="486" y="578"/>
                    </a:lnTo>
                    <a:lnTo>
                      <a:pt x="486" y="577"/>
                    </a:lnTo>
                    <a:lnTo>
                      <a:pt x="487" y="577"/>
                    </a:lnTo>
                    <a:lnTo>
                      <a:pt x="487" y="576"/>
                    </a:lnTo>
                    <a:lnTo>
                      <a:pt x="487" y="575"/>
                    </a:lnTo>
                    <a:lnTo>
                      <a:pt x="488" y="575"/>
                    </a:lnTo>
                    <a:lnTo>
                      <a:pt x="488" y="573"/>
                    </a:lnTo>
                    <a:lnTo>
                      <a:pt x="489" y="573"/>
                    </a:lnTo>
                    <a:lnTo>
                      <a:pt x="489" y="575"/>
                    </a:lnTo>
                    <a:lnTo>
                      <a:pt x="490" y="575"/>
                    </a:lnTo>
                    <a:close/>
                    <a:moveTo>
                      <a:pt x="560" y="453"/>
                    </a:moveTo>
                    <a:lnTo>
                      <a:pt x="558" y="453"/>
                    </a:lnTo>
                    <a:lnTo>
                      <a:pt x="558" y="454"/>
                    </a:lnTo>
                    <a:lnTo>
                      <a:pt x="558" y="455"/>
                    </a:lnTo>
                    <a:lnTo>
                      <a:pt x="558" y="456"/>
                    </a:lnTo>
                    <a:lnTo>
                      <a:pt x="560" y="456"/>
                    </a:lnTo>
                    <a:lnTo>
                      <a:pt x="558" y="457"/>
                    </a:lnTo>
                    <a:lnTo>
                      <a:pt x="557" y="457"/>
                    </a:lnTo>
                    <a:lnTo>
                      <a:pt x="556" y="457"/>
                    </a:lnTo>
                    <a:lnTo>
                      <a:pt x="555" y="456"/>
                    </a:lnTo>
                    <a:lnTo>
                      <a:pt x="555" y="457"/>
                    </a:lnTo>
                    <a:lnTo>
                      <a:pt x="555" y="459"/>
                    </a:lnTo>
                    <a:lnTo>
                      <a:pt x="556" y="459"/>
                    </a:lnTo>
                    <a:lnTo>
                      <a:pt x="555" y="459"/>
                    </a:lnTo>
                    <a:lnTo>
                      <a:pt x="556" y="460"/>
                    </a:lnTo>
                    <a:lnTo>
                      <a:pt x="557" y="460"/>
                    </a:lnTo>
                    <a:lnTo>
                      <a:pt x="558" y="460"/>
                    </a:lnTo>
                    <a:lnTo>
                      <a:pt x="558" y="461"/>
                    </a:lnTo>
                    <a:lnTo>
                      <a:pt x="558" y="460"/>
                    </a:lnTo>
                    <a:lnTo>
                      <a:pt x="560" y="460"/>
                    </a:lnTo>
                    <a:lnTo>
                      <a:pt x="560" y="459"/>
                    </a:lnTo>
                    <a:lnTo>
                      <a:pt x="561" y="459"/>
                    </a:lnTo>
                    <a:lnTo>
                      <a:pt x="561" y="457"/>
                    </a:lnTo>
                    <a:lnTo>
                      <a:pt x="560" y="457"/>
                    </a:lnTo>
                    <a:lnTo>
                      <a:pt x="560" y="456"/>
                    </a:lnTo>
                    <a:lnTo>
                      <a:pt x="561" y="456"/>
                    </a:lnTo>
                    <a:lnTo>
                      <a:pt x="560" y="456"/>
                    </a:lnTo>
                    <a:lnTo>
                      <a:pt x="561" y="456"/>
                    </a:lnTo>
                    <a:lnTo>
                      <a:pt x="562" y="456"/>
                    </a:lnTo>
                    <a:lnTo>
                      <a:pt x="563" y="456"/>
                    </a:lnTo>
                    <a:lnTo>
                      <a:pt x="563" y="455"/>
                    </a:lnTo>
                    <a:lnTo>
                      <a:pt x="563" y="456"/>
                    </a:lnTo>
                    <a:lnTo>
                      <a:pt x="564" y="456"/>
                    </a:lnTo>
                    <a:lnTo>
                      <a:pt x="565" y="455"/>
                    </a:lnTo>
                    <a:lnTo>
                      <a:pt x="566" y="455"/>
                    </a:lnTo>
                    <a:lnTo>
                      <a:pt x="565" y="455"/>
                    </a:lnTo>
                    <a:lnTo>
                      <a:pt x="565" y="456"/>
                    </a:lnTo>
                    <a:lnTo>
                      <a:pt x="566" y="456"/>
                    </a:lnTo>
                    <a:lnTo>
                      <a:pt x="566" y="455"/>
                    </a:lnTo>
                    <a:lnTo>
                      <a:pt x="566" y="456"/>
                    </a:lnTo>
                    <a:lnTo>
                      <a:pt x="567" y="456"/>
                    </a:lnTo>
                    <a:lnTo>
                      <a:pt x="567" y="455"/>
                    </a:lnTo>
                    <a:lnTo>
                      <a:pt x="568" y="456"/>
                    </a:lnTo>
                    <a:lnTo>
                      <a:pt x="568" y="455"/>
                    </a:lnTo>
                    <a:lnTo>
                      <a:pt x="569" y="455"/>
                    </a:lnTo>
                    <a:lnTo>
                      <a:pt x="569" y="456"/>
                    </a:lnTo>
                    <a:lnTo>
                      <a:pt x="568" y="456"/>
                    </a:lnTo>
                    <a:lnTo>
                      <a:pt x="567" y="456"/>
                    </a:lnTo>
                    <a:lnTo>
                      <a:pt x="566" y="456"/>
                    </a:lnTo>
                    <a:lnTo>
                      <a:pt x="565" y="457"/>
                    </a:lnTo>
                    <a:lnTo>
                      <a:pt x="563" y="457"/>
                    </a:lnTo>
                    <a:lnTo>
                      <a:pt x="562" y="457"/>
                    </a:lnTo>
                    <a:lnTo>
                      <a:pt x="561" y="459"/>
                    </a:lnTo>
                    <a:lnTo>
                      <a:pt x="560" y="460"/>
                    </a:lnTo>
                    <a:lnTo>
                      <a:pt x="560" y="461"/>
                    </a:lnTo>
                    <a:lnTo>
                      <a:pt x="560" y="460"/>
                    </a:lnTo>
                    <a:lnTo>
                      <a:pt x="561" y="460"/>
                    </a:lnTo>
                    <a:lnTo>
                      <a:pt x="561" y="459"/>
                    </a:lnTo>
                    <a:lnTo>
                      <a:pt x="562" y="459"/>
                    </a:lnTo>
                    <a:lnTo>
                      <a:pt x="563" y="457"/>
                    </a:lnTo>
                    <a:lnTo>
                      <a:pt x="564" y="457"/>
                    </a:lnTo>
                    <a:lnTo>
                      <a:pt x="565" y="457"/>
                    </a:lnTo>
                    <a:lnTo>
                      <a:pt x="564" y="457"/>
                    </a:lnTo>
                    <a:lnTo>
                      <a:pt x="565" y="457"/>
                    </a:lnTo>
                    <a:lnTo>
                      <a:pt x="565" y="459"/>
                    </a:lnTo>
                    <a:lnTo>
                      <a:pt x="565" y="457"/>
                    </a:lnTo>
                    <a:lnTo>
                      <a:pt x="564" y="457"/>
                    </a:lnTo>
                    <a:lnTo>
                      <a:pt x="564" y="459"/>
                    </a:lnTo>
                    <a:lnTo>
                      <a:pt x="563" y="459"/>
                    </a:lnTo>
                    <a:lnTo>
                      <a:pt x="562" y="459"/>
                    </a:lnTo>
                    <a:lnTo>
                      <a:pt x="561" y="460"/>
                    </a:lnTo>
                    <a:lnTo>
                      <a:pt x="560" y="461"/>
                    </a:lnTo>
                    <a:lnTo>
                      <a:pt x="561" y="461"/>
                    </a:lnTo>
                    <a:lnTo>
                      <a:pt x="561" y="462"/>
                    </a:lnTo>
                    <a:lnTo>
                      <a:pt x="562" y="462"/>
                    </a:lnTo>
                    <a:lnTo>
                      <a:pt x="562" y="463"/>
                    </a:lnTo>
                    <a:lnTo>
                      <a:pt x="561" y="463"/>
                    </a:lnTo>
                    <a:lnTo>
                      <a:pt x="561" y="462"/>
                    </a:lnTo>
                    <a:lnTo>
                      <a:pt x="561" y="463"/>
                    </a:lnTo>
                    <a:lnTo>
                      <a:pt x="562" y="463"/>
                    </a:lnTo>
                    <a:lnTo>
                      <a:pt x="562" y="462"/>
                    </a:lnTo>
                    <a:lnTo>
                      <a:pt x="563" y="462"/>
                    </a:lnTo>
                    <a:lnTo>
                      <a:pt x="564" y="462"/>
                    </a:lnTo>
                    <a:lnTo>
                      <a:pt x="564" y="463"/>
                    </a:lnTo>
                    <a:lnTo>
                      <a:pt x="565" y="463"/>
                    </a:lnTo>
                    <a:lnTo>
                      <a:pt x="565" y="462"/>
                    </a:lnTo>
                    <a:lnTo>
                      <a:pt x="565" y="463"/>
                    </a:lnTo>
                    <a:lnTo>
                      <a:pt x="566" y="463"/>
                    </a:lnTo>
                    <a:lnTo>
                      <a:pt x="566" y="462"/>
                    </a:lnTo>
                    <a:lnTo>
                      <a:pt x="567" y="462"/>
                    </a:lnTo>
                    <a:lnTo>
                      <a:pt x="568" y="462"/>
                    </a:lnTo>
                    <a:lnTo>
                      <a:pt x="568" y="461"/>
                    </a:lnTo>
                    <a:lnTo>
                      <a:pt x="568" y="462"/>
                    </a:lnTo>
                    <a:lnTo>
                      <a:pt x="568" y="463"/>
                    </a:lnTo>
                    <a:lnTo>
                      <a:pt x="567" y="463"/>
                    </a:lnTo>
                    <a:lnTo>
                      <a:pt x="565" y="464"/>
                    </a:lnTo>
                    <a:lnTo>
                      <a:pt x="564" y="464"/>
                    </a:lnTo>
                    <a:lnTo>
                      <a:pt x="563" y="464"/>
                    </a:lnTo>
                    <a:lnTo>
                      <a:pt x="562" y="464"/>
                    </a:lnTo>
                    <a:lnTo>
                      <a:pt x="562" y="465"/>
                    </a:lnTo>
                    <a:lnTo>
                      <a:pt x="561" y="465"/>
                    </a:lnTo>
                    <a:lnTo>
                      <a:pt x="560" y="466"/>
                    </a:lnTo>
                    <a:lnTo>
                      <a:pt x="558" y="467"/>
                    </a:lnTo>
                    <a:lnTo>
                      <a:pt x="557" y="468"/>
                    </a:lnTo>
                    <a:lnTo>
                      <a:pt x="556" y="468"/>
                    </a:lnTo>
                    <a:lnTo>
                      <a:pt x="556" y="469"/>
                    </a:lnTo>
                    <a:lnTo>
                      <a:pt x="555" y="470"/>
                    </a:lnTo>
                    <a:lnTo>
                      <a:pt x="554" y="470"/>
                    </a:lnTo>
                    <a:lnTo>
                      <a:pt x="553" y="470"/>
                    </a:lnTo>
                    <a:lnTo>
                      <a:pt x="552" y="470"/>
                    </a:lnTo>
                    <a:lnTo>
                      <a:pt x="551" y="470"/>
                    </a:lnTo>
                    <a:lnTo>
                      <a:pt x="550" y="470"/>
                    </a:lnTo>
                    <a:lnTo>
                      <a:pt x="549" y="470"/>
                    </a:lnTo>
                    <a:lnTo>
                      <a:pt x="549" y="469"/>
                    </a:lnTo>
                    <a:lnTo>
                      <a:pt x="548" y="469"/>
                    </a:lnTo>
                    <a:lnTo>
                      <a:pt x="546" y="469"/>
                    </a:lnTo>
                    <a:lnTo>
                      <a:pt x="546" y="468"/>
                    </a:lnTo>
                    <a:lnTo>
                      <a:pt x="548" y="467"/>
                    </a:lnTo>
                    <a:lnTo>
                      <a:pt x="546" y="467"/>
                    </a:lnTo>
                    <a:lnTo>
                      <a:pt x="548" y="467"/>
                    </a:lnTo>
                    <a:lnTo>
                      <a:pt x="548" y="465"/>
                    </a:lnTo>
                    <a:lnTo>
                      <a:pt x="548" y="464"/>
                    </a:lnTo>
                    <a:lnTo>
                      <a:pt x="549" y="464"/>
                    </a:lnTo>
                    <a:lnTo>
                      <a:pt x="549" y="463"/>
                    </a:lnTo>
                    <a:lnTo>
                      <a:pt x="549" y="462"/>
                    </a:lnTo>
                    <a:lnTo>
                      <a:pt x="550" y="462"/>
                    </a:lnTo>
                    <a:lnTo>
                      <a:pt x="551" y="461"/>
                    </a:lnTo>
                    <a:lnTo>
                      <a:pt x="552" y="461"/>
                    </a:lnTo>
                    <a:lnTo>
                      <a:pt x="555" y="461"/>
                    </a:lnTo>
                    <a:lnTo>
                      <a:pt x="554" y="461"/>
                    </a:lnTo>
                    <a:lnTo>
                      <a:pt x="553" y="461"/>
                    </a:lnTo>
                    <a:lnTo>
                      <a:pt x="552" y="461"/>
                    </a:lnTo>
                    <a:lnTo>
                      <a:pt x="551" y="461"/>
                    </a:lnTo>
                    <a:lnTo>
                      <a:pt x="551" y="460"/>
                    </a:lnTo>
                    <a:lnTo>
                      <a:pt x="552" y="460"/>
                    </a:lnTo>
                    <a:lnTo>
                      <a:pt x="552" y="459"/>
                    </a:lnTo>
                    <a:lnTo>
                      <a:pt x="552" y="457"/>
                    </a:lnTo>
                    <a:lnTo>
                      <a:pt x="553" y="457"/>
                    </a:lnTo>
                    <a:lnTo>
                      <a:pt x="553" y="456"/>
                    </a:lnTo>
                    <a:lnTo>
                      <a:pt x="554" y="456"/>
                    </a:lnTo>
                    <a:lnTo>
                      <a:pt x="554" y="455"/>
                    </a:lnTo>
                    <a:lnTo>
                      <a:pt x="555" y="455"/>
                    </a:lnTo>
                    <a:lnTo>
                      <a:pt x="556" y="455"/>
                    </a:lnTo>
                    <a:lnTo>
                      <a:pt x="555" y="455"/>
                    </a:lnTo>
                    <a:lnTo>
                      <a:pt x="556" y="455"/>
                    </a:lnTo>
                    <a:lnTo>
                      <a:pt x="556" y="454"/>
                    </a:lnTo>
                    <a:lnTo>
                      <a:pt x="557" y="454"/>
                    </a:lnTo>
                    <a:lnTo>
                      <a:pt x="558" y="453"/>
                    </a:lnTo>
                    <a:lnTo>
                      <a:pt x="560" y="453"/>
                    </a:lnTo>
                    <a:lnTo>
                      <a:pt x="561" y="452"/>
                    </a:lnTo>
                    <a:lnTo>
                      <a:pt x="562" y="451"/>
                    </a:lnTo>
                    <a:lnTo>
                      <a:pt x="563" y="451"/>
                    </a:lnTo>
                    <a:lnTo>
                      <a:pt x="564" y="450"/>
                    </a:lnTo>
                    <a:lnTo>
                      <a:pt x="566" y="449"/>
                    </a:lnTo>
                    <a:lnTo>
                      <a:pt x="567" y="448"/>
                    </a:lnTo>
                    <a:lnTo>
                      <a:pt x="567" y="447"/>
                    </a:lnTo>
                    <a:lnTo>
                      <a:pt x="568" y="447"/>
                    </a:lnTo>
                    <a:lnTo>
                      <a:pt x="570" y="446"/>
                    </a:lnTo>
                    <a:lnTo>
                      <a:pt x="571" y="446"/>
                    </a:lnTo>
                    <a:lnTo>
                      <a:pt x="571" y="444"/>
                    </a:lnTo>
                    <a:lnTo>
                      <a:pt x="571" y="446"/>
                    </a:lnTo>
                    <a:lnTo>
                      <a:pt x="570" y="446"/>
                    </a:lnTo>
                    <a:lnTo>
                      <a:pt x="569" y="447"/>
                    </a:lnTo>
                    <a:lnTo>
                      <a:pt x="568" y="447"/>
                    </a:lnTo>
                    <a:lnTo>
                      <a:pt x="567" y="448"/>
                    </a:lnTo>
                    <a:lnTo>
                      <a:pt x="567" y="449"/>
                    </a:lnTo>
                    <a:lnTo>
                      <a:pt x="566" y="450"/>
                    </a:lnTo>
                    <a:lnTo>
                      <a:pt x="565" y="450"/>
                    </a:lnTo>
                    <a:lnTo>
                      <a:pt x="565" y="451"/>
                    </a:lnTo>
                    <a:lnTo>
                      <a:pt x="564" y="451"/>
                    </a:lnTo>
                    <a:lnTo>
                      <a:pt x="563" y="451"/>
                    </a:lnTo>
                    <a:lnTo>
                      <a:pt x="562" y="451"/>
                    </a:lnTo>
                    <a:lnTo>
                      <a:pt x="561" y="452"/>
                    </a:lnTo>
                    <a:lnTo>
                      <a:pt x="560" y="453"/>
                    </a:lnTo>
                    <a:close/>
                    <a:moveTo>
                      <a:pt x="497" y="502"/>
                    </a:moveTo>
                    <a:lnTo>
                      <a:pt x="498" y="502"/>
                    </a:lnTo>
                    <a:lnTo>
                      <a:pt x="500" y="502"/>
                    </a:lnTo>
                    <a:lnTo>
                      <a:pt x="501" y="502"/>
                    </a:lnTo>
                    <a:lnTo>
                      <a:pt x="501" y="503"/>
                    </a:lnTo>
                    <a:lnTo>
                      <a:pt x="502" y="503"/>
                    </a:lnTo>
                    <a:lnTo>
                      <a:pt x="503" y="504"/>
                    </a:lnTo>
                    <a:lnTo>
                      <a:pt x="505" y="505"/>
                    </a:lnTo>
                    <a:lnTo>
                      <a:pt x="506" y="506"/>
                    </a:lnTo>
                    <a:lnTo>
                      <a:pt x="507" y="506"/>
                    </a:lnTo>
                    <a:lnTo>
                      <a:pt x="509" y="507"/>
                    </a:lnTo>
                    <a:lnTo>
                      <a:pt x="510" y="507"/>
                    </a:lnTo>
                    <a:lnTo>
                      <a:pt x="512" y="507"/>
                    </a:lnTo>
                    <a:lnTo>
                      <a:pt x="513" y="508"/>
                    </a:lnTo>
                    <a:lnTo>
                      <a:pt x="514" y="508"/>
                    </a:lnTo>
                    <a:lnTo>
                      <a:pt x="514" y="510"/>
                    </a:lnTo>
                    <a:lnTo>
                      <a:pt x="515" y="510"/>
                    </a:lnTo>
                    <a:lnTo>
                      <a:pt x="516" y="511"/>
                    </a:lnTo>
                    <a:lnTo>
                      <a:pt x="516" y="512"/>
                    </a:lnTo>
                    <a:lnTo>
                      <a:pt x="515" y="512"/>
                    </a:lnTo>
                    <a:lnTo>
                      <a:pt x="516" y="512"/>
                    </a:lnTo>
                    <a:lnTo>
                      <a:pt x="515" y="511"/>
                    </a:lnTo>
                    <a:lnTo>
                      <a:pt x="515" y="512"/>
                    </a:lnTo>
                    <a:lnTo>
                      <a:pt x="514" y="512"/>
                    </a:lnTo>
                    <a:lnTo>
                      <a:pt x="514" y="511"/>
                    </a:lnTo>
                    <a:lnTo>
                      <a:pt x="513" y="512"/>
                    </a:lnTo>
                    <a:lnTo>
                      <a:pt x="512" y="512"/>
                    </a:lnTo>
                    <a:lnTo>
                      <a:pt x="513" y="512"/>
                    </a:lnTo>
                    <a:lnTo>
                      <a:pt x="513" y="511"/>
                    </a:lnTo>
                    <a:lnTo>
                      <a:pt x="513" y="512"/>
                    </a:lnTo>
                    <a:lnTo>
                      <a:pt x="512" y="512"/>
                    </a:lnTo>
                    <a:lnTo>
                      <a:pt x="512" y="511"/>
                    </a:lnTo>
                    <a:lnTo>
                      <a:pt x="513" y="510"/>
                    </a:lnTo>
                    <a:lnTo>
                      <a:pt x="513" y="508"/>
                    </a:lnTo>
                    <a:lnTo>
                      <a:pt x="512" y="508"/>
                    </a:lnTo>
                    <a:lnTo>
                      <a:pt x="511" y="508"/>
                    </a:lnTo>
                    <a:lnTo>
                      <a:pt x="510" y="508"/>
                    </a:lnTo>
                    <a:lnTo>
                      <a:pt x="510" y="507"/>
                    </a:lnTo>
                    <a:lnTo>
                      <a:pt x="511" y="507"/>
                    </a:lnTo>
                    <a:lnTo>
                      <a:pt x="510" y="507"/>
                    </a:lnTo>
                    <a:lnTo>
                      <a:pt x="510" y="508"/>
                    </a:lnTo>
                    <a:lnTo>
                      <a:pt x="511" y="508"/>
                    </a:lnTo>
                    <a:lnTo>
                      <a:pt x="510" y="508"/>
                    </a:lnTo>
                    <a:lnTo>
                      <a:pt x="509" y="508"/>
                    </a:lnTo>
                    <a:lnTo>
                      <a:pt x="510" y="510"/>
                    </a:lnTo>
                    <a:lnTo>
                      <a:pt x="510" y="511"/>
                    </a:lnTo>
                    <a:lnTo>
                      <a:pt x="509" y="511"/>
                    </a:lnTo>
                    <a:lnTo>
                      <a:pt x="509" y="512"/>
                    </a:lnTo>
                    <a:lnTo>
                      <a:pt x="507" y="512"/>
                    </a:lnTo>
                    <a:lnTo>
                      <a:pt x="507" y="511"/>
                    </a:lnTo>
                    <a:lnTo>
                      <a:pt x="506" y="511"/>
                    </a:lnTo>
                    <a:lnTo>
                      <a:pt x="507" y="511"/>
                    </a:lnTo>
                    <a:lnTo>
                      <a:pt x="506" y="510"/>
                    </a:lnTo>
                    <a:lnTo>
                      <a:pt x="506" y="511"/>
                    </a:lnTo>
                    <a:lnTo>
                      <a:pt x="506" y="510"/>
                    </a:lnTo>
                    <a:lnTo>
                      <a:pt x="506" y="508"/>
                    </a:lnTo>
                    <a:lnTo>
                      <a:pt x="505" y="508"/>
                    </a:lnTo>
                    <a:lnTo>
                      <a:pt x="505" y="507"/>
                    </a:lnTo>
                    <a:lnTo>
                      <a:pt x="504" y="508"/>
                    </a:lnTo>
                    <a:lnTo>
                      <a:pt x="504" y="507"/>
                    </a:lnTo>
                    <a:lnTo>
                      <a:pt x="504" y="508"/>
                    </a:lnTo>
                    <a:lnTo>
                      <a:pt x="505" y="508"/>
                    </a:lnTo>
                    <a:lnTo>
                      <a:pt x="505" y="510"/>
                    </a:lnTo>
                    <a:lnTo>
                      <a:pt x="504" y="510"/>
                    </a:lnTo>
                    <a:lnTo>
                      <a:pt x="505" y="510"/>
                    </a:lnTo>
                    <a:lnTo>
                      <a:pt x="505" y="511"/>
                    </a:lnTo>
                    <a:lnTo>
                      <a:pt x="506" y="511"/>
                    </a:lnTo>
                    <a:lnTo>
                      <a:pt x="506" y="512"/>
                    </a:lnTo>
                    <a:lnTo>
                      <a:pt x="507" y="512"/>
                    </a:lnTo>
                    <a:lnTo>
                      <a:pt x="509" y="512"/>
                    </a:lnTo>
                    <a:lnTo>
                      <a:pt x="509" y="513"/>
                    </a:lnTo>
                    <a:lnTo>
                      <a:pt x="507" y="513"/>
                    </a:lnTo>
                    <a:lnTo>
                      <a:pt x="506" y="513"/>
                    </a:lnTo>
                    <a:lnTo>
                      <a:pt x="505" y="512"/>
                    </a:lnTo>
                    <a:lnTo>
                      <a:pt x="504" y="512"/>
                    </a:lnTo>
                    <a:lnTo>
                      <a:pt x="504" y="511"/>
                    </a:lnTo>
                    <a:lnTo>
                      <a:pt x="503" y="511"/>
                    </a:lnTo>
                    <a:lnTo>
                      <a:pt x="504" y="512"/>
                    </a:lnTo>
                    <a:lnTo>
                      <a:pt x="504" y="513"/>
                    </a:lnTo>
                    <a:lnTo>
                      <a:pt x="505" y="513"/>
                    </a:lnTo>
                    <a:lnTo>
                      <a:pt x="505" y="514"/>
                    </a:lnTo>
                    <a:lnTo>
                      <a:pt x="506" y="514"/>
                    </a:lnTo>
                    <a:lnTo>
                      <a:pt x="506" y="515"/>
                    </a:lnTo>
                    <a:lnTo>
                      <a:pt x="507" y="516"/>
                    </a:lnTo>
                    <a:lnTo>
                      <a:pt x="507" y="517"/>
                    </a:lnTo>
                    <a:lnTo>
                      <a:pt x="509" y="518"/>
                    </a:lnTo>
                    <a:lnTo>
                      <a:pt x="507" y="518"/>
                    </a:lnTo>
                    <a:lnTo>
                      <a:pt x="509" y="518"/>
                    </a:lnTo>
                    <a:lnTo>
                      <a:pt x="509" y="519"/>
                    </a:lnTo>
                    <a:lnTo>
                      <a:pt x="510" y="519"/>
                    </a:lnTo>
                    <a:lnTo>
                      <a:pt x="510" y="520"/>
                    </a:lnTo>
                    <a:lnTo>
                      <a:pt x="510" y="519"/>
                    </a:lnTo>
                    <a:lnTo>
                      <a:pt x="510" y="520"/>
                    </a:lnTo>
                    <a:lnTo>
                      <a:pt x="510" y="521"/>
                    </a:lnTo>
                    <a:lnTo>
                      <a:pt x="511" y="521"/>
                    </a:lnTo>
                    <a:lnTo>
                      <a:pt x="511" y="523"/>
                    </a:lnTo>
                    <a:lnTo>
                      <a:pt x="511" y="524"/>
                    </a:lnTo>
                    <a:lnTo>
                      <a:pt x="512" y="524"/>
                    </a:lnTo>
                    <a:lnTo>
                      <a:pt x="513" y="524"/>
                    </a:lnTo>
                    <a:lnTo>
                      <a:pt x="513" y="525"/>
                    </a:lnTo>
                    <a:lnTo>
                      <a:pt x="512" y="525"/>
                    </a:lnTo>
                    <a:lnTo>
                      <a:pt x="513" y="525"/>
                    </a:lnTo>
                    <a:lnTo>
                      <a:pt x="513" y="526"/>
                    </a:lnTo>
                    <a:lnTo>
                      <a:pt x="513" y="527"/>
                    </a:lnTo>
                    <a:lnTo>
                      <a:pt x="514" y="527"/>
                    </a:lnTo>
                    <a:lnTo>
                      <a:pt x="515" y="528"/>
                    </a:lnTo>
                    <a:lnTo>
                      <a:pt x="516" y="528"/>
                    </a:lnTo>
                    <a:lnTo>
                      <a:pt x="516" y="529"/>
                    </a:lnTo>
                    <a:lnTo>
                      <a:pt x="517" y="529"/>
                    </a:lnTo>
                    <a:lnTo>
                      <a:pt x="518" y="529"/>
                    </a:lnTo>
                    <a:lnTo>
                      <a:pt x="519" y="529"/>
                    </a:lnTo>
                    <a:lnTo>
                      <a:pt x="519" y="530"/>
                    </a:lnTo>
                    <a:lnTo>
                      <a:pt x="520" y="529"/>
                    </a:lnTo>
                    <a:lnTo>
                      <a:pt x="520" y="530"/>
                    </a:lnTo>
                    <a:lnTo>
                      <a:pt x="522" y="530"/>
                    </a:lnTo>
                    <a:lnTo>
                      <a:pt x="522" y="529"/>
                    </a:lnTo>
                    <a:lnTo>
                      <a:pt x="522" y="530"/>
                    </a:lnTo>
                    <a:lnTo>
                      <a:pt x="520" y="530"/>
                    </a:lnTo>
                    <a:lnTo>
                      <a:pt x="520" y="531"/>
                    </a:lnTo>
                    <a:lnTo>
                      <a:pt x="522" y="531"/>
                    </a:lnTo>
                    <a:lnTo>
                      <a:pt x="522" y="530"/>
                    </a:lnTo>
                    <a:lnTo>
                      <a:pt x="523" y="530"/>
                    </a:lnTo>
                    <a:lnTo>
                      <a:pt x="523" y="531"/>
                    </a:lnTo>
                    <a:lnTo>
                      <a:pt x="524" y="531"/>
                    </a:lnTo>
                    <a:lnTo>
                      <a:pt x="524" y="530"/>
                    </a:lnTo>
                    <a:lnTo>
                      <a:pt x="525" y="530"/>
                    </a:lnTo>
                    <a:lnTo>
                      <a:pt x="525" y="529"/>
                    </a:lnTo>
                    <a:lnTo>
                      <a:pt x="525" y="530"/>
                    </a:lnTo>
                    <a:lnTo>
                      <a:pt x="525" y="531"/>
                    </a:lnTo>
                    <a:lnTo>
                      <a:pt x="526" y="531"/>
                    </a:lnTo>
                    <a:lnTo>
                      <a:pt x="524" y="531"/>
                    </a:lnTo>
                    <a:lnTo>
                      <a:pt x="523" y="532"/>
                    </a:lnTo>
                    <a:lnTo>
                      <a:pt x="522" y="531"/>
                    </a:lnTo>
                    <a:lnTo>
                      <a:pt x="520" y="531"/>
                    </a:lnTo>
                    <a:lnTo>
                      <a:pt x="519" y="532"/>
                    </a:lnTo>
                    <a:lnTo>
                      <a:pt x="518" y="531"/>
                    </a:lnTo>
                    <a:lnTo>
                      <a:pt x="517" y="531"/>
                    </a:lnTo>
                    <a:lnTo>
                      <a:pt x="517" y="530"/>
                    </a:lnTo>
                    <a:lnTo>
                      <a:pt x="516" y="530"/>
                    </a:lnTo>
                    <a:lnTo>
                      <a:pt x="515" y="530"/>
                    </a:lnTo>
                    <a:lnTo>
                      <a:pt x="514" y="530"/>
                    </a:lnTo>
                    <a:lnTo>
                      <a:pt x="515" y="529"/>
                    </a:lnTo>
                    <a:lnTo>
                      <a:pt x="514" y="529"/>
                    </a:lnTo>
                    <a:lnTo>
                      <a:pt x="514" y="528"/>
                    </a:lnTo>
                    <a:lnTo>
                      <a:pt x="513" y="528"/>
                    </a:lnTo>
                    <a:lnTo>
                      <a:pt x="513" y="527"/>
                    </a:lnTo>
                    <a:lnTo>
                      <a:pt x="512" y="527"/>
                    </a:lnTo>
                    <a:lnTo>
                      <a:pt x="511" y="527"/>
                    </a:lnTo>
                    <a:lnTo>
                      <a:pt x="510" y="526"/>
                    </a:lnTo>
                    <a:lnTo>
                      <a:pt x="510" y="525"/>
                    </a:lnTo>
                    <a:lnTo>
                      <a:pt x="509" y="525"/>
                    </a:lnTo>
                    <a:lnTo>
                      <a:pt x="509" y="526"/>
                    </a:lnTo>
                    <a:lnTo>
                      <a:pt x="509" y="525"/>
                    </a:lnTo>
                    <a:lnTo>
                      <a:pt x="507" y="525"/>
                    </a:lnTo>
                    <a:lnTo>
                      <a:pt x="506" y="524"/>
                    </a:lnTo>
                    <a:lnTo>
                      <a:pt x="507" y="524"/>
                    </a:lnTo>
                    <a:lnTo>
                      <a:pt x="507" y="525"/>
                    </a:lnTo>
                    <a:lnTo>
                      <a:pt x="507" y="524"/>
                    </a:lnTo>
                    <a:lnTo>
                      <a:pt x="506" y="523"/>
                    </a:lnTo>
                    <a:lnTo>
                      <a:pt x="505" y="523"/>
                    </a:lnTo>
                    <a:lnTo>
                      <a:pt x="505" y="521"/>
                    </a:lnTo>
                    <a:lnTo>
                      <a:pt x="504" y="521"/>
                    </a:lnTo>
                    <a:lnTo>
                      <a:pt x="504" y="520"/>
                    </a:lnTo>
                    <a:lnTo>
                      <a:pt x="504" y="519"/>
                    </a:lnTo>
                    <a:lnTo>
                      <a:pt x="503" y="518"/>
                    </a:lnTo>
                    <a:lnTo>
                      <a:pt x="502" y="517"/>
                    </a:lnTo>
                    <a:lnTo>
                      <a:pt x="502" y="516"/>
                    </a:lnTo>
                    <a:lnTo>
                      <a:pt x="502" y="515"/>
                    </a:lnTo>
                    <a:lnTo>
                      <a:pt x="502" y="514"/>
                    </a:lnTo>
                    <a:lnTo>
                      <a:pt x="501" y="514"/>
                    </a:lnTo>
                    <a:lnTo>
                      <a:pt x="501" y="513"/>
                    </a:lnTo>
                    <a:lnTo>
                      <a:pt x="501" y="512"/>
                    </a:lnTo>
                    <a:lnTo>
                      <a:pt x="501" y="511"/>
                    </a:lnTo>
                    <a:lnTo>
                      <a:pt x="500" y="511"/>
                    </a:lnTo>
                    <a:lnTo>
                      <a:pt x="500" y="510"/>
                    </a:lnTo>
                    <a:lnTo>
                      <a:pt x="500" y="508"/>
                    </a:lnTo>
                    <a:lnTo>
                      <a:pt x="500" y="507"/>
                    </a:lnTo>
                    <a:lnTo>
                      <a:pt x="499" y="507"/>
                    </a:lnTo>
                    <a:lnTo>
                      <a:pt x="499" y="506"/>
                    </a:lnTo>
                    <a:lnTo>
                      <a:pt x="498" y="505"/>
                    </a:lnTo>
                    <a:lnTo>
                      <a:pt x="498" y="504"/>
                    </a:lnTo>
                    <a:lnTo>
                      <a:pt x="498" y="503"/>
                    </a:lnTo>
                    <a:lnTo>
                      <a:pt x="497" y="502"/>
                    </a:lnTo>
                    <a:close/>
                    <a:moveTo>
                      <a:pt x="584" y="460"/>
                    </a:moveTo>
                    <a:lnTo>
                      <a:pt x="583" y="461"/>
                    </a:lnTo>
                    <a:lnTo>
                      <a:pt x="582" y="461"/>
                    </a:lnTo>
                    <a:lnTo>
                      <a:pt x="581" y="463"/>
                    </a:lnTo>
                    <a:lnTo>
                      <a:pt x="580" y="463"/>
                    </a:lnTo>
                    <a:lnTo>
                      <a:pt x="580" y="464"/>
                    </a:lnTo>
                    <a:lnTo>
                      <a:pt x="579" y="464"/>
                    </a:lnTo>
                    <a:lnTo>
                      <a:pt x="579" y="465"/>
                    </a:lnTo>
                    <a:lnTo>
                      <a:pt x="576" y="465"/>
                    </a:lnTo>
                    <a:lnTo>
                      <a:pt x="575" y="465"/>
                    </a:lnTo>
                    <a:lnTo>
                      <a:pt x="574" y="465"/>
                    </a:lnTo>
                    <a:lnTo>
                      <a:pt x="571" y="465"/>
                    </a:lnTo>
                    <a:lnTo>
                      <a:pt x="567" y="465"/>
                    </a:lnTo>
                    <a:lnTo>
                      <a:pt x="566" y="465"/>
                    </a:lnTo>
                    <a:lnTo>
                      <a:pt x="565" y="465"/>
                    </a:lnTo>
                    <a:lnTo>
                      <a:pt x="565" y="466"/>
                    </a:lnTo>
                    <a:lnTo>
                      <a:pt x="564" y="466"/>
                    </a:lnTo>
                    <a:lnTo>
                      <a:pt x="563" y="465"/>
                    </a:lnTo>
                    <a:lnTo>
                      <a:pt x="564" y="466"/>
                    </a:lnTo>
                    <a:lnTo>
                      <a:pt x="563" y="466"/>
                    </a:lnTo>
                    <a:lnTo>
                      <a:pt x="563" y="467"/>
                    </a:lnTo>
                    <a:lnTo>
                      <a:pt x="562" y="467"/>
                    </a:lnTo>
                    <a:lnTo>
                      <a:pt x="562" y="468"/>
                    </a:lnTo>
                    <a:lnTo>
                      <a:pt x="562" y="469"/>
                    </a:lnTo>
                    <a:lnTo>
                      <a:pt x="563" y="469"/>
                    </a:lnTo>
                    <a:lnTo>
                      <a:pt x="563" y="470"/>
                    </a:lnTo>
                    <a:lnTo>
                      <a:pt x="562" y="470"/>
                    </a:lnTo>
                    <a:lnTo>
                      <a:pt x="561" y="470"/>
                    </a:lnTo>
                    <a:lnTo>
                      <a:pt x="561" y="469"/>
                    </a:lnTo>
                    <a:lnTo>
                      <a:pt x="562" y="469"/>
                    </a:lnTo>
                    <a:lnTo>
                      <a:pt x="561" y="469"/>
                    </a:lnTo>
                    <a:lnTo>
                      <a:pt x="560" y="469"/>
                    </a:lnTo>
                    <a:lnTo>
                      <a:pt x="561" y="469"/>
                    </a:lnTo>
                    <a:lnTo>
                      <a:pt x="561" y="470"/>
                    </a:lnTo>
                    <a:lnTo>
                      <a:pt x="562" y="470"/>
                    </a:lnTo>
                    <a:lnTo>
                      <a:pt x="562" y="472"/>
                    </a:lnTo>
                    <a:lnTo>
                      <a:pt x="562" y="473"/>
                    </a:lnTo>
                    <a:lnTo>
                      <a:pt x="561" y="473"/>
                    </a:lnTo>
                    <a:lnTo>
                      <a:pt x="561" y="472"/>
                    </a:lnTo>
                    <a:lnTo>
                      <a:pt x="560" y="472"/>
                    </a:lnTo>
                    <a:lnTo>
                      <a:pt x="561" y="472"/>
                    </a:lnTo>
                    <a:lnTo>
                      <a:pt x="560" y="470"/>
                    </a:lnTo>
                    <a:lnTo>
                      <a:pt x="560" y="472"/>
                    </a:lnTo>
                    <a:lnTo>
                      <a:pt x="560" y="470"/>
                    </a:lnTo>
                    <a:lnTo>
                      <a:pt x="560" y="469"/>
                    </a:lnTo>
                    <a:lnTo>
                      <a:pt x="558" y="469"/>
                    </a:lnTo>
                    <a:lnTo>
                      <a:pt x="558" y="470"/>
                    </a:lnTo>
                    <a:lnTo>
                      <a:pt x="557" y="470"/>
                    </a:lnTo>
                    <a:lnTo>
                      <a:pt x="557" y="472"/>
                    </a:lnTo>
                    <a:lnTo>
                      <a:pt x="556" y="473"/>
                    </a:lnTo>
                    <a:lnTo>
                      <a:pt x="556" y="474"/>
                    </a:lnTo>
                    <a:lnTo>
                      <a:pt x="557" y="474"/>
                    </a:lnTo>
                    <a:lnTo>
                      <a:pt x="558" y="474"/>
                    </a:lnTo>
                    <a:lnTo>
                      <a:pt x="560" y="474"/>
                    </a:lnTo>
                    <a:lnTo>
                      <a:pt x="560" y="473"/>
                    </a:lnTo>
                    <a:lnTo>
                      <a:pt x="560" y="472"/>
                    </a:lnTo>
                    <a:lnTo>
                      <a:pt x="561" y="473"/>
                    </a:lnTo>
                    <a:lnTo>
                      <a:pt x="562" y="473"/>
                    </a:lnTo>
                    <a:lnTo>
                      <a:pt x="562" y="474"/>
                    </a:lnTo>
                    <a:lnTo>
                      <a:pt x="561" y="474"/>
                    </a:lnTo>
                    <a:lnTo>
                      <a:pt x="562" y="474"/>
                    </a:lnTo>
                    <a:lnTo>
                      <a:pt x="563" y="474"/>
                    </a:lnTo>
                    <a:lnTo>
                      <a:pt x="563" y="473"/>
                    </a:lnTo>
                    <a:lnTo>
                      <a:pt x="563" y="474"/>
                    </a:lnTo>
                    <a:lnTo>
                      <a:pt x="563" y="475"/>
                    </a:lnTo>
                    <a:lnTo>
                      <a:pt x="564" y="475"/>
                    </a:lnTo>
                    <a:lnTo>
                      <a:pt x="564" y="476"/>
                    </a:lnTo>
                    <a:lnTo>
                      <a:pt x="565" y="476"/>
                    </a:lnTo>
                    <a:lnTo>
                      <a:pt x="566" y="476"/>
                    </a:lnTo>
                    <a:lnTo>
                      <a:pt x="565" y="476"/>
                    </a:lnTo>
                    <a:lnTo>
                      <a:pt x="564" y="476"/>
                    </a:lnTo>
                    <a:lnTo>
                      <a:pt x="563" y="476"/>
                    </a:lnTo>
                    <a:lnTo>
                      <a:pt x="562" y="476"/>
                    </a:lnTo>
                    <a:lnTo>
                      <a:pt x="562" y="475"/>
                    </a:lnTo>
                    <a:lnTo>
                      <a:pt x="562" y="476"/>
                    </a:lnTo>
                    <a:lnTo>
                      <a:pt x="561" y="475"/>
                    </a:lnTo>
                    <a:lnTo>
                      <a:pt x="561" y="476"/>
                    </a:lnTo>
                    <a:lnTo>
                      <a:pt x="560" y="476"/>
                    </a:lnTo>
                    <a:lnTo>
                      <a:pt x="558" y="477"/>
                    </a:lnTo>
                    <a:lnTo>
                      <a:pt x="558" y="478"/>
                    </a:lnTo>
                    <a:lnTo>
                      <a:pt x="557" y="478"/>
                    </a:lnTo>
                    <a:lnTo>
                      <a:pt x="556" y="478"/>
                    </a:lnTo>
                    <a:lnTo>
                      <a:pt x="556" y="479"/>
                    </a:lnTo>
                    <a:lnTo>
                      <a:pt x="555" y="479"/>
                    </a:lnTo>
                    <a:lnTo>
                      <a:pt x="555" y="478"/>
                    </a:lnTo>
                    <a:lnTo>
                      <a:pt x="555" y="477"/>
                    </a:lnTo>
                    <a:lnTo>
                      <a:pt x="556" y="477"/>
                    </a:lnTo>
                    <a:lnTo>
                      <a:pt x="556" y="476"/>
                    </a:lnTo>
                    <a:lnTo>
                      <a:pt x="555" y="476"/>
                    </a:lnTo>
                    <a:lnTo>
                      <a:pt x="555" y="477"/>
                    </a:lnTo>
                    <a:lnTo>
                      <a:pt x="554" y="477"/>
                    </a:lnTo>
                    <a:lnTo>
                      <a:pt x="554" y="476"/>
                    </a:lnTo>
                    <a:lnTo>
                      <a:pt x="553" y="476"/>
                    </a:lnTo>
                    <a:lnTo>
                      <a:pt x="553" y="477"/>
                    </a:lnTo>
                    <a:lnTo>
                      <a:pt x="554" y="477"/>
                    </a:lnTo>
                    <a:lnTo>
                      <a:pt x="553" y="477"/>
                    </a:lnTo>
                    <a:lnTo>
                      <a:pt x="552" y="477"/>
                    </a:lnTo>
                    <a:lnTo>
                      <a:pt x="552" y="478"/>
                    </a:lnTo>
                    <a:lnTo>
                      <a:pt x="551" y="478"/>
                    </a:lnTo>
                    <a:lnTo>
                      <a:pt x="552" y="478"/>
                    </a:lnTo>
                    <a:lnTo>
                      <a:pt x="551" y="479"/>
                    </a:lnTo>
                    <a:lnTo>
                      <a:pt x="551" y="480"/>
                    </a:lnTo>
                    <a:lnTo>
                      <a:pt x="550" y="480"/>
                    </a:lnTo>
                    <a:lnTo>
                      <a:pt x="550" y="481"/>
                    </a:lnTo>
                    <a:lnTo>
                      <a:pt x="551" y="481"/>
                    </a:lnTo>
                    <a:lnTo>
                      <a:pt x="551" y="482"/>
                    </a:lnTo>
                    <a:lnTo>
                      <a:pt x="551" y="481"/>
                    </a:lnTo>
                    <a:lnTo>
                      <a:pt x="552" y="482"/>
                    </a:lnTo>
                    <a:lnTo>
                      <a:pt x="551" y="482"/>
                    </a:lnTo>
                    <a:lnTo>
                      <a:pt x="551" y="483"/>
                    </a:lnTo>
                    <a:lnTo>
                      <a:pt x="551" y="485"/>
                    </a:lnTo>
                    <a:lnTo>
                      <a:pt x="551" y="483"/>
                    </a:lnTo>
                    <a:lnTo>
                      <a:pt x="552" y="482"/>
                    </a:lnTo>
                    <a:lnTo>
                      <a:pt x="553" y="482"/>
                    </a:lnTo>
                    <a:lnTo>
                      <a:pt x="554" y="482"/>
                    </a:lnTo>
                    <a:lnTo>
                      <a:pt x="553" y="482"/>
                    </a:lnTo>
                    <a:lnTo>
                      <a:pt x="553" y="483"/>
                    </a:lnTo>
                    <a:lnTo>
                      <a:pt x="552" y="483"/>
                    </a:lnTo>
                    <a:lnTo>
                      <a:pt x="552" y="485"/>
                    </a:lnTo>
                    <a:lnTo>
                      <a:pt x="553" y="485"/>
                    </a:lnTo>
                    <a:lnTo>
                      <a:pt x="554" y="485"/>
                    </a:lnTo>
                    <a:lnTo>
                      <a:pt x="553" y="486"/>
                    </a:lnTo>
                    <a:lnTo>
                      <a:pt x="554" y="486"/>
                    </a:lnTo>
                    <a:lnTo>
                      <a:pt x="554" y="485"/>
                    </a:lnTo>
                    <a:lnTo>
                      <a:pt x="555" y="485"/>
                    </a:lnTo>
                    <a:lnTo>
                      <a:pt x="555" y="483"/>
                    </a:lnTo>
                    <a:lnTo>
                      <a:pt x="554" y="483"/>
                    </a:lnTo>
                    <a:lnTo>
                      <a:pt x="554" y="482"/>
                    </a:lnTo>
                    <a:lnTo>
                      <a:pt x="555" y="482"/>
                    </a:lnTo>
                    <a:lnTo>
                      <a:pt x="555" y="483"/>
                    </a:lnTo>
                    <a:lnTo>
                      <a:pt x="555" y="482"/>
                    </a:lnTo>
                    <a:lnTo>
                      <a:pt x="556" y="482"/>
                    </a:lnTo>
                    <a:lnTo>
                      <a:pt x="556" y="483"/>
                    </a:lnTo>
                    <a:lnTo>
                      <a:pt x="557" y="483"/>
                    </a:lnTo>
                    <a:lnTo>
                      <a:pt x="557" y="482"/>
                    </a:lnTo>
                    <a:lnTo>
                      <a:pt x="558" y="482"/>
                    </a:lnTo>
                    <a:lnTo>
                      <a:pt x="558" y="481"/>
                    </a:lnTo>
                    <a:lnTo>
                      <a:pt x="560" y="481"/>
                    </a:lnTo>
                    <a:lnTo>
                      <a:pt x="561" y="481"/>
                    </a:lnTo>
                    <a:lnTo>
                      <a:pt x="560" y="481"/>
                    </a:lnTo>
                    <a:lnTo>
                      <a:pt x="558" y="481"/>
                    </a:lnTo>
                    <a:lnTo>
                      <a:pt x="558" y="480"/>
                    </a:lnTo>
                    <a:lnTo>
                      <a:pt x="558" y="479"/>
                    </a:lnTo>
                    <a:lnTo>
                      <a:pt x="558" y="478"/>
                    </a:lnTo>
                    <a:lnTo>
                      <a:pt x="560" y="477"/>
                    </a:lnTo>
                    <a:lnTo>
                      <a:pt x="561" y="477"/>
                    </a:lnTo>
                    <a:lnTo>
                      <a:pt x="561" y="478"/>
                    </a:lnTo>
                    <a:lnTo>
                      <a:pt x="561" y="477"/>
                    </a:lnTo>
                    <a:lnTo>
                      <a:pt x="562" y="478"/>
                    </a:lnTo>
                    <a:lnTo>
                      <a:pt x="562" y="479"/>
                    </a:lnTo>
                    <a:lnTo>
                      <a:pt x="561" y="479"/>
                    </a:lnTo>
                    <a:lnTo>
                      <a:pt x="562" y="479"/>
                    </a:lnTo>
                    <a:lnTo>
                      <a:pt x="563" y="480"/>
                    </a:lnTo>
                    <a:lnTo>
                      <a:pt x="563" y="479"/>
                    </a:lnTo>
                    <a:lnTo>
                      <a:pt x="563" y="478"/>
                    </a:lnTo>
                    <a:lnTo>
                      <a:pt x="562" y="478"/>
                    </a:lnTo>
                    <a:lnTo>
                      <a:pt x="563" y="478"/>
                    </a:lnTo>
                    <a:lnTo>
                      <a:pt x="564" y="478"/>
                    </a:lnTo>
                    <a:lnTo>
                      <a:pt x="565" y="478"/>
                    </a:lnTo>
                    <a:lnTo>
                      <a:pt x="566" y="478"/>
                    </a:lnTo>
                    <a:lnTo>
                      <a:pt x="567" y="476"/>
                    </a:lnTo>
                    <a:lnTo>
                      <a:pt x="568" y="476"/>
                    </a:lnTo>
                    <a:lnTo>
                      <a:pt x="567" y="477"/>
                    </a:lnTo>
                    <a:lnTo>
                      <a:pt x="566" y="478"/>
                    </a:lnTo>
                    <a:lnTo>
                      <a:pt x="565" y="478"/>
                    </a:lnTo>
                    <a:lnTo>
                      <a:pt x="565" y="479"/>
                    </a:lnTo>
                    <a:lnTo>
                      <a:pt x="564" y="480"/>
                    </a:lnTo>
                    <a:lnTo>
                      <a:pt x="564" y="481"/>
                    </a:lnTo>
                    <a:lnTo>
                      <a:pt x="563" y="481"/>
                    </a:lnTo>
                    <a:lnTo>
                      <a:pt x="562" y="482"/>
                    </a:lnTo>
                    <a:lnTo>
                      <a:pt x="561" y="482"/>
                    </a:lnTo>
                    <a:lnTo>
                      <a:pt x="560" y="482"/>
                    </a:lnTo>
                    <a:lnTo>
                      <a:pt x="560" y="483"/>
                    </a:lnTo>
                    <a:lnTo>
                      <a:pt x="558" y="483"/>
                    </a:lnTo>
                    <a:lnTo>
                      <a:pt x="558" y="485"/>
                    </a:lnTo>
                    <a:lnTo>
                      <a:pt x="557" y="485"/>
                    </a:lnTo>
                    <a:lnTo>
                      <a:pt x="556" y="485"/>
                    </a:lnTo>
                    <a:lnTo>
                      <a:pt x="555" y="485"/>
                    </a:lnTo>
                    <a:lnTo>
                      <a:pt x="554" y="486"/>
                    </a:lnTo>
                    <a:lnTo>
                      <a:pt x="553" y="487"/>
                    </a:lnTo>
                    <a:lnTo>
                      <a:pt x="551" y="487"/>
                    </a:lnTo>
                    <a:lnTo>
                      <a:pt x="551" y="486"/>
                    </a:lnTo>
                    <a:lnTo>
                      <a:pt x="551" y="485"/>
                    </a:lnTo>
                    <a:lnTo>
                      <a:pt x="552" y="485"/>
                    </a:lnTo>
                    <a:lnTo>
                      <a:pt x="552" y="483"/>
                    </a:lnTo>
                    <a:lnTo>
                      <a:pt x="552" y="482"/>
                    </a:lnTo>
                    <a:lnTo>
                      <a:pt x="552" y="483"/>
                    </a:lnTo>
                    <a:lnTo>
                      <a:pt x="552" y="485"/>
                    </a:lnTo>
                    <a:lnTo>
                      <a:pt x="551" y="485"/>
                    </a:lnTo>
                    <a:lnTo>
                      <a:pt x="551" y="486"/>
                    </a:lnTo>
                    <a:lnTo>
                      <a:pt x="551" y="487"/>
                    </a:lnTo>
                    <a:lnTo>
                      <a:pt x="550" y="487"/>
                    </a:lnTo>
                    <a:lnTo>
                      <a:pt x="550" y="486"/>
                    </a:lnTo>
                    <a:lnTo>
                      <a:pt x="549" y="486"/>
                    </a:lnTo>
                    <a:lnTo>
                      <a:pt x="546" y="486"/>
                    </a:lnTo>
                    <a:lnTo>
                      <a:pt x="545" y="485"/>
                    </a:lnTo>
                    <a:lnTo>
                      <a:pt x="544" y="485"/>
                    </a:lnTo>
                    <a:lnTo>
                      <a:pt x="544" y="483"/>
                    </a:lnTo>
                    <a:lnTo>
                      <a:pt x="543" y="483"/>
                    </a:lnTo>
                    <a:lnTo>
                      <a:pt x="544" y="483"/>
                    </a:lnTo>
                    <a:lnTo>
                      <a:pt x="544" y="482"/>
                    </a:lnTo>
                    <a:lnTo>
                      <a:pt x="544" y="481"/>
                    </a:lnTo>
                    <a:lnTo>
                      <a:pt x="545" y="481"/>
                    </a:lnTo>
                    <a:lnTo>
                      <a:pt x="545" y="480"/>
                    </a:lnTo>
                    <a:lnTo>
                      <a:pt x="548" y="479"/>
                    </a:lnTo>
                    <a:lnTo>
                      <a:pt x="549" y="479"/>
                    </a:lnTo>
                    <a:lnTo>
                      <a:pt x="548" y="479"/>
                    </a:lnTo>
                    <a:lnTo>
                      <a:pt x="548" y="480"/>
                    </a:lnTo>
                    <a:lnTo>
                      <a:pt x="549" y="480"/>
                    </a:lnTo>
                    <a:lnTo>
                      <a:pt x="549" y="479"/>
                    </a:lnTo>
                    <a:lnTo>
                      <a:pt x="550" y="478"/>
                    </a:lnTo>
                    <a:lnTo>
                      <a:pt x="550" y="479"/>
                    </a:lnTo>
                    <a:lnTo>
                      <a:pt x="550" y="478"/>
                    </a:lnTo>
                    <a:lnTo>
                      <a:pt x="553" y="476"/>
                    </a:lnTo>
                    <a:lnTo>
                      <a:pt x="553" y="475"/>
                    </a:lnTo>
                    <a:lnTo>
                      <a:pt x="553" y="474"/>
                    </a:lnTo>
                    <a:lnTo>
                      <a:pt x="554" y="473"/>
                    </a:lnTo>
                    <a:lnTo>
                      <a:pt x="554" y="472"/>
                    </a:lnTo>
                    <a:lnTo>
                      <a:pt x="555" y="470"/>
                    </a:lnTo>
                    <a:lnTo>
                      <a:pt x="556" y="470"/>
                    </a:lnTo>
                    <a:lnTo>
                      <a:pt x="557" y="469"/>
                    </a:lnTo>
                    <a:lnTo>
                      <a:pt x="558" y="468"/>
                    </a:lnTo>
                    <a:lnTo>
                      <a:pt x="558" y="467"/>
                    </a:lnTo>
                    <a:lnTo>
                      <a:pt x="560" y="467"/>
                    </a:lnTo>
                    <a:lnTo>
                      <a:pt x="561" y="467"/>
                    </a:lnTo>
                    <a:lnTo>
                      <a:pt x="562" y="466"/>
                    </a:lnTo>
                    <a:lnTo>
                      <a:pt x="563" y="465"/>
                    </a:lnTo>
                    <a:lnTo>
                      <a:pt x="565" y="465"/>
                    </a:lnTo>
                    <a:lnTo>
                      <a:pt x="566" y="464"/>
                    </a:lnTo>
                    <a:lnTo>
                      <a:pt x="569" y="464"/>
                    </a:lnTo>
                    <a:lnTo>
                      <a:pt x="570" y="464"/>
                    </a:lnTo>
                    <a:lnTo>
                      <a:pt x="571" y="464"/>
                    </a:lnTo>
                    <a:lnTo>
                      <a:pt x="573" y="464"/>
                    </a:lnTo>
                    <a:lnTo>
                      <a:pt x="574" y="464"/>
                    </a:lnTo>
                    <a:lnTo>
                      <a:pt x="575" y="464"/>
                    </a:lnTo>
                    <a:lnTo>
                      <a:pt x="576" y="464"/>
                    </a:lnTo>
                    <a:lnTo>
                      <a:pt x="577" y="464"/>
                    </a:lnTo>
                    <a:lnTo>
                      <a:pt x="578" y="464"/>
                    </a:lnTo>
                    <a:lnTo>
                      <a:pt x="579" y="464"/>
                    </a:lnTo>
                    <a:lnTo>
                      <a:pt x="579" y="465"/>
                    </a:lnTo>
                    <a:lnTo>
                      <a:pt x="579" y="464"/>
                    </a:lnTo>
                    <a:lnTo>
                      <a:pt x="578" y="464"/>
                    </a:lnTo>
                    <a:lnTo>
                      <a:pt x="579" y="463"/>
                    </a:lnTo>
                    <a:lnTo>
                      <a:pt x="580" y="463"/>
                    </a:lnTo>
                    <a:lnTo>
                      <a:pt x="580" y="462"/>
                    </a:lnTo>
                    <a:lnTo>
                      <a:pt x="581" y="462"/>
                    </a:lnTo>
                    <a:lnTo>
                      <a:pt x="582" y="461"/>
                    </a:lnTo>
                    <a:lnTo>
                      <a:pt x="583" y="461"/>
                    </a:lnTo>
                    <a:lnTo>
                      <a:pt x="583" y="460"/>
                    </a:lnTo>
                    <a:lnTo>
                      <a:pt x="584" y="460"/>
                    </a:lnTo>
                    <a:close/>
                    <a:moveTo>
                      <a:pt x="565" y="433"/>
                    </a:moveTo>
                    <a:lnTo>
                      <a:pt x="564" y="434"/>
                    </a:lnTo>
                    <a:lnTo>
                      <a:pt x="564" y="435"/>
                    </a:lnTo>
                    <a:lnTo>
                      <a:pt x="563" y="435"/>
                    </a:lnTo>
                    <a:lnTo>
                      <a:pt x="564" y="435"/>
                    </a:lnTo>
                    <a:lnTo>
                      <a:pt x="563" y="435"/>
                    </a:lnTo>
                    <a:lnTo>
                      <a:pt x="563" y="434"/>
                    </a:lnTo>
                    <a:lnTo>
                      <a:pt x="564" y="434"/>
                    </a:lnTo>
                    <a:lnTo>
                      <a:pt x="563" y="434"/>
                    </a:lnTo>
                    <a:lnTo>
                      <a:pt x="563" y="435"/>
                    </a:lnTo>
                    <a:lnTo>
                      <a:pt x="563" y="436"/>
                    </a:lnTo>
                    <a:lnTo>
                      <a:pt x="563" y="437"/>
                    </a:lnTo>
                    <a:lnTo>
                      <a:pt x="562" y="437"/>
                    </a:lnTo>
                    <a:lnTo>
                      <a:pt x="563" y="437"/>
                    </a:lnTo>
                    <a:lnTo>
                      <a:pt x="563" y="436"/>
                    </a:lnTo>
                    <a:lnTo>
                      <a:pt x="564" y="436"/>
                    </a:lnTo>
                    <a:lnTo>
                      <a:pt x="564" y="435"/>
                    </a:lnTo>
                    <a:lnTo>
                      <a:pt x="564" y="434"/>
                    </a:lnTo>
                    <a:lnTo>
                      <a:pt x="565" y="435"/>
                    </a:lnTo>
                    <a:lnTo>
                      <a:pt x="566" y="435"/>
                    </a:lnTo>
                    <a:lnTo>
                      <a:pt x="565" y="436"/>
                    </a:lnTo>
                    <a:lnTo>
                      <a:pt x="566" y="436"/>
                    </a:lnTo>
                    <a:lnTo>
                      <a:pt x="566" y="437"/>
                    </a:lnTo>
                    <a:lnTo>
                      <a:pt x="565" y="438"/>
                    </a:lnTo>
                    <a:lnTo>
                      <a:pt x="564" y="439"/>
                    </a:lnTo>
                    <a:lnTo>
                      <a:pt x="564" y="440"/>
                    </a:lnTo>
                    <a:lnTo>
                      <a:pt x="564" y="441"/>
                    </a:lnTo>
                    <a:lnTo>
                      <a:pt x="564" y="440"/>
                    </a:lnTo>
                    <a:lnTo>
                      <a:pt x="565" y="440"/>
                    </a:lnTo>
                    <a:lnTo>
                      <a:pt x="565" y="441"/>
                    </a:lnTo>
                    <a:lnTo>
                      <a:pt x="565" y="440"/>
                    </a:lnTo>
                    <a:lnTo>
                      <a:pt x="564" y="440"/>
                    </a:lnTo>
                    <a:lnTo>
                      <a:pt x="564" y="439"/>
                    </a:lnTo>
                    <a:lnTo>
                      <a:pt x="565" y="439"/>
                    </a:lnTo>
                    <a:lnTo>
                      <a:pt x="564" y="439"/>
                    </a:lnTo>
                    <a:lnTo>
                      <a:pt x="565" y="438"/>
                    </a:lnTo>
                    <a:lnTo>
                      <a:pt x="566" y="437"/>
                    </a:lnTo>
                    <a:lnTo>
                      <a:pt x="566" y="436"/>
                    </a:lnTo>
                    <a:lnTo>
                      <a:pt x="567" y="436"/>
                    </a:lnTo>
                    <a:lnTo>
                      <a:pt x="567" y="437"/>
                    </a:lnTo>
                    <a:lnTo>
                      <a:pt x="567" y="438"/>
                    </a:lnTo>
                    <a:lnTo>
                      <a:pt x="566" y="438"/>
                    </a:lnTo>
                    <a:lnTo>
                      <a:pt x="566" y="439"/>
                    </a:lnTo>
                    <a:lnTo>
                      <a:pt x="567" y="439"/>
                    </a:lnTo>
                    <a:lnTo>
                      <a:pt x="567" y="438"/>
                    </a:lnTo>
                    <a:lnTo>
                      <a:pt x="568" y="438"/>
                    </a:lnTo>
                    <a:lnTo>
                      <a:pt x="568" y="437"/>
                    </a:lnTo>
                    <a:lnTo>
                      <a:pt x="567" y="437"/>
                    </a:lnTo>
                    <a:lnTo>
                      <a:pt x="567" y="436"/>
                    </a:lnTo>
                    <a:lnTo>
                      <a:pt x="566" y="436"/>
                    </a:lnTo>
                    <a:lnTo>
                      <a:pt x="566" y="435"/>
                    </a:lnTo>
                    <a:lnTo>
                      <a:pt x="567" y="435"/>
                    </a:lnTo>
                    <a:lnTo>
                      <a:pt x="567" y="436"/>
                    </a:lnTo>
                    <a:lnTo>
                      <a:pt x="568" y="436"/>
                    </a:lnTo>
                    <a:lnTo>
                      <a:pt x="569" y="436"/>
                    </a:lnTo>
                    <a:lnTo>
                      <a:pt x="569" y="437"/>
                    </a:lnTo>
                    <a:lnTo>
                      <a:pt x="570" y="437"/>
                    </a:lnTo>
                    <a:lnTo>
                      <a:pt x="570" y="438"/>
                    </a:lnTo>
                    <a:lnTo>
                      <a:pt x="569" y="439"/>
                    </a:lnTo>
                    <a:lnTo>
                      <a:pt x="569" y="440"/>
                    </a:lnTo>
                    <a:lnTo>
                      <a:pt x="568" y="440"/>
                    </a:lnTo>
                    <a:lnTo>
                      <a:pt x="568" y="441"/>
                    </a:lnTo>
                    <a:lnTo>
                      <a:pt x="567" y="442"/>
                    </a:lnTo>
                    <a:lnTo>
                      <a:pt x="567" y="443"/>
                    </a:lnTo>
                    <a:lnTo>
                      <a:pt x="566" y="443"/>
                    </a:lnTo>
                    <a:lnTo>
                      <a:pt x="566" y="444"/>
                    </a:lnTo>
                    <a:lnTo>
                      <a:pt x="565" y="444"/>
                    </a:lnTo>
                    <a:lnTo>
                      <a:pt x="565" y="446"/>
                    </a:lnTo>
                    <a:lnTo>
                      <a:pt x="564" y="446"/>
                    </a:lnTo>
                    <a:lnTo>
                      <a:pt x="564" y="447"/>
                    </a:lnTo>
                    <a:lnTo>
                      <a:pt x="564" y="446"/>
                    </a:lnTo>
                    <a:lnTo>
                      <a:pt x="564" y="447"/>
                    </a:lnTo>
                    <a:lnTo>
                      <a:pt x="563" y="447"/>
                    </a:lnTo>
                    <a:lnTo>
                      <a:pt x="562" y="448"/>
                    </a:lnTo>
                    <a:lnTo>
                      <a:pt x="561" y="448"/>
                    </a:lnTo>
                    <a:lnTo>
                      <a:pt x="560" y="448"/>
                    </a:lnTo>
                    <a:lnTo>
                      <a:pt x="558" y="449"/>
                    </a:lnTo>
                    <a:lnTo>
                      <a:pt x="557" y="449"/>
                    </a:lnTo>
                    <a:lnTo>
                      <a:pt x="557" y="450"/>
                    </a:lnTo>
                    <a:lnTo>
                      <a:pt x="556" y="450"/>
                    </a:lnTo>
                    <a:lnTo>
                      <a:pt x="556" y="451"/>
                    </a:lnTo>
                    <a:lnTo>
                      <a:pt x="555" y="452"/>
                    </a:lnTo>
                    <a:lnTo>
                      <a:pt x="555" y="453"/>
                    </a:lnTo>
                    <a:lnTo>
                      <a:pt x="554" y="454"/>
                    </a:lnTo>
                    <a:lnTo>
                      <a:pt x="553" y="454"/>
                    </a:lnTo>
                    <a:lnTo>
                      <a:pt x="553" y="453"/>
                    </a:lnTo>
                    <a:lnTo>
                      <a:pt x="553" y="452"/>
                    </a:lnTo>
                    <a:lnTo>
                      <a:pt x="553" y="451"/>
                    </a:lnTo>
                    <a:lnTo>
                      <a:pt x="553" y="450"/>
                    </a:lnTo>
                    <a:lnTo>
                      <a:pt x="553" y="449"/>
                    </a:lnTo>
                    <a:lnTo>
                      <a:pt x="552" y="449"/>
                    </a:lnTo>
                    <a:lnTo>
                      <a:pt x="552" y="448"/>
                    </a:lnTo>
                    <a:lnTo>
                      <a:pt x="552" y="447"/>
                    </a:lnTo>
                    <a:lnTo>
                      <a:pt x="553" y="447"/>
                    </a:lnTo>
                    <a:lnTo>
                      <a:pt x="552" y="447"/>
                    </a:lnTo>
                    <a:lnTo>
                      <a:pt x="553" y="447"/>
                    </a:lnTo>
                    <a:lnTo>
                      <a:pt x="553" y="448"/>
                    </a:lnTo>
                    <a:lnTo>
                      <a:pt x="553" y="447"/>
                    </a:lnTo>
                    <a:lnTo>
                      <a:pt x="553" y="448"/>
                    </a:lnTo>
                    <a:lnTo>
                      <a:pt x="553" y="449"/>
                    </a:lnTo>
                    <a:lnTo>
                      <a:pt x="553" y="448"/>
                    </a:lnTo>
                    <a:lnTo>
                      <a:pt x="554" y="448"/>
                    </a:lnTo>
                    <a:lnTo>
                      <a:pt x="553" y="448"/>
                    </a:lnTo>
                    <a:lnTo>
                      <a:pt x="553" y="447"/>
                    </a:lnTo>
                    <a:lnTo>
                      <a:pt x="553" y="448"/>
                    </a:lnTo>
                    <a:lnTo>
                      <a:pt x="554" y="447"/>
                    </a:lnTo>
                    <a:lnTo>
                      <a:pt x="553" y="447"/>
                    </a:lnTo>
                    <a:lnTo>
                      <a:pt x="554" y="447"/>
                    </a:lnTo>
                    <a:lnTo>
                      <a:pt x="554" y="446"/>
                    </a:lnTo>
                    <a:lnTo>
                      <a:pt x="553" y="446"/>
                    </a:lnTo>
                    <a:lnTo>
                      <a:pt x="554" y="446"/>
                    </a:lnTo>
                    <a:lnTo>
                      <a:pt x="554" y="444"/>
                    </a:lnTo>
                    <a:lnTo>
                      <a:pt x="555" y="444"/>
                    </a:lnTo>
                    <a:lnTo>
                      <a:pt x="555" y="443"/>
                    </a:lnTo>
                    <a:lnTo>
                      <a:pt x="555" y="442"/>
                    </a:lnTo>
                    <a:lnTo>
                      <a:pt x="556" y="442"/>
                    </a:lnTo>
                    <a:lnTo>
                      <a:pt x="556" y="443"/>
                    </a:lnTo>
                    <a:lnTo>
                      <a:pt x="556" y="442"/>
                    </a:lnTo>
                    <a:lnTo>
                      <a:pt x="557" y="442"/>
                    </a:lnTo>
                    <a:lnTo>
                      <a:pt x="557" y="441"/>
                    </a:lnTo>
                    <a:lnTo>
                      <a:pt x="557" y="440"/>
                    </a:lnTo>
                    <a:lnTo>
                      <a:pt x="557" y="439"/>
                    </a:lnTo>
                    <a:lnTo>
                      <a:pt x="557" y="438"/>
                    </a:lnTo>
                    <a:lnTo>
                      <a:pt x="557" y="437"/>
                    </a:lnTo>
                    <a:lnTo>
                      <a:pt x="558" y="436"/>
                    </a:lnTo>
                    <a:lnTo>
                      <a:pt x="560" y="436"/>
                    </a:lnTo>
                    <a:lnTo>
                      <a:pt x="560" y="437"/>
                    </a:lnTo>
                    <a:lnTo>
                      <a:pt x="560" y="436"/>
                    </a:lnTo>
                    <a:lnTo>
                      <a:pt x="560" y="435"/>
                    </a:lnTo>
                    <a:lnTo>
                      <a:pt x="561" y="435"/>
                    </a:lnTo>
                    <a:lnTo>
                      <a:pt x="560" y="436"/>
                    </a:lnTo>
                    <a:lnTo>
                      <a:pt x="561" y="436"/>
                    </a:lnTo>
                    <a:lnTo>
                      <a:pt x="561" y="435"/>
                    </a:lnTo>
                    <a:lnTo>
                      <a:pt x="561" y="436"/>
                    </a:lnTo>
                    <a:lnTo>
                      <a:pt x="561" y="437"/>
                    </a:lnTo>
                    <a:lnTo>
                      <a:pt x="561" y="436"/>
                    </a:lnTo>
                    <a:lnTo>
                      <a:pt x="562" y="436"/>
                    </a:lnTo>
                    <a:lnTo>
                      <a:pt x="562" y="435"/>
                    </a:lnTo>
                    <a:lnTo>
                      <a:pt x="563" y="435"/>
                    </a:lnTo>
                    <a:lnTo>
                      <a:pt x="563" y="434"/>
                    </a:lnTo>
                    <a:lnTo>
                      <a:pt x="563" y="433"/>
                    </a:lnTo>
                    <a:lnTo>
                      <a:pt x="564" y="433"/>
                    </a:lnTo>
                    <a:lnTo>
                      <a:pt x="564" y="434"/>
                    </a:lnTo>
                    <a:lnTo>
                      <a:pt x="564" y="433"/>
                    </a:lnTo>
                    <a:lnTo>
                      <a:pt x="564" y="431"/>
                    </a:lnTo>
                    <a:lnTo>
                      <a:pt x="564" y="433"/>
                    </a:lnTo>
                    <a:lnTo>
                      <a:pt x="565" y="433"/>
                    </a:lnTo>
                    <a:close/>
                    <a:moveTo>
                      <a:pt x="595" y="504"/>
                    </a:moveTo>
                    <a:lnTo>
                      <a:pt x="596" y="504"/>
                    </a:lnTo>
                    <a:lnTo>
                      <a:pt x="597" y="504"/>
                    </a:lnTo>
                    <a:lnTo>
                      <a:pt x="597" y="505"/>
                    </a:lnTo>
                    <a:lnTo>
                      <a:pt x="599" y="505"/>
                    </a:lnTo>
                    <a:lnTo>
                      <a:pt x="599" y="506"/>
                    </a:lnTo>
                    <a:lnTo>
                      <a:pt x="600" y="506"/>
                    </a:lnTo>
                    <a:lnTo>
                      <a:pt x="600" y="505"/>
                    </a:lnTo>
                    <a:lnTo>
                      <a:pt x="602" y="505"/>
                    </a:lnTo>
                    <a:lnTo>
                      <a:pt x="603" y="505"/>
                    </a:lnTo>
                    <a:lnTo>
                      <a:pt x="604" y="504"/>
                    </a:lnTo>
                    <a:lnTo>
                      <a:pt x="603" y="503"/>
                    </a:lnTo>
                    <a:lnTo>
                      <a:pt x="604" y="503"/>
                    </a:lnTo>
                    <a:lnTo>
                      <a:pt x="604" y="502"/>
                    </a:lnTo>
                    <a:lnTo>
                      <a:pt x="605" y="501"/>
                    </a:lnTo>
                    <a:lnTo>
                      <a:pt x="605" y="502"/>
                    </a:lnTo>
                    <a:lnTo>
                      <a:pt x="605" y="503"/>
                    </a:lnTo>
                    <a:lnTo>
                      <a:pt x="606" y="503"/>
                    </a:lnTo>
                    <a:lnTo>
                      <a:pt x="606" y="502"/>
                    </a:lnTo>
                    <a:lnTo>
                      <a:pt x="607" y="502"/>
                    </a:lnTo>
                    <a:lnTo>
                      <a:pt x="608" y="502"/>
                    </a:lnTo>
                    <a:lnTo>
                      <a:pt x="608" y="503"/>
                    </a:lnTo>
                    <a:lnTo>
                      <a:pt x="609" y="502"/>
                    </a:lnTo>
                    <a:lnTo>
                      <a:pt x="610" y="502"/>
                    </a:lnTo>
                    <a:lnTo>
                      <a:pt x="612" y="502"/>
                    </a:lnTo>
                    <a:lnTo>
                      <a:pt x="613" y="502"/>
                    </a:lnTo>
                    <a:lnTo>
                      <a:pt x="614" y="502"/>
                    </a:lnTo>
                    <a:lnTo>
                      <a:pt x="613" y="502"/>
                    </a:lnTo>
                    <a:lnTo>
                      <a:pt x="609" y="503"/>
                    </a:lnTo>
                    <a:lnTo>
                      <a:pt x="604" y="505"/>
                    </a:lnTo>
                    <a:lnTo>
                      <a:pt x="603" y="505"/>
                    </a:lnTo>
                    <a:lnTo>
                      <a:pt x="600" y="506"/>
                    </a:lnTo>
                    <a:lnTo>
                      <a:pt x="596" y="507"/>
                    </a:lnTo>
                    <a:lnTo>
                      <a:pt x="595" y="508"/>
                    </a:lnTo>
                    <a:lnTo>
                      <a:pt x="593" y="510"/>
                    </a:lnTo>
                    <a:lnTo>
                      <a:pt x="591" y="510"/>
                    </a:lnTo>
                    <a:lnTo>
                      <a:pt x="589" y="510"/>
                    </a:lnTo>
                    <a:lnTo>
                      <a:pt x="588" y="511"/>
                    </a:lnTo>
                    <a:lnTo>
                      <a:pt x="587" y="511"/>
                    </a:lnTo>
                    <a:lnTo>
                      <a:pt x="586" y="511"/>
                    </a:lnTo>
                    <a:lnTo>
                      <a:pt x="581" y="513"/>
                    </a:lnTo>
                    <a:lnTo>
                      <a:pt x="580" y="513"/>
                    </a:lnTo>
                    <a:lnTo>
                      <a:pt x="580" y="514"/>
                    </a:lnTo>
                    <a:lnTo>
                      <a:pt x="579" y="514"/>
                    </a:lnTo>
                    <a:lnTo>
                      <a:pt x="579" y="513"/>
                    </a:lnTo>
                    <a:lnTo>
                      <a:pt x="578" y="513"/>
                    </a:lnTo>
                    <a:lnTo>
                      <a:pt x="579" y="513"/>
                    </a:lnTo>
                    <a:lnTo>
                      <a:pt x="579" y="512"/>
                    </a:lnTo>
                    <a:lnTo>
                      <a:pt x="580" y="512"/>
                    </a:lnTo>
                    <a:lnTo>
                      <a:pt x="579" y="511"/>
                    </a:lnTo>
                    <a:lnTo>
                      <a:pt x="579" y="510"/>
                    </a:lnTo>
                    <a:lnTo>
                      <a:pt x="580" y="510"/>
                    </a:lnTo>
                    <a:lnTo>
                      <a:pt x="580" y="508"/>
                    </a:lnTo>
                    <a:lnTo>
                      <a:pt x="580" y="510"/>
                    </a:lnTo>
                    <a:lnTo>
                      <a:pt x="581" y="510"/>
                    </a:lnTo>
                    <a:lnTo>
                      <a:pt x="581" y="508"/>
                    </a:lnTo>
                    <a:lnTo>
                      <a:pt x="582" y="508"/>
                    </a:lnTo>
                    <a:lnTo>
                      <a:pt x="582" y="507"/>
                    </a:lnTo>
                    <a:lnTo>
                      <a:pt x="583" y="507"/>
                    </a:lnTo>
                    <a:lnTo>
                      <a:pt x="583" y="506"/>
                    </a:lnTo>
                    <a:lnTo>
                      <a:pt x="584" y="506"/>
                    </a:lnTo>
                    <a:lnTo>
                      <a:pt x="586" y="506"/>
                    </a:lnTo>
                    <a:lnTo>
                      <a:pt x="586" y="507"/>
                    </a:lnTo>
                    <a:lnTo>
                      <a:pt x="584" y="506"/>
                    </a:lnTo>
                    <a:lnTo>
                      <a:pt x="584" y="507"/>
                    </a:lnTo>
                    <a:lnTo>
                      <a:pt x="584" y="508"/>
                    </a:lnTo>
                    <a:lnTo>
                      <a:pt x="586" y="508"/>
                    </a:lnTo>
                    <a:lnTo>
                      <a:pt x="586" y="507"/>
                    </a:lnTo>
                    <a:lnTo>
                      <a:pt x="586" y="506"/>
                    </a:lnTo>
                    <a:lnTo>
                      <a:pt x="587" y="506"/>
                    </a:lnTo>
                    <a:lnTo>
                      <a:pt x="587" y="505"/>
                    </a:lnTo>
                    <a:lnTo>
                      <a:pt x="587" y="504"/>
                    </a:lnTo>
                    <a:lnTo>
                      <a:pt x="587" y="503"/>
                    </a:lnTo>
                    <a:lnTo>
                      <a:pt x="588" y="502"/>
                    </a:lnTo>
                    <a:lnTo>
                      <a:pt x="589" y="501"/>
                    </a:lnTo>
                    <a:lnTo>
                      <a:pt x="589" y="500"/>
                    </a:lnTo>
                    <a:lnTo>
                      <a:pt x="589" y="498"/>
                    </a:lnTo>
                    <a:lnTo>
                      <a:pt x="590" y="498"/>
                    </a:lnTo>
                    <a:lnTo>
                      <a:pt x="592" y="498"/>
                    </a:lnTo>
                    <a:lnTo>
                      <a:pt x="592" y="499"/>
                    </a:lnTo>
                    <a:lnTo>
                      <a:pt x="592" y="500"/>
                    </a:lnTo>
                    <a:lnTo>
                      <a:pt x="592" y="501"/>
                    </a:lnTo>
                    <a:lnTo>
                      <a:pt x="591" y="501"/>
                    </a:lnTo>
                    <a:lnTo>
                      <a:pt x="592" y="501"/>
                    </a:lnTo>
                    <a:lnTo>
                      <a:pt x="592" y="502"/>
                    </a:lnTo>
                    <a:lnTo>
                      <a:pt x="593" y="503"/>
                    </a:lnTo>
                    <a:lnTo>
                      <a:pt x="595" y="504"/>
                    </a:lnTo>
                    <a:close/>
                    <a:moveTo>
                      <a:pt x="552" y="470"/>
                    </a:moveTo>
                    <a:lnTo>
                      <a:pt x="553" y="472"/>
                    </a:lnTo>
                    <a:lnTo>
                      <a:pt x="554" y="472"/>
                    </a:lnTo>
                    <a:lnTo>
                      <a:pt x="553" y="473"/>
                    </a:lnTo>
                    <a:lnTo>
                      <a:pt x="553" y="474"/>
                    </a:lnTo>
                    <a:lnTo>
                      <a:pt x="553" y="475"/>
                    </a:lnTo>
                    <a:lnTo>
                      <a:pt x="552" y="475"/>
                    </a:lnTo>
                    <a:lnTo>
                      <a:pt x="550" y="478"/>
                    </a:lnTo>
                    <a:lnTo>
                      <a:pt x="549" y="478"/>
                    </a:lnTo>
                    <a:lnTo>
                      <a:pt x="548" y="479"/>
                    </a:lnTo>
                    <a:lnTo>
                      <a:pt x="546" y="479"/>
                    </a:lnTo>
                    <a:lnTo>
                      <a:pt x="545" y="479"/>
                    </a:lnTo>
                    <a:lnTo>
                      <a:pt x="545" y="480"/>
                    </a:lnTo>
                    <a:lnTo>
                      <a:pt x="544" y="480"/>
                    </a:lnTo>
                    <a:lnTo>
                      <a:pt x="544" y="481"/>
                    </a:lnTo>
                    <a:lnTo>
                      <a:pt x="543" y="483"/>
                    </a:lnTo>
                    <a:lnTo>
                      <a:pt x="542" y="483"/>
                    </a:lnTo>
                    <a:lnTo>
                      <a:pt x="542" y="485"/>
                    </a:lnTo>
                    <a:lnTo>
                      <a:pt x="541" y="485"/>
                    </a:lnTo>
                    <a:lnTo>
                      <a:pt x="540" y="485"/>
                    </a:lnTo>
                    <a:lnTo>
                      <a:pt x="538" y="485"/>
                    </a:lnTo>
                    <a:lnTo>
                      <a:pt x="537" y="485"/>
                    </a:lnTo>
                    <a:lnTo>
                      <a:pt x="537" y="483"/>
                    </a:lnTo>
                    <a:lnTo>
                      <a:pt x="537" y="485"/>
                    </a:lnTo>
                    <a:lnTo>
                      <a:pt x="536" y="485"/>
                    </a:lnTo>
                    <a:lnTo>
                      <a:pt x="536" y="483"/>
                    </a:lnTo>
                    <a:lnTo>
                      <a:pt x="535" y="483"/>
                    </a:lnTo>
                    <a:lnTo>
                      <a:pt x="535" y="482"/>
                    </a:lnTo>
                    <a:lnTo>
                      <a:pt x="535" y="481"/>
                    </a:lnTo>
                    <a:lnTo>
                      <a:pt x="536" y="481"/>
                    </a:lnTo>
                    <a:lnTo>
                      <a:pt x="536" y="480"/>
                    </a:lnTo>
                    <a:lnTo>
                      <a:pt x="537" y="480"/>
                    </a:lnTo>
                    <a:lnTo>
                      <a:pt x="537" y="479"/>
                    </a:lnTo>
                    <a:lnTo>
                      <a:pt x="537" y="478"/>
                    </a:lnTo>
                    <a:lnTo>
                      <a:pt x="538" y="478"/>
                    </a:lnTo>
                    <a:lnTo>
                      <a:pt x="539" y="480"/>
                    </a:lnTo>
                    <a:lnTo>
                      <a:pt x="540" y="480"/>
                    </a:lnTo>
                    <a:lnTo>
                      <a:pt x="541" y="480"/>
                    </a:lnTo>
                    <a:lnTo>
                      <a:pt x="542" y="480"/>
                    </a:lnTo>
                    <a:lnTo>
                      <a:pt x="543" y="480"/>
                    </a:lnTo>
                    <a:lnTo>
                      <a:pt x="543" y="479"/>
                    </a:lnTo>
                    <a:lnTo>
                      <a:pt x="544" y="479"/>
                    </a:lnTo>
                    <a:lnTo>
                      <a:pt x="544" y="478"/>
                    </a:lnTo>
                    <a:lnTo>
                      <a:pt x="544" y="479"/>
                    </a:lnTo>
                    <a:lnTo>
                      <a:pt x="543" y="480"/>
                    </a:lnTo>
                    <a:lnTo>
                      <a:pt x="542" y="480"/>
                    </a:lnTo>
                    <a:lnTo>
                      <a:pt x="541" y="480"/>
                    </a:lnTo>
                    <a:lnTo>
                      <a:pt x="540" y="480"/>
                    </a:lnTo>
                    <a:lnTo>
                      <a:pt x="539" y="480"/>
                    </a:lnTo>
                    <a:lnTo>
                      <a:pt x="539" y="479"/>
                    </a:lnTo>
                    <a:lnTo>
                      <a:pt x="538" y="478"/>
                    </a:lnTo>
                    <a:lnTo>
                      <a:pt x="539" y="477"/>
                    </a:lnTo>
                    <a:lnTo>
                      <a:pt x="540" y="476"/>
                    </a:lnTo>
                    <a:lnTo>
                      <a:pt x="541" y="476"/>
                    </a:lnTo>
                    <a:lnTo>
                      <a:pt x="542" y="475"/>
                    </a:lnTo>
                    <a:lnTo>
                      <a:pt x="543" y="475"/>
                    </a:lnTo>
                    <a:lnTo>
                      <a:pt x="543" y="474"/>
                    </a:lnTo>
                    <a:lnTo>
                      <a:pt x="544" y="474"/>
                    </a:lnTo>
                    <a:lnTo>
                      <a:pt x="545" y="473"/>
                    </a:lnTo>
                    <a:lnTo>
                      <a:pt x="545" y="472"/>
                    </a:lnTo>
                    <a:lnTo>
                      <a:pt x="546" y="472"/>
                    </a:lnTo>
                    <a:lnTo>
                      <a:pt x="546" y="470"/>
                    </a:lnTo>
                    <a:lnTo>
                      <a:pt x="548" y="470"/>
                    </a:lnTo>
                    <a:lnTo>
                      <a:pt x="549" y="470"/>
                    </a:lnTo>
                    <a:lnTo>
                      <a:pt x="550" y="470"/>
                    </a:lnTo>
                    <a:lnTo>
                      <a:pt x="551" y="470"/>
                    </a:lnTo>
                    <a:lnTo>
                      <a:pt x="552" y="470"/>
                    </a:lnTo>
                    <a:close/>
                    <a:moveTo>
                      <a:pt x="554" y="552"/>
                    </a:moveTo>
                    <a:lnTo>
                      <a:pt x="555" y="553"/>
                    </a:lnTo>
                    <a:lnTo>
                      <a:pt x="556" y="553"/>
                    </a:lnTo>
                    <a:lnTo>
                      <a:pt x="557" y="553"/>
                    </a:lnTo>
                    <a:lnTo>
                      <a:pt x="558" y="554"/>
                    </a:lnTo>
                    <a:lnTo>
                      <a:pt x="558" y="555"/>
                    </a:lnTo>
                    <a:lnTo>
                      <a:pt x="558" y="556"/>
                    </a:lnTo>
                    <a:lnTo>
                      <a:pt x="558" y="557"/>
                    </a:lnTo>
                    <a:lnTo>
                      <a:pt x="560" y="558"/>
                    </a:lnTo>
                    <a:lnTo>
                      <a:pt x="558" y="556"/>
                    </a:lnTo>
                    <a:lnTo>
                      <a:pt x="560" y="556"/>
                    </a:lnTo>
                    <a:lnTo>
                      <a:pt x="558" y="556"/>
                    </a:lnTo>
                    <a:lnTo>
                      <a:pt x="558" y="555"/>
                    </a:lnTo>
                    <a:lnTo>
                      <a:pt x="558" y="554"/>
                    </a:lnTo>
                    <a:lnTo>
                      <a:pt x="560" y="554"/>
                    </a:lnTo>
                    <a:lnTo>
                      <a:pt x="560" y="555"/>
                    </a:lnTo>
                    <a:lnTo>
                      <a:pt x="561" y="555"/>
                    </a:lnTo>
                    <a:lnTo>
                      <a:pt x="561" y="556"/>
                    </a:lnTo>
                    <a:lnTo>
                      <a:pt x="562" y="556"/>
                    </a:lnTo>
                    <a:lnTo>
                      <a:pt x="563" y="556"/>
                    </a:lnTo>
                    <a:lnTo>
                      <a:pt x="563" y="557"/>
                    </a:lnTo>
                    <a:lnTo>
                      <a:pt x="564" y="557"/>
                    </a:lnTo>
                    <a:lnTo>
                      <a:pt x="563" y="557"/>
                    </a:lnTo>
                    <a:lnTo>
                      <a:pt x="563" y="558"/>
                    </a:lnTo>
                    <a:lnTo>
                      <a:pt x="562" y="557"/>
                    </a:lnTo>
                    <a:lnTo>
                      <a:pt x="562" y="558"/>
                    </a:lnTo>
                    <a:lnTo>
                      <a:pt x="563" y="558"/>
                    </a:lnTo>
                    <a:lnTo>
                      <a:pt x="562" y="558"/>
                    </a:lnTo>
                    <a:lnTo>
                      <a:pt x="562" y="559"/>
                    </a:lnTo>
                    <a:lnTo>
                      <a:pt x="563" y="558"/>
                    </a:lnTo>
                    <a:lnTo>
                      <a:pt x="564" y="558"/>
                    </a:lnTo>
                    <a:lnTo>
                      <a:pt x="563" y="558"/>
                    </a:lnTo>
                    <a:lnTo>
                      <a:pt x="564" y="558"/>
                    </a:lnTo>
                    <a:lnTo>
                      <a:pt x="564" y="557"/>
                    </a:lnTo>
                    <a:lnTo>
                      <a:pt x="565" y="558"/>
                    </a:lnTo>
                    <a:lnTo>
                      <a:pt x="565" y="559"/>
                    </a:lnTo>
                    <a:lnTo>
                      <a:pt x="565" y="560"/>
                    </a:lnTo>
                    <a:lnTo>
                      <a:pt x="565" y="562"/>
                    </a:lnTo>
                    <a:lnTo>
                      <a:pt x="565" y="564"/>
                    </a:lnTo>
                    <a:lnTo>
                      <a:pt x="565" y="565"/>
                    </a:lnTo>
                    <a:lnTo>
                      <a:pt x="566" y="565"/>
                    </a:lnTo>
                    <a:lnTo>
                      <a:pt x="565" y="565"/>
                    </a:lnTo>
                    <a:lnTo>
                      <a:pt x="564" y="565"/>
                    </a:lnTo>
                    <a:lnTo>
                      <a:pt x="563" y="565"/>
                    </a:lnTo>
                    <a:lnTo>
                      <a:pt x="562" y="565"/>
                    </a:lnTo>
                    <a:lnTo>
                      <a:pt x="561" y="565"/>
                    </a:lnTo>
                    <a:lnTo>
                      <a:pt x="561" y="566"/>
                    </a:lnTo>
                    <a:lnTo>
                      <a:pt x="561" y="565"/>
                    </a:lnTo>
                    <a:lnTo>
                      <a:pt x="560" y="565"/>
                    </a:lnTo>
                    <a:lnTo>
                      <a:pt x="558" y="565"/>
                    </a:lnTo>
                    <a:lnTo>
                      <a:pt x="558" y="564"/>
                    </a:lnTo>
                    <a:lnTo>
                      <a:pt x="557" y="563"/>
                    </a:lnTo>
                    <a:lnTo>
                      <a:pt x="556" y="563"/>
                    </a:lnTo>
                    <a:lnTo>
                      <a:pt x="557" y="563"/>
                    </a:lnTo>
                    <a:lnTo>
                      <a:pt x="556" y="562"/>
                    </a:lnTo>
                    <a:lnTo>
                      <a:pt x="555" y="562"/>
                    </a:lnTo>
                    <a:lnTo>
                      <a:pt x="555" y="560"/>
                    </a:lnTo>
                    <a:lnTo>
                      <a:pt x="555" y="559"/>
                    </a:lnTo>
                    <a:lnTo>
                      <a:pt x="555" y="560"/>
                    </a:lnTo>
                    <a:lnTo>
                      <a:pt x="554" y="559"/>
                    </a:lnTo>
                    <a:lnTo>
                      <a:pt x="554" y="558"/>
                    </a:lnTo>
                    <a:lnTo>
                      <a:pt x="553" y="558"/>
                    </a:lnTo>
                    <a:lnTo>
                      <a:pt x="553" y="557"/>
                    </a:lnTo>
                    <a:lnTo>
                      <a:pt x="552" y="557"/>
                    </a:lnTo>
                    <a:lnTo>
                      <a:pt x="552" y="556"/>
                    </a:lnTo>
                    <a:lnTo>
                      <a:pt x="551" y="556"/>
                    </a:lnTo>
                    <a:lnTo>
                      <a:pt x="550" y="555"/>
                    </a:lnTo>
                    <a:lnTo>
                      <a:pt x="549" y="555"/>
                    </a:lnTo>
                    <a:lnTo>
                      <a:pt x="549" y="554"/>
                    </a:lnTo>
                    <a:lnTo>
                      <a:pt x="548" y="554"/>
                    </a:lnTo>
                    <a:lnTo>
                      <a:pt x="548" y="553"/>
                    </a:lnTo>
                    <a:lnTo>
                      <a:pt x="549" y="553"/>
                    </a:lnTo>
                    <a:lnTo>
                      <a:pt x="550" y="553"/>
                    </a:lnTo>
                    <a:lnTo>
                      <a:pt x="550" y="554"/>
                    </a:lnTo>
                    <a:lnTo>
                      <a:pt x="551" y="554"/>
                    </a:lnTo>
                    <a:lnTo>
                      <a:pt x="551" y="553"/>
                    </a:lnTo>
                    <a:lnTo>
                      <a:pt x="552" y="553"/>
                    </a:lnTo>
                    <a:lnTo>
                      <a:pt x="553" y="553"/>
                    </a:lnTo>
                    <a:lnTo>
                      <a:pt x="554" y="552"/>
                    </a:lnTo>
                    <a:close/>
                    <a:moveTo>
                      <a:pt x="550" y="555"/>
                    </a:moveTo>
                    <a:lnTo>
                      <a:pt x="550" y="556"/>
                    </a:lnTo>
                    <a:lnTo>
                      <a:pt x="551" y="556"/>
                    </a:lnTo>
                    <a:lnTo>
                      <a:pt x="551" y="557"/>
                    </a:lnTo>
                    <a:lnTo>
                      <a:pt x="552" y="557"/>
                    </a:lnTo>
                    <a:lnTo>
                      <a:pt x="552" y="558"/>
                    </a:lnTo>
                    <a:lnTo>
                      <a:pt x="552" y="557"/>
                    </a:lnTo>
                    <a:lnTo>
                      <a:pt x="552" y="558"/>
                    </a:lnTo>
                    <a:lnTo>
                      <a:pt x="553" y="558"/>
                    </a:lnTo>
                    <a:lnTo>
                      <a:pt x="555" y="562"/>
                    </a:lnTo>
                    <a:lnTo>
                      <a:pt x="557" y="564"/>
                    </a:lnTo>
                    <a:lnTo>
                      <a:pt x="558" y="565"/>
                    </a:lnTo>
                    <a:lnTo>
                      <a:pt x="560" y="566"/>
                    </a:lnTo>
                    <a:lnTo>
                      <a:pt x="561" y="566"/>
                    </a:lnTo>
                    <a:lnTo>
                      <a:pt x="561" y="567"/>
                    </a:lnTo>
                    <a:lnTo>
                      <a:pt x="562" y="567"/>
                    </a:lnTo>
                    <a:lnTo>
                      <a:pt x="562" y="568"/>
                    </a:lnTo>
                    <a:lnTo>
                      <a:pt x="562" y="569"/>
                    </a:lnTo>
                    <a:lnTo>
                      <a:pt x="563" y="569"/>
                    </a:lnTo>
                    <a:lnTo>
                      <a:pt x="563" y="570"/>
                    </a:lnTo>
                    <a:lnTo>
                      <a:pt x="563" y="571"/>
                    </a:lnTo>
                    <a:lnTo>
                      <a:pt x="564" y="571"/>
                    </a:lnTo>
                    <a:lnTo>
                      <a:pt x="564" y="572"/>
                    </a:lnTo>
                    <a:lnTo>
                      <a:pt x="565" y="573"/>
                    </a:lnTo>
                    <a:lnTo>
                      <a:pt x="566" y="573"/>
                    </a:lnTo>
                    <a:lnTo>
                      <a:pt x="565" y="573"/>
                    </a:lnTo>
                    <a:lnTo>
                      <a:pt x="566" y="573"/>
                    </a:lnTo>
                    <a:lnTo>
                      <a:pt x="566" y="575"/>
                    </a:lnTo>
                    <a:lnTo>
                      <a:pt x="567" y="575"/>
                    </a:lnTo>
                    <a:lnTo>
                      <a:pt x="566" y="575"/>
                    </a:lnTo>
                    <a:lnTo>
                      <a:pt x="565" y="573"/>
                    </a:lnTo>
                    <a:lnTo>
                      <a:pt x="564" y="573"/>
                    </a:lnTo>
                    <a:lnTo>
                      <a:pt x="563" y="572"/>
                    </a:lnTo>
                    <a:lnTo>
                      <a:pt x="562" y="572"/>
                    </a:lnTo>
                    <a:lnTo>
                      <a:pt x="561" y="572"/>
                    </a:lnTo>
                    <a:lnTo>
                      <a:pt x="560" y="571"/>
                    </a:lnTo>
                    <a:lnTo>
                      <a:pt x="560" y="572"/>
                    </a:lnTo>
                    <a:lnTo>
                      <a:pt x="560" y="571"/>
                    </a:lnTo>
                    <a:lnTo>
                      <a:pt x="558" y="571"/>
                    </a:lnTo>
                    <a:lnTo>
                      <a:pt x="558" y="570"/>
                    </a:lnTo>
                    <a:lnTo>
                      <a:pt x="556" y="569"/>
                    </a:lnTo>
                    <a:lnTo>
                      <a:pt x="555" y="569"/>
                    </a:lnTo>
                    <a:lnTo>
                      <a:pt x="555" y="568"/>
                    </a:lnTo>
                    <a:lnTo>
                      <a:pt x="554" y="568"/>
                    </a:lnTo>
                    <a:lnTo>
                      <a:pt x="553" y="568"/>
                    </a:lnTo>
                    <a:lnTo>
                      <a:pt x="553" y="567"/>
                    </a:lnTo>
                    <a:lnTo>
                      <a:pt x="552" y="566"/>
                    </a:lnTo>
                    <a:lnTo>
                      <a:pt x="551" y="565"/>
                    </a:lnTo>
                    <a:lnTo>
                      <a:pt x="550" y="565"/>
                    </a:lnTo>
                    <a:lnTo>
                      <a:pt x="549" y="564"/>
                    </a:lnTo>
                    <a:lnTo>
                      <a:pt x="546" y="563"/>
                    </a:lnTo>
                    <a:lnTo>
                      <a:pt x="546" y="562"/>
                    </a:lnTo>
                    <a:lnTo>
                      <a:pt x="546" y="560"/>
                    </a:lnTo>
                    <a:lnTo>
                      <a:pt x="546" y="559"/>
                    </a:lnTo>
                    <a:lnTo>
                      <a:pt x="548" y="559"/>
                    </a:lnTo>
                    <a:lnTo>
                      <a:pt x="548" y="558"/>
                    </a:lnTo>
                    <a:lnTo>
                      <a:pt x="548" y="557"/>
                    </a:lnTo>
                    <a:lnTo>
                      <a:pt x="548" y="556"/>
                    </a:lnTo>
                    <a:lnTo>
                      <a:pt x="549" y="556"/>
                    </a:lnTo>
                    <a:lnTo>
                      <a:pt x="549" y="555"/>
                    </a:lnTo>
                    <a:lnTo>
                      <a:pt x="548" y="555"/>
                    </a:lnTo>
                    <a:lnTo>
                      <a:pt x="548" y="554"/>
                    </a:lnTo>
                    <a:lnTo>
                      <a:pt x="549" y="555"/>
                    </a:lnTo>
                    <a:lnTo>
                      <a:pt x="550" y="555"/>
                    </a:lnTo>
                    <a:close/>
                    <a:moveTo>
                      <a:pt x="582" y="567"/>
                    </a:moveTo>
                    <a:lnTo>
                      <a:pt x="583" y="568"/>
                    </a:lnTo>
                    <a:lnTo>
                      <a:pt x="584" y="569"/>
                    </a:lnTo>
                    <a:lnTo>
                      <a:pt x="586" y="569"/>
                    </a:lnTo>
                    <a:lnTo>
                      <a:pt x="586" y="570"/>
                    </a:lnTo>
                    <a:lnTo>
                      <a:pt x="584" y="570"/>
                    </a:lnTo>
                    <a:lnTo>
                      <a:pt x="583" y="570"/>
                    </a:lnTo>
                    <a:lnTo>
                      <a:pt x="584" y="570"/>
                    </a:lnTo>
                    <a:lnTo>
                      <a:pt x="586" y="570"/>
                    </a:lnTo>
                    <a:lnTo>
                      <a:pt x="587" y="570"/>
                    </a:lnTo>
                    <a:lnTo>
                      <a:pt x="586" y="570"/>
                    </a:lnTo>
                    <a:lnTo>
                      <a:pt x="586" y="571"/>
                    </a:lnTo>
                    <a:lnTo>
                      <a:pt x="584" y="571"/>
                    </a:lnTo>
                    <a:lnTo>
                      <a:pt x="584" y="570"/>
                    </a:lnTo>
                    <a:lnTo>
                      <a:pt x="583" y="570"/>
                    </a:lnTo>
                    <a:lnTo>
                      <a:pt x="584" y="571"/>
                    </a:lnTo>
                    <a:lnTo>
                      <a:pt x="584" y="572"/>
                    </a:lnTo>
                    <a:lnTo>
                      <a:pt x="584" y="573"/>
                    </a:lnTo>
                    <a:lnTo>
                      <a:pt x="586" y="573"/>
                    </a:lnTo>
                    <a:lnTo>
                      <a:pt x="584" y="573"/>
                    </a:lnTo>
                    <a:lnTo>
                      <a:pt x="583" y="572"/>
                    </a:lnTo>
                    <a:lnTo>
                      <a:pt x="582" y="571"/>
                    </a:lnTo>
                    <a:lnTo>
                      <a:pt x="581" y="570"/>
                    </a:lnTo>
                    <a:lnTo>
                      <a:pt x="580" y="570"/>
                    </a:lnTo>
                    <a:lnTo>
                      <a:pt x="578" y="569"/>
                    </a:lnTo>
                    <a:lnTo>
                      <a:pt x="577" y="569"/>
                    </a:lnTo>
                    <a:lnTo>
                      <a:pt x="576" y="569"/>
                    </a:lnTo>
                    <a:lnTo>
                      <a:pt x="575" y="569"/>
                    </a:lnTo>
                    <a:lnTo>
                      <a:pt x="574" y="569"/>
                    </a:lnTo>
                    <a:lnTo>
                      <a:pt x="573" y="569"/>
                    </a:lnTo>
                    <a:lnTo>
                      <a:pt x="571" y="569"/>
                    </a:lnTo>
                    <a:lnTo>
                      <a:pt x="571" y="570"/>
                    </a:lnTo>
                    <a:lnTo>
                      <a:pt x="570" y="571"/>
                    </a:lnTo>
                    <a:lnTo>
                      <a:pt x="570" y="572"/>
                    </a:lnTo>
                    <a:lnTo>
                      <a:pt x="571" y="572"/>
                    </a:lnTo>
                    <a:lnTo>
                      <a:pt x="573" y="573"/>
                    </a:lnTo>
                    <a:lnTo>
                      <a:pt x="573" y="575"/>
                    </a:lnTo>
                    <a:lnTo>
                      <a:pt x="574" y="575"/>
                    </a:lnTo>
                    <a:lnTo>
                      <a:pt x="575" y="575"/>
                    </a:lnTo>
                    <a:lnTo>
                      <a:pt x="575" y="576"/>
                    </a:lnTo>
                    <a:lnTo>
                      <a:pt x="576" y="576"/>
                    </a:lnTo>
                    <a:lnTo>
                      <a:pt x="577" y="577"/>
                    </a:lnTo>
                    <a:lnTo>
                      <a:pt x="578" y="577"/>
                    </a:lnTo>
                    <a:lnTo>
                      <a:pt x="578" y="576"/>
                    </a:lnTo>
                    <a:lnTo>
                      <a:pt x="578" y="575"/>
                    </a:lnTo>
                    <a:lnTo>
                      <a:pt x="579" y="575"/>
                    </a:lnTo>
                    <a:lnTo>
                      <a:pt x="580" y="575"/>
                    </a:lnTo>
                    <a:lnTo>
                      <a:pt x="582" y="575"/>
                    </a:lnTo>
                    <a:lnTo>
                      <a:pt x="582" y="576"/>
                    </a:lnTo>
                    <a:lnTo>
                      <a:pt x="582" y="575"/>
                    </a:lnTo>
                    <a:lnTo>
                      <a:pt x="581" y="575"/>
                    </a:lnTo>
                    <a:lnTo>
                      <a:pt x="581" y="576"/>
                    </a:lnTo>
                    <a:lnTo>
                      <a:pt x="580" y="576"/>
                    </a:lnTo>
                    <a:lnTo>
                      <a:pt x="581" y="576"/>
                    </a:lnTo>
                    <a:lnTo>
                      <a:pt x="583" y="576"/>
                    </a:lnTo>
                    <a:lnTo>
                      <a:pt x="582" y="576"/>
                    </a:lnTo>
                    <a:lnTo>
                      <a:pt x="581" y="577"/>
                    </a:lnTo>
                    <a:lnTo>
                      <a:pt x="582" y="577"/>
                    </a:lnTo>
                    <a:lnTo>
                      <a:pt x="581" y="577"/>
                    </a:lnTo>
                    <a:lnTo>
                      <a:pt x="581" y="578"/>
                    </a:lnTo>
                    <a:lnTo>
                      <a:pt x="581" y="579"/>
                    </a:lnTo>
                    <a:lnTo>
                      <a:pt x="580" y="579"/>
                    </a:lnTo>
                    <a:lnTo>
                      <a:pt x="580" y="578"/>
                    </a:lnTo>
                    <a:lnTo>
                      <a:pt x="580" y="579"/>
                    </a:lnTo>
                    <a:lnTo>
                      <a:pt x="581" y="579"/>
                    </a:lnTo>
                    <a:lnTo>
                      <a:pt x="582" y="579"/>
                    </a:lnTo>
                    <a:lnTo>
                      <a:pt x="581" y="579"/>
                    </a:lnTo>
                    <a:lnTo>
                      <a:pt x="582" y="579"/>
                    </a:lnTo>
                    <a:lnTo>
                      <a:pt x="582" y="580"/>
                    </a:lnTo>
                    <a:lnTo>
                      <a:pt x="583" y="581"/>
                    </a:lnTo>
                    <a:lnTo>
                      <a:pt x="582" y="580"/>
                    </a:lnTo>
                    <a:lnTo>
                      <a:pt x="581" y="580"/>
                    </a:lnTo>
                    <a:lnTo>
                      <a:pt x="580" y="580"/>
                    </a:lnTo>
                    <a:lnTo>
                      <a:pt x="580" y="579"/>
                    </a:lnTo>
                    <a:lnTo>
                      <a:pt x="580" y="580"/>
                    </a:lnTo>
                    <a:lnTo>
                      <a:pt x="580" y="579"/>
                    </a:lnTo>
                    <a:lnTo>
                      <a:pt x="579" y="579"/>
                    </a:lnTo>
                    <a:lnTo>
                      <a:pt x="579" y="578"/>
                    </a:lnTo>
                    <a:lnTo>
                      <a:pt x="578" y="578"/>
                    </a:lnTo>
                    <a:lnTo>
                      <a:pt x="577" y="577"/>
                    </a:lnTo>
                    <a:lnTo>
                      <a:pt x="576" y="577"/>
                    </a:lnTo>
                    <a:lnTo>
                      <a:pt x="575" y="577"/>
                    </a:lnTo>
                    <a:lnTo>
                      <a:pt x="575" y="576"/>
                    </a:lnTo>
                    <a:lnTo>
                      <a:pt x="574" y="577"/>
                    </a:lnTo>
                    <a:lnTo>
                      <a:pt x="574" y="576"/>
                    </a:lnTo>
                    <a:lnTo>
                      <a:pt x="573" y="576"/>
                    </a:lnTo>
                    <a:lnTo>
                      <a:pt x="571" y="576"/>
                    </a:lnTo>
                    <a:lnTo>
                      <a:pt x="570" y="576"/>
                    </a:lnTo>
                    <a:lnTo>
                      <a:pt x="569" y="576"/>
                    </a:lnTo>
                    <a:lnTo>
                      <a:pt x="569" y="575"/>
                    </a:lnTo>
                    <a:lnTo>
                      <a:pt x="568" y="576"/>
                    </a:lnTo>
                    <a:lnTo>
                      <a:pt x="568" y="575"/>
                    </a:lnTo>
                    <a:lnTo>
                      <a:pt x="567" y="575"/>
                    </a:lnTo>
                    <a:lnTo>
                      <a:pt x="567" y="573"/>
                    </a:lnTo>
                    <a:lnTo>
                      <a:pt x="567" y="575"/>
                    </a:lnTo>
                    <a:lnTo>
                      <a:pt x="566" y="575"/>
                    </a:lnTo>
                    <a:lnTo>
                      <a:pt x="566" y="573"/>
                    </a:lnTo>
                    <a:lnTo>
                      <a:pt x="566" y="572"/>
                    </a:lnTo>
                    <a:lnTo>
                      <a:pt x="565" y="572"/>
                    </a:lnTo>
                    <a:lnTo>
                      <a:pt x="565" y="571"/>
                    </a:lnTo>
                    <a:lnTo>
                      <a:pt x="564" y="571"/>
                    </a:lnTo>
                    <a:lnTo>
                      <a:pt x="564" y="570"/>
                    </a:lnTo>
                    <a:lnTo>
                      <a:pt x="563" y="570"/>
                    </a:lnTo>
                    <a:lnTo>
                      <a:pt x="563" y="569"/>
                    </a:lnTo>
                    <a:lnTo>
                      <a:pt x="563" y="568"/>
                    </a:lnTo>
                    <a:lnTo>
                      <a:pt x="562" y="568"/>
                    </a:lnTo>
                    <a:lnTo>
                      <a:pt x="562" y="567"/>
                    </a:lnTo>
                    <a:lnTo>
                      <a:pt x="561" y="566"/>
                    </a:lnTo>
                    <a:lnTo>
                      <a:pt x="562" y="566"/>
                    </a:lnTo>
                    <a:lnTo>
                      <a:pt x="563" y="566"/>
                    </a:lnTo>
                    <a:lnTo>
                      <a:pt x="563" y="565"/>
                    </a:lnTo>
                    <a:lnTo>
                      <a:pt x="564" y="565"/>
                    </a:lnTo>
                    <a:lnTo>
                      <a:pt x="564" y="566"/>
                    </a:lnTo>
                    <a:lnTo>
                      <a:pt x="564" y="565"/>
                    </a:lnTo>
                    <a:lnTo>
                      <a:pt x="565" y="566"/>
                    </a:lnTo>
                    <a:lnTo>
                      <a:pt x="566" y="566"/>
                    </a:lnTo>
                    <a:lnTo>
                      <a:pt x="565" y="566"/>
                    </a:lnTo>
                    <a:lnTo>
                      <a:pt x="565" y="567"/>
                    </a:lnTo>
                    <a:lnTo>
                      <a:pt x="566" y="567"/>
                    </a:lnTo>
                    <a:lnTo>
                      <a:pt x="566" y="566"/>
                    </a:lnTo>
                    <a:lnTo>
                      <a:pt x="567" y="566"/>
                    </a:lnTo>
                    <a:lnTo>
                      <a:pt x="568" y="566"/>
                    </a:lnTo>
                    <a:lnTo>
                      <a:pt x="569" y="567"/>
                    </a:lnTo>
                    <a:lnTo>
                      <a:pt x="570" y="567"/>
                    </a:lnTo>
                    <a:lnTo>
                      <a:pt x="570" y="568"/>
                    </a:lnTo>
                    <a:lnTo>
                      <a:pt x="571" y="568"/>
                    </a:lnTo>
                    <a:lnTo>
                      <a:pt x="573" y="568"/>
                    </a:lnTo>
                    <a:lnTo>
                      <a:pt x="574" y="568"/>
                    </a:lnTo>
                    <a:lnTo>
                      <a:pt x="575" y="569"/>
                    </a:lnTo>
                    <a:lnTo>
                      <a:pt x="575" y="568"/>
                    </a:lnTo>
                    <a:lnTo>
                      <a:pt x="576" y="568"/>
                    </a:lnTo>
                    <a:lnTo>
                      <a:pt x="577" y="568"/>
                    </a:lnTo>
                    <a:lnTo>
                      <a:pt x="578" y="568"/>
                    </a:lnTo>
                    <a:lnTo>
                      <a:pt x="579" y="568"/>
                    </a:lnTo>
                    <a:lnTo>
                      <a:pt x="579" y="569"/>
                    </a:lnTo>
                    <a:lnTo>
                      <a:pt x="579" y="568"/>
                    </a:lnTo>
                    <a:lnTo>
                      <a:pt x="580" y="568"/>
                    </a:lnTo>
                    <a:lnTo>
                      <a:pt x="580" y="569"/>
                    </a:lnTo>
                    <a:lnTo>
                      <a:pt x="580" y="570"/>
                    </a:lnTo>
                    <a:lnTo>
                      <a:pt x="581" y="569"/>
                    </a:lnTo>
                    <a:lnTo>
                      <a:pt x="581" y="568"/>
                    </a:lnTo>
                    <a:lnTo>
                      <a:pt x="582" y="568"/>
                    </a:lnTo>
                    <a:lnTo>
                      <a:pt x="582" y="567"/>
                    </a:lnTo>
                    <a:lnTo>
                      <a:pt x="583" y="566"/>
                    </a:lnTo>
                    <a:lnTo>
                      <a:pt x="583" y="565"/>
                    </a:lnTo>
                    <a:lnTo>
                      <a:pt x="583" y="566"/>
                    </a:lnTo>
                    <a:lnTo>
                      <a:pt x="582" y="567"/>
                    </a:lnTo>
                    <a:close/>
                    <a:moveTo>
                      <a:pt x="125" y="301"/>
                    </a:moveTo>
                    <a:lnTo>
                      <a:pt x="126" y="301"/>
                    </a:lnTo>
                    <a:lnTo>
                      <a:pt x="127" y="301"/>
                    </a:lnTo>
                    <a:lnTo>
                      <a:pt x="127" y="302"/>
                    </a:lnTo>
                    <a:lnTo>
                      <a:pt x="127" y="303"/>
                    </a:lnTo>
                    <a:lnTo>
                      <a:pt x="128" y="305"/>
                    </a:lnTo>
                    <a:lnTo>
                      <a:pt x="129" y="305"/>
                    </a:lnTo>
                    <a:lnTo>
                      <a:pt x="130" y="305"/>
                    </a:lnTo>
                    <a:lnTo>
                      <a:pt x="129" y="305"/>
                    </a:lnTo>
                    <a:lnTo>
                      <a:pt x="130" y="306"/>
                    </a:lnTo>
                    <a:lnTo>
                      <a:pt x="130" y="307"/>
                    </a:lnTo>
                    <a:lnTo>
                      <a:pt x="130" y="310"/>
                    </a:lnTo>
                    <a:lnTo>
                      <a:pt x="129" y="311"/>
                    </a:lnTo>
                    <a:lnTo>
                      <a:pt x="129" y="312"/>
                    </a:lnTo>
                    <a:lnTo>
                      <a:pt x="129" y="313"/>
                    </a:lnTo>
                    <a:lnTo>
                      <a:pt x="129" y="314"/>
                    </a:lnTo>
                    <a:lnTo>
                      <a:pt x="129" y="315"/>
                    </a:lnTo>
                    <a:lnTo>
                      <a:pt x="129" y="316"/>
                    </a:lnTo>
                    <a:lnTo>
                      <a:pt x="130" y="316"/>
                    </a:lnTo>
                    <a:lnTo>
                      <a:pt x="129" y="316"/>
                    </a:lnTo>
                    <a:lnTo>
                      <a:pt x="129" y="318"/>
                    </a:lnTo>
                    <a:lnTo>
                      <a:pt x="128" y="318"/>
                    </a:lnTo>
                    <a:lnTo>
                      <a:pt x="127" y="318"/>
                    </a:lnTo>
                    <a:lnTo>
                      <a:pt x="127" y="319"/>
                    </a:lnTo>
                    <a:lnTo>
                      <a:pt x="126" y="320"/>
                    </a:lnTo>
                    <a:lnTo>
                      <a:pt x="125" y="321"/>
                    </a:lnTo>
                    <a:lnTo>
                      <a:pt x="125" y="320"/>
                    </a:lnTo>
                    <a:lnTo>
                      <a:pt x="125" y="319"/>
                    </a:lnTo>
                    <a:lnTo>
                      <a:pt x="125" y="318"/>
                    </a:lnTo>
                    <a:lnTo>
                      <a:pt x="126" y="318"/>
                    </a:lnTo>
                    <a:lnTo>
                      <a:pt x="126" y="316"/>
                    </a:lnTo>
                    <a:lnTo>
                      <a:pt x="126" y="315"/>
                    </a:lnTo>
                    <a:lnTo>
                      <a:pt x="127" y="315"/>
                    </a:lnTo>
                    <a:lnTo>
                      <a:pt x="128" y="315"/>
                    </a:lnTo>
                    <a:lnTo>
                      <a:pt x="128" y="314"/>
                    </a:lnTo>
                    <a:lnTo>
                      <a:pt x="127" y="314"/>
                    </a:lnTo>
                    <a:lnTo>
                      <a:pt x="127" y="313"/>
                    </a:lnTo>
                    <a:lnTo>
                      <a:pt x="127" y="312"/>
                    </a:lnTo>
                    <a:lnTo>
                      <a:pt x="126" y="312"/>
                    </a:lnTo>
                    <a:lnTo>
                      <a:pt x="125" y="311"/>
                    </a:lnTo>
                    <a:lnTo>
                      <a:pt x="125" y="312"/>
                    </a:lnTo>
                    <a:lnTo>
                      <a:pt x="124" y="312"/>
                    </a:lnTo>
                    <a:lnTo>
                      <a:pt x="123" y="312"/>
                    </a:lnTo>
                    <a:lnTo>
                      <a:pt x="123" y="313"/>
                    </a:lnTo>
                    <a:lnTo>
                      <a:pt x="123" y="314"/>
                    </a:lnTo>
                    <a:lnTo>
                      <a:pt x="123" y="315"/>
                    </a:lnTo>
                    <a:lnTo>
                      <a:pt x="123" y="316"/>
                    </a:lnTo>
                    <a:lnTo>
                      <a:pt x="124" y="316"/>
                    </a:lnTo>
                    <a:lnTo>
                      <a:pt x="124" y="318"/>
                    </a:lnTo>
                    <a:lnTo>
                      <a:pt x="123" y="318"/>
                    </a:lnTo>
                    <a:lnTo>
                      <a:pt x="122" y="318"/>
                    </a:lnTo>
                    <a:lnTo>
                      <a:pt x="122" y="316"/>
                    </a:lnTo>
                    <a:lnTo>
                      <a:pt x="122" y="318"/>
                    </a:lnTo>
                    <a:lnTo>
                      <a:pt x="120" y="316"/>
                    </a:lnTo>
                    <a:lnTo>
                      <a:pt x="120" y="315"/>
                    </a:lnTo>
                    <a:lnTo>
                      <a:pt x="122" y="315"/>
                    </a:lnTo>
                    <a:lnTo>
                      <a:pt x="122" y="314"/>
                    </a:lnTo>
                    <a:lnTo>
                      <a:pt x="120" y="314"/>
                    </a:lnTo>
                    <a:lnTo>
                      <a:pt x="120" y="315"/>
                    </a:lnTo>
                    <a:lnTo>
                      <a:pt x="122" y="315"/>
                    </a:lnTo>
                    <a:lnTo>
                      <a:pt x="120" y="315"/>
                    </a:lnTo>
                    <a:lnTo>
                      <a:pt x="120" y="314"/>
                    </a:lnTo>
                    <a:lnTo>
                      <a:pt x="119" y="314"/>
                    </a:lnTo>
                    <a:lnTo>
                      <a:pt x="119" y="313"/>
                    </a:lnTo>
                    <a:lnTo>
                      <a:pt x="119" y="312"/>
                    </a:lnTo>
                    <a:lnTo>
                      <a:pt x="119" y="311"/>
                    </a:lnTo>
                    <a:lnTo>
                      <a:pt x="118" y="310"/>
                    </a:lnTo>
                    <a:lnTo>
                      <a:pt x="119" y="310"/>
                    </a:lnTo>
                    <a:lnTo>
                      <a:pt x="120" y="310"/>
                    </a:lnTo>
                    <a:lnTo>
                      <a:pt x="120" y="311"/>
                    </a:lnTo>
                    <a:lnTo>
                      <a:pt x="122" y="311"/>
                    </a:lnTo>
                    <a:lnTo>
                      <a:pt x="120" y="311"/>
                    </a:lnTo>
                    <a:lnTo>
                      <a:pt x="120" y="310"/>
                    </a:lnTo>
                    <a:lnTo>
                      <a:pt x="120" y="309"/>
                    </a:lnTo>
                    <a:lnTo>
                      <a:pt x="122" y="309"/>
                    </a:lnTo>
                    <a:lnTo>
                      <a:pt x="123" y="309"/>
                    </a:lnTo>
                    <a:lnTo>
                      <a:pt x="122" y="309"/>
                    </a:lnTo>
                    <a:lnTo>
                      <a:pt x="120" y="309"/>
                    </a:lnTo>
                    <a:lnTo>
                      <a:pt x="120" y="308"/>
                    </a:lnTo>
                    <a:lnTo>
                      <a:pt x="122" y="307"/>
                    </a:lnTo>
                    <a:lnTo>
                      <a:pt x="122" y="306"/>
                    </a:lnTo>
                    <a:lnTo>
                      <a:pt x="123" y="306"/>
                    </a:lnTo>
                    <a:lnTo>
                      <a:pt x="123" y="305"/>
                    </a:lnTo>
                    <a:lnTo>
                      <a:pt x="124" y="305"/>
                    </a:lnTo>
                    <a:lnTo>
                      <a:pt x="125" y="305"/>
                    </a:lnTo>
                    <a:lnTo>
                      <a:pt x="125" y="306"/>
                    </a:lnTo>
                    <a:lnTo>
                      <a:pt x="124" y="306"/>
                    </a:lnTo>
                    <a:lnTo>
                      <a:pt x="125" y="306"/>
                    </a:lnTo>
                    <a:lnTo>
                      <a:pt x="125" y="307"/>
                    </a:lnTo>
                    <a:lnTo>
                      <a:pt x="125" y="308"/>
                    </a:lnTo>
                    <a:lnTo>
                      <a:pt x="126" y="308"/>
                    </a:lnTo>
                    <a:lnTo>
                      <a:pt x="126" y="307"/>
                    </a:lnTo>
                    <a:lnTo>
                      <a:pt x="127" y="307"/>
                    </a:lnTo>
                    <a:lnTo>
                      <a:pt x="127" y="308"/>
                    </a:lnTo>
                    <a:lnTo>
                      <a:pt x="128" y="308"/>
                    </a:lnTo>
                    <a:lnTo>
                      <a:pt x="128" y="309"/>
                    </a:lnTo>
                    <a:lnTo>
                      <a:pt x="128" y="310"/>
                    </a:lnTo>
                    <a:lnTo>
                      <a:pt x="129" y="310"/>
                    </a:lnTo>
                    <a:lnTo>
                      <a:pt x="129" y="309"/>
                    </a:lnTo>
                    <a:lnTo>
                      <a:pt x="128" y="309"/>
                    </a:lnTo>
                    <a:lnTo>
                      <a:pt x="128" y="308"/>
                    </a:lnTo>
                    <a:lnTo>
                      <a:pt x="127" y="308"/>
                    </a:lnTo>
                    <a:lnTo>
                      <a:pt x="127" y="307"/>
                    </a:lnTo>
                    <a:lnTo>
                      <a:pt x="126" y="307"/>
                    </a:lnTo>
                    <a:lnTo>
                      <a:pt x="126" y="306"/>
                    </a:lnTo>
                    <a:lnTo>
                      <a:pt x="125" y="307"/>
                    </a:lnTo>
                    <a:lnTo>
                      <a:pt x="125" y="306"/>
                    </a:lnTo>
                    <a:lnTo>
                      <a:pt x="124" y="306"/>
                    </a:lnTo>
                    <a:lnTo>
                      <a:pt x="125" y="306"/>
                    </a:lnTo>
                    <a:lnTo>
                      <a:pt x="125" y="305"/>
                    </a:lnTo>
                    <a:lnTo>
                      <a:pt x="125" y="303"/>
                    </a:lnTo>
                    <a:lnTo>
                      <a:pt x="126" y="303"/>
                    </a:lnTo>
                    <a:lnTo>
                      <a:pt x="125" y="303"/>
                    </a:lnTo>
                    <a:lnTo>
                      <a:pt x="125" y="302"/>
                    </a:lnTo>
                    <a:lnTo>
                      <a:pt x="125" y="301"/>
                    </a:lnTo>
                    <a:close/>
                    <a:moveTo>
                      <a:pt x="505" y="538"/>
                    </a:moveTo>
                    <a:lnTo>
                      <a:pt x="505" y="539"/>
                    </a:lnTo>
                    <a:lnTo>
                      <a:pt x="506" y="540"/>
                    </a:lnTo>
                    <a:lnTo>
                      <a:pt x="506" y="541"/>
                    </a:lnTo>
                    <a:lnTo>
                      <a:pt x="507" y="542"/>
                    </a:lnTo>
                    <a:lnTo>
                      <a:pt x="507" y="543"/>
                    </a:lnTo>
                    <a:lnTo>
                      <a:pt x="509" y="543"/>
                    </a:lnTo>
                    <a:lnTo>
                      <a:pt x="509" y="544"/>
                    </a:lnTo>
                    <a:lnTo>
                      <a:pt x="509" y="545"/>
                    </a:lnTo>
                    <a:lnTo>
                      <a:pt x="509" y="546"/>
                    </a:lnTo>
                    <a:lnTo>
                      <a:pt x="509" y="549"/>
                    </a:lnTo>
                    <a:lnTo>
                      <a:pt x="509" y="547"/>
                    </a:lnTo>
                    <a:lnTo>
                      <a:pt x="509" y="546"/>
                    </a:lnTo>
                    <a:lnTo>
                      <a:pt x="509" y="545"/>
                    </a:lnTo>
                    <a:lnTo>
                      <a:pt x="509" y="544"/>
                    </a:lnTo>
                    <a:lnTo>
                      <a:pt x="507" y="544"/>
                    </a:lnTo>
                    <a:lnTo>
                      <a:pt x="507" y="543"/>
                    </a:lnTo>
                    <a:lnTo>
                      <a:pt x="506" y="543"/>
                    </a:lnTo>
                    <a:lnTo>
                      <a:pt x="506" y="542"/>
                    </a:lnTo>
                    <a:lnTo>
                      <a:pt x="505" y="542"/>
                    </a:lnTo>
                    <a:lnTo>
                      <a:pt x="505" y="541"/>
                    </a:lnTo>
                    <a:lnTo>
                      <a:pt x="503" y="544"/>
                    </a:lnTo>
                    <a:lnTo>
                      <a:pt x="502" y="549"/>
                    </a:lnTo>
                    <a:lnTo>
                      <a:pt x="502" y="550"/>
                    </a:lnTo>
                    <a:lnTo>
                      <a:pt x="502" y="551"/>
                    </a:lnTo>
                    <a:lnTo>
                      <a:pt x="501" y="551"/>
                    </a:lnTo>
                    <a:lnTo>
                      <a:pt x="501" y="550"/>
                    </a:lnTo>
                    <a:lnTo>
                      <a:pt x="502" y="550"/>
                    </a:lnTo>
                    <a:lnTo>
                      <a:pt x="502" y="549"/>
                    </a:lnTo>
                    <a:lnTo>
                      <a:pt x="501" y="549"/>
                    </a:lnTo>
                    <a:lnTo>
                      <a:pt x="501" y="550"/>
                    </a:lnTo>
                    <a:lnTo>
                      <a:pt x="501" y="551"/>
                    </a:lnTo>
                    <a:lnTo>
                      <a:pt x="501" y="552"/>
                    </a:lnTo>
                    <a:lnTo>
                      <a:pt x="500" y="553"/>
                    </a:lnTo>
                    <a:lnTo>
                      <a:pt x="500" y="554"/>
                    </a:lnTo>
                    <a:lnTo>
                      <a:pt x="500" y="555"/>
                    </a:lnTo>
                    <a:lnTo>
                      <a:pt x="500" y="556"/>
                    </a:lnTo>
                    <a:lnTo>
                      <a:pt x="499" y="557"/>
                    </a:lnTo>
                    <a:lnTo>
                      <a:pt x="499" y="558"/>
                    </a:lnTo>
                    <a:lnTo>
                      <a:pt x="499" y="559"/>
                    </a:lnTo>
                    <a:lnTo>
                      <a:pt x="498" y="559"/>
                    </a:lnTo>
                    <a:lnTo>
                      <a:pt x="499" y="559"/>
                    </a:lnTo>
                    <a:lnTo>
                      <a:pt x="499" y="558"/>
                    </a:lnTo>
                    <a:lnTo>
                      <a:pt x="499" y="557"/>
                    </a:lnTo>
                    <a:lnTo>
                      <a:pt x="499" y="556"/>
                    </a:lnTo>
                    <a:lnTo>
                      <a:pt x="499" y="557"/>
                    </a:lnTo>
                    <a:lnTo>
                      <a:pt x="498" y="558"/>
                    </a:lnTo>
                    <a:lnTo>
                      <a:pt x="498" y="559"/>
                    </a:lnTo>
                    <a:lnTo>
                      <a:pt x="497" y="559"/>
                    </a:lnTo>
                    <a:lnTo>
                      <a:pt x="498" y="559"/>
                    </a:lnTo>
                    <a:lnTo>
                      <a:pt x="497" y="559"/>
                    </a:lnTo>
                    <a:lnTo>
                      <a:pt x="497" y="560"/>
                    </a:lnTo>
                    <a:lnTo>
                      <a:pt x="497" y="562"/>
                    </a:lnTo>
                    <a:lnTo>
                      <a:pt x="496" y="562"/>
                    </a:lnTo>
                    <a:lnTo>
                      <a:pt x="496" y="563"/>
                    </a:lnTo>
                    <a:lnTo>
                      <a:pt x="494" y="563"/>
                    </a:lnTo>
                    <a:lnTo>
                      <a:pt x="494" y="564"/>
                    </a:lnTo>
                    <a:lnTo>
                      <a:pt x="496" y="564"/>
                    </a:lnTo>
                    <a:lnTo>
                      <a:pt x="496" y="565"/>
                    </a:lnTo>
                    <a:lnTo>
                      <a:pt x="494" y="564"/>
                    </a:lnTo>
                    <a:lnTo>
                      <a:pt x="494" y="565"/>
                    </a:lnTo>
                    <a:lnTo>
                      <a:pt x="493" y="565"/>
                    </a:lnTo>
                    <a:lnTo>
                      <a:pt x="492" y="566"/>
                    </a:lnTo>
                    <a:lnTo>
                      <a:pt x="492" y="567"/>
                    </a:lnTo>
                    <a:lnTo>
                      <a:pt x="493" y="567"/>
                    </a:lnTo>
                    <a:lnTo>
                      <a:pt x="493" y="566"/>
                    </a:lnTo>
                    <a:lnTo>
                      <a:pt x="493" y="567"/>
                    </a:lnTo>
                    <a:lnTo>
                      <a:pt x="492" y="567"/>
                    </a:lnTo>
                    <a:lnTo>
                      <a:pt x="492" y="568"/>
                    </a:lnTo>
                    <a:lnTo>
                      <a:pt x="491" y="569"/>
                    </a:lnTo>
                    <a:lnTo>
                      <a:pt x="491" y="570"/>
                    </a:lnTo>
                    <a:lnTo>
                      <a:pt x="491" y="571"/>
                    </a:lnTo>
                    <a:lnTo>
                      <a:pt x="491" y="570"/>
                    </a:lnTo>
                    <a:lnTo>
                      <a:pt x="491" y="571"/>
                    </a:lnTo>
                    <a:lnTo>
                      <a:pt x="492" y="572"/>
                    </a:lnTo>
                    <a:lnTo>
                      <a:pt x="493" y="572"/>
                    </a:lnTo>
                    <a:lnTo>
                      <a:pt x="492" y="572"/>
                    </a:lnTo>
                    <a:lnTo>
                      <a:pt x="492" y="573"/>
                    </a:lnTo>
                    <a:lnTo>
                      <a:pt x="492" y="572"/>
                    </a:lnTo>
                    <a:lnTo>
                      <a:pt x="492" y="573"/>
                    </a:lnTo>
                    <a:lnTo>
                      <a:pt x="493" y="573"/>
                    </a:lnTo>
                    <a:lnTo>
                      <a:pt x="493" y="572"/>
                    </a:lnTo>
                    <a:lnTo>
                      <a:pt x="493" y="573"/>
                    </a:lnTo>
                    <a:lnTo>
                      <a:pt x="492" y="573"/>
                    </a:lnTo>
                    <a:lnTo>
                      <a:pt x="492" y="575"/>
                    </a:lnTo>
                    <a:lnTo>
                      <a:pt x="492" y="576"/>
                    </a:lnTo>
                    <a:lnTo>
                      <a:pt x="493" y="576"/>
                    </a:lnTo>
                    <a:lnTo>
                      <a:pt x="493" y="577"/>
                    </a:lnTo>
                    <a:lnTo>
                      <a:pt x="494" y="578"/>
                    </a:lnTo>
                    <a:lnTo>
                      <a:pt x="496" y="578"/>
                    </a:lnTo>
                    <a:lnTo>
                      <a:pt x="496" y="577"/>
                    </a:lnTo>
                    <a:lnTo>
                      <a:pt x="494" y="577"/>
                    </a:lnTo>
                    <a:lnTo>
                      <a:pt x="493" y="577"/>
                    </a:lnTo>
                    <a:lnTo>
                      <a:pt x="493" y="576"/>
                    </a:lnTo>
                    <a:lnTo>
                      <a:pt x="494" y="576"/>
                    </a:lnTo>
                    <a:lnTo>
                      <a:pt x="496" y="576"/>
                    </a:lnTo>
                    <a:lnTo>
                      <a:pt x="496" y="577"/>
                    </a:lnTo>
                    <a:lnTo>
                      <a:pt x="494" y="577"/>
                    </a:lnTo>
                    <a:lnTo>
                      <a:pt x="494" y="576"/>
                    </a:lnTo>
                    <a:lnTo>
                      <a:pt x="493" y="576"/>
                    </a:lnTo>
                    <a:lnTo>
                      <a:pt x="493" y="577"/>
                    </a:lnTo>
                    <a:lnTo>
                      <a:pt x="496" y="577"/>
                    </a:lnTo>
                    <a:lnTo>
                      <a:pt x="496" y="578"/>
                    </a:lnTo>
                    <a:lnTo>
                      <a:pt x="494" y="578"/>
                    </a:lnTo>
                    <a:lnTo>
                      <a:pt x="493" y="578"/>
                    </a:lnTo>
                    <a:lnTo>
                      <a:pt x="493" y="577"/>
                    </a:lnTo>
                    <a:lnTo>
                      <a:pt x="492" y="576"/>
                    </a:lnTo>
                    <a:lnTo>
                      <a:pt x="492" y="575"/>
                    </a:lnTo>
                    <a:lnTo>
                      <a:pt x="491" y="575"/>
                    </a:lnTo>
                    <a:lnTo>
                      <a:pt x="491" y="573"/>
                    </a:lnTo>
                    <a:lnTo>
                      <a:pt x="491" y="572"/>
                    </a:lnTo>
                    <a:lnTo>
                      <a:pt x="491" y="571"/>
                    </a:lnTo>
                    <a:lnTo>
                      <a:pt x="490" y="571"/>
                    </a:lnTo>
                    <a:lnTo>
                      <a:pt x="490" y="572"/>
                    </a:lnTo>
                    <a:lnTo>
                      <a:pt x="491" y="572"/>
                    </a:lnTo>
                    <a:lnTo>
                      <a:pt x="490" y="572"/>
                    </a:lnTo>
                    <a:lnTo>
                      <a:pt x="490" y="573"/>
                    </a:lnTo>
                    <a:lnTo>
                      <a:pt x="490" y="572"/>
                    </a:lnTo>
                    <a:lnTo>
                      <a:pt x="490" y="573"/>
                    </a:lnTo>
                    <a:lnTo>
                      <a:pt x="489" y="573"/>
                    </a:lnTo>
                    <a:lnTo>
                      <a:pt x="489" y="572"/>
                    </a:lnTo>
                    <a:lnTo>
                      <a:pt x="489" y="571"/>
                    </a:lnTo>
                    <a:lnTo>
                      <a:pt x="490" y="569"/>
                    </a:lnTo>
                    <a:lnTo>
                      <a:pt x="491" y="568"/>
                    </a:lnTo>
                    <a:lnTo>
                      <a:pt x="493" y="564"/>
                    </a:lnTo>
                    <a:lnTo>
                      <a:pt x="493" y="563"/>
                    </a:lnTo>
                    <a:lnTo>
                      <a:pt x="494" y="562"/>
                    </a:lnTo>
                    <a:lnTo>
                      <a:pt x="494" y="560"/>
                    </a:lnTo>
                    <a:lnTo>
                      <a:pt x="496" y="558"/>
                    </a:lnTo>
                    <a:lnTo>
                      <a:pt x="497" y="555"/>
                    </a:lnTo>
                    <a:lnTo>
                      <a:pt x="498" y="553"/>
                    </a:lnTo>
                    <a:lnTo>
                      <a:pt x="499" y="551"/>
                    </a:lnTo>
                    <a:lnTo>
                      <a:pt x="499" y="550"/>
                    </a:lnTo>
                    <a:lnTo>
                      <a:pt x="500" y="549"/>
                    </a:lnTo>
                    <a:lnTo>
                      <a:pt x="501" y="546"/>
                    </a:lnTo>
                    <a:lnTo>
                      <a:pt x="501" y="545"/>
                    </a:lnTo>
                    <a:lnTo>
                      <a:pt x="501" y="544"/>
                    </a:lnTo>
                    <a:lnTo>
                      <a:pt x="502" y="543"/>
                    </a:lnTo>
                    <a:lnTo>
                      <a:pt x="502" y="542"/>
                    </a:lnTo>
                    <a:lnTo>
                      <a:pt x="503" y="540"/>
                    </a:lnTo>
                    <a:lnTo>
                      <a:pt x="503" y="539"/>
                    </a:lnTo>
                    <a:lnTo>
                      <a:pt x="503" y="538"/>
                    </a:lnTo>
                    <a:lnTo>
                      <a:pt x="504" y="536"/>
                    </a:lnTo>
                    <a:lnTo>
                      <a:pt x="504" y="534"/>
                    </a:lnTo>
                    <a:lnTo>
                      <a:pt x="504" y="537"/>
                    </a:lnTo>
                    <a:lnTo>
                      <a:pt x="505" y="537"/>
                    </a:lnTo>
                    <a:lnTo>
                      <a:pt x="505" y="538"/>
                    </a:lnTo>
                    <a:close/>
                    <a:moveTo>
                      <a:pt x="310" y="393"/>
                    </a:moveTo>
                    <a:lnTo>
                      <a:pt x="312" y="393"/>
                    </a:lnTo>
                    <a:lnTo>
                      <a:pt x="313" y="395"/>
                    </a:lnTo>
                    <a:lnTo>
                      <a:pt x="313" y="396"/>
                    </a:lnTo>
                    <a:lnTo>
                      <a:pt x="315" y="395"/>
                    </a:lnTo>
                    <a:lnTo>
                      <a:pt x="316" y="393"/>
                    </a:lnTo>
                    <a:lnTo>
                      <a:pt x="319" y="396"/>
                    </a:lnTo>
                    <a:lnTo>
                      <a:pt x="320" y="396"/>
                    </a:lnTo>
                    <a:lnTo>
                      <a:pt x="319" y="396"/>
                    </a:lnTo>
                    <a:lnTo>
                      <a:pt x="319" y="397"/>
                    </a:lnTo>
                    <a:lnTo>
                      <a:pt x="319" y="398"/>
                    </a:lnTo>
                    <a:lnTo>
                      <a:pt x="319" y="399"/>
                    </a:lnTo>
                    <a:lnTo>
                      <a:pt x="320" y="399"/>
                    </a:lnTo>
                    <a:lnTo>
                      <a:pt x="319" y="399"/>
                    </a:lnTo>
                    <a:lnTo>
                      <a:pt x="318" y="399"/>
                    </a:lnTo>
                    <a:lnTo>
                      <a:pt x="317" y="399"/>
                    </a:lnTo>
                    <a:lnTo>
                      <a:pt x="318" y="399"/>
                    </a:lnTo>
                    <a:lnTo>
                      <a:pt x="317" y="399"/>
                    </a:lnTo>
                    <a:lnTo>
                      <a:pt x="317" y="398"/>
                    </a:lnTo>
                    <a:lnTo>
                      <a:pt x="317" y="399"/>
                    </a:lnTo>
                    <a:lnTo>
                      <a:pt x="317" y="400"/>
                    </a:lnTo>
                    <a:lnTo>
                      <a:pt x="316" y="401"/>
                    </a:lnTo>
                    <a:lnTo>
                      <a:pt x="315" y="401"/>
                    </a:lnTo>
                    <a:lnTo>
                      <a:pt x="315" y="400"/>
                    </a:lnTo>
                    <a:lnTo>
                      <a:pt x="313" y="401"/>
                    </a:lnTo>
                    <a:lnTo>
                      <a:pt x="312" y="401"/>
                    </a:lnTo>
                    <a:lnTo>
                      <a:pt x="312" y="402"/>
                    </a:lnTo>
                    <a:lnTo>
                      <a:pt x="311" y="402"/>
                    </a:lnTo>
                    <a:lnTo>
                      <a:pt x="310" y="402"/>
                    </a:lnTo>
                    <a:lnTo>
                      <a:pt x="310" y="401"/>
                    </a:lnTo>
                    <a:lnTo>
                      <a:pt x="309" y="401"/>
                    </a:lnTo>
                    <a:lnTo>
                      <a:pt x="309" y="400"/>
                    </a:lnTo>
                    <a:lnTo>
                      <a:pt x="308" y="400"/>
                    </a:lnTo>
                    <a:lnTo>
                      <a:pt x="307" y="399"/>
                    </a:lnTo>
                    <a:lnTo>
                      <a:pt x="307" y="398"/>
                    </a:lnTo>
                    <a:lnTo>
                      <a:pt x="306" y="398"/>
                    </a:lnTo>
                    <a:lnTo>
                      <a:pt x="305" y="398"/>
                    </a:lnTo>
                    <a:lnTo>
                      <a:pt x="304" y="398"/>
                    </a:lnTo>
                    <a:lnTo>
                      <a:pt x="304" y="399"/>
                    </a:lnTo>
                    <a:lnTo>
                      <a:pt x="303" y="399"/>
                    </a:lnTo>
                    <a:lnTo>
                      <a:pt x="304" y="399"/>
                    </a:lnTo>
                    <a:lnTo>
                      <a:pt x="304" y="398"/>
                    </a:lnTo>
                    <a:lnTo>
                      <a:pt x="304" y="397"/>
                    </a:lnTo>
                    <a:lnTo>
                      <a:pt x="305" y="397"/>
                    </a:lnTo>
                    <a:lnTo>
                      <a:pt x="305" y="396"/>
                    </a:lnTo>
                    <a:lnTo>
                      <a:pt x="306" y="396"/>
                    </a:lnTo>
                    <a:lnTo>
                      <a:pt x="307" y="395"/>
                    </a:lnTo>
                    <a:lnTo>
                      <a:pt x="309" y="393"/>
                    </a:lnTo>
                    <a:lnTo>
                      <a:pt x="309" y="395"/>
                    </a:lnTo>
                    <a:lnTo>
                      <a:pt x="309" y="393"/>
                    </a:lnTo>
                    <a:lnTo>
                      <a:pt x="310" y="393"/>
                    </a:lnTo>
                    <a:close/>
                    <a:moveTo>
                      <a:pt x="116" y="412"/>
                    </a:moveTo>
                    <a:lnTo>
                      <a:pt x="115" y="412"/>
                    </a:lnTo>
                    <a:lnTo>
                      <a:pt x="116" y="412"/>
                    </a:lnTo>
                    <a:lnTo>
                      <a:pt x="116" y="413"/>
                    </a:lnTo>
                    <a:lnTo>
                      <a:pt x="117" y="413"/>
                    </a:lnTo>
                    <a:lnTo>
                      <a:pt x="118" y="413"/>
                    </a:lnTo>
                    <a:lnTo>
                      <a:pt x="117" y="414"/>
                    </a:lnTo>
                    <a:lnTo>
                      <a:pt x="116" y="414"/>
                    </a:lnTo>
                    <a:lnTo>
                      <a:pt x="116" y="415"/>
                    </a:lnTo>
                    <a:lnTo>
                      <a:pt x="116" y="414"/>
                    </a:lnTo>
                    <a:lnTo>
                      <a:pt x="117" y="414"/>
                    </a:lnTo>
                    <a:lnTo>
                      <a:pt x="118" y="413"/>
                    </a:lnTo>
                    <a:lnTo>
                      <a:pt x="119" y="414"/>
                    </a:lnTo>
                    <a:lnTo>
                      <a:pt x="119" y="413"/>
                    </a:lnTo>
                    <a:lnTo>
                      <a:pt x="120" y="413"/>
                    </a:lnTo>
                    <a:lnTo>
                      <a:pt x="120" y="414"/>
                    </a:lnTo>
                    <a:lnTo>
                      <a:pt x="122" y="414"/>
                    </a:lnTo>
                    <a:lnTo>
                      <a:pt x="122" y="415"/>
                    </a:lnTo>
                    <a:lnTo>
                      <a:pt x="122" y="416"/>
                    </a:lnTo>
                    <a:lnTo>
                      <a:pt x="122" y="418"/>
                    </a:lnTo>
                    <a:lnTo>
                      <a:pt x="122" y="420"/>
                    </a:lnTo>
                    <a:lnTo>
                      <a:pt x="123" y="420"/>
                    </a:lnTo>
                    <a:lnTo>
                      <a:pt x="124" y="420"/>
                    </a:lnTo>
                    <a:lnTo>
                      <a:pt x="125" y="420"/>
                    </a:lnTo>
                    <a:lnTo>
                      <a:pt x="125" y="418"/>
                    </a:lnTo>
                    <a:lnTo>
                      <a:pt x="126" y="418"/>
                    </a:lnTo>
                    <a:lnTo>
                      <a:pt x="126" y="417"/>
                    </a:lnTo>
                    <a:lnTo>
                      <a:pt x="127" y="417"/>
                    </a:lnTo>
                    <a:lnTo>
                      <a:pt x="128" y="417"/>
                    </a:lnTo>
                    <a:lnTo>
                      <a:pt x="129" y="417"/>
                    </a:lnTo>
                    <a:lnTo>
                      <a:pt x="130" y="417"/>
                    </a:lnTo>
                    <a:lnTo>
                      <a:pt x="130" y="416"/>
                    </a:lnTo>
                    <a:lnTo>
                      <a:pt x="129" y="416"/>
                    </a:lnTo>
                    <a:lnTo>
                      <a:pt x="129" y="415"/>
                    </a:lnTo>
                    <a:lnTo>
                      <a:pt x="128" y="416"/>
                    </a:lnTo>
                    <a:lnTo>
                      <a:pt x="128" y="415"/>
                    </a:lnTo>
                    <a:lnTo>
                      <a:pt x="129" y="415"/>
                    </a:lnTo>
                    <a:lnTo>
                      <a:pt x="130" y="415"/>
                    </a:lnTo>
                    <a:lnTo>
                      <a:pt x="130" y="416"/>
                    </a:lnTo>
                    <a:lnTo>
                      <a:pt x="131" y="416"/>
                    </a:lnTo>
                    <a:lnTo>
                      <a:pt x="131" y="417"/>
                    </a:lnTo>
                    <a:lnTo>
                      <a:pt x="130" y="418"/>
                    </a:lnTo>
                    <a:lnTo>
                      <a:pt x="128" y="418"/>
                    </a:lnTo>
                    <a:lnTo>
                      <a:pt x="128" y="420"/>
                    </a:lnTo>
                    <a:lnTo>
                      <a:pt x="127" y="420"/>
                    </a:lnTo>
                    <a:lnTo>
                      <a:pt x="126" y="420"/>
                    </a:lnTo>
                    <a:lnTo>
                      <a:pt x="125" y="421"/>
                    </a:lnTo>
                    <a:lnTo>
                      <a:pt x="124" y="421"/>
                    </a:lnTo>
                    <a:lnTo>
                      <a:pt x="123" y="422"/>
                    </a:lnTo>
                    <a:lnTo>
                      <a:pt x="122" y="422"/>
                    </a:lnTo>
                    <a:lnTo>
                      <a:pt x="118" y="422"/>
                    </a:lnTo>
                    <a:lnTo>
                      <a:pt x="117" y="422"/>
                    </a:lnTo>
                    <a:lnTo>
                      <a:pt x="115" y="421"/>
                    </a:lnTo>
                    <a:lnTo>
                      <a:pt x="115" y="420"/>
                    </a:lnTo>
                    <a:lnTo>
                      <a:pt x="114" y="420"/>
                    </a:lnTo>
                    <a:lnTo>
                      <a:pt x="113" y="418"/>
                    </a:lnTo>
                    <a:lnTo>
                      <a:pt x="112" y="418"/>
                    </a:lnTo>
                    <a:lnTo>
                      <a:pt x="111" y="418"/>
                    </a:lnTo>
                    <a:lnTo>
                      <a:pt x="110" y="417"/>
                    </a:lnTo>
                    <a:lnTo>
                      <a:pt x="109" y="417"/>
                    </a:lnTo>
                    <a:lnTo>
                      <a:pt x="107" y="416"/>
                    </a:lnTo>
                    <a:lnTo>
                      <a:pt x="105" y="416"/>
                    </a:lnTo>
                    <a:lnTo>
                      <a:pt x="105" y="415"/>
                    </a:lnTo>
                    <a:lnTo>
                      <a:pt x="109" y="415"/>
                    </a:lnTo>
                    <a:lnTo>
                      <a:pt x="110" y="415"/>
                    </a:lnTo>
                    <a:lnTo>
                      <a:pt x="111" y="416"/>
                    </a:lnTo>
                    <a:lnTo>
                      <a:pt x="112" y="417"/>
                    </a:lnTo>
                    <a:lnTo>
                      <a:pt x="113" y="417"/>
                    </a:lnTo>
                    <a:lnTo>
                      <a:pt x="113" y="418"/>
                    </a:lnTo>
                    <a:lnTo>
                      <a:pt x="114" y="418"/>
                    </a:lnTo>
                    <a:lnTo>
                      <a:pt x="115" y="418"/>
                    </a:lnTo>
                    <a:lnTo>
                      <a:pt x="115" y="420"/>
                    </a:lnTo>
                    <a:lnTo>
                      <a:pt x="115" y="418"/>
                    </a:lnTo>
                    <a:lnTo>
                      <a:pt x="115" y="420"/>
                    </a:lnTo>
                    <a:lnTo>
                      <a:pt x="116" y="420"/>
                    </a:lnTo>
                    <a:lnTo>
                      <a:pt x="117" y="421"/>
                    </a:lnTo>
                    <a:lnTo>
                      <a:pt x="118" y="421"/>
                    </a:lnTo>
                    <a:lnTo>
                      <a:pt x="118" y="420"/>
                    </a:lnTo>
                    <a:lnTo>
                      <a:pt x="119" y="421"/>
                    </a:lnTo>
                    <a:lnTo>
                      <a:pt x="119" y="420"/>
                    </a:lnTo>
                    <a:lnTo>
                      <a:pt x="120" y="420"/>
                    </a:lnTo>
                    <a:lnTo>
                      <a:pt x="120" y="418"/>
                    </a:lnTo>
                    <a:lnTo>
                      <a:pt x="120" y="417"/>
                    </a:lnTo>
                    <a:lnTo>
                      <a:pt x="119" y="417"/>
                    </a:lnTo>
                    <a:lnTo>
                      <a:pt x="119" y="416"/>
                    </a:lnTo>
                    <a:lnTo>
                      <a:pt x="118" y="416"/>
                    </a:lnTo>
                    <a:lnTo>
                      <a:pt x="117" y="416"/>
                    </a:lnTo>
                    <a:lnTo>
                      <a:pt x="116" y="415"/>
                    </a:lnTo>
                    <a:lnTo>
                      <a:pt x="115" y="414"/>
                    </a:lnTo>
                    <a:lnTo>
                      <a:pt x="114" y="413"/>
                    </a:lnTo>
                    <a:lnTo>
                      <a:pt x="113" y="413"/>
                    </a:lnTo>
                    <a:lnTo>
                      <a:pt x="112" y="413"/>
                    </a:lnTo>
                    <a:lnTo>
                      <a:pt x="111" y="412"/>
                    </a:lnTo>
                    <a:lnTo>
                      <a:pt x="111" y="413"/>
                    </a:lnTo>
                    <a:lnTo>
                      <a:pt x="110" y="413"/>
                    </a:lnTo>
                    <a:lnTo>
                      <a:pt x="109" y="414"/>
                    </a:lnTo>
                    <a:lnTo>
                      <a:pt x="107" y="414"/>
                    </a:lnTo>
                    <a:lnTo>
                      <a:pt x="106" y="414"/>
                    </a:lnTo>
                    <a:lnTo>
                      <a:pt x="105" y="415"/>
                    </a:lnTo>
                    <a:lnTo>
                      <a:pt x="104" y="415"/>
                    </a:lnTo>
                    <a:lnTo>
                      <a:pt x="103" y="415"/>
                    </a:lnTo>
                    <a:lnTo>
                      <a:pt x="104" y="415"/>
                    </a:lnTo>
                    <a:lnTo>
                      <a:pt x="104" y="414"/>
                    </a:lnTo>
                    <a:lnTo>
                      <a:pt x="105" y="414"/>
                    </a:lnTo>
                    <a:lnTo>
                      <a:pt x="104" y="414"/>
                    </a:lnTo>
                    <a:lnTo>
                      <a:pt x="104" y="415"/>
                    </a:lnTo>
                    <a:lnTo>
                      <a:pt x="104" y="414"/>
                    </a:lnTo>
                    <a:lnTo>
                      <a:pt x="105" y="414"/>
                    </a:lnTo>
                    <a:lnTo>
                      <a:pt x="106" y="413"/>
                    </a:lnTo>
                    <a:lnTo>
                      <a:pt x="107" y="414"/>
                    </a:lnTo>
                    <a:lnTo>
                      <a:pt x="107" y="413"/>
                    </a:lnTo>
                    <a:lnTo>
                      <a:pt x="109" y="413"/>
                    </a:lnTo>
                    <a:lnTo>
                      <a:pt x="107" y="413"/>
                    </a:lnTo>
                    <a:lnTo>
                      <a:pt x="109" y="412"/>
                    </a:lnTo>
                    <a:lnTo>
                      <a:pt x="110" y="412"/>
                    </a:lnTo>
                    <a:lnTo>
                      <a:pt x="111" y="412"/>
                    </a:lnTo>
                    <a:lnTo>
                      <a:pt x="112" y="412"/>
                    </a:lnTo>
                    <a:lnTo>
                      <a:pt x="115" y="412"/>
                    </a:lnTo>
                    <a:lnTo>
                      <a:pt x="116" y="412"/>
                    </a:lnTo>
                    <a:close/>
                    <a:moveTo>
                      <a:pt x="533" y="572"/>
                    </a:moveTo>
                    <a:lnTo>
                      <a:pt x="537" y="573"/>
                    </a:lnTo>
                    <a:lnTo>
                      <a:pt x="537" y="572"/>
                    </a:lnTo>
                    <a:lnTo>
                      <a:pt x="538" y="572"/>
                    </a:lnTo>
                    <a:lnTo>
                      <a:pt x="538" y="571"/>
                    </a:lnTo>
                    <a:lnTo>
                      <a:pt x="539" y="572"/>
                    </a:lnTo>
                    <a:lnTo>
                      <a:pt x="540" y="572"/>
                    </a:lnTo>
                    <a:lnTo>
                      <a:pt x="541" y="572"/>
                    </a:lnTo>
                    <a:lnTo>
                      <a:pt x="542" y="572"/>
                    </a:lnTo>
                    <a:lnTo>
                      <a:pt x="542" y="573"/>
                    </a:lnTo>
                    <a:lnTo>
                      <a:pt x="543" y="573"/>
                    </a:lnTo>
                    <a:lnTo>
                      <a:pt x="544" y="575"/>
                    </a:lnTo>
                    <a:lnTo>
                      <a:pt x="545" y="575"/>
                    </a:lnTo>
                    <a:lnTo>
                      <a:pt x="545" y="576"/>
                    </a:lnTo>
                    <a:lnTo>
                      <a:pt x="545" y="577"/>
                    </a:lnTo>
                    <a:lnTo>
                      <a:pt x="546" y="577"/>
                    </a:lnTo>
                    <a:lnTo>
                      <a:pt x="546" y="578"/>
                    </a:lnTo>
                    <a:lnTo>
                      <a:pt x="548" y="579"/>
                    </a:lnTo>
                    <a:lnTo>
                      <a:pt x="548" y="580"/>
                    </a:lnTo>
                    <a:lnTo>
                      <a:pt x="549" y="581"/>
                    </a:lnTo>
                    <a:lnTo>
                      <a:pt x="550" y="583"/>
                    </a:lnTo>
                    <a:lnTo>
                      <a:pt x="550" y="584"/>
                    </a:lnTo>
                    <a:lnTo>
                      <a:pt x="550" y="585"/>
                    </a:lnTo>
                    <a:lnTo>
                      <a:pt x="551" y="585"/>
                    </a:lnTo>
                    <a:lnTo>
                      <a:pt x="551" y="586"/>
                    </a:lnTo>
                    <a:lnTo>
                      <a:pt x="551" y="588"/>
                    </a:lnTo>
                    <a:lnTo>
                      <a:pt x="552" y="589"/>
                    </a:lnTo>
                    <a:lnTo>
                      <a:pt x="552" y="590"/>
                    </a:lnTo>
                    <a:lnTo>
                      <a:pt x="552" y="591"/>
                    </a:lnTo>
                    <a:lnTo>
                      <a:pt x="552" y="592"/>
                    </a:lnTo>
                    <a:lnTo>
                      <a:pt x="553" y="592"/>
                    </a:lnTo>
                    <a:lnTo>
                      <a:pt x="553" y="593"/>
                    </a:lnTo>
                    <a:lnTo>
                      <a:pt x="553" y="594"/>
                    </a:lnTo>
                    <a:lnTo>
                      <a:pt x="552" y="594"/>
                    </a:lnTo>
                    <a:lnTo>
                      <a:pt x="553" y="594"/>
                    </a:lnTo>
                    <a:lnTo>
                      <a:pt x="554" y="594"/>
                    </a:lnTo>
                    <a:lnTo>
                      <a:pt x="554" y="595"/>
                    </a:lnTo>
                    <a:lnTo>
                      <a:pt x="553" y="594"/>
                    </a:lnTo>
                    <a:lnTo>
                      <a:pt x="552" y="594"/>
                    </a:lnTo>
                    <a:lnTo>
                      <a:pt x="551" y="593"/>
                    </a:lnTo>
                    <a:lnTo>
                      <a:pt x="550" y="592"/>
                    </a:lnTo>
                    <a:lnTo>
                      <a:pt x="549" y="591"/>
                    </a:lnTo>
                    <a:lnTo>
                      <a:pt x="549" y="590"/>
                    </a:lnTo>
                    <a:lnTo>
                      <a:pt x="549" y="589"/>
                    </a:lnTo>
                    <a:lnTo>
                      <a:pt x="548" y="588"/>
                    </a:lnTo>
                    <a:lnTo>
                      <a:pt x="546" y="586"/>
                    </a:lnTo>
                    <a:lnTo>
                      <a:pt x="546" y="585"/>
                    </a:lnTo>
                    <a:lnTo>
                      <a:pt x="546" y="584"/>
                    </a:lnTo>
                    <a:lnTo>
                      <a:pt x="546" y="582"/>
                    </a:lnTo>
                    <a:lnTo>
                      <a:pt x="545" y="580"/>
                    </a:lnTo>
                    <a:lnTo>
                      <a:pt x="545" y="579"/>
                    </a:lnTo>
                    <a:lnTo>
                      <a:pt x="545" y="578"/>
                    </a:lnTo>
                    <a:lnTo>
                      <a:pt x="544" y="577"/>
                    </a:lnTo>
                    <a:lnTo>
                      <a:pt x="543" y="576"/>
                    </a:lnTo>
                    <a:lnTo>
                      <a:pt x="542" y="575"/>
                    </a:lnTo>
                    <a:lnTo>
                      <a:pt x="541" y="575"/>
                    </a:lnTo>
                    <a:lnTo>
                      <a:pt x="540" y="576"/>
                    </a:lnTo>
                    <a:lnTo>
                      <a:pt x="539" y="576"/>
                    </a:lnTo>
                    <a:lnTo>
                      <a:pt x="538" y="576"/>
                    </a:lnTo>
                    <a:lnTo>
                      <a:pt x="538" y="575"/>
                    </a:lnTo>
                    <a:lnTo>
                      <a:pt x="539" y="573"/>
                    </a:lnTo>
                    <a:lnTo>
                      <a:pt x="538" y="573"/>
                    </a:lnTo>
                    <a:lnTo>
                      <a:pt x="537" y="575"/>
                    </a:lnTo>
                    <a:lnTo>
                      <a:pt x="533" y="573"/>
                    </a:lnTo>
                    <a:lnTo>
                      <a:pt x="532" y="575"/>
                    </a:lnTo>
                    <a:lnTo>
                      <a:pt x="530" y="573"/>
                    </a:lnTo>
                    <a:lnTo>
                      <a:pt x="528" y="573"/>
                    </a:lnTo>
                    <a:lnTo>
                      <a:pt x="529" y="571"/>
                    </a:lnTo>
                    <a:lnTo>
                      <a:pt x="533" y="572"/>
                    </a:lnTo>
                    <a:close/>
                    <a:moveTo>
                      <a:pt x="533" y="546"/>
                    </a:moveTo>
                    <a:lnTo>
                      <a:pt x="535" y="546"/>
                    </a:lnTo>
                    <a:lnTo>
                      <a:pt x="537" y="547"/>
                    </a:lnTo>
                    <a:lnTo>
                      <a:pt x="537" y="546"/>
                    </a:lnTo>
                    <a:lnTo>
                      <a:pt x="538" y="546"/>
                    </a:lnTo>
                    <a:lnTo>
                      <a:pt x="539" y="546"/>
                    </a:lnTo>
                    <a:lnTo>
                      <a:pt x="540" y="547"/>
                    </a:lnTo>
                    <a:lnTo>
                      <a:pt x="541" y="549"/>
                    </a:lnTo>
                    <a:lnTo>
                      <a:pt x="541" y="550"/>
                    </a:lnTo>
                    <a:lnTo>
                      <a:pt x="542" y="550"/>
                    </a:lnTo>
                    <a:lnTo>
                      <a:pt x="542" y="551"/>
                    </a:lnTo>
                    <a:lnTo>
                      <a:pt x="543" y="552"/>
                    </a:lnTo>
                    <a:lnTo>
                      <a:pt x="543" y="553"/>
                    </a:lnTo>
                    <a:lnTo>
                      <a:pt x="543" y="554"/>
                    </a:lnTo>
                    <a:lnTo>
                      <a:pt x="544" y="554"/>
                    </a:lnTo>
                    <a:lnTo>
                      <a:pt x="545" y="554"/>
                    </a:lnTo>
                    <a:lnTo>
                      <a:pt x="546" y="554"/>
                    </a:lnTo>
                    <a:lnTo>
                      <a:pt x="545" y="554"/>
                    </a:lnTo>
                    <a:lnTo>
                      <a:pt x="544" y="554"/>
                    </a:lnTo>
                    <a:lnTo>
                      <a:pt x="543" y="554"/>
                    </a:lnTo>
                    <a:lnTo>
                      <a:pt x="543" y="555"/>
                    </a:lnTo>
                    <a:lnTo>
                      <a:pt x="542" y="554"/>
                    </a:lnTo>
                    <a:lnTo>
                      <a:pt x="541" y="554"/>
                    </a:lnTo>
                    <a:lnTo>
                      <a:pt x="541" y="553"/>
                    </a:lnTo>
                    <a:lnTo>
                      <a:pt x="540" y="553"/>
                    </a:lnTo>
                    <a:lnTo>
                      <a:pt x="540" y="552"/>
                    </a:lnTo>
                    <a:lnTo>
                      <a:pt x="539" y="552"/>
                    </a:lnTo>
                    <a:lnTo>
                      <a:pt x="538" y="551"/>
                    </a:lnTo>
                    <a:lnTo>
                      <a:pt x="538" y="552"/>
                    </a:lnTo>
                    <a:lnTo>
                      <a:pt x="539" y="552"/>
                    </a:lnTo>
                    <a:lnTo>
                      <a:pt x="539" y="553"/>
                    </a:lnTo>
                    <a:lnTo>
                      <a:pt x="540" y="553"/>
                    </a:lnTo>
                    <a:lnTo>
                      <a:pt x="542" y="555"/>
                    </a:lnTo>
                    <a:lnTo>
                      <a:pt x="543" y="555"/>
                    </a:lnTo>
                    <a:lnTo>
                      <a:pt x="543" y="556"/>
                    </a:lnTo>
                    <a:lnTo>
                      <a:pt x="543" y="555"/>
                    </a:lnTo>
                    <a:lnTo>
                      <a:pt x="542" y="557"/>
                    </a:lnTo>
                    <a:lnTo>
                      <a:pt x="542" y="556"/>
                    </a:lnTo>
                    <a:lnTo>
                      <a:pt x="541" y="556"/>
                    </a:lnTo>
                    <a:lnTo>
                      <a:pt x="542" y="557"/>
                    </a:lnTo>
                    <a:lnTo>
                      <a:pt x="543" y="557"/>
                    </a:lnTo>
                    <a:lnTo>
                      <a:pt x="543" y="556"/>
                    </a:lnTo>
                    <a:lnTo>
                      <a:pt x="543" y="557"/>
                    </a:lnTo>
                    <a:lnTo>
                      <a:pt x="543" y="558"/>
                    </a:lnTo>
                    <a:lnTo>
                      <a:pt x="544" y="558"/>
                    </a:lnTo>
                    <a:lnTo>
                      <a:pt x="544" y="557"/>
                    </a:lnTo>
                    <a:lnTo>
                      <a:pt x="545" y="557"/>
                    </a:lnTo>
                    <a:lnTo>
                      <a:pt x="544" y="558"/>
                    </a:lnTo>
                    <a:lnTo>
                      <a:pt x="543" y="558"/>
                    </a:lnTo>
                    <a:lnTo>
                      <a:pt x="544" y="559"/>
                    </a:lnTo>
                    <a:lnTo>
                      <a:pt x="545" y="559"/>
                    </a:lnTo>
                    <a:lnTo>
                      <a:pt x="546" y="559"/>
                    </a:lnTo>
                    <a:lnTo>
                      <a:pt x="546" y="558"/>
                    </a:lnTo>
                    <a:lnTo>
                      <a:pt x="545" y="558"/>
                    </a:lnTo>
                    <a:lnTo>
                      <a:pt x="546" y="558"/>
                    </a:lnTo>
                    <a:lnTo>
                      <a:pt x="546" y="559"/>
                    </a:lnTo>
                    <a:lnTo>
                      <a:pt x="546" y="560"/>
                    </a:lnTo>
                    <a:lnTo>
                      <a:pt x="545" y="560"/>
                    </a:lnTo>
                    <a:lnTo>
                      <a:pt x="545" y="559"/>
                    </a:lnTo>
                    <a:lnTo>
                      <a:pt x="545" y="560"/>
                    </a:lnTo>
                    <a:lnTo>
                      <a:pt x="545" y="562"/>
                    </a:lnTo>
                    <a:lnTo>
                      <a:pt x="544" y="559"/>
                    </a:lnTo>
                    <a:lnTo>
                      <a:pt x="543" y="558"/>
                    </a:lnTo>
                    <a:lnTo>
                      <a:pt x="542" y="557"/>
                    </a:lnTo>
                    <a:lnTo>
                      <a:pt x="541" y="556"/>
                    </a:lnTo>
                    <a:lnTo>
                      <a:pt x="540" y="556"/>
                    </a:lnTo>
                    <a:lnTo>
                      <a:pt x="539" y="555"/>
                    </a:lnTo>
                    <a:lnTo>
                      <a:pt x="538" y="555"/>
                    </a:lnTo>
                    <a:lnTo>
                      <a:pt x="538" y="554"/>
                    </a:lnTo>
                    <a:lnTo>
                      <a:pt x="536" y="554"/>
                    </a:lnTo>
                    <a:lnTo>
                      <a:pt x="535" y="553"/>
                    </a:lnTo>
                    <a:lnTo>
                      <a:pt x="533" y="552"/>
                    </a:lnTo>
                    <a:lnTo>
                      <a:pt x="532" y="551"/>
                    </a:lnTo>
                    <a:lnTo>
                      <a:pt x="532" y="550"/>
                    </a:lnTo>
                    <a:lnTo>
                      <a:pt x="532" y="549"/>
                    </a:lnTo>
                    <a:lnTo>
                      <a:pt x="531" y="547"/>
                    </a:lnTo>
                    <a:lnTo>
                      <a:pt x="531" y="546"/>
                    </a:lnTo>
                    <a:lnTo>
                      <a:pt x="532" y="546"/>
                    </a:lnTo>
                    <a:lnTo>
                      <a:pt x="533" y="546"/>
                    </a:lnTo>
                    <a:close/>
                    <a:moveTo>
                      <a:pt x="251" y="398"/>
                    </a:moveTo>
                    <a:lnTo>
                      <a:pt x="251" y="399"/>
                    </a:lnTo>
                    <a:lnTo>
                      <a:pt x="251" y="400"/>
                    </a:lnTo>
                    <a:lnTo>
                      <a:pt x="249" y="401"/>
                    </a:lnTo>
                    <a:lnTo>
                      <a:pt x="249" y="400"/>
                    </a:lnTo>
                    <a:lnTo>
                      <a:pt x="249" y="399"/>
                    </a:lnTo>
                    <a:lnTo>
                      <a:pt x="249" y="398"/>
                    </a:lnTo>
                    <a:lnTo>
                      <a:pt x="247" y="398"/>
                    </a:lnTo>
                    <a:lnTo>
                      <a:pt x="247" y="399"/>
                    </a:lnTo>
                    <a:lnTo>
                      <a:pt x="247" y="400"/>
                    </a:lnTo>
                    <a:lnTo>
                      <a:pt x="247" y="401"/>
                    </a:lnTo>
                    <a:lnTo>
                      <a:pt x="247" y="402"/>
                    </a:lnTo>
                    <a:lnTo>
                      <a:pt x="246" y="402"/>
                    </a:lnTo>
                    <a:lnTo>
                      <a:pt x="247" y="403"/>
                    </a:lnTo>
                    <a:lnTo>
                      <a:pt x="249" y="405"/>
                    </a:lnTo>
                    <a:lnTo>
                      <a:pt x="249" y="406"/>
                    </a:lnTo>
                    <a:lnTo>
                      <a:pt x="251" y="406"/>
                    </a:lnTo>
                    <a:lnTo>
                      <a:pt x="252" y="406"/>
                    </a:lnTo>
                    <a:lnTo>
                      <a:pt x="253" y="406"/>
                    </a:lnTo>
                    <a:lnTo>
                      <a:pt x="254" y="406"/>
                    </a:lnTo>
                    <a:lnTo>
                      <a:pt x="255" y="406"/>
                    </a:lnTo>
                    <a:lnTo>
                      <a:pt x="255" y="405"/>
                    </a:lnTo>
                    <a:lnTo>
                      <a:pt x="256" y="405"/>
                    </a:lnTo>
                    <a:lnTo>
                      <a:pt x="256" y="404"/>
                    </a:lnTo>
                    <a:lnTo>
                      <a:pt x="257" y="404"/>
                    </a:lnTo>
                    <a:lnTo>
                      <a:pt x="256" y="404"/>
                    </a:lnTo>
                    <a:lnTo>
                      <a:pt x="255" y="404"/>
                    </a:lnTo>
                    <a:lnTo>
                      <a:pt x="255" y="405"/>
                    </a:lnTo>
                    <a:lnTo>
                      <a:pt x="253" y="405"/>
                    </a:lnTo>
                    <a:lnTo>
                      <a:pt x="253" y="404"/>
                    </a:lnTo>
                    <a:lnTo>
                      <a:pt x="254" y="404"/>
                    </a:lnTo>
                    <a:lnTo>
                      <a:pt x="253" y="404"/>
                    </a:lnTo>
                    <a:lnTo>
                      <a:pt x="254" y="404"/>
                    </a:lnTo>
                    <a:lnTo>
                      <a:pt x="254" y="403"/>
                    </a:lnTo>
                    <a:lnTo>
                      <a:pt x="254" y="402"/>
                    </a:lnTo>
                    <a:lnTo>
                      <a:pt x="256" y="402"/>
                    </a:lnTo>
                    <a:lnTo>
                      <a:pt x="257" y="402"/>
                    </a:lnTo>
                    <a:lnTo>
                      <a:pt x="257" y="401"/>
                    </a:lnTo>
                    <a:lnTo>
                      <a:pt x="258" y="402"/>
                    </a:lnTo>
                    <a:lnTo>
                      <a:pt x="259" y="403"/>
                    </a:lnTo>
                    <a:lnTo>
                      <a:pt x="260" y="403"/>
                    </a:lnTo>
                    <a:lnTo>
                      <a:pt x="261" y="403"/>
                    </a:lnTo>
                    <a:lnTo>
                      <a:pt x="262" y="403"/>
                    </a:lnTo>
                    <a:lnTo>
                      <a:pt x="264" y="403"/>
                    </a:lnTo>
                    <a:lnTo>
                      <a:pt x="265" y="403"/>
                    </a:lnTo>
                    <a:lnTo>
                      <a:pt x="265" y="402"/>
                    </a:lnTo>
                    <a:lnTo>
                      <a:pt x="265" y="403"/>
                    </a:lnTo>
                    <a:lnTo>
                      <a:pt x="266" y="403"/>
                    </a:lnTo>
                    <a:lnTo>
                      <a:pt x="265" y="403"/>
                    </a:lnTo>
                    <a:lnTo>
                      <a:pt x="265" y="404"/>
                    </a:lnTo>
                    <a:lnTo>
                      <a:pt x="264" y="404"/>
                    </a:lnTo>
                    <a:lnTo>
                      <a:pt x="262" y="404"/>
                    </a:lnTo>
                    <a:lnTo>
                      <a:pt x="262" y="405"/>
                    </a:lnTo>
                    <a:lnTo>
                      <a:pt x="262" y="406"/>
                    </a:lnTo>
                    <a:lnTo>
                      <a:pt x="261" y="406"/>
                    </a:lnTo>
                    <a:lnTo>
                      <a:pt x="260" y="406"/>
                    </a:lnTo>
                    <a:lnTo>
                      <a:pt x="259" y="408"/>
                    </a:lnTo>
                    <a:lnTo>
                      <a:pt x="258" y="408"/>
                    </a:lnTo>
                    <a:lnTo>
                      <a:pt x="258" y="409"/>
                    </a:lnTo>
                    <a:lnTo>
                      <a:pt x="257" y="409"/>
                    </a:lnTo>
                    <a:lnTo>
                      <a:pt x="256" y="409"/>
                    </a:lnTo>
                    <a:lnTo>
                      <a:pt x="256" y="410"/>
                    </a:lnTo>
                    <a:lnTo>
                      <a:pt x="255" y="410"/>
                    </a:lnTo>
                    <a:lnTo>
                      <a:pt x="254" y="410"/>
                    </a:lnTo>
                    <a:lnTo>
                      <a:pt x="253" y="410"/>
                    </a:lnTo>
                    <a:lnTo>
                      <a:pt x="252" y="410"/>
                    </a:lnTo>
                    <a:lnTo>
                      <a:pt x="249" y="410"/>
                    </a:lnTo>
                    <a:lnTo>
                      <a:pt x="249" y="409"/>
                    </a:lnTo>
                    <a:lnTo>
                      <a:pt x="248" y="409"/>
                    </a:lnTo>
                    <a:lnTo>
                      <a:pt x="249" y="409"/>
                    </a:lnTo>
                    <a:lnTo>
                      <a:pt x="251" y="409"/>
                    </a:lnTo>
                    <a:lnTo>
                      <a:pt x="251" y="408"/>
                    </a:lnTo>
                    <a:lnTo>
                      <a:pt x="252" y="409"/>
                    </a:lnTo>
                    <a:lnTo>
                      <a:pt x="252" y="408"/>
                    </a:lnTo>
                    <a:lnTo>
                      <a:pt x="253" y="408"/>
                    </a:lnTo>
                    <a:lnTo>
                      <a:pt x="253" y="406"/>
                    </a:lnTo>
                    <a:lnTo>
                      <a:pt x="254" y="408"/>
                    </a:lnTo>
                    <a:lnTo>
                      <a:pt x="255" y="408"/>
                    </a:lnTo>
                    <a:lnTo>
                      <a:pt x="255" y="406"/>
                    </a:lnTo>
                    <a:lnTo>
                      <a:pt x="256" y="406"/>
                    </a:lnTo>
                    <a:lnTo>
                      <a:pt x="257" y="406"/>
                    </a:lnTo>
                    <a:lnTo>
                      <a:pt x="258" y="406"/>
                    </a:lnTo>
                    <a:lnTo>
                      <a:pt x="259" y="406"/>
                    </a:lnTo>
                    <a:lnTo>
                      <a:pt x="259" y="405"/>
                    </a:lnTo>
                    <a:lnTo>
                      <a:pt x="258" y="405"/>
                    </a:lnTo>
                    <a:lnTo>
                      <a:pt x="258" y="406"/>
                    </a:lnTo>
                    <a:lnTo>
                      <a:pt x="257" y="406"/>
                    </a:lnTo>
                    <a:lnTo>
                      <a:pt x="257" y="405"/>
                    </a:lnTo>
                    <a:lnTo>
                      <a:pt x="256" y="405"/>
                    </a:lnTo>
                    <a:lnTo>
                      <a:pt x="257" y="405"/>
                    </a:lnTo>
                    <a:lnTo>
                      <a:pt x="258" y="404"/>
                    </a:lnTo>
                    <a:lnTo>
                      <a:pt x="258" y="403"/>
                    </a:lnTo>
                    <a:lnTo>
                      <a:pt x="258" y="404"/>
                    </a:lnTo>
                    <a:lnTo>
                      <a:pt x="259" y="404"/>
                    </a:lnTo>
                    <a:lnTo>
                      <a:pt x="258" y="404"/>
                    </a:lnTo>
                    <a:lnTo>
                      <a:pt x="258" y="405"/>
                    </a:lnTo>
                    <a:lnTo>
                      <a:pt x="258" y="404"/>
                    </a:lnTo>
                    <a:lnTo>
                      <a:pt x="259" y="404"/>
                    </a:lnTo>
                    <a:lnTo>
                      <a:pt x="259" y="405"/>
                    </a:lnTo>
                    <a:lnTo>
                      <a:pt x="260" y="404"/>
                    </a:lnTo>
                    <a:lnTo>
                      <a:pt x="259" y="404"/>
                    </a:lnTo>
                    <a:lnTo>
                      <a:pt x="259" y="403"/>
                    </a:lnTo>
                    <a:lnTo>
                      <a:pt x="258" y="403"/>
                    </a:lnTo>
                    <a:lnTo>
                      <a:pt x="258" y="402"/>
                    </a:lnTo>
                    <a:lnTo>
                      <a:pt x="258" y="403"/>
                    </a:lnTo>
                    <a:lnTo>
                      <a:pt x="257" y="403"/>
                    </a:lnTo>
                    <a:lnTo>
                      <a:pt x="256" y="403"/>
                    </a:lnTo>
                    <a:lnTo>
                      <a:pt x="255" y="404"/>
                    </a:lnTo>
                    <a:lnTo>
                      <a:pt x="254" y="404"/>
                    </a:lnTo>
                    <a:lnTo>
                      <a:pt x="255" y="404"/>
                    </a:lnTo>
                    <a:lnTo>
                      <a:pt x="256" y="404"/>
                    </a:lnTo>
                    <a:lnTo>
                      <a:pt x="256" y="403"/>
                    </a:lnTo>
                    <a:lnTo>
                      <a:pt x="257" y="403"/>
                    </a:lnTo>
                    <a:lnTo>
                      <a:pt x="258" y="403"/>
                    </a:lnTo>
                    <a:lnTo>
                      <a:pt x="257" y="404"/>
                    </a:lnTo>
                    <a:lnTo>
                      <a:pt x="256" y="404"/>
                    </a:lnTo>
                    <a:lnTo>
                      <a:pt x="256" y="405"/>
                    </a:lnTo>
                    <a:lnTo>
                      <a:pt x="256" y="406"/>
                    </a:lnTo>
                    <a:lnTo>
                      <a:pt x="255" y="406"/>
                    </a:lnTo>
                    <a:lnTo>
                      <a:pt x="254" y="406"/>
                    </a:lnTo>
                    <a:lnTo>
                      <a:pt x="253" y="406"/>
                    </a:lnTo>
                    <a:lnTo>
                      <a:pt x="252" y="408"/>
                    </a:lnTo>
                    <a:lnTo>
                      <a:pt x="251" y="408"/>
                    </a:lnTo>
                    <a:lnTo>
                      <a:pt x="249" y="408"/>
                    </a:lnTo>
                    <a:lnTo>
                      <a:pt x="248" y="408"/>
                    </a:lnTo>
                    <a:lnTo>
                      <a:pt x="248" y="406"/>
                    </a:lnTo>
                    <a:lnTo>
                      <a:pt x="248" y="405"/>
                    </a:lnTo>
                    <a:lnTo>
                      <a:pt x="247" y="405"/>
                    </a:lnTo>
                    <a:lnTo>
                      <a:pt x="247" y="404"/>
                    </a:lnTo>
                    <a:lnTo>
                      <a:pt x="246" y="404"/>
                    </a:lnTo>
                    <a:lnTo>
                      <a:pt x="246" y="403"/>
                    </a:lnTo>
                    <a:lnTo>
                      <a:pt x="245" y="403"/>
                    </a:lnTo>
                    <a:lnTo>
                      <a:pt x="246" y="403"/>
                    </a:lnTo>
                    <a:lnTo>
                      <a:pt x="246" y="402"/>
                    </a:lnTo>
                    <a:lnTo>
                      <a:pt x="245" y="402"/>
                    </a:lnTo>
                    <a:lnTo>
                      <a:pt x="246" y="401"/>
                    </a:lnTo>
                    <a:lnTo>
                      <a:pt x="246" y="400"/>
                    </a:lnTo>
                    <a:lnTo>
                      <a:pt x="246" y="399"/>
                    </a:lnTo>
                    <a:lnTo>
                      <a:pt x="246" y="398"/>
                    </a:lnTo>
                    <a:lnTo>
                      <a:pt x="247" y="398"/>
                    </a:lnTo>
                    <a:lnTo>
                      <a:pt x="248" y="398"/>
                    </a:lnTo>
                    <a:lnTo>
                      <a:pt x="251" y="398"/>
                    </a:lnTo>
                    <a:close/>
                    <a:moveTo>
                      <a:pt x="355" y="454"/>
                    </a:moveTo>
                    <a:lnTo>
                      <a:pt x="356" y="454"/>
                    </a:lnTo>
                    <a:lnTo>
                      <a:pt x="356" y="455"/>
                    </a:lnTo>
                    <a:lnTo>
                      <a:pt x="356" y="456"/>
                    </a:lnTo>
                    <a:lnTo>
                      <a:pt x="355" y="456"/>
                    </a:lnTo>
                    <a:lnTo>
                      <a:pt x="356" y="456"/>
                    </a:lnTo>
                    <a:lnTo>
                      <a:pt x="355" y="456"/>
                    </a:lnTo>
                    <a:lnTo>
                      <a:pt x="355" y="457"/>
                    </a:lnTo>
                    <a:lnTo>
                      <a:pt x="357" y="457"/>
                    </a:lnTo>
                    <a:lnTo>
                      <a:pt x="358" y="457"/>
                    </a:lnTo>
                    <a:lnTo>
                      <a:pt x="358" y="456"/>
                    </a:lnTo>
                    <a:lnTo>
                      <a:pt x="359" y="456"/>
                    </a:lnTo>
                    <a:lnTo>
                      <a:pt x="358" y="455"/>
                    </a:lnTo>
                    <a:lnTo>
                      <a:pt x="358" y="454"/>
                    </a:lnTo>
                    <a:lnTo>
                      <a:pt x="358" y="455"/>
                    </a:lnTo>
                    <a:lnTo>
                      <a:pt x="359" y="455"/>
                    </a:lnTo>
                    <a:lnTo>
                      <a:pt x="359" y="456"/>
                    </a:lnTo>
                    <a:lnTo>
                      <a:pt x="360" y="456"/>
                    </a:lnTo>
                    <a:lnTo>
                      <a:pt x="362" y="456"/>
                    </a:lnTo>
                    <a:lnTo>
                      <a:pt x="363" y="456"/>
                    </a:lnTo>
                    <a:lnTo>
                      <a:pt x="363" y="457"/>
                    </a:lnTo>
                    <a:lnTo>
                      <a:pt x="363" y="459"/>
                    </a:lnTo>
                    <a:lnTo>
                      <a:pt x="362" y="460"/>
                    </a:lnTo>
                    <a:lnTo>
                      <a:pt x="362" y="461"/>
                    </a:lnTo>
                    <a:lnTo>
                      <a:pt x="363" y="461"/>
                    </a:lnTo>
                    <a:lnTo>
                      <a:pt x="363" y="462"/>
                    </a:lnTo>
                    <a:lnTo>
                      <a:pt x="363" y="463"/>
                    </a:lnTo>
                    <a:lnTo>
                      <a:pt x="362" y="463"/>
                    </a:lnTo>
                    <a:lnTo>
                      <a:pt x="362" y="464"/>
                    </a:lnTo>
                    <a:lnTo>
                      <a:pt x="361" y="464"/>
                    </a:lnTo>
                    <a:lnTo>
                      <a:pt x="360" y="464"/>
                    </a:lnTo>
                    <a:lnTo>
                      <a:pt x="360" y="465"/>
                    </a:lnTo>
                    <a:lnTo>
                      <a:pt x="359" y="465"/>
                    </a:lnTo>
                    <a:lnTo>
                      <a:pt x="358" y="465"/>
                    </a:lnTo>
                    <a:lnTo>
                      <a:pt x="357" y="465"/>
                    </a:lnTo>
                    <a:lnTo>
                      <a:pt x="357" y="464"/>
                    </a:lnTo>
                    <a:lnTo>
                      <a:pt x="356" y="464"/>
                    </a:lnTo>
                    <a:lnTo>
                      <a:pt x="355" y="464"/>
                    </a:lnTo>
                    <a:lnTo>
                      <a:pt x="355" y="463"/>
                    </a:lnTo>
                    <a:lnTo>
                      <a:pt x="354" y="463"/>
                    </a:lnTo>
                    <a:lnTo>
                      <a:pt x="354" y="462"/>
                    </a:lnTo>
                    <a:lnTo>
                      <a:pt x="354" y="463"/>
                    </a:lnTo>
                    <a:lnTo>
                      <a:pt x="352" y="462"/>
                    </a:lnTo>
                    <a:lnTo>
                      <a:pt x="352" y="461"/>
                    </a:lnTo>
                    <a:lnTo>
                      <a:pt x="354" y="461"/>
                    </a:lnTo>
                    <a:lnTo>
                      <a:pt x="354" y="460"/>
                    </a:lnTo>
                    <a:lnTo>
                      <a:pt x="355" y="460"/>
                    </a:lnTo>
                    <a:lnTo>
                      <a:pt x="355" y="459"/>
                    </a:lnTo>
                    <a:lnTo>
                      <a:pt x="354" y="459"/>
                    </a:lnTo>
                    <a:lnTo>
                      <a:pt x="354" y="457"/>
                    </a:lnTo>
                    <a:lnTo>
                      <a:pt x="355" y="457"/>
                    </a:lnTo>
                    <a:lnTo>
                      <a:pt x="355" y="455"/>
                    </a:lnTo>
                    <a:lnTo>
                      <a:pt x="356" y="455"/>
                    </a:lnTo>
                    <a:lnTo>
                      <a:pt x="355" y="455"/>
                    </a:lnTo>
                    <a:lnTo>
                      <a:pt x="355" y="454"/>
                    </a:lnTo>
                    <a:lnTo>
                      <a:pt x="354" y="454"/>
                    </a:lnTo>
                    <a:lnTo>
                      <a:pt x="355" y="454"/>
                    </a:lnTo>
                    <a:close/>
                    <a:moveTo>
                      <a:pt x="434" y="511"/>
                    </a:moveTo>
                    <a:lnTo>
                      <a:pt x="434" y="512"/>
                    </a:lnTo>
                    <a:lnTo>
                      <a:pt x="434" y="513"/>
                    </a:lnTo>
                    <a:lnTo>
                      <a:pt x="433" y="513"/>
                    </a:lnTo>
                    <a:lnTo>
                      <a:pt x="433" y="514"/>
                    </a:lnTo>
                    <a:lnTo>
                      <a:pt x="433" y="515"/>
                    </a:lnTo>
                    <a:lnTo>
                      <a:pt x="432" y="515"/>
                    </a:lnTo>
                    <a:lnTo>
                      <a:pt x="431" y="516"/>
                    </a:lnTo>
                    <a:lnTo>
                      <a:pt x="429" y="517"/>
                    </a:lnTo>
                    <a:lnTo>
                      <a:pt x="428" y="518"/>
                    </a:lnTo>
                    <a:lnTo>
                      <a:pt x="427" y="519"/>
                    </a:lnTo>
                    <a:lnTo>
                      <a:pt x="426" y="520"/>
                    </a:lnTo>
                    <a:lnTo>
                      <a:pt x="425" y="521"/>
                    </a:lnTo>
                    <a:lnTo>
                      <a:pt x="424" y="523"/>
                    </a:lnTo>
                    <a:lnTo>
                      <a:pt x="423" y="521"/>
                    </a:lnTo>
                    <a:lnTo>
                      <a:pt x="423" y="523"/>
                    </a:lnTo>
                    <a:lnTo>
                      <a:pt x="422" y="523"/>
                    </a:lnTo>
                    <a:lnTo>
                      <a:pt x="422" y="524"/>
                    </a:lnTo>
                    <a:lnTo>
                      <a:pt x="421" y="524"/>
                    </a:lnTo>
                    <a:lnTo>
                      <a:pt x="421" y="525"/>
                    </a:lnTo>
                    <a:lnTo>
                      <a:pt x="420" y="525"/>
                    </a:lnTo>
                    <a:lnTo>
                      <a:pt x="420" y="524"/>
                    </a:lnTo>
                    <a:lnTo>
                      <a:pt x="419" y="524"/>
                    </a:lnTo>
                    <a:lnTo>
                      <a:pt x="419" y="525"/>
                    </a:lnTo>
                    <a:lnTo>
                      <a:pt x="419" y="526"/>
                    </a:lnTo>
                    <a:lnTo>
                      <a:pt x="418" y="526"/>
                    </a:lnTo>
                    <a:lnTo>
                      <a:pt x="418" y="527"/>
                    </a:lnTo>
                    <a:lnTo>
                      <a:pt x="416" y="527"/>
                    </a:lnTo>
                    <a:lnTo>
                      <a:pt x="416" y="528"/>
                    </a:lnTo>
                    <a:lnTo>
                      <a:pt x="415" y="528"/>
                    </a:lnTo>
                    <a:lnTo>
                      <a:pt x="415" y="527"/>
                    </a:lnTo>
                    <a:lnTo>
                      <a:pt x="415" y="526"/>
                    </a:lnTo>
                    <a:lnTo>
                      <a:pt x="414" y="526"/>
                    </a:lnTo>
                    <a:lnTo>
                      <a:pt x="414" y="525"/>
                    </a:lnTo>
                    <a:lnTo>
                      <a:pt x="414" y="524"/>
                    </a:lnTo>
                    <a:lnTo>
                      <a:pt x="414" y="523"/>
                    </a:lnTo>
                    <a:lnTo>
                      <a:pt x="415" y="523"/>
                    </a:lnTo>
                    <a:lnTo>
                      <a:pt x="416" y="523"/>
                    </a:lnTo>
                    <a:lnTo>
                      <a:pt x="418" y="523"/>
                    </a:lnTo>
                    <a:lnTo>
                      <a:pt x="418" y="521"/>
                    </a:lnTo>
                    <a:lnTo>
                      <a:pt x="419" y="520"/>
                    </a:lnTo>
                    <a:lnTo>
                      <a:pt x="419" y="521"/>
                    </a:lnTo>
                    <a:lnTo>
                      <a:pt x="419" y="523"/>
                    </a:lnTo>
                    <a:lnTo>
                      <a:pt x="420" y="523"/>
                    </a:lnTo>
                    <a:lnTo>
                      <a:pt x="421" y="523"/>
                    </a:lnTo>
                    <a:lnTo>
                      <a:pt x="421" y="521"/>
                    </a:lnTo>
                    <a:lnTo>
                      <a:pt x="422" y="521"/>
                    </a:lnTo>
                    <a:lnTo>
                      <a:pt x="423" y="521"/>
                    </a:lnTo>
                    <a:lnTo>
                      <a:pt x="423" y="520"/>
                    </a:lnTo>
                    <a:lnTo>
                      <a:pt x="424" y="520"/>
                    </a:lnTo>
                    <a:lnTo>
                      <a:pt x="424" y="519"/>
                    </a:lnTo>
                    <a:lnTo>
                      <a:pt x="424" y="518"/>
                    </a:lnTo>
                    <a:lnTo>
                      <a:pt x="424" y="517"/>
                    </a:lnTo>
                    <a:lnTo>
                      <a:pt x="424" y="516"/>
                    </a:lnTo>
                    <a:lnTo>
                      <a:pt x="426" y="515"/>
                    </a:lnTo>
                    <a:lnTo>
                      <a:pt x="427" y="515"/>
                    </a:lnTo>
                    <a:lnTo>
                      <a:pt x="427" y="516"/>
                    </a:lnTo>
                    <a:lnTo>
                      <a:pt x="428" y="517"/>
                    </a:lnTo>
                    <a:lnTo>
                      <a:pt x="428" y="516"/>
                    </a:lnTo>
                    <a:lnTo>
                      <a:pt x="429" y="515"/>
                    </a:lnTo>
                    <a:lnTo>
                      <a:pt x="429" y="514"/>
                    </a:lnTo>
                    <a:lnTo>
                      <a:pt x="429" y="513"/>
                    </a:lnTo>
                    <a:lnTo>
                      <a:pt x="431" y="513"/>
                    </a:lnTo>
                    <a:lnTo>
                      <a:pt x="431" y="512"/>
                    </a:lnTo>
                    <a:lnTo>
                      <a:pt x="431" y="511"/>
                    </a:lnTo>
                    <a:lnTo>
                      <a:pt x="432" y="511"/>
                    </a:lnTo>
                    <a:lnTo>
                      <a:pt x="433" y="511"/>
                    </a:lnTo>
                    <a:lnTo>
                      <a:pt x="434" y="510"/>
                    </a:lnTo>
                    <a:lnTo>
                      <a:pt x="433" y="510"/>
                    </a:lnTo>
                    <a:lnTo>
                      <a:pt x="434" y="508"/>
                    </a:lnTo>
                    <a:lnTo>
                      <a:pt x="434" y="507"/>
                    </a:lnTo>
                    <a:lnTo>
                      <a:pt x="434" y="508"/>
                    </a:lnTo>
                    <a:lnTo>
                      <a:pt x="435" y="508"/>
                    </a:lnTo>
                    <a:lnTo>
                      <a:pt x="435" y="511"/>
                    </a:lnTo>
                    <a:lnTo>
                      <a:pt x="434" y="511"/>
                    </a:lnTo>
                    <a:close/>
                    <a:moveTo>
                      <a:pt x="553" y="416"/>
                    </a:moveTo>
                    <a:lnTo>
                      <a:pt x="553" y="417"/>
                    </a:lnTo>
                    <a:lnTo>
                      <a:pt x="554" y="417"/>
                    </a:lnTo>
                    <a:lnTo>
                      <a:pt x="553" y="417"/>
                    </a:lnTo>
                    <a:lnTo>
                      <a:pt x="552" y="417"/>
                    </a:lnTo>
                    <a:lnTo>
                      <a:pt x="551" y="418"/>
                    </a:lnTo>
                    <a:lnTo>
                      <a:pt x="550" y="418"/>
                    </a:lnTo>
                    <a:lnTo>
                      <a:pt x="550" y="420"/>
                    </a:lnTo>
                    <a:lnTo>
                      <a:pt x="549" y="421"/>
                    </a:lnTo>
                    <a:lnTo>
                      <a:pt x="548" y="421"/>
                    </a:lnTo>
                    <a:lnTo>
                      <a:pt x="548" y="422"/>
                    </a:lnTo>
                    <a:lnTo>
                      <a:pt x="546" y="422"/>
                    </a:lnTo>
                    <a:lnTo>
                      <a:pt x="545" y="423"/>
                    </a:lnTo>
                    <a:lnTo>
                      <a:pt x="544" y="423"/>
                    </a:lnTo>
                    <a:lnTo>
                      <a:pt x="543" y="423"/>
                    </a:lnTo>
                    <a:lnTo>
                      <a:pt x="543" y="421"/>
                    </a:lnTo>
                    <a:lnTo>
                      <a:pt x="543" y="418"/>
                    </a:lnTo>
                    <a:lnTo>
                      <a:pt x="544" y="417"/>
                    </a:lnTo>
                    <a:lnTo>
                      <a:pt x="544" y="416"/>
                    </a:lnTo>
                    <a:lnTo>
                      <a:pt x="544" y="415"/>
                    </a:lnTo>
                    <a:lnTo>
                      <a:pt x="545" y="414"/>
                    </a:lnTo>
                    <a:lnTo>
                      <a:pt x="546" y="413"/>
                    </a:lnTo>
                    <a:lnTo>
                      <a:pt x="548" y="412"/>
                    </a:lnTo>
                    <a:lnTo>
                      <a:pt x="549" y="412"/>
                    </a:lnTo>
                    <a:lnTo>
                      <a:pt x="550" y="411"/>
                    </a:lnTo>
                    <a:lnTo>
                      <a:pt x="551" y="411"/>
                    </a:lnTo>
                    <a:lnTo>
                      <a:pt x="550" y="412"/>
                    </a:lnTo>
                    <a:lnTo>
                      <a:pt x="551" y="413"/>
                    </a:lnTo>
                    <a:lnTo>
                      <a:pt x="552" y="413"/>
                    </a:lnTo>
                    <a:lnTo>
                      <a:pt x="552" y="414"/>
                    </a:lnTo>
                    <a:lnTo>
                      <a:pt x="553" y="415"/>
                    </a:lnTo>
                    <a:lnTo>
                      <a:pt x="552" y="415"/>
                    </a:lnTo>
                    <a:lnTo>
                      <a:pt x="552" y="416"/>
                    </a:lnTo>
                    <a:lnTo>
                      <a:pt x="553" y="416"/>
                    </a:lnTo>
                    <a:close/>
                    <a:moveTo>
                      <a:pt x="262" y="380"/>
                    </a:moveTo>
                    <a:lnTo>
                      <a:pt x="262" y="382"/>
                    </a:lnTo>
                    <a:lnTo>
                      <a:pt x="264" y="383"/>
                    </a:lnTo>
                    <a:lnTo>
                      <a:pt x="265" y="383"/>
                    </a:lnTo>
                    <a:lnTo>
                      <a:pt x="265" y="384"/>
                    </a:lnTo>
                    <a:lnTo>
                      <a:pt x="266" y="385"/>
                    </a:lnTo>
                    <a:lnTo>
                      <a:pt x="267" y="385"/>
                    </a:lnTo>
                    <a:lnTo>
                      <a:pt x="267" y="386"/>
                    </a:lnTo>
                    <a:lnTo>
                      <a:pt x="268" y="386"/>
                    </a:lnTo>
                    <a:lnTo>
                      <a:pt x="268" y="387"/>
                    </a:lnTo>
                    <a:lnTo>
                      <a:pt x="268" y="389"/>
                    </a:lnTo>
                    <a:lnTo>
                      <a:pt x="267" y="389"/>
                    </a:lnTo>
                    <a:lnTo>
                      <a:pt x="266" y="389"/>
                    </a:lnTo>
                    <a:lnTo>
                      <a:pt x="265" y="389"/>
                    </a:lnTo>
                    <a:lnTo>
                      <a:pt x="265" y="390"/>
                    </a:lnTo>
                    <a:lnTo>
                      <a:pt x="265" y="389"/>
                    </a:lnTo>
                    <a:lnTo>
                      <a:pt x="266" y="389"/>
                    </a:lnTo>
                    <a:lnTo>
                      <a:pt x="266" y="390"/>
                    </a:lnTo>
                    <a:lnTo>
                      <a:pt x="267" y="390"/>
                    </a:lnTo>
                    <a:lnTo>
                      <a:pt x="266" y="390"/>
                    </a:lnTo>
                    <a:lnTo>
                      <a:pt x="266" y="389"/>
                    </a:lnTo>
                    <a:lnTo>
                      <a:pt x="267" y="389"/>
                    </a:lnTo>
                    <a:lnTo>
                      <a:pt x="267" y="390"/>
                    </a:lnTo>
                    <a:lnTo>
                      <a:pt x="267" y="389"/>
                    </a:lnTo>
                    <a:lnTo>
                      <a:pt x="267" y="390"/>
                    </a:lnTo>
                    <a:lnTo>
                      <a:pt x="268" y="390"/>
                    </a:lnTo>
                    <a:lnTo>
                      <a:pt x="270" y="390"/>
                    </a:lnTo>
                    <a:lnTo>
                      <a:pt x="269" y="390"/>
                    </a:lnTo>
                    <a:lnTo>
                      <a:pt x="269" y="391"/>
                    </a:lnTo>
                    <a:lnTo>
                      <a:pt x="270" y="391"/>
                    </a:lnTo>
                    <a:lnTo>
                      <a:pt x="269" y="391"/>
                    </a:lnTo>
                    <a:lnTo>
                      <a:pt x="269" y="392"/>
                    </a:lnTo>
                    <a:lnTo>
                      <a:pt x="268" y="391"/>
                    </a:lnTo>
                    <a:lnTo>
                      <a:pt x="268" y="392"/>
                    </a:lnTo>
                    <a:lnTo>
                      <a:pt x="267" y="391"/>
                    </a:lnTo>
                    <a:lnTo>
                      <a:pt x="267" y="390"/>
                    </a:lnTo>
                    <a:lnTo>
                      <a:pt x="266" y="391"/>
                    </a:lnTo>
                    <a:lnTo>
                      <a:pt x="265" y="391"/>
                    </a:lnTo>
                    <a:lnTo>
                      <a:pt x="265" y="390"/>
                    </a:lnTo>
                    <a:lnTo>
                      <a:pt x="264" y="390"/>
                    </a:lnTo>
                    <a:lnTo>
                      <a:pt x="264" y="389"/>
                    </a:lnTo>
                    <a:lnTo>
                      <a:pt x="264" y="388"/>
                    </a:lnTo>
                    <a:lnTo>
                      <a:pt x="264" y="387"/>
                    </a:lnTo>
                    <a:lnTo>
                      <a:pt x="265" y="387"/>
                    </a:lnTo>
                    <a:lnTo>
                      <a:pt x="265" y="388"/>
                    </a:lnTo>
                    <a:lnTo>
                      <a:pt x="265" y="387"/>
                    </a:lnTo>
                    <a:lnTo>
                      <a:pt x="264" y="387"/>
                    </a:lnTo>
                    <a:lnTo>
                      <a:pt x="264" y="388"/>
                    </a:lnTo>
                    <a:lnTo>
                      <a:pt x="264" y="389"/>
                    </a:lnTo>
                    <a:lnTo>
                      <a:pt x="262" y="389"/>
                    </a:lnTo>
                    <a:lnTo>
                      <a:pt x="264" y="389"/>
                    </a:lnTo>
                    <a:lnTo>
                      <a:pt x="264" y="390"/>
                    </a:lnTo>
                    <a:lnTo>
                      <a:pt x="262" y="390"/>
                    </a:lnTo>
                    <a:lnTo>
                      <a:pt x="261" y="389"/>
                    </a:lnTo>
                    <a:lnTo>
                      <a:pt x="261" y="388"/>
                    </a:lnTo>
                    <a:lnTo>
                      <a:pt x="258" y="385"/>
                    </a:lnTo>
                    <a:lnTo>
                      <a:pt x="258" y="384"/>
                    </a:lnTo>
                    <a:lnTo>
                      <a:pt x="257" y="384"/>
                    </a:lnTo>
                    <a:lnTo>
                      <a:pt x="257" y="385"/>
                    </a:lnTo>
                    <a:lnTo>
                      <a:pt x="256" y="384"/>
                    </a:lnTo>
                    <a:lnTo>
                      <a:pt x="257" y="383"/>
                    </a:lnTo>
                    <a:lnTo>
                      <a:pt x="258" y="384"/>
                    </a:lnTo>
                    <a:lnTo>
                      <a:pt x="258" y="383"/>
                    </a:lnTo>
                    <a:lnTo>
                      <a:pt x="258" y="382"/>
                    </a:lnTo>
                    <a:lnTo>
                      <a:pt x="258" y="380"/>
                    </a:lnTo>
                    <a:lnTo>
                      <a:pt x="259" y="382"/>
                    </a:lnTo>
                    <a:lnTo>
                      <a:pt x="260" y="382"/>
                    </a:lnTo>
                    <a:lnTo>
                      <a:pt x="261" y="380"/>
                    </a:lnTo>
                    <a:lnTo>
                      <a:pt x="261" y="379"/>
                    </a:lnTo>
                    <a:lnTo>
                      <a:pt x="260" y="379"/>
                    </a:lnTo>
                    <a:lnTo>
                      <a:pt x="261" y="378"/>
                    </a:lnTo>
                    <a:lnTo>
                      <a:pt x="261" y="377"/>
                    </a:lnTo>
                    <a:lnTo>
                      <a:pt x="262" y="378"/>
                    </a:lnTo>
                    <a:lnTo>
                      <a:pt x="261" y="378"/>
                    </a:lnTo>
                    <a:lnTo>
                      <a:pt x="261" y="379"/>
                    </a:lnTo>
                    <a:lnTo>
                      <a:pt x="262" y="379"/>
                    </a:lnTo>
                    <a:lnTo>
                      <a:pt x="262" y="380"/>
                    </a:lnTo>
                    <a:close/>
                    <a:moveTo>
                      <a:pt x="217" y="386"/>
                    </a:moveTo>
                    <a:lnTo>
                      <a:pt x="218" y="386"/>
                    </a:lnTo>
                    <a:lnTo>
                      <a:pt x="218" y="387"/>
                    </a:lnTo>
                    <a:lnTo>
                      <a:pt x="218" y="388"/>
                    </a:lnTo>
                    <a:lnTo>
                      <a:pt x="217" y="388"/>
                    </a:lnTo>
                    <a:lnTo>
                      <a:pt x="216" y="388"/>
                    </a:lnTo>
                    <a:lnTo>
                      <a:pt x="215" y="388"/>
                    </a:lnTo>
                    <a:lnTo>
                      <a:pt x="215" y="389"/>
                    </a:lnTo>
                    <a:lnTo>
                      <a:pt x="215" y="390"/>
                    </a:lnTo>
                    <a:lnTo>
                      <a:pt x="214" y="390"/>
                    </a:lnTo>
                    <a:lnTo>
                      <a:pt x="214" y="391"/>
                    </a:lnTo>
                    <a:lnTo>
                      <a:pt x="214" y="392"/>
                    </a:lnTo>
                    <a:lnTo>
                      <a:pt x="215" y="392"/>
                    </a:lnTo>
                    <a:lnTo>
                      <a:pt x="216" y="391"/>
                    </a:lnTo>
                    <a:lnTo>
                      <a:pt x="217" y="391"/>
                    </a:lnTo>
                    <a:lnTo>
                      <a:pt x="217" y="390"/>
                    </a:lnTo>
                    <a:lnTo>
                      <a:pt x="218" y="389"/>
                    </a:lnTo>
                    <a:lnTo>
                      <a:pt x="219" y="390"/>
                    </a:lnTo>
                    <a:lnTo>
                      <a:pt x="220" y="390"/>
                    </a:lnTo>
                    <a:lnTo>
                      <a:pt x="220" y="389"/>
                    </a:lnTo>
                    <a:lnTo>
                      <a:pt x="221" y="389"/>
                    </a:lnTo>
                    <a:lnTo>
                      <a:pt x="220" y="389"/>
                    </a:lnTo>
                    <a:lnTo>
                      <a:pt x="221" y="390"/>
                    </a:lnTo>
                    <a:lnTo>
                      <a:pt x="221" y="391"/>
                    </a:lnTo>
                    <a:lnTo>
                      <a:pt x="221" y="392"/>
                    </a:lnTo>
                    <a:lnTo>
                      <a:pt x="221" y="393"/>
                    </a:lnTo>
                    <a:lnTo>
                      <a:pt x="222" y="393"/>
                    </a:lnTo>
                    <a:lnTo>
                      <a:pt x="222" y="395"/>
                    </a:lnTo>
                    <a:lnTo>
                      <a:pt x="223" y="395"/>
                    </a:lnTo>
                    <a:lnTo>
                      <a:pt x="222" y="396"/>
                    </a:lnTo>
                    <a:lnTo>
                      <a:pt x="222" y="395"/>
                    </a:lnTo>
                    <a:lnTo>
                      <a:pt x="222" y="396"/>
                    </a:lnTo>
                    <a:lnTo>
                      <a:pt x="221" y="397"/>
                    </a:lnTo>
                    <a:lnTo>
                      <a:pt x="222" y="397"/>
                    </a:lnTo>
                    <a:lnTo>
                      <a:pt x="221" y="397"/>
                    </a:lnTo>
                    <a:lnTo>
                      <a:pt x="222" y="398"/>
                    </a:lnTo>
                    <a:lnTo>
                      <a:pt x="221" y="399"/>
                    </a:lnTo>
                    <a:lnTo>
                      <a:pt x="221" y="398"/>
                    </a:lnTo>
                    <a:lnTo>
                      <a:pt x="221" y="399"/>
                    </a:lnTo>
                    <a:lnTo>
                      <a:pt x="221" y="400"/>
                    </a:lnTo>
                    <a:lnTo>
                      <a:pt x="220" y="399"/>
                    </a:lnTo>
                    <a:lnTo>
                      <a:pt x="220" y="400"/>
                    </a:lnTo>
                    <a:lnTo>
                      <a:pt x="219" y="400"/>
                    </a:lnTo>
                    <a:lnTo>
                      <a:pt x="219" y="399"/>
                    </a:lnTo>
                    <a:lnTo>
                      <a:pt x="218" y="399"/>
                    </a:lnTo>
                    <a:lnTo>
                      <a:pt x="218" y="398"/>
                    </a:lnTo>
                    <a:lnTo>
                      <a:pt x="218" y="397"/>
                    </a:lnTo>
                    <a:lnTo>
                      <a:pt x="218" y="396"/>
                    </a:lnTo>
                    <a:lnTo>
                      <a:pt x="218" y="395"/>
                    </a:lnTo>
                    <a:lnTo>
                      <a:pt x="217" y="395"/>
                    </a:lnTo>
                    <a:lnTo>
                      <a:pt x="217" y="393"/>
                    </a:lnTo>
                    <a:lnTo>
                      <a:pt x="218" y="393"/>
                    </a:lnTo>
                    <a:lnTo>
                      <a:pt x="217" y="392"/>
                    </a:lnTo>
                    <a:lnTo>
                      <a:pt x="217" y="393"/>
                    </a:lnTo>
                    <a:lnTo>
                      <a:pt x="217" y="395"/>
                    </a:lnTo>
                    <a:lnTo>
                      <a:pt x="217" y="396"/>
                    </a:lnTo>
                    <a:lnTo>
                      <a:pt x="217" y="397"/>
                    </a:lnTo>
                    <a:lnTo>
                      <a:pt x="216" y="397"/>
                    </a:lnTo>
                    <a:lnTo>
                      <a:pt x="216" y="398"/>
                    </a:lnTo>
                    <a:lnTo>
                      <a:pt x="215" y="398"/>
                    </a:lnTo>
                    <a:lnTo>
                      <a:pt x="215" y="397"/>
                    </a:lnTo>
                    <a:lnTo>
                      <a:pt x="215" y="396"/>
                    </a:lnTo>
                    <a:lnTo>
                      <a:pt x="215" y="395"/>
                    </a:lnTo>
                    <a:lnTo>
                      <a:pt x="214" y="390"/>
                    </a:lnTo>
                    <a:lnTo>
                      <a:pt x="214" y="389"/>
                    </a:lnTo>
                    <a:lnTo>
                      <a:pt x="215" y="389"/>
                    </a:lnTo>
                    <a:lnTo>
                      <a:pt x="215" y="388"/>
                    </a:lnTo>
                    <a:lnTo>
                      <a:pt x="215" y="387"/>
                    </a:lnTo>
                    <a:lnTo>
                      <a:pt x="216" y="386"/>
                    </a:lnTo>
                    <a:lnTo>
                      <a:pt x="215" y="386"/>
                    </a:lnTo>
                    <a:lnTo>
                      <a:pt x="216" y="379"/>
                    </a:lnTo>
                    <a:lnTo>
                      <a:pt x="217" y="379"/>
                    </a:lnTo>
                    <a:lnTo>
                      <a:pt x="217" y="380"/>
                    </a:lnTo>
                    <a:lnTo>
                      <a:pt x="216" y="380"/>
                    </a:lnTo>
                    <a:lnTo>
                      <a:pt x="216" y="382"/>
                    </a:lnTo>
                    <a:lnTo>
                      <a:pt x="216" y="383"/>
                    </a:lnTo>
                    <a:lnTo>
                      <a:pt x="217" y="383"/>
                    </a:lnTo>
                    <a:lnTo>
                      <a:pt x="217" y="384"/>
                    </a:lnTo>
                    <a:lnTo>
                      <a:pt x="218" y="385"/>
                    </a:lnTo>
                    <a:lnTo>
                      <a:pt x="217" y="386"/>
                    </a:lnTo>
                    <a:close/>
                    <a:moveTo>
                      <a:pt x="426" y="659"/>
                    </a:moveTo>
                    <a:lnTo>
                      <a:pt x="425" y="660"/>
                    </a:lnTo>
                    <a:lnTo>
                      <a:pt x="425" y="661"/>
                    </a:lnTo>
                    <a:lnTo>
                      <a:pt x="424" y="661"/>
                    </a:lnTo>
                    <a:lnTo>
                      <a:pt x="424" y="662"/>
                    </a:lnTo>
                    <a:lnTo>
                      <a:pt x="423" y="662"/>
                    </a:lnTo>
                    <a:lnTo>
                      <a:pt x="423" y="663"/>
                    </a:lnTo>
                    <a:lnTo>
                      <a:pt x="424" y="663"/>
                    </a:lnTo>
                    <a:lnTo>
                      <a:pt x="424" y="665"/>
                    </a:lnTo>
                    <a:lnTo>
                      <a:pt x="423" y="665"/>
                    </a:lnTo>
                    <a:lnTo>
                      <a:pt x="424" y="665"/>
                    </a:lnTo>
                    <a:lnTo>
                      <a:pt x="425" y="665"/>
                    </a:lnTo>
                    <a:lnTo>
                      <a:pt x="425" y="666"/>
                    </a:lnTo>
                    <a:lnTo>
                      <a:pt x="424" y="667"/>
                    </a:lnTo>
                    <a:lnTo>
                      <a:pt x="424" y="668"/>
                    </a:lnTo>
                    <a:lnTo>
                      <a:pt x="423" y="668"/>
                    </a:lnTo>
                    <a:lnTo>
                      <a:pt x="423" y="667"/>
                    </a:lnTo>
                    <a:lnTo>
                      <a:pt x="422" y="667"/>
                    </a:lnTo>
                    <a:lnTo>
                      <a:pt x="423" y="667"/>
                    </a:lnTo>
                    <a:lnTo>
                      <a:pt x="423" y="668"/>
                    </a:lnTo>
                    <a:lnTo>
                      <a:pt x="422" y="668"/>
                    </a:lnTo>
                    <a:lnTo>
                      <a:pt x="423" y="668"/>
                    </a:lnTo>
                    <a:lnTo>
                      <a:pt x="423" y="669"/>
                    </a:lnTo>
                    <a:lnTo>
                      <a:pt x="422" y="669"/>
                    </a:lnTo>
                    <a:lnTo>
                      <a:pt x="421" y="669"/>
                    </a:lnTo>
                    <a:lnTo>
                      <a:pt x="422" y="670"/>
                    </a:lnTo>
                    <a:lnTo>
                      <a:pt x="421" y="670"/>
                    </a:lnTo>
                    <a:lnTo>
                      <a:pt x="421" y="669"/>
                    </a:lnTo>
                    <a:lnTo>
                      <a:pt x="421" y="670"/>
                    </a:lnTo>
                    <a:lnTo>
                      <a:pt x="421" y="671"/>
                    </a:lnTo>
                    <a:lnTo>
                      <a:pt x="421" y="670"/>
                    </a:lnTo>
                    <a:lnTo>
                      <a:pt x="420" y="670"/>
                    </a:lnTo>
                    <a:lnTo>
                      <a:pt x="420" y="671"/>
                    </a:lnTo>
                    <a:lnTo>
                      <a:pt x="420" y="672"/>
                    </a:lnTo>
                    <a:lnTo>
                      <a:pt x="419" y="672"/>
                    </a:lnTo>
                    <a:lnTo>
                      <a:pt x="419" y="673"/>
                    </a:lnTo>
                    <a:lnTo>
                      <a:pt x="418" y="673"/>
                    </a:lnTo>
                    <a:lnTo>
                      <a:pt x="416" y="674"/>
                    </a:lnTo>
                    <a:lnTo>
                      <a:pt x="418" y="674"/>
                    </a:lnTo>
                    <a:lnTo>
                      <a:pt x="418" y="675"/>
                    </a:lnTo>
                    <a:lnTo>
                      <a:pt x="416" y="674"/>
                    </a:lnTo>
                    <a:lnTo>
                      <a:pt x="416" y="675"/>
                    </a:lnTo>
                    <a:lnTo>
                      <a:pt x="418" y="675"/>
                    </a:lnTo>
                    <a:lnTo>
                      <a:pt x="418" y="674"/>
                    </a:lnTo>
                    <a:lnTo>
                      <a:pt x="419" y="673"/>
                    </a:lnTo>
                    <a:lnTo>
                      <a:pt x="420" y="673"/>
                    </a:lnTo>
                    <a:lnTo>
                      <a:pt x="421" y="672"/>
                    </a:lnTo>
                    <a:lnTo>
                      <a:pt x="421" y="671"/>
                    </a:lnTo>
                    <a:lnTo>
                      <a:pt x="422" y="670"/>
                    </a:lnTo>
                    <a:lnTo>
                      <a:pt x="422" y="671"/>
                    </a:lnTo>
                    <a:lnTo>
                      <a:pt x="423" y="671"/>
                    </a:lnTo>
                    <a:lnTo>
                      <a:pt x="422" y="671"/>
                    </a:lnTo>
                    <a:lnTo>
                      <a:pt x="422" y="672"/>
                    </a:lnTo>
                    <a:lnTo>
                      <a:pt x="422" y="671"/>
                    </a:lnTo>
                    <a:lnTo>
                      <a:pt x="421" y="671"/>
                    </a:lnTo>
                    <a:lnTo>
                      <a:pt x="421" y="672"/>
                    </a:lnTo>
                    <a:lnTo>
                      <a:pt x="420" y="673"/>
                    </a:lnTo>
                    <a:lnTo>
                      <a:pt x="419" y="673"/>
                    </a:lnTo>
                    <a:lnTo>
                      <a:pt x="419" y="674"/>
                    </a:lnTo>
                    <a:lnTo>
                      <a:pt x="419" y="675"/>
                    </a:lnTo>
                    <a:lnTo>
                      <a:pt x="418" y="675"/>
                    </a:lnTo>
                    <a:lnTo>
                      <a:pt x="418" y="677"/>
                    </a:lnTo>
                    <a:lnTo>
                      <a:pt x="419" y="675"/>
                    </a:lnTo>
                    <a:lnTo>
                      <a:pt x="420" y="675"/>
                    </a:lnTo>
                    <a:lnTo>
                      <a:pt x="420" y="674"/>
                    </a:lnTo>
                    <a:lnTo>
                      <a:pt x="422" y="673"/>
                    </a:lnTo>
                    <a:lnTo>
                      <a:pt x="422" y="672"/>
                    </a:lnTo>
                    <a:lnTo>
                      <a:pt x="423" y="672"/>
                    </a:lnTo>
                    <a:lnTo>
                      <a:pt x="423" y="671"/>
                    </a:lnTo>
                    <a:lnTo>
                      <a:pt x="424" y="671"/>
                    </a:lnTo>
                    <a:lnTo>
                      <a:pt x="424" y="670"/>
                    </a:lnTo>
                    <a:lnTo>
                      <a:pt x="424" y="669"/>
                    </a:lnTo>
                    <a:lnTo>
                      <a:pt x="425" y="669"/>
                    </a:lnTo>
                    <a:lnTo>
                      <a:pt x="425" y="668"/>
                    </a:lnTo>
                    <a:lnTo>
                      <a:pt x="426" y="668"/>
                    </a:lnTo>
                    <a:lnTo>
                      <a:pt x="426" y="667"/>
                    </a:lnTo>
                    <a:lnTo>
                      <a:pt x="425" y="667"/>
                    </a:lnTo>
                    <a:lnTo>
                      <a:pt x="424" y="668"/>
                    </a:lnTo>
                    <a:lnTo>
                      <a:pt x="423" y="669"/>
                    </a:lnTo>
                    <a:lnTo>
                      <a:pt x="424" y="668"/>
                    </a:lnTo>
                    <a:lnTo>
                      <a:pt x="425" y="667"/>
                    </a:lnTo>
                    <a:lnTo>
                      <a:pt x="426" y="667"/>
                    </a:lnTo>
                    <a:lnTo>
                      <a:pt x="426" y="668"/>
                    </a:lnTo>
                    <a:lnTo>
                      <a:pt x="425" y="669"/>
                    </a:lnTo>
                    <a:lnTo>
                      <a:pt x="425" y="670"/>
                    </a:lnTo>
                    <a:lnTo>
                      <a:pt x="424" y="670"/>
                    </a:lnTo>
                    <a:lnTo>
                      <a:pt x="424" y="671"/>
                    </a:lnTo>
                    <a:lnTo>
                      <a:pt x="423" y="671"/>
                    </a:lnTo>
                    <a:lnTo>
                      <a:pt x="423" y="672"/>
                    </a:lnTo>
                    <a:lnTo>
                      <a:pt x="422" y="672"/>
                    </a:lnTo>
                    <a:lnTo>
                      <a:pt x="421" y="673"/>
                    </a:lnTo>
                    <a:lnTo>
                      <a:pt x="421" y="674"/>
                    </a:lnTo>
                    <a:lnTo>
                      <a:pt x="420" y="674"/>
                    </a:lnTo>
                    <a:lnTo>
                      <a:pt x="420" y="675"/>
                    </a:lnTo>
                    <a:lnTo>
                      <a:pt x="419" y="675"/>
                    </a:lnTo>
                    <a:lnTo>
                      <a:pt x="419" y="677"/>
                    </a:lnTo>
                    <a:lnTo>
                      <a:pt x="418" y="677"/>
                    </a:lnTo>
                    <a:lnTo>
                      <a:pt x="418" y="678"/>
                    </a:lnTo>
                    <a:lnTo>
                      <a:pt x="416" y="678"/>
                    </a:lnTo>
                    <a:lnTo>
                      <a:pt x="416" y="679"/>
                    </a:lnTo>
                    <a:lnTo>
                      <a:pt x="415" y="679"/>
                    </a:lnTo>
                    <a:lnTo>
                      <a:pt x="415" y="680"/>
                    </a:lnTo>
                    <a:lnTo>
                      <a:pt x="414" y="680"/>
                    </a:lnTo>
                    <a:lnTo>
                      <a:pt x="413" y="681"/>
                    </a:lnTo>
                    <a:lnTo>
                      <a:pt x="412" y="682"/>
                    </a:lnTo>
                    <a:lnTo>
                      <a:pt x="411" y="682"/>
                    </a:lnTo>
                    <a:lnTo>
                      <a:pt x="411" y="683"/>
                    </a:lnTo>
                    <a:lnTo>
                      <a:pt x="411" y="682"/>
                    </a:lnTo>
                    <a:lnTo>
                      <a:pt x="412" y="681"/>
                    </a:lnTo>
                    <a:lnTo>
                      <a:pt x="411" y="681"/>
                    </a:lnTo>
                    <a:lnTo>
                      <a:pt x="412" y="681"/>
                    </a:lnTo>
                    <a:lnTo>
                      <a:pt x="412" y="680"/>
                    </a:lnTo>
                    <a:lnTo>
                      <a:pt x="413" y="680"/>
                    </a:lnTo>
                    <a:lnTo>
                      <a:pt x="413" y="679"/>
                    </a:lnTo>
                    <a:lnTo>
                      <a:pt x="413" y="678"/>
                    </a:lnTo>
                    <a:lnTo>
                      <a:pt x="414" y="678"/>
                    </a:lnTo>
                    <a:lnTo>
                      <a:pt x="414" y="677"/>
                    </a:lnTo>
                    <a:lnTo>
                      <a:pt x="414" y="675"/>
                    </a:lnTo>
                    <a:lnTo>
                      <a:pt x="415" y="674"/>
                    </a:lnTo>
                    <a:lnTo>
                      <a:pt x="415" y="673"/>
                    </a:lnTo>
                    <a:lnTo>
                      <a:pt x="416" y="673"/>
                    </a:lnTo>
                    <a:lnTo>
                      <a:pt x="416" y="672"/>
                    </a:lnTo>
                    <a:lnTo>
                      <a:pt x="416" y="671"/>
                    </a:lnTo>
                    <a:lnTo>
                      <a:pt x="418" y="671"/>
                    </a:lnTo>
                    <a:lnTo>
                      <a:pt x="418" y="670"/>
                    </a:lnTo>
                    <a:lnTo>
                      <a:pt x="419" y="670"/>
                    </a:lnTo>
                    <a:lnTo>
                      <a:pt x="419" y="669"/>
                    </a:lnTo>
                    <a:lnTo>
                      <a:pt x="420" y="669"/>
                    </a:lnTo>
                    <a:lnTo>
                      <a:pt x="420" y="668"/>
                    </a:lnTo>
                    <a:lnTo>
                      <a:pt x="420" y="667"/>
                    </a:lnTo>
                    <a:lnTo>
                      <a:pt x="421" y="666"/>
                    </a:lnTo>
                    <a:lnTo>
                      <a:pt x="421" y="665"/>
                    </a:lnTo>
                    <a:lnTo>
                      <a:pt x="422" y="665"/>
                    </a:lnTo>
                    <a:lnTo>
                      <a:pt x="422" y="663"/>
                    </a:lnTo>
                    <a:lnTo>
                      <a:pt x="423" y="663"/>
                    </a:lnTo>
                    <a:lnTo>
                      <a:pt x="423" y="662"/>
                    </a:lnTo>
                    <a:lnTo>
                      <a:pt x="423" y="661"/>
                    </a:lnTo>
                    <a:lnTo>
                      <a:pt x="424" y="661"/>
                    </a:lnTo>
                    <a:lnTo>
                      <a:pt x="424" y="660"/>
                    </a:lnTo>
                    <a:lnTo>
                      <a:pt x="425" y="660"/>
                    </a:lnTo>
                    <a:lnTo>
                      <a:pt x="425" y="659"/>
                    </a:lnTo>
                    <a:lnTo>
                      <a:pt x="427" y="657"/>
                    </a:lnTo>
                    <a:lnTo>
                      <a:pt x="427" y="658"/>
                    </a:lnTo>
                    <a:lnTo>
                      <a:pt x="427" y="659"/>
                    </a:lnTo>
                    <a:lnTo>
                      <a:pt x="426" y="659"/>
                    </a:lnTo>
                    <a:close/>
                    <a:moveTo>
                      <a:pt x="517" y="495"/>
                    </a:moveTo>
                    <a:lnTo>
                      <a:pt x="517" y="496"/>
                    </a:lnTo>
                    <a:lnTo>
                      <a:pt x="516" y="496"/>
                    </a:lnTo>
                    <a:lnTo>
                      <a:pt x="516" y="498"/>
                    </a:lnTo>
                    <a:lnTo>
                      <a:pt x="515" y="498"/>
                    </a:lnTo>
                    <a:lnTo>
                      <a:pt x="514" y="498"/>
                    </a:lnTo>
                    <a:lnTo>
                      <a:pt x="513" y="498"/>
                    </a:lnTo>
                    <a:lnTo>
                      <a:pt x="512" y="498"/>
                    </a:lnTo>
                    <a:lnTo>
                      <a:pt x="511" y="498"/>
                    </a:lnTo>
                    <a:lnTo>
                      <a:pt x="510" y="498"/>
                    </a:lnTo>
                    <a:lnTo>
                      <a:pt x="509" y="498"/>
                    </a:lnTo>
                    <a:lnTo>
                      <a:pt x="506" y="499"/>
                    </a:lnTo>
                    <a:lnTo>
                      <a:pt x="505" y="499"/>
                    </a:lnTo>
                    <a:lnTo>
                      <a:pt x="504" y="499"/>
                    </a:lnTo>
                    <a:lnTo>
                      <a:pt x="503" y="500"/>
                    </a:lnTo>
                    <a:lnTo>
                      <a:pt x="502" y="500"/>
                    </a:lnTo>
                    <a:lnTo>
                      <a:pt x="501" y="500"/>
                    </a:lnTo>
                    <a:lnTo>
                      <a:pt x="500" y="499"/>
                    </a:lnTo>
                    <a:lnTo>
                      <a:pt x="500" y="498"/>
                    </a:lnTo>
                    <a:lnTo>
                      <a:pt x="501" y="498"/>
                    </a:lnTo>
                    <a:lnTo>
                      <a:pt x="501" y="496"/>
                    </a:lnTo>
                    <a:lnTo>
                      <a:pt x="502" y="496"/>
                    </a:lnTo>
                    <a:lnTo>
                      <a:pt x="503" y="496"/>
                    </a:lnTo>
                    <a:lnTo>
                      <a:pt x="504" y="495"/>
                    </a:lnTo>
                    <a:lnTo>
                      <a:pt x="505" y="495"/>
                    </a:lnTo>
                    <a:lnTo>
                      <a:pt x="507" y="495"/>
                    </a:lnTo>
                    <a:lnTo>
                      <a:pt x="509" y="495"/>
                    </a:lnTo>
                    <a:lnTo>
                      <a:pt x="510" y="495"/>
                    </a:lnTo>
                    <a:lnTo>
                      <a:pt x="511" y="494"/>
                    </a:lnTo>
                    <a:lnTo>
                      <a:pt x="512" y="494"/>
                    </a:lnTo>
                    <a:lnTo>
                      <a:pt x="513" y="494"/>
                    </a:lnTo>
                    <a:lnTo>
                      <a:pt x="515" y="492"/>
                    </a:lnTo>
                    <a:lnTo>
                      <a:pt x="517" y="491"/>
                    </a:lnTo>
                    <a:lnTo>
                      <a:pt x="519" y="491"/>
                    </a:lnTo>
                    <a:lnTo>
                      <a:pt x="519" y="490"/>
                    </a:lnTo>
                    <a:lnTo>
                      <a:pt x="520" y="490"/>
                    </a:lnTo>
                    <a:lnTo>
                      <a:pt x="520" y="491"/>
                    </a:lnTo>
                    <a:lnTo>
                      <a:pt x="519" y="492"/>
                    </a:lnTo>
                    <a:lnTo>
                      <a:pt x="519" y="493"/>
                    </a:lnTo>
                    <a:lnTo>
                      <a:pt x="518" y="493"/>
                    </a:lnTo>
                    <a:lnTo>
                      <a:pt x="518" y="494"/>
                    </a:lnTo>
                    <a:lnTo>
                      <a:pt x="517" y="495"/>
                    </a:lnTo>
                    <a:close/>
                    <a:moveTo>
                      <a:pt x="160" y="391"/>
                    </a:moveTo>
                    <a:lnTo>
                      <a:pt x="158" y="391"/>
                    </a:lnTo>
                    <a:lnTo>
                      <a:pt x="158" y="392"/>
                    </a:lnTo>
                    <a:lnTo>
                      <a:pt x="158" y="393"/>
                    </a:lnTo>
                    <a:lnTo>
                      <a:pt x="158" y="392"/>
                    </a:lnTo>
                    <a:lnTo>
                      <a:pt x="158" y="393"/>
                    </a:lnTo>
                    <a:lnTo>
                      <a:pt x="160" y="392"/>
                    </a:lnTo>
                    <a:lnTo>
                      <a:pt x="160" y="393"/>
                    </a:lnTo>
                    <a:lnTo>
                      <a:pt x="158" y="393"/>
                    </a:lnTo>
                    <a:lnTo>
                      <a:pt x="157" y="393"/>
                    </a:lnTo>
                    <a:lnTo>
                      <a:pt x="157" y="392"/>
                    </a:lnTo>
                    <a:lnTo>
                      <a:pt x="157" y="393"/>
                    </a:lnTo>
                    <a:lnTo>
                      <a:pt x="157" y="395"/>
                    </a:lnTo>
                    <a:lnTo>
                      <a:pt x="157" y="396"/>
                    </a:lnTo>
                    <a:lnTo>
                      <a:pt x="157" y="397"/>
                    </a:lnTo>
                    <a:lnTo>
                      <a:pt x="156" y="398"/>
                    </a:lnTo>
                    <a:lnTo>
                      <a:pt x="157" y="398"/>
                    </a:lnTo>
                    <a:lnTo>
                      <a:pt x="156" y="398"/>
                    </a:lnTo>
                    <a:lnTo>
                      <a:pt x="155" y="399"/>
                    </a:lnTo>
                    <a:lnTo>
                      <a:pt x="155" y="398"/>
                    </a:lnTo>
                    <a:lnTo>
                      <a:pt x="154" y="398"/>
                    </a:lnTo>
                    <a:lnTo>
                      <a:pt x="154" y="397"/>
                    </a:lnTo>
                    <a:lnTo>
                      <a:pt x="154" y="396"/>
                    </a:lnTo>
                    <a:lnTo>
                      <a:pt x="154" y="395"/>
                    </a:lnTo>
                    <a:lnTo>
                      <a:pt x="154" y="396"/>
                    </a:lnTo>
                    <a:lnTo>
                      <a:pt x="153" y="397"/>
                    </a:lnTo>
                    <a:lnTo>
                      <a:pt x="154" y="397"/>
                    </a:lnTo>
                    <a:lnTo>
                      <a:pt x="155" y="399"/>
                    </a:lnTo>
                    <a:lnTo>
                      <a:pt x="154" y="399"/>
                    </a:lnTo>
                    <a:lnTo>
                      <a:pt x="155" y="399"/>
                    </a:lnTo>
                    <a:lnTo>
                      <a:pt x="155" y="400"/>
                    </a:lnTo>
                    <a:lnTo>
                      <a:pt x="154" y="400"/>
                    </a:lnTo>
                    <a:lnTo>
                      <a:pt x="153" y="400"/>
                    </a:lnTo>
                    <a:lnTo>
                      <a:pt x="154" y="400"/>
                    </a:lnTo>
                    <a:lnTo>
                      <a:pt x="153" y="400"/>
                    </a:lnTo>
                    <a:lnTo>
                      <a:pt x="154" y="400"/>
                    </a:lnTo>
                    <a:lnTo>
                      <a:pt x="153" y="401"/>
                    </a:lnTo>
                    <a:lnTo>
                      <a:pt x="153" y="400"/>
                    </a:lnTo>
                    <a:lnTo>
                      <a:pt x="153" y="399"/>
                    </a:lnTo>
                    <a:lnTo>
                      <a:pt x="154" y="399"/>
                    </a:lnTo>
                    <a:lnTo>
                      <a:pt x="153" y="399"/>
                    </a:lnTo>
                    <a:lnTo>
                      <a:pt x="152" y="399"/>
                    </a:lnTo>
                    <a:lnTo>
                      <a:pt x="153" y="400"/>
                    </a:lnTo>
                    <a:lnTo>
                      <a:pt x="152" y="400"/>
                    </a:lnTo>
                    <a:lnTo>
                      <a:pt x="152" y="401"/>
                    </a:lnTo>
                    <a:lnTo>
                      <a:pt x="153" y="400"/>
                    </a:lnTo>
                    <a:lnTo>
                      <a:pt x="153" y="401"/>
                    </a:lnTo>
                    <a:lnTo>
                      <a:pt x="152" y="401"/>
                    </a:lnTo>
                    <a:lnTo>
                      <a:pt x="151" y="401"/>
                    </a:lnTo>
                    <a:lnTo>
                      <a:pt x="151" y="400"/>
                    </a:lnTo>
                    <a:lnTo>
                      <a:pt x="150" y="400"/>
                    </a:lnTo>
                    <a:lnTo>
                      <a:pt x="149" y="400"/>
                    </a:lnTo>
                    <a:lnTo>
                      <a:pt x="149" y="401"/>
                    </a:lnTo>
                    <a:lnTo>
                      <a:pt x="148" y="400"/>
                    </a:lnTo>
                    <a:lnTo>
                      <a:pt x="148" y="401"/>
                    </a:lnTo>
                    <a:lnTo>
                      <a:pt x="148" y="400"/>
                    </a:lnTo>
                    <a:lnTo>
                      <a:pt x="149" y="400"/>
                    </a:lnTo>
                    <a:lnTo>
                      <a:pt x="149" y="399"/>
                    </a:lnTo>
                    <a:lnTo>
                      <a:pt x="148" y="399"/>
                    </a:lnTo>
                    <a:lnTo>
                      <a:pt x="148" y="400"/>
                    </a:lnTo>
                    <a:lnTo>
                      <a:pt x="148" y="401"/>
                    </a:lnTo>
                    <a:lnTo>
                      <a:pt x="147" y="400"/>
                    </a:lnTo>
                    <a:lnTo>
                      <a:pt x="147" y="399"/>
                    </a:lnTo>
                    <a:lnTo>
                      <a:pt x="147" y="400"/>
                    </a:lnTo>
                    <a:lnTo>
                      <a:pt x="145" y="400"/>
                    </a:lnTo>
                    <a:lnTo>
                      <a:pt x="145" y="399"/>
                    </a:lnTo>
                    <a:lnTo>
                      <a:pt x="147" y="398"/>
                    </a:lnTo>
                    <a:lnTo>
                      <a:pt x="147" y="397"/>
                    </a:lnTo>
                    <a:lnTo>
                      <a:pt x="145" y="397"/>
                    </a:lnTo>
                    <a:lnTo>
                      <a:pt x="145" y="396"/>
                    </a:lnTo>
                    <a:lnTo>
                      <a:pt x="147" y="396"/>
                    </a:lnTo>
                    <a:lnTo>
                      <a:pt x="147" y="397"/>
                    </a:lnTo>
                    <a:lnTo>
                      <a:pt x="147" y="396"/>
                    </a:lnTo>
                    <a:lnTo>
                      <a:pt x="148" y="396"/>
                    </a:lnTo>
                    <a:lnTo>
                      <a:pt x="148" y="397"/>
                    </a:lnTo>
                    <a:lnTo>
                      <a:pt x="149" y="397"/>
                    </a:lnTo>
                    <a:lnTo>
                      <a:pt x="150" y="397"/>
                    </a:lnTo>
                    <a:lnTo>
                      <a:pt x="151" y="397"/>
                    </a:lnTo>
                    <a:lnTo>
                      <a:pt x="151" y="396"/>
                    </a:lnTo>
                    <a:lnTo>
                      <a:pt x="151" y="395"/>
                    </a:lnTo>
                    <a:lnTo>
                      <a:pt x="151" y="393"/>
                    </a:lnTo>
                    <a:lnTo>
                      <a:pt x="152" y="393"/>
                    </a:lnTo>
                    <a:lnTo>
                      <a:pt x="153" y="393"/>
                    </a:lnTo>
                    <a:lnTo>
                      <a:pt x="154" y="392"/>
                    </a:lnTo>
                    <a:lnTo>
                      <a:pt x="155" y="392"/>
                    </a:lnTo>
                    <a:lnTo>
                      <a:pt x="156" y="392"/>
                    </a:lnTo>
                    <a:lnTo>
                      <a:pt x="155" y="392"/>
                    </a:lnTo>
                    <a:lnTo>
                      <a:pt x="156" y="391"/>
                    </a:lnTo>
                    <a:lnTo>
                      <a:pt x="157" y="391"/>
                    </a:lnTo>
                    <a:lnTo>
                      <a:pt x="158" y="391"/>
                    </a:lnTo>
                    <a:lnTo>
                      <a:pt x="160" y="391"/>
                    </a:lnTo>
                    <a:close/>
                    <a:moveTo>
                      <a:pt x="554" y="418"/>
                    </a:moveTo>
                    <a:lnTo>
                      <a:pt x="555" y="418"/>
                    </a:lnTo>
                    <a:lnTo>
                      <a:pt x="555" y="420"/>
                    </a:lnTo>
                    <a:lnTo>
                      <a:pt x="554" y="420"/>
                    </a:lnTo>
                    <a:lnTo>
                      <a:pt x="554" y="421"/>
                    </a:lnTo>
                    <a:lnTo>
                      <a:pt x="555" y="421"/>
                    </a:lnTo>
                    <a:lnTo>
                      <a:pt x="554" y="421"/>
                    </a:lnTo>
                    <a:lnTo>
                      <a:pt x="554" y="422"/>
                    </a:lnTo>
                    <a:lnTo>
                      <a:pt x="554" y="421"/>
                    </a:lnTo>
                    <a:lnTo>
                      <a:pt x="553" y="421"/>
                    </a:lnTo>
                    <a:lnTo>
                      <a:pt x="553" y="422"/>
                    </a:lnTo>
                    <a:lnTo>
                      <a:pt x="552" y="422"/>
                    </a:lnTo>
                    <a:lnTo>
                      <a:pt x="552" y="421"/>
                    </a:lnTo>
                    <a:lnTo>
                      <a:pt x="552" y="422"/>
                    </a:lnTo>
                    <a:lnTo>
                      <a:pt x="552" y="423"/>
                    </a:lnTo>
                    <a:lnTo>
                      <a:pt x="552" y="422"/>
                    </a:lnTo>
                    <a:lnTo>
                      <a:pt x="553" y="422"/>
                    </a:lnTo>
                    <a:lnTo>
                      <a:pt x="553" y="423"/>
                    </a:lnTo>
                    <a:lnTo>
                      <a:pt x="553" y="422"/>
                    </a:lnTo>
                    <a:lnTo>
                      <a:pt x="553" y="423"/>
                    </a:lnTo>
                    <a:lnTo>
                      <a:pt x="553" y="424"/>
                    </a:lnTo>
                    <a:lnTo>
                      <a:pt x="554" y="424"/>
                    </a:lnTo>
                    <a:lnTo>
                      <a:pt x="554" y="425"/>
                    </a:lnTo>
                    <a:lnTo>
                      <a:pt x="555" y="423"/>
                    </a:lnTo>
                    <a:lnTo>
                      <a:pt x="556" y="423"/>
                    </a:lnTo>
                    <a:lnTo>
                      <a:pt x="555" y="424"/>
                    </a:lnTo>
                    <a:lnTo>
                      <a:pt x="554" y="425"/>
                    </a:lnTo>
                    <a:lnTo>
                      <a:pt x="553" y="425"/>
                    </a:lnTo>
                    <a:lnTo>
                      <a:pt x="553" y="426"/>
                    </a:lnTo>
                    <a:lnTo>
                      <a:pt x="552" y="426"/>
                    </a:lnTo>
                    <a:lnTo>
                      <a:pt x="552" y="427"/>
                    </a:lnTo>
                    <a:lnTo>
                      <a:pt x="551" y="427"/>
                    </a:lnTo>
                    <a:lnTo>
                      <a:pt x="550" y="428"/>
                    </a:lnTo>
                    <a:lnTo>
                      <a:pt x="550" y="427"/>
                    </a:lnTo>
                    <a:lnTo>
                      <a:pt x="549" y="427"/>
                    </a:lnTo>
                    <a:lnTo>
                      <a:pt x="546" y="427"/>
                    </a:lnTo>
                    <a:lnTo>
                      <a:pt x="545" y="427"/>
                    </a:lnTo>
                    <a:lnTo>
                      <a:pt x="544" y="426"/>
                    </a:lnTo>
                    <a:lnTo>
                      <a:pt x="543" y="426"/>
                    </a:lnTo>
                    <a:lnTo>
                      <a:pt x="542" y="426"/>
                    </a:lnTo>
                    <a:lnTo>
                      <a:pt x="542" y="425"/>
                    </a:lnTo>
                    <a:lnTo>
                      <a:pt x="543" y="425"/>
                    </a:lnTo>
                    <a:lnTo>
                      <a:pt x="543" y="424"/>
                    </a:lnTo>
                    <a:lnTo>
                      <a:pt x="545" y="423"/>
                    </a:lnTo>
                    <a:lnTo>
                      <a:pt x="545" y="424"/>
                    </a:lnTo>
                    <a:lnTo>
                      <a:pt x="545" y="423"/>
                    </a:lnTo>
                    <a:lnTo>
                      <a:pt x="546" y="423"/>
                    </a:lnTo>
                    <a:lnTo>
                      <a:pt x="548" y="422"/>
                    </a:lnTo>
                    <a:lnTo>
                      <a:pt x="549" y="422"/>
                    </a:lnTo>
                    <a:lnTo>
                      <a:pt x="549" y="421"/>
                    </a:lnTo>
                    <a:lnTo>
                      <a:pt x="550" y="421"/>
                    </a:lnTo>
                    <a:lnTo>
                      <a:pt x="550" y="420"/>
                    </a:lnTo>
                    <a:lnTo>
                      <a:pt x="551" y="420"/>
                    </a:lnTo>
                    <a:lnTo>
                      <a:pt x="551" y="418"/>
                    </a:lnTo>
                    <a:lnTo>
                      <a:pt x="552" y="418"/>
                    </a:lnTo>
                    <a:lnTo>
                      <a:pt x="553" y="418"/>
                    </a:lnTo>
                    <a:lnTo>
                      <a:pt x="554" y="418"/>
                    </a:lnTo>
                    <a:close/>
                    <a:moveTo>
                      <a:pt x="563" y="596"/>
                    </a:moveTo>
                    <a:lnTo>
                      <a:pt x="563" y="597"/>
                    </a:lnTo>
                    <a:lnTo>
                      <a:pt x="562" y="597"/>
                    </a:lnTo>
                    <a:lnTo>
                      <a:pt x="564" y="598"/>
                    </a:lnTo>
                    <a:lnTo>
                      <a:pt x="563" y="601"/>
                    </a:lnTo>
                    <a:lnTo>
                      <a:pt x="562" y="601"/>
                    </a:lnTo>
                    <a:lnTo>
                      <a:pt x="562" y="600"/>
                    </a:lnTo>
                    <a:lnTo>
                      <a:pt x="561" y="598"/>
                    </a:lnTo>
                    <a:lnTo>
                      <a:pt x="560" y="598"/>
                    </a:lnTo>
                    <a:lnTo>
                      <a:pt x="558" y="600"/>
                    </a:lnTo>
                    <a:lnTo>
                      <a:pt x="557" y="601"/>
                    </a:lnTo>
                    <a:lnTo>
                      <a:pt x="557" y="600"/>
                    </a:lnTo>
                    <a:lnTo>
                      <a:pt x="556" y="600"/>
                    </a:lnTo>
                    <a:lnTo>
                      <a:pt x="556" y="598"/>
                    </a:lnTo>
                    <a:lnTo>
                      <a:pt x="556" y="597"/>
                    </a:lnTo>
                    <a:lnTo>
                      <a:pt x="555" y="597"/>
                    </a:lnTo>
                    <a:lnTo>
                      <a:pt x="555" y="596"/>
                    </a:lnTo>
                    <a:lnTo>
                      <a:pt x="554" y="595"/>
                    </a:lnTo>
                    <a:lnTo>
                      <a:pt x="554" y="594"/>
                    </a:lnTo>
                    <a:lnTo>
                      <a:pt x="554" y="595"/>
                    </a:lnTo>
                    <a:lnTo>
                      <a:pt x="555" y="595"/>
                    </a:lnTo>
                    <a:lnTo>
                      <a:pt x="556" y="596"/>
                    </a:lnTo>
                    <a:lnTo>
                      <a:pt x="556" y="595"/>
                    </a:lnTo>
                    <a:lnTo>
                      <a:pt x="557" y="594"/>
                    </a:lnTo>
                    <a:lnTo>
                      <a:pt x="557" y="593"/>
                    </a:lnTo>
                    <a:lnTo>
                      <a:pt x="558" y="592"/>
                    </a:lnTo>
                    <a:lnTo>
                      <a:pt x="558" y="591"/>
                    </a:lnTo>
                    <a:lnTo>
                      <a:pt x="561" y="590"/>
                    </a:lnTo>
                    <a:lnTo>
                      <a:pt x="562" y="590"/>
                    </a:lnTo>
                    <a:lnTo>
                      <a:pt x="564" y="590"/>
                    </a:lnTo>
                    <a:lnTo>
                      <a:pt x="563" y="590"/>
                    </a:lnTo>
                    <a:lnTo>
                      <a:pt x="563" y="591"/>
                    </a:lnTo>
                    <a:lnTo>
                      <a:pt x="563" y="592"/>
                    </a:lnTo>
                    <a:lnTo>
                      <a:pt x="564" y="592"/>
                    </a:lnTo>
                    <a:lnTo>
                      <a:pt x="564" y="593"/>
                    </a:lnTo>
                    <a:lnTo>
                      <a:pt x="563" y="594"/>
                    </a:lnTo>
                    <a:lnTo>
                      <a:pt x="563" y="595"/>
                    </a:lnTo>
                    <a:lnTo>
                      <a:pt x="564" y="595"/>
                    </a:lnTo>
                    <a:lnTo>
                      <a:pt x="564" y="596"/>
                    </a:lnTo>
                    <a:lnTo>
                      <a:pt x="563" y="596"/>
                    </a:lnTo>
                    <a:close/>
                    <a:moveTo>
                      <a:pt x="271" y="180"/>
                    </a:moveTo>
                    <a:lnTo>
                      <a:pt x="272" y="181"/>
                    </a:lnTo>
                    <a:lnTo>
                      <a:pt x="273" y="181"/>
                    </a:lnTo>
                    <a:lnTo>
                      <a:pt x="273" y="182"/>
                    </a:lnTo>
                    <a:lnTo>
                      <a:pt x="274" y="182"/>
                    </a:lnTo>
                    <a:lnTo>
                      <a:pt x="276" y="182"/>
                    </a:lnTo>
                    <a:lnTo>
                      <a:pt x="276" y="183"/>
                    </a:lnTo>
                    <a:lnTo>
                      <a:pt x="277" y="182"/>
                    </a:lnTo>
                    <a:lnTo>
                      <a:pt x="278" y="183"/>
                    </a:lnTo>
                    <a:lnTo>
                      <a:pt x="279" y="183"/>
                    </a:lnTo>
                    <a:lnTo>
                      <a:pt x="280" y="183"/>
                    </a:lnTo>
                    <a:lnTo>
                      <a:pt x="281" y="183"/>
                    </a:lnTo>
                    <a:lnTo>
                      <a:pt x="281" y="182"/>
                    </a:lnTo>
                    <a:lnTo>
                      <a:pt x="281" y="183"/>
                    </a:lnTo>
                    <a:lnTo>
                      <a:pt x="282" y="183"/>
                    </a:lnTo>
                    <a:lnTo>
                      <a:pt x="282" y="182"/>
                    </a:lnTo>
                    <a:lnTo>
                      <a:pt x="282" y="183"/>
                    </a:lnTo>
                    <a:lnTo>
                      <a:pt x="282" y="182"/>
                    </a:lnTo>
                    <a:lnTo>
                      <a:pt x="284" y="183"/>
                    </a:lnTo>
                    <a:lnTo>
                      <a:pt x="285" y="183"/>
                    </a:lnTo>
                    <a:lnTo>
                      <a:pt x="286" y="184"/>
                    </a:lnTo>
                    <a:lnTo>
                      <a:pt x="287" y="184"/>
                    </a:lnTo>
                    <a:lnTo>
                      <a:pt x="289" y="184"/>
                    </a:lnTo>
                    <a:lnTo>
                      <a:pt x="290" y="184"/>
                    </a:lnTo>
                    <a:lnTo>
                      <a:pt x="291" y="184"/>
                    </a:lnTo>
                    <a:lnTo>
                      <a:pt x="293" y="184"/>
                    </a:lnTo>
                    <a:lnTo>
                      <a:pt x="294" y="184"/>
                    </a:lnTo>
                    <a:lnTo>
                      <a:pt x="293" y="184"/>
                    </a:lnTo>
                    <a:lnTo>
                      <a:pt x="292" y="185"/>
                    </a:lnTo>
                    <a:lnTo>
                      <a:pt x="291" y="185"/>
                    </a:lnTo>
                    <a:lnTo>
                      <a:pt x="291" y="186"/>
                    </a:lnTo>
                    <a:lnTo>
                      <a:pt x="290" y="185"/>
                    </a:lnTo>
                    <a:lnTo>
                      <a:pt x="289" y="185"/>
                    </a:lnTo>
                    <a:lnTo>
                      <a:pt x="287" y="185"/>
                    </a:lnTo>
                    <a:lnTo>
                      <a:pt x="286" y="185"/>
                    </a:lnTo>
                    <a:lnTo>
                      <a:pt x="286" y="184"/>
                    </a:lnTo>
                    <a:lnTo>
                      <a:pt x="285" y="184"/>
                    </a:lnTo>
                    <a:lnTo>
                      <a:pt x="284" y="184"/>
                    </a:lnTo>
                    <a:lnTo>
                      <a:pt x="283" y="184"/>
                    </a:lnTo>
                    <a:lnTo>
                      <a:pt x="282" y="184"/>
                    </a:lnTo>
                    <a:lnTo>
                      <a:pt x="281" y="184"/>
                    </a:lnTo>
                    <a:lnTo>
                      <a:pt x="280" y="184"/>
                    </a:lnTo>
                    <a:lnTo>
                      <a:pt x="280" y="185"/>
                    </a:lnTo>
                    <a:lnTo>
                      <a:pt x="279" y="185"/>
                    </a:lnTo>
                    <a:lnTo>
                      <a:pt x="279" y="186"/>
                    </a:lnTo>
                    <a:lnTo>
                      <a:pt x="279" y="187"/>
                    </a:lnTo>
                    <a:lnTo>
                      <a:pt x="279" y="189"/>
                    </a:lnTo>
                    <a:lnTo>
                      <a:pt x="279" y="190"/>
                    </a:lnTo>
                    <a:lnTo>
                      <a:pt x="278" y="189"/>
                    </a:lnTo>
                    <a:lnTo>
                      <a:pt x="277" y="189"/>
                    </a:lnTo>
                    <a:lnTo>
                      <a:pt x="276" y="189"/>
                    </a:lnTo>
                    <a:lnTo>
                      <a:pt x="276" y="187"/>
                    </a:lnTo>
                    <a:lnTo>
                      <a:pt x="277" y="187"/>
                    </a:lnTo>
                    <a:lnTo>
                      <a:pt x="277" y="186"/>
                    </a:lnTo>
                    <a:lnTo>
                      <a:pt x="278" y="186"/>
                    </a:lnTo>
                    <a:lnTo>
                      <a:pt x="278" y="185"/>
                    </a:lnTo>
                    <a:lnTo>
                      <a:pt x="277" y="185"/>
                    </a:lnTo>
                    <a:lnTo>
                      <a:pt x="277" y="184"/>
                    </a:lnTo>
                    <a:lnTo>
                      <a:pt x="277" y="183"/>
                    </a:lnTo>
                    <a:lnTo>
                      <a:pt x="276" y="183"/>
                    </a:lnTo>
                    <a:lnTo>
                      <a:pt x="274" y="183"/>
                    </a:lnTo>
                    <a:lnTo>
                      <a:pt x="273" y="183"/>
                    </a:lnTo>
                    <a:lnTo>
                      <a:pt x="272" y="183"/>
                    </a:lnTo>
                    <a:lnTo>
                      <a:pt x="271" y="183"/>
                    </a:lnTo>
                    <a:lnTo>
                      <a:pt x="271" y="184"/>
                    </a:lnTo>
                    <a:lnTo>
                      <a:pt x="270" y="184"/>
                    </a:lnTo>
                    <a:lnTo>
                      <a:pt x="271" y="184"/>
                    </a:lnTo>
                    <a:lnTo>
                      <a:pt x="270" y="184"/>
                    </a:lnTo>
                    <a:lnTo>
                      <a:pt x="270" y="183"/>
                    </a:lnTo>
                    <a:lnTo>
                      <a:pt x="269" y="183"/>
                    </a:lnTo>
                    <a:lnTo>
                      <a:pt x="268" y="183"/>
                    </a:lnTo>
                    <a:lnTo>
                      <a:pt x="268" y="182"/>
                    </a:lnTo>
                    <a:lnTo>
                      <a:pt x="269" y="182"/>
                    </a:lnTo>
                    <a:lnTo>
                      <a:pt x="268" y="182"/>
                    </a:lnTo>
                    <a:lnTo>
                      <a:pt x="269" y="182"/>
                    </a:lnTo>
                    <a:lnTo>
                      <a:pt x="269" y="181"/>
                    </a:lnTo>
                    <a:lnTo>
                      <a:pt x="269" y="182"/>
                    </a:lnTo>
                    <a:lnTo>
                      <a:pt x="268" y="182"/>
                    </a:lnTo>
                    <a:lnTo>
                      <a:pt x="268" y="181"/>
                    </a:lnTo>
                    <a:lnTo>
                      <a:pt x="268" y="180"/>
                    </a:lnTo>
                    <a:lnTo>
                      <a:pt x="267" y="181"/>
                    </a:lnTo>
                    <a:lnTo>
                      <a:pt x="268" y="181"/>
                    </a:lnTo>
                    <a:lnTo>
                      <a:pt x="268" y="182"/>
                    </a:lnTo>
                    <a:lnTo>
                      <a:pt x="267" y="182"/>
                    </a:lnTo>
                    <a:lnTo>
                      <a:pt x="267" y="181"/>
                    </a:lnTo>
                    <a:lnTo>
                      <a:pt x="266" y="181"/>
                    </a:lnTo>
                    <a:lnTo>
                      <a:pt x="267" y="181"/>
                    </a:lnTo>
                    <a:lnTo>
                      <a:pt x="267" y="180"/>
                    </a:lnTo>
                    <a:lnTo>
                      <a:pt x="266" y="180"/>
                    </a:lnTo>
                    <a:lnTo>
                      <a:pt x="266" y="181"/>
                    </a:lnTo>
                    <a:lnTo>
                      <a:pt x="266" y="180"/>
                    </a:lnTo>
                    <a:lnTo>
                      <a:pt x="268" y="180"/>
                    </a:lnTo>
                    <a:lnTo>
                      <a:pt x="270" y="180"/>
                    </a:lnTo>
                    <a:lnTo>
                      <a:pt x="271" y="180"/>
                    </a:lnTo>
                    <a:close/>
                    <a:moveTo>
                      <a:pt x="230" y="406"/>
                    </a:moveTo>
                    <a:lnTo>
                      <a:pt x="234" y="408"/>
                    </a:lnTo>
                    <a:lnTo>
                      <a:pt x="235" y="408"/>
                    </a:lnTo>
                    <a:lnTo>
                      <a:pt x="236" y="408"/>
                    </a:lnTo>
                    <a:lnTo>
                      <a:pt x="235" y="408"/>
                    </a:lnTo>
                    <a:lnTo>
                      <a:pt x="234" y="408"/>
                    </a:lnTo>
                    <a:lnTo>
                      <a:pt x="233" y="408"/>
                    </a:lnTo>
                    <a:lnTo>
                      <a:pt x="232" y="408"/>
                    </a:lnTo>
                    <a:lnTo>
                      <a:pt x="232" y="409"/>
                    </a:lnTo>
                    <a:lnTo>
                      <a:pt x="232" y="408"/>
                    </a:lnTo>
                    <a:lnTo>
                      <a:pt x="231" y="406"/>
                    </a:lnTo>
                    <a:lnTo>
                      <a:pt x="230" y="406"/>
                    </a:lnTo>
                    <a:lnTo>
                      <a:pt x="230" y="409"/>
                    </a:lnTo>
                    <a:lnTo>
                      <a:pt x="230" y="410"/>
                    </a:lnTo>
                    <a:lnTo>
                      <a:pt x="231" y="410"/>
                    </a:lnTo>
                    <a:lnTo>
                      <a:pt x="231" y="411"/>
                    </a:lnTo>
                    <a:lnTo>
                      <a:pt x="231" y="412"/>
                    </a:lnTo>
                    <a:lnTo>
                      <a:pt x="231" y="413"/>
                    </a:lnTo>
                    <a:lnTo>
                      <a:pt x="232" y="413"/>
                    </a:lnTo>
                    <a:lnTo>
                      <a:pt x="234" y="413"/>
                    </a:lnTo>
                    <a:lnTo>
                      <a:pt x="235" y="413"/>
                    </a:lnTo>
                    <a:lnTo>
                      <a:pt x="235" y="412"/>
                    </a:lnTo>
                    <a:lnTo>
                      <a:pt x="235" y="411"/>
                    </a:lnTo>
                    <a:lnTo>
                      <a:pt x="234" y="411"/>
                    </a:lnTo>
                    <a:lnTo>
                      <a:pt x="235" y="411"/>
                    </a:lnTo>
                    <a:lnTo>
                      <a:pt x="236" y="411"/>
                    </a:lnTo>
                    <a:lnTo>
                      <a:pt x="236" y="412"/>
                    </a:lnTo>
                    <a:lnTo>
                      <a:pt x="238" y="412"/>
                    </a:lnTo>
                    <a:lnTo>
                      <a:pt x="238" y="411"/>
                    </a:lnTo>
                    <a:lnTo>
                      <a:pt x="239" y="411"/>
                    </a:lnTo>
                    <a:lnTo>
                      <a:pt x="238" y="412"/>
                    </a:lnTo>
                    <a:lnTo>
                      <a:pt x="238" y="413"/>
                    </a:lnTo>
                    <a:lnTo>
                      <a:pt x="236" y="413"/>
                    </a:lnTo>
                    <a:lnTo>
                      <a:pt x="236" y="414"/>
                    </a:lnTo>
                    <a:lnTo>
                      <a:pt x="236" y="415"/>
                    </a:lnTo>
                    <a:lnTo>
                      <a:pt x="238" y="414"/>
                    </a:lnTo>
                    <a:lnTo>
                      <a:pt x="239" y="414"/>
                    </a:lnTo>
                    <a:lnTo>
                      <a:pt x="240" y="414"/>
                    </a:lnTo>
                    <a:lnTo>
                      <a:pt x="240" y="413"/>
                    </a:lnTo>
                    <a:lnTo>
                      <a:pt x="240" y="414"/>
                    </a:lnTo>
                    <a:lnTo>
                      <a:pt x="241" y="415"/>
                    </a:lnTo>
                    <a:lnTo>
                      <a:pt x="241" y="416"/>
                    </a:lnTo>
                    <a:lnTo>
                      <a:pt x="242" y="416"/>
                    </a:lnTo>
                    <a:lnTo>
                      <a:pt x="241" y="416"/>
                    </a:lnTo>
                    <a:lnTo>
                      <a:pt x="239" y="416"/>
                    </a:lnTo>
                    <a:lnTo>
                      <a:pt x="239" y="415"/>
                    </a:lnTo>
                    <a:lnTo>
                      <a:pt x="239" y="414"/>
                    </a:lnTo>
                    <a:lnTo>
                      <a:pt x="238" y="414"/>
                    </a:lnTo>
                    <a:lnTo>
                      <a:pt x="239" y="415"/>
                    </a:lnTo>
                    <a:lnTo>
                      <a:pt x="239" y="416"/>
                    </a:lnTo>
                    <a:lnTo>
                      <a:pt x="238" y="416"/>
                    </a:lnTo>
                    <a:lnTo>
                      <a:pt x="239" y="416"/>
                    </a:lnTo>
                    <a:lnTo>
                      <a:pt x="238" y="416"/>
                    </a:lnTo>
                    <a:lnTo>
                      <a:pt x="235" y="416"/>
                    </a:lnTo>
                    <a:lnTo>
                      <a:pt x="234" y="416"/>
                    </a:lnTo>
                    <a:lnTo>
                      <a:pt x="233" y="416"/>
                    </a:lnTo>
                    <a:lnTo>
                      <a:pt x="232" y="415"/>
                    </a:lnTo>
                    <a:lnTo>
                      <a:pt x="231" y="415"/>
                    </a:lnTo>
                    <a:lnTo>
                      <a:pt x="230" y="415"/>
                    </a:lnTo>
                    <a:lnTo>
                      <a:pt x="229" y="415"/>
                    </a:lnTo>
                    <a:lnTo>
                      <a:pt x="228" y="415"/>
                    </a:lnTo>
                    <a:lnTo>
                      <a:pt x="227" y="415"/>
                    </a:lnTo>
                    <a:lnTo>
                      <a:pt x="222" y="415"/>
                    </a:lnTo>
                    <a:lnTo>
                      <a:pt x="223" y="414"/>
                    </a:lnTo>
                    <a:lnTo>
                      <a:pt x="225" y="413"/>
                    </a:lnTo>
                    <a:lnTo>
                      <a:pt x="226" y="413"/>
                    </a:lnTo>
                    <a:lnTo>
                      <a:pt x="227" y="413"/>
                    </a:lnTo>
                    <a:lnTo>
                      <a:pt x="228" y="413"/>
                    </a:lnTo>
                    <a:lnTo>
                      <a:pt x="229" y="412"/>
                    </a:lnTo>
                    <a:lnTo>
                      <a:pt x="230" y="412"/>
                    </a:lnTo>
                    <a:lnTo>
                      <a:pt x="230" y="411"/>
                    </a:lnTo>
                    <a:lnTo>
                      <a:pt x="230" y="410"/>
                    </a:lnTo>
                    <a:lnTo>
                      <a:pt x="230" y="409"/>
                    </a:lnTo>
                    <a:lnTo>
                      <a:pt x="230" y="408"/>
                    </a:lnTo>
                    <a:lnTo>
                      <a:pt x="230" y="406"/>
                    </a:lnTo>
                    <a:close/>
                    <a:moveTo>
                      <a:pt x="258" y="226"/>
                    </a:moveTo>
                    <a:lnTo>
                      <a:pt x="259" y="226"/>
                    </a:lnTo>
                    <a:lnTo>
                      <a:pt x="260" y="226"/>
                    </a:lnTo>
                    <a:lnTo>
                      <a:pt x="261" y="226"/>
                    </a:lnTo>
                    <a:lnTo>
                      <a:pt x="261" y="228"/>
                    </a:lnTo>
                    <a:lnTo>
                      <a:pt x="262" y="228"/>
                    </a:lnTo>
                    <a:lnTo>
                      <a:pt x="262" y="229"/>
                    </a:lnTo>
                    <a:lnTo>
                      <a:pt x="261" y="229"/>
                    </a:lnTo>
                    <a:lnTo>
                      <a:pt x="262" y="229"/>
                    </a:lnTo>
                    <a:lnTo>
                      <a:pt x="262" y="230"/>
                    </a:lnTo>
                    <a:lnTo>
                      <a:pt x="264" y="230"/>
                    </a:lnTo>
                    <a:lnTo>
                      <a:pt x="264" y="231"/>
                    </a:lnTo>
                    <a:lnTo>
                      <a:pt x="264" y="232"/>
                    </a:lnTo>
                    <a:lnTo>
                      <a:pt x="265" y="233"/>
                    </a:lnTo>
                    <a:lnTo>
                      <a:pt x="265" y="234"/>
                    </a:lnTo>
                    <a:lnTo>
                      <a:pt x="264" y="234"/>
                    </a:lnTo>
                    <a:lnTo>
                      <a:pt x="264" y="235"/>
                    </a:lnTo>
                    <a:lnTo>
                      <a:pt x="262" y="235"/>
                    </a:lnTo>
                    <a:lnTo>
                      <a:pt x="264" y="235"/>
                    </a:lnTo>
                    <a:lnTo>
                      <a:pt x="262" y="235"/>
                    </a:lnTo>
                    <a:lnTo>
                      <a:pt x="262" y="234"/>
                    </a:lnTo>
                    <a:lnTo>
                      <a:pt x="262" y="233"/>
                    </a:lnTo>
                    <a:lnTo>
                      <a:pt x="261" y="233"/>
                    </a:lnTo>
                    <a:lnTo>
                      <a:pt x="261" y="232"/>
                    </a:lnTo>
                    <a:lnTo>
                      <a:pt x="260" y="232"/>
                    </a:lnTo>
                    <a:lnTo>
                      <a:pt x="259" y="232"/>
                    </a:lnTo>
                    <a:lnTo>
                      <a:pt x="259" y="233"/>
                    </a:lnTo>
                    <a:lnTo>
                      <a:pt x="258" y="233"/>
                    </a:lnTo>
                    <a:lnTo>
                      <a:pt x="258" y="234"/>
                    </a:lnTo>
                    <a:lnTo>
                      <a:pt x="258" y="233"/>
                    </a:lnTo>
                    <a:lnTo>
                      <a:pt x="258" y="234"/>
                    </a:lnTo>
                    <a:lnTo>
                      <a:pt x="257" y="234"/>
                    </a:lnTo>
                    <a:lnTo>
                      <a:pt x="256" y="234"/>
                    </a:lnTo>
                    <a:lnTo>
                      <a:pt x="255" y="234"/>
                    </a:lnTo>
                    <a:lnTo>
                      <a:pt x="254" y="233"/>
                    </a:lnTo>
                    <a:lnTo>
                      <a:pt x="253" y="234"/>
                    </a:lnTo>
                    <a:lnTo>
                      <a:pt x="253" y="233"/>
                    </a:lnTo>
                    <a:lnTo>
                      <a:pt x="252" y="233"/>
                    </a:lnTo>
                    <a:lnTo>
                      <a:pt x="251" y="232"/>
                    </a:lnTo>
                    <a:lnTo>
                      <a:pt x="249" y="232"/>
                    </a:lnTo>
                    <a:lnTo>
                      <a:pt x="248" y="232"/>
                    </a:lnTo>
                    <a:lnTo>
                      <a:pt x="247" y="231"/>
                    </a:lnTo>
                    <a:lnTo>
                      <a:pt x="246" y="231"/>
                    </a:lnTo>
                    <a:lnTo>
                      <a:pt x="245" y="231"/>
                    </a:lnTo>
                    <a:lnTo>
                      <a:pt x="245" y="230"/>
                    </a:lnTo>
                    <a:lnTo>
                      <a:pt x="245" y="229"/>
                    </a:lnTo>
                    <a:lnTo>
                      <a:pt x="246" y="229"/>
                    </a:lnTo>
                    <a:lnTo>
                      <a:pt x="247" y="229"/>
                    </a:lnTo>
                    <a:lnTo>
                      <a:pt x="247" y="230"/>
                    </a:lnTo>
                    <a:lnTo>
                      <a:pt x="246" y="230"/>
                    </a:lnTo>
                    <a:lnTo>
                      <a:pt x="247" y="230"/>
                    </a:lnTo>
                    <a:lnTo>
                      <a:pt x="247" y="231"/>
                    </a:lnTo>
                    <a:lnTo>
                      <a:pt x="247" y="230"/>
                    </a:lnTo>
                    <a:lnTo>
                      <a:pt x="248" y="230"/>
                    </a:lnTo>
                    <a:lnTo>
                      <a:pt x="248" y="231"/>
                    </a:lnTo>
                    <a:lnTo>
                      <a:pt x="249" y="231"/>
                    </a:lnTo>
                    <a:lnTo>
                      <a:pt x="249" y="232"/>
                    </a:lnTo>
                    <a:lnTo>
                      <a:pt x="251" y="232"/>
                    </a:lnTo>
                    <a:lnTo>
                      <a:pt x="252" y="232"/>
                    </a:lnTo>
                    <a:lnTo>
                      <a:pt x="251" y="232"/>
                    </a:lnTo>
                    <a:lnTo>
                      <a:pt x="252" y="232"/>
                    </a:lnTo>
                    <a:lnTo>
                      <a:pt x="252" y="231"/>
                    </a:lnTo>
                    <a:lnTo>
                      <a:pt x="253" y="232"/>
                    </a:lnTo>
                    <a:lnTo>
                      <a:pt x="254" y="232"/>
                    </a:lnTo>
                    <a:lnTo>
                      <a:pt x="255" y="232"/>
                    </a:lnTo>
                    <a:lnTo>
                      <a:pt x="255" y="231"/>
                    </a:lnTo>
                    <a:lnTo>
                      <a:pt x="256" y="231"/>
                    </a:lnTo>
                    <a:lnTo>
                      <a:pt x="257" y="231"/>
                    </a:lnTo>
                    <a:lnTo>
                      <a:pt x="257" y="230"/>
                    </a:lnTo>
                    <a:lnTo>
                      <a:pt x="257" y="229"/>
                    </a:lnTo>
                    <a:lnTo>
                      <a:pt x="258" y="229"/>
                    </a:lnTo>
                    <a:lnTo>
                      <a:pt x="259" y="229"/>
                    </a:lnTo>
                    <a:lnTo>
                      <a:pt x="259" y="228"/>
                    </a:lnTo>
                    <a:lnTo>
                      <a:pt x="258" y="228"/>
                    </a:lnTo>
                    <a:lnTo>
                      <a:pt x="258" y="226"/>
                    </a:lnTo>
                    <a:close/>
                    <a:moveTo>
                      <a:pt x="493" y="580"/>
                    </a:moveTo>
                    <a:lnTo>
                      <a:pt x="493" y="582"/>
                    </a:lnTo>
                    <a:lnTo>
                      <a:pt x="494" y="583"/>
                    </a:lnTo>
                    <a:lnTo>
                      <a:pt x="494" y="584"/>
                    </a:lnTo>
                    <a:lnTo>
                      <a:pt x="491" y="584"/>
                    </a:lnTo>
                    <a:lnTo>
                      <a:pt x="489" y="584"/>
                    </a:lnTo>
                    <a:lnTo>
                      <a:pt x="488" y="584"/>
                    </a:lnTo>
                    <a:lnTo>
                      <a:pt x="487" y="584"/>
                    </a:lnTo>
                    <a:lnTo>
                      <a:pt x="486" y="583"/>
                    </a:lnTo>
                    <a:lnTo>
                      <a:pt x="485" y="582"/>
                    </a:lnTo>
                    <a:lnTo>
                      <a:pt x="486" y="582"/>
                    </a:lnTo>
                    <a:lnTo>
                      <a:pt x="486" y="581"/>
                    </a:lnTo>
                    <a:lnTo>
                      <a:pt x="487" y="580"/>
                    </a:lnTo>
                    <a:lnTo>
                      <a:pt x="488" y="580"/>
                    </a:lnTo>
                    <a:lnTo>
                      <a:pt x="487" y="580"/>
                    </a:lnTo>
                    <a:lnTo>
                      <a:pt x="487" y="579"/>
                    </a:lnTo>
                    <a:lnTo>
                      <a:pt x="488" y="578"/>
                    </a:lnTo>
                    <a:lnTo>
                      <a:pt x="489" y="576"/>
                    </a:lnTo>
                    <a:lnTo>
                      <a:pt x="490" y="576"/>
                    </a:lnTo>
                    <a:lnTo>
                      <a:pt x="491" y="577"/>
                    </a:lnTo>
                    <a:lnTo>
                      <a:pt x="492" y="577"/>
                    </a:lnTo>
                    <a:lnTo>
                      <a:pt x="493" y="578"/>
                    </a:lnTo>
                    <a:lnTo>
                      <a:pt x="493" y="579"/>
                    </a:lnTo>
                    <a:lnTo>
                      <a:pt x="493" y="580"/>
                    </a:lnTo>
                    <a:close/>
                    <a:moveTo>
                      <a:pt x="579" y="508"/>
                    </a:moveTo>
                    <a:lnTo>
                      <a:pt x="578" y="508"/>
                    </a:lnTo>
                    <a:lnTo>
                      <a:pt x="578" y="510"/>
                    </a:lnTo>
                    <a:lnTo>
                      <a:pt x="577" y="510"/>
                    </a:lnTo>
                    <a:lnTo>
                      <a:pt x="569" y="515"/>
                    </a:lnTo>
                    <a:lnTo>
                      <a:pt x="569" y="516"/>
                    </a:lnTo>
                    <a:lnTo>
                      <a:pt x="569" y="517"/>
                    </a:lnTo>
                    <a:lnTo>
                      <a:pt x="568" y="517"/>
                    </a:lnTo>
                    <a:lnTo>
                      <a:pt x="567" y="517"/>
                    </a:lnTo>
                    <a:lnTo>
                      <a:pt x="567" y="518"/>
                    </a:lnTo>
                    <a:lnTo>
                      <a:pt x="566" y="518"/>
                    </a:lnTo>
                    <a:lnTo>
                      <a:pt x="565" y="517"/>
                    </a:lnTo>
                    <a:lnTo>
                      <a:pt x="565" y="516"/>
                    </a:lnTo>
                    <a:lnTo>
                      <a:pt x="565" y="515"/>
                    </a:lnTo>
                    <a:lnTo>
                      <a:pt x="564" y="514"/>
                    </a:lnTo>
                    <a:lnTo>
                      <a:pt x="565" y="513"/>
                    </a:lnTo>
                    <a:lnTo>
                      <a:pt x="566" y="513"/>
                    </a:lnTo>
                    <a:lnTo>
                      <a:pt x="567" y="512"/>
                    </a:lnTo>
                    <a:lnTo>
                      <a:pt x="568" y="512"/>
                    </a:lnTo>
                    <a:lnTo>
                      <a:pt x="569" y="512"/>
                    </a:lnTo>
                    <a:lnTo>
                      <a:pt x="571" y="510"/>
                    </a:lnTo>
                    <a:lnTo>
                      <a:pt x="573" y="510"/>
                    </a:lnTo>
                    <a:lnTo>
                      <a:pt x="574" y="510"/>
                    </a:lnTo>
                    <a:lnTo>
                      <a:pt x="575" y="508"/>
                    </a:lnTo>
                    <a:lnTo>
                      <a:pt x="576" y="508"/>
                    </a:lnTo>
                    <a:lnTo>
                      <a:pt x="578" y="507"/>
                    </a:lnTo>
                    <a:lnTo>
                      <a:pt x="579" y="507"/>
                    </a:lnTo>
                    <a:lnTo>
                      <a:pt x="579" y="508"/>
                    </a:lnTo>
                    <a:close/>
                    <a:moveTo>
                      <a:pt x="226" y="406"/>
                    </a:moveTo>
                    <a:lnTo>
                      <a:pt x="226" y="408"/>
                    </a:lnTo>
                    <a:lnTo>
                      <a:pt x="225" y="408"/>
                    </a:lnTo>
                    <a:lnTo>
                      <a:pt x="225" y="409"/>
                    </a:lnTo>
                    <a:lnTo>
                      <a:pt x="226" y="409"/>
                    </a:lnTo>
                    <a:lnTo>
                      <a:pt x="227" y="409"/>
                    </a:lnTo>
                    <a:lnTo>
                      <a:pt x="228" y="409"/>
                    </a:lnTo>
                    <a:lnTo>
                      <a:pt x="228" y="408"/>
                    </a:lnTo>
                    <a:lnTo>
                      <a:pt x="229" y="408"/>
                    </a:lnTo>
                    <a:lnTo>
                      <a:pt x="228" y="408"/>
                    </a:lnTo>
                    <a:lnTo>
                      <a:pt x="229" y="406"/>
                    </a:lnTo>
                    <a:lnTo>
                      <a:pt x="228" y="406"/>
                    </a:lnTo>
                    <a:lnTo>
                      <a:pt x="229" y="406"/>
                    </a:lnTo>
                    <a:lnTo>
                      <a:pt x="229" y="408"/>
                    </a:lnTo>
                    <a:lnTo>
                      <a:pt x="229" y="409"/>
                    </a:lnTo>
                    <a:lnTo>
                      <a:pt x="230" y="410"/>
                    </a:lnTo>
                    <a:lnTo>
                      <a:pt x="230" y="411"/>
                    </a:lnTo>
                    <a:lnTo>
                      <a:pt x="229" y="412"/>
                    </a:lnTo>
                    <a:lnTo>
                      <a:pt x="228" y="412"/>
                    </a:lnTo>
                    <a:lnTo>
                      <a:pt x="227" y="412"/>
                    </a:lnTo>
                    <a:lnTo>
                      <a:pt x="225" y="413"/>
                    </a:lnTo>
                    <a:lnTo>
                      <a:pt x="223" y="413"/>
                    </a:lnTo>
                    <a:lnTo>
                      <a:pt x="223" y="414"/>
                    </a:lnTo>
                    <a:lnTo>
                      <a:pt x="221" y="415"/>
                    </a:lnTo>
                    <a:lnTo>
                      <a:pt x="219" y="414"/>
                    </a:lnTo>
                    <a:lnTo>
                      <a:pt x="218" y="414"/>
                    </a:lnTo>
                    <a:lnTo>
                      <a:pt x="219" y="414"/>
                    </a:lnTo>
                    <a:lnTo>
                      <a:pt x="215" y="414"/>
                    </a:lnTo>
                    <a:lnTo>
                      <a:pt x="215" y="413"/>
                    </a:lnTo>
                    <a:lnTo>
                      <a:pt x="216" y="413"/>
                    </a:lnTo>
                    <a:lnTo>
                      <a:pt x="216" y="412"/>
                    </a:lnTo>
                    <a:lnTo>
                      <a:pt x="217" y="410"/>
                    </a:lnTo>
                    <a:lnTo>
                      <a:pt x="216" y="412"/>
                    </a:lnTo>
                    <a:lnTo>
                      <a:pt x="216" y="413"/>
                    </a:lnTo>
                    <a:lnTo>
                      <a:pt x="216" y="414"/>
                    </a:lnTo>
                    <a:lnTo>
                      <a:pt x="217" y="414"/>
                    </a:lnTo>
                    <a:lnTo>
                      <a:pt x="217" y="413"/>
                    </a:lnTo>
                    <a:lnTo>
                      <a:pt x="217" y="412"/>
                    </a:lnTo>
                    <a:lnTo>
                      <a:pt x="217" y="411"/>
                    </a:lnTo>
                    <a:lnTo>
                      <a:pt x="218" y="411"/>
                    </a:lnTo>
                    <a:lnTo>
                      <a:pt x="219" y="411"/>
                    </a:lnTo>
                    <a:lnTo>
                      <a:pt x="220" y="410"/>
                    </a:lnTo>
                    <a:lnTo>
                      <a:pt x="220" y="411"/>
                    </a:lnTo>
                    <a:lnTo>
                      <a:pt x="220" y="412"/>
                    </a:lnTo>
                    <a:lnTo>
                      <a:pt x="220" y="411"/>
                    </a:lnTo>
                    <a:lnTo>
                      <a:pt x="221" y="411"/>
                    </a:lnTo>
                    <a:lnTo>
                      <a:pt x="221" y="410"/>
                    </a:lnTo>
                    <a:lnTo>
                      <a:pt x="221" y="409"/>
                    </a:lnTo>
                    <a:lnTo>
                      <a:pt x="222" y="409"/>
                    </a:lnTo>
                    <a:lnTo>
                      <a:pt x="221" y="410"/>
                    </a:lnTo>
                    <a:lnTo>
                      <a:pt x="221" y="411"/>
                    </a:lnTo>
                    <a:lnTo>
                      <a:pt x="222" y="411"/>
                    </a:lnTo>
                    <a:lnTo>
                      <a:pt x="222" y="410"/>
                    </a:lnTo>
                    <a:lnTo>
                      <a:pt x="223" y="410"/>
                    </a:lnTo>
                    <a:lnTo>
                      <a:pt x="223" y="411"/>
                    </a:lnTo>
                    <a:lnTo>
                      <a:pt x="222" y="411"/>
                    </a:lnTo>
                    <a:lnTo>
                      <a:pt x="223" y="411"/>
                    </a:lnTo>
                    <a:lnTo>
                      <a:pt x="225" y="411"/>
                    </a:lnTo>
                    <a:lnTo>
                      <a:pt x="225" y="410"/>
                    </a:lnTo>
                    <a:lnTo>
                      <a:pt x="225" y="409"/>
                    </a:lnTo>
                    <a:lnTo>
                      <a:pt x="223" y="409"/>
                    </a:lnTo>
                    <a:lnTo>
                      <a:pt x="223" y="408"/>
                    </a:lnTo>
                    <a:lnTo>
                      <a:pt x="225" y="408"/>
                    </a:lnTo>
                    <a:lnTo>
                      <a:pt x="225" y="406"/>
                    </a:lnTo>
                    <a:lnTo>
                      <a:pt x="226" y="406"/>
                    </a:lnTo>
                    <a:lnTo>
                      <a:pt x="225" y="406"/>
                    </a:lnTo>
                    <a:lnTo>
                      <a:pt x="226" y="406"/>
                    </a:lnTo>
                    <a:close/>
                    <a:moveTo>
                      <a:pt x="574" y="507"/>
                    </a:moveTo>
                    <a:lnTo>
                      <a:pt x="575" y="507"/>
                    </a:lnTo>
                    <a:lnTo>
                      <a:pt x="576" y="507"/>
                    </a:lnTo>
                    <a:lnTo>
                      <a:pt x="576" y="506"/>
                    </a:lnTo>
                    <a:lnTo>
                      <a:pt x="576" y="507"/>
                    </a:lnTo>
                    <a:lnTo>
                      <a:pt x="576" y="506"/>
                    </a:lnTo>
                    <a:lnTo>
                      <a:pt x="576" y="507"/>
                    </a:lnTo>
                    <a:lnTo>
                      <a:pt x="577" y="507"/>
                    </a:lnTo>
                    <a:lnTo>
                      <a:pt x="576" y="508"/>
                    </a:lnTo>
                    <a:lnTo>
                      <a:pt x="575" y="508"/>
                    </a:lnTo>
                    <a:lnTo>
                      <a:pt x="574" y="508"/>
                    </a:lnTo>
                    <a:lnTo>
                      <a:pt x="573" y="508"/>
                    </a:lnTo>
                    <a:lnTo>
                      <a:pt x="571" y="508"/>
                    </a:lnTo>
                    <a:lnTo>
                      <a:pt x="571" y="510"/>
                    </a:lnTo>
                    <a:lnTo>
                      <a:pt x="570" y="510"/>
                    </a:lnTo>
                    <a:lnTo>
                      <a:pt x="570" y="511"/>
                    </a:lnTo>
                    <a:lnTo>
                      <a:pt x="569" y="511"/>
                    </a:lnTo>
                    <a:lnTo>
                      <a:pt x="568" y="512"/>
                    </a:lnTo>
                    <a:lnTo>
                      <a:pt x="567" y="512"/>
                    </a:lnTo>
                    <a:lnTo>
                      <a:pt x="567" y="511"/>
                    </a:lnTo>
                    <a:lnTo>
                      <a:pt x="566" y="512"/>
                    </a:lnTo>
                    <a:lnTo>
                      <a:pt x="565" y="511"/>
                    </a:lnTo>
                    <a:lnTo>
                      <a:pt x="565" y="512"/>
                    </a:lnTo>
                    <a:lnTo>
                      <a:pt x="564" y="512"/>
                    </a:lnTo>
                    <a:lnTo>
                      <a:pt x="564" y="513"/>
                    </a:lnTo>
                    <a:lnTo>
                      <a:pt x="563" y="513"/>
                    </a:lnTo>
                    <a:lnTo>
                      <a:pt x="562" y="514"/>
                    </a:lnTo>
                    <a:lnTo>
                      <a:pt x="562" y="513"/>
                    </a:lnTo>
                    <a:lnTo>
                      <a:pt x="562" y="514"/>
                    </a:lnTo>
                    <a:lnTo>
                      <a:pt x="562" y="515"/>
                    </a:lnTo>
                    <a:lnTo>
                      <a:pt x="561" y="515"/>
                    </a:lnTo>
                    <a:lnTo>
                      <a:pt x="562" y="515"/>
                    </a:lnTo>
                    <a:lnTo>
                      <a:pt x="562" y="516"/>
                    </a:lnTo>
                    <a:lnTo>
                      <a:pt x="561" y="516"/>
                    </a:lnTo>
                    <a:lnTo>
                      <a:pt x="561" y="517"/>
                    </a:lnTo>
                    <a:lnTo>
                      <a:pt x="560" y="517"/>
                    </a:lnTo>
                    <a:lnTo>
                      <a:pt x="558" y="517"/>
                    </a:lnTo>
                    <a:lnTo>
                      <a:pt x="558" y="518"/>
                    </a:lnTo>
                    <a:lnTo>
                      <a:pt x="557" y="517"/>
                    </a:lnTo>
                    <a:lnTo>
                      <a:pt x="557" y="516"/>
                    </a:lnTo>
                    <a:lnTo>
                      <a:pt x="557" y="515"/>
                    </a:lnTo>
                    <a:lnTo>
                      <a:pt x="558" y="515"/>
                    </a:lnTo>
                    <a:lnTo>
                      <a:pt x="558" y="514"/>
                    </a:lnTo>
                    <a:lnTo>
                      <a:pt x="560" y="514"/>
                    </a:lnTo>
                    <a:lnTo>
                      <a:pt x="561" y="513"/>
                    </a:lnTo>
                    <a:lnTo>
                      <a:pt x="561" y="512"/>
                    </a:lnTo>
                    <a:lnTo>
                      <a:pt x="562" y="511"/>
                    </a:lnTo>
                    <a:lnTo>
                      <a:pt x="564" y="508"/>
                    </a:lnTo>
                    <a:lnTo>
                      <a:pt x="565" y="507"/>
                    </a:lnTo>
                    <a:lnTo>
                      <a:pt x="566" y="507"/>
                    </a:lnTo>
                    <a:lnTo>
                      <a:pt x="566" y="508"/>
                    </a:lnTo>
                    <a:lnTo>
                      <a:pt x="567" y="508"/>
                    </a:lnTo>
                    <a:lnTo>
                      <a:pt x="567" y="510"/>
                    </a:lnTo>
                    <a:lnTo>
                      <a:pt x="568" y="510"/>
                    </a:lnTo>
                    <a:lnTo>
                      <a:pt x="568" y="511"/>
                    </a:lnTo>
                    <a:lnTo>
                      <a:pt x="568" y="510"/>
                    </a:lnTo>
                    <a:lnTo>
                      <a:pt x="569" y="510"/>
                    </a:lnTo>
                    <a:lnTo>
                      <a:pt x="569" y="508"/>
                    </a:lnTo>
                    <a:lnTo>
                      <a:pt x="570" y="507"/>
                    </a:lnTo>
                    <a:lnTo>
                      <a:pt x="571" y="507"/>
                    </a:lnTo>
                    <a:lnTo>
                      <a:pt x="573" y="506"/>
                    </a:lnTo>
                    <a:lnTo>
                      <a:pt x="574" y="506"/>
                    </a:lnTo>
                    <a:lnTo>
                      <a:pt x="574" y="507"/>
                    </a:lnTo>
                    <a:close/>
                    <a:moveTo>
                      <a:pt x="311" y="388"/>
                    </a:moveTo>
                    <a:lnTo>
                      <a:pt x="312" y="388"/>
                    </a:lnTo>
                    <a:lnTo>
                      <a:pt x="312" y="389"/>
                    </a:lnTo>
                    <a:lnTo>
                      <a:pt x="312" y="390"/>
                    </a:lnTo>
                    <a:lnTo>
                      <a:pt x="313" y="390"/>
                    </a:lnTo>
                    <a:lnTo>
                      <a:pt x="312" y="392"/>
                    </a:lnTo>
                    <a:lnTo>
                      <a:pt x="311" y="392"/>
                    </a:lnTo>
                    <a:lnTo>
                      <a:pt x="312" y="392"/>
                    </a:lnTo>
                    <a:lnTo>
                      <a:pt x="312" y="393"/>
                    </a:lnTo>
                    <a:lnTo>
                      <a:pt x="312" y="392"/>
                    </a:lnTo>
                    <a:lnTo>
                      <a:pt x="313" y="393"/>
                    </a:lnTo>
                    <a:lnTo>
                      <a:pt x="313" y="392"/>
                    </a:lnTo>
                    <a:lnTo>
                      <a:pt x="312" y="392"/>
                    </a:lnTo>
                    <a:lnTo>
                      <a:pt x="313" y="391"/>
                    </a:lnTo>
                    <a:lnTo>
                      <a:pt x="315" y="391"/>
                    </a:lnTo>
                    <a:lnTo>
                      <a:pt x="315" y="392"/>
                    </a:lnTo>
                    <a:lnTo>
                      <a:pt x="315" y="393"/>
                    </a:lnTo>
                    <a:lnTo>
                      <a:pt x="313" y="393"/>
                    </a:lnTo>
                    <a:lnTo>
                      <a:pt x="311" y="393"/>
                    </a:lnTo>
                    <a:lnTo>
                      <a:pt x="310" y="392"/>
                    </a:lnTo>
                    <a:lnTo>
                      <a:pt x="309" y="393"/>
                    </a:lnTo>
                    <a:lnTo>
                      <a:pt x="306" y="395"/>
                    </a:lnTo>
                    <a:lnTo>
                      <a:pt x="306" y="393"/>
                    </a:lnTo>
                    <a:lnTo>
                      <a:pt x="305" y="393"/>
                    </a:lnTo>
                    <a:lnTo>
                      <a:pt x="305" y="392"/>
                    </a:lnTo>
                    <a:lnTo>
                      <a:pt x="306" y="391"/>
                    </a:lnTo>
                    <a:lnTo>
                      <a:pt x="305" y="390"/>
                    </a:lnTo>
                    <a:lnTo>
                      <a:pt x="304" y="390"/>
                    </a:lnTo>
                    <a:lnTo>
                      <a:pt x="305" y="389"/>
                    </a:lnTo>
                    <a:lnTo>
                      <a:pt x="305" y="388"/>
                    </a:lnTo>
                    <a:lnTo>
                      <a:pt x="305" y="387"/>
                    </a:lnTo>
                    <a:lnTo>
                      <a:pt x="306" y="387"/>
                    </a:lnTo>
                    <a:lnTo>
                      <a:pt x="307" y="387"/>
                    </a:lnTo>
                    <a:lnTo>
                      <a:pt x="307" y="388"/>
                    </a:lnTo>
                    <a:lnTo>
                      <a:pt x="308" y="388"/>
                    </a:lnTo>
                    <a:lnTo>
                      <a:pt x="309" y="387"/>
                    </a:lnTo>
                    <a:lnTo>
                      <a:pt x="310" y="387"/>
                    </a:lnTo>
                    <a:lnTo>
                      <a:pt x="311" y="387"/>
                    </a:lnTo>
                    <a:lnTo>
                      <a:pt x="311" y="388"/>
                    </a:lnTo>
                    <a:close/>
                    <a:moveTo>
                      <a:pt x="539" y="626"/>
                    </a:moveTo>
                    <a:lnTo>
                      <a:pt x="540" y="626"/>
                    </a:lnTo>
                    <a:lnTo>
                      <a:pt x="541" y="626"/>
                    </a:lnTo>
                    <a:lnTo>
                      <a:pt x="543" y="627"/>
                    </a:lnTo>
                    <a:lnTo>
                      <a:pt x="546" y="629"/>
                    </a:lnTo>
                    <a:lnTo>
                      <a:pt x="551" y="632"/>
                    </a:lnTo>
                    <a:lnTo>
                      <a:pt x="552" y="632"/>
                    </a:lnTo>
                    <a:lnTo>
                      <a:pt x="553" y="632"/>
                    </a:lnTo>
                    <a:lnTo>
                      <a:pt x="553" y="633"/>
                    </a:lnTo>
                    <a:lnTo>
                      <a:pt x="556" y="634"/>
                    </a:lnTo>
                    <a:lnTo>
                      <a:pt x="558" y="635"/>
                    </a:lnTo>
                    <a:lnTo>
                      <a:pt x="560" y="636"/>
                    </a:lnTo>
                    <a:lnTo>
                      <a:pt x="562" y="636"/>
                    </a:lnTo>
                    <a:lnTo>
                      <a:pt x="563" y="637"/>
                    </a:lnTo>
                    <a:lnTo>
                      <a:pt x="562" y="639"/>
                    </a:lnTo>
                    <a:lnTo>
                      <a:pt x="561" y="639"/>
                    </a:lnTo>
                    <a:lnTo>
                      <a:pt x="557" y="636"/>
                    </a:lnTo>
                    <a:lnTo>
                      <a:pt x="552" y="634"/>
                    </a:lnTo>
                    <a:lnTo>
                      <a:pt x="546" y="632"/>
                    </a:lnTo>
                    <a:lnTo>
                      <a:pt x="542" y="629"/>
                    </a:lnTo>
                    <a:lnTo>
                      <a:pt x="538" y="627"/>
                    </a:lnTo>
                    <a:lnTo>
                      <a:pt x="537" y="626"/>
                    </a:lnTo>
                    <a:lnTo>
                      <a:pt x="538" y="626"/>
                    </a:lnTo>
                    <a:lnTo>
                      <a:pt x="539" y="626"/>
                    </a:lnTo>
                    <a:close/>
                    <a:moveTo>
                      <a:pt x="486" y="592"/>
                    </a:moveTo>
                    <a:lnTo>
                      <a:pt x="487" y="592"/>
                    </a:lnTo>
                    <a:lnTo>
                      <a:pt x="488" y="592"/>
                    </a:lnTo>
                    <a:lnTo>
                      <a:pt x="488" y="593"/>
                    </a:lnTo>
                    <a:lnTo>
                      <a:pt x="488" y="594"/>
                    </a:lnTo>
                    <a:lnTo>
                      <a:pt x="488" y="595"/>
                    </a:lnTo>
                    <a:lnTo>
                      <a:pt x="488" y="596"/>
                    </a:lnTo>
                    <a:lnTo>
                      <a:pt x="488" y="595"/>
                    </a:lnTo>
                    <a:lnTo>
                      <a:pt x="487" y="595"/>
                    </a:lnTo>
                    <a:lnTo>
                      <a:pt x="486" y="595"/>
                    </a:lnTo>
                    <a:lnTo>
                      <a:pt x="486" y="596"/>
                    </a:lnTo>
                    <a:lnTo>
                      <a:pt x="486" y="597"/>
                    </a:lnTo>
                    <a:lnTo>
                      <a:pt x="485" y="597"/>
                    </a:lnTo>
                    <a:lnTo>
                      <a:pt x="484" y="597"/>
                    </a:lnTo>
                    <a:lnTo>
                      <a:pt x="484" y="596"/>
                    </a:lnTo>
                    <a:lnTo>
                      <a:pt x="484" y="595"/>
                    </a:lnTo>
                    <a:lnTo>
                      <a:pt x="485" y="595"/>
                    </a:lnTo>
                    <a:lnTo>
                      <a:pt x="486" y="595"/>
                    </a:lnTo>
                    <a:lnTo>
                      <a:pt x="486" y="594"/>
                    </a:lnTo>
                    <a:lnTo>
                      <a:pt x="485" y="594"/>
                    </a:lnTo>
                    <a:lnTo>
                      <a:pt x="485" y="595"/>
                    </a:lnTo>
                    <a:lnTo>
                      <a:pt x="484" y="595"/>
                    </a:lnTo>
                    <a:lnTo>
                      <a:pt x="484" y="594"/>
                    </a:lnTo>
                    <a:lnTo>
                      <a:pt x="484" y="595"/>
                    </a:lnTo>
                    <a:lnTo>
                      <a:pt x="484" y="596"/>
                    </a:lnTo>
                    <a:lnTo>
                      <a:pt x="484" y="597"/>
                    </a:lnTo>
                    <a:lnTo>
                      <a:pt x="481" y="597"/>
                    </a:lnTo>
                    <a:lnTo>
                      <a:pt x="480" y="597"/>
                    </a:lnTo>
                    <a:lnTo>
                      <a:pt x="480" y="598"/>
                    </a:lnTo>
                    <a:lnTo>
                      <a:pt x="479" y="598"/>
                    </a:lnTo>
                    <a:lnTo>
                      <a:pt x="480" y="598"/>
                    </a:lnTo>
                    <a:lnTo>
                      <a:pt x="479" y="598"/>
                    </a:lnTo>
                    <a:lnTo>
                      <a:pt x="479" y="600"/>
                    </a:lnTo>
                    <a:lnTo>
                      <a:pt x="478" y="600"/>
                    </a:lnTo>
                    <a:lnTo>
                      <a:pt x="478" y="598"/>
                    </a:lnTo>
                    <a:lnTo>
                      <a:pt x="477" y="598"/>
                    </a:lnTo>
                    <a:lnTo>
                      <a:pt x="477" y="597"/>
                    </a:lnTo>
                    <a:lnTo>
                      <a:pt x="478" y="595"/>
                    </a:lnTo>
                    <a:lnTo>
                      <a:pt x="478" y="594"/>
                    </a:lnTo>
                    <a:lnTo>
                      <a:pt x="478" y="593"/>
                    </a:lnTo>
                    <a:lnTo>
                      <a:pt x="479" y="592"/>
                    </a:lnTo>
                    <a:lnTo>
                      <a:pt x="480" y="592"/>
                    </a:lnTo>
                    <a:lnTo>
                      <a:pt x="481" y="592"/>
                    </a:lnTo>
                    <a:lnTo>
                      <a:pt x="483" y="592"/>
                    </a:lnTo>
                    <a:lnTo>
                      <a:pt x="484" y="592"/>
                    </a:lnTo>
                    <a:lnTo>
                      <a:pt x="485" y="592"/>
                    </a:lnTo>
                    <a:lnTo>
                      <a:pt x="486" y="592"/>
                    </a:lnTo>
                    <a:close/>
                    <a:moveTo>
                      <a:pt x="246" y="267"/>
                    </a:moveTo>
                    <a:lnTo>
                      <a:pt x="247" y="267"/>
                    </a:lnTo>
                    <a:lnTo>
                      <a:pt x="246" y="267"/>
                    </a:lnTo>
                    <a:lnTo>
                      <a:pt x="245" y="267"/>
                    </a:lnTo>
                    <a:lnTo>
                      <a:pt x="245" y="268"/>
                    </a:lnTo>
                    <a:lnTo>
                      <a:pt x="246" y="268"/>
                    </a:lnTo>
                    <a:lnTo>
                      <a:pt x="247" y="268"/>
                    </a:lnTo>
                    <a:lnTo>
                      <a:pt x="246" y="268"/>
                    </a:lnTo>
                    <a:lnTo>
                      <a:pt x="247" y="268"/>
                    </a:lnTo>
                    <a:lnTo>
                      <a:pt x="247" y="269"/>
                    </a:lnTo>
                    <a:lnTo>
                      <a:pt x="247" y="268"/>
                    </a:lnTo>
                    <a:lnTo>
                      <a:pt x="247" y="267"/>
                    </a:lnTo>
                    <a:lnTo>
                      <a:pt x="248" y="267"/>
                    </a:lnTo>
                    <a:lnTo>
                      <a:pt x="248" y="268"/>
                    </a:lnTo>
                    <a:lnTo>
                      <a:pt x="249" y="268"/>
                    </a:lnTo>
                    <a:lnTo>
                      <a:pt x="249" y="269"/>
                    </a:lnTo>
                    <a:lnTo>
                      <a:pt x="251" y="270"/>
                    </a:lnTo>
                    <a:lnTo>
                      <a:pt x="252" y="270"/>
                    </a:lnTo>
                    <a:lnTo>
                      <a:pt x="253" y="269"/>
                    </a:lnTo>
                    <a:lnTo>
                      <a:pt x="253" y="268"/>
                    </a:lnTo>
                    <a:lnTo>
                      <a:pt x="253" y="267"/>
                    </a:lnTo>
                    <a:lnTo>
                      <a:pt x="252" y="267"/>
                    </a:lnTo>
                    <a:lnTo>
                      <a:pt x="252" y="266"/>
                    </a:lnTo>
                    <a:lnTo>
                      <a:pt x="253" y="266"/>
                    </a:lnTo>
                    <a:lnTo>
                      <a:pt x="253" y="267"/>
                    </a:lnTo>
                    <a:lnTo>
                      <a:pt x="254" y="267"/>
                    </a:lnTo>
                    <a:lnTo>
                      <a:pt x="255" y="267"/>
                    </a:lnTo>
                    <a:lnTo>
                      <a:pt x="255" y="268"/>
                    </a:lnTo>
                    <a:lnTo>
                      <a:pt x="256" y="269"/>
                    </a:lnTo>
                    <a:lnTo>
                      <a:pt x="255" y="269"/>
                    </a:lnTo>
                    <a:lnTo>
                      <a:pt x="255" y="270"/>
                    </a:lnTo>
                    <a:lnTo>
                      <a:pt x="254" y="270"/>
                    </a:lnTo>
                    <a:lnTo>
                      <a:pt x="254" y="269"/>
                    </a:lnTo>
                    <a:lnTo>
                      <a:pt x="253" y="269"/>
                    </a:lnTo>
                    <a:lnTo>
                      <a:pt x="253" y="270"/>
                    </a:lnTo>
                    <a:lnTo>
                      <a:pt x="252" y="270"/>
                    </a:lnTo>
                    <a:lnTo>
                      <a:pt x="251" y="270"/>
                    </a:lnTo>
                    <a:lnTo>
                      <a:pt x="249" y="270"/>
                    </a:lnTo>
                    <a:lnTo>
                      <a:pt x="249" y="271"/>
                    </a:lnTo>
                    <a:lnTo>
                      <a:pt x="248" y="270"/>
                    </a:lnTo>
                    <a:lnTo>
                      <a:pt x="248" y="271"/>
                    </a:lnTo>
                    <a:lnTo>
                      <a:pt x="249" y="271"/>
                    </a:lnTo>
                    <a:lnTo>
                      <a:pt x="249" y="272"/>
                    </a:lnTo>
                    <a:lnTo>
                      <a:pt x="251" y="272"/>
                    </a:lnTo>
                    <a:lnTo>
                      <a:pt x="252" y="272"/>
                    </a:lnTo>
                    <a:lnTo>
                      <a:pt x="251" y="273"/>
                    </a:lnTo>
                    <a:lnTo>
                      <a:pt x="252" y="273"/>
                    </a:lnTo>
                    <a:lnTo>
                      <a:pt x="251" y="273"/>
                    </a:lnTo>
                    <a:lnTo>
                      <a:pt x="251" y="274"/>
                    </a:lnTo>
                    <a:lnTo>
                      <a:pt x="249" y="274"/>
                    </a:lnTo>
                    <a:lnTo>
                      <a:pt x="249" y="273"/>
                    </a:lnTo>
                    <a:lnTo>
                      <a:pt x="248" y="273"/>
                    </a:lnTo>
                    <a:lnTo>
                      <a:pt x="248" y="272"/>
                    </a:lnTo>
                    <a:lnTo>
                      <a:pt x="247" y="272"/>
                    </a:lnTo>
                    <a:lnTo>
                      <a:pt x="246" y="272"/>
                    </a:lnTo>
                    <a:lnTo>
                      <a:pt x="246" y="271"/>
                    </a:lnTo>
                    <a:lnTo>
                      <a:pt x="245" y="271"/>
                    </a:lnTo>
                    <a:lnTo>
                      <a:pt x="244" y="271"/>
                    </a:lnTo>
                    <a:lnTo>
                      <a:pt x="244" y="270"/>
                    </a:lnTo>
                    <a:lnTo>
                      <a:pt x="244" y="271"/>
                    </a:lnTo>
                    <a:lnTo>
                      <a:pt x="245" y="271"/>
                    </a:lnTo>
                    <a:lnTo>
                      <a:pt x="244" y="271"/>
                    </a:lnTo>
                    <a:lnTo>
                      <a:pt x="243" y="270"/>
                    </a:lnTo>
                    <a:lnTo>
                      <a:pt x="242" y="269"/>
                    </a:lnTo>
                    <a:lnTo>
                      <a:pt x="241" y="269"/>
                    </a:lnTo>
                    <a:lnTo>
                      <a:pt x="241" y="268"/>
                    </a:lnTo>
                    <a:lnTo>
                      <a:pt x="243" y="267"/>
                    </a:lnTo>
                    <a:lnTo>
                      <a:pt x="243" y="266"/>
                    </a:lnTo>
                    <a:lnTo>
                      <a:pt x="244" y="266"/>
                    </a:lnTo>
                    <a:lnTo>
                      <a:pt x="244" y="264"/>
                    </a:lnTo>
                    <a:lnTo>
                      <a:pt x="245" y="264"/>
                    </a:lnTo>
                    <a:lnTo>
                      <a:pt x="246" y="267"/>
                    </a:lnTo>
                    <a:close/>
                    <a:moveTo>
                      <a:pt x="548" y="547"/>
                    </a:moveTo>
                    <a:lnTo>
                      <a:pt x="549" y="549"/>
                    </a:lnTo>
                    <a:lnTo>
                      <a:pt x="549" y="547"/>
                    </a:lnTo>
                    <a:lnTo>
                      <a:pt x="548" y="546"/>
                    </a:lnTo>
                    <a:lnTo>
                      <a:pt x="548" y="545"/>
                    </a:lnTo>
                    <a:lnTo>
                      <a:pt x="546" y="545"/>
                    </a:lnTo>
                    <a:lnTo>
                      <a:pt x="548" y="545"/>
                    </a:lnTo>
                    <a:lnTo>
                      <a:pt x="550" y="546"/>
                    </a:lnTo>
                    <a:lnTo>
                      <a:pt x="551" y="546"/>
                    </a:lnTo>
                    <a:lnTo>
                      <a:pt x="552" y="546"/>
                    </a:lnTo>
                    <a:lnTo>
                      <a:pt x="552" y="547"/>
                    </a:lnTo>
                    <a:lnTo>
                      <a:pt x="552" y="546"/>
                    </a:lnTo>
                    <a:lnTo>
                      <a:pt x="549" y="546"/>
                    </a:lnTo>
                    <a:lnTo>
                      <a:pt x="548" y="545"/>
                    </a:lnTo>
                    <a:lnTo>
                      <a:pt x="548" y="546"/>
                    </a:lnTo>
                    <a:lnTo>
                      <a:pt x="549" y="546"/>
                    </a:lnTo>
                    <a:lnTo>
                      <a:pt x="549" y="547"/>
                    </a:lnTo>
                    <a:lnTo>
                      <a:pt x="549" y="549"/>
                    </a:lnTo>
                    <a:lnTo>
                      <a:pt x="551" y="550"/>
                    </a:lnTo>
                    <a:lnTo>
                      <a:pt x="550" y="550"/>
                    </a:lnTo>
                    <a:lnTo>
                      <a:pt x="549" y="550"/>
                    </a:lnTo>
                    <a:lnTo>
                      <a:pt x="548" y="551"/>
                    </a:lnTo>
                    <a:lnTo>
                      <a:pt x="546" y="551"/>
                    </a:lnTo>
                    <a:lnTo>
                      <a:pt x="546" y="552"/>
                    </a:lnTo>
                    <a:lnTo>
                      <a:pt x="546" y="553"/>
                    </a:lnTo>
                    <a:lnTo>
                      <a:pt x="545" y="553"/>
                    </a:lnTo>
                    <a:lnTo>
                      <a:pt x="545" y="552"/>
                    </a:lnTo>
                    <a:lnTo>
                      <a:pt x="544" y="552"/>
                    </a:lnTo>
                    <a:lnTo>
                      <a:pt x="544" y="553"/>
                    </a:lnTo>
                    <a:lnTo>
                      <a:pt x="545" y="553"/>
                    </a:lnTo>
                    <a:lnTo>
                      <a:pt x="546" y="553"/>
                    </a:lnTo>
                    <a:lnTo>
                      <a:pt x="546" y="554"/>
                    </a:lnTo>
                    <a:lnTo>
                      <a:pt x="545" y="553"/>
                    </a:lnTo>
                    <a:lnTo>
                      <a:pt x="544" y="553"/>
                    </a:lnTo>
                    <a:lnTo>
                      <a:pt x="543" y="552"/>
                    </a:lnTo>
                    <a:lnTo>
                      <a:pt x="543" y="551"/>
                    </a:lnTo>
                    <a:lnTo>
                      <a:pt x="542" y="550"/>
                    </a:lnTo>
                    <a:lnTo>
                      <a:pt x="542" y="549"/>
                    </a:lnTo>
                    <a:lnTo>
                      <a:pt x="541" y="549"/>
                    </a:lnTo>
                    <a:lnTo>
                      <a:pt x="542" y="549"/>
                    </a:lnTo>
                    <a:lnTo>
                      <a:pt x="541" y="547"/>
                    </a:lnTo>
                    <a:lnTo>
                      <a:pt x="540" y="547"/>
                    </a:lnTo>
                    <a:lnTo>
                      <a:pt x="540" y="546"/>
                    </a:lnTo>
                    <a:lnTo>
                      <a:pt x="541" y="545"/>
                    </a:lnTo>
                    <a:lnTo>
                      <a:pt x="542" y="545"/>
                    </a:lnTo>
                    <a:lnTo>
                      <a:pt x="543" y="544"/>
                    </a:lnTo>
                    <a:lnTo>
                      <a:pt x="544" y="544"/>
                    </a:lnTo>
                    <a:lnTo>
                      <a:pt x="545" y="544"/>
                    </a:lnTo>
                    <a:lnTo>
                      <a:pt x="545" y="545"/>
                    </a:lnTo>
                    <a:lnTo>
                      <a:pt x="546" y="545"/>
                    </a:lnTo>
                    <a:lnTo>
                      <a:pt x="548" y="546"/>
                    </a:lnTo>
                    <a:lnTo>
                      <a:pt x="548" y="547"/>
                    </a:lnTo>
                    <a:close/>
                    <a:moveTo>
                      <a:pt x="241" y="205"/>
                    </a:moveTo>
                    <a:lnTo>
                      <a:pt x="242" y="205"/>
                    </a:lnTo>
                    <a:lnTo>
                      <a:pt x="242" y="206"/>
                    </a:lnTo>
                    <a:lnTo>
                      <a:pt x="242" y="207"/>
                    </a:lnTo>
                    <a:lnTo>
                      <a:pt x="243" y="207"/>
                    </a:lnTo>
                    <a:lnTo>
                      <a:pt x="243" y="208"/>
                    </a:lnTo>
                    <a:lnTo>
                      <a:pt x="244" y="208"/>
                    </a:lnTo>
                    <a:lnTo>
                      <a:pt x="244" y="209"/>
                    </a:lnTo>
                    <a:lnTo>
                      <a:pt x="245" y="209"/>
                    </a:lnTo>
                    <a:lnTo>
                      <a:pt x="245" y="208"/>
                    </a:lnTo>
                    <a:lnTo>
                      <a:pt x="246" y="208"/>
                    </a:lnTo>
                    <a:lnTo>
                      <a:pt x="246" y="209"/>
                    </a:lnTo>
                    <a:lnTo>
                      <a:pt x="247" y="209"/>
                    </a:lnTo>
                    <a:lnTo>
                      <a:pt x="246" y="209"/>
                    </a:lnTo>
                    <a:lnTo>
                      <a:pt x="246" y="210"/>
                    </a:lnTo>
                    <a:lnTo>
                      <a:pt x="245" y="210"/>
                    </a:lnTo>
                    <a:lnTo>
                      <a:pt x="245" y="211"/>
                    </a:lnTo>
                    <a:lnTo>
                      <a:pt x="244" y="211"/>
                    </a:lnTo>
                    <a:lnTo>
                      <a:pt x="243" y="211"/>
                    </a:lnTo>
                    <a:lnTo>
                      <a:pt x="242" y="211"/>
                    </a:lnTo>
                    <a:lnTo>
                      <a:pt x="241" y="211"/>
                    </a:lnTo>
                    <a:lnTo>
                      <a:pt x="240" y="211"/>
                    </a:lnTo>
                    <a:lnTo>
                      <a:pt x="239" y="211"/>
                    </a:lnTo>
                    <a:lnTo>
                      <a:pt x="240" y="211"/>
                    </a:lnTo>
                    <a:lnTo>
                      <a:pt x="239" y="211"/>
                    </a:lnTo>
                    <a:lnTo>
                      <a:pt x="239" y="210"/>
                    </a:lnTo>
                    <a:lnTo>
                      <a:pt x="238" y="210"/>
                    </a:lnTo>
                    <a:lnTo>
                      <a:pt x="236" y="210"/>
                    </a:lnTo>
                    <a:lnTo>
                      <a:pt x="235" y="210"/>
                    </a:lnTo>
                    <a:lnTo>
                      <a:pt x="235" y="211"/>
                    </a:lnTo>
                    <a:lnTo>
                      <a:pt x="234" y="211"/>
                    </a:lnTo>
                    <a:lnTo>
                      <a:pt x="234" y="210"/>
                    </a:lnTo>
                    <a:lnTo>
                      <a:pt x="235" y="210"/>
                    </a:lnTo>
                    <a:lnTo>
                      <a:pt x="236" y="210"/>
                    </a:lnTo>
                    <a:lnTo>
                      <a:pt x="235" y="210"/>
                    </a:lnTo>
                    <a:lnTo>
                      <a:pt x="236" y="210"/>
                    </a:lnTo>
                    <a:lnTo>
                      <a:pt x="236" y="209"/>
                    </a:lnTo>
                    <a:lnTo>
                      <a:pt x="236" y="208"/>
                    </a:lnTo>
                    <a:lnTo>
                      <a:pt x="236" y="207"/>
                    </a:lnTo>
                    <a:lnTo>
                      <a:pt x="236" y="208"/>
                    </a:lnTo>
                    <a:lnTo>
                      <a:pt x="238" y="208"/>
                    </a:lnTo>
                    <a:lnTo>
                      <a:pt x="238" y="209"/>
                    </a:lnTo>
                    <a:lnTo>
                      <a:pt x="239" y="209"/>
                    </a:lnTo>
                    <a:lnTo>
                      <a:pt x="238" y="209"/>
                    </a:lnTo>
                    <a:lnTo>
                      <a:pt x="238" y="210"/>
                    </a:lnTo>
                    <a:lnTo>
                      <a:pt x="238" y="209"/>
                    </a:lnTo>
                    <a:lnTo>
                      <a:pt x="238" y="210"/>
                    </a:lnTo>
                    <a:lnTo>
                      <a:pt x="236" y="209"/>
                    </a:lnTo>
                    <a:lnTo>
                      <a:pt x="236" y="210"/>
                    </a:lnTo>
                    <a:lnTo>
                      <a:pt x="238" y="210"/>
                    </a:lnTo>
                    <a:lnTo>
                      <a:pt x="238" y="209"/>
                    </a:lnTo>
                    <a:lnTo>
                      <a:pt x="239" y="209"/>
                    </a:lnTo>
                    <a:lnTo>
                      <a:pt x="240" y="209"/>
                    </a:lnTo>
                    <a:lnTo>
                      <a:pt x="239" y="209"/>
                    </a:lnTo>
                    <a:lnTo>
                      <a:pt x="239" y="208"/>
                    </a:lnTo>
                    <a:lnTo>
                      <a:pt x="238" y="208"/>
                    </a:lnTo>
                    <a:lnTo>
                      <a:pt x="238" y="207"/>
                    </a:lnTo>
                    <a:lnTo>
                      <a:pt x="236" y="207"/>
                    </a:lnTo>
                    <a:lnTo>
                      <a:pt x="236" y="206"/>
                    </a:lnTo>
                    <a:lnTo>
                      <a:pt x="238" y="206"/>
                    </a:lnTo>
                    <a:lnTo>
                      <a:pt x="238" y="205"/>
                    </a:lnTo>
                    <a:lnTo>
                      <a:pt x="239" y="205"/>
                    </a:lnTo>
                    <a:lnTo>
                      <a:pt x="239" y="206"/>
                    </a:lnTo>
                    <a:lnTo>
                      <a:pt x="239" y="205"/>
                    </a:lnTo>
                    <a:lnTo>
                      <a:pt x="239" y="206"/>
                    </a:lnTo>
                    <a:lnTo>
                      <a:pt x="238" y="206"/>
                    </a:lnTo>
                    <a:lnTo>
                      <a:pt x="238" y="207"/>
                    </a:lnTo>
                    <a:lnTo>
                      <a:pt x="239" y="207"/>
                    </a:lnTo>
                    <a:lnTo>
                      <a:pt x="239" y="206"/>
                    </a:lnTo>
                    <a:lnTo>
                      <a:pt x="239" y="205"/>
                    </a:lnTo>
                    <a:lnTo>
                      <a:pt x="240" y="205"/>
                    </a:lnTo>
                    <a:lnTo>
                      <a:pt x="240" y="204"/>
                    </a:lnTo>
                    <a:lnTo>
                      <a:pt x="240" y="203"/>
                    </a:lnTo>
                    <a:lnTo>
                      <a:pt x="241" y="203"/>
                    </a:lnTo>
                    <a:lnTo>
                      <a:pt x="241" y="204"/>
                    </a:lnTo>
                    <a:lnTo>
                      <a:pt x="241" y="205"/>
                    </a:lnTo>
                    <a:close/>
                    <a:moveTo>
                      <a:pt x="471" y="604"/>
                    </a:moveTo>
                    <a:lnTo>
                      <a:pt x="471" y="605"/>
                    </a:lnTo>
                    <a:lnTo>
                      <a:pt x="471" y="606"/>
                    </a:lnTo>
                    <a:lnTo>
                      <a:pt x="472" y="606"/>
                    </a:lnTo>
                    <a:lnTo>
                      <a:pt x="472" y="607"/>
                    </a:lnTo>
                    <a:lnTo>
                      <a:pt x="473" y="607"/>
                    </a:lnTo>
                    <a:lnTo>
                      <a:pt x="473" y="608"/>
                    </a:lnTo>
                    <a:lnTo>
                      <a:pt x="472" y="608"/>
                    </a:lnTo>
                    <a:lnTo>
                      <a:pt x="473" y="609"/>
                    </a:lnTo>
                    <a:lnTo>
                      <a:pt x="474" y="609"/>
                    </a:lnTo>
                    <a:lnTo>
                      <a:pt x="474" y="608"/>
                    </a:lnTo>
                    <a:lnTo>
                      <a:pt x="475" y="608"/>
                    </a:lnTo>
                    <a:lnTo>
                      <a:pt x="474" y="609"/>
                    </a:lnTo>
                    <a:lnTo>
                      <a:pt x="471" y="614"/>
                    </a:lnTo>
                    <a:lnTo>
                      <a:pt x="470" y="614"/>
                    </a:lnTo>
                    <a:lnTo>
                      <a:pt x="470" y="615"/>
                    </a:lnTo>
                    <a:lnTo>
                      <a:pt x="468" y="615"/>
                    </a:lnTo>
                    <a:lnTo>
                      <a:pt x="468" y="614"/>
                    </a:lnTo>
                    <a:lnTo>
                      <a:pt x="467" y="613"/>
                    </a:lnTo>
                    <a:lnTo>
                      <a:pt x="467" y="611"/>
                    </a:lnTo>
                    <a:lnTo>
                      <a:pt x="468" y="611"/>
                    </a:lnTo>
                    <a:lnTo>
                      <a:pt x="468" y="610"/>
                    </a:lnTo>
                    <a:lnTo>
                      <a:pt x="467" y="610"/>
                    </a:lnTo>
                    <a:lnTo>
                      <a:pt x="467" y="609"/>
                    </a:lnTo>
                    <a:lnTo>
                      <a:pt x="467" y="608"/>
                    </a:lnTo>
                    <a:lnTo>
                      <a:pt x="468" y="608"/>
                    </a:lnTo>
                    <a:lnTo>
                      <a:pt x="468" y="607"/>
                    </a:lnTo>
                    <a:lnTo>
                      <a:pt x="467" y="606"/>
                    </a:lnTo>
                    <a:lnTo>
                      <a:pt x="468" y="606"/>
                    </a:lnTo>
                    <a:lnTo>
                      <a:pt x="468" y="605"/>
                    </a:lnTo>
                    <a:lnTo>
                      <a:pt x="468" y="604"/>
                    </a:lnTo>
                    <a:lnTo>
                      <a:pt x="470" y="604"/>
                    </a:lnTo>
                    <a:lnTo>
                      <a:pt x="471" y="603"/>
                    </a:lnTo>
                    <a:lnTo>
                      <a:pt x="472" y="603"/>
                    </a:lnTo>
                    <a:lnTo>
                      <a:pt x="472" y="604"/>
                    </a:lnTo>
                    <a:lnTo>
                      <a:pt x="471" y="604"/>
                    </a:lnTo>
                    <a:close/>
                    <a:moveTo>
                      <a:pt x="558" y="526"/>
                    </a:moveTo>
                    <a:lnTo>
                      <a:pt x="560" y="526"/>
                    </a:lnTo>
                    <a:lnTo>
                      <a:pt x="560" y="527"/>
                    </a:lnTo>
                    <a:lnTo>
                      <a:pt x="561" y="527"/>
                    </a:lnTo>
                    <a:lnTo>
                      <a:pt x="562" y="528"/>
                    </a:lnTo>
                    <a:lnTo>
                      <a:pt x="563" y="528"/>
                    </a:lnTo>
                    <a:lnTo>
                      <a:pt x="563" y="529"/>
                    </a:lnTo>
                    <a:lnTo>
                      <a:pt x="562" y="529"/>
                    </a:lnTo>
                    <a:lnTo>
                      <a:pt x="560" y="529"/>
                    </a:lnTo>
                    <a:lnTo>
                      <a:pt x="558" y="528"/>
                    </a:lnTo>
                    <a:lnTo>
                      <a:pt x="555" y="528"/>
                    </a:lnTo>
                    <a:lnTo>
                      <a:pt x="554" y="527"/>
                    </a:lnTo>
                    <a:lnTo>
                      <a:pt x="553" y="527"/>
                    </a:lnTo>
                    <a:lnTo>
                      <a:pt x="553" y="528"/>
                    </a:lnTo>
                    <a:lnTo>
                      <a:pt x="556" y="528"/>
                    </a:lnTo>
                    <a:lnTo>
                      <a:pt x="561" y="529"/>
                    </a:lnTo>
                    <a:lnTo>
                      <a:pt x="562" y="529"/>
                    </a:lnTo>
                    <a:lnTo>
                      <a:pt x="561" y="529"/>
                    </a:lnTo>
                    <a:lnTo>
                      <a:pt x="561" y="530"/>
                    </a:lnTo>
                    <a:lnTo>
                      <a:pt x="561" y="529"/>
                    </a:lnTo>
                    <a:lnTo>
                      <a:pt x="562" y="529"/>
                    </a:lnTo>
                    <a:lnTo>
                      <a:pt x="563" y="529"/>
                    </a:lnTo>
                    <a:lnTo>
                      <a:pt x="563" y="528"/>
                    </a:lnTo>
                    <a:lnTo>
                      <a:pt x="563" y="529"/>
                    </a:lnTo>
                    <a:lnTo>
                      <a:pt x="564" y="530"/>
                    </a:lnTo>
                    <a:lnTo>
                      <a:pt x="564" y="531"/>
                    </a:lnTo>
                    <a:lnTo>
                      <a:pt x="565" y="531"/>
                    </a:lnTo>
                    <a:lnTo>
                      <a:pt x="565" y="532"/>
                    </a:lnTo>
                    <a:lnTo>
                      <a:pt x="565" y="533"/>
                    </a:lnTo>
                    <a:lnTo>
                      <a:pt x="566" y="534"/>
                    </a:lnTo>
                    <a:lnTo>
                      <a:pt x="566" y="537"/>
                    </a:lnTo>
                    <a:lnTo>
                      <a:pt x="567" y="538"/>
                    </a:lnTo>
                    <a:lnTo>
                      <a:pt x="566" y="538"/>
                    </a:lnTo>
                    <a:lnTo>
                      <a:pt x="561" y="537"/>
                    </a:lnTo>
                    <a:lnTo>
                      <a:pt x="557" y="538"/>
                    </a:lnTo>
                    <a:lnTo>
                      <a:pt x="557" y="537"/>
                    </a:lnTo>
                    <a:lnTo>
                      <a:pt x="558" y="537"/>
                    </a:lnTo>
                    <a:lnTo>
                      <a:pt x="560" y="537"/>
                    </a:lnTo>
                    <a:lnTo>
                      <a:pt x="561" y="537"/>
                    </a:lnTo>
                    <a:lnTo>
                      <a:pt x="562" y="537"/>
                    </a:lnTo>
                    <a:lnTo>
                      <a:pt x="563" y="537"/>
                    </a:lnTo>
                    <a:lnTo>
                      <a:pt x="563" y="538"/>
                    </a:lnTo>
                    <a:lnTo>
                      <a:pt x="564" y="538"/>
                    </a:lnTo>
                    <a:lnTo>
                      <a:pt x="565" y="538"/>
                    </a:lnTo>
                    <a:lnTo>
                      <a:pt x="566" y="538"/>
                    </a:lnTo>
                    <a:lnTo>
                      <a:pt x="566" y="537"/>
                    </a:lnTo>
                    <a:lnTo>
                      <a:pt x="566" y="536"/>
                    </a:lnTo>
                    <a:lnTo>
                      <a:pt x="565" y="536"/>
                    </a:lnTo>
                    <a:lnTo>
                      <a:pt x="565" y="534"/>
                    </a:lnTo>
                    <a:lnTo>
                      <a:pt x="564" y="534"/>
                    </a:lnTo>
                    <a:lnTo>
                      <a:pt x="563" y="534"/>
                    </a:lnTo>
                    <a:lnTo>
                      <a:pt x="564" y="533"/>
                    </a:lnTo>
                    <a:lnTo>
                      <a:pt x="564" y="532"/>
                    </a:lnTo>
                    <a:lnTo>
                      <a:pt x="563" y="532"/>
                    </a:lnTo>
                    <a:lnTo>
                      <a:pt x="564" y="532"/>
                    </a:lnTo>
                    <a:lnTo>
                      <a:pt x="564" y="531"/>
                    </a:lnTo>
                    <a:lnTo>
                      <a:pt x="563" y="531"/>
                    </a:lnTo>
                    <a:lnTo>
                      <a:pt x="562" y="531"/>
                    </a:lnTo>
                    <a:lnTo>
                      <a:pt x="562" y="530"/>
                    </a:lnTo>
                    <a:lnTo>
                      <a:pt x="561" y="530"/>
                    </a:lnTo>
                    <a:lnTo>
                      <a:pt x="560" y="530"/>
                    </a:lnTo>
                    <a:lnTo>
                      <a:pt x="560" y="529"/>
                    </a:lnTo>
                    <a:lnTo>
                      <a:pt x="561" y="529"/>
                    </a:lnTo>
                    <a:lnTo>
                      <a:pt x="560" y="529"/>
                    </a:lnTo>
                    <a:lnTo>
                      <a:pt x="557" y="529"/>
                    </a:lnTo>
                    <a:lnTo>
                      <a:pt x="553" y="528"/>
                    </a:lnTo>
                    <a:lnTo>
                      <a:pt x="552" y="527"/>
                    </a:lnTo>
                    <a:lnTo>
                      <a:pt x="551" y="527"/>
                    </a:lnTo>
                    <a:lnTo>
                      <a:pt x="551" y="528"/>
                    </a:lnTo>
                    <a:lnTo>
                      <a:pt x="551" y="527"/>
                    </a:lnTo>
                    <a:lnTo>
                      <a:pt x="551" y="526"/>
                    </a:lnTo>
                    <a:lnTo>
                      <a:pt x="551" y="527"/>
                    </a:lnTo>
                    <a:lnTo>
                      <a:pt x="552" y="527"/>
                    </a:lnTo>
                    <a:lnTo>
                      <a:pt x="553" y="526"/>
                    </a:lnTo>
                    <a:lnTo>
                      <a:pt x="554" y="526"/>
                    </a:lnTo>
                    <a:lnTo>
                      <a:pt x="555" y="526"/>
                    </a:lnTo>
                    <a:lnTo>
                      <a:pt x="556" y="526"/>
                    </a:lnTo>
                    <a:lnTo>
                      <a:pt x="557" y="526"/>
                    </a:lnTo>
                    <a:lnTo>
                      <a:pt x="558" y="526"/>
                    </a:lnTo>
                    <a:close/>
                    <a:moveTo>
                      <a:pt x="236" y="417"/>
                    </a:moveTo>
                    <a:lnTo>
                      <a:pt x="239" y="417"/>
                    </a:lnTo>
                    <a:lnTo>
                      <a:pt x="240" y="417"/>
                    </a:lnTo>
                    <a:lnTo>
                      <a:pt x="241" y="417"/>
                    </a:lnTo>
                    <a:lnTo>
                      <a:pt x="242" y="418"/>
                    </a:lnTo>
                    <a:lnTo>
                      <a:pt x="243" y="418"/>
                    </a:lnTo>
                    <a:lnTo>
                      <a:pt x="245" y="418"/>
                    </a:lnTo>
                    <a:lnTo>
                      <a:pt x="244" y="421"/>
                    </a:lnTo>
                    <a:lnTo>
                      <a:pt x="244" y="422"/>
                    </a:lnTo>
                    <a:lnTo>
                      <a:pt x="244" y="423"/>
                    </a:lnTo>
                    <a:lnTo>
                      <a:pt x="244" y="424"/>
                    </a:lnTo>
                    <a:lnTo>
                      <a:pt x="244" y="425"/>
                    </a:lnTo>
                    <a:lnTo>
                      <a:pt x="243" y="425"/>
                    </a:lnTo>
                    <a:lnTo>
                      <a:pt x="243" y="426"/>
                    </a:lnTo>
                    <a:lnTo>
                      <a:pt x="243" y="427"/>
                    </a:lnTo>
                    <a:lnTo>
                      <a:pt x="242" y="427"/>
                    </a:lnTo>
                    <a:lnTo>
                      <a:pt x="242" y="428"/>
                    </a:lnTo>
                    <a:lnTo>
                      <a:pt x="241" y="429"/>
                    </a:lnTo>
                    <a:lnTo>
                      <a:pt x="240" y="430"/>
                    </a:lnTo>
                    <a:lnTo>
                      <a:pt x="239" y="429"/>
                    </a:lnTo>
                    <a:lnTo>
                      <a:pt x="238" y="429"/>
                    </a:lnTo>
                    <a:lnTo>
                      <a:pt x="236" y="428"/>
                    </a:lnTo>
                    <a:lnTo>
                      <a:pt x="235" y="428"/>
                    </a:lnTo>
                    <a:lnTo>
                      <a:pt x="234" y="428"/>
                    </a:lnTo>
                    <a:lnTo>
                      <a:pt x="233" y="427"/>
                    </a:lnTo>
                    <a:lnTo>
                      <a:pt x="232" y="427"/>
                    </a:lnTo>
                    <a:lnTo>
                      <a:pt x="231" y="427"/>
                    </a:lnTo>
                    <a:lnTo>
                      <a:pt x="229" y="426"/>
                    </a:lnTo>
                    <a:lnTo>
                      <a:pt x="228" y="426"/>
                    </a:lnTo>
                    <a:lnTo>
                      <a:pt x="228" y="425"/>
                    </a:lnTo>
                    <a:lnTo>
                      <a:pt x="229" y="425"/>
                    </a:lnTo>
                    <a:lnTo>
                      <a:pt x="230" y="425"/>
                    </a:lnTo>
                    <a:lnTo>
                      <a:pt x="230" y="426"/>
                    </a:lnTo>
                    <a:lnTo>
                      <a:pt x="231" y="426"/>
                    </a:lnTo>
                    <a:lnTo>
                      <a:pt x="232" y="426"/>
                    </a:lnTo>
                    <a:lnTo>
                      <a:pt x="233" y="427"/>
                    </a:lnTo>
                    <a:lnTo>
                      <a:pt x="234" y="427"/>
                    </a:lnTo>
                    <a:lnTo>
                      <a:pt x="235" y="427"/>
                    </a:lnTo>
                    <a:lnTo>
                      <a:pt x="236" y="427"/>
                    </a:lnTo>
                    <a:lnTo>
                      <a:pt x="236" y="428"/>
                    </a:lnTo>
                    <a:lnTo>
                      <a:pt x="238" y="428"/>
                    </a:lnTo>
                    <a:lnTo>
                      <a:pt x="239" y="428"/>
                    </a:lnTo>
                    <a:lnTo>
                      <a:pt x="240" y="428"/>
                    </a:lnTo>
                    <a:lnTo>
                      <a:pt x="241" y="428"/>
                    </a:lnTo>
                    <a:lnTo>
                      <a:pt x="241" y="427"/>
                    </a:lnTo>
                    <a:lnTo>
                      <a:pt x="240" y="426"/>
                    </a:lnTo>
                    <a:lnTo>
                      <a:pt x="241" y="426"/>
                    </a:lnTo>
                    <a:lnTo>
                      <a:pt x="241" y="425"/>
                    </a:lnTo>
                    <a:lnTo>
                      <a:pt x="242" y="425"/>
                    </a:lnTo>
                    <a:lnTo>
                      <a:pt x="243" y="425"/>
                    </a:lnTo>
                    <a:lnTo>
                      <a:pt x="243" y="424"/>
                    </a:lnTo>
                    <a:lnTo>
                      <a:pt x="243" y="423"/>
                    </a:lnTo>
                    <a:lnTo>
                      <a:pt x="242" y="422"/>
                    </a:lnTo>
                    <a:lnTo>
                      <a:pt x="242" y="421"/>
                    </a:lnTo>
                    <a:lnTo>
                      <a:pt x="242" y="420"/>
                    </a:lnTo>
                    <a:lnTo>
                      <a:pt x="242" y="418"/>
                    </a:lnTo>
                    <a:lnTo>
                      <a:pt x="241" y="418"/>
                    </a:lnTo>
                    <a:lnTo>
                      <a:pt x="240" y="418"/>
                    </a:lnTo>
                    <a:lnTo>
                      <a:pt x="239" y="417"/>
                    </a:lnTo>
                    <a:lnTo>
                      <a:pt x="238" y="417"/>
                    </a:lnTo>
                    <a:lnTo>
                      <a:pt x="238" y="418"/>
                    </a:lnTo>
                    <a:lnTo>
                      <a:pt x="236" y="418"/>
                    </a:lnTo>
                    <a:lnTo>
                      <a:pt x="236" y="417"/>
                    </a:lnTo>
                    <a:close/>
                    <a:moveTo>
                      <a:pt x="253" y="413"/>
                    </a:moveTo>
                    <a:lnTo>
                      <a:pt x="254" y="413"/>
                    </a:lnTo>
                    <a:lnTo>
                      <a:pt x="253" y="413"/>
                    </a:lnTo>
                    <a:lnTo>
                      <a:pt x="254" y="414"/>
                    </a:lnTo>
                    <a:lnTo>
                      <a:pt x="253" y="414"/>
                    </a:lnTo>
                    <a:lnTo>
                      <a:pt x="252" y="414"/>
                    </a:lnTo>
                    <a:lnTo>
                      <a:pt x="252" y="415"/>
                    </a:lnTo>
                    <a:lnTo>
                      <a:pt x="251" y="415"/>
                    </a:lnTo>
                    <a:lnTo>
                      <a:pt x="251" y="416"/>
                    </a:lnTo>
                    <a:lnTo>
                      <a:pt x="249" y="416"/>
                    </a:lnTo>
                    <a:lnTo>
                      <a:pt x="249" y="417"/>
                    </a:lnTo>
                    <a:lnTo>
                      <a:pt x="248" y="417"/>
                    </a:lnTo>
                    <a:lnTo>
                      <a:pt x="248" y="418"/>
                    </a:lnTo>
                    <a:lnTo>
                      <a:pt x="247" y="418"/>
                    </a:lnTo>
                    <a:lnTo>
                      <a:pt x="246" y="418"/>
                    </a:lnTo>
                    <a:lnTo>
                      <a:pt x="246" y="417"/>
                    </a:lnTo>
                    <a:lnTo>
                      <a:pt x="246" y="416"/>
                    </a:lnTo>
                    <a:lnTo>
                      <a:pt x="246" y="415"/>
                    </a:lnTo>
                    <a:lnTo>
                      <a:pt x="245" y="415"/>
                    </a:lnTo>
                    <a:lnTo>
                      <a:pt x="245" y="414"/>
                    </a:lnTo>
                    <a:lnTo>
                      <a:pt x="246" y="414"/>
                    </a:lnTo>
                    <a:lnTo>
                      <a:pt x="246" y="412"/>
                    </a:lnTo>
                    <a:lnTo>
                      <a:pt x="246" y="413"/>
                    </a:lnTo>
                    <a:lnTo>
                      <a:pt x="246" y="414"/>
                    </a:lnTo>
                    <a:lnTo>
                      <a:pt x="247" y="415"/>
                    </a:lnTo>
                    <a:lnTo>
                      <a:pt x="247" y="414"/>
                    </a:lnTo>
                    <a:lnTo>
                      <a:pt x="247" y="413"/>
                    </a:lnTo>
                    <a:lnTo>
                      <a:pt x="248" y="413"/>
                    </a:lnTo>
                    <a:lnTo>
                      <a:pt x="248" y="412"/>
                    </a:lnTo>
                    <a:lnTo>
                      <a:pt x="249" y="412"/>
                    </a:lnTo>
                    <a:lnTo>
                      <a:pt x="248" y="412"/>
                    </a:lnTo>
                    <a:lnTo>
                      <a:pt x="248" y="411"/>
                    </a:lnTo>
                    <a:lnTo>
                      <a:pt x="248" y="410"/>
                    </a:lnTo>
                    <a:lnTo>
                      <a:pt x="249" y="410"/>
                    </a:lnTo>
                    <a:lnTo>
                      <a:pt x="254" y="410"/>
                    </a:lnTo>
                    <a:lnTo>
                      <a:pt x="254" y="411"/>
                    </a:lnTo>
                    <a:lnTo>
                      <a:pt x="254" y="412"/>
                    </a:lnTo>
                    <a:lnTo>
                      <a:pt x="253" y="413"/>
                    </a:lnTo>
                    <a:close/>
                    <a:moveTo>
                      <a:pt x="566" y="446"/>
                    </a:moveTo>
                    <a:lnTo>
                      <a:pt x="566" y="447"/>
                    </a:lnTo>
                    <a:lnTo>
                      <a:pt x="566" y="446"/>
                    </a:lnTo>
                    <a:lnTo>
                      <a:pt x="567" y="446"/>
                    </a:lnTo>
                    <a:lnTo>
                      <a:pt x="568" y="446"/>
                    </a:lnTo>
                    <a:lnTo>
                      <a:pt x="568" y="447"/>
                    </a:lnTo>
                    <a:lnTo>
                      <a:pt x="567" y="447"/>
                    </a:lnTo>
                    <a:lnTo>
                      <a:pt x="567" y="448"/>
                    </a:lnTo>
                    <a:lnTo>
                      <a:pt x="566" y="448"/>
                    </a:lnTo>
                    <a:lnTo>
                      <a:pt x="566" y="449"/>
                    </a:lnTo>
                    <a:lnTo>
                      <a:pt x="565" y="450"/>
                    </a:lnTo>
                    <a:lnTo>
                      <a:pt x="564" y="450"/>
                    </a:lnTo>
                    <a:lnTo>
                      <a:pt x="563" y="450"/>
                    </a:lnTo>
                    <a:lnTo>
                      <a:pt x="562" y="451"/>
                    </a:lnTo>
                    <a:lnTo>
                      <a:pt x="561" y="452"/>
                    </a:lnTo>
                    <a:lnTo>
                      <a:pt x="560" y="452"/>
                    </a:lnTo>
                    <a:lnTo>
                      <a:pt x="558" y="453"/>
                    </a:lnTo>
                    <a:lnTo>
                      <a:pt x="557" y="453"/>
                    </a:lnTo>
                    <a:lnTo>
                      <a:pt x="557" y="454"/>
                    </a:lnTo>
                    <a:lnTo>
                      <a:pt x="556" y="454"/>
                    </a:lnTo>
                    <a:lnTo>
                      <a:pt x="555" y="454"/>
                    </a:lnTo>
                    <a:lnTo>
                      <a:pt x="554" y="455"/>
                    </a:lnTo>
                    <a:lnTo>
                      <a:pt x="554" y="456"/>
                    </a:lnTo>
                    <a:lnTo>
                      <a:pt x="554" y="455"/>
                    </a:lnTo>
                    <a:lnTo>
                      <a:pt x="554" y="454"/>
                    </a:lnTo>
                    <a:lnTo>
                      <a:pt x="555" y="454"/>
                    </a:lnTo>
                    <a:lnTo>
                      <a:pt x="555" y="453"/>
                    </a:lnTo>
                    <a:lnTo>
                      <a:pt x="556" y="453"/>
                    </a:lnTo>
                    <a:lnTo>
                      <a:pt x="557" y="451"/>
                    </a:lnTo>
                    <a:lnTo>
                      <a:pt x="557" y="450"/>
                    </a:lnTo>
                    <a:lnTo>
                      <a:pt x="558" y="449"/>
                    </a:lnTo>
                    <a:lnTo>
                      <a:pt x="560" y="449"/>
                    </a:lnTo>
                    <a:lnTo>
                      <a:pt x="561" y="448"/>
                    </a:lnTo>
                    <a:lnTo>
                      <a:pt x="562" y="448"/>
                    </a:lnTo>
                    <a:lnTo>
                      <a:pt x="563" y="448"/>
                    </a:lnTo>
                    <a:lnTo>
                      <a:pt x="564" y="447"/>
                    </a:lnTo>
                    <a:lnTo>
                      <a:pt x="565" y="447"/>
                    </a:lnTo>
                    <a:lnTo>
                      <a:pt x="565" y="446"/>
                    </a:lnTo>
                    <a:lnTo>
                      <a:pt x="566" y="446"/>
                    </a:lnTo>
                    <a:close/>
                    <a:moveTo>
                      <a:pt x="220" y="421"/>
                    </a:moveTo>
                    <a:lnTo>
                      <a:pt x="220" y="422"/>
                    </a:lnTo>
                    <a:lnTo>
                      <a:pt x="220" y="423"/>
                    </a:lnTo>
                    <a:lnTo>
                      <a:pt x="221" y="423"/>
                    </a:lnTo>
                    <a:lnTo>
                      <a:pt x="222" y="424"/>
                    </a:lnTo>
                    <a:lnTo>
                      <a:pt x="222" y="425"/>
                    </a:lnTo>
                    <a:lnTo>
                      <a:pt x="221" y="425"/>
                    </a:lnTo>
                    <a:lnTo>
                      <a:pt x="221" y="424"/>
                    </a:lnTo>
                    <a:lnTo>
                      <a:pt x="220" y="424"/>
                    </a:lnTo>
                    <a:lnTo>
                      <a:pt x="216" y="423"/>
                    </a:lnTo>
                    <a:lnTo>
                      <a:pt x="215" y="423"/>
                    </a:lnTo>
                    <a:lnTo>
                      <a:pt x="214" y="423"/>
                    </a:lnTo>
                    <a:lnTo>
                      <a:pt x="212" y="422"/>
                    </a:lnTo>
                    <a:lnTo>
                      <a:pt x="210" y="422"/>
                    </a:lnTo>
                    <a:lnTo>
                      <a:pt x="209" y="421"/>
                    </a:lnTo>
                    <a:lnTo>
                      <a:pt x="208" y="421"/>
                    </a:lnTo>
                    <a:lnTo>
                      <a:pt x="208" y="420"/>
                    </a:lnTo>
                    <a:lnTo>
                      <a:pt x="209" y="420"/>
                    </a:lnTo>
                    <a:lnTo>
                      <a:pt x="210" y="421"/>
                    </a:lnTo>
                    <a:lnTo>
                      <a:pt x="212" y="421"/>
                    </a:lnTo>
                    <a:lnTo>
                      <a:pt x="213" y="421"/>
                    </a:lnTo>
                    <a:lnTo>
                      <a:pt x="214" y="421"/>
                    </a:lnTo>
                    <a:lnTo>
                      <a:pt x="215" y="421"/>
                    </a:lnTo>
                    <a:lnTo>
                      <a:pt x="215" y="422"/>
                    </a:lnTo>
                    <a:lnTo>
                      <a:pt x="215" y="421"/>
                    </a:lnTo>
                    <a:lnTo>
                      <a:pt x="216" y="422"/>
                    </a:lnTo>
                    <a:lnTo>
                      <a:pt x="217" y="422"/>
                    </a:lnTo>
                    <a:lnTo>
                      <a:pt x="218" y="423"/>
                    </a:lnTo>
                    <a:lnTo>
                      <a:pt x="220" y="423"/>
                    </a:lnTo>
                    <a:lnTo>
                      <a:pt x="219" y="423"/>
                    </a:lnTo>
                    <a:lnTo>
                      <a:pt x="219" y="422"/>
                    </a:lnTo>
                    <a:lnTo>
                      <a:pt x="220" y="422"/>
                    </a:lnTo>
                    <a:lnTo>
                      <a:pt x="219" y="422"/>
                    </a:lnTo>
                    <a:lnTo>
                      <a:pt x="219" y="423"/>
                    </a:lnTo>
                    <a:lnTo>
                      <a:pt x="219" y="422"/>
                    </a:lnTo>
                    <a:lnTo>
                      <a:pt x="219" y="421"/>
                    </a:lnTo>
                    <a:lnTo>
                      <a:pt x="219" y="420"/>
                    </a:lnTo>
                    <a:lnTo>
                      <a:pt x="219" y="418"/>
                    </a:lnTo>
                    <a:lnTo>
                      <a:pt x="220" y="418"/>
                    </a:lnTo>
                    <a:lnTo>
                      <a:pt x="220" y="417"/>
                    </a:lnTo>
                    <a:lnTo>
                      <a:pt x="221" y="416"/>
                    </a:lnTo>
                    <a:lnTo>
                      <a:pt x="221" y="415"/>
                    </a:lnTo>
                    <a:lnTo>
                      <a:pt x="227" y="416"/>
                    </a:lnTo>
                    <a:lnTo>
                      <a:pt x="226" y="416"/>
                    </a:lnTo>
                    <a:lnTo>
                      <a:pt x="225" y="417"/>
                    </a:lnTo>
                    <a:lnTo>
                      <a:pt x="222" y="418"/>
                    </a:lnTo>
                    <a:lnTo>
                      <a:pt x="221" y="420"/>
                    </a:lnTo>
                    <a:lnTo>
                      <a:pt x="220" y="421"/>
                    </a:lnTo>
                    <a:close/>
                    <a:moveTo>
                      <a:pt x="571" y="498"/>
                    </a:moveTo>
                    <a:lnTo>
                      <a:pt x="573" y="496"/>
                    </a:lnTo>
                    <a:lnTo>
                      <a:pt x="573" y="498"/>
                    </a:lnTo>
                    <a:lnTo>
                      <a:pt x="571" y="498"/>
                    </a:lnTo>
                    <a:lnTo>
                      <a:pt x="571" y="499"/>
                    </a:lnTo>
                    <a:lnTo>
                      <a:pt x="571" y="500"/>
                    </a:lnTo>
                    <a:lnTo>
                      <a:pt x="570" y="500"/>
                    </a:lnTo>
                    <a:lnTo>
                      <a:pt x="570" y="501"/>
                    </a:lnTo>
                    <a:lnTo>
                      <a:pt x="570" y="502"/>
                    </a:lnTo>
                    <a:lnTo>
                      <a:pt x="571" y="502"/>
                    </a:lnTo>
                    <a:lnTo>
                      <a:pt x="573" y="502"/>
                    </a:lnTo>
                    <a:lnTo>
                      <a:pt x="571" y="502"/>
                    </a:lnTo>
                    <a:lnTo>
                      <a:pt x="571" y="503"/>
                    </a:lnTo>
                    <a:lnTo>
                      <a:pt x="570" y="504"/>
                    </a:lnTo>
                    <a:lnTo>
                      <a:pt x="570" y="505"/>
                    </a:lnTo>
                    <a:lnTo>
                      <a:pt x="569" y="505"/>
                    </a:lnTo>
                    <a:lnTo>
                      <a:pt x="568" y="505"/>
                    </a:lnTo>
                    <a:lnTo>
                      <a:pt x="568" y="506"/>
                    </a:lnTo>
                    <a:lnTo>
                      <a:pt x="569" y="506"/>
                    </a:lnTo>
                    <a:lnTo>
                      <a:pt x="570" y="507"/>
                    </a:lnTo>
                    <a:lnTo>
                      <a:pt x="571" y="507"/>
                    </a:lnTo>
                    <a:lnTo>
                      <a:pt x="571" y="506"/>
                    </a:lnTo>
                    <a:lnTo>
                      <a:pt x="573" y="505"/>
                    </a:lnTo>
                    <a:lnTo>
                      <a:pt x="574" y="505"/>
                    </a:lnTo>
                    <a:lnTo>
                      <a:pt x="574" y="504"/>
                    </a:lnTo>
                    <a:lnTo>
                      <a:pt x="573" y="504"/>
                    </a:lnTo>
                    <a:lnTo>
                      <a:pt x="573" y="503"/>
                    </a:lnTo>
                    <a:lnTo>
                      <a:pt x="573" y="502"/>
                    </a:lnTo>
                    <a:lnTo>
                      <a:pt x="574" y="502"/>
                    </a:lnTo>
                    <a:lnTo>
                      <a:pt x="575" y="503"/>
                    </a:lnTo>
                    <a:lnTo>
                      <a:pt x="576" y="503"/>
                    </a:lnTo>
                    <a:lnTo>
                      <a:pt x="577" y="503"/>
                    </a:lnTo>
                    <a:lnTo>
                      <a:pt x="577" y="502"/>
                    </a:lnTo>
                    <a:lnTo>
                      <a:pt x="577" y="501"/>
                    </a:lnTo>
                    <a:lnTo>
                      <a:pt x="577" y="502"/>
                    </a:lnTo>
                    <a:lnTo>
                      <a:pt x="577" y="503"/>
                    </a:lnTo>
                    <a:lnTo>
                      <a:pt x="577" y="504"/>
                    </a:lnTo>
                    <a:lnTo>
                      <a:pt x="577" y="505"/>
                    </a:lnTo>
                    <a:lnTo>
                      <a:pt x="576" y="506"/>
                    </a:lnTo>
                    <a:lnTo>
                      <a:pt x="576" y="505"/>
                    </a:lnTo>
                    <a:lnTo>
                      <a:pt x="575" y="505"/>
                    </a:lnTo>
                    <a:lnTo>
                      <a:pt x="575" y="504"/>
                    </a:lnTo>
                    <a:lnTo>
                      <a:pt x="575" y="505"/>
                    </a:lnTo>
                    <a:lnTo>
                      <a:pt x="574" y="505"/>
                    </a:lnTo>
                    <a:lnTo>
                      <a:pt x="573" y="506"/>
                    </a:lnTo>
                    <a:lnTo>
                      <a:pt x="571" y="506"/>
                    </a:lnTo>
                    <a:lnTo>
                      <a:pt x="571" y="507"/>
                    </a:lnTo>
                    <a:lnTo>
                      <a:pt x="570" y="507"/>
                    </a:lnTo>
                    <a:lnTo>
                      <a:pt x="569" y="507"/>
                    </a:lnTo>
                    <a:lnTo>
                      <a:pt x="569" y="508"/>
                    </a:lnTo>
                    <a:lnTo>
                      <a:pt x="568" y="508"/>
                    </a:lnTo>
                    <a:lnTo>
                      <a:pt x="567" y="508"/>
                    </a:lnTo>
                    <a:lnTo>
                      <a:pt x="567" y="510"/>
                    </a:lnTo>
                    <a:lnTo>
                      <a:pt x="567" y="508"/>
                    </a:lnTo>
                    <a:lnTo>
                      <a:pt x="566" y="508"/>
                    </a:lnTo>
                    <a:lnTo>
                      <a:pt x="566" y="507"/>
                    </a:lnTo>
                    <a:lnTo>
                      <a:pt x="567" y="506"/>
                    </a:lnTo>
                    <a:lnTo>
                      <a:pt x="568" y="505"/>
                    </a:lnTo>
                    <a:lnTo>
                      <a:pt x="569" y="504"/>
                    </a:lnTo>
                    <a:lnTo>
                      <a:pt x="569" y="503"/>
                    </a:lnTo>
                    <a:lnTo>
                      <a:pt x="569" y="501"/>
                    </a:lnTo>
                    <a:lnTo>
                      <a:pt x="569" y="500"/>
                    </a:lnTo>
                    <a:lnTo>
                      <a:pt x="570" y="499"/>
                    </a:lnTo>
                    <a:lnTo>
                      <a:pt x="569" y="499"/>
                    </a:lnTo>
                    <a:lnTo>
                      <a:pt x="570" y="498"/>
                    </a:lnTo>
                    <a:lnTo>
                      <a:pt x="571" y="496"/>
                    </a:lnTo>
                    <a:lnTo>
                      <a:pt x="573" y="495"/>
                    </a:lnTo>
                    <a:lnTo>
                      <a:pt x="573" y="496"/>
                    </a:lnTo>
                    <a:lnTo>
                      <a:pt x="571" y="498"/>
                    </a:lnTo>
                    <a:close/>
                    <a:moveTo>
                      <a:pt x="571" y="531"/>
                    </a:moveTo>
                    <a:lnTo>
                      <a:pt x="580" y="534"/>
                    </a:lnTo>
                    <a:lnTo>
                      <a:pt x="581" y="534"/>
                    </a:lnTo>
                    <a:lnTo>
                      <a:pt x="582" y="534"/>
                    </a:lnTo>
                    <a:lnTo>
                      <a:pt x="583" y="536"/>
                    </a:lnTo>
                    <a:lnTo>
                      <a:pt x="584" y="536"/>
                    </a:lnTo>
                    <a:lnTo>
                      <a:pt x="584" y="537"/>
                    </a:lnTo>
                    <a:lnTo>
                      <a:pt x="584" y="536"/>
                    </a:lnTo>
                    <a:lnTo>
                      <a:pt x="586" y="536"/>
                    </a:lnTo>
                    <a:lnTo>
                      <a:pt x="588" y="537"/>
                    </a:lnTo>
                    <a:lnTo>
                      <a:pt x="587" y="537"/>
                    </a:lnTo>
                    <a:lnTo>
                      <a:pt x="586" y="537"/>
                    </a:lnTo>
                    <a:lnTo>
                      <a:pt x="584" y="538"/>
                    </a:lnTo>
                    <a:lnTo>
                      <a:pt x="584" y="537"/>
                    </a:lnTo>
                    <a:lnTo>
                      <a:pt x="583" y="537"/>
                    </a:lnTo>
                    <a:lnTo>
                      <a:pt x="582" y="537"/>
                    </a:lnTo>
                    <a:lnTo>
                      <a:pt x="582" y="536"/>
                    </a:lnTo>
                    <a:lnTo>
                      <a:pt x="581" y="536"/>
                    </a:lnTo>
                    <a:lnTo>
                      <a:pt x="580" y="534"/>
                    </a:lnTo>
                    <a:lnTo>
                      <a:pt x="580" y="536"/>
                    </a:lnTo>
                    <a:lnTo>
                      <a:pt x="580" y="534"/>
                    </a:lnTo>
                    <a:lnTo>
                      <a:pt x="579" y="534"/>
                    </a:lnTo>
                    <a:lnTo>
                      <a:pt x="579" y="536"/>
                    </a:lnTo>
                    <a:lnTo>
                      <a:pt x="579" y="534"/>
                    </a:lnTo>
                    <a:lnTo>
                      <a:pt x="578" y="534"/>
                    </a:lnTo>
                    <a:lnTo>
                      <a:pt x="578" y="536"/>
                    </a:lnTo>
                    <a:lnTo>
                      <a:pt x="578" y="537"/>
                    </a:lnTo>
                    <a:lnTo>
                      <a:pt x="579" y="537"/>
                    </a:lnTo>
                    <a:lnTo>
                      <a:pt x="579" y="536"/>
                    </a:lnTo>
                    <a:lnTo>
                      <a:pt x="580" y="536"/>
                    </a:lnTo>
                    <a:lnTo>
                      <a:pt x="580" y="537"/>
                    </a:lnTo>
                    <a:lnTo>
                      <a:pt x="580" y="536"/>
                    </a:lnTo>
                    <a:lnTo>
                      <a:pt x="580" y="537"/>
                    </a:lnTo>
                    <a:lnTo>
                      <a:pt x="579" y="537"/>
                    </a:lnTo>
                    <a:lnTo>
                      <a:pt x="578" y="537"/>
                    </a:lnTo>
                    <a:lnTo>
                      <a:pt x="575" y="536"/>
                    </a:lnTo>
                    <a:lnTo>
                      <a:pt x="574" y="536"/>
                    </a:lnTo>
                    <a:lnTo>
                      <a:pt x="574" y="534"/>
                    </a:lnTo>
                    <a:lnTo>
                      <a:pt x="571" y="534"/>
                    </a:lnTo>
                    <a:lnTo>
                      <a:pt x="573" y="533"/>
                    </a:lnTo>
                    <a:lnTo>
                      <a:pt x="573" y="532"/>
                    </a:lnTo>
                    <a:lnTo>
                      <a:pt x="573" y="533"/>
                    </a:lnTo>
                    <a:lnTo>
                      <a:pt x="571" y="533"/>
                    </a:lnTo>
                    <a:lnTo>
                      <a:pt x="571" y="534"/>
                    </a:lnTo>
                    <a:lnTo>
                      <a:pt x="570" y="533"/>
                    </a:lnTo>
                    <a:lnTo>
                      <a:pt x="570" y="532"/>
                    </a:lnTo>
                    <a:lnTo>
                      <a:pt x="571" y="531"/>
                    </a:lnTo>
                    <a:close/>
                    <a:moveTo>
                      <a:pt x="112" y="314"/>
                    </a:moveTo>
                    <a:lnTo>
                      <a:pt x="112" y="315"/>
                    </a:lnTo>
                    <a:lnTo>
                      <a:pt x="113" y="315"/>
                    </a:lnTo>
                    <a:lnTo>
                      <a:pt x="112" y="315"/>
                    </a:lnTo>
                    <a:lnTo>
                      <a:pt x="112" y="316"/>
                    </a:lnTo>
                    <a:lnTo>
                      <a:pt x="112" y="318"/>
                    </a:lnTo>
                    <a:lnTo>
                      <a:pt x="111" y="318"/>
                    </a:lnTo>
                    <a:lnTo>
                      <a:pt x="111" y="316"/>
                    </a:lnTo>
                    <a:lnTo>
                      <a:pt x="111" y="318"/>
                    </a:lnTo>
                    <a:lnTo>
                      <a:pt x="112" y="318"/>
                    </a:lnTo>
                    <a:lnTo>
                      <a:pt x="111" y="318"/>
                    </a:lnTo>
                    <a:lnTo>
                      <a:pt x="111" y="319"/>
                    </a:lnTo>
                    <a:lnTo>
                      <a:pt x="111" y="320"/>
                    </a:lnTo>
                    <a:lnTo>
                      <a:pt x="110" y="320"/>
                    </a:lnTo>
                    <a:lnTo>
                      <a:pt x="109" y="320"/>
                    </a:lnTo>
                    <a:lnTo>
                      <a:pt x="109" y="321"/>
                    </a:lnTo>
                    <a:lnTo>
                      <a:pt x="106" y="321"/>
                    </a:lnTo>
                    <a:lnTo>
                      <a:pt x="106" y="322"/>
                    </a:lnTo>
                    <a:lnTo>
                      <a:pt x="106" y="324"/>
                    </a:lnTo>
                    <a:lnTo>
                      <a:pt x="105" y="324"/>
                    </a:lnTo>
                    <a:lnTo>
                      <a:pt x="105" y="325"/>
                    </a:lnTo>
                    <a:lnTo>
                      <a:pt x="106" y="325"/>
                    </a:lnTo>
                    <a:lnTo>
                      <a:pt x="106" y="324"/>
                    </a:lnTo>
                    <a:lnTo>
                      <a:pt x="107" y="324"/>
                    </a:lnTo>
                    <a:lnTo>
                      <a:pt x="107" y="325"/>
                    </a:lnTo>
                    <a:lnTo>
                      <a:pt x="106" y="326"/>
                    </a:lnTo>
                    <a:lnTo>
                      <a:pt x="105" y="326"/>
                    </a:lnTo>
                    <a:lnTo>
                      <a:pt x="104" y="327"/>
                    </a:lnTo>
                    <a:lnTo>
                      <a:pt x="103" y="327"/>
                    </a:lnTo>
                    <a:lnTo>
                      <a:pt x="103" y="326"/>
                    </a:lnTo>
                    <a:lnTo>
                      <a:pt x="104" y="325"/>
                    </a:lnTo>
                    <a:lnTo>
                      <a:pt x="105" y="324"/>
                    </a:lnTo>
                    <a:lnTo>
                      <a:pt x="105" y="323"/>
                    </a:lnTo>
                    <a:lnTo>
                      <a:pt x="104" y="323"/>
                    </a:lnTo>
                    <a:lnTo>
                      <a:pt x="103" y="323"/>
                    </a:lnTo>
                    <a:lnTo>
                      <a:pt x="103" y="322"/>
                    </a:lnTo>
                    <a:lnTo>
                      <a:pt x="104" y="322"/>
                    </a:lnTo>
                    <a:lnTo>
                      <a:pt x="104" y="321"/>
                    </a:lnTo>
                    <a:lnTo>
                      <a:pt x="105" y="320"/>
                    </a:lnTo>
                    <a:lnTo>
                      <a:pt x="106" y="319"/>
                    </a:lnTo>
                    <a:lnTo>
                      <a:pt x="107" y="318"/>
                    </a:lnTo>
                    <a:lnTo>
                      <a:pt x="107" y="316"/>
                    </a:lnTo>
                    <a:lnTo>
                      <a:pt x="107" y="318"/>
                    </a:lnTo>
                    <a:lnTo>
                      <a:pt x="109" y="318"/>
                    </a:lnTo>
                    <a:lnTo>
                      <a:pt x="109" y="316"/>
                    </a:lnTo>
                    <a:lnTo>
                      <a:pt x="110" y="316"/>
                    </a:lnTo>
                    <a:lnTo>
                      <a:pt x="110" y="315"/>
                    </a:lnTo>
                    <a:lnTo>
                      <a:pt x="111" y="315"/>
                    </a:lnTo>
                    <a:lnTo>
                      <a:pt x="111" y="314"/>
                    </a:lnTo>
                    <a:lnTo>
                      <a:pt x="112" y="314"/>
                    </a:lnTo>
                    <a:lnTo>
                      <a:pt x="112" y="313"/>
                    </a:lnTo>
                    <a:lnTo>
                      <a:pt x="112" y="314"/>
                    </a:lnTo>
                    <a:close/>
                    <a:moveTo>
                      <a:pt x="332" y="346"/>
                    </a:moveTo>
                    <a:lnTo>
                      <a:pt x="332" y="347"/>
                    </a:lnTo>
                    <a:lnTo>
                      <a:pt x="331" y="346"/>
                    </a:lnTo>
                    <a:lnTo>
                      <a:pt x="331" y="347"/>
                    </a:lnTo>
                    <a:lnTo>
                      <a:pt x="330" y="347"/>
                    </a:lnTo>
                    <a:lnTo>
                      <a:pt x="330" y="348"/>
                    </a:lnTo>
                    <a:lnTo>
                      <a:pt x="330" y="347"/>
                    </a:lnTo>
                    <a:lnTo>
                      <a:pt x="329" y="348"/>
                    </a:lnTo>
                    <a:lnTo>
                      <a:pt x="329" y="349"/>
                    </a:lnTo>
                    <a:lnTo>
                      <a:pt x="328" y="350"/>
                    </a:lnTo>
                    <a:lnTo>
                      <a:pt x="329" y="350"/>
                    </a:lnTo>
                    <a:lnTo>
                      <a:pt x="328" y="350"/>
                    </a:lnTo>
                    <a:lnTo>
                      <a:pt x="330" y="350"/>
                    </a:lnTo>
                    <a:lnTo>
                      <a:pt x="329" y="350"/>
                    </a:lnTo>
                    <a:lnTo>
                      <a:pt x="329" y="349"/>
                    </a:lnTo>
                    <a:lnTo>
                      <a:pt x="330" y="349"/>
                    </a:lnTo>
                    <a:lnTo>
                      <a:pt x="331" y="349"/>
                    </a:lnTo>
                    <a:lnTo>
                      <a:pt x="331" y="350"/>
                    </a:lnTo>
                    <a:lnTo>
                      <a:pt x="330" y="350"/>
                    </a:lnTo>
                    <a:lnTo>
                      <a:pt x="331" y="351"/>
                    </a:lnTo>
                    <a:lnTo>
                      <a:pt x="331" y="350"/>
                    </a:lnTo>
                    <a:lnTo>
                      <a:pt x="331" y="349"/>
                    </a:lnTo>
                    <a:lnTo>
                      <a:pt x="332" y="349"/>
                    </a:lnTo>
                    <a:lnTo>
                      <a:pt x="332" y="348"/>
                    </a:lnTo>
                    <a:lnTo>
                      <a:pt x="333" y="349"/>
                    </a:lnTo>
                    <a:lnTo>
                      <a:pt x="334" y="348"/>
                    </a:lnTo>
                    <a:lnTo>
                      <a:pt x="335" y="350"/>
                    </a:lnTo>
                    <a:lnTo>
                      <a:pt x="335" y="349"/>
                    </a:lnTo>
                    <a:lnTo>
                      <a:pt x="334" y="349"/>
                    </a:lnTo>
                    <a:lnTo>
                      <a:pt x="334" y="350"/>
                    </a:lnTo>
                    <a:lnTo>
                      <a:pt x="334" y="349"/>
                    </a:lnTo>
                    <a:lnTo>
                      <a:pt x="333" y="349"/>
                    </a:lnTo>
                    <a:lnTo>
                      <a:pt x="332" y="349"/>
                    </a:lnTo>
                    <a:lnTo>
                      <a:pt x="332" y="350"/>
                    </a:lnTo>
                    <a:lnTo>
                      <a:pt x="333" y="350"/>
                    </a:lnTo>
                    <a:lnTo>
                      <a:pt x="333" y="351"/>
                    </a:lnTo>
                    <a:lnTo>
                      <a:pt x="333" y="350"/>
                    </a:lnTo>
                    <a:lnTo>
                      <a:pt x="333" y="351"/>
                    </a:lnTo>
                    <a:lnTo>
                      <a:pt x="334" y="351"/>
                    </a:lnTo>
                    <a:lnTo>
                      <a:pt x="335" y="351"/>
                    </a:lnTo>
                    <a:lnTo>
                      <a:pt x="335" y="352"/>
                    </a:lnTo>
                    <a:lnTo>
                      <a:pt x="336" y="353"/>
                    </a:lnTo>
                    <a:lnTo>
                      <a:pt x="337" y="353"/>
                    </a:lnTo>
                    <a:lnTo>
                      <a:pt x="338" y="353"/>
                    </a:lnTo>
                    <a:lnTo>
                      <a:pt x="339" y="353"/>
                    </a:lnTo>
                    <a:lnTo>
                      <a:pt x="339" y="354"/>
                    </a:lnTo>
                    <a:lnTo>
                      <a:pt x="339" y="356"/>
                    </a:lnTo>
                    <a:lnTo>
                      <a:pt x="339" y="357"/>
                    </a:lnTo>
                    <a:lnTo>
                      <a:pt x="338" y="357"/>
                    </a:lnTo>
                    <a:lnTo>
                      <a:pt x="338" y="356"/>
                    </a:lnTo>
                    <a:lnTo>
                      <a:pt x="338" y="354"/>
                    </a:lnTo>
                    <a:lnTo>
                      <a:pt x="337" y="354"/>
                    </a:lnTo>
                    <a:lnTo>
                      <a:pt x="336" y="354"/>
                    </a:lnTo>
                    <a:lnTo>
                      <a:pt x="336" y="353"/>
                    </a:lnTo>
                    <a:lnTo>
                      <a:pt x="334" y="353"/>
                    </a:lnTo>
                    <a:lnTo>
                      <a:pt x="334" y="352"/>
                    </a:lnTo>
                    <a:lnTo>
                      <a:pt x="334" y="353"/>
                    </a:lnTo>
                    <a:lnTo>
                      <a:pt x="333" y="353"/>
                    </a:lnTo>
                    <a:lnTo>
                      <a:pt x="333" y="352"/>
                    </a:lnTo>
                    <a:lnTo>
                      <a:pt x="332" y="352"/>
                    </a:lnTo>
                    <a:lnTo>
                      <a:pt x="331" y="352"/>
                    </a:lnTo>
                    <a:lnTo>
                      <a:pt x="331" y="351"/>
                    </a:lnTo>
                    <a:lnTo>
                      <a:pt x="330" y="352"/>
                    </a:lnTo>
                    <a:lnTo>
                      <a:pt x="330" y="351"/>
                    </a:lnTo>
                    <a:lnTo>
                      <a:pt x="329" y="351"/>
                    </a:lnTo>
                    <a:lnTo>
                      <a:pt x="329" y="350"/>
                    </a:lnTo>
                    <a:lnTo>
                      <a:pt x="328" y="350"/>
                    </a:lnTo>
                    <a:lnTo>
                      <a:pt x="328" y="351"/>
                    </a:lnTo>
                    <a:lnTo>
                      <a:pt x="329" y="351"/>
                    </a:lnTo>
                    <a:lnTo>
                      <a:pt x="328" y="351"/>
                    </a:lnTo>
                    <a:lnTo>
                      <a:pt x="328" y="352"/>
                    </a:lnTo>
                    <a:lnTo>
                      <a:pt x="326" y="352"/>
                    </a:lnTo>
                    <a:lnTo>
                      <a:pt x="325" y="352"/>
                    </a:lnTo>
                    <a:lnTo>
                      <a:pt x="325" y="353"/>
                    </a:lnTo>
                    <a:lnTo>
                      <a:pt x="325" y="352"/>
                    </a:lnTo>
                    <a:lnTo>
                      <a:pt x="325" y="351"/>
                    </a:lnTo>
                    <a:lnTo>
                      <a:pt x="325" y="350"/>
                    </a:lnTo>
                    <a:lnTo>
                      <a:pt x="324" y="350"/>
                    </a:lnTo>
                    <a:lnTo>
                      <a:pt x="325" y="350"/>
                    </a:lnTo>
                    <a:lnTo>
                      <a:pt x="325" y="349"/>
                    </a:lnTo>
                    <a:lnTo>
                      <a:pt x="325" y="348"/>
                    </a:lnTo>
                    <a:lnTo>
                      <a:pt x="325" y="347"/>
                    </a:lnTo>
                    <a:lnTo>
                      <a:pt x="326" y="347"/>
                    </a:lnTo>
                    <a:lnTo>
                      <a:pt x="326" y="348"/>
                    </a:lnTo>
                    <a:lnTo>
                      <a:pt x="328" y="349"/>
                    </a:lnTo>
                    <a:lnTo>
                      <a:pt x="329" y="349"/>
                    </a:lnTo>
                    <a:lnTo>
                      <a:pt x="328" y="349"/>
                    </a:lnTo>
                    <a:lnTo>
                      <a:pt x="329" y="348"/>
                    </a:lnTo>
                    <a:lnTo>
                      <a:pt x="329" y="347"/>
                    </a:lnTo>
                    <a:lnTo>
                      <a:pt x="330" y="347"/>
                    </a:lnTo>
                    <a:lnTo>
                      <a:pt x="330" y="346"/>
                    </a:lnTo>
                    <a:lnTo>
                      <a:pt x="330" y="347"/>
                    </a:lnTo>
                    <a:lnTo>
                      <a:pt x="330" y="346"/>
                    </a:lnTo>
                    <a:lnTo>
                      <a:pt x="331" y="346"/>
                    </a:lnTo>
                    <a:lnTo>
                      <a:pt x="332" y="346"/>
                    </a:lnTo>
                    <a:lnTo>
                      <a:pt x="331" y="345"/>
                    </a:lnTo>
                    <a:lnTo>
                      <a:pt x="332" y="345"/>
                    </a:lnTo>
                    <a:lnTo>
                      <a:pt x="332" y="346"/>
                    </a:lnTo>
                    <a:close/>
                    <a:moveTo>
                      <a:pt x="268" y="203"/>
                    </a:moveTo>
                    <a:lnTo>
                      <a:pt x="269" y="204"/>
                    </a:lnTo>
                    <a:lnTo>
                      <a:pt x="270" y="204"/>
                    </a:lnTo>
                    <a:lnTo>
                      <a:pt x="271" y="204"/>
                    </a:lnTo>
                    <a:lnTo>
                      <a:pt x="272" y="205"/>
                    </a:lnTo>
                    <a:lnTo>
                      <a:pt x="273" y="205"/>
                    </a:lnTo>
                    <a:lnTo>
                      <a:pt x="273" y="206"/>
                    </a:lnTo>
                    <a:lnTo>
                      <a:pt x="274" y="206"/>
                    </a:lnTo>
                    <a:lnTo>
                      <a:pt x="274" y="207"/>
                    </a:lnTo>
                    <a:lnTo>
                      <a:pt x="276" y="207"/>
                    </a:lnTo>
                    <a:lnTo>
                      <a:pt x="276" y="208"/>
                    </a:lnTo>
                    <a:lnTo>
                      <a:pt x="277" y="208"/>
                    </a:lnTo>
                    <a:lnTo>
                      <a:pt x="277" y="207"/>
                    </a:lnTo>
                    <a:lnTo>
                      <a:pt x="278" y="207"/>
                    </a:lnTo>
                    <a:lnTo>
                      <a:pt x="278" y="208"/>
                    </a:lnTo>
                    <a:lnTo>
                      <a:pt x="279" y="208"/>
                    </a:lnTo>
                    <a:lnTo>
                      <a:pt x="278" y="208"/>
                    </a:lnTo>
                    <a:lnTo>
                      <a:pt x="278" y="209"/>
                    </a:lnTo>
                    <a:lnTo>
                      <a:pt x="278" y="208"/>
                    </a:lnTo>
                    <a:lnTo>
                      <a:pt x="279" y="208"/>
                    </a:lnTo>
                    <a:lnTo>
                      <a:pt x="278" y="209"/>
                    </a:lnTo>
                    <a:lnTo>
                      <a:pt x="278" y="210"/>
                    </a:lnTo>
                    <a:lnTo>
                      <a:pt x="279" y="210"/>
                    </a:lnTo>
                    <a:lnTo>
                      <a:pt x="279" y="211"/>
                    </a:lnTo>
                    <a:lnTo>
                      <a:pt x="278" y="211"/>
                    </a:lnTo>
                    <a:lnTo>
                      <a:pt x="277" y="211"/>
                    </a:lnTo>
                    <a:lnTo>
                      <a:pt x="276" y="210"/>
                    </a:lnTo>
                    <a:lnTo>
                      <a:pt x="277" y="210"/>
                    </a:lnTo>
                    <a:lnTo>
                      <a:pt x="277" y="209"/>
                    </a:lnTo>
                    <a:lnTo>
                      <a:pt x="276" y="209"/>
                    </a:lnTo>
                    <a:lnTo>
                      <a:pt x="276" y="208"/>
                    </a:lnTo>
                    <a:lnTo>
                      <a:pt x="274" y="208"/>
                    </a:lnTo>
                    <a:lnTo>
                      <a:pt x="273" y="208"/>
                    </a:lnTo>
                    <a:lnTo>
                      <a:pt x="272" y="209"/>
                    </a:lnTo>
                    <a:lnTo>
                      <a:pt x="272" y="210"/>
                    </a:lnTo>
                    <a:lnTo>
                      <a:pt x="273" y="210"/>
                    </a:lnTo>
                    <a:lnTo>
                      <a:pt x="273" y="211"/>
                    </a:lnTo>
                    <a:lnTo>
                      <a:pt x="274" y="211"/>
                    </a:lnTo>
                    <a:lnTo>
                      <a:pt x="274" y="212"/>
                    </a:lnTo>
                    <a:lnTo>
                      <a:pt x="273" y="212"/>
                    </a:lnTo>
                    <a:lnTo>
                      <a:pt x="273" y="211"/>
                    </a:lnTo>
                    <a:lnTo>
                      <a:pt x="273" y="210"/>
                    </a:lnTo>
                    <a:lnTo>
                      <a:pt x="272" y="210"/>
                    </a:lnTo>
                    <a:lnTo>
                      <a:pt x="271" y="210"/>
                    </a:lnTo>
                    <a:lnTo>
                      <a:pt x="271" y="209"/>
                    </a:lnTo>
                    <a:lnTo>
                      <a:pt x="270" y="209"/>
                    </a:lnTo>
                    <a:lnTo>
                      <a:pt x="271" y="208"/>
                    </a:lnTo>
                    <a:lnTo>
                      <a:pt x="271" y="209"/>
                    </a:lnTo>
                    <a:lnTo>
                      <a:pt x="271" y="208"/>
                    </a:lnTo>
                    <a:lnTo>
                      <a:pt x="272" y="208"/>
                    </a:lnTo>
                    <a:lnTo>
                      <a:pt x="273" y="208"/>
                    </a:lnTo>
                    <a:lnTo>
                      <a:pt x="272" y="208"/>
                    </a:lnTo>
                    <a:lnTo>
                      <a:pt x="271" y="208"/>
                    </a:lnTo>
                    <a:lnTo>
                      <a:pt x="272" y="207"/>
                    </a:lnTo>
                    <a:lnTo>
                      <a:pt x="272" y="206"/>
                    </a:lnTo>
                    <a:lnTo>
                      <a:pt x="271" y="206"/>
                    </a:lnTo>
                    <a:lnTo>
                      <a:pt x="270" y="206"/>
                    </a:lnTo>
                    <a:lnTo>
                      <a:pt x="271" y="206"/>
                    </a:lnTo>
                    <a:lnTo>
                      <a:pt x="272" y="206"/>
                    </a:lnTo>
                    <a:lnTo>
                      <a:pt x="272" y="207"/>
                    </a:lnTo>
                    <a:lnTo>
                      <a:pt x="271" y="207"/>
                    </a:lnTo>
                    <a:lnTo>
                      <a:pt x="270" y="207"/>
                    </a:lnTo>
                    <a:lnTo>
                      <a:pt x="270" y="208"/>
                    </a:lnTo>
                    <a:lnTo>
                      <a:pt x="270" y="207"/>
                    </a:lnTo>
                    <a:lnTo>
                      <a:pt x="269" y="207"/>
                    </a:lnTo>
                    <a:lnTo>
                      <a:pt x="268" y="207"/>
                    </a:lnTo>
                    <a:lnTo>
                      <a:pt x="267" y="207"/>
                    </a:lnTo>
                    <a:lnTo>
                      <a:pt x="268" y="206"/>
                    </a:lnTo>
                    <a:lnTo>
                      <a:pt x="267" y="206"/>
                    </a:lnTo>
                    <a:lnTo>
                      <a:pt x="267" y="205"/>
                    </a:lnTo>
                    <a:lnTo>
                      <a:pt x="268" y="205"/>
                    </a:lnTo>
                    <a:lnTo>
                      <a:pt x="269" y="205"/>
                    </a:lnTo>
                    <a:lnTo>
                      <a:pt x="268" y="204"/>
                    </a:lnTo>
                    <a:lnTo>
                      <a:pt x="267" y="204"/>
                    </a:lnTo>
                    <a:lnTo>
                      <a:pt x="268" y="204"/>
                    </a:lnTo>
                    <a:lnTo>
                      <a:pt x="267" y="204"/>
                    </a:lnTo>
                    <a:lnTo>
                      <a:pt x="268" y="204"/>
                    </a:lnTo>
                    <a:lnTo>
                      <a:pt x="268" y="205"/>
                    </a:lnTo>
                    <a:lnTo>
                      <a:pt x="267" y="205"/>
                    </a:lnTo>
                    <a:lnTo>
                      <a:pt x="267" y="204"/>
                    </a:lnTo>
                    <a:lnTo>
                      <a:pt x="267" y="203"/>
                    </a:lnTo>
                    <a:lnTo>
                      <a:pt x="266" y="203"/>
                    </a:lnTo>
                    <a:lnTo>
                      <a:pt x="267" y="203"/>
                    </a:lnTo>
                    <a:lnTo>
                      <a:pt x="268" y="203"/>
                    </a:lnTo>
                    <a:close/>
                    <a:moveTo>
                      <a:pt x="242" y="393"/>
                    </a:moveTo>
                    <a:lnTo>
                      <a:pt x="243" y="393"/>
                    </a:lnTo>
                    <a:lnTo>
                      <a:pt x="243" y="395"/>
                    </a:lnTo>
                    <a:lnTo>
                      <a:pt x="244" y="395"/>
                    </a:lnTo>
                    <a:lnTo>
                      <a:pt x="245" y="396"/>
                    </a:lnTo>
                    <a:lnTo>
                      <a:pt x="244" y="396"/>
                    </a:lnTo>
                    <a:lnTo>
                      <a:pt x="243" y="397"/>
                    </a:lnTo>
                    <a:lnTo>
                      <a:pt x="242" y="397"/>
                    </a:lnTo>
                    <a:lnTo>
                      <a:pt x="242" y="396"/>
                    </a:lnTo>
                    <a:lnTo>
                      <a:pt x="242" y="397"/>
                    </a:lnTo>
                    <a:lnTo>
                      <a:pt x="241" y="397"/>
                    </a:lnTo>
                    <a:lnTo>
                      <a:pt x="241" y="396"/>
                    </a:lnTo>
                    <a:lnTo>
                      <a:pt x="241" y="397"/>
                    </a:lnTo>
                    <a:lnTo>
                      <a:pt x="240" y="396"/>
                    </a:lnTo>
                    <a:lnTo>
                      <a:pt x="240" y="397"/>
                    </a:lnTo>
                    <a:lnTo>
                      <a:pt x="239" y="397"/>
                    </a:lnTo>
                    <a:lnTo>
                      <a:pt x="239" y="398"/>
                    </a:lnTo>
                    <a:lnTo>
                      <a:pt x="239" y="397"/>
                    </a:lnTo>
                    <a:lnTo>
                      <a:pt x="238" y="398"/>
                    </a:lnTo>
                    <a:lnTo>
                      <a:pt x="240" y="398"/>
                    </a:lnTo>
                    <a:lnTo>
                      <a:pt x="241" y="398"/>
                    </a:lnTo>
                    <a:lnTo>
                      <a:pt x="234" y="398"/>
                    </a:lnTo>
                    <a:lnTo>
                      <a:pt x="235" y="398"/>
                    </a:lnTo>
                    <a:lnTo>
                      <a:pt x="235" y="397"/>
                    </a:lnTo>
                    <a:lnTo>
                      <a:pt x="235" y="396"/>
                    </a:lnTo>
                    <a:lnTo>
                      <a:pt x="234" y="396"/>
                    </a:lnTo>
                    <a:lnTo>
                      <a:pt x="233" y="397"/>
                    </a:lnTo>
                    <a:lnTo>
                      <a:pt x="233" y="396"/>
                    </a:lnTo>
                    <a:lnTo>
                      <a:pt x="232" y="396"/>
                    </a:lnTo>
                    <a:lnTo>
                      <a:pt x="231" y="397"/>
                    </a:lnTo>
                    <a:lnTo>
                      <a:pt x="230" y="397"/>
                    </a:lnTo>
                    <a:lnTo>
                      <a:pt x="232" y="396"/>
                    </a:lnTo>
                    <a:lnTo>
                      <a:pt x="232" y="395"/>
                    </a:lnTo>
                    <a:lnTo>
                      <a:pt x="233" y="393"/>
                    </a:lnTo>
                    <a:lnTo>
                      <a:pt x="234" y="393"/>
                    </a:lnTo>
                    <a:lnTo>
                      <a:pt x="234" y="392"/>
                    </a:lnTo>
                    <a:lnTo>
                      <a:pt x="235" y="392"/>
                    </a:lnTo>
                    <a:lnTo>
                      <a:pt x="236" y="392"/>
                    </a:lnTo>
                    <a:lnTo>
                      <a:pt x="236" y="393"/>
                    </a:lnTo>
                    <a:lnTo>
                      <a:pt x="236" y="392"/>
                    </a:lnTo>
                    <a:lnTo>
                      <a:pt x="238" y="392"/>
                    </a:lnTo>
                    <a:lnTo>
                      <a:pt x="238" y="393"/>
                    </a:lnTo>
                    <a:lnTo>
                      <a:pt x="238" y="395"/>
                    </a:lnTo>
                    <a:lnTo>
                      <a:pt x="238" y="396"/>
                    </a:lnTo>
                    <a:lnTo>
                      <a:pt x="239" y="397"/>
                    </a:lnTo>
                    <a:lnTo>
                      <a:pt x="239" y="396"/>
                    </a:lnTo>
                    <a:lnTo>
                      <a:pt x="240" y="395"/>
                    </a:lnTo>
                    <a:lnTo>
                      <a:pt x="241" y="395"/>
                    </a:lnTo>
                    <a:lnTo>
                      <a:pt x="241" y="393"/>
                    </a:lnTo>
                    <a:lnTo>
                      <a:pt x="241" y="392"/>
                    </a:lnTo>
                    <a:lnTo>
                      <a:pt x="242" y="392"/>
                    </a:lnTo>
                    <a:lnTo>
                      <a:pt x="243" y="392"/>
                    </a:lnTo>
                    <a:lnTo>
                      <a:pt x="242" y="392"/>
                    </a:lnTo>
                    <a:lnTo>
                      <a:pt x="242" y="393"/>
                    </a:lnTo>
                    <a:close/>
                    <a:moveTo>
                      <a:pt x="197" y="414"/>
                    </a:moveTo>
                    <a:lnTo>
                      <a:pt x="199" y="414"/>
                    </a:lnTo>
                    <a:lnTo>
                      <a:pt x="202" y="414"/>
                    </a:lnTo>
                    <a:lnTo>
                      <a:pt x="203" y="414"/>
                    </a:lnTo>
                    <a:lnTo>
                      <a:pt x="202" y="414"/>
                    </a:lnTo>
                    <a:lnTo>
                      <a:pt x="203" y="414"/>
                    </a:lnTo>
                    <a:lnTo>
                      <a:pt x="204" y="414"/>
                    </a:lnTo>
                    <a:lnTo>
                      <a:pt x="204" y="415"/>
                    </a:lnTo>
                    <a:lnTo>
                      <a:pt x="205" y="415"/>
                    </a:lnTo>
                    <a:lnTo>
                      <a:pt x="204" y="416"/>
                    </a:lnTo>
                    <a:lnTo>
                      <a:pt x="204" y="417"/>
                    </a:lnTo>
                    <a:lnTo>
                      <a:pt x="204" y="418"/>
                    </a:lnTo>
                    <a:lnTo>
                      <a:pt x="203" y="418"/>
                    </a:lnTo>
                    <a:lnTo>
                      <a:pt x="202" y="418"/>
                    </a:lnTo>
                    <a:lnTo>
                      <a:pt x="202" y="417"/>
                    </a:lnTo>
                    <a:lnTo>
                      <a:pt x="201" y="417"/>
                    </a:lnTo>
                    <a:lnTo>
                      <a:pt x="202" y="418"/>
                    </a:lnTo>
                    <a:lnTo>
                      <a:pt x="201" y="418"/>
                    </a:lnTo>
                    <a:lnTo>
                      <a:pt x="200" y="418"/>
                    </a:lnTo>
                    <a:lnTo>
                      <a:pt x="199" y="418"/>
                    </a:lnTo>
                    <a:lnTo>
                      <a:pt x="197" y="418"/>
                    </a:lnTo>
                    <a:lnTo>
                      <a:pt x="196" y="417"/>
                    </a:lnTo>
                    <a:lnTo>
                      <a:pt x="195" y="416"/>
                    </a:lnTo>
                    <a:lnTo>
                      <a:pt x="196" y="415"/>
                    </a:lnTo>
                    <a:lnTo>
                      <a:pt x="197" y="415"/>
                    </a:lnTo>
                    <a:lnTo>
                      <a:pt x="199" y="415"/>
                    </a:lnTo>
                    <a:lnTo>
                      <a:pt x="199" y="414"/>
                    </a:lnTo>
                    <a:lnTo>
                      <a:pt x="197" y="414"/>
                    </a:lnTo>
                    <a:lnTo>
                      <a:pt x="196" y="414"/>
                    </a:lnTo>
                    <a:lnTo>
                      <a:pt x="197" y="414"/>
                    </a:lnTo>
                    <a:close/>
                    <a:moveTo>
                      <a:pt x="621" y="505"/>
                    </a:moveTo>
                    <a:lnTo>
                      <a:pt x="623" y="505"/>
                    </a:lnTo>
                    <a:lnTo>
                      <a:pt x="625" y="505"/>
                    </a:lnTo>
                    <a:lnTo>
                      <a:pt x="626" y="505"/>
                    </a:lnTo>
                    <a:lnTo>
                      <a:pt x="625" y="505"/>
                    </a:lnTo>
                    <a:lnTo>
                      <a:pt x="625" y="506"/>
                    </a:lnTo>
                    <a:lnTo>
                      <a:pt x="623" y="506"/>
                    </a:lnTo>
                    <a:lnTo>
                      <a:pt x="622" y="506"/>
                    </a:lnTo>
                    <a:lnTo>
                      <a:pt x="621" y="506"/>
                    </a:lnTo>
                    <a:lnTo>
                      <a:pt x="620" y="506"/>
                    </a:lnTo>
                    <a:lnTo>
                      <a:pt x="620" y="507"/>
                    </a:lnTo>
                    <a:lnTo>
                      <a:pt x="621" y="507"/>
                    </a:lnTo>
                    <a:lnTo>
                      <a:pt x="621" y="508"/>
                    </a:lnTo>
                    <a:lnTo>
                      <a:pt x="621" y="510"/>
                    </a:lnTo>
                    <a:lnTo>
                      <a:pt x="621" y="512"/>
                    </a:lnTo>
                    <a:lnTo>
                      <a:pt x="623" y="514"/>
                    </a:lnTo>
                    <a:lnTo>
                      <a:pt x="623" y="515"/>
                    </a:lnTo>
                    <a:lnTo>
                      <a:pt x="622" y="514"/>
                    </a:lnTo>
                    <a:lnTo>
                      <a:pt x="622" y="513"/>
                    </a:lnTo>
                    <a:lnTo>
                      <a:pt x="621" y="513"/>
                    </a:lnTo>
                    <a:lnTo>
                      <a:pt x="621" y="512"/>
                    </a:lnTo>
                    <a:lnTo>
                      <a:pt x="621" y="511"/>
                    </a:lnTo>
                    <a:lnTo>
                      <a:pt x="620" y="510"/>
                    </a:lnTo>
                    <a:lnTo>
                      <a:pt x="620" y="511"/>
                    </a:lnTo>
                    <a:lnTo>
                      <a:pt x="620" y="512"/>
                    </a:lnTo>
                    <a:lnTo>
                      <a:pt x="619" y="513"/>
                    </a:lnTo>
                    <a:lnTo>
                      <a:pt x="619" y="512"/>
                    </a:lnTo>
                    <a:lnTo>
                      <a:pt x="620" y="512"/>
                    </a:lnTo>
                    <a:lnTo>
                      <a:pt x="620" y="511"/>
                    </a:lnTo>
                    <a:lnTo>
                      <a:pt x="619" y="511"/>
                    </a:lnTo>
                    <a:lnTo>
                      <a:pt x="619" y="510"/>
                    </a:lnTo>
                    <a:lnTo>
                      <a:pt x="619" y="511"/>
                    </a:lnTo>
                    <a:lnTo>
                      <a:pt x="619" y="512"/>
                    </a:lnTo>
                    <a:lnTo>
                      <a:pt x="618" y="512"/>
                    </a:lnTo>
                    <a:lnTo>
                      <a:pt x="618" y="511"/>
                    </a:lnTo>
                    <a:lnTo>
                      <a:pt x="617" y="510"/>
                    </a:lnTo>
                    <a:lnTo>
                      <a:pt x="617" y="511"/>
                    </a:lnTo>
                    <a:lnTo>
                      <a:pt x="616" y="510"/>
                    </a:lnTo>
                    <a:lnTo>
                      <a:pt x="616" y="508"/>
                    </a:lnTo>
                    <a:lnTo>
                      <a:pt x="616" y="507"/>
                    </a:lnTo>
                    <a:lnTo>
                      <a:pt x="615" y="507"/>
                    </a:lnTo>
                    <a:lnTo>
                      <a:pt x="616" y="506"/>
                    </a:lnTo>
                    <a:lnTo>
                      <a:pt x="618" y="505"/>
                    </a:lnTo>
                    <a:lnTo>
                      <a:pt x="620" y="505"/>
                    </a:lnTo>
                    <a:lnTo>
                      <a:pt x="621" y="505"/>
                    </a:lnTo>
                    <a:close/>
                    <a:moveTo>
                      <a:pt x="178" y="409"/>
                    </a:moveTo>
                    <a:lnTo>
                      <a:pt x="178" y="410"/>
                    </a:lnTo>
                    <a:lnTo>
                      <a:pt x="177" y="410"/>
                    </a:lnTo>
                    <a:lnTo>
                      <a:pt x="178" y="410"/>
                    </a:lnTo>
                    <a:lnTo>
                      <a:pt x="177" y="410"/>
                    </a:lnTo>
                    <a:lnTo>
                      <a:pt x="178" y="410"/>
                    </a:lnTo>
                    <a:lnTo>
                      <a:pt x="177" y="410"/>
                    </a:lnTo>
                    <a:lnTo>
                      <a:pt x="177" y="411"/>
                    </a:lnTo>
                    <a:lnTo>
                      <a:pt x="176" y="411"/>
                    </a:lnTo>
                    <a:lnTo>
                      <a:pt x="176" y="412"/>
                    </a:lnTo>
                    <a:lnTo>
                      <a:pt x="175" y="412"/>
                    </a:lnTo>
                    <a:lnTo>
                      <a:pt x="174" y="412"/>
                    </a:lnTo>
                    <a:lnTo>
                      <a:pt x="174" y="413"/>
                    </a:lnTo>
                    <a:lnTo>
                      <a:pt x="173" y="413"/>
                    </a:lnTo>
                    <a:lnTo>
                      <a:pt x="171" y="413"/>
                    </a:lnTo>
                    <a:lnTo>
                      <a:pt x="170" y="413"/>
                    </a:lnTo>
                    <a:lnTo>
                      <a:pt x="170" y="414"/>
                    </a:lnTo>
                    <a:lnTo>
                      <a:pt x="169" y="414"/>
                    </a:lnTo>
                    <a:lnTo>
                      <a:pt x="168" y="415"/>
                    </a:lnTo>
                    <a:lnTo>
                      <a:pt x="167" y="415"/>
                    </a:lnTo>
                    <a:lnTo>
                      <a:pt x="168" y="415"/>
                    </a:lnTo>
                    <a:lnTo>
                      <a:pt x="169" y="415"/>
                    </a:lnTo>
                    <a:lnTo>
                      <a:pt x="169" y="414"/>
                    </a:lnTo>
                    <a:lnTo>
                      <a:pt x="170" y="414"/>
                    </a:lnTo>
                    <a:lnTo>
                      <a:pt x="171" y="414"/>
                    </a:lnTo>
                    <a:lnTo>
                      <a:pt x="171" y="415"/>
                    </a:lnTo>
                    <a:lnTo>
                      <a:pt x="171" y="416"/>
                    </a:lnTo>
                    <a:lnTo>
                      <a:pt x="171" y="415"/>
                    </a:lnTo>
                    <a:lnTo>
                      <a:pt x="173" y="415"/>
                    </a:lnTo>
                    <a:lnTo>
                      <a:pt x="173" y="416"/>
                    </a:lnTo>
                    <a:lnTo>
                      <a:pt x="174" y="416"/>
                    </a:lnTo>
                    <a:lnTo>
                      <a:pt x="175" y="415"/>
                    </a:lnTo>
                    <a:lnTo>
                      <a:pt x="176" y="415"/>
                    </a:lnTo>
                    <a:lnTo>
                      <a:pt x="177" y="415"/>
                    </a:lnTo>
                    <a:lnTo>
                      <a:pt x="178" y="415"/>
                    </a:lnTo>
                    <a:lnTo>
                      <a:pt x="178" y="414"/>
                    </a:lnTo>
                    <a:lnTo>
                      <a:pt x="178" y="415"/>
                    </a:lnTo>
                    <a:lnTo>
                      <a:pt x="177" y="415"/>
                    </a:lnTo>
                    <a:lnTo>
                      <a:pt x="177" y="416"/>
                    </a:lnTo>
                    <a:lnTo>
                      <a:pt x="176" y="416"/>
                    </a:lnTo>
                    <a:lnTo>
                      <a:pt x="173" y="416"/>
                    </a:lnTo>
                    <a:lnTo>
                      <a:pt x="171" y="416"/>
                    </a:lnTo>
                    <a:lnTo>
                      <a:pt x="170" y="416"/>
                    </a:lnTo>
                    <a:lnTo>
                      <a:pt x="168" y="415"/>
                    </a:lnTo>
                    <a:lnTo>
                      <a:pt x="167" y="415"/>
                    </a:lnTo>
                    <a:lnTo>
                      <a:pt x="166" y="415"/>
                    </a:lnTo>
                    <a:lnTo>
                      <a:pt x="165" y="415"/>
                    </a:lnTo>
                    <a:lnTo>
                      <a:pt x="160" y="415"/>
                    </a:lnTo>
                    <a:lnTo>
                      <a:pt x="161" y="415"/>
                    </a:lnTo>
                    <a:lnTo>
                      <a:pt x="162" y="414"/>
                    </a:lnTo>
                    <a:lnTo>
                      <a:pt x="163" y="414"/>
                    </a:lnTo>
                    <a:lnTo>
                      <a:pt x="166" y="413"/>
                    </a:lnTo>
                    <a:lnTo>
                      <a:pt x="165" y="413"/>
                    </a:lnTo>
                    <a:lnTo>
                      <a:pt x="165" y="414"/>
                    </a:lnTo>
                    <a:lnTo>
                      <a:pt x="164" y="414"/>
                    </a:lnTo>
                    <a:lnTo>
                      <a:pt x="165" y="414"/>
                    </a:lnTo>
                    <a:lnTo>
                      <a:pt x="166" y="414"/>
                    </a:lnTo>
                    <a:lnTo>
                      <a:pt x="166" y="413"/>
                    </a:lnTo>
                    <a:lnTo>
                      <a:pt x="166" y="414"/>
                    </a:lnTo>
                    <a:lnTo>
                      <a:pt x="167" y="414"/>
                    </a:lnTo>
                    <a:lnTo>
                      <a:pt x="167" y="413"/>
                    </a:lnTo>
                    <a:lnTo>
                      <a:pt x="168" y="413"/>
                    </a:lnTo>
                    <a:lnTo>
                      <a:pt x="168" y="414"/>
                    </a:lnTo>
                    <a:lnTo>
                      <a:pt x="168" y="413"/>
                    </a:lnTo>
                    <a:lnTo>
                      <a:pt x="169" y="413"/>
                    </a:lnTo>
                    <a:lnTo>
                      <a:pt x="170" y="413"/>
                    </a:lnTo>
                    <a:lnTo>
                      <a:pt x="170" y="412"/>
                    </a:lnTo>
                    <a:lnTo>
                      <a:pt x="171" y="412"/>
                    </a:lnTo>
                    <a:lnTo>
                      <a:pt x="173" y="412"/>
                    </a:lnTo>
                    <a:lnTo>
                      <a:pt x="174" y="412"/>
                    </a:lnTo>
                    <a:lnTo>
                      <a:pt x="176" y="412"/>
                    </a:lnTo>
                    <a:lnTo>
                      <a:pt x="176" y="411"/>
                    </a:lnTo>
                    <a:lnTo>
                      <a:pt x="174" y="412"/>
                    </a:lnTo>
                    <a:lnTo>
                      <a:pt x="173" y="412"/>
                    </a:lnTo>
                    <a:lnTo>
                      <a:pt x="173" y="411"/>
                    </a:lnTo>
                    <a:lnTo>
                      <a:pt x="174" y="411"/>
                    </a:lnTo>
                    <a:lnTo>
                      <a:pt x="174" y="410"/>
                    </a:lnTo>
                    <a:lnTo>
                      <a:pt x="173" y="410"/>
                    </a:lnTo>
                    <a:lnTo>
                      <a:pt x="174" y="410"/>
                    </a:lnTo>
                    <a:lnTo>
                      <a:pt x="176" y="410"/>
                    </a:lnTo>
                    <a:lnTo>
                      <a:pt x="173" y="410"/>
                    </a:lnTo>
                    <a:lnTo>
                      <a:pt x="176" y="410"/>
                    </a:lnTo>
                    <a:lnTo>
                      <a:pt x="177" y="410"/>
                    </a:lnTo>
                    <a:lnTo>
                      <a:pt x="176" y="409"/>
                    </a:lnTo>
                    <a:lnTo>
                      <a:pt x="177" y="409"/>
                    </a:lnTo>
                    <a:lnTo>
                      <a:pt x="178" y="409"/>
                    </a:lnTo>
                    <a:lnTo>
                      <a:pt x="177" y="409"/>
                    </a:lnTo>
                    <a:lnTo>
                      <a:pt x="178" y="409"/>
                    </a:lnTo>
                    <a:close/>
                    <a:moveTo>
                      <a:pt x="541" y="579"/>
                    </a:moveTo>
                    <a:lnTo>
                      <a:pt x="542" y="580"/>
                    </a:lnTo>
                    <a:lnTo>
                      <a:pt x="541" y="580"/>
                    </a:lnTo>
                    <a:lnTo>
                      <a:pt x="541" y="579"/>
                    </a:lnTo>
                    <a:lnTo>
                      <a:pt x="540" y="579"/>
                    </a:lnTo>
                    <a:lnTo>
                      <a:pt x="539" y="579"/>
                    </a:lnTo>
                    <a:lnTo>
                      <a:pt x="539" y="580"/>
                    </a:lnTo>
                    <a:lnTo>
                      <a:pt x="538" y="580"/>
                    </a:lnTo>
                    <a:lnTo>
                      <a:pt x="538" y="581"/>
                    </a:lnTo>
                    <a:lnTo>
                      <a:pt x="539" y="582"/>
                    </a:lnTo>
                    <a:lnTo>
                      <a:pt x="540" y="582"/>
                    </a:lnTo>
                    <a:lnTo>
                      <a:pt x="541" y="581"/>
                    </a:lnTo>
                    <a:lnTo>
                      <a:pt x="541" y="582"/>
                    </a:lnTo>
                    <a:lnTo>
                      <a:pt x="540" y="583"/>
                    </a:lnTo>
                    <a:lnTo>
                      <a:pt x="539" y="584"/>
                    </a:lnTo>
                    <a:lnTo>
                      <a:pt x="538" y="584"/>
                    </a:lnTo>
                    <a:lnTo>
                      <a:pt x="538" y="585"/>
                    </a:lnTo>
                    <a:lnTo>
                      <a:pt x="538" y="586"/>
                    </a:lnTo>
                    <a:lnTo>
                      <a:pt x="539" y="586"/>
                    </a:lnTo>
                    <a:lnTo>
                      <a:pt x="541" y="588"/>
                    </a:lnTo>
                    <a:lnTo>
                      <a:pt x="541" y="589"/>
                    </a:lnTo>
                    <a:lnTo>
                      <a:pt x="542" y="588"/>
                    </a:lnTo>
                    <a:lnTo>
                      <a:pt x="542" y="589"/>
                    </a:lnTo>
                    <a:lnTo>
                      <a:pt x="542" y="590"/>
                    </a:lnTo>
                    <a:lnTo>
                      <a:pt x="542" y="591"/>
                    </a:lnTo>
                    <a:lnTo>
                      <a:pt x="542" y="590"/>
                    </a:lnTo>
                    <a:lnTo>
                      <a:pt x="541" y="590"/>
                    </a:lnTo>
                    <a:lnTo>
                      <a:pt x="540" y="589"/>
                    </a:lnTo>
                    <a:lnTo>
                      <a:pt x="539" y="588"/>
                    </a:lnTo>
                    <a:lnTo>
                      <a:pt x="538" y="588"/>
                    </a:lnTo>
                    <a:lnTo>
                      <a:pt x="538" y="586"/>
                    </a:lnTo>
                    <a:lnTo>
                      <a:pt x="537" y="586"/>
                    </a:lnTo>
                    <a:lnTo>
                      <a:pt x="537" y="584"/>
                    </a:lnTo>
                    <a:lnTo>
                      <a:pt x="536" y="583"/>
                    </a:lnTo>
                    <a:lnTo>
                      <a:pt x="536" y="582"/>
                    </a:lnTo>
                    <a:lnTo>
                      <a:pt x="535" y="582"/>
                    </a:lnTo>
                    <a:lnTo>
                      <a:pt x="535" y="581"/>
                    </a:lnTo>
                    <a:lnTo>
                      <a:pt x="533" y="581"/>
                    </a:lnTo>
                    <a:lnTo>
                      <a:pt x="536" y="581"/>
                    </a:lnTo>
                    <a:lnTo>
                      <a:pt x="537" y="580"/>
                    </a:lnTo>
                    <a:lnTo>
                      <a:pt x="537" y="579"/>
                    </a:lnTo>
                    <a:lnTo>
                      <a:pt x="538" y="578"/>
                    </a:lnTo>
                    <a:lnTo>
                      <a:pt x="539" y="578"/>
                    </a:lnTo>
                    <a:lnTo>
                      <a:pt x="540" y="578"/>
                    </a:lnTo>
                    <a:lnTo>
                      <a:pt x="541" y="579"/>
                    </a:lnTo>
                    <a:close/>
                    <a:moveTo>
                      <a:pt x="424" y="364"/>
                    </a:moveTo>
                    <a:lnTo>
                      <a:pt x="425" y="364"/>
                    </a:lnTo>
                    <a:lnTo>
                      <a:pt x="425" y="365"/>
                    </a:lnTo>
                    <a:lnTo>
                      <a:pt x="425" y="366"/>
                    </a:lnTo>
                    <a:lnTo>
                      <a:pt x="425" y="367"/>
                    </a:lnTo>
                    <a:lnTo>
                      <a:pt x="425" y="369"/>
                    </a:lnTo>
                    <a:lnTo>
                      <a:pt x="424" y="369"/>
                    </a:lnTo>
                    <a:lnTo>
                      <a:pt x="424" y="370"/>
                    </a:lnTo>
                    <a:lnTo>
                      <a:pt x="423" y="370"/>
                    </a:lnTo>
                    <a:lnTo>
                      <a:pt x="423" y="369"/>
                    </a:lnTo>
                    <a:lnTo>
                      <a:pt x="423" y="370"/>
                    </a:lnTo>
                    <a:lnTo>
                      <a:pt x="424" y="370"/>
                    </a:lnTo>
                    <a:lnTo>
                      <a:pt x="424" y="371"/>
                    </a:lnTo>
                    <a:lnTo>
                      <a:pt x="423" y="371"/>
                    </a:lnTo>
                    <a:lnTo>
                      <a:pt x="423" y="372"/>
                    </a:lnTo>
                    <a:lnTo>
                      <a:pt x="423" y="371"/>
                    </a:lnTo>
                    <a:lnTo>
                      <a:pt x="422" y="371"/>
                    </a:lnTo>
                    <a:lnTo>
                      <a:pt x="422" y="372"/>
                    </a:lnTo>
                    <a:lnTo>
                      <a:pt x="422" y="371"/>
                    </a:lnTo>
                    <a:lnTo>
                      <a:pt x="422" y="370"/>
                    </a:lnTo>
                    <a:lnTo>
                      <a:pt x="422" y="371"/>
                    </a:lnTo>
                    <a:lnTo>
                      <a:pt x="423" y="371"/>
                    </a:lnTo>
                    <a:lnTo>
                      <a:pt x="423" y="370"/>
                    </a:lnTo>
                    <a:lnTo>
                      <a:pt x="422" y="370"/>
                    </a:lnTo>
                    <a:lnTo>
                      <a:pt x="422" y="369"/>
                    </a:lnTo>
                    <a:lnTo>
                      <a:pt x="421" y="369"/>
                    </a:lnTo>
                    <a:lnTo>
                      <a:pt x="422" y="369"/>
                    </a:lnTo>
                    <a:lnTo>
                      <a:pt x="422" y="370"/>
                    </a:lnTo>
                    <a:lnTo>
                      <a:pt x="423" y="370"/>
                    </a:lnTo>
                    <a:lnTo>
                      <a:pt x="423" y="371"/>
                    </a:lnTo>
                    <a:lnTo>
                      <a:pt x="422" y="370"/>
                    </a:lnTo>
                    <a:lnTo>
                      <a:pt x="422" y="371"/>
                    </a:lnTo>
                    <a:lnTo>
                      <a:pt x="421" y="371"/>
                    </a:lnTo>
                    <a:lnTo>
                      <a:pt x="421" y="370"/>
                    </a:lnTo>
                    <a:lnTo>
                      <a:pt x="422" y="370"/>
                    </a:lnTo>
                    <a:lnTo>
                      <a:pt x="421" y="370"/>
                    </a:lnTo>
                    <a:lnTo>
                      <a:pt x="421" y="369"/>
                    </a:lnTo>
                    <a:lnTo>
                      <a:pt x="421" y="370"/>
                    </a:lnTo>
                    <a:lnTo>
                      <a:pt x="421" y="369"/>
                    </a:lnTo>
                    <a:lnTo>
                      <a:pt x="420" y="369"/>
                    </a:lnTo>
                    <a:lnTo>
                      <a:pt x="420" y="367"/>
                    </a:lnTo>
                    <a:lnTo>
                      <a:pt x="419" y="367"/>
                    </a:lnTo>
                    <a:lnTo>
                      <a:pt x="419" y="369"/>
                    </a:lnTo>
                    <a:lnTo>
                      <a:pt x="420" y="369"/>
                    </a:lnTo>
                    <a:lnTo>
                      <a:pt x="419" y="369"/>
                    </a:lnTo>
                    <a:lnTo>
                      <a:pt x="418" y="370"/>
                    </a:lnTo>
                    <a:lnTo>
                      <a:pt x="419" y="370"/>
                    </a:lnTo>
                    <a:lnTo>
                      <a:pt x="419" y="371"/>
                    </a:lnTo>
                    <a:lnTo>
                      <a:pt x="419" y="370"/>
                    </a:lnTo>
                    <a:lnTo>
                      <a:pt x="418" y="370"/>
                    </a:lnTo>
                    <a:lnTo>
                      <a:pt x="418" y="371"/>
                    </a:lnTo>
                    <a:lnTo>
                      <a:pt x="419" y="371"/>
                    </a:lnTo>
                    <a:lnTo>
                      <a:pt x="418" y="371"/>
                    </a:lnTo>
                    <a:lnTo>
                      <a:pt x="419" y="371"/>
                    </a:lnTo>
                    <a:lnTo>
                      <a:pt x="418" y="371"/>
                    </a:lnTo>
                    <a:lnTo>
                      <a:pt x="419" y="372"/>
                    </a:lnTo>
                    <a:lnTo>
                      <a:pt x="418" y="371"/>
                    </a:lnTo>
                    <a:lnTo>
                      <a:pt x="419" y="371"/>
                    </a:lnTo>
                    <a:lnTo>
                      <a:pt x="420" y="372"/>
                    </a:lnTo>
                    <a:lnTo>
                      <a:pt x="419" y="372"/>
                    </a:lnTo>
                    <a:lnTo>
                      <a:pt x="419" y="373"/>
                    </a:lnTo>
                    <a:lnTo>
                      <a:pt x="418" y="373"/>
                    </a:lnTo>
                    <a:lnTo>
                      <a:pt x="419" y="372"/>
                    </a:lnTo>
                    <a:lnTo>
                      <a:pt x="418" y="372"/>
                    </a:lnTo>
                    <a:lnTo>
                      <a:pt x="416" y="372"/>
                    </a:lnTo>
                    <a:lnTo>
                      <a:pt x="418" y="372"/>
                    </a:lnTo>
                    <a:lnTo>
                      <a:pt x="416" y="372"/>
                    </a:lnTo>
                    <a:lnTo>
                      <a:pt x="416" y="373"/>
                    </a:lnTo>
                    <a:lnTo>
                      <a:pt x="418" y="373"/>
                    </a:lnTo>
                    <a:lnTo>
                      <a:pt x="416" y="373"/>
                    </a:lnTo>
                    <a:lnTo>
                      <a:pt x="415" y="373"/>
                    </a:lnTo>
                    <a:lnTo>
                      <a:pt x="415" y="372"/>
                    </a:lnTo>
                    <a:lnTo>
                      <a:pt x="416" y="371"/>
                    </a:lnTo>
                    <a:lnTo>
                      <a:pt x="416" y="370"/>
                    </a:lnTo>
                    <a:lnTo>
                      <a:pt x="416" y="369"/>
                    </a:lnTo>
                    <a:lnTo>
                      <a:pt x="418" y="369"/>
                    </a:lnTo>
                    <a:lnTo>
                      <a:pt x="418" y="367"/>
                    </a:lnTo>
                    <a:lnTo>
                      <a:pt x="419" y="367"/>
                    </a:lnTo>
                    <a:lnTo>
                      <a:pt x="419" y="366"/>
                    </a:lnTo>
                    <a:lnTo>
                      <a:pt x="420" y="366"/>
                    </a:lnTo>
                    <a:lnTo>
                      <a:pt x="421" y="366"/>
                    </a:lnTo>
                    <a:lnTo>
                      <a:pt x="421" y="367"/>
                    </a:lnTo>
                    <a:lnTo>
                      <a:pt x="422" y="367"/>
                    </a:lnTo>
                    <a:lnTo>
                      <a:pt x="422" y="366"/>
                    </a:lnTo>
                    <a:lnTo>
                      <a:pt x="422" y="367"/>
                    </a:lnTo>
                    <a:lnTo>
                      <a:pt x="422" y="366"/>
                    </a:lnTo>
                    <a:lnTo>
                      <a:pt x="423" y="366"/>
                    </a:lnTo>
                    <a:lnTo>
                      <a:pt x="424" y="366"/>
                    </a:lnTo>
                    <a:lnTo>
                      <a:pt x="425" y="366"/>
                    </a:lnTo>
                    <a:lnTo>
                      <a:pt x="424" y="365"/>
                    </a:lnTo>
                    <a:lnTo>
                      <a:pt x="424" y="366"/>
                    </a:lnTo>
                    <a:lnTo>
                      <a:pt x="423" y="366"/>
                    </a:lnTo>
                    <a:lnTo>
                      <a:pt x="423" y="365"/>
                    </a:lnTo>
                    <a:lnTo>
                      <a:pt x="422" y="365"/>
                    </a:lnTo>
                    <a:lnTo>
                      <a:pt x="423" y="365"/>
                    </a:lnTo>
                    <a:lnTo>
                      <a:pt x="423" y="364"/>
                    </a:lnTo>
                    <a:lnTo>
                      <a:pt x="423" y="365"/>
                    </a:lnTo>
                    <a:lnTo>
                      <a:pt x="424" y="365"/>
                    </a:lnTo>
                    <a:lnTo>
                      <a:pt x="423" y="365"/>
                    </a:lnTo>
                    <a:lnTo>
                      <a:pt x="423" y="364"/>
                    </a:lnTo>
                    <a:lnTo>
                      <a:pt x="424" y="364"/>
                    </a:lnTo>
                    <a:close/>
                    <a:moveTo>
                      <a:pt x="209" y="416"/>
                    </a:moveTo>
                    <a:lnTo>
                      <a:pt x="208" y="417"/>
                    </a:lnTo>
                    <a:lnTo>
                      <a:pt x="210" y="415"/>
                    </a:lnTo>
                    <a:lnTo>
                      <a:pt x="210" y="414"/>
                    </a:lnTo>
                    <a:lnTo>
                      <a:pt x="212" y="414"/>
                    </a:lnTo>
                    <a:lnTo>
                      <a:pt x="213" y="415"/>
                    </a:lnTo>
                    <a:lnTo>
                      <a:pt x="215" y="415"/>
                    </a:lnTo>
                    <a:lnTo>
                      <a:pt x="215" y="418"/>
                    </a:lnTo>
                    <a:lnTo>
                      <a:pt x="215" y="420"/>
                    </a:lnTo>
                    <a:lnTo>
                      <a:pt x="215" y="421"/>
                    </a:lnTo>
                    <a:lnTo>
                      <a:pt x="214" y="421"/>
                    </a:lnTo>
                    <a:lnTo>
                      <a:pt x="213" y="420"/>
                    </a:lnTo>
                    <a:lnTo>
                      <a:pt x="212" y="418"/>
                    </a:lnTo>
                    <a:lnTo>
                      <a:pt x="210" y="418"/>
                    </a:lnTo>
                    <a:lnTo>
                      <a:pt x="209" y="418"/>
                    </a:lnTo>
                    <a:lnTo>
                      <a:pt x="208" y="418"/>
                    </a:lnTo>
                    <a:lnTo>
                      <a:pt x="207" y="417"/>
                    </a:lnTo>
                    <a:lnTo>
                      <a:pt x="207" y="418"/>
                    </a:lnTo>
                    <a:lnTo>
                      <a:pt x="207" y="417"/>
                    </a:lnTo>
                    <a:lnTo>
                      <a:pt x="206" y="418"/>
                    </a:lnTo>
                    <a:lnTo>
                      <a:pt x="206" y="417"/>
                    </a:lnTo>
                    <a:lnTo>
                      <a:pt x="207" y="416"/>
                    </a:lnTo>
                    <a:lnTo>
                      <a:pt x="207" y="414"/>
                    </a:lnTo>
                    <a:lnTo>
                      <a:pt x="210" y="414"/>
                    </a:lnTo>
                    <a:lnTo>
                      <a:pt x="210" y="415"/>
                    </a:lnTo>
                    <a:lnTo>
                      <a:pt x="209" y="415"/>
                    </a:lnTo>
                    <a:lnTo>
                      <a:pt x="209" y="416"/>
                    </a:lnTo>
                    <a:close/>
                    <a:moveTo>
                      <a:pt x="150" y="408"/>
                    </a:moveTo>
                    <a:lnTo>
                      <a:pt x="151" y="408"/>
                    </a:lnTo>
                    <a:lnTo>
                      <a:pt x="152" y="408"/>
                    </a:lnTo>
                    <a:lnTo>
                      <a:pt x="153" y="408"/>
                    </a:lnTo>
                    <a:lnTo>
                      <a:pt x="153" y="409"/>
                    </a:lnTo>
                    <a:lnTo>
                      <a:pt x="152" y="409"/>
                    </a:lnTo>
                    <a:lnTo>
                      <a:pt x="151" y="410"/>
                    </a:lnTo>
                    <a:lnTo>
                      <a:pt x="150" y="410"/>
                    </a:lnTo>
                    <a:lnTo>
                      <a:pt x="150" y="411"/>
                    </a:lnTo>
                    <a:lnTo>
                      <a:pt x="149" y="411"/>
                    </a:lnTo>
                    <a:lnTo>
                      <a:pt x="148" y="411"/>
                    </a:lnTo>
                    <a:lnTo>
                      <a:pt x="148" y="412"/>
                    </a:lnTo>
                    <a:lnTo>
                      <a:pt x="147" y="412"/>
                    </a:lnTo>
                    <a:lnTo>
                      <a:pt x="145" y="412"/>
                    </a:lnTo>
                    <a:lnTo>
                      <a:pt x="144" y="413"/>
                    </a:lnTo>
                    <a:lnTo>
                      <a:pt x="143" y="413"/>
                    </a:lnTo>
                    <a:lnTo>
                      <a:pt x="142" y="413"/>
                    </a:lnTo>
                    <a:lnTo>
                      <a:pt x="142" y="412"/>
                    </a:lnTo>
                    <a:lnTo>
                      <a:pt x="141" y="411"/>
                    </a:lnTo>
                    <a:lnTo>
                      <a:pt x="142" y="411"/>
                    </a:lnTo>
                    <a:lnTo>
                      <a:pt x="142" y="410"/>
                    </a:lnTo>
                    <a:lnTo>
                      <a:pt x="143" y="410"/>
                    </a:lnTo>
                    <a:lnTo>
                      <a:pt x="144" y="410"/>
                    </a:lnTo>
                    <a:lnTo>
                      <a:pt x="144" y="409"/>
                    </a:lnTo>
                    <a:lnTo>
                      <a:pt x="145" y="409"/>
                    </a:lnTo>
                    <a:lnTo>
                      <a:pt x="145" y="408"/>
                    </a:lnTo>
                    <a:lnTo>
                      <a:pt x="147" y="408"/>
                    </a:lnTo>
                    <a:lnTo>
                      <a:pt x="148" y="409"/>
                    </a:lnTo>
                    <a:lnTo>
                      <a:pt x="149" y="409"/>
                    </a:lnTo>
                    <a:lnTo>
                      <a:pt x="149" y="408"/>
                    </a:lnTo>
                    <a:lnTo>
                      <a:pt x="148" y="408"/>
                    </a:lnTo>
                    <a:lnTo>
                      <a:pt x="149" y="408"/>
                    </a:lnTo>
                    <a:lnTo>
                      <a:pt x="149" y="406"/>
                    </a:lnTo>
                    <a:lnTo>
                      <a:pt x="150" y="406"/>
                    </a:lnTo>
                    <a:lnTo>
                      <a:pt x="150" y="408"/>
                    </a:lnTo>
                    <a:close/>
                    <a:moveTo>
                      <a:pt x="539" y="526"/>
                    </a:moveTo>
                    <a:lnTo>
                      <a:pt x="538" y="527"/>
                    </a:lnTo>
                    <a:lnTo>
                      <a:pt x="537" y="528"/>
                    </a:lnTo>
                    <a:lnTo>
                      <a:pt x="537" y="529"/>
                    </a:lnTo>
                    <a:lnTo>
                      <a:pt x="537" y="528"/>
                    </a:lnTo>
                    <a:lnTo>
                      <a:pt x="538" y="528"/>
                    </a:lnTo>
                    <a:lnTo>
                      <a:pt x="538" y="529"/>
                    </a:lnTo>
                    <a:lnTo>
                      <a:pt x="538" y="528"/>
                    </a:lnTo>
                    <a:lnTo>
                      <a:pt x="539" y="528"/>
                    </a:lnTo>
                    <a:lnTo>
                      <a:pt x="538" y="529"/>
                    </a:lnTo>
                    <a:lnTo>
                      <a:pt x="537" y="530"/>
                    </a:lnTo>
                    <a:lnTo>
                      <a:pt x="536" y="531"/>
                    </a:lnTo>
                    <a:lnTo>
                      <a:pt x="535" y="532"/>
                    </a:lnTo>
                    <a:lnTo>
                      <a:pt x="533" y="532"/>
                    </a:lnTo>
                    <a:lnTo>
                      <a:pt x="533" y="531"/>
                    </a:lnTo>
                    <a:lnTo>
                      <a:pt x="533" y="532"/>
                    </a:lnTo>
                    <a:lnTo>
                      <a:pt x="532" y="532"/>
                    </a:lnTo>
                    <a:lnTo>
                      <a:pt x="531" y="532"/>
                    </a:lnTo>
                    <a:lnTo>
                      <a:pt x="531" y="533"/>
                    </a:lnTo>
                    <a:lnTo>
                      <a:pt x="530" y="533"/>
                    </a:lnTo>
                    <a:lnTo>
                      <a:pt x="529" y="533"/>
                    </a:lnTo>
                    <a:lnTo>
                      <a:pt x="527" y="533"/>
                    </a:lnTo>
                    <a:lnTo>
                      <a:pt x="526" y="533"/>
                    </a:lnTo>
                    <a:lnTo>
                      <a:pt x="524" y="533"/>
                    </a:lnTo>
                    <a:lnTo>
                      <a:pt x="523" y="533"/>
                    </a:lnTo>
                    <a:lnTo>
                      <a:pt x="522" y="533"/>
                    </a:lnTo>
                    <a:lnTo>
                      <a:pt x="522" y="532"/>
                    </a:lnTo>
                    <a:lnTo>
                      <a:pt x="520" y="532"/>
                    </a:lnTo>
                    <a:lnTo>
                      <a:pt x="520" y="531"/>
                    </a:lnTo>
                    <a:lnTo>
                      <a:pt x="522" y="531"/>
                    </a:lnTo>
                    <a:lnTo>
                      <a:pt x="522" y="532"/>
                    </a:lnTo>
                    <a:lnTo>
                      <a:pt x="523" y="532"/>
                    </a:lnTo>
                    <a:lnTo>
                      <a:pt x="524" y="532"/>
                    </a:lnTo>
                    <a:lnTo>
                      <a:pt x="524" y="531"/>
                    </a:lnTo>
                    <a:lnTo>
                      <a:pt x="525" y="531"/>
                    </a:lnTo>
                    <a:lnTo>
                      <a:pt x="526" y="531"/>
                    </a:lnTo>
                    <a:lnTo>
                      <a:pt x="525" y="531"/>
                    </a:lnTo>
                    <a:lnTo>
                      <a:pt x="525" y="532"/>
                    </a:lnTo>
                    <a:lnTo>
                      <a:pt x="524" y="532"/>
                    </a:lnTo>
                    <a:lnTo>
                      <a:pt x="524" y="533"/>
                    </a:lnTo>
                    <a:lnTo>
                      <a:pt x="524" y="532"/>
                    </a:lnTo>
                    <a:lnTo>
                      <a:pt x="524" y="533"/>
                    </a:lnTo>
                    <a:lnTo>
                      <a:pt x="525" y="533"/>
                    </a:lnTo>
                    <a:lnTo>
                      <a:pt x="525" y="532"/>
                    </a:lnTo>
                    <a:lnTo>
                      <a:pt x="526" y="532"/>
                    </a:lnTo>
                    <a:lnTo>
                      <a:pt x="526" y="533"/>
                    </a:lnTo>
                    <a:lnTo>
                      <a:pt x="526" y="532"/>
                    </a:lnTo>
                    <a:lnTo>
                      <a:pt x="527" y="532"/>
                    </a:lnTo>
                    <a:lnTo>
                      <a:pt x="528" y="532"/>
                    </a:lnTo>
                    <a:lnTo>
                      <a:pt x="529" y="532"/>
                    </a:lnTo>
                    <a:lnTo>
                      <a:pt x="530" y="532"/>
                    </a:lnTo>
                    <a:lnTo>
                      <a:pt x="530" y="531"/>
                    </a:lnTo>
                    <a:lnTo>
                      <a:pt x="531" y="531"/>
                    </a:lnTo>
                    <a:lnTo>
                      <a:pt x="532" y="530"/>
                    </a:lnTo>
                    <a:lnTo>
                      <a:pt x="532" y="529"/>
                    </a:lnTo>
                    <a:lnTo>
                      <a:pt x="533" y="530"/>
                    </a:lnTo>
                    <a:lnTo>
                      <a:pt x="533" y="529"/>
                    </a:lnTo>
                    <a:lnTo>
                      <a:pt x="533" y="528"/>
                    </a:lnTo>
                    <a:lnTo>
                      <a:pt x="533" y="529"/>
                    </a:lnTo>
                    <a:lnTo>
                      <a:pt x="535" y="529"/>
                    </a:lnTo>
                    <a:lnTo>
                      <a:pt x="536" y="529"/>
                    </a:lnTo>
                    <a:lnTo>
                      <a:pt x="536" y="528"/>
                    </a:lnTo>
                    <a:lnTo>
                      <a:pt x="536" y="527"/>
                    </a:lnTo>
                    <a:lnTo>
                      <a:pt x="537" y="527"/>
                    </a:lnTo>
                    <a:lnTo>
                      <a:pt x="538" y="527"/>
                    </a:lnTo>
                    <a:lnTo>
                      <a:pt x="539" y="526"/>
                    </a:lnTo>
                    <a:lnTo>
                      <a:pt x="541" y="525"/>
                    </a:lnTo>
                    <a:lnTo>
                      <a:pt x="540" y="525"/>
                    </a:lnTo>
                    <a:lnTo>
                      <a:pt x="539" y="526"/>
                    </a:lnTo>
                    <a:close/>
                    <a:moveTo>
                      <a:pt x="302" y="288"/>
                    </a:moveTo>
                    <a:lnTo>
                      <a:pt x="302" y="289"/>
                    </a:lnTo>
                    <a:lnTo>
                      <a:pt x="303" y="289"/>
                    </a:lnTo>
                    <a:lnTo>
                      <a:pt x="304" y="289"/>
                    </a:lnTo>
                    <a:lnTo>
                      <a:pt x="304" y="290"/>
                    </a:lnTo>
                    <a:lnTo>
                      <a:pt x="305" y="290"/>
                    </a:lnTo>
                    <a:lnTo>
                      <a:pt x="306" y="290"/>
                    </a:lnTo>
                    <a:lnTo>
                      <a:pt x="306" y="289"/>
                    </a:lnTo>
                    <a:lnTo>
                      <a:pt x="306" y="290"/>
                    </a:lnTo>
                    <a:lnTo>
                      <a:pt x="307" y="290"/>
                    </a:lnTo>
                    <a:lnTo>
                      <a:pt x="308" y="290"/>
                    </a:lnTo>
                    <a:lnTo>
                      <a:pt x="308" y="289"/>
                    </a:lnTo>
                    <a:lnTo>
                      <a:pt x="308" y="288"/>
                    </a:lnTo>
                    <a:lnTo>
                      <a:pt x="308" y="289"/>
                    </a:lnTo>
                    <a:lnTo>
                      <a:pt x="309" y="289"/>
                    </a:lnTo>
                    <a:lnTo>
                      <a:pt x="310" y="289"/>
                    </a:lnTo>
                    <a:lnTo>
                      <a:pt x="309" y="289"/>
                    </a:lnTo>
                    <a:lnTo>
                      <a:pt x="309" y="290"/>
                    </a:lnTo>
                    <a:lnTo>
                      <a:pt x="309" y="292"/>
                    </a:lnTo>
                    <a:lnTo>
                      <a:pt x="310" y="293"/>
                    </a:lnTo>
                    <a:lnTo>
                      <a:pt x="309" y="294"/>
                    </a:lnTo>
                    <a:lnTo>
                      <a:pt x="308" y="294"/>
                    </a:lnTo>
                    <a:lnTo>
                      <a:pt x="307" y="295"/>
                    </a:lnTo>
                    <a:lnTo>
                      <a:pt x="307" y="294"/>
                    </a:lnTo>
                    <a:lnTo>
                      <a:pt x="307" y="293"/>
                    </a:lnTo>
                    <a:lnTo>
                      <a:pt x="306" y="293"/>
                    </a:lnTo>
                    <a:lnTo>
                      <a:pt x="305" y="293"/>
                    </a:lnTo>
                    <a:lnTo>
                      <a:pt x="304" y="293"/>
                    </a:lnTo>
                    <a:lnTo>
                      <a:pt x="303" y="293"/>
                    </a:lnTo>
                    <a:lnTo>
                      <a:pt x="303" y="294"/>
                    </a:lnTo>
                    <a:lnTo>
                      <a:pt x="303" y="295"/>
                    </a:lnTo>
                    <a:lnTo>
                      <a:pt x="302" y="294"/>
                    </a:lnTo>
                    <a:lnTo>
                      <a:pt x="300" y="294"/>
                    </a:lnTo>
                    <a:lnTo>
                      <a:pt x="300" y="293"/>
                    </a:lnTo>
                    <a:lnTo>
                      <a:pt x="300" y="294"/>
                    </a:lnTo>
                    <a:lnTo>
                      <a:pt x="302" y="294"/>
                    </a:lnTo>
                    <a:lnTo>
                      <a:pt x="302" y="293"/>
                    </a:lnTo>
                    <a:lnTo>
                      <a:pt x="302" y="292"/>
                    </a:lnTo>
                    <a:lnTo>
                      <a:pt x="302" y="290"/>
                    </a:lnTo>
                    <a:lnTo>
                      <a:pt x="300" y="290"/>
                    </a:lnTo>
                    <a:lnTo>
                      <a:pt x="300" y="289"/>
                    </a:lnTo>
                    <a:lnTo>
                      <a:pt x="302" y="289"/>
                    </a:lnTo>
                    <a:lnTo>
                      <a:pt x="300" y="289"/>
                    </a:lnTo>
                    <a:lnTo>
                      <a:pt x="299" y="289"/>
                    </a:lnTo>
                    <a:lnTo>
                      <a:pt x="300" y="289"/>
                    </a:lnTo>
                    <a:lnTo>
                      <a:pt x="300" y="288"/>
                    </a:lnTo>
                    <a:lnTo>
                      <a:pt x="302" y="288"/>
                    </a:lnTo>
                    <a:close/>
                    <a:moveTo>
                      <a:pt x="230" y="398"/>
                    </a:moveTo>
                    <a:lnTo>
                      <a:pt x="229" y="398"/>
                    </a:lnTo>
                    <a:lnTo>
                      <a:pt x="228" y="398"/>
                    </a:lnTo>
                    <a:lnTo>
                      <a:pt x="227" y="398"/>
                    </a:lnTo>
                    <a:lnTo>
                      <a:pt x="226" y="398"/>
                    </a:lnTo>
                    <a:lnTo>
                      <a:pt x="225" y="398"/>
                    </a:lnTo>
                    <a:lnTo>
                      <a:pt x="225" y="397"/>
                    </a:lnTo>
                    <a:lnTo>
                      <a:pt x="228" y="392"/>
                    </a:lnTo>
                    <a:lnTo>
                      <a:pt x="228" y="391"/>
                    </a:lnTo>
                    <a:lnTo>
                      <a:pt x="229" y="390"/>
                    </a:lnTo>
                    <a:lnTo>
                      <a:pt x="230" y="390"/>
                    </a:lnTo>
                    <a:lnTo>
                      <a:pt x="230" y="391"/>
                    </a:lnTo>
                    <a:lnTo>
                      <a:pt x="231" y="391"/>
                    </a:lnTo>
                    <a:lnTo>
                      <a:pt x="231" y="392"/>
                    </a:lnTo>
                    <a:lnTo>
                      <a:pt x="231" y="393"/>
                    </a:lnTo>
                    <a:lnTo>
                      <a:pt x="232" y="393"/>
                    </a:lnTo>
                    <a:lnTo>
                      <a:pt x="231" y="396"/>
                    </a:lnTo>
                    <a:lnTo>
                      <a:pt x="230" y="397"/>
                    </a:lnTo>
                    <a:lnTo>
                      <a:pt x="230" y="398"/>
                    </a:lnTo>
                    <a:close/>
                    <a:moveTo>
                      <a:pt x="548" y="405"/>
                    </a:moveTo>
                    <a:lnTo>
                      <a:pt x="549" y="405"/>
                    </a:lnTo>
                    <a:lnTo>
                      <a:pt x="549" y="406"/>
                    </a:lnTo>
                    <a:lnTo>
                      <a:pt x="550" y="406"/>
                    </a:lnTo>
                    <a:lnTo>
                      <a:pt x="549" y="406"/>
                    </a:lnTo>
                    <a:lnTo>
                      <a:pt x="549" y="408"/>
                    </a:lnTo>
                    <a:lnTo>
                      <a:pt x="550" y="408"/>
                    </a:lnTo>
                    <a:lnTo>
                      <a:pt x="551" y="409"/>
                    </a:lnTo>
                    <a:lnTo>
                      <a:pt x="552" y="409"/>
                    </a:lnTo>
                    <a:lnTo>
                      <a:pt x="551" y="410"/>
                    </a:lnTo>
                    <a:lnTo>
                      <a:pt x="550" y="410"/>
                    </a:lnTo>
                    <a:lnTo>
                      <a:pt x="550" y="411"/>
                    </a:lnTo>
                    <a:lnTo>
                      <a:pt x="549" y="411"/>
                    </a:lnTo>
                    <a:lnTo>
                      <a:pt x="549" y="412"/>
                    </a:lnTo>
                    <a:lnTo>
                      <a:pt x="548" y="412"/>
                    </a:lnTo>
                    <a:lnTo>
                      <a:pt x="548" y="411"/>
                    </a:lnTo>
                    <a:lnTo>
                      <a:pt x="548" y="412"/>
                    </a:lnTo>
                    <a:lnTo>
                      <a:pt x="546" y="411"/>
                    </a:lnTo>
                    <a:lnTo>
                      <a:pt x="545" y="411"/>
                    </a:lnTo>
                    <a:lnTo>
                      <a:pt x="545" y="412"/>
                    </a:lnTo>
                    <a:lnTo>
                      <a:pt x="545" y="411"/>
                    </a:lnTo>
                    <a:lnTo>
                      <a:pt x="545" y="409"/>
                    </a:lnTo>
                    <a:lnTo>
                      <a:pt x="545" y="408"/>
                    </a:lnTo>
                    <a:lnTo>
                      <a:pt x="545" y="406"/>
                    </a:lnTo>
                    <a:lnTo>
                      <a:pt x="545" y="405"/>
                    </a:lnTo>
                    <a:lnTo>
                      <a:pt x="545" y="404"/>
                    </a:lnTo>
                    <a:lnTo>
                      <a:pt x="546" y="404"/>
                    </a:lnTo>
                    <a:lnTo>
                      <a:pt x="548" y="404"/>
                    </a:lnTo>
                    <a:lnTo>
                      <a:pt x="548" y="405"/>
                    </a:lnTo>
                    <a:close/>
                    <a:moveTo>
                      <a:pt x="251" y="387"/>
                    </a:moveTo>
                    <a:lnTo>
                      <a:pt x="252" y="387"/>
                    </a:lnTo>
                    <a:lnTo>
                      <a:pt x="252" y="388"/>
                    </a:lnTo>
                    <a:lnTo>
                      <a:pt x="251" y="388"/>
                    </a:lnTo>
                    <a:lnTo>
                      <a:pt x="252" y="388"/>
                    </a:lnTo>
                    <a:lnTo>
                      <a:pt x="251" y="389"/>
                    </a:lnTo>
                    <a:lnTo>
                      <a:pt x="252" y="389"/>
                    </a:lnTo>
                    <a:lnTo>
                      <a:pt x="252" y="388"/>
                    </a:lnTo>
                    <a:lnTo>
                      <a:pt x="252" y="389"/>
                    </a:lnTo>
                    <a:lnTo>
                      <a:pt x="253" y="388"/>
                    </a:lnTo>
                    <a:lnTo>
                      <a:pt x="253" y="387"/>
                    </a:lnTo>
                    <a:lnTo>
                      <a:pt x="254" y="387"/>
                    </a:lnTo>
                    <a:lnTo>
                      <a:pt x="254" y="388"/>
                    </a:lnTo>
                    <a:lnTo>
                      <a:pt x="255" y="388"/>
                    </a:lnTo>
                    <a:lnTo>
                      <a:pt x="255" y="387"/>
                    </a:lnTo>
                    <a:lnTo>
                      <a:pt x="255" y="386"/>
                    </a:lnTo>
                    <a:lnTo>
                      <a:pt x="256" y="386"/>
                    </a:lnTo>
                    <a:lnTo>
                      <a:pt x="257" y="386"/>
                    </a:lnTo>
                    <a:lnTo>
                      <a:pt x="258" y="386"/>
                    </a:lnTo>
                    <a:lnTo>
                      <a:pt x="259" y="387"/>
                    </a:lnTo>
                    <a:lnTo>
                      <a:pt x="258" y="386"/>
                    </a:lnTo>
                    <a:lnTo>
                      <a:pt x="258" y="387"/>
                    </a:lnTo>
                    <a:lnTo>
                      <a:pt x="257" y="387"/>
                    </a:lnTo>
                    <a:lnTo>
                      <a:pt x="257" y="388"/>
                    </a:lnTo>
                    <a:lnTo>
                      <a:pt x="256" y="389"/>
                    </a:lnTo>
                    <a:lnTo>
                      <a:pt x="257" y="389"/>
                    </a:lnTo>
                    <a:lnTo>
                      <a:pt x="257" y="390"/>
                    </a:lnTo>
                    <a:lnTo>
                      <a:pt x="256" y="390"/>
                    </a:lnTo>
                    <a:lnTo>
                      <a:pt x="256" y="391"/>
                    </a:lnTo>
                    <a:lnTo>
                      <a:pt x="256" y="392"/>
                    </a:lnTo>
                    <a:lnTo>
                      <a:pt x="255" y="391"/>
                    </a:lnTo>
                    <a:lnTo>
                      <a:pt x="255" y="392"/>
                    </a:lnTo>
                    <a:lnTo>
                      <a:pt x="255" y="391"/>
                    </a:lnTo>
                    <a:lnTo>
                      <a:pt x="254" y="391"/>
                    </a:lnTo>
                    <a:lnTo>
                      <a:pt x="254" y="392"/>
                    </a:lnTo>
                    <a:lnTo>
                      <a:pt x="253" y="392"/>
                    </a:lnTo>
                    <a:lnTo>
                      <a:pt x="252" y="392"/>
                    </a:lnTo>
                    <a:lnTo>
                      <a:pt x="251" y="392"/>
                    </a:lnTo>
                    <a:lnTo>
                      <a:pt x="252" y="392"/>
                    </a:lnTo>
                    <a:lnTo>
                      <a:pt x="252" y="391"/>
                    </a:lnTo>
                    <a:lnTo>
                      <a:pt x="253" y="391"/>
                    </a:lnTo>
                    <a:lnTo>
                      <a:pt x="253" y="390"/>
                    </a:lnTo>
                    <a:lnTo>
                      <a:pt x="254" y="390"/>
                    </a:lnTo>
                    <a:lnTo>
                      <a:pt x="253" y="390"/>
                    </a:lnTo>
                    <a:lnTo>
                      <a:pt x="254" y="389"/>
                    </a:lnTo>
                    <a:lnTo>
                      <a:pt x="255" y="389"/>
                    </a:lnTo>
                    <a:lnTo>
                      <a:pt x="255" y="388"/>
                    </a:lnTo>
                    <a:lnTo>
                      <a:pt x="254" y="389"/>
                    </a:lnTo>
                    <a:lnTo>
                      <a:pt x="252" y="389"/>
                    </a:lnTo>
                    <a:lnTo>
                      <a:pt x="252" y="390"/>
                    </a:lnTo>
                    <a:lnTo>
                      <a:pt x="253" y="390"/>
                    </a:lnTo>
                    <a:lnTo>
                      <a:pt x="251" y="390"/>
                    </a:lnTo>
                    <a:lnTo>
                      <a:pt x="251" y="391"/>
                    </a:lnTo>
                    <a:lnTo>
                      <a:pt x="249" y="391"/>
                    </a:lnTo>
                    <a:lnTo>
                      <a:pt x="249" y="390"/>
                    </a:lnTo>
                    <a:lnTo>
                      <a:pt x="249" y="389"/>
                    </a:lnTo>
                    <a:lnTo>
                      <a:pt x="251" y="388"/>
                    </a:lnTo>
                    <a:lnTo>
                      <a:pt x="251" y="387"/>
                    </a:lnTo>
                    <a:lnTo>
                      <a:pt x="249" y="386"/>
                    </a:lnTo>
                    <a:lnTo>
                      <a:pt x="249" y="385"/>
                    </a:lnTo>
                    <a:lnTo>
                      <a:pt x="251" y="386"/>
                    </a:lnTo>
                    <a:lnTo>
                      <a:pt x="251" y="387"/>
                    </a:lnTo>
                    <a:close/>
                    <a:moveTo>
                      <a:pt x="196" y="352"/>
                    </a:moveTo>
                    <a:lnTo>
                      <a:pt x="196" y="353"/>
                    </a:lnTo>
                    <a:lnTo>
                      <a:pt x="196" y="354"/>
                    </a:lnTo>
                    <a:lnTo>
                      <a:pt x="197" y="356"/>
                    </a:lnTo>
                    <a:lnTo>
                      <a:pt x="197" y="357"/>
                    </a:lnTo>
                    <a:lnTo>
                      <a:pt x="196" y="357"/>
                    </a:lnTo>
                    <a:lnTo>
                      <a:pt x="196" y="356"/>
                    </a:lnTo>
                    <a:lnTo>
                      <a:pt x="196" y="354"/>
                    </a:lnTo>
                    <a:lnTo>
                      <a:pt x="195" y="354"/>
                    </a:lnTo>
                    <a:lnTo>
                      <a:pt x="194" y="354"/>
                    </a:lnTo>
                    <a:lnTo>
                      <a:pt x="194" y="356"/>
                    </a:lnTo>
                    <a:lnTo>
                      <a:pt x="194" y="357"/>
                    </a:lnTo>
                    <a:lnTo>
                      <a:pt x="194" y="358"/>
                    </a:lnTo>
                    <a:lnTo>
                      <a:pt x="195" y="358"/>
                    </a:lnTo>
                    <a:lnTo>
                      <a:pt x="195" y="359"/>
                    </a:lnTo>
                    <a:lnTo>
                      <a:pt x="194" y="359"/>
                    </a:lnTo>
                    <a:lnTo>
                      <a:pt x="194" y="358"/>
                    </a:lnTo>
                    <a:lnTo>
                      <a:pt x="193" y="358"/>
                    </a:lnTo>
                    <a:lnTo>
                      <a:pt x="192" y="358"/>
                    </a:lnTo>
                    <a:lnTo>
                      <a:pt x="193" y="359"/>
                    </a:lnTo>
                    <a:lnTo>
                      <a:pt x="192" y="359"/>
                    </a:lnTo>
                    <a:lnTo>
                      <a:pt x="191" y="357"/>
                    </a:lnTo>
                    <a:lnTo>
                      <a:pt x="192" y="357"/>
                    </a:lnTo>
                    <a:lnTo>
                      <a:pt x="192" y="358"/>
                    </a:lnTo>
                    <a:lnTo>
                      <a:pt x="192" y="357"/>
                    </a:lnTo>
                    <a:lnTo>
                      <a:pt x="191" y="357"/>
                    </a:lnTo>
                    <a:lnTo>
                      <a:pt x="190" y="356"/>
                    </a:lnTo>
                    <a:lnTo>
                      <a:pt x="189" y="356"/>
                    </a:lnTo>
                    <a:lnTo>
                      <a:pt x="189" y="354"/>
                    </a:lnTo>
                    <a:lnTo>
                      <a:pt x="188" y="354"/>
                    </a:lnTo>
                    <a:lnTo>
                      <a:pt x="188" y="353"/>
                    </a:lnTo>
                    <a:lnTo>
                      <a:pt x="189" y="353"/>
                    </a:lnTo>
                    <a:lnTo>
                      <a:pt x="189" y="354"/>
                    </a:lnTo>
                    <a:lnTo>
                      <a:pt x="190" y="353"/>
                    </a:lnTo>
                    <a:lnTo>
                      <a:pt x="192" y="352"/>
                    </a:lnTo>
                    <a:lnTo>
                      <a:pt x="193" y="352"/>
                    </a:lnTo>
                    <a:lnTo>
                      <a:pt x="192" y="352"/>
                    </a:lnTo>
                    <a:lnTo>
                      <a:pt x="192" y="353"/>
                    </a:lnTo>
                    <a:lnTo>
                      <a:pt x="191" y="354"/>
                    </a:lnTo>
                    <a:lnTo>
                      <a:pt x="193" y="352"/>
                    </a:lnTo>
                    <a:lnTo>
                      <a:pt x="193" y="353"/>
                    </a:lnTo>
                    <a:lnTo>
                      <a:pt x="194" y="353"/>
                    </a:lnTo>
                    <a:lnTo>
                      <a:pt x="194" y="352"/>
                    </a:lnTo>
                    <a:lnTo>
                      <a:pt x="195" y="352"/>
                    </a:lnTo>
                    <a:lnTo>
                      <a:pt x="195" y="351"/>
                    </a:lnTo>
                    <a:lnTo>
                      <a:pt x="196" y="351"/>
                    </a:lnTo>
                    <a:lnTo>
                      <a:pt x="195" y="350"/>
                    </a:lnTo>
                    <a:lnTo>
                      <a:pt x="196" y="351"/>
                    </a:lnTo>
                    <a:lnTo>
                      <a:pt x="196" y="352"/>
                    </a:lnTo>
                    <a:close/>
                    <a:moveTo>
                      <a:pt x="579" y="511"/>
                    </a:moveTo>
                    <a:lnTo>
                      <a:pt x="579" y="512"/>
                    </a:lnTo>
                    <a:lnTo>
                      <a:pt x="578" y="513"/>
                    </a:lnTo>
                    <a:lnTo>
                      <a:pt x="579" y="514"/>
                    </a:lnTo>
                    <a:lnTo>
                      <a:pt x="578" y="514"/>
                    </a:lnTo>
                    <a:lnTo>
                      <a:pt x="578" y="515"/>
                    </a:lnTo>
                    <a:lnTo>
                      <a:pt x="577" y="515"/>
                    </a:lnTo>
                    <a:lnTo>
                      <a:pt x="576" y="515"/>
                    </a:lnTo>
                    <a:lnTo>
                      <a:pt x="575" y="516"/>
                    </a:lnTo>
                    <a:lnTo>
                      <a:pt x="574" y="516"/>
                    </a:lnTo>
                    <a:lnTo>
                      <a:pt x="573" y="516"/>
                    </a:lnTo>
                    <a:lnTo>
                      <a:pt x="570" y="517"/>
                    </a:lnTo>
                    <a:lnTo>
                      <a:pt x="570" y="516"/>
                    </a:lnTo>
                    <a:lnTo>
                      <a:pt x="569" y="516"/>
                    </a:lnTo>
                    <a:lnTo>
                      <a:pt x="569" y="515"/>
                    </a:lnTo>
                    <a:lnTo>
                      <a:pt x="577" y="511"/>
                    </a:lnTo>
                    <a:lnTo>
                      <a:pt x="578" y="511"/>
                    </a:lnTo>
                    <a:lnTo>
                      <a:pt x="579" y="511"/>
                    </a:lnTo>
                    <a:lnTo>
                      <a:pt x="579" y="510"/>
                    </a:lnTo>
                    <a:lnTo>
                      <a:pt x="579" y="511"/>
                    </a:lnTo>
                    <a:close/>
                    <a:moveTo>
                      <a:pt x="487" y="589"/>
                    </a:moveTo>
                    <a:lnTo>
                      <a:pt x="488" y="590"/>
                    </a:lnTo>
                    <a:lnTo>
                      <a:pt x="487" y="590"/>
                    </a:lnTo>
                    <a:lnTo>
                      <a:pt x="486" y="590"/>
                    </a:lnTo>
                    <a:lnTo>
                      <a:pt x="485" y="590"/>
                    </a:lnTo>
                    <a:lnTo>
                      <a:pt x="484" y="590"/>
                    </a:lnTo>
                    <a:lnTo>
                      <a:pt x="484" y="591"/>
                    </a:lnTo>
                    <a:lnTo>
                      <a:pt x="483" y="592"/>
                    </a:lnTo>
                    <a:lnTo>
                      <a:pt x="481" y="592"/>
                    </a:lnTo>
                    <a:lnTo>
                      <a:pt x="480" y="591"/>
                    </a:lnTo>
                    <a:lnTo>
                      <a:pt x="480" y="592"/>
                    </a:lnTo>
                    <a:lnTo>
                      <a:pt x="479" y="592"/>
                    </a:lnTo>
                    <a:lnTo>
                      <a:pt x="478" y="591"/>
                    </a:lnTo>
                    <a:lnTo>
                      <a:pt x="478" y="590"/>
                    </a:lnTo>
                    <a:lnTo>
                      <a:pt x="479" y="590"/>
                    </a:lnTo>
                    <a:lnTo>
                      <a:pt x="479" y="591"/>
                    </a:lnTo>
                    <a:lnTo>
                      <a:pt x="480" y="591"/>
                    </a:lnTo>
                    <a:lnTo>
                      <a:pt x="480" y="590"/>
                    </a:lnTo>
                    <a:lnTo>
                      <a:pt x="480" y="589"/>
                    </a:lnTo>
                    <a:lnTo>
                      <a:pt x="479" y="589"/>
                    </a:lnTo>
                    <a:lnTo>
                      <a:pt x="480" y="588"/>
                    </a:lnTo>
                    <a:lnTo>
                      <a:pt x="481" y="586"/>
                    </a:lnTo>
                    <a:lnTo>
                      <a:pt x="483" y="585"/>
                    </a:lnTo>
                    <a:lnTo>
                      <a:pt x="484" y="585"/>
                    </a:lnTo>
                    <a:lnTo>
                      <a:pt x="485" y="586"/>
                    </a:lnTo>
                    <a:lnTo>
                      <a:pt x="486" y="588"/>
                    </a:lnTo>
                    <a:lnTo>
                      <a:pt x="487" y="588"/>
                    </a:lnTo>
                    <a:lnTo>
                      <a:pt x="487" y="589"/>
                    </a:lnTo>
                    <a:close/>
                    <a:moveTo>
                      <a:pt x="217" y="415"/>
                    </a:moveTo>
                    <a:lnTo>
                      <a:pt x="220" y="415"/>
                    </a:lnTo>
                    <a:lnTo>
                      <a:pt x="221" y="415"/>
                    </a:lnTo>
                    <a:lnTo>
                      <a:pt x="220" y="416"/>
                    </a:lnTo>
                    <a:lnTo>
                      <a:pt x="220" y="417"/>
                    </a:lnTo>
                    <a:lnTo>
                      <a:pt x="220" y="416"/>
                    </a:lnTo>
                    <a:lnTo>
                      <a:pt x="219" y="416"/>
                    </a:lnTo>
                    <a:lnTo>
                      <a:pt x="218" y="416"/>
                    </a:lnTo>
                    <a:lnTo>
                      <a:pt x="218" y="415"/>
                    </a:lnTo>
                    <a:lnTo>
                      <a:pt x="217" y="415"/>
                    </a:lnTo>
                    <a:lnTo>
                      <a:pt x="217" y="416"/>
                    </a:lnTo>
                    <a:lnTo>
                      <a:pt x="217" y="415"/>
                    </a:lnTo>
                    <a:lnTo>
                      <a:pt x="218" y="415"/>
                    </a:lnTo>
                    <a:lnTo>
                      <a:pt x="218" y="416"/>
                    </a:lnTo>
                    <a:lnTo>
                      <a:pt x="219" y="416"/>
                    </a:lnTo>
                    <a:lnTo>
                      <a:pt x="219" y="417"/>
                    </a:lnTo>
                    <a:lnTo>
                      <a:pt x="220" y="417"/>
                    </a:lnTo>
                    <a:lnTo>
                      <a:pt x="219" y="417"/>
                    </a:lnTo>
                    <a:lnTo>
                      <a:pt x="219" y="418"/>
                    </a:lnTo>
                    <a:lnTo>
                      <a:pt x="219" y="420"/>
                    </a:lnTo>
                    <a:lnTo>
                      <a:pt x="219" y="421"/>
                    </a:lnTo>
                    <a:lnTo>
                      <a:pt x="218" y="421"/>
                    </a:lnTo>
                    <a:lnTo>
                      <a:pt x="218" y="422"/>
                    </a:lnTo>
                    <a:lnTo>
                      <a:pt x="217" y="422"/>
                    </a:lnTo>
                    <a:lnTo>
                      <a:pt x="216" y="422"/>
                    </a:lnTo>
                    <a:lnTo>
                      <a:pt x="216" y="421"/>
                    </a:lnTo>
                    <a:lnTo>
                      <a:pt x="215" y="421"/>
                    </a:lnTo>
                    <a:lnTo>
                      <a:pt x="215" y="420"/>
                    </a:lnTo>
                    <a:lnTo>
                      <a:pt x="215" y="415"/>
                    </a:lnTo>
                    <a:lnTo>
                      <a:pt x="217" y="415"/>
                    </a:lnTo>
                    <a:close/>
                    <a:moveTo>
                      <a:pt x="562" y="538"/>
                    </a:moveTo>
                    <a:lnTo>
                      <a:pt x="561" y="538"/>
                    </a:lnTo>
                    <a:lnTo>
                      <a:pt x="561" y="539"/>
                    </a:lnTo>
                    <a:lnTo>
                      <a:pt x="561" y="538"/>
                    </a:lnTo>
                    <a:lnTo>
                      <a:pt x="562" y="538"/>
                    </a:lnTo>
                    <a:lnTo>
                      <a:pt x="563" y="538"/>
                    </a:lnTo>
                    <a:lnTo>
                      <a:pt x="566" y="538"/>
                    </a:lnTo>
                    <a:lnTo>
                      <a:pt x="567" y="539"/>
                    </a:lnTo>
                    <a:lnTo>
                      <a:pt x="566" y="539"/>
                    </a:lnTo>
                    <a:lnTo>
                      <a:pt x="566" y="540"/>
                    </a:lnTo>
                    <a:lnTo>
                      <a:pt x="565" y="540"/>
                    </a:lnTo>
                    <a:lnTo>
                      <a:pt x="565" y="541"/>
                    </a:lnTo>
                    <a:lnTo>
                      <a:pt x="564" y="541"/>
                    </a:lnTo>
                    <a:lnTo>
                      <a:pt x="563" y="541"/>
                    </a:lnTo>
                    <a:lnTo>
                      <a:pt x="564" y="541"/>
                    </a:lnTo>
                    <a:lnTo>
                      <a:pt x="564" y="542"/>
                    </a:lnTo>
                    <a:lnTo>
                      <a:pt x="565" y="542"/>
                    </a:lnTo>
                    <a:lnTo>
                      <a:pt x="566" y="542"/>
                    </a:lnTo>
                    <a:lnTo>
                      <a:pt x="566" y="543"/>
                    </a:lnTo>
                    <a:lnTo>
                      <a:pt x="565" y="543"/>
                    </a:lnTo>
                    <a:lnTo>
                      <a:pt x="566" y="543"/>
                    </a:lnTo>
                    <a:lnTo>
                      <a:pt x="567" y="544"/>
                    </a:lnTo>
                    <a:lnTo>
                      <a:pt x="567" y="545"/>
                    </a:lnTo>
                    <a:lnTo>
                      <a:pt x="566" y="545"/>
                    </a:lnTo>
                    <a:lnTo>
                      <a:pt x="565" y="544"/>
                    </a:lnTo>
                    <a:lnTo>
                      <a:pt x="565" y="543"/>
                    </a:lnTo>
                    <a:lnTo>
                      <a:pt x="564" y="543"/>
                    </a:lnTo>
                    <a:lnTo>
                      <a:pt x="565" y="542"/>
                    </a:lnTo>
                    <a:lnTo>
                      <a:pt x="564" y="542"/>
                    </a:lnTo>
                    <a:lnTo>
                      <a:pt x="563" y="542"/>
                    </a:lnTo>
                    <a:lnTo>
                      <a:pt x="563" y="541"/>
                    </a:lnTo>
                    <a:lnTo>
                      <a:pt x="562" y="541"/>
                    </a:lnTo>
                    <a:lnTo>
                      <a:pt x="561" y="542"/>
                    </a:lnTo>
                    <a:lnTo>
                      <a:pt x="561" y="541"/>
                    </a:lnTo>
                    <a:lnTo>
                      <a:pt x="561" y="540"/>
                    </a:lnTo>
                    <a:lnTo>
                      <a:pt x="560" y="540"/>
                    </a:lnTo>
                    <a:lnTo>
                      <a:pt x="560" y="539"/>
                    </a:lnTo>
                    <a:lnTo>
                      <a:pt x="560" y="538"/>
                    </a:lnTo>
                    <a:lnTo>
                      <a:pt x="558" y="538"/>
                    </a:lnTo>
                    <a:lnTo>
                      <a:pt x="560" y="538"/>
                    </a:lnTo>
                    <a:lnTo>
                      <a:pt x="562" y="538"/>
                    </a:lnTo>
                    <a:close/>
                    <a:moveTo>
                      <a:pt x="193" y="404"/>
                    </a:moveTo>
                    <a:lnTo>
                      <a:pt x="192" y="404"/>
                    </a:lnTo>
                    <a:lnTo>
                      <a:pt x="193" y="404"/>
                    </a:lnTo>
                    <a:lnTo>
                      <a:pt x="192" y="404"/>
                    </a:lnTo>
                    <a:lnTo>
                      <a:pt x="192" y="405"/>
                    </a:lnTo>
                    <a:lnTo>
                      <a:pt x="193" y="405"/>
                    </a:lnTo>
                    <a:lnTo>
                      <a:pt x="192" y="405"/>
                    </a:lnTo>
                    <a:lnTo>
                      <a:pt x="193" y="406"/>
                    </a:lnTo>
                    <a:lnTo>
                      <a:pt x="193" y="408"/>
                    </a:lnTo>
                    <a:lnTo>
                      <a:pt x="193" y="409"/>
                    </a:lnTo>
                    <a:lnTo>
                      <a:pt x="193" y="408"/>
                    </a:lnTo>
                    <a:lnTo>
                      <a:pt x="194" y="408"/>
                    </a:lnTo>
                    <a:lnTo>
                      <a:pt x="193" y="408"/>
                    </a:lnTo>
                    <a:lnTo>
                      <a:pt x="193" y="406"/>
                    </a:lnTo>
                    <a:lnTo>
                      <a:pt x="194" y="406"/>
                    </a:lnTo>
                    <a:lnTo>
                      <a:pt x="194" y="405"/>
                    </a:lnTo>
                    <a:lnTo>
                      <a:pt x="194" y="404"/>
                    </a:lnTo>
                    <a:lnTo>
                      <a:pt x="195" y="404"/>
                    </a:lnTo>
                    <a:lnTo>
                      <a:pt x="194" y="404"/>
                    </a:lnTo>
                    <a:lnTo>
                      <a:pt x="194" y="405"/>
                    </a:lnTo>
                    <a:lnTo>
                      <a:pt x="194" y="404"/>
                    </a:lnTo>
                    <a:lnTo>
                      <a:pt x="194" y="405"/>
                    </a:lnTo>
                    <a:lnTo>
                      <a:pt x="195" y="405"/>
                    </a:lnTo>
                    <a:lnTo>
                      <a:pt x="194" y="405"/>
                    </a:lnTo>
                    <a:lnTo>
                      <a:pt x="194" y="406"/>
                    </a:lnTo>
                    <a:lnTo>
                      <a:pt x="195" y="406"/>
                    </a:lnTo>
                    <a:lnTo>
                      <a:pt x="194" y="406"/>
                    </a:lnTo>
                    <a:lnTo>
                      <a:pt x="194" y="408"/>
                    </a:lnTo>
                    <a:lnTo>
                      <a:pt x="194" y="409"/>
                    </a:lnTo>
                    <a:lnTo>
                      <a:pt x="195" y="409"/>
                    </a:lnTo>
                    <a:lnTo>
                      <a:pt x="197" y="406"/>
                    </a:lnTo>
                    <a:lnTo>
                      <a:pt x="197" y="408"/>
                    </a:lnTo>
                    <a:lnTo>
                      <a:pt x="199" y="406"/>
                    </a:lnTo>
                    <a:lnTo>
                      <a:pt x="199" y="408"/>
                    </a:lnTo>
                    <a:lnTo>
                      <a:pt x="197" y="408"/>
                    </a:lnTo>
                    <a:lnTo>
                      <a:pt x="199" y="408"/>
                    </a:lnTo>
                    <a:lnTo>
                      <a:pt x="197" y="408"/>
                    </a:lnTo>
                    <a:lnTo>
                      <a:pt x="196" y="408"/>
                    </a:lnTo>
                    <a:lnTo>
                      <a:pt x="197" y="408"/>
                    </a:lnTo>
                    <a:lnTo>
                      <a:pt x="196" y="408"/>
                    </a:lnTo>
                    <a:lnTo>
                      <a:pt x="195" y="408"/>
                    </a:lnTo>
                    <a:lnTo>
                      <a:pt x="195" y="409"/>
                    </a:lnTo>
                    <a:lnTo>
                      <a:pt x="196" y="408"/>
                    </a:lnTo>
                    <a:lnTo>
                      <a:pt x="196" y="409"/>
                    </a:lnTo>
                    <a:lnTo>
                      <a:pt x="196" y="408"/>
                    </a:lnTo>
                    <a:lnTo>
                      <a:pt x="196" y="409"/>
                    </a:lnTo>
                    <a:lnTo>
                      <a:pt x="195" y="409"/>
                    </a:lnTo>
                    <a:lnTo>
                      <a:pt x="194" y="410"/>
                    </a:lnTo>
                    <a:lnTo>
                      <a:pt x="195" y="410"/>
                    </a:lnTo>
                    <a:lnTo>
                      <a:pt x="195" y="409"/>
                    </a:lnTo>
                    <a:lnTo>
                      <a:pt x="196" y="409"/>
                    </a:lnTo>
                    <a:lnTo>
                      <a:pt x="197" y="409"/>
                    </a:lnTo>
                    <a:lnTo>
                      <a:pt x="196" y="409"/>
                    </a:lnTo>
                    <a:lnTo>
                      <a:pt x="196" y="410"/>
                    </a:lnTo>
                    <a:lnTo>
                      <a:pt x="195" y="410"/>
                    </a:lnTo>
                    <a:lnTo>
                      <a:pt x="195" y="411"/>
                    </a:lnTo>
                    <a:lnTo>
                      <a:pt x="195" y="410"/>
                    </a:lnTo>
                    <a:lnTo>
                      <a:pt x="196" y="410"/>
                    </a:lnTo>
                    <a:lnTo>
                      <a:pt x="197" y="410"/>
                    </a:lnTo>
                    <a:lnTo>
                      <a:pt x="199" y="410"/>
                    </a:lnTo>
                    <a:lnTo>
                      <a:pt x="199" y="409"/>
                    </a:lnTo>
                    <a:lnTo>
                      <a:pt x="197" y="409"/>
                    </a:lnTo>
                    <a:lnTo>
                      <a:pt x="197" y="410"/>
                    </a:lnTo>
                    <a:lnTo>
                      <a:pt x="197" y="409"/>
                    </a:lnTo>
                    <a:lnTo>
                      <a:pt x="199" y="409"/>
                    </a:lnTo>
                    <a:lnTo>
                      <a:pt x="200" y="409"/>
                    </a:lnTo>
                    <a:lnTo>
                      <a:pt x="199" y="409"/>
                    </a:lnTo>
                    <a:lnTo>
                      <a:pt x="200" y="409"/>
                    </a:lnTo>
                    <a:lnTo>
                      <a:pt x="199" y="410"/>
                    </a:lnTo>
                    <a:lnTo>
                      <a:pt x="197" y="411"/>
                    </a:lnTo>
                    <a:lnTo>
                      <a:pt x="197" y="412"/>
                    </a:lnTo>
                    <a:lnTo>
                      <a:pt x="196" y="412"/>
                    </a:lnTo>
                    <a:lnTo>
                      <a:pt x="192" y="412"/>
                    </a:lnTo>
                    <a:lnTo>
                      <a:pt x="192" y="411"/>
                    </a:lnTo>
                    <a:lnTo>
                      <a:pt x="192" y="410"/>
                    </a:lnTo>
                    <a:lnTo>
                      <a:pt x="192" y="406"/>
                    </a:lnTo>
                    <a:lnTo>
                      <a:pt x="192" y="405"/>
                    </a:lnTo>
                    <a:lnTo>
                      <a:pt x="192" y="404"/>
                    </a:lnTo>
                    <a:lnTo>
                      <a:pt x="194" y="404"/>
                    </a:lnTo>
                    <a:lnTo>
                      <a:pt x="193" y="404"/>
                    </a:lnTo>
                    <a:close/>
                    <a:moveTo>
                      <a:pt x="499" y="592"/>
                    </a:moveTo>
                    <a:lnTo>
                      <a:pt x="499" y="593"/>
                    </a:lnTo>
                    <a:lnTo>
                      <a:pt x="500" y="594"/>
                    </a:lnTo>
                    <a:lnTo>
                      <a:pt x="499" y="594"/>
                    </a:lnTo>
                    <a:lnTo>
                      <a:pt x="499" y="593"/>
                    </a:lnTo>
                    <a:lnTo>
                      <a:pt x="498" y="593"/>
                    </a:lnTo>
                    <a:lnTo>
                      <a:pt x="497" y="593"/>
                    </a:lnTo>
                    <a:lnTo>
                      <a:pt x="496" y="593"/>
                    </a:lnTo>
                    <a:lnTo>
                      <a:pt x="496" y="592"/>
                    </a:lnTo>
                    <a:lnTo>
                      <a:pt x="494" y="592"/>
                    </a:lnTo>
                    <a:lnTo>
                      <a:pt x="494" y="593"/>
                    </a:lnTo>
                    <a:lnTo>
                      <a:pt x="493" y="593"/>
                    </a:lnTo>
                    <a:lnTo>
                      <a:pt x="493" y="594"/>
                    </a:lnTo>
                    <a:lnTo>
                      <a:pt x="493" y="595"/>
                    </a:lnTo>
                    <a:lnTo>
                      <a:pt x="492" y="595"/>
                    </a:lnTo>
                    <a:lnTo>
                      <a:pt x="491" y="595"/>
                    </a:lnTo>
                    <a:lnTo>
                      <a:pt x="491" y="596"/>
                    </a:lnTo>
                    <a:lnTo>
                      <a:pt x="490" y="596"/>
                    </a:lnTo>
                    <a:lnTo>
                      <a:pt x="489" y="596"/>
                    </a:lnTo>
                    <a:lnTo>
                      <a:pt x="489" y="594"/>
                    </a:lnTo>
                    <a:lnTo>
                      <a:pt x="489" y="593"/>
                    </a:lnTo>
                    <a:lnTo>
                      <a:pt x="489" y="592"/>
                    </a:lnTo>
                    <a:lnTo>
                      <a:pt x="491" y="592"/>
                    </a:lnTo>
                    <a:lnTo>
                      <a:pt x="492" y="592"/>
                    </a:lnTo>
                    <a:lnTo>
                      <a:pt x="493" y="592"/>
                    </a:lnTo>
                    <a:lnTo>
                      <a:pt x="493" y="591"/>
                    </a:lnTo>
                    <a:lnTo>
                      <a:pt x="494" y="591"/>
                    </a:lnTo>
                    <a:lnTo>
                      <a:pt x="496" y="590"/>
                    </a:lnTo>
                    <a:lnTo>
                      <a:pt x="497" y="591"/>
                    </a:lnTo>
                    <a:lnTo>
                      <a:pt x="498" y="592"/>
                    </a:lnTo>
                    <a:lnTo>
                      <a:pt x="499" y="592"/>
                    </a:lnTo>
                    <a:close/>
                    <a:moveTo>
                      <a:pt x="460" y="469"/>
                    </a:moveTo>
                    <a:lnTo>
                      <a:pt x="461" y="469"/>
                    </a:lnTo>
                    <a:lnTo>
                      <a:pt x="466" y="469"/>
                    </a:lnTo>
                    <a:lnTo>
                      <a:pt x="467" y="469"/>
                    </a:lnTo>
                    <a:lnTo>
                      <a:pt x="468" y="469"/>
                    </a:lnTo>
                    <a:lnTo>
                      <a:pt x="468" y="470"/>
                    </a:lnTo>
                    <a:lnTo>
                      <a:pt x="467" y="470"/>
                    </a:lnTo>
                    <a:lnTo>
                      <a:pt x="466" y="472"/>
                    </a:lnTo>
                    <a:lnTo>
                      <a:pt x="466" y="473"/>
                    </a:lnTo>
                    <a:lnTo>
                      <a:pt x="465" y="474"/>
                    </a:lnTo>
                    <a:lnTo>
                      <a:pt x="464" y="475"/>
                    </a:lnTo>
                    <a:lnTo>
                      <a:pt x="464" y="474"/>
                    </a:lnTo>
                    <a:lnTo>
                      <a:pt x="463" y="474"/>
                    </a:lnTo>
                    <a:lnTo>
                      <a:pt x="463" y="473"/>
                    </a:lnTo>
                    <a:lnTo>
                      <a:pt x="463" y="472"/>
                    </a:lnTo>
                    <a:lnTo>
                      <a:pt x="463" y="473"/>
                    </a:lnTo>
                    <a:lnTo>
                      <a:pt x="462" y="473"/>
                    </a:lnTo>
                    <a:lnTo>
                      <a:pt x="462" y="472"/>
                    </a:lnTo>
                    <a:lnTo>
                      <a:pt x="461" y="472"/>
                    </a:lnTo>
                    <a:lnTo>
                      <a:pt x="462" y="472"/>
                    </a:lnTo>
                    <a:lnTo>
                      <a:pt x="462" y="470"/>
                    </a:lnTo>
                    <a:lnTo>
                      <a:pt x="461" y="469"/>
                    </a:lnTo>
                    <a:lnTo>
                      <a:pt x="460" y="469"/>
                    </a:lnTo>
                    <a:lnTo>
                      <a:pt x="461" y="470"/>
                    </a:lnTo>
                    <a:lnTo>
                      <a:pt x="460" y="470"/>
                    </a:lnTo>
                    <a:lnTo>
                      <a:pt x="459" y="470"/>
                    </a:lnTo>
                    <a:lnTo>
                      <a:pt x="458" y="469"/>
                    </a:lnTo>
                    <a:lnTo>
                      <a:pt x="458" y="468"/>
                    </a:lnTo>
                    <a:lnTo>
                      <a:pt x="459" y="468"/>
                    </a:lnTo>
                    <a:lnTo>
                      <a:pt x="460" y="469"/>
                    </a:lnTo>
                    <a:close/>
                    <a:moveTo>
                      <a:pt x="431" y="655"/>
                    </a:moveTo>
                    <a:lnTo>
                      <a:pt x="431" y="657"/>
                    </a:lnTo>
                    <a:lnTo>
                      <a:pt x="431" y="658"/>
                    </a:lnTo>
                    <a:lnTo>
                      <a:pt x="431" y="659"/>
                    </a:lnTo>
                    <a:lnTo>
                      <a:pt x="431" y="660"/>
                    </a:lnTo>
                    <a:lnTo>
                      <a:pt x="429" y="660"/>
                    </a:lnTo>
                    <a:lnTo>
                      <a:pt x="431" y="659"/>
                    </a:lnTo>
                    <a:lnTo>
                      <a:pt x="429" y="659"/>
                    </a:lnTo>
                    <a:lnTo>
                      <a:pt x="429" y="660"/>
                    </a:lnTo>
                    <a:lnTo>
                      <a:pt x="428" y="660"/>
                    </a:lnTo>
                    <a:lnTo>
                      <a:pt x="427" y="660"/>
                    </a:lnTo>
                    <a:lnTo>
                      <a:pt x="428" y="660"/>
                    </a:lnTo>
                    <a:lnTo>
                      <a:pt x="428" y="661"/>
                    </a:lnTo>
                    <a:lnTo>
                      <a:pt x="428" y="660"/>
                    </a:lnTo>
                    <a:lnTo>
                      <a:pt x="429" y="661"/>
                    </a:lnTo>
                    <a:lnTo>
                      <a:pt x="428" y="661"/>
                    </a:lnTo>
                    <a:lnTo>
                      <a:pt x="428" y="662"/>
                    </a:lnTo>
                    <a:lnTo>
                      <a:pt x="427" y="662"/>
                    </a:lnTo>
                    <a:lnTo>
                      <a:pt x="426" y="661"/>
                    </a:lnTo>
                    <a:lnTo>
                      <a:pt x="426" y="662"/>
                    </a:lnTo>
                    <a:lnTo>
                      <a:pt x="427" y="662"/>
                    </a:lnTo>
                    <a:lnTo>
                      <a:pt x="427" y="663"/>
                    </a:lnTo>
                    <a:lnTo>
                      <a:pt x="426" y="663"/>
                    </a:lnTo>
                    <a:lnTo>
                      <a:pt x="427" y="663"/>
                    </a:lnTo>
                    <a:lnTo>
                      <a:pt x="427" y="665"/>
                    </a:lnTo>
                    <a:lnTo>
                      <a:pt x="426" y="666"/>
                    </a:lnTo>
                    <a:lnTo>
                      <a:pt x="426" y="667"/>
                    </a:lnTo>
                    <a:lnTo>
                      <a:pt x="426" y="666"/>
                    </a:lnTo>
                    <a:lnTo>
                      <a:pt x="426" y="665"/>
                    </a:lnTo>
                    <a:lnTo>
                      <a:pt x="427" y="665"/>
                    </a:lnTo>
                    <a:lnTo>
                      <a:pt x="426" y="665"/>
                    </a:lnTo>
                    <a:lnTo>
                      <a:pt x="426" y="663"/>
                    </a:lnTo>
                    <a:lnTo>
                      <a:pt x="425" y="663"/>
                    </a:lnTo>
                    <a:lnTo>
                      <a:pt x="425" y="665"/>
                    </a:lnTo>
                    <a:lnTo>
                      <a:pt x="425" y="663"/>
                    </a:lnTo>
                    <a:lnTo>
                      <a:pt x="424" y="663"/>
                    </a:lnTo>
                    <a:lnTo>
                      <a:pt x="424" y="662"/>
                    </a:lnTo>
                    <a:lnTo>
                      <a:pt x="425" y="661"/>
                    </a:lnTo>
                    <a:lnTo>
                      <a:pt x="426" y="660"/>
                    </a:lnTo>
                    <a:lnTo>
                      <a:pt x="426" y="659"/>
                    </a:lnTo>
                    <a:lnTo>
                      <a:pt x="427" y="659"/>
                    </a:lnTo>
                    <a:lnTo>
                      <a:pt x="428" y="658"/>
                    </a:lnTo>
                    <a:lnTo>
                      <a:pt x="427" y="657"/>
                    </a:lnTo>
                    <a:lnTo>
                      <a:pt x="428" y="657"/>
                    </a:lnTo>
                    <a:lnTo>
                      <a:pt x="428" y="656"/>
                    </a:lnTo>
                    <a:lnTo>
                      <a:pt x="429" y="655"/>
                    </a:lnTo>
                    <a:lnTo>
                      <a:pt x="431" y="655"/>
                    </a:lnTo>
                    <a:close/>
                    <a:moveTo>
                      <a:pt x="291" y="392"/>
                    </a:moveTo>
                    <a:lnTo>
                      <a:pt x="292" y="392"/>
                    </a:lnTo>
                    <a:lnTo>
                      <a:pt x="293" y="392"/>
                    </a:lnTo>
                    <a:lnTo>
                      <a:pt x="293" y="393"/>
                    </a:lnTo>
                    <a:lnTo>
                      <a:pt x="292" y="393"/>
                    </a:lnTo>
                    <a:lnTo>
                      <a:pt x="293" y="395"/>
                    </a:lnTo>
                    <a:lnTo>
                      <a:pt x="293" y="396"/>
                    </a:lnTo>
                    <a:lnTo>
                      <a:pt x="292" y="396"/>
                    </a:lnTo>
                    <a:lnTo>
                      <a:pt x="291" y="396"/>
                    </a:lnTo>
                    <a:lnTo>
                      <a:pt x="290" y="396"/>
                    </a:lnTo>
                    <a:lnTo>
                      <a:pt x="290" y="397"/>
                    </a:lnTo>
                    <a:lnTo>
                      <a:pt x="290" y="396"/>
                    </a:lnTo>
                    <a:lnTo>
                      <a:pt x="289" y="396"/>
                    </a:lnTo>
                    <a:lnTo>
                      <a:pt x="287" y="396"/>
                    </a:lnTo>
                    <a:lnTo>
                      <a:pt x="286" y="396"/>
                    </a:lnTo>
                    <a:lnTo>
                      <a:pt x="286" y="395"/>
                    </a:lnTo>
                    <a:lnTo>
                      <a:pt x="285" y="395"/>
                    </a:lnTo>
                    <a:lnTo>
                      <a:pt x="285" y="393"/>
                    </a:lnTo>
                    <a:lnTo>
                      <a:pt x="284" y="393"/>
                    </a:lnTo>
                    <a:lnTo>
                      <a:pt x="284" y="395"/>
                    </a:lnTo>
                    <a:lnTo>
                      <a:pt x="284" y="393"/>
                    </a:lnTo>
                    <a:lnTo>
                      <a:pt x="285" y="393"/>
                    </a:lnTo>
                    <a:lnTo>
                      <a:pt x="285" y="392"/>
                    </a:lnTo>
                    <a:lnTo>
                      <a:pt x="285" y="391"/>
                    </a:lnTo>
                    <a:lnTo>
                      <a:pt x="286" y="391"/>
                    </a:lnTo>
                    <a:lnTo>
                      <a:pt x="287" y="391"/>
                    </a:lnTo>
                    <a:lnTo>
                      <a:pt x="289" y="391"/>
                    </a:lnTo>
                    <a:lnTo>
                      <a:pt x="289" y="392"/>
                    </a:lnTo>
                    <a:lnTo>
                      <a:pt x="290" y="392"/>
                    </a:lnTo>
                    <a:lnTo>
                      <a:pt x="291" y="392"/>
                    </a:lnTo>
                    <a:close/>
                    <a:moveTo>
                      <a:pt x="560" y="433"/>
                    </a:moveTo>
                    <a:lnTo>
                      <a:pt x="561" y="433"/>
                    </a:lnTo>
                    <a:lnTo>
                      <a:pt x="560" y="433"/>
                    </a:lnTo>
                    <a:lnTo>
                      <a:pt x="560" y="431"/>
                    </a:lnTo>
                    <a:lnTo>
                      <a:pt x="561" y="433"/>
                    </a:lnTo>
                    <a:lnTo>
                      <a:pt x="562" y="433"/>
                    </a:lnTo>
                    <a:lnTo>
                      <a:pt x="561" y="433"/>
                    </a:lnTo>
                    <a:lnTo>
                      <a:pt x="560" y="434"/>
                    </a:lnTo>
                    <a:lnTo>
                      <a:pt x="560" y="435"/>
                    </a:lnTo>
                    <a:lnTo>
                      <a:pt x="558" y="435"/>
                    </a:lnTo>
                    <a:lnTo>
                      <a:pt x="557" y="436"/>
                    </a:lnTo>
                    <a:lnTo>
                      <a:pt x="556" y="437"/>
                    </a:lnTo>
                    <a:lnTo>
                      <a:pt x="556" y="438"/>
                    </a:lnTo>
                    <a:lnTo>
                      <a:pt x="555" y="438"/>
                    </a:lnTo>
                    <a:lnTo>
                      <a:pt x="555" y="439"/>
                    </a:lnTo>
                    <a:lnTo>
                      <a:pt x="555" y="440"/>
                    </a:lnTo>
                    <a:lnTo>
                      <a:pt x="555" y="441"/>
                    </a:lnTo>
                    <a:lnTo>
                      <a:pt x="555" y="442"/>
                    </a:lnTo>
                    <a:lnTo>
                      <a:pt x="554" y="443"/>
                    </a:lnTo>
                    <a:lnTo>
                      <a:pt x="554" y="444"/>
                    </a:lnTo>
                    <a:lnTo>
                      <a:pt x="554" y="446"/>
                    </a:lnTo>
                    <a:lnTo>
                      <a:pt x="553" y="446"/>
                    </a:lnTo>
                    <a:lnTo>
                      <a:pt x="553" y="444"/>
                    </a:lnTo>
                    <a:lnTo>
                      <a:pt x="553" y="443"/>
                    </a:lnTo>
                    <a:lnTo>
                      <a:pt x="554" y="443"/>
                    </a:lnTo>
                    <a:lnTo>
                      <a:pt x="554" y="442"/>
                    </a:lnTo>
                    <a:lnTo>
                      <a:pt x="554" y="441"/>
                    </a:lnTo>
                    <a:lnTo>
                      <a:pt x="553" y="441"/>
                    </a:lnTo>
                    <a:lnTo>
                      <a:pt x="553" y="440"/>
                    </a:lnTo>
                    <a:lnTo>
                      <a:pt x="553" y="439"/>
                    </a:lnTo>
                    <a:lnTo>
                      <a:pt x="554" y="438"/>
                    </a:lnTo>
                    <a:lnTo>
                      <a:pt x="554" y="437"/>
                    </a:lnTo>
                    <a:lnTo>
                      <a:pt x="555" y="436"/>
                    </a:lnTo>
                    <a:lnTo>
                      <a:pt x="556" y="435"/>
                    </a:lnTo>
                    <a:lnTo>
                      <a:pt x="556" y="434"/>
                    </a:lnTo>
                    <a:lnTo>
                      <a:pt x="558" y="433"/>
                    </a:lnTo>
                    <a:lnTo>
                      <a:pt x="560" y="433"/>
                    </a:lnTo>
                    <a:lnTo>
                      <a:pt x="560" y="431"/>
                    </a:lnTo>
                    <a:lnTo>
                      <a:pt x="560" y="433"/>
                    </a:lnTo>
                    <a:close/>
                    <a:moveTo>
                      <a:pt x="116" y="312"/>
                    </a:moveTo>
                    <a:lnTo>
                      <a:pt x="117" y="312"/>
                    </a:lnTo>
                    <a:lnTo>
                      <a:pt x="117" y="313"/>
                    </a:lnTo>
                    <a:lnTo>
                      <a:pt x="117" y="314"/>
                    </a:lnTo>
                    <a:lnTo>
                      <a:pt x="118" y="314"/>
                    </a:lnTo>
                    <a:lnTo>
                      <a:pt x="117" y="314"/>
                    </a:lnTo>
                    <a:lnTo>
                      <a:pt x="116" y="314"/>
                    </a:lnTo>
                    <a:lnTo>
                      <a:pt x="117" y="314"/>
                    </a:lnTo>
                    <a:lnTo>
                      <a:pt x="117" y="315"/>
                    </a:lnTo>
                    <a:lnTo>
                      <a:pt x="118" y="315"/>
                    </a:lnTo>
                    <a:lnTo>
                      <a:pt x="117" y="315"/>
                    </a:lnTo>
                    <a:lnTo>
                      <a:pt x="116" y="315"/>
                    </a:lnTo>
                    <a:lnTo>
                      <a:pt x="115" y="315"/>
                    </a:lnTo>
                    <a:lnTo>
                      <a:pt x="114" y="315"/>
                    </a:lnTo>
                    <a:lnTo>
                      <a:pt x="114" y="316"/>
                    </a:lnTo>
                    <a:lnTo>
                      <a:pt x="113" y="316"/>
                    </a:lnTo>
                    <a:lnTo>
                      <a:pt x="112" y="316"/>
                    </a:lnTo>
                    <a:lnTo>
                      <a:pt x="113" y="316"/>
                    </a:lnTo>
                    <a:lnTo>
                      <a:pt x="113" y="315"/>
                    </a:lnTo>
                    <a:lnTo>
                      <a:pt x="113" y="314"/>
                    </a:lnTo>
                    <a:lnTo>
                      <a:pt x="112" y="314"/>
                    </a:lnTo>
                    <a:lnTo>
                      <a:pt x="113" y="314"/>
                    </a:lnTo>
                    <a:lnTo>
                      <a:pt x="113" y="313"/>
                    </a:lnTo>
                    <a:lnTo>
                      <a:pt x="113" y="314"/>
                    </a:lnTo>
                    <a:lnTo>
                      <a:pt x="113" y="313"/>
                    </a:lnTo>
                    <a:lnTo>
                      <a:pt x="112" y="313"/>
                    </a:lnTo>
                    <a:lnTo>
                      <a:pt x="111" y="313"/>
                    </a:lnTo>
                    <a:lnTo>
                      <a:pt x="112" y="313"/>
                    </a:lnTo>
                    <a:lnTo>
                      <a:pt x="111" y="313"/>
                    </a:lnTo>
                    <a:lnTo>
                      <a:pt x="111" y="314"/>
                    </a:lnTo>
                    <a:lnTo>
                      <a:pt x="110" y="314"/>
                    </a:lnTo>
                    <a:lnTo>
                      <a:pt x="110" y="315"/>
                    </a:lnTo>
                    <a:lnTo>
                      <a:pt x="110" y="316"/>
                    </a:lnTo>
                    <a:lnTo>
                      <a:pt x="109" y="316"/>
                    </a:lnTo>
                    <a:lnTo>
                      <a:pt x="109" y="315"/>
                    </a:lnTo>
                    <a:lnTo>
                      <a:pt x="109" y="314"/>
                    </a:lnTo>
                    <a:lnTo>
                      <a:pt x="110" y="314"/>
                    </a:lnTo>
                    <a:lnTo>
                      <a:pt x="110" y="313"/>
                    </a:lnTo>
                    <a:lnTo>
                      <a:pt x="111" y="313"/>
                    </a:lnTo>
                    <a:lnTo>
                      <a:pt x="111" y="312"/>
                    </a:lnTo>
                    <a:lnTo>
                      <a:pt x="112" y="312"/>
                    </a:lnTo>
                    <a:lnTo>
                      <a:pt x="113" y="312"/>
                    </a:lnTo>
                    <a:lnTo>
                      <a:pt x="114" y="312"/>
                    </a:lnTo>
                    <a:lnTo>
                      <a:pt x="114" y="311"/>
                    </a:lnTo>
                    <a:lnTo>
                      <a:pt x="115" y="312"/>
                    </a:lnTo>
                    <a:lnTo>
                      <a:pt x="116" y="312"/>
                    </a:lnTo>
                    <a:close/>
                    <a:moveTo>
                      <a:pt x="582" y="456"/>
                    </a:moveTo>
                    <a:lnTo>
                      <a:pt x="582" y="457"/>
                    </a:lnTo>
                    <a:lnTo>
                      <a:pt x="583" y="457"/>
                    </a:lnTo>
                    <a:lnTo>
                      <a:pt x="583" y="456"/>
                    </a:lnTo>
                    <a:lnTo>
                      <a:pt x="582" y="456"/>
                    </a:lnTo>
                    <a:lnTo>
                      <a:pt x="583" y="456"/>
                    </a:lnTo>
                    <a:lnTo>
                      <a:pt x="584" y="456"/>
                    </a:lnTo>
                    <a:lnTo>
                      <a:pt x="584" y="457"/>
                    </a:lnTo>
                    <a:lnTo>
                      <a:pt x="583" y="457"/>
                    </a:lnTo>
                    <a:lnTo>
                      <a:pt x="583" y="459"/>
                    </a:lnTo>
                    <a:lnTo>
                      <a:pt x="582" y="459"/>
                    </a:lnTo>
                    <a:lnTo>
                      <a:pt x="582" y="460"/>
                    </a:lnTo>
                    <a:lnTo>
                      <a:pt x="581" y="460"/>
                    </a:lnTo>
                    <a:lnTo>
                      <a:pt x="581" y="461"/>
                    </a:lnTo>
                    <a:lnTo>
                      <a:pt x="580" y="461"/>
                    </a:lnTo>
                    <a:lnTo>
                      <a:pt x="580" y="462"/>
                    </a:lnTo>
                    <a:lnTo>
                      <a:pt x="579" y="462"/>
                    </a:lnTo>
                    <a:lnTo>
                      <a:pt x="578" y="462"/>
                    </a:lnTo>
                    <a:lnTo>
                      <a:pt x="577" y="462"/>
                    </a:lnTo>
                    <a:lnTo>
                      <a:pt x="577" y="463"/>
                    </a:lnTo>
                    <a:lnTo>
                      <a:pt x="575" y="463"/>
                    </a:lnTo>
                    <a:lnTo>
                      <a:pt x="573" y="463"/>
                    </a:lnTo>
                    <a:lnTo>
                      <a:pt x="570" y="463"/>
                    </a:lnTo>
                    <a:lnTo>
                      <a:pt x="569" y="463"/>
                    </a:lnTo>
                    <a:lnTo>
                      <a:pt x="569" y="462"/>
                    </a:lnTo>
                    <a:lnTo>
                      <a:pt x="569" y="461"/>
                    </a:lnTo>
                    <a:lnTo>
                      <a:pt x="569" y="462"/>
                    </a:lnTo>
                    <a:lnTo>
                      <a:pt x="570" y="462"/>
                    </a:lnTo>
                    <a:lnTo>
                      <a:pt x="571" y="462"/>
                    </a:lnTo>
                    <a:lnTo>
                      <a:pt x="573" y="462"/>
                    </a:lnTo>
                    <a:lnTo>
                      <a:pt x="573" y="461"/>
                    </a:lnTo>
                    <a:lnTo>
                      <a:pt x="574" y="461"/>
                    </a:lnTo>
                    <a:lnTo>
                      <a:pt x="574" y="462"/>
                    </a:lnTo>
                    <a:lnTo>
                      <a:pt x="575" y="462"/>
                    </a:lnTo>
                    <a:lnTo>
                      <a:pt x="575" y="461"/>
                    </a:lnTo>
                    <a:lnTo>
                      <a:pt x="574" y="461"/>
                    </a:lnTo>
                    <a:lnTo>
                      <a:pt x="575" y="461"/>
                    </a:lnTo>
                    <a:lnTo>
                      <a:pt x="574" y="460"/>
                    </a:lnTo>
                    <a:lnTo>
                      <a:pt x="575" y="460"/>
                    </a:lnTo>
                    <a:lnTo>
                      <a:pt x="575" y="461"/>
                    </a:lnTo>
                    <a:lnTo>
                      <a:pt x="576" y="461"/>
                    </a:lnTo>
                    <a:lnTo>
                      <a:pt x="575" y="461"/>
                    </a:lnTo>
                    <a:lnTo>
                      <a:pt x="575" y="462"/>
                    </a:lnTo>
                    <a:lnTo>
                      <a:pt x="576" y="462"/>
                    </a:lnTo>
                    <a:lnTo>
                      <a:pt x="576" y="461"/>
                    </a:lnTo>
                    <a:lnTo>
                      <a:pt x="577" y="462"/>
                    </a:lnTo>
                    <a:lnTo>
                      <a:pt x="577" y="461"/>
                    </a:lnTo>
                    <a:lnTo>
                      <a:pt x="577" y="462"/>
                    </a:lnTo>
                    <a:lnTo>
                      <a:pt x="577" y="461"/>
                    </a:lnTo>
                    <a:lnTo>
                      <a:pt x="577" y="462"/>
                    </a:lnTo>
                    <a:lnTo>
                      <a:pt x="577" y="461"/>
                    </a:lnTo>
                    <a:lnTo>
                      <a:pt x="578" y="461"/>
                    </a:lnTo>
                    <a:lnTo>
                      <a:pt x="578" y="460"/>
                    </a:lnTo>
                    <a:lnTo>
                      <a:pt x="579" y="460"/>
                    </a:lnTo>
                    <a:lnTo>
                      <a:pt x="578" y="460"/>
                    </a:lnTo>
                    <a:lnTo>
                      <a:pt x="579" y="460"/>
                    </a:lnTo>
                    <a:lnTo>
                      <a:pt x="579" y="459"/>
                    </a:lnTo>
                    <a:lnTo>
                      <a:pt x="579" y="460"/>
                    </a:lnTo>
                    <a:lnTo>
                      <a:pt x="579" y="459"/>
                    </a:lnTo>
                    <a:lnTo>
                      <a:pt x="579" y="460"/>
                    </a:lnTo>
                    <a:lnTo>
                      <a:pt x="579" y="459"/>
                    </a:lnTo>
                    <a:lnTo>
                      <a:pt x="579" y="460"/>
                    </a:lnTo>
                    <a:lnTo>
                      <a:pt x="580" y="460"/>
                    </a:lnTo>
                    <a:lnTo>
                      <a:pt x="580" y="459"/>
                    </a:lnTo>
                    <a:lnTo>
                      <a:pt x="579" y="459"/>
                    </a:lnTo>
                    <a:lnTo>
                      <a:pt x="580" y="459"/>
                    </a:lnTo>
                    <a:lnTo>
                      <a:pt x="580" y="457"/>
                    </a:lnTo>
                    <a:lnTo>
                      <a:pt x="580" y="459"/>
                    </a:lnTo>
                    <a:lnTo>
                      <a:pt x="581" y="459"/>
                    </a:lnTo>
                    <a:lnTo>
                      <a:pt x="582" y="459"/>
                    </a:lnTo>
                    <a:lnTo>
                      <a:pt x="582" y="457"/>
                    </a:lnTo>
                    <a:lnTo>
                      <a:pt x="581" y="457"/>
                    </a:lnTo>
                    <a:lnTo>
                      <a:pt x="581" y="456"/>
                    </a:lnTo>
                    <a:lnTo>
                      <a:pt x="582" y="456"/>
                    </a:lnTo>
                    <a:close/>
                    <a:moveTo>
                      <a:pt x="86" y="319"/>
                    </a:moveTo>
                    <a:lnTo>
                      <a:pt x="87" y="319"/>
                    </a:lnTo>
                    <a:lnTo>
                      <a:pt x="86" y="320"/>
                    </a:lnTo>
                    <a:lnTo>
                      <a:pt x="86" y="321"/>
                    </a:lnTo>
                    <a:lnTo>
                      <a:pt x="85" y="321"/>
                    </a:lnTo>
                    <a:lnTo>
                      <a:pt x="85" y="322"/>
                    </a:lnTo>
                    <a:lnTo>
                      <a:pt x="85" y="323"/>
                    </a:lnTo>
                    <a:lnTo>
                      <a:pt x="85" y="322"/>
                    </a:lnTo>
                    <a:lnTo>
                      <a:pt x="85" y="321"/>
                    </a:lnTo>
                    <a:lnTo>
                      <a:pt x="86" y="321"/>
                    </a:lnTo>
                    <a:lnTo>
                      <a:pt x="86" y="322"/>
                    </a:lnTo>
                    <a:lnTo>
                      <a:pt x="86" y="323"/>
                    </a:lnTo>
                    <a:lnTo>
                      <a:pt x="87" y="323"/>
                    </a:lnTo>
                    <a:lnTo>
                      <a:pt x="87" y="324"/>
                    </a:lnTo>
                    <a:lnTo>
                      <a:pt x="87" y="325"/>
                    </a:lnTo>
                    <a:lnTo>
                      <a:pt x="87" y="324"/>
                    </a:lnTo>
                    <a:lnTo>
                      <a:pt x="88" y="324"/>
                    </a:lnTo>
                    <a:lnTo>
                      <a:pt x="89" y="324"/>
                    </a:lnTo>
                    <a:lnTo>
                      <a:pt x="89" y="323"/>
                    </a:lnTo>
                    <a:lnTo>
                      <a:pt x="89" y="322"/>
                    </a:lnTo>
                    <a:lnTo>
                      <a:pt x="89" y="321"/>
                    </a:lnTo>
                    <a:lnTo>
                      <a:pt x="88" y="321"/>
                    </a:lnTo>
                    <a:lnTo>
                      <a:pt x="88" y="320"/>
                    </a:lnTo>
                    <a:lnTo>
                      <a:pt x="89" y="321"/>
                    </a:lnTo>
                    <a:lnTo>
                      <a:pt x="90" y="321"/>
                    </a:lnTo>
                    <a:lnTo>
                      <a:pt x="90" y="322"/>
                    </a:lnTo>
                    <a:lnTo>
                      <a:pt x="91" y="322"/>
                    </a:lnTo>
                    <a:lnTo>
                      <a:pt x="91" y="321"/>
                    </a:lnTo>
                    <a:lnTo>
                      <a:pt x="92" y="321"/>
                    </a:lnTo>
                    <a:lnTo>
                      <a:pt x="93" y="321"/>
                    </a:lnTo>
                    <a:lnTo>
                      <a:pt x="93" y="320"/>
                    </a:lnTo>
                    <a:lnTo>
                      <a:pt x="94" y="320"/>
                    </a:lnTo>
                    <a:lnTo>
                      <a:pt x="94" y="321"/>
                    </a:lnTo>
                    <a:lnTo>
                      <a:pt x="96" y="321"/>
                    </a:lnTo>
                    <a:lnTo>
                      <a:pt x="94" y="321"/>
                    </a:lnTo>
                    <a:lnTo>
                      <a:pt x="94" y="322"/>
                    </a:lnTo>
                    <a:lnTo>
                      <a:pt x="92" y="322"/>
                    </a:lnTo>
                    <a:lnTo>
                      <a:pt x="91" y="322"/>
                    </a:lnTo>
                    <a:lnTo>
                      <a:pt x="91" y="323"/>
                    </a:lnTo>
                    <a:lnTo>
                      <a:pt x="90" y="323"/>
                    </a:lnTo>
                    <a:lnTo>
                      <a:pt x="90" y="324"/>
                    </a:lnTo>
                    <a:lnTo>
                      <a:pt x="89" y="324"/>
                    </a:lnTo>
                    <a:lnTo>
                      <a:pt x="88" y="324"/>
                    </a:lnTo>
                    <a:lnTo>
                      <a:pt x="88" y="325"/>
                    </a:lnTo>
                    <a:lnTo>
                      <a:pt x="87" y="326"/>
                    </a:lnTo>
                    <a:lnTo>
                      <a:pt x="86" y="326"/>
                    </a:lnTo>
                    <a:lnTo>
                      <a:pt x="85" y="325"/>
                    </a:lnTo>
                    <a:lnTo>
                      <a:pt x="85" y="324"/>
                    </a:lnTo>
                    <a:lnTo>
                      <a:pt x="85" y="323"/>
                    </a:lnTo>
                    <a:lnTo>
                      <a:pt x="84" y="322"/>
                    </a:lnTo>
                    <a:lnTo>
                      <a:pt x="84" y="321"/>
                    </a:lnTo>
                    <a:lnTo>
                      <a:pt x="83" y="320"/>
                    </a:lnTo>
                    <a:lnTo>
                      <a:pt x="84" y="320"/>
                    </a:lnTo>
                    <a:lnTo>
                      <a:pt x="85" y="320"/>
                    </a:lnTo>
                    <a:lnTo>
                      <a:pt x="85" y="319"/>
                    </a:lnTo>
                    <a:lnTo>
                      <a:pt x="86" y="319"/>
                    </a:lnTo>
                    <a:close/>
                    <a:moveTo>
                      <a:pt x="461" y="475"/>
                    </a:moveTo>
                    <a:lnTo>
                      <a:pt x="462" y="475"/>
                    </a:lnTo>
                    <a:lnTo>
                      <a:pt x="463" y="474"/>
                    </a:lnTo>
                    <a:lnTo>
                      <a:pt x="462" y="474"/>
                    </a:lnTo>
                    <a:lnTo>
                      <a:pt x="463" y="474"/>
                    </a:lnTo>
                    <a:lnTo>
                      <a:pt x="464" y="474"/>
                    </a:lnTo>
                    <a:lnTo>
                      <a:pt x="464" y="475"/>
                    </a:lnTo>
                    <a:lnTo>
                      <a:pt x="463" y="476"/>
                    </a:lnTo>
                    <a:lnTo>
                      <a:pt x="463" y="477"/>
                    </a:lnTo>
                    <a:lnTo>
                      <a:pt x="462" y="477"/>
                    </a:lnTo>
                    <a:lnTo>
                      <a:pt x="462" y="478"/>
                    </a:lnTo>
                    <a:lnTo>
                      <a:pt x="461" y="478"/>
                    </a:lnTo>
                    <a:lnTo>
                      <a:pt x="460" y="478"/>
                    </a:lnTo>
                    <a:lnTo>
                      <a:pt x="460" y="477"/>
                    </a:lnTo>
                    <a:lnTo>
                      <a:pt x="459" y="477"/>
                    </a:lnTo>
                    <a:lnTo>
                      <a:pt x="459" y="476"/>
                    </a:lnTo>
                    <a:lnTo>
                      <a:pt x="458" y="475"/>
                    </a:lnTo>
                    <a:lnTo>
                      <a:pt x="458" y="474"/>
                    </a:lnTo>
                    <a:lnTo>
                      <a:pt x="458" y="473"/>
                    </a:lnTo>
                    <a:lnTo>
                      <a:pt x="459" y="472"/>
                    </a:lnTo>
                    <a:lnTo>
                      <a:pt x="459" y="473"/>
                    </a:lnTo>
                    <a:lnTo>
                      <a:pt x="460" y="473"/>
                    </a:lnTo>
                    <a:lnTo>
                      <a:pt x="461" y="474"/>
                    </a:lnTo>
                    <a:lnTo>
                      <a:pt x="461" y="475"/>
                    </a:lnTo>
                    <a:close/>
                    <a:moveTo>
                      <a:pt x="437" y="493"/>
                    </a:moveTo>
                    <a:lnTo>
                      <a:pt x="438" y="493"/>
                    </a:lnTo>
                    <a:lnTo>
                      <a:pt x="439" y="493"/>
                    </a:lnTo>
                    <a:lnTo>
                      <a:pt x="440" y="493"/>
                    </a:lnTo>
                    <a:lnTo>
                      <a:pt x="440" y="492"/>
                    </a:lnTo>
                    <a:lnTo>
                      <a:pt x="440" y="493"/>
                    </a:lnTo>
                    <a:lnTo>
                      <a:pt x="440" y="494"/>
                    </a:lnTo>
                    <a:lnTo>
                      <a:pt x="439" y="495"/>
                    </a:lnTo>
                    <a:lnTo>
                      <a:pt x="439" y="496"/>
                    </a:lnTo>
                    <a:lnTo>
                      <a:pt x="439" y="498"/>
                    </a:lnTo>
                    <a:lnTo>
                      <a:pt x="438" y="498"/>
                    </a:lnTo>
                    <a:lnTo>
                      <a:pt x="438" y="499"/>
                    </a:lnTo>
                    <a:lnTo>
                      <a:pt x="437" y="501"/>
                    </a:lnTo>
                    <a:lnTo>
                      <a:pt x="437" y="502"/>
                    </a:lnTo>
                    <a:lnTo>
                      <a:pt x="436" y="503"/>
                    </a:lnTo>
                    <a:lnTo>
                      <a:pt x="436" y="504"/>
                    </a:lnTo>
                    <a:lnTo>
                      <a:pt x="435" y="504"/>
                    </a:lnTo>
                    <a:lnTo>
                      <a:pt x="435" y="505"/>
                    </a:lnTo>
                    <a:lnTo>
                      <a:pt x="435" y="504"/>
                    </a:lnTo>
                    <a:lnTo>
                      <a:pt x="435" y="503"/>
                    </a:lnTo>
                    <a:lnTo>
                      <a:pt x="434" y="503"/>
                    </a:lnTo>
                    <a:lnTo>
                      <a:pt x="433" y="502"/>
                    </a:lnTo>
                    <a:lnTo>
                      <a:pt x="434" y="502"/>
                    </a:lnTo>
                    <a:lnTo>
                      <a:pt x="435" y="502"/>
                    </a:lnTo>
                    <a:lnTo>
                      <a:pt x="435" y="503"/>
                    </a:lnTo>
                    <a:lnTo>
                      <a:pt x="436" y="503"/>
                    </a:lnTo>
                    <a:lnTo>
                      <a:pt x="436" y="502"/>
                    </a:lnTo>
                    <a:lnTo>
                      <a:pt x="436" y="501"/>
                    </a:lnTo>
                    <a:lnTo>
                      <a:pt x="437" y="501"/>
                    </a:lnTo>
                    <a:lnTo>
                      <a:pt x="437" y="500"/>
                    </a:lnTo>
                    <a:lnTo>
                      <a:pt x="437" y="499"/>
                    </a:lnTo>
                    <a:lnTo>
                      <a:pt x="438" y="499"/>
                    </a:lnTo>
                    <a:lnTo>
                      <a:pt x="438" y="498"/>
                    </a:lnTo>
                    <a:lnTo>
                      <a:pt x="438" y="496"/>
                    </a:lnTo>
                    <a:lnTo>
                      <a:pt x="438" y="495"/>
                    </a:lnTo>
                    <a:lnTo>
                      <a:pt x="439" y="495"/>
                    </a:lnTo>
                    <a:lnTo>
                      <a:pt x="439" y="494"/>
                    </a:lnTo>
                    <a:lnTo>
                      <a:pt x="438" y="494"/>
                    </a:lnTo>
                    <a:lnTo>
                      <a:pt x="437" y="494"/>
                    </a:lnTo>
                    <a:lnTo>
                      <a:pt x="437" y="493"/>
                    </a:lnTo>
                    <a:lnTo>
                      <a:pt x="436" y="493"/>
                    </a:lnTo>
                    <a:lnTo>
                      <a:pt x="435" y="493"/>
                    </a:lnTo>
                    <a:lnTo>
                      <a:pt x="435" y="495"/>
                    </a:lnTo>
                    <a:lnTo>
                      <a:pt x="435" y="498"/>
                    </a:lnTo>
                    <a:lnTo>
                      <a:pt x="435" y="499"/>
                    </a:lnTo>
                    <a:lnTo>
                      <a:pt x="434" y="499"/>
                    </a:lnTo>
                    <a:lnTo>
                      <a:pt x="434" y="498"/>
                    </a:lnTo>
                    <a:lnTo>
                      <a:pt x="434" y="496"/>
                    </a:lnTo>
                    <a:lnTo>
                      <a:pt x="434" y="495"/>
                    </a:lnTo>
                    <a:lnTo>
                      <a:pt x="434" y="494"/>
                    </a:lnTo>
                    <a:lnTo>
                      <a:pt x="434" y="493"/>
                    </a:lnTo>
                    <a:lnTo>
                      <a:pt x="434" y="492"/>
                    </a:lnTo>
                    <a:lnTo>
                      <a:pt x="433" y="492"/>
                    </a:lnTo>
                    <a:lnTo>
                      <a:pt x="432" y="492"/>
                    </a:lnTo>
                    <a:lnTo>
                      <a:pt x="433" y="492"/>
                    </a:lnTo>
                    <a:lnTo>
                      <a:pt x="433" y="491"/>
                    </a:lnTo>
                    <a:lnTo>
                      <a:pt x="434" y="491"/>
                    </a:lnTo>
                    <a:lnTo>
                      <a:pt x="434" y="492"/>
                    </a:lnTo>
                    <a:lnTo>
                      <a:pt x="435" y="492"/>
                    </a:lnTo>
                    <a:lnTo>
                      <a:pt x="436" y="492"/>
                    </a:lnTo>
                    <a:lnTo>
                      <a:pt x="437" y="492"/>
                    </a:lnTo>
                    <a:lnTo>
                      <a:pt x="437" y="493"/>
                    </a:lnTo>
                    <a:close/>
                    <a:moveTo>
                      <a:pt x="278" y="259"/>
                    </a:moveTo>
                    <a:lnTo>
                      <a:pt x="279" y="259"/>
                    </a:lnTo>
                    <a:lnTo>
                      <a:pt x="280" y="260"/>
                    </a:lnTo>
                    <a:lnTo>
                      <a:pt x="281" y="260"/>
                    </a:lnTo>
                    <a:lnTo>
                      <a:pt x="282" y="260"/>
                    </a:lnTo>
                    <a:lnTo>
                      <a:pt x="282" y="259"/>
                    </a:lnTo>
                    <a:lnTo>
                      <a:pt x="283" y="259"/>
                    </a:lnTo>
                    <a:lnTo>
                      <a:pt x="284" y="259"/>
                    </a:lnTo>
                    <a:lnTo>
                      <a:pt x="285" y="259"/>
                    </a:lnTo>
                    <a:lnTo>
                      <a:pt x="284" y="260"/>
                    </a:lnTo>
                    <a:lnTo>
                      <a:pt x="283" y="260"/>
                    </a:lnTo>
                    <a:lnTo>
                      <a:pt x="283" y="261"/>
                    </a:lnTo>
                    <a:lnTo>
                      <a:pt x="282" y="261"/>
                    </a:lnTo>
                    <a:lnTo>
                      <a:pt x="283" y="261"/>
                    </a:lnTo>
                    <a:lnTo>
                      <a:pt x="282" y="261"/>
                    </a:lnTo>
                    <a:lnTo>
                      <a:pt x="282" y="262"/>
                    </a:lnTo>
                    <a:lnTo>
                      <a:pt x="283" y="262"/>
                    </a:lnTo>
                    <a:lnTo>
                      <a:pt x="283" y="263"/>
                    </a:lnTo>
                    <a:lnTo>
                      <a:pt x="282" y="263"/>
                    </a:lnTo>
                    <a:lnTo>
                      <a:pt x="281" y="263"/>
                    </a:lnTo>
                    <a:lnTo>
                      <a:pt x="281" y="262"/>
                    </a:lnTo>
                    <a:lnTo>
                      <a:pt x="280" y="262"/>
                    </a:lnTo>
                    <a:lnTo>
                      <a:pt x="280" y="261"/>
                    </a:lnTo>
                    <a:lnTo>
                      <a:pt x="280" y="260"/>
                    </a:lnTo>
                    <a:lnTo>
                      <a:pt x="279" y="260"/>
                    </a:lnTo>
                    <a:lnTo>
                      <a:pt x="279" y="261"/>
                    </a:lnTo>
                    <a:lnTo>
                      <a:pt x="278" y="260"/>
                    </a:lnTo>
                    <a:lnTo>
                      <a:pt x="278" y="261"/>
                    </a:lnTo>
                    <a:lnTo>
                      <a:pt x="277" y="261"/>
                    </a:lnTo>
                    <a:lnTo>
                      <a:pt x="276" y="261"/>
                    </a:lnTo>
                    <a:lnTo>
                      <a:pt x="276" y="262"/>
                    </a:lnTo>
                    <a:lnTo>
                      <a:pt x="276" y="263"/>
                    </a:lnTo>
                    <a:lnTo>
                      <a:pt x="276" y="264"/>
                    </a:lnTo>
                    <a:lnTo>
                      <a:pt x="274" y="264"/>
                    </a:lnTo>
                    <a:lnTo>
                      <a:pt x="274" y="263"/>
                    </a:lnTo>
                    <a:lnTo>
                      <a:pt x="273" y="262"/>
                    </a:lnTo>
                    <a:lnTo>
                      <a:pt x="273" y="261"/>
                    </a:lnTo>
                    <a:lnTo>
                      <a:pt x="274" y="261"/>
                    </a:lnTo>
                    <a:lnTo>
                      <a:pt x="276" y="261"/>
                    </a:lnTo>
                    <a:lnTo>
                      <a:pt x="276" y="260"/>
                    </a:lnTo>
                    <a:lnTo>
                      <a:pt x="277" y="259"/>
                    </a:lnTo>
                    <a:lnTo>
                      <a:pt x="276" y="259"/>
                    </a:lnTo>
                    <a:lnTo>
                      <a:pt x="276" y="260"/>
                    </a:lnTo>
                    <a:lnTo>
                      <a:pt x="274" y="261"/>
                    </a:lnTo>
                    <a:lnTo>
                      <a:pt x="273" y="261"/>
                    </a:lnTo>
                    <a:lnTo>
                      <a:pt x="273" y="260"/>
                    </a:lnTo>
                    <a:lnTo>
                      <a:pt x="274" y="260"/>
                    </a:lnTo>
                    <a:lnTo>
                      <a:pt x="276" y="260"/>
                    </a:lnTo>
                    <a:lnTo>
                      <a:pt x="276" y="259"/>
                    </a:lnTo>
                    <a:lnTo>
                      <a:pt x="277" y="259"/>
                    </a:lnTo>
                    <a:lnTo>
                      <a:pt x="277" y="258"/>
                    </a:lnTo>
                    <a:lnTo>
                      <a:pt x="278" y="259"/>
                    </a:lnTo>
                    <a:close/>
                    <a:moveTo>
                      <a:pt x="193" y="415"/>
                    </a:moveTo>
                    <a:lnTo>
                      <a:pt x="194" y="415"/>
                    </a:lnTo>
                    <a:lnTo>
                      <a:pt x="194" y="416"/>
                    </a:lnTo>
                    <a:lnTo>
                      <a:pt x="195" y="416"/>
                    </a:lnTo>
                    <a:lnTo>
                      <a:pt x="195" y="417"/>
                    </a:lnTo>
                    <a:lnTo>
                      <a:pt x="196" y="417"/>
                    </a:lnTo>
                    <a:lnTo>
                      <a:pt x="195" y="417"/>
                    </a:lnTo>
                    <a:lnTo>
                      <a:pt x="196" y="417"/>
                    </a:lnTo>
                    <a:lnTo>
                      <a:pt x="196" y="418"/>
                    </a:lnTo>
                    <a:lnTo>
                      <a:pt x="197" y="418"/>
                    </a:lnTo>
                    <a:lnTo>
                      <a:pt x="199" y="420"/>
                    </a:lnTo>
                    <a:lnTo>
                      <a:pt x="200" y="420"/>
                    </a:lnTo>
                    <a:lnTo>
                      <a:pt x="201" y="420"/>
                    </a:lnTo>
                    <a:lnTo>
                      <a:pt x="202" y="418"/>
                    </a:lnTo>
                    <a:lnTo>
                      <a:pt x="203" y="418"/>
                    </a:lnTo>
                    <a:lnTo>
                      <a:pt x="204" y="418"/>
                    </a:lnTo>
                    <a:lnTo>
                      <a:pt x="204" y="417"/>
                    </a:lnTo>
                    <a:lnTo>
                      <a:pt x="204" y="418"/>
                    </a:lnTo>
                    <a:lnTo>
                      <a:pt x="206" y="420"/>
                    </a:lnTo>
                    <a:lnTo>
                      <a:pt x="204" y="420"/>
                    </a:lnTo>
                    <a:lnTo>
                      <a:pt x="203" y="420"/>
                    </a:lnTo>
                    <a:lnTo>
                      <a:pt x="206" y="420"/>
                    </a:lnTo>
                    <a:lnTo>
                      <a:pt x="207" y="420"/>
                    </a:lnTo>
                    <a:lnTo>
                      <a:pt x="208" y="420"/>
                    </a:lnTo>
                    <a:lnTo>
                      <a:pt x="208" y="421"/>
                    </a:lnTo>
                    <a:lnTo>
                      <a:pt x="207" y="421"/>
                    </a:lnTo>
                    <a:lnTo>
                      <a:pt x="206" y="421"/>
                    </a:lnTo>
                    <a:lnTo>
                      <a:pt x="205" y="421"/>
                    </a:lnTo>
                    <a:lnTo>
                      <a:pt x="203" y="421"/>
                    </a:lnTo>
                    <a:lnTo>
                      <a:pt x="202" y="421"/>
                    </a:lnTo>
                    <a:lnTo>
                      <a:pt x="201" y="420"/>
                    </a:lnTo>
                    <a:lnTo>
                      <a:pt x="199" y="420"/>
                    </a:lnTo>
                    <a:lnTo>
                      <a:pt x="197" y="420"/>
                    </a:lnTo>
                    <a:lnTo>
                      <a:pt x="196" y="420"/>
                    </a:lnTo>
                    <a:lnTo>
                      <a:pt x="195" y="418"/>
                    </a:lnTo>
                    <a:lnTo>
                      <a:pt x="193" y="418"/>
                    </a:lnTo>
                    <a:lnTo>
                      <a:pt x="192" y="418"/>
                    </a:lnTo>
                    <a:lnTo>
                      <a:pt x="192" y="417"/>
                    </a:lnTo>
                    <a:lnTo>
                      <a:pt x="193" y="417"/>
                    </a:lnTo>
                    <a:lnTo>
                      <a:pt x="194" y="417"/>
                    </a:lnTo>
                    <a:lnTo>
                      <a:pt x="193" y="417"/>
                    </a:lnTo>
                    <a:lnTo>
                      <a:pt x="192" y="417"/>
                    </a:lnTo>
                    <a:lnTo>
                      <a:pt x="192" y="415"/>
                    </a:lnTo>
                    <a:lnTo>
                      <a:pt x="193" y="415"/>
                    </a:lnTo>
                    <a:close/>
                    <a:moveTo>
                      <a:pt x="248" y="383"/>
                    </a:moveTo>
                    <a:lnTo>
                      <a:pt x="248" y="384"/>
                    </a:lnTo>
                    <a:lnTo>
                      <a:pt x="248" y="385"/>
                    </a:lnTo>
                    <a:lnTo>
                      <a:pt x="249" y="387"/>
                    </a:lnTo>
                    <a:lnTo>
                      <a:pt x="249" y="388"/>
                    </a:lnTo>
                    <a:lnTo>
                      <a:pt x="249" y="389"/>
                    </a:lnTo>
                    <a:lnTo>
                      <a:pt x="248" y="390"/>
                    </a:lnTo>
                    <a:lnTo>
                      <a:pt x="248" y="391"/>
                    </a:lnTo>
                    <a:lnTo>
                      <a:pt x="248" y="392"/>
                    </a:lnTo>
                    <a:lnTo>
                      <a:pt x="247" y="392"/>
                    </a:lnTo>
                    <a:lnTo>
                      <a:pt x="247" y="391"/>
                    </a:lnTo>
                    <a:lnTo>
                      <a:pt x="245" y="391"/>
                    </a:lnTo>
                    <a:lnTo>
                      <a:pt x="245" y="390"/>
                    </a:lnTo>
                    <a:lnTo>
                      <a:pt x="244" y="390"/>
                    </a:lnTo>
                    <a:lnTo>
                      <a:pt x="245" y="390"/>
                    </a:lnTo>
                    <a:lnTo>
                      <a:pt x="245" y="389"/>
                    </a:lnTo>
                    <a:lnTo>
                      <a:pt x="244" y="389"/>
                    </a:lnTo>
                    <a:lnTo>
                      <a:pt x="244" y="388"/>
                    </a:lnTo>
                    <a:lnTo>
                      <a:pt x="245" y="388"/>
                    </a:lnTo>
                    <a:lnTo>
                      <a:pt x="246" y="388"/>
                    </a:lnTo>
                    <a:lnTo>
                      <a:pt x="247" y="387"/>
                    </a:lnTo>
                    <a:lnTo>
                      <a:pt x="247" y="386"/>
                    </a:lnTo>
                    <a:lnTo>
                      <a:pt x="247" y="385"/>
                    </a:lnTo>
                    <a:lnTo>
                      <a:pt x="247" y="384"/>
                    </a:lnTo>
                    <a:lnTo>
                      <a:pt x="247" y="383"/>
                    </a:lnTo>
                    <a:lnTo>
                      <a:pt x="248" y="383"/>
                    </a:lnTo>
                    <a:lnTo>
                      <a:pt x="248" y="382"/>
                    </a:lnTo>
                    <a:lnTo>
                      <a:pt x="249" y="382"/>
                    </a:lnTo>
                    <a:lnTo>
                      <a:pt x="249" y="383"/>
                    </a:lnTo>
                    <a:lnTo>
                      <a:pt x="248" y="383"/>
                    </a:lnTo>
                    <a:close/>
                    <a:moveTo>
                      <a:pt x="123" y="325"/>
                    </a:moveTo>
                    <a:lnTo>
                      <a:pt x="123" y="326"/>
                    </a:lnTo>
                    <a:lnTo>
                      <a:pt x="123" y="327"/>
                    </a:lnTo>
                    <a:lnTo>
                      <a:pt x="122" y="327"/>
                    </a:lnTo>
                    <a:lnTo>
                      <a:pt x="122" y="328"/>
                    </a:lnTo>
                    <a:lnTo>
                      <a:pt x="120" y="327"/>
                    </a:lnTo>
                    <a:lnTo>
                      <a:pt x="120" y="326"/>
                    </a:lnTo>
                    <a:lnTo>
                      <a:pt x="119" y="326"/>
                    </a:lnTo>
                    <a:lnTo>
                      <a:pt x="119" y="327"/>
                    </a:lnTo>
                    <a:lnTo>
                      <a:pt x="120" y="327"/>
                    </a:lnTo>
                    <a:lnTo>
                      <a:pt x="120" y="328"/>
                    </a:lnTo>
                    <a:lnTo>
                      <a:pt x="119" y="328"/>
                    </a:lnTo>
                    <a:lnTo>
                      <a:pt x="118" y="328"/>
                    </a:lnTo>
                    <a:lnTo>
                      <a:pt x="118" y="329"/>
                    </a:lnTo>
                    <a:lnTo>
                      <a:pt x="117" y="329"/>
                    </a:lnTo>
                    <a:lnTo>
                      <a:pt x="117" y="331"/>
                    </a:lnTo>
                    <a:lnTo>
                      <a:pt x="117" y="329"/>
                    </a:lnTo>
                    <a:lnTo>
                      <a:pt x="117" y="328"/>
                    </a:lnTo>
                    <a:lnTo>
                      <a:pt x="118" y="328"/>
                    </a:lnTo>
                    <a:lnTo>
                      <a:pt x="118" y="327"/>
                    </a:lnTo>
                    <a:lnTo>
                      <a:pt x="119" y="327"/>
                    </a:lnTo>
                    <a:lnTo>
                      <a:pt x="118" y="327"/>
                    </a:lnTo>
                    <a:lnTo>
                      <a:pt x="118" y="326"/>
                    </a:lnTo>
                    <a:lnTo>
                      <a:pt x="119" y="327"/>
                    </a:lnTo>
                    <a:lnTo>
                      <a:pt x="119" y="326"/>
                    </a:lnTo>
                    <a:lnTo>
                      <a:pt x="118" y="326"/>
                    </a:lnTo>
                    <a:lnTo>
                      <a:pt x="118" y="325"/>
                    </a:lnTo>
                    <a:lnTo>
                      <a:pt x="118" y="326"/>
                    </a:lnTo>
                    <a:lnTo>
                      <a:pt x="119" y="326"/>
                    </a:lnTo>
                    <a:lnTo>
                      <a:pt x="118" y="326"/>
                    </a:lnTo>
                    <a:lnTo>
                      <a:pt x="118" y="327"/>
                    </a:lnTo>
                    <a:lnTo>
                      <a:pt x="119" y="327"/>
                    </a:lnTo>
                    <a:lnTo>
                      <a:pt x="118" y="327"/>
                    </a:lnTo>
                    <a:lnTo>
                      <a:pt x="118" y="328"/>
                    </a:lnTo>
                    <a:lnTo>
                      <a:pt x="118" y="327"/>
                    </a:lnTo>
                    <a:lnTo>
                      <a:pt x="118" y="328"/>
                    </a:lnTo>
                    <a:lnTo>
                      <a:pt x="117" y="328"/>
                    </a:lnTo>
                    <a:lnTo>
                      <a:pt x="117" y="327"/>
                    </a:lnTo>
                    <a:lnTo>
                      <a:pt x="118" y="326"/>
                    </a:lnTo>
                    <a:lnTo>
                      <a:pt x="118" y="325"/>
                    </a:lnTo>
                    <a:lnTo>
                      <a:pt x="118" y="324"/>
                    </a:lnTo>
                    <a:lnTo>
                      <a:pt x="119" y="324"/>
                    </a:lnTo>
                    <a:lnTo>
                      <a:pt x="120" y="323"/>
                    </a:lnTo>
                    <a:lnTo>
                      <a:pt x="122" y="323"/>
                    </a:lnTo>
                    <a:lnTo>
                      <a:pt x="123" y="323"/>
                    </a:lnTo>
                    <a:lnTo>
                      <a:pt x="124" y="324"/>
                    </a:lnTo>
                    <a:lnTo>
                      <a:pt x="123" y="325"/>
                    </a:lnTo>
                    <a:close/>
                    <a:moveTo>
                      <a:pt x="644" y="491"/>
                    </a:moveTo>
                    <a:lnTo>
                      <a:pt x="643" y="491"/>
                    </a:lnTo>
                    <a:lnTo>
                      <a:pt x="643" y="492"/>
                    </a:lnTo>
                    <a:lnTo>
                      <a:pt x="642" y="492"/>
                    </a:lnTo>
                    <a:lnTo>
                      <a:pt x="641" y="492"/>
                    </a:lnTo>
                    <a:lnTo>
                      <a:pt x="641" y="493"/>
                    </a:lnTo>
                    <a:lnTo>
                      <a:pt x="640" y="493"/>
                    </a:lnTo>
                    <a:lnTo>
                      <a:pt x="639" y="494"/>
                    </a:lnTo>
                    <a:lnTo>
                      <a:pt x="638" y="495"/>
                    </a:lnTo>
                    <a:lnTo>
                      <a:pt x="638" y="496"/>
                    </a:lnTo>
                    <a:lnTo>
                      <a:pt x="636" y="496"/>
                    </a:lnTo>
                    <a:lnTo>
                      <a:pt x="636" y="495"/>
                    </a:lnTo>
                    <a:lnTo>
                      <a:pt x="635" y="495"/>
                    </a:lnTo>
                    <a:lnTo>
                      <a:pt x="635" y="496"/>
                    </a:lnTo>
                    <a:lnTo>
                      <a:pt x="634" y="498"/>
                    </a:lnTo>
                    <a:lnTo>
                      <a:pt x="635" y="498"/>
                    </a:lnTo>
                    <a:lnTo>
                      <a:pt x="635" y="499"/>
                    </a:lnTo>
                    <a:lnTo>
                      <a:pt x="635" y="500"/>
                    </a:lnTo>
                    <a:lnTo>
                      <a:pt x="634" y="500"/>
                    </a:lnTo>
                    <a:lnTo>
                      <a:pt x="634" y="499"/>
                    </a:lnTo>
                    <a:lnTo>
                      <a:pt x="633" y="499"/>
                    </a:lnTo>
                    <a:lnTo>
                      <a:pt x="633" y="500"/>
                    </a:lnTo>
                    <a:lnTo>
                      <a:pt x="632" y="501"/>
                    </a:lnTo>
                    <a:lnTo>
                      <a:pt x="632" y="502"/>
                    </a:lnTo>
                    <a:lnTo>
                      <a:pt x="632" y="501"/>
                    </a:lnTo>
                    <a:lnTo>
                      <a:pt x="632" y="502"/>
                    </a:lnTo>
                    <a:lnTo>
                      <a:pt x="633" y="502"/>
                    </a:lnTo>
                    <a:lnTo>
                      <a:pt x="634" y="503"/>
                    </a:lnTo>
                    <a:lnTo>
                      <a:pt x="633" y="503"/>
                    </a:lnTo>
                    <a:lnTo>
                      <a:pt x="630" y="501"/>
                    </a:lnTo>
                    <a:lnTo>
                      <a:pt x="630" y="500"/>
                    </a:lnTo>
                    <a:lnTo>
                      <a:pt x="633" y="498"/>
                    </a:lnTo>
                    <a:lnTo>
                      <a:pt x="634" y="496"/>
                    </a:lnTo>
                    <a:lnTo>
                      <a:pt x="639" y="493"/>
                    </a:lnTo>
                    <a:lnTo>
                      <a:pt x="641" y="492"/>
                    </a:lnTo>
                    <a:lnTo>
                      <a:pt x="643" y="491"/>
                    </a:lnTo>
                    <a:lnTo>
                      <a:pt x="644" y="491"/>
                    </a:lnTo>
                    <a:close/>
                    <a:moveTo>
                      <a:pt x="491" y="443"/>
                    </a:moveTo>
                    <a:lnTo>
                      <a:pt x="491" y="444"/>
                    </a:lnTo>
                    <a:lnTo>
                      <a:pt x="491" y="443"/>
                    </a:lnTo>
                    <a:lnTo>
                      <a:pt x="491" y="444"/>
                    </a:lnTo>
                    <a:lnTo>
                      <a:pt x="492" y="446"/>
                    </a:lnTo>
                    <a:lnTo>
                      <a:pt x="492" y="447"/>
                    </a:lnTo>
                    <a:lnTo>
                      <a:pt x="492" y="448"/>
                    </a:lnTo>
                    <a:lnTo>
                      <a:pt x="492" y="449"/>
                    </a:lnTo>
                    <a:lnTo>
                      <a:pt x="491" y="449"/>
                    </a:lnTo>
                    <a:lnTo>
                      <a:pt x="491" y="450"/>
                    </a:lnTo>
                    <a:lnTo>
                      <a:pt x="491" y="451"/>
                    </a:lnTo>
                    <a:lnTo>
                      <a:pt x="491" y="452"/>
                    </a:lnTo>
                    <a:lnTo>
                      <a:pt x="490" y="452"/>
                    </a:lnTo>
                    <a:lnTo>
                      <a:pt x="491" y="452"/>
                    </a:lnTo>
                    <a:lnTo>
                      <a:pt x="490" y="452"/>
                    </a:lnTo>
                    <a:lnTo>
                      <a:pt x="489" y="452"/>
                    </a:lnTo>
                    <a:lnTo>
                      <a:pt x="489" y="451"/>
                    </a:lnTo>
                    <a:lnTo>
                      <a:pt x="489" y="450"/>
                    </a:lnTo>
                    <a:lnTo>
                      <a:pt x="489" y="449"/>
                    </a:lnTo>
                    <a:lnTo>
                      <a:pt x="488" y="449"/>
                    </a:lnTo>
                    <a:lnTo>
                      <a:pt x="488" y="448"/>
                    </a:lnTo>
                    <a:lnTo>
                      <a:pt x="489" y="448"/>
                    </a:lnTo>
                    <a:lnTo>
                      <a:pt x="489" y="447"/>
                    </a:lnTo>
                    <a:lnTo>
                      <a:pt x="489" y="446"/>
                    </a:lnTo>
                    <a:lnTo>
                      <a:pt x="489" y="444"/>
                    </a:lnTo>
                    <a:lnTo>
                      <a:pt x="489" y="443"/>
                    </a:lnTo>
                    <a:lnTo>
                      <a:pt x="490" y="443"/>
                    </a:lnTo>
                    <a:lnTo>
                      <a:pt x="491" y="443"/>
                    </a:lnTo>
                    <a:close/>
                    <a:moveTo>
                      <a:pt x="556" y="424"/>
                    </a:moveTo>
                    <a:lnTo>
                      <a:pt x="558" y="425"/>
                    </a:lnTo>
                    <a:lnTo>
                      <a:pt x="557" y="425"/>
                    </a:lnTo>
                    <a:lnTo>
                      <a:pt x="557" y="424"/>
                    </a:lnTo>
                    <a:lnTo>
                      <a:pt x="556" y="424"/>
                    </a:lnTo>
                    <a:lnTo>
                      <a:pt x="555" y="425"/>
                    </a:lnTo>
                    <a:lnTo>
                      <a:pt x="555" y="426"/>
                    </a:lnTo>
                    <a:lnTo>
                      <a:pt x="555" y="427"/>
                    </a:lnTo>
                    <a:lnTo>
                      <a:pt x="555" y="428"/>
                    </a:lnTo>
                    <a:lnTo>
                      <a:pt x="556" y="428"/>
                    </a:lnTo>
                    <a:lnTo>
                      <a:pt x="556" y="427"/>
                    </a:lnTo>
                    <a:lnTo>
                      <a:pt x="557" y="427"/>
                    </a:lnTo>
                    <a:lnTo>
                      <a:pt x="558" y="427"/>
                    </a:lnTo>
                    <a:lnTo>
                      <a:pt x="558" y="428"/>
                    </a:lnTo>
                    <a:lnTo>
                      <a:pt x="557" y="429"/>
                    </a:lnTo>
                    <a:lnTo>
                      <a:pt x="557" y="430"/>
                    </a:lnTo>
                    <a:lnTo>
                      <a:pt x="558" y="430"/>
                    </a:lnTo>
                    <a:lnTo>
                      <a:pt x="558" y="431"/>
                    </a:lnTo>
                    <a:lnTo>
                      <a:pt x="558" y="430"/>
                    </a:lnTo>
                    <a:lnTo>
                      <a:pt x="555" y="429"/>
                    </a:lnTo>
                    <a:lnTo>
                      <a:pt x="554" y="429"/>
                    </a:lnTo>
                    <a:lnTo>
                      <a:pt x="553" y="428"/>
                    </a:lnTo>
                    <a:lnTo>
                      <a:pt x="552" y="428"/>
                    </a:lnTo>
                    <a:lnTo>
                      <a:pt x="551" y="428"/>
                    </a:lnTo>
                    <a:lnTo>
                      <a:pt x="551" y="427"/>
                    </a:lnTo>
                    <a:lnTo>
                      <a:pt x="552" y="427"/>
                    </a:lnTo>
                    <a:lnTo>
                      <a:pt x="553" y="425"/>
                    </a:lnTo>
                    <a:lnTo>
                      <a:pt x="554" y="425"/>
                    </a:lnTo>
                    <a:lnTo>
                      <a:pt x="555" y="424"/>
                    </a:lnTo>
                    <a:lnTo>
                      <a:pt x="556" y="423"/>
                    </a:lnTo>
                    <a:lnTo>
                      <a:pt x="556" y="424"/>
                    </a:lnTo>
                    <a:close/>
                    <a:moveTo>
                      <a:pt x="573" y="437"/>
                    </a:moveTo>
                    <a:lnTo>
                      <a:pt x="573" y="438"/>
                    </a:lnTo>
                    <a:lnTo>
                      <a:pt x="574" y="438"/>
                    </a:lnTo>
                    <a:lnTo>
                      <a:pt x="573" y="438"/>
                    </a:lnTo>
                    <a:lnTo>
                      <a:pt x="571" y="438"/>
                    </a:lnTo>
                    <a:lnTo>
                      <a:pt x="573" y="438"/>
                    </a:lnTo>
                    <a:lnTo>
                      <a:pt x="571" y="438"/>
                    </a:lnTo>
                    <a:lnTo>
                      <a:pt x="573" y="439"/>
                    </a:lnTo>
                    <a:lnTo>
                      <a:pt x="571" y="439"/>
                    </a:lnTo>
                    <a:lnTo>
                      <a:pt x="571" y="438"/>
                    </a:lnTo>
                    <a:lnTo>
                      <a:pt x="571" y="439"/>
                    </a:lnTo>
                    <a:lnTo>
                      <a:pt x="571" y="440"/>
                    </a:lnTo>
                    <a:lnTo>
                      <a:pt x="570" y="440"/>
                    </a:lnTo>
                    <a:lnTo>
                      <a:pt x="570" y="441"/>
                    </a:lnTo>
                    <a:lnTo>
                      <a:pt x="571" y="441"/>
                    </a:lnTo>
                    <a:lnTo>
                      <a:pt x="570" y="441"/>
                    </a:lnTo>
                    <a:lnTo>
                      <a:pt x="570" y="442"/>
                    </a:lnTo>
                    <a:lnTo>
                      <a:pt x="570" y="443"/>
                    </a:lnTo>
                    <a:lnTo>
                      <a:pt x="569" y="443"/>
                    </a:lnTo>
                    <a:lnTo>
                      <a:pt x="569" y="444"/>
                    </a:lnTo>
                    <a:lnTo>
                      <a:pt x="568" y="443"/>
                    </a:lnTo>
                    <a:lnTo>
                      <a:pt x="567" y="443"/>
                    </a:lnTo>
                    <a:lnTo>
                      <a:pt x="567" y="444"/>
                    </a:lnTo>
                    <a:lnTo>
                      <a:pt x="566" y="444"/>
                    </a:lnTo>
                    <a:lnTo>
                      <a:pt x="567" y="444"/>
                    </a:lnTo>
                    <a:lnTo>
                      <a:pt x="567" y="446"/>
                    </a:lnTo>
                    <a:lnTo>
                      <a:pt x="566" y="446"/>
                    </a:lnTo>
                    <a:lnTo>
                      <a:pt x="567" y="446"/>
                    </a:lnTo>
                    <a:lnTo>
                      <a:pt x="568" y="446"/>
                    </a:lnTo>
                    <a:lnTo>
                      <a:pt x="567" y="444"/>
                    </a:lnTo>
                    <a:lnTo>
                      <a:pt x="568" y="444"/>
                    </a:lnTo>
                    <a:lnTo>
                      <a:pt x="567" y="444"/>
                    </a:lnTo>
                    <a:lnTo>
                      <a:pt x="568" y="444"/>
                    </a:lnTo>
                    <a:lnTo>
                      <a:pt x="569" y="444"/>
                    </a:lnTo>
                    <a:lnTo>
                      <a:pt x="568" y="444"/>
                    </a:lnTo>
                    <a:lnTo>
                      <a:pt x="568" y="446"/>
                    </a:lnTo>
                    <a:lnTo>
                      <a:pt x="569" y="446"/>
                    </a:lnTo>
                    <a:lnTo>
                      <a:pt x="569" y="444"/>
                    </a:lnTo>
                    <a:lnTo>
                      <a:pt x="570" y="444"/>
                    </a:lnTo>
                    <a:lnTo>
                      <a:pt x="569" y="444"/>
                    </a:lnTo>
                    <a:lnTo>
                      <a:pt x="570" y="443"/>
                    </a:lnTo>
                    <a:lnTo>
                      <a:pt x="570" y="444"/>
                    </a:lnTo>
                    <a:lnTo>
                      <a:pt x="570" y="443"/>
                    </a:lnTo>
                    <a:lnTo>
                      <a:pt x="570" y="444"/>
                    </a:lnTo>
                    <a:lnTo>
                      <a:pt x="570" y="443"/>
                    </a:lnTo>
                    <a:lnTo>
                      <a:pt x="571" y="442"/>
                    </a:lnTo>
                    <a:lnTo>
                      <a:pt x="573" y="442"/>
                    </a:lnTo>
                    <a:lnTo>
                      <a:pt x="573" y="443"/>
                    </a:lnTo>
                    <a:lnTo>
                      <a:pt x="571" y="443"/>
                    </a:lnTo>
                    <a:lnTo>
                      <a:pt x="571" y="444"/>
                    </a:lnTo>
                    <a:lnTo>
                      <a:pt x="570" y="444"/>
                    </a:lnTo>
                    <a:lnTo>
                      <a:pt x="570" y="446"/>
                    </a:lnTo>
                    <a:lnTo>
                      <a:pt x="569" y="446"/>
                    </a:lnTo>
                    <a:lnTo>
                      <a:pt x="568" y="446"/>
                    </a:lnTo>
                    <a:lnTo>
                      <a:pt x="566" y="446"/>
                    </a:lnTo>
                    <a:lnTo>
                      <a:pt x="566" y="444"/>
                    </a:lnTo>
                    <a:lnTo>
                      <a:pt x="568" y="442"/>
                    </a:lnTo>
                    <a:lnTo>
                      <a:pt x="568" y="441"/>
                    </a:lnTo>
                    <a:lnTo>
                      <a:pt x="569" y="440"/>
                    </a:lnTo>
                    <a:lnTo>
                      <a:pt x="569" y="439"/>
                    </a:lnTo>
                    <a:lnTo>
                      <a:pt x="570" y="439"/>
                    </a:lnTo>
                    <a:lnTo>
                      <a:pt x="570" y="438"/>
                    </a:lnTo>
                    <a:lnTo>
                      <a:pt x="570" y="437"/>
                    </a:lnTo>
                    <a:lnTo>
                      <a:pt x="571" y="437"/>
                    </a:lnTo>
                    <a:lnTo>
                      <a:pt x="573" y="436"/>
                    </a:lnTo>
                    <a:lnTo>
                      <a:pt x="573" y="437"/>
                    </a:lnTo>
                    <a:close/>
                    <a:moveTo>
                      <a:pt x="259" y="387"/>
                    </a:moveTo>
                    <a:lnTo>
                      <a:pt x="261" y="389"/>
                    </a:lnTo>
                    <a:lnTo>
                      <a:pt x="262" y="390"/>
                    </a:lnTo>
                    <a:lnTo>
                      <a:pt x="265" y="392"/>
                    </a:lnTo>
                    <a:lnTo>
                      <a:pt x="264" y="392"/>
                    </a:lnTo>
                    <a:lnTo>
                      <a:pt x="262" y="392"/>
                    </a:lnTo>
                    <a:lnTo>
                      <a:pt x="261" y="392"/>
                    </a:lnTo>
                    <a:lnTo>
                      <a:pt x="262" y="392"/>
                    </a:lnTo>
                    <a:lnTo>
                      <a:pt x="262" y="391"/>
                    </a:lnTo>
                    <a:lnTo>
                      <a:pt x="262" y="392"/>
                    </a:lnTo>
                    <a:lnTo>
                      <a:pt x="262" y="391"/>
                    </a:lnTo>
                    <a:lnTo>
                      <a:pt x="261" y="391"/>
                    </a:lnTo>
                    <a:lnTo>
                      <a:pt x="261" y="392"/>
                    </a:lnTo>
                    <a:lnTo>
                      <a:pt x="261" y="391"/>
                    </a:lnTo>
                    <a:lnTo>
                      <a:pt x="261" y="390"/>
                    </a:lnTo>
                    <a:lnTo>
                      <a:pt x="260" y="390"/>
                    </a:lnTo>
                    <a:lnTo>
                      <a:pt x="260" y="391"/>
                    </a:lnTo>
                    <a:lnTo>
                      <a:pt x="259" y="391"/>
                    </a:lnTo>
                    <a:lnTo>
                      <a:pt x="258" y="391"/>
                    </a:lnTo>
                    <a:lnTo>
                      <a:pt x="258" y="392"/>
                    </a:lnTo>
                    <a:lnTo>
                      <a:pt x="257" y="391"/>
                    </a:lnTo>
                    <a:lnTo>
                      <a:pt x="257" y="392"/>
                    </a:lnTo>
                    <a:lnTo>
                      <a:pt x="256" y="392"/>
                    </a:lnTo>
                    <a:lnTo>
                      <a:pt x="255" y="392"/>
                    </a:lnTo>
                    <a:lnTo>
                      <a:pt x="256" y="392"/>
                    </a:lnTo>
                    <a:lnTo>
                      <a:pt x="256" y="391"/>
                    </a:lnTo>
                    <a:lnTo>
                      <a:pt x="257" y="391"/>
                    </a:lnTo>
                    <a:lnTo>
                      <a:pt x="256" y="391"/>
                    </a:lnTo>
                    <a:lnTo>
                      <a:pt x="256" y="390"/>
                    </a:lnTo>
                    <a:lnTo>
                      <a:pt x="257" y="390"/>
                    </a:lnTo>
                    <a:lnTo>
                      <a:pt x="257" y="389"/>
                    </a:lnTo>
                    <a:lnTo>
                      <a:pt x="258" y="389"/>
                    </a:lnTo>
                    <a:lnTo>
                      <a:pt x="258" y="388"/>
                    </a:lnTo>
                    <a:lnTo>
                      <a:pt x="258" y="389"/>
                    </a:lnTo>
                    <a:lnTo>
                      <a:pt x="259" y="389"/>
                    </a:lnTo>
                    <a:lnTo>
                      <a:pt x="258" y="389"/>
                    </a:lnTo>
                    <a:lnTo>
                      <a:pt x="259" y="388"/>
                    </a:lnTo>
                    <a:lnTo>
                      <a:pt x="258" y="388"/>
                    </a:lnTo>
                    <a:lnTo>
                      <a:pt x="259" y="388"/>
                    </a:lnTo>
                    <a:lnTo>
                      <a:pt x="259" y="387"/>
                    </a:lnTo>
                    <a:close/>
                    <a:moveTo>
                      <a:pt x="615" y="506"/>
                    </a:moveTo>
                    <a:lnTo>
                      <a:pt x="615" y="508"/>
                    </a:lnTo>
                    <a:lnTo>
                      <a:pt x="615" y="510"/>
                    </a:lnTo>
                    <a:lnTo>
                      <a:pt x="615" y="511"/>
                    </a:lnTo>
                    <a:lnTo>
                      <a:pt x="616" y="511"/>
                    </a:lnTo>
                    <a:lnTo>
                      <a:pt x="615" y="511"/>
                    </a:lnTo>
                    <a:lnTo>
                      <a:pt x="614" y="511"/>
                    </a:lnTo>
                    <a:lnTo>
                      <a:pt x="614" y="512"/>
                    </a:lnTo>
                    <a:lnTo>
                      <a:pt x="613" y="512"/>
                    </a:lnTo>
                    <a:lnTo>
                      <a:pt x="613" y="513"/>
                    </a:lnTo>
                    <a:lnTo>
                      <a:pt x="613" y="514"/>
                    </a:lnTo>
                    <a:lnTo>
                      <a:pt x="612" y="514"/>
                    </a:lnTo>
                    <a:lnTo>
                      <a:pt x="610" y="513"/>
                    </a:lnTo>
                    <a:lnTo>
                      <a:pt x="612" y="513"/>
                    </a:lnTo>
                    <a:lnTo>
                      <a:pt x="612" y="512"/>
                    </a:lnTo>
                    <a:lnTo>
                      <a:pt x="613" y="512"/>
                    </a:lnTo>
                    <a:lnTo>
                      <a:pt x="613" y="511"/>
                    </a:lnTo>
                    <a:lnTo>
                      <a:pt x="613" y="510"/>
                    </a:lnTo>
                    <a:lnTo>
                      <a:pt x="612" y="511"/>
                    </a:lnTo>
                    <a:lnTo>
                      <a:pt x="612" y="510"/>
                    </a:lnTo>
                    <a:lnTo>
                      <a:pt x="610" y="510"/>
                    </a:lnTo>
                    <a:lnTo>
                      <a:pt x="612" y="510"/>
                    </a:lnTo>
                    <a:lnTo>
                      <a:pt x="612" y="508"/>
                    </a:lnTo>
                    <a:lnTo>
                      <a:pt x="612" y="507"/>
                    </a:lnTo>
                    <a:lnTo>
                      <a:pt x="613" y="507"/>
                    </a:lnTo>
                    <a:lnTo>
                      <a:pt x="612" y="507"/>
                    </a:lnTo>
                    <a:lnTo>
                      <a:pt x="610" y="507"/>
                    </a:lnTo>
                    <a:lnTo>
                      <a:pt x="610" y="508"/>
                    </a:lnTo>
                    <a:lnTo>
                      <a:pt x="609" y="507"/>
                    </a:lnTo>
                    <a:lnTo>
                      <a:pt x="613" y="506"/>
                    </a:lnTo>
                    <a:lnTo>
                      <a:pt x="614" y="506"/>
                    </a:lnTo>
                    <a:lnTo>
                      <a:pt x="615" y="506"/>
                    </a:lnTo>
                    <a:close/>
                    <a:moveTo>
                      <a:pt x="344" y="184"/>
                    </a:moveTo>
                    <a:lnTo>
                      <a:pt x="343" y="184"/>
                    </a:lnTo>
                    <a:lnTo>
                      <a:pt x="343" y="185"/>
                    </a:lnTo>
                    <a:lnTo>
                      <a:pt x="343" y="186"/>
                    </a:lnTo>
                    <a:lnTo>
                      <a:pt x="343" y="185"/>
                    </a:lnTo>
                    <a:lnTo>
                      <a:pt x="342" y="185"/>
                    </a:lnTo>
                    <a:lnTo>
                      <a:pt x="341" y="185"/>
                    </a:lnTo>
                    <a:lnTo>
                      <a:pt x="339" y="185"/>
                    </a:lnTo>
                    <a:lnTo>
                      <a:pt x="339" y="184"/>
                    </a:lnTo>
                    <a:lnTo>
                      <a:pt x="338" y="184"/>
                    </a:lnTo>
                    <a:lnTo>
                      <a:pt x="338" y="183"/>
                    </a:lnTo>
                    <a:lnTo>
                      <a:pt x="337" y="183"/>
                    </a:lnTo>
                    <a:lnTo>
                      <a:pt x="337" y="182"/>
                    </a:lnTo>
                    <a:lnTo>
                      <a:pt x="338" y="183"/>
                    </a:lnTo>
                    <a:lnTo>
                      <a:pt x="338" y="182"/>
                    </a:lnTo>
                    <a:lnTo>
                      <a:pt x="339" y="182"/>
                    </a:lnTo>
                    <a:lnTo>
                      <a:pt x="341" y="181"/>
                    </a:lnTo>
                    <a:lnTo>
                      <a:pt x="339" y="181"/>
                    </a:lnTo>
                    <a:lnTo>
                      <a:pt x="339" y="180"/>
                    </a:lnTo>
                    <a:lnTo>
                      <a:pt x="338" y="180"/>
                    </a:lnTo>
                    <a:lnTo>
                      <a:pt x="338" y="179"/>
                    </a:lnTo>
                    <a:lnTo>
                      <a:pt x="337" y="179"/>
                    </a:lnTo>
                    <a:lnTo>
                      <a:pt x="336" y="179"/>
                    </a:lnTo>
                    <a:lnTo>
                      <a:pt x="336" y="178"/>
                    </a:lnTo>
                    <a:lnTo>
                      <a:pt x="336" y="179"/>
                    </a:lnTo>
                    <a:lnTo>
                      <a:pt x="338" y="179"/>
                    </a:lnTo>
                    <a:lnTo>
                      <a:pt x="339" y="179"/>
                    </a:lnTo>
                    <a:lnTo>
                      <a:pt x="341" y="180"/>
                    </a:lnTo>
                    <a:lnTo>
                      <a:pt x="342" y="181"/>
                    </a:lnTo>
                    <a:lnTo>
                      <a:pt x="343" y="182"/>
                    </a:lnTo>
                    <a:lnTo>
                      <a:pt x="343" y="183"/>
                    </a:lnTo>
                    <a:lnTo>
                      <a:pt x="344" y="184"/>
                    </a:lnTo>
                    <a:close/>
                    <a:moveTo>
                      <a:pt x="305" y="388"/>
                    </a:moveTo>
                    <a:lnTo>
                      <a:pt x="304" y="389"/>
                    </a:lnTo>
                    <a:lnTo>
                      <a:pt x="305" y="389"/>
                    </a:lnTo>
                    <a:lnTo>
                      <a:pt x="304" y="389"/>
                    </a:lnTo>
                    <a:lnTo>
                      <a:pt x="304" y="390"/>
                    </a:lnTo>
                    <a:lnTo>
                      <a:pt x="305" y="390"/>
                    </a:lnTo>
                    <a:lnTo>
                      <a:pt x="305" y="391"/>
                    </a:lnTo>
                    <a:lnTo>
                      <a:pt x="305" y="392"/>
                    </a:lnTo>
                    <a:lnTo>
                      <a:pt x="304" y="392"/>
                    </a:lnTo>
                    <a:lnTo>
                      <a:pt x="303" y="392"/>
                    </a:lnTo>
                    <a:lnTo>
                      <a:pt x="303" y="391"/>
                    </a:lnTo>
                    <a:lnTo>
                      <a:pt x="303" y="390"/>
                    </a:lnTo>
                    <a:lnTo>
                      <a:pt x="302" y="390"/>
                    </a:lnTo>
                    <a:lnTo>
                      <a:pt x="303" y="389"/>
                    </a:lnTo>
                    <a:lnTo>
                      <a:pt x="303" y="388"/>
                    </a:lnTo>
                    <a:lnTo>
                      <a:pt x="302" y="389"/>
                    </a:lnTo>
                    <a:lnTo>
                      <a:pt x="303" y="389"/>
                    </a:lnTo>
                    <a:lnTo>
                      <a:pt x="302" y="389"/>
                    </a:lnTo>
                    <a:lnTo>
                      <a:pt x="302" y="390"/>
                    </a:lnTo>
                    <a:lnTo>
                      <a:pt x="302" y="389"/>
                    </a:lnTo>
                    <a:lnTo>
                      <a:pt x="302" y="388"/>
                    </a:lnTo>
                    <a:lnTo>
                      <a:pt x="300" y="388"/>
                    </a:lnTo>
                    <a:lnTo>
                      <a:pt x="302" y="388"/>
                    </a:lnTo>
                    <a:lnTo>
                      <a:pt x="305" y="383"/>
                    </a:lnTo>
                    <a:lnTo>
                      <a:pt x="306" y="383"/>
                    </a:lnTo>
                    <a:lnTo>
                      <a:pt x="305" y="384"/>
                    </a:lnTo>
                    <a:lnTo>
                      <a:pt x="305" y="385"/>
                    </a:lnTo>
                    <a:lnTo>
                      <a:pt x="305" y="387"/>
                    </a:lnTo>
                    <a:lnTo>
                      <a:pt x="305" y="388"/>
                    </a:lnTo>
                    <a:close/>
                    <a:moveTo>
                      <a:pt x="253" y="247"/>
                    </a:moveTo>
                    <a:lnTo>
                      <a:pt x="254" y="248"/>
                    </a:lnTo>
                    <a:lnTo>
                      <a:pt x="254" y="247"/>
                    </a:lnTo>
                    <a:lnTo>
                      <a:pt x="255" y="247"/>
                    </a:lnTo>
                    <a:lnTo>
                      <a:pt x="255" y="248"/>
                    </a:lnTo>
                    <a:lnTo>
                      <a:pt x="256" y="248"/>
                    </a:lnTo>
                    <a:lnTo>
                      <a:pt x="256" y="249"/>
                    </a:lnTo>
                    <a:lnTo>
                      <a:pt x="256" y="250"/>
                    </a:lnTo>
                    <a:lnTo>
                      <a:pt x="256" y="251"/>
                    </a:lnTo>
                    <a:lnTo>
                      <a:pt x="256" y="253"/>
                    </a:lnTo>
                    <a:lnTo>
                      <a:pt x="255" y="253"/>
                    </a:lnTo>
                    <a:lnTo>
                      <a:pt x="254" y="253"/>
                    </a:lnTo>
                    <a:lnTo>
                      <a:pt x="254" y="251"/>
                    </a:lnTo>
                    <a:lnTo>
                      <a:pt x="253" y="251"/>
                    </a:lnTo>
                    <a:lnTo>
                      <a:pt x="253" y="250"/>
                    </a:lnTo>
                    <a:lnTo>
                      <a:pt x="252" y="250"/>
                    </a:lnTo>
                    <a:lnTo>
                      <a:pt x="251" y="250"/>
                    </a:lnTo>
                    <a:lnTo>
                      <a:pt x="251" y="249"/>
                    </a:lnTo>
                    <a:lnTo>
                      <a:pt x="251" y="248"/>
                    </a:lnTo>
                    <a:lnTo>
                      <a:pt x="251" y="247"/>
                    </a:lnTo>
                    <a:lnTo>
                      <a:pt x="251" y="248"/>
                    </a:lnTo>
                    <a:lnTo>
                      <a:pt x="251" y="247"/>
                    </a:lnTo>
                    <a:lnTo>
                      <a:pt x="252" y="247"/>
                    </a:lnTo>
                    <a:lnTo>
                      <a:pt x="251" y="248"/>
                    </a:lnTo>
                    <a:lnTo>
                      <a:pt x="252" y="248"/>
                    </a:lnTo>
                    <a:lnTo>
                      <a:pt x="252" y="247"/>
                    </a:lnTo>
                    <a:lnTo>
                      <a:pt x="253" y="247"/>
                    </a:lnTo>
                    <a:close/>
                    <a:moveTo>
                      <a:pt x="158" y="386"/>
                    </a:moveTo>
                    <a:lnTo>
                      <a:pt x="160" y="386"/>
                    </a:lnTo>
                    <a:lnTo>
                      <a:pt x="158" y="386"/>
                    </a:lnTo>
                    <a:lnTo>
                      <a:pt x="158" y="385"/>
                    </a:lnTo>
                    <a:lnTo>
                      <a:pt x="160" y="386"/>
                    </a:lnTo>
                    <a:lnTo>
                      <a:pt x="161" y="387"/>
                    </a:lnTo>
                    <a:lnTo>
                      <a:pt x="162" y="387"/>
                    </a:lnTo>
                    <a:lnTo>
                      <a:pt x="163" y="388"/>
                    </a:lnTo>
                    <a:lnTo>
                      <a:pt x="163" y="389"/>
                    </a:lnTo>
                    <a:lnTo>
                      <a:pt x="164" y="389"/>
                    </a:lnTo>
                    <a:lnTo>
                      <a:pt x="166" y="389"/>
                    </a:lnTo>
                    <a:lnTo>
                      <a:pt x="166" y="388"/>
                    </a:lnTo>
                    <a:lnTo>
                      <a:pt x="166" y="389"/>
                    </a:lnTo>
                    <a:lnTo>
                      <a:pt x="165" y="389"/>
                    </a:lnTo>
                    <a:lnTo>
                      <a:pt x="165" y="390"/>
                    </a:lnTo>
                    <a:lnTo>
                      <a:pt x="164" y="390"/>
                    </a:lnTo>
                    <a:lnTo>
                      <a:pt x="163" y="390"/>
                    </a:lnTo>
                    <a:lnTo>
                      <a:pt x="163" y="389"/>
                    </a:lnTo>
                    <a:lnTo>
                      <a:pt x="163" y="388"/>
                    </a:lnTo>
                    <a:lnTo>
                      <a:pt x="163" y="389"/>
                    </a:lnTo>
                    <a:lnTo>
                      <a:pt x="162" y="389"/>
                    </a:lnTo>
                    <a:lnTo>
                      <a:pt x="162" y="388"/>
                    </a:lnTo>
                    <a:lnTo>
                      <a:pt x="162" y="389"/>
                    </a:lnTo>
                    <a:lnTo>
                      <a:pt x="161" y="390"/>
                    </a:lnTo>
                    <a:lnTo>
                      <a:pt x="160" y="390"/>
                    </a:lnTo>
                    <a:lnTo>
                      <a:pt x="156" y="387"/>
                    </a:lnTo>
                    <a:lnTo>
                      <a:pt x="157" y="387"/>
                    </a:lnTo>
                    <a:lnTo>
                      <a:pt x="157" y="388"/>
                    </a:lnTo>
                    <a:lnTo>
                      <a:pt x="157" y="387"/>
                    </a:lnTo>
                    <a:lnTo>
                      <a:pt x="158" y="387"/>
                    </a:lnTo>
                    <a:lnTo>
                      <a:pt x="158" y="388"/>
                    </a:lnTo>
                    <a:lnTo>
                      <a:pt x="157" y="388"/>
                    </a:lnTo>
                    <a:lnTo>
                      <a:pt x="158" y="388"/>
                    </a:lnTo>
                    <a:lnTo>
                      <a:pt x="158" y="387"/>
                    </a:lnTo>
                    <a:lnTo>
                      <a:pt x="157" y="387"/>
                    </a:lnTo>
                    <a:lnTo>
                      <a:pt x="157" y="386"/>
                    </a:lnTo>
                    <a:lnTo>
                      <a:pt x="156" y="386"/>
                    </a:lnTo>
                    <a:lnTo>
                      <a:pt x="157" y="386"/>
                    </a:lnTo>
                    <a:lnTo>
                      <a:pt x="157" y="385"/>
                    </a:lnTo>
                    <a:lnTo>
                      <a:pt x="158" y="385"/>
                    </a:lnTo>
                    <a:lnTo>
                      <a:pt x="158" y="386"/>
                    </a:lnTo>
                    <a:close/>
                    <a:moveTo>
                      <a:pt x="192" y="400"/>
                    </a:moveTo>
                    <a:lnTo>
                      <a:pt x="192" y="401"/>
                    </a:lnTo>
                    <a:lnTo>
                      <a:pt x="192" y="402"/>
                    </a:lnTo>
                    <a:lnTo>
                      <a:pt x="192" y="403"/>
                    </a:lnTo>
                    <a:lnTo>
                      <a:pt x="192" y="404"/>
                    </a:lnTo>
                    <a:lnTo>
                      <a:pt x="192" y="405"/>
                    </a:lnTo>
                    <a:lnTo>
                      <a:pt x="191" y="405"/>
                    </a:lnTo>
                    <a:lnTo>
                      <a:pt x="191" y="404"/>
                    </a:lnTo>
                    <a:lnTo>
                      <a:pt x="190" y="404"/>
                    </a:lnTo>
                    <a:lnTo>
                      <a:pt x="188" y="404"/>
                    </a:lnTo>
                    <a:lnTo>
                      <a:pt x="188" y="403"/>
                    </a:lnTo>
                    <a:lnTo>
                      <a:pt x="188" y="402"/>
                    </a:lnTo>
                    <a:lnTo>
                      <a:pt x="189" y="402"/>
                    </a:lnTo>
                    <a:lnTo>
                      <a:pt x="190" y="402"/>
                    </a:lnTo>
                    <a:lnTo>
                      <a:pt x="189" y="402"/>
                    </a:lnTo>
                    <a:lnTo>
                      <a:pt x="188" y="402"/>
                    </a:lnTo>
                    <a:lnTo>
                      <a:pt x="188" y="403"/>
                    </a:lnTo>
                    <a:lnTo>
                      <a:pt x="189" y="403"/>
                    </a:lnTo>
                    <a:lnTo>
                      <a:pt x="188" y="403"/>
                    </a:lnTo>
                    <a:lnTo>
                      <a:pt x="189" y="403"/>
                    </a:lnTo>
                    <a:lnTo>
                      <a:pt x="190" y="403"/>
                    </a:lnTo>
                    <a:lnTo>
                      <a:pt x="190" y="402"/>
                    </a:lnTo>
                    <a:lnTo>
                      <a:pt x="190" y="401"/>
                    </a:lnTo>
                    <a:lnTo>
                      <a:pt x="190" y="402"/>
                    </a:lnTo>
                    <a:lnTo>
                      <a:pt x="189" y="402"/>
                    </a:lnTo>
                    <a:lnTo>
                      <a:pt x="188" y="402"/>
                    </a:lnTo>
                    <a:lnTo>
                      <a:pt x="188" y="403"/>
                    </a:lnTo>
                    <a:lnTo>
                      <a:pt x="188" y="404"/>
                    </a:lnTo>
                    <a:lnTo>
                      <a:pt x="187" y="404"/>
                    </a:lnTo>
                    <a:lnTo>
                      <a:pt x="187" y="403"/>
                    </a:lnTo>
                    <a:lnTo>
                      <a:pt x="187" y="402"/>
                    </a:lnTo>
                    <a:lnTo>
                      <a:pt x="187" y="401"/>
                    </a:lnTo>
                    <a:lnTo>
                      <a:pt x="188" y="401"/>
                    </a:lnTo>
                    <a:lnTo>
                      <a:pt x="187" y="400"/>
                    </a:lnTo>
                    <a:lnTo>
                      <a:pt x="188" y="400"/>
                    </a:lnTo>
                    <a:lnTo>
                      <a:pt x="188" y="401"/>
                    </a:lnTo>
                    <a:lnTo>
                      <a:pt x="189" y="401"/>
                    </a:lnTo>
                    <a:lnTo>
                      <a:pt x="189" y="400"/>
                    </a:lnTo>
                    <a:lnTo>
                      <a:pt x="189" y="401"/>
                    </a:lnTo>
                    <a:lnTo>
                      <a:pt x="188" y="401"/>
                    </a:lnTo>
                    <a:lnTo>
                      <a:pt x="189" y="401"/>
                    </a:lnTo>
                    <a:lnTo>
                      <a:pt x="190" y="401"/>
                    </a:lnTo>
                    <a:lnTo>
                      <a:pt x="191" y="401"/>
                    </a:lnTo>
                    <a:lnTo>
                      <a:pt x="188" y="400"/>
                    </a:lnTo>
                    <a:lnTo>
                      <a:pt x="192" y="401"/>
                    </a:lnTo>
                    <a:lnTo>
                      <a:pt x="192" y="400"/>
                    </a:lnTo>
                    <a:lnTo>
                      <a:pt x="189" y="400"/>
                    </a:lnTo>
                    <a:lnTo>
                      <a:pt x="188" y="400"/>
                    </a:lnTo>
                    <a:lnTo>
                      <a:pt x="190" y="400"/>
                    </a:lnTo>
                    <a:lnTo>
                      <a:pt x="191" y="400"/>
                    </a:lnTo>
                    <a:lnTo>
                      <a:pt x="191" y="399"/>
                    </a:lnTo>
                    <a:lnTo>
                      <a:pt x="192" y="399"/>
                    </a:lnTo>
                    <a:lnTo>
                      <a:pt x="192" y="398"/>
                    </a:lnTo>
                    <a:lnTo>
                      <a:pt x="192" y="397"/>
                    </a:lnTo>
                    <a:lnTo>
                      <a:pt x="192" y="396"/>
                    </a:lnTo>
                    <a:lnTo>
                      <a:pt x="193" y="396"/>
                    </a:lnTo>
                    <a:lnTo>
                      <a:pt x="193" y="395"/>
                    </a:lnTo>
                    <a:lnTo>
                      <a:pt x="193" y="396"/>
                    </a:lnTo>
                    <a:lnTo>
                      <a:pt x="193" y="397"/>
                    </a:lnTo>
                    <a:lnTo>
                      <a:pt x="192" y="397"/>
                    </a:lnTo>
                    <a:lnTo>
                      <a:pt x="192" y="398"/>
                    </a:lnTo>
                    <a:lnTo>
                      <a:pt x="192" y="399"/>
                    </a:lnTo>
                    <a:lnTo>
                      <a:pt x="192" y="400"/>
                    </a:lnTo>
                    <a:close/>
                    <a:moveTo>
                      <a:pt x="210" y="410"/>
                    </a:moveTo>
                    <a:lnTo>
                      <a:pt x="212" y="410"/>
                    </a:lnTo>
                    <a:lnTo>
                      <a:pt x="213" y="410"/>
                    </a:lnTo>
                    <a:lnTo>
                      <a:pt x="214" y="410"/>
                    </a:lnTo>
                    <a:lnTo>
                      <a:pt x="214" y="411"/>
                    </a:lnTo>
                    <a:lnTo>
                      <a:pt x="214" y="412"/>
                    </a:lnTo>
                    <a:lnTo>
                      <a:pt x="214" y="413"/>
                    </a:lnTo>
                    <a:lnTo>
                      <a:pt x="215" y="413"/>
                    </a:lnTo>
                    <a:lnTo>
                      <a:pt x="215" y="412"/>
                    </a:lnTo>
                    <a:lnTo>
                      <a:pt x="215" y="411"/>
                    </a:lnTo>
                    <a:lnTo>
                      <a:pt x="214" y="411"/>
                    </a:lnTo>
                    <a:lnTo>
                      <a:pt x="215" y="411"/>
                    </a:lnTo>
                    <a:lnTo>
                      <a:pt x="215" y="410"/>
                    </a:lnTo>
                    <a:lnTo>
                      <a:pt x="215" y="413"/>
                    </a:lnTo>
                    <a:lnTo>
                      <a:pt x="214" y="413"/>
                    </a:lnTo>
                    <a:lnTo>
                      <a:pt x="212" y="413"/>
                    </a:lnTo>
                    <a:lnTo>
                      <a:pt x="213" y="412"/>
                    </a:lnTo>
                    <a:lnTo>
                      <a:pt x="214" y="411"/>
                    </a:lnTo>
                    <a:lnTo>
                      <a:pt x="214" y="410"/>
                    </a:lnTo>
                    <a:lnTo>
                      <a:pt x="212" y="413"/>
                    </a:lnTo>
                    <a:lnTo>
                      <a:pt x="209" y="413"/>
                    </a:lnTo>
                    <a:lnTo>
                      <a:pt x="208" y="413"/>
                    </a:lnTo>
                    <a:lnTo>
                      <a:pt x="208" y="412"/>
                    </a:lnTo>
                    <a:lnTo>
                      <a:pt x="208" y="410"/>
                    </a:lnTo>
                    <a:lnTo>
                      <a:pt x="209" y="410"/>
                    </a:lnTo>
                    <a:lnTo>
                      <a:pt x="209" y="409"/>
                    </a:lnTo>
                    <a:lnTo>
                      <a:pt x="210" y="409"/>
                    </a:lnTo>
                    <a:lnTo>
                      <a:pt x="210" y="410"/>
                    </a:lnTo>
                    <a:close/>
                    <a:moveTo>
                      <a:pt x="292" y="457"/>
                    </a:moveTo>
                    <a:lnTo>
                      <a:pt x="292" y="459"/>
                    </a:lnTo>
                    <a:lnTo>
                      <a:pt x="293" y="459"/>
                    </a:lnTo>
                    <a:lnTo>
                      <a:pt x="292" y="459"/>
                    </a:lnTo>
                    <a:lnTo>
                      <a:pt x="293" y="459"/>
                    </a:lnTo>
                    <a:lnTo>
                      <a:pt x="297" y="460"/>
                    </a:lnTo>
                    <a:lnTo>
                      <a:pt x="298" y="460"/>
                    </a:lnTo>
                    <a:lnTo>
                      <a:pt x="304" y="462"/>
                    </a:lnTo>
                    <a:lnTo>
                      <a:pt x="310" y="463"/>
                    </a:lnTo>
                    <a:lnTo>
                      <a:pt x="309" y="463"/>
                    </a:lnTo>
                    <a:lnTo>
                      <a:pt x="308" y="463"/>
                    </a:lnTo>
                    <a:lnTo>
                      <a:pt x="307" y="463"/>
                    </a:lnTo>
                    <a:lnTo>
                      <a:pt x="306" y="463"/>
                    </a:lnTo>
                    <a:lnTo>
                      <a:pt x="306" y="462"/>
                    </a:lnTo>
                    <a:lnTo>
                      <a:pt x="305" y="462"/>
                    </a:lnTo>
                    <a:lnTo>
                      <a:pt x="304" y="462"/>
                    </a:lnTo>
                    <a:lnTo>
                      <a:pt x="302" y="462"/>
                    </a:lnTo>
                    <a:lnTo>
                      <a:pt x="300" y="461"/>
                    </a:lnTo>
                    <a:lnTo>
                      <a:pt x="299" y="461"/>
                    </a:lnTo>
                    <a:lnTo>
                      <a:pt x="298" y="461"/>
                    </a:lnTo>
                    <a:lnTo>
                      <a:pt x="295" y="460"/>
                    </a:lnTo>
                    <a:lnTo>
                      <a:pt x="294" y="460"/>
                    </a:lnTo>
                    <a:lnTo>
                      <a:pt x="293" y="460"/>
                    </a:lnTo>
                    <a:lnTo>
                      <a:pt x="289" y="459"/>
                    </a:lnTo>
                    <a:lnTo>
                      <a:pt x="287" y="459"/>
                    </a:lnTo>
                    <a:lnTo>
                      <a:pt x="286" y="459"/>
                    </a:lnTo>
                    <a:lnTo>
                      <a:pt x="286" y="457"/>
                    </a:lnTo>
                    <a:lnTo>
                      <a:pt x="287" y="457"/>
                    </a:lnTo>
                    <a:lnTo>
                      <a:pt x="287" y="456"/>
                    </a:lnTo>
                    <a:lnTo>
                      <a:pt x="289" y="456"/>
                    </a:lnTo>
                    <a:lnTo>
                      <a:pt x="290" y="457"/>
                    </a:lnTo>
                    <a:lnTo>
                      <a:pt x="291" y="457"/>
                    </a:lnTo>
                    <a:lnTo>
                      <a:pt x="292" y="457"/>
                    </a:lnTo>
                    <a:close/>
                    <a:moveTo>
                      <a:pt x="256" y="165"/>
                    </a:moveTo>
                    <a:lnTo>
                      <a:pt x="257" y="165"/>
                    </a:lnTo>
                    <a:lnTo>
                      <a:pt x="258" y="165"/>
                    </a:lnTo>
                    <a:lnTo>
                      <a:pt x="259" y="165"/>
                    </a:lnTo>
                    <a:lnTo>
                      <a:pt x="260" y="165"/>
                    </a:lnTo>
                    <a:lnTo>
                      <a:pt x="260" y="166"/>
                    </a:lnTo>
                    <a:lnTo>
                      <a:pt x="259" y="166"/>
                    </a:lnTo>
                    <a:lnTo>
                      <a:pt x="260" y="167"/>
                    </a:lnTo>
                    <a:lnTo>
                      <a:pt x="260" y="168"/>
                    </a:lnTo>
                    <a:lnTo>
                      <a:pt x="260" y="169"/>
                    </a:lnTo>
                    <a:lnTo>
                      <a:pt x="260" y="170"/>
                    </a:lnTo>
                    <a:lnTo>
                      <a:pt x="260" y="171"/>
                    </a:lnTo>
                    <a:lnTo>
                      <a:pt x="259" y="171"/>
                    </a:lnTo>
                    <a:lnTo>
                      <a:pt x="258" y="171"/>
                    </a:lnTo>
                    <a:lnTo>
                      <a:pt x="258" y="170"/>
                    </a:lnTo>
                    <a:lnTo>
                      <a:pt x="258" y="171"/>
                    </a:lnTo>
                    <a:lnTo>
                      <a:pt x="257" y="171"/>
                    </a:lnTo>
                    <a:lnTo>
                      <a:pt x="256" y="171"/>
                    </a:lnTo>
                    <a:lnTo>
                      <a:pt x="257" y="171"/>
                    </a:lnTo>
                    <a:lnTo>
                      <a:pt x="257" y="170"/>
                    </a:lnTo>
                    <a:lnTo>
                      <a:pt x="256" y="170"/>
                    </a:lnTo>
                    <a:lnTo>
                      <a:pt x="256" y="169"/>
                    </a:lnTo>
                    <a:lnTo>
                      <a:pt x="256" y="168"/>
                    </a:lnTo>
                    <a:lnTo>
                      <a:pt x="257" y="168"/>
                    </a:lnTo>
                    <a:lnTo>
                      <a:pt x="257" y="169"/>
                    </a:lnTo>
                    <a:lnTo>
                      <a:pt x="258" y="169"/>
                    </a:lnTo>
                    <a:lnTo>
                      <a:pt x="257" y="169"/>
                    </a:lnTo>
                    <a:lnTo>
                      <a:pt x="257" y="168"/>
                    </a:lnTo>
                    <a:lnTo>
                      <a:pt x="258" y="168"/>
                    </a:lnTo>
                    <a:lnTo>
                      <a:pt x="258" y="167"/>
                    </a:lnTo>
                    <a:lnTo>
                      <a:pt x="258" y="166"/>
                    </a:lnTo>
                    <a:lnTo>
                      <a:pt x="257" y="166"/>
                    </a:lnTo>
                    <a:lnTo>
                      <a:pt x="257" y="167"/>
                    </a:lnTo>
                    <a:lnTo>
                      <a:pt x="256" y="166"/>
                    </a:lnTo>
                    <a:lnTo>
                      <a:pt x="256" y="165"/>
                    </a:lnTo>
                    <a:lnTo>
                      <a:pt x="255" y="165"/>
                    </a:lnTo>
                    <a:lnTo>
                      <a:pt x="256" y="165"/>
                    </a:lnTo>
                    <a:close/>
                    <a:moveTo>
                      <a:pt x="473" y="598"/>
                    </a:moveTo>
                    <a:lnTo>
                      <a:pt x="473" y="600"/>
                    </a:lnTo>
                    <a:lnTo>
                      <a:pt x="474" y="600"/>
                    </a:lnTo>
                    <a:lnTo>
                      <a:pt x="474" y="601"/>
                    </a:lnTo>
                    <a:lnTo>
                      <a:pt x="475" y="601"/>
                    </a:lnTo>
                    <a:lnTo>
                      <a:pt x="474" y="600"/>
                    </a:lnTo>
                    <a:lnTo>
                      <a:pt x="475" y="600"/>
                    </a:lnTo>
                    <a:lnTo>
                      <a:pt x="475" y="598"/>
                    </a:lnTo>
                    <a:lnTo>
                      <a:pt x="475" y="600"/>
                    </a:lnTo>
                    <a:lnTo>
                      <a:pt x="475" y="598"/>
                    </a:lnTo>
                    <a:lnTo>
                      <a:pt x="476" y="598"/>
                    </a:lnTo>
                    <a:lnTo>
                      <a:pt x="476" y="597"/>
                    </a:lnTo>
                    <a:lnTo>
                      <a:pt x="477" y="598"/>
                    </a:lnTo>
                    <a:lnTo>
                      <a:pt x="476" y="598"/>
                    </a:lnTo>
                    <a:lnTo>
                      <a:pt x="477" y="598"/>
                    </a:lnTo>
                    <a:lnTo>
                      <a:pt x="477" y="600"/>
                    </a:lnTo>
                    <a:lnTo>
                      <a:pt x="476" y="600"/>
                    </a:lnTo>
                    <a:lnTo>
                      <a:pt x="476" y="601"/>
                    </a:lnTo>
                    <a:lnTo>
                      <a:pt x="477" y="601"/>
                    </a:lnTo>
                    <a:lnTo>
                      <a:pt x="477" y="600"/>
                    </a:lnTo>
                    <a:lnTo>
                      <a:pt x="478" y="601"/>
                    </a:lnTo>
                    <a:lnTo>
                      <a:pt x="477" y="601"/>
                    </a:lnTo>
                    <a:lnTo>
                      <a:pt x="476" y="602"/>
                    </a:lnTo>
                    <a:lnTo>
                      <a:pt x="476" y="601"/>
                    </a:lnTo>
                    <a:lnTo>
                      <a:pt x="476" y="602"/>
                    </a:lnTo>
                    <a:lnTo>
                      <a:pt x="475" y="602"/>
                    </a:lnTo>
                    <a:lnTo>
                      <a:pt x="474" y="602"/>
                    </a:lnTo>
                    <a:lnTo>
                      <a:pt x="474" y="603"/>
                    </a:lnTo>
                    <a:lnTo>
                      <a:pt x="473" y="603"/>
                    </a:lnTo>
                    <a:lnTo>
                      <a:pt x="472" y="602"/>
                    </a:lnTo>
                    <a:lnTo>
                      <a:pt x="473" y="602"/>
                    </a:lnTo>
                    <a:lnTo>
                      <a:pt x="472" y="602"/>
                    </a:lnTo>
                    <a:lnTo>
                      <a:pt x="471" y="602"/>
                    </a:lnTo>
                    <a:lnTo>
                      <a:pt x="471" y="603"/>
                    </a:lnTo>
                    <a:lnTo>
                      <a:pt x="470" y="603"/>
                    </a:lnTo>
                    <a:lnTo>
                      <a:pt x="470" y="604"/>
                    </a:lnTo>
                    <a:lnTo>
                      <a:pt x="470" y="603"/>
                    </a:lnTo>
                    <a:lnTo>
                      <a:pt x="470" y="602"/>
                    </a:lnTo>
                    <a:lnTo>
                      <a:pt x="471" y="602"/>
                    </a:lnTo>
                    <a:lnTo>
                      <a:pt x="470" y="602"/>
                    </a:lnTo>
                    <a:lnTo>
                      <a:pt x="471" y="601"/>
                    </a:lnTo>
                    <a:lnTo>
                      <a:pt x="471" y="600"/>
                    </a:lnTo>
                    <a:lnTo>
                      <a:pt x="471" y="601"/>
                    </a:lnTo>
                    <a:lnTo>
                      <a:pt x="472" y="600"/>
                    </a:lnTo>
                    <a:lnTo>
                      <a:pt x="472" y="601"/>
                    </a:lnTo>
                    <a:lnTo>
                      <a:pt x="473" y="601"/>
                    </a:lnTo>
                    <a:lnTo>
                      <a:pt x="473" y="600"/>
                    </a:lnTo>
                    <a:lnTo>
                      <a:pt x="472" y="600"/>
                    </a:lnTo>
                    <a:lnTo>
                      <a:pt x="472" y="598"/>
                    </a:lnTo>
                    <a:lnTo>
                      <a:pt x="472" y="597"/>
                    </a:lnTo>
                    <a:lnTo>
                      <a:pt x="473" y="598"/>
                    </a:lnTo>
                    <a:close/>
                    <a:moveTo>
                      <a:pt x="409" y="671"/>
                    </a:moveTo>
                    <a:lnTo>
                      <a:pt x="409" y="672"/>
                    </a:lnTo>
                    <a:lnTo>
                      <a:pt x="410" y="672"/>
                    </a:lnTo>
                    <a:lnTo>
                      <a:pt x="411" y="672"/>
                    </a:lnTo>
                    <a:lnTo>
                      <a:pt x="411" y="673"/>
                    </a:lnTo>
                    <a:lnTo>
                      <a:pt x="410" y="673"/>
                    </a:lnTo>
                    <a:lnTo>
                      <a:pt x="410" y="674"/>
                    </a:lnTo>
                    <a:lnTo>
                      <a:pt x="410" y="673"/>
                    </a:lnTo>
                    <a:lnTo>
                      <a:pt x="409" y="673"/>
                    </a:lnTo>
                    <a:lnTo>
                      <a:pt x="409" y="674"/>
                    </a:lnTo>
                    <a:lnTo>
                      <a:pt x="410" y="674"/>
                    </a:lnTo>
                    <a:lnTo>
                      <a:pt x="410" y="675"/>
                    </a:lnTo>
                    <a:lnTo>
                      <a:pt x="409" y="675"/>
                    </a:lnTo>
                    <a:lnTo>
                      <a:pt x="408" y="677"/>
                    </a:lnTo>
                    <a:lnTo>
                      <a:pt x="408" y="678"/>
                    </a:lnTo>
                    <a:lnTo>
                      <a:pt x="408" y="679"/>
                    </a:lnTo>
                    <a:lnTo>
                      <a:pt x="407" y="680"/>
                    </a:lnTo>
                    <a:lnTo>
                      <a:pt x="406" y="680"/>
                    </a:lnTo>
                    <a:lnTo>
                      <a:pt x="404" y="679"/>
                    </a:lnTo>
                    <a:lnTo>
                      <a:pt x="404" y="678"/>
                    </a:lnTo>
                    <a:lnTo>
                      <a:pt x="406" y="678"/>
                    </a:lnTo>
                    <a:lnTo>
                      <a:pt x="406" y="677"/>
                    </a:lnTo>
                    <a:lnTo>
                      <a:pt x="407" y="675"/>
                    </a:lnTo>
                    <a:lnTo>
                      <a:pt x="407" y="674"/>
                    </a:lnTo>
                    <a:lnTo>
                      <a:pt x="408" y="674"/>
                    </a:lnTo>
                    <a:lnTo>
                      <a:pt x="408" y="673"/>
                    </a:lnTo>
                    <a:lnTo>
                      <a:pt x="408" y="672"/>
                    </a:lnTo>
                    <a:lnTo>
                      <a:pt x="409" y="671"/>
                    </a:lnTo>
                    <a:close/>
                    <a:moveTo>
                      <a:pt x="444" y="530"/>
                    </a:moveTo>
                    <a:lnTo>
                      <a:pt x="445" y="530"/>
                    </a:lnTo>
                    <a:lnTo>
                      <a:pt x="445" y="532"/>
                    </a:lnTo>
                    <a:lnTo>
                      <a:pt x="445" y="533"/>
                    </a:lnTo>
                    <a:lnTo>
                      <a:pt x="445" y="534"/>
                    </a:lnTo>
                    <a:lnTo>
                      <a:pt x="445" y="536"/>
                    </a:lnTo>
                    <a:lnTo>
                      <a:pt x="445" y="537"/>
                    </a:lnTo>
                    <a:lnTo>
                      <a:pt x="444" y="537"/>
                    </a:lnTo>
                    <a:lnTo>
                      <a:pt x="444" y="538"/>
                    </a:lnTo>
                    <a:lnTo>
                      <a:pt x="444" y="539"/>
                    </a:lnTo>
                    <a:lnTo>
                      <a:pt x="442" y="540"/>
                    </a:lnTo>
                    <a:lnTo>
                      <a:pt x="442" y="539"/>
                    </a:lnTo>
                    <a:lnTo>
                      <a:pt x="442" y="538"/>
                    </a:lnTo>
                    <a:lnTo>
                      <a:pt x="442" y="537"/>
                    </a:lnTo>
                    <a:lnTo>
                      <a:pt x="444" y="537"/>
                    </a:lnTo>
                    <a:lnTo>
                      <a:pt x="444" y="536"/>
                    </a:lnTo>
                    <a:lnTo>
                      <a:pt x="442" y="534"/>
                    </a:lnTo>
                    <a:lnTo>
                      <a:pt x="442" y="536"/>
                    </a:lnTo>
                    <a:lnTo>
                      <a:pt x="441" y="536"/>
                    </a:lnTo>
                    <a:lnTo>
                      <a:pt x="441" y="537"/>
                    </a:lnTo>
                    <a:lnTo>
                      <a:pt x="440" y="537"/>
                    </a:lnTo>
                    <a:lnTo>
                      <a:pt x="440" y="538"/>
                    </a:lnTo>
                    <a:lnTo>
                      <a:pt x="440" y="537"/>
                    </a:lnTo>
                    <a:lnTo>
                      <a:pt x="439" y="537"/>
                    </a:lnTo>
                    <a:lnTo>
                      <a:pt x="440" y="534"/>
                    </a:lnTo>
                    <a:lnTo>
                      <a:pt x="439" y="534"/>
                    </a:lnTo>
                    <a:lnTo>
                      <a:pt x="438" y="536"/>
                    </a:lnTo>
                    <a:lnTo>
                      <a:pt x="439" y="533"/>
                    </a:lnTo>
                    <a:lnTo>
                      <a:pt x="440" y="533"/>
                    </a:lnTo>
                    <a:lnTo>
                      <a:pt x="439" y="533"/>
                    </a:lnTo>
                    <a:lnTo>
                      <a:pt x="440" y="533"/>
                    </a:lnTo>
                    <a:lnTo>
                      <a:pt x="441" y="533"/>
                    </a:lnTo>
                    <a:lnTo>
                      <a:pt x="442" y="533"/>
                    </a:lnTo>
                    <a:lnTo>
                      <a:pt x="442" y="534"/>
                    </a:lnTo>
                    <a:lnTo>
                      <a:pt x="444" y="534"/>
                    </a:lnTo>
                    <a:lnTo>
                      <a:pt x="444" y="533"/>
                    </a:lnTo>
                    <a:lnTo>
                      <a:pt x="444" y="532"/>
                    </a:lnTo>
                    <a:lnTo>
                      <a:pt x="442" y="532"/>
                    </a:lnTo>
                    <a:lnTo>
                      <a:pt x="442" y="531"/>
                    </a:lnTo>
                    <a:lnTo>
                      <a:pt x="444" y="530"/>
                    </a:lnTo>
                    <a:lnTo>
                      <a:pt x="442" y="530"/>
                    </a:lnTo>
                    <a:lnTo>
                      <a:pt x="444" y="530"/>
                    </a:lnTo>
                    <a:close/>
                    <a:moveTo>
                      <a:pt x="507" y="553"/>
                    </a:moveTo>
                    <a:lnTo>
                      <a:pt x="507" y="554"/>
                    </a:lnTo>
                    <a:lnTo>
                      <a:pt x="507" y="553"/>
                    </a:lnTo>
                    <a:lnTo>
                      <a:pt x="509" y="554"/>
                    </a:lnTo>
                    <a:lnTo>
                      <a:pt x="509" y="555"/>
                    </a:lnTo>
                    <a:lnTo>
                      <a:pt x="510" y="555"/>
                    </a:lnTo>
                    <a:lnTo>
                      <a:pt x="509" y="555"/>
                    </a:lnTo>
                    <a:lnTo>
                      <a:pt x="510" y="556"/>
                    </a:lnTo>
                    <a:lnTo>
                      <a:pt x="510" y="557"/>
                    </a:lnTo>
                    <a:lnTo>
                      <a:pt x="510" y="558"/>
                    </a:lnTo>
                    <a:lnTo>
                      <a:pt x="511" y="559"/>
                    </a:lnTo>
                    <a:lnTo>
                      <a:pt x="510" y="559"/>
                    </a:lnTo>
                    <a:lnTo>
                      <a:pt x="510" y="558"/>
                    </a:lnTo>
                    <a:lnTo>
                      <a:pt x="509" y="558"/>
                    </a:lnTo>
                    <a:lnTo>
                      <a:pt x="509" y="557"/>
                    </a:lnTo>
                    <a:lnTo>
                      <a:pt x="507" y="557"/>
                    </a:lnTo>
                    <a:lnTo>
                      <a:pt x="507" y="556"/>
                    </a:lnTo>
                    <a:lnTo>
                      <a:pt x="506" y="555"/>
                    </a:lnTo>
                    <a:lnTo>
                      <a:pt x="507" y="555"/>
                    </a:lnTo>
                    <a:lnTo>
                      <a:pt x="507" y="554"/>
                    </a:lnTo>
                    <a:lnTo>
                      <a:pt x="506" y="554"/>
                    </a:lnTo>
                    <a:lnTo>
                      <a:pt x="506" y="555"/>
                    </a:lnTo>
                    <a:lnTo>
                      <a:pt x="506" y="556"/>
                    </a:lnTo>
                    <a:lnTo>
                      <a:pt x="506" y="557"/>
                    </a:lnTo>
                    <a:lnTo>
                      <a:pt x="505" y="557"/>
                    </a:lnTo>
                    <a:lnTo>
                      <a:pt x="506" y="557"/>
                    </a:lnTo>
                    <a:lnTo>
                      <a:pt x="506" y="558"/>
                    </a:lnTo>
                    <a:lnTo>
                      <a:pt x="506" y="557"/>
                    </a:lnTo>
                    <a:lnTo>
                      <a:pt x="507" y="557"/>
                    </a:lnTo>
                    <a:lnTo>
                      <a:pt x="507" y="558"/>
                    </a:lnTo>
                    <a:lnTo>
                      <a:pt x="506" y="558"/>
                    </a:lnTo>
                    <a:lnTo>
                      <a:pt x="505" y="558"/>
                    </a:lnTo>
                    <a:lnTo>
                      <a:pt x="505" y="559"/>
                    </a:lnTo>
                    <a:lnTo>
                      <a:pt x="506" y="559"/>
                    </a:lnTo>
                    <a:lnTo>
                      <a:pt x="506" y="560"/>
                    </a:lnTo>
                    <a:lnTo>
                      <a:pt x="507" y="560"/>
                    </a:lnTo>
                    <a:lnTo>
                      <a:pt x="506" y="559"/>
                    </a:lnTo>
                    <a:lnTo>
                      <a:pt x="505" y="559"/>
                    </a:lnTo>
                    <a:lnTo>
                      <a:pt x="505" y="558"/>
                    </a:lnTo>
                    <a:lnTo>
                      <a:pt x="505" y="557"/>
                    </a:lnTo>
                    <a:lnTo>
                      <a:pt x="505" y="556"/>
                    </a:lnTo>
                    <a:lnTo>
                      <a:pt x="505" y="555"/>
                    </a:lnTo>
                    <a:lnTo>
                      <a:pt x="506" y="554"/>
                    </a:lnTo>
                    <a:lnTo>
                      <a:pt x="506" y="553"/>
                    </a:lnTo>
                    <a:lnTo>
                      <a:pt x="507" y="553"/>
                    </a:lnTo>
                    <a:close/>
                    <a:moveTo>
                      <a:pt x="164" y="392"/>
                    </a:moveTo>
                    <a:lnTo>
                      <a:pt x="163" y="392"/>
                    </a:lnTo>
                    <a:lnTo>
                      <a:pt x="163" y="393"/>
                    </a:lnTo>
                    <a:lnTo>
                      <a:pt x="162" y="392"/>
                    </a:lnTo>
                    <a:lnTo>
                      <a:pt x="162" y="393"/>
                    </a:lnTo>
                    <a:lnTo>
                      <a:pt x="163" y="393"/>
                    </a:lnTo>
                    <a:lnTo>
                      <a:pt x="163" y="395"/>
                    </a:lnTo>
                    <a:lnTo>
                      <a:pt x="162" y="395"/>
                    </a:lnTo>
                    <a:lnTo>
                      <a:pt x="163" y="395"/>
                    </a:lnTo>
                    <a:lnTo>
                      <a:pt x="162" y="393"/>
                    </a:lnTo>
                    <a:lnTo>
                      <a:pt x="162" y="395"/>
                    </a:lnTo>
                    <a:lnTo>
                      <a:pt x="161" y="395"/>
                    </a:lnTo>
                    <a:lnTo>
                      <a:pt x="162" y="395"/>
                    </a:lnTo>
                    <a:lnTo>
                      <a:pt x="162" y="396"/>
                    </a:lnTo>
                    <a:lnTo>
                      <a:pt x="161" y="395"/>
                    </a:lnTo>
                    <a:lnTo>
                      <a:pt x="161" y="396"/>
                    </a:lnTo>
                    <a:lnTo>
                      <a:pt x="161" y="397"/>
                    </a:lnTo>
                    <a:lnTo>
                      <a:pt x="162" y="397"/>
                    </a:lnTo>
                    <a:lnTo>
                      <a:pt x="161" y="398"/>
                    </a:lnTo>
                    <a:lnTo>
                      <a:pt x="160" y="398"/>
                    </a:lnTo>
                    <a:lnTo>
                      <a:pt x="160" y="397"/>
                    </a:lnTo>
                    <a:lnTo>
                      <a:pt x="158" y="397"/>
                    </a:lnTo>
                    <a:lnTo>
                      <a:pt x="157" y="397"/>
                    </a:lnTo>
                    <a:lnTo>
                      <a:pt x="157" y="396"/>
                    </a:lnTo>
                    <a:lnTo>
                      <a:pt x="158" y="396"/>
                    </a:lnTo>
                    <a:lnTo>
                      <a:pt x="158" y="395"/>
                    </a:lnTo>
                    <a:lnTo>
                      <a:pt x="157" y="395"/>
                    </a:lnTo>
                    <a:lnTo>
                      <a:pt x="157" y="393"/>
                    </a:lnTo>
                    <a:lnTo>
                      <a:pt x="158" y="393"/>
                    </a:lnTo>
                    <a:lnTo>
                      <a:pt x="160" y="393"/>
                    </a:lnTo>
                    <a:lnTo>
                      <a:pt x="160" y="395"/>
                    </a:lnTo>
                    <a:lnTo>
                      <a:pt x="160" y="393"/>
                    </a:lnTo>
                    <a:lnTo>
                      <a:pt x="160" y="395"/>
                    </a:lnTo>
                    <a:lnTo>
                      <a:pt x="161" y="395"/>
                    </a:lnTo>
                    <a:lnTo>
                      <a:pt x="161" y="393"/>
                    </a:lnTo>
                    <a:lnTo>
                      <a:pt x="160" y="393"/>
                    </a:lnTo>
                    <a:lnTo>
                      <a:pt x="161" y="393"/>
                    </a:lnTo>
                    <a:lnTo>
                      <a:pt x="160" y="393"/>
                    </a:lnTo>
                    <a:lnTo>
                      <a:pt x="160" y="392"/>
                    </a:lnTo>
                    <a:lnTo>
                      <a:pt x="160" y="393"/>
                    </a:lnTo>
                    <a:lnTo>
                      <a:pt x="160" y="392"/>
                    </a:lnTo>
                    <a:lnTo>
                      <a:pt x="161" y="392"/>
                    </a:lnTo>
                    <a:lnTo>
                      <a:pt x="160" y="392"/>
                    </a:lnTo>
                    <a:lnTo>
                      <a:pt x="160" y="391"/>
                    </a:lnTo>
                    <a:lnTo>
                      <a:pt x="161" y="391"/>
                    </a:lnTo>
                    <a:lnTo>
                      <a:pt x="162" y="391"/>
                    </a:lnTo>
                    <a:lnTo>
                      <a:pt x="164" y="392"/>
                    </a:lnTo>
                    <a:close/>
                    <a:moveTo>
                      <a:pt x="279" y="268"/>
                    </a:moveTo>
                    <a:lnTo>
                      <a:pt x="279" y="269"/>
                    </a:lnTo>
                    <a:lnTo>
                      <a:pt x="280" y="269"/>
                    </a:lnTo>
                    <a:lnTo>
                      <a:pt x="280" y="270"/>
                    </a:lnTo>
                    <a:lnTo>
                      <a:pt x="281" y="270"/>
                    </a:lnTo>
                    <a:lnTo>
                      <a:pt x="282" y="270"/>
                    </a:lnTo>
                    <a:lnTo>
                      <a:pt x="283" y="270"/>
                    </a:lnTo>
                    <a:lnTo>
                      <a:pt x="283" y="271"/>
                    </a:lnTo>
                    <a:lnTo>
                      <a:pt x="284" y="271"/>
                    </a:lnTo>
                    <a:lnTo>
                      <a:pt x="285" y="271"/>
                    </a:lnTo>
                    <a:lnTo>
                      <a:pt x="286" y="271"/>
                    </a:lnTo>
                    <a:lnTo>
                      <a:pt x="287" y="271"/>
                    </a:lnTo>
                    <a:lnTo>
                      <a:pt x="286" y="271"/>
                    </a:lnTo>
                    <a:lnTo>
                      <a:pt x="286" y="272"/>
                    </a:lnTo>
                    <a:lnTo>
                      <a:pt x="285" y="273"/>
                    </a:lnTo>
                    <a:lnTo>
                      <a:pt x="286" y="273"/>
                    </a:lnTo>
                    <a:lnTo>
                      <a:pt x="285" y="273"/>
                    </a:lnTo>
                    <a:lnTo>
                      <a:pt x="285" y="274"/>
                    </a:lnTo>
                    <a:lnTo>
                      <a:pt x="284" y="274"/>
                    </a:lnTo>
                    <a:lnTo>
                      <a:pt x="284" y="273"/>
                    </a:lnTo>
                    <a:lnTo>
                      <a:pt x="283" y="273"/>
                    </a:lnTo>
                    <a:lnTo>
                      <a:pt x="283" y="274"/>
                    </a:lnTo>
                    <a:lnTo>
                      <a:pt x="282" y="274"/>
                    </a:lnTo>
                    <a:lnTo>
                      <a:pt x="282" y="273"/>
                    </a:lnTo>
                    <a:lnTo>
                      <a:pt x="282" y="274"/>
                    </a:lnTo>
                    <a:lnTo>
                      <a:pt x="281" y="273"/>
                    </a:lnTo>
                    <a:lnTo>
                      <a:pt x="281" y="272"/>
                    </a:lnTo>
                    <a:lnTo>
                      <a:pt x="282" y="272"/>
                    </a:lnTo>
                    <a:lnTo>
                      <a:pt x="281" y="272"/>
                    </a:lnTo>
                    <a:lnTo>
                      <a:pt x="281" y="271"/>
                    </a:lnTo>
                    <a:lnTo>
                      <a:pt x="281" y="272"/>
                    </a:lnTo>
                    <a:lnTo>
                      <a:pt x="281" y="271"/>
                    </a:lnTo>
                    <a:lnTo>
                      <a:pt x="280" y="271"/>
                    </a:lnTo>
                    <a:lnTo>
                      <a:pt x="280" y="270"/>
                    </a:lnTo>
                    <a:lnTo>
                      <a:pt x="279" y="270"/>
                    </a:lnTo>
                    <a:lnTo>
                      <a:pt x="279" y="269"/>
                    </a:lnTo>
                    <a:lnTo>
                      <a:pt x="278" y="269"/>
                    </a:lnTo>
                    <a:lnTo>
                      <a:pt x="278" y="268"/>
                    </a:lnTo>
                    <a:lnTo>
                      <a:pt x="279" y="268"/>
                    </a:lnTo>
                    <a:close/>
                    <a:moveTo>
                      <a:pt x="310" y="296"/>
                    </a:moveTo>
                    <a:lnTo>
                      <a:pt x="311" y="297"/>
                    </a:lnTo>
                    <a:lnTo>
                      <a:pt x="310" y="297"/>
                    </a:lnTo>
                    <a:lnTo>
                      <a:pt x="310" y="298"/>
                    </a:lnTo>
                    <a:lnTo>
                      <a:pt x="310" y="297"/>
                    </a:lnTo>
                    <a:lnTo>
                      <a:pt x="309" y="297"/>
                    </a:lnTo>
                    <a:lnTo>
                      <a:pt x="308" y="297"/>
                    </a:lnTo>
                    <a:lnTo>
                      <a:pt x="307" y="297"/>
                    </a:lnTo>
                    <a:lnTo>
                      <a:pt x="306" y="297"/>
                    </a:lnTo>
                    <a:lnTo>
                      <a:pt x="305" y="297"/>
                    </a:lnTo>
                    <a:lnTo>
                      <a:pt x="306" y="298"/>
                    </a:lnTo>
                    <a:lnTo>
                      <a:pt x="307" y="298"/>
                    </a:lnTo>
                    <a:lnTo>
                      <a:pt x="308" y="298"/>
                    </a:lnTo>
                    <a:lnTo>
                      <a:pt x="309" y="298"/>
                    </a:lnTo>
                    <a:lnTo>
                      <a:pt x="309" y="299"/>
                    </a:lnTo>
                    <a:lnTo>
                      <a:pt x="308" y="299"/>
                    </a:lnTo>
                    <a:lnTo>
                      <a:pt x="307" y="299"/>
                    </a:lnTo>
                    <a:lnTo>
                      <a:pt x="307" y="298"/>
                    </a:lnTo>
                    <a:lnTo>
                      <a:pt x="306" y="298"/>
                    </a:lnTo>
                    <a:lnTo>
                      <a:pt x="305" y="298"/>
                    </a:lnTo>
                    <a:lnTo>
                      <a:pt x="305" y="297"/>
                    </a:lnTo>
                    <a:lnTo>
                      <a:pt x="304" y="297"/>
                    </a:lnTo>
                    <a:lnTo>
                      <a:pt x="303" y="297"/>
                    </a:lnTo>
                    <a:lnTo>
                      <a:pt x="303" y="296"/>
                    </a:lnTo>
                    <a:lnTo>
                      <a:pt x="303" y="297"/>
                    </a:lnTo>
                    <a:lnTo>
                      <a:pt x="303" y="296"/>
                    </a:lnTo>
                    <a:lnTo>
                      <a:pt x="303" y="295"/>
                    </a:lnTo>
                    <a:lnTo>
                      <a:pt x="304" y="295"/>
                    </a:lnTo>
                    <a:lnTo>
                      <a:pt x="304" y="296"/>
                    </a:lnTo>
                    <a:lnTo>
                      <a:pt x="305" y="296"/>
                    </a:lnTo>
                    <a:lnTo>
                      <a:pt x="306" y="295"/>
                    </a:lnTo>
                    <a:lnTo>
                      <a:pt x="306" y="296"/>
                    </a:lnTo>
                    <a:lnTo>
                      <a:pt x="307" y="296"/>
                    </a:lnTo>
                    <a:lnTo>
                      <a:pt x="308" y="296"/>
                    </a:lnTo>
                    <a:lnTo>
                      <a:pt x="309" y="295"/>
                    </a:lnTo>
                    <a:lnTo>
                      <a:pt x="309" y="294"/>
                    </a:lnTo>
                    <a:lnTo>
                      <a:pt x="310" y="294"/>
                    </a:lnTo>
                    <a:lnTo>
                      <a:pt x="310" y="295"/>
                    </a:lnTo>
                    <a:lnTo>
                      <a:pt x="310" y="296"/>
                    </a:lnTo>
                    <a:close/>
                    <a:moveTo>
                      <a:pt x="358" y="466"/>
                    </a:moveTo>
                    <a:lnTo>
                      <a:pt x="359" y="466"/>
                    </a:lnTo>
                    <a:lnTo>
                      <a:pt x="359" y="468"/>
                    </a:lnTo>
                    <a:lnTo>
                      <a:pt x="359" y="469"/>
                    </a:lnTo>
                    <a:lnTo>
                      <a:pt x="358" y="469"/>
                    </a:lnTo>
                    <a:lnTo>
                      <a:pt x="359" y="469"/>
                    </a:lnTo>
                    <a:lnTo>
                      <a:pt x="358" y="469"/>
                    </a:lnTo>
                    <a:lnTo>
                      <a:pt x="358" y="470"/>
                    </a:lnTo>
                    <a:lnTo>
                      <a:pt x="357" y="470"/>
                    </a:lnTo>
                    <a:lnTo>
                      <a:pt x="356" y="472"/>
                    </a:lnTo>
                    <a:lnTo>
                      <a:pt x="355" y="473"/>
                    </a:lnTo>
                    <a:lnTo>
                      <a:pt x="355" y="472"/>
                    </a:lnTo>
                    <a:lnTo>
                      <a:pt x="355" y="470"/>
                    </a:lnTo>
                    <a:lnTo>
                      <a:pt x="356" y="469"/>
                    </a:lnTo>
                    <a:lnTo>
                      <a:pt x="356" y="468"/>
                    </a:lnTo>
                    <a:lnTo>
                      <a:pt x="356" y="467"/>
                    </a:lnTo>
                    <a:lnTo>
                      <a:pt x="356" y="466"/>
                    </a:lnTo>
                    <a:lnTo>
                      <a:pt x="357" y="465"/>
                    </a:lnTo>
                    <a:lnTo>
                      <a:pt x="357" y="466"/>
                    </a:lnTo>
                    <a:lnTo>
                      <a:pt x="358" y="466"/>
                    </a:lnTo>
                    <a:close/>
                    <a:moveTo>
                      <a:pt x="243" y="229"/>
                    </a:moveTo>
                    <a:lnTo>
                      <a:pt x="243" y="230"/>
                    </a:lnTo>
                    <a:lnTo>
                      <a:pt x="244" y="230"/>
                    </a:lnTo>
                    <a:lnTo>
                      <a:pt x="244" y="229"/>
                    </a:lnTo>
                    <a:lnTo>
                      <a:pt x="244" y="228"/>
                    </a:lnTo>
                    <a:lnTo>
                      <a:pt x="245" y="229"/>
                    </a:lnTo>
                    <a:lnTo>
                      <a:pt x="245" y="230"/>
                    </a:lnTo>
                    <a:lnTo>
                      <a:pt x="244" y="231"/>
                    </a:lnTo>
                    <a:lnTo>
                      <a:pt x="243" y="231"/>
                    </a:lnTo>
                    <a:lnTo>
                      <a:pt x="242" y="231"/>
                    </a:lnTo>
                    <a:lnTo>
                      <a:pt x="242" y="232"/>
                    </a:lnTo>
                    <a:lnTo>
                      <a:pt x="242" y="231"/>
                    </a:lnTo>
                    <a:lnTo>
                      <a:pt x="241" y="231"/>
                    </a:lnTo>
                    <a:lnTo>
                      <a:pt x="241" y="232"/>
                    </a:lnTo>
                    <a:lnTo>
                      <a:pt x="242" y="232"/>
                    </a:lnTo>
                    <a:lnTo>
                      <a:pt x="241" y="232"/>
                    </a:lnTo>
                    <a:lnTo>
                      <a:pt x="240" y="231"/>
                    </a:lnTo>
                    <a:lnTo>
                      <a:pt x="239" y="230"/>
                    </a:lnTo>
                    <a:lnTo>
                      <a:pt x="238" y="230"/>
                    </a:lnTo>
                    <a:lnTo>
                      <a:pt x="239" y="229"/>
                    </a:lnTo>
                    <a:lnTo>
                      <a:pt x="239" y="230"/>
                    </a:lnTo>
                    <a:lnTo>
                      <a:pt x="239" y="229"/>
                    </a:lnTo>
                    <a:lnTo>
                      <a:pt x="240" y="229"/>
                    </a:lnTo>
                    <a:lnTo>
                      <a:pt x="240" y="228"/>
                    </a:lnTo>
                    <a:lnTo>
                      <a:pt x="241" y="228"/>
                    </a:lnTo>
                    <a:lnTo>
                      <a:pt x="242" y="228"/>
                    </a:lnTo>
                    <a:lnTo>
                      <a:pt x="242" y="229"/>
                    </a:lnTo>
                    <a:lnTo>
                      <a:pt x="243" y="229"/>
                    </a:lnTo>
                    <a:close/>
                    <a:moveTo>
                      <a:pt x="577" y="495"/>
                    </a:moveTo>
                    <a:lnTo>
                      <a:pt x="578" y="495"/>
                    </a:lnTo>
                    <a:lnTo>
                      <a:pt x="578" y="496"/>
                    </a:lnTo>
                    <a:lnTo>
                      <a:pt x="578" y="498"/>
                    </a:lnTo>
                    <a:lnTo>
                      <a:pt x="577" y="498"/>
                    </a:lnTo>
                    <a:lnTo>
                      <a:pt x="576" y="498"/>
                    </a:lnTo>
                    <a:lnTo>
                      <a:pt x="576" y="496"/>
                    </a:lnTo>
                    <a:lnTo>
                      <a:pt x="575" y="496"/>
                    </a:lnTo>
                    <a:lnTo>
                      <a:pt x="574" y="496"/>
                    </a:lnTo>
                    <a:lnTo>
                      <a:pt x="574" y="495"/>
                    </a:lnTo>
                    <a:lnTo>
                      <a:pt x="574" y="494"/>
                    </a:lnTo>
                    <a:lnTo>
                      <a:pt x="574" y="493"/>
                    </a:lnTo>
                    <a:lnTo>
                      <a:pt x="576" y="492"/>
                    </a:lnTo>
                    <a:lnTo>
                      <a:pt x="577" y="493"/>
                    </a:lnTo>
                    <a:lnTo>
                      <a:pt x="577" y="494"/>
                    </a:lnTo>
                    <a:lnTo>
                      <a:pt x="577" y="495"/>
                    </a:lnTo>
                    <a:close/>
                    <a:moveTo>
                      <a:pt x="270" y="235"/>
                    </a:moveTo>
                    <a:lnTo>
                      <a:pt x="271" y="236"/>
                    </a:lnTo>
                    <a:lnTo>
                      <a:pt x="272" y="236"/>
                    </a:lnTo>
                    <a:lnTo>
                      <a:pt x="271" y="236"/>
                    </a:lnTo>
                    <a:lnTo>
                      <a:pt x="272" y="236"/>
                    </a:lnTo>
                    <a:lnTo>
                      <a:pt x="273" y="235"/>
                    </a:lnTo>
                    <a:lnTo>
                      <a:pt x="273" y="236"/>
                    </a:lnTo>
                    <a:lnTo>
                      <a:pt x="272" y="237"/>
                    </a:lnTo>
                    <a:lnTo>
                      <a:pt x="271" y="237"/>
                    </a:lnTo>
                    <a:lnTo>
                      <a:pt x="270" y="237"/>
                    </a:lnTo>
                    <a:lnTo>
                      <a:pt x="270" y="238"/>
                    </a:lnTo>
                    <a:lnTo>
                      <a:pt x="269" y="238"/>
                    </a:lnTo>
                    <a:lnTo>
                      <a:pt x="268" y="238"/>
                    </a:lnTo>
                    <a:lnTo>
                      <a:pt x="268" y="237"/>
                    </a:lnTo>
                    <a:lnTo>
                      <a:pt x="267" y="237"/>
                    </a:lnTo>
                    <a:lnTo>
                      <a:pt x="267" y="238"/>
                    </a:lnTo>
                    <a:lnTo>
                      <a:pt x="266" y="239"/>
                    </a:lnTo>
                    <a:lnTo>
                      <a:pt x="265" y="239"/>
                    </a:lnTo>
                    <a:lnTo>
                      <a:pt x="265" y="241"/>
                    </a:lnTo>
                    <a:lnTo>
                      <a:pt x="264" y="239"/>
                    </a:lnTo>
                    <a:lnTo>
                      <a:pt x="264" y="238"/>
                    </a:lnTo>
                    <a:lnTo>
                      <a:pt x="265" y="238"/>
                    </a:lnTo>
                    <a:lnTo>
                      <a:pt x="265" y="239"/>
                    </a:lnTo>
                    <a:lnTo>
                      <a:pt x="265" y="238"/>
                    </a:lnTo>
                    <a:lnTo>
                      <a:pt x="266" y="237"/>
                    </a:lnTo>
                    <a:lnTo>
                      <a:pt x="267" y="237"/>
                    </a:lnTo>
                    <a:lnTo>
                      <a:pt x="268" y="237"/>
                    </a:lnTo>
                    <a:lnTo>
                      <a:pt x="268" y="236"/>
                    </a:lnTo>
                    <a:lnTo>
                      <a:pt x="269" y="236"/>
                    </a:lnTo>
                    <a:lnTo>
                      <a:pt x="270" y="236"/>
                    </a:lnTo>
                    <a:lnTo>
                      <a:pt x="270" y="235"/>
                    </a:lnTo>
                    <a:close/>
                    <a:moveTo>
                      <a:pt x="247" y="262"/>
                    </a:moveTo>
                    <a:lnTo>
                      <a:pt x="248" y="262"/>
                    </a:lnTo>
                    <a:lnTo>
                      <a:pt x="249" y="262"/>
                    </a:lnTo>
                    <a:lnTo>
                      <a:pt x="251" y="262"/>
                    </a:lnTo>
                    <a:lnTo>
                      <a:pt x="251" y="263"/>
                    </a:lnTo>
                    <a:lnTo>
                      <a:pt x="249" y="263"/>
                    </a:lnTo>
                    <a:lnTo>
                      <a:pt x="249" y="262"/>
                    </a:lnTo>
                    <a:lnTo>
                      <a:pt x="248" y="262"/>
                    </a:lnTo>
                    <a:lnTo>
                      <a:pt x="247" y="262"/>
                    </a:lnTo>
                    <a:lnTo>
                      <a:pt x="247" y="263"/>
                    </a:lnTo>
                    <a:lnTo>
                      <a:pt x="248" y="262"/>
                    </a:lnTo>
                    <a:lnTo>
                      <a:pt x="248" y="263"/>
                    </a:lnTo>
                    <a:lnTo>
                      <a:pt x="249" y="263"/>
                    </a:lnTo>
                    <a:lnTo>
                      <a:pt x="249" y="264"/>
                    </a:lnTo>
                    <a:lnTo>
                      <a:pt x="251" y="266"/>
                    </a:lnTo>
                    <a:lnTo>
                      <a:pt x="251" y="267"/>
                    </a:lnTo>
                    <a:lnTo>
                      <a:pt x="249" y="267"/>
                    </a:lnTo>
                    <a:lnTo>
                      <a:pt x="249" y="268"/>
                    </a:lnTo>
                    <a:lnTo>
                      <a:pt x="249" y="267"/>
                    </a:lnTo>
                    <a:lnTo>
                      <a:pt x="248" y="267"/>
                    </a:lnTo>
                    <a:lnTo>
                      <a:pt x="247" y="267"/>
                    </a:lnTo>
                    <a:lnTo>
                      <a:pt x="246" y="267"/>
                    </a:lnTo>
                    <a:lnTo>
                      <a:pt x="246" y="266"/>
                    </a:lnTo>
                    <a:lnTo>
                      <a:pt x="245" y="264"/>
                    </a:lnTo>
                    <a:lnTo>
                      <a:pt x="245" y="263"/>
                    </a:lnTo>
                    <a:lnTo>
                      <a:pt x="245" y="262"/>
                    </a:lnTo>
                    <a:lnTo>
                      <a:pt x="245" y="263"/>
                    </a:lnTo>
                    <a:lnTo>
                      <a:pt x="246" y="263"/>
                    </a:lnTo>
                    <a:lnTo>
                      <a:pt x="246" y="264"/>
                    </a:lnTo>
                    <a:lnTo>
                      <a:pt x="247" y="264"/>
                    </a:lnTo>
                    <a:lnTo>
                      <a:pt x="247" y="263"/>
                    </a:lnTo>
                    <a:lnTo>
                      <a:pt x="246" y="262"/>
                    </a:lnTo>
                    <a:lnTo>
                      <a:pt x="247" y="262"/>
                    </a:lnTo>
                    <a:close/>
                    <a:moveTo>
                      <a:pt x="564" y="551"/>
                    </a:moveTo>
                    <a:lnTo>
                      <a:pt x="563" y="551"/>
                    </a:lnTo>
                    <a:lnTo>
                      <a:pt x="563" y="552"/>
                    </a:lnTo>
                    <a:lnTo>
                      <a:pt x="562" y="552"/>
                    </a:lnTo>
                    <a:lnTo>
                      <a:pt x="561" y="552"/>
                    </a:lnTo>
                    <a:lnTo>
                      <a:pt x="562" y="552"/>
                    </a:lnTo>
                    <a:lnTo>
                      <a:pt x="564" y="553"/>
                    </a:lnTo>
                    <a:lnTo>
                      <a:pt x="564" y="554"/>
                    </a:lnTo>
                    <a:lnTo>
                      <a:pt x="563" y="554"/>
                    </a:lnTo>
                    <a:lnTo>
                      <a:pt x="562" y="554"/>
                    </a:lnTo>
                    <a:lnTo>
                      <a:pt x="563" y="554"/>
                    </a:lnTo>
                    <a:lnTo>
                      <a:pt x="563" y="555"/>
                    </a:lnTo>
                    <a:lnTo>
                      <a:pt x="563" y="556"/>
                    </a:lnTo>
                    <a:lnTo>
                      <a:pt x="562" y="555"/>
                    </a:lnTo>
                    <a:lnTo>
                      <a:pt x="561" y="555"/>
                    </a:lnTo>
                    <a:lnTo>
                      <a:pt x="561" y="554"/>
                    </a:lnTo>
                    <a:lnTo>
                      <a:pt x="561" y="555"/>
                    </a:lnTo>
                    <a:lnTo>
                      <a:pt x="560" y="555"/>
                    </a:lnTo>
                    <a:lnTo>
                      <a:pt x="560" y="554"/>
                    </a:lnTo>
                    <a:lnTo>
                      <a:pt x="558" y="553"/>
                    </a:lnTo>
                    <a:lnTo>
                      <a:pt x="560" y="553"/>
                    </a:lnTo>
                    <a:lnTo>
                      <a:pt x="560" y="552"/>
                    </a:lnTo>
                    <a:lnTo>
                      <a:pt x="558" y="553"/>
                    </a:lnTo>
                    <a:lnTo>
                      <a:pt x="558" y="554"/>
                    </a:lnTo>
                    <a:lnTo>
                      <a:pt x="557" y="553"/>
                    </a:lnTo>
                    <a:lnTo>
                      <a:pt x="558" y="553"/>
                    </a:lnTo>
                    <a:lnTo>
                      <a:pt x="558" y="552"/>
                    </a:lnTo>
                    <a:lnTo>
                      <a:pt x="560" y="552"/>
                    </a:lnTo>
                    <a:lnTo>
                      <a:pt x="561" y="552"/>
                    </a:lnTo>
                    <a:lnTo>
                      <a:pt x="560" y="552"/>
                    </a:lnTo>
                    <a:lnTo>
                      <a:pt x="561" y="552"/>
                    </a:lnTo>
                    <a:lnTo>
                      <a:pt x="561" y="551"/>
                    </a:lnTo>
                    <a:lnTo>
                      <a:pt x="562" y="551"/>
                    </a:lnTo>
                    <a:lnTo>
                      <a:pt x="564" y="550"/>
                    </a:lnTo>
                    <a:lnTo>
                      <a:pt x="564" y="551"/>
                    </a:lnTo>
                    <a:close/>
                    <a:moveTo>
                      <a:pt x="207" y="410"/>
                    </a:moveTo>
                    <a:lnTo>
                      <a:pt x="206" y="410"/>
                    </a:lnTo>
                    <a:lnTo>
                      <a:pt x="206" y="411"/>
                    </a:lnTo>
                    <a:lnTo>
                      <a:pt x="205" y="412"/>
                    </a:lnTo>
                    <a:lnTo>
                      <a:pt x="204" y="413"/>
                    </a:lnTo>
                    <a:lnTo>
                      <a:pt x="201" y="413"/>
                    </a:lnTo>
                    <a:lnTo>
                      <a:pt x="200" y="413"/>
                    </a:lnTo>
                    <a:lnTo>
                      <a:pt x="201" y="412"/>
                    </a:lnTo>
                    <a:lnTo>
                      <a:pt x="201" y="411"/>
                    </a:lnTo>
                    <a:lnTo>
                      <a:pt x="202" y="411"/>
                    </a:lnTo>
                    <a:lnTo>
                      <a:pt x="201" y="411"/>
                    </a:lnTo>
                    <a:lnTo>
                      <a:pt x="202" y="410"/>
                    </a:lnTo>
                    <a:lnTo>
                      <a:pt x="203" y="410"/>
                    </a:lnTo>
                    <a:lnTo>
                      <a:pt x="204" y="410"/>
                    </a:lnTo>
                    <a:lnTo>
                      <a:pt x="205" y="409"/>
                    </a:lnTo>
                    <a:lnTo>
                      <a:pt x="206" y="410"/>
                    </a:lnTo>
                    <a:lnTo>
                      <a:pt x="206" y="409"/>
                    </a:lnTo>
                    <a:lnTo>
                      <a:pt x="207" y="410"/>
                    </a:lnTo>
                    <a:close/>
                    <a:moveTo>
                      <a:pt x="516" y="507"/>
                    </a:moveTo>
                    <a:lnTo>
                      <a:pt x="517" y="508"/>
                    </a:lnTo>
                    <a:lnTo>
                      <a:pt x="518" y="508"/>
                    </a:lnTo>
                    <a:lnTo>
                      <a:pt x="519" y="508"/>
                    </a:lnTo>
                    <a:lnTo>
                      <a:pt x="522" y="508"/>
                    </a:lnTo>
                    <a:lnTo>
                      <a:pt x="523" y="510"/>
                    </a:lnTo>
                    <a:lnTo>
                      <a:pt x="525" y="510"/>
                    </a:lnTo>
                    <a:lnTo>
                      <a:pt x="527" y="510"/>
                    </a:lnTo>
                    <a:lnTo>
                      <a:pt x="529" y="511"/>
                    </a:lnTo>
                    <a:lnTo>
                      <a:pt x="531" y="511"/>
                    </a:lnTo>
                    <a:lnTo>
                      <a:pt x="532" y="510"/>
                    </a:lnTo>
                    <a:lnTo>
                      <a:pt x="532" y="511"/>
                    </a:lnTo>
                    <a:lnTo>
                      <a:pt x="531" y="511"/>
                    </a:lnTo>
                    <a:lnTo>
                      <a:pt x="530" y="511"/>
                    </a:lnTo>
                    <a:lnTo>
                      <a:pt x="529" y="511"/>
                    </a:lnTo>
                    <a:lnTo>
                      <a:pt x="528" y="511"/>
                    </a:lnTo>
                    <a:lnTo>
                      <a:pt x="527" y="511"/>
                    </a:lnTo>
                    <a:lnTo>
                      <a:pt x="526" y="511"/>
                    </a:lnTo>
                    <a:lnTo>
                      <a:pt x="525" y="510"/>
                    </a:lnTo>
                    <a:lnTo>
                      <a:pt x="524" y="511"/>
                    </a:lnTo>
                    <a:lnTo>
                      <a:pt x="523" y="511"/>
                    </a:lnTo>
                    <a:lnTo>
                      <a:pt x="522" y="510"/>
                    </a:lnTo>
                    <a:lnTo>
                      <a:pt x="520" y="510"/>
                    </a:lnTo>
                    <a:lnTo>
                      <a:pt x="519" y="510"/>
                    </a:lnTo>
                    <a:lnTo>
                      <a:pt x="519" y="508"/>
                    </a:lnTo>
                    <a:lnTo>
                      <a:pt x="518" y="508"/>
                    </a:lnTo>
                    <a:lnTo>
                      <a:pt x="517" y="508"/>
                    </a:lnTo>
                    <a:lnTo>
                      <a:pt x="516" y="508"/>
                    </a:lnTo>
                    <a:lnTo>
                      <a:pt x="517" y="508"/>
                    </a:lnTo>
                    <a:lnTo>
                      <a:pt x="517" y="510"/>
                    </a:lnTo>
                    <a:lnTo>
                      <a:pt x="518" y="510"/>
                    </a:lnTo>
                    <a:lnTo>
                      <a:pt x="518" y="511"/>
                    </a:lnTo>
                    <a:lnTo>
                      <a:pt x="517" y="511"/>
                    </a:lnTo>
                    <a:lnTo>
                      <a:pt x="516" y="511"/>
                    </a:lnTo>
                    <a:lnTo>
                      <a:pt x="516" y="510"/>
                    </a:lnTo>
                    <a:lnTo>
                      <a:pt x="515" y="510"/>
                    </a:lnTo>
                    <a:lnTo>
                      <a:pt x="514" y="508"/>
                    </a:lnTo>
                    <a:lnTo>
                      <a:pt x="516" y="507"/>
                    </a:lnTo>
                    <a:close/>
                    <a:moveTo>
                      <a:pt x="284" y="216"/>
                    </a:moveTo>
                    <a:lnTo>
                      <a:pt x="285" y="217"/>
                    </a:lnTo>
                    <a:lnTo>
                      <a:pt x="285" y="218"/>
                    </a:lnTo>
                    <a:lnTo>
                      <a:pt x="285" y="219"/>
                    </a:lnTo>
                    <a:lnTo>
                      <a:pt x="285" y="220"/>
                    </a:lnTo>
                    <a:lnTo>
                      <a:pt x="284" y="220"/>
                    </a:lnTo>
                    <a:lnTo>
                      <a:pt x="284" y="221"/>
                    </a:lnTo>
                    <a:lnTo>
                      <a:pt x="283" y="221"/>
                    </a:lnTo>
                    <a:lnTo>
                      <a:pt x="283" y="222"/>
                    </a:lnTo>
                    <a:lnTo>
                      <a:pt x="284" y="223"/>
                    </a:lnTo>
                    <a:lnTo>
                      <a:pt x="283" y="223"/>
                    </a:lnTo>
                    <a:lnTo>
                      <a:pt x="284" y="224"/>
                    </a:lnTo>
                    <a:lnTo>
                      <a:pt x="283" y="224"/>
                    </a:lnTo>
                    <a:lnTo>
                      <a:pt x="283" y="223"/>
                    </a:lnTo>
                    <a:lnTo>
                      <a:pt x="282" y="223"/>
                    </a:lnTo>
                    <a:lnTo>
                      <a:pt x="282" y="222"/>
                    </a:lnTo>
                    <a:lnTo>
                      <a:pt x="283" y="222"/>
                    </a:lnTo>
                    <a:lnTo>
                      <a:pt x="283" y="221"/>
                    </a:lnTo>
                    <a:lnTo>
                      <a:pt x="283" y="220"/>
                    </a:lnTo>
                    <a:lnTo>
                      <a:pt x="284" y="220"/>
                    </a:lnTo>
                    <a:lnTo>
                      <a:pt x="284" y="219"/>
                    </a:lnTo>
                    <a:lnTo>
                      <a:pt x="284" y="218"/>
                    </a:lnTo>
                    <a:lnTo>
                      <a:pt x="283" y="218"/>
                    </a:lnTo>
                    <a:lnTo>
                      <a:pt x="282" y="217"/>
                    </a:lnTo>
                    <a:lnTo>
                      <a:pt x="281" y="216"/>
                    </a:lnTo>
                    <a:lnTo>
                      <a:pt x="280" y="216"/>
                    </a:lnTo>
                    <a:lnTo>
                      <a:pt x="280" y="217"/>
                    </a:lnTo>
                    <a:lnTo>
                      <a:pt x="280" y="216"/>
                    </a:lnTo>
                    <a:lnTo>
                      <a:pt x="282" y="215"/>
                    </a:lnTo>
                    <a:lnTo>
                      <a:pt x="283" y="216"/>
                    </a:lnTo>
                    <a:lnTo>
                      <a:pt x="284" y="216"/>
                    </a:lnTo>
                    <a:close/>
                    <a:moveTo>
                      <a:pt x="446" y="370"/>
                    </a:moveTo>
                    <a:lnTo>
                      <a:pt x="447" y="370"/>
                    </a:lnTo>
                    <a:lnTo>
                      <a:pt x="446" y="370"/>
                    </a:lnTo>
                    <a:lnTo>
                      <a:pt x="446" y="371"/>
                    </a:lnTo>
                    <a:lnTo>
                      <a:pt x="447" y="372"/>
                    </a:lnTo>
                    <a:lnTo>
                      <a:pt x="446" y="373"/>
                    </a:lnTo>
                    <a:lnTo>
                      <a:pt x="447" y="373"/>
                    </a:lnTo>
                    <a:lnTo>
                      <a:pt x="448" y="374"/>
                    </a:lnTo>
                    <a:lnTo>
                      <a:pt x="449" y="373"/>
                    </a:lnTo>
                    <a:lnTo>
                      <a:pt x="449" y="374"/>
                    </a:lnTo>
                    <a:lnTo>
                      <a:pt x="448" y="374"/>
                    </a:lnTo>
                    <a:lnTo>
                      <a:pt x="447" y="374"/>
                    </a:lnTo>
                    <a:lnTo>
                      <a:pt x="446" y="374"/>
                    </a:lnTo>
                    <a:lnTo>
                      <a:pt x="446" y="375"/>
                    </a:lnTo>
                    <a:lnTo>
                      <a:pt x="445" y="375"/>
                    </a:lnTo>
                    <a:lnTo>
                      <a:pt x="445" y="374"/>
                    </a:lnTo>
                    <a:lnTo>
                      <a:pt x="444" y="374"/>
                    </a:lnTo>
                    <a:lnTo>
                      <a:pt x="444" y="373"/>
                    </a:lnTo>
                    <a:lnTo>
                      <a:pt x="444" y="372"/>
                    </a:lnTo>
                    <a:lnTo>
                      <a:pt x="442" y="372"/>
                    </a:lnTo>
                    <a:lnTo>
                      <a:pt x="442" y="371"/>
                    </a:lnTo>
                    <a:lnTo>
                      <a:pt x="441" y="371"/>
                    </a:lnTo>
                    <a:lnTo>
                      <a:pt x="441" y="372"/>
                    </a:lnTo>
                    <a:lnTo>
                      <a:pt x="441" y="371"/>
                    </a:lnTo>
                    <a:lnTo>
                      <a:pt x="441" y="370"/>
                    </a:lnTo>
                    <a:lnTo>
                      <a:pt x="442" y="370"/>
                    </a:lnTo>
                    <a:lnTo>
                      <a:pt x="444" y="370"/>
                    </a:lnTo>
                    <a:lnTo>
                      <a:pt x="445" y="370"/>
                    </a:lnTo>
                    <a:lnTo>
                      <a:pt x="446" y="370"/>
                    </a:lnTo>
                    <a:close/>
                    <a:moveTo>
                      <a:pt x="268" y="404"/>
                    </a:moveTo>
                    <a:lnTo>
                      <a:pt x="272" y="410"/>
                    </a:lnTo>
                    <a:lnTo>
                      <a:pt x="273" y="410"/>
                    </a:lnTo>
                    <a:lnTo>
                      <a:pt x="272" y="410"/>
                    </a:lnTo>
                    <a:lnTo>
                      <a:pt x="271" y="410"/>
                    </a:lnTo>
                    <a:lnTo>
                      <a:pt x="271" y="409"/>
                    </a:lnTo>
                    <a:lnTo>
                      <a:pt x="271" y="410"/>
                    </a:lnTo>
                    <a:lnTo>
                      <a:pt x="270" y="410"/>
                    </a:lnTo>
                    <a:lnTo>
                      <a:pt x="270" y="409"/>
                    </a:lnTo>
                    <a:lnTo>
                      <a:pt x="271" y="410"/>
                    </a:lnTo>
                    <a:lnTo>
                      <a:pt x="271" y="409"/>
                    </a:lnTo>
                    <a:lnTo>
                      <a:pt x="270" y="409"/>
                    </a:lnTo>
                    <a:lnTo>
                      <a:pt x="270" y="408"/>
                    </a:lnTo>
                    <a:lnTo>
                      <a:pt x="269" y="408"/>
                    </a:lnTo>
                    <a:lnTo>
                      <a:pt x="269" y="409"/>
                    </a:lnTo>
                    <a:lnTo>
                      <a:pt x="268" y="408"/>
                    </a:lnTo>
                    <a:lnTo>
                      <a:pt x="267" y="406"/>
                    </a:lnTo>
                    <a:lnTo>
                      <a:pt x="266" y="406"/>
                    </a:lnTo>
                    <a:lnTo>
                      <a:pt x="266" y="405"/>
                    </a:lnTo>
                    <a:lnTo>
                      <a:pt x="265" y="405"/>
                    </a:lnTo>
                    <a:lnTo>
                      <a:pt x="264" y="406"/>
                    </a:lnTo>
                    <a:lnTo>
                      <a:pt x="264" y="405"/>
                    </a:lnTo>
                    <a:lnTo>
                      <a:pt x="265" y="405"/>
                    </a:lnTo>
                    <a:lnTo>
                      <a:pt x="265" y="404"/>
                    </a:lnTo>
                    <a:lnTo>
                      <a:pt x="266" y="405"/>
                    </a:lnTo>
                    <a:lnTo>
                      <a:pt x="267" y="405"/>
                    </a:lnTo>
                    <a:lnTo>
                      <a:pt x="268" y="405"/>
                    </a:lnTo>
                    <a:lnTo>
                      <a:pt x="269" y="405"/>
                    </a:lnTo>
                    <a:lnTo>
                      <a:pt x="269" y="404"/>
                    </a:lnTo>
                    <a:lnTo>
                      <a:pt x="268" y="404"/>
                    </a:lnTo>
                    <a:close/>
                    <a:moveTo>
                      <a:pt x="231" y="228"/>
                    </a:moveTo>
                    <a:lnTo>
                      <a:pt x="232" y="228"/>
                    </a:lnTo>
                    <a:lnTo>
                      <a:pt x="233" y="228"/>
                    </a:lnTo>
                    <a:lnTo>
                      <a:pt x="234" y="228"/>
                    </a:lnTo>
                    <a:lnTo>
                      <a:pt x="233" y="228"/>
                    </a:lnTo>
                    <a:lnTo>
                      <a:pt x="233" y="229"/>
                    </a:lnTo>
                    <a:lnTo>
                      <a:pt x="233" y="230"/>
                    </a:lnTo>
                    <a:lnTo>
                      <a:pt x="233" y="229"/>
                    </a:lnTo>
                    <a:lnTo>
                      <a:pt x="233" y="230"/>
                    </a:lnTo>
                    <a:lnTo>
                      <a:pt x="234" y="230"/>
                    </a:lnTo>
                    <a:lnTo>
                      <a:pt x="235" y="230"/>
                    </a:lnTo>
                    <a:lnTo>
                      <a:pt x="235" y="229"/>
                    </a:lnTo>
                    <a:lnTo>
                      <a:pt x="236" y="229"/>
                    </a:lnTo>
                    <a:lnTo>
                      <a:pt x="236" y="230"/>
                    </a:lnTo>
                    <a:lnTo>
                      <a:pt x="235" y="230"/>
                    </a:lnTo>
                    <a:lnTo>
                      <a:pt x="236" y="230"/>
                    </a:lnTo>
                    <a:lnTo>
                      <a:pt x="236" y="229"/>
                    </a:lnTo>
                    <a:lnTo>
                      <a:pt x="238" y="229"/>
                    </a:lnTo>
                    <a:lnTo>
                      <a:pt x="238" y="230"/>
                    </a:lnTo>
                    <a:lnTo>
                      <a:pt x="236" y="230"/>
                    </a:lnTo>
                    <a:lnTo>
                      <a:pt x="238" y="230"/>
                    </a:lnTo>
                    <a:lnTo>
                      <a:pt x="238" y="231"/>
                    </a:lnTo>
                    <a:lnTo>
                      <a:pt x="236" y="230"/>
                    </a:lnTo>
                    <a:lnTo>
                      <a:pt x="236" y="231"/>
                    </a:lnTo>
                    <a:lnTo>
                      <a:pt x="238" y="231"/>
                    </a:lnTo>
                    <a:lnTo>
                      <a:pt x="239" y="231"/>
                    </a:lnTo>
                    <a:lnTo>
                      <a:pt x="239" y="232"/>
                    </a:lnTo>
                    <a:lnTo>
                      <a:pt x="240" y="232"/>
                    </a:lnTo>
                    <a:lnTo>
                      <a:pt x="240" y="233"/>
                    </a:lnTo>
                    <a:lnTo>
                      <a:pt x="240" y="232"/>
                    </a:lnTo>
                    <a:lnTo>
                      <a:pt x="241" y="232"/>
                    </a:lnTo>
                    <a:lnTo>
                      <a:pt x="242" y="232"/>
                    </a:lnTo>
                    <a:lnTo>
                      <a:pt x="242" y="233"/>
                    </a:lnTo>
                    <a:lnTo>
                      <a:pt x="241" y="233"/>
                    </a:lnTo>
                    <a:lnTo>
                      <a:pt x="241" y="234"/>
                    </a:lnTo>
                    <a:lnTo>
                      <a:pt x="240" y="233"/>
                    </a:lnTo>
                    <a:lnTo>
                      <a:pt x="239" y="233"/>
                    </a:lnTo>
                    <a:lnTo>
                      <a:pt x="239" y="232"/>
                    </a:lnTo>
                    <a:lnTo>
                      <a:pt x="238" y="231"/>
                    </a:lnTo>
                    <a:lnTo>
                      <a:pt x="236" y="231"/>
                    </a:lnTo>
                    <a:lnTo>
                      <a:pt x="235" y="231"/>
                    </a:lnTo>
                    <a:lnTo>
                      <a:pt x="234" y="231"/>
                    </a:lnTo>
                    <a:lnTo>
                      <a:pt x="233" y="231"/>
                    </a:lnTo>
                    <a:lnTo>
                      <a:pt x="233" y="230"/>
                    </a:lnTo>
                    <a:lnTo>
                      <a:pt x="232" y="230"/>
                    </a:lnTo>
                    <a:lnTo>
                      <a:pt x="231" y="230"/>
                    </a:lnTo>
                    <a:lnTo>
                      <a:pt x="231" y="229"/>
                    </a:lnTo>
                    <a:lnTo>
                      <a:pt x="231" y="228"/>
                    </a:lnTo>
                    <a:close/>
                    <a:moveTo>
                      <a:pt x="223" y="218"/>
                    </a:moveTo>
                    <a:lnTo>
                      <a:pt x="223" y="219"/>
                    </a:lnTo>
                    <a:lnTo>
                      <a:pt x="223" y="218"/>
                    </a:lnTo>
                    <a:lnTo>
                      <a:pt x="225" y="219"/>
                    </a:lnTo>
                    <a:lnTo>
                      <a:pt x="225" y="218"/>
                    </a:lnTo>
                    <a:lnTo>
                      <a:pt x="223" y="218"/>
                    </a:lnTo>
                    <a:lnTo>
                      <a:pt x="225" y="218"/>
                    </a:lnTo>
                    <a:lnTo>
                      <a:pt x="226" y="218"/>
                    </a:lnTo>
                    <a:lnTo>
                      <a:pt x="227" y="218"/>
                    </a:lnTo>
                    <a:lnTo>
                      <a:pt x="228" y="218"/>
                    </a:lnTo>
                    <a:lnTo>
                      <a:pt x="228" y="219"/>
                    </a:lnTo>
                    <a:lnTo>
                      <a:pt x="229" y="219"/>
                    </a:lnTo>
                    <a:lnTo>
                      <a:pt x="229" y="218"/>
                    </a:lnTo>
                    <a:lnTo>
                      <a:pt x="229" y="219"/>
                    </a:lnTo>
                    <a:lnTo>
                      <a:pt x="230" y="219"/>
                    </a:lnTo>
                    <a:lnTo>
                      <a:pt x="230" y="220"/>
                    </a:lnTo>
                    <a:lnTo>
                      <a:pt x="229" y="220"/>
                    </a:lnTo>
                    <a:lnTo>
                      <a:pt x="229" y="219"/>
                    </a:lnTo>
                    <a:lnTo>
                      <a:pt x="228" y="219"/>
                    </a:lnTo>
                    <a:lnTo>
                      <a:pt x="227" y="219"/>
                    </a:lnTo>
                    <a:lnTo>
                      <a:pt x="228" y="219"/>
                    </a:lnTo>
                    <a:lnTo>
                      <a:pt x="228" y="220"/>
                    </a:lnTo>
                    <a:lnTo>
                      <a:pt x="229" y="220"/>
                    </a:lnTo>
                    <a:lnTo>
                      <a:pt x="228" y="220"/>
                    </a:lnTo>
                    <a:lnTo>
                      <a:pt x="229" y="221"/>
                    </a:lnTo>
                    <a:lnTo>
                      <a:pt x="228" y="221"/>
                    </a:lnTo>
                    <a:lnTo>
                      <a:pt x="228" y="220"/>
                    </a:lnTo>
                    <a:lnTo>
                      <a:pt x="227" y="220"/>
                    </a:lnTo>
                    <a:lnTo>
                      <a:pt x="227" y="219"/>
                    </a:lnTo>
                    <a:lnTo>
                      <a:pt x="226" y="219"/>
                    </a:lnTo>
                    <a:lnTo>
                      <a:pt x="225" y="219"/>
                    </a:lnTo>
                    <a:lnTo>
                      <a:pt x="223" y="220"/>
                    </a:lnTo>
                    <a:lnTo>
                      <a:pt x="223" y="219"/>
                    </a:lnTo>
                    <a:lnTo>
                      <a:pt x="222" y="219"/>
                    </a:lnTo>
                    <a:lnTo>
                      <a:pt x="222" y="220"/>
                    </a:lnTo>
                    <a:lnTo>
                      <a:pt x="221" y="220"/>
                    </a:lnTo>
                    <a:lnTo>
                      <a:pt x="221" y="221"/>
                    </a:lnTo>
                    <a:lnTo>
                      <a:pt x="220" y="221"/>
                    </a:lnTo>
                    <a:lnTo>
                      <a:pt x="220" y="220"/>
                    </a:lnTo>
                    <a:lnTo>
                      <a:pt x="220" y="219"/>
                    </a:lnTo>
                    <a:lnTo>
                      <a:pt x="219" y="220"/>
                    </a:lnTo>
                    <a:lnTo>
                      <a:pt x="220" y="219"/>
                    </a:lnTo>
                    <a:lnTo>
                      <a:pt x="220" y="218"/>
                    </a:lnTo>
                    <a:lnTo>
                      <a:pt x="221" y="218"/>
                    </a:lnTo>
                    <a:lnTo>
                      <a:pt x="222" y="219"/>
                    </a:lnTo>
                    <a:lnTo>
                      <a:pt x="222" y="218"/>
                    </a:lnTo>
                    <a:lnTo>
                      <a:pt x="223" y="218"/>
                    </a:lnTo>
                    <a:close/>
                    <a:moveTo>
                      <a:pt x="494" y="584"/>
                    </a:moveTo>
                    <a:lnTo>
                      <a:pt x="494" y="585"/>
                    </a:lnTo>
                    <a:lnTo>
                      <a:pt x="496" y="585"/>
                    </a:lnTo>
                    <a:lnTo>
                      <a:pt x="497" y="588"/>
                    </a:lnTo>
                    <a:lnTo>
                      <a:pt x="497" y="589"/>
                    </a:lnTo>
                    <a:lnTo>
                      <a:pt x="496" y="590"/>
                    </a:lnTo>
                    <a:lnTo>
                      <a:pt x="494" y="590"/>
                    </a:lnTo>
                    <a:lnTo>
                      <a:pt x="493" y="591"/>
                    </a:lnTo>
                    <a:lnTo>
                      <a:pt x="493" y="592"/>
                    </a:lnTo>
                    <a:lnTo>
                      <a:pt x="492" y="592"/>
                    </a:lnTo>
                    <a:lnTo>
                      <a:pt x="491" y="592"/>
                    </a:lnTo>
                    <a:lnTo>
                      <a:pt x="491" y="591"/>
                    </a:lnTo>
                    <a:lnTo>
                      <a:pt x="490" y="591"/>
                    </a:lnTo>
                    <a:lnTo>
                      <a:pt x="490" y="592"/>
                    </a:lnTo>
                    <a:lnTo>
                      <a:pt x="490" y="591"/>
                    </a:lnTo>
                    <a:lnTo>
                      <a:pt x="491" y="591"/>
                    </a:lnTo>
                    <a:lnTo>
                      <a:pt x="492" y="591"/>
                    </a:lnTo>
                    <a:lnTo>
                      <a:pt x="492" y="590"/>
                    </a:lnTo>
                    <a:lnTo>
                      <a:pt x="493" y="590"/>
                    </a:lnTo>
                    <a:lnTo>
                      <a:pt x="493" y="591"/>
                    </a:lnTo>
                    <a:lnTo>
                      <a:pt x="494" y="590"/>
                    </a:lnTo>
                    <a:lnTo>
                      <a:pt x="496" y="590"/>
                    </a:lnTo>
                    <a:lnTo>
                      <a:pt x="496" y="589"/>
                    </a:lnTo>
                    <a:lnTo>
                      <a:pt x="496" y="588"/>
                    </a:lnTo>
                    <a:lnTo>
                      <a:pt x="494" y="588"/>
                    </a:lnTo>
                    <a:lnTo>
                      <a:pt x="493" y="586"/>
                    </a:lnTo>
                    <a:lnTo>
                      <a:pt x="493" y="585"/>
                    </a:lnTo>
                    <a:lnTo>
                      <a:pt x="492" y="585"/>
                    </a:lnTo>
                    <a:lnTo>
                      <a:pt x="491" y="585"/>
                    </a:lnTo>
                    <a:lnTo>
                      <a:pt x="490" y="585"/>
                    </a:lnTo>
                    <a:lnTo>
                      <a:pt x="489" y="585"/>
                    </a:lnTo>
                    <a:lnTo>
                      <a:pt x="491" y="585"/>
                    </a:lnTo>
                    <a:lnTo>
                      <a:pt x="494" y="584"/>
                    </a:lnTo>
                    <a:close/>
                    <a:moveTo>
                      <a:pt x="451" y="615"/>
                    </a:moveTo>
                    <a:lnTo>
                      <a:pt x="452" y="615"/>
                    </a:lnTo>
                    <a:lnTo>
                      <a:pt x="452" y="616"/>
                    </a:lnTo>
                    <a:lnTo>
                      <a:pt x="451" y="617"/>
                    </a:lnTo>
                    <a:lnTo>
                      <a:pt x="450" y="618"/>
                    </a:lnTo>
                    <a:lnTo>
                      <a:pt x="450" y="619"/>
                    </a:lnTo>
                    <a:lnTo>
                      <a:pt x="449" y="619"/>
                    </a:lnTo>
                    <a:lnTo>
                      <a:pt x="449" y="620"/>
                    </a:lnTo>
                    <a:lnTo>
                      <a:pt x="448" y="620"/>
                    </a:lnTo>
                    <a:lnTo>
                      <a:pt x="448" y="621"/>
                    </a:lnTo>
                    <a:lnTo>
                      <a:pt x="448" y="622"/>
                    </a:lnTo>
                    <a:lnTo>
                      <a:pt x="447" y="622"/>
                    </a:lnTo>
                    <a:lnTo>
                      <a:pt x="447" y="621"/>
                    </a:lnTo>
                    <a:lnTo>
                      <a:pt x="446" y="621"/>
                    </a:lnTo>
                    <a:lnTo>
                      <a:pt x="446" y="620"/>
                    </a:lnTo>
                    <a:lnTo>
                      <a:pt x="447" y="619"/>
                    </a:lnTo>
                    <a:lnTo>
                      <a:pt x="447" y="620"/>
                    </a:lnTo>
                    <a:lnTo>
                      <a:pt x="447" y="619"/>
                    </a:lnTo>
                    <a:lnTo>
                      <a:pt x="448" y="618"/>
                    </a:lnTo>
                    <a:lnTo>
                      <a:pt x="449" y="618"/>
                    </a:lnTo>
                    <a:lnTo>
                      <a:pt x="448" y="618"/>
                    </a:lnTo>
                    <a:lnTo>
                      <a:pt x="449" y="618"/>
                    </a:lnTo>
                    <a:lnTo>
                      <a:pt x="448" y="618"/>
                    </a:lnTo>
                    <a:lnTo>
                      <a:pt x="448" y="619"/>
                    </a:lnTo>
                    <a:lnTo>
                      <a:pt x="448" y="618"/>
                    </a:lnTo>
                    <a:lnTo>
                      <a:pt x="449" y="618"/>
                    </a:lnTo>
                    <a:lnTo>
                      <a:pt x="449" y="617"/>
                    </a:lnTo>
                    <a:lnTo>
                      <a:pt x="449" y="616"/>
                    </a:lnTo>
                    <a:lnTo>
                      <a:pt x="450" y="616"/>
                    </a:lnTo>
                    <a:lnTo>
                      <a:pt x="450" y="615"/>
                    </a:lnTo>
                    <a:lnTo>
                      <a:pt x="451" y="615"/>
                    </a:lnTo>
                    <a:close/>
                    <a:moveTo>
                      <a:pt x="446" y="518"/>
                    </a:moveTo>
                    <a:lnTo>
                      <a:pt x="446" y="519"/>
                    </a:lnTo>
                    <a:lnTo>
                      <a:pt x="445" y="520"/>
                    </a:lnTo>
                    <a:lnTo>
                      <a:pt x="445" y="521"/>
                    </a:lnTo>
                    <a:lnTo>
                      <a:pt x="445" y="523"/>
                    </a:lnTo>
                    <a:lnTo>
                      <a:pt x="445" y="524"/>
                    </a:lnTo>
                    <a:lnTo>
                      <a:pt x="445" y="525"/>
                    </a:lnTo>
                    <a:lnTo>
                      <a:pt x="445" y="526"/>
                    </a:lnTo>
                    <a:lnTo>
                      <a:pt x="445" y="527"/>
                    </a:lnTo>
                    <a:lnTo>
                      <a:pt x="444" y="527"/>
                    </a:lnTo>
                    <a:lnTo>
                      <a:pt x="444" y="526"/>
                    </a:lnTo>
                    <a:lnTo>
                      <a:pt x="442" y="526"/>
                    </a:lnTo>
                    <a:lnTo>
                      <a:pt x="441" y="526"/>
                    </a:lnTo>
                    <a:lnTo>
                      <a:pt x="442" y="526"/>
                    </a:lnTo>
                    <a:lnTo>
                      <a:pt x="442" y="525"/>
                    </a:lnTo>
                    <a:lnTo>
                      <a:pt x="441" y="525"/>
                    </a:lnTo>
                    <a:lnTo>
                      <a:pt x="440" y="525"/>
                    </a:lnTo>
                    <a:lnTo>
                      <a:pt x="440" y="524"/>
                    </a:lnTo>
                    <a:lnTo>
                      <a:pt x="441" y="524"/>
                    </a:lnTo>
                    <a:lnTo>
                      <a:pt x="442" y="524"/>
                    </a:lnTo>
                    <a:lnTo>
                      <a:pt x="442" y="523"/>
                    </a:lnTo>
                    <a:lnTo>
                      <a:pt x="442" y="524"/>
                    </a:lnTo>
                    <a:lnTo>
                      <a:pt x="444" y="524"/>
                    </a:lnTo>
                    <a:lnTo>
                      <a:pt x="444" y="523"/>
                    </a:lnTo>
                    <a:lnTo>
                      <a:pt x="445" y="523"/>
                    </a:lnTo>
                    <a:lnTo>
                      <a:pt x="445" y="521"/>
                    </a:lnTo>
                    <a:lnTo>
                      <a:pt x="444" y="521"/>
                    </a:lnTo>
                    <a:lnTo>
                      <a:pt x="444" y="520"/>
                    </a:lnTo>
                    <a:lnTo>
                      <a:pt x="444" y="519"/>
                    </a:lnTo>
                    <a:lnTo>
                      <a:pt x="442" y="519"/>
                    </a:lnTo>
                    <a:lnTo>
                      <a:pt x="444" y="519"/>
                    </a:lnTo>
                    <a:lnTo>
                      <a:pt x="444" y="518"/>
                    </a:lnTo>
                    <a:lnTo>
                      <a:pt x="445" y="518"/>
                    </a:lnTo>
                    <a:lnTo>
                      <a:pt x="445" y="517"/>
                    </a:lnTo>
                    <a:lnTo>
                      <a:pt x="446" y="518"/>
                    </a:lnTo>
                    <a:close/>
                    <a:moveTo>
                      <a:pt x="244" y="211"/>
                    </a:moveTo>
                    <a:lnTo>
                      <a:pt x="245" y="212"/>
                    </a:lnTo>
                    <a:lnTo>
                      <a:pt x="245" y="213"/>
                    </a:lnTo>
                    <a:lnTo>
                      <a:pt x="246" y="213"/>
                    </a:lnTo>
                    <a:lnTo>
                      <a:pt x="247" y="213"/>
                    </a:lnTo>
                    <a:lnTo>
                      <a:pt x="247" y="212"/>
                    </a:lnTo>
                    <a:lnTo>
                      <a:pt x="247" y="213"/>
                    </a:lnTo>
                    <a:lnTo>
                      <a:pt x="247" y="215"/>
                    </a:lnTo>
                    <a:lnTo>
                      <a:pt x="246" y="215"/>
                    </a:lnTo>
                    <a:lnTo>
                      <a:pt x="246" y="216"/>
                    </a:lnTo>
                    <a:lnTo>
                      <a:pt x="245" y="216"/>
                    </a:lnTo>
                    <a:lnTo>
                      <a:pt x="244" y="216"/>
                    </a:lnTo>
                    <a:lnTo>
                      <a:pt x="244" y="215"/>
                    </a:lnTo>
                    <a:lnTo>
                      <a:pt x="243" y="215"/>
                    </a:lnTo>
                    <a:lnTo>
                      <a:pt x="243" y="213"/>
                    </a:lnTo>
                    <a:lnTo>
                      <a:pt x="242" y="213"/>
                    </a:lnTo>
                    <a:lnTo>
                      <a:pt x="242" y="215"/>
                    </a:lnTo>
                    <a:lnTo>
                      <a:pt x="241" y="215"/>
                    </a:lnTo>
                    <a:lnTo>
                      <a:pt x="241" y="213"/>
                    </a:lnTo>
                    <a:lnTo>
                      <a:pt x="241" y="212"/>
                    </a:lnTo>
                    <a:lnTo>
                      <a:pt x="242" y="211"/>
                    </a:lnTo>
                    <a:lnTo>
                      <a:pt x="243" y="211"/>
                    </a:lnTo>
                    <a:lnTo>
                      <a:pt x="244" y="211"/>
                    </a:lnTo>
                    <a:close/>
                    <a:moveTo>
                      <a:pt x="231" y="402"/>
                    </a:moveTo>
                    <a:lnTo>
                      <a:pt x="232" y="402"/>
                    </a:lnTo>
                    <a:lnTo>
                      <a:pt x="232" y="401"/>
                    </a:lnTo>
                    <a:lnTo>
                      <a:pt x="233" y="401"/>
                    </a:lnTo>
                    <a:lnTo>
                      <a:pt x="233" y="402"/>
                    </a:lnTo>
                    <a:lnTo>
                      <a:pt x="234" y="402"/>
                    </a:lnTo>
                    <a:lnTo>
                      <a:pt x="233" y="402"/>
                    </a:lnTo>
                    <a:lnTo>
                      <a:pt x="232" y="402"/>
                    </a:lnTo>
                    <a:lnTo>
                      <a:pt x="231" y="402"/>
                    </a:lnTo>
                    <a:lnTo>
                      <a:pt x="231" y="403"/>
                    </a:lnTo>
                    <a:lnTo>
                      <a:pt x="232" y="403"/>
                    </a:lnTo>
                    <a:lnTo>
                      <a:pt x="231" y="403"/>
                    </a:lnTo>
                    <a:lnTo>
                      <a:pt x="231" y="402"/>
                    </a:lnTo>
                    <a:lnTo>
                      <a:pt x="232" y="402"/>
                    </a:lnTo>
                    <a:lnTo>
                      <a:pt x="232" y="403"/>
                    </a:lnTo>
                    <a:lnTo>
                      <a:pt x="232" y="404"/>
                    </a:lnTo>
                    <a:lnTo>
                      <a:pt x="231" y="404"/>
                    </a:lnTo>
                    <a:lnTo>
                      <a:pt x="231" y="405"/>
                    </a:lnTo>
                    <a:lnTo>
                      <a:pt x="232" y="405"/>
                    </a:lnTo>
                    <a:lnTo>
                      <a:pt x="232" y="404"/>
                    </a:lnTo>
                    <a:lnTo>
                      <a:pt x="233" y="404"/>
                    </a:lnTo>
                    <a:lnTo>
                      <a:pt x="232" y="404"/>
                    </a:lnTo>
                    <a:lnTo>
                      <a:pt x="233" y="404"/>
                    </a:lnTo>
                    <a:lnTo>
                      <a:pt x="232" y="404"/>
                    </a:lnTo>
                    <a:lnTo>
                      <a:pt x="232" y="403"/>
                    </a:lnTo>
                    <a:lnTo>
                      <a:pt x="233" y="403"/>
                    </a:lnTo>
                    <a:lnTo>
                      <a:pt x="233" y="404"/>
                    </a:lnTo>
                    <a:lnTo>
                      <a:pt x="234" y="404"/>
                    </a:lnTo>
                    <a:lnTo>
                      <a:pt x="234" y="403"/>
                    </a:lnTo>
                    <a:lnTo>
                      <a:pt x="235" y="403"/>
                    </a:lnTo>
                    <a:lnTo>
                      <a:pt x="235" y="402"/>
                    </a:lnTo>
                    <a:lnTo>
                      <a:pt x="236" y="402"/>
                    </a:lnTo>
                    <a:lnTo>
                      <a:pt x="236" y="403"/>
                    </a:lnTo>
                    <a:lnTo>
                      <a:pt x="235" y="404"/>
                    </a:lnTo>
                    <a:lnTo>
                      <a:pt x="234" y="404"/>
                    </a:lnTo>
                    <a:lnTo>
                      <a:pt x="233" y="404"/>
                    </a:lnTo>
                    <a:lnTo>
                      <a:pt x="232" y="405"/>
                    </a:lnTo>
                    <a:lnTo>
                      <a:pt x="233" y="405"/>
                    </a:lnTo>
                    <a:lnTo>
                      <a:pt x="233" y="406"/>
                    </a:lnTo>
                    <a:lnTo>
                      <a:pt x="234" y="406"/>
                    </a:lnTo>
                    <a:lnTo>
                      <a:pt x="235" y="406"/>
                    </a:lnTo>
                    <a:lnTo>
                      <a:pt x="232" y="406"/>
                    </a:lnTo>
                    <a:lnTo>
                      <a:pt x="230" y="406"/>
                    </a:lnTo>
                    <a:lnTo>
                      <a:pt x="230" y="405"/>
                    </a:lnTo>
                    <a:lnTo>
                      <a:pt x="230" y="404"/>
                    </a:lnTo>
                    <a:lnTo>
                      <a:pt x="230" y="402"/>
                    </a:lnTo>
                    <a:lnTo>
                      <a:pt x="231" y="401"/>
                    </a:lnTo>
                    <a:lnTo>
                      <a:pt x="231" y="402"/>
                    </a:lnTo>
                    <a:close/>
                    <a:moveTo>
                      <a:pt x="272" y="180"/>
                    </a:moveTo>
                    <a:lnTo>
                      <a:pt x="273" y="180"/>
                    </a:lnTo>
                    <a:lnTo>
                      <a:pt x="274" y="180"/>
                    </a:lnTo>
                    <a:lnTo>
                      <a:pt x="276" y="179"/>
                    </a:lnTo>
                    <a:lnTo>
                      <a:pt x="277" y="180"/>
                    </a:lnTo>
                    <a:lnTo>
                      <a:pt x="277" y="181"/>
                    </a:lnTo>
                    <a:lnTo>
                      <a:pt x="278" y="181"/>
                    </a:lnTo>
                    <a:lnTo>
                      <a:pt x="280" y="181"/>
                    </a:lnTo>
                    <a:lnTo>
                      <a:pt x="282" y="181"/>
                    </a:lnTo>
                    <a:lnTo>
                      <a:pt x="282" y="182"/>
                    </a:lnTo>
                    <a:lnTo>
                      <a:pt x="281" y="182"/>
                    </a:lnTo>
                    <a:lnTo>
                      <a:pt x="280" y="182"/>
                    </a:lnTo>
                    <a:lnTo>
                      <a:pt x="278" y="182"/>
                    </a:lnTo>
                    <a:lnTo>
                      <a:pt x="277" y="182"/>
                    </a:lnTo>
                    <a:lnTo>
                      <a:pt x="276" y="182"/>
                    </a:lnTo>
                    <a:lnTo>
                      <a:pt x="273" y="181"/>
                    </a:lnTo>
                    <a:lnTo>
                      <a:pt x="272" y="181"/>
                    </a:lnTo>
                    <a:lnTo>
                      <a:pt x="272" y="180"/>
                    </a:lnTo>
                    <a:lnTo>
                      <a:pt x="271" y="180"/>
                    </a:lnTo>
                    <a:lnTo>
                      <a:pt x="271" y="179"/>
                    </a:lnTo>
                    <a:lnTo>
                      <a:pt x="270" y="179"/>
                    </a:lnTo>
                    <a:lnTo>
                      <a:pt x="271" y="179"/>
                    </a:lnTo>
                    <a:lnTo>
                      <a:pt x="272" y="179"/>
                    </a:lnTo>
                    <a:lnTo>
                      <a:pt x="272" y="180"/>
                    </a:lnTo>
                    <a:close/>
                    <a:moveTo>
                      <a:pt x="307" y="250"/>
                    </a:moveTo>
                    <a:lnTo>
                      <a:pt x="308" y="250"/>
                    </a:lnTo>
                    <a:lnTo>
                      <a:pt x="309" y="250"/>
                    </a:lnTo>
                    <a:lnTo>
                      <a:pt x="309" y="251"/>
                    </a:lnTo>
                    <a:lnTo>
                      <a:pt x="309" y="253"/>
                    </a:lnTo>
                    <a:lnTo>
                      <a:pt x="310" y="253"/>
                    </a:lnTo>
                    <a:lnTo>
                      <a:pt x="311" y="253"/>
                    </a:lnTo>
                    <a:lnTo>
                      <a:pt x="312" y="253"/>
                    </a:lnTo>
                    <a:lnTo>
                      <a:pt x="312" y="254"/>
                    </a:lnTo>
                    <a:lnTo>
                      <a:pt x="312" y="255"/>
                    </a:lnTo>
                    <a:lnTo>
                      <a:pt x="312" y="256"/>
                    </a:lnTo>
                    <a:lnTo>
                      <a:pt x="311" y="255"/>
                    </a:lnTo>
                    <a:lnTo>
                      <a:pt x="310" y="255"/>
                    </a:lnTo>
                    <a:lnTo>
                      <a:pt x="309" y="254"/>
                    </a:lnTo>
                    <a:lnTo>
                      <a:pt x="309" y="253"/>
                    </a:lnTo>
                    <a:lnTo>
                      <a:pt x="309" y="251"/>
                    </a:lnTo>
                    <a:lnTo>
                      <a:pt x="308" y="251"/>
                    </a:lnTo>
                    <a:lnTo>
                      <a:pt x="307" y="251"/>
                    </a:lnTo>
                    <a:lnTo>
                      <a:pt x="306" y="251"/>
                    </a:lnTo>
                    <a:lnTo>
                      <a:pt x="305" y="251"/>
                    </a:lnTo>
                    <a:lnTo>
                      <a:pt x="304" y="251"/>
                    </a:lnTo>
                    <a:lnTo>
                      <a:pt x="304" y="253"/>
                    </a:lnTo>
                    <a:lnTo>
                      <a:pt x="304" y="251"/>
                    </a:lnTo>
                    <a:lnTo>
                      <a:pt x="305" y="251"/>
                    </a:lnTo>
                    <a:lnTo>
                      <a:pt x="305" y="250"/>
                    </a:lnTo>
                    <a:lnTo>
                      <a:pt x="306" y="250"/>
                    </a:lnTo>
                    <a:lnTo>
                      <a:pt x="307" y="250"/>
                    </a:lnTo>
                    <a:lnTo>
                      <a:pt x="307" y="249"/>
                    </a:lnTo>
                    <a:lnTo>
                      <a:pt x="307" y="250"/>
                    </a:lnTo>
                    <a:close/>
                    <a:moveTo>
                      <a:pt x="487" y="585"/>
                    </a:moveTo>
                    <a:lnTo>
                      <a:pt x="488" y="585"/>
                    </a:lnTo>
                    <a:lnTo>
                      <a:pt x="489" y="585"/>
                    </a:lnTo>
                    <a:lnTo>
                      <a:pt x="488" y="585"/>
                    </a:lnTo>
                    <a:lnTo>
                      <a:pt x="488" y="586"/>
                    </a:lnTo>
                    <a:lnTo>
                      <a:pt x="489" y="586"/>
                    </a:lnTo>
                    <a:lnTo>
                      <a:pt x="489" y="588"/>
                    </a:lnTo>
                    <a:lnTo>
                      <a:pt x="489" y="589"/>
                    </a:lnTo>
                    <a:lnTo>
                      <a:pt x="488" y="589"/>
                    </a:lnTo>
                    <a:lnTo>
                      <a:pt x="487" y="589"/>
                    </a:lnTo>
                    <a:lnTo>
                      <a:pt x="487" y="588"/>
                    </a:lnTo>
                    <a:lnTo>
                      <a:pt x="487" y="586"/>
                    </a:lnTo>
                    <a:lnTo>
                      <a:pt x="486" y="586"/>
                    </a:lnTo>
                    <a:lnTo>
                      <a:pt x="487" y="586"/>
                    </a:lnTo>
                    <a:lnTo>
                      <a:pt x="487" y="585"/>
                    </a:lnTo>
                    <a:lnTo>
                      <a:pt x="486" y="585"/>
                    </a:lnTo>
                    <a:lnTo>
                      <a:pt x="486" y="586"/>
                    </a:lnTo>
                    <a:lnTo>
                      <a:pt x="485" y="586"/>
                    </a:lnTo>
                    <a:lnTo>
                      <a:pt x="484" y="585"/>
                    </a:lnTo>
                    <a:lnTo>
                      <a:pt x="484" y="584"/>
                    </a:lnTo>
                    <a:lnTo>
                      <a:pt x="485" y="583"/>
                    </a:lnTo>
                    <a:lnTo>
                      <a:pt x="486" y="583"/>
                    </a:lnTo>
                    <a:lnTo>
                      <a:pt x="487" y="584"/>
                    </a:lnTo>
                    <a:lnTo>
                      <a:pt x="487" y="585"/>
                    </a:lnTo>
                    <a:close/>
                    <a:moveTo>
                      <a:pt x="472" y="438"/>
                    </a:moveTo>
                    <a:lnTo>
                      <a:pt x="472" y="439"/>
                    </a:lnTo>
                    <a:lnTo>
                      <a:pt x="471" y="439"/>
                    </a:lnTo>
                    <a:lnTo>
                      <a:pt x="471" y="440"/>
                    </a:lnTo>
                    <a:lnTo>
                      <a:pt x="470" y="440"/>
                    </a:lnTo>
                    <a:lnTo>
                      <a:pt x="471" y="441"/>
                    </a:lnTo>
                    <a:lnTo>
                      <a:pt x="472" y="441"/>
                    </a:lnTo>
                    <a:lnTo>
                      <a:pt x="473" y="441"/>
                    </a:lnTo>
                    <a:lnTo>
                      <a:pt x="474" y="442"/>
                    </a:lnTo>
                    <a:lnTo>
                      <a:pt x="475" y="442"/>
                    </a:lnTo>
                    <a:lnTo>
                      <a:pt x="474" y="442"/>
                    </a:lnTo>
                    <a:lnTo>
                      <a:pt x="473" y="442"/>
                    </a:lnTo>
                    <a:lnTo>
                      <a:pt x="472" y="442"/>
                    </a:lnTo>
                    <a:lnTo>
                      <a:pt x="472" y="443"/>
                    </a:lnTo>
                    <a:lnTo>
                      <a:pt x="471" y="443"/>
                    </a:lnTo>
                    <a:lnTo>
                      <a:pt x="470" y="443"/>
                    </a:lnTo>
                    <a:lnTo>
                      <a:pt x="468" y="443"/>
                    </a:lnTo>
                    <a:lnTo>
                      <a:pt x="468" y="442"/>
                    </a:lnTo>
                    <a:lnTo>
                      <a:pt x="470" y="442"/>
                    </a:lnTo>
                    <a:lnTo>
                      <a:pt x="470" y="439"/>
                    </a:lnTo>
                    <a:lnTo>
                      <a:pt x="470" y="438"/>
                    </a:lnTo>
                    <a:lnTo>
                      <a:pt x="471" y="438"/>
                    </a:lnTo>
                    <a:lnTo>
                      <a:pt x="471" y="436"/>
                    </a:lnTo>
                    <a:lnTo>
                      <a:pt x="472" y="436"/>
                    </a:lnTo>
                    <a:lnTo>
                      <a:pt x="472" y="437"/>
                    </a:lnTo>
                    <a:lnTo>
                      <a:pt x="473" y="437"/>
                    </a:lnTo>
                    <a:lnTo>
                      <a:pt x="473" y="438"/>
                    </a:lnTo>
                    <a:lnTo>
                      <a:pt x="472" y="438"/>
                    </a:lnTo>
                    <a:close/>
                    <a:moveTo>
                      <a:pt x="163" y="412"/>
                    </a:moveTo>
                    <a:lnTo>
                      <a:pt x="164" y="412"/>
                    </a:lnTo>
                    <a:lnTo>
                      <a:pt x="163" y="412"/>
                    </a:lnTo>
                    <a:lnTo>
                      <a:pt x="163" y="413"/>
                    </a:lnTo>
                    <a:lnTo>
                      <a:pt x="162" y="413"/>
                    </a:lnTo>
                    <a:lnTo>
                      <a:pt x="161" y="414"/>
                    </a:lnTo>
                    <a:lnTo>
                      <a:pt x="162" y="413"/>
                    </a:lnTo>
                    <a:lnTo>
                      <a:pt x="163" y="413"/>
                    </a:lnTo>
                    <a:lnTo>
                      <a:pt x="164" y="413"/>
                    </a:lnTo>
                    <a:lnTo>
                      <a:pt x="165" y="413"/>
                    </a:lnTo>
                    <a:lnTo>
                      <a:pt x="165" y="412"/>
                    </a:lnTo>
                    <a:lnTo>
                      <a:pt x="166" y="413"/>
                    </a:lnTo>
                    <a:lnTo>
                      <a:pt x="167" y="412"/>
                    </a:lnTo>
                    <a:lnTo>
                      <a:pt x="168" y="412"/>
                    </a:lnTo>
                    <a:lnTo>
                      <a:pt x="167" y="412"/>
                    </a:lnTo>
                    <a:lnTo>
                      <a:pt x="167" y="413"/>
                    </a:lnTo>
                    <a:lnTo>
                      <a:pt x="166" y="413"/>
                    </a:lnTo>
                    <a:lnTo>
                      <a:pt x="165" y="413"/>
                    </a:lnTo>
                    <a:lnTo>
                      <a:pt x="164" y="414"/>
                    </a:lnTo>
                    <a:lnTo>
                      <a:pt x="163" y="414"/>
                    </a:lnTo>
                    <a:lnTo>
                      <a:pt x="162" y="414"/>
                    </a:lnTo>
                    <a:lnTo>
                      <a:pt x="161" y="414"/>
                    </a:lnTo>
                    <a:lnTo>
                      <a:pt x="161" y="415"/>
                    </a:lnTo>
                    <a:lnTo>
                      <a:pt x="160" y="415"/>
                    </a:lnTo>
                    <a:lnTo>
                      <a:pt x="158" y="414"/>
                    </a:lnTo>
                    <a:lnTo>
                      <a:pt x="157" y="414"/>
                    </a:lnTo>
                    <a:lnTo>
                      <a:pt x="156" y="414"/>
                    </a:lnTo>
                    <a:lnTo>
                      <a:pt x="156" y="413"/>
                    </a:lnTo>
                    <a:lnTo>
                      <a:pt x="157" y="413"/>
                    </a:lnTo>
                    <a:lnTo>
                      <a:pt x="157" y="414"/>
                    </a:lnTo>
                    <a:lnTo>
                      <a:pt x="157" y="413"/>
                    </a:lnTo>
                    <a:lnTo>
                      <a:pt x="158" y="413"/>
                    </a:lnTo>
                    <a:lnTo>
                      <a:pt x="160" y="413"/>
                    </a:lnTo>
                    <a:lnTo>
                      <a:pt x="161" y="412"/>
                    </a:lnTo>
                    <a:lnTo>
                      <a:pt x="162" y="412"/>
                    </a:lnTo>
                    <a:lnTo>
                      <a:pt x="163" y="412"/>
                    </a:lnTo>
                    <a:close/>
                    <a:moveTo>
                      <a:pt x="302" y="397"/>
                    </a:moveTo>
                    <a:lnTo>
                      <a:pt x="303" y="398"/>
                    </a:lnTo>
                    <a:lnTo>
                      <a:pt x="303" y="399"/>
                    </a:lnTo>
                    <a:lnTo>
                      <a:pt x="302" y="399"/>
                    </a:lnTo>
                    <a:lnTo>
                      <a:pt x="302" y="400"/>
                    </a:lnTo>
                    <a:lnTo>
                      <a:pt x="303" y="400"/>
                    </a:lnTo>
                    <a:lnTo>
                      <a:pt x="302" y="400"/>
                    </a:lnTo>
                    <a:lnTo>
                      <a:pt x="302" y="399"/>
                    </a:lnTo>
                    <a:lnTo>
                      <a:pt x="302" y="398"/>
                    </a:lnTo>
                    <a:lnTo>
                      <a:pt x="300" y="398"/>
                    </a:lnTo>
                    <a:lnTo>
                      <a:pt x="299" y="398"/>
                    </a:lnTo>
                    <a:lnTo>
                      <a:pt x="298" y="398"/>
                    </a:lnTo>
                    <a:lnTo>
                      <a:pt x="299" y="397"/>
                    </a:lnTo>
                    <a:lnTo>
                      <a:pt x="299" y="396"/>
                    </a:lnTo>
                    <a:lnTo>
                      <a:pt x="299" y="395"/>
                    </a:lnTo>
                    <a:lnTo>
                      <a:pt x="299" y="393"/>
                    </a:lnTo>
                    <a:lnTo>
                      <a:pt x="300" y="392"/>
                    </a:lnTo>
                    <a:lnTo>
                      <a:pt x="300" y="393"/>
                    </a:lnTo>
                    <a:lnTo>
                      <a:pt x="302" y="393"/>
                    </a:lnTo>
                    <a:lnTo>
                      <a:pt x="302" y="395"/>
                    </a:lnTo>
                    <a:lnTo>
                      <a:pt x="303" y="396"/>
                    </a:lnTo>
                    <a:lnTo>
                      <a:pt x="302" y="396"/>
                    </a:lnTo>
                    <a:lnTo>
                      <a:pt x="302" y="397"/>
                    </a:lnTo>
                    <a:close/>
                    <a:moveTo>
                      <a:pt x="156" y="399"/>
                    </a:moveTo>
                    <a:lnTo>
                      <a:pt x="155" y="400"/>
                    </a:lnTo>
                    <a:lnTo>
                      <a:pt x="155" y="401"/>
                    </a:lnTo>
                    <a:lnTo>
                      <a:pt x="155" y="400"/>
                    </a:lnTo>
                    <a:lnTo>
                      <a:pt x="155" y="401"/>
                    </a:lnTo>
                    <a:lnTo>
                      <a:pt x="154" y="401"/>
                    </a:lnTo>
                    <a:lnTo>
                      <a:pt x="153" y="402"/>
                    </a:lnTo>
                    <a:lnTo>
                      <a:pt x="153" y="403"/>
                    </a:lnTo>
                    <a:lnTo>
                      <a:pt x="152" y="403"/>
                    </a:lnTo>
                    <a:lnTo>
                      <a:pt x="151" y="403"/>
                    </a:lnTo>
                    <a:lnTo>
                      <a:pt x="150" y="403"/>
                    </a:lnTo>
                    <a:lnTo>
                      <a:pt x="149" y="403"/>
                    </a:lnTo>
                    <a:lnTo>
                      <a:pt x="149" y="404"/>
                    </a:lnTo>
                    <a:lnTo>
                      <a:pt x="148" y="404"/>
                    </a:lnTo>
                    <a:lnTo>
                      <a:pt x="148" y="403"/>
                    </a:lnTo>
                    <a:lnTo>
                      <a:pt x="147" y="403"/>
                    </a:lnTo>
                    <a:lnTo>
                      <a:pt x="148" y="402"/>
                    </a:lnTo>
                    <a:lnTo>
                      <a:pt x="148" y="403"/>
                    </a:lnTo>
                    <a:lnTo>
                      <a:pt x="148" y="402"/>
                    </a:lnTo>
                    <a:lnTo>
                      <a:pt x="148" y="403"/>
                    </a:lnTo>
                    <a:lnTo>
                      <a:pt x="149" y="403"/>
                    </a:lnTo>
                    <a:lnTo>
                      <a:pt x="149" y="402"/>
                    </a:lnTo>
                    <a:lnTo>
                      <a:pt x="149" y="401"/>
                    </a:lnTo>
                    <a:lnTo>
                      <a:pt x="150" y="401"/>
                    </a:lnTo>
                    <a:lnTo>
                      <a:pt x="150" y="400"/>
                    </a:lnTo>
                    <a:lnTo>
                      <a:pt x="151" y="400"/>
                    </a:lnTo>
                    <a:lnTo>
                      <a:pt x="151" y="401"/>
                    </a:lnTo>
                    <a:lnTo>
                      <a:pt x="152" y="401"/>
                    </a:lnTo>
                    <a:lnTo>
                      <a:pt x="152" y="402"/>
                    </a:lnTo>
                    <a:lnTo>
                      <a:pt x="152" y="401"/>
                    </a:lnTo>
                    <a:lnTo>
                      <a:pt x="153" y="401"/>
                    </a:lnTo>
                    <a:lnTo>
                      <a:pt x="154" y="401"/>
                    </a:lnTo>
                    <a:lnTo>
                      <a:pt x="154" y="400"/>
                    </a:lnTo>
                    <a:lnTo>
                      <a:pt x="155" y="400"/>
                    </a:lnTo>
                    <a:lnTo>
                      <a:pt x="155" y="399"/>
                    </a:lnTo>
                    <a:lnTo>
                      <a:pt x="156" y="399"/>
                    </a:lnTo>
                    <a:close/>
                    <a:moveTo>
                      <a:pt x="563" y="517"/>
                    </a:moveTo>
                    <a:lnTo>
                      <a:pt x="564" y="517"/>
                    </a:lnTo>
                    <a:lnTo>
                      <a:pt x="565" y="517"/>
                    </a:lnTo>
                    <a:lnTo>
                      <a:pt x="566" y="518"/>
                    </a:lnTo>
                    <a:lnTo>
                      <a:pt x="565" y="518"/>
                    </a:lnTo>
                    <a:lnTo>
                      <a:pt x="564" y="518"/>
                    </a:lnTo>
                    <a:lnTo>
                      <a:pt x="563" y="518"/>
                    </a:lnTo>
                    <a:lnTo>
                      <a:pt x="563" y="519"/>
                    </a:lnTo>
                    <a:lnTo>
                      <a:pt x="562" y="519"/>
                    </a:lnTo>
                    <a:lnTo>
                      <a:pt x="561" y="520"/>
                    </a:lnTo>
                    <a:lnTo>
                      <a:pt x="561" y="519"/>
                    </a:lnTo>
                    <a:lnTo>
                      <a:pt x="561" y="520"/>
                    </a:lnTo>
                    <a:lnTo>
                      <a:pt x="560" y="520"/>
                    </a:lnTo>
                    <a:lnTo>
                      <a:pt x="560" y="519"/>
                    </a:lnTo>
                    <a:lnTo>
                      <a:pt x="560" y="520"/>
                    </a:lnTo>
                    <a:lnTo>
                      <a:pt x="558" y="520"/>
                    </a:lnTo>
                    <a:lnTo>
                      <a:pt x="557" y="521"/>
                    </a:lnTo>
                    <a:lnTo>
                      <a:pt x="558" y="521"/>
                    </a:lnTo>
                    <a:lnTo>
                      <a:pt x="557" y="521"/>
                    </a:lnTo>
                    <a:lnTo>
                      <a:pt x="557" y="520"/>
                    </a:lnTo>
                    <a:lnTo>
                      <a:pt x="557" y="519"/>
                    </a:lnTo>
                    <a:lnTo>
                      <a:pt x="558" y="519"/>
                    </a:lnTo>
                    <a:lnTo>
                      <a:pt x="561" y="518"/>
                    </a:lnTo>
                    <a:lnTo>
                      <a:pt x="562" y="518"/>
                    </a:lnTo>
                    <a:lnTo>
                      <a:pt x="562" y="517"/>
                    </a:lnTo>
                    <a:lnTo>
                      <a:pt x="562" y="516"/>
                    </a:lnTo>
                    <a:lnTo>
                      <a:pt x="563" y="517"/>
                    </a:lnTo>
                    <a:close/>
                    <a:moveTo>
                      <a:pt x="476" y="593"/>
                    </a:moveTo>
                    <a:lnTo>
                      <a:pt x="476" y="592"/>
                    </a:lnTo>
                    <a:lnTo>
                      <a:pt x="476" y="593"/>
                    </a:lnTo>
                    <a:lnTo>
                      <a:pt x="477" y="593"/>
                    </a:lnTo>
                    <a:lnTo>
                      <a:pt x="476" y="593"/>
                    </a:lnTo>
                    <a:lnTo>
                      <a:pt x="476" y="594"/>
                    </a:lnTo>
                    <a:lnTo>
                      <a:pt x="477" y="594"/>
                    </a:lnTo>
                    <a:lnTo>
                      <a:pt x="477" y="595"/>
                    </a:lnTo>
                    <a:lnTo>
                      <a:pt x="477" y="596"/>
                    </a:lnTo>
                    <a:lnTo>
                      <a:pt x="476" y="596"/>
                    </a:lnTo>
                    <a:lnTo>
                      <a:pt x="477" y="596"/>
                    </a:lnTo>
                    <a:lnTo>
                      <a:pt x="476" y="596"/>
                    </a:lnTo>
                    <a:lnTo>
                      <a:pt x="476" y="597"/>
                    </a:lnTo>
                    <a:lnTo>
                      <a:pt x="475" y="598"/>
                    </a:lnTo>
                    <a:lnTo>
                      <a:pt x="474" y="598"/>
                    </a:lnTo>
                    <a:lnTo>
                      <a:pt x="474" y="597"/>
                    </a:lnTo>
                    <a:lnTo>
                      <a:pt x="473" y="597"/>
                    </a:lnTo>
                    <a:lnTo>
                      <a:pt x="474" y="596"/>
                    </a:lnTo>
                    <a:lnTo>
                      <a:pt x="474" y="595"/>
                    </a:lnTo>
                    <a:lnTo>
                      <a:pt x="475" y="595"/>
                    </a:lnTo>
                    <a:lnTo>
                      <a:pt x="474" y="594"/>
                    </a:lnTo>
                    <a:lnTo>
                      <a:pt x="475" y="594"/>
                    </a:lnTo>
                    <a:lnTo>
                      <a:pt x="476" y="594"/>
                    </a:lnTo>
                    <a:lnTo>
                      <a:pt x="475" y="593"/>
                    </a:lnTo>
                    <a:lnTo>
                      <a:pt x="476" y="592"/>
                    </a:lnTo>
                    <a:lnTo>
                      <a:pt x="476" y="593"/>
                    </a:lnTo>
                    <a:close/>
                    <a:moveTo>
                      <a:pt x="243" y="220"/>
                    </a:moveTo>
                    <a:lnTo>
                      <a:pt x="243" y="221"/>
                    </a:lnTo>
                    <a:lnTo>
                      <a:pt x="244" y="221"/>
                    </a:lnTo>
                    <a:lnTo>
                      <a:pt x="244" y="222"/>
                    </a:lnTo>
                    <a:lnTo>
                      <a:pt x="245" y="222"/>
                    </a:lnTo>
                    <a:lnTo>
                      <a:pt x="246" y="222"/>
                    </a:lnTo>
                    <a:lnTo>
                      <a:pt x="245" y="222"/>
                    </a:lnTo>
                    <a:lnTo>
                      <a:pt x="244" y="222"/>
                    </a:lnTo>
                    <a:lnTo>
                      <a:pt x="243" y="222"/>
                    </a:lnTo>
                    <a:lnTo>
                      <a:pt x="244" y="222"/>
                    </a:lnTo>
                    <a:lnTo>
                      <a:pt x="245" y="223"/>
                    </a:lnTo>
                    <a:lnTo>
                      <a:pt x="244" y="223"/>
                    </a:lnTo>
                    <a:lnTo>
                      <a:pt x="243" y="223"/>
                    </a:lnTo>
                    <a:lnTo>
                      <a:pt x="243" y="222"/>
                    </a:lnTo>
                    <a:lnTo>
                      <a:pt x="242" y="222"/>
                    </a:lnTo>
                    <a:lnTo>
                      <a:pt x="242" y="223"/>
                    </a:lnTo>
                    <a:lnTo>
                      <a:pt x="242" y="224"/>
                    </a:lnTo>
                    <a:lnTo>
                      <a:pt x="241" y="223"/>
                    </a:lnTo>
                    <a:lnTo>
                      <a:pt x="241" y="222"/>
                    </a:lnTo>
                    <a:lnTo>
                      <a:pt x="240" y="222"/>
                    </a:lnTo>
                    <a:lnTo>
                      <a:pt x="240" y="221"/>
                    </a:lnTo>
                    <a:lnTo>
                      <a:pt x="239" y="221"/>
                    </a:lnTo>
                    <a:lnTo>
                      <a:pt x="238" y="221"/>
                    </a:lnTo>
                    <a:lnTo>
                      <a:pt x="239" y="221"/>
                    </a:lnTo>
                    <a:lnTo>
                      <a:pt x="240" y="221"/>
                    </a:lnTo>
                    <a:lnTo>
                      <a:pt x="240" y="220"/>
                    </a:lnTo>
                    <a:lnTo>
                      <a:pt x="240" y="221"/>
                    </a:lnTo>
                    <a:lnTo>
                      <a:pt x="241" y="221"/>
                    </a:lnTo>
                    <a:lnTo>
                      <a:pt x="242" y="222"/>
                    </a:lnTo>
                    <a:lnTo>
                      <a:pt x="242" y="221"/>
                    </a:lnTo>
                    <a:lnTo>
                      <a:pt x="241" y="221"/>
                    </a:lnTo>
                    <a:lnTo>
                      <a:pt x="240" y="221"/>
                    </a:lnTo>
                    <a:lnTo>
                      <a:pt x="240" y="220"/>
                    </a:lnTo>
                    <a:lnTo>
                      <a:pt x="241" y="220"/>
                    </a:lnTo>
                    <a:lnTo>
                      <a:pt x="241" y="219"/>
                    </a:lnTo>
                    <a:lnTo>
                      <a:pt x="242" y="219"/>
                    </a:lnTo>
                    <a:lnTo>
                      <a:pt x="243" y="220"/>
                    </a:lnTo>
                    <a:close/>
                    <a:moveTo>
                      <a:pt x="213" y="388"/>
                    </a:moveTo>
                    <a:lnTo>
                      <a:pt x="213" y="389"/>
                    </a:lnTo>
                    <a:lnTo>
                      <a:pt x="213" y="388"/>
                    </a:lnTo>
                    <a:lnTo>
                      <a:pt x="212" y="384"/>
                    </a:lnTo>
                    <a:lnTo>
                      <a:pt x="212" y="383"/>
                    </a:lnTo>
                    <a:lnTo>
                      <a:pt x="213" y="382"/>
                    </a:lnTo>
                    <a:lnTo>
                      <a:pt x="214" y="382"/>
                    </a:lnTo>
                    <a:lnTo>
                      <a:pt x="214" y="380"/>
                    </a:lnTo>
                    <a:lnTo>
                      <a:pt x="215" y="380"/>
                    </a:lnTo>
                    <a:lnTo>
                      <a:pt x="214" y="387"/>
                    </a:lnTo>
                    <a:lnTo>
                      <a:pt x="213" y="388"/>
                    </a:lnTo>
                    <a:close/>
                    <a:moveTo>
                      <a:pt x="358" y="412"/>
                    </a:moveTo>
                    <a:lnTo>
                      <a:pt x="359" y="412"/>
                    </a:lnTo>
                    <a:lnTo>
                      <a:pt x="361" y="413"/>
                    </a:lnTo>
                    <a:lnTo>
                      <a:pt x="361" y="414"/>
                    </a:lnTo>
                    <a:lnTo>
                      <a:pt x="362" y="415"/>
                    </a:lnTo>
                    <a:lnTo>
                      <a:pt x="362" y="416"/>
                    </a:lnTo>
                    <a:lnTo>
                      <a:pt x="362" y="417"/>
                    </a:lnTo>
                    <a:lnTo>
                      <a:pt x="361" y="417"/>
                    </a:lnTo>
                    <a:lnTo>
                      <a:pt x="361" y="416"/>
                    </a:lnTo>
                    <a:lnTo>
                      <a:pt x="360" y="416"/>
                    </a:lnTo>
                    <a:lnTo>
                      <a:pt x="361" y="415"/>
                    </a:lnTo>
                    <a:lnTo>
                      <a:pt x="360" y="415"/>
                    </a:lnTo>
                    <a:lnTo>
                      <a:pt x="360" y="416"/>
                    </a:lnTo>
                    <a:lnTo>
                      <a:pt x="360" y="415"/>
                    </a:lnTo>
                    <a:lnTo>
                      <a:pt x="360" y="414"/>
                    </a:lnTo>
                    <a:lnTo>
                      <a:pt x="360" y="415"/>
                    </a:lnTo>
                    <a:lnTo>
                      <a:pt x="359" y="415"/>
                    </a:lnTo>
                    <a:lnTo>
                      <a:pt x="359" y="416"/>
                    </a:lnTo>
                    <a:lnTo>
                      <a:pt x="359" y="415"/>
                    </a:lnTo>
                    <a:lnTo>
                      <a:pt x="359" y="416"/>
                    </a:lnTo>
                    <a:lnTo>
                      <a:pt x="358" y="415"/>
                    </a:lnTo>
                    <a:lnTo>
                      <a:pt x="359" y="415"/>
                    </a:lnTo>
                    <a:lnTo>
                      <a:pt x="359" y="414"/>
                    </a:lnTo>
                    <a:lnTo>
                      <a:pt x="358" y="414"/>
                    </a:lnTo>
                    <a:lnTo>
                      <a:pt x="358" y="413"/>
                    </a:lnTo>
                    <a:lnTo>
                      <a:pt x="357" y="414"/>
                    </a:lnTo>
                    <a:lnTo>
                      <a:pt x="357" y="413"/>
                    </a:lnTo>
                    <a:lnTo>
                      <a:pt x="358" y="413"/>
                    </a:lnTo>
                    <a:lnTo>
                      <a:pt x="358" y="412"/>
                    </a:lnTo>
                    <a:close/>
                    <a:moveTo>
                      <a:pt x="439" y="646"/>
                    </a:moveTo>
                    <a:lnTo>
                      <a:pt x="440" y="647"/>
                    </a:lnTo>
                    <a:lnTo>
                      <a:pt x="439" y="646"/>
                    </a:lnTo>
                    <a:lnTo>
                      <a:pt x="439" y="647"/>
                    </a:lnTo>
                    <a:lnTo>
                      <a:pt x="438" y="647"/>
                    </a:lnTo>
                    <a:lnTo>
                      <a:pt x="437" y="648"/>
                    </a:lnTo>
                    <a:lnTo>
                      <a:pt x="437" y="649"/>
                    </a:lnTo>
                    <a:lnTo>
                      <a:pt x="436" y="650"/>
                    </a:lnTo>
                    <a:lnTo>
                      <a:pt x="436" y="652"/>
                    </a:lnTo>
                    <a:lnTo>
                      <a:pt x="435" y="652"/>
                    </a:lnTo>
                    <a:lnTo>
                      <a:pt x="435" y="653"/>
                    </a:lnTo>
                    <a:lnTo>
                      <a:pt x="434" y="653"/>
                    </a:lnTo>
                    <a:lnTo>
                      <a:pt x="434" y="654"/>
                    </a:lnTo>
                    <a:lnTo>
                      <a:pt x="433" y="655"/>
                    </a:lnTo>
                    <a:lnTo>
                      <a:pt x="433" y="656"/>
                    </a:lnTo>
                    <a:lnTo>
                      <a:pt x="432" y="656"/>
                    </a:lnTo>
                    <a:lnTo>
                      <a:pt x="433" y="657"/>
                    </a:lnTo>
                    <a:lnTo>
                      <a:pt x="434" y="656"/>
                    </a:lnTo>
                    <a:lnTo>
                      <a:pt x="434" y="655"/>
                    </a:lnTo>
                    <a:lnTo>
                      <a:pt x="435" y="655"/>
                    </a:lnTo>
                    <a:lnTo>
                      <a:pt x="435" y="654"/>
                    </a:lnTo>
                    <a:lnTo>
                      <a:pt x="435" y="653"/>
                    </a:lnTo>
                    <a:lnTo>
                      <a:pt x="436" y="653"/>
                    </a:lnTo>
                    <a:lnTo>
                      <a:pt x="436" y="652"/>
                    </a:lnTo>
                    <a:lnTo>
                      <a:pt x="437" y="652"/>
                    </a:lnTo>
                    <a:lnTo>
                      <a:pt x="437" y="650"/>
                    </a:lnTo>
                    <a:lnTo>
                      <a:pt x="438" y="650"/>
                    </a:lnTo>
                    <a:lnTo>
                      <a:pt x="438" y="649"/>
                    </a:lnTo>
                    <a:lnTo>
                      <a:pt x="439" y="648"/>
                    </a:lnTo>
                    <a:lnTo>
                      <a:pt x="439" y="647"/>
                    </a:lnTo>
                    <a:lnTo>
                      <a:pt x="440" y="647"/>
                    </a:lnTo>
                    <a:lnTo>
                      <a:pt x="440" y="648"/>
                    </a:lnTo>
                    <a:lnTo>
                      <a:pt x="439" y="649"/>
                    </a:lnTo>
                    <a:lnTo>
                      <a:pt x="438" y="650"/>
                    </a:lnTo>
                    <a:lnTo>
                      <a:pt x="437" y="652"/>
                    </a:lnTo>
                    <a:lnTo>
                      <a:pt x="436" y="653"/>
                    </a:lnTo>
                    <a:lnTo>
                      <a:pt x="436" y="654"/>
                    </a:lnTo>
                    <a:lnTo>
                      <a:pt x="435" y="655"/>
                    </a:lnTo>
                    <a:lnTo>
                      <a:pt x="434" y="656"/>
                    </a:lnTo>
                    <a:lnTo>
                      <a:pt x="434" y="657"/>
                    </a:lnTo>
                    <a:lnTo>
                      <a:pt x="433" y="658"/>
                    </a:lnTo>
                    <a:lnTo>
                      <a:pt x="433" y="659"/>
                    </a:lnTo>
                    <a:lnTo>
                      <a:pt x="432" y="660"/>
                    </a:lnTo>
                    <a:lnTo>
                      <a:pt x="432" y="659"/>
                    </a:lnTo>
                    <a:lnTo>
                      <a:pt x="432" y="658"/>
                    </a:lnTo>
                    <a:lnTo>
                      <a:pt x="433" y="658"/>
                    </a:lnTo>
                    <a:lnTo>
                      <a:pt x="433" y="657"/>
                    </a:lnTo>
                    <a:lnTo>
                      <a:pt x="432" y="656"/>
                    </a:lnTo>
                    <a:lnTo>
                      <a:pt x="432" y="655"/>
                    </a:lnTo>
                    <a:lnTo>
                      <a:pt x="433" y="655"/>
                    </a:lnTo>
                    <a:lnTo>
                      <a:pt x="435" y="652"/>
                    </a:lnTo>
                    <a:lnTo>
                      <a:pt x="435" y="650"/>
                    </a:lnTo>
                    <a:lnTo>
                      <a:pt x="436" y="650"/>
                    </a:lnTo>
                    <a:lnTo>
                      <a:pt x="437" y="649"/>
                    </a:lnTo>
                    <a:lnTo>
                      <a:pt x="437" y="648"/>
                    </a:lnTo>
                    <a:lnTo>
                      <a:pt x="439" y="646"/>
                    </a:lnTo>
                    <a:close/>
                    <a:moveTo>
                      <a:pt x="202" y="347"/>
                    </a:moveTo>
                    <a:lnTo>
                      <a:pt x="203" y="347"/>
                    </a:lnTo>
                    <a:lnTo>
                      <a:pt x="203" y="348"/>
                    </a:lnTo>
                    <a:lnTo>
                      <a:pt x="204" y="348"/>
                    </a:lnTo>
                    <a:lnTo>
                      <a:pt x="204" y="349"/>
                    </a:lnTo>
                    <a:lnTo>
                      <a:pt x="205" y="350"/>
                    </a:lnTo>
                    <a:lnTo>
                      <a:pt x="205" y="351"/>
                    </a:lnTo>
                    <a:lnTo>
                      <a:pt x="204" y="351"/>
                    </a:lnTo>
                    <a:lnTo>
                      <a:pt x="204" y="352"/>
                    </a:lnTo>
                    <a:lnTo>
                      <a:pt x="204" y="353"/>
                    </a:lnTo>
                    <a:lnTo>
                      <a:pt x="203" y="353"/>
                    </a:lnTo>
                    <a:lnTo>
                      <a:pt x="202" y="353"/>
                    </a:lnTo>
                    <a:lnTo>
                      <a:pt x="203" y="353"/>
                    </a:lnTo>
                    <a:lnTo>
                      <a:pt x="203" y="352"/>
                    </a:lnTo>
                    <a:lnTo>
                      <a:pt x="203" y="351"/>
                    </a:lnTo>
                    <a:lnTo>
                      <a:pt x="204" y="351"/>
                    </a:lnTo>
                    <a:lnTo>
                      <a:pt x="204" y="350"/>
                    </a:lnTo>
                    <a:lnTo>
                      <a:pt x="203" y="350"/>
                    </a:lnTo>
                    <a:lnTo>
                      <a:pt x="204" y="350"/>
                    </a:lnTo>
                    <a:lnTo>
                      <a:pt x="204" y="349"/>
                    </a:lnTo>
                    <a:lnTo>
                      <a:pt x="203" y="349"/>
                    </a:lnTo>
                    <a:lnTo>
                      <a:pt x="203" y="348"/>
                    </a:lnTo>
                    <a:lnTo>
                      <a:pt x="203" y="349"/>
                    </a:lnTo>
                    <a:lnTo>
                      <a:pt x="203" y="348"/>
                    </a:lnTo>
                    <a:lnTo>
                      <a:pt x="202" y="348"/>
                    </a:lnTo>
                    <a:lnTo>
                      <a:pt x="201" y="348"/>
                    </a:lnTo>
                    <a:lnTo>
                      <a:pt x="201" y="347"/>
                    </a:lnTo>
                    <a:lnTo>
                      <a:pt x="202" y="347"/>
                    </a:lnTo>
                    <a:lnTo>
                      <a:pt x="201" y="347"/>
                    </a:lnTo>
                    <a:lnTo>
                      <a:pt x="200" y="348"/>
                    </a:lnTo>
                    <a:lnTo>
                      <a:pt x="201" y="348"/>
                    </a:lnTo>
                    <a:lnTo>
                      <a:pt x="202" y="348"/>
                    </a:lnTo>
                    <a:lnTo>
                      <a:pt x="202" y="349"/>
                    </a:lnTo>
                    <a:lnTo>
                      <a:pt x="201" y="349"/>
                    </a:lnTo>
                    <a:lnTo>
                      <a:pt x="201" y="348"/>
                    </a:lnTo>
                    <a:lnTo>
                      <a:pt x="201" y="349"/>
                    </a:lnTo>
                    <a:lnTo>
                      <a:pt x="200" y="349"/>
                    </a:lnTo>
                    <a:lnTo>
                      <a:pt x="200" y="348"/>
                    </a:lnTo>
                    <a:lnTo>
                      <a:pt x="200" y="347"/>
                    </a:lnTo>
                    <a:lnTo>
                      <a:pt x="201" y="347"/>
                    </a:lnTo>
                    <a:lnTo>
                      <a:pt x="201" y="346"/>
                    </a:lnTo>
                    <a:lnTo>
                      <a:pt x="202" y="346"/>
                    </a:lnTo>
                    <a:lnTo>
                      <a:pt x="202" y="347"/>
                    </a:lnTo>
                    <a:close/>
                    <a:moveTo>
                      <a:pt x="638" y="490"/>
                    </a:moveTo>
                    <a:lnTo>
                      <a:pt x="638" y="491"/>
                    </a:lnTo>
                    <a:lnTo>
                      <a:pt x="636" y="491"/>
                    </a:lnTo>
                    <a:lnTo>
                      <a:pt x="636" y="492"/>
                    </a:lnTo>
                    <a:lnTo>
                      <a:pt x="635" y="492"/>
                    </a:lnTo>
                    <a:lnTo>
                      <a:pt x="635" y="493"/>
                    </a:lnTo>
                    <a:lnTo>
                      <a:pt x="633" y="493"/>
                    </a:lnTo>
                    <a:lnTo>
                      <a:pt x="633" y="494"/>
                    </a:lnTo>
                    <a:lnTo>
                      <a:pt x="632" y="494"/>
                    </a:lnTo>
                    <a:lnTo>
                      <a:pt x="632" y="493"/>
                    </a:lnTo>
                    <a:lnTo>
                      <a:pt x="631" y="492"/>
                    </a:lnTo>
                    <a:lnTo>
                      <a:pt x="632" y="492"/>
                    </a:lnTo>
                    <a:lnTo>
                      <a:pt x="632" y="491"/>
                    </a:lnTo>
                    <a:lnTo>
                      <a:pt x="633" y="491"/>
                    </a:lnTo>
                    <a:lnTo>
                      <a:pt x="633" y="492"/>
                    </a:lnTo>
                    <a:lnTo>
                      <a:pt x="634" y="492"/>
                    </a:lnTo>
                    <a:lnTo>
                      <a:pt x="634" y="491"/>
                    </a:lnTo>
                    <a:lnTo>
                      <a:pt x="635" y="491"/>
                    </a:lnTo>
                    <a:lnTo>
                      <a:pt x="635" y="490"/>
                    </a:lnTo>
                    <a:lnTo>
                      <a:pt x="636" y="490"/>
                    </a:lnTo>
                    <a:lnTo>
                      <a:pt x="636" y="489"/>
                    </a:lnTo>
                    <a:lnTo>
                      <a:pt x="638" y="490"/>
                    </a:lnTo>
                    <a:close/>
                    <a:moveTo>
                      <a:pt x="267" y="378"/>
                    </a:moveTo>
                    <a:lnTo>
                      <a:pt x="267" y="379"/>
                    </a:lnTo>
                    <a:lnTo>
                      <a:pt x="268" y="380"/>
                    </a:lnTo>
                    <a:lnTo>
                      <a:pt x="268" y="382"/>
                    </a:lnTo>
                    <a:lnTo>
                      <a:pt x="269" y="382"/>
                    </a:lnTo>
                    <a:lnTo>
                      <a:pt x="268" y="382"/>
                    </a:lnTo>
                    <a:lnTo>
                      <a:pt x="269" y="382"/>
                    </a:lnTo>
                    <a:lnTo>
                      <a:pt x="268" y="382"/>
                    </a:lnTo>
                    <a:lnTo>
                      <a:pt x="267" y="382"/>
                    </a:lnTo>
                    <a:lnTo>
                      <a:pt x="267" y="383"/>
                    </a:lnTo>
                    <a:lnTo>
                      <a:pt x="266" y="383"/>
                    </a:lnTo>
                    <a:lnTo>
                      <a:pt x="266" y="384"/>
                    </a:lnTo>
                    <a:lnTo>
                      <a:pt x="266" y="383"/>
                    </a:lnTo>
                    <a:lnTo>
                      <a:pt x="266" y="382"/>
                    </a:lnTo>
                    <a:lnTo>
                      <a:pt x="265" y="382"/>
                    </a:lnTo>
                    <a:lnTo>
                      <a:pt x="264" y="382"/>
                    </a:lnTo>
                    <a:lnTo>
                      <a:pt x="264" y="380"/>
                    </a:lnTo>
                    <a:lnTo>
                      <a:pt x="265" y="380"/>
                    </a:lnTo>
                    <a:lnTo>
                      <a:pt x="265" y="379"/>
                    </a:lnTo>
                    <a:lnTo>
                      <a:pt x="266" y="378"/>
                    </a:lnTo>
                    <a:lnTo>
                      <a:pt x="265" y="378"/>
                    </a:lnTo>
                    <a:lnTo>
                      <a:pt x="266" y="378"/>
                    </a:lnTo>
                    <a:lnTo>
                      <a:pt x="266" y="377"/>
                    </a:lnTo>
                    <a:lnTo>
                      <a:pt x="266" y="378"/>
                    </a:lnTo>
                    <a:lnTo>
                      <a:pt x="267" y="378"/>
                    </a:lnTo>
                    <a:close/>
                    <a:moveTo>
                      <a:pt x="241" y="213"/>
                    </a:moveTo>
                    <a:lnTo>
                      <a:pt x="240" y="213"/>
                    </a:lnTo>
                    <a:lnTo>
                      <a:pt x="239" y="213"/>
                    </a:lnTo>
                    <a:lnTo>
                      <a:pt x="238" y="213"/>
                    </a:lnTo>
                    <a:lnTo>
                      <a:pt x="238" y="215"/>
                    </a:lnTo>
                    <a:lnTo>
                      <a:pt x="239" y="215"/>
                    </a:lnTo>
                    <a:lnTo>
                      <a:pt x="239" y="216"/>
                    </a:lnTo>
                    <a:lnTo>
                      <a:pt x="240" y="216"/>
                    </a:lnTo>
                    <a:lnTo>
                      <a:pt x="241" y="216"/>
                    </a:lnTo>
                    <a:lnTo>
                      <a:pt x="241" y="217"/>
                    </a:lnTo>
                    <a:lnTo>
                      <a:pt x="241" y="218"/>
                    </a:lnTo>
                    <a:lnTo>
                      <a:pt x="241" y="219"/>
                    </a:lnTo>
                    <a:lnTo>
                      <a:pt x="240" y="219"/>
                    </a:lnTo>
                    <a:lnTo>
                      <a:pt x="239" y="219"/>
                    </a:lnTo>
                    <a:lnTo>
                      <a:pt x="238" y="219"/>
                    </a:lnTo>
                    <a:lnTo>
                      <a:pt x="238" y="218"/>
                    </a:lnTo>
                    <a:lnTo>
                      <a:pt x="239" y="218"/>
                    </a:lnTo>
                    <a:lnTo>
                      <a:pt x="239" y="219"/>
                    </a:lnTo>
                    <a:lnTo>
                      <a:pt x="240" y="218"/>
                    </a:lnTo>
                    <a:lnTo>
                      <a:pt x="240" y="219"/>
                    </a:lnTo>
                    <a:lnTo>
                      <a:pt x="240" y="218"/>
                    </a:lnTo>
                    <a:lnTo>
                      <a:pt x="241" y="217"/>
                    </a:lnTo>
                    <a:lnTo>
                      <a:pt x="240" y="217"/>
                    </a:lnTo>
                    <a:lnTo>
                      <a:pt x="239" y="217"/>
                    </a:lnTo>
                    <a:lnTo>
                      <a:pt x="239" y="216"/>
                    </a:lnTo>
                    <a:lnTo>
                      <a:pt x="238" y="216"/>
                    </a:lnTo>
                    <a:lnTo>
                      <a:pt x="238" y="215"/>
                    </a:lnTo>
                    <a:lnTo>
                      <a:pt x="236" y="215"/>
                    </a:lnTo>
                    <a:lnTo>
                      <a:pt x="236" y="213"/>
                    </a:lnTo>
                    <a:lnTo>
                      <a:pt x="238" y="213"/>
                    </a:lnTo>
                    <a:lnTo>
                      <a:pt x="238" y="212"/>
                    </a:lnTo>
                    <a:lnTo>
                      <a:pt x="239" y="212"/>
                    </a:lnTo>
                    <a:lnTo>
                      <a:pt x="240" y="212"/>
                    </a:lnTo>
                    <a:lnTo>
                      <a:pt x="241" y="212"/>
                    </a:lnTo>
                    <a:lnTo>
                      <a:pt x="241" y="213"/>
                    </a:lnTo>
                    <a:close/>
                    <a:moveTo>
                      <a:pt x="548" y="521"/>
                    </a:moveTo>
                    <a:lnTo>
                      <a:pt x="548" y="523"/>
                    </a:lnTo>
                    <a:lnTo>
                      <a:pt x="546" y="524"/>
                    </a:lnTo>
                    <a:lnTo>
                      <a:pt x="545" y="524"/>
                    </a:lnTo>
                    <a:lnTo>
                      <a:pt x="545" y="523"/>
                    </a:lnTo>
                    <a:lnTo>
                      <a:pt x="545" y="524"/>
                    </a:lnTo>
                    <a:lnTo>
                      <a:pt x="544" y="524"/>
                    </a:lnTo>
                    <a:lnTo>
                      <a:pt x="543" y="524"/>
                    </a:lnTo>
                    <a:lnTo>
                      <a:pt x="542" y="524"/>
                    </a:lnTo>
                    <a:lnTo>
                      <a:pt x="542" y="525"/>
                    </a:lnTo>
                    <a:lnTo>
                      <a:pt x="541" y="525"/>
                    </a:lnTo>
                    <a:lnTo>
                      <a:pt x="541" y="524"/>
                    </a:lnTo>
                    <a:lnTo>
                      <a:pt x="542" y="524"/>
                    </a:lnTo>
                    <a:lnTo>
                      <a:pt x="542" y="523"/>
                    </a:lnTo>
                    <a:lnTo>
                      <a:pt x="543" y="523"/>
                    </a:lnTo>
                    <a:lnTo>
                      <a:pt x="543" y="521"/>
                    </a:lnTo>
                    <a:lnTo>
                      <a:pt x="544" y="521"/>
                    </a:lnTo>
                    <a:lnTo>
                      <a:pt x="544" y="520"/>
                    </a:lnTo>
                    <a:lnTo>
                      <a:pt x="544" y="521"/>
                    </a:lnTo>
                    <a:lnTo>
                      <a:pt x="545" y="521"/>
                    </a:lnTo>
                    <a:lnTo>
                      <a:pt x="546" y="521"/>
                    </a:lnTo>
                    <a:lnTo>
                      <a:pt x="546" y="520"/>
                    </a:lnTo>
                    <a:lnTo>
                      <a:pt x="546" y="521"/>
                    </a:lnTo>
                    <a:lnTo>
                      <a:pt x="548" y="521"/>
                    </a:lnTo>
                    <a:close/>
                    <a:moveTo>
                      <a:pt x="497" y="577"/>
                    </a:moveTo>
                    <a:lnTo>
                      <a:pt x="496" y="577"/>
                    </a:lnTo>
                    <a:lnTo>
                      <a:pt x="496" y="578"/>
                    </a:lnTo>
                    <a:lnTo>
                      <a:pt x="497" y="578"/>
                    </a:lnTo>
                    <a:lnTo>
                      <a:pt x="497" y="579"/>
                    </a:lnTo>
                    <a:lnTo>
                      <a:pt x="496" y="579"/>
                    </a:lnTo>
                    <a:lnTo>
                      <a:pt x="497" y="580"/>
                    </a:lnTo>
                    <a:lnTo>
                      <a:pt x="496" y="581"/>
                    </a:lnTo>
                    <a:lnTo>
                      <a:pt x="496" y="582"/>
                    </a:lnTo>
                    <a:lnTo>
                      <a:pt x="496" y="583"/>
                    </a:lnTo>
                    <a:lnTo>
                      <a:pt x="496" y="584"/>
                    </a:lnTo>
                    <a:lnTo>
                      <a:pt x="497" y="584"/>
                    </a:lnTo>
                    <a:lnTo>
                      <a:pt x="497" y="585"/>
                    </a:lnTo>
                    <a:lnTo>
                      <a:pt x="498" y="585"/>
                    </a:lnTo>
                    <a:lnTo>
                      <a:pt x="499" y="585"/>
                    </a:lnTo>
                    <a:lnTo>
                      <a:pt x="499" y="584"/>
                    </a:lnTo>
                    <a:lnTo>
                      <a:pt x="500" y="584"/>
                    </a:lnTo>
                    <a:lnTo>
                      <a:pt x="500" y="583"/>
                    </a:lnTo>
                    <a:lnTo>
                      <a:pt x="501" y="583"/>
                    </a:lnTo>
                    <a:lnTo>
                      <a:pt x="502" y="583"/>
                    </a:lnTo>
                    <a:lnTo>
                      <a:pt x="502" y="582"/>
                    </a:lnTo>
                    <a:lnTo>
                      <a:pt x="501" y="582"/>
                    </a:lnTo>
                    <a:lnTo>
                      <a:pt x="502" y="582"/>
                    </a:lnTo>
                    <a:lnTo>
                      <a:pt x="502" y="583"/>
                    </a:lnTo>
                    <a:lnTo>
                      <a:pt x="503" y="583"/>
                    </a:lnTo>
                    <a:lnTo>
                      <a:pt x="502" y="583"/>
                    </a:lnTo>
                    <a:lnTo>
                      <a:pt x="502" y="584"/>
                    </a:lnTo>
                    <a:lnTo>
                      <a:pt x="501" y="584"/>
                    </a:lnTo>
                    <a:lnTo>
                      <a:pt x="500" y="584"/>
                    </a:lnTo>
                    <a:lnTo>
                      <a:pt x="500" y="585"/>
                    </a:lnTo>
                    <a:lnTo>
                      <a:pt x="500" y="586"/>
                    </a:lnTo>
                    <a:lnTo>
                      <a:pt x="501" y="586"/>
                    </a:lnTo>
                    <a:lnTo>
                      <a:pt x="501" y="585"/>
                    </a:lnTo>
                    <a:lnTo>
                      <a:pt x="501" y="586"/>
                    </a:lnTo>
                    <a:lnTo>
                      <a:pt x="500" y="586"/>
                    </a:lnTo>
                    <a:lnTo>
                      <a:pt x="499" y="586"/>
                    </a:lnTo>
                    <a:lnTo>
                      <a:pt x="498" y="586"/>
                    </a:lnTo>
                    <a:lnTo>
                      <a:pt x="497" y="586"/>
                    </a:lnTo>
                    <a:lnTo>
                      <a:pt x="497" y="585"/>
                    </a:lnTo>
                    <a:lnTo>
                      <a:pt x="497" y="584"/>
                    </a:lnTo>
                    <a:lnTo>
                      <a:pt x="496" y="584"/>
                    </a:lnTo>
                    <a:lnTo>
                      <a:pt x="496" y="583"/>
                    </a:lnTo>
                    <a:lnTo>
                      <a:pt x="494" y="582"/>
                    </a:lnTo>
                    <a:lnTo>
                      <a:pt x="496" y="582"/>
                    </a:lnTo>
                    <a:lnTo>
                      <a:pt x="496" y="581"/>
                    </a:lnTo>
                    <a:lnTo>
                      <a:pt x="494" y="581"/>
                    </a:lnTo>
                    <a:lnTo>
                      <a:pt x="496" y="581"/>
                    </a:lnTo>
                    <a:lnTo>
                      <a:pt x="496" y="580"/>
                    </a:lnTo>
                    <a:lnTo>
                      <a:pt x="496" y="579"/>
                    </a:lnTo>
                    <a:lnTo>
                      <a:pt x="496" y="578"/>
                    </a:lnTo>
                    <a:lnTo>
                      <a:pt x="496" y="577"/>
                    </a:lnTo>
                    <a:lnTo>
                      <a:pt x="496" y="576"/>
                    </a:lnTo>
                    <a:lnTo>
                      <a:pt x="497" y="577"/>
                    </a:lnTo>
                    <a:close/>
                    <a:moveTo>
                      <a:pt x="264" y="374"/>
                    </a:moveTo>
                    <a:lnTo>
                      <a:pt x="262" y="374"/>
                    </a:lnTo>
                    <a:lnTo>
                      <a:pt x="262" y="375"/>
                    </a:lnTo>
                    <a:lnTo>
                      <a:pt x="261" y="375"/>
                    </a:lnTo>
                    <a:lnTo>
                      <a:pt x="261" y="376"/>
                    </a:lnTo>
                    <a:lnTo>
                      <a:pt x="262" y="376"/>
                    </a:lnTo>
                    <a:lnTo>
                      <a:pt x="262" y="375"/>
                    </a:lnTo>
                    <a:lnTo>
                      <a:pt x="264" y="376"/>
                    </a:lnTo>
                    <a:lnTo>
                      <a:pt x="265" y="376"/>
                    </a:lnTo>
                    <a:lnTo>
                      <a:pt x="266" y="376"/>
                    </a:lnTo>
                    <a:lnTo>
                      <a:pt x="266" y="377"/>
                    </a:lnTo>
                    <a:lnTo>
                      <a:pt x="266" y="376"/>
                    </a:lnTo>
                    <a:lnTo>
                      <a:pt x="265" y="376"/>
                    </a:lnTo>
                    <a:lnTo>
                      <a:pt x="265" y="377"/>
                    </a:lnTo>
                    <a:lnTo>
                      <a:pt x="266" y="377"/>
                    </a:lnTo>
                    <a:lnTo>
                      <a:pt x="265" y="377"/>
                    </a:lnTo>
                    <a:lnTo>
                      <a:pt x="265" y="378"/>
                    </a:lnTo>
                    <a:lnTo>
                      <a:pt x="264" y="378"/>
                    </a:lnTo>
                    <a:lnTo>
                      <a:pt x="264" y="379"/>
                    </a:lnTo>
                    <a:lnTo>
                      <a:pt x="265" y="379"/>
                    </a:lnTo>
                    <a:lnTo>
                      <a:pt x="264" y="379"/>
                    </a:lnTo>
                    <a:lnTo>
                      <a:pt x="264" y="380"/>
                    </a:lnTo>
                    <a:lnTo>
                      <a:pt x="262" y="379"/>
                    </a:lnTo>
                    <a:lnTo>
                      <a:pt x="262" y="378"/>
                    </a:lnTo>
                    <a:lnTo>
                      <a:pt x="264" y="378"/>
                    </a:lnTo>
                    <a:lnTo>
                      <a:pt x="264" y="377"/>
                    </a:lnTo>
                    <a:lnTo>
                      <a:pt x="262" y="377"/>
                    </a:lnTo>
                    <a:lnTo>
                      <a:pt x="261" y="377"/>
                    </a:lnTo>
                    <a:lnTo>
                      <a:pt x="261" y="376"/>
                    </a:lnTo>
                    <a:lnTo>
                      <a:pt x="261" y="375"/>
                    </a:lnTo>
                    <a:lnTo>
                      <a:pt x="262" y="374"/>
                    </a:lnTo>
                    <a:lnTo>
                      <a:pt x="262" y="373"/>
                    </a:lnTo>
                    <a:lnTo>
                      <a:pt x="264" y="373"/>
                    </a:lnTo>
                    <a:lnTo>
                      <a:pt x="264" y="374"/>
                    </a:lnTo>
                    <a:close/>
                    <a:moveTo>
                      <a:pt x="187" y="403"/>
                    </a:moveTo>
                    <a:lnTo>
                      <a:pt x="187" y="404"/>
                    </a:lnTo>
                    <a:lnTo>
                      <a:pt x="186" y="405"/>
                    </a:lnTo>
                    <a:lnTo>
                      <a:pt x="186" y="406"/>
                    </a:lnTo>
                    <a:lnTo>
                      <a:pt x="184" y="408"/>
                    </a:lnTo>
                    <a:lnTo>
                      <a:pt x="184" y="409"/>
                    </a:lnTo>
                    <a:lnTo>
                      <a:pt x="183" y="409"/>
                    </a:lnTo>
                    <a:lnTo>
                      <a:pt x="182" y="409"/>
                    </a:lnTo>
                    <a:lnTo>
                      <a:pt x="182" y="410"/>
                    </a:lnTo>
                    <a:lnTo>
                      <a:pt x="181" y="410"/>
                    </a:lnTo>
                    <a:lnTo>
                      <a:pt x="181" y="409"/>
                    </a:lnTo>
                    <a:lnTo>
                      <a:pt x="182" y="409"/>
                    </a:lnTo>
                    <a:lnTo>
                      <a:pt x="183" y="409"/>
                    </a:lnTo>
                    <a:lnTo>
                      <a:pt x="183" y="408"/>
                    </a:lnTo>
                    <a:lnTo>
                      <a:pt x="184" y="408"/>
                    </a:lnTo>
                    <a:lnTo>
                      <a:pt x="184" y="406"/>
                    </a:lnTo>
                    <a:lnTo>
                      <a:pt x="183" y="406"/>
                    </a:lnTo>
                    <a:lnTo>
                      <a:pt x="183" y="408"/>
                    </a:lnTo>
                    <a:lnTo>
                      <a:pt x="183" y="409"/>
                    </a:lnTo>
                    <a:lnTo>
                      <a:pt x="182" y="409"/>
                    </a:lnTo>
                    <a:lnTo>
                      <a:pt x="183" y="408"/>
                    </a:lnTo>
                    <a:lnTo>
                      <a:pt x="182" y="408"/>
                    </a:lnTo>
                    <a:lnTo>
                      <a:pt x="182" y="406"/>
                    </a:lnTo>
                    <a:lnTo>
                      <a:pt x="182" y="405"/>
                    </a:lnTo>
                    <a:lnTo>
                      <a:pt x="182" y="404"/>
                    </a:lnTo>
                    <a:lnTo>
                      <a:pt x="183" y="404"/>
                    </a:lnTo>
                    <a:lnTo>
                      <a:pt x="184" y="404"/>
                    </a:lnTo>
                    <a:lnTo>
                      <a:pt x="186" y="404"/>
                    </a:lnTo>
                    <a:lnTo>
                      <a:pt x="186" y="405"/>
                    </a:lnTo>
                    <a:lnTo>
                      <a:pt x="184" y="405"/>
                    </a:lnTo>
                    <a:lnTo>
                      <a:pt x="184" y="404"/>
                    </a:lnTo>
                    <a:lnTo>
                      <a:pt x="184" y="405"/>
                    </a:lnTo>
                    <a:lnTo>
                      <a:pt x="183" y="405"/>
                    </a:lnTo>
                    <a:lnTo>
                      <a:pt x="183" y="406"/>
                    </a:lnTo>
                    <a:lnTo>
                      <a:pt x="184" y="405"/>
                    </a:lnTo>
                    <a:lnTo>
                      <a:pt x="184" y="406"/>
                    </a:lnTo>
                    <a:lnTo>
                      <a:pt x="186" y="406"/>
                    </a:lnTo>
                    <a:lnTo>
                      <a:pt x="186" y="405"/>
                    </a:lnTo>
                    <a:lnTo>
                      <a:pt x="186" y="404"/>
                    </a:lnTo>
                    <a:lnTo>
                      <a:pt x="186" y="403"/>
                    </a:lnTo>
                    <a:lnTo>
                      <a:pt x="184" y="404"/>
                    </a:lnTo>
                    <a:lnTo>
                      <a:pt x="184" y="403"/>
                    </a:lnTo>
                    <a:lnTo>
                      <a:pt x="186" y="403"/>
                    </a:lnTo>
                    <a:lnTo>
                      <a:pt x="186" y="402"/>
                    </a:lnTo>
                    <a:lnTo>
                      <a:pt x="187" y="402"/>
                    </a:lnTo>
                    <a:lnTo>
                      <a:pt x="187" y="401"/>
                    </a:lnTo>
                    <a:lnTo>
                      <a:pt x="187" y="402"/>
                    </a:lnTo>
                    <a:lnTo>
                      <a:pt x="187" y="403"/>
                    </a:lnTo>
                    <a:close/>
                    <a:moveTo>
                      <a:pt x="570" y="647"/>
                    </a:moveTo>
                    <a:lnTo>
                      <a:pt x="570" y="648"/>
                    </a:lnTo>
                    <a:lnTo>
                      <a:pt x="569" y="648"/>
                    </a:lnTo>
                    <a:lnTo>
                      <a:pt x="568" y="649"/>
                    </a:lnTo>
                    <a:lnTo>
                      <a:pt x="568" y="650"/>
                    </a:lnTo>
                    <a:lnTo>
                      <a:pt x="567" y="652"/>
                    </a:lnTo>
                    <a:lnTo>
                      <a:pt x="566" y="652"/>
                    </a:lnTo>
                    <a:lnTo>
                      <a:pt x="566" y="653"/>
                    </a:lnTo>
                    <a:lnTo>
                      <a:pt x="565" y="653"/>
                    </a:lnTo>
                    <a:lnTo>
                      <a:pt x="565" y="652"/>
                    </a:lnTo>
                    <a:lnTo>
                      <a:pt x="566" y="652"/>
                    </a:lnTo>
                    <a:lnTo>
                      <a:pt x="566" y="650"/>
                    </a:lnTo>
                    <a:lnTo>
                      <a:pt x="567" y="649"/>
                    </a:lnTo>
                    <a:lnTo>
                      <a:pt x="568" y="649"/>
                    </a:lnTo>
                    <a:lnTo>
                      <a:pt x="568" y="648"/>
                    </a:lnTo>
                    <a:lnTo>
                      <a:pt x="568" y="647"/>
                    </a:lnTo>
                    <a:lnTo>
                      <a:pt x="569" y="647"/>
                    </a:lnTo>
                    <a:lnTo>
                      <a:pt x="568" y="647"/>
                    </a:lnTo>
                    <a:lnTo>
                      <a:pt x="569" y="647"/>
                    </a:lnTo>
                    <a:lnTo>
                      <a:pt x="570" y="646"/>
                    </a:lnTo>
                    <a:lnTo>
                      <a:pt x="570" y="645"/>
                    </a:lnTo>
                    <a:lnTo>
                      <a:pt x="570" y="644"/>
                    </a:lnTo>
                    <a:lnTo>
                      <a:pt x="571" y="644"/>
                    </a:lnTo>
                    <a:lnTo>
                      <a:pt x="571" y="643"/>
                    </a:lnTo>
                    <a:lnTo>
                      <a:pt x="571" y="642"/>
                    </a:lnTo>
                    <a:lnTo>
                      <a:pt x="573" y="642"/>
                    </a:lnTo>
                    <a:lnTo>
                      <a:pt x="573" y="643"/>
                    </a:lnTo>
                    <a:lnTo>
                      <a:pt x="571" y="644"/>
                    </a:lnTo>
                    <a:lnTo>
                      <a:pt x="571" y="645"/>
                    </a:lnTo>
                    <a:lnTo>
                      <a:pt x="571" y="646"/>
                    </a:lnTo>
                    <a:lnTo>
                      <a:pt x="570" y="647"/>
                    </a:lnTo>
                    <a:close/>
                    <a:moveTo>
                      <a:pt x="245" y="399"/>
                    </a:moveTo>
                    <a:lnTo>
                      <a:pt x="245" y="400"/>
                    </a:lnTo>
                    <a:lnTo>
                      <a:pt x="245" y="401"/>
                    </a:lnTo>
                    <a:lnTo>
                      <a:pt x="245" y="402"/>
                    </a:lnTo>
                    <a:lnTo>
                      <a:pt x="245" y="403"/>
                    </a:lnTo>
                    <a:lnTo>
                      <a:pt x="245" y="404"/>
                    </a:lnTo>
                    <a:lnTo>
                      <a:pt x="246" y="405"/>
                    </a:lnTo>
                    <a:lnTo>
                      <a:pt x="247" y="405"/>
                    </a:lnTo>
                    <a:lnTo>
                      <a:pt x="247" y="406"/>
                    </a:lnTo>
                    <a:lnTo>
                      <a:pt x="247" y="408"/>
                    </a:lnTo>
                    <a:lnTo>
                      <a:pt x="246" y="408"/>
                    </a:lnTo>
                    <a:lnTo>
                      <a:pt x="245" y="408"/>
                    </a:lnTo>
                    <a:lnTo>
                      <a:pt x="245" y="409"/>
                    </a:lnTo>
                    <a:lnTo>
                      <a:pt x="246" y="409"/>
                    </a:lnTo>
                    <a:lnTo>
                      <a:pt x="244" y="409"/>
                    </a:lnTo>
                    <a:lnTo>
                      <a:pt x="244" y="408"/>
                    </a:lnTo>
                    <a:lnTo>
                      <a:pt x="244" y="406"/>
                    </a:lnTo>
                    <a:lnTo>
                      <a:pt x="245" y="406"/>
                    </a:lnTo>
                    <a:lnTo>
                      <a:pt x="245" y="405"/>
                    </a:lnTo>
                    <a:lnTo>
                      <a:pt x="245" y="404"/>
                    </a:lnTo>
                    <a:lnTo>
                      <a:pt x="244" y="404"/>
                    </a:lnTo>
                    <a:lnTo>
                      <a:pt x="244" y="403"/>
                    </a:lnTo>
                    <a:lnTo>
                      <a:pt x="244" y="402"/>
                    </a:lnTo>
                    <a:lnTo>
                      <a:pt x="245" y="402"/>
                    </a:lnTo>
                    <a:lnTo>
                      <a:pt x="244" y="402"/>
                    </a:lnTo>
                    <a:lnTo>
                      <a:pt x="245" y="402"/>
                    </a:lnTo>
                    <a:lnTo>
                      <a:pt x="245" y="401"/>
                    </a:lnTo>
                    <a:lnTo>
                      <a:pt x="244" y="401"/>
                    </a:lnTo>
                    <a:lnTo>
                      <a:pt x="245" y="400"/>
                    </a:lnTo>
                    <a:lnTo>
                      <a:pt x="245" y="401"/>
                    </a:lnTo>
                    <a:lnTo>
                      <a:pt x="245" y="400"/>
                    </a:lnTo>
                    <a:lnTo>
                      <a:pt x="245" y="399"/>
                    </a:lnTo>
                    <a:close/>
                    <a:moveTo>
                      <a:pt x="499" y="456"/>
                    </a:moveTo>
                    <a:lnTo>
                      <a:pt x="499" y="455"/>
                    </a:lnTo>
                    <a:lnTo>
                      <a:pt x="499" y="454"/>
                    </a:lnTo>
                    <a:lnTo>
                      <a:pt x="500" y="454"/>
                    </a:lnTo>
                    <a:lnTo>
                      <a:pt x="500" y="455"/>
                    </a:lnTo>
                    <a:lnTo>
                      <a:pt x="500" y="456"/>
                    </a:lnTo>
                    <a:lnTo>
                      <a:pt x="500" y="457"/>
                    </a:lnTo>
                    <a:lnTo>
                      <a:pt x="500" y="459"/>
                    </a:lnTo>
                    <a:lnTo>
                      <a:pt x="500" y="457"/>
                    </a:lnTo>
                    <a:lnTo>
                      <a:pt x="499" y="457"/>
                    </a:lnTo>
                    <a:lnTo>
                      <a:pt x="499" y="459"/>
                    </a:lnTo>
                    <a:lnTo>
                      <a:pt x="498" y="459"/>
                    </a:lnTo>
                    <a:lnTo>
                      <a:pt x="498" y="460"/>
                    </a:lnTo>
                    <a:lnTo>
                      <a:pt x="498" y="459"/>
                    </a:lnTo>
                    <a:lnTo>
                      <a:pt x="497" y="459"/>
                    </a:lnTo>
                    <a:lnTo>
                      <a:pt x="497" y="457"/>
                    </a:lnTo>
                    <a:lnTo>
                      <a:pt x="496" y="457"/>
                    </a:lnTo>
                    <a:lnTo>
                      <a:pt x="496" y="456"/>
                    </a:lnTo>
                    <a:lnTo>
                      <a:pt x="497" y="455"/>
                    </a:lnTo>
                    <a:lnTo>
                      <a:pt x="497" y="454"/>
                    </a:lnTo>
                    <a:lnTo>
                      <a:pt x="498" y="454"/>
                    </a:lnTo>
                    <a:lnTo>
                      <a:pt x="498" y="455"/>
                    </a:lnTo>
                    <a:lnTo>
                      <a:pt x="499" y="455"/>
                    </a:lnTo>
                    <a:lnTo>
                      <a:pt x="499" y="456"/>
                    </a:lnTo>
                    <a:close/>
                    <a:moveTo>
                      <a:pt x="205" y="406"/>
                    </a:moveTo>
                    <a:lnTo>
                      <a:pt x="206" y="406"/>
                    </a:lnTo>
                    <a:lnTo>
                      <a:pt x="207" y="408"/>
                    </a:lnTo>
                    <a:lnTo>
                      <a:pt x="208" y="409"/>
                    </a:lnTo>
                    <a:lnTo>
                      <a:pt x="207" y="409"/>
                    </a:lnTo>
                    <a:lnTo>
                      <a:pt x="206" y="409"/>
                    </a:lnTo>
                    <a:lnTo>
                      <a:pt x="206" y="410"/>
                    </a:lnTo>
                    <a:lnTo>
                      <a:pt x="206" y="409"/>
                    </a:lnTo>
                    <a:lnTo>
                      <a:pt x="207" y="408"/>
                    </a:lnTo>
                    <a:lnTo>
                      <a:pt x="206" y="408"/>
                    </a:lnTo>
                    <a:lnTo>
                      <a:pt x="206" y="409"/>
                    </a:lnTo>
                    <a:lnTo>
                      <a:pt x="205" y="409"/>
                    </a:lnTo>
                    <a:lnTo>
                      <a:pt x="203" y="409"/>
                    </a:lnTo>
                    <a:lnTo>
                      <a:pt x="202" y="410"/>
                    </a:lnTo>
                    <a:lnTo>
                      <a:pt x="201" y="410"/>
                    </a:lnTo>
                    <a:lnTo>
                      <a:pt x="200" y="410"/>
                    </a:lnTo>
                    <a:lnTo>
                      <a:pt x="201" y="409"/>
                    </a:lnTo>
                    <a:lnTo>
                      <a:pt x="202" y="408"/>
                    </a:lnTo>
                    <a:lnTo>
                      <a:pt x="203" y="408"/>
                    </a:lnTo>
                    <a:lnTo>
                      <a:pt x="203" y="409"/>
                    </a:lnTo>
                    <a:lnTo>
                      <a:pt x="204" y="409"/>
                    </a:lnTo>
                    <a:lnTo>
                      <a:pt x="204" y="408"/>
                    </a:lnTo>
                    <a:lnTo>
                      <a:pt x="205" y="408"/>
                    </a:lnTo>
                    <a:lnTo>
                      <a:pt x="205" y="406"/>
                    </a:lnTo>
                    <a:close/>
                    <a:moveTo>
                      <a:pt x="276" y="390"/>
                    </a:moveTo>
                    <a:lnTo>
                      <a:pt x="276" y="391"/>
                    </a:lnTo>
                    <a:lnTo>
                      <a:pt x="276" y="392"/>
                    </a:lnTo>
                    <a:lnTo>
                      <a:pt x="277" y="392"/>
                    </a:lnTo>
                    <a:lnTo>
                      <a:pt x="277" y="393"/>
                    </a:lnTo>
                    <a:lnTo>
                      <a:pt x="276" y="393"/>
                    </a:lnTo>
                    <a:lnTo>
                      <a:pt x="274" y="393"/>
                    </a:lnTo>
                    <a:lnTo>
                      <a:pt x="273" y="395"/>
                    </a:lnTo>
                    <a:lnTo>
                      <a:pt x="273" y="393"/>
                    </a:lnTo>
                    <a:lnTo>
                      <a:pt x="273" y="392"/>
                    </a:lnTo>
                    <a:lnTo>
                      <a:pt x="272" y="392"/>
                    </a:lnTo>
                    <a:lnTo>
                      <a:pt x="272" y="391"/>
                    </a:lnTo>
                    <a:lnTo>
                      <a:pt x="271" y="391"/>
                    </a:lnTo>
                    <a:lnTo>
                      <a:pt x="272" y="391"/>
                    </a:lnTo>
                    <a:lnTo>
                      <a:pt x="273" y="390"/>
                    </a:lnTo>
                    <a:lnTo>
                      <a:pt x="273" y="391"/>
                    </a:lnTo>
                    <a:lnTo>
                      <a:pt x="274" y="390"/>
                    </a:lnTo>
                    <a:lnTo>
                      <a:pt x="274" y="391"/>
                    </a:lnTo>
                    <a:lnTo>
                      <a:pt x="274" y="390"/>
                    </a:lnTo>
                    <a:lnTo>
                      <a:pt x="274" y="391"/>
                    </a:lnTo>
                    <a:lnTo>
                      <a:pt x="276" y="391"/>
                    </a:lnTo>
                    <a:lnTo>
                      <a:pt x="274" y="390"/>
                    </a:lnTo>
                    <a:lnTo>
                      <a:pt x="276" y="390"/>
                    </a:lnTo>
                    <a:close/>
                    <a:moveTo>
                      <a:pt x="578" y="505"/>
                    </a:moveTo>
                    <a:lnTo>
                      <a:pt x="579" y="505"/>
                    </a:lnTo>
                    <a:lnTo>
                      <a:pt x="580" y="505"/>
                    </a:lnTo>
                    <a:lnTo>
                      <a:pt x="581" y="506"/>
                    </a:lnTo>
                    <a:lnTo>
                      <a:pt x="582" y="506"/>
                    </a:lnTo>
                    <a:lnTo>
                      <a:pt x="582" y="507"/>
                    </a:lnTo>
                    <a:lnTo>
                      <a:pt x="581" y="507"/>
                    </a:lnTo>
                    <a:lnTo>
                      <a:pt x="580" y="507"/>
                    </a:lnTo>
                    <a:lnTo>
                      <a:pt x="579" y="507"/>
                    </a:lnTo>
                    <a:lnTo>
                      <a:pt x="578" y="507"/>
                    </a:lnTo>
                    <a:lnTo>
                      <a:pt x="577" y="507"/>
                    </a:lnTo>
                    <a:lnTo>
                      <a:pt x="576" y="507"/>
                    </a:lnTo>
                    <a:lnTo>
                      <a:pt x="576" y="506"/>
                    </a:lnTo>
                    <a:lnTo>
                      <a:pt x="577" y="505"/>
                    </a:lnTo>
                    <a:lnTo>
                      <a:pt x="578" y="505"/>
                    </a:lnTo>
                    <a:close/>
                    <a:moveTo>
                      <a:pt x="255" y="225"/>
                    </a:moveTo>
                    <a:lnTo>
                      <a:pt x="255" y="226"/>
                    </a:lnTo>
                    <a:lnTo>
                      <a:pt x="254" y="226"/>
                    </a:lnTo>
                    <a:lnTo>
                      <a:pt x="255" y="226"/>
                    </a:lnTo>
                    <a:lnTo>
                      <a:pt x="256" y="226"/>
                    </a:lnTo>
                    <a:lnTo>
                      <a:pt x="256" y="225"/>
                    </a:lnTo>
                    <a:lnTo>
                      <a:pt x="256" y="226"/>
                    </a:lnTo>
                    <a:lnTo>
                      <a:pt x="256" y="228"/>
                    </a:lnTo>
                    <a:lnTo>
                      <a:pt x="255" y="228"/>
                    </a:lnTo>
                    <a:lnTo>
                      <a:pt x="255" y="229"/>
                    </a:lnTo>
                    <a:lnTo>
                      <a:pt x="256" y="229"/>
                    </a:lnTo>
                    <a:lnTo>
                      <a:pt x="255" y="230"/>
                    </a:lnTo>
                    <a:lnTo>
                      <a:pt x="256" y="230"/>
                    </a:lnTo>
                    <a:lnTo>
                      <a:pt x="256" y="231"/>
                    </a:lnTo>
                    <a:lnTo>
                      <a:pt x="255" y="230"/>
                    </a:lnTo>
                    <a:lnTo>
                      <a:pt x="254" y="230"/>
                    </a:lnTo>
                    <a:lnTo>
                      <a:pt x="254" y="229"/>
                    </a:lnTo>
                    <a:lnTo>
                      <a:pt x="253" y="229"/>
                    </a:lnTo>
                    <a:lnTo>
                      <a:pt x="254" y="229"/>
                    </a:lnTo>
                    <a:lnTo>
                      <a:pt x="254" y="228"/>
                    </a:lnTo>
                    <a:lnTo>
                      <a:pt x="253" y="226"/>
                    </a:lnTo>
                    <a:lnTo>
                      <a:pt x="254" y="226"/>
                    </a:lnTo>
                    <a:lnTo>
                      <a:pt x="255" y="226"/>
                    </a:lnTo>
                    <a:lnTo>
                      <a:pt x="254" y="226"/>
                    </a:lnTo>
                    <a:lnTo>
                      <a:pt x="253" y="226"/>
                    </a:lnTo>
                    <a:lnTo>
                      <a:pt x="253" y="225"/>
                    </a:lnTo>
                    <a:lnTo>
                      <a:pt x="253" y="226"/>
                    </a:lnTo>
                    <a:lnTo>
                      <a:pt x="253" y="225"/>
                    </a:lnTo>
                    <a:lnTo>
                      <a:pt x="254" y="225"/>
                    </a:lnTo>
                    <a:lnTo>
                      <a:pt x="253" y="225"/>
                    </a:lnTo>
                    <a:lnTo>
                      <a:pt x="253" y="224"/>
                    </a:lnTo>
                    <a:lnTo>
                      <a:pt x="254" y="224"/>
                    </a:lnTo>
                    <a:lnTo>
                      <a:pt x="255" y="224"/>
                    </a:lnTo>
                    <a:lnTo>
                      <a:pt x="255" y="225"/>
                    </a:lnTo>
                    <a:close/>
                    <a:moveTo>
                      <a:pt x="125" y="412"/>
                    </a:moveTo>
                    <a:lnTo>
                      <a:pt x="125" y="413"/>
                    </a:lnTo>
                    <a:lnTo>
                      <a:pt x="126" y="412"/>
                    </a:lnTo>
                    <a:lnTo>
                      <a:pt x="126" y="413"/>
                    </a:lnTo>
                    <a:lnTo>
                      <a:pt x="126" y="412"/>
                    </a:lnTo>
                    <a:lnTo>
                      <a:pt x="126" y="413"/>
                    </a:lnTo>
                    <a:lnTo>
                      <a:pt x="125" y="413"/>
                    </a:lnTo>
                    <a:lnTo>
                      <a:pt x="124" y="413"/>
                    </a:lnTo>
                    <a:lnTo>
                      <a:pt x="125" y="413"/>
                    </a:lnTo>
                    <a:lnTo>
                      <a:pt x="124" y="412"/>
                    </a:lnTo>
                    <a:lnTo>
                      <a:pt x="123" y="412"/>
                    </a:lnTo>
                    <a:lnTo>
                      <a:pt x="124" y="412"/>
                    </a:lnTo>
                    <a:lnTo>
                      <a:pt x="124" y="413"/>
                    </a:lnTo>
                    <a:lnTo>
                      <a:pt x="123" y="413"/>
                    </a:lnTo>
                    <a:lnTo>
                      <a:pt x="122" y="413"/>
                    </a:lnTo>
                    <a:lnTo>
                      <a:pt x="122" y="412"/>
                    </a:lnTo>
                    <a:lnTo>
                      <a:pt x="122" y="413"/>
                    </a:lnTo>
                    <a:lnTo>
                      <a:pt x="122" y="412"/>
                    </a:lnTo>
                    <a:lnTo>
                      <a:pt x="120" y="412"/>
                    </a:lnTo>
                    <a:lnTo>
                      <a:pt x="120" y="413"/>
                    </a:lnTo>
                    <a:lnTo>
                      <a:pt x="119" y="413"/>
                    </a:lnTo>
                    <a:lnTo>
                      <a:pt x="119" y="414"/>
                    </a:lnTo>
                    <a:lnTo>
                      <a:pt x="118" y="413"/>
                    </a:lnTo>
                    <a:lnTo>
                      <a:pt x="118" y="412"/>
                    </a:lnTo>
                    <a:lnTo>
                      <a:pt x="118" y="413"/>
                    </a:lnTo>
                    <a:lnTo>
                      <a:pt x="117" y="413"/>
                    </a:lnTo>
                    <a:lnTo>
                      <a:pt x="118" y="413"/>
                    </a:lnTo>
                    <a:lnTo>
                      <a:pt x="117" y="413"/>
                    </a:lnTo>
                    <a:lnTo>
                      <a:pt x="117" y="412"/>
                    </a:lnTo>
                    <a:lnTo>
                      <a:pt x="116" y="412"/>
                    </a:lnTo>
                    <a:lnTo>
                      <a:pt x="116" y="413"/>
                    </a:lnTo>
                    <a:lnTo>
                      <a:pt x="116" y="412"/>
                    </a:lnTo>
                    <a:lnTo>
                      <a:pt x="117" y="412"/>
                    </a:lnTo>
                    <a:lnTo>
                      <a:pt x="124" y="411"/>
                    </a:lnTo>
                    <a:lnTo>
                      <a:pt x="124" y="412"/>
                    </a:lnTo>
                    <a:lnTo>
                      <a:pt x="125" y="412"/>
                    </a:lnTo>
                    <a:close/>
                    <a:moveTo>
                      <a:pt x="203" y="403"/>
                    </a:moveTo>
                    <a:lnTo>
                      <a:pt x="204" y="403"/>
                    </a:lnTo>
                    <a:lnTo>
                      <a:pt x="204" y="404"/>
                    </a:lnTo>
                    <a:lnTo>
                      <a:pt x="205" y="404"/>
                    </a:lnTo>
                    <a:lnTo>
                      <a:pt x="206" y="404"/>
                    </a:lnTo>
                    <a:lnTo>
                      <a:pt x="206" y="405"/>
                    </a:lnTo>
                    <a:lnTo>
                      <a:pt x="205" y="405"/>
                    </a:lnTo>
                    <a:lnTo>
                      <a:pt x="206" y="405"/>
                    </a:lnTo>
                    <a:lnTo>
                      <a:pt x="206" y="404"/>
                    </a:lnTo>
                    <a:lnTo>
                      <a:pt x="206" y="405"/>
                    </a:lnTo>
                    <a:lnTo>
                      <a:pt x="207" y="405"/>
                    </a:lnTo>
                    <a:lnTo>
                      <a:pt x="208" y="405"/>
                    </a:lnTo>
                    <a:lnTo>
                      <a:pt x="208" y="406"/>
                    </a:lnTo>
                    <a:lnTo>
                      <a:pt x="207" y="406"/>
                    </a:lnTo>
                    <a:lnTo>
                      <a:pt x="208" y="406"/>
                    </a:lnTo>
                    <a:lnTo>
                      <a:pt x="208" y="405"/>
                    </a:lnTo>
                    <a:lnTo>
                      <a:pt x="209" y="406"/>
                    </a:lnTo>
                    <a:lnTo>
                      <a:pt x="208" y="406"/>
                    </a:lnTo>
                    <a:lnTo>
                      <a:pt x="208" y="408"/>
                    </a:lnTo>
                    <a:lnTo>
                      <a:pt x="207" y="406"/>
                    </a:lnTo>
                    <a:lnTo>
                      <a:pt x="206" y="406"/>
                    </a:lnTo>
                    <a:lnTo>
                      <a:pt x="205" y="406"/>
                    </a:lnTo>
                    <a:lnTo>
                      <a:pt x="204" y="406"/>
                    </a:lnTo>
                    <a:lnTo>
                      <a:pt x="203" y="408"/>
                    </a:lnTo>
                    <a:lnTo>
                      <a:pt x="203" y="406"/>
                    </a:lnTo>
                    <a:lnTo>
                      <a:pt x="203" y="405"/>
                    </a:lnTo>
                    <a:lnTo>
                      <a:pt x="202" y="405"/>
                    </a:lnTo>
                    <a:lnTo>
                      <a:pt x="202" y="404"/>
                    </a:lnTo>
                    <a:lnTo>
                      <a:pt x="203" y="404"/>
                    </a:lnTo>
                    <a:lnTo>
                      <a:pt x="203" y="405"/>
                    </a:lnTo>
                    <a:lnTo>
                      <a:pt x="204" y="405"/>
                    </a:lnTo>
                    <a:lnTo>
                      <a:pt x="204" y="404"/>
                    </a:lnTo>
                    <a:lnTo>
                      <a:pt x="203" y="404"/>
                    </a:lnTo>
                    <a:lnTo>
                      <a:pt x="203" y="403"/>
                    </a:lnTo>
                    <a:close/>
                    <a:moveTo>
                      <a:pt x="114" y="323"/>
                    </a:moveTo>
                    <a:lnTo>
                      <a:pt x="115" y="323"/>
                    </a:lnTo>
                    <a:lnTo>
                      <a:pt x="114" y="323"/>
                    </a:lnTo>
                    <a:lnTo>
                      <a:pt x="114" y="324"/>
                    </a:lnTo>
                    <a:lnTo>
                      <a:pt x="115" y="324"/>
                    </a:lnTo>
                    <a:lnTo>
                      <a:pt x="116" y="324"/>
                    </a:lnTo>
                    <a:lnTo>
                      <a:pt x="117" y="324"/>
                    </a:lnTo>
                    <a:lnTo>
                      <a:pt x="117" y="325"/>
                    </a:lnTo>
                    <a:lnTo>
                      <a:pt x="117" y="324"/>
                    </a:lnTo>
                    <a:lnTo>
                      <a:pt x="118" y="324"/>
                    </a:lnTo>
                    <a:lnTo>
                      <a:pt x="119" y="324"/>
                    </a:lnTo>
                    <a:lnTo>
                      <a:pt x="118" y="324"/>
                    </a:lnTo>
                    <a:lnTo>
                      <a:pt x="118" y="325"/>
                    </a:lnTo>
                    <a:lnTo>
                      <a:pt x="118" y="326"/>
                    </a:lnTo>
                    <a:lnTo>
                      <a:pt x="117" y="327"/>
                    </a:lnTo>
                    <a:lnTo>
                      <a:pt x="117" y="328"/>
                    </a:lnTo>
                    <a:lnTo>
                      <a:pt x="116" y="328"/>
                    </a:lnTo>
                    <a:lnTo>
                      <a:pt x="116" y="327"/>
                    </a:lnTo>
                    <a:lnTo>
                      <a:pt x="116" y="328"/>
                    </a:lnTo>
                    <a:lnTo>
                      <a:pt x="117" y="328"/>
                    </a:lnTo>
                    <a:lnTo>
                      <a:pt x="117" y="327"/>
                    </a:lnTo>
                    <a:lnTo>
                      <a:pt x="117" y="326"/>
                    </a:lnTo>
                    <a:lnTo>
                      <a:pt x="116" y="326"/>
                    </a:lnTo>
                    <a:lnTo>
                      <a:pt x="117" y="327"/>
                    </a:lnTo>
                    <a:lnTo>
                      <a:pt x="116" y="327"/>
                    </a:lnTo>
                    <a:lnTo>
                      <a:pt x="117" y="327"/>
                    </a:lnTo>
                    <a:lnTo>
                      <a:pt x="116" y="327"/>
                    </a:lnTo>
                    <a:lnTo>
                      <a:pt x="117" y="327"/>
                    </a:lnTo>
                    <a:lnTo>
                      <a:pt x="117" y="328"/>
                    </a:lnTo>
                    <a:lnTo>
                      <a:pt x="116" y="327"/>
                    </a:lnTo>
                    <a:lnTo>
                      <a:pt x="116" y="325"/>
                    </a:lnTo>
                    <a:lnTo>
                      <a:pt x="115" y="325"/>
                    </a:lnTo>
                    <a:lnTo>
                      <a:pt x="115" y="324"/>
                    </a:lnTo>
                    <a:lnTo>
                      <a:pt x="114" y="324"/>
                    </a:lnTo>
                    <a:lnTo>
                      <a:pt x="113" y="324"/>
                    </a:lnTo>
                    <a:lnTo>
                      <a:pt x="112" y="324"/>
                    </a:lnTo>
                    <a:lnTo>
                      <a:pt x="111" y="324"/>
                    </a:lnTo>
                    <a:lnTo>
                      <a:pt x="113" y="323"/>
                    </a:lnTo>
                    <a:lnTo>
                      <a:pt x="114" y="323"/>
                    </a:lnTo>
                    <a:close/>
                    <a:moveTo>
                      <a:pt x="579" y="502"/>
                    </a:moveTo>
                    <a:lnTo>
                      <a:pt x="580" y="503"/>
                    </a:lnTo>
                    <a:lnTo>
                      <a:pt x="580" y="504"/>
                    </a:lnTo>
                    <a:lnTo>
                      <a:pt x="581" y="504"/>
                    </a:lnTo>
                    <a:lnTo>
                      <a:pt x="581" y="505"/>
                    </a:lnTo>
                    <a:lnTo>
                      <a:pt x="582" y="505"/>
                    </a:lnTo>
                    <a:lnTo>
                      <a:pt x="582" y="506"/>
                    </a:lnTo>
                    <a:lnTo>
                      <a:pt x="581" y="506"/>
                    </a:lnTo>
                    <a:lnTo>
                      <a:pt x="580" y="505"/>
                    </a:lnTo>
                    <a:lnTo>
                      <a:pt x="579" y="505"/>
                    </a:lnTo>
                    <a:lnTo>
                      <a:pt x="578" y="505"/>
                    </a:lnTo>
                    <a:lnTo>
                      <a:pt x="578" y="504"/>
                    </a:lnTo>
                    <a:lnTo>
                      <a:pt x="577" y="505"/>
                    </a:lnTo>
                    <a:lnTo>
                      <a:pt x="578" y="502"/>
                    </a:lnTo>
                    <a:lnTo>
                      <a:pt x="578" y="503"/>
                    </a:lnTo>
                    <a:lnTo>
                      <a:pt x="577" y="501"/>
                    </a:lnTo>
                    <a:lnTo>
                      <a:pt x="578" y="501"/>
                    </a:lnTo>
                    <a:lnTo>
                      <a:pt x="578" y="502"/>
                    </a:lnTo>
                    <a:lnTo>
                      <a:pt x="579" y="502"/>
                    </a:lnTo>
                    <a:close/>
                    <a:moveTo>
                      <a:pt x="292" y="276"/>
                    </a:moveTo>
                    <a:lnTo>
                      <a:pt x="292" y="277"/>
                    </a:lnTo>
                    <a:lnTo>
                      <a:pt x="292" y="279"/>
                    </a:lnTo>
                    <a:lnTo>
                      <a:pt x="292" y="280"/>
                    </a:lnTo>
                    <a:lnTo>
                      <a:pt x="291" y="280"/>
                    </a:lnTo>
                    <a:lnTo>
                      <a:pt x="290" y="280"/>
                    </a:lnTo>
                    <a:lnTo>
                      <a:pt x="290" y="279"/>
                    </a:lnTo>
                    <a:lnTo>
                      <a:pt x="289" y="279"/>
                    </a:lnTo>
                    <a:lnTo>
                      <a:pt x="287" y="279"/>
                    </a:lnTo>
                    <a:lnTo>
                      <a:pt x="287" y="277"/>
                    </a:lnTo>
                    <a:lnTo>
                      <a:pt x="289" y="277"/>
                    </a:lnTo>
                    <a:lnTo>
                      <a:pt x="290" y="277"/>
                    </a:lnTo>
                    <a:lnTo>
                      <a:pt x="290" y="276"/>
                    </a:lnTo>
                    <a:lnTo>
                      <a:pt x="291" y="276"/>
                    </a:lnTo>
                    <a:lnTo>
                      <a:pt x="292" y="276"/>
                    </a:lnTo>
                    <a:lnTo>
                      <a:pt x="292" y="275"/>
                    </a:lnTo>
                    <a:lnTo>
                      <a:pt x="293" y="275"/>
                    </a:lnTo>
                    <a:lnTo>
                      <a:pt x="293" y="276"/>
                    </a:lnTo>
                    <a:lnTo>
                      <a:pt x="292" y="276"/>
                    </a:lnTo>
                    <a:close/>
                    <a:moveTo>
                      <a:pt x="491" y="438"/>
                    </a:moveTo>
                    <a:lnTo>
                      <a:pt x="490" y="439"/>
                    </a:lnTo>
                    <a:lnTo>
                      <a:pt x="491" y="438"/>
                    </a:lnTo>
                    <a:lnTo>
                      <a:pt x="491" y="439"/>
                    </a:lnTo>
                    <a:lnTo>
                      <a:pt x="491" y="440"/>
                    </a:lnTo>
                    <a:lnTo>
                      <a:pt x="490" y="440"/>
                    </a:lnTo>
                    <a:lnTo>
                      <a:pt x="491" y="440"/>
                    </a:lnTo>
                    <a:lnTo>
                      <a:pt x="490" y="441"/>
                    </a:lnTo>
                    <a:lnTo>
                      <a:pt x="490" y="442"/>
                    </a:lnTo>
                    <a:lnTo>
                      <a:pt x="490" y="443"/>
                    </a:lnTo>
                    <a:lnTo>
                      <a:pt x="490" y="442"/>
                    </a:lnTo>
                    <a:lnTo>
                      <a:pt x="489" y="442"/>
                    </a:lnTo>
                    <a:lnTo>
                      <a:pt x="489" y="443"/>
                    </a:lnTo>
                    <a:lnTo>
                      <a:pt x="489" y="442"/>
                    </a:lnTo>
                    <a:lnTo>
                      <a:pt x="489" y="441"/>
                    </a:lnTo>
                    <a:lnTo>
                      <a:pt x="488" y="441"/>
                    </a:lnTo>
                    <a:lnTo>
                      <a:pt x="489" y="441"/>
                    </a:lnTo>
                    <a:lnTo>
                      <a:pt x="488" y="441"/>
                    </a:lnTo>
                    <a:lnTo>
                      <a:pt x="489" y="440"/>
                    </a:lnTo>
                    <a:lnTo>
                      <a:pt x="489" y="439"/>
                    </a:lnTo>
                    <a:lnTo>
                      <a:pt x="490" y="439"/>
                    </a:lnTo>
                    <a:lnTo>
                      <a:pt x="489" y="439"/>
                    </a:lnTo>
                    <a:lnTo>
                      <a:pt x="489" y="438"/>
                    </a:lnTo>
                    <a:lnTo>
                      <a:pt x="489" y="437"/>
                    </a:lnTo>
                    <a:lnTo>
                      <a:pt x="489" y="436"/>
                    </a:lnTo>
                    <a:lnTo>
                      <a:pt x="490" y="436"/>
                    </a:lnTo>
                    <a:lnTo>
                      <a:pt x="490" y="437"/>
                    </a:lnTo>
                    <a:lnTo>
                      <a:pt x="491" y="437"/>
                    </a:lnTo>
                    <a:lnTo>
                      <a:pt x="491" y="438"/>
                    </a:lnTo>
                    <a:close/>
                    <a:moveTo>
                      <a:pt x="566" y="556"/>
                    </a:moveTo>
                    <a:lnTo>
                      <a:pt x="567" y="556"/>
                    </a:lnTo>
                    <a:lnTo>
                      <a:pt x="567" y="557"/>
                    </a:lnTo>
                    <a:lnTo>
                      <a:pt x="568" y="557"/>
                    </a:lnTo>
                    <a:lnTo>
                      <a:pt x="568" y="556"/>
                    </a:lnTo>
                    <a:lnTo>
                      <a:pt x="568" y="557"/>
                    </a:lnTo>
                    <a:lnTo>
                      <a:pt x="569" y="557"/>
                    </a:lnTo>
                    <a:lnTo>
                      <a:pt x="568" y="557"/>
                    </a:lnTo>
                    <a:lnTo>
                      <a:pt x="569" y="558"/>
                    </a:lnTo>
                    <a:lnTo>
                      <a:pt x="569" y="557"/>
                    </a:lnTo>
                    <a:lnTo>
                      <a:pt x="569" y="556"/>
                    </a:lnTo>
                    <a:lnTo>
                      <a:pt x="570" y="556"/>
                    </a:lnTo>
                    <a:lnTo>
                      <a:pt x="570" y="557"/>
                    </a:lnTo>
                    <a:lnTo>
                      <a:pt x="570" y="558"/>
                    </a:lnTo>
                    <a:lnTo>
                      <a:pt x="570" y="559"/>
                    </a:lnTo>
                    <a:lnTo>
                      <a:pt x="570" y="560"/>
                    </a:lnTo>
                    <a:lnTo>
                      <a:pt x="569" y="560"/>
                    </a:lnTo>
                    <a:lnTo>
                      <a:pt x="569" y="559"/>
                    </a:lnTo>
                    <a:lnTo>
                      <a:pt x="568" y="559"/>
                    </a:lnTo>
                    <a:lnTo>
                      <a:pt x="568" y="558"/>
                    </a:lnTo>
                    <a:lnTo>
                      <a:pt x="569" y="558"/>
                    </a:lnTo>
                    <a:lnTo>
                      <a:pt x="568" y="558"/>
                    </a:lnTo>
                    <a:lnTo>
                      <a:pt x="567" y="558"/>
                    </a:lnTo>
                    <a:lnTo>
                      <a:pt x="566" y="558"/>
                    </a:lnTo>
                    <a:lnTo>
                      <a:pt x="565" y="558"/>
                    </a:lnTo>
                    <a:lnTo>
                      <a:pt x="565" y="557"/>
                    </a:lnTo>
                    <a:lnTo>
                      <a:pt x="565" y="556"/>
                    </a:lnTo>
                    <a:lnTo>
                      <a:pt x="566" y="556"/>
                    </a:lnTo>
                    <a:close/>
                    <a:moveTo>
                      <a:pt x="414" y="543"/>
                    </a:moveTo>
                    <a:lnTo>
                      <a:pt x="414" y="544"/>
                    </a:lnTo>
                    <a:lnTo>
                      <a:pt x="415" y="543"/>
                    </a:lnTo>
                    <a:lnTo>
                      <a:pt x="415" y="544"/>
                    </a:lnTo>
                    <a:lnTo>
                      <a:pt x="416" y="543"/>
                    </a:lnTo>
                    <a:lnTo>
                      <a:pt x="416" y="544"/>
                    </a:lnTo>
                    <a:lnTo>
                      <a:pt x="416" y="545"/>
                    </a:lnTo>
                    <a:lnTo>
                      <a:pt x="415" y="545"/>
                    </a:lnTo>
                    <a:lnTo>
                      <a:pt x="415" y="544"/>
                    </a:lnTo>
                    <a:lnTo>
                      <a:pt x="414" y="544"/>
                    </a:lnTo>
                    <a:lnTo>
                      <a:pt x="414" y="545"/>
                    </a:lnTo>
                    <a:lnTo>
                      <a:pt x="415" y="545"/>
                    </a:lnTo>
                    <a:lnTo>
                      <a:pt x="415" y="546"/>
                    </a:lnTo>
                    <a:lnTo>
                      <a:pt x="414" y="546"/>
                    </a:lnTo>
                    <a:lnTo>
                      <a:pt x="414" y="547"/>
                    </a:lnTo>
                    <a:lnTo>
                      <a:pt x="413" y="547"/>
                    </a:lnTo>
                    <a:lnTo>
                      <a:pt x="414" y="547"/>
                    </a:lnTo>
                    <a:lnTo>
                      <a:pt x="415" y="547"/>
                    </a:lnTo>
                    <a:lnTo>
                      <a:pt x="414" y="546"/>
                    </a:lnTo>
                    <a:lnTo>
                      <a:pt x="415" y="546"/>
                    </a:lnTo>
                    <a:lnTo>
                      <a:pt x="415" y="547"/>
                    </a:lnTo>
                    <a:lnTo>
                      <a:pt x="415" y="549"/>
                    </a:lnTo>
                    <a:lnTo>
                      <a:pt x="414" y="549"/>
                    </a:lnTo>
                    <a:lnTo>
                      <a:pt x="415" y="549"/>
                    </a:lnTo>
                    <a:lnTo>
                      <a:pt x="414" y="549"/>
                    </a:lnTo>
                    <a:lnTo>
                      <a:pt x="413" y="549"/>
                    </a:lnTo>
                    <a:lnTo>
                      <a:pt x="413" y="547"/>
                    </a:lnTo>
                    <a:lnTo>
                      <a:pt x="412" y="546"/>
                    </a:lnTo>
                    <a:lnTo>
                      <a:pt x="413" y="546"/>
                    </a:lnTo>
                    <a:lnTo>
                      <a:pt x="413" y="545"/>
                    </a:lnTo>
                    <a:lnTo>
                      <a:pt x="412" y="545"/>
                    </a:lnTo>
                    <a:lnTo>
                      <a:pt x="412" y="544"/>
                    </a:lnTo>
                    <a:lnTo>
                      <a:pt x="413" y="544"/>
                    </a:lnTo>
                    <a:lnTo>
                      <a:pt x="412" y="544"/>
                    </a:lnTo>
                    <a:lnTo>
                      <a:pt x="412" y="543"/>
                    </a:lnTo>
                    <a:lnTo>
                      <a:pt x="413" y="543"/>
                    </a:lnTo>
                    <a:lnTo>
                      <a:pt x="414" y="543"/>
                    </a:lnTo>
                    <a:close/>
                    <a:moveTo>
                      <a:pt x="641" y="487"/>
                    </a:moveTo>
                    <a:lnTo>
                      <a:pt x="642" y="488"/>
                    </a:lnTo>
                    <a:lnTo>
                      <a:pt x="641" y="488"/>
                    </a:lnTo>
                    <a:lnTo>
                      <a:pt x="640" y="489"/>
                    </a:lnTo>
                    <a:lnTo>
                      <a:pt x="640" y="490"/>
                    </a:lnTo>
                    <a:lnTo>
                      <a:pt x="639" y="490"/>
                    </a:lnTo>
                    <a:lnTo>
                      <a:pt x="639" y="491"/>
                    </a:lnTo>
                    <a:lnTo>
                      <a:pt x="638" y="491"/>
                    </a:lnTo>
                    <a:lnTo>
                      <a:pt x="638" y="490"/>
                    </a:lnTo>
                    <a:lnTo>
                      <a:pt x="638" y="489"/>
                    </a:lnTo>
                    <a:lnTo>
                      <a:pt x="636" y="489"/>
                    </a:lnTo>
                    <a:lnTo>
                      <a:pt x="638" y="489"/>
                    </a:lnTo>
                    <a:lnTo>
                      <a:pt x="638" y="488"/>
                    </a:lnTo>
                    <a:lnTo>
                      <a:pt x="638" y="487"/>
                    </a:lnTo>
                    <a:lnTo>
                      <a:pt x="638" y="488"/>
                    </a:lnTo>
                    <a:lnTo>
                      <a:pt x="639" y="487"/>
                    </a:lnTo>
                    <a:lnTo>
                      <a:pt x="640" y="487"/>
                    </a:lnTo>
                    <a:lnTo>
                      <a:pt x="641" y="487"/>
                    </a:lnTo>
                    <a:close/>
                    <a:moveTo>
                      <a:pt x="632" y="493"/>
                    </a:moveTo>
                    <a:lnTo>
                      <a:pt x="632" y="494"/>
                    </a:lnTo>
                    <a:lnTo>
                      <a:pt x="631" y="495"/>
                    </a:lnTo>
                    <a:lnTo>
                      <a:pt x="630" y="495"/>
                    </a:lnTo>
                    <a:lnTo>
                      <a:pt x="629" y="495"/>
                    </a:lnTo>
                    <a:lnTo>
                      <a:pt x="629" y="494"/>
                    </a:lnTo>
                    <a:lnTo>
                      <a:pt x="628" y="493"/>
                    </a:lnTo>
                    <a:lnTo>
                      <a:pt x="628" y="492"/>
                    </a:lnTo>
                    <a:lnTo>
                      <a:pt x="629" y="492"/>
                    </a:lnTo>
                    <a:lnTo>
                      <a:pt x="630" y="493"/>
                    </a:lnTo>
                    <a:lnTo>
                      <a:pt x="631" y="492"/>
                    </a:lnTo>
                    <a:lnTo>
                      <a:pt x="632" y="493"/>
                    </a:lnTo>
                    <a:close/>
                    <a:moveTo>
                      <a:pt x="332" y="339"/>
                    </a:moveTo>
                    <a:lnTo>
                      <a:pt x="332" y="340"/>
                    </a:lnTo>
                    <a:lnTo>
                      <a:pt x="331" y="340"/>
                    </a:lnTo>
                    <a:lnTo>
                      <a:pt x="331" y="341"/>
                    </a:lnTo>
                    <a:lnTo>
                      <a:pt x="332" y="341"/>
                    </a:lnTo>
                    <a:lnTo>
                      <a:pt x="332" y="340"/>
                    </a:lnTo>
                    <a:lnTo>
                      <a:pt x="332" y="339"/>
                    </a:lnTo>
                    <a:lnTo>
                      <a:pt x="333" y="340"/>
                    </a:lnTo>
                    <a:lnTo>
                      <a:pt x="333" y="341"/>
                    </a:lnTo>
                    <a:lnTo>
                      <a:pt x="332" y="341"/>
                    </a:lnTo>
                    <a:lnTo>
                      <a:pt x="333" y="341"/>
                    </a:lnTo>
                    <a:lnTo>
                      <a:pt x="334" y="341"/>
                    </a:lnTo>
                    <a:lnTo>
                      <a:pt x="334" y="343"/>
                    </a:lnTo>
                    <a:lnTo>
                      <a:pt x="335" y="343"/>
                    </a:lnTo>
                    <a:lnTo>
                      <a:pt x="335" y="344"/>
                    </a:lnTo>
                    <a:lnTo>
                      <a:pt x="334" y="344"/>
                    </a:lnTo>
                    <a:lnTo>
                      <a:pt x="333" y="344"/>
                    </a:lnTo>
                    <a:lnTo>
                      <a:pt x="332" y="344"/>
                    </a:lnTo>
                    <a:lnTo>
                      <a:pt x="332" y="343"/>
                    </a:lnTo>
                    <a:lnTo>
                      <a:pt x="332" y="341"/>
                    </a:lnTo>
                    <a:lnTo>
                      <a:pt x="332" y="343"/>
                    </a:lnTo>
                    <a:lnTo>
                      <a:pt x="331" y="343"/>
                    </a:lnTo>
                    <a:lnTo>
                      <a:pt x="331" y="344"/>
                    </a:lnTo>
                    <a:lnTo>
                      <a:pt x="332" y="343"/>
                    </a:lnTo>
                    <a:lnTo>
                      <a:pt x="332" y="341"/>
                    </a:lnTo>
                    <a:lnTo>
                      <a:pt x="331" y="341"/>
                    </a:lnTo>
                    <a:lnTo>
                      <a:pt x="330" y="341"/>
                    </a:lnTo>
                    <a:lnTo>
                      <a:pt x="330" y="343"/>
                    </a:lnTo>
                    <a:lnTo>
                      <a:pt x="329" y="341"/>
                    </a:lnTo>
                    <a:lnTo>
                      <a:pt x="329" y="340"/>
                    </a:lnTo>
                    <a:lnTo>
                      <a:pt x="330" y="340"/>
                    </a:lnTo>
                    <a:lnTo>
                      <a:pt x="331" y="339"/>
                    </a:lnTo>
                    <a:lnTo>
                      <a:pt x="332" y="339"/>
                    </a:lnTo>
                    <a:close/>
                    <a:moveTo>
                      <a:pt x="622" y="499"/>
                    </a:moveTo>
                    <a:lnTo>
                      <a:pt x="621" y="499"/>
                    </a:lnTo>
                    <a:lnTo>
                      <a:pt x="622" y="499"/>
                    </a:lnTo>
                    <a:lnTo>
                      <a:pt x="623" y="498"/>
                    </a:lnTo>
                    <a:lnTo>
                      <a:pt x="625" y="498"/>
                    </a:lnTo>
                    <a:lnTo>
                      <a:pt x="625" y="496"/>
                    </a:lnTo>
                    <a:lnTo>
                      <a:pt x="625" y="495"/>
                    </a:lnTo>
                    <a:lnTo>
                      <a:pt x="626" y="495"/>
                    </a:lnTo>
                    <a:lnTo>
                      <a:pt x="627" y="495"/>
                    </a:lnTo>
                    <a:lnTo>
                      <a:pt x="627" y="494"/>
                    </a:lnTo>
                    <a:lnTo>
                      <a:pt x="627" y="493"/>
                    </a:lnTo>
                    <a:lnTo>
                      <a:pt x="626" y="493"/>
                    </a:lnTo>
                    <a:lnTo>
                      <a:pt x="626" y="492"/>
                    </a:lnTo>
                    <a:lnTo>
                      <a:pt x="627" y="492"/>
                    </a:lnTo>
                    <a:lnTo>
                      <a:pt x="628" y="495"/>
                    </a:lnTo>
                    <a:lnTo>
                      <a:pt x="628" y="496"/>
                    </a:lnTo>
                    <a:lnTo>
                      <a:pt x="627" y="498"/>
                    </a:lnTo>
                    <a:lnTo>
                      <a:pt x="625" y="498"/>
                    </a:lnTo>
                    <a:lnTo>
                      <a:pt x="625" y="499"/>
                    </a:lnTo>
                    <a:lnTo>
                      <a:pt x="622" y="499"/>
                    </a:lnTo>
                    <a:close/>
                    <a:moveTo>
                      <a:pt x="404" y="683"/>
                    </a:moveTo>
                    <a:lnTo>
                      <a:pt x="403" y="683"/>
                    </a:lnTo>
                    <a:lnTo>
                      <a:pt x="403" y="684"/>
                    </a:lnTo>
                    <a:lnTo>
                      <a:pt x="402" y="685"/>
                    </a:lnTo>
                    <a:lnTo>
                      <a:pt x="402" y="684"/>
                    </a:lnTo>
                    <a:lnTo>
                      <a:pt x="401" y="684"/>
                    </a:lnTo>
                    <a:lnTo>
                      <a:pt x="401" y="683"/>
                    </a:lnTo>
                    <a:lnTo>
                      <a:pt x="402" y="683"/>
                    </a:lnTo>
                    <a:lnTo>
                      <a:pt x="402" y="682"/>
                    </a:lnTo>
                    <a:lnTo>
                      <a:pt x="403" y="682"/>
                    </a:lnTo>
                    <a:lnTo>
                      <a:pt x="403" y="681"/>
                    </a:lnTo>
                    <a:lnTo>
                      <a:pt x="403" y="680"/>
                    </a:lnTo>
                    <a:lnTo>
                      <a:pt x="404" y="680"/>
                    </a:lnTo>
                    <a:lnTo>
                      <a:pt x="404" y="679"/>
                    </a:lnTo>
                    <a:lnTo>
                      <a:pt x="404" y="680"/>
                    </a:lnTo>
                    <a:lnTo>
                      <a:pt x="406" y="680"/>
                    </a:lnTo>
                    <a:lnTo>
                      <a:pt x="406" y="681"/>
                    </a:lnTo>
                    <a:lnTo>
                      <a:pt x="406" y="682"/>
                    </a:lnTo>
                    <a:lnTo>
                      <a:pt x="404" y="683"/>
                    </a:lnTo>
                    <a:close/>
                    <a:moveTo>
                      <a:pt x="349" y="455"/>
                    </a:moveTo>
                    <a:lnTo>
                      <a:pt x="350" y="455"/>
                    </a:lnTo>
                    <a:lnTo>
                      <a:pt x="350" y="454"/>
                    </a:lnTo>
                    <a:lnTo>
                      <a:pt x="351" y="454"/>
                    </a:lnTo>
                    <a:lnTo>
                      <a:pt x="351" y="455"/>
                    </a:lnTo>
                    <a:lnTo>
                      <a:pt x="352" y="455"/>
                    </a:lnTo>
                    <a:lnTo>
                      <a:pt x="352" y="456"/>
                    </a:lnTo>
                    <a:lnTo>
                      <a:pt x="351" y="456"/>
                    </a:lnTo>
                    <a:lnTo>
                      <a:pt x="350" y="456"/>
                    </a:lnTo>
                    <a:lnTo>
                      <a:pt x="350" y="457"/>
                    </a:lnTo>
                    <a:lnTo>
                      <a:pt x="349" y="457"/>
                    </a:lnTo>
                    <a:lnTo>
                      <a:pt x="347" y="457"/>
                    </a:lnTo>
                    <a:lnTo>
                      <a:pt x="346" y="457"/>
                    </a:lnTo>
                    <a:lnTo>
                      <a:pt x="346" y="456"/>
                    </a:lnTo>
                    <a:lnTo>
                      <a:pt x="346" y="457"/>
                    </a:lnTo>
                    <a:lnTo>
                      <a:pt x="347" y="457"/>
                    </a:lnTo>
                    <a:lnTo>
                      <a:pt x="347" y="456"/>
                    </a:lnTo>
                    <a:lnTo>
                      <a:pt x="348" y="457"/>
                    </a:lnTo>
                    <a:lnTo>
                      <a:pt x="348" y="456"/>
                    </a:lnTo>
                    <a:lnTo>
                      <a:pt x="348" y="455"/>
                    </a:lnTo>
                    <a:lnTo>
                      <a:pt x="348" y="454"/>
                    </a:lnTo>
                    <a:lnTo>
                      <a:pt x="349" y="454"/>
                    </a:lnTo>
                    <a:lnTo>
                      <a:pt x="349" y="455"/>
                    </a:lnTo>
                    <a:close/>
                    <a:moveTo>
                      <a:pt x="414" y="364"/>
                    </a:moveTo>
                    <a:lnTo>
                      <a:pt x="414" y="365"/>
                    </a:lnTo>
                    <a:lnTo>
                      <a:pt x="414" y="366"/>
                    </a:lnTo>
                    <a:lnTo>
                      <a:pt x="413" y="367"/>
                    </a:lnTo>
                    <a:lnTo>
                      <a:pt x="412" y="367"/>
                    </a:lnTo>
                    <a:lnTo>
                      <a:pt x="413" y="366"/>
                    </a:lnTo>
                    <a:lnTo>
                      <a:pt x="413" y="365"/>
                    </a:lnTo>
                    <a:lnTo>
                      <a:pt x="412" y="365"/>
                    </a:lnTo>
                    <a:lnTo>
                      <a:pt x="412" y="366"/>
                    </a:lnTo>
                    <a:lnTo>
                      <a:pt x="412" y="365"/>
                    </a:lnTo>
                    <a:lnTo>
                      <a:pt x="411" y="365"/>
                    </a:lnTo>
                    <a:lnTo>
                      <a:pt x="410" y="365"/>
                    </a:lnTo>
                    <a:lnTo>
                      <a:pt x="410" y="366"/>
                    </a:lnTo>
                    <a:lnTo>
                      <a:pt x="410" y="365"/>
                    </a:lnTo>
                    <a:lnTo>
                      <a:pt x="409" y="365"/>
                    </a:lnTo>
                    <a:lnTo>
                      <a:pt x="410" y="365"/>
                    </a:lnTo>
                    <a:lnTo>
                      <a:pt x="409" y="365"/>
                    </a:lnTo>
                    <a:lnTo>
                      <a:pt x="409" y="364"/>
                    </a:lnTo>
                    <a:lnTo>
                      <a:pt x="410" y="364"/>
                    </a:lnTo>
                    <a:lnTo>
                      <a:pt x="409" y="364"/>
                    </a:lnTo>
                    <a:lnTo>
                      <a:pt x="410" y="364"/>
                    </a:lnTo>
                    <a:lnTo>
                      <a:pt x="409" y="364"/>
                    </a:lnTo>
                    <a:lnTo>
                      <a:pt x="410" y="364"/>
                    </a:lnTo>
                    <a:lnTo>
                      <a:pt x="411" y="364"/>
                    </a:lnTo>
                    <a:lnTo>
                      <a:pt x="410" y="364"/>
                    </a:lnTo>
                    <a:lnTo>
                      <a:pt x="411" y="364"/>
                    </a:lnTo>
                    <a:lnTo>
                      <a:pt x="411" y="363"/>
                    </a:lnTo>
                    <a:lnTo>
                      <a:pt x="412" y="363"/>
                    </a:lnTo>
                    <a:lnTo>
                      <a:pt x="412" y="364"/>
                    </a:lnTo>
                    <a:lnTo>
                      <a:pt x="413" y="364"/>
                    </a:lnTo>
                    <a:lnTo>
                      <a:pt x="414" y="363"/>
                    </a:lnTo>
                    <a:lnTo>
                      <a:pt x="414" y="364"/>
                    </a:lnTo>
                    <a:close/>
                    <a:moveTo>
                      <a:pt x="191" y="415"/>
                    </a:moveTo>
                    <a:lnTo>
                      <a:pt x="192" y="415"/>
                    </a:lnTo>
                    <a:lnTo>
                      <a:pt x="192" y="416"/>
                    </a:lnTo>
                    <a:lnTo>
                      <a:pt x="192" y="417"/>
                    </a:lnTo>
                    <a:lnTo>
                      <a:pt x="192" y="416"/>
                    </a:lnTo>
                    <a:lnTo>
                      <a:pt x="191" y="416"/>
                    </a:lnTo>
                    <a:lnTo>
                      <a:pt x="191" y="417"/>
                    </a:lnTo>
                    <a:lnTo>
                      <a:pt x="190" y="417"/>
                    </a:lnTo>
                    <a:lnTo>
                      <a:pt x="189" y="417"/>
                    </a:lnTo>
                    <a:lnTo>
                      <a:pt x="190" y="417"/>
                    </a:lnTo>
                    <a:lnTo>
                      <a:pt x="191" y="417"/>
                    </a:lnTo>
                    <a:lnTo>
                      <a:pt x="192" y="417"/>
                    </a:lnTo>
                    <a:lnTo>
                      <a:pt x="192" y="418"/>
                    </a:lnTo>
                    <a:lnTo>
                      <a:pt x="190" y="418"/>
                    </a:lnTo>
                    <a:lnTo>
                      <a:pt x="190" y="417"/>
                    </a:lnTo>
                    <a:lnTo>
                      <a:pt x="189" y="418"/>
                    </a:lnTo>
                    <a:lnTo>
                      <a:pt x="189" y="417"/>
                    </a:lnTo>
                    <a:lnTo>
                      <a:pt x="188" y="417"/>
                    </a:lnTo>
                    <a:lnTo>
                      <a:pt x="187" y="417"/>
                    </a:lnTo>
                    <a:lnTo>
                      <a:pt x="188" y="416"/>
                    </a:lnTo>
                    <a:lnTo>
                      <a:pt x="189" y="416"/>
                    </a:lnTo>
                    <a:lnTo>
                      <a:pt x="190" y="415"/>
                    </a:lnTo>
                    <a:lnTo>
                      <a:pt x="191" y="415"/>
                    </a:lnTo>
                    <a:close/>
                    <a:moveTo>
                      <a:pt x="247" y="418"/>
                    </a:moveTo>
                    <a:lnTo>
                      <a:pt x="248" y="420"/>
                    </a:lnTo>
                    <a:lnTo>
                      <a:pt x="247" y="421"/>
                    </a:lnTo>
                    <a:lnTo>
                      <a:pt x="247" y="422"/>
                    </a:lnTo>
                    <a:lnTo>
                      <a:pt x="246" y="422"/>
                    </a:lnTo>
                    <a:lnTo>
                      <a:pt x="246" y="423"/>
                    </a:lnTo>
                    <a:lnTo>
                      <a:pt x="245" y="423"/>
                    </a:lnTo>
                    <a:lnTo>
                      <a:pt x="245" y="424"/>
                    </a:lnTo>
                    <a:lnTo>
                      <a:pt x="245" y="425"/>
                    </a:lnTo>
                    <a:lnTo>
                      <a:pt x="244" y="426"/>
                    </a:lnTo>
                    <a:lnTo>
                      <a:pt x="243" y="426"/>
                    </a:lnTo>
                    <a:lnTo>
                      <a:pt x="244" y="424"/>
                    </a:lnTo>
                    <a:lnTo>
                      <a:pt x="244" y="423"/>
                    </a:lnTo>
                    <a:lnTo>
                      <a:pt x="245" y="423"/>
                    </a:lnTo>
                    <a:lnTo>
                      <a:pt x="245" y="422"/>
                    </a:lnTo>
                    <a:lnTo>
                      <a:pt x="246" y="421"/>
                    </a:lnTo>
                    <a:lnTo>
                      <a:pt x="246" y="420"/>
                    </a:lnTo>
                    <a:lnTo>
                      <a:pt x="246" y="418"/>
                    </a:lnTo>
                    <a:lnTo>
                      <a:pt x="247" y="418"/>
                    </a:lnTo>
                    <a:close/>
                    <a:moveTo>
                      <a:pt x="563" y="547"/>
                    </a:moveTo>
                    <a:lnTo>
                      <a:pt x="563" y="549"/>
                    </a:lnTo>
                    <a:lnTo>
                      <a:pt x="562" y="549"/>
                    </a:lnTo>
                    <a:lnTo>
                      <a:pt x="563" y="549"/>
                    </a:lnTo>
                    <a:lnTo>
                      <a:pt x="564" y="549"/>
                    </a:lnTo>
                    <a:lnTo>
                      <a:pt x="564" y="550"/>
                    </a:lnTo>
                    <a:lnTo>
                      <a:pt x="563" y="550"/>
                    </a:lnTo>
                    <a:lnTo>
                      <a:pt x="562" y="551"/>
                    </a:lnTo>
                    <a:lnTo>
                      <a:pt x="561" y="551"/>
                    </a:lnTo>
                    <a:lnTo>
                      <a:pt x="561" y="552"/>
                    </a:lnTo>
                    <a:lnTo>
                      <a:pt x="560" y="552"/>
                    </a:lnTo>
                    <a:lnTo>
                      <a:pt x="558" y="552"/>
                    </a:lnTo>
                    <a:lnTo>
                      <a:pt x="557" y="552"/>
                    </a:lnTo>
                    <a:lnTo>
                      <a:pt x="556" y="552"/>
                    </a:lnTo>
                    <a:lnTo>
                      <a:pt x="557" y="552"/>
                    </a:lnTo>
                    <a:lnTo>
                      <a:pt x="558" y="552"/>
                    </a:lnTo>
                    <a:lnTo>
                      <a:pt x="558" y="551"/>
                    </a:lnTo>
                    <a:lnTo>
                      <a:pt x="560" y="551"/>
                    </a:lnTo>
                    <a:lnTo>
                      <a:pt x="561" y="550"/>
                    </a:lnTo>
                    <a:lnTo>
                      <a:pt x="562" y="549"/>
                    </a:lnTo>
                    <a:lnTo>
                      <a:pt x="562" y="547"/>
                    </a:lnTo>
                    <a:lnTo>
                      <a:pt x="563" y="547"/>
                    </a:lnTo>
                    <a:lnTo>
                      <a:pt x="564" y="547"/>
                    </a:lnTo>
                    <a:lnTo>
                      <a:pt x="563" y="547"/>
                    </a:lnTo>
                    <a:close/>
                    <a:moveTo>
                      <a:pt x="446" y="640"/>
                    </a:moveTo>
                    <a:lnTo>
                      <a:pt x="446" y="641"/>
                    </a:lnTo>
                    <a:lnTo>
                      <a:pt x="445" y="641"/>
                    </a:lnTo>
                    <a:lnTo>
                      <a:pt x="445" y="642"/>
                    </a:lnTo>
                    <a:lnTo>
                      <a:pt x="444" y="642"/>
                    </a:lnTo>
                    <a:lnTo>
                      <a:pt x="444" y="643"/>
                    </a:lnTo>
                    <a:lnTo>
                      <a:pt x="441" y="646"/>
                    </a:lnTo>
                    <a:lnTo>
                      <a:pt x="440" y="646"/>
                    </a:lnTo>
                    <a:lnTo>
                      <a:pt x="439" y="646"/>
                    </a:lnTo>
                    <a:lnTo>
                      <a:pt x="439" y="645"/>
                    </a:lnTo>
                    <a:lnTo>
                      <a:pt x="440" y="645"/>
                    </a:lnTo>
                    <a:lnTo>
                      <a:pt x="440" y="644"/>
                    </a:lnTo>
                    <a:lnTo>
                      <a:pt x="441" y="644"/>
                    </a:lnTo>
                    <a:lnTo>
                      <a:pt x="441" y="643"/>
                    </a:lnTo>
                    <a:lnTo>
                      <a:pt x="441" y="644"/>
                    </a:lnTo>
                    <a:lnTo>
                      <a:pt x="442" y="644"/>
                    </a:lnTo>
                    <a:lnTo>
                      <a:pt x="442" y="643"/>
                    </a:lnTo>
                    <a:lnTo>
                      <a:pt x="442" y="644"/>
                    </a:lnTo>
                    <a:lnTo>
                      <a:pt x="442" y="643"/>
                    </a:lnTo>
                    <a:lnTo>
                      <a:pt x="444" y="643"/>
                    </a:lnTo>
                    <a:lnTo>
                      <a:pt x="444" y="642"/>
                    </a:lnTo>
                    <a:lnTo>
                      <a:pt x="444" y="641"/>
                    </a:lnTo>
                    <a:lnTo>
                      <a:pt x="445" y="641"/>
                    </a:lnTo>
                    <a:lnTo>
                      <a:pt x="445" y="640"/>
                    </a:lnTo>
                    <a:lnTo>
                      <a:pt x="444" y="640"/>
                    </a:lnTo>
                    <a:lnTo>
                      <a:pt x="444" y="641"/>
                    </a:lnTo>
                    <a:lnTo>
                      <a:pt x="442" y="642"/>
                    </a:lnTo>
                    <a:lnTo>
                      <a:pt x="442" y="643"/>
                    </a:lnTo>
                    <a:lnTo>
                      <a:pt x="441" y="643"/>
                    </a:lnTo>
                    <a:lnTo>
                      <a:pt x="441" y="642"/>
                    </a:lnTo>
                    <a:lnTo>
                      <a:pt x="442" y="641"/>
                    </a:lnTo>
                    <a:lnTo>
                      <a:pt x="444" y="641"/>
                    </a:lnTo>
                    <a:lnTo>
                      <a:pt x="445" y="640"/>
                    </a:lnTo>
                    <a:lnTo>
                      <a:pt x="445" y="641"/>
                    </a:lnTo>
                    <a:lnTo>
                      <a:pt x="445" y="642"/>
                    </a:lnTo>
                    <a:lnTo>
                      <a:pt x="445" y="641"/>
                    </a:lnTo>
                    <a:lnTo>
                      <a:pt x="445" y="640"/>
                    </a:lnTo>
                    <a:lnTo>
                      <a:pt x="445" y="639"/>
                    </a:lnTo>
                    <a:lnTo>
                      <a:pt x="446" y="639"/>
                    </a:lnTo>
                    <a:lnTo>
                      <a:pt x="446" y="640"/>
                    </a:lnTo>
                    <a:close/>
                    <a:moveTo>
                      <a:pt x="400" y="513"/>
                    </a:moveTo>
                    <a:lnTo>
                      <a:pt x="401" y="513"/>
                    </a:lnTo>
                    <a:lnTo>
                      <a:pt x="402" y="513"/>
                    </a:lnTo>
                    <a:lnTo>
                      <a:pt x="401" y="514"/>
                    </a:lnTo>
                    <a:lnTo>
                      <a:pt x="401" y="515"/>
                    </a:lnTo>
                    <a:lnTo>
                      <a:pt x="401" y="516"/>
                    </a:lnTo>
                    <a:lnTo>
                      <a:pt x="401" y="517"/>
                    </a:lnTo>
                    <a:lnTo>
                      <a:pt x="400" y="517"/>
                    </a:lnTo>
                    <a:lnTo>
                      <a:pt x="399" y="517"/>
                    </a:lnTo>
                    <a:lnTo>
                      <a:pt x="399" y="516"/>
                    </a:lnTo>
                    <a:lnTo>
                      <a:pt x="400" y="516"/>
                    </a:lnTo>
                    <a:lnTo>
                      <a:pt x="401" y="515"/>
                    </a:lnTo>
                    <a:lnTo>
                      <a:pt x="400" y="515"/>
                    </a:lnTo>
                    <a:lnTo>
                      <a:pt x="400" y="514"/>
                    </a:lnTo>
                    <a:lnTo>
                      <a:pt x="399" y="514"/>
                    </a:lnTo>
                    <a:lnTo>
                      <a:pt x="399" y="513"/>
                    </a:lnTo>
                    <a:lnTo>
                      <a:pt x="399" y="512"/>
                    </a:lnTo>
                    <a:lnTo>
                      <a:pt x="400" y="513"/>
                    </a:lnTo>
                    <a:close/>
                    <a:moveTo>
                      <a:pt x="247" y="395"/>
                    </a:moveTo>
                    <a:lnTo>
                      <a:pt x="246" y="395"/>
                    </a:lnTo>
                    <a:lnTo>
                      <a:pt x="246" y="396"/>
                    </a:lnTo>
                    <a:lnTo>
                      <a:pt x="246" y="397"/>
                    </a:lnTo>
                    <a:lnTo>
                      <a:pt x="245" y="397"/>
                    </a:lnTo>
                    <a:lnTo>
                      <a:pt x="244" y="397"/>
                    </a:lnTo>
                    <a:lnTo>
                      <a:pt x="243" y="397"/>
                    </a:lnTo>
                    <a:lnTo>
                      <a:pt x="242" y="397"/>
                    </a:lnTo>
                    <a:lnTo>
                      <a:pt x="243" y="397"/>
                    </a:lnTo>
                    <a:lnTo>
                      <a:pt x="243" y="396"/>
                    </a:lnTo>
                    <a:lnTo>
                      <a:pt x="244" y="396"/>
                    </a:lnTo>
                    <a:lnTo>
                      <a:pt x="245" y="396"/>
                    </a:lnTo>
                    <a:lnTo>
                      <a:pt x="245" y="395"/>
                    </a:lnTo>
                    <a:lnTo>
                      <a:pt x="244" y="395"/>
                    </a:lnTo>
                    <a:lnTo>
                      <a:pt x="243" y="395"/>
                    </a:lnTo>
                    <a:lnTo>
                      <a:pt x="244" y="395"/>
                    </a:lnTo>
                    <a:lnTo>
                      <a:pt x="245" y="395"/>
                    </a:lnTo>
                    <a:lnTo>
                      <a:pt x="245" y="393"/>
                    </a:lnTo>
                    <a:lnTo>
                      <a:pt x="243" y="392"/>
                    </a:lnTo>
                    <a:lnTo>
                      <a:pt x="247" y="393"/>
                    </a:lnTo>
                    <a:lnTo>
                      <a:pt x="247" y="395"/>
                    </a:lnTo>
                    <a:close/>
                    <a:moveTo>
                      <a:pt x="192" y="405"/>
                    </a:moveTo>
                    <a:lnTo>
                      <a:pt x="192" y="406"/>
                    </a:lnTo>
                    <a:lnTo>
                      <a:pt x="192" y="410"/>
                    </a:lnTo>
                    <a:lnTo>
                      <a:pt x="191" y="410"/>
                    </a:lnTo>
                    <a:lnTo>
                      <a:pt x="191" y="411"/>
                    </a:lnTo>
                    <a:lnTo>
                      <a:pt x="191" y="412"/>
                    </a:lnTo>
                    <a:lnTo>
                      <a:pt x="190" y="411"/>
                    </a:lnTo>
                    <a:lnTo>
                      <a:pt x="189" y="411"/>
                    </a:lnTo>
                    <a:lnTo>
                      <a:pt x="188" y="411"/>
                    </a:lnTo>
                    <a:lnTo>
                      <a:pt x="189" y="411"/>
                    </a:lnTo>
                    <a:lnTo>
                      <a:pt x="189" y="410"/>
                    </a:lnTo>
                    <a:lnTo>
                      <a:pt x="190" y="410"/>
                    </a:lnTo>
                    <a:lnTo>
                      <a:pt x="190" y="409"/>
                    </a:lnTo>
                    <a:lnTo>
                      <a:pt x="191" y="408"/>
                    </a:lnTo>
                    <a:lnTo>
                      <a:pt x="190" y="406"/>
                    </a:lnTo>
                    <a:lnTo>
                      <a:pt x="191" y="406"/>
                    </a:lnTo>
                    <a:lnTo>
                      <a:pt x="190" y="406"/>
                    </a:lnTo>
                    <a:lnTo>
                      <a:pt x="191" y="406"/>
                    </a:lnTo>
                    <a:lnTo>
                      <a:pt x="191" y="405"/>
                    </a:lnTo>
                    <a:lnTo>
                      <a:pt x="192" y="405"/>
                    </a:lnTo>
                    <a:close/>
                    <a:moveTo>
                      <a:pt x="502" y="586"/>
                    </a:moveTo>
                    <a:lnTo>
                      <a:pt x="501" y="586"/>
                    </a:lnTo>
                    <a:lnTo>
                      <a:pt x="500" y="586"/>
                    </a:lnTo>
                    <a:lnTo>
                      <a:pt x="500" y="588"/>
                    </a:lnTo>
                    <a:lnTo>
                      <a:pt x="500" y="589"/>
                    </a:lnTo>
                    <a:lnTo>
                      <a:pt x="500" y="590"/>
                    </a:lnTo>
                    <a:lnTo>
                      <a:pt x="500" y="591"/>
                    </a:lnTo>
                    <a:lnTo>
                      <a:pt x="499" y="591"/>
                    </a:lnTo>
                    <a:lnTo>
                      <a:pt x="500" y="591"/>
                    </a:lnTo>
                    <a:lnTo>
                      <a:pt x="500" y="592"/>
                    </a:lnTo>
                    <a:lnTo>
                      <a:pt x="499" y="592"/>
                    </a:lnTo>
                    <a:lnTo>
                      <a:pt x="499" y="591"/>
                    </a:lnTo>
                    <a:lnTo>
                      <a:pt x="498" y="591"/>
                    </a:lnTo>
                    <a:lnTo>
                      <a:pt x="498" y="590"/>
                    </a:lnTo>
                    <a:lnTo>
                      <a:pt x="497" y="588"/>
                    </a:lnTo>
                    <a:lnTo>
                      <a:pt x="498" y="588"/>
                    </a:lnTo>
                    <a:lnTo>
                      <a:pt x="499" y="586"/>
                    </a:lnTo>
                    <a:lnTo>
                      <a:pt x="500" y="586"/>
                    </a:lnTo>
                    <a:lnTo>
                      <a:pt x="501" y="586"/>
                    </a:lnTo>
                    <a:lnTo>
                      <a:pt x="502" y="586"/>
                    </a:lnTo>
                    <a:close/>
                    <a:moveTo>
                      <a:pt x="487" y="505"/>
                    </a:moveTo>
                    <a:lnTo>
                      <a:pt x="486" y="504"/>
                    </a:lnTo>
                    <a:lnTo>
                      <a:pt x="486" y="503"/>
                    </a:lnTo>
                    <a:lnTo>
                      <a:pt x="485" y="502"/>
                    </a:lnTo>
                    <a:lnTo>
                      <a:pt x="485" y="501"/>
                    </a:lnTo>
                    <a:lnTo>
                      <a:pt x="484" y="500"/>
                    </a:lnTo>
                    <a:lnTo>
                      <a:pt x="485" y="499"/>
                    </a:lnTo>
                    <a:lnTo>
                      <a:pt x="486" y="500"/>
                    </a:lnTo>
                    <a:lnTo>
                      <a:pt x="486" y="501"/>
                    </a:lnTo>
                    <a:lnTo>
                      <a:pt x="487" y="502"/>
                    </a:lnTo>
                    <a:lnTo>
                      <a:pt x="488" y="503"/>
                    </a:lnTo>
                    <a:lnTo>
                      <a:pt x="488" y="504"/>
                    </a:lnTo>
                    <a:lnTo>
                      <a:pt x="487" y="505"/>
                    </a:lnTo>
                    <a:close/>
                    <a:moveTo>
                      <a:pt x="543" y="398"/>
                    </a:moveTo>
                    <a:lnTo>
                      <a:pt x="544" y="399"/>
                    </a:lnTo>
                    <a:lnTo>
                      <a:pt x="545" y="399"/>
                    </a:lnTo>
                    <a:lnTo>
                      <a:pt x="545" y="398"/>
                    </a:lnTo>
                    <a:lnTo>
                      <a:pt x="545" y="399"/>
                    </a:lnTo>
                    <a:lnTo>
                      <a:pt x="545" y="400"/>
                    </a:lnTo>
                    <a:lnTo>
                      <a:pt x="545" y="401"/>
                    </a:lnTo>
                    <a:lnTo>
                      <a:pt x="544" y="401"/>
                    </a:lnTo>
                    <a:lnTo>
                      <a:pt x="543" y="403"/>
                    </a:lnTo>
                    <a:lnTo>
                      <a:pt x="542" y="403"/>
                    </a:lnTo>
                    <a:lnTo>
                      <a:pt x="542" y="402"/>
                    </a:lnTo>
                    <a:lnTo>
                      <a:pt x="543" y="401"/>
                    </a:lnTo>
                    <a:lnTo>
                      <a:pt x="543" y="402"/>
                    </a:lnTo>
                    <a:lnTo>
                      <a:pt x="543" y="401"/>
                    </a:lnTo>
                    <a:lnTo>
                      <a:pt x="544" y="401"/>
                    </a:lnTo>
                    <a:lnTo>
                      <a:pt x="544" y="400"/>
                    </a:lnTo>
                    <a:lnTo>
                      <a:pt x="543" y="400"/>
                    </a:lnTo>
                    <a:lnTo>
                      <a:pt x="543" y="399"/>
                    </a:lnTo>
                    <a:lnTo>
                      <a:pt x="543" y="400"/>
                    </a:lnTo>
                    <a:lnTo>
                      <a:pt x="542" y="400"/>
                    </a:lnTo>
                    <a:lnTo>
                      <a:pt x="542" y="399"/>
                    </a:lnTo>
                    <a:lnTo>
                      <a:pt x="542" y="398"/>
                    </a:lnTo>
                    <a:lnTo>
                      <a:pt x="543" y="398"/>
                    </a:lnTo>
                    <a:close/>
                    <a:moveTo>
                      <a:pt x="284" y="206"/>
                    </a:moveTo>
                    <a:lnTo>
                      <a:pt x="285" y="206"/>
                    </a:lnTo>
                    <a:lnTo>
                      <a:pt x="286" y="207"/>
                    </a:lnTo>
                    <a:lnTo>
                      <a:pt x="286" y="206"/>
                    </a:lnTo>
                    <a:lnTo>
                      <a:pt x="286" y="207"/>
                    </a:lnTo>
                    <a:lnTo>
                      <a:pt x="287" y="207"/>
                    </a:lnTo>
                    <a:lnTo>
                      <a:pt x="289" y="207"/>
                    </a:lnTo>
                    <a:lnTo>
                      <a:pt x="287" y="207"/>
                    </a:lnTo>
                    <a:lnTo>
                      <a:pt x="286" y="207"/>
                    </a:lnTo>
                    <a:lnTo>
                      <a:pt x="285" y="207"/>
                    </a:lnTo>
                    <a:lnTo>
                      <a:pt x="284" y="207"/>
                    </a:lnTo>
                    <a:lnTo>
                      <a:pt x="283" y="207"/>
                    </a:lnTo>
                    <a:lnTo>
                      <a:pt x="283" y="208"/>
                    </a:lnTo>
                    <a:lnTo>
                      <a:pt x="282" y="209"/>
                    </a:lnTo>
                    <a:lnTo>
                      <a:pt x="281" y="209"/>
                    </a:lnTo>
                    <a:lnTo>
                      <a:pt x="281" y="210"/>
                    </a:lnTo>
                    <a:lnTo>
                      <a:pt x="281" y="209"/>
                    </a:lnTo>
                    <a:lnTo>
                      <a:pt x="281" y="210"/>
                    </a:lnTo>
                    <a:lnTo>
                      <a:pt x="280" y="210"/>
                    </a:lnTo>
                    <a:lnTo>
                      <a:pt x="280" y="209"/>
                    </a:lnTo>
                    <a:lnTo>
                      <a:pt x="281" y="209"/>
                    </a:lnTo>
                    <a:lnTo>
                      <a:pt x="281" y="208"/>
                    </a:lnTo>
                    <a:lnTo>
                      <a:pt x="282" y="208"/>
                    </a:lnTo>
                    <a:lnTo>
                      <a:pt x="282" y="209"/>
                    </a:lnTo>
                    <a:lnTo>
                      <a:pt x="282" y="208"/>
                    </a:lnTo>
                    <a:lnTo>
                      <a:pt x="283" y="208"/>
                    </a:lnTo>
                    <a:lnTo>
                      <a:pt x="282" y="208"/>
                    </a:lnTo>
                    <a:lnTo>
                      <a:pt x="282" y="207"/>
                    </a:lnTo>
                    <a:lnTo>
                      <a:pt x="283" y="207"/>
                    </a:lnTo>
                    <a:lnTo>
                      <a:pt x="282" y="207"/>
                    </a:lnTo>
                    <a:lnTo>
                      <a:pt x="282" y="206"/>
                    </a:lnTo>
                    <a:lnTo>
                      <a:pt x="282" y="207"/>
                    </a:lnTo>
                    <a:lnTo>
                      <a:pt x="281" y="207"/>
                    </a:lnTo>
                    <a:lnTo>
                      <a:pt x="281" y="206"/>
                    </a:lnTo>
                    <a:lnTo>
                      <a:pt x="282" y="206"/>
                    </a:lnTo>
                    <a:lnTo>
                      <a:pt x="283" y="205"/>
                    </a:lnTo>
                    <a:lnTo>
                      <a:pt x="283" y="206"/>
                    </a:lnTo>
                    <a:lnTo>
                      <a:pt x="284" y="206"/>
                    </a:lnTo>
                    <a:close/>
                    <a:moveTo>
                      <a:pt x="557" y="517"/>
                    </a:moveTo>
                    <a:lnTo>
                      <a:pt x="557" y="518"/>
                    </a:lnTo>
                    <a:lnTo>
                      <a:pt x="557" y="519"/>
                    </a:lnTo>
                    <a:lnTo>
                      <a:pt x="556" y="519"/>
                    </a:lnTo>
                    <a:lnTo>
                      <a:pt x="555" y="519"/>
                    </a:lnTo>
                    <a:lnTo>
                      <a:pt x="555" y="518"/>
                    </a:lnTo>
                    <a:lnTo>
                      <a:pt x="555" y="519"/>
                    </a:lnTo>
                    <a:lnTo>
                      <a:pt x="554" y="519"/>
                    </a:lnTo>
                    <a:lnTo>
                      <a:pt x="553" y="519"/>
                    </a:lnTo>
                    <a:lnTo>
                      <a:pt x="553" y="518"/>
                    </a:lnTo>
                    <a:lnTo>
                      <a:pt x="552" y="518"/>
                    </a:lnTo>
                    <a:lnTo>
                      <a:pt x="553" y="518"/>
                    </a:lnTo>
                    <a:lnTo>
                      <a:pt x="553" y="517"/>
                    </a:lnTo>
                    <a:lnTo>
                      <a:pt x="554" y="517"/>
                    </a:lnTo>
                    <a:lnTo>
                      <a:pt x="555" y="517"/>
                    </a:lnTo>
                    <a:lnTo>
                      <a:pt x="556" y="516"/>
                    </a:lnTo>
                    <a:lnTo>
                      <a:pt x="556" y="517"/>
                    </a:lnTo>
                    <a:lnTo>
                      <a:pt x="557" y="517"/>
                    </a:lnTo>
                    <a:close/>
                    <a:moveTo>
                      <a:pt x="571" y="547"/>
                    </a:moveTo>
                    <a:lnTo>
                      <a:pt x="570" y="547"/>
                    </a:lnTo>
                    <a:lnTo>
                      <a:pt x="570" y="549"/>
                    </a:lnTo>
                    <a:lnTo>
                      <a:pt x="569" y="549"/>
                    </a:lnTo>
                    <a:lnTo>
                      <a:pt x="568" y="549"/>
                    </a:lnTo>
                    <a:lnTo>
                      <a:pt x="567" y="549"/>
                    </a:lnTo>
                    <a:lnTo>
                      <a:pt x="567" y="547"/>
                    </a:lnTo>
                    <a:lnTo>
                      <a:pt x="567" y="546"/>
                    </a:lnTo>
                    <a:lnTo>
                      <a:pt x="568" y="546"/>
                    </a:lnTo>
                    <a:lnTo>
                      <a:pt x="569" y="546"/>
                    </a:lnTo>
                    <a:lnTo>
                      <a:pt x="570" y="546"/>
                    </a:lnTo>
                    <a:lnTo>
                      <a:pt x="571" y="546"/>
                    </a:lnTo>
                    <a:lnTo>
                      <a:pt x="571" y="547"/>
                    </a:lnTo>
                    <a:close/>
                    <a:moveTo>
                      <a:pt x="503" y="552"/>
                    </a:moveTo>
                    <a:lnTo>
                      <a:pt x="503" y="553"/>
                    </a:lnTo>
                    <a:lnTo>
                      <a:pt x="503" y="552"/>
                    </a:lnTo>
                    <a:lnTo>
                      <a:pt x="504" y="552"/>
                    </a:lnTo>
                    <a:lnTo>
                      <a:pt x="504" y="553"/>
                    </a:lnTo>
                    <a:lnTo>
                      <a:pt x="505" y="553"/>
                    </a:lnTo>
                    <a:lnTo>
                      <a:pt x="506" y="553"/>
                    </a:lnTo>
                    <a:lnTo>
                      <a:pt x="505" y="554"/>
                    </a:lnTo>
                    <a:lnTo>
                      <a:pt x="505" y="555"/>
                    </a:lnTo>
                    <a:lnTo>
                      <a:pt x="504" y="555"/>
                    </a:lnTo>
                    <a:lnTo>
                      <a:pt x="504" y="554"/>
                    </a:lnTo>
                    <a:lnTo>
                      <a:pt x="504" y="555"/>
                    </a:lnTo>
                    <a:lnTo>
                      <a:pt x="503" y="554"/>
                    </a:lnTo>
                    <a:lnTo>
                      <a:pt x="503" y="553"/>
                    </a:lnTo>
                    <a:lnTo>
                      <a:pt x="503" y="554"/>
                    </a:lnTo>
                    <a:lnTo>
                      <a:pt x="503" y="553"/>
                    </a:lnTo>
                    <a:lnTo>
                      <a:pt x="502" y="553"/>
                    </a:lnTo>
                    <a:lnTo>
                      <a:pt x="502" y="554"/>
                    </a:lnTo>
                    <a:lnTo>
                      <a:pt x="503" y="554"/>
                    </a:lnTo>
                    <a:lnTo>
                      <a:pt x="503" y="555"/>
                    </a:lnTo>
                    <a:lnTo>
                      <a:pt x="502" y="556"/>
                    </a:lnTo>
                    <a:lnTo>
                      <a:pt x="502" y="555"/>
                    </a:lnTo>
                    <a:lnTo>
                      <a:pt x="502" y="554"/>
                    </a:lnTo>
                    <a:lnTo>
                      <a:pt x="502" y="555"/>
                    </a:lnTo>
                    <a:lnTo>
                      <a:pt x="502" y="554"/>
                    </a:lnTo>
                    <a:lnTo>
                      <a:pt x="501" y="554"/>
                    </a:lnTo>
                    <a:lnTo>
                      <a:pt x="501" y="553"/>
                    </a:lnTo>
                    <a:lnTo>
                      <a:pt x="502" y="553"/>
                    </a:lnTo>
                    <a:lnTo>
                      <a:pt x="502" y="552"/>
                    </a:lnTo>
                    <a:lnTo>
                      <a:pt x="501" y="553"/>
                    </a:lnTo>
                    <a:lnTo>
                      <a:pt x="501" y="552"/>
                    </a:lnTo>
                    <a:lnTo>
                      <a:pt x="502" y="552"/>
                    </a:lnTo>
                    <a:lnTo>
                      <a:pt x="503" y="552"/>
                    </a:lnTo>
                    <a:close/>
                    <a:moveTo>
                      <a:pt x="294" y="393"/>
                    </a:moveTo>
                    <a:lnTo>
                      <a:pt x="294" y="395"/>
                    </a:lnTo>
                    <a:lnTo>
                      <a:pt x="295" y="395"/>
                    </a:lnTo>
                    <a:lnTo>
                      <a:pt x="295" y="396"/>
                    </a:lnTo>
                    <a:lnTo>
                      <a:pt x="294" y="396"/>
                    </a:lnTo>
                    <a:lnTo>
                      <a:pt x="294" y="397"/>
                    </a:lnTo>
                    <a:lnTo>
                      <a:pt x="294" y="398"/>
                    </a:lnTo>
                    <a:lnTo>
                      <a:pt x="294" y="399"/>
                    </a:lnTo>
                    <a:lnTo>
                      <a:pt x="294" y="400"/>
                    </a:lnTo>
                    <a:lnTo>
                      <a:pt x="294" y="401"/>
                    </a:lnTo>
                    <a:lnTo>
                      <a:pt x="293" y="402"/>
                    </a:lnTo>
                    <a:lnTo>
                      <a:pt x="293" y="403"/>
                    </a:lnTo>
                    <a:lnTo>
                      <a:pt x="292" y="403"/>
                    </a:lnTo>
                    <a:lnTo>
                      <a:pt x="291" y="403"/>
                    </a:lnTo>
                    <a:lnTo>
                      <a:pt x="292" y="402"/>
                    </a:lnTo>
                    <a:lnTo>
                      <a:pt x="293" y="401"/>
                    </a:lnTo>
                    <a:lnTo>
                      <a:pt x="293" y="400"/>
                    </a:lnTo>
                    <a:lnTo>
                      <a:pt x="294" y="400"/>
                    </a:lnTo>
                    <a:lnTo>
                      <a:pt x="294" y="399"/>
                    </a:lnTo>
                    <a:lnTo>
                      <a:pt x="294" y="398"/>
                    </a:lnTo>
                    <a:lnTo>
                      <a:pt x="294" y="397"/>
                    </a:lnTo>
                    <a:lnTo>
                      <a:pt x="294" y="396"/>
                    </a:lnTo>
                    <a:lnTo>
                      <a:pt x="293" y="395"/>
                    </a:lnTo>
                    <a:lnTo>
                      <a:pt x="293" y="393"/>
                    </a:lnTo>
                    <a:lnTo>
                      <a:pt x="294" y="393"/>
                    </a:lnTo>
                    <a:lnTo>
                      <a:pt x="294" y="392"/>
                    </a:lnTo>
                    <a:lnTo>
                      <a:pt x="293" y="392"/>
                    </a:lnTo>
                    <a:lnTo>
                      <a:pt x="294" y="392"/>
                    </a:lnTo>
                    <a:lnTo>
                      <a:pt x="294" y="393"/>
                    </a:lnTo>
                    <a:close/>
                    <a:moveTo>
                      <a:pt x="304" y="230"/>
                    </a:moveTo>
                    <a:lnTo>
                      <a:pt x="305" y="230"/>
                    </a:lnTo>
                    <a:lnTo>
                      <a:pt x="306" y="230"/>
                    </a:lnTo>
                    <a:lnTo>
                      <a:pt x="307" y="230"/>
                    </a:lnTo>
                    <a:lnTo>
                      <a:pt x="307" y="231"/>
                    </a:lnTo>
                    <a:lnTo>
                      <a:pt x="308" y="231"/>
                    </a:lnTo>
                    <a:lnTo>
                      <a:pt x="308" y="232"/>
                    </a:lnTo>
                    <a:lnTo>
                      <a:pt x="309" y="232"/>
                    </a:lnTo>
                    <a:lnTo>
                      <a:pt x="310" y="232"/>
                    </a:lnTo>
                    <a:lnTo>
                      <a:pt x="309" y="232"/>
                    </a:lnTo>
                    <a:lnTo>
                      <a:pt x="309" y="233"/>
                    </a:lnTo>
                    <a:lnTo>
                      <a:pt x="308" y="233"/>
                    </a:lnTo>
                    <a:lnTo>
                      <a:pt x="308" y="232"/>
                    </a:lnTo>
                    <a:lnTo>
                      <a:pt x="307" y="232"/>
                    </a:lnTo>
                    <a:lnTo>
                      <a:pt x="307" y="233"/>
                    </a:lnTo>
                    <a:lnTo>
                      <a:pt x="306" y="233"/>
                    </a:lnTo>
                    <a:lnTo>
                      <a:pt x="306" y="232"/>
                    </a:lnTo>
                    <a:lnTo>
                      <a:pt x="306" y="233"/>
                    </a:lnTo>
                    <a:lnTo>
                      <a:pt x="306" y="232"/>
                    </a:lnTo>
                    <a:lnTo>
                      <a:pt x="306" y="231"/>
                    </a:lnTo>
                    <a:lnTo>
                      <a:pt x="306" y="230"/>
                    </a:lnTo>
                    <a:lnTo>
                      <a:pt x="305" y="231"/>
                    </a:lnTo>
                    <a:lnTo>
                      <a:pt x="305" y="230"/>
                    </a:lnTo>
                    <a:lnTo>
                      <a:pt x="304" y="230"/>
                    </a:lnTo>
                    <a:lnTo>
                      <a:pt x="304" y="231"/>
                    </a:lnTo>
                    <a:lnTo>
                      <a:pt x="303" y="231"/>
                    </a:lnTo>
                    <a:lnTo>
                      <a:pt x="303" y="230"/>
                    </a:lnTo>
                    <a:lnTo>
                      <a:pt x="302" y="230"/>
                    </a:lnTo>
                    <a:lnTo>
                      <a:pt x="303" y="230"/>
                    </a:lnTo>
                    <a:lnTo>
                      <a:pt x="304" y="230"/>
                    </a:lnTo>
                    <a:close/>
                    <a:moveTo>
                      <a:pt x="266" y="244"/>
                    </a:moveTo>
                    <a:lnTo>
                      <a:pt x="267" y="244"/>
                    </a:lnTo>
                    <a:lnTo>
                      <a:pt x="266" y="244"/>
                    </a:lnTo>
                    <a:lnTo>
                      <a:pt x="266" y="245"/>
                    </a:lnTo>
                    <a:lnTo>
                      <a:pt x="267" y="246"/>
                    </a:lnTo>
                    <a:lnTo>
                      <a:pt x="266" y="247"/>
                    </a:lnTo>
                    <a:lnTo>
                      <a:pt x="264" y="247"/>
                    </a:lnTo>
                    <a:lnTo>
                      <a:pt x="264" y="246"/>
                    </a:lnTo>
                    <a:lnTo>
                      <a:pt x="264" y="245"/>
                    </a:lnTo>
                    <a:lnTo>
                      <a:pt x="262" y="245"/>
                    </a:lnTo>
                    <a:lnTo>
                      <a:pt x="264" y="245"/>
                    </a:lnTo>
                    <a:lnTo>
                      <a:pt x="264" y="244"/>
                    </a:lnTo>
                    <a:lnTo>
                      <a:pt x="265" y="244"/>
                    </a:lnTo>
                    <a:lnTo>
                      <a:pt x="266" y="244"/>
                    </a:lnTo>
                    <a:close/>
                    <a:moveTo>
                      <a:pt x="193" y="350"/>
                    </a:moveTo>
                    <a:lnTo>
                      <a:pt x="193" y="351"/>
                    </a:lnTo>
                    <a:lnTo>
                      <a:pt x="192" y="351"/>
                    </a:lnTo>
                    <a:lnTo>
                      <a:pt x="192" y="350"/>
                    </a:lnTo>
                    <a:lnTo>
                      <a:pt x="192" y="351"/>
                    </a:lnTo>
                    <a:lnTo>
                      <a:pt x="190" y="353"/>
                    </a:lnTo>
                    <a:lnTo>
                      <a:pt x="189" y="353"/>
                    </a:lnTo>
                    <a:lnTo>
                      <a:pt x="188" y="353"/>
                    </a:lnTo>
                    <a:lnTo>
                      <a:pt x="189" y="353"/>
                    </a:lnTo>
                    <a:lnTo>
                      <a:pt x="189" y="352"/>
                    </a:lnTo>
                    <a:lnTo>
                      <a:pt x="190" y="351"/>
                    </a:lnTo>
                    <a:lnTo>
                      <a:pt x="191" y="350"/>
                    </a:lnTo>
                    <a:lnTo>
                      <a:pt x="193" y="349"/>
                    </a:lnTo>
                    <a:lnTo>
                      <a:pt x="194" y="349"/>
                    </a:lnTo>
                    <a:lnTo>
                      <a:pt x="194" y="350"/>
                    </a:lnTo>
                    <a:lnTo>
                      <a:pt x="193" y="350"/>
                    </a:lnTo>
                    <a:close/>
                    <a:moveTo>
                      <a:pt x="448" y="524"/>
                    </a:moveTo>
                    <a:lnTo>
                      <a:pt x="447" y="524"/>
                    </a:lnTo>
                    <a:lnTo>
                      <a:pt x="447" y="523"/>
                    </a:lnTo>
                    <a:lnTo>
                      <a:pt x="447" y="521"/>
                    </a:lnTo>
                    <a:lnTo>
                      <a:pt x="447" y="520"/>
                    </a:lnTo>
                    <a:lnTo>
                      <a:pt x="447" y="519"/>
                    </a:lnTo>
                    <a:lnTo>
                      <a:pt x="448" y="519"/>
                    </a:lnTo>
                    <a:lnTo>
                      <a:pt x="448" y="518"/>
                    </a:lnTo>
                    <a:lnTo>
                      <a:pt x="448" y="517"/>
                    </a:lnTo>
                    <a:lnTo>
                      <a:pt x="448" y="516"/>
                    </a:lnTo>
                    <a:lnTo>
                      <a:pt x="449" y="516"/>
                    </a:lnTo>
                    <a:lnTo>
                      <a:pt x="450" y="517"/>
                    </a:lnTo>
                    <a:lnTo>
                      <a:pt x="449" y="517"/>
                    </a:lnTo>
                    <a:lnTo>
                      <a:pt x="449" y="518"/>
                    </a:lnTo>
                    <a:lnTo>
                      <a:pt x="449" y="519"/>
                    </a:lnTo>
                    <a:lnTo>
                      <a:pt x="448" y="519"/>
                    </a:lnTo>
                    <a:lnTo>
                      <a:pt x="448" y="520"/>
                    </a:lnTo>
                    <a:lnTo>
                      <a:pt x="448" y="521"/>
                    </a:lnTo>
                    <a:lnTo>
                      <a:pt x="448" y="523"/>
                    </a:lnTo>
                    <a:lnTo>
                      <a:pt x="448" y="524"/>
                    </a:lnTo>
                    <a:close/>
                    <a:moveTo>
                      <a:pt x="229" y="399"/>
                    </a:moveTo>
                    <a:lnTo>
                      <a:pt x="228" y="400"/>
                    </a:lnTo>
                    <a:lnTo>
                      <a:pt x="227" y="400"/>
                    </a:lnTo>
                    <a:lnTo>
                      <a:pt x="228" y="400"/>
                    </a:lnTo>
                    <a:lnTo>
                      <a:pt x="228" y="401"/>
                    </a:lnTo>
                    <a:lnTo>
                      <a:pt x="229" y="401"/>
                    </a:lnTo>
                    <a:lnTo>
                      <a:pt x="230" y="401"/>
                    </a:lnTo>
                    <a:lnTo>
                      <a:pt x="230" y="402"/>
                    </a:lnTo>
                    <a:lnTo>
                      <a:pt x="230" y="403"/>
                    </a:lnTo>
                    <a:lnTo>
                      <a:pt x="230" y="404"/>
                    </a:lnTo>
                    <a:lnTo>
                      <a:pt x="229" y="405"/>
                    </a:lnTo>
                    <a:lnTo>
                      <a:pt x="228" y="405"/>
                    </a:lnTo>
                    <a:lnTo>
                      <a:pt x="229" y="405"/>
                    </a:lnTo>
                    <a:lnTo>
                      <a:pt x="229" y="404"/>
                    </a:lnTo>
                    <a:lnTo>
                      <a:pt x="228" y="404"/>
                    </a:lnTo>
                    <a:lnTo>
                      <a:pt x="228" y="403"/>
                    </a:lnTo>
                    <a:lnTo>
                      <a:pt x="228" y="402"/>
                    </a:lnTo>
                    <a:lnTo>
                      <a:pt x="229" y="402"/>
                    </a:lnTo>
                    <a:lnTo>
                      <a:pt x="229" y="403"/>
                    </a:lnTo>
                    <a:lnTo>
                      <a:pt x="229" y="402"/>
                    </a:lnTo>
                    <a:lnTo>
                      <a:pt x="229" y="401"/>
                    </a:lnTo>
                    <a:lnTo>
                      <a:pt x="228" y="401"/>
                    </a:lnTo>
                    <a:lnTo>
                      <a:pt x="228" y="402"/>
                    </a:lnTo>
                    <a:lnTo>
                      <a:pt x="228" y="401"/>
                    </a:lnTo>
                    <a:lnTo>
                      <a:pt x="227" y="401"/>
                    </a:lnTo>
                    <a:lnTo>
                      <a:pt x="227" y="400"/>
                    </a:lnTo>
                    <a:lnTo>
                      <a:pt x="227" y="399"/>
                    </a:lnTo>
                    <a:lnTo>
                      <a:pt x="226" y="399"/>
                    </a:lnTo>
                    <a:lnTo>
                      <a:pt x="227" y="399"/>
                    </a:lnTo>
                    <a:lnTo>
                      <a:pt x="228" y="399"/>
                    </a:lnTo>
                    <a:lnTo>
                      <a:pt x="229" y="399"/>
                    </a:lnTo>
                    <a:close/>
                    <a:moveTo>
                      <a:pt x="272" y="215"/>
                    </a:moveTo>
                    <a:lnTo>
                      <a:pt x="273" y="215"/>
                    </a:lnTo>
                    <a:lnTo>
                      <a:pt x="273" y="216"/>
                    </a:lnTo>
                    <a:lnTo>
                      <a:pt x="273" y="217"/>
                    </a:lnTo>
                    <a:lnTo>
                      <a:pt x="273" y="218"/>
                    </a:lnTo>
                    <a:lnTo>
                      <a:pt x="273" y="217"/>
                    </a:lnTo>
                    <a:lnTo>
                      <a:pt x="272" y="217"/>
                    </a:lnTo>
                    <a:lnTo>
                      <a:pt x="271" y="217"/>
                    </a:lnTo>
                    <a:lnTo>
                      <a:pt x="271" y="218"/>
                    </a:lnTo>
                    <a:lnTo>
                      <a:pt x="270" y="218"/>
                    </a:lnTo>
                    <a:lnTo>
                      <a:pt x="269" y="218"/>
                    </a:lnTo>
                    <a:lnTo>
                      <a:pt x="268" y="218"/>
                    </a:lnTo>
                    <a:lnTo>
                      <a:pt x="268" y="217"/>
                    </a:lnTo>
                    <a:lnTo>
                      <a:pt x="269" y="217"/>
                    </a:lnTo>
                    <a:lnTo>
                      <a:pt x="270" y="216"/>
                    </a:lnTo>
                    <a:lnTo>
                      <a:pt x="271" y="215"/>
                    </a:lnTo>
                    <a:lnTo>
                      <a:pt x="272" y="215"/>
                    </a:lnTo>
                    <a:close/>
                    <a:moveTo>
                      <a:pt x="210" y="404"/>
                    </a:moveTo>
                    <a:lnTo>
                      <a:pt x="212" y="404"/>
                    </a:lnTo>
                    <a:lnTo>
                      <a:pt x="210" y="405"/>
                    </a:lnTo>
                    <a:lnTo>
                      <a:pt x="212" y="405"/>
                    </a:lnTo>
                    <a:lnTo>
                      <a:pt x="213" y="405"/>
                    </a:lnTo>
                    <a:lnTo>
                      <a:pt x="213" y="404"/>
                    </a:lnTo>
                    <a:lnTo>
                      <a:pt x="213" y="405"/>
                    </a:lnTo>
                    <a:lnTo>
                      <a:pt x="214" y="405"/>
                    </a:lnTo>
                    <a:lnTo>
                      <a:pt x="215" y="405"/>
                    </a:lnTo>
                    <a:lnTo>
                      <a:pt x="215" y="406"/>
                    </a:lnTo>
                    <a:lnTo>
                      <a:pt x="214" y="406"/>
                    </a:lnTo>
                    <a:lnTo>
                      <a:pt x="213" y="406"/>
                    </a:lnTo>
                    <a:lnTo>
                      <a:pt x="212" y="406"/>
                    </a:lnTo>
                    <a:lnTo>
                      <a:pt x="210" y="406"/>
                    </a:lnTo>
                    <a:lnTo>
                      <a:pt x="209" y="406"/>
                    </a:lnTo>
                    <a:lnTo>
                      <a:pt x="210" y="406"/>
                    </a:lnTo>
                    <a:lnTo>
                      <a:pt x="209" y="405"/>
                    </a:lnTo>
                    <a:lnTo>
                      <a:pt x="210" y="404"/>
                    </a:lnTo>
                    <a:close/>
                    <a:moveTo>
                      <a:pt x="235" y="391"/>
                    </a:moveTo>
                    <a:lnTo>
                      <a:pt x="234" y="392"/>
                    </a:lnTo>
                    <a:lnTo>
                      <a:pt x="233" y="393"/>
                    </a:lnTo>
                    <a:lnTo>
                      <a:pt x="232" y="393"/>
                    </a:lnTo>
                    <a:lnTo>
                      <a:pt x="231" y="392"/>
                    </a:lnTo>
                    <a:lnTo>
                      <a:pt x="231" y="391"/>
                    </a:lnTo>
                    <a:lnTo>
                      <a:pt x="231" y="390"/>
                    </a:lnTo>
                    <a:lnTo>
                      <a:pt x="230" y="390"/>
                    </a:lnTo>
                    <a:lnTo>
                      <a:pt x="230" y="389"/>
                    </a:lnTo>
                    <a:lnTo>
                      <a:pt x="230" y="390"/>
                    </a:lnTo>
                    <a:lnTo>
                      <a:pt x="231" y="390"/>
                    </a:lnTo>
                    <a:lnTo>
                      <a:pt x="231" y="391"/>
                    </a:lnTo>
                    <a:lnTo>
                      <a:pt x="232" y="391"/>
                    </a:lnTo>
                    <a:lnTo>
                      <a:pt x="232" y="390"/>
                    </a:lnTo>
                    <a:lnTo>
                      <a:pt x="233" y="390"/>
                    </a:lnTo>
                    <a:lnTo>
                      <a:pt x="233" y="392"/>
                    </a:lnTo>
                    <a:lnTo>
                      <a:pt x="234" y="392"/>
                    </a:lnTo>
                    <a:lnTo>
                      <a:pt x="234" y="391"/>
                    </a:lnTo>
                    <a:lnTo>
                      <a:pt x="235" y="390"/>
                    </a:lnTo>
                    <a:lnTo>
                      <a:pt x="234" y="389"/>
                    </a:lnTo>
                    <a:lnTo>
                      <a:pt x="235" y="389"/>
                    </a:lnTo>
                    <a:lnTo>
                      <a:pt x="235" y="390"/>
                    </a:lnTo>
                    <a:lnTo>
                      <a:pt x="235" y="391"/>
                    </a:lnTo>
                    <a:close/>
                    <a:moveTo>
                      <a:pt x="189" y="413"/>
                    </a:moveTo>
                    <a:lnTo>
                      <a:pt x="190" y="414"/>
                    </a:lnTo>
                    <a:lnTo>
                      <a:pt x="190" y="415"/>
                    </a:lnTo>
                    <a:lnTo>
                      <a:pt x="189" y="415"/>
                    </a:lnTo>
                    <a:lnTo>
                      <a:pt x="189" y="416"/>
                    </a:lnTo>
                    <a:lnTo>
                      <a:pt x="188" y="416"/>
                    </a:lnTo>
                    <a:lnTo>
                      <a:pt x="187" y="416"/>
                    </a:lnTo>
                    <a:lnTo>
                      <a:pt x="187" y="417"/>
                    </a:lnTo>
                    <a:lnTo>
                      <a:pt x="186" y="417"/>
                    </a:lnTo>
                    <a:lnTo>
                      <a:pt x="183" y="416"/>
                    </a:lnTo>
                    <a:lnTo>
                      <a:pt x="183" y="415"/>
                    </a:lnTo>
                    <a:lnTo>
                      <a:pt x="182" y="415"/>
                    </a:lnTo>
                    <a:lnTo>
                      <a:pt x="181" y="415"/>
                    </a:lnTo>
                    <a:lnTo>
                      <a:pt x="180" y="414"/>
                    </a:lnTo>
                    <a:lnTo>
                      <a:pt x="181" y="414"/>
                    </a:lnTo>
                    <a:lnTo>
                      <a:pt x="182" y="415"/>
                    </a:lnTo>
                    <a:lnTo>
                      <a:pt x="183" y="415"/>
                    </a:lnTo>
                    <a:lnTo>
                      <a:pt x="183" y="416"/>
                    </a:lnTo>
                    <a:lnTo>
                      <a:pt x="184" y="416"/>
                    </a:lnTo>
                    <a:lnTo>
                      <a:pt x="184" y="415"/>
                    </a:lnTo>
                    <a:lnTo>
                      <a:pt x="184" y="416"/>
                    </a:lnTo>
                    <a:lnTo>
                      <a:pt x="186" y="416"/>
                    </a:lnTo>
                    <a:lnTo>
                      <a:pt x="184" y="416"/>
                    </a:lnTo>
                    <a:lnTo>
                      <a:pt x="186" y="416"/>
                    </a:lnTo>
                    <a:lnTo>
                      <a:pt x="187" y="416"/>
                    </a:lnTo>
                    <a:lnTo>
                      <a:pt x="188" y="416"/>
                    </a:lnTo>
                    <a:lnTo>
                      <a:pt x="188" y="415"/>
                    </a:lnTo>
                    <a:lnTo>
                      <a:pt x="188" y="414"/>
                    </a:lnTo>
                    <a:lnTo>
                      <a:pt x="188" y="413"/>
                    </a:lnTo>
                    <a:lnTo>
                      <a:pt x="189" y="413"/>
                    </a:lnTo>
                    <a:close/>
                    <a:moveTo>
                      <a:pt x="254" y="262"/>
                    </a:moveTo>
                    <a:lnTo>
                      <a:pt x="254" y="263"/>
                    </a:lnTo>
                    <a:lnTo>
                      <a:pt x="255" y="263"/>
                    </a:lnTo>
                    <a:lnTo>
                      <a:pt x="255" y="264"/>
                    </a:lnTo>
                    <a:lnTo>
                      <a:pt x="254" y="264"/>
                    </a:lnTo>
                    <a:lnTo>
                      <a:pt x="253" y="266"/>
                    </a:lnTo>
                    <a:lnTo>
                      <a:pt x="252" y="264"/>
                    </a:lnTo>
                    <a:lnTo>
                      <a:pt x="251" y="264"/>
                    </a:lnTo>
                    <a:lnTo>
                      <a:pt x="251" y="263"/>
                    </a:lnTo>
                    <a:lnTo>
                      <a:pt x="249" y="263"/>
                    </a:lnTo>
                    <a:lnTo>
                      <a:pt x="248" y="263"/>
                    </a:lnTo>
                    <a:lnTo>
                      <a:pt x="249" y="263"/>
                    </a:lnTo>
                    <a:lnTo>
                      <a:pt x="251" y="263"/>
                    </a:lnTo>
                    <a:lnTo>
                      <a:pt x="252" y="263"/>
                    </a:lnTo>
                    <a:lnTo>
                      <a:pt x="253" y="263"/>
                    </a:lnTo>
                    <a:lnTo>
                      <a:pt x="253" y="262"/>
                    </a:lnTo>
                    <a:lnTo>
                      <a:pt x="254" y="262"/>
                    </a:lnTo>
                    <a:lnTo>
                      <a:pt x="254" y="263"/>
                    </a:lnTo>
                    <a:lnTo>
                      <a:pt x="254" y="262"/>
                    </a:lnTo>
                    <a:close/>
                    <a:moveTo>
                      <a:pt x="156" y="344"/>
                    </a:moveTo>
                    <a:lnTo>
                      <a:pt x="157" y="344"/>
                    </a:lnTo>
                    <a:lnTo>
                      <a:pt x="156" y="344"/>
                    </a:lnTo>
                    <a:lnTo>
                      <a:pt x="157" y="345"/>
                    </a:lnTo>
                    <a:lnTo>
                      <a:pt x="157" y="344"/>
                    </a:lnTo>
                    <a:lnTo>
                      <a:pt x="158" y="344"/>
                    </a:lnTo>
                    <a:lnTo>
                      <a:pt x="160" y="344"/>
                    </a:lnTo>
                    <a:lnTo>
                      <a:pt x="160" y="345"/>
                    </a:lnTo>
                    <a:lnTo>
                      <a:pt x="158" y="345"/>
                    </a:lnTo>
                    <a:lnTo>
                      <a:pt x="157" y="345"/>
                    </a:lnTo>
                    <a:lnTo>
                      <a:pt x="156" y="345"/>
                    </a:lnTo>
                    <a:lnTo>
                      <a:pt x="155" y="345"/>
                    </a:lnTo>
                    <a:lnTo>
                      <a:pt x="155" y="344"/>
                    </a:lnTo>
                    <a:lnTo>
                      <a:pt x="155" y="343"/>
                    </a:lnTo>
                    <a:lnTo>
                      <a:pt x="156" y="343"/>
                    </a:lnTo>
                    <a:lnTo>
                      <a:pt x="156" y="341"/>
                    </a:lnTo>
                    <a:lnTo>
                      <a:pt x="156" y="343"/>
                    </a:lnTo>
                    <a:lnTo>
                      <a:pt x="156" y="344"/>
                    </a:lnTo>
                    <a:close/>
                    <a:moveTo>
                      <a:pt x="538" y="622"/>
                    </a:moveTo>
                    <a:lnTo>
                      <a:pt x="537" y="622"/>
                    </a:lnTo>
                    <a:lnTo>
                      <a:pt x="535" y="621"/>
                    </a:lnTo>
                    <a:lnTo>
                      <a:pt x="533" y="621"/>
                    </a:lnTo>
                    <a:lnTo>
                      <a:pt x="532" y="621"/>
                    </a:lnTo>
                    <a:lnTo>
                      <a:pt x="530" y="620"/>
                    </a:lnTo>
                    <a:lnTo>
                      <a:pt x="529" y="619"/>
                    </a:lnTo>
                    <a:lnTo>
                      <a:pt x="527" y="619"/>
                    </a:lnTo>
                    <a:lnTo>
                      <a:pt x="526" y="619"/>
                    </a:lnTo>
                    <a:lnTo>
                      <a:pt x="526" y="618"/>
                    </a:lnTo>
                    <a:lnTo>
                      <a:pt x="527" y="618"/>
                    </a:lnTo>
                    <a:lnTo>
                      <a:pt x="528" y="619"/>
                    </a:lnTo>
                    <a:lnTo>
                      <a:pt x="531" y="620"/>
                    </a:lnTo>
                    <a:lnTo>
                      <a:pt x="535" y="621"/>
                    </a:lnTo>
                    <a:lnTo>
                      <a:pt x="537" y="621"/>
                    </a:lnTo>
                    <a:lnTo>
                      <a:pt x="538" y="622"/>
                    </a:lnTo>
                    <a:close/>
                    <a:moveTo>
                      <a:pt x="475" y="607"/>
                    </a:moveTo>
                    <a:lnTo>
                      <a:pt x="473" y="604"/>
                    </a:lnTo>
                    <a:lnTo>
                      <a:pt x="474" y="603"/>
                    </a:lnTo>
                    <a:lnTo>
                      <a:pt x="475" y="603"/>
                    </a:lnTo>
                    <a:lnTo>
                      <a:pt x="476" y="604"/>
                    </a:lnTo>
                    <a:lnTo>
                      <a:pt x="476" y="605"/>
                    </a:lnTo>
                    <a:lnTo>
                      <a:pt x="476" y="606"/>
                    </a:lnTo>
                    <a:lnTo>
                      <a:pt x="475" y="606"/>
                    </a:lnTo>
                    <a:lnTo>
                      <a:pt x="475" y="607"/>
                    </a:lnTo>
                    <a:close/>
                    <a:moveTo>
                      <a:pt x="242" y="226"/>
                    </a:moveTo>
                    <a:lnTo>
                      <a:pt x="242" y="225"/>
                    </a:lnTo>
                    <a:lnTo>
                      <a:pt x="243" y="225"/>
                    </a:lnTo>
                    <a:lnTo>
                      <a:pt x="243" y="226"/>
                    </a:lnTo>
                    <a:lnTo>
                      <a:pt x="244" y="226"/>
                    </a:lnTo>
                    <a:lnTo>
                      <a:pt x="245" y="226"/>
                    </a:lnTo>
                    <a:lnTo>
                      <a:pt x="246" y="226"/>
                    </a:lnTo>
                    <a:lnTo>
                      <a:pt x="246" y="228"/>
                    </a:lnTo>
                    <a:lnTo>
                      <a:pt x="247" y="228"/>
                    </a:lnTo>
                    <a:lnTo>
                      <a:pt x="248" y="226"/>
                    </a:lnTo>
                    <a:lnTo>
                      <a:pt x="248" y="228"/>
                    </a:lnTo>
                    <a:lnTo>
                      <a:pt x="249" y="228"/>
                    </a:lnTo>
                    <a:lnTo>
                      <a:pt x="249" y="229"/>
                    </a:lnTo>
                    <a:lnTo>
                      <a:pt x="248" y="228"/>
                    </a:lnTo>
                    <a:lnTo>
                      <a:pt x="247" y="228"/>
                    </a:lnTo>
                    <a:lnTo>
                      <a:pt x="248" y="228"/>
                    </a:lnTo>
                    <a:lnTo>
                      <a:pt x="248" y="229"/>
                    </a:lnTo>
                    <a:lnTo>
                      <a:pt x="247" y="229"/>
                    </a:lnTo>
                    <a:lnTo>
                      <a:pt x="247" y="228"/>
                    </a:lnTo>
                    <a:lnTo>
                      <a:pt x="246" y="228"/>
                    </a:lnTo>
                    <a:lnTo>
                      <a:pt x="247" y="228"/>
                    </a:lnTo>
                    <a:lnTo>
                      <a:pt x="246" y="228"/>
                    </a:lnTo>
                    <a:lnTo>
                      <a:pt x="245" y="228"/>
                    </a:lnTo>
                    <a:lnTo>
                      <a:pt x="244" y="228"/>
                    </a:lnTo>
                    <a:lnTo>
                      <a:pt x="243" y="228"/>
                    </a:lnTo>
                    <a:lnTo>
                      <a:pt x="242" y="228"/>
                    </a:lnTo>
                    <a:lnTo>
                      <a:pt x="242" y="226"/>
                    </a:lnTo>
                    <a:lnTo>
                      <a:pt x="241" y="226"/>
                    </a:lnTo>
                    <a:lnTo>
                      <a:pt x="241" y="225"/>
                    </a:lnTo>
                    <a:lnTo>
                      <a:pt x="242" y="225"/>
                    </a:lnTo>
                    <a:lnTo>
                      <a:pt x="241" y="225"/>
                    </a:lnTo>
                    <a:lnTo>
                      <a:pt x="242" y="225"/>
                    </a:lnTo>
                    <a:lnTo>
                      <a:pt x="242" y="226"/>
                    </a:lnTo>
                    <a:close/>
                    <a:moveTo>
                      <a:pt x="213" y="393"/>
                    </a:moveTo>
                    <a:lnTo>
                      <a:pt x="213" y="395"/>
                    </a:lnTo>
                    <a:lnTo>
                      <a:pt x="213" y="393"/>
                    </a:lnTo>
                    <a:lnTo>
                      <a:pt x="212" y="393"/>
                    </a:lnTo>
                    <a:lnTo>
                      <a:pt x="212" y="392"/>
                    </a:lnTo>
                    <a:lnTo>
                      <a:pt x="210" y="391"/>
                    </a:lnTo>
                    <a:lnTo>
                      <a:pt x="210" y="390"/>
                    </a:lnTo>
                    <a:lnTo>
                      <a:pt x="210" y="389"/>
                    </a:lnTo>
                    <a:lnTo>
                      <a:pt x="212" y="389"/>
                    </a:lnTo>
                    <a:lnTo>
                      <a:pt x="213" y="389"/>
                    </a:lnTo>
                    <a:lnTo>
                      <a:pt x="213" y="390"/>
                    </a:lnTo>
                    <a:lnTo>
                      <a:pt x="213" y="392"/>
                    </a:lnTo>
                    <a:lnTo>
                      <a:pt x="213" y="393"/>
                    </a:lnTo>
                    <a:close/>
                    <a:moveTo>
                      <a:pt x="216" y="379"/>
                    </a:moveTo>
                    <a:lnTo>
                      <a:pt x="215" y="387"/>
                    </a:lnTo>
                    <a:lnTo>
                      <a:pt x="215" y="388"/>
                    </a:lnTo>
                    <a:lnTo>
                      <a:pt x="214" y="388"/>
                    </a:lnTo>
                    <a:lnTo>
                      <a:pt x="214" y="387"/>
                    </a:lnTo>
                    <a:lnTo>
                      <a:pt x="215" y="380"/>
                    </a:lnTo>
                    <a:lnTo>
                      <a:pt x="216" y="380"/>
                    </a:lnTo>
                    <a:lnTo>
                      <a:pt x="216" y="379"/>
                    </a:lnTo>
                    <a:close/>
                    <a:moveTo>
                      <a:pt x="525" y="618"/>
                    </a:moveTo>
                    <a:lnTo>
                      <a:pt x="525" y="619"/>
                    </a:lnTo>
                    <a:lnTo>
                      <a:pt x="525" y="618"/>
                    </a:lnTo>
                    <a:lnTo>
                      <a:pt x="524" y="618"/>
                    </a:lnTo>
                    <a:lnTo>
                      <a:pt x="523" y="617"/>
                    </a:lnTo>
                    <a:lnTo>
                      <a:pt x="523" y="616"/>
                    </a:lnTo>
                    <a:lnTo>
                      <a:pt x="523" y="615"/>
                    </a:lnTo>
                    <a:lnTo>
                      <a:pt x="524" y="615"/>
                    </a:lnTo>
                    <a:lnTo>
                      <a:pt x="525" y="615"/>
                    </a:lnTo>
                    <a:lnTo>
                      <a:pt x="525" y="616"/>
                    </a:lnTo>
                    <a:lnTo>
                      <a:pt x="525" y="617"/>
                    </a:lnTo>
                    <a:lnTo>
                      <a:pt x="525" y="618"/>
                    </a:lnTo>
                    <a:close/>
                    <a:moveTo>
                      <a:pt x="234" y="216"/>
                    </a:moveTo>
                    <a:lnTo>
                      <a:pt x="234" y="217"/>
                    </a:lnTo>
                    <a:lnTo>
                      <a:pt x="233" y="217"/>
                    </a:lnTo>
                    <a:lnTo>
                      <a:pt x="234" y="217"/>
                    </a:lnTo>
                    <a:lnTo>
                      <a:pt x="235" y="217"/>
                    </a:lnTo>
                    <a:lnTo>
                      <a:pt x="236" y="217"/>
                    </a:lnTo>
                    <a:lnTo>
                      <a:pt x="236" y="218"/>
                    </a:lnTo>
                    <a:lnTo>
                      <a:pt x="236" y="219"/>
                    </a:lnTo>
                    <a:lnTo>
                      <a:pt x="235" y="218"/>
                    </a:lnTo>
                    <a:lnTo>
                      <a:pt x="234" y="218"/>
                    </a:lnTo>
                    <a:lnTo>
                      <a:pt x="233" y="218"/>
                    </a:lnTo>
                    <a:lnTo>
                      <a:pt x="232" y="218"/>
                    </a:lnTo>
                    <a:lnTo>
                      <a:pt x="231" y="218"/>
                    </a:lnTo>
                    <a:lnTo>
                      <a:pt x="232" y="217"/>
                    </a:lnTo>
                    <a:lnTo>
                      <a:pt x="232" y="218"/>
                    </a:lnTo>
                    <a:lnTo>
                      <a:pt x="232" y="217"/>
                    </a:lnTo>
                    <a:lnTo>
                      <a:pt x="232" y="216"/>
                    </a:lnTo>
                    <a:lnTo>
                      <a:pt x="232" y="217"/>
                    </a:lnTo>
                    <a:lnTo>
                      <a:pt x="232" y="216"/>
                    </a:lnTo>
                    <a:lnTo>
                      <a:pt x="233" y="216"/>
                    </a:lnTo>
                    <a:lnTo>
                      <a:pt x="234" y="216"/>
                    </a:lnTo>
                    <a:close/>
                    <a:moveTo>
                      <a:pt x="300" y="383"/>
                    </a:moveTo>
                    <a:lnTo>
                      <a:pt x="300" y="384"/>
                    </a:lnTo>
                    <a:lnTo>
                      <a:pt x="300" y="385"/>
                    </a:lnTo>
                    <a:lnTo>
                      <a:pt x="302" y="385"/>
                    </a:lnTo>
                    <a:lnTo>
                      <a:pt x="300" y="385"/>
                    </a:lnTo>
                    <a:lnTo>
                      <a:pt x="300" y="386"/>
                    </a:lnTo>
                    <a:lnTo>
                      <a:pt x="300" y="387"/>
                    </a:lnTo>
                    <a:lnTo>
                      <a:pt x="300" y="386"/>
                    </a:lnTo>
                    <a:lnTo>
                      <a:pt x="299" y="386"/>
                    </a:lnTo>
                    <a:lnTo>
                      <a:pt x="299" y="387"/>
                    </a:lnTo>
                    <a:lnTo>
                      <a:pt x="299" y="386"/>
                    </a:lnTo>
                    <a:lnTo>
                      <a:pt x="298" y="386"/>
                    </a:lnTo>
                    <a:lnTo>
                      <a:pt x="299" y="386"/>
                    </a:lnTo>
                    <a:lnTo>
                      <a:pt x="299" y="385"/>
                    </a:lnTo>
                    <a:lnTo>
                      <a:pt x="298" y="385"/>
                    </a:lnTo>
                    <a:lnTo>
                      <a:pt x="298" y="384"/>
                    </a:lnTo>
                    <a:lnTo>
                      <a:pt x="299" y="384"/>
                    </a:lnTo>
                    <a:lnTo>
                      <a:pt x="300" y="384"/>
                    </a:lnTo>
                    <a:lnTo>
                      <a:pt x="300" y="383"/>
                    </a:lnTo>
                    <a:lnTo>
                      <a:pt x="299" y="383"/>
                    </a:lnTo>
                    <a:lnTo>
                      <a:pt x="300" y="382"/>
                    </a:lnTo>
                    <a:lnTo>
                      <a:pt x="302" y="382"/>
                    </a:lnTo>
                    <a:lnTo>
                      <a:pt x="302" y="383"/>
                    </a:lnTo>
                    <a:lnTo>
                      <a:pt x="300" y="383"/>
                    </a:lnTo>
                    <a:close/>
                    <a:moveTo>
                      <a:pt x="235" y="223"/>
                    </a:moveTo>
                    <a:lnTo>
                      <a:pt x="235" y="224"/>
                    </a:lnTo>
                    <a:lnTo>
                      <a:pt x="235" y="223"/>
                    </a:lnTo>
                    <a:lnTo>
                      <a:pt x="235" y="224"/>
                    </a:lnTo>
                    <a:lnTo>
                      <a:pt x="236" y="224"/>
                    </a:lnTo>
                    <a:lnTo>
                      <a:pt x="236" y="225"/>
                    </a:lnTo>
                    <a:lnTo>
                      <a:pt x="238" y="224"/>
                    </a:lnTo>
                    <a:lnTo>
                      <a:pt x="238" y="225"/>
                    </a:lnTo>
                    <a:lnTo>
                      <a:pt x="238" y="226"/>
                    </a:lnTo>
                    <a:lnTo>
                      <a:pt x="236" y="225"/>
                    </a:lnTo>
                    <a:lnTo>
                      <a:pt x="235" y="225"/>
                    </a:lnTo>
                    <a:lnTo>
                      <a:pt x="235" y="224"/>
                    </a:lnTo>
                    <a:lnTo>
                      <a:pt x="234" y="224"/>
                    </a:lnTo>
                    <a:lnTo>
                      <a:pt x="235" y="224"/>
                    </a:lnTo>
                    <a:lnTo>
                      <a:pt x="235" y="225"/>
                    </a:lnTo>
                    <a:lnTo>
                      <a:pt x="234" y="225"/>
                    </a:lnTo>
                    <a:lnTo>
                      <a:pt x="233" y="225"/>
                    </a:lnTo>
                    <a:lnTo>
                      <a:pt x="233" y="224"/>
                    </a:lnTo>
                    <a:lnTo>
                      <a:pt x="233" y="223"/>
                    </a:lnTo>
                    <a:lnTo>
                      <a:pt x="234" y="223"/>
                    </a:lnTo>
                    <a:lnTo>
                      <a:pt x="234" y="222"/>
                    </a:lnTo>
                    <a:lnTo>
                      <a:pt x="234" y="221"/>
                    </a:lnTo>
                    <a:lnTo>
                      <a:pt x="235" y="221"/>
                    </a:lnTo>
                    <a:lnTo>
                      <a:pt x="236" y="222"/>
                    </a:lnTo>
                    <a:lnTo>
                      <a:pt x="235" y="222"/>
                    </a:lnTo>
                    <a:lnTo>
                      <a:pt x="235" y="223"/>
                    </a:lnTo>
                    <a:close/>
                    <a:moveTo>
                      <a:pt x="273" y="213"/>
                    </a:moveTo>
                    <a:lnTo>
                      <a:pt x="274" y="213"/>
                    </a:lnTo>
                    <a:lnTo>
                      <a:pt x="276" y="213"/>
                    </a:lnTo>
                    <a:lnTo>
                      <a:pt x="277" y="213"/>
                    </a:lnTo>
                    <a:lnTo>
                      <a:pt x="278" y="213"/>
                    </a:lnTo>
                    <a:lnTo>
                      <a:pt x="279" y="213"/>
                    </a:lnTo>
                    <a:lnTo>
                      <a:pt x="279" y="215"/>
                    </a:lnTo>
                    <a:lnTo>
                      <a:pt x="280" y="215"/>
                    </a:lnTo>
                    <a:lnTo>
                      <a:pt x="281" y="215"/>
                    </a:lnTo>
                    <a:lnTo>
                      <a:pt x="280" y="216"/>
                    </a:lnTo>
                    <a:lnTo>
                      <a:pt x="279" y="215"/>
                    </a:lnTo>
                    <a:lnTo>
                      <a:pt x="278" y="215"/>
                    </a:lnTo>
                    <a:lnTo>
                      <a:pt x="277" y="215"/>
                    </a:lnTo>
                    <a:lnTo>
                      <a:pt x="276" y="213"/>
                    </a:lnTo>
                    <a:lnTo>
                      <a:pt x="274" y="213"/>
                    </a:lnTo>
                    <a:lnTo>
                      <a:pt x="273" y="213"/>
                    </a:lnTo>
                    <a:lnTo>
                      <a:pt x="272" y="213"/>
                    </a:lnTo>
                    <a:lnTo>
                      <a:pt x="272" y="215"/>
                    </a:lnTo>
                    <a:lnTo>
                      <a:pt x="272" y="213"/>
                    </a:lnTo>
                    <a:lnTo>
                      <a:pt x="272" y="212"/>
                    </a:lnTo>
                    <a:lnTo>
                      <a:pt x="273" y="213"/>
                    </a:lnTo>
                    <a:close/>
                    <a:moveTo>
                      <a:pt x="168" y="348"/>
                    </a:moveTo>
                    <a:lnTo>
                      <a:pt x="168" y="349"/>
                    </a:lnTo>
                    <a:lnTo>
                      <a:pt x="167" y="350"/>
                    </a:lnTo>
                    <a:lnTo>
                      <a:pt x="167" y="349"/>
                    </a:lnTo>
                    <a:lnTo>
                      <a:pt x="166" y="349"/>
                    </a:lnTo>
                    <a:lnTo>
                      <a:pt x="166" y="350"/>
                    </a:lnTo>
                    <a:lnTo>
                      <a:pt x="166" y="351"/>
                    </a:lnTo>
                    <a:lnTo>
                      <a:pt x="165" y="351"/>
                    </a:lnTo>
                    <a:lnTo>
                      <a:pt x="164" y="351"/>
                    </a:lnTo>
                    <a:lnTo>
                      <a:pt x="164" y="350"/>
                    </a:lnTo>
                    <a:lnTo>
                      <a:pt x="165" y="350"/>
                    </a:lnTo>
                    <a:lnTo>
                      <a:pt x="166" y="349"/>
                    </a:lnTo>
                    <a:lnTo>
                      <a:pt x="166" y="348"/>
                    </a:lnTo>
                    <a:lnTo>
                      <a:pt x="167" y="348"/>
                    </a:lnTo>
                    <a:lnTo>
                      <a:pt x="167" y="347"/>
                    </a:lnTo>
                    <a:lnTo>
                      <a:pt x="168" y="347"/>
                    </a:lnTo>
                    <a:lnTo>
                      <a:pt x="168" y="348"/>
                    </a:lnTo>
                    <a:close/>
                    <a:moveTo>
                      <a:pt x="176" y="406"/>
                    </a:moveTo>
                    <a:lnTo>
                      <a:pt x="176" y="408"/>
                    </a:lnTo>
                    <a:lnTo>
                      <a:pt x="175" y="408"/>
                    </a:lnTo>
                    <a:lnTo>
                      <a:pt x="174" y="408"/>
                    </a:lnTo>
                    <a:lnTo>
                      <a:pt x="174" y="409"/>
                    </a:lnTo>
                    <a:lnTo>
                      <a:pt x="173" y="409"/>
                    </a:lnTo>
                    <a:lnTo>
                      <a:pt x="171" y="409"/>
                    </a:lnTo>
                    <a:lnTo>
                      <a:pt x="171" y="410"/>
                    </a:lnTo>
                    <a:lnTo>
                      <a:pt x="170" y="410"/>
                    </a:lnTo>
                    <a:lnTo>
                      <a:pt x="171" y="410"/>
                    </a:lnTo>
                    <a:lnTo>
                      <a:pt x="173" y="410"/>
                    </a:lnTo>
                    <a:lnTo>
                      <a:pt x="168" y="410"/>
                    </a:lnTo>
                    <a:lnTo>
                      <a:pt x="169" y="410"/>
                    </a:lnTo>
                    <a:lnTo>
                      <a:pt x="169" y="409"/>
                    </a:lnTo>
                    <a:lnTo>
                      <a:pt x="169" y="410"/>
                    </a:lnTo>
                    <a:lnTo>
                      <a:pt x="170" y="409"/>
                    </a:lnTo>
                    <a:lnTo>
                      <a:pt x="170" y="410"/>
                    </a:lnTo>
                    <a:lnTo>
                      <a:pt x="170" y="409"/>
                    </a:lnTo>
                    <a:lnTo>
                      <a:pt x="171" y="409"/>
                    </a:lnTo>
                    <a:lnTo>
                      <a:pt x="171" y="408"/>
                    </a:lnTo>
                    <a:lnTo>
                      <a:pt x="173" y="408"/>
                    </a:lnTo>
                    <a:lnTo>
                      <a:pt x="173" y="409"/>
                    </a:lnTo>
                    <a:lnTo>
                      <a:pt x="174" y="408"/>
                    </a:lnTo>
                    <a:lnTo>
                      <a:pt x="173" y="408"/>
                    </a:lnTo>
                    <a:lnTo>
                      <a:pt x="174" y="408"/>
                    </a:lnTo>
                    <a:lnTo>
                      <a:pt x="173" y="408"/>
                    </a:lnTo>
                    <a:lnTo>
                      <a:pt x="170" y="409"/>
                    </a:lnTo>
                    <a:lnTo>
                      <a:pt x="170" y="408"/>
                    </a:lnTo>
                    <a:lnTo>
                      <a:pt x="173" y="408"/>
                    </a:lnTo>
                    <a:lnTo>
                      <a:pt x="175" y="406"/>
                    </a:lnTo>
                    <a:lnTo>
                      <a:pt x="176" y="406"/>
                    </a:lnTo>
                    <a:close/>
                    <a:moveTo>
                      <a:pt x="556" y="537"/>
                    </a:moveTo>
                    <a:lnTo>
                      <a:pt x="556" y="538"/>
                    </a:lnTo>
                    <a:lnTo>
                      <a:pt x="555" y="538"/>
                    </a:lnTo>
                    <a:lnTo>
                      <a:pt x="555" y="539"/>
                    </a:lnTo>
                    <a:lnTo>
                      <a:pt x="556" y="538"/>
                    </a:lnTo>
                    <a:lnTo>
                      <a:pt x="556" y="539"/>
                    </a:lnTo>
                    <a:lnTo>
                      <a:pt x="556" y="540"/>
                    </a:lnTo>
                    <a:lnTo>
                      <a:pt x="555" y="539"/>
                    </a:lnTo>
                    <a:lnTo>
                      <a:pt x="554" y="539"/>
                    </a:lnTo>
                    <a:lnTo>
                      <a:pt x="554" y="538"/>
                    </a:lnTo>
                    <a:lnTo>
                      <a:pt x="555" y="538"/>
                    </a:lnTo>
                    <a:lnTo>
                      <a:pt x="555" y="537"/>
                    </a:lnTo>
                    <a:lnTo>
                      <a:pt x="554" y="537"/>
                    </a:lnTo>
                    <a:lnTo>
                      <a:pt x="554" y="536"/>
                    </a:lnTo>
                    <a:lnTo>
                      <a:pt x="553" y="536"/>
                    </a:lnTo>
                    <a:lnTo>
                      <a:pt x="554" y="534"/>
                    </a:lnTo>
                    <a:lnTo>
                      <a:pt x="555" y="534"/>
                    </a:lnTo>
                    <a:lnTo>
                      <a:pt x="555" y="536"/>
                    </a:lnTo>
                    <a:lnTo>
                      <a:pt x="556" y="536"/>
                    </a:lnTo>
                    <a:lnTo>
                      <a:pt x="556" y="537"/>
                    </a:lnTo>
                    <a:close/>
                    <a:moveTo>
                      <a:pt x="449" y="511"/>
                    </a:moveTo>
                    <a:lnTo>
                      <a:pt x="450" y="511"/>
                    </a:lnTo>
                    <a:lnTo>
                      <a:pt x="450" y="512"/>
                    </a:lnTo>
                    <a:lnTo>
                      <a:pt x="449" y="511"/>
                    </a:lnTo>
                    <a:lnTo>
                      <a:pt x="449" y="512"/>
                    </a:lnTo>
                    <a:lnTo>
                      <a:pt x="449" y="513"/>
                    </a:lnTo>
                    <a:lnTo>
                      <a:pt x="449" y="514"/>
                    </a:lnTo>
                    <a:lnTo>
                      <a:pt x="450" y="515"/>
                    </a:lnTo>
                    <a:lnTo>
                      <a:pt x="450" y="516"/>
                    </a:lnTo>
                    <a:lnTo>
                      <a:pt x="449" y="516"/>
                    </a:lnTo>
                    <a:lnTo>
                      <a:pt x="449" y="515"/>
                    </a:lnTo>
                    <a:lnTo>
                      <a:pt x="448" y="514"/>
                    </a:lnTo>
                    <a:lnTo>
                      <a:pt x="448" y="513"/>
                    </a:lnTo>
                    <a:lnTo>
                      <a:pt x="448" y="512"/>
                    </a:lnTo>
                    <a:lnTo>
                      <a:pt x="448" y="511"/>
                    </a:lnTo>
                    <a:lnTo>
                      <a:pt x="448" y="510"/>
                    </a:lnTo>
                    <a:lnTo>
                      <a:pt x="449" y="510"/>
                    </a:lnTo>
                    <a:lnTo>
                      <a:pt x="449" y="511"/>
                    </a:lnTo>
                    <a:close/>
                    <a:moveTo>
                      <a:pt x="160" y="350"/>
                    </a:moveTo>
                    <a:lnTo>
                      <a:pt x="161" y="350"/>
                    </a:lnTo>
                    <a:lnTo>
                      <a:pt x="162" y="351"/>
                    </a:lnTo>
                    <a:lnTo>
                      <a:pt x="163" y="351"/>
                    </a:lnTo>
                    <a:lnTo>
                      <a:pt x="162" y="351"/>
                    </a:lnTo>
                    <a:lnTo>
                      <a:pt x="161" y="351"/>
                    </a:lnTo>
                    <a:lnTo>
                      <a:pt x="160" y="351"/>
                    </a:lnTo>
                    <a:lnTo>
                      <a:pt x="158" y="352"/>
                    </a:lnTo>
                    <a:lnTo>
                      <a:pt x="158" y="351"/>
                    </a:lnTo>
                    <a:lnTo>
                      <a:pt x="158" y="350"/>
                    </a:lnTo>
                    <a:lnTo>
                      <a:pt x="157" y="351"/>
                    </a:lnTo>
                    <a:lnTo>
                      <a:pt x="156" y="351"/>
                    </a:lnTo>
                    <a:lnTo>
                      <a:pt x="155" y="351"/>
                    </a:lnTo>
                    <a:lnTo>
                      <a:pt x="156" y="351"/>
                    </a:lnTo>
                    <a:lnTo>
                      <a:pt x="156" y="350"/>
                    </a:lnTo>
                    <a:lnTo>
                      <a:pt x="157" y="350"/>
                    </a:lnTo>
                    <a:lnTo>
                      <a:pt x="158" y="350"/>
                    </a:lnTo>
                    <a:lnTo>
                      <a:pt x="158" y="349"/>
                    </a:lnTo>
                    <a:lnTo>
                      <a:pt x="160" y="350"/>
                    </a:lnTo>
                    <a:close/>
                    <a:moveTo>
                      <a:pt x="418" y="543"/>
                    </a:moveTo>
                    <a:lnTo>
                      <a:pt x="419" y="543"/>
                    </a:lnTo>
                    <a:lnTo>
                      <a:pt x="420" y="543"/>
                    </a:lnTo>
                    <a:lnTo>
                      <a:pt x="420" y="544"/>
                    </a:lnTo>
                    <a:lnTo>
                      <a:pt x="419" y="545"/>
                    </a:lnTo>
                    <a:lnTo>
                      <a:pt x="418" y="545"/>
                    </a:lnTo>
                    <a:lnTo>
                      <a:pt x="419" y="546"/>
                    </a:lnTo>
                    <a:lnTo>
                      <a:pt x="418" y="546"/>
                    </a:lnTo>
                    <a:lnTo>
                      <a:pt x="418" y="547"/>
                    </a:lnTo>
                    <a:lnTo>
                      <a:pt x="416" y="547"/>
                    </a:lnTo>
                    <a:lnTo>
                      <a:pt x="415" y="547"/>
                    </a:lnTo>
                    <a:lnTo>
                      <a:pt x="415" y="546"/>
                    </a:lnTo>
                    <a:lnTo>
                      <a:pt x="415" y="545"/>
                    </a:lnTo>
                    <a:lnTo>
                      <a:pt x="415" y="546"/>
                    </a:lnTo>
                    <a:lnTo>
                      <a:pt x="416" y="546"/>
                    </a:lnTo>
                    <a:lnTo>
                      <a:pt x="418" y="545"/>
                    </a:lnTo>
                    <a:lnTo>
                      <a:pt x="416" y="545"/>
                    </a:lnTo>
                    <a:lnTo>
                      <a:pt x="418" y="545"/>
                    </a:lnTo>
                    <a:lnTo>
                      <a:pt x="418" y="544"/>
                    </a:lnTo>
                    <a:lnTo>
                      <a:pt x="419" y="544"/>
                    </a:lnTo>
                    <a:lnTo>
                      <a:pt x="418" y="544"/>
                    </a:lnTo>
                    <a:lnTo>
                      <a:pt x="418" y="543"/>
                    </a:lnTo>
                    <a:lnTo>
                      <a:pt x="416" y="543"/>
                    </a:lnTo>
                    <a:lnTo>
                      <a:pt x="418" y="543"/>
                    </a:lnTo>
                    <a:close/>
                    <a:moveTo>
                      <a:pt x="454" y="631"/>
                    </a:moveTo>
                    <a:lnTo>
                      <a:pt x="454" y="632"/>
                    </a:lnTo>
                    <a:lnTo>
                      <a:pt x="453" y="633"/>
                    </a:lnTo>
                    <a:lnTo>
                      <a:pt x="452" y="634"/>
                    </a:lnTo>
                    <a:lnTo>
                      <a:pt x="450" y="635"/>
                    </a:lnTo>
                    <a:lnTo>
                      <a:pt x="450" y="636"/>
                    </a:lnTo>
                    <a:lnTo>
                      <a:pt x="449" y="637"/>
                    </a:lnTo>
                    <a:lnTo>
                      <a:pt x="447" y="639"/>
                    </a:lnTo>
                    <a:lnTo>
                      <a:pt x="447" y="640"/>
                    </a:lnTo>
                    <a:lnTo>
                      <a:pt x="446" y="640"/>
                    </a:lnTo>
                    <a:lnTo>
                      <a:pt x="446" y="639"/>
                    </a:lnTo>
                    <a:lnTo>
                      <a:pt x="446" y="637"/>
                    </a:lnTo>
                    <a:lnTo>
                      <a:pt x="447" y="637"/>
                    </a:lnTo>
                    <a:lnTo>
                      <a:pt x="446" y="637"/>
                    </a:lnTo>
                    <a:lnTo>
                      <a:pt x="446" y="639"/>
                    </a:lnTo>
                    <a:lnTo>
                      <a:pt x="447" y="639"/>
                    </a:lnTo>
                    <a:lnTo>
                      <a:pt x="448" y="637"/>
                    </a:lnTo>
                    <a:lnTo>
                      <a:pt x="449" y="637"/>
                    </a:lnTo>
                    <a:lnTo>
                      <a:pt x="449" y="636"/>
                    </a:lnTo>
                    <a:lnTo>
                      <a:pt x="450" y="635"/>
                    </a:lnTo>
                    <a:lnTo>
                      <a:pt x="450" y="634"/>
                    </a:lnTo>
                    <a:lnTo>
                      <a:pt x="451" y="634"/>
                    </a:lnTo>
                    <a:lnTo>
                      <a:pt x="452" y="634"/>
                    </a:lnTo>
                    <a:lnTo>
                      <a:pt x="453" y="632"/>
                    </a:lnTo>
                    <a:lnTo>
                      <a:pt x="454" y="632"/>
                    </a:lnTo>
                    <a:lnTo>
                      <a:pt x="454" y="631"/>
                    </a:lnTo>
                    <a:close/>
                    <a:moveTo>
                      <a:pt x="260" y="224"/>
                    </a:moveTo>
                    <a:lnTo>
                      <a:pt x="260" y="225"/>
                    </a:lnTo>
                    <a:lnTo>
                      <a:pt x="259" y="225"/>
                    </a:lnTo>
                    <a:lnTo>
                      <a:pt x="258" y="225"/>
                    </a:lnTo>
                    <a:lnTo>
                      <a:pt x="257" y="226"/>
                    </a:lnTo>
                    <a:lnTo>
                      <a:pt x="257" y="225"/>
                    </a:lnTo>
                    <a:lnTo>
                      <a:pt x="257" y="224"/>
                    </a:lnTo>
                    <a:lnTo>
                      <a:pt x="256" y="224"/>
                    </a:lnTo>
                    <a:lnTo>
                      <a:pt x="257" y="224"/>
                    </a:lnTo>
                    <a:lnTo>
                      <a:pt x="258" y="224"/>
                    </a:lnTo>
                    <a:lnTo>
                      <a:pt x="259" y="224"/>
                    </a:lnTo>
                    <a:lnTo>
                      <a:pt x="259" y="223"/>
                    </a:lnTo>
                    <a:lnTo>
                      <a:pt x="260" y="224"/>
                    </a:lnTo>
                    <a:close/>
                    <a:moveTo>
                      <a:pt x="562" y="428"/>
                    </a:moveTo>
                    <a:lnTo>
                      <a:pt x="562" y="429"/>
                    </a:lnTo>
                    <a:lnTo>
                      <a:pt x="562" y="430"/>
                    </a:lnTo>
                    <a:lnTo>
                      <a:pt x="561" y="430"/>
                    </a:lnTo>
                    <a:lnTo>
                      <a:pt x="560" y="431"/>
                    </a:lnTo>
                    <a:lnTo>
                      <a:pt x="558" y="431"/>
                    </a:lnTo>
                    <a:lnTo>
                      <a:pt x="558" y="430"/>
                    </a:lnTo>
                    <a:lnTo>
                      <a:pt x="560" y="429"/>
                    </a:lnTo>
                    <a:lnTo>
                      <a:pt x="558" y="429"/>
                    </a:lnTo>
                    <a:lnTo>
                      <a:pt x="560" y="428"/>
                    </a:lnTo>
                    <a:lnTo>
                      <a:pt x="561" y="428"/>
                    </a:lnTo>
                    <a:lnTo>
                      <a:pt x="562" y="427"/>
                    </a:lnTo>
                    <a:lnTo>
                      <a:pt x="562" y="428"/>
                    </a:lnTo>
                    <a:close/>
                    <a:moveTo>
                      <a:pt x="101" y="307"/>
                    </a:moveTo>
                    <a:lnTo>
                      <a:pt x="102" y="307"/>
                    </a:lnTo>
                    <a:lnTo>
                      <a:pt x="102" y="308"/>
                    </a:lnTo>
                    <a:lnTo>
                      <a:pt x="101" y="308"/>
                    </a:lnTo>
                    <a:lnTo>
                      <a:pt x="102" y="308"/>
                    </a:lnTo>
                    <a:lnTo>
                      <a:pt x="101" y="308"/>
                    </a:lnTo>
                    <a:lnTo>
                      <a:pt x="101" y="309"/>
                    </a:lnTo>
                    <a:lnTo>
                      <a:pt x="101" y="308"/>
                    </a:lnTo>
                    <a:lnTo>
                      <a:pt x="102" y="308"/>
                    </a:lnTo>
                    <a:lnTo>
                      <a:pt x="101" y="309"/>
                    </a:lnTo>
                    <a:lnTo>
                      <a:pt x="101" y="310"/>
                    </a:lnTo>
                    <a:lnTo>
                      <a:pt x="100" y="310"/>
                    </a:lnTo>
                    <a:lnTo>
                      <a:pt x="100" y="309"/>
                    </a:lnTo>
                    <a:lnTo>
                      <a:pt x="100" y="308"/>
                    </a:lnTo>
                    <a:lnTo>
                      <a:pt x="100" y="307"/>
                    </a:lnTo>
                    <a:lnTo>
                      <a:pt x="101" y="307"/>
                    </a:lnTo>
                    <a:close/>
                    <a:moveTo>
                      <a:pt x="303" y="393"/>
                    </a:moveTo>
                    <a:lnTo>
                      <a:pt x="304" y="393"/>
                    </a:lnTo>
                    <a:lnTo>
                      <a:pt x="304" y="395"/>
                    </a:lnTo>
                    <a:lnTo>
                      <a:pt x="305" y="395"/>
                    </a:lnTo>
                    <a:lnTo>
                      <a:pt x="305" y="396"/>
                    </a:lnTo>
                    <a:lnTo>
                      <a:pt x="304" y="396"/>
                    </a:lnTo>
                    <a:lnTo>
                      <a:pt x="304" y="397"/>
                    </a:lnTo>
                    <a:lnTo>
                      <a:pt x="304" y="398"/>
                    </a:lnTo>
                    <a:lnTo>
                      <a:pt x="303" y="398"/>
                    </a:lnTo>
                    <a:lnTo>
                      <a:pt x="303" y="397"/>
                    </a:lnTo>
                    <a:lnTo>
                      <a:pt x="302" y="397"/>
                    </a:lnTo>
                    <a:lnTo>
                      <a:pt x="303" y="397"/>
                    </a:lnTo>
                    <a:lnTo>
                      <a:pt x="303" y="396"/>
                    </a:lnTo>
                    <a:lnTo>
                      <a:pt x="303" y="395"/>
                    </a:lnTo>
                    <a:lnTo>
                      <a:pt x="303" y="393"/>
                    </a:lnTo>
                    <a:lnTo>
                      <a:pt x="302" y="393"/>
                    </a:lnTo>
                    <a:lnTo>
                      <a:pt x="303" y="393"/>
                    </a:lnTo>
                    <a:lnTo>
                      <a:pt x="303" y="392"/>
                    </a:lnTo>
                    <a:lnTo>
                      <a:pt x="303" y="393"/>
                    </a:lnTo>
                    <a:close/>
                    <a:moveTo>
                      <a:pt x="245" y="410"/>
                    </a:moveTo>
                    <a:lnTo>
                      <a:pt x="246" y="410"/>
                    </a:lnTo>
                    <a:lnTo>
                      <a:pt x="246" y="411"/>
                    </a:lnTo>
                    <a:lnTo>
                      <a:pt x="245" y="412"/>
                    </a:lnTo>
                    <a:lnTo>
                      <a:pt x="245" y="413"/>
                    </a:lnTo>
                    <a:lnTo>
                      <a:pt x="245" y="414"/>
                    </a:lnTo>
                    <a:lnTo>
                      <a:pt x="244" y="415"/>
                    </a:lnTo>
                    <a:lnTo>
                      <a:pt x="245" y="416"/>
                    </a:lnTo>
                    <a:lnTo>
                      <a:pt x="244" y="416"/>
                    </a:lnTo>
                    <a:lnTo>
                      <a:pt x="244" y="414"/>
                    </a:lnTo>
                    <a:lnTo>
                      <a:pt x="244" y="413"/>
                    </a:lnTo>
                    <a:lnTo>
                      <a:pt x="244" y="412"/>
                    </a:lnTo>
                    <a:lnTo>
                      <a:pt x="244" y="411"/>
                    </a:lnTo>
                    <a:lnTo>
                      <a:pt x="244" y="410"/>
                    </a:lnTo>
                    <a:lnTo>
                      <a:pt x="245" y="410"/>
                    </a:lnTo>
                    <a:close/>
                    <a:moveTo>
                      <a:pt x="470" y="436"/>
                    </a:moveTo>
                    <a:lnTo>
                      <a:pt x="471" y="436"/>
                    </a:lnTo>
                    <a:lnTo>
                      <a:pt x="471" y="437"/>
                    </a:lnTo>
                    <a:lnTo>
                      <a:pt x="470" y="438"/>
                    </a:lnTo>
                    <a:lnTo>
                      <a:pt x="470" y="439"/>
                    </a:lnTo>
                    <a:lnTo>
                      <a:pt x="468" y="438"/>
                    </a:lnTo>
                    <a:lnTo>
                      <a:pt x="468" y="437"/>
                    </a:lnTo>
                    <a:lnTo>
                      <a:pt x="468" y="438"/>
                    </a:lnTo>
                    <a:lnTo>
                      <a:pt x="467" y="438"/>
                    </a:lnTo>
                    <a:lnTo>
                      <a:pt x="467" y="437"/>
                    </a:lnTo>
                    <a:lnTo>
                      <a:pt x="468" y="437"/>
                    </a:lnTo>
                    <a:lnTo>
                      <a:pt x="467" y="436"/>
                    </a:lnTo>
                    <a:lnTo>
                      <a:pt x="468" y="436"/>
                    </a:lnTo>
                    <a:lnTo>
                      <a:pt x="468" y="435"/>
                    </a:lnTo>
                    <a:lnTo>
                      <a:pt x="468" y="436"/>
                    </a:lnTo>
                    <a:lnTo>
                      <a:pt x="470" y="436"/>
                    </a:lnTo>
                    <a:close/>
                    <a:moveTo>
                      <a:pt x="308" y="386"/>
                    </a:moveTo>
                    <a:lnTo>
                      <a:pt x="308" y="387"/>
                    </a:lnTo>
                    <a:lnTo>
                      <a:pt x="308" y="386"/>
                    </a:lnTo>
                    <a:lnTo>
                      <a:pt x="309" y="387"/>
                    </a:lnTo>
                    <a:lnTo>
                      <a:pt x="309" y="386"/>
                    </a:lnTo>
                    <a:lnTo>
                      <a:pt x="309" y="387"/>
                    </a:lnTo>
                    <a:lnTo>
                      <a:pt x="308" y="387"/>
                    </a:lnTo>
                    <a:lnTo>
                      <a:pt x="307" y="387"/>
                    </a:lnTo>
                    <a:lnTo>
                      <a:pt x="306" y="387"/>
                    </a:lnTo>
                    <a:lnTo>
                      <a:pt x="306" y="386"/>
                    </a:lnTo>
                    <a:lnTo>
                      <a:pt x="305" y="385"/>
                    </a:lnTo>
                    <a:lnTo>
                      <a:pt x="306" y="384"/>
                    </a:lnTo>
                    <a:lnTo>
                      <a:pt x="307" y="384"/>
                    </a:lnTo>
                    <a:lnTo>
                      <a:pt x="307" y="385"/>
                    </a:lnTo>
                    <a:lnTo>
                      <a:pt x="307" y="386"/>
                    </a:lnTo>
                    <a:lnTo>
                      <a:pt x="308" y="386"/>
                    </a:lnTo>
                    <a:close/>
                    <a:moveTo>
                      <a:pt x="448" y="513"/>
                    </a:moveTo>
                    <a:lnTo>
                      <a:pt x="448" y="514"/>
                    </a:lnTo>
                    <a:lnTo>
                      <a:pt x="448" y="516"/>
                    </a:lnTo>
                    <a:lnTo>
                      <a:pt x="447" y="517"/>
                    </a:lnTo>
                    <a:lnTo>
                      <a:pt x="447" y="516"/>
                    </a:lnTo>
                    <a:lnTo>
                      <a:pt x="447" y="515"/>
                    </a:lnTo>
                    <a:lnTo>
                      <a:pt x="447" y="514"/>
                    </a:lnTo>
                    <a:lnTo>
                      <a:pt x="446" y="514"/>
                    </a:lnTo>
                    <a:lnTo>
                      <a:pt x="446" y="515"/>
                    </a:lnTo>
                    <a:lnTo>
                      <a:pt x="446" y="516"/>
                    </a:lnTo>
                    <a:lnTo>
                      <a:pt x="445" y="516"/>
                    </a:lnTo>
                    <a:lnTo>
                      <a:pt x="445" y="515"/>
                    </a:lnTo>
                    <a:lnTo>
                      <a:pt x="446" y="515"/>
                    </a:lnTo>
                    <a:lnTo>
                      <a:pt x="445" y="515"/>
                    </a:lnTo>
                    <a:lnTo>
                      <a:pt x="446" y="515"/>
                    </a:lnTo>
                    <a:lnTo>
                      <a:pt x="446" y="514"/>
                    </a:lnTo>
                    <a:lnTo>
                      <a:pt x="446" y="513"/>
                    </a:lnTo>
                    <a:lnTo>
                      <a:pt x="446" y="512"/>
                    </a:lnTo>
                    <a:lnTo>
                      <a:pt x="447" y="511"/>
                    </a:lnTo>
                    <a:lnTo>
                      <a:pt x="448" y="512"/>
                    </a:lnTo>
                    <a:lnTo>
                      <a:pt x="448" y="513"/>
                    </a:lnTo>
                    <a:close/>
                    <a:moveTo>
                      <a:pt x="319" y="347"/>
                    </a:moveTo>
                    <a:lnTo>
                      <a:pt x="319" y="348"/>
                    </a:lnTo>
                    <a:lnTo>
                      <a:pt x="320" y="348"/>
                    </a:lnTo>
                    <a:lnTo>
                      <a:pt x="320" y="349"/>
                    </a:lnTo>
                    <a:lnTo>
                      <a:pt x="319" y="349"/>
                    </a:lnTo>
                    <a:lnTo>
                      <a:pt x="319" y="350"/>
                    </a:lnTo>
                    <a:lnTo>
                      <a:pt x="318" y="350"/>
                    </a:lnTo>
                    <a:lnTo>
                      <a:pt x="318" y="349"/>
                    </a:lnTo>
                    <a:lnTo>
                      <a:pt x="318" y="348"/>
                    </a:lnTo>
                    <a:lnTo>
                      <a:pt x="318" y="347"/>
                    </a:lnTo>
                    <a:lnTo>
                      <a:pt x="317" y="347"/>
                    </a:lnTo>
                    <a:lnTo>
                      <a:pt x="318" y="346"/>
                    </a:lnTo>
                    <a:lnTo>
                      <a:pt x="319" y="346"/>
                    </a:lnTo>
                    <a:lnTo>
                      <a:pt x="318" y="346"/>
                    </a:lnTo>
                    <a:lnTo>
                      <a:pt x="318" y="347"/>
                    </a:lnTo>
                    <a:lnTo>
                      <a:pt x="319" y="347"/>
                    </a:lnTo>
                    <a:close/>
                    <a:moveTo>
                      <a:pt x="166" y="390"/>
                    </a:moveTo>
                    <a:lnTo>
                      <a:pt x="166" y="391"/>
                    </a:lnTo>
                    <a:lnTo>
                      <a:pt x="165" y="391"/>
                    </a:lnTo>
                    <a:lnTo>
                      <a:pt x="165" y="392"/>
                    </a:lnTo>
                    <a:lnTo>
                      <a:pt x="164" y="392"/>
                    </a:lnTo>
                    <a:lnTo>
                      <a:pt x="163" y="392"/>
                    </a:lnTo>
                    <a:lnTo>
                      <a:pt x="162" y="391"/>
                    </a:lnTo>
                    <a:lnTo>
                      <a:pt x="162" y="390"/>
                    </a:lnTo>
                    <a:lnTo>
                      <a:pt x="163" y="390"/>
                    </a:lnTo>
                    <a:lnTo>
                      <a:pt x="164" y="390"/>
                    </a:lnTo>
                    <a:lnTo>
                      <a:pt x="165" y="390"/>
                    </a:lnTo>
                    <a:lnTo>
                      <a:pt x="166" y="390"/>
                    </a:lnTo>
                    <a:close/>
                    <a:moveTo>
                      <a:pt x="568" y="558"/>
                    </a:moveTo>
                    <a:lnTo>
                      <a:pt x="568" y="559"/>
                    </a:lnTo>
                    <a:lnTo>
                      <a:pt x="568" y="560"/>
                    </a:lnTo>
                    <a:lnTo>
                      <a:pt x="567" y="560"/>
                    </a:lnTo>
                    <a:lnTo>
                      <a:pt x="566" y="560"/>
                    </a:lnTo>
                    <a:lnTo>
                      <a:pt x="566" y="562"/>
                    </a:lnTo>
                    <a:lnTo>
                      <a:pt x="566" y="560"/>
                    </a:lnTo>
                    <a:lnTo>
                      <a:pt x="566" y="559"/>
                    </a:lnTo>
                    <a:lnTo>
                      <a:pt x="566" y="560"/>
                    </a:lnTo>
                    <a:lnTo>
                      <a:pt x="565" y="560"/>
                    </a:lnTo>
                    <a:lnTo>
                      <a:pt x="566" y="560"/>
                    </a:lnTo>
                    <a:lnTo>
                      <a:pt x="566" y="562"/>
                    </a:lnTo>
                    <a:lnTo>
                      <a:pt x="566" y="563"/>
                    </a:lnTo>
                    <a:lnTo>
                      <a:pt x="565" y="563"/>
                    </a:lnTo>
                    <a:lnTo>
                      <a:pt x="565" y="562"/>
                    </a:lnTo>
                    <a:lnTo>
                      <a:pt x="565" y="560"/>
                    </a:lnTo>
                    <a:lnTo>
                      <a:pt x="565" y="559"/>
                    </a:lnTo>
                    <a:lnTo>
                      <a:pt x="566" y="559"/>
                    </a:lnTo>
                    <a:lnTo>
                      <a:pt x="565" y="559"/>
                    </a:lnTo>
                    <a:lnTo>
                      <a:pt x="565" y="558"/>
                    </a:lnTo>
                    <a:lnTo>
                      <a:pt x="566" y="558"/>
                    </a:lnTo>
                    <a:lnTo>
                      <a:pt x="566" y="559"/>
                    </a:lnTo>
                    <a:lnTo>
                      <a:pt x="566" y="558"/>
                    </a:lnTo>
                    <a:lnTo>
                      <a:pt x="567" y="558"/>
                    </a:lnTo>
                    <a:lnTo>
                      <a:pt x="568" y="558"/>
                    </a:lnTo>
                    <a:lnTo>
                      <a:pt x="567" y="558"/>
                    </a:lnTo>
                    <a:lnTo>
                      <a:pt x="568" y="558"/>
                    </a:lnTo>
                    <a:close/>
                    <a:moveTo>
                      <a:pt x="182" y="412"/>
                    </a:moveTo>
                    <a:lnTo>
                      <a:pt x="181" y="412"/>
                    </a:lnTo>
                    <a:lnTo>
                      <a:pt x="180" y="412"/>
                    </a:lnTo>
                    <a:lnTo>
                      <a:pt x="180" y="413"/>
                    </a:lnTo>
                    <a:lnTo>
                      <a:pt x="179" y="413"/>
                    </a:lnTo>
                    <a:lnTo>
                      <a:pt x="179" y="412"/>
                    </a:lnTo>
                    <a:lnTo>
                      <a:pt x="178" y="412"/>
                    </a:lnTo>
                    <a:lnTo>
                      <a:pt x="178" y="413"/>
                    </a:lnTo>
                    <a:lnTo>
                      <a:pt x="179" y="413"/>
                    </a:lnTo>
                    <a:lnTo>
                      <a:pt x="180" y="413"/>
                    </a:lnTo>
                    <a:lnTo>
                      <a:pt x="181" y="413"/>
                    </a:lnTo>
                    <a:lnTo>
                      <a:pt x="182" y="413"/>
                    </a:lnTo>
                    <a:lnTo>
                      <a:pt x="183" y="413"/>
                    </a:lnTo>
                    <a:lnTo>
                      <a:pt x="184" y="413"/>
                    </a:lnTo>
                    <a:lnTo>
                      <a:pt x="184" y="414"/>
                    </a:lnTo>
                    <a:lnTo>
                      <a:pt x="184" y="415"/>
                    </a:lnTo>
                    <a:lnTo>
                      <a:pt x="183" y="415"/>
                    </a:lnTo>
                    <a:lnTo>
                      <a:pt x="184" y="415"/>
                    </a:lnTo>
                    <a:lnTo>
                      <a:pt x="183" y="415"/>
                    </a:lnTo>
                    <a:lnTo>
                      <a:pt x="184" y="415"/>
                    </a:lnTo>
                    <a:lnTo>
                      <a:pt x="184" y="414"/>
                    </a:lnTo>
                    <a:lnTo>
                      <a:pt x="183" y="414"/>
                    </a:lnTo>
                    <a:lnTo>
                      <a:pt x="182" y="414"/>
                    </a:lnTo>
                    <a:lnTo>
                      <a:pt x="181" y="413"/>
                    </a:lnTo>
                    <a:lnTo>
                      <a:pt x="180" y="413"/>
                    </a:lnTo>
                    <a:lnTo>
                      <a:pt x="179" y="414"/>
                    </a:lnTo>
                    <a:lnTo>
                      <a:pt x="180" y="414"/>
                    </a:lnTo>
                    <a:lnTo>
                      <a:pt x="180" y="415"/>
                    </a:lnTo>
                    <a:lnTo>
                      <a:pt x="179" y="414"/>
                    </a:lnTo>
                    <a:lnTo>
                      <a:pt x="178" y="413"/>
                    </a:lnTo>
                    <a:lnTo>
                      <a:pt x="178" y="412"/>
                    </a:lnTo>
                    <a:lnTo>
                      <a:pt x="182" y="412"/>
                    </a:lnTo>
                    <a:close/>
                    <a:moveTo>
                      <a:pt x="102" y="312"/>
                    </a:moveTo>
                    <a:lnTo>
                      <a:pt x="103" y="312"/>
                    </a:lnTo>
                    <a:lnTo>
                      <a:pt x="103" y="313"/>
                    </a:lnTo>
                    <a:lnTo>
                      <a:pt x="103" y="314"/>
                    </a:lnTo>
                    <a:lnTo>
                      <a:pt x="102" y="314"/>
                    </a:lnTo>
                    <a:lnTo>
                      <a:pt x="101" y="314"/>
                    </a:lnTo>
                    <a:lnTo>
                      <a:pt x="100" y="314"/>
                    </a:lnTo>
                    <a:lnTo>
                      <a:pt x="99" y="314"/>
                    </a:lnTo>
                    <a:lnTo>
                      <a:pt x="99" y="313"/>
                    </a:lnTo>
                    <a:lnTo>
                      <a:pt x="100" y="313"/>
                    </a:lnTo>
                    <a:lnTo>
                      <a:pt x="101" y="313"/>
                    </a:lnTo>
                    <a:lnTo>
                      <a:pt x="102" y="312"/>
                    </a:lnTo>
                    <a:lnTo>
                      <a:pt x="101" y="312"/>
                    </a:lnTo>
                    <a:lnTo>
                      <a:pt x="102" y="312"/>
                    </a:lnTo>
                    <a:lnTo>
                      <a:pt x="102" y="311"/>
                    </a:lnTo>
                    <a:lnTo>
                      <a:pt x="102" y="312"/>
                    </a:lnTo>
                    <a:close/>
                    <a:moveTo>
                      <a:pt x="453" y="369"/>
                    </a:moveTo>
                    <a:lnTo>
                      <a:pt x="454" y="369"/>
                    </a:lnTo>
                    <a:lnTo>
                      <a:pt x="454" y="370"/>
                    </a:lnTo>
                    <a:lnTo>
                      <a:pt x="455" y="370"/>
                    </a:lnTo>
                    <a:lnTo>
                      <a:pt x="454" y="371"/>
                    </a:lnTo>
                    <a:lnTo>
                      <a:pt x="454" y="370"/>
                    </a:lnTo>
                    <a:lnTo>
                      <a:pt x="454" y="371"/>
                    </a:lnTo>
                    <a:lnTo>
                      <a:pt x="453" y="370"/>
                    </a:lnTo>
                    <a:lnTo>
                      <a:pt x="452" y="371"/>
                    </a:lnTo>
                    <a:lnTo>
                      <a:pt x="451" y="371"/>
                    </a:lnTo>
                    <a:lnTo>
                      <a:pt x="450" y="370"/>
                    </a:lnTo>
                    <a:lnTo>
                      <a:pt x="450" y="369"/>
                    </a:lnTo>
                    <a:lnTo>
                      <a:pt x="451" y="369"/>
                    </a:lnTo>
                    <a:lnTo>
                      <a:pt x="452" y="369"/>
                    </a:lnTo>
                    <a:lnTo>
                      <a:pt x="453" y="369"/>
                    </a:lnTo>
                    <a:close/>
                    <a:moveTo>
                      <a:pt x="441" y="389"/>
                    </a:moveTo>
                    <a:lnTo>
                      <a:pt x="442" y="389"/>
                    </a:lnTo>
                    <a:lnTo>
                      <a:pt x="442" y="390"/>
                    </a:lnTo>
                    <a:lnTo>
                      <a:pt x="444" y="390"/>
                    </a:lnTo>
                    <a:lnTo>
                      <a:pt x="445" y="390"/>
                    </a:lnTo>
                    <a:lnTo>
                      <a:pt x="444" y="390"/>
                    </a:lnTo>
                    <a:lnTo>
                      <a:pt x="444" y="391"/>
                    </a:lnTo>
                    <a:lnTo>
                      <a:pt x="442" y="392"/>
                    </a:lnTo>
                    <a:lnTo>
                      <a:pt x="442" y="393"/>
                    </a:lnTo>
                    <a:lnTo>
                      <a:pt x="441" y="393"/>
                    </a:lnTo>
                    <a:lnTo>
                      <a:pt x="441" y="392"/>
                    </a:lnTo>
                    <a:lnTo>
                      <a:pt x="441" y="391"/>
                    </a:lnTo>
                    <a:lnTo>
                      <a:pt x="441" y="390"/>
                    </a:lnTo>
                    <a:lnTo>
                      <a:pt x="441" y="391"/>
                    </a:lnTo>
                    <a:lnTo>
                      <a:pt x="441" y="392"/>
                    </a:lnTo>
                    <a:lnTo>
                      <a:pt x="441" y="391"/>
                    </a:lnTo>
                    <a:lnTo>
                      <a:pt x="440" y="391"/>
                    </a:lnTo>
                    <a:lnTo>
                      <a:pt x="441" y="390"/>
                    </a:lnTo>
                    <a:lnTo>
                      <a:pt x="440" y="390"/>
                    </a:lnTo>
                    <a:lnTo>
                      <a:pt x="440" y="389"/>
                    </a:lnTo>
                    <a:lnTo>
                      <a:pt x="441" y="389"/>
                    </a:lnTo>
                    <a:close/>
                    <a:moveTo>
                      <a:pt x="180" y="409"/>
                    </a:moveTo>
                    <a:lnTo>
                      <a:pt x="180" y="410"/>
                    </a:lnTo>
                    <a:lnTo>
                      <a:pt x="178" y="410"/>
                    </a:lnTo>
                    <a:lnTo>
                      <a:pt x="178" y="409"/>
                    </a:lnTo>
                    <a:lnTo>
                      <a:pt x="179" y="409"/>
                    </a:lnTo>
                    <a:lnTo>
                      <a:pt x="179" y="408"/>
                    </a:lnTo>
                    <a:lnTo>
                      <a:pt x="179" y="409"/>
                    </a:lnTo>
                    <a:lnTo>
                      <a:pt x="179" y="410"/>
                    </a:lnTo>
                    <a:lnTo>
                      <a:pt x="179" y="409"/>
                    </a:lnTo>
                    <a:lnTo>
                      <a:pt x="180" y="409"/>
                    </a:lnTo>
                    <a:lnTo>
                      <a:pt x="180" y="408"/>
                    </a:lnTo>
                    <a:lnTo>
                      <a:pt x="181" y="408"/>
                    </a:lnTo>
                    <a:lnTo>
                      <a:pt x="181" y="406"/>
                    </a:lnTo>
                    <a:lnTo>
                      <a:pt x="181" y="405"/>
                    </a:lnTo>
                    <a:lnTo>
                      <a:pt x="181" y="404"/>
                    </a:lnTo>
                    <a:lnTo>
                      <a:pt x="181" y="405"/>
                    </a:lnTo>
                    <a:lnTo>
                      <a:pt x="181" y="406"/>
                    </a:lnTo>
                    <a:lnTo>
                      <a:pt x="182" y="408"/>
                    </a:lnTo>
                    <a:lnTo>
                      <a:pt x="181" y="409"/>
                    </a:lnTo>
                    <a:lnTo>
                      <a:pt x="180" y="409"/>
                    </a:lnTo>
                    <a:close/>
                    <a:moveTo>
                      <a:pt x="292" y="457"/>
                    </a:moveTo>
                    <a:lnTo>
                      <a:pt x="291" y="457"/>
                    </a:lnTo>
                    <a:lnTo>
                      <a:pt x="290" y="456"/>
                    </a:lnTo>
                    <a:lnTo>
                      <a:pt x="287" y="456"/>
                    </a:lnTo>
                    <a:lnTo>
                      <a:pt x="287" y="455"/>
                    </a:lnTo>
                    <a:lnTo>
                      <a:pt x="289" y="454"/>
                    </a:lnTo>
                    <a:lnTo>
                      <a:pt x="290" y="454"/>
                    </a:lnTo>
                    <a:lnTo>
                      <a:pt x="290" y="455"/>
                    </a:lnTo>
                    <a:lnTo>
                      <a:pt x="291" y="455"/>
                    </a:lnTo>
                    <a:lnTo>
                      <a:pt x="291" y="456"/>
                    </a:lnTo>
                    <a:lnTo>
                      <a:pt x="291" y="457"/>
                    </a:lnTo>
                    <a:lnTo>
                      <a:pt x="292" y="457"/>
                    </a:lnTo>
                    <a:close/>
                    <a:moveTo>
                      <a:pt x="432" y="659"/>
                    </a:moveTo>
                    <a:lnTo>
                      <a:pt x="432" y="660"/>
                    </a:lnTo>
                    <a:lnTo>
                      <a:pt x="432" y="661"/>
                    </a:lnTo>
                    <a:lnTo>
                      <a:pt x="431" y="661"/>
                    </a:lnTo>
                    <a:lnTo>
                      <a:pt x="431" y="662"/>
                    </a:lnTo>
                    <a:lnTo>
                      <a:pt x="429" y="663"/>
                    </a:lnTo>
                    <a:lnTo>
                      <a:pt x="428" y="665"/>
                    </a:lnTo>
                    <a:lnTo>
                      <a:pt x="427" y="666"/>
                    </a:lnTo>
                    <a:lnTo>
                      <a:pt x="427" y="667"/>
                    </a:lnTo>
                    <a:lnTo>
                      <a:pt x="426" y="667"/>
                    </a:lnTo>
                    <a:lnTo>
                      <a:pt x="427" y="666"/>
                    </a:lnTo>
                    <a:lnTo>
                      <a:pt x="427" y="665"/>
                    </a:lnTo>
                    <a:lnTo>
                      <a:pt x="427" y="666"/>
                    </a:lnTo>
                    <a:lnTo>
                      <a:pt x="427" y="665"/>
                    </a:lnTo>
                    <a:lnTo>
                      <a:pt x="427" y="663"/>
                    </a:lnTo>
                    <a:lnTo>
                      <a:pt x="427" y="665"/>
                    </a:lnTo>
                    <a:lnTo>
                      <a:pt x="428" y="665"/>
                    </a:lnTo>
                    <a:lnTo>
                      <a:pt x="428" y="663"/>
                    </a:lnTo>
                    <a:lnTo>
                      <a:pt x="429" y="663"/>
                    </a:lnTo>
                    <a:lnTo>
                      <a:pt x="431" y="662"/>
                    </a:lnTo>
                    <a:lnTo>
                      <a:pt x="431" y="661"/>
                    </a:lnTo>
                    <a:lnTo>
                      <a:pt x="431" y="660"/>
                    </a:lnTo>
                    <a:lnTo>
                      <a:pt x="432" y="660"/>
                    </a:lnTo>
                    <a:lnTo>
                      <a:pt x="431" y="660"/>
                    </a:lnTo>
                    <a:lnTo>
                      <a:pt x="429" y="661"/>
                    </a:lnTo>
                    <a:lnTo>
                      <a:pt x="428" y="662"/>
                    </a:lnTo>
                    <a:lnTo>
                      <a:pt x="428" y="663"/>
                    </a:lnTo>
                    <a:lnTo>
                      <a:pt x="427" y="663"/>
                    </a:lnTo>
                    <a:lnTo>
                      <a:pt x="428" y="662"/>
                    </a:lnTo>
                    <a:lnTo>
                      <a:pt x="428" y="661"/>
                    </a:lnTo>
                    <a:lnTo>
                      <a:pt x="429" y="661"/>
                    </a:lnTo>
                    <a:lnTo>
                      <a:pt x="431" y="660"/>
                    </a:lnTo>
                    <a:lnTo>
                      <a:pt x="431" y="659"/>
                    </a:lnTo>
                    <a:lnTo>
                      <a:pt x="431" y="658"/>
                    </a:lnTo>
                    <a:lnTo>
                      <a:pt x="432" y="658"/>
                    </a:lnTo>
                    <a:lnTo>
                      <a:pt x="432" y="659"/>
                    </a:lnTo>
                    <a:close/>
                    <a:moveTo>
                      <a:pt x="150" y="404"/>
                    </a:moveTo>
                    <a:lnTo>
                      <a:pt x="150" y="405"/>
                    </a:lnTo>
                    <a:lnTo>
                      <a:pt x="150" y="406"/>
                    </a:lnTo>
                    <a:lnTo>
                      <a:pt x="149" y="406"/>
                    </a:lnTo>
                    <a:lnTo>
                      <a:pt x="148" y="406"/>
                    </a:lnTo>
                    <a:lnTo>
                      <a:pt x="147" y="406"/>
                    </a:lnTo>
                    <a:lnTo>
                      <a:pt x="147" y="405"/>
                    </a:lnTo>
                    <a:lnTo>
                      <a:pt x="148" y="405"/>
                    </a:lnTo>
                    <a:lnTo>
                      <a:pt x="148" y="404"/>
                    </a:lnTo>
                    <a:lnTo>
                      <a:pt x="149" y="404"/>
                    </a:lnTo>
                    <a:lnTo>
                      <a:pt x="150" y="403"/>
                    </a:lnTo>
                    <a:lnTo>
                      <a:pt x="150" y="404"/>
                    </a:lnTo>
                    <a:close/>
                    <a:moveTo>
                      <a:pt x="154" y="387"/>
                    </a:moveTo>
                    <a:lnTo>
                      <a:pt x="157" y="388"/>
                    </a:lnTo>
                    <a:lnTo>
                      <a:pt x="157" y="389"/>
                    </a:lnTo>
                    <a:lnTo>
                      <a:pt x="157" y="390"/>
                    </a:lnTo>
                    <a:lnTo>
                      <a:pt x="157" y="389"/>
                    </a:lnTo>
                    <a:lnTo>
                      <a:pt x="157" y="388"/>
                    </a:lnTo>
                    <a:lnTo>
                      <a:pt x="160" y="390"/>
                    </a:lnTo>
                    <a:lnTo>
                      <a:pt x="158" y="390"/>
                    </a:lnTo>
                    <a:lnTo>
                      <a:pt x="158" y="391"/>
                    </a:lnTo>
                    <a:lnTo>
                      <a:pt x="157" y="390"/>
                    </a:lnTo>
                    <a:lnTo>
                      <a:pt x="157" y="391"/>
                    </a:lnTo>
                    <a:lnTo>
                      <a:pt x="156" y="391"/>
                    </a:lnTo>
                    <a:lnTo>
                      <a:pt x="155" y="391"/>
                    </a:lnTo>
                    <a:lnTo>
                      <a:pt x="156" y="391"/>
                    </a:lnTo>
                    <a:lnTo>
                      <a:pt x="156" y="390"/>
                    </a:lnTo>
                    <a:lnTo>
                      <a:pt x="157" y="389"/>
                    </a:lnTo>
                    <a:lnTo>
                      <a:pt x="156" y="389"/>
                    </a:lnTo>
                    <a:lnTo>
                      <a:pt x="156" y="388"/>
                    </a:lnTo>
                    <a:lnTo>
                      <a:pt x="155" y="388"/>
                    </a:lnTo>
                    <a:lnTo>
                      <a:pt x="156" y="388"/>
                    </a:lnTo>
                    <a:lnTo>
                      <a:pt x="155" y="388"/>
                    </a:lnTo>
                    <a:lnTo>
                      <a:pt x="155" y="387"/>
                    </a:lnTo>
                    <a:lnTo>
                      <a:pt x="154" y="387"/>
                    </a:lnTo>
                    <a:lnTo>
                      <a:pt x="154" y="386"/>
                    </a:lnTo>
                    <a:lnTo>
                      <a:pt x="154" y="387"/>
                    </a:lnTo>
                    <a:close/>
                    <a:moveTo>
                      <a:pt x="442" y="393"/>
                    </a:moveTo>
                    <a:lnTo>
                      <a:pt x="444" y="393"/>
                    </a:lnTo>
                    <a:lnTo>
                      <a:pt x="445" y="395"/>
                    </a:lnTo>
                    <a:lnTo>
                      <a:pt x="445" y="396"/>
                    </a:lnTo>
                    <a:lnTo>
                      <a:pt x="446" y="396"/>
                    </a:lnTo>
                    <a:lnTo>
                      <a:pt x="445" y="396"/>
                    </a:lnTo>
                    <a:lnTo>
                      <a:pt x="444" y="396"/>
                    </a:lnTo>
                    <a:lnTo>
                      <a:pt x="444" y="395"/>
                    </a:lnTo>
                    <a:lnTo>
                      <a:pt x="442" y="396"/>
                    </a:lnTo>
                    <a:lnTo>
                      <a:pt x="442" y="395"/>
                    </a:lnTo>
                    <a:lnTo>
                      <a:pt x="442" y="396"/>
                    </a:lnTo>
                    <a:lnTo>
                      <a:pt x="441" y="396"/>
                    </a:lnTo>
                    <a:lnTo>
                      <a:pt x="442" y="396"/>
                    </a:lnTo>
                    <a:lnTo>
                      <a:pt x="442" y="397"/>
                    </a:lnTo>
                    <a:lnTo>
                      <a:pt x="441" y="397"/>
                    </a:lnTo>
                    <a:lnTo>
                      <a:pt x="442" y="397"/>
                    </a:lnTo>
                    <a:lnTo>
                      <a:pt x="442" y="398"/>
                    </a:lnTo>
                    <a:lnTo>
                      <a:pt x="441" y="398"/>
                    </a:lnTo>
                    <a:lnTo>
                      <a:pt x="441" y="397"/>
                    </a:lnTo>
                    <a:lnTo>
                      <a:pt x="441" y="396"/>
                    </a:lnTo>
                    <a:lnTo>
                      <a:pt x="441" y="395"/>
                    </a:lnTo>
                    <a:lnTo>
                      <a:pt x="441" y="393"/>
                    </a:lnTo>
                    <a:lnTo>
                      <a:pt x="442" y="393"/>
                    </a:lnTo>
                    <a:lnTo>
                      <a:pt x="442" y="392"/>
                    </a:lnTo>
                    <a:lnTo>
                      <a:pt x="442" y="393"/>
                    </a:lnTo>
                    <a:close/>
                    <a:moveTo>
                      <a:pt x="153" y="388"/>
                    </a:moveTo>
                    <a:lnTo>
                      <a:pt x="153" y="387"/>
                    </a:lnTo>
                    <a:lnTo>
                      <a:pt x="154" y="387"/>
                    </a:lnTo>
                    <a:lnTo>
                      <a:pt x="153" y="388"/>
                    </a:lnTo>
                    <a:lnTo>
                      <a:pt x="154" y="388"/>
                    </a:lnTo>
                    <a:lnTo>
                      <a:pt x="154" y="387"/>
                    </a:lnTo>
                    <a:lnTo>
                      <a:pt x="155" y="387"/>
                    </a:lnTo>
                    <a:lnTo>
                      <a:pt x="155" y="388"/>
                    </a:lnTo>
                    <a:lnTo>
                      <a:pt x="156" y="388"/>
                    </a:lnTo>
                    <a:lnTo>
                      <a:pt x="156" y="389"/>
                    </a:lnTo>
                    <a:lnTo>
                      <a:pt x="156" y="390"/>
                    </a:lnTo>
                    <a:lnTo>
                      <a:pt x="155" y="389"/>
                    </a:lnTo>
                    <a:lnTo>
                      <a:pt x="155" y="390"/>
                    </a:lnTo>
                    <a:lnTo>
                      <a:pt x="155" y="389"/>
                    </a:lnTo>
                    <a:lnTo>
                      <a:pt x="154" y="389"/>
                    </a:lnTo>
                    <a:lnTo>
                      <a:pt x="153" y="389"/>
                    </a:lnTo>
                    <a:lnTo>
                      <a:pt x="154" y="389"/>
                    </a:lnTo>
                    <a:lnTo>
                      <a:pt x="154" y="390"/>
                    </a:lnTo>
                    <a:lnTo>
                      <a:pt x="153" y="390"/>
                    </a:lnTo>
                    <a:lnTo>
                      <a:pt x="153" y="389"/>
                    </a:lnTo>
                    <a:lnTo>
                      <a:pt x="153" y="388"/>
                    </a:lnTo>
                    <a:lnTo>
                      <a:pt x="153" y="387"/>
                    </a:lnTo>
                    <a:lnTo>
                      <a:pt x="153" y="388"/>
                    </a:lnTo>
                    <a:close/>
                    <a:moveTo>
                      <a:pt x="313" y="462"/>
                    </a:moveTo>
                    <a:lnTo>
                      <a:pt x="317" y="463"/>
                    </a:lnTo>
                    <a:lnTo>
                      <a:pt x="317" y="464"/>
                    </a:lnTo>
                    <a:lnTo>
                      <a:pt x="317" y="465"/>
                    </a:lnTo>
                    <a:lnTo>
                      <a:pt x="316" y="465"/>
                    </a:lnTo>
                    <a:lnTo>
                      <a:pt x="316" y="464"/>
                    </a:lnTo>
                    <a:lnTo>
                      <a:pt x="316" y="465"/>
                    </a:lnTo>
                    <a:lnTo>
                      <a:pt x="317" y="465"/>
                    </a:lnTo>
                    <a:lnTo>
                      <a:pt x="317" y="466"/>
                    </a:lnTo>
                    <a:lnTo>
                      <a:pt x="316" y="466"/>
                    </a:lnTo>
                    <a:lnTo>
                      <a:pt x="316" y="465"/>
                    </a:lnTo>
                    <a:lnTo>
                      <a:pt x="315" y="463"/>
                    </a:lnTo>
                    <a:lnTo>
                      <a:pt x="313" y="463"/>
                    </a:lnTo>
                    <a:lnTo>
                      <a:pt x="313" y="462"/>
                    </a:lnTo>
                    <a:lnTo>
                      <a:pt x="312" y="462"/>
                    </a:lnTo>
                    <a:lnTo>
                      <a:pt x="313" y="462"/>
                    </a:lnTo>
                    <a:close/>
                    <a:moveTo>
                      <a:pt x="509" y="551"/>
                    </a:moveTo>
                    <a:lnTo>
                      <a:pt x="509" y="552"/>
                    </a:lnTo>
                    <a:lnTo>
                      <a:pt x="509" y="553"/>
                    </a:lnTo>
                    <a:lnTo>
                      <a:pt x="509" y="554"/>
                    </a:lnTo>
                    <a:lnTo>
                      <a:pt x="509" y="553"/>
                    </a:lnTo>
                    <a:lnTo>
                      <a:pt x="507" y="553"/>
                    </a:lnTo>
                    <a:lnTo>
                      <a:pt x="506" y="553"/>
                    </a:lnTo>
                    <a:lnTo>
                      <a:pt x="506" y="552"/>
                    </a:lnTo>
                    <a:lnTo>
                      <a:pt x="505" y="552"/>
                    </a:lnTo>
                    <a:lnTo>
                      <a:pt x="504" y="553"/>
                    </a:lnTo>
                    <a:lnTo>
                      <a:pt x="504" y="552"/>
                    </a:lnTo>
                    <a:lnTo>
                      <a:pt x="503" y="552"/>
                    </a:lnTo>
                    <a:lnTo>
                      <a:pt x="506" y="552"/>
                    </a:lnTo>
                    <a:lnTo>
                      <a:pt x="507" y="552"/>
                    </a:lnTo>
                    <a:lnTo>
                      <a:pt x="507" y="553"/>
                    </a:lnTo>
                    <a:lnTo>
                      <a:pt x="507" y="552"/>
                    </a:lnTo>
                    <a:lnTo>
                      <a:pt x="506" y="552"/>
                    </a:lnTo>
                    <a:lnTo>
                      <a:pt x="505" y="552"/>
                    </a:lnTo>
                    <a:lnTo>
                      <a:pt x="504" y="552"/>
                    </a:lnTo>
                    <a:lnTo>
                      <a:pt x="504" y="551"/>
                    </a:lnTo>
                    <a:lnTo>
                      <a:pt x="506" y="552"/>
                    </a:lnTo>
                    <a:lnTo>
                      <a:pt x="507" y="552"/>
                    </a:lnTo>
                    <a:lnTo>
                      <a:pt x="509" y="552"/>
                    </a:lnTo>
                    <a:lnTo>
                      <a:pt x="509" y="551"/>
                    </a:lnTo>
                    <a:lnTo>
                      <a:pt x="509" y="550"/>
                    </a:lnTo>
                    <a:lnTo>
                      <a:pt x="507" y="550"/>
                    </a:lnTo>
                    <a:lnTo>
                      <a:pt x="507" y="549"/>
                    </a:lnTo>
                    <a:lnTo>
                      <a:pt x="509" y="549"/>
                    </a:lnTo>
                    <a:lnTo>
                      <a:pt x="509" y="550"/>
                    </a:lnTo>
                    <a:lnTo>
                      <a:pt x="509" y="551"/>
                    </a:lnTo>
                    <a:close/>
                    <a:moveTo>
                      <a:pt x="192" y="413"/>
                    </a:moveTo>
                    <a:lnTo>
                      <a:pt x="192" y="414"/>
                    </a:lnTo>
                    <a:lnTo>
                      <a:pt x="192" y="415"/>
                    </a:lnTo>
                    <a:lnTo>
                      <a:pt x="190" y="414"/>
                    </a:lnTo>
                    <a:lnTo>
                      <a:pt x="190" y="413"/>
                    </a:lnTo>
                    <a:lnTo>
                      <a:pt x="189" y="413"/>
                    </a:lnTo>
                    <a:lnTo>
                      <a:pt x="189" y="412"/>
                    </a:lnTo>
                    <a:lnTo>
                      <a:pt x="188" y="412"/>
                    </a:lnTo>
                    <a:lnTo>
                      <a:pt x="189" y="412"/>
                    </a:lnTo>
                    <a:lnTo>
                      <a:pt x="191" y="412"/>
                    </a:lnTo>
                    <a:lnTo>
                      <a:pt x="192" y="413"/>
                    </a:lnTo>
                    <a:close/>
                    <a:moveTo>
                      <a:pt x="308" y="459"/>
                    </a:moveTo>
                    <a:lnTo>
                      <a:pt x="308" y="460"/>
                    </a:lnTo>
                    <a:lnTo>
                      <a:pt x="307" y="460"/>
                    </a:lnTo>
                    <a:lnTo>
                      <a:pt x="307" y="461"/>
                    </a:lnTo>
                    <a:lnTo>
                      <a:pt x="307" y="462"/>
                    </a:lnTo>
                    <a:lnTo>
                      <a:pt x="303" y="461"/>
                    </a:lnTo>
                    <a:lnTo>
                      <a:pt x="302" y="461"/>
                    </a:lnTo>
                    <a:lnTo>
                      <a:pt x="298" y="460"/>
                    </a:lnTo>
                    <a:lnTo>
                      <a:pt x="302" y="461"/>
                    </a:lnTo>
                    <a:lnTo>
                      <a:pt x="303" y="461"/>
                    </a:lnTo>
                    <a:lnTo>
                      <a:pt x="303" y="460"/>
                    </a:lnTo>
                    <a:lnTo>
                      <a:pt x="303" y="461"/>
                    </a:lnTo>
                    <a:lnTo>
                      <a:pt x="304" y="461"/>
                    </a:lnTo>
                    <a:lnTo>
                      <a:pt x="304" y="460"/>
                    </a:lnTo>
                    <a:lnTo>
                      <a:pt x="304" y="461"/>
                    </a:lnTo>
                    <a:lnTo>
                      <a:pt x="304" y="460"/>
                    </a:lnTo>
                    <a:lnTo>
                      <a:pt x="304" y="461"/>
                    </a:lnTo>
                    <a:lnTo>
                      <a:pt x="305" y="461"/>
                    </a:lnTo>
                    <a:lnTo>
                      <a:pt x="305" y="462"/>
                    </a:lnTo>
                    <a:lnTo>
                      <a:pt x="306" y="462"/>
                    </a:lnTo>
                    <a:lnTo>
                      <a:pt x="306" y="461"/>
                    </a:lnTo>
                    <a:lnTo>
                      <a:pt x="305" y="461"/>
                    </a:lnTo>
                    <a:lnTo>
                      <a:pt x="306" y="461"/>
                    </a:lnTo>
                    <a:lnTo>
                      <a:pt x="306" y="460"/>
                    </a:lnTo>
                    <a:lnTo>
                      <a:pt x="307" y="460"/>
                    </a:lnTo>
                    <a:lnTo>
                      <a:pt x="307" y="459"/>
                    </a:lnTo>
                    <a:lnTo>
                      <a:pt x="308" y="459"/>
                    </a:lnTo>
                    <a:close/>
                    <a:moveTo>
                      <a:pt x="168" y="347"/>
                    </a:moveTo>
                    <a:lnTo>
                      <a:pt x="169" y="347"/>
                    </a:lnTo>
                    <a:lnTo>
                      <a:pt x="170" y="347"/>
                    </a:lnTo>
                    <a:lnTo>
                      <a:pt x="171" y="347"/>
                    </a:lnTo>
                    <a:lnTo>
                      <a:pt x="171" y="348"/>
                    </a:lnTo>
                    <a:lnTo>
                      <a:pt x="171" y="349"/>
                    </a:lnTo>
                    <a:lnTo>
                      <a:pt x="170" y="349"/>
                    </a:lnTo>
                    <a:lnTo>
                      <a:pt x="169" y="350"/>
                    </a:lnTo>
                    <a:lnTo>
                      <a:pt x="168" y="350"/>
                    </a:lnTo>
                    <a:lnTo>
                      <a:pt x="168" y="349"/>
                    </a:lnTo>
                    <a:lnTo>
                      <a:pt x="169" y="349"/>
                    </a:lnTo>
                    <a:lnTo>
                      <a:pt x="169" y="348"/>
                    </a:lnTo>
                    <a:lnTo>
                      <a:pt x="168" y="347"/>
                    </a:lnTo>
                    <a:close/>
                    <a:moveTo>
                      <a:pt x="244" y="429"/>
                    </a:moveTo>
                    <a:lnTo>
                      <a:pt x="245" y="430"/>
                    </a:lnTo>
                    <a:lnTo>
                      <a:pt x="245" y="431"/>
                    </a:lnTo>
                    <a:lnTo>
                      <a:pt x="244" y="430"/>
                    </a:lnTo>
                    <a:lnTo>
                      <a:pt x="243" y="430"/>
                    </a:lnTo>
                    <a:lnTo>
                      <a:pt x="242" y="430"/>
                    </a:lnTo>
                    <a:lnTo>
                      <a:pt x="242" y="429"/>
                    </a:lnTo>
                    <a:lnTo>
                      <a:pt x="242" y="428"/>
                    </a:lnTo>
                    <a:lnTo>
                      <a:pt x="243" y="428"/>
                    </a:lnTo>
                    <a:lnTo>
                      <a:pt x="244" y="428"/>
                    </a:lnTo>
                    <a:lnTo>
                      <a:pt x="244" y="429"/>
                    </a:lnTo>
                    <a:close/>
                    <a:moveTo>
                      <a:pt x="232" y="222"/>
                    </a:moveTo>
                    <a:lnTo>
                      <a:pt x="233" y="222"/>
                    </a:lnTo>
                    <a:lnTo>
                      <a:pt x="232" y="223"/>
                    </a:lnTo>
                    <a:lnTo>
                      <a:pt x="233" y="223"/>
                    </a:lnTo>
                    <a:lnTo>
                      <a:pt x="233" y="224"/>
                    </a:lnTo>
                    <a:lnTo>
                      <a:pt x="233" y="225"/>
                    </a:lnTo>
                    <a:lnTo>
                      <a:pt x="232" y="224"/>
                    </a:lnTo>
                    <a:lnTo>
                      <a:pt x="231" y="224"/>
                    </a:lnTo>
                    <a:lnTo>
                      <a:pt x="230" y="223"/>
                    </a:lnTo>
                    <a:lnTo>
                      <a:pt x="231" y="223"/>
                    </a:lnTo>
                    <a:lnTo>
                      <a:pt x="230" y="223"/>
                    </a:lnTo>
                    <a:lnTo>
                      <a:pt x="231" y="223"/>
                    </a:lnTo>
                    <a:lnTo>
                      <a:pt x="231" y="222"/>
                    </a:lnTo>
                    <a:lnTo>
                      <a:pt x="232" y="222"/>
                    </a:lnTo>
                    <a:lnTo>
                      <a:pt x="232" y="221"/>
                    </a:lnTo>
                    <a:lnTo>
                      <a:pt x="232" y="222"/>
                    </a:lnTo>
                    <a:close/>
                    <a:moveTo>
                      <a:pt x="165" y="347"/>
                    </a:moveTo>
                    <a:lnTo>
                      <a:pt x="166" y="347"/>
                    </a:lnTo>
                    <a:lnTo>
                      <a:pt x="167" y="347"/>
                    </a:lnTo>
                    <a:lnTo>
                      <a:pt x="166" y="347"/>
                    </a:lnTo>
                    <a:lnTo>
                      <a:pt x="166" y="348"/>
                    </a:lnTo>
                    <a:lnTo>
                      <a:pt x="165" y="349"/>
                    </a:lnTo>
                    <a:lnTo>
                      <a:pt x="164" y="350"/>
                    </a:lnTo>
                    <a:lnTo>
                      <a:pt x="163" y="350"/>
                    </a:lnTo>
                    <a:lnTo>
                      <a:pt x="164" y="350"/>
                    </a:lnTo>
                    <a:lnTo>
                      <a:pt x="164" y="349"/>
                    </a:lnTo>
                    <a:lnTo>
                      <a:pt x="165" y="349"/>
                    </a:lnTo>
                    <a:lnTo>
                      <a:pt x="164" y="349"/>
                    </a:lnTo>
                    <a:lnTo>
                      <a:pt x="164" y="348"/>
                    </a:lnTo>
                    <a:lnTo>
                      <a:pt x="163" y="348"/>
                    </a:lnTo>
                    <a:lnTo>
                      <a:pt x="164" y="348"/>
                    </a:lnTo>
                    <a:lnTo>
                      <a:pt x="164" y="349"/>
                    </a:lnTo>
                    <a:lnTo>
                      <a:pt x="163" y="349"/>
                    </a:lnTo>
                    <a:lnTo>
                      <a:pt x="163" y="348"/>
                    </a:lnTo>
                    <a:lnTo>
                      <a:pt x="164" y="347"/>
                    </a:lnTo>
                    <a:lnTo>
                      <a:pt x="165" y="347"/>
                    </a:lnTo>
                    <a:close/>
                    <a:moveTo>
                      <a:pt x="162" y="347"/>
                    </a:moveTo>
                    <a:lnTo>
                      <a:pt x="163" y="348"/>
                    </a:lnTo>
                    <a:lnTo>
                      <a:pt x="163" y="349"/>
                    </a:lnTo>
                    <a:lnTo>
                      <a:pt x="162" y="349"/>
                    </a:lnTo>
                    <a:lnTo>
                      <a:pt x="163" y="349"/>
                    </a:lnTo>
                    <a:lnTo>
                      <a:pt x="163" y="350"/>
                    </a:lnTo>
                    <a:lnTo>
                      <a:pt x="162" y="350"/>
                    </a:lnTo>
                    <a:lnTo>
                      <a:pt x="161" y="350"/>
                    </a:lnTo>
                    <a:lnTo>
                      <a:pt x="161" y="349"/>
                    </a:lnTo>
                    <a:lnTo>
                      <a:pt x="161" y="350"/>
                    </a:lnTo>
                    <a:lnTo>
                      <a:pt x="160" y="349"/>
                    </a:lnTo>
                    <a:lnTo>
                      <a:pt x="161" y="349"/>
                    </a:lnTo>
                    <a:lnTo>
                      <a:pt x="161" y="348"/>
                    </a:lnTo>
                    <a:lnTo>
                      <a:pt x="161" y="347"/>
                    </a:lnTo>
                    <a:lnTo>
                      <a:pt x="161" y="348"/>
                    </a:lnTo>
                    <a:lnTo>
                      <a:pt x="161" y="347"/>
                    </a:lnTo>
                    <a:lnTo>
                      <a:pt x="162" y="347"/>
                    </a:lnTo>
                    <a:close/>
                    <a:moveTo>
                      <a:pt x="225" y="399"/>
                    </a:moveTo>
                    <a:lnTo>
                      <a:pt x="226" y="399"/>
                    </a:lnTo>
                    <a:lnTo>
                      <a:pt x="226" y="400"/>
                    </a:lnTo>
                    <a:lnTo>
                      <a:pt x="225" y="400"/>
                    </a:lnTo>
                    <a:lnTo>
                      <a:pt x="225" y="401"/>
                    </a:lnTo>
                    <a:lnTo>
                      <a:pt x="225" y="402"/>
                    </a:lnTo>
                    <a:lnTo>
                      <a:pt x="225" y="401"/>
                    </a:lnTo>
                    <a:lnTo>
                      <a:pt x="223" y="401"/>
                    </a:lnTo>
                    <a:lnTo>
                      <a:pt x="225" y="401"/>
                    </a:lnTo>
                    <a:lnTo>
                      <a:pt x="225" y="400"/>
                    </a:lnTo>
                    <a:lnTo>
                      <a:pt x="221" y="401"/>
                    </a:lnTo>
                    <a:lnTo>
                      <a:pt x="221" y="400"/>
                    </a:lnTo>
                    <a:lnTo>
                      <a:pt x="222" y="400"/>
                    </a:lnTo>
                    <a:lnTo>
                      <a:pt x="223" y="400"/>
                    </a:lnTo>
                    <a:lnTo>
                      <a:pt x="225" y="400"/>
                    </a:lnTo>
                    <a:lnTo>
                      <a:pt x="226" y="400"/>
                    </a:lnTo>
                    <a:lnTo>
                      <a:pt x="225" y="399"/>
                    </a:lnTo>
                    <a:lnTo>
                      <a:pt x="225" y="400"/>
                    </a:lnTo>
                    <a:lnTo>
                      <a:pt x="223" y="400"/>
                    </a:lnTo>
                    <a:lnTo>
                      <a:pt x="222" y="400"/>
                    </a:lnTo>
                    <a:lnTo>
                      <a:pt x="223" y="400"/>
                    </a:lnTo>
                    <a:lnTo>
                      <a:pt x="223" y="399"/>
                    </a:lnTo>
                    <a:lnTo>
                      <a:pt x="222" y="399"/>
                    </a:lnTo>
                    <a:lnTo>
                      <a:pt x="222" y="400"/>
                    </a:lnTo>
                    <a:lnTo>
                      <a:pt x="222" y="399"/>
                    </a:lnTo>
                    <a:lnTo>
                      <a:pt x="221" y="400"/>
                    </a:lnTo>
                    <a:lnTo>
                      <a:pt x="221" y="399"/>
                    </a:lnTo>
                    <a:lnTo>
                      <a:pt x="222" y="399"/>
                    </a:lnTo>
                    <a:lnTo>
                      <a:pt x="225" y="399"/>
                    </a:lnTo>
                    <a:close/>
                    <a:moveTo>
                      <a:pt x="215" y="396"/>
                    </a:moveTo>
                    <a:lnTo>
                      <a:pt x="215" y="397"/>
                    </a:lnTo>
                    <a:lnTo>
                      <a:pt x="215" y="398"/>
                    </a:lnTo>
                    <a:lnTo>
                      <a:pt x="215" y="397"/>
                    </a:lnTo>
                    <a:lnTo>
                      <a:pt x="214" y="397"/>
                    </a:lnTo>
                    <a:lnTo>
                      <a:pt x="214" y="396"/>
                    </a:lnTo>
                    <a:lnTo>
                      <a:pt x="213" y="396"/>
                    </a:lnTo>
                    <a:lnTo>
                      <a:pt x="213" y="395"/>
                    </a:lnTo>
                    <a:lnTo>
                      <a:pt x="213" y="391"/>
                    </a:lnTo>
                    <a:lnTo>
                      <a:pt x="214" y="391"/>
                    </a:lnTo>
                    <a:lnTo>
                      <a:pt x="215" y="396"/>
                    </a:lnTo>
                    <a:close/>
                    <a:moveTo>
                      <a:pt x="251" y="397"/>
                    </a:moveTo>
                    <a:lnTo>
                      <a:pt x="247" y="398"/>
                    </a:lnTo>
                    <a:lnTo>
                      <a:pt x="247" y="397"/>
                    </a:lnTo>
                    <a:lnTo>
                      <a:pt x="247" y="396"/>
                    </a:lnTo>
                    <a:lnTo>
                      <a:pt x="248" y="395"/>
                    </a:lnTo>
                    <a:lnTo>
                      <a:pt x="249" y="395"/>
                    </a:lnTo>
                    <a:lnTo>
                      <a:pt x="249" y="396"/>
                    </a:lnTo>
                    <a:lnTo>
                      <a:pt x="249" y="397"/>
                    </a:lnTo>
                    <a:lnTo>
                      <a:pt x="251" y="397"/>
                    </a:lnTo>
                    <a:close/>
                    <a:moveTo>
                      <a:pt x="122" y="331"/>
                    </a:moveTo>
                    <a:lnTo>
                      <a:pt x="120" y="331"/>
                    </a:lnTo>
                    <a:lnTo>
                      <a:pt x="119" y="331"/>
                    </a:lnTo>
                    <a:lnTo>
                      <a:pt x="117" y="331"/>
                    </a:lnTo>
                    <a:lnTo>
                      <a:pt x="118" y="331"/>
                    </a:lnTo>
                    <a:lnTo>
                      <a:pt x="117" y="331"/>
                    </a:lnTo>
                    <a:lnTo>
                      <a:pt x="118" y="331"/>
                    </a:lnTo>
                    <a:lnTo>
                      <a:pt x="118" y="329"/>
                    </a:lnTo>
                    <a:lnTo>
                      <a:pt x="118" y="328"/>
                    </a:lnTo>
                    <a:lnTo>
                      <a:pt x="119" y="328"/>
                    </a:lnTo>
                    <a:lnTo>
                      <a:pt x="119" y="329"/>
                    </a:lnTo>
                    <a:lnTo>
                      <a:pt x="120" y="331"/>
                    </a:lnTo>
                    <a:lnTo>
                      <a:pt x="119" y="329"/>
                    </a:lnTo>
                    <a:lnTo>
                      <a:pt x="119" y="328"/>
                    </a:lnTo>
                    <a:lnTo>
                      <a:pt x="120" y="328"/>
                    </a:lnTo>
                    <a:lnTo>
                      <a:pt x="122" y="328"/>
                    </a:lnTo>
                    <a:lnTo>
                      <a:pt x="122" y="329"/>
                    </a:lnTo>
                    <a:lnTo>
                      <a:pt x="122" y="331"/>
                    </a:lnTo>
                    <a:close/>
                    <a:moveTo>
                      <a:pt x="245" y="392"/>
                    </a:moveTo>
                    <a:lnTo>
                      <a:pt x="245" y="391"/>
                    </a:lnTo>
                    <a:lnTo>
                      <a:pt x="246" y="391"/>
                    </a:lnTo>
                    <a:lnTo>
                      <a:pt x="246" y="392"/>
                    </a:lnTo>
                    <a:lnTo>
                      <a:pt x="247" y="392"/>
                    </a:lnTo>
                    <a:lnTo>
                      <a:pt x="248" y="392"/>
                    </a:lnTo>
                    <a:lnTo>
                      <a:pt x="247" y="392"/>
                    </a:lnTo>
                    <a:lnTo>
                      <a:pt x="247" y="393"/>
                    </a:lnTo>
                    <a:lnTo>
                      <a:pt x="244" y="392"/>
                    </a:lnTo>
                    <a:lnTo>
                      <a:pt x="244" y="391"/>
                    </a:lnTo>
                    <a:lnTo>
                      <a:pt x="245" y="391"/>
                    </a:lnTo>
                    <a:lnTo>
                      <a:pt x="245" y="392"/>
                    </a:lnTo>
                    <a:close/>
                    <a:moveTo>
                      <a:pt x="240" y="245"/>
                    </a:moveTo>
                    <a:lnTo>
                      <a:pt x="241" y="245"/>
                    </a:lnTo>
                    <a:lnTo>
                      <a:pt x="241" y="246"/>
                    </a:lnTo>
                    <a:lnTo>
                      <a:pt x="242" y="246"/>
                    </a:lnTo>
                    <a:lnTo>
                      <a:pt x="242" y="247"/>
                    </a:lnTo>
                    <a:lnTo>
                      <a:pt x="241" y="247"/>
                    </a:lnTo>
                    <a:lnTo>
                      <a:pt x="241" y="246"/>
                    </a:lnTo>
                    <a:lnTo>
                      <a:pt x="240" y="246"/>
                    </a:lnTo>
                    <a:lnTo>
                      <a:pt x="240" y="245"/>
                    </a:lnTo>
                    <a:lnTo>
                      <a:pt x="240" y="246"/>
                    </a:lnTo>
                    <a:lnTo>
                      <a:pt x="240" y="245"/>
                    </a:lnTo>
                    <a:lnTo>
                      <a:pt x="239" y="245"/>
                    </a:lnTo>
                    <a:lnTo>
                      <a:pt x="239" y="246"/>
                    </a:lnTo>
                    <a:lnTo>
                      <a:pt x="240" y="246"/>
                    </a:lnTo>
                    <a:lnTo>
                      <a:pt x="240" y="247"/>
                    </a:lnTo>
                    <a:lnTo>
                      <a:pt x="239" y="247"/>
                    </a:lnTo>
                    <a:lnTo>
                      <a:pt x="239" y="246"/>
                    </a:lnTo>
                    <a:lnTo>
                      <a:pt x="239" y="245"/>
                    </a:lnTo>
                    <a:lnTo>
                      <a:pt x="238" y="245"/>
                    </a:lnTo>
                    <a:lnTo>
                      <a:pt x="238" y="244"/>
                    </a:lnTo>
                    <a:lnTo>
                      <a:pt x="239" y="244"/>
                    </a:lnTo>
                    <a:lnTo>
                      <a:pt x="240" y="244"/>
                    </a:lnTo>
                    <a:lnTo>
                      <a:pt x="240" y="245"/>
                    </a:lnTo>
                    <a:close/>
                    <a:moveTo>
                      <a:pt x="481" y="603"/>
                    </a:moveTo>
                    <a:lnTo>
                      <a:pt x="480" y="604"/>
                    </a:lnTo>
                    <a:lnTo>
                      <a:pt x="478" y="605"/>
                    </a:lnTo>
                    <a:lnTo>
                      <a:pt x="477" y="605"/>
                    </a:lnTo>
                    <a:lnTo>
                      <a:pt x="477" y="606"/>
                    </a:lnTo>
                    <a:lnTo>
                      <a:pt x="476" y="606"/>
                    </a:lnTo>
                    <a:lnTo>
                      <a:pt x="476" y="605"/>
                    </a:lnTo>
                    <a:lnTo>
                      <a:pt x="477" y="603"/>
                    </a:lnTo>
                    <a:lnTo>
                      <a:pt x="478" y="603"/>
                    </a:lnTo>
                    <a:lnTo>
                      <a:pt x="479" y="603"/>
                    </a:lnTo>
                    <a:lnTo>
                      <a:pt x="480" y="603"/>
                    </a:lnTo>
                    <a:lnTo>
                      <a:pt x="481" y="603"/>
                    </a:lnTo>
                    <a:close/>
                    <a:moveTo>
                      <a:pt x="470" y="439"/>
                    </a:moveTo>
                    <a:lnTo>
                      <a:pt x="468" y="442"/>
                    </a:lnTo>
                    <a:lnTo>
                      <a:pt x="468" y="443"/>
                    </a:lnTo>
                    <a:lnTo>
                      <a:pt x="467" y="442"/>
                    </a:lnTo>
                    <a:lnTo>
                      <a:pt x="466" y="442"/>
                    </a:lnTo>
                    <a:lnTo>
                      <a:pt x="466" y="441"/>
                    </a:lnTo>
                    <a:lnTo>
                      <a:pt x="467" y="440"/>
                    </a:lnTo>
                    <a:lnTo>
                      <a:pt x="468" y="440"/>
                    </a:lnTo>
                    <a:lnTo>
                      <a:pt x="468" y="441"/>
                    </a:lnTo>
                    <a:lnTo>
                      <a:pt x="468" y="440"/>
                    </a:lnTo>
                    <a:lnTo>
                      <a:pt x="470" y="440"/>
                    </a:lnTo>
                    <a:lnTo>
                      <a:pt x="470" y="439"/>
                    </a:lnTo>
                    <a:close/>
                    <a:moveTo>
                      <a:pt x="363" y="482"/>
                    </a:moveTo>
                    <a:lnTo>
                      <a:pt x="363" y="483"/>
                    </a:lnTo>
                    <a:lnTo>
                      <a:pt x="363" y="485"/>
                    </a:lnTo>
                    <a:lnTo>
                      <a:pt x="362" y="485"/>
                    </a:lnTo>
                    <a:lnTo>
                      <a:pt x="361" y="483"/>
                    </a:lnTo>
                    <a:lnTo>
                      <a:pt x="360" y="483"/>
                    </a:lnTo>
                    <a:lnTo>
                      <a:pt x="360" y="482"/>
                    </a:lnTo>
                    <a:lnTo>
                      <a:pt x="361" y="482"/>
                    </a:lnTo>
                    <a:lnTo>
                      <a:pt x="361" y="481"/>
                    </a:lnTo>
                    <a:lnTo>
                      <a:pt x="362" y="481"/>
                    </a:lnTo>
                    <a:lnTo>
                      <a:pt x="362" y="482"/>
                    </a:lnTo>
                    <a:lnTo>
                      <a:pt x="363" y="482"/>
                    </a:lnTo>
                    <a:close/>
                    <a:moveTo>
                      <a:pt x="165" y="351"/>
                    </a:moveTo>
                    <a:lnTo>
                      <a:pt x="165" y="352"/>
                    </a:lnTo>
                    <a:lnTo>
                      <a:pt x="166" y="352"/>
                    </a:lnTo>
                    <a:lnTo>
                      <a:pt x="166" y="353"/>
                    </a:lnTo>
                    <a:lnTo>
                      <a:pt x="165" y="353"/>
                    </a:lnTo>
                    <a:lnTo>
                      <a:pt x="165" y="352"/>
                    </a:lnTo>
                    <a:lnTo>
                      <a:pt x="164" y="351"/>
                    </a:lnTo>
                    <a:lnTo>
                      <a:pt x="164" y="352"/>
                    </a:lnTo>
                    <a:lnTo>
                      <a:pt x="163" y="352"/>
                    </a:lnTo>
                    <a:lnTo>
                      <a:pt x="163" y="353"/>
                    </a:lnTo>
                    <a:lnTo>
                      <a:pt x="163" y="352"/>
                    </a:lnTo>
                    <a:lnTo>
                      <a:pt x="162" y="352"/>
                    </a:lnTo>
                    <a:lnTo>
                      <a:pt x="162" y="353"/>
                    </a:lnTo>
                    <a:lnTo>
                      <a:pt x="162" y="352"/>
                    </a:lnTo>
                    <a:lnTo>
                      <a:pt x="161" y="352"/>
                    </a:lnTo>
                    <a:lnTo>
                      <a:pt x="161" y="353"/>
                    </a:lnTo>
                    <a:lnTo>
                      <a:pt x="161" y="354"/>
                    </a:lnTo>
                    <a:lnTo>
                      <a:pt x="161" y="353"/>
                    </a:lnTo>
                    <a:lnTo>
                      <a:pt x="162" y="353"/>
                    </a:lnTo>
                    <a:lnTo>
                      <a:pt x="162" y="354"/>
                    </a:lnTo>
                    <a:lnTo>
                      <a:pt x="161" y="354"/>
                    </a:lnTo>
                    <a:lnTo>
                      <a:pt x="160" y="354"/>
                    </a:lnTo>
                    <a:lnTo>
                      <a:pt x="160" y="356"/>
                    </a:lnTo>
                    <a:lnTo>
                      <a:pt x="160" y="354"/>
                    </a:lnTo>
                    <a:lnTo>
                      <a:pt x="160" y="353"/>
                    </a:lnTo>
                    <a:lnTo>
                      <a:pt x="161" y="352"/>
                    </a:lnTo>
                    <a:lnTo>
                      <a:pt x="162" y="352"/>
                    </a:lnTo>
                    <a:lnTo>
                      <a:pt x="161" y="352"/>
                    </a:lnTo>
                    <a:lnTo>
                      <a:pt x="162" y="352"/>
                    </a:lnTo>
                    <a:lnTo>
                      <a:pt x="163" y="352"/>
                    </a:lnTo>
                    <a:lnTo>
                      <a:pt x="163" y="351"/>
                    </a:lnTo>
                    <a:lnTo>
                      <a:pt x="164" y="351"/>
                    </a:lnTo>
                    <a:lnTo>
                      <a:pt x="165" y="351"/>
                    </a:lnTo>
                    <a:close/>
                    <a:moveTo>
                      <a:pt x="115" y="411"/>
                    </a:moveTo>
                    <a:lnTo>
                      <a:pt x="116" y="411"/>
                    </a:lnTo>
                    <a:lnTo>
                      <a:pt x="116" y="410"/>
                    </a:lnTo>
                    <a:lnTo>
                      <a:pt x="116" y="411"/>
                    </a:lnTo>
                    <a:lnTo>
                      <a:pt x="111" y="411"/>
                    </a:lnTo>
                    <a:lnTo>
                      <a:pt x="110" y="411"/>
                    </a:lnTo>
                    <a:lnTo>
                      <a:pt x="110" y="410"/>
                    </a:lnTo>
                    <a:lnTo>
                      <a:pt x="111" y="410"/>
                    </a:lnTo>
                    <a:lnTo>
                      <a:pt x="112" y="410"/>
                    </a:lnTo>
                    <a:lnTo>
                      <a:pt x="113" y="410"/>
                    </a:lnTo>
                    <a:lnTo>
                      <a:pt x="114" y="410"/>
                    </a:lnTo>
                    <a:lnTo>
                      <a:pt x="115" y="411"/>
                    </a:lnTo>
                    <a:close/>
                    <a:moveTo>
                      <a:pt x="205" y="390"/>
                    </a:moveTo>
                    <a:lnTo>
                      <a:pt x="206" y="390"/>
                    </a:lnTo>
                    <a:lnTo>
                      <a:pt x="206" y="391"/>
                    </a:lnTo>
                    <a:lnTo>
                      <a:pt x="205" y="391"/>
                    </a:lnTo>
                    <a:lnTo>
                      <a:pt x="205" y="390"/>
                    </a:lnTo>
                    <a:lnTo>
                      <a:pt x="204" y="390"/>
                    </a:lnTo>
                    <a:lnTo>
                      <a:pt x="203" y="390"/>
                    </a:lnTo>
                    <a:lnTo>
                      <a:pt x="202" y="390"/>
                    </a:lnTo>
                    <a:lnTo>
                      <a:pt x="203" y="389"/>
                    </a:lnTo>
                    <a:lnTo>
                      <a:pt x="204" y="389"/>
                    </a:lnTo>
                    <a:lnTo>
                      <a:pt x="205" y="388"/>
                    </a:lnTo>
                    <a:lnTo>
                      <a:pt x="205" y="386"/>
                    </a:lnTo>
                    <a:lnTo>
                      <a:pt x="205" y="387"/>
                    </a:lnTo>
                    <a:lnTo>
                      <a:pt x="205" y="388"/>
                    </a:lnTo>
                    <a:lnTo>
                      <a:pt x="205" y="389"/>
                    </a:lnTo>
                    <a:lnTo>
                      <a:pt x="206" y="389"/>
                    </a:lnTo>
                    <a:lnTo>
                      <a:pt x="205" y="390"/>
                    </a:lnTo>
                    <a:close/>
                    <a:moveTo>
                      <a:pt x="239" y="379"/>
                    </a:moveTo>
                    <a:lnTo>
                      <a:pt x="239" y="380"/>
                    </a:lnTo>
                    <a:lnTo>
                      <a:pt x="239" y="382"/>
                    </a:lnTo>
                    <a:lnTo>
                      <a:pt x="238" y="382"/>
                    </a:lnTo>
                    <a:lnTo>
                      <a:pt x="238" y="383"/>
                    </a:lnTo>
                    <a:lnTo>
                      <a:pt x="236" y="383"/>
                    </a:lnTo>
                    <a:lnTo>
                      <a:pt x="236" y="382"/>
                    </a:lnTo>
                    <a:lnTo>
                      <a:pt x="238" y="379"/>
                    </a:lnTo>
                    <a:lnTo>
                      <a:pt x="239" y="379"/>
                    </a:lnTo>
                    <a:close/>
                    <a:moveTo>
                      <a:pt x="182" y="346"/>
                    </a:moveTo>
                    <a:lnTo>
                      <a:pt x="182" y="347"/>
                    </a:lnTo>
                    <a:lnTo>
                      <a:pt x="182" y="348"/>
                    </a:lnTo>
                    <a:lnTo>
                      <a:pt x="182" y="349"/>
                    </a:lnTo>
                    <a:lnTo>
                      <a:pt x="182" y="350"/>
                    </a:lnTo>
                    <a:lnTo>
                      <a:pt x="182" y="351"/>
                    </a:lnTo>
                    <a:lnTo>
                      <a:pt x="181" y="350"/>
                    </a:lnTo>
                    <a:lnTo>
                      <a:pt x="180" y="351"/>
                    </a:lnTo>
                    <a:lnTo>
                      <a:pt x="180" y="350"/>
                    </a:lnTo>
                    <a:lnTo>
                      <a:pt x="181" y="350"/>
                    </a:lnTo>
                    <a:lnTo>
                      <a:pt x="180" y="349"/>
                    </a:lnTo>
                    <a:lnTo>
                      <a:pt x="181" y="349"/>
                    </a:lnTo>
                    <a:lnTo>
                      <a:pt x="181" y="348"/>
                    </a:lnTo>
                    <a:lnTo>
                      <a:pt x="181" y="347"/>
                    </a:lnTo>
                    <a:lnTo>
                      <a:pt x="180" y="348"/>
                    </a:lnTo>
                    <a:lnTo>
                      <a:pt x="180" y="349"/>
                    </a:lnTo>
                    <a:lnTo>
                      <a:pt x="180" y="348"/>
                    </a:lnTo>
                    <a:lnTo>
                      <a:pt x="180" y="347"/>
                    </a:lnTo>
                    <a:lnTo>
                      <a:pt x="181" y="347"/>
                    </a:lnTo>
                    <a:lnTo>
                      <a:pt x="181" y="346"/>
                    </a:lnTo>
                    <a:lnTo>
                      <a:pt x="182" y="346"/>
                    </a:lnTo>
                    <a:close/>
                    <a:moveTo>
                      <a:pt x="206" y="414"/>
                    </a:moveTo>
                    <a:lnTo>
                      <a:pt x="206" y="415"/>
                    </a:lnTo>
                    <a:lnTo>
                      <a:pt x="207" y="415"/>
                    </a:lnTo>
                    <a:lnTo>
                      <a:pt x="207" y="416"/>
                    </a:lnTo>
                    <a:lnTo>
                      <a:pt x="206" y="416"/>
                    </a:lnTo>
                    <a:lnTo>
                      <a:pt x="206" y="417"/>
                    </a:lnTo>
                    <a:lnTo>
                      <a:pt x="206" y="418"/>
                    </a:lnTo>
                    <a:lnTo>
                      <a:pt x="205" y="418"/>
                    </a:lnTo>
                    <a:lnTo>
                      <a:pt x="205" y="417"/>
                    </a:lnTo>
                    <a:lnTo>
                      <a:pt x="205" y="416"/>
                    </a:lnTo>
                    <a:lnTo>
                      <a:pt x="205" y="415"/>
                    </a:lnTo>
                    <a:lnTo>
                      <a:pt x="205" y="414"/>
                    </a:lnTo>
                    <a:lnTo>
                      <a:pt x="206" y="414"/>
                    </a:lnTo>
                    <a:close/>
                    <a:moveTo>
                      <a:pt x="497" y="463"/>
                    </a:moveTo>
                    <a:lnTo>
                      <a:pt x="497" y="464"/>
                    </a:lnTo>
                    <a:lnTo>
                      <a:pt x="497" y="465"/>
                    </a:lnTo>
                    <a:lnTo>
                      <a:pt x="498" y="465"/>
                    </a:lnTo>
                    <a:lnTo>
                      <a:pt x="498" y="464"/>
                    </a:lnTo>
                    <a:lnTo>
                      <a:pt x="498" y="465"/>
                    </a:lnTo>
                    <a:lnTo>
                      <a:pt x="498" y="466"/>
                    </a:lnTo>
                    <a:lnTo>
                      <a:pt x="499" y="465"/>
                    </a:lnTo>
                    <a:lnTo>
                      <a:pt x="499" y="466"/>
                    </a:lnTo>
                    <a:lnTo>
                      <a:pt x="498" y="466"/>
                    </a:lnTo>
                    <a:lnTo>
                      <a:pt x="497" y="466"/>
                    </a:lnTo>
                    <a:lnTo>
                      <a:pt x="497" y="465"/>
                    </a:lnTo>
                    <a:lnTo>
                      <a:pt x="497" y="464"/>
                    </a:lnTo>
                    <a:lnTo>
                      <a:pt x="496" y="464"/>
                    </a:lnTo>
                    <a:lnTo>
                      <a:pt x="496" y="463"/>
                    </a:lnTo>
                    <a:lnTo>
                      <a:pt x="496" y="462"/>
                    </a:lnTo>
                    <a:lnTo>
                      <a:pt x="496" y="463"/>
                    </a:lnTo>
                    <a:lnTo>
                      <a:pt x="496" y="462"/>
                    </a:lnTo>
                    <a:lnTo>
                      <a:pt x="497" y="462"/>
                    </a:lnTo>
                    <a:lnTo>
                      <a:pt x="497" y="463"/>
                    </a:lnTo>
                    <a:close/>
                    <a:moveTo>
                      <a:pt x="255" y="395"/>
                    </a:moveTo>
                    <a:lnTo>
                      <a:pt x="256" y="395"/>
                    </a:lnTo>
                    <a:lnTo>
                      <a:pt x="255" y="395"/>
                    </a:lnTo>
                    <a:lnTo>
                      <a:pt x="256" y="395"/>
                    </a:lnTo>
                    <a:lnTo>
                      <a:pt x="256" y="396"/>
                    </a:lnTo>
                    <a:lnTo>
                      <a:pt x="256" y="397"/>
                    </a:lnTo>
                    <a:lnTo>
                      <a:pt x="255" y="397"/>
                    </a:lnTo>
                    <a:lnTo>
                      <a:pt x="253" y="396"/>
                    </a:lnTo>
                    <a:lnTo>
                      <a:pt x="254" y="395"/>
                    </a:lnTo>
                    <a:lnTo>
                      <a:pt x="255" y="395"/>
                    </a:lnTo>
                    <a:close/>
                    <a:moveTo>
                      <a:pt x="251" y="236"/>
                    </a:moveTo>
                    <a:lnTo>
                      <a:pt x="251" y="237"/>
                    </a:lnTo>
                    <a:lnTo>
                      <a:pt x="252" y="236"/>
                    </a:lnTo>
                    <a:lnTo>
                      <a:pt x="251" y="237"/>
                    </a:lnTo>
                    <a:lnTo>
                      <a:pt x="252" y="237"/>
                    </a:lnTo>
                    <a:lnTo>
                      <a:pt x="252" y="238"/>
                    </a:lnTo>
                    <a:lnTo>
                      <a:pt x="251" y="238"/>
                    </a:lnTo>
                    <a:lnTo>
                      <a:pt x="252" y="239"/>
                    </a:lnTo>
                    <a:lnTo>
                      <a:pt x="251" y="239"/>
                    </a:lnTo>
                    <a:lnTo>
                      <a:pt x="249" y="239"/>
                    </a:lnTo>
                    <a:lnTo>
                      <a:pt x="248" y="238"/>
                    </a:lnTo>
                    <a:lnTo>
                      <a:pt x="249" y="238"/>
                    </a:lnTo>
                    <a:lnTo>
                      <a:pt x="249" y="237"/>
                    </a:lnTo>
                    <a:lnTo>
                      <a:pt x="251" y="237"/>
                    </a:lnTo>
                    <a:lnTo>
                      <a:pt x="251" y="236"/>
                    </a:lnTo>
                    <a:lnTo>
                      <a:pt x="249" y="236"/>
                    </a:lnTo>
                    <a:lnTo>
                      <a:pt x="251" y="236"/>
                    </a:lnTo>
                    <a:close/>
                    <a:moveTo>
                      <a:pt x="217" y="223"/>
                    </a:moveTo>
                    <a:lnTo>
                      <a:pt x="217" y="224"/>
                    </a:lnTo>
                    <a:lnTo>
                      <a:pt x="218" y="224"/>
                    </a:lnTo>
                    <a:lnTo>
                      <a:pt x="219" y="224"/>
                    </a:lnTo>
                    <a:lnTo>
                      <a:pt x="220" y="224"/>
                    </a:lnTo>
                    <a:lnTo>
                      <a:pt x="221" y="224"/>
                    </a:lnTo>
                    <a:lnTo>
                      <a:pt x="222" y="224"/>
                    </a:lnTo>
                    <a:lnTo>
                      <a:pt x="223" y="224"/>
                    </a:lnTo>
                    <a:lnTo>
                      <a:pt x="225" y="224"/>
                    </a:lnTo>
                    <a:lnTo>
                      <a:pt x="225" y="225"/>
                    </a:lnTo>
                    <a:lnTo>
                      <a:pt x="223" y="225"/>
                    </a:lnTo>
                    <a:lnTo>
                      <a:pt x="223" y="224"/>
                    </a:lnTo>
                    <a:lnTo>
                      <a:pt x="221" y="224"/>
                    </a:lnTo>
                    <a:lnTo>
                      <a:pt x="220" y="224"/>
                    </a:lnTo>
                    <a:lnTo>
                      <a:pt x="219" y="224"/>
                    </a:lnTo>
                    <a:lnTo>
                      <a:pt x="218" y="225"/>
                    </a:lnTo>
                    <a:lnTo>
                      <a:pt x="217" y="225"/>
                    </a:lnTo>
                    <a:lnTo>
                      <a:pt x="217" y="224"/>
                    </a:lnTo>
                    <a:lnTo>
                      <a:pt x="217" y="223"/>
                    </a:lnTo>
                    <a:close/>
                    <a:moveTo>
                      <a:pt x="215" y="401"/>
                    </a:moveTo>
                    <a:lnTo>
                      <a:pt x="215" y="402"/>
                    </a:lnTo>
                    <a:lnTo>
                      <a:pt x="214" y="402"/>
                    </a:lnTo>
                    <a:lnTo>
                      <a:pt x="212" y="402"/>
                    </a:lnTo>
                    <a:lnTo>
                      <a:pt x="210" y="402"/>
                    </a:lnTo>
                    <a:lnTo>
                      <a:pt x="210" y="401"/>
                    </a:lnTo>
                    <a:lnTo>
                      <a:pt x="212" y="401"/>
                    </a:lnTo>
                    <a:lnTo>
                      <a:pt x="213" y="401"/>
                    </a:lnTo>
                    <a:lnTo>
                      <a:pt x="214" y="401"/>
                    </a:lnTo>
                    <a:lnTo>
                      <a:pt x="213" y="401"/>
                    </a:lnTo>
                    <a:lnTo>
                      <a:pt x="214" y="400"/>
                    </a:lnTo>
                    <a:lnTo>
                      <a:pt x="214" y="401"/>
                    </a:lnTo>
                    <a:lnTo>
                      <a:pt x="215" y="400"/>
                    </a:lnTo>
                    <a:lnTo>
                      <a:pt x="215" y="401"/>
                    </a:lnTo>
                    <a:close/>
                    <a:moveTo>
                      <a:pt x="238" y="399"/>
                    </a:moveTo>
                    <a:lnTo>
                      <a:pt x="239" y="400"/>
                    </a:lnTo>
                    <a:lnTo>
                      <a:pt x="238" y="400"/>
                    </a:lnTo>
                    <a:lnTo>
                      <a:pt x="236" y="400"/>
                    </a:lnTo>
                    <a:lnTo>
                      <a:pt x="236" y="401"/>
                    </a:lnTo>
                    <a:lnTo>
                      <a:pt x="235" y="401"/>
                    </a:lnTo>
                    <a:lnTo>
                      <a:pt x="236" y="401"/>
                    </a:lnTo>
                    <a:lnTo>
                      <a:pt x="236" y="402"/>
                    </a:lnTo>
                    <a:lnTo>
                      <a:pt x="235" y="402"/>
                    </a:lnTo>
                    <a:lnTo>
                      <a:pt x="235" y="401"/>
                    </a:lnTo>
                    <a:lnTo>
                      <a:pt x="234" y="401"/>
                    </a:lnTo>
                    <a:lnTo>
                      <a:pt x="233" y="401"/>
                    </a:lnTo>
                    <a:lnTo>
                      <a:pt x="233" y="400"/>
                    </a:lnTo>
                    <a:lnTo>
                      <a:pt x="235" y="399"/>
                    </a:lnTo>
                    <a:lnTo>
                      <a:pt x="236" y="399"/>
                    </a:lnTo>
                    <a:lnTo>
                      <a:pt x="238" y="399"/>
                    </a:lnTo>
                    <a:close/>
                    <a:moveTo>
                      <a:pt x="241" y="225"/>
                    </a:moveTo>
                    <a:lnTo>
                      <a:pt x="240" y="226"/>
                    </a:lnTo>
                    <a:lnTo>
                      <a:pt x="241" y="228"/>
                    </a:lnTo>
                    <a:lnTo>
                      <a:pt x="240" y="228"/>
                    </a:lnTo>
                    <a:lnTo>
                      <a:pt x="239" y="228"/>
                    </a:lnTo>
                    <a:lnTo>
                      <a:pt x="239" y="226"/>
                    </a:lnTo>
                    <a:lnTo>
                      <a:pt x="238" y="226"/>
                    </a:lnTo>
                    <a:lnTo>
                      <a:pt x="239" y="226"/>
                    </a:lnTo>
                    <a:lnTo>
                      <a:pt x="239" y="225"/>
                    </a:lnTo>
                    <a:lnTo>
                      <a:pt x="238" y="225"/>
                    </a:lnTo>
                    <a:lnTo>
                      <a:pt x="239" y="225"/>
                    </a:lnTo>
                    <a:lnTo>
                      <a:pt x="240" y="225"/>
                    </a:lnTo>
                    <a:lnTo>
                      <a:pt x="240" y="224"/>
                    </a:lnTo>
                    <a:lnTo>
                      <a:pt x="241" y="224"/>
                    </a:lnTo>
                    <a:lnTo>
                      <a:pt x="240" y="225"/>
                    </a:lnTo>
                    <a:lnTo>
                      <a:pt x="241" y="225"/>
                    </a:lnTo>
                    <a:close/>
                    <a:moveTo>
                      <a:pt x="223" y="395"/>
                    </a:moveTo>
                    <a:lnTo>
                      <a:pt x="225" y="395"/>
                    </a:lnTo>
                    <a:lnTo>
                      <a:pt x="226" y="395"/>
                    </a:lnTo>
                    <a:lnTo>
                      <a:pt x="227" y="393"/>
                    </a:lnTo>
                    <a:lnTo>
                      <a:pt x="227" y="392"/>
                    </a:lnTo>
                    <a:lnTo>
                      <a:pt x="228" y="392"/>
                    </a:lnTo>
                    <a:lnTo>
                      <a:pt x="226" y="396"/>
                    </a:lnTo>
                    <a:lnTo>
                      <a:pt x="225" y="396"/>
                    </a:lnTo>
                    <a:lnTo>
                      <a:pt x="225" y="395"/>
                    </a:lnTo>
                    <a:lnTo>
                      <a:pt x="223" y="395"/>
                    </a:lnTo>
                    <a:lnTo>
                      <a:pt x="222" y="395"/>
                    </a:lnTo>
                    <a:lnTo>
                      <a:pt x="222" y="393"/>
                    </a:lnTo>
                    <a:lnTo>
                      <a:pt x="221" y="393"/>
                    </a:lnTo>
                    <a:lnTo>
                      <a:pt x="221" y="392"/>
                    </a:lnTo>
                    <a:lnTo>
                      <a:pt x="221" y="391"/>
                    </a:lnTo>
                    <a:lnTo>
                      <a:pt x="221" y="390"/>
                    </a:lnTo>
                    <a:lnTo>
                      <a:pt x="221" y="389"/>
                    </a:lnTo>
                    <a:lnTo>
                      <a:pt x="221" y="390"/>
                    </a:lnTo>
                    <a:lnTo>
                      <a:pt x="221" y="391"/>
                    </a:lnTo>
                    <a:lnTo>
                      <a:pt x="222" y="392"/>
                    </a:lnTo>
                    <a:lnTo>
                      <a:pt x="222" y="393"/>
                    </a:lnTo>
                    <a:lnTo>
                      <a:pt x="223" y="393"/>
                    </a:lnTo>
                    <a:lnTo>
                      <a:pt x="223" y="395"/>
                    </a:lnTo>
                    <a:close/>
                    <a:moveTo>
                      <a:pt x="556" y="546"/>
                    </a:moveTo>
                    <a:lnTo>
                      <a:pt x="557" y="546"/>
                    </a:lnTo>
                    <a:lnTo>
                      <a:pt x="558" y="546"/>
                    </a:lnTo>
                    <a:lnTo>
                      <a:pt x="558" y="547"/>
                    </a:lnTo>
                    <a:lnTo>
                      <a:pt x="557" y="547"/>
                    </a:lnTo>
                    <a:lnTo>
                      <a:pt x="556" y="547"/>
                    </a:lnTo>
                    <a:lnTo>
                      <a:pt x="555" y="547"/>
                    </a:lnTo>
                    <a:lnTo>
                      <a:pt x="555" y="546"/>
                    </a:lnTo>
                    <a:lnTo>
                      <a:pt x="554" y="546"/>
                    </a:lnTo>
                    <a:lnTo>
                      <a:pt x="553" y="546"/>
                    </a:lnTo>
                    <a:lnTo>
                      <a:pt x="554" y="546"/>
                    </a:lnTo>
                    <a:lnTo>
                      <a:pt x="555" y="546"/>
                    </a:lnTo>
                    <a:lnTo>
                      <a:pt x="556" y="546"/>
                    </a:lnTo>
                    <a:close/>
                    <a:moveTo>
                      <a:pt x="504" y="452"/>
                    </a:moveTo>
                    <a:lnTo>
                      <a:pt x="505" y="452"/>
                    </a:lnTo>
                    <a:lnTo>
                      <a:pt x="505" y="453"/>
                    </a:lnTo>
                    <a:lnTo>
                      <a:pt x="504" y="453"/>
                    </a:lnTo>
                    <a:lnTo>
                      <a:pt x="504" y="454"/>
                    </a:lnTo>
                    <a:lnTo>
                      <a:pt x="503" y="454"/>
                    </a:lnTo>
                    <a:lnTo>
                      <a:pt x="503" y="453"/>
                    </a:lnTo>
                    <a:lnTo>
                      <a:pt x="503" y="454"/>
                    </a:lnTo>
                    <a:lnTo>
                      <a:pt x="502" y="454"/>
                    </a:lnTo>
                    <a:lnTo>
                      <a:pt x="502" y="453"/>
                    </a:lnTo>
                    <a:lnTo>
                      <a:pt x="503" y="453"/>
                    </a:lnTo>
                    <a:lnTo>
                      <a:pt x="503" y="452"/>
                    </a:lnTo>
                    <a:lnTo>
                      <a:pt x="504" y="452"/>
                    </a:lnTo>
                    <a:close/>
                    <a:moveTo>
                      <a:pt x="360" y="455"/>
                    </a:moveTo>
                    <a:lnTo>
                      <a:pt x="362" y="455"/>
                    </a:lnTo>
                    <a:lnTo>
                      <a:pt x="363" y="455"/>
                    </a:lnTo>
                    <a:lnTo>
                      <a:pt x="362" y="455"/>
                    </a:lnTo>
                    <a:lnTo>
                      <a:pt x="363" y="454"/>
                    </a:lnTo>
                    <a:lnTo>
                      <a:pt x="363" y="455"/>
                    </a:lnTo>
                    <a:lnTo>
                      <a:pt x="363" y="456"/>
                    </a:lnTo>
                    <a:lnTo>
                      <a:pt x="362" y="456"/>
                    </a:lnTo>
                    <a:lnTo>
                      <a:pt x="361" y="456"/>
                    </a:lnTo>
                    <a:lnTo>
                      <a:pt x="360" y="456"/>
                    </a:lnTo>
                    <a:lnTo>
                      <a:pt x="359" y="456"/>
                    </a:lnTo>
                    <a:lnTo>
                      <a:pt x="359" y="455"/>
                    </a:lnTo>
                    <a:lnTo>
                      <a:pt x="359" y="454"/>
                    </a:lnTo>
                    <a:lnTo>
                      <a:pt x="359" y="455"/>
                    </a:lnTo>
                    <a:lnTo>
                      <a:pt x="360" y="455"/>
                    </a:lnTo>
                    <a:close/>
                    <a:moveTo>
                      <a:pt x="476" y="372"/>
                    </a:moveTo>
                    <a:lnTo>
                      <a:pt x="477" y="372"/>
                    </a:lnTo>
                    <a:lnTo>
                      <a:pt x="476" y="372"/>
                    </a:lnTo>
                    <a:lnTo>
                      <a:pt x="477" y="373"/>
                    </a:lnTo>
                    <a:lnTo>
                      <a:pt x="476" y="373"/>
                    </a:lnTo>
                    <a:lnTo>
                      <a:pt x="475" y="373"/>
                    </a:lnTo>
                    <a:lnTo>
                      <a:pt x="474" y="373"/>
                    </a:lnTo>
                    <a:lnTo>
                      <a:pt x="474" y="372"/>
                    </a:lnTo>
                    <a:lnTo>
                      <a:pt x="474" y="371"/>
                    </a:lnTo>
                    <a:lnTo>
                      <a:pt x="475" y="371"/>
                    </a:lnTo>
                    <a:lnTo>
                      <a:pt x="476" y="371"/>
                    </a:lnTo>
                    <a:lnTo>
                      <a:pt x="476" y="372"/>
                    </a:lnTo>
                    <a:close/>
                    <a:moveTo>
                      <a:pt x="418" y="376"/>
                    </a:moveTo>
                    <a:lnTo>
                      <a:pt x="419" y="377"/>
                    </a:lnTo>
                    <a:lnTo>
                      <a:pt x="418" y="377"/>
                    </a:lnTo>
                    <a:lnTo>
                      <a:pt x="418" y="378"/>
                    </a:lnTo>
                    <a:lnTo>
                      <a:pt x="419" y="377"/>
                    </a:lnTo>
                    <a:lnTo>
                      <a:pt x="419" y="378"/>
                    </a:lnTo>
                    <a:lnTo>
                      <a:pt x="418" y="378"/>
                    </a:lnTo>
                    <a:lnTo>
                      <a:pt x="418" y="377"/>
                    </a:lnTo>
                    <a:lnTo>
                      <a:pt x="418" y="376"/>
                    </a:lnTo>
                    <a:lnTo>
                      <a:pt x="416" y="376"/>
                    </a:lnTo>
                    <a:lnTo>
                      <a:pt x="415" y="376"/>
                    </a:lnTo>
                    <a:lnTo>
                      <a:pt x="414" y="376"/>
                    </a:lnTo>
                    <a:lnTo>
                      <a:pt x="414" y="375"/>
                    </a:lnTo>
                    <a:lnTo>
                      <a:pt x="413" y="375"/>
                    </a:lnTo>
                    <a:lnTo>
                      <a:pt x="414" y="375"/>
                    </a:lnTo>
                    <a:lnTo>
                      <a:pt x="415" y="374"/>
                    </a:lnTo>
                    <a:lnTo>
                      <a:pt x="416" y="375"/>
                    </a:lnTo>
                    <a:lnTo>
                      <a:pt x="418" y="375"/>
                    </a:lnTo>
                    <a:lnTo>
                      <a:pt x="418" y="376"/>
                    </a:lnTo>
                    <a:close/>
                    <a:moveTo>
                      <a:pt x="472" y="431"/>
                    </a:moveTo>
                    <a:lnTo>
                      <a:pt x="472" y="434"/>
                    </a:lnTo>
                    <a:lnTo>
                      <a:pt x="471" y="434"/>
                    </a:lnTo>
                    <a:lnTo>
                      <a:pt x="471" y="435"/>
                    </a:lnTo>
                    <a:lnTo>
                      <a:pt x="471" y="436"/>
                    </a:lnTo>
                    <a:lnTo>
                      <a:pt x="471" y="435"/>
                    </a:lnTo>
                    <a:lnTo>
                      <a:pt x="470" y="435"/>
                    </a:lnTo>
                    <a:lnTo>
                      <a:pt x="468" y="434"/>
                    </a:lnTo>
                    <a:lnTo>
                      <a:pt x="470" y="434"/>
                    </a:lnTo>
                    <a:lnTo>
                      <a:pt x="471" y="435"/>
                    </a:lnTo>
                    <a:lnTo>
                      <a:pt x="471" y="434"/>
                    </a:lnTo>
                    <a:lnTo>
                      <a:pt x="471" y="433"/>
                    </a:lnTo>
                    <a:lnTo>
                      <a:pt x="472" y="433"/>
                    </a:lnTo>
                    <a:lnTo>
                      <a:pt x="472" y="431"/>
                    </a:lnTo>
                    <a:close/>
                    <a:moveTo>
                      <a:pt x="181" y="415"/>
                    </a:moveTo>
                    <a:lnTo>
                      <a:pt x="182" y="416"/>
                    </a:lnTo>
                    <a:lnTo>
                      <a:pt x="184" y="417"/>
                    </a:lnTo>
                    <a:lnTo>
                      <a:pt x="183" y="417"/>
                    </a:lnTo>
                    <a:lnTo>
                      <a:pt x="182" y="417"/>
                    </a:lnTo>
                    <a:lnTo>
                      <a:pt x="182" y="416"/>
                    </a:lnTo>
                    <a:lnTo>
                      <a:pt x="181" y="416"/>
                    </a:lnTo>
                    <a:lnTo>
                      <a:pt x="180" y="416"/>
                    </a:lnTo>
                    <a:lnTo>
                      <a:pt x="179" y="415"/>
                    </a:lnTo>
                    <a:lnTo>
                      <a:pt x="180" y="415"/>
                    </a:lnTo>
                    <a:lnTo>
                      <a:pt x="181" y="415"/>
                    </a:lnTo>
                    <a:close/>
                    <a:moveTo>
                      <a:pt x="618" y="499"/>
                    </a:moveTo>
                    <a:lnTo>
                      <a:pt x="619" y="500"/>
                    </a:lnTo>
                    <a:lnTo>
                      <a:pt x="618" y="501"/>
                    </a:lnTo>
                    <a:lnTo>
                      <a:pt x="615" y="502"/>
                    </a:lnTo>
                    <a:lnTo>
                      <a:pt x="615" y="501"/>
                    </a:lnTo>
                    <a:lnTo>
                      <a:pt x="616" y="501"/>
                    </a:lnTo>
                    <a:lnTo>
                      <a:pt x="616" y="500"/>
                    </a:lnTo>
                    <a:lnTo>
                      <a:pt x="617" y="500"/>
                    </a:lnTo>
                    <a:lnTo>
                      <a:pt x="618" y="499"/>
                    </a:lnTo>
                    <a:close/>
                    <a:moveTo>
                      <a:pt x="413" y="374"/>
                    </a:moveTo>
                    <a:lnTo>
                      <a:pt x="414" y="374"/>
                    </a:lnTo>
                    <a:lnTo>
                      <a:pt x="414" y="375"/>
                    </a:lnTo>
                    <a:lnTo>
                      <a:pt x="413" y="375"/>
                    </a:lnTo>
                    <a:lnTo>
                      <a:pt x="413" y="376"/>
                    </a:lnTo>
                    <a:lnTo>
                      <a:pt x="413" y="377"/>
                    </a:lnTo>
                    <a:lnTo>
                      <a:pt x="412" y="377"/>
                    </a:lnTo>
                    <a:lnTo>
                      <a:pt x="411" y="376"/>
                    </a:lnTo>
                    <a:lnTo>
                      <a:pt x="412" y="376"/>
                    </a:lnTo>
                    <a:lnTo>
                      <a:pt x="412" y="377"/>
                    </a:lnTo>
                    <a:lnTo>
                      <a:pt x="412" y="376"/>
                    </a:lnTo>
                    <a:lnTo>
                      <a:pt x="411" y="376"/>
                    </a:lnTo>
                    <a:lnTo>
                      <a:pt x="411" y="375"/>
                    </a:lnTo>
                    <a:lnTo>
                      <a:pt x="412" y="375"/>
                    </a:lnTo>
                    <a:lnTo>
                      <a:pt x="413" y="374"/>
                    </a:lnTo>
                    <a:lnTo>
                      <a:pt x="412" y="374"/>
                    </a:lnTo>
                    <a:lnTo>
                      <a:pt x="411" y="374"/>
                    </a:lnTo>
                    <a:lnTo>
                      <a:pt x="411" y="375"/>
                    </a:lnTo>
                    <a:lnTo>
                      <a:pt x="410" y="375"/>
                    </a:lnTo>
                    <a:lnTo>
                      <a:pt x="409" y="375"/>
                    </a:lnTo>
                    <a:lnTo>
                      <a:pt x="408" y="374"/>
                    </a:lnTo>
                    <a:lnTo>
                      <a:pt x="409" y="374"/>
                    </a:lnTo>
                    <a:lnTo>
                      <a:pt x="409" y="375"/>
                    </a:lnTo>
                    <a:lnTo>
                      <a:pt x="410" y="375"/>
                    </a:lnTo>
                    <a:lnTo>
                      <a:pt x="411" y="375"/>
                    </a:lnTo>
                    <a:lnTo>
                      <a:pt x="411" y="374"/>
                    </a:lnTo>
                    <a:lnTo>
                      <a:pt x="412" y="374"/>
                    </a:lnTo>
                    <a:lnTo>
                      <a:pt x="413" y="374"/>
                    </a:lnTo>
                    <a:close/>
                    <a:moveTo>
                      <a:pt x="328" y="468"/>
                    </a:moveTo>
                    <a:lnTo>
                      <a:pt x="329" y="468"/>
                    </a:lnTo>
                    <a:lnTo>
                      <a:pt x="330" y="468"/>
                    </a:lnTo>
                    <a:lnTo>
                      <a:pt x="330" y="469"/>
                    </a:lnTo>
                    <a:lnTo>
                      <a:pt x="330" y="470"/>
                    </a:lnTo>
                    <a:lnTo>
                      <a:pt x="329" y="469"/>
                    </a:lnTo>
                    <a:lnTo>
                      <a:pt x="328" y="469"/>
                    </a:lnTo>
                    <a:lnTo>
                      <a:pt x="326" y="469"/>
                    </a:lnTo>
                    <a:lnTo>
                      <a:pt x="325" y="468"/>
                    </a:lnTo>
                    <a:lnTo>
                      <a:pt x="326" y="468"/>
                    </a:lnTo>
                    <a:lnTo>
                      <a:pt x="328" y="468"/>
                    </a:lnTo>
                    <a:close/>
                    <a:moveTo>
                      <a:pt x="126" y="411"/>
                    </a:moveTo>
                    <a:lnTo>
                      <a:pt x="123" y="411"/>
                    </a:lnTo>
                    <a:lnTo>
                      <a:pt x="116" y="411"/>
                    </a:lnTo>
                    <a:lnTo>
                      <a:pt x="117" y="410"/>
                    </a:lnTo>
                    <a:lnTo>
                      <a:pt x="118" y="410"/>
                    </a:lnTo>
                    <a:lnTo>
                      <a:pt x="118" y="411"/>
                    </a:lnTo>
                    <a:lnTo>
                      <a:pt x="119" y="411"/>
                    </a:lnTo>
                    <a:lnTo>
                      <a:pt x="122" y="411"/>
                    </a:lnTo>
                    <a:lnTo>
                      <a:pt x="123" y="411"/>
                    </a:lnTo>
                    <a:lnTo>
                      <a:pt x="123" y="410"/>
                    </a:lnTo>
                    <a:lnTo>
                      <a:pt x="124" y="410"/>
                    </a:lnTo>
                    <a:lnTo>
                      <a:pt x="125" y="409"/>
                    </a:lnTo>
                    <a:lnTo>
                      <a:pt x="125" y="410"/>
                    </a:lnTo>
                    <a:lnTo>
                      <a:pt x="126" y="410"/>
                    </a:lnTo>
                    <a:lnTo>
                      <a:pt x="126" y="411"/>
                    </a:lnTo>
                    <a:close/>
                    <a:moveTo>
                      <a:pt x="553" y="518"/>
                    </a:moveTo>
                    <a:lnTo>
                      <a:pt x="552" y="518"/>
                    </a:lnTo>
                    <a:lnTo>
                      <a:pt x="552" y="517"/>
                    </a:lnTo>
                    <a:lnTo>
                      <a:pt x="552" y="516"/>
                    </a:lnTo>
                    <a:lnTo>
                      <a:pt x="553" y="516"/>
                    </a:lnTo>
                    <a:lnTo>
                      <a:pt x="553" y="515"/>
                    </a:lnTo>
                    <a:lnTo>
                      <a:pt x="554" y="515"/>
                    </a:lnTo>
                    <a:lnTo>
                      <a:pt x="555" y="515"/>
                    </a:lnTo>
                    <a:lnTo>
                      <a:pt x="554" y="515"/>
                    </a:lnTo>
                    <a:lnTo>
                      <a:pt x="554" y="516"/>
                    </a:lnTo>
                    <a:lnTo>
                      <a:pt x="554" y="517"/>
                    </a:lnTo>
                    <a:lnTo>
                      <a:pt x="553" y="517"/>
                    </a:lnTo>
                    <a:lnTo>
                      <a:pt x="553" y="518"/>
                    </a:lnTo>
                    <a:close/>
                    <a:moveTo>
                      <a:pt x="256" y="170"/>
                    </a:moveTo>
                    <a:lnTo>
                      <a:pt x="256" y="171"/>
                    </a:lnTo>
                    <a:lnTo>
                      <a:pt x="255" y="171"/>
                    </a:lnTo>
                    <a:lnTo>
                      <a:pt x="255" y="170"/>
                    </a:lnTo>
                    <a:lnTo>
                      <a:pt x="254" y="170"/>
                    </a:lnTo>
                    <a:lnTo>
                      <a:pt x="255" y="170"/>
                    </a:lnTo>
                    <a:lnTo>
                      <a:pt x="254" y="170"/>
                    </a:lnTo>
                    <a:lnTo>
                      <a:pt x="254" y="169"/>
                    </a:lnTo>
                    <a:lnTo>
                      <a:pt x="254" y="168"/>
                    </a:lnTo>
                    <a:lnTo>
                      <a:pt x="255" y="168"/>
                    </a:lnTo>
                    <a:lnTo>
                      <a:pt x="255" y="167"/>
                    </a:lnTo>
                    <a:lnTo>
                      <a:pt x="256" y="168"/>
                    </a:lnTo>
                    <a:lnTo>
                      <a:pt x="255" y="168"/>
                    </a:lnTo>
                    <a:lnTo>
                      <a:pt x="255" y="169"/>
                    </a:lnTo>
                    <a:lnTo>
                      <a:pt x="256" y="169"/>
                    </a:lnTo>
                    <a:lnTo>
                      <a:pt x="255" y="170"/>
                    </a:lnTo>
                    <a:lnTo>
                      <a:pt x="256" y="170"/>
                    </a:lnTo>
                    <a:close/>
                    <a:moveTo>
                      <a:pt x="259" y="393"/>
                    </a:moveTo>
                    <a:lnTo>
                      <a:pt x="260" y="395"/>
                    </a:lnTo>
                    <a:lnTo>
                      <a:pt x="259" y="395"/>
                    </a:lnTo>
                    <a:lnTo>
                      <a:pt x="258" y="395"/>
                    </a:lnTo>
                    <a:lnTo>
                      <a:pt x="257" y="395"/>
                    </a:lnTo>
                    <a:lnTo>
                      <a:pt x="255" y="395"/>
                    </a:lnTo>
                    <a:lnTo>
                      <a:pt x="255" y="393"/>
                    </a:lnTo>
                    <a:lnTo>
                      <a:pt x="256" y="393"/>
                    </a:lnTo>
                    <a:lnTo>
                      <a:pt x="257" y="393"/>
                    </a:lnTo>
                    <a:lnTo>
                      <a:pt x="258" y="392"/>
                    </a:lnTo>
                    <a:lnTo>
                      <a:pt x="259" y="393"/>
                    </a:lnTo>
                    <a:close/>
                    <a:moveTo>
                      <a:pt x="362" y="418"/>
                    </a:moveTo>
                    <a:lnTo>
                      <a:pt x="363" y="420"/>
                    </a:lnTo>
                    <a:lnTo>
                      <a:pt x="363" y="421"/>
                    </a:lnTo>
                    <a:lnTo>
                      <a:pt x="362" y="421"/>
                    </a:lnTo>
                    <a:lnTo>
                      <a:pt x="361" y="421"/>
                    </a:lnTo>
                    <a:lnTo>
                      <a:pt x="361" y="420"/>
                    </a:lnTo>
                    <a:lnTo>
                      <a:pt x="360" y="420"/>
                    </a:lnTo>
                    <a:lnTo>
                      <a:pt x="361" y="420"/>
                    </a:lnTo>
                    <a:lnTo>
                      <a:pt x="361" y="418"/>
                    </a:lnTo>
                    <a:lnTo>
                      <a:pt x="360" y="420"/>
                    </a:lnTo>
                    <a:lnTo>
                      <a:pt x="360" y="418"/>
                    </a:lnTo>
                    <a:lnTo>
                      <a:pt x="361" y="418"/>
                    </a:lnTo>
                    <a:lnTo>
                      <a:pt x="361" y="417"/>
                    </a:lnTo>
                    <a:lnTo>
                      <a:pt x="362" y="418"/>
                    </a:lnTo>
                    <a:close/>
                    <a:moveTo>
                      <a:pt x="201" y="410"/>
                    </a:moveTo>
                    <a:lnTo>
                      <a:pt x="201" y="411"/>
                    </a:lnTo>
                    <a:lnTo>
                      <a:pt x="200" y="411"/>
                    </a:lnTo>
                    <a:lnTo>
                      <a:pt x="200" y="412"/>
                    </a:lnTo>
                    <a:lnTo>
                      <a:pt x="197" y="412"/>
                    </a:lnTo>
                    <a:lnTo>
                      <a:pt x="197" y="411"/>
                    </a:lnTo>
                    <a:lnTo>
                      <a:pt x="199" y="411"/>
                    </a:lnTo>
                    <a:lnTo>
                      <a:pt x="199" y="412"/>
                    </a:lnTo>
                    <a:lnTo>
                      <a:pt x="199" y="411"/>
                    </a:lnTo>
                    <a:lnTo>
                      <a:pt x="200" y="411"/>
                    </a:lnTo>
                    <a:lnTo>
                      <a:pt x="201" y="411"/>
                    </a:lnTo>
                    <a:lnTo>
                      <a:pt x="201" y="410"/>
                    </a:lnTo>
                    <a:lnTo>
                      <a:pt x="200" y="411"/>
                    </a:lnTo>
                    <a:lnTo>
                      <a:pt x="199" y="411"/>
                    </a:lnTo>
                    <a:lnTo>
                      <a:pt x="199" y="410"/>
                    </a:lnTo>
                    <a:lnTo>
                      <a:pt x="200" y="410"/>
                    </a:lnTo>
                    <a:lnTo>
                      <a:pt x="201" y="410"/>
                    </a:lnTo>
                    <a:close/>
                    <a:moveTo>
                      <a:pt x="552" y="552"/>
                    </a:moveTo>
                    <a:lnTo>
                      <a:pt x="553" y="552"/>
                    </a:lnTo>
                    <a:lnTo>
                      <a:pt x="554" y="552"/>
                    </a:lnTo>
                    <a:lnTo>
                      <a:pt x="555" y="552"/>
                    </a:lnTo>
                    <a:lnTo>
                      <a:pt x="554" y="552"/>
                    </a:lnTo>
                    <a:lnTo>
                      <a:pt x="553" y="552"/>
                    </a:lnTo>
                    <a:lnTo>
                      <a:pt x="552" y="553"/>
                    </a:lnTo>
                    <a:lnTo>
                      <a:pt x="551" y="553"/>
                    </a:lnTo>
                    <a:lnTo>
                      <a:pt x="550" y="553"/>
                    </a:lnTo>
                    <a:lnTo>
                      <a:pt x="549" y="553"/>
                    </a:lnTo>
                    <a:lnTo>
                      <a:pt x="549" y="552"/>
                    </a:lnTo>
                    <a:lnTo>
                      <a:pt x="550" y="552"/>
                    </a:lnTo>
                    <a:lnTo>
                      <a:pt x="552" y="551"/>
                    </a:lnTo>
                    <a:lnTo>
                      <a:pt x="552" y="552"/>
                    </a:lnTo>
                    <a:close/>
                    <a:moveTo>
                      <a:pt x="217" y="405"/>
                    </a:moveTo>
                    <a:lnTo>
                      <a:pt x="217" y="406"/>
                    </a:lnTo>
                    <a:lnTo>
                      <a:pt x="216" y="406"/>
                    </a:lnTo>
                    <a:lnTo>
                      <a:pt x="216" y="405"/>
                    </a:lnTo>
                    <a:lnTo>
                      <a:pt x="216" y="406"/>
                    </a:lnTo>
                    <a:lnTo>
                      <a:pt x="215" y="406"/>
                    </a:lnTo>
                    <a:lnTo>
                      <a:pt x="216" y="406"/>
                    </a:lnTo>
                    <a:lnTo>
                      <a:pt x="215" y="406"/>
                    </a:lnTo>
                    <a:lnTo>
                      <a:pt x="215" y="404"/>
                    </a:lnTo>
                    <a:lnTo>
                      <a:pt x="218" y="404"/>
                    </a:lnTo>
                    <a:lnTo>
                      <a:pt x="217" y="405"/>
                    </a:lnTo>
                    <a:close/>
                    <a:moveTo>
                      <a:pt x="424" y="525"/>
                    </a:moveTo>
                    <a:lnTo>
                      <a:pt x="424" y="526"/>
                    </a:lnTo>
                    <a:lnTo>
                      <a:pt x="423" y="526"/>
                    </a:lnTo>
                    <a:lnTo>
                      <a:pt x="422" y="527"/>
                    </a:lnTo>
                    <a:lnTo>
                      <a:pt x="422" y="526"/>
                    </a:lnTo>
                    <a:lnTo>
                      <a:pt x="422" y="525"/>
                    </a:lnTo>
                    <a:lnTo>
                      <a:pt x="423" y="525"/>
                    </a:lnTo>
                    <a:lnTo>
                      <a:pt x="424" y="525"/>
                    </a:lnTo>
                    <a:lnTo>
                      <a:pt x="424" y="524"/>
                    </a:lnTo>
                    <a:lnTo>
                      <a:pt x="425" y="523"/>
                    </a:lnTo>
                    <a:lnTo>
                      <a:pt x="426" y="523"/>
                    </a:lnTo>
                    <a:lnTo>
                      <a:pt x="426" y="524"/>
                    </a:lnTo>
                    <a:lnTo>
                      <a:pt x="425" y="524"/>
                    </a:lnTo>
                    <a:lnTo>
                      <a:pt x="425" y="525"/>
                    </a:lnTo>
                    <a:lnTo>
                      <a:pt x="424" y="525"/>
                    </a:lnTo>
                    <a:close/>
                    <a:moveTo>
                      <a:pt x="413" y="370"/>
                    </a:moveTo>
                    <a:lnTo>
                      <a:pt x="412" y="370"/>
                    </a:lnTo>
                    <a:lnTo>
                      <a:pt x="412" y="371"/>
                    </a:lnTo>
                    <a:lnTo>
                      <a:pt x="412" y="372"/>
                    </a:lnTo>
                    <a:lnTo>
                      <a:pt x="411" y="372"/>
                    </a:lnTo>
                    <a:lnTo>
                      <a:pt x="410" y="373"/>
                    </a:lnTo>
                    <a:lnTo>
                      <a:pt x="410" y="372"/>
                    </a:lnTo>
                    <a:lnTo>
                      <a:pt x="410" y="373"/>
                    </a:lnTo>
                    <a:lnTo>
                      <a:pt x="411" y="372"/>
                    </a:lnTo>
                    <a:lnTo>
                      <a:pt x="411" y="371"/>
                    </a:lnTo>
                    <a:lnTo>
                      <a:pt x="411" y="370"/>
                    </a:lnTo>
                    <a:lnTo>
                      <a:pt x="410" y="370"/>
                    </a:lnTo>
                    <a:lnTo>
                      <a:pt x="410" y="371"/>
                    </a:lnTo>
                    <a:lnTo>
                      <a:pt x="409" y="371"/>
                    </a:lnTo>
                    <a:lnTo>
                      <a:pt x="408" y="371"/>
                    </a:lnTo>
                    <a:lnTo>
                      <a:pt x="408" y="370"/>
                    </a:lnTo>
                    <a:lnTo>
                      <a:pt x="408" y="371"/>
                    </a:lnTo>
                    <a:lnTo>
                      <a:pt x="409" y="370"/>
                    </a:lnTo>
                    <a:lnTo>
                      <a:pt x="410" y="370"/>
                    </a:lnTo>
                    <a:lnTo>
                      <a:pt x="411" y="369"/>
                    </a:lnTo>
                    <a:lnTo>
                      <a:pt x="412" y="369"/>
                    </a:lnTo>
                    <a:lnTo>
                      <a:pt x="413" y="369"/>
                    </a:lnTo>
                    <a:lnTo>
                      <a:pt x="413" y="370"/>
                    </a:lnTo>
                    <a:close/>
                    <a:moveTo>
                      <a:pt x="229" y="226"/>
                    </a:moveTo>
                    <a:lnTo>
                      <a:pt x="230" y="228"/>
                    </a:lnTo>
                    <a:lnTo>
                      <a:pt x="230" y="226"/>
                    </a:lnTo>
                    <a:lnTo>
                      <a:pt x="231" y="228"/>
                    </a:lnTo>
                    <a:lnTo>
                      <a:pt x="231" y="229"/>
                    </a:lnTo>
                    <a:lnTo>
                      <a:pt x="230" y="229"/>
                    </a:lnTo>
                    <a:lnTo>
                      <a:pt x="229" y="229"/>
                    </a:lnTo>
                    <a:lnTo>
                      <a:pt x="229" y="228"/>
                    </a:lnTo>
                    <a:lnTo>
                      <a:pt x="228" y="228"/>
                    </a:lnTo>
                    <a:lnTo>
                      <a:pt x="228" y="226"/>
                    </a:lnTo>
                    <a:lnTo>
                      <a:pt x="227" y="226"/>
                    </a:lnTo>
                    <a:lnTo>
                      <a:pt x="228" y="226"/>
                    </a:lnTo>
                    <a:lnTo>
                      <a:pt x="229" y="226"/>
                    </a:lnTo>
                    <a:close/>
                    <a:moveTo>
                      <a:pt x="270" y="425"/>
                    </a:moveTo>
                    <a:lnTo>
                      <a:pt x="270" y="426"/>
                    </a:lnTo>
                    <a:lnTo>
                      <a:pt x="270" y="427"/>
                    </a:lnTo>
                    <a:lnTo>
                      <a:pt x="267" y="426"/>
                    </a:lnTo>
                    <a:lnTo>
                      <a:pt x="268" y="426"/>
                    </a:lnTo>
                    <a:lnTo>
                      <a:pt x="269" y="426"/>
                    </a:lnTo>
                    <a:lnTo>
                      <a:pt x="269" y="425"/>
                    </a:lnTo>
                    <a:lnTo>
                      <a:pt x="270" y="425"/>
                    </a:lnTo>
                    <a:close/>
                    <a:moveTo>
                      <a:pt x="247" y="170"/>
                    </a:moveTo>
                    <a:lnTo>
                      <a:pt x="248" y="170"/>
                    </a:lnTo>
                    <a:lnTo>
                      <a:pt x="248" y="169"/>
                    </a:lnTo>
                    <a:lnTo>
                      <a:pt x="248" y="170"/>
                    </a:lnTo>
                    <a:lnTo>
                      <a:pt x="248" y="169"/>
                    </a:lnTo>
                    <a:lnTo>
                      <a:pt x="249" y="169"/>
                    </a:lnTo>
                    <a:lnTo>
                      <a:pt x="249" y="170"/>
                    </a:lnTo>
                    <a:lnTo>
                      <a:pt x="248" y="170"/>
                    </a:lnTo>
                    <a:lnTo>
                      <a:pt x="249" y="170"/>
                    </a:lnTo>
                    <a:lnTo>
                      <a:pt x="251" y="170"/>
                    </a:lnTo>
                    <a:lnTo>
                      <a:pt x="251" y="171"/>
                    </a:lnTo>
                    <a:lnTo>
                      <a:pt x="252" y="171"/>
                    </a:lnTo>
                    <a:lnTo>
                      <a:pt x="251" y="171"/>
                    </a:lnTo>
                    <a:lnTo>
                      <a:pt x="249" y="171"/>
                    </a:lnTo>
                    <a:lnTo>
                      <a:pt x="248" y="171"/>
                    </a:lnTo>
                    <a:lnTo>
                      <a:pt x="248" y="170"/>
                    </a:lnTo>
                    <a:lnTo>
                      <a:pt x="249" y="170"/>
                    </a:lnTo>
                    <a:lnTo>
                      <a:pt x="248" y="170"/>
                    </a:lnTo>
                    <a:lnTo>
                      <a:pt x="248" y="171"/>
                    </a:lnTo>
                    <a:lnTo>
                      <a:pt x="247" y="171"/>
                    </a:lnTo>
                    <a:lnTo>
                      <a:pt x="247" y="170"/>
                    </a:lnTo>
                    <a:lnTo>
                      <a:pt x="246" y="170"/>
                    </a:lnTo>
                    <a:lnTo>
                      <a:pt x="246" y="169"/>
                    </a:lnTo>
                    <a:lnTo>
                      <a:pt x="246" y="170"/>
                    </a:lnTo>
                    <a:lnTo>
                      <a:pt x="247" y="170"/>
                    </a:lnTo>
                    <a:close/>
                    <a:moveTo>
                      <a:pt x="435" y="388"/>
                    </a:moveTo>
                    <a:lnTo>
                      <a:pt x="436" y="388"/>
                    </a:lnTo>
                    <a:lnTo>
                      <a:pt x="437" y="388"/>
                    </a:lnTo>
                    <a:lnTo>
                      <a:pt x="438" y="388"/>
                    </a:lnTo>
                    <a:lnTo>
                      <a:pt x="438" y="389"/>
                    </a:lnTo>
                    <a:lnTo>
                      <a:pt x="439" y="389"/>
                    </a:lnTo>
                    <a:lnTo>
                      <a:pt x="438" y="389"/>
                    </a:lnTo>
                    <a:lnTo>
                      <a:pt x="438" y="390"/>
                    </a:lnTo>
                    <a:lnTo>
                      <a:pt x="438" y="389"/>
                    </a:lnTo>
                    <a:lnTo>
                      <a:pt x="437" y="389"/>
                    </a:lnTo>
                    <a:lnTo>
                      <a:pt x="437" y="388"/>
                    </a:lnTo>
                    <a:lnTo>
                      <a:pt x="436" y="388"/>
                    </a:lnTo>
                    <a:lnTo>
                      <a:pt x="436" y="389"/>
                    </a:lnTo>
                    <a:lnTo>
                      <a:pt x="436" y="390"/>
                    </a:lnTo>
                    <a:lnTo>
                      <a:pt x="435" y="390"/>
                    </a:lnTo>
                    <a:lnTo>
                      <a:pt x="434" y="390"/>
                    </a:lnTo>
                    <a:lnTo>
                      <a:pt x="435" y="390"/>
                    </a:lnTo>
                    <a:lnTo>
                      <a:pt x="436" y="390"/>
                    </a:lnTo>
                    <a:lnTo>
                      <a:pt x="436" y="389"/>
                    </a:lnTo>
                    <a:lnTo>
                      <a:pt x="435" y="388"/>
                    </a:lnTo>
                    <a:lnTo>
                      <a:pt x="434" y="388"/>
                    </a:lnTo>
                    <a:lnTo>
                      <a:pt x="434" y="389"/>
                    </a:lnTo>
                    <a:lnTo>
                      <a:pt x="434" y="388"/>
                    </a:lnTo>
                    <a:lnTo>
                      <a:pt x="434" y="387"/>
                    </a:lnTo>
                    <a:lnTo>
                      <a:pt x="435" y="388"/>
                    </a:lnTo>
                    <a:close/>
                    <a:moveTo>
                      <a:pt x="564" y="428"/>
                    </a:moveTo>
                    <a:lnTo>
                      <a:pt x="564" y="429"/>
                    </a:lnTo>
                    <a:lnTo>
                      <a:pt x="563" y="429"/>
                    </a:lnTo>
                    <a:lnTo>
                      <a:pt x="563" y="430"/>
                    </a:lnTo>
                    <a:lnTo>
                      <a:pt x="562" y="430"/>
                    </a:lnTo>
                    <a:lnTo>
                      <a:pt x="563" y="430"/>
                    </a:lnTo>
                    <a:lnTo>
                      <a:pt x="563" y="431"/>
                    </a:lnTo>
                    <a:lnTo>
                      <a:pt x="562" y="431"/>
                    </a:lnTo>
                    <a:lnTo>
                      <a:pt x="562" y="433"/>
                    </a:lnTo>
                    <a:lnTo>
                      <a:pt x="561" y="433"/>
                    </a:lnTo>
                    <a:lnTo>
                      <a:pt x="560" y="431"/>
                    </a:lnTo>
                    <a:lnTo>
                      <a:pt x="561" y="431"/>
                    </a:lnTo>
                    <a:lnTo>
                      <a:pt x="562" y="430"/>
                    </a:lnTo>
                    <a:lnTo>
                      <a:pt x="562" y="429"/>
                    </a:lnTo>
                    <a:lnTo>
                      <a:pt x="563" y="428"/>
                    </a:lnTo>
                    <a:lnTo>
                      <a:pt x="564" y="428"/>
                    </a:lnTo>
                    <a:close/>
                    <a:moveTo>
                      <a:pt x="292" y="436"/>
                    </a:moveTo>
                    <a:lnTo>
                      <a:pt x="292" y="434"/>
                    </a:lnTo>
                    <a:lnTo>
                      <a:pt x="292" y="433"/>
                    </a:lnTo>
                    <a:lnTo>
                      <a:pt x="292" y="431"/>
                    </a:lnTo>
                    <a:lnTo>
                      <a:pt x="292" y="433"/>
                    </a:lnTo>
                    <a:lnTo>
                      <a:pt x="293" y="434"/>
                    </a:lnTo>
                    <a:lnTo>
                      <a:pt x="293" y="436"/>
                    </a:lnTo>
                    <a:lnTo>
                      <a:pt x="292" y="436"/>
                    </a:lnTo>
                    <a:close/>
                    <a:moveTo>
                      <a:pt x="180" y="410"/>
                    </a:moveTo>
                    <a:lnTo>
                      <a:pt x="181" y="410"/>
                    </a:lnTo>
                    <a:lnTo>
                      <a:pt x="182" y="410"/>
                    </a:lnTo>
                    <a:lnTo>
                      <a:pt x="181" y="410"/>
                    </a:lnTo>
                    <a:lnTo>
                      <a:pt x="182" y="411"/>
                    </a:lnTo>
                    <a:lnTo>
                      <a:pt x="181" y="411"/>
                    </a:lnTo>
                    <a:lnTo>
                      <a:pt x="181" y="412"/>
                    </a:lnTo>
                    <a:lnTo>
                      <a:pt x="178" y="412"/>
                    </a:lnTo>
                    <a:lnTo>
                      <a:pt x="178" y="411"/>
                    </a:lnTo>
                    <a:lnTo>
                      <a:pt x="179" y="411"/>
                    </a:lnTo>
                    <a:lnTo>
                      <a:pt x="178" y="411"/>
                    </a:lnTo>
                    <a:lnTo>
                      <a:pt x="179" y="411"/>
                    </a:lnTo>
                    <a:lnTo>
                      <a:pt x="179" y="410"/>
                    </a:lnTo>
                    <a:lnTo>
                      <a:pt x="178" y="410"/>
                    </a:lnTo>
                    <a:lnTo>
                      <a:pt x="179" y="410"/>
                    </a:lnTo>
                    <a:lnTo>
                      <a:pt x="180" y="410"/>
                    </a:lnTo>
                    <a:lnTo>
                      <a:pt x="180" y="411"/>
                    </a:lnTo>
                    <a:lnTo>
                      <a:pt x="181" y="411"/>
                    </a:lnTo>
                    <a:lnTo>
                      <a:pt x="180" y="411"/>
                    </a:lnTo>
                    <a:lnTo>
                      <a:pt x="180" y="410"/>
                    </a:lnTo>
                    <a:lnTo>
                      <a:pt x="179" y="410"/>
                    </a:lnTo>
                    <a:lnTo>
                      <a:pt x="178" y="410"/>
                    </a:lnTo>
                    <a:lnTo>
                      <a:pt x="179" y="410"/>
                    </a:lnTo>
                    <a:lnTo>
                      <a:pt x="180" y="410"/>
                    </a:lnTo>
                    <a:close/>
                    <a:moveTo>
                      <a:pt x="566" y="552"/>
                    </a:moveTo>
                    <a:lnTo>
                      <a:pt x="567" y="552"/>
                    </a:lnTo>
                    <a:lnTo>
                      <a:pt x="567" y="553"/>
                    </a:lnTo>
                    <a:lnTo>
                      <a:pt x="566" y="553"/>
                    </a:lnTo>
                    <a:lnTo>
                      <a:pt x="567" y="553"/>
                    </a:lnTo>
                    <a:lnTo>
                      <a:pt x="567" y="554"/>
                    </a:lnTo>
                    <a:lnTo>
                      <a:pt x="566" y="554"/>
                    </a:lnTo>
                    <a:lnTo>
                      <a:pt x="566" y="555"/>
                    </a:lnTo>
                    <a:lnTo>
                      <a:pt x="565" y="554"/>
                    </a:lnTo>
                    <a:lnTo>
                      <a:pt x="565" y="553"/>
                    </a:lnTo>
                    <a:lnTo>
                      <a:pt x="565" y="552"/>
                    </a:lnTo>
                    <a:lnTo>
                      <a:pt x="566" y="552"/>
                    </a:lnTo>
                    <a:close/>
                    <a:moveTo>
                      <a:pt x="217" y="397"/>
                    </a:moveTo>
                    <a:lnTo>
                      <a:pt x="217" y="398"/>
                    </a:lnTo>
                    <a:lnTo>
                      <a:pt x="217" y="399"/>
                    </a:lnTo>
                    <a:lnTo>
                      <a:pt x="218" y="399"/>
                    </a:lnTo>
                    <a:lnTo>
                      <a:pt x="218" y="398"/>
                    </a:lnTo>
                    <a:lnTo>
                      <a:pt x="218" y="399"/>
                    </a:lnTo>
                    <a:lnTo>
                      <a:pt x="219" y="399"/>
                    </a:lnTo>
                    <a:lnTo>
                      <a:pt x="219" y="400"/>
                    </a:lnTo>
                    <a:lnTo>
                      <a:pt x="218" y="400"/>
                    </a:lnTo>
                    <a:lnTo>
                      <a:pt x="217" y="400"/>
                    </a:lnTo>
                    <a:lnTo>
                      <a:pt x="217" y="399"/>
                    </a:lnTo>
                    <a:lnTo>
                      <a:pt x="217" y="398"/>
                    </a:lnTo>
                    <a:lnTo>
                      <a:pt x="217" y="397"/>
                    </a:lnTo>
                    <a:lnTo>
                      <a:pt x="216" y="398"/>
                    </a:lnTo>
                    <a:lnTo>
                      <a:pt x="216" y="397"/>
                    </a:lnTo>
                    <a:lnTo>
                      <a:pt x="217" y="397"/>
                    </a:lnTo>
                    <a:close/>
                    <a:moveTo>
                      <a:pt x="339" y="346"/>
                    </a:moveTo>
                    <a:lnTo>
                      <a:pt x="338" y="347"/>
                    </a:lnTo>
                    <a:lnTo>
                      <a:pt x="338" y="346"/>
                    </a:lnTo>
                    <a:lnTo>
                      <a:pt x="337" y="346"/>
                    </a:lnTo>
                    <a:lnTo>
                      <a:pt x="337" y="347"/>
                    </a:lnTo>
                    <a:lnTo>
                      <a:pt x="336" y="347"/>
                    </a:lnTo>
                    <a:lnTo>
                      <a:pt x="336" y="346"/>
                    </a:lnTo>
                    <a:lnTo>
                      <a:pt x="336" y="345"/>
                    </a:lnTo>
                    <a:lnTo>
                      <a:pt x="337" y="345"/>
                    </a:lnTo>
                    <a:lnTo>
                      <a:pt x="338" y="345"/>
                    </a:lnTo>
                    <a:lnTo>
                      <a:pt x="338" y="346"/>
                    </a:lnTo>
                    <a:lnTo>
                      <a:pt x="339" y="346"/>
                    </a:lnTo>
                    <a:close/>
                    <a:moveTo>
                      <a:pt x="497" y="444"/>
                    </a:moveTo>
                    <a:lnTo>
                      <a:pt x="498" y="444"/>
                    </a:lnTo>
                    <a:lnTo>
                      <a:pt x="498" y="446"/>
                    </a:lnTo>
                    <a:lnTo>
                      <a:pt x="498" y="444"/>
                    </a:lnTo>
                    <a:lnTo>
                      <a:pt x="498" y="446"/>
                    </a:lnTo>
                    <a:lnTo>
                      <a:pt x="497" y="446"/>
                    </a:lnTo>
                    <a:lnTo>
                      <a:pt x="498" y="446"/>
                    </a:lnTo>
                    <a:lnTo>
                      <a:pt x="497" y="446"/>
                    </a:lnTo>
                    <a:lnTo>
                      <a:pt x="497" y="444"/>
                    </a:lnTo>
                    <a:lnTo>
                      <a:pt x="496" y="446"/>
                    </a:lnTo>
                    <a:lnTo>
                      <a:pt x="496" y="444"/>
                    </a:lnTo>
                    <a:lnTo>
                      <a:pt x="494" y="444"/>
                    </a:lnTo>
                    <a:lnTo>
                      <a:pt x="493" y="443"/>
                    </a:lnTo>
                    <a:lnTo>
                      <a:pt x="494" y="443"/>
                    </a:lnTo>
                    <a:lnTo>
                      <a:pt x="496" y="443"/>
                    </a:lnTo>
                    <a:lnTo>
                      <a:pt x="494" y="444"/>
                    </a:lnTo>
                    <a:lnTo>
                      <a:pt x="496" y="444"/>
                    </a:lnTo>
                    <a:lnTo>
                      <a:pt x="496" y="443"/>
                    </a:lnTo>
                    <a:lnTo>
                      <a:pt x="497" y="443"/>
                    </a:lnTo>
                    <a:lnTo>
                      <a:pt x="497" y="444"/>
                    </a:lnTo>
                    <a:close/>
                    <a:moveTo>
                      <a:pt x="321" y="266"/>
                    </a:moveTo>
                    <a:lnTo>
                      <a:pt x="320" y="264"/>
                    </a:lnTo>
                    <a:lnTo>
                      <a:pt x="321" y="264"/>
                    </a:lnTo>
                    <a:lnTo>
                      <a:pt x="320" y="263"/>
                    </a:lnTo>
                    <a:lnTo>
                      <a:pt x="319" y="263"/>
                    </a:lnTo>
                    <a:lnTo>
                      <a:pt x="319" y="262"/>
                    </a:lnTo>
                    <a:lnTo>
                      <a:pt x="318" y="262"/>
                    </a:lnTo>
                    <a:lnTo>
                      <a:pt x="318" y="261"/>
                    </a:lnTo>
                    <a:lnTo>
                      <a:pt x="318" y="260"/>
                    </a:lnTo>
                    <a:lnTo>
                      <a:pt x="318" y="261"/>
                    </a:lnTo>
                    <a:lnTo>
                      <a:pt x="319" y="261"/>
                    </a:lnTo>
                    <a:lnTo>
                      <a:pt x="319" y="262"/>
                    </a:lnTo>
                    <a:lnTo>
                      <a:pt x="320" y="263"/>
                    </a:lnTo>
                    <a:lnTo>
                      <a:pt x="321" y="263"/>
                    </a:lnTo>
                    <a:lnTo>
                      <a:pt x="322" y="264"/>
                    </a:lnTo>
                    <a:lnTo>
                      <a:pt x="321" y="266"/>
                    </a:lnTo>
                    <a:close/>
                    <a:moveTo>
                      <a:pt x="266" y="276"/>
                    </a:moveTo>
                    <a:lnTo>
                      <a:pt x="265" y="275"/>
                    </a:lnTo>
                    <a:lnTo>
                      <a:pt x="265" y="274"/>
                    </a:lnTo>
                    <a:lnTo>
                      <a:pt x="267" y="274"/>
                    </a:lnTo>
                    <a:lnTo>
                      <a:pt x="267" y="275"/>
                    </a:lnTo>
                    <a:lnTo>
                      <a:pt x="267" y="276"/>
                    </a:lnTo>
                    <a:lnTo>
                      <a:pt x="266" y="276"/>
                    </a:lnTo>
                    <a:close/>
                    <a:moveTo>
                      <a:pt x="228" y="225"/>
                    </a:moveTo>
                    <a:lnTo>
                      <a:pt x="229" y="225"/>
                    </a:lnTo>
                    <a:lnTo>
                      <a:pt x="230" y="225"/>
                    </a:lnTo>
                    <a:lnTo>
                      <a:pt x="230" y="226"/>
                    </a:lnTo>
                    <a:lnTo>
                      <a:pt x="231" y="226"/>
                    </a:lnTo>
                    <a:lnTo>
                      <a:pt x="230" y="226"/>
                    </a:lnTo>
                    <a:lnTo>
                      <a:pt x="229" y="226"/>
                    </a:lnTo>
                    <a:lnTo>
                      <a:pt x="228" y="225"/>
                    </a:lnTo>
                    <a:lnTo>
                      <a:pt x="227" y="225"/>
                    </a:lnTo>
                    <a:lnTo>
                      <a:pt x="228" y="224"/>
                    </a:lnTo>
                    <a:lnTo>
                      <a:pt x="228" y="225"/>
                    </a:lnTo>
                    <a:close/>
                    <a:moveTo>
                      <a:pt x="276" y="416"/>
                    </a:moveTo>
                    <a:lnTo>
                      <a:pt x="274" y="416"/>
                    </a:lnTo>
                    <a:lnTo>
                      <a:pt x="273" y="416"/>
                    </a:lnTo>
                    <a:lnTo>
                      <a:pt x="273" y="417"/>
                    </a:lnTo>
                    <a:lnTo>
                      <a:pt x="273" y="416"/>
                    </a:lnTo>
                    <a:lnTo>
                      <a:pt x="273" y="415"/>
                    </a:lnTo>
                    <a:lnTo>
                      <a:pt x="273" y="416"/>
                    </a:lnTo>
                    <a:lnTo>
                      <a:pt x="273" y="415"/>
                    </a:lnTo>
                    <a:lnTo>
                      <a:pt x="273" y="414"/>
                    </a:lnTo>
                    <a:lnTo>
                      <a:pt x="274" y="414"/>
                    </a:lnTo>
                    <a:lnTo>
                      <a:pt x="276" y="416"/>
                    </a:lnTo>
                    <a:close/>
                    <a:moveTo>
                      <a:pt x="349" y="457"/>
                    </a:moveTo>
                    <a:lnTo>
                      <a:pt x="350" y="459"/>
                    </a:lnTo>
                    <a:lnTo>
                      <a:pt x="349" y="459"/>
                    </a:lnTo>
                    <a:lnTo>
                      <a:pt x="350" y="459"/>
                    </a:lnTo>
                    <a:lnTo>
                      <a:pt x="350" y="460"/>
                    </a:lnTo>
                    <a:lnTo>
                      <a:pt x="349" y="460"/>
                    </a:lnTo>
                    <a:lnTo>
                      <a:pt x="348" y="460"/>
                    </a:lnTo>
                    <a:lnTo>
                      <a:pt x="348" y="459"/>
                    </a:lnTo>
                    <a:lnTo>
                      <a:pt x="347" y="459"/>
                    </a:lnTo>
                    <a:lnTo>
                      <a:pt x="347" y="460"/>
                    </a:lnTo>
                    <a:lnTo>
                      <a:pt x="346" y="460"/>
                    </a:lnTo>
                    <a:lnTo>
                      <a:pt x="346" y="461"/>
                    </a:lnTo>
                    <a:lnTo>
                      <a:pt x="345" y="460"/>
                    </a:lnTo>
                    <a:lnTo>
                      <a:pt x="345" y="459"/>
                    </a:lnTo>
                    <a:lnTo>
                      <a:pt x="346" y="459"/>
                    </a:lnTo>
                    <a:lnTo>
                      <a:pt x="345" y="460"/>
                    </a:lnTo>
                    <a:lnTo>
                      <a:pt x="346" y="460"/>
                    </a:lnTo>
                    <a:lnTo>
                      <a:pt x="347" y="459"/>
                    </a:lnTo>
                    <a:lnTo>
                      <a:pt x="348" y="459"/>
                    </a:lnTo>
                    <a:lnTo>
                      <a:pt x="349" y="459"/>
                    </a:lnTo>
                    <a:lnTo>
                      <a:pt x="349" y="457"/>
                    </a:lnTo>
                    <a:lnTo>
                      <a:pt x="348" y="457"/>
                    </a:lnTo>
                    <a:lnTo>
                      <a:pt x="347" y="459"/>
                    </a:lnTo>
                    <a:lnTo>
                      <a:pt x="346" y="459"/>
                    </a:lnTo>
                    <a:lnTo>
                      <a:pt x="347" y="457"/>
                    </a:lnTo>
                    <a:lnTo>
                      <a:pt x="348" y="457"/>
                    </a:lnTo>
                    <a:lnTo>
                      <a:pt x="349" y="457"/>
                    </a:lnTo>
                    <a:close/>
                    <a:moveTo>
                      <a:pt x="317" y="356"/>
                    </a:moveTo>
                    <a:lnTo>
                      <a:pt x="316" y="356"/>
                    </a:lnTo>
                    <a:lnTo>
                      <a:pt x="315" y="356"/>
                    </a:lnTo>
                    <a:lnTo>
                      <a:pt x="316" y="356"/>
                    </a:lnTo>
                    <a:lnTo>
                      <a:pt x="316" y="354"/>
                    </a:lnTo>
                    <a:lnTo>
                      <a:pt x="317" y="354"/>
                    </a:lnTo>
                    <a:lnTo>
                      <a:pt x="317" y="353"/>
                    </a:lnTo>
                    <a:lnTo>
                      <a:pt x="318" y="353"/>
                    </a:lnTo>
                    <a:lnTo>
                      <a:pt x="318" y="354"/>
                    </a:lnTo>
                    <a:lnTo>
                      <a:pt x="318" y="356"/>
                    </a:lnTo>
                    <a:lnTo>
                      <a:pt x="317" y="356"/>
                    </a:lnTo>
                    <a:close/>
                    <a:moveTo>
                      <a:pt x="433" y="517"/>
                    </a:moveTo>
                    <a:lnTo>
                      <a:pt x="432" y="518"/>
                    </a:lnTo>
                    <a:lnTo>
                      <a:pt x="432" y="519"/>
                    </a:lnTo>
                    <a:lnTo>
                      <a:pt x="431" y="518"/>
                    </a:lnTo>
                    <a:lnTo>
                      <a:pt x="431" y="519"/>
                    </a:lnTo>
                    <a:lnTo>
                      <a:pt x="429" y="520"/>
                    </a:lnTo>
                    <a:lnTo>
                      <a:pt x="428" y="520"/>
                    </a:lnTo>
                    <a:lnTo>
                      <a:pt x="428" y="519"/>
                    </a:lnTo>
                    <a:lnTo>
                      <a:pt x="429" y="519"/>
                    </a:lnTo>
                    <a:lnTo>
                      <a:pt x="429" y="518"/>
                    </a:lnTo>
                    <a:lnTo>
                      <a:pt x="431" y="518"/>
                    </a:lnTo>
                    <a:lnTo>
                      <a:pt x="431" y="517"/>
                    </a:lnTo>
                    <a:lnTo>
                      <a:pt x="432" y="517"/>
                    </a:lnTo>
                    <a:lnTo>
                      <a:pt x="433" y="516"/>
                    </a:lnTo>
                    <a:lnTo>
                      <a:pt x="433" y="517"/>
                    </a:lnTo>
                    <a:close/>
                    <a:moveTo>
                      <a:pt x="569" y="434"/>
                    </a:moveTo>
                    <a:lnTo>
                      <a:pt x="569" y="435"/>
                    </a:lnTo>
                    <a:lnTo>
                      <a:pt x="569" y="436"/>
                    </a:lnTo>
                    <a:lnTo>
                      <a:pt x="570" y="436"/>
                    </a:lnTo>
                    <a:lnTo>
                      <a:pt x="569" y="436"/>
                    </a:lnTo>
                    <a:lnTo>
                      <a:pt x="569" y="435"/>
                    </a:lnTo>
                    <a:lnTo>
                      <a:pt x="570" y="434"/>
                    </a:lnTo>
                    <a:lnTo>
                      <a:pt x="570" y="435"/>
                    </a:lnTo>
                    <a:lnTo>
                      <a:pt x="570" y="436"/>
                    </a:lnTo>
                    <a:lnTo>
                      <a:pt x="570" y="437"/>
                    </a:lnTo>
                    <a:lnTo>
                      <a:pt x="569" y="437"/>
                    </a:lnTo>
                    <a:lnTo>
                      <a:pt x="569" y="436"/>
                    </a:lnTo>
                    <a:lnTo>
                      <a:pt x="567" y="436"/>
                    </a:lnTo>
                    <a:lnTo>
                      <a:pt x="567" y="435"/>
                    </a:lnTo>
                    <a:lnTo>
                      <a:pt x="566" y="435"/>
                    </a:lnTo>
                    <a:lnTo>
                      <a:pt x="567" y="435"/>
                    </a:lnTo>
                    <a:lnTo>
                      <a:pt x="567" y="434"/>
                    </a:lnTo>
                    <a:lnTo>
                      <a:pt x="568" y="435"/>
                    </a:lnTo>
                    <a:lnTo>
                      <a:pt x="568" y="434"/>
                    </a:lnTo>
                    <a:lnTo>
                      <a:pt x="568" y="435"/>
                    </a:lnTo>
                    <a:lnTo>
                      <a:pt x="568" y="434"/>
                    </a:lnTo>
                    <a:lnTo>
                      <a:pt x="569" y="434"/>
                    </a:lnTo>
                    <a:close/>
                    <a:moveTo>
                      <a:pt x="243" y="390"/>
                    </a:moveTo>
                    <a:lnTo>
                      <a:pt x="243" y="391"/>
                    </a:lnTo>
                    <a:lnTo>
                      <a:pt x="244" y="391"/>
                    </a:lnTo>
                    <a:lnTo>
                      <a:pt x="244" y="390"/>
                    </a:lnTo>
                    <a:lnTo>
                      <a:pt x="244" y="391"/>
                    </a:lnTo>
                    <a:lnTo>
                      <a:pt x="244" y="392"/>
                    </a:lnTo>
                    <a:lnTo>
                      <a:pt x="243" y="392"/>
                    </a:lnTo>
                    <a:lnTo>
                      <a:pt x="242" y="391"/>
                    </a:lnTo>
                    <a:lnTo>
                      <a:pt x="242" y="390"/>
                    </a:lnTo>
                    <a:lnTo>
                      <a:pt x="241" y="389"/>
                    </a:lnTo>
                    <a:lnTo>
                      <a:pt x="242" y="389"/>
                    </a:lnTo>
                    <a:lnTo>
                      <a:pt x="242" y="390"/>
                    </a:lnTo>
                    <a:lnTo>
                      <a:pt x="243" y="390"/>
                    </a:lnTo>
                    <a:close/>
                    <a:moveTo>
                      <a:pt x="235" y="386"/>
                    </a:moveTo>
                    <a:lnTo>
                      <a:pt x="236" y="386"/>
                    </a:lnTo>
                    <a:lnTo>
                      <a:pt x="236" y="387"/>
                    </a:lnTo>
                    <a:lnTo>
                      <a:pt x="233" y="385"/>
                    </a:lnTo>
                    <a:lnTo>
                      <a:pt x="234" y="384"/>
                    </a:lnTo>
                    <a:lnTo>
                      <a:pt x="235" y="385"/>
                    </a:lnTo>
                    <a:lnTo>
                      <a:pt x="235" y="386"/>
                    </a:lnTo>
                    <a:close/>
                    <a:moveTo>
                      <a:pt x="303" y="383"/>
                    </a:moveTo>
                    <a:lnTo>
                      <a:pt x="303" y="384"/>
                    </a:lnTo>
                    <a:lnTo>
                      <a:pt x="304" y="384"/>
                    </a:lnTo>
                    <a:lnTo>
                      <a:pt x="304" y="383"/>
                    </a:lnTo>
                    <a:lnTo>
                      <a:pt x="304" y="384"/>
                    </a:lnTo>
                    <a:lnTo>
                      <a:pt x="304" y="385"/>
                    </a:lnTo>
                    <a:lnTo>
                      <a:pt x="303" y="385"/>
                    </a:lnTo>
                    <a:lnTo>
                      <a:pt x="303" y="386"/>
                    </a:lnTo>
                    <a:lnTo>
                      <a:pt x="303" y="385"/>
                    </a:lnTo>
                    <a:lnTo>
                      <a:pt x="302" y="385"/>
                    </a:lnTo>
                    <a:lnTo>
                      <a:pt x="302" y="384"/>
                    </a:lnTo>
                    <a:lnTo>
                      <a:pt x="302" y="383"/>
                    </a:lnTo>
                    <a:lnTo>
                      <a:pt x="303" y="383"/>
                    </a:lnTo>
                    <a:close/>
                    <a:moveTo>
                      <a:pt x="192" y="412"/>
                    </a:moveTo>
                    <a:lnTo>
                      <a:pt x="196" y="412"/>
                    </a:lnTo>
                    <a:lnTo>
                      <a:pt x="196" y="413"/>
                    </a:lnTo>
                    <a:lnTo>
                      <a:pt x="196" y="412"/>
                    </a:lnTo>
                    <a:lnTo>
                      <a:pt x="195" y="412"/>
                    </a:lnTo>
                    <a:lnTo>
                      <a:pt x="195" y="413"/>
                    </a:lnTo>
                    <a:lnTo>
                      <a:pt x="196" y="413"/>
                    </a:lnTo>
                    <a:lnTo>
                      <a:pt x="195" y="413"/>
                    </a:lnTo>
                    <a:lnTo>
                      <a:pt x="193" y="413"/>
                    </a:lnTo>
                    <a:lnTo>
                      <a:pt x="193" y="412"/>
                    </a:lnTo>
                    <a:lnTo>
                      <a:pt x="193" y="413"/>
                    </a:lnTo>
                    <a:lnTo>
                      <a:pt x="192" y="412"/>
                    </a:lnTo>
                    <a:close/>
                    <a:moveTo>
                      <a:pt x="136" y="380"/>
                    </a:moveTo>
                    <a:lnTo>
                      <a:pt x="137" y="382"/>
                    </a:lnTo>
                    <a:lnTo>
                      <a:pt x="138" y="382"/>
                    </a:lnTo>
                    <a:lnTo>
                      <a:pt x="137" y="382"/>
                    </a:lnTo>
                    <a:lnTo>
                      <a:pt x="137" y="383"/>
                    </a:lnTo>
                    <a:lnTo>
                      <a:pt x="136" y="383"/>
                    </a:lnTo>
                    <a:lnTo>
                      <a:pt x="136" y="382"/>
                    </a:lnTo>
                    <a:lnTo>
                      <a:pt x="136" y="380"/>
                    </a:lnTo>
                    <a:lnTo>
                      <a:pt x="135" y="380"/>
                    </a:lnTo>
                    <a:lnTo>
                      <a:pt x="133" y="379"/>
                    </a:lnTo>
                    <a:lnTo>
                      <a:pt x="135" y="379"/>
                    </a:lnTo>
                    <a:lnTo>
                      <a:pt x="136" y="379"/>
                    </a:lnTo>
                    <a:lnTo>
                      <a:pt x="136" y="380"/>
                    </a:lnTo>
                    <a:close/>
                    <a:moveTo>
                      <a:pt x="565" y="546"/>
                    </a:moveTo>
                    <a:lnTo>
                      <a:pt x="566" y="546"/>
                    </a:lnTo>
                    <a:lnTo>
                      <a:pt x="566" y="547"/>
                    </a:lnTo>
                    <a:lnTo>
                      <a:pt x="566" y="546"/>
                    </a:lnTo>
                    <a:lnTo>
                      <a:pt x="565" y="546"/>
                    </a:lnTo>
                    <a:lnTo>
                      <a:pt x="565" y="547"/>
                    </a:lnTo>
                    <a:lnTo>
                      <a:pt x="564" y="547"/>
                    </a:lnTo>
                    <a:lnTo>
                      <a:pt x="564" y="546"/>
                    </a:lnTo>
                    <a:lnTo>
                      <a:pt x="563" y="546"/>
                    </a:lnTo>
                    <a:lnTo>
                      <a:pt x="563" y="545"/>
                    </a:lnTo>
                    <a:lnTo>
                      <a:pt x="564" y="545"/>
                    </a:lnTo>
                    <a:lnTo>
                      <a:pt x="565" y="545"/>
                    </a:lnTo>
                    <a:lnTo>
                      <a:pt x="565" y="546"/>
                    </a:lnTo>
                    <a:close/>
                    <a:moveTo>
                      <a:pt x="473" y="431"/>
                    </a:moveTo>
                    <a:lnTo>
                      <a:pt x="473" y="433"/>
                    </a:lnTo>
                    <a:lnTo>
                      <a:pt x="473" y="434"/>
                    </a:lnTo>
                    <a:lnTo>
                      <a:pt x="472" y="435"/>
                    </a:lnTo>
                    <a:lnTo>
                      <a:pt x="472" y="436"/>
                    </a:lnTo>
                    <a:lnTo>
                      <a:pt x="471" y="436"/>
                    </a:lnTo>
                    <a:lnTo>
                      <a:pt x="471" y="435"/>
                    </a:lnTo>
                    <a:lnTo>
                      <a:pt x="472" y="434"/>
                    </a:lnTo>
                    <a:lnTo>
                      <a:pt x="472" y="431"/>
                    </a:lnTo>
                    <a:lnTo>
                      <a:pt x="473" y="431"/>
                    </a:lnTo>
                    <a:close/>
                    <a:moveTo>
                      <a:pt x="432" y="366"/>
                    </a:moveTo>
                    <a:lnTo>
                      <a:pt x="433" y="366"/>
                    </a:lnTo>
                    <a:lnTo>
                      <a:pt x="433" y="367"/>
                    </a:lnTo>
                    <a:lnTo>
                      <a:pt x="433" y="369"/>
                    </a:lnTo>
                    <a:lnTo>
                      <a:pt x="432" y="369"/>
                    </a:lnTo>
                    <a:lnTo>
                      <a:pt x="431" y="369"/>
                    </a:lnTo>
                    <a:lnTo>
                      <a:pt x="431" y="367"/>
                    </a:lnTo>
                    <a:lnTo>
                      <a:pt x="431" y="366"/>
                    </a:lnTo>
                    <a:lnTo>
                      <a:pt x="429" y="366"/>
                    </a:lnTo>
                    <a:lnTo>
                      <a:pt x="432" y="366"/>
                    </a:lnTo>
                    <a:close/>
                    <a:moveTo>
                      <a:pt x="422" y="378"/>
                    </a:moveTo>
                    <a:lnTo>
                      <a:pt x="423" y="378"/>
                    </a:lnTo>
                    <a:lnTo>
                      <a:pt x="424" y="378"/>
                    </a:lnTo>
                    <a:lnTo>
                      <a:pt x="424" y="379"/>
                    </a:lnTo>
                    <a:lnTo>
                      <a:pt x="423" y="379"/>
                    </a:lnTo>
                    <a:lnTo>
                      <a:pt x="423" y="378"/>
                    </a:lnTo>
                    <a:lnTo>
                      <a:pt x="422" y="378"/>
                    </a:lnTo>
                    <a:lnTo>
                      <a:pt x="421" y="378"/>
                    </a:lnTo>
                    <a:lnTo>
                      <a:pt x="422" y="378"/>
                    </a:lnTo>
                    <a:lnTo>
                      <a:pt x="422" y="379"/>
                    </a:lnTo>
                    <a:lnTo>
                      <a:pt x="421" y="379"/>
                    </a:lnTo>
                    <a:lnTo>
                      <a:pt x="421" y="378"/>
                    </a:lnTo>
                    <a:lnTo>
                      <a:pt x="421" y="379"/>
                    </a:lnTo>
                    <a:lnTo>
                      <a:pt x="422" y="379"/>
                    </a:lnTo>
                    <a:lnTo>
                      <a:pt x="422" y="380"/>
                    </a:lnTo>
                    <a:lnTo>
                      <a:pt x="422" y="379"/>
                    </a:lnTo>
                    <a:lnTo>
                      <a:pt x="421" y="379"/>
                    </a:lnTo>
                    <a:lnTo>
                      <a:pt x="421" y="378"/>
                    </a:lnTo>
                    <a:lnTo>
                      <a:pt x="420" y="378"/>
                    </a:lnTo>
                    <a:lnTo>
                      <a:pt x="419" y="378"/>
                    </a:lnTo>
                    <a:lnTo>
                      <a:pt x="420" y="378"/>
                    </a:lnTo>
                    <a:lnTo>
                      <a:pt x="421" y="378"/>
                    </a:lnTo>
                    <a:lnTo>
                      <a:pt x="421" y="377"/>
                    </a:lnTo>
                    <a:lnTo>
                      <a:pt x="422" y="377"/>
                    </a:lnTo>
                    <a:lnTo>
                      <a:pt x="422" y="378"/>
                    </a:lnTo>
                    <a:close/>
                    <a:moveTo>
                      <a:pt x="196" y="414"/>
                    </a:moveTo>
                    <a:lnTo>
                      <a:pt x="197" y="414"/>
                    </a:lnTo>
                    <a:lnTo>
                      <a:pt x="197" y="415"/>
                    </a:lnTo>
                    <a:lnTo>
                      <a:pt x="196" y="415"/>
                    </a:lnTo>
                    <a:lnTo>
                      <a:pt x="195" y="415"/>
                    </a:lnTo>
                    <a:lnTo>
                      <a:pt x="195" y="416"/>
                    </a:lnTo>
                    <a:lnTo>
                      <a:pt x="194" y="415"/>
                    </a:lnTo>
                    <a:lnTo>
                      <a:pt x="194" y="414"/>
                    </a:lnTo>
                    <a:lnTo>
                      <a:pt x="195" y="414"/>
                    </a:lnTo>
                    <a:lnTo>
                      <a:pt x="196" y="414"/>
                    </a:lnTo>
                    <a:lnTo>
                      <a:pt x="195" y="414"/>
                    </a:lnTo>
                    <a:lnTo>
                      <a:pt x="195" y="413"/>
                    </a:lnTo>
                    <a:lnTo>
                      <a:pt x="196" y="414"/>
                    </a:lnTo>
                    <a:close/>
                    <a:moveTo>
                      <a:pt x="505" y="454"/>
                    </a:moveTo>
                    <a:lnTo>
                      <a:pt x="505" y="456"/>
                    </a:lnTo>
                    <a:lnTo>
                      <a:pt x="505" y="455"/>
                    </a:lnTo>
                    <a:lnTo>
                      <a:pt x="505" y="456"/>
                    </a:lnTo>
                    <a:lnTo>
                      <a:pt x="505" y="457"/>
                    </a:lnTo>
                    <a:lnTo>
                      <a:pt x="504" y="457"/>
                    </a:lnTo>
                    <a:lnTo>
                      <a:pt x="504" y="456"/>
                    </a:lnTo>
                    <a:lnTo>
                      <a:pt x="505" y="456"/>
                    </a:lnTo>
                    <a:lnTo>
                      <a:pt x="505" y="455"/>
                    </a:lnTo>
                    <a:lnTo>
                      <a:pt x="505" y="456"/>
                    </a:lnTo>
                    <a:lnTo>
                      <a:pt x="504" y="456"/>
                    </a:lnTo>
                    <a:lnTo>
                      <a:pt x="503" y="456"/>
                    </a:lnTo>
                    <a:lnTo>
                      <a:pt x="504" y="456"/>
                    </a:lnTo>
                    <a:lnTo>
                      <a:pt x="504" y="455"/>
                    </a:lnTo>
                    <a:lnTo>
                      <a:pt x="504" y="454"/>
                    </a:lnTo>
                    <a:lnTo>
                      <a:pt x="505" y="454"/>
                    </a:lnTo>
                    <a:close/>
                    <a:moveTo>
                      <a:pt x="220" y="401"/>
                    </a:moveTo>
                    <a:lnTo>
                      <a:pt x="220" y="402"/>
                    </a:lnTo>
                    <a:lnTo>
                      <a:pt x="219" y="402"/>
                    </a:lnTo>
                    <a:lnTo>
                      <a:pt x="219" y="403"/>
                    </a:lnTo>
                    <a:lnTo>
                      <a:pt x="218" y="403"/>
                    </a:lnTo>
                    <a:lnTo>
                      <a:pt x="218" y="402"/>
                    </a:lnTo>
                    <a:lnTo>
                      <a:pt x="217" y="402"/>
                    </a:lnTo>
                    <a:lnTo>
                      <a:pt x="216" y="402"/>
                    </a:lnTo>
                    <a:lnTo>
                      <a:pt x="217" y="402"/>
                    </a:lnTo>
                    <a:lnTo>
                      <a:pt x="216" y="402"/>
                    </a:lnTo>
                    <a:lnTo>
                      <a:pt x="216" y="403"/>
                    </a:lnTo>
                    <a:lnTo>
                      <a:pt x="217" y="403"/>
                    </a:lnTo>
                    <a:lnTo>
                      <a:pt x="216" y="403"/>
                    </a:lnTo>
                    <a:lnTo>
                      <a:pt x="215" y="403"/>
                    </a:lnTo>
                    <a:lnTo>
                      <a:pt x="215" y="402"/>
                    </a:lnTo>
                    <a:lnTo>
                      <a:pt x="217" y="402"/>
                    </a:lnTo>
                    <a:lnTo>
                      <a:pt x="218" y="402"/>
                    </a:lnTo>
                    <a:lnTo>
                      <a:pt x="219" y="402"/>
                    </a:lnTo>
                    <a:lnTo>
                      <a:pt x="218" y="402"/>
                    </a:lnTo>
                    <a:lnTo>
                      <a:pt x="219" y="402"/>
                    </a:lnTo>
                    <a:lnTo>
                      <a:pt x="220" y="402"/>
                    </a:lnTo>
                    <a:lnTo>
                      <a:pt x="220" y="401"/>
                    </a:lnTo>
                    <a:lnTo>
                      <a:pt x="217" y="402"/>
                    </a:lnTo>
                    <a:lnTo>
                      <a:pt x="219" y="401"/>
                    </a:lnTo>
                    <a:lnTo>
                      <a:pt x="220" y="401"/>
                    </a:lnTo>
                    <a:close/>
                    <a:moveTo>
                      <a:pt x="317" y="460"/>
                    </a:moveTo>
                    <a:lnTo>
                      <a:pt x="316" y="460"/>
                    </a:lnTo>
                    <a:lnTo>
                      <a:pt x="316" y="461"/>
                    </a:lnTo>
                    <a:lnTo>
                      <a:pt x="317" y="461"/>
                    </a:lnTo>
                    <a:lnTo>
                      <a:pt x="316" y="461"/>
                    </a:lnTo>
                    <a:lnTo>
                      <a:pt x="316" y="462"/>
                    </a:lnTo>
                    <a:lnTo>
                      <a:pt x="318" y="463"/>
                    </a:lnTo>
                    <a:lnTo>
                      <a:pt x="316" y="462"/>
                    </a:lnTo>
                    <a:lnTo>
                      <a:pt x="315" y="462"/>
                    </a:lnTo>
                    <a:lnTo>
                      <a:pt x="315" y="461"/>
                    </a:lnTo>
                    <a:lnTo>
                      <a:pt x="316" y="460"/>
                    </a:lnTo>
                    <a:lnTo>
                      <a:pt x="317" y="459"/>
                    </a:lnTo>
                    <a:lnTo>
                      <a:pt x="317" y="460"/>
                    </a:lnTo>
                    <a:close/>
                    <a:moveTo>
                      <a:pt x="300" y="269"/>
                    </a:moveTo>
                    <a:lnTo>
                      <a:pt x="303" y="269"/>
                    </a:lnTo>
                    <a:lnTo>
                      <a:pt x="303" y="270"/>
                    </a:lnTo>
                    <a:lnTo>
                      <a:pt x="302" y="270"/>
                    </a:lnTo>
                    <a:lnTo>
                      <a:pt x="300" y="270"/>
                    </a:lnTo>
                    <a:lnTo>
                      <a:pt x="299" y="270"/>
                    </a:lnTo>
                    <a:lnTo>
                      <a:pt x="300" y="269"/>
                    </a:lnTo>
                    <a:close/>
                    <a:moveTo>
                      <a:pt x="554" y="513"/>
                    </a:moveTo>
                    <a:lnTo>
                      <a:pt x="556" y="514"/>
                    </a:lnTo>
                    <a:lnTo>
                      <a:pt x="556" y="515"/>
                    </a:lnTo>
                    <a:lnTo>
                      <a:pt x="555" y="515"/>
                    </a:lnTo>
                    <a:lnTo>
                      <a:pt x="554" y="514"/>
                    </a:lnTo>
                    <a:lnTo>
                      <a:pt x="554" y="513"/>
                    </a:lnTo>
                    <a:lnTo>
                      <a:pt x="554" y="514"/>
                    </a:lnTo>
                    <a:lnTo>
                      <a:pt x="553" y="514"/>
                    </a:lnTo>
                    <a:lnTo>
                      <a:pt x="553" y="513"/>
                    </a:lnTo>
                    <a:lnTo>
                      <a:pt x="554" y="513"/>
                    </a:lnTo>
                    <a:close/>
                    <a:moveTo>
                      <a:pt x="553" y="536"/>
                    </a:moveTo>
                    <a:lnTo>
                      <a:pt x="553" y="537"/>
                    </a:lnTo>
                    <a:lnTo>
                      <a:pt x="552" y="537"/>
                    </a:lnTo>
                    <a:lnTo>
                      <a:pt x="552" y="538"/>
                    </a:lnTo>
                    <a:lnTo>
                      <a:pt x="551" y="537"/>
                    </a:lnTo>
                    <a:lnTo>
                      <a:pt x="551" y="536"/>
                    </a:lnTo>
                    <a:lnTo>
                      <a:pt x="552" y="536"/>
                    </a:lnTo>
                    <a:lnTo>
                      <a:pt x="553" y="536"/>
                    </a:lnTo>
                    <a:lnTo>
                      <a:pt x="553" y="534"/>
                    </a:lnTo>
                    <a:lnTo>
                      <a:pt x="553" y="536"/>
                    </a:lnTo>
                    <a:close/>
                    <a:moveTo>
                      <a:pt x="212" y="387"/>
                    </a:moveTo>
                    <a:lnTo>
                      <a:pt x="213" y="389"/>
                    </a:lnTo>
                    <a:lnTo>
                      <a:pt x="212" y="389"/>
                    </a:lnTo>
                    <a:lnTo>
                      <a:pt x="210" y="389"/>
                    </a:lnTo>
                    <a:lnTo>
                      <a:pt x="208" y="390"/>
                    </a:lnTo>
                    <a:lnTo>
                      <a:pt x="208" y="389"/>
                    </a:lnTo>
                    <a:lnTo>
                      <a:pt x="209" y="389"/>
                    </a:lnTo>
                    <a:lnTo>
                      <a:pt x="209" y="388"/>
                    </a:lnTo>
                    <a:lnTo>
                      <a:pt x="210" y="389"/>
                    </a:lnTo>
                    <a:lnTo>
                      <a:pt x="212" y="389"/>
                    </a:lnTo>
                    <a:lnTo>
                      <a:pt x="212" y="386"/>
                    </a:lnTo>
                    <a:lnTo>
                      <a:pt x="212" y="387"/>
                    </a:lnTo>
                    <a:close/>
                    <a:moveTo>
                      <a:pt x="233" y="400"/>
                    </a:moveTo>
                    <a:lnTo>
                      <a:pt x="233" y="401"/>
                    </a:lnTo>
                    <a:lnTo>
                      <a:pt x="232" y="401"/>
                    </a:lnTo>
                    <a:lnTo>
                      <a:pt x="231" y="401"/>
                    </a:lnTo>
                    <a:lnTo>
                      <a:pt x="232" y="401"/>
                    </a:lnTo>
                    <a:lnTo>
                      <a:pt x="232" y="400"/>
                    </a:lnTo>
                    <a:lnTo>
                      <a:pt x="231" y="400"/>
                    </a:lnTo>
                    <a:lnTo>
                      <a:pt x="230" y="400"/>
                    </a:lnTo>
                    <a:lnTo>
                      <a:pt x="230" y="401"/>
                    </a:lnTo>
                    <a:lnTo>
                      <a:pt x="231" y="401"/>
                    </a:lnTo>
                    <a:lnTo>
                      <a:pt x="230" y="401"/>
                    </a:lnTo>
                    <a:lnTo>
                      <a:pt x="230" y="402"/>
                    </a:lnTo>
                    <a:lnTo>
                      <a:pt x="230" y="401"/>
                    </a:lnTo>
                    <a:lnTo>
                      <a:pt x="229" y="400"/>
                    </a:lnTo>
                    <a:lnTo>
                      <a:pt x="233" y="400"/>
                    </a:lnTo>
                    <a:close/>
                    <a:moveTo>
                      <a:pt x="305" y="261"/>
                    </a:moveTo>
                    <a:lnTo>
                      <a:pt x="305" y="262"/>
                    </a:lnTo>
                    <a:lnTo>
                      <a:pt x="304" y="262"/>
                    </a:lnTo>
                    <a:lnTo>
                      <a:pt x="303" y="262"/>
                    </a:lnTo>
                    <a:lnTo>
                      <a:pt x="302" y="262"/>
                    </a:lnTo>
                    <a:lnTo>
                      <a:pt x="300" y="262"/>
                    </a:lnTo>
                    <a:lnTo>
                      <a:pt x="302" y="261"/>
                    </a:lnTo>
                    <a:lnTo>
                      <a:pt x="303" y="261"/>
                    </a:lnTo>
                    <a:lnTo>
                      <a:pt x="304" y="261"/>
                    </a:lnTo>
                    <a:lnTo>
                      <a:pt x="305" y="261"/>
                    </a:lnTo>
                    <a:close/>
                    <a:moveTo>
                      <a:pt x="493" y="449"/>
                    </a:moveTo>
                    <a:lnTo>
                      <a:pt x="494" y="449"/>
                    </a:lnTo>
                    <a:lnTo>
                      <a:pt x="494" y="450"/>
                    </a:lnTo>
                    <a:lnTo>
                      <a:pt x="493" y="450"/>
                    </a:lnTo>
                    <a:lnTo>
                      <a:pt x="493" y="451"/>
                    </a:lnTo>
                    <a:lnTo>
                      <a:pt x="492" y="451"/>
                    </a:lnTo>
                    <a:lnTo>
                      <a:pt x="492" y="450"/>
                    </a:lnTo>
                    <a:lnTo>
                      <a:pt x="492" y="449"/>
                    </a:lnTo>
                    <a:lnTo>
                      <a:pt x="493" y="449"/>
                    </a:lnTo>
                    <a:close/>
                    <a:moveTo>
                      <a:pt x="216" y="401"/>
                    </a:moveTo>
                    <a:lnTo>
                      <a:pt x="219" y="401"/>
                    </a:lnTo>
                    <a:lnTo>
                      <a:pt x="219" y="400"/>
                    </a:lnTo>
                    <a:lnTo>
                      <a:pt x="220" y="400"/>
                    </a:lnTo>
                    <a:lnTo>
                      <a:pt x="221" y="400"/>
                    </a:lnTo>
                    <a:lnTo>
                      <a:pt x="220" y="401"/>
                    </a:lnTo>
                    <a:lnTo>
                      <a:pt x="215" y="402"/>
                    </a:lnTo>
                    <a:lnTo>
                      <a:pt x="215" y="400"/>
                    </a:lnTo>
                    <a:lnTo>
                      <a:pt x="216" y="400"/>
                    </a:lnTo>
                    <a:lnTo>
                      <a:pt x="216" y="399"/>
                    </a:lnTo>
                    <a:lnTo>
                      <a:pt x="217" y="400"/>
                    </a:lnTo>
                    <a:lnTo>
                      <a:pt x="216" y="400"/>
                    </a:lnTo>
                    <a:lnTo>
                      <a:pt x="216" y="401"/>
                    </a:lnTo>
                    <a:lnTo>
                      <a:pt x="215" y="401"/>
                    </a:lnTo>
                    <a:lnTo>
                      <a:pt x="216" y="401"/>
                    </a:lnTo>
                    <a:close/>
                    <a:moveTo>
                      <a:pt x="505" y="555"/>
                    </a:moveTo>
                    <a:lnTo>
                      <a:pt x="504" y="556"/>
                    </a:lnTo>
                    <a:lnTo>
                      <a:pt x="504" y="557"/>
                    </a:lnTo>
                    <a:lnTo>
                      <a:pt x="505" y="558"/>
                    </a:lnTo>
                    <a:lnTo>
                      <a:pt x="505" y="559"/>
                    </a:lnTo>
                    <a:lnTo>
                      <a:pt x="505" y="560"/>
                    </a:lnTo>
                    <a:lnTo>
                      <a:pt x="504" y="560"/>
                    </a:lnTo>
                    <a:lnTo>
                      <a:pt x="503" y="560"/>
                    </a:lnTo>
                    <a:lnTo>
                      <a:pt x="504" y="560"/>
                    </a:lnTo>
                    <a:lnTo>
                      <a:pt x="504" y="559"/>
                    </a:lnTo>
                    <a:lnTo>
                      <a:pt x="504" y="558"/>
                    </a:lnTo>
                    <a:lnTo>
                      <a:pt x="504" y="557"/>
                    </a:lnTo>
                    <a:lnTo>
                      <a:pt x="504" y="556"/>
                    </a:lnTo>
                    <a:lnTo>
                      <a:pt x="503" y="556"/>
                    </a:lnTo>
                    <a:lnTo>
                      <a:pt x="504" y="556"/>
                    </a:lnTo>
                    <a:lnTo>
                      <a:pt x="504" y="555"/>
                    </a:lnTo>
                    <a:lnTo>
                      <a:pt x="505" y="555"/>
                    </a:lnTo>
                    <a:close/>
                    <a:moveTo>
                      <a:pt x="464" y="620"/>
                    </a:moveTo>
                    <a:lnTo>
                      <a:pt x="463" y="621"/>
                    </a:lnTo>
                    <a:lnTo>
                      <a:pt x="463" y="620"/>
                    </a:lnTo>
                    <a:lnTo>
                      <a:pt x="463" y="621"/>
                    </a:lnTo>
                    <a:lnTo>
                      <a:pt x="462" y="622"/>
                    </a:lnTo>
                    <a:lnTo>
                      <a:pt x="461" y="623"/>
                    </a:lnTo>
                    <a:lnTo>
                      <a:pt x="460" y="624"/>
                    </a:lnTo>
                    <a:lnTo>
                      <a:pt x="458" y="627"/>
                    </a:lnTo>
                    <a:lnTo>
                      <a:pt x="458" y="626"/>
                    </a:lnTo>
                    <a:lnTo>
                      <a:pt x="459" y="626"/>
                    </a:lnTo>
                    <a:lnTo>
                      <a:pt x="459" y="624"/>
                    </a:lnTo>
                    <a:lnTo>
                      <a:pt x="460" y="624"/>
                    </a:lnTo>
                    <a:lnTo>
                      <a:pt x="460" y="623"/>
                    </a:lnTo>
                    <a:lnTo>
                      <a:pt x="461" y="623"/>
                    </a:lnTo>
                    <a:lnTo>
                      <a:pt x="462" y="622"/>
                    </a:lnTo>
                    <a:lnTo>
                      <a:pt x="462" y="621"/>
                    </a:lnTo>
                    <a:lnTo>
                      <a:pt x="463" y="620"/>
                    </a:lnTo>
                    <a:lnTo>
                      <a:pt x="464" y="620"/>
                    </a:lnTo>
                    <a:close/>
                    <a:moveTo>
                      <a:pt x="496" y="454"/>
                    </a:moveTo>
                    <a:lnTo>
                      <a:pt x="494" y="454"/>
                    </a:lnTo>
                    <a:lnTo>
                      <a:pt x="494" y="453"/>
                    </a:lnTo>
                    <a:lnTo>
                      <a:pt x="494" y="452"/>
                    </a:lnTo>
                    <a:lnTo>
                      <a:pt x="496" y="451"/>
                    </a:lnTo>
                    <a:lnTo>
                      <a:pt x="496" y="452"/>
                    </a:lnTo>
                    <a:lnTo>
                      <a:pt x="496" y="453"/>
                    </a:lnTo>
                    <a:lnTo>
                      <a:pt x="496" y="454"/>
                    </a:lnTo>
                    <a:close/>
                    <a:moveTo>
                      <a:pt x="476" y="367"/>
                    </a:moveTo>
                    <a:lnTo>
                      <a:pt x="476" y="369"/>
                    </a:lnTo>
                    <a:lnTo>
                      <a:pt x="475" y="369"/>
                    </a:lnTo>
                    <a:lnTo>
                      <a:pt x="475" y="367"/>
                    </a:lnTo>
                    <a:lnTo>
                      <a:pt x="474" y="367"/>
                    </a:lnTo>
                    <a:lnTo>
                      <a:pt x="474" y="366"/>
                    </a:lnTo>
                    <a:lnTo>
                      <a:pt x="475" y="366"/>
                    </a:lnTo>
                    <a:lnTo>
                      <a:pt x="475" y="365"/>
                    </a:lnTo>
                    <a:lnTo>
                      <a:pt x="475" y="366"/>
                    </a:lnTo>
                    <a:lnTo>
                      <a:pt x="476" y="366"/>
                    </a:lnTo>
                    <a:lnTo>
                      <a:pt x="476" y="367"/>
                    </a:lnTo>
                    <a:close/>
                    <a:moveTo>
                      <a:pt x="195" y="391"/>
                    </a:moveTo>
                    <a:lnTo>
                      <a:pt x="195" y="392"/>
                    </a:lnTo>
                    <a:lnTo>
                      <a:pt x="195" y="393"/>
                    </a:lnTo>
                    <a:lnTo>
                      <a:pt x="195" y="395"/>
                    </a:lnTo>
                    <a:lnTo>
                      <a:pt x="194" y="395"/>
                    </a:lnTo>
                    <a:lnTo>
                      <a:pt x="195" y="395"/>
                    </a:lnTo>
                    <a:lnTo>
                      <a:pt x="195" y="393"/>
                    </a:lnTo>
                    <a:lnTo>
                      <a:pt x="195" y="392"/>
                    </a:lnTo>
                    <a:lnTo>
                      <a:pt x="194" y="392"/>
                    </a:lnTo>
                    <a:lnTo>
                      <a:pt x="194" y="393"/>
                    </a:lnTo>
                    <a:lnTo>
                      <a:pt x="193" y="395"/>
                    </a:lnTo>
                    <a:lnTo>
                      <a:pt x="193" y="396"/>
                    </a:lnTo>
                    <a:lnTo>
                      <a:pt x="193" y="397"/>
                    </a:lnTo>
                    <a:lnTo>
                      <a:pt x="193" y="398"/>
                    </a:lnTo>
                    <a:lnTo>
                      <a:pt x="193" y="399"/>
                    </a:lnTo>
                    <a:lnTo>
                      <a:pt x="193" y="400"/>
                    </a:lnTo>
                    <a:lnTo>
                      <a:pt x="194" y="400"/>
                    </a:lnTo>
                    <a:lnTo>
                      <a:pt x="194" y="401"/>
                    </a:lnTo>
                    <a:lnTo>
                      <a:pt x="193" y="400"/>
                    </a:lnTo>
                    <a:lnTo>
                      <a:pt x="192" y="400"/>
                    </a:lnTo>
                    <a:lnTo>
                      <a:pt x="192" y="399"/>
                    </a:lnTo>
                    <a:lnTo>
                      <a:pt x="193" y="399"/>
                    </a:lnTo>
                    <a:lnTo>
                      <a:pt x="193" y="398"/>
                    </a:lnTo>
                    <a:lnTo>
                      <a:pt x="193" y="397"/>
                    </a:lnTo>
                    <a:lnTo>
                      <a:pt x="193" y="396"/>
                    </a:lnTo>
                    <a:lnTo>
                      <a:pt x="193" y="395"/>
                    </a:lnTo>
                    <a:lnTo>
                      <a:pt x="194" y="393"/>
                    </a:lnTo>
                    <a:lnTo>
                      <a:pt x="194" y="392"/>
                    </a:lnTo>
                    <a:lnTo>
                      <a:pt x="194" y="391"/>
                    </a:lnTo>
                    <a:lnTo>
                      <a:pt x="195" y="391"/>
                    </a:lnTo>
                    <a:close/>
                    <a:moveTo>
                      <a:pt x="447" y="369"/>
                    </a:moveTo>
                    <a:lnTo>
                      <a:pt x="448" y="369"/>
                    </a:lnTo>
                    <a:lnTo>
                      <a:pt x="449" y="369"/>
                    </a:lnTo>
                    <a:lnTo>
                      <a:pt x="450" y="369"/>
                    </a:lnTo>
                    <a:lnTo>
                      <a:pt x="450" y="370"/>
                    </a:lnTo>
                    <a:lnTo>
                      <a:pt x="448" y="370"/>
                    </a:lnTo>
                    <a:lnTo>
                      <a:pt x="447" y="370"/>
                    </a:lnTo>
                    <a:lnTo>
                      <a:pt x="447" y="369"/>
                    </a:lnTo>
                    <a:lnTo>
                      <a:pt x="447" y="370"/>
                    </a:lnTo>
                    <a:lnTo>
                      <a:pt x="446" y="370"/>
                    </a:lnTo>
                    <a:lnTo>
                      <a:pt x="446" y="369"/>
                    </a:lnTo>
                    <a:lnTo>
                      <a:pt x="447" y="369"/>
                    </a:lnTo>
                    <a:close/>
                    <a:moveTo>
                      <a:pt x="183" y="403"/>
                    </a:moveTo>
                    <a:lnTo>
                      <a:pt x="182" y="403"/>
                    </a:lnTo>
                    <a:lnTo>
                      <a:pt x="182" y="404"/>
                    </a:lnTo>
                    <a:lnTo>
                      <a:pt x="181" y="404"/>
                    </a:lnTo>
                    <a:lnTo>
                      <a:pt x="181" y="405"/>
                    </a:lnTo>
                    <a:lnTo>
                      <a:pt x="180" y="405"/>
                    </a:lnTo>
                    <a:lnTo>
                      <a:pt x="180" y="406"/>
                    </a:lnTo>
                    <a:lnTo>
                      <a:pt x="179" y="406"/>
                    </a:lnTo>
                    <a:lnTo>
                      <a:pt x="180" y="405"/>
                    </a:lnTo>
                    <a:lnTo>
                      <a:pt x="179" y="405"/>
                    </a:lnTo>
                    <a:lnTo>
                      <a:pt x="178" y="405"/>
                    </a:lnTo>
                    <a:lnTo>
                      <a:pt x="180" y="405"/>
                    </a:lnTo>
                    <a:lnTo>
                      <a:pt x="180" y="404"/>
                    </a:lnTo>
                    <a:lnTo>
                      <a:pt x="179" y="405"/>
                    </a:lnTo>
                    <a:lnTo>
                      <a:pt x="180" y="404"/>
                    </a:lnTo>
                    <a:lnTo>
                      <a:pt x="181" y="403"/>
                    </a:lnTo>
                    <a:lnTo>
                      <a:pt x="182" y="403"/>
                    </a:lnTo>
                    <a:lnTo>
                      <a:pt x="183" y="403"/>
                    </a:lnTo>
                    <a:close/>
                    <a:moveTo>
                      <a:pt x="500" y="576"/>
                    </a:moveTo>
                    <a:lnTo>
                      <a:pt x="499" y="576"/>
                    </a:lnTo>
                    <a:lnTo>
                      <a:pt x="499" y="577"/>
                    </a:lnTo>
                    <a:lnTo>
                      <a:pt x="499" y="576"/>
                    </a:lnTo>
                    <a:lnTo>
                      <a:pt x="498" y="576"/>
                    </a:lnTo>
                    <a:lnTo>
                      <a:pt x="498" y="577"/>
                    </a:lnTo>
                    <a:lnTo>
                      <a:pt x="497" y="577"/>
                    </a:lnTo>
                    <a:lnTo>
                      <a:pt x="498" y="577"/>
                    </a:lnTo>
                    <a:lnTo>
                      <a:pt x="498" y="578"/>
                    </a:lnTo>
                    <a:lnTo>
                      <a:pt x="497" y="577"/>
                    </a:lnTo>
                    <a:lnTo>
                      <a:pt x="497" y="576"/>
                    </a:lnTo>
                    <a:lnTo>
                      <a:pt x="498" y="576"/>
                    </a:lnTo>
                    <a:lnTo>
                      <a:pt x="499" y="575"/>
                    </a:lnTo>
                    <a:lnTo>
                      <a:pt x="500" y="575"/>
                    </a:lnTo>
                    <a:lnTo>
                      <a:pt x="501" y="573"/>
                    </a:lnTo>
                    <a:lnTo>
                      <a:pt x="500" y="575"/>
                    </a:lnTo>
                    <a:lnTo>
                      <a:pt x="499" y="575"/>
                    </a:lnTo>
                    <a:lnTo>
                      <a:pt x="500" y="575"/>
                    </a:lnTo>
                    <a:lnTo>
                      <a:pt x="500" y="576"/>
                    </a:lnTo>
                    <a:close/>
                    <a:moveTo>
                      <a:pt x="434" y="369"/>
                    </a:moveTo>
                    <a:lnTo>
                      <a:pt x="435" y="369"/>
                    </a:lnTo>
                    <a:lnTo>
                      <a:pt x="436" y="369"/>
                    </a:lnTo>
                    <a:lnTo>
                      <a:pt x="436" y="370"/>
                    </a:lnTo>
                    <a:lnTo>
                      <a:pt x="436" y="371"/>
                    </a:lnTo>
                    <a:lnTo>
                      <a:pt x="436" y="372"/>
                    </a:lnTo>
                    <a:lnTo>
                      <a:pt x="435" y="371"/>
                    </a:lnTo>
                    <a:lnTo>
                      <a:pt x="436" y="371"/>
                    </a:lnTo>
                    <a:lnTo>
                      <a:pt x="436" y="370"/>
                    </a:lnTo>
                    <a:lnTo>
                      <a:pt x="435" y="370"/>
                    </a:lnTo>
                    <a:lnTo>
                      <a:pt x="436" y="370"/>
                    </a:lnTo>
                    <a:lnTo>
                      <a:pt x="435" y="370"/>
                    </a:lnTo>
                    <a:lnTo>
                      <a:pt x="434" y="370"/>
                    </a:lnTo>
                    <a:lnTo>
                      <a:pt x="434" y="369"/>
                    </a:lnTo>
                    <a:lnTo>
                      <a:pt x="434" y="370"/>
                    </a:lnTo>
                    <a:lnTo>
                      <a:pt x="433" y="370"/>
                    </a:lnTo>
                    <a:lnTo>
                      <a:pt x="433" y="371"/>
                    </a:lnTo>
                    <a:lnTo>
                      <a:pt x="434" y="371"/>
                    </a:lnTo>
                    <a:lnTo>
                      <a:pt x="433" y="371"/>
                    </a:lnTo>
                    <a:lnTo>
                      <a:pt x="433" y="370"/>
                    </a:lnTo>
                    <a:lnTo>
                      <a:pt x="432" y="370"/>
                    </a:lnTo>
                    <a:lnTo>
                      <a:pt x="432" y="369"/>
                    </a:lnTo>
                    <a:lnTo>
                      <a:pt x="434" y="369"/>
                    </a:lnTo>
                    <a:close/>
                    <a:moveTo>
                      <a:pt x="200" y="359"/>
                    </a:moveTo>
                    <a:lnTo>
                      <a:pt x="200" y="360"/>
                    </a:lnTo>
                    <a:lnTo>
                      <a:pt x="201" y="359"/>
                    </a:lnTo>
                    <a:lnTo>
                      <a:pt x="201" y="360"/>
                    </a:lnTo>
                    <a:lnTo>
                      <a:pt x="200" y="360"/>
                    </a:lnTo>
                    <a:lnTo>
                      <a:pt x="199" y="360"/>
                    </a:lnTo>
                    <a:lnTo>
                      <a:pt x="199" y="358"/>
                    </a:lnTo>
                    <a:lnTo>
                      <a:pt x="199" y="357"/>
                    </a:lnTo>
                    <a:lnTo>
                      <a:pt x="200" y="357"/>
                    </a:lnTo>
                    <a:lnTo>
                      <a:pt x="200" y="358"/>
                    </a:lnTo>
                    <a:lnTo>
                      <a:pt x="200" y="359"/>
                    </a:lnTo>
                    <a:close/>
                    <a:moveTo>
                      <a:pt x="225" y="220"/>
                    </a:moveTo>
                    <a:lnTo>
                      <a:pt x="226" y="220"/>
                    </a:lnTo>
                    <a:lnTo>
                      <a:pt x="226" y="221"/>
                    </a:lnTo>
                    <a:lnTo>
                      <a:pt x="226" y="222"/>
                    </a:lnTo>
                    <a:lnTo>
                      <a:pt x="226" y="223"/>
                    </a:lnTo>
                    <a:lnTo>
                      <a:pt x="226" y="222"/>
                    </a:lnTo>
                    <a:lnTo>
                      <a:pt x="225" y="222"/>
                    </a:lnTo>
                    <a:lnTo>
                      <a:pt x="225" y="223"/>
                    </a:lnTo>
                    <a:lnTo>
                      <a:pt x="225" y="222"/>
                    </a:lnTo>
                    <a:lnTo>
                      <a:pt x="225" y="221"/>
                    </a:lnTo>
                    <a:lnTo>
                      <a:pt x="223" y="221"/>
                    </a:lnTo>
                    <a:lnTo>
                      <a:pt x="222" y="221"/>
                    </a:lnTo>
                    <a:lnTo>
                      <a:pt x="222" y="220"/>
                    </a:lnTo>
                    <a:lnTo>
                      <a:pt x="223" y="220"/>
                    </a:lnTo>
                    <a:lnTo>
                      <a:pt x="225" y="220"/>
                    </a:lnTo>
                    <a:close/>
                    <a:moveTo>
                      <a:pt x="564" y="554"/>
                    </a:moveTo>
                    <a:lnTo>
                      <a:pt x="564" y="555"/>
                    </a:lnTo>
                    <a:lnTo>
                      <a:pt x="564" y="556"/>
                    </a:lnTo>
                    <a:lnTo>
                      <a:pt x="564" y="555"/>
                    </a:lnTo>
                    <a:lnTo>
                      <a:pt x="564" y="556"/>
                    </a:lnTo>
                    <a:lnTo>
                      <a:pt x="565" y="556"/>
                    </a:lnTo>
                    <a:lnTo>
                      <a:pt x="564" y="556"/>
                    </a:lnTo>
                    <a:lnTo>
                      <a:pt x="564" y="557"/>
                    </a:lnTo>
                    <a:lnTo>
                      <a:pt x="565" y="557"/>
                    </a:lnTo>
                    <a:lnTo>
                      <a:pt x="565" y="556"/>
                    </a:lnTo>
                    <a:lnTo>
                      <a:pt x="565" y="557"/>
                    </a:lnTo>
                    <a:lnTo>
                      <a:pt x="565" y="558"/>
                    </a:lnTo>
                    <a:lnTo>
                      <a:pt x="565" y="557"/>
                    </a:lnTo>
                    <a:lnTo>
                      <a:pt x="564" y="557"/>
                    </a:lnTo>
                    <a:lnTo>
                      <a:pt x="564" y="556"/>
                    </a:lnTo>
                    <a:lnTo>
                      <a:pt x="564" y="555"/>
                    </a:lnTo>
                    <a:lnTo>
                      <a:pt x="564" y="554"/>
                    </a:lnTo>
                    <a:lnTo>
                      <a:pt x="564" y="553"/>
                    </a:lnTo>
                    <a:lnTo>
                      <a:pt x="565" y="554"/>
                    </a:lnTo>
                    <a:lnTo>
                      <a:pt x="564" y="554"/>
                    </a:lnTo>
                    <a:close/>
                    <a:moveTo>
                      <a:pt x="470" y="491"/>
                    </a:moveTo>
                    <a:lnTo>
                      <a:pt x="468" y="491"/>
                    </a:lnTo>
                    <a:lnTo>
                      <a:pt x="468" y="490"/>
                    </a:lnTo>
                    <a:lnTo>
                      <a:pt x="468" y="489"/>
                    </a:lnTo>
                    <a:lnTo>
                      <a:pt x="470" y="489"/>
                    </a:lnTo>
                    <a:lnTo>
                      <a:pt x="470" y="490"/>
                    </a:lnTo>
                    <a:lnTo>
                      <a:pt x="470" y="491"/>
                    </a:lnTo>
                    <a:close/>
                    <a:moveTo>
                      <a:pt x="215" y="408"/>
                    </a:moveTo>
                    <a:lnTo>
                      <a:pt x="216" y="408"/>
                    </a:lnTo>
                    <a:lnTo>
                      <a:pt x="217" y="408"/>
                    </a:lnTo>
                    <a:lnTo>
                      <a:pt x="218" y="408"/>
                    </a:lnTo>
                    <a:lnTo>
                      <a:pt x="217" y="409"/>
                    </a:lnTo>
                    <a:lnTo>
                      <a:pt x="217" y="410"/>
                    </a:lnTo>
                    <a:lnTo>
                      <a:pt x="216" y="410"/>
                    </a:lnTo>
                    <a:lnTo>
                      <a:pt x="215" y="410"/>
                    </a:lnTo>
                    <a:lnTo>
                      <a:pt x="215" y="409"/>
                    </a:lnTo>
                    <a:lnTo>
                      <a:pt x="216" y="409"/>
                    </a:lnTo>
                    <a:lnTo>
                      <a:pt x="216" y="410"/>
                    </a:lnTo>
                    <a:lnTo>
                      <a:pt x="216" y="409"/>
                    </a:lnTo>
                    <a:lnTo>
                      <a:pt x="217" y="409"/>
                    </a:lnTo>
                    <a:lnTo>
                      <a:pt x="216" y="409"/>
                    </a:lnTo>
                    <a:lnTo>
                      <a:pt x="217" y="409"/>
                    </a:lnTo>
                    <a:lnTo>
                      <a:pt x="217" y="408"/>
                    </a:lnTo>
                    <a:lnTo>
                      <a:pt x="216" y="408"/>
                    </a:lnTo>
                    <a:lnTo>
                      <a:pt x="216" y="409"/>
                    </a:lnTo>
                    <a:lnTo>
                      <a:pt x="216" y="408"/>
                    </a:lnTo>
                    <a:lnTo>
                      <a:pt x="215" y="408"/>
                    </a:lnTo>
                    <a:lnTo>
                      <a:pt x="215" y="409"/>
                    </a:lnTo>
                    <a:lnTo>
                      <a:pt x="215" y="408"/>
                    </a:lnTo>
                    <a:close/>
                    <a:moveTo>
                      <a:pt x="208" y="418"/>
                    </a:moveTo>
                    <a:lnTo>
                      <a:pt x="209" y="418"/>
                    </a:lnTo>
                    <a:lnTo>
                      <a:pt x="209" y="420"/>
                    </a:lnTo>
                    <a:lnTo>
                      <a:pt x="210" y="420"/>
                    </a:lnTo>
                    <a:lnTo>
                      <a:pt x="212" y="420"/>
                    </a:lnTo>
                    <a:lnTo>
                      <a:pt x="213" y="420"/>
                    </a:lnTo>
                    <a:lnTo>
                      <a:pt x="213" y="421"/>
                    </a:lnTo>
                    <a:lnTo>
                      <a:pt x="210" y="421"/>
                    </a:lnTo>
                    <a:lnTo>
                      <a:pt x="210" y="420"/>
                    </a:lnTo>
                    <a:lnTo>
                      <a:pt x="209" y="420"/>
                    </a:lnTo>
                    <a:lnTo>
                      <a:pt x="208" y="420"/>
                    </a:lnTo>
                    <a:lnTo>
                      <a:pt x="207" y="418"/>
                    </a:lnTo>
                    <a:lnTo>
                      <a:pt x="208" y="418"/>
                    </a:lnTo>
                    <a:close/>
                    <a:moveTo>
                      <a:pt x="239" y="402"/>
                    </a:moveTo>
                    <a:lnTo>
                      <a:pt x="240" y="402"/>
                    </a:lnTo>
                    <a:lnTo>
                      <a:pt x="239" y="403"/>
                    </a:lnTo>
                    <a:lnTo>
                      <a:pt x="240" y="403"/>
                    </a:lnTo>
                    <a:lnTo>
                      <a:pt x="241" y="403"/>
                    </a:lnTo>
                    <a:lnTo>
                      <a:pt x="242" y="403"/>
                    </a:lnTo>
                    <a:lnTo>
                      <a:pt x="243" y="403"/>
                    </a:lnTo>
                    <a:lnTo>
                      <a:pt x="242" y="404"/>
                    </a:lnTo>
                    <a:lnTo>
                      <a:pt x="241" y="404"/>
                    </a:lnTo>
                    <a:lnTo>
                      <a:pt x="240" y="404"/>
                    </a:lnTo>
                    <a:lnTo>
                      <a:pt x="239" y="404"/>
                    </a:lnTo>
                    <a:lnTo>
                      <a:pt x="239" y="403"/>
                    </a:lnTo>
                    <a:lnTo>
                      <a:pt x="238" y="403"/>
                    </a:lnTo>
                    <a:lnTo>
                      <a:pt x="239" y="403"/>
                    </a:lnTo>
                    <a:lnTo>
                      <a:pt x="239" y="402"/>
                    </a:lnTo>
                    <a:close/>
                    <a:moveTo>
                      <a:pt x="488" y="590"/>
                    </a:moveTo>
                    <a:lnTo>
                      <a:pt x="488" y="591"/>
                    </a:lnTo>
                    <a:lnTo>
                      <a:pt x="488" y="592"/>
                    </a:lnTo>
                    <a:lnTo>
                      <a:pt x="487" y="592"/>
                    </a:lnTo>
                    <a:lnTo>
                      <a:pt x="487" y="591"/>
                    </a:lnTo>
                    <a:lnTo>
                      <a:pt x="487" y="592"/>
                    </a:lnTo>
                    <a:lnTo>
                      <a:pt x="486" y="592"/>
                    </a:lnTo>
                    <a:lnTo>
                      <a:pt x="486" y="591"/>
                    </a:lnTo>
                    <a:lnTo>
                      <a:pt x="486" y="590"/>
                    </a:lnTo>
                    <a:lnTo>
                      <a:pt x="487" y="590"/>
                    </a:lnTo>
                    <a:lnTo>
                      <a:pt x="486" y="591"/>
                    </a:lnTo>
                    <a:lnTo>
                      <a:pt x="487" y="591"/>
                    </a:lnTo>
                    <a:lnTo>
                      <a:pt x="487" y="590"/>
                    </a:lnTo>
                    <a:lnTo>
                      <a:pt x="488" y="591"/>
                    </a:lnTo>
                    <a:lnTo>
                      <a:pt x="488" y="590"/>
                    </a:lnTo>
                    <a:close/>
                    <a:moveTo>
                      <a:pt x="210" y="403"/>
                    </a:moveTo>
                    <a:lnTo>
                      <a:pt x="213" y="403"/>
                    </a:lnTo>
                    <a:lnTo>
                      <a:pt x="215" y="404"/>
                    </a:lnTo>
                    <a:lnTo>
                      <a:pt x="214" y="405"/>
                    </a:lnTo>
                    <a:lnTo>
                      <a:pt x="214" y="404"/>
                    </a:lnTo>
                    <a:lnTo>
                      <a:pt x="213" y="404"/>
                    </a:lnTo>
                    <a:lnTo>
                      <a:pt x="212" y="404"/>
                    </a:lnTo>
                    <a:lnTo>
                      <a:pt x="210" y="404"/>
                    </a:lnTo>
                    <a:lnTo>
                      <a:pt x="212" y="404"/>
                    </a:lnTo>
                    <a:lnTo>
                      <a:pt x="210" y="403"/>
                    </a:lnTo>
                    <a:lnTo>
                      <a:pt x="210" y="404"/>
                    </a:lnTo>
                    <a:lnTo>
                      <a:pt x="210" y="403"/>
                    </a:lnTo>
                    <a:close/>
                    <a:moveTo>
                      <a:pt x="338" y="470"/>
                    </a:moveTo>
                    <a:lnTo>
                      <a:pt x="338" y="472"/>
                    </a:lnTo>
                    <a:lnTo>
                      <a:pt x="339" y="472"/>
                    </a:lnTo>
                    <a:lnTo>
                      <a:pt x="341" y="472"/>
                    </a:lnTo>
                    <a:lnTo>
                      <a:pt x="339" y="472"/>
                    </a:lnTo>
                    <a:lnTo>
                      <a:pt x="341" y="472"/>
                    </a:lnTo>
                    <a:lnTo>
                      <a:pt x="339" y="473"/>
                    </a:lnTo>
                    <a:lnTo>
                      <a:pt x="338" y="473"/>
                    </a:lnTo>
                    <a:lnTo>
                      <a:pt x="338" y="472"/>
                    </a:lnTo>
                    <a:lnTo>
                      <a:pt x="337" y="472"/>
                    </a:lnTo>
                    <a:lnTo>
                      <a:pt x="337" y="470"/>
                    </a:lnTo>
                    <a:lnTo>
                      <a:pt x="338" y="470"/>
                    </a:lnTo>
                    <a:close/>
                    <a:moveTo>
                      <a:pt x="245" y="237"/>
                    </a:moveTo>
                    <a:lnTo>
                      <a:pt x="245" y="238"/>
                    </a:lnTo>
                    <a:lnTo>
                      <a:pt x="244" y="238"/>
                    </a:lnTo>
                    <a:lnTo>
                      <a:pt x="243" y="238"/>
                    </a:lnTo>
                    <a:lnTo>
                      <a:pt x="243" y="237"/>
                    </a:lnTo>
                    <a:lnTo>
                      <a:pt x="242" y="237"/>
                    </a:lnTo>
                    <a:lnTo>
                      <a:pt x="242" y="236"/>
                    </a:lnTo>
                    <a:lnTo>
                      <a:pt x="243" y="236"/>
                    </a:lnTo>
                    <a:lnTo>
                      <a:pt x="244" y="236"/>
                    </a:lnTo>
                    <a:lnTo>
                      <a:pt x="244" y="237"/>
                    </a:lnTo>
                    <a:lnTo>
                      <a:pt x="245" y="237"/>
                    </a:lnTo>
                    <a:close/>
                    <a:moveTo>
                      <a:pt x="497" y="459"/>
                    </a:moveTo>
                    <a:lnTo>
                      <a:pt x="498" y="459"/>
                    </a:lnTo>
                    <a:lnTo>
                      <a:pt x="497" y="459"/>
                    </a:lnTo>
                    <a:lnTo>
                      <a:pt x="497" y="460"/>
                    </a:lnTo>
                    <a:lnTo>
                      <a:pt x="498" y="460"/>
                    </a:lnTo>
                    <a:lnTo>
                      <a:pt x="497" y="460"/>
                    </a:lnTo>
                    <a:lnTo>
                      <a:pt x="496" y="460"/>
                    </a:lnTo>
                    <a:lnTo>
                      <a:pt x="496" y="461"/>
                    </a:lnTo>
                    <a:lnTo>
                      <a:pt x="496" y="460"/>
                    </a:lnTo>
                    <a:lnTo>
                      <a:pt x="496" y="459"/>
                    </a:lnTo>
                    <a:lnTo>
                      <a:pt x="497" y="459"/>
                    </a:lnTo>
                    <a:close/>
                    <a:moveTo>
                      <a:pt x="291" y="382"/>
                    </a:moveTo>
                    <a:lnTo>
                      <a:pt x="291" y="383"/>
                    </a:lnTo>
                    <a:lnTo>
                      <a:pt x="292" y="383"/>
                    </a:lnTo>
                    <a:lnTo>
                      <a:pt x="291" y="383"/>
                    </a:lnTo>
                    <a:lnTo>
                      <a:pt x="290" y="383"/>
                    </a:lnTo>
                    <a:lnTo>
                      <a:pt x="289" y="382"/>
                    </a:lnTo>
                    <a:lnTo>
                      <a:pt x="290" y="382"/>
                    </a:lnTo>
                    <a:lnTo>
                      <a:pt x="290" y="380"/>
                    </a:lnTo>
                    <a:lnTo>
                      <a:pt x="291" y="380"/>
                    </a:lnTo>
                    <a:lnTo>
                      <a:pt x="291" y="382"/>
                    </a:lnTo>
                    <a:close/>
                    <a:moveTo>
                      <a:pt x="332" y="344"/>
                    </a:moveTo>
                    <a:lnTo>
                      <a:pt x="333" y="344"/>
                    </a:lnTo>
                    <a:lnTo>
                      <a:pt x="334" y="344"/>
                    </a:lnTo>
                    <a:lnTo>
                      <a:pt x="335" y="345"/>
                    </a:lnTo>
                    <a:lnTo>
                      <a:pt x="335" y="344"/>
                    </a:lnTo>
                    <a:lnTo>
                      <a:pt x="335" y="345"/>
                    </a:lnTo>
                    <a:lnTo>
                      <a:pt x="335" y="346"/>
                    </a:lnTo>
                    <a:lnTo>
                      <a:pt x="334" y="345"/>
                    </a:lnTo>
                    <a:lnTo>
                      <a:pt x="333" y="345"/>
                    </a:lnTo>
                    <a:lnTo>
                      <a:pt x="332" y="345"/>
                    </a:lnTo>
                    <a:lnTo>
                      <a:pt x="332" y="344"/>
                    </a:lnTo>
                    <a:close/>
                    <a:moveTo>
                      <a:pt x="412" y="546"/>
                    </a:moveTo>
                    <a:lnTo>
                      <a:pt x="411" y="546"/>
                    </a:lnTo>
                    <a:lnTo>
                      <a:pt x="412" y="546"/>
                    </a:lnTo>
                    <a:lnTo>
                      <a:pt x="412" y="547"/>
                    </a:lnTo>
                    <a:lnTo>
                      <a:pt x="412" y="549"/>
                    </a:lnTo>
                    <a:lnTo>
                      <a:pt x="412" y="547"/>
                    </a:lnTo>
                    <a:lnTo>
                      <a:pt x="413" y="547"/>
                    </a:lnTo>
                    <a:lnTo>
                      <a:pt x="413" y="549"/>
                    </a:lnTo>
                    <a:lnTo>
                      <a:pt x="412" y="549"/>
                    </a:lnTo>
                    <a:lnTo>
                      <a:pt x="411" y="547"/>
                    </a:lnTo>
                    <a:lnTo>
                      <a:pt x="411" y="546"/>
                    </a:lnTo>
                    <a:lnTo>
                      <a:pt x="410" y="546"/>
                    </a:lnTo>
                    <a:lnTo>
                      <a:pt x="411" y="546"/>
                    </a:lnTo>
                    <a:lnTo>
                      <a:pt x="410" y="546"/>
                    </a:lnTo>
                    <a:lnTo>
                      <a:pt x="410" y="545"/>
                    </a:lnTo>
                    <a:lnTo>
                      <a:pt x="411" y="545"/>
                    </a:lnTo>
                    <a:lnTo>
                      <a:pt x="412" y="545"/>
                    </a:lnTo>
                    <a:lnTo>
                      <a:pt x="412" y="546"/>
                    </a:lnTo>
                    <a:close/>
                    <a:moveTo>
                      <a:pt x="464" y="620"/>
                    </a:moveTo>
                    <a:lnTo>
                      <a:pt x="464" y="619"/>
                    </a:lnTo>
                    <a:lnTo>
                      <a:pt x="465" y="618"/>
                    </a:lnTo>
                    <a:lnTo>
                      <a:pt x="465" y="617"/>
                    </a:lnTo>
                    <a:lnTo>
                      <a:pt x="466" y="617"/>
                    </a:lnTo>
                    <a:lnTo>
                      <a:pt x="466" y="615"/>
                    </a:lnTo>
                    <a:lnTo>
                      <a:pt x="467" y="615"/>
                    </a:lnTo>
                    <a:lnTo>
                      <a:pt x="467" y="616"/>
                    </a:lnTo>
                    <a:lnTo>
                      <a:pt x="466" y="617"/>
                    </a:lnTo>
                    <a:lnTo>
                      <a:pt x="465" y="619"/>
                    </a:lnTo>
                    <a:lnTo>
                      <a:pt x="464" y="620"/>
                    </a:lnTo>
                    <a:close/>
                    <a:moveTo>
                      <a:pt x="573" y="553"/>
                    </a:moveTo>
                    <a:lnTo>
                      <a:pt x="574" y="553"/>
                    </a:lnTo>
                    <a:lnTo>
                      <a:pt x="573" y="553"/>
                    </a:lnTo>
                    <a:lnTo>
                      <a:pt x="574" y="553"/>
                    </a:lnTo>
                    <a:lnTo>
                      <a:pt x="574" y="554"/>
                    </a:lnTo>
                    <a:lnTo>
                      <a:pt x="573" y="554"/>
                    </a:lnTo>
                    <a:lnTo>
                      <a:pt x="574" y="554"/>
                    </a:lnTo>
                    <a:lnTo>
                      <a:pt x="573" y="554"/>
                    </a:lnTo>
                    <a:lnTo>
                      <a:pt x="573" y="553"/>
                    </a:lnTo>
                    <a:lnTo>
                      <a:pt x="573" y="554"/>
                    </a:lnTo>
                    <a:lnTo>
                      <a:pt x="571" y="554"/>
                    </a:lnTo>
                    <a:lnTo>
                      <a:pt x="571" y="553"/>
                    </a:lnTo>
                    <a:lnTo>
                      <a:pt x="571" y="552"/>
                    </a:lnTo>
                    <a:lnTo>
                      <a:pt x="571" y="553"/>
                    </a:lnTo>
                    <a:lnTo>
                      <a:pt x="571" y="552"/>
                    </a:lnTo>
                    <a:lnTo>
                      <a:pt x="573" y="552"/>
                    </a:lnTo>
                    <a:lnTo>
                      <a:pt x="573" y="553"/>
                    </a:lnTo>
                    <a:close/>
                    <a:moveTo>
                      <a:pt x="423" y="379"/>
                    </a:moveTo>
                    <a:lnTo>
                      <a:pt x="424" y="379"/>
                    </a:lnTo>
                    <a:lnTo>
                      <a:pt x="423" y="380"/>
                    </a:lnTo>
                    <a:lnTo>
                      <a:pt x="423" y="382"/>
                    </a:lnTo>
                    <a:lnTo>
                      <a:pt x="424" y="382"/>
                    </a:lnTo>
                    <a:lnTo>
                      <a:pt x="423" y="382"/>
                    </a:lnTo>
                    <a:lnTo>
                      <a:pt x="422" y="382"/>
                    </a:lnTo>
                    <a:lnTo>
                      <a:pt x="422" y="380"/>
                    </a:lnTo>
                    <a:lnTo>
                      <a:pt x="422" y="379"/>
                    </a:lnTo>
                    <a:lnTo>
                      <a:pt x="421" y="379"/>
                    </a:lnTo>
                    <a:lnTo>
                      <a:pt x="422" y="379"/>
                    </a:lnTo>
                    <a:lnTo>
                      <a:pt x="423" y="379"/>
                    </a:lnTo>
                    <a:close/>
                    <a:moveTo>
                      <a:pt x="556" y="516"/>
                    </a:moveTo>
                    <a:lnTo>
                      <a:pt x="555" y="516"/>
                    </a:lnTo>
                    <a:lnTo>
                      <a:pt x="556" y="515"/>
                    </a:lnTo>
                    <a:lnTo>
                      <a:pt x="556" y="514"/>
                    </a:lnTo>
                    <a:lnTo>
                      <a:pt x="558" y="514"/>
                    </a:lnTo>
                    <a:lnTo>
                      <a:pt x="558" y="515"/>
                    </a:lnTo>
                    <a:lnTo>
                      <a:pt x="557" y="515"/>
                    </a:lnTo>
                    <a:lnTo>
                      <a:pt x="557" y="516"/>
                    </a:lnTo>
                    <a:lnTo>
                      <a:pt x="556" y="516"/>
                    </a:lnTo>
                    <a:close/>
                    <a:moveTo>
                      <a:pt x="312" y="462"/>
                    </a:moveTo>
                    <a:lnTo>
                      <a:pt x="311" y="463"/>
                    </a:lnTo>
                    <a:lnTo>
                      <a:pt x="307" y="462"/>
                    </a:lnTo>
                    <a:lnTo>
                      <a:pt x="308" y="462"/>
                    </a:lnTo>
                    <a:lnTo>
                      <a:pt x="308" y="463"/>
                    </a:lnTo>
                    <a:lnTo>
                      <a:pt x="309" y="463"/>
                    </a:lnTo>
                    <a:lnTo>
                      <a:pt x="309" y="462"/>
                    </a:lnTo>
                    <a:lnTo>
                      <a:pt x="309" y="463"/>
                    </a:lnTo>
                    <a:lnTo>
                      <a:pt x="310" y="463"/>
                    </a:lnTo>
                    <a:lnTo>
                      <a:pt x="311" y="462"/>
                    </a:lnTo>
                    <a:lnTo>
                      <a:pt x="311" y="463"/>
                    </a:lnTo>
                    <a:lnTo>
                      <a:pt x="311" y="462"/>
                    </a:lnTo>
                    <a:lnTo>
                      <a:pt x="311" y="461"/>
                    </a:lnTo>
                    <a:lnTo>
                      <a:pt x="311" y="460"/>
                    </a:lnTo>
                    <a:lnTo>
                      <a:pt x="312" y="461"/>
                    </a:lnTo>
                    <a:lnTo>
                      <a:pt x="312" y="462"/>
                    </a:lnTo>
                    <a:close/>
                    <a:moveTo>
                      <a:pt x="501" y="552"/>
                    </a:moveTo>
                    <a:lnTo>
                      <a:pt x="502" y="552"/>
                    </a:lnTo>
                    <a:lnTo>
                      <a:pt x="503" y="552"/>
                    </a:lnTo>
                    <a:lnTo>
                      <a:pt x="502" y="552"/>
                    </a:lnTo>
                    <a:lnTo>
                      <a:pt x="501" y="552"/>
                    </a:lnTo>
                    <a:lnTo>
                      <a:pt x="501" y="553"/>
                    </a:lnTo>
                    <a:lnTo>
                      <a:pt x="501" y="554"/>
                    </a:lnTo>
                    <a:lnTo>
                      <a:pt x="501" y="553"/>
                    </a:lnTo>
                    <a:lnTo>
                      <a:pt x="501" y="554"/>
                    </a:lnTo>
                    <a:lnTo>
                      <a:pt x="500" y="555"/>
                    </a:lnTo>
                    <a:lnTo>
                      <a:pt x="501" y="555"/>
                    </a:lnTo>
                    <a:lnTo>
                      <a:pt x="500" y="555"/>
                    </a:lnTo>
                    <a:lnTo>
                      <a:pt x="500" y="556"/>
                    </a:lnTo>
                    <a:lnTo>
                      <a:pt x="500" y="557"/>
                    </a:lnTo>
                    <a:lnTo>
                      <a:pt x="500" y="558"/>
                    </a:lnTo>
                    <a:lnTo>
                      <a:pt x="499" y="558"/>
                    </a:lnTo>
                    <a:lnTo>
                      <a:pt x="500" y="557"/>
                    </a:lnTo>
                    <a:lnTo>
                      <a:pt x="500" y="556"/>
                    </a:lnTo>
                    <a:lnTo>
                      <a:pt x="500" y="555"/>
                    </a:lnTo>
                    <a:lnTo>
                      <a:pt x="500" y="554"/>
                    </a:lnTo>
                    <a:lnTo>
                      <a:pt x="501" y="553"/>
                    </a:lnTo>
                    <a:lnTo>
                      <a:pt x="501" y="552"/>
                    </a:lnTo>
                    <a:close/>
                    <a:moveTo>
                      <a:pt x="424" y="375"/>
                    </a:moveTo>
                    <a:lnTo>
                      <a:pt x="424" y="376"/>
                    </a:lnTo>
                    <a:lnTo>
                      <a:pt x="423" y="376"/>
                    </a:lnTo>
                    <a:lnTo>
                      <a:pt x="424" y="376"/>
                    </a:lnTo>
                    <a:lnTo>
                      <a:pt x="424" y="375"/>
                    </a:lnTo>
                    <a:lnTo>
                      <a:pt x="423" y="375"/>
                    </a:lnTo>
                    <a:lnTo>
                      <a:pt x="422" y="375"/>
                    </a:lnTo>
                    <a:lnTo>
                      <a:pt x="422" y="376"/>
                    </a:lnTo>
                    <a:lnTo>
                      <a:pt x="423" y="376"/>
                    </a:lnTo>
                    <a:lnTo>
                      <a:pt x="423" y="375"/>
                    </a:lnTo>
                    <a:lnTo>
                      <a:pt x="423" y="376"/>
                    </a:lnTo>
                    <a:lnTo>
                      <a:pt x="423" y="375"/>
                    </a:lnTo>
                    <a:lnTo>
                      <a:pt x="423" y="376"/>
                    </a:lnTo>
                    <a:lnTo>
                      <a:pt x="422" y="376"/>
                    </a:lnTo>
                    <a:lnTo>
                      <a:pt x="422" y="377"/>
                    </a:lnTo>
                    <a:lnTo>
                      <a:pt x="423" y="377"/>
                    </a:lnTo>
                    <a:lnTo>
                      <a:pt x="423" y="376"/>
                    </a:lnTo>
                    <a:lnTo>
                      <a:pt x="424" y="376"/>
                    </a:lnTo>
                    <a:lnTo>
                      <a:pt x="424" y="377"/>
                    </a:lnTo>
                    <a:lnTo>
                      <a:pt x="424" y="378"/>
                    </a:lnTo>
                    <a:lnTo>
                      <a:pt x="423" y="378"/>
                    </a:lnTo>
                    <a:lnTo>
                      <a:pt x="422" y="377"/>
                    </a:lnTo>
                    <a:lnTo>
                      <a:pt x="422" y="376"/>
                    </a:lnTo>
                    <a:lnTo>
                      <a:pt x="422" y="375"/>
                    </a:lnTo>
                    <a:lnTo>
                      <a:pt x="422" y="374"/>
                    </a:lnTo>
                    <a:lnTo>
                      <a:pt x="422" y="375"/>
                    </a:lnTo>
                    <a:lnTo>
                      <a:pt x="423" y="375"/>
                    </a:lnTo>
                    <a:lnTo>
                      <a:pt x="424" y="375"/>
                    </a:lnTo>
                    <a:close/>
                    <a:moveTo>
                      <a:pt x="564" y="515"/>
                    </a:moveTo>
                    <a:lnTo>
                      <a:pt x="563" y="515"/>
                    </a:lnTo>
                    <a:lnTo>
                      <a:pt x="563" y="514"/>
                    </a:lnTo>
                    <a:lnTo>
                      <a:pt x="563" y="513"/>
                    </a:lnTo>
                    <a:lnTo>
                      <a:pt x="564" y="513"/>
                    </a:lnTo>
                    <a:lnTo>
                      <a:pt x="565" y="513"/>
                    </a:lnTo>
                    <a:lnTo>
                      <a:pt x="564" y="514"/>
                    </a:lnTo>
                    <a:lnTo>
                      <a:pt x="564" y="515"/>
                    </a:lnTo>
                    <a:close/>
                    <a:moveTo>
                      <a:pt x="316" y="454"/>
                    </a:moveTo>
                    <a:lnTo>
                      <a:pt x="316" y="456"/>
                    </a:lnTo>
                    <a:lnTo>
                      <a:pt x="316" y="457"/>
                    </a:lnTo>
                    <a:lnTo>
                      <a:pt x="315" y="456"/>
                    </a:lnTo>
                    <a:lnTo>
                      <a:pt x="316" y="455"/>
                    </a:lnTo>
                    <a:lnTo>
                      <a:pt x="315" y="453"/>
                    </a:lnTo>
                    <a:lnTo>
                      <a:pt x="316" y="452"/>
                    </a:lnTo>
                    <a:lnTo>
                      <a:pt x="316" y="451"/>
                    </a:lnTo>
                    <a:lnTo>
                      <a:pt x="317" y="451"/>
                    </a:lnTo>
                    <a:lnTo>
                      <a:pt x="316" y="452"/>
                    </a:lnTo>
                    <a:lnTo>
                      <a:pt x="316" y="453"/>
                    </a:lnTo>
                    <a:lnTo>
                      <a:pt x="316" y="454"/>
                    </a:lnTo>
                    <a:close/>
                    <a:moveTo>
                      <a:pt x="245" y="417"/>
                    </a:moveTo>
                    <a:lnTo>
                      <a:pt x="244" y="417"/>
                    </a:lnTo>
                    <a:lnTo>
                      <a:pt x="243" y="417"/>
                    </a:lnTo>
                    <a:lnTo>
                      <a:pt x="242" y="417"/>
                    </a:lnTo>
                    <a:lnTo>
                      <a:pt x="240" y="417"/>
                    </a:lnTo>
                    <a:lnTo>
                      <a:pt x="239" y="416"/>
                    </a:lnTo>
                    <a:lnTo>
                      <a:pt x="240" y="417"/>
                    </a:lnTo>
                    <a:lnTo>
                      <a:pt x="245" y="417"/>
                    </a:lnTo>
                    <a:close/>
                    <a:moveTo>
                      <a:pt x="574" y="494"/>
                    </a:moveTo>
                    <a:lnTo>
                      <a:pt x="574" y="495"/>
                    </a:lnTo>
                    <a:lnTo>
                      <a:pt x="574" y="496"/>
                    </a:lnTo>
                    <a:lnTo>
                      <a:pt x="575" y="496"/>
                    </a:lnTo>
                    <a:lnTo>
                      <a:pt x="575" y="498"/>
                    </a:lnTo>
                    <a:lnTo>
                      <a:pt x="575" y="496"/>
                    </a:lnTo>
                    <a:lnTo>
                      <a:pt x="574" y="496"/>
                    </a:lnTo>
                    <a:lnTo>
                      <a:pt x="574" y="495"/>
                    </a:lnTo>
                    <a:lnTo>
                      <a:pt x="573" y="494"/>
                    </a:lnTo>
                    <a:lnTo>
                      <a:pt x="573" y="495"/>
                    </a:lnTo>
                    <a:lnTo>
                      <a:pt x="574" y="496"/>
                    </a:lnTo>
                    <a:lnTo>
                      <a:pt x="574" y="498"/>
                    </a:lnTo>
                    <a:lnTo>
                      <a:pt x="574" y="499"/>
                    </a:lnTo>
                    <a:lnTo>
                      <a:pt x="574" y="500"/>
                    </a:lnTo>
                    <a:lnTo>
                      <a:pt x="574" y="499"/>
                    </a:lnTo>
                    <a:lnTo>
                      <a:pt x="573" y="495"/>
                    </a:lnTo>
                    <a:lnTo>
                      <a:pt x="573" y="494"/>
                    </a:lnTo>
                    <a:lnTo>
                      <a:pt x="574" y="494"/>
                    </a:lnTo>
                    <a:close/>
                    <a:moveTo>
                      <a:pt x="213" y="406"/>
                    </a:moveTo>
                    <a:lnTo>
                      <a:pt x="214" y="406"/>
                    </a:lnTo>
                    <a:lnTo>
                      <a:pt x="215" y="406"/>
                    </a:lnTo>
                    <a:lnTo>
                      <a:pt x="214" y="406"/>
                    </a:lnTo>
                    <a:lnTo>
                      <a:pt x="214" y="408"/>
                    </a:lnTo>
                    <a:lnTo>
                      <a:pt x="213" y="408"/>
                    </a:lnTo>
                    <a:lnTo>
                      <a:pt x="214" y="408"/>
                    </a:lnTo>
                    <a:lnTo>
                      <a:pt x="213" y="408"/>
                    </a:lnTo>
                    <a:lnTo>
                      <a:pt x="212" y="408"/>
                    </a:lnTo>
                    <a:lnTo>
                      <a:pt x="210" y="408"/>
                    </a:lnTo>
                    <a:lnTo>
                      <a:pt x="212" y="408"/>
                    </a:lnTo>
                    <a:lnTo>
                      <a:pt x="210" y="408"/>
                    </a:lnTo>
                    <a:lnTo>
                      <a:pt x="209" y="408"/>
                    </a:lnTo>
                    <a:lnTo>
                      <a:pt x="209" y="406"/>
                    </a:lnTo>
                    <a:lnTo>
                      <a:pt x="210" y="406"/>
                    </a:lnTo>
                    <a:lnTo>
                      <a:pt x="212" y="406"/>
                    </a:lnTo>
                    <a:lnTo>
                      <a:pt x="213" y="406"/>
                    </a:lnTo>
                    <a:close/>
                    <a:moveTo>
                      <a:pt x="257" y="372"/>
                    </a:moveTo>
                    <a:lnTo>
                      <a:pt x="257" y="373"/>
                    </a:lnTo>
                    <a:lnTo>
                      <a:pt x="256" y="373"/>
                    </a:lnTo>
                    <a:lnTo>
                      <a:pt x="255" y="372"/>
                    </a:lnTo>
                    <a:lnTo>
                      <a:pt x="254" y="372"/>
                    </a:lnTo>
                    <a:lnTo>
                      <a:pt x="255" y="372"/>
                    </a:lnTo>
                    <a:lnTo>
                      <a:pt x="256" y="372"/>
                    </a:lnTo>
                    <a:lnTo>
                      <a:pt x="256" y="373"/>
                    </a:lnTo>
                    <a:lnTo>
                      <a:pt x="256" y="372"/>
                    </a:lnTo>
                    <a:lnTo>
                      <a:pt x="257" y="372"/>
                    </a:lnTo>
                    <a:lnTo>
                      <a:pt x="257" y="371"/>
                    </a:lnTo>
                    <a:lnTo>
                      <a:pt x="257" y="370"/>
                    </a:lnTo>
                    <a:lnTo>
                      <a:pt x="258" y="371"/>
                    </a:lnTo>
                    <a:lnTo>
                      <a:pt x="257" y="372"/>
                    </a:lnTo>
                    <a:close/>
                    <a:moveTo>
                      <a:pt x="125" y="411"/>
                    </a:moveTo>
                    <a:lnTo>
                      <a:pt x="124" y="411"/>
                    </a:lnTo>
                    <a:lnTo>
                      <a:pt x="123" y="411"/>
                    </a:lnTo>
                    <a:lnTo>
                      <a:pt x="116" y="411"/>
                    </a:lnTo>
                    <a:lnTo>
                      <a:pt x="124" y="411"/>
                    </a:lnTo>
                    <a:lnTo>
                      <a:pt x="125" y="411"/>
                    </a:lnTo>
                    <a:close/>
                    <a:moveTo>
                      <a:pt x="331" y="284"/>
                    </a:moveTo>
                    <a:lnTo>
                      <a:pt x="330" y="284"/>
                    </a:lnTo>
                    <a:lnTo>
                      <a:pt x="330" y="283"/>
                    </a:lnTo>
                    <a:lnTo>
                      <a:pt x="330" y="282"/>
                    </a:lnTo>
                    <a:lnTo>
                      <a:pt x="330" y="283"/>
                    </a:lnTo>
                    <a:lnTo>
                      <a:pt x="331" y="283"/>
                    </a:lnTo>
                    <a:lnTo>
                      <a:pt x="332" y="283"/>
                    </a:lnTo>
                    <a:lnTo>
                      <a:pt x="331" y="284"/>
                    </a:lnTo>
                    <a:close/>
                    <a:moveTo>
                      <a:pt x="313" y="460"/>
                    </a:moveTo>
                    <a:lnTo>
                      <a:pt x="313" y="461"/>
                    </a:lnTo>
                    <a:lnTo>
                      <a:pt x="312" y="461"/>
                    </a:lnTo>
                    <a:lnTo>
                      <a:pt x="311" y="459"/>
                    </a:lnTo>
                    <a:lnTo>
                      <a:pt x="312" y="461"/>
                    </a:lnTo>
                    <a:lnTo>
                      <a:pt x="312" y="460"/>
                    </a:lnTo>
                    <a:lnTo>
                      <a:pt x="313" y="460"/>
                    </a:lnTo>
                    <a:lnTo>
                      <a:pt x="313" y="459"/>
                    </a:lnTo>
                    <a:lnTo>
                      <a:pt x="315" y="459"/>
                    </a:lnTo>
                    <a:lnTo>
                      <a:pt x="316" y="457"/>
                    </a:lnTo>
                    <a:lnTo>
                      <a:pt x="315" y="457"/>
                    </a:lnTo>
                    <a:lnTo>
                      <a:pt x="316" y="457"/>
                    </a:lnTo>
                    <a:lnTo>
                      <a:pt x="316" y="459"/>
                    </a:lnTo>
                    <a:lnTo>
                      <a:pt x="315" y="460"/>
                    </a:lnTo>
                    <a:lnTo>
                      <a:pt x="313" y="460"/>
                    </a:lnTo>
                    <a:close/>
                    <a:moveTo>
                      <a:pt x="334" y="466"/>
                    </a:moveTo>
                    <a:lnTo>
                      <a:pt x="333" y="467"/>
                    </a:lnTo>
                    <a:lnTo>
                      <a:pt x="333" y="466"/>
                    </a:lnTo>
                    <a:lnTo>
                      <a:pt x="332" y="466"/>
                    </a:lnTo>
                    <a:lnTo>
                      <a:pt x="332" y="467"/>
                    </a:lnTo>
                    <a:lnTo>
                      <a:pt x="331" y="467"/>
                    </a:lnTo>
                    <a:lnTo>
                      <a:pt x="331" y="468"/>
                    </a:lnTo>
                    <a:lnTo>
                      <a:pt x="330" y="469"/>
                    </a:lnTo>
                    <a:lnTo>
                      <a:pt x="329" y="468"/>
                    </a:lnTo>
                    <a:lnTo>
                      <a:pt x="328" y="468"/>
                    </a:lnTo>
                    <a:lnTo>
                      <a:pt x="329" y="468"/>
                    </a:lnTo>
                    <a:lnTo>
                      <a:pt x="329" y="467"/>
                    </a:lnTo>
                    <a:lnTo>
                      <a:pt x="330" y="467"/>
                    </a:lnTo>
                    <a:lnTo>
                      <a:pt x="331" y="467"/>
                    </a:lnTo>
                    <a:lnTo>
                      <a:pt x="332" y="467"/>
                    </a:lnTo>
                    <a:lnTo>
                      <a:pt x="332" y="466"/>
                    </a:lnTo>
                    <a:lnTo>
                      <a:pt x="333" y="466"/>
                    </a:lnTo>
                    <a:lnTo>
                      <a:pt x="334" y="466"/>
                    </a:lnTo>
                    <a:close/>
                    <a:moveTo>
                      <a:pt x="265" y="390"/>
                    </a:moveTo>
                    <a:lnTo>
                      <a:pt x="264" y="390"/>
                    </a:lnTo>
                    <a:lnTo>
                      <a:pt x="264" y="391"/>
                    </a:lnTo>
                    <a:lnTo>
                      <a:pt x="265" y="391"/>
                    </a:lnTo>
                    <a:lnTo>
                      <a:pt x="266" y="391"/>
                    </a:lnTo>
                    <a:lnTo>
                      <a:pt x="267" y="391"/>
                    </a:lnTo>
                    <a:lnTo>
                      <a:pt x="266" y="392"/>
                    </a:lnTo>
                    <a:lnTo>
                      <a:pt x="265" y="392"/>
                    </a:lnTo>
                    <a:lnTo>
                      <a:pt x="265" y="391"/>
                    </a:lnTo>
                    <a:lnTo>
                      <a:pt x="264" y="390"/>
                    </a:lnTo>
                    <a:lnTo>
                      <a:pt x="265" y="390"/>
                    </a:lnTo>
                    <a:close/>
                    <a:moveTo>
                      <a:pt x="201" y="405"/>
                    </a:moveTo>
                    <a:lnTo>
                      <a:pt x="202" y="405"/>
                    </a:lnTo>
                    <a:lnTo>
                      <a:pt x="202" y="406"/>
                    </a:lnTo>
                    <a:lnTo>
                      <a:pt x="201" y="406"/>
                    </a:lnTo>
                    <a:lnTo>
                      <a:pt x="200" y="405"/>
                    </a:lnTo>
                    <a:lnTo>
                      <a:pt x="201" y="404"/>
                    </a:lnTo>
                    <a:lnTo>
                      <a:pt x="200" y="405"/>
                    </a:lnTo>
                    <a:lnTo>
                      <a:pt x="201" y="405"/>
                    </a:lnTo>
                    <a:lnTo>
                      <a:pt x="201" y="404"/>
                    </a:lnTo>
                    <a:lnTo>
                      <a:pt x="202" y="404"/>
                    </a:lnTo>
                    <a:lnTo>
                      <a:pt x="202" y="403"/>
                    </a:lnTo>
                    <a:lnTo>
                      <a:pt x="202" y="404"/>
                    </a:lnTo>
                    <a:lnTo>
                      <a:pt x="202" y="405"/>
                    </a:lnTo>
                    <a:lnTo>
                      <a:pt x="201" y="405"/>
                    </a:lnTo>
                    <a:close/>
                    <a:moveTo>
                      <a:pt x="331" y="399"/>
                    </a:moveTo>
                    <a:lnTo>
                      <a:pt x="332" y="400"/>
                    </a:lnTo>
                    <a:lnTo>
                      <a:pt x="332" y="399"/>
                    </a:lnTo>
                    <a:lnTo>
                      <a:pt x="332" y="400"/>
                    </a:lnTo>
                    <a:lnTo>
                      <a:pt x="331" y="400"/>
                    </a:lnTo>
                    <a:lnTo>
                      <a:pt x="329" y="400"/>
                    </a:lnTo>
                    <a:lnTo>
                      <a:pt x="328" y="399"/>
                    </a:lnTo>
                    <a:lnTo>
                      <a:pt x="329" y="399"/>
                    </a:lnTo>
                    <a:lnTo>
                      <a:pt x="330" y="399"/>
                    </a:lnTo>
                    <a:lnTo>
                      <a:pt x="331" y="399"/>
                    </a:lnTo>
                    <a:close/>
                    <a:moveTo>
                      <a:pt x="127" y="391"/>
                    </a:moveTo>
                    <a:lnTo>
                      <a:pt x="128" y="391"/>
                    </a:lnTo>
                    <a:lnTo>
                      <a:pt x="128" y="392"/>
                    </a:lnTo>
                    <a:lnTo>
                      <a:pt x="127" y="393"/>
                    </a:lnTo>
                    <a:lnTo>
                      <a:pt x="128" y="393"/>
                    </a:lnTo>
                    <a:lnTo>
                      <a:pt x="127" y="393"/>
                    </a:lnTo>
                    <a:lnTo>
                      <a:pt x="126" y="393"/>
                    </a:lnTo>
                    <a:lnTo>
                      <a:pt x="127" y="393"/>
                    </a:lnTo>
                    <a:lnTo>
                      <a:pt x="127" y="392"/>
                    </a:lnTo>
                    <a:lnTo>
                      <a:pt x="127" y="391"/>
                    </a:lnTo>
                    <a:close/>
                    <a:moveTo>
                      <a:pt x="555" y="521"/>
                    </a:moveTo>
                    <a:lnTo>
                      <a:pt x="556" y="521"/>
                    </a:lnTo>
                    <a:lnTo>
                      <a:pt x="556" y="523"/>
                    </a:lnTo>
                    <a:lnTo>
                      <a:pt x="555" y="524"/>
                    </a:lnTo>
                    <a:lnTo>
                      <a:pt x="554" y="523"/>
                    </a:lnTo>
                    <a:lnTo>
                      <a:pt x="555" y="521"/>
                    </a:lnTo>
                    <a:close/>
                    <a:moveTo>
                      <a:pt x="421" y="371"/>
                    </a:moveTo>
                    <a:lnTo>
                      <a:pt x="422" y="371"/>
                    </a:lnTo>
                    <a:lnTo>
                      <a:pt x="422" y="372"/>
                    </a:lnTo>
                    <a:lnTo>
                      <a:pt x="423" y="372"/>
                    </a:lnTo>
                    <a:lnTo>
                      <a:pt x="422" y="372"/>
                    </a:lnTo>
                    <a:lnTo>
                      <a:pt x="422" y="373"/>
                    </a:lnTo>
                    <a:lnTo>
                      <a:pt x="422" y="372"/>
                    </a:lnTo>
                    <a:lnTo>
                      <a:pt x="422" y="373"/>
                    </a:lnTo>
                    <a:lnTo>
                      <a:pt x="421" y="373"/>
                    </a:lnTo>
                    <a:lnTo>
                      <a:pt x="421" y="372"/>
                    </a:lnTo>
                    <a:lnTo>
                      <a:pt x="420" y="372"/>
                    </a:lnTo>
                    <a:lnTo>
                      <a:pt x="420" y="371"/>
                    </a:lnTo>
                    <a:lnTo>
                      <a:pt x="420" y="372"/>
                    </a:lnTo>
                    <a:lnTo>
                      <a:pt x="421" y="372"/>
                    </a:lnTo>
                    <a:lnTo>
                      <a:pt x="421" y="371"/>
                    </a:lnTo>
                    <a:lnTo>
                      <a:pt x="421" y="372"/>
                    </a:lnTo>
                    <a:lnTo>
                      <a:pt x="421" y="371"/>
                    </a:lnTo>
                    <a:close/>
                    <a:moveTo>
                      <a:pt x="317" y="452"/>
                    </a:moveTo>
                    <a:lnTo>
                      <a:pt x="316" y="453"/>
                    </a:lnTo>
                    <a:lnTo>
                      <a:pt x="316" y="454"/>
                    </a:lnTo>
                    <a:lnTo>
                      <a:pt x="317" y="454"/>
                    </a:lnTo>
                    <a:lnTo>
                      <a:pt x="317" y="455"/>
                    </a:lnTo>
                    <a:lnTo>
                      <a:pt x="317" y="456"/>
                    </a:lnTo>
                    <a:lnTo>
                      <a:pt x="318" y="456"/>
                    </a:lnTo>
                    <a:lnTo>
                      <a:pt x="319" y="456"/>
                    </a:lnTo>
                    <a:lnTo>
                      <a:pt x="319" y="455"/>
                    </a:lnTo>
                    <a:lnTo>
                      <a:pt x="319" y="456"/>
                    </a:lnTo>
                    <a:lnTo>
                      <a:pt x="318" y="456"/>
                    </a:lnTo>
                    <a:lnTo>
                      <a:pt x="317" y="456"/>
                    </a:lnTo>
                    <a:lnTo>
                      <a:pt x="316" y="455"/>
                    </a:lnTo>
                    <a:lnTo>
                      <a:pt x="316" y="454"/>
                    </a:lnTo>
                    <a:lnTo>
                      <a:pt x="316" y="453"/>
                    </a:lnTo>
                    <a:lnTo>
                      <a:pt x="317" y="452"/>
                    </a:lnTo>
                    <a:close/>
                    <a:moveTo>
                      <a:pt x="235" y="389"/>
                    </a:moveTo>
                    <a:lnTo>
                      <a:pt x="234" y="389"/>
                    </a:lnTo>
                    <a:lnTo>
                      <a:pt x="235" y="388"/>
                    </a:lnTo>
                    <a:lnTo>
                      <a:pt x="235" y="387"/>
                    </a:lnTo>
                    <a:lnTo>
                      <a:pt x="234" y="387"/>
                    </a:lnTo>
                    <a:lnTo>
                      <a:pt x="234" y="386"/>
                    </a:lnTo>
                    <a:lnTo>
                      <a:pt x="234" y="387"/>
                    </a:lnTo>
                    <a:lnTo>
                      <a:pt x="235" y="387"/>
                    </a:lnTo>
                    <a:lnTo>
                      <a:pt x="236" y="387"/>
                    </a:lnTo>
                    <a:lnTo>
                      <a:pt x="235" y="388"/>
                    </a:lnTo>
                    <a:lnTo>
                      <a:pt x="235" y="389"/>
                    </a:lnTo>
                    <a:close/>
                    <a:moveTo>
                      <a:pt x="195" y="413"/>
                    </a:moveTo>
                    <a:lnTo>
                      <a:pt x="194" y="413"/>
                    </a:lnTo>
                    <a:lnTo>
                      <a:pt x="194" y="414"/>
                    </a:lnTo>
                    <a:lnTo>
                      <a:pt x="194" y="415"/>
                    </a:lnTo>
                    <a:lnTo>
                      <a:pt x="193" y="415"/>
                    </a:lnTo>
                    <a:lnTo>
                      <a:pt x="193" y="413"/>
                    </a:lnTo>
                    <a:lnTo>
                      <a:pt x="195" y="413"/>
                    </a:lnTo>
                    <a:close/>
                    <a:moveTo>
                      <a:pt x="190" y="357"/>
                    </a:moveTo>
                    <a:lnTo>
                      <a:pt x="193" y="359"/>
                    </a:lnTo>
                    <a:lnTo>
                      <a:pt x="192" y="359"/>
                    </a:lnTo>
                    <a:lnTo>
                      <a:pt x="191" y="359"/>
                    </a:lnTo>
                    <a:lnTo>
                      <a:pt x="191" y="358"/>
                    </a:lnTo>
                    <a:lnTo>
                      <a:pt x="190" y="359"/>
                    </a:lnTo>
                    <a:lnTo>
                      <a:pt x="190" y="358"/>
                    </a:lnTo>
                    <a:lnTo>
                      <a:pt x="190" y="357"/>
                    </a:lnTo>
                    <a:close/>
                    <a:moveTo>
                      <a:pt x="260" y="259"/>
                    </a:moveTo>
                    <a:lnTo>
                      <a:pt x="260" y="260"/>
                    </a:lnTo>
                    <a:lnTo>
                      <a:pt x="261" y="260"/>
                    </a:lnTo>
                    <a:lnTo>
                      <a:pt x="260" y="260"/>
                    </a:lnTo>
                    <a:lnTo>
                      <a:pt x="259" y="260"/>
                    </a:lnTo>
                    <a:lnTo>
                      <a:pt x="258" y="260"/>
                    </a:lnTo>
                    <a:lnTo>
                      <a:pt x="258" y="259"/>
                    </a:lnTo>
                    <a:lnTo>
                      <a:pt x="260" y="259"/>
                    </a:lnTo>
                    <a:close/>
                    <a:moveTo>
                      <a:pt x="238" y="379"/>
                    </a:moveTo>
                    <a:lnTo>
                      <a:pt x="236" y="380"/>
                    </a:lnTo>
                    <a:lnTo>
                      <a:pt x="235" y="380"/>
                    </a:lnTo>
                    <a:lnTo>
                      <a:pt x="233" y="380"/>
                    </a:lnTo>
                    <a:lnTo>
                      <a:pt x="233" y="379"/>
                    </a:lnTo>
                    <a:lnTo>
                      <a:pt x="234" y="379"/>
                    </a:lnTo>
                    <a:lnTo>
                      <a:pt x="234" y="380"/>
                    </a:lnTo>
                    <a:lnTo>
                      <a:pt x="235" y="380"/>
                    </a:lnTo>
                    <a:lnTo>
                      <a:pt x="235" y="379"/>
                    </a:lnTo>
                    <a:lnTo>
                      <a:pt x="236" y="379"/>
                    </a:lnTo>
                    <a:lnTo>
                      <a:pt x="235" y="379"/>
                    </a:lnTo>
                    <a:lnTo>
                      <a:pt x="235" y="378"/>
                    </a:lnTo>
                    <a:lnTo>
                      <a:pt x="236" y="378"/>
                    </a:lnTo>
                    <a:lnTo>
                      <a:pt x="236" y="379"/>
                    </a:lnTo>
                    <a:lnTo>
                      <a:pt x="238" y="379"/>
                    </a:lnTo>
                    <a:close/>
                    <a:moveTo>
                      <a:pt x="491" y="474"/>
                    </a:moveTo>
                    <a:lnTo>
                      <a:pt x="492" y="474"/>
                    </a:lnTo>
                    <a:lnTo>
                      <a:pt x="492" y="475"/>
                    </a:lnTo>
                    <a:lnTo>
                      <a:pt x="491" y="475"/>
                    </a:lnTo>
                    <a:lnTo>
                      <a:pt x="490" y="475"/>
                    </a:lnTo>
                    <a:lnTo>
                      <a:pt x="491" y="475"/>
                    </a:lnTo>
                    <a:lnTo>
                      <a:pt x="490" y="474"/>
                    </a:lnTo>
                    <a:lnTo>
                      <a:pt x="491" y="474"/>
                    </a:lnTo>
                    <a:lnTo>
                      <a:pt x="490" y="473"/>
                    </a:lnTo>
                    <a:lnTo>
                      <a:pt x="491" y="473"/>
                    </a:lnTo>
                    <a:lnTo>
                      <a:pt x="491" y="474"/>
                    </a:lnTo>
                    <a:close/>
                    <a:moveTo>
                      <a:pt x="413" y="375"/>
                    </a:moveTo>
                    <a:lnTo>
                      <a:pt x="414" y="375"/>
                    </a:lnTo>
                    <a:lnTo>
                      <a:pt x="414" y="376"/>
                    </a:lnTo>
                    <a:lnTo>
                      <a:pt x="414" y="377"/>
                    </a:lnTo>
                    <a:lnTo>
                      <a:pt x="414" y="378"/>
                    </a:lnTo>
                    <a:lnTo>
                      <a:pt x="414" y="377"/>
                    </a:lnTo>
                    <a:lnTo>
                      <a:pt x="413" y="377"/>
                    </a:lnTo>
                    <a:lnTo>
                      <a:pt x="413" y="376"/>
                    </a:lnTo>
                    <a:lnTo>
                      <a:pt x="413" y="377"/>
                    </a:lnTo>
                    <a:lnTo>
                      <a:pt x="413" y="378"/>
                    </a:lnTo>
                    <a:lnTo>
                      <a:pt x="413" y="377"/>
                    </a:lnTo>
                    <a:lnTo>
                      <a:pt x="412" y="377"/>
                    </a:lnTo>
                    <a:lnTo>
                      <a:pt x="413" y="377"/>
                    </a:lnTo>
                    <a:lnTo>
                      <a:pt x="413" y="376"/>
                    </a:lnTo>
                    <a:lnTo>
                      <a:pt x="413" y="375"/>
                    </a:lnTo>
                    <a:close/>
                    <a:moveTo>
                      <a:pt x="276" y="423"/>
                    </a:moveTo>
                    <a:lnTo>
                      <a:pt x="274" y="423"/>
                    </a:lnTo>
                    <a:lnTo>
                      <a:pt x="272" y="422"/>
                    </a:lnTo>
                    <a:lnTo>
                      <a:pt x="272" y="421"/>
                    </a:lnTo>
                    <a:lnTo>
                      <a:pt x="273" y="421"/>
                    </a:lnTo>
                    <a:lnTo>
                      <a:pt x="273" y="422"/>
                    </a:lnTo>
                    <a:lnTo>
                      <a:pt x="274" y="422"/>
                    </a:lnTo>
                    <a:lnTo>
                      <a:pt x="276" y="423"/>
                    </a:lnTo>
                    <a:close/>
                    <a:moveTo>
                      <a:pt x="190" y="361"/>
                    </a:moveTo>
                    <a:lnTo>
                      <a:pt x="189" y="361"/>
                    </a:lnTo>
                    <a:lnTo>
                      <a:pt x="189" y="362"/>
                    </a:lnTo>
                    <a:lnTo>
                      <a:pt x="188" y="362"/>
                    </a:lnTo>
                    <a:lnTo>
                      <a:pt x="188" y="361"/>
                    </a:lnTo>
                    <a:lnTo>
                      <a:pt x="188" y="360"/>
                    </a:lnTo>
                    <a:lnTo>
                      <a:pt x="188" y="359"/>
                    </a:lnTo>
                    <a:lnTo>
                      <a:pt x="189" y="359"/>
                    </a:lnTo>
                    <a:lnTo>
                      <a:pt x="189" y="360"/>
                    </a:lnTo>
                    <a:lnTo>
                      <a:pt x="189" y="361"/>
                    </a:lnTo>
                    <a:lnTo>
                      <a:pt x="190" y="361"/>
                    </a:lnTo>
                    <a:close/>
                    <a:moveTo>
                      <a:pt x="278" y="405"/>
                    </a:moveTo>
                    <a:lnTo>
                      <a:pt x="281" y="409"/>
                    </a:lnTo>
                    <a:lnTo>
                      <a:pt x="280" y="408"/>
                    </a:lnTo>
                    <a:lnTo>
                      <a:pt x="279" y="408"/>
                    </a:lnTo>
                    <a:lnTo>
                      <a:pt x="279" y="409"/>
                    </a:lnTo>
                    <a:lnTo>
                      <a:pt x="279" y="410"/>
                    </a:lnTo>
                    <a:lnTo>
                      <a:pt x="279" y="409"/>
                    </a:lnTo>
                    <a:lnTo>
                      <a:pt x="278" y="409"/>
                    </a:lnTo>
                    <a:lnTo>
                      <a:pt x="279" y="408"/>
                    </a:lnTo>
                    <a:lnTo>
                      <a:pt x="278" y="408"/>
                    </a:lnTo>
                    <a:lnTo>
                      <a:pt x="279" y="408"/>
                    </a:lnTo>
                    <a:lnTo>
                      <a:pt x="279" y="406"/>
                    </a:lnTo>
                    <a:lnTo>
                      <a:pt x="279" y="405"/>
                    </a:lnTo>
                    <a:lnTo>
                      <a:pt x="278" y="405"/>
                    </a:lnTo>
                    <a:close/>
                    <a:moveTo>
                      <a:pt x="219" y="378"/>
                    </a:moveTo>
                    <a:lnTo>
                      <a:pt x="218" y="378"/>
                    </a:lnTo>
                    <a:lnTo>
                      <a:pt x="218" y="377"/>
                    </a:lnTo>
                    <a:lnTo>
                      <a:pt x="217" y="377"/>
                    </a:lnTo>
                    <a:lnTo>
                      <a:pt x="217" y="376"/>
                    </a:lnTo>
                    <a:lnTo>
                      <a:pt x="218" y="376"/>
                    </a:lnTo>
                    <a:lnTo>
                      <a:pt x="218" y="375"/>
                    </a:lnTo>
                    <a:lnTo>
                      <a:pt x="218" y="376"/>
                    </a:lnTo>
                    <a:lnTo>
                      <a:pt x="218" y="377"/>
                    </a:lnTo>
                    <a:lnTo>
                      <a:pt x="219" y="377"/>
                    </a:lnTo>
                    <a:lnTo>
                      <a:pt x="219" y="378"/>
                    </a:lnTo>
                    <a:close/>
                    <a:moveTo>
                      <a:pt x="555" y="540"/>
                    </a:moveTo>
                    <a:lnTo>
                      <a:pt x="554" y="540"/>
                    </a:lnTo>
                    <a:lnTo>
                      <a:pt x="554" y="541"/>
                    </a:lnTo>
                    <a:lnTo>
                      <a:pt x="553" y="541"/>
                    </a:lnTo>
                    <a:lnTo>
                      <a:pt x="553" y="540"/>
                    </a:lnTo>
                    <a:lnTo>
                      <a:pt x="554" y="540"/>
                    </a:lnTo>
                    <a:lnTo>
                      <a:pt x="554" y="539"/>
                    </a:lnTo>
                    <a:lnTo>
                      <a:pt x="555" y="539"/>
                    </a:lnTo>
                    <a:lnTo>
                      <a:pt x="555" y="540"/>
                    </a:lnTo>
                    <a:close/>
                    <a:moveTo>
                      <a:pt x="214" y="402"/>
                    </a:moveTo>
                    <a:lnTo>
                      <a:pt x="214" y="403"/>
                    </a:lnTo>
                    <a:lnTo>
                      <a:pt x="213" y="403"/>
                    </a:lnTo>
                    <a:lnTo>
                      <a:pt x="213" y="402"/>
                    </a:lnTo>
                    <a:lnTo>
                      <a:pt x="213" y="403"/>
                    </a:lnTo>
                    <a:lnTo>
                      <a:pt x="210" y="403"/>
                    </a:lnTo>
                    <a:lnTo>
                      <a:pt x="210" y="402"/>
                    </a:lnTo>
                    <a:lnTo>
                      <a:pt x="214" y="402"/>
                    </a:lnTo>
                    <a:close/>
                    <a:moveTo>
                      <a:pt x="215" y="408"/>
                    </a:moveTo>
                    <a:lnTo>
                      <a:pt x="215" y="409"/>
                    </a:lnTo>
                    <a:lnTo>
                      <a:pt x="215" y="408"/>
                    </a:lnTo>
                    <a:lnTo>
                      <a:pt x="214" y="408"/>
                    </a:lnTo>
                    <a:lnTo>
                      <a:pt x="214" y="409"/>
                    </a:lnTo>
                    <a:lnTo>
                      <a:pt x="214" y="408"/>
                    </a:lnTo>
                    <a:lnTo>
                      <a:pt x="213" y="408"/>
                    </a:lnTo>
                    <a:lnTo>
                      <a:pt x="213" y="409"/>
                    </a:lnTo>
                    <a:lnTo>
                      <a:pt x="214" y="409"/>
                    </a:lnTo>
                    <a:lnTo>
                      <a:pt x="213" y="409"/>
                    </a:lnTo>
                    <a:lnTo>
                      <a:pt x="212" y="409"/>
                    </a:lnTo>
                    <a:lnTo>
                      <a:pt x="212" y="408"/>
                    </a:lnTo>
                    <a:lnTo>
                      <a:pt x="213" y="408"/>
                    </a:lnTo>
                    <a:lnTo>
                      <a:pt x="213" y="409"/>
                    </a:lnTo>
                    <a:lnTo>
                      <a:pt x="213" y="408"/>
                    </a:lnTo>
                    <a:lnTo>
                      <a:pt x="214" y="408"/>
                    </a:lnTo>
                    <a:lnTo>
                      <a:pt x="215" y="408"/>
                    </a:lnTo>
                    <a:close/>
                    <a:moveTo>
                      <a:pt x="297" y="387"/>
                    </a:moveTo>
                    <a:lnTo>
                      <a:pt x="298" y="387"/>
                    </a:lnTo>
                    <a:lnTo>
                      <a:pt x="297" y="387"/>
                    </a:lnTo>
                    <a:lnTo>
                      <a:pt x="297" y="388"/>
                    </a:lnTo>
                    <a:lnTo>
                      <a:pt x="296" y="388"/>
                    </a:lnTo>
                    <a:lnTo>
                      <a:pt x="295" y="388"/>
                    </a:lnTo>
                    <a:lnTo>
                      <a:pt x="295" y="389"/>
                    </a:lnTo>
                    <a:lnTo>
                      <a:pt x="296" y="389"/>
                    </a:lnTo>
                    <a:lnTo>
                      <a:pt x="295" y="389"/>
                    </a:lnTo>
                    <a:lnTo>
                      <a:pt x="295" y="388"/>
                    </a:lnTo>
                    <a:lnTo>
                      <a:pt x="295" y="387"/>
                    </a:lnTo>
                    <a:lnTo>
                      <a:pt x="296" y="387"/>
                    </a:lnTo>
                    <a:lnTo>
                      <a:pt x="296" y="388"/>
                    </a:lnTo>
                    <a:lnTo>
                      <a:pt x="297" y="388"/>
                    </a:lnTo>
                    <a:lnTo>
                      <a:pt x="297" y="387"/>
                    </a:lnTo>
                    <a:close/>
                    <a:moveTo>
                      <a:pt x="245" y="409"/>
                    </a:moveTo>
                    <a:lnTo>
                      <a:pt x="244" y="409"/>
                    </a:lnTo>
                    <a:lnTo>
                      <a:pt x="244" y="410"/>
                    </a:lnTo>
                    <a:lnTo>
                      <a:pt x="243" y="410"/>
                    </a:lnTo>
                    <a:lnTo>
                      <a:pt x="242" y="409"/>
                    </a:lnTo>
                    <a:lnTo>
                      <a:pt x="241" y="409"/>
                    </a:lnTo>
                    <a:lnTo>
                      <a:pt x="241" y="408"/>
                    </a:lnTo>
                    <a:lnTo>
                      <a:pt x="243" y="409"/>
                    </a:lnTo>
                    <a:lnTo>
                      <a:pt x="245" y="409"/>
                    </a:lnTo>
                    <a:close/>
                    <a:moveTo>
                      <a:pt x="500" y="462"/>
                    </a:moveTo>
                    <a:lnTo>
                      <a:pt x="500" y="463"/>
                    </a:lnTo>
                    <a:lnTo>
                      <a:pt x="500" y="464"/>
                    </a:lnTo>
                    <a:lnTo>
                      <a:pt x="501" y="464"/>
                    </a:lnTo>
                    <a:lnTo>
                      <a:pt x="500" y="465"/>
                    </a:lnTo>
                    <a:lnTo>
                      <a:pt x="499" y="465"/>
                    </a:lnTo>
                    <a:lnTo>
                      <a:pt x="499" y="464"/>
                    </a:lnTo>
                    <a:lnTo>
                      <a:pt x="500" y="464"/>
                    </a:lnTo>
                    <a:lnTo>
                      <a:pt x="500" y="463"/>
                    </a:lnTo>
                    <a:lnTo>
                      <a:pt x="500" y="462"/>
                    </a:lnTo>
                    <a:close/>
                    <a:moveTo>
                      <a:pt x="497" y="443"/>
                    </a:moveTo>
                    <a:lnTo>
                      <a:pt x="496" y="443"/>
                    </a:lnTo>
                    <a:lnTo>
                      <a:pt x="496" y="442"/>
                    </a:lnTo>
                    <a:lnTo>
                      <a:pt x="497" y="442"/>
                    </a:lnTo>
                    <a:lnTo>
                      <a:pt x="497" y="441"/>
                    </a:lnTo>
                    <a:lnTo>
                      <a:pt x="498" y="441"/>
                    </a:lnTo>
                    <a:lnTo>
                      <a:pt x="498" y="440"/>
                    </a:lnTo>
                    <a:lnTo>
                      <a:pt x="498" y="441"/>
                    </a:lnTo>
                    <a:lnTo>
                      <a:pt x="497" y="441"/>
                    </a:lnTo>
                    <a:lnTo>
                      <a:pt x="497" y="442"/>
                    </a:lnTo>
                    <a:lnTo>
                      <a:pt x="497" y="443"/>
                    </a:lnTo>
                    <a:close/>
                    <a:moveTo>
                      <a:pt x="304" y="268"/>
                    </a:moveTo>
                    <a:lnTo>
                      <a:pt x="305" y="268"/>
                    </a:lnTo>
                    <a:lnTo>
                      <a:pt x="304" y="269"/>
                    </a:lnTo>
                    <a:lnTo>
                      <a:pt x="305" y="269"/>
                    </a:lnTo>
                    <a:lnTo>
                      <a:pt x="305" y="270"/>
                    </a:lnTo>
                    <a:lnTo>
                      <a:pt x="304" y="270"/>
                    </a:lnTo>
                    <a:lnTo>
                      <a:pt x="304" y="269"/>
                    </a:lnTo>
                    <a:lnTo>
                      <a:pt x="303" y="268"/>
                    </a:lnTo>
                    <a:lnTo>
                      <a:pt x="304" y="268"/>
                    </a:lnTo>
                    <a:close/>
                    <a:moveTo>
                      <a:pt x="171" y="347"/>
                    </a:moveTo>
                    <a:lnTo>
                      <a:pt x="173" y="347"/>
                    </a:lnTo>
                    <a:lnTo>
                      <a:pt x="173" y="348"/>
                    </a:lnTo>
                    <a:lnTo>
                      <a:pt x="174" y="348"/>
                    </a:lnTo>
                    <a:lnTo>
                      <a:pt x="173" y="349"/>
                    </a:lnTo>
                    <a:lnTo>
                      <a:pt x="171" y="348"/>
                    </a:lnTo>
                    <a:lnTo>
                      <a:pt x="171" y="347"/>
                    </a:lnTo>
                    <a:close/>
                    <a:moveTo>
                      <a:pt x="504" y="459"/>
                    </a:moveTo>
                    <a:lnTo>
                      <a:pt x="504" y="460"/>
                    </a:lnTo>
                    <a:lnTo>
                      <a:pt x="504" y="459"/>
                    </a:lnTo>
                    <a:lnTo>
                      <a:pt x="504" y="460"/>
                    </a:lnTo>
                    <a:lnTo>
                      <a:pt x="503" y="460"/>
                    </a:lnTo>
                    <a:lnTo>
                      <a:pt x="503" y="459"/>
                    </a:lnTo>
                    <a:lnTo>
                      <a:pt x="503" y="460"/>
                    </a:lnTo>
                    <a:lnTo>
                      <a:pt x="502" y="460"/>
                    </a:lnTo>
                    <a:lnTo>
                      <a:pt x="502" y="459"/>
                    </a:lnTo>
                    <a:lnTo>
                      <a:pt x="503" y="459"/>
                    </a:lnTo>
                    <a:lnTo>
                      <a:pt x="502" y="459"/>
                    </a:lnTo>
                    <a:lnTo>
                      <a:pt x="503" y="459"/>
                    </a:lnTo>
                    <a:lnTo>
                      <a:pt x="503" y="457"/>
                    </a:lnTo>
                    <a:lnTo>
                      <a:pt x="503" y="459"/>
                    </a:lnTo>
                    <a:lnTo>
                      <a:pt x="504" y="457"/>
                    </a:lnTo>
                    <a:lnTo>
                      <a:pt x="504" y="459"/>
                    </a:lnTo>
                    <a:close/>
                    <a:moveTo>
                      <a:pt x="181" y="369"/>
                    </a:moveTo>
                    <a:lnTo>
                      <a:pt x="180" y="369"/>
                    </a:lnTo>
                    <a:lnTo>
                      <a:pt x="180" y="370"/>
                    </a:lnTo>
                    <a:lnTo>
                      <a:pt x="181" y="370"/>
                    </a:lnTo>
                    <a:lnTo>
                      <a:pt x="181" y="371"/>
                    </a:lnTo>
                    <a:lnTo>
                      <a:pt x="180" y="371"/>
                    </a:lnTo>
                    <a:lnTo>
                      <a:pt x="180" y="370"/>
                    </a:lnTo>
                    <a:lnTo>
                      <a:pt x="179" y="370"/>
                    </a:lnTo>
                    <a:lnTo>
                      <a:pt x="179" y="369"/>
                    </a:lnTo>
                    <a:lnTo>
                      <a:pt x="180" y="369"/>
                    </a:lnTo>
                    <a:lnTo>
                      <a:pt x="181" y="369"/>
                    </a:lnTo>
                    <a:close/>
                    <a:moveTo>
                      <a:pt x="210" y="401"/>
                    </a:moveTo>
                    <a:lnTo>
                      <a:pt x="210" y="402"/>
                    </a:lnTo>
                    <a:lnTo>
                      <a:pt x="209" y="402"/>
                    </a:lnTo>
                    <a:lnTo>
                      <a:pt x="208" y="402"/>
                    </a:lnTo>
                    <a:lnTo>
                      <a:pt x="207" y="402"/>
                    </a:lnTo>
                    <a:lnTo>
                      <a:pt x="207" y="401"/>
                    </a:lnTo>
                    <a:lnTo>
                      <a:pt x="208" y="401"/>
                    </a:lnTo>
                    <a:lnTo>
                      <a:pt x="208" y="402"/>
                    </a:lnTo>
                    <a:lnTo>
                      <a:pt x="209" y="402"/>
                    </a:lnTo>
                    <a:lnTo>
                      <a:pt x="209" y="401"/>
                    </a:lnTo>
                    <a:lnTo>
                      <a:pt x="210" y="401"/>
                    </a:lnTo>
                    <a:lnTo>
                      <a:pt x="210" y="400"/>
                    </a:lnTo>
                    <a:lnTo>
                      <a:pt x="210" y="401"/>
                    </a:lnTo>
                    <a:close/>
                    <a:moveTo>
                      <a:pt x="502" y="578"/>
                    </a:moveTo>
                    <a:lnTo>
                      <a:pt x="502" y="579"/>
                    </a:lnTo>
                    <a:lnTo>
                      <a:pt x="501" y="579"/>
                    </a:lnTo>
                    <a:lnTo>
                      <a:pt x="501" y="580"/>
                    </a:lnTo>
                    <a:lnTo>
                      <a:pt x="502" y="581"/>
                    </a:lnTo>
                    <a:lnTo>
                      <a:pt x="501" y="581"/>
                    </a:lnTo>
                    <a:lnTo>
                      <a:pt x="501" y="580"/>
                    </a:lnTo>
                    <a:lnTo>
                      <a:pt x="500" y="580"/>
                    </a:lnTo>
                    <a:lnTo>
                      <a:pt x="501" y="580"/>
                    </a:lnTo>
                    <a:lnTo>
                      <a:pt x="501" y="579"/>
                    </a:lnTo>
                    <a:lnTo>
                      <a:pt x="501" y="578"/>
                    </a:lnTo>
                    <a:lnTo>
                      <a:pt x="502" y="578"/>
                    </a:lnTo>
                    <a:close/>
                    <a:moveTo>
                      <a:pt x="561" y="545"/>
                    </a:moveTo>
                    <a:lnTo>
                      <a:pt x="562" y="545"/>
                    </a:lnTo>
                    <a:lnTo>
                      <a:pt x="563" y="545"/>
                    </a:lnTo>
                    <a:lnTo>
                      <a:pt x="564" y="545"/>
                    </a:lnTo>
                    <a:lnTo>
                      <a:pt x="562" y="545"/>
                    </a:lnTo>
                    <a:lnTo>
                      <a:pt x="560" y="545"/>
                    </a:lnTo>
                    <a:lnTo>
                      <a:pt x="558" y="545"/>
                    </a:lnTo>
                    <a:lnTo>
                      <a:pt x="557" y="545"/>
                    </a:lnTo>
                    <a:lnTo>
                      <a:pt x="558" y="545"/>
                    </a:lnTo>
                    <a:lnTo>
                      <a:pt x="558" y="544"/>
                    </a:lnTo>
                    <a:lnTo>
                      <a:pt x="560" y="544"/>
                    </a:lnTo>
                    <a:lnTo>
                      <a:pt x="561" y="544"/>
                    </a:lnTo>
                    <a:lnTo>
                      <a:pt x="560" y="544"/>
                    </a:lnTo>
                    <a:lnTo>
                      <a:pt x="561" y="545"/>
                    </a:lnTo>
                    <a:close/>
                    <a:moveTo>
                      <a:pt x="419" y="375"/>
                    </a:moveTo>
                    <a:lnTo>
                      <a:pt x="418" y="375"/>
                    </a:lnTo>
                    <a:lnTo>
                      <a:pt x="416" y="375"/>
                    </a:lnTo>
                    <a:lnTo>
                      <a:pt x="416" y="374"/>
                    </a:lnTo>
                    <a:lnTo>
                      <a:pt x="416" y="373"/>
                    </a:lnTo>
                    <a:lnTo>
                      <a:pt x="418" y="373"/>
                    </a:lnTo>
                    <a:lnTo>
                      <a:pt x="418" y="374"/>
                    </a:lnTo>
                    <a:lnTo>
                      <a:pt x="418" y="375"/>
                    </a:lnTo>
                    <a:lnTo>
                      <a:pt x="419" y="375"/>
                    </a:lnTo>
                    <a:close/>
                    <a:moveTo>
                      <a:pt x="555" y="534"/>
                    </a:moveTo>
                    <a:lnTo>
                      <a:pt x="555" y="533"/>
                    </a:lnTo>
                    <a:lnTo>
                      <a:pt x="555" y="532"/>
                    </a:lnTo>
                    <a:lnTo>
                      <a:pt x="555" y="531"/>
                    </a:lnTo>
                    <a:lnTo>
                      <a:pt x="556" y="531"/>
                    </a:lnTo>
                    <a:lnTo>
                      <a:pt x="556" y="532"/>
                    </a:lnTo>
                    <a:lnTo>
                      <a:pt x="556" y="533"/>
                    </a:lnTo>
                    <a:lnTo>
                      <a:pt x="556" y="534"/>
                    </a:lnTo>
                    <a:lnTo>
                      <a:pt x="555" y="534"/>
                    </a:lnTo>
                    <a:close/>
                    <a:moveTo>
                      <a:pt x="182" y="348"/>
                    </a:moveTo>
                    <a:lnTo>
                      <a:pt x="182" y="350"/>
                    </a:lnTo>
                    <a:lnTo>
                      <a:pt x="182" y="347"/>
                    </a:lnTo>
                    <a:lnTo>
                      <a:pt x="182" y="346"/>
                    </a:lnTo>
                    <a:lnTo>
                      <a:pt x="182" y="347"/>
                    </a:lnTo>
                    <a:lnTo>
                      <a:pt x="182" y="348"/>
                    </a:lnTo>
                    <a:close/>
                    <a:moveTo>
                      <a:pt x="261" y="361"/>
                    </a:moveTo>
                    <a:lnTo>
                      <a:pt x="264" y="362"/>
                    </a:lnTo>
                    <a:lnTo>
                      <a:pt x="262" y="362"/>
                    </a:lnTo>
                    <a:lnTo>
                      <a:pt x="261" y="362"/>
                    </a:lnTo>
                    <a:lnTo>
                      <a:pt x="260" y="360"/>
                    </a:lnTo>
                    <a:lnTo>
                      <a:pt x="261" y="360"/>
                    </a:lnTo>
                    <a:lnTo>
                      <a:pt x="261" y="361"/>
                    </a:lnTo>
                    <a:close/>
                    <a:moveTo>
                      <a:pt x="273" y="400"/>
                    </a:moveTo>
                    <a:lnTo>
                      <a:pt x="276" y="402"/>
                    </a:lnTo>
                    <a:lnTo>
                      <a:pt x="277" y="403"/>
                    </a:lnTo>
                    <a:lnTo>
                      <a:pt x="278" y="404"/>
                    </a:lnTo>
                    <a:lnTo>
                      <a:pt x="276" y="404"/>
                    </a:lnTo>
                    <a:lnTo>
                      <a:pt x="277" y="404"/>
                    </a:lnTo>
                    <a:lnTo>
                      <a:pt x="277" y="403"/>
                    </a:lnTo>
                    <a:lnTo>
                      <a:pt x="276" y="402"/>
                    </a:lnTo>
                    <a:lnTo>
                      <a:pt x="274" y="402"/>
                    </a:lnTo>
                    <a:lnTo>
                      <a:pt x="274" y="401"/>
                    </a:lnTo>
                    <a:lnTo>
                      <a:pt x="273" y="402"/>
                    </a:lnTo>
                    <a:lnTo>
                      <a:pt x="273" y="401"/>
                    </a:lnTo>
                    <a:lnTo>
                      <a:pt x="273" y="400"/>
                    </a:lnTo>
                    <a:lnTo>
                      <a:pt x="272" y="400"/>
                    </a:lnTo>
                    <a:lnTo>
                      <a:pt x="273" y="400"/>
                    </a:lnTo>
                    <a:close/>
                    <a:moveTo>
                      <a:pt x="296" y="393"/>
                    </a:moveTo>
                    <a:lnTo>
                      <a:pt x="296" y="395"/>
                    </a:lnTo>
                    <a:lnTo>
                      <a:pt x="296" y="393"/>
                    </a:lnTo>
                    <a:lnTo>
                      <a:pt x="295" y="393"/>
                    </a:lnTo>
                    <a:lnTo>
                      <a:pt x="295" y="392"/>
                    </a:lnTo>
                    <a:lnTo>
                      <a:pt x="295" y="391"/>
                    </a:lnTo>
                    <a:lnTo>
                      <a:pt x="295" y="390"/>
                    </a:lnTo>
                    <a:lnTo>
                      <a:pt x="296" y="390"/>
                    </a:lnTo>
                    <a:lnTo>
                      <a:pt x="296" y="391"/>
                    </a:lnTo>
                    <a:lnTo>
                      <a:pt x="296" y="392"/>
                    </a:lnTo>
                    <a:lnTo>
                      <a:pt x="296" y="393"/>
                    </a:lnTo>
                    <a:close/>
                    <a:moveTo>
                      <a:pt x="128" y="378"/>
                    </a:moveTo>
                    <a:lnTo>
                      <a:pt x="129" y="378"/>
                    </a:lnTo>
                    <a:lnTo>
                      <a:pt x="129" y="380"/>
                    </a:lnTo>
                    <a:lnTo>
                      <a:pt x="128" y="380"/>
                    </a:lnTo>
                    <a:lnTo>
                      <a:pt x="128" y="378"/>
                    </a:lnTo>
                    <a:close/>
                    <a:moveTo>
                      <a:pt x="437" y="370"/>
                    </a:moveTo>
                    <a:lnTo>
                      <a:pt x="437" y="371"/>
                    </a:lnTo>
                    <a:lnTo>
                      <a:pt x="438" y="370"/>
                    </a:lnTo>
                    <a:lnTo>
                      <a:pt x="437" y="370"/>
                    </a:lnTo>
                    <a:lnTo>
                      <a:pt x="438" y="370"/>
                    </a:lnTo>
                    <a:lnTo>
                      <a:pt x="438" y="371"/>
                    </a:lnTo>
                    <a:lnTo>
                      <a:pt x="437" y="371"/>
                    </a:lnTo>
                    <a:lnTo>
                      <a:pt x="437" y="372"/>
                    </a:lnTo>
                    <a:lnTo>
                      <a:pt x="436" y="372"/>
                    </a:lnTo>
                    <a:lnTo>
                      <a:pt x="436" y="371"/>
                    </a:lnTo>
                    <a:lnTo>
                      <a:pt x="436" y="370"/>
                    </a:lnTo>
                    <a:lnTo>
                      <a:pt x="437" y="370"/>
                    </a:lnTo>
                    <a:close/>
                    <a:moveTo>
                      <a:pt x="203" y="413"/>
                    </a:moveTo>
                    <a:lnTo>
                      <a:pt x="203" y="414"/>
                    </a:lnTo>
                    <a:lnTo>
                      <a:pt x="200" y="413"/>
                    </a:lnTo>
                    <a:lnTo>
                      <a:pt x="199" y="413"/>
                    </a:lnTo>
                    <a:lnTo>
                      <a:pt x="200" y="413"/>
                    </a:lnTo>
                    <a:lnTo>
                      <a:pt x="203" y="413"/>
                    </a:lnTo>
                    <a:close/>
                    <a:moveTo>
                      <a:pt x="553" y="521"/>
                    </a:moveTo>
                    <a:lnTo>
                      <a:pt x="555" y="521"/>
                    </a:lnTo>
                    <a:lnTo>
                      <a:pt x="555" y="524"/>
                    </a:lnTo>
                    <a:lnTo>
                      <a:pt x="553" y="524"/>
                    </a:lnTo>
                    <a:lnTo>
                      <a:pt x="553" y="521"/>
                    </a:lnTo>
                    <a:close/>
                    <a:moveTo>
                      <a:pt x="277" y="415"/>
                    </a:moveTo>
                    <a:lnTo>
                      <a:pt x="276" y="415"/>
                    </a:lnTo>
                    <a:lnTo>
                      <a:pt x="274" y="414"/>
                    </a:lnTo>
                    <a:lnTo>
                      <a:pt x="276" y="414"/>
                    </a:lnTo>
                    <a:lnTo>
                      <a:pt x="278" y="415"/>
                    </a:lnTo>
                    <a:lnTo>
                      <a:pt x="277" y="415"/>
                    </a:lnTo>
                    <a:close/>
                    <a:moveTo>
                      <a:pt x="486" y="591"/>
                    </a:moveTo>
                    <a:lnTo>
                      <a:pt x="486" y="592"/>
                    </a:lnTo>
                    <a:lnTo>
                      <a:pt x="485" y="592"/>
                    </a:lnTo>
                    <a:lnTo>
                      <a:pt x="484" y="592"/>
                    </a:lnTo>
                    <a:lnTo>
                      <a:pt x="484" y="591"/>
                    </a:lnTo>
                    <a:lnTo>
                      <a:pt x="484" y="590"/>
                    </a:lnTo>
                    <a:lnTo>
                      <a:pt x="485" y="591"/>
                    </a:lnTo>
                    <a:lnTo>
                      <a:pt x="486" y="591"/>
                    </a:lnTo>
                    <a:close/>
                    <a:moveTo>
                      <a:pt x="255" y="392"/>
                    </a:moveTo>
                    <a:lnTo>
                      <a:pt x="255" y="393"/>
                    </a:lnTo>
                    <a:lnTo>
                      <a:pt x="254" y="393"/>
                    </a:lnTo>
                    <a:lnTo>
                      <a:pt x="254" y="392"/>
                    </a:lnTo>
                    <a:lnTo>
                      <a:pt x="254" y="393"/>
                    </a:lnTo>
                    <a:lnTo>
                      <a:pt x="252" y="393"/>
                    </a:lnTo>
                    <a:lnTo>
                      <a:pt x="253" y="393"/>
                    </a:lnTo>
                    <a:lnTo>
                      <a:pt x="253" y="392"/>
                    </a:lnTo>
                    <a:lnTo>
                      <a:pt x="254" y="392"/>
                    </a:lnTo>
                    <a:lnTo>
                      <a:pt x="255" y="392"/>
                    </a:lnTo>
                    <a:close/>
                    <a:moveTo>
                      <a:pt x="209" y="390"/>
                    </a:moveTo>
                    <a:lnTo>
                      <a:pt x="209" y="391"/>
                    </a:lnTo>
                    <a:lnTo>
                      <a:pt x="209" y="392"/>
                    </a:lnTo>
                    <a:lnTo>
                      <a:pt x="208" y="392"/>
                    </a:lnTo>
                    <a:lnTo>
                      <a:pt x="208" y="391"/>
                    </a:lnTo>
                    <a:lnTo>
                      <a:pt x="209" y="391"/>
                    </a:lnTo>
                    <a:lnTo>
                      <a:pt x="209" y="390"/>
                    </a:lnTo>
                    <a:lnTo>
                      <a:pt x="208" y="390"/>
                    </a:lnTo>
                    <a:lnTo>
                      <a:pt x="207" y="390"/>
                    </a:lnTo>
                    <a:lnTo>
                      <a:pt x="209" y="390"/>
                    </a:lnTo>
                    <a:close/>
                    <a:moveTo>
                      <a:pt x="148" y="393"/>
                    </a:moveTo>
                    <a:lnTo>
                      <a:pt x="148" y="395"/>
                    </a:lnTo>
                    <a:lnTo>
                      <a:pt x="147" y="395"/>
                    </a:lnTo>
                    <a:lnTo>
                      <a:pt x="145" y="395"/>
                    </a:lnTo>
                    <a:lnTo>
                      <a:pt x="145" y="393"/>
                    </a:lnTo>
                    <a:lnTo>
                      <a:pt x="147" y="393"/>
                    </a:lnTo>
                    <a:lnTo>
                      <a:pt x="148" y="393"/>
                    </a:lnTo>
                    <a:close/>
                    <a:moveTo>
                      <a:pt x="148" y="378"/>
                    </a:moveTo>
                    <a:lnTo>
                      <a:pt x="148" y="379"/>
                    </a:lnTo>
                    <a:lnTo>
                      <a:pt x="147" y="379"/>
                    </a:lnTo>
                    <a:lnTo>
                      <a:pt x="145" y="379"/>
                    </a:lnTo>
                    <a:lnTo>
                      <a:pt x="145" y="378"/>
                    </a:lnTo>
                    <a:lnTo>
                      <a:pt x="147" y="378"/>
                    </a:lnTo>
                    <a:lnTo>
                      <a:pt x="148" y="378"/>
                    </a:lnTo>
                    <a:lnTo>
                      <a:pt x="148" y="377"/>
                    </a:lnTo>
                    <a:lnTo>
                      <a:pt x="148" y="378"/>
                    </a:lnTo>
                    <a:close/>
                    <a:moveTo>
                      <a:pt x="281" y="435"/>
                    </a:moveTo>
                    <a:lnTo>
                      <a:pt x="282" y="435"/>
                    </a:lnTo>
                    <a:lnTo>
                      <a:pt x="282" y="436"/>
                    </a:lnTo>
                    <a:lnTo>
                      <a:pt x="281" y="436"/>
                    </a:lnTo>
                    <a:lnTo>
                      <a:pt x="280" y="435"/>
                    </a:lnTo>
                    <a:lnTo>
                      <a:pt x="280" y="434"/>
                    </a:lnTo>
                    <a:lnTo>
                      <a:pt x="281" y="434"/>
                    </a:lnTo>
                    <a:lnTo>
                      <a:pt x="281" y="435"/>
                    </a:lnTo>
                    <a:close/>
                    <a:moveTo>
                      <a:pt x="274" y="388"/>
                    </a:moveTo>
                    <a:lnTo>
                      <a:pt x="274" y="389"/>
                    </a:lnTo>
                    <a:lnTo>
                      <a:pt x="274" y="388"/>
                    </a:lnTo>
                    <a:lnTo>
                      <a:pt x="274" y="389"/>
                    </a:lnTo>
                    <a:lnTo>
                      <a:pt x="273" y="389"/>
                    </a:lnTo>
                    <a:lnTo>
                      <a:pt x="273" y="390"/>
                    </a:lnTo>
                    <a:lnTo>
                      <a:pt x="273" y="389"/>
                    </a:lnTo>
                    <a:lnTo>
                      <a:pt x="273" y="388"/>
                    </a:lnTo>
                    <a:lnTo>
                      <a:pt x="273" y="387"/>
                    </a:lnTo>
                    <a:lnTo>
                      <a:pt x="272" y="387"/>
                    </a:lnTo>
                    <a:lnTo>
                      <a:pt x="273" y="387"/>
                    </a:lnTo>
                    <a:lnTo>
                      <a:pt x="274" y="388"/>
                    </a:lnTo>
                    <a:lnTo>
                      <a:pt x="273" y="388"/>
                    </a:lnTo>
                    <a:lnTo>
                      <a:pt x="274" y="388"/>
                    </a:lnTo>
                    <a:close/>
                    <a:moveTo>
                      <a:pt x="253" y="246"/>
                    </a:moveTo>
                    <a:lnTo>
                      <a:pt x="253" y="247"/>
                    </a:lnTo>
                    <a:lnTo>
                      <a:pt x="254" y="247"/>
                    </a:lnTo>
                    <a:lnTo>
                      <a:pt x="253" y="247"/>
                    </a:lnTo>
                    <a:lnTo>
                      <a:pt x="253" y="246"/>
                    </a:lnTo>
                    <a:lnTo>
                      <a:pt x="252" y="246"/>
                    </a:lnTo>
                    <a:lnTo>
                      <a:pt x="252" y="247"/>
                    </a:lnTo>
                    <a:lnTo>
                      <a:pt x="251" y="247"/>
                    </a:lnTo>
                    <a:lnTo>
                      <a:pt x="251" y="246"/>
                    </a:lnTo>
                    <a:lnTo>
                      <a:pt x="252" y="246"/>
                    </a:lnTo>
                    <a:lnTo>
                      <a:pt x="252" y="245"/>
                    </a:lnTo>
                    <a:lnTo>
                      <a:pt x="253" y="246"/>
                    </a:lnTo>
                    <a:close/>
                    <a:moveTo>
                      <a:pt x="252" y="170"/>
                    </a:moveTo>
                    <a:lnTo>
                      <a:pt x="253" y="171"/>
                    </a:lnTo>
                    <a:lnTo>
                      <a:pt x="252" y="170"/>
                    </a:lnTo>
                    <a:lnTo>
                      <a:pt x="251" y="170"/>
                    </a:lnTo>
                    <a:lnTo>
                      <a:pt x="251" y="169"/>
                    </a:lnTo>
                    <a:lnTo>
                      <a:pt x="249" y="169"/>
                    </a:lnTo>
                    <a:lnTo>
                      <a:pt x="251" y="169"/>
                    </a:lnTo>
                    <a:lnTo>
                      <a:pt x="252" y="169"/>
                    </a:lnTo>
                    <a:lnTo>
                      <a:pt x="252" y="170"/>
                    </a:lnTo>
                    <a:close/>
                    <a:moveTo>
                      <a:pt x="345" y="456"/>
                    </a:moveTo>
                    <a:lnTo>
                      <a:pt x="345" y="457"/>
                    </a:lnTo>
                    <a:lnTo>
                      <a:pt x="345" y="456"/>
                    </a:lnTo>
                    <a:lnTo>
                      <a:pt x="344" y="456"/>
                    </a:lnTo>
                    <a:lnTo>
                      <a:pt x="344" y="455"/>
                    </a:lnTo>
                    <a:lnTo>
                      <a:pt x="345" y="455"/>
                    </a:lnTo>
                    <a:lnTo>
                      <a:pt x="345" y="456"/>
                    </a:lnTo>
                    <a:close/>
                    <a:moveTo>
                      <a:pt x="433" y="366"/>
                    </a:moveTo>
                    <a:lnTo>
                      <a:pt x="434" y="366"/>
                    </a:lnTo>
                    <a:lnTo>
                      <a:pt x="434" y="369"/>
                    </a:lnTo>
                    <a:lnTo>
                      <a:pt x="433" y="369"/>
                    </a:lnTo>
                    <a:lnTo>
                      <a:pt x="433" y="366"/>
                    </a:lnTo>
                    <a:close/>
                    <a:moveTo>
                      <a:pt x="208" y="386"/>
                    </a:moveTo>
                    <a:lnTo>
                      <a:pt x="208" y="387"/>
                    </a:lnTo>
                    <a:lnTo>
                      <a:pt x="207" y="387"/>
                    </a:lnTo>
                    <a:lnTo>
                      <a:pt x="206" y="387"/>
                    </a:lnTo>
                    <a:lnTo>
                      <a:pt x="206" y="386"/>
                    </a:lnTo>
                    <a:lnTo>
                      <a:pt x="207" y="386"/>
                    </a:lnTo>
                    <a:lnTo>
                      <a:pt x="208" y="386"/>
                    </a:lnTo>
                    <a:close/>
                    <a:moveTo>
                      <a:pt x="295" y="457"/>
                    </a:moveTo>
                    <a:lnTo>
                      <a:pt x="295" y="459"/>
                    </a:lnTo>
                    <a:lnTo>
                      <a:pt x="296" y="459"/>
                    </a:lnTo>
                    <a:lnTo>
                      <a:pt x="297" y="459"/>
                    </a:lnTo>
                    <a:lnTo>
                      <a:pt x="297" y="460"/>
                    </a:lnTo>
                    <a:lnTo>
                      <a:pt x="298" y="460"/>
                    </a:lnTo>
                    <a:lnTo>
                      <a:pt x="293" y="459"/>
                    </a:lnTo>
                    <a:lnTo>
                      <a:pt x="293" y="457"/>
                    </a:lnTo>
                    <a:lnTo>
                      <a:pt x="294" y="457"/>
                    </a:lnTo>
                    <a:lnTo>
                      <a:pt x="295" y="457"/>
                    </a:lnTo>
                    <a:close/>
                    <a:moveTo>
                      <a:pt x="329" y="398"/>
                    </a:moveTo>
                    <a:lnTo>
                      <a:pt x="328" y="399"/>
                    </a:lnTo>
                    <a:lnTo>
                      <a:pt x="328" y="398"/>
                    </a:lnTo>
                    <a:lnTo>
                      <a:pt x="326" y="398"/>
                    </a:lnTo>
                    <a:lnTo>
                      <a:pt x="326" y="397"/>
                    </a:lnTo>
                    <a:lnTo>
                      <a:pt x="328" y="397"/>
                    </a:lnTo>
                    <a:lnTo>
                      <a:pt x="329" y="397"/>
                    </a:lnTo>
                    <a:lnTo>
                      <a:pt x="329" y="398"/>
                    </a:lnTo>
                    <a:close/>
                    <a:moveTo>
                      <a:pt x="268" y="384"/>
                    </a:moveTo>
                    <a:lnTo>
                      <a:pt x="268" y="385"/>
                    </a:lnTo>
                    <a:lnTo>
                      <a:pt x="267" y="384"/>
                    </a:lnTo>
                    <a:lnTo>
                      <a:pt x="266" y="384"/>
                    </a:lnTo>
                    <a:lnTo>
                      <a:pt x="267" y="383"/>
                    </a:lnTo>
                    <a:lnTo>
                      <a:pt x="267" y="384"/>
                    </a:lnTo>
                    <a:lnTo>
                      <a:pt x="267" y="383"/>
                    </a:lnTo>
                    <a:lnTo>
                      <a:pt x="268" y="383"/>
                    </a:lnTo>
                    <a:lnTo>
                      <a:pt x="268" y="384"/>
                    </a:lnTo>
                    <a:close/>
                    <a:moveTo>
                      <a:pt x="197" y="352"/>
                    </a:moveTo>
                    <a:lnTo>
                      <a:pt x="197" y="353"/>
                    </a:lnTo>
                    <a:lnTo>
                      <a:pt x="197" y="356"/>
                    </a:lnTo>
                    <a:lnTo>
                      <a:pt x="197" y="354"/>
                    </a:lnTo>
                    <a:lnTo>
                      <a:pt x="197" y="353"/>
                    </a:lnTo>
                    <a:lnTo>
                      <a:pt x="196" y="353"/>
                    </a:lnTo>
                    <a:lnTo>
                      <a:pt x="196" y="352"/>
                    </a:lnTo>
                    <a:lnTo>
                      <a:pt x="197" y="352"/>
                    </a:lnTo>
                    <a:close/>
                    <a:moveTo>
                      <a:pt x="115" y="411"/>
                    </a:moveTo>
                    <a:lnTo>
                      <a:pt x="110" y="411"/>
                    </a:lnTo>
                    <a:lnTo>
                      <a:pt x="116" y="411"/>
                    </a:lnTo>
                    <a:lnTo>
                      <a:pt x="115" y="411"/>
                    </a:lnTo>
                    <a:lnTo>
                      <a:pt x="116" y="411"/>
                    </a:lnTo>
                    <a:lnTo>
                      <a:pt x="115" y="411"/>
                    </a:lnTo>
                    <a:close/>
                    <a:moveTo>
                      <a:pt x="212" y="409"/>
                    </a:moveTo>
                    <a:lnTo>
                      <a:pt x="213" y="409"/>
                    </a:lnTo>
                    <a:lnTo>
                      <a:pt x="214" y="409"/>
                    </a:lnTo>
                    <a:lnTo>
                      <a:pt x="215" y="410"/>
                    </a:lnTo>
                    <a:lnTo>
                      <a:pt x="214" y="410"/>
                    </a:lnTo>
                    <a:lnTo>
                      <a:pt x="214" y="409"/>
                    </a:lnTo>
                    <a:lnTo>
                      <a:pt x="213" y="410"/>
                    </a:lnTo>
                    <a:lnTo>
                      <a:pt x="213" y="409"/>
                    </a:lnTo>
                    <a:lnTo>
                      <a:pt x="212" y="410"/>
                    </a:lnTo>
                    <a:lnTo>
                      <a:pt x="210" y="410"/>
                    </a:lnTo>
                    <a:lnTo>
                      <a:pt x="210" y="409"/>
                    </a:lnTo>
                    <a:lnTo>
                      <a:pt x="212" y="409"/>
                    </a:lnTo>
                    <a:close/>
                    <a:moveTo>
                      <a:pt x="281" y="364"/>
                    </a:moveTo>
                    <a:lnTo>
                      <a:pt x="282" y="364"/>
                    </a:lnTo>
                    <a:lnTo>
                      <a:pt x="282" y="365"/>
                    </a:lnTo>
                    <a:lnTo>
                      <a:pt x="281" y="365"/>
                    </a:lnTo>
                    <a:lnTo>
                      <a:pt x="281" y="366"/>
                    </a:lnTo>
                    <a:lnTo>
                      <a:pt x="280" y="366"/>
                    </a:lnTo>
                    <a:lnTo>
                      <a:pt x="280" y="365"/>
                    </a:lnTo>
                    <a:lnTo>
                      <a:pt x="281" y="365"/>
                    </a:lnTo>
                    <a:lnTo>
                      <a:pt x="280" y="365"/>
                    </a:lnTo>
                    <a:lnTo>
                      <a:pt x="280" y="364"/>
                    </a:lnTo>
                    <a:lnTo>
                      <a:pt x="281" y="364"/>
                    </a:lnTo>
                    <a:close/>
                    <a:moveTo>
                      <a:pt x="493" y="434"/>
                    </a:moveTo>
                    <a:lnTo>
                      <a:pt x="496" y="434"/>
                    </a:lnTo>
                    <a:lnTo>
                      <a:pt x="496" y="436"/>
                    </a:lnTo>
                    <a:lnTo>
                      <a:pt x="493" y="436"/>
                    </a:lnTo>
                    <a:lnTo>
                      <a:pt x="493" y="434"/>
                    </a:lnTo>
                    <a:close/>
                    <a:moveTo>
                      <a:pt x="202" y="399"/>
                    </a:moveTo>
                    <a:lnTo>
                      <a:pt x="201" y="399"/>
                    </a:lnTo>
                    <a:lnTo>
                      <a:pt x="201" y="398"/>
                    </a:lnTo>
                    <a:lnTo>
                      <a:pt x="201" y="397"/>
                    </a:lnTo>
                    <a:lnTo>
                      <a:pt x="200" y="396"/>
                    </a:lnTo>
                    <a:lnTo>
                      <a:pt x="201" y="396"/>
                    </a:lnTo>
                    <a:lnTo>
                      <a:pt x="201" y="397"/>
                    </a:lnTo>
                    <a:lnTo>
                      <a:pt x="202" y="398"/>
                    </a:lnTo>
                    <a:lnTo>
                      <a:pt x="202" y="399"/>
                    </a:lnTo>
                    <a:close/>
                    <a:moveTo>
                      <a:pt x="564" y="544"/>
                    </a:moveTo>
                    <a:lnTo>
                      <a:pt x="563" y="544"/>
                    </a:lnTo>
                    <a:lnTo>
                      <a:pt x="563" y="543"/>
                    </a:lnTo>
                    <a:lnTo>
                      <a:pt x="563" y="542"/>
                    </a:lnTo>
                    <a:lnTo>
                      <a:pt x="564" y="542"/>
                    </a:lnTo>
                    <a:lnTo>
                      <a:pt x="564" y="543"/>
                    </a:lnTo>
                    <a:lnTo>
                      <a:pt x="564" y="544"/>
                    </a:lnTo>
                    <a:close/>
                    <a:moveTo>
                      <a:pt x="494" y="572"/>
                    </a:moveTo>
                    <a:lnTo>
                      <a:pt x="496" y="572"/>
                    </a:lnTo>
                    <a:lnTo>
                      <a:pt x="496" y="573"/>
                    </a:lnTo>
                    <a:lnTo>
                      <a:pt x="496" y="575"/>
                    </a:lnTo>
                    <a:lnTo>
                      <a:pt x="496" y="576"/>
                    </a:lnTo>
                    <a:lnTo>
                      <a:pt x="493" y="576"/>
                    </a:lnTo>
                    <a:lnTo>
                      <a:pt x="494" y="576"/>
                    </a:lnTo>
                    <a:lnTo>
                      <a:pt x="496" y="576"/>
                    </a:lnTo>
                    <a:lnTo>
                      <a:pt x="496" y="575"/>
                    </a:lnTo>
                    <a:lnTo>
                      <a:pt x="496" y="573"/>
                    </a:lnTo>
                    <a:lnTo>
                      <a:pt x="494" y="573"/>
                    </a:lnTo>
                    <a:lnTo>
                      <a:pt x="494" y="572"/>
                    </a:lnTo>
                    <a:lnTo>
                      <a:pt x="493" y="572"/>
                    </a:lnTo>
                    <a:lnTo>
                      <a:pt x="494" y="572"/>
                    </a:lnTo>
                    <a:close/>
                    <a:moveTo>
                      <a:pt x="294" y="388"/>
                    </a:moveTo>
                    <a:lnTo>
                      <a:pt x="294" y="389"/>
                    </a:lnTo>
                    <a:lnTo>
                      <a:pt x="293" y="390"/>
                    </a:lnTo>
                    <a:lnTo>
                      <a:pt x="293" y="389"/>
                    </a:lnTo>
                    <a:lnTo>
                      <a:pt x="293" y="388"/>
                    </a:lnTo>
                    <a:lnTo>
                      <a:pt x="293" y="387"/>
                    </a:lnTo>
                    <a:lnTo>
                      <a:pt x="292" y="387"/>
                    </a:lnTo>
                    <a:lnTo>
                      <a:pt x="293" y="386"/>
                    </a:lnTo>
                    <a:lnTo>
                      <a:pt x="293" y="387"/>
                    </a:lnTo>
                    <a:lnTo>
                      <a:pt x="294" y="388"/>
                    </a:lnTo>
                    <a:close/>
                    <a:moveTo>
                      <a:pt x="220" y="374"/>
                    </a:moveTo>
                    <a:lnTo>
                      <a:pt x="222" y="374"/>
                    </a:lnTo>
                    <a:lnTo>
                      <a:pt x="222" y="376"/>
                    </a:lnTo>
                    <a:lnTo>
                      <a:pt x="220" y="376"/>
                    </a:lnTo>
                    <a:lnTo>
                      <a:pt x="220" y="374"/>
                    </a:lnTo>
                    <a:close/>
                    <a:moveTo>
                      <a:pt x="124" y="414"/>
                    </a:moveTo>
                    <a:lnTo>
                      <a:pt x="125" y="414"/>
                    </a:lnTo>
                    <a:lnTo>
                      <a:pt x="126" y="414"/>
                    </a:lnTo>
                    <a:lnTo>
                      <a:pt x="127" y="414"/>
                    </a:lnTo>
                    <a:lnTo>
                      <a:pt x="127" y="415"/>
                    </a:lnTo>
                    <a:lnTo>
                      <a:pt x="128" y="415"/>
                    </a:lnTo>
                    <a:lnTo>
                      <a:pt x="127" y="415"/>
                    </a:lnTo>
                    <a:lnTo>
                      <a:pt x="128" y="415"/>
                    </a:lnTo>
                    <a:lnTo>
                      <a:pt x="128" y="416"/>
                    </a:lnTo>
                    <a:lnTo>
                      <a:pt x="127" y="415"/>
                    </a:lnTo>
                    <a:lnTo>
                      <a:pt x="126" y="414"/>
                    </a:lnTo>
                    <a:lnTo>
                      <a:pt x="125" y="414"/>
                    </a:lnTo>
                    <a:lnTo>
                      <a:pt x="124" y="414"/>
                    </a:lnTo>
                    <a:close/>
                    <a:moveTo>
                      <a:pt x="396" y="362"/>
                    </a:moveTo>
                    <a:lnTo>
                      <a:pt x="397" y="362"/>
                    </a:lnTo>
                    <a:lnTo>
                      <a:pt x="397" y="363"/>
                    </a:lnTo>
                    <a:lnTo>
                      <a:pt x="397" y="362"/>
                    </a:lnTo>
                    <a:lnTo>
                      <a:pt x="397" y="363"/>
                    </a:lnTo>
                    <a:lnTo>
                      <a:pt x="398" y="363"/>
                    </a:lnTo>
                    <a:lnTo>
                      <a:pt x="399" y="363"/>
                    </a:lnTo>
                    <a:lnTo>
                      <a:pt x="399" y="364"/>
                    </a:lnTo>
                    <a:lnTo>
                      <a:pt x="398" y="364"/>
                    </a:lnTo>
                    <a:lnTo>
                      <a:pt x="399" y="364"/>
                    </a:lnTo>
                    <a:lnTo>
                      <a:pt x="398" y="364"/>
                    </a:lnTo>
                    <a:lnTo>
                      <a:pt x="398" y="363"/>
                    </a:lnTo>
                    <a:lnTo>
                      <a:pt x="397" y="363"/>
                    </a:lnTo>
                    <a:lnTo>
                      <a:pt x="396" y="363"/>
                    </a:lnTo>
                    <a:lnTo>
                      <a:pt x="395" y="363"/>
                    </a:lnTo>
                    <a:lnTo>
                      <a:pt x="396" y="363"/>
                    </a:lnTo>
                    <a:lnTo>
                      <a:pt x="396" y="362"/>
                    </a:lnTo>
                    <a:lnTo>
                      <a:pt x="396" y="363"/>
                    </a:lnTo>
                    <a:lnTo>
                      <a:pt x="396" y="362"/>
                    </a:lnTo>
                    <a:close/>
                    <a:moveTo>
                      <a:pt x="287" y="390"/>
                    </a:moveTo>
                    <a:lnTo>
                      <a:pt x="286" y="390"/>
                    </a:lnTo>
                    <a:lnTo>
                      <a:pt x="287" y="390"/>
                    </a:lnTo>
                    <a:lnTo>
                      <a:pt x="289" y="390"/>
                    </a:lnTo>
                    <a:lnTo>
                      <a:pt x="287" y="390"/>
                    </a:lnTo>
                    <a:lnTo>
                      <a:pt x="289" y="390"/>
                    </a:lnTo>
                    <a:lnTo>
                      <a:pt x="285" y="391"/>
                    </a:lnTo>
                    <a:lnTo>
                      <a:pt x="286" y="390"/>
                    </a:lnTo>
                    <a:lnTo>
                      <a:pt x="286" y="389"/>
                    </a:lnTo>
                    <a:lnTo>
                      <a:pt x="287" y="389"/>
                    </a:lnTo>
                    <a:lnTo>
                      <a:pt x="287" y="390"/>
                    </a:lnTo>
                    <a:lnTo>
                      <a:pt x="286" y="390"/>
                    </a:lnTo>
                    <a:lnTo>
                      <a:pt x="287" y="390"/>
                    </a:lnTo>
                    <a:close/>
                    <a:moveTo>
                      <a:pt x="272" y="423"/>
                    </a:moveTo>
                    <a:lnTo>
                      <a:pt x="273" y="423"/>
                    </a:lnTo>
                    <a:lnTo>
                      <a:pt x="274" y="423"/>
                    </a:lnTo>
                    <a:lnTo>
                      <a:pt x="273" y="424"/>
                    </a:lnTo>
                    <a:lnTo>
                      <a:pt x="272" y="424"/>
                    </a:lnTo>
                    <a:lnTo>
                      <a:pt x="272" y="423"/>
                    </a:lnTo>
                    <a:lnTo>
                      <a:pt x="271" y="423"/>
                    </a:lnTo>
                    <a:lnTo>
                      <a:pt x="272" y="423"/>
                    </a:lnTo>
                    <a:close/>
                    <a:moveTo>
                      <a:pt x="249" y="392"/>
                    </a:moveTo>
                    <a:lnTo>
                      <a:pt x="251" y="392"/>
                    </a:lnTo>
                    <a:lnTo>
                      <a:pt x="249" y="392"/>
                    </a:lnTo>
                    <a:lnTo>
                      <a:pt x="248" y="392"/>
                    </a:lnTo>
                    <a:lnTo>
                      <a:pt x="248" y="393"/>
                    </a:lnTo>
                    <a:lnTo>
                      <a:pt x="249" y="393"/>
                    </a:lnTo>
                    <a:lnTo>
                      <a:pt x="249" y="392"/>
                    </a:lnTo>
                    <a:lnTo>
                      <a:pt x="249" y="393"/>
                    </a:lnTo>
                    <a:lnTo>
                      <a:pt x="251" y="393"/>
                    </a:lnTo>
                    <a:lnTo>
                      <a:pt x="249" y="393"/>
                    </a:lnTo>
                    <a:lnTo>
                      <a:pt x="249" y="395"/>
                    </a:lnTo>
                    <a:lnTo>
                      <a:pt x="248" y="395"/>
                    </a:lnTo>
                    <a:lnTo>
                      <a:pt x="248" y="393"/>
                    </a:lnTo>
                    <a:lnTo>
                      <a:pt x="248" y="392"/>
                    </a:lnTo>
                    <a:lnTo>
                      <a:pt x="249" y="392"/>
                    </a:lnTo>
                    <a:close/>
                    <a:moveTo>
                      <a:pt x="268" y="430"/>
                    </a:moveTo>
                    <a:lnTo>
                      <a:pt x="269" y="431"/>
                    </a:lnTo>
                    <a:lnTo>
                      <a:pt x="269" y="433"/>
                    </a:lnTo>
                    <a:lnTo>
                      <a:pt x="268" y="433"/>
                    </a:lnTo>
                    <a:lnTo>
                      <a:pt x="268" y="431"/>
                    </a:lnTo>
                    <a:lnTo>
                      <a:pt x="267" y="431"/>
                    </a:lnTo>
                    <a:lnTo>
                      <a:pt x="268" y="430"/>
                    </a:lnTo>
                    <a:close/>
                    <a:moveTo>
                      <a:pt x="276" y="404"/>
                    </a:moveTo>
                    <a:lnTo>
                      <a:pt x="274" y="405"/>
                    </a:lnTo>
                    <a:lnTo>
                      <a:pt x="273" y="405"/>
                    </a:lnTo>
                    <a:lnTo>
                      <a:pt x="273" y="406"/>
                    </a:lnTo>
                    <a:lnTo>
                      <a:pt x="272" y="406"/>
                    </a:lnTo>
                    <a:lnTo>
                      <a:pt x="272" y="405"/>
                    </a:lnTo>
                    <a:lnTo>
                      <a:pt x="272" y="406"/>
                    </a:lnTo>
                    <a:lnTo>
                      <a:pt x="272" y="405"/>
                    </a:lnTo>
                    <a:lnTo>
                      <a:pt x="273" y="405"/>
                    </a:lnTo>
                    <a:lnTo>
                      <a:pt x="274" y="404"/>
                    </a:lnTo>
                    <a:lnTo>
                      <a:pt x="276" y="404"/>
                    </a:lnTo>
                    <a:close/>
                    <a:moveTo>
                      <a:pt x="619" y="513"/>
                    </a:moveTo>
                    <a:lnTo>
                      <a:pt x="619" y="514"/>
                    </a:lnTo>
                    <a:lnTo>
                      <a:pt x="618" y="514"/>
                    </a:lnTo>
                    <a:lnTo>
                      <a:pt x="618" y="513"/>
                    </a:lnTo>
                    <a:lnTo>
                      <a:pt x="617" y="513"/>
                    </a:lnTo>
                    <a:lnTo>
                      <a:pt x="617" y="512"/>
                    </a:lnTo>
                    <a:lnTo>
                      <a:pt x="618" y="512"/>
                    </a:lnTo>
                    <a:lnTo>
                      <a:pt x="618" y="513"/>
                    </a:lnTo>
                    <a:lnTo>
                      <a:pt x="619" y="513"/>
                    </a:lnTo>
                    <a:close/>
                    <a:moveTo>
                      <a:pt x="566" y="476"/>
                    </a:moveTo>
                    <a:lnTo>
                      <a:pt x="566" y="477"/>
                    </a:lnTo>
                    <a:lnTo>
                      <a:pt x="565" y="477"/>
                    </a:lnTo>
                    <a:lnTo>
                      <a:pt x="564" y="477"/>
                    </a:lnTo>
                    <a:lnTo>
                      <a:pt x="564" y="476"/>
                    </a:lnTo>
                    <a:lnTo>
                      <a:pt x="565" y="477"/>
                    </a:lnTo>
                    <a:lnTo>
                      <a:pt x="565" y="476"/>
                    </a:lnTo>
                    <a:lnTo>
                      <a:pt x="566" y="476"/>
                    </a:lnTo>
                    <a:close/>
                    <a:moveTo>
                      <a:pt x="244" y="388"/>
                    </a:moveTo>
                    <a:lnTo>
                      <a:pt x="243" y="388"/>
                    </a:lnTo>
                    <a:lnTo>
                      <a:pt x="243" y="389"/>
                    </a:lnTo>
                    <a:lnTo>
                      <a:pt x="242" y="389"/>
                    </a:lnTo>
                    <a:lnTo>
                      <a:pt x="242" y="388"/>
                    </a:lnTo>
                    <a:lnTo>
                      <a:pt x="243" y="388"/>
                    </a:lnTo>
                    <a:lnTo>
                      <a:pt x="244" y="388"/>
                    </a:lnTo>
                    <a:lnTo>
                      <a:pt x="245" y="388"/>
                    </a:lnTo>
                    <a:lnTo>
                      <a:pt x="244" y="388"/>
                    </a:lnTo>
                    <a:close/>
                    <a:moveTo>
                      <a:pt x="562" y="546"/>
                    </a:moveTo>
                    <a:lnTo>
                      <a:pt x="563" y="547"/>
                    </a:lnTo>
                    <a:lnTo>
                      <a:pt x="562" y="547"/>
                    </a:lnTo>
                    <a:lnTo>
                      <a:pt x="562" y="546"/>
                    </a:lnTo>
                    <a:lnTo>
                      <a:pt x="561" y="546"/>
                    </a:lnTo>
                    <a:lnTo>
                      <a:pt x="561" y="547"/>
                    </a:lnTo>
                    <a:lnTo>
                      <a:pt x="560" y="547"/>
                    </a:lnTo>
                    <a:lnTo>
                      <a:pt x="560" y="546"/>
                    </a:lnTo>
                    <a:lnTo>
                      <a:pt x="558" y="546"/>
                    </a:lnTo>
                    <a:lnTo>
                      <a:pt x="560" y="546"/>
                    </a:lnTo>
                    <a:lnTo>
                      <a:pt x="561" y="546"/>
                    </a:lnTo>
                    <a:lnTo>
                      <a:pt x="562" y="546"/>
                    </a:lnTo>
                    <a:close/>
                    <a:moveTo>
                      <a:pt x="354" y="457"/>
                    </a:moveTo>
                    <a:lnTo>
                      <a:pt x="354" y="459"/>
                    </a:lnTo>
                    <a:lnTo>
                      <a:pt x="352" y="457"/>
                    </a:lnTo>
                    <a:lnTo>
                      <a:pt x="351" y="459"/>
                    </a:lnTo>
                    <a:lnTo>
                      <a:pt x="350" y="460"/>
                    </a:lnTo>
                    <a:lnTo>
                      <a:pt x="350" y="459"/>
                    </a:lnTo>
                    <a:lnTo>
                      <a:pt x="351" y="459"/>
                    </a:lnTo>
                    <a:lnTo>
                      <a:pt x="351" y="457"/>
                    </a:lnTo>
                    <a:lnTo>
                      <a:pt x="352" y="457"/>
                    </a:lnTo>
                    <a:lnTo>
                      <a:pt x="354" y="457"/>
                    </a:lnTo>
                    <a:close/>
                    <a:moveTo>
                      <a:pt x="571" y="566"/>
                    </a:moveTo>
                    <a:lnTo>
                      <a:pt x="573" y="566"/>
                    </a:lnTo>
                    <a:lnTo>
                      <a:pt x="573" y="568"/>
                    </a:lnTo>
                    <a:lnTo>
                      <a:pt x="571" y="568"/>
                    </a:lnTo>
                    <a:lnTo>
                      <a:pt x="571" y="566"/>
                    </a:lnTo>
                    <a:close/>
                    <a:moveTo>
                      <a:pt x="265" y="279"/>
                    </a:moveTo>
                    <a:lnTo>
                      <a:pt x="266" y="280"/>
                    </a:lnTo>
                    <a:lnTo>
                      <a:pt x="266" y="281"/>
                    </a:lnTo>
                    <a:lnTo>
                      <a:pt x="265" y="281"/>
                    </a:lnTo>
                    <a:lnTo>
                      <a:pt x="265" y="280"/>
                    </a:lnTo>
                    <a:lnTo>
                      <a:pt x="264" y="280"/>
                    </a:lnTo>
                    <a:lnTo>
                      <a:pt x="265" y="280"/>
                    </a:lnTo>
                    <a:lnTo>
                      <a:pt x="265" y="279"/>
                    </a:lnTo>
                    <a:lnTo>
                      <a:pt x="264" y="279"/>
                    </a:lnTo>
                    <a:lnTo>
                      <a:pt x="265" y="279"/>
                    </a:lnTo>
                    <a:close/>
                    <a:moveTo>
                      <a:pt x="416" y="380"/>
                    </a:moveTo>
                    <a:lnTo>
                      <a:pt x="416" y="382"/>
                    </a:lnTo>
                    <a:lnTo>
                      <a:pt x="416" y="383"/>
                    </a:lnTo>
                    <a:lnTo>
                      <a:pt x="418" y="383"/>
                    </a:lnTo>
                    <a:lnTo>
                      <a:pt x="416" y="383"/>
                    </a:lnTo>
                    <a:lnTo>
                      <a:pt x="415" y="382"/>
                    </a:lnTo>
                    <a:lnTo>
                      <a:pt x="414" y="382"/>
                    </a:lnTo>
                    <a:lnTo>
                      <a:pt x="415" y="382"/>
                    </a:lnTo>
                    <a:lnTo>
                      <a:pt x="415" y="380"/>
                    </a:lnTo>
                    <a:lnTo>
                      <a:pt x="416" y="380"/>
                    </a:lnTo>
                    <a:close/>
                    <a:moveTo>
                      <a:pt x="332" y="466"/>
                    </a:moveTo>
                    <a:lnTo>
                      <a:pt x="333" y="467"/>
                    </a:lnTo>
                    <a:lnTo>
                      <a:pt x="332" y="467"/>
                    </a:lnTo>
                    <a:lnTo>
                      <a:pt x="332" y="468"/>
                    </a:lnTo>
                    <a:lnTo>
                      <a:pt x="331" y="469"/>
                    </a:lnTo>
                    <a:lnTo>
                      <a:pt x="331" y="468"/>
                    </a:lnTo>
                    <a:lnTo>
                      <a:pt x="331" y="467"/>
                    </a:lnTo>
                    <a:lnTo>
                      <a:pt x="332" y="467"/>
                    </a:lnTo>
                    <a:lnTo>
                      <a:pt x="332" y="466"/>
                    </a:lnTo>
                    <a:close/>
                    <a:moveTo>
                      <a:pt x="422" y="376"/>
                    </a:moveTo>
                    <a:lnTo>
                      <a:pt x="421" y="376"/>
                    </a:lnTo>
                    <a:lnTo>
                      <a:pt x="421" y="377"/>
                    </a:lnTo>
                    <a:lnTo>
                      <a:pt x="420" y="377"/>
                    </a:lnTo>
                    <a:lnTo>
                      <a:pt x="420" y="376"/>
                    </a:lnTo>
                    <a:lnTo>
                      <a:pt x="421" y="376"/>
                    </a:lnTo>
                    <a:lnTo>
                      <a:pt x="421" y="375"/>
                    </a:lnTo>
                    <a:lnTo>
                      <a:pt x="422" y="375"/>
                    </a:lnTo>
                    <a:lnTo>
                      <a:pt x="422" y="376"/>
                    </a:lnTo>
                    <a:close/>
                    <a:moveTo>
                      <a:pt x="584" y="455"/>
                    </a:moveTo>
                    <a:lnTo>
                      <a:pt x="586" y="455"/>
                    </a:lnTo>
                    <a:lnTo>
                      <a:pt x="586" y="456"/>
                    </a:lnTo>
                    <a:lnTo>
                      <a:pt x="584" y="456"/>
                    </a:lnTo>
                    <a:lnTo>
                      <a:pt x="584" y="455"/>
                    </a:lnTo>
                    <a:close/>
                    <a:moveTo>
                      <a:pt x="215" y="410"/>
                    </a:moveTo>
                    <a:lnTo>
                      <a:pt x="216" y="411"/>
                    </a:lnTo>
                    <a:lnTo>
                      <a:pt x="216" y="410"/>
                    </a:lnTo>
                    <a:lnTo>
                      <a:pt x="216" y="411"/>
                    </a:lnTo>
                    <a:lnTo>
                      <a:pt x="216" y="412"/>
                    </a:lnTo>
                    <a:lnTo>
                      <a:pt x="215" y="413"/>
                    </a:lnTo>
                    <a:lnTo>
                      <a:pt x="215" y="412"/>
                    </a:lnTo>
                    <a:lnTo>
                      <a:pt x="215" y="411"/>
                    </a:lnTo>
                    <a:lnTo>
                      <a:pt x="215" y="410"/>
                    </a:lnTo>
                    <a:close/>
                    <a:moveTo>
                      <a:pt x="247" y="431"/>
                    </a:moveTo>
                    <a:lnTo>
                      <a:pt x="246" y="431"/>
                    </a:lnTo>
                    <a:lnTo>
                      <a:pt x="246" y="430"/>
                    </a:lnTo>
                    <a:lnTo>
                      <a:pt x="246" y="429"/>
                    </a:lnTo>
                    <a:lnTo>
                      <a:pt x="247" y="429"/>
                    </a:lnTo>
                    <a:lnTo>
                      <a:pt x="247" y="430"/>
                    </a:lnTo>
                    <a:lnTo>
                      <a:pt x="247" y="431"/>
                    </a:lnTo>
                    <a:close/>
                    <a:moveTo>
                      <a:pt x="551" y="521"/>
                    </a:moveTo>
                    <a:lnTo>
                      <a:pt x="552" y="521"/>
                    </a:lnTo>
                    <a:lnTo>
                      <a:pt x="552" y="524"/>
                    </a:lnTo>
                    <a:lnTo>
                      <a:pt x="551" y="524"/>
                    </a:lnTo>
                    <a:lnTo>
                      <a:pt x="551" y="521"/>
                    </a:lnTo>
                    <a:close/>
                    <a:moveTo>
                      <a:pt x="303" y="386"/>
                    </a:moveTo>
                    <a:lnTo>
                      <a:pt x="302" y="386"/>
                    </a:lnTo>
                    <a:lnTo>
                      <a:pt x="302" y="387"/>
                    </a:lnTo>
                    <a:lnTo>
                      <a:pt x="302" y="388"/>
                    </a:lnTo>
                    <a:lnTo>
                      <a:pt x="300" y="388"/>
                    </a:lnTo>
                    <a:lnTo>
                      <a:pt x="300" y="387"/>
                    </a:lnTo>
                    <a:lnTo>
                      <a:pt x="302" y="386"/>
                    </a:lnTo>
                    <a:lnTo>
                      <a:pt x="303" y="386"/>
                    </a:lnTo>
                    <a:close/>
                    <a:moveTo>
                      <a:pt x="494" y="578"/>
                    </a:moveTo>
                    <a:lnTo>
                      <a:pt x="496" y="578"/>
                    </a:lnTo>
                    <a:lnTo>
                      <a:pt x="496" y="580"/>
                    </a:lnTo>
                    <a:lnTo>
                      <a:pt x="494" y="580"/>
                    </a:lnTo>
                    <a:lnTo>
                      <a:pt x="494" y="578"/>
                    </a:lnTo>
                    <a:close/>
                    <a:moveTo>
                      <a:pt x="560" y="551"/>
                    </a:moveTo>
                    <a:lnTo>
                      <a:pt x="558" y="551"/>
                    </a:lnTo>
                    <a:lnTo>
                      <a:pt x="557" y="551"/>
                    </a:lnTo>
                    <a:lnTo>
                      <a:pt x="555" y="551"/>
                    </a:lnTo>
                    <a:lnTo>
                      <a:pt x="554" y="551"/>
                    </a:lnTo>
                    <a:lnTo>
                      <a:pt x="553" y="551"/>
                    </a:lnTo>
                    <a:lnTo>
                      <a:pt x="552" y="551"/>
                    </a:lnTo>
                    <a:lnTo>
                      <a:pt x="552" y="550"/>
                    </a:lnTo>
                    <a:lnTo>
                      <a:pt x="553" y="550"/>
                    </a:lnTo>
                    <a:lnTo>
                      <a:pt x="552" y="550"/>
                    </a:lnTo>
                    <a:lnTo>
                      <a:pt x="553" y="551"/>
                    </a:lnTo>
                    <a:lnTo>
                      <a:pt x="554" y="551"/>
                    </a:lnTo>
                    <a:lnTo>
                      <a:pt x="555" y="551"/>
                    </a:lnTo>
                    <a:lnTo>
                      <a:pt x="556" y="551"/>
                    </a:lnTo>
                    <a:lnTo>
                      <a:pt x="557" y="551"/>
                    </a:lnTo>
                    <a:lnTo>
                      <a:pt x="558" y="551"/>
                    </a:lnTo>
                    <a:lnTo>
                      <a:pt x="560" y="551"/>
                    </a:lnTo>
                    <a:lnTo>
                      <a:pt x="560" y="550"/>
                    </a:lnTo>
                    <a:lnTo>
                      <a:pt x="561" y="549"/>
                    </a:lnTo>
                    <a:lnTo>
                      <a:pt x="561" y="550"/>
                    </a:lnTo>
                    <a:lnTo>
                      <a:pt x="560" y="551"/>
                    </a:lnTo>
                    <a:close/>
                    <a:moveTo>
                      <a:pt x="507" y="566"/>
                    </a:moveTo>
                    <a:lnTo>
                      <a:pt x="506" y="566"/>
                    </a:lnTo>
                    <a:lnTo>
                      <a:pt x="506" y="567"/>
                    </a:lnTo>
                    <a:lnTo>
                      <a:pt x="506" y="566"/>
                    </a:lnTo>
                    <a:lnTo>
                      <a:pt x="505" y="566"/>
                    </a:lnTo>
                    <a:lnTo>
                      <a:pt x="506" y="566"/>
                    </a:lnTo>
                    <a:lnTo>
                      <a:pt x="506" y="565"/>
                    </a:lnTo>
                    <a:lnTo>
                      <a:pt x="507" y="565"/>
                    </a:lnTo>
                    <a:lnTo>
                      <a:pt x="507" y="566"/>
                    </a:lnTo>
                    <a:close/>
                    <a:moveTo>
                      <a:pt x="269" y="383"/>
                    </a:moveTo>
                    <a:lnTo>
                      <a:pt x="270" y="384"/>
                    </a:lnTo>
                    <a:lnTo>
                      <a:pt x="269" y="384"/>
                    </a:lnTo>
                    <a:lnTo>
                      <a:pt x="268" y="384"/>
                    </a:lnTo>
                    <a:lnTo>
                      <a:pt x="268" y="383"/>
                    </a:lnTo>
                    <a:lnTo>
                      <a:pt x="269" y="383"/>
                    </a:lnTo>
                    <a:lnTo>
                      <a:pt x="269" y="382"/>
                    </a:lnTo>
                    <a:lnTo>
                      <a:pt x="269" y="383"/>
                    </a:lnTo>
                    <a:close/>
                    <a:moveTo>
                      <a:pt x="565" y="545"/>
                    </a:moveTo>
                    <a:lnTo>
                      <a:pt x="566" y="545"/>
                    </a:lnTo>
                    <a:lnTo>
                      <a:pt x="565" y="545"/>
                    </a:lnTo>
                    <a:lnTo>
                      <a:pt x="564" y="545"/>
                    </a:lnTo>
                    <a:lnTo>
                      <a:pt x="564" y="544"/>
                    </a:lnTo>
                    <a:lnTo>
                      <a:pt x="563" y="544"/>
                    </a:lnTo>
                    <a:lnTo>
                      <a:pt x="564" y="544"/>
                    </a:lnTo>
                    <a:lnTo>
                      <a:pt x="565" y="544"/>
                    </a:lnTo>
                    <a:lnTo>
                      <a:pt x="565" y="545"/>
                    </a:lnTo>
                    <a:close/>
                    <a:moveTo>
                      <a:pt x="188" y="354"/>
                    </a:moveTo>
                    <a:lnTo>
                      <a:pt x="188" y="356"/>
                    </a:lnTo>
                    <a:lnTo>
                      <a:pt x="189" y="356"/>
                    </a:lnTo>
                    <a:lnTo>
                      <a:pt x="188" y="356"/>
                    </a:lnTo>
                    <a:lnTo>
                      <a:pt x="188" y="357"/>
                    </a:lnTo>
                    <a:lnTo>
                      <a:pt x="188" y="356"/>
                    </a:lnTo>
                    <a:lnTo>
                      <a:pt x="187" y="356"/>
                    </a:lnTo>
                    <a:lnTo>
                      <a:pt x="187" y="354"/>
                    </a:lnTo>
                    <a:lnTo>
                      <a:pt x="188" y="354"/>
                    </a:lnTo>
                    <a:lnTo>
                      <a:pt x="187" y="354"/>
                    </a:lnTo>
                    <a:lnTo>
                      <a:pt x="187" y="353"/>
                    </a:lnTo>
                    <a:lnTo>
                      <a:pt x="188" y="353"/>
                    </a:lnTo>
                    <a:lnTo>
                      <a:pt x="188" y="354"/>
                    </a:lnTo>
                    <a:close/>
                    <a:moveTo>
                      <a:pt x="462" y="611"/>
                    </a:moveTo>
                    <a:lnTo>
                      <a:pt x="463" y="613"/>
                    </a:lnTo>
                    <a:lnTo>
                      <a:pt x="463" y="611"/>
                    </a:lnTo>
                    <a:lnTo>
                      <a:pt x="462" y="611"/>
                    </a:lnTo>
                    <a:lnTo>
                      <a:pt x="462" y="613"/>
                    </a:lnTo>
                    <a:lnTo>
                      <a:pt x="463" y="614"/>
                    </a:lnTo>
                    <a:lnTo>
                      <a:pt x="462" y="613"/>
                    </a:lnTo>
                    <a:lnTo>
                      <a:pt x="461" y="613"/>
                    </a:lnTo>
                    <a:lnTo>
                      <a:pt x="461" y="611"/>
                    </a:lnTo>
                    <a:lnTo>
                      <a:pt x="462" y="611"/>
                    </a:lnTo>
                    <a:close/>
                    <a:moveTo>
                      <a:pt x="467" y="365"/>
                    </a:moveTo>
                    <a:lnTo>
                      <a:pt x="466" y="366"/>
                    </a:lnTo>
                    <a:lnTo>
                      <a:pt x="466" y="365"/>
                    </a:lnTo>
                    <a:lnTo>
                      <a:pt x="466" y="364"/>
                    </a:lnTo>
                    <a:lnTo>
                      <a:pt x="467" y="364"/>
                    </a:lnTo>
                    <a:lnTo>
                      <a:pt x="467" y="363"/>
                    </a:lnTo>
                    <a:lnTo>
                      <a:pt x="467" y="364"/>
                    </a:lnTo>
                    <a:lnTo>
                      <a:pt x="467" y="365"/>
                    </a:lnTo>
                    <a:close/>
                    <a:moveTo>
                      <a:pt x="102" y="301"/>
                    </a:moveTo>
                    <a:lnTo>
                      <a:pt x="102" y="302"/>
                    </a:lnTo>
                    <a:lnTo>
                      <a:pt x="102" y="303"/>
                    </a:lnTo>
                    <a:lnTo>
                      <a:pt x="102" y="302"/>
                    </a:lnTo>
                    <a:lnTo>
                      <a:pt x="101" y="302"/>
                    </a:lnTo>
                    <a:lnTo>
                      <a:pt x="100" y="302"/>
                    </a:lnTo>
                    <a:lnTo>
                      <a:pt x="101" y="301"/>
                    </a:lnTo>
                    <a:lnTo>
                      <a:pt x="101" y="302"/>
                    </a:lnTo>
                    <a:lnTo>
                      <a:pt x="101" y="301"/>
                    </a:lnTo>
                    <a:lnTo>
                      <a:pt x="102" y="301"/>
                    </a:lnTo>
                    <a:close/>
                    <a:moveTo>
                      <a:pt x="506" y="446"/>
                    </a:moveTo>
                    <a:lnTo>
                      <a:pt x="506" y="447"/>
                    </a:lnTo>
                    <a:lnTo>
                      <a:pt x="506" y="448"/>
                    </a:lnTo>
                    <a:lnTo>
                      <a:pt x="505" y="448"/>
                    </a:lnTo>
                    <a:lnTo>
                      <a:pt x="505" y="447"/>
                    </a:lnTo>
                    <a:lnTo>
                      <a:pt x="504" y="447"/>
                    </a:lnTo>
                    <a:lnTo>
                      <a:pt x="505" y="447"/>
                    </a:lnTo>
                    <a:lnTo>
                      <a:pt x="504" y="447"/>
                    </a:lnTo>
                    <a:lnTo>
                      <a:pt x="505" y="447"/>
                    </a:lnTo>
                    <a:lnTo>
                      <a:pt x="505" y="446"/>
                    </a:lnTo>
                    <a:lnTo>
                      <a:pt x="506" y="446"/>
                    </a:lnTo>
                    <a:close/>
                    <a:moveTo>
                      <a:pt x="429" y="390"/>
                    </a:moveTo>
                    <a:lnTo>
                      <a:pt x="431" y="390"/>
                    </a:lnTo>
                    <a:lnTo>
                      <a:pt x="431" y="391"/>
                    </a:lnTo>
                    <a:lnTo>
                      <a:pt x="431" y="392"/>
                    </a:lnTo>
                    <a:lnTo>
                      <a:pt x="429" y="391"/>
                    </a:lnTo>
                    <a:lnTo>
                      <a:pt x="431" y="391"/>
                    </a:lnTo>
                    <a:lnTo>
                      <a:pt x="429" y="391"/>
                    </a:lnTo>
                    <a:lnTo>
                      <a:pt x="429" y="390"/>
                    </a:lnTo>
                    <a:lnTo>
                      <a:pt x="428" y="390"/>
                    </a:lnTo>
                    <a:lnTo>
                      <a:pt x="429" y="390"/>
                    </a:lnTo>
                    <a:close/>
                    <a:moveTo>
                      <a:pt x="101" y="328"/>
                    </a:moveTo>
                    <a:lnTo>
                      <a:pt x="101" y="329"/>
                    </a:lnTo>
                    <a:lnTo>
                      <a:pt x="100" y="329"/>
                    </a:lnTo>
                    <a:lnTo>
                      <a:pt x="100" y="328"/>
                    </a:lnTo>
                    <a:lnTo>
                      <a:pt x="100" y="327"/>
                    </a:lnTo>
                    <a:lnTo>
                      <a:pt x="101" y="328"/>
                    </a:lnTo>
                    <a:close/>
                    <a:moveTo>
                      <a:pt x="294" y="392"/>
                    </a:moveTo>
                    <a:lnTo>
                      <a:pt x="293" y="392"/>
                    </a:lnTo>
                    <a:lnTo>
                      <a:pt x="293" y="391"/>
                    </a:lnTo>
                    <a:lnTo>
                      <a:pt x="293" y="390"/>
                    </a:lnTo>
                    <a:lnTo>
                      <a:pt x="294" y="390"/>
                    </a:lnTo>
                    <a:lnTo>
                      <a:pt x="294" y="391"/>
                    </a:lnTo>
                    <a:lnTo>
                      <a:pt x="294" y="392"/>
                    </a:lnTo>
                    <a:close/>
                    <a:moveTo>
                      <a:pt x="204" y="402"/>
                    </a:moveTo>
                    <a:lnTo>
                      <a:pt x="204" y="403"/>
                    </a:lnTo>
                    <a:lnTo>
                      <a:pt x="203" y="403"/>
                    </a:lnTo>
                    <a:lnTo>
                      <a:pt x="203" y="402"/>
                    </a:lnTo>
                    <a:lnTo>
                      <a:pt x="203" y="403"/>
                    </a:lnTo>
                    <a:lnTo>
                      <a:pt x="202" y="403"/>
                    </a:lnTo>
                    <a:lnTo>
                      <a:pt x="202" y="402"/>
                    </a:lnTo>
                    <a:lnTo>
                      <a:pt x="203" y="402"/>
                    </a:lnTo>
                    <a:lnTo>
                      <a:pt x="204" y="402"/>
                    </a:lnTo>
                    <a:close/>
                    <a:moveTo>
                      <a:pt x="423" y="393"/>
                    </a:moveTo>
                    <a:lnTo>
                      <a:pt x="423" y="395"/>
                    </a:lnTo>
                    <a:lnTo>
                      <a:pt x="424" y="395"/>
                    </a:lnTo>
                    <a:lnTo>
                      <a:pt x="423" y="395"/>
                    </a:lnTo>
                    <a:lnTo>
                      <a:pt x="422" y="395"/>
                    </a:lnTo>
                    <a:lnTo>
                      <a:pt x="422" y="396"/>
                    </a:lnTo>
                    <a:lnTo>
                      <a:pt x="423" y="396"/>
                    </a:lnTo>
                    <a:lnTo>
                      <a:pt x="423" y="395"/>
                    </a:lnTo>
                    <a:lnTo>
                      <a:pt x="423" y="396"/>
                    </a:lnTo>
                    <a:lnTo>
                      <a:pt x="423" y="395"/>
                    </a:lnTo>
                    <a:lnTo>
                      <a:pt x="424" y="395"/>
                    </a:lnTo>
                    <a:lnTo>
                      <a:pt x="424" y="396"/>
                    </a:lnTo>
                    <a:lnTo>
                      <a:pt x="424" y="395"/>
                    </a:lnTo>
                    <a:lnTo>
                      <a:pt x="423" y="396"/>
                    </a:lnTo>
                    <a:lnTo>
                      <a:pt x="424" y="396"/>
                    </a:lnTo>
                    <a:lnTo>
                      <a:pt x="423" y="396"/>
                    </a:lnTo>
                    <a:lnTo>
                      <a:pt x="422" y="396"/>
                    </a:lnTo>
                    <a:lnTo>
                      <a:pt x="422" y="395"/>
                    </a:lnTo>
                    <a:lnTo>
                      <a:pt x="422" y="396"/>
                    </a:lnTo>
                    <a:lnTo>
                      <a:pt x="421" y="396"/>
                    </a:lnTo>
                    <a:lnTo>
                      <a:pt x="421" y="395"/>
                    </a:lnTo>
                    <a:lnTo>
                      <a:pt x="422" y="395"/>
                    </a:lnTo>
                    <a:lnTo>
                      <a:pt x="423" y="395"/>
                    </a:lnTo>
                    <a:lnTo>
                      <a:pt x="422" y="395"/>
                    </a:lnTo>
                    <a:lnTo>
                      <a:pt x="423" y="395"/>
                    </a:lnTo>
                    <a:lnTo>
                      <a:pt x="423" y="393"/>
                    </a:lnTo>
                    <a:close/>
                    <a:moveTo>
                      <a:pt x="200" y="413"/>
                    </a:moveTo>
                    <a:lnTo>
                      <a:pt x="199" y="413"/>
                    </a:lnTo>
                    <a:lnTo>
                      <a:pt x="196" y="413"/>
                    </a:lnTo>
                    <a:lnTo>
                      <a:pt x="197" y="412"/>
                    </a:lnTo>
                    <a:lnTo>
                      <a:pt x="199" y="413"/>
                    </a:lnTo>
                    <a:lnTo>
                      <a:pt x="200" y="413"/>
                    </a:lnTo>
                    <a:close/>
                    <a:moveTo>
                      <a:pt x="239" y="399"/>
                    </a:moveTo>
                    <a:lnTo>
                      <a:pt x="236" y="399"/>
                    </a:lnTo>
                    <a:lnTo>
                      <a:pt x="235" y="399"/>
                    </a:lnTo>
                    <a:lnTo>
                      <a:pt x="234" y="399"/>
                    </a:lnTo>
                    <a:lnTo>
                      <a:pt x="236" y="399"/>
                    </a:lnTo>
                    <a:lnTo>
                      <a:pt x="239" y="399"/>
                    </a:lnTo>
                    <a:lnTo>
                      <a:pt x="234" y="399"/>
                    </a:lnTo>
                    <a:lnTo>
                      <a:pt x="240" y="398"/>
                    </a:lnTo>
                    <a:lnTo>
                      <a:pt x="240" y="399"/>
                    </a:lnTo>
                    <a:lnTo>
                      <a:pt x="239" y="399"/>
                    </a:lnTo>
                    <a:close/>
                    <a:moveTo>
                      <a:pt x="242" y="223"/>
                    </a:moveTo>
                    <a:lnTo>
                      <a:pt x="244" y="223"/>
                    </a:lnTo>
                    <a:lnTo>
                      <a:pt x="244" y="224"/>
                    </a:lnTo>
                    <a:lnTo>
                      <a:pt x="242" y="224"/>
                    </a:lnTo>
                    <a:lnTo>
                      <a:pt x="242" y="223"/>
                    </a:lnTo>
                    <a:close/>
                    <a:moveTo>
                      <a:pt x="490" y="421"/>
                    </a:moveTo>
                    <a:lnTo>
                      <a:pt x="489" y="421"/>
                    </a:lnTo>
                    <a:lnTo>
                      <a:pt x="490" y="421"/>
                    </a:lnTo>
                    <a:lnTo>
                      <a:pt x="490" y="422"/>
                    </a:lnTo>
                    <a:lnTo>
                      <a:pt x="490" y="421"/>
                    </a:lnTo>
                    <a:lnTo>
                      <a:pt x="489" y="421"/>
                    </a:lnTo>
                    <a:lnTo>
                      <a:pt x="488" y="421"/>
                    </a:lnTo>
                    <a:lnTo>
                      <a:pt x="488" y="420"/>
                    </a:lnTo>
                    <a:lnTo>
                      <a:pt x="490" y="420"/>
                    </a:lnTo>
                    <a:lnTo>
                      <a:pt x="490" y="421"/>
                    </a:lnTo>
                    <a:close/>
                    <a:moveTo>
                      <a:pt x="569" y="555"/>
                    </a:moveTo>
                    <a:lnTo>
                      <a:pt x="570" y="555"/>
                    </a:lnTo>
                    <a:lnTo>
                      <a:pt x="570" y="556"/>
                    </a:lnTo>
                    <a:lnTo>
                      <a:pt x="569" y="556"/>
                    </a:lnTo>
                    <a:lnTo>
                      <a:pt x="569" y="555"/>
                    </a:lnTo>
                    <a:close/>
                    <a:moveTo>
                      <a:pt x="309" y="268"/>
                    </a:moveTo>
                    <a:lnTo>
                      <a:pt x="309" y="269"/>
                    </a:lnTo>
                    <a:lnTo>
                      <a:pt x="308" y="269"/>
                    </a:lnTo>
                    <a:lnTo>
                      <a:pt x="308" y="268"/>
                    </a:lnTo>
                    <a:lnTo>
                      <a:pt x="307" y="268"/>
                    </a:lnTo>
                    <a:lnTo>
                      <a:pt x="308" y="268"/>
                    </a:lnTo>
                    <a:lnTo>
                      <a:pt x="308" y="267"/>
                    </a:lnTo>
                    <a:lnTo>
                      <a:pt x="308" y="268"/>
                    </a:lnTo>
                    <a:lnTo>
                      <a:pt x="309" y="268"/>
                    </a:lnTo>
                    <a:close/>
                    <a:moveTo>
                      <a:pt x="563" y="545"/>
                    </a:moveTo>
                    <a:lnTo>
                      <a:pt x="563" y="546"/>
                    </a:lnTo>
                    <a:lnTo>
                      <a:pt x="562" y="545"/>
                    </a:lnTo>
                    <a:lnTo>
                      <a:pt x="561" y="545"/>
                    </a:lnTo>
                    <a:lnTo>
                      <a:pt x="560" y="545"/>
                    </a:lnTo>
                    <a:lnTo>
                      <a:pt x="560" y="546"/>
                    </a:lnTo>
                    <a:lnTo>
                      <a:pt x="558" y="546"/>
                    </a:lnTo>
                    <a:lnTo>
                      <a:pt x="558" y="545"/>
                    </a:lnTo>
                    <a:lnTo>
                      <a:pt x="560" y="545"/>
                    </a:lnTo>
                    <a:lnTo>
                      <a:pt x="561" y="545"/>
                    </a:lnTo>
                    <a:lnTo>
                      <a:pt x="562" y="545"/>
                    </a:lnTo>
                    <a:lnTo>
                      <a:pt x="563" y="545"/>
                    </a:lnTo>
                    <a:close/>
                    <a:moveTo>
                      <a:pt x="437" y="547"/>
                    </a:moveTo>
                    <a:lnTo>
                      <a:pt x="437" y="546"/>
                    </a:lnTo>
                    <a:lnTo>
                      <a:pt x="438" y="546"/>
                    </a:lnTo>
                    <a:lnTo>
                      <a:pt x="438" y="545"/>
                    </a:lnTo>
                    <a:lnTo>
                      <a:pt x="439" y="545"/>
                    </a:lnTo>
                    <a:lnTo>
                      <a:pt x="438" y="545"/>
                    </a:lnTo>
                    <a:lnTo>
                      <a:pt x="438" y="546"/>
                    </a:lnTo>
                    <a:lnTo>
                      <a:pt x="438" y="547"/>
                    </a:lnTo>
                    <a:lnTo>
                      <a:pt x="437" y="547"/>
                    </a:lnTo>
                    <a:close/>
                    <a:moveTo>
                      <a:pt x="200" y="405"/>
                    </a:moveTo>
                    <a:lnTo>
                      <a:pt x="201" y="406"/>
                    </a:lnTo>
                    <a:lnTo>
                      <a:pt x="201" y="408"/>
                    </a:lnTo>
                    <a:lnTo>
                      <a:pt x="200" y="408"/>
                    </a:lnTo>
                    <a:lnTo>
                      <a:pt x="199" y="408"/>
                    </a:lnTo>
                    <a:lnTo>
                      <a:pt x="200" y="408"/>
                    </a:lnTo>
                    <a:lnTo>
                      <a:pt x="200" y="406"/>
                    </a:lnTo>
                    <a:lnTo>
                      <a:pt x="199" y="408"/>
                    </a:lnTo>
                    <a:lnTo>
                      <a:pt x="199" y="406"/>
                    </a:lnTo>
                    <a:lnTo>
                      <a:pt x="200" y="406"/>
                    </a:lnTo>
                    <a:lnTo>
                      <a:pt x="199" y="406"/>
                    </a:lnTo>
                    <a:lnTo>
                      <a:pt x="200" y="406"/>
                    </a:lnTo>
                    <a:lnTo>
                      <a:pt x="200" y="405"/>
                    </a:lnTo>
                    <a:close/>
                    <a:moveTo>
                      <a:pt x="571" y="553"/>
                    </a:moveTo>
                    <a:lnTo>
                      <a:pt x="570" y="553"/>
                    </a:lnTo>
                    <a:lnTo>
                      <a:pt x="570" y="554"/>
                    </a:lnTo>
                    <a:lnTo>
                      <a:pt x="569" y="553"/>
                    </a:lnTo>
                    <a:lnTo>
                      <a:pt x="570" y="553"/>
                    </a:lnTo>
                    <a:lnTo>
                      <a:pt x="570" y="552"/>
                    </a:lnTo>
                    <a:lnTo>
                      <a:pt x="571" y="552"/>
                    </a:lnTo>
                    <a:lnTo>
                      <a:pt x="571" y="553"/>
                    </a:lnTo>
                    <a:close/>
                    <a:moveTo>
                      <a:pt x="269" y="403"/>
                    </a:moveTo>
                    <a:lnTo>
                      <a:pt x="270" y="404"/>
                    </a:lnTo>
                    <a:lnTo>
                      <a:pt x="271" y="404"/>
                    </a:lnTo>
                    <a:lnTo>
                      <a:pt x="270" y="404"/>
                    </a:lnTo>
                    <a:lnTo>
                      <a:pt x="269" y="404"/>
                    </a:lnTo>
                    <a:lnTo>
                      <a:pt x="270" y="406"/>
                    </a:lnTo>
                    <a:lnTo>
                      <a:pt x="271" y="406"/>
                    </a:lnTo>
                    <a:lnTo>
                      <a:pt x="271" y="408"/>
                    </a:lnTo>
                    <a:lnTo>
                      <a:pt x="273" y="410"/>
                    </a:lnTo>
                    <a:lnTo>
                      <a:pt x="272" y="410"/>
                    </a:lnTo>
                    <a:lnTo>
                      <a:pt x="268" y="403"/>
                    </a:lnTo>
                    <a:lnTo>
                      <a:pt x="269" y="403"/>
                    </a:lnTo>
                    <a:close/>
                    <a:moveTo>
                      <a:pt x="291" y="448"/>
                    </a:moveTo>
                    <a:lnTo>
                      <a:pt x="293" y="448"/>
                    </a:lnTo>
                    <a:lnTo>
                      <a:pt x="293" y="449"/>
                    </a:lnTo>
                    <a:lnTo>
                      <a:pt x="291" y="449"/>
                    </a:lnTo>
                    <a:lnTo>
                      <a:pt x="291" y="448"/>
                    </a:lnTo>
                    <a:close/>
                    <a:moveTo>
                      <a:pt x="219" y="220"/>
                    </a:moveTo>
                    <a:lnTo>
                      <a:pt x="218" y="220"/>
                    </a:lnTo>
                    <a:lnTo>
                      <a:pt x="217" y="220"/>
                    </a:lnTo>
                    <a:lnTo>
                      <a:pt x="217" y="221"/>
                    </a:lnTo>
                    <a:lnTo>
                      <a:pt x="217" y="220"/>
                    </a:lnTo>
                    <a:lnTo>
                      <a:pt x="216" y="220"/>
                    </a:lnTo>
                    <a:lnTo>
                      <a:pt x="217" y="220"/>
                    </a:lnTo>
                    <a:lnTo>
                      <a:pt x="218" y="220"/>
                    </a:lnTo>
                    <a:lnTo>
                      <a:pt x="218" y="219"/>
                    </a:lnTo>
                    <a:lnTo>
                      <a:pt x="219" y="220"/>
                    </a:lnTo>
                    <a:close/>
                    <a:moveTo>
                      <a:pt x="409" y="685"/>
                    </a:moveTo>
                    <a:lnTo>
                      <a:pt x="409" y="684"/>
                    </a:lnTo>
                    <a:lnTo>
                      <a:pt x="410" y="683"/>
                    </a:lnTo>
                    <a:lnTo>
                      <a:pt x="411" y="683"/>
                    </a:lnTo>
                    <a:lnTo>
                      <a:pt x="410" y="683"/>
                    </a:lnTo>
                    <a:lnTo>
                      <a:pt x="410" y="684"/>
                    </a:lnTo>
                    <a:lnTo>
                      <a:pt x="410" y="685"/>
                    </a:lnTo>
                    <a:lnTo>
                      <a:pt x="409" y="685"/>
                    </a:lnTo>
                    <a:close/>
                    <a:moveTo>
                      <a:pt x="279" y="405"/>
                    </a:moveTo>
                    <a:lnTo>
                      <a:pt x="280" y="408"/>
                    </a:lnTo>
                    <a:lnTo>
                      <a:pt x="281" y="408"/>
                    </a:lnTo>
                    <a:lnTo>
                      <a:pt x="281" y="406"/>
                    </a:lnTo>
                    <a:lnTo>
                      <a:pt x="281" y="408"/>
                    </a:lnTo>
                    <a:lnTo>
                      <a:pt x="281" y="409"/>
                    </a:lnTo>
                    <a:lnTo>
                      <a:pt x="282" y="410"/>
                    </a:lnTo>
                    <a:lnTo>
                      <a:pt x="279" y="405"/>
                    </a:lnTo>
                    <a:lnTo>
                      <a:pt x="279" y="404"/>
                    </a:lnTo>
                    <a:lnTo>
                      <a:pt x="279" y="405"/>
                    </a:lnTo>
                    <a:close/>
                    <a:moveTo>
                      <a:pt x="422" y="544"/>
                    </a:moveTo>
                    <a:lnTo>
                      <a:pt x="423" y="544"/>
                    </a:lnTo>
                    <a:lnTo>
                      <a:pt x="422" y="544"/>
                    </a:lnTo>
                    <a:lnTo>
                      <a:pt x="422" y="545"/>
                    </a:lnTo>
                    <a:lnTo>
                      <a:pt x="421" y="545"/>
                    </a:lnTo>
                    <a:lnTo>
                      <a:pt x="421" y="544"/>
                    </a:lnTo>
                    <a:lnTo>
                      <a:pt x="421" y="543"/>
                    </a:lnTo>
                    <a:lnTo>
                      <a:pt x="422" y="543"/>
                    </a:lnTo>
                    <a:lnTo>
                      <a:pt x="422" y="544"/>
                    </a:lnTo>
                    <a:close/>
                    <a:moveTo>
                      <a:pt x="553" y="442"/>
                    </a:moveTo>
                    <a:lnTo>
                      <a:pt x="553" y="443"/>
                    </a:lnTo>
                    <a:lnTo>
                      <a:pt x="553" y="444"/>
                    </a:lnTo>
                    <a:lnTo>
                      <a:pt x="552" y="444"/>
                    </a:lnTo>
                    <a:lnTo>
                      <a:pt x="553" y="444"/>
                    </a:lnTo>
                    <a:lnTo>
                      <a:pt x="553" y="446"/>
                    </a:lnTo>
                    <a:lnTo>
                      <a:pt x="552" y="446"/>
                    </a:lnTo>
                    <a:lnTo>
                      <a:pt x="553" y="446"/>
                    </a:lnTo>
                    <a:lnTo>
                      <a:pt x="553" y="447"/>
                    </a:lnTo>
                    <a:lnTo>
                      <a:pt x="553" y="446"/>
                    </a:lnTo>
                    <a:lnTo>
                      <a:pt x="552" y="446"/>
                    </a:lnTo>
                    <a:lnTo>
                      <a:pt x="552" y="444"/>
                    </a:lnTo>
                    <a:lnTo>
                      <a:pt x="552" y="443"/>
                    </a:lnTo>
                    <a:lnTo>
                      <a:pt x="553" y="442"/>
                    </a:lnTo>
                    <a:close/>
                    <a:moveTo>
                      <a:pt x="318" y="395"/>
                    </a:moveTo>
                    <a:lnTo>
                      <a:pt x="319" y="395"/>
                    </a:lnTo>
                    <a:lnTo>
                      <a:pt x="320" y="395"/>
                    </a:lnTo>
                    <a:lnTo>
                      <a:pt x="320" y="396"/>
                    </a:lnTo>
                    <a:lnTo>
                      <a:pt x="318" y="395"/>
                    </a:lnTo>
                    <a:lnTo>
                      <a:pt x="317" y="395"/>
                    </a:lnTo>
                    <a:lnTo>
                      <a:pt x="317" y="393"/>
                    </a:lnTo>
                    <a:lnTo>
                      <a:pt x="318" y="393"/>
                    </a:lnTo>
                    <a:lnTo>
                      <a:pt x="318" y="395"/>
                    </a:lnTo>
                    <a:close/>
                    <a:moveTo>
                      <a:pt x="208" y="403"/>
                    </a:moveTo>
                    <a:lnTo>
                      <a:pt x="208" y="404"/>
                    </a:lnTo>
                    <a:lnTo>
                      <a:pt x="207" y="405"/>
                    </a:lnTo>
                    <a:lnTo>
                      <a:pt x="207" y="404"/>
                    </a:lnTo>
                    <a:lnTo>
                      <a:pt x="206" y="404"/>
                    </a:lnTo>
                    <a:lnTo>
                      <a:pt x="205" y="404"/>
                    </a:lnTo>
                    <a:lnTo>
                      <a:pt x="206" y="404"/>
                    </a:lnTo>
                    <a:lnTo>
                      <a:pt x="207" y="404"/>
                    </a:lnTo>
                    <a:lnTo>
                      <a:pt x="207" y="403"/>
                    </a:lnTo>
                    <a:lnTo>
                      <a:pt x="208" y="403"/>
                    </a:lnTo>
                    <a:close/>
                    <a:moveTo>
                      <a:pt x="503" y="450"/>
                    </a:moveTo>
                    <a:lnTo>
                      <a:pt x="504" y="450"/>
                    </a:lnTo>
                    <a:lnTo>
                      <a:pt x="505" y="450"/>
                    </a:lnTo>
                    <a:lnTo>
                      <a:pt x="505" y="451"/>
                    </a:lnTo>
                    <a:lnTo>
                      <a:pt x="505" y="452"/>
                    </a:lnTo>
                    <a:lnTo>
                      <a:pt x="504" y="451"/>
                    </a:lnTo>
                    <a:lnTo>
                      <a:pt x="503" y="451"/>
                    </a:lnTo>
                    <a:lnTo>
                      <a:pt x="503" y="450"/>
                    </a:lnTo>
                    <a:close/>
                    <a:moveTo>
                      <a:pt x="197" y="360"/>
                    </a:moveTo>
                    <a:lnTo>
                      <a:pt x="196" y="360"/>
                    </a:lnTo>
                    <a:lnTo>
                      <a:pt x="197" y="359"/>
                    </a:lnTo>
                    <a:lnTo>
                      <a:pt x="197" y="358"/>
                    </a:lnTo>
                    <a:lnTo>
                      <a:pt x="197" y="360"/>
                    </a:lnTo>
                    <a:close/>
                    <a:moveTo>
                      <a:pt x="567" y="550"/>
                    </a:moveTo>
                    <a:lnTo>
                      <a:pt x="566" y="551"/>
                    </a:lnTo>
                    <a:lnTo>
                      <a:pt x="566" y="550"/>
                    </a:lnTo>
                    <a:lnTo>
                      <a:pt x="565" y="550"/>
                    </a:lnTo>
                    <a:lnTo>
                      <a:pt x="565" y="549"/>
                    </a:lnTo>
                    <a:lnTo>
                      <a:pt x="566" y="550"/>
                    </a:lnTo>
                    <a:lnTo>
                      <a:pt x="567" y="550"/>
                    </a:lnTo>
                    <a:close/>
                    <a:moveTo>
                      <a:pt x="319" y="456"/>
                    </a:moveTo>
                    <a:lnTo>
                      <a:pt x="321" y="456"/>
                    </a:lnTo>
                    <a:lnTo>
                      <a:pt x="319" y="456"/>
                    </a:lnTo>
                    <a:lnTo>
                      <a:pt x="318" y="456"/>
                    </a:lnTo>
                    <a:lnTo>
                      <a:pt x="318" y="457"/>
                    </a:lnTo>
                    <a:lnTo>
                      <a:pt x="319" y="457"/>
                    </a:lnTo>
                    <a:lnTo>
                      <a:pt x="318" y="457"/>
                    </a:lnTo>
                    <a:lnTo>
                      <a:pt x="317" y="457"/>
                    </a:lnTo>
                    <a:lnTo>
                      <a:pt x="317" y="456"/>
                    </a:lnTo>
                    <a:lnTo>
                      <a:pt x="318" y="456"/>
                    </a:lnTo>
                    <a:lnTo>
                      <a:pt x="319" y="456"/>
                    </a:lnTo>
                    <a:close/>
                    <a:moveTo>
                      <a:pt x="475" y="359"/>
                    </a:moveTo>
                    <a:lnTo>
                      <a:pt x="474" y="359"/>
                    </a:lnTo>
                    <a:lnTo>
                      <a:pt x="474" y="358"/>
                    </a:lnTo>
                    <a:lnTo>
                      <a:pt x="475" y="358"/>
                    </a:lnTo>
                    <a:lnTo>
                      <a:pt x="476" y="358"/>
                    </a:lnTo>
                    <a:lnTo>
                      <a:pt x="476" y="359"/>
                    </a:lnTo>
                    <a:lnTo>
                      <a:pt x="475" y="359"/>
                    </a:lnTo>
                    <a:close/>
                    <a:moveTo>
                      <a:pt x="245" y="260"/>
                    </a:moveTo>
                    <a:lnTo>
                      <a:pt x="247" y="260"/>
                    </a:lnTo>
                    <a:lnTo>
                      <a:pt x="247" y="262"/>
                    </a:lnTo>
                    <a:lnTo>
                      <a:pt x="245" y="262"/>
                    </a:lnTo>
                    <a:lnTo>
                      <a:pt x="245" y="260"/>
                    </a:lnTo>
                    <a:close/>
                    <a:moveTo>
                      <a:pt x="414" y="373"/>
                    </a:moveTo>
                    <a:lnTo>
                      <a:pt x="415" y="374"/>
                    </a:lnTo>
                    <a:lnTo>
                      <a:pt x="412" y="374"/>
                    </a:lnTo>
                    <a:lnTo>
                      <a:pt x="412" y="373"/>
                    </a:lnTo>
                    <a:lnTo>
                      <a:pt x="413" y="373"/>
                    </a:lnTo>
                    <a:lnTo>
                      <a:pt x="414" y="373"/>
                    </a:lnTo>
                    <a:close/>
                    <a:moveTo>
                      <a:pt x="227" y="398"/>
                    </a:moveTo>
                    <a:lnTo>
                      <a:pt x="228" y="398"/>
                    </a:lnTo>
                    <a:lnTo>
                      <a:pt x="229" y="398"/>
                    </a:lnTo>
                    <a:lnTo>
                      <a:pt x="228" y="399"/>
                    </a:lnTo>
                    <a:lnTo>
                      <a:pt x="227" y="398"/>
                    </a:lnTo>
                    <a:lnTo>
                      <a:pt x="227" y="399"/>
                    </a:lnTo>
                    <a:lnTo>
                      <a:pt x="226" y="399"/>
                    </a:lnTo>
                    <a:lnTo>
                      <a:pt x="226" y="398"/>
                    </a:lnTo>
                    <a:lnTo>
                      <a:pt x="227" y="398"/>
                    </a:lnTo>
                    <a:close/>
                    <a:moveTo>
                      <a:pt x="539" y="507"/>
                    </a:moveTo>
                    <a:lnTo>
                      <a:pt x="539" y="508"/>
                    </a:lnTo>
                    <a:lnTo>
                      <a:pt x="538" y="508"/>
                    </a:lnTo>
                    <a:lnTo>
                      <a:pt x="538" y="507"/>
                    </a:lnTo>
                    <a:lnTo>
                      <a:pt x="537" y="508"/>
                    </a:lnTo>
                    <a:lnTo>
                      <a:pt x="536" y="508"/>
                    </a:lnTo>
                    <a:lnTo>
                      <a:pt x="535" y="508"/>
                    </a:lnTo>
                    <a:lnTo>
                      <a:pt x="532" y="510"/>
                    </a:lnTo>
                    <a:lnTo>
                      <a:pt x="532" y="511"/>
                    </a:lnTo>
                    <a:lnTo>
                      <a:pt x="533" y="511"/>
                    </a:lnTo>
                    <a:lnTo>
                      <a:pt x="532" y="511"/>
                    </a:lnTo>
                    <a:lnTo>
                      <a:pt x="532" y="510"/>
                    </a:lnTo>
                    <a:lnTo>
                      <a:pt x="533" y="510"/>
                    </a:lnTo>
                    <a:lnTo>
                      <a:pt x="535" y="508"/>
                    </a:lnTo>
                    <a:lnTo>
                      <a:pt x="536" y="508"/>
                    </a:lnTo>
                    <a:lnTo>
                      <a:pt x="537" y="507"/>
                    </a:lnTo>
                    <a:lnTo>
                      <a:pt x="538" y="507"/>
                    </a:lnTo>
                    <a:lnTo>
                      <a:pt x="539" y="507"/>
                    </a:lnTo>
                    <a:close/>
                    <a:moveTo>
                      <a:pt x="178" y="405"/>
                    </a:moveTo>
                    <a:lnTo>
                      <a:pt x="179" y="405"/>
                    </a:lnTo>
                    <a:lnTo>
                      <a:pt x="178" y="405"/>
                    </a:lnTo>
                    <a:lnTo>
                      <a:pt x="178" y="406"/>
                    </a:lnTo>
                    <a:lnTo>
                      <a:pt x="177" y="406"/>
                    </a:lnTo>
                    <a:lnTo>
                      <a:pt x="177" y="405"/>
                    </a:lnTo>
                    <a:lnTo>
                      <a:pt x="178" y="405"/>
                    </a:lnTo>
                    <a:lnTo>
                      <a:pt x="177" y="405"/>
                    </a:lnTo>
                    <a:lnTo>
                      <a:pt x="178" y="405"/>
                    </a:lnTo>
                    <a:lnTo>
                      <a:pt x="178" y="404"/>
                    </a:lnTo>
                    <a:lnTo>
                      <a:pt x="178" y="405"/>
                    </a:lnTo>
                    <a:close/>
                    <a:moveTo>
                      <a:pt x="279" y="435"/>
                    </a:moveTo>
                    <a:lnTo>
                      <a:pt x="279" y="436"/>
                    </a:lnTo>
                    <a:lnTo>
                      <a:pt x="279" y="435"/>
                    </a:lnTo>
                    <a:lnTo>
                      <a:pt x="278" y="434"/>
                    </a:lnTo>
                    <a:lnTo>
                      <a:pt x="279" y="434"/>
                    </a:lnTo>
                    <a:lnTo>
                      <a:pt x="280" y="435"/>
                    </a:lnTo>
                    <a:lnTo>
                      <a:pt x="279" y="435"/>
                    </a:lnTo>
                    <a:close/>
                    <a:moveTo>
                      <a:pt x="179" y="356"/>
                    </a:moveTo>
                    <a:lnTo>
                      <a:pt x="181" y="356"/>
                    </a:lnTo>
                    <a:lnTo>
                      <a:pt x="181" y="357"/>
                    </a:lnTo>
                    <a:lnTo>
                      <a:pt x="179" y="357"/>
                    </a:lnTo>
                    <a:lnTo>
                      <a:pt x="179" y="359"/>
                    </a:lnTo>
                    <a:lnTo>
                      <a:pt x="179" y="361"/>
                    </a:lnTo>
                    <a:lnTo>
                      <a:pt x="180" y="361"/>
                    </a:lnTo>
                    <a:lnTo>
                      <a:pt x="181" y="361"/>
                    </a:lnTo>
                    <a:lnTo>
                      <a:pt x="180" y="361"/>
                    </a:lnTo>
                    <a:lnTo>
                      <a:pt x="180" y="362"/>
                    </a:lnTo>
                    <a:lnTo>
                      <a:pt x="180" y="363"/>
                    </a:lnTo>
                    <a:lnTo>
                      <a:pt x="180" y="361"/>
                    </a:lnTo>
                    <a:lnTo>
                      <a:pt x="179" y="361"/>
                    </a:lnTo>
                    <a:lnTo>
                      <a:pt x="179" y="359"/>
                    </a:lnTo>
                    <a:lnTo>
                      <a:pt x="179" y="357"/>
                    </a:lnTo>
                    <a:lnTo>
                      <a:pt x="178" y="357"/>
                    </a:lnTo>
                    <a:lnTo>
                      <a:pt x="179" y="357"/>
                    </a:lnTo>
                    <a:lnTo>
                      <a:pt x="178" y="357"/>
                    </a:lnTo>
                    <a:lnTo>
                      <a:pt x="178" y="356"/>
                    </a:lnTo>
                    <a:lnTo>
                      <a:pt x="179" y="356"/>
                    </a:lnTo>
                    <a:close/>
                    <a:moveTo>
                      <a:pt x="111" y="374"/>
                    </a:moveTo>
                    <a:lnTo>
                      <a:pt x="112" y="374"/>
                    </a:lnTo>
                    <a:lnTo>
                      <a:pt x="112" y="375"/>
                    </a:lnTo>
                    <a:lnTo>
                      <a:pt x="111" y="375"/>
                    </a:lnTo>
                    <a:lnTo>
                      <a:pt x="111" y="374"/>
                    </a:lnTo>
                    <a:close/>
                    <a:moveTo>
                      <a:pt x="190" y="358"/>
                    </a:moveTo>
                    <a:lnTo>
                      <a:pt x="189" y="358"/>
                    </a:lnTo>
                    <a:lnTo>
                      <a:pt x="188" y="357"/>
                    </a:lnTo>
                    <a:lnTo>
                      <a:pt x="189" y="357"/>
                    </a:lnTo>
                    <a:lnTo>
                      <a:pt x="188" y="357"/>
                    </a:lnTo>
                    <a:lnTo>
                      <a:pt x="189" y="357"/>
                    </a:lnTo>
                    <a:lnTo>
                      <a:pt x="189" y="356"/>
                    </a:lnTo>
                    <a:lnTo>
                      <a:pt x="189" y="357"/>
                    </a:lnTo>
                    <a:lnTo>
                      <a:pt x="190" y="357"/>
                    </a:lnTo>
                    <a:lnTo>
                      <a:pt x="190" y="358"/>
                    </a:lnTo>
                    <a:close/>
                    <a:moveTo>
                      <a:pt x="255" y="397"/>
                    </a:moveTo>
                    <a:lnTo>
                      <a:pt x="252" y="397"/>
                    </a:lnTo>
                    <a:lnTo>
                      <a:pt x="253" y="397"/>
                    </a:lnTo>
                    <a:lnTo>
                      <a:pt x="253" y="396"/>
                    </a:lnTo>
                    <a:lnTo>
                      <a:pt x="255" y="397"/>
                    </a:lnTo>
                    <a:close/>
                    <a:moveTo>
                      <a:pt x="232" y="215"/>
                    </a:moveTo>
                    <a:lnTo>
                      <a:pt x="233" y="215"/>
                    </a:lnTo>
                    <a:lnTo>
                      <a:pt x="233" y="213"/>
                    </a:lnTo>
                    <a:lnTo>
                      <a:pt x="233" y="215"/>
                    </a:lnTo>
                    <a:lnTo>
                      <a:pt x="232" y="215"/>
                    </a:lnTo>
                    <a:lnTo>
                      <a:pt x="231" y="216"/>
                    </a:lnTo>
                    <a:lnTo>
                      <a:pt x="231" y="215"/>
                    </a:lnTo>
                    <a:lnTo>
                      <a:pt x="232" y="213"/>
                    </a:lnTo>
                    <a:lnTo>
                      <a:pt x="232" y="215"/>
                    </a:lnTo>
                    <a:lnTo>
                      <a:pt x="232" y="213"/>
                    </a:lnTo>
                    <a:lnTo>
                      <a:pt x="232" y="215"/>
                    </a:lnTo>
                    <a:close/>
                    <a:moveTo>
                      <a:pt x="412" y="377"/>
                    </a:moveTo>
                    <a:lnTo>
                      <a:pt x="411" y="377"/>
                    </a:lnTo>
                    <a:lnTo>
                      <a:pt x="411" y="378"/>
                    </a:lnTo>
                    <a:lnTo>
                      <a:pt x="410" y="378"/>
                    </a:lnTo>
                    <a:lnTo>
                      <a:pt x="409" y="378"/>
                    </a:lnTo>
                    <a:lnTo>
                      <a:pt x="410" y="378"/>
                    </a:lnTo>
                    <a:lnTo>
                      <a:pt x="411" y="378"/>
                    </a:lnTo>
                    <a:lnTo>
                      <a:pt x="411" y="377"/>
                    </a:lnTo>
                    <a:lnTo>
                      <a:pt x="409" y="378"/>
                    </a:lnTo>
                    <a:lnTo>
                      <a:pt x="408" y="378"/>
                    </a:lnTo>
                    <a:lnTo>
                      <a:pt x="407" y="378"/>
                    </a:lnTo>
                    <a:lnTo>
                      <a:pt x="407" y="377"/>
                    </a:lnTo>
                    <a:lnTo>
                      <a:pt x="407" y="378"/>
                    </a:lnTo>
                    <a:lnTo>
                      <a:pt x="408" y="378"/>
                    </a:lnTo>
                    <a:lnTo>
                      <a:pt x="408" y="377"/>
                    </a:lnTo>
                    <a:lnTo>
                      <a:pt x="408" y="378"/>
                    </a:lnTo>
                    <a:lnTo>
                      <a:pt x="410" y="377"/>
                    </a:lnTo>
                    <a:lnTo>
                      <a:pt x="411" y="377"/>
                    </a:lnTo>
                    <a:lnTo>
                      <a:pt x="412" y="377"/>
                    </a:lnTo>
                    <a:close/>
                    <a:moveTo>
                      <a:pt x="567" y="456"/>
                    </a:moveTo>
                    <a:lnTo>
                      <a:pt x="568" y="456"/>
                    </a:lnTo>
                    <a:lnTo>
                      <a:pt x="567" y="456"/>
                    </a:lnTo>
                    <a:lnTo>
                      <a:pt x="567" y="457"/>
                    </a:lnTo>
                    <a:lnTo>
                      <a:pt x="567" y="456"/>
                    </a:lnTo>
                    <a:lnTo>
                      <a:pt x="567" y="457"/>
                    </a:lnTo>
                    <a:lnTo>
                      <a:pt x="566" y="457"/>
                    </a:lnTo>
                    <a:lnTo>
                      <a:pt x="565" y="457"/>
                    </a:lnTo>
                    <a:lnTo>
                      <a:pt x="566" y="457"/>
                    </a:lnTo>
                    <a:lnTo>
                      <a:pt x="565" y="457"/>
                    </a:lnTo>
                    <a:lnTo>
                      <a:pt x="565" y="459"/>
                    </a:lnTo>
                    <a:lnTo>
                      <a:pt x="565" y="457"/>
                    </a:lnTo>
                    <a:lnTo>
                      <a:pt x="566" y="457"/>
                    </a:lnTo>
                    <a:lnTo>
                      <a:pt x="567" y="456"/>
                    </a:lnTo>
                    <a:close/>
                    <a:moveTo>
                      <a:pt x="157" y="397"/>
                    </a:moveTo>
                    <a:lnTo>
                      <a:pt x="160" y="397"/>
                    </a:lnTo>
                    <a:lnTo>
                      <a:pt x="160" y="399"/>
                    </a:lnTo>
                    <a:lnTo>
                      <a:pt x="157" y="399"/>
                    </a:lnTo>
                    <a:lnTo>
                      <a:pt x="157" y="397"/>
                    </a:lnTo>
                    <a:close/>
                    <a:moveTo>
                      <a:pt x="222" y="405"/>
                    </a:moveTo>
                    <a:lnTo>
                      <a:pt x="220" y="404"/>
                    </a:lnTo>
                    <a:lnTo>
                      <a:pt x="221" y="404"/>
                    </a:lnTo>
                    <a:lnTo>
                      <a:pt x="221" y="403"/>
                    </a:lnTo>
                    <a:lnTo>
                      <a:pt x="221" y="404"/>
                    </a:lnTo>
                    <a:lnTo>
                      <a:pt x="222" y="404"/>
                    </a:lnTo>
                    <a:lnTo>
                      <a:pt x="222" y="405"/>
                    </a:lnTo>
                    <a:close/>
                    <a:moveTo>
                      <a:pt x="437" y="396"/>
                    </a:moveTo>
                    <a:lnTo>
                      <a:pt x="438" y="396"/>
                    </a:lnTo>
                    <a:lnTo>
                      <a:pt x="439" y="396"/>
                    </a:lnTo>
                    <a:lnTo>
                      <a:pt x="438" y="396"/>
                    </a:lnTo>
                    <a:lnTo>
                      <a:pt x="438" y="397"/>
                    </a:lnTo>
                    <a:lnTo>
                      <a:pt x="437" y="397"/>
                    </a:lnTo>
                    <a:lnTo>
                      <a:pt x="437" y="396"/>
                    </a:lnTo>
                    <a:lnTo>
                      <a:pt x="437" y="395"/>
                    </a:lnTo>
                    <a:lnTo>
                      <a:pt x="437" y="396"/>
                    </a:lnTo>
                    <a:close/>
                    <a:moveTo>
                      <a:pt x="570" y="555"/>
                    </a:moveTo>
                    <a:lnTo>
                      <a:pt x="573" y="555"/>
                    </a:lnTo>
                    <a:lnTo>
                      <a:pt x="573" y="556"/>
                    </a:lnTo>
                    <a:lnTo>
                      <a:pt x="570" y="556"/>
                    </a:lnTo>
                    <a:lnTo>
                      <a:pt x="570" y="555"/>
                    </a:lnTo>
                    <a:close/>
                    <a:moveTo>
                      <a:pt x="228" y="229"/>
                    </a:moveTo>
                    <a:lnTo>
                      <a:pt x="230" y="229"/>
                    </a:lnTo>
                    <a:lnTo>
                      <a:pt x="230" y="231"/>
                    </a:lnTo>
                    <a:lnTo>
                      <a:pt x="228" y="231"/>
                    </a:lnTo>
                    <a:lnTo>
                      <a:pt x="228" y="229"/>
                    </a:lnTo>
                    <a:close/>
                    <a:moveTo>
                      <a:pt x="584" y="454"/>
                    </a:moveTo>
                    <a:lnTo>
                      <a:pt x="584" y="455"/>
                    </a:lnTo>
                    <a:lnTo>
                      <a:pt x="584" y="456"/>
                    </a:lnTo>
                    <a:lnTo>
                      <a:pt x="583" y="456"/>
                    </a:lnTo>
                    <a:lnTo>
                      <a:pt x="583" y="455"/>
                    </a:lnTo>
                    <a:lnTo>
                      <a:pt x="583" y="456"/>
                    </a:lnTo>
                    <a:lnTo>
                      <a:pt x="583" y="455"/>
                    </a:lnTo>
                    <a:lnTo>
                      <a:pt x="584" y="455"/>
                    </a:lnTo>
                    <a:lnTo>
                      <a:pt x="583" y="455"/>
                    </a:lnTo>
                    <a:lnTo>
                      <a:pt x="583" y="454"/>
                    </a:lnTo>
                    <a:lnTo>
                      <a:pt x="584" y="454"/>
                    </a:lnTo>
                    <a:lnTo>
                      <a:pt x="583" y="454"/>
                    </a:lnTo>
                    <a:lnTo>
                      <a:pt x="584" y="454"/>
                    </a:lnTo>
                    <a:lnTo>
                      <a:pt x="583" y="454"/>
                    </a:lnTo>
                    <a:lnTo>
                      <a:pt x="584" y="454"/>
                    </a:lnTo>
                    <a:close/>
                    <a:moveTo>
                      <a:pt x="412" y="372"/>
                    </a:moveTo>
                    <a:lnTo>
                      <a:pt x="412" y="373"/>
                    </a:lnTo>
                    <a:lnTo>
                      <a:pt x="413" y="373"/>
                    </a:lnTo>
                    <a:lnTo>
                      <a:pt x="412" y="373"/>
                    </a:lnTo>
                    <a:lnTo>
                      <a:pt x="411" y="374"/>
                    </a:lnTo>
                    <a:lnTo>
                      <a:pt x="410" y="373"/>
                    </a:lnTo>
                    <a:lnTo>
                      <a:pt x="411" y="373"/>
                    </a:lnTo>
                    <a:lnTo>
                      <a:pt x="411" y="372"/>
                    </a:lnTo>
                    <a:lnTo>
                      <a:pt x="412" y="372"/>
                    </a:lnTo>
                    <a:close/>
                    <a:moveTo>
                      <a:pt x="617" y="513"/>
                    </a:moveTo>
                    <a:lnTo>
                      <a:pt x="616" y="513"/>
                    </a:lnTo>
                    <a:lnTo>
                      <a:pt x="617" y="512"/>
                    </a:lnTo>
                    <a:lnTo>
                      <a:pt x="616" y="512"/>
                    </a:lnTo>
                    <a:lnTo>
                      <a:pt x="616" y="511"/>
                    </a:lnTo>
                    <a:lnTo>
                      <a:pt x="617" y="511"/>
                    </a:lnTo>
                    <a:lnTo>
                      <a:pt x="617" y="512"/>
                    </a:lnTo>
                    <a:lnTo>
                      <a:pt x="617" y="513"/>
                    </a:lnTo>
                    <a:close/>
                    <a:moveTo>
                      <a:pt x="549" y="552"/>
                    </a:moveTo>
                    <a:lnTo>
                      <a:pt x="548" y="553"/>
                    </a:lnTo>
                    <a:lnTo>
                      <a:pt x="546" y="553"/>
                    </a:lnTo>
                    <a:lnTo>
                      <a:pt x="546" y="552"/>
                    </a:lnTo>
                    <a:lnTo>
                      <a:pt x="548" y="552"/>
                    </a:lnTo>
                    <a:lnTo>
                      <a:pt x="549" y="552"/>
                    </a:lnTo>
                    <a:lnTo>
                      <a:pt x="550" y="551"/>
                    </a:lnTo>
                    <a:lnTo>
                      <a:pt x="550" y="552"/>
                    </a:lnTo>
                    <a:lnTo>
                      <a:pt x="549" y="552"/>
                    </a:lnTo>
                    <a:close/>
                    <a:moveTo>
                      <a:pt x="125" y="403"/>
                    </a:moveTo>
                    <a:lnTo>
                      <a:pt x="125" y="402"/>
                    </a:lnTo>
                    <a:lnTo>
                      <a:pt x="124" y="401"/>
                    </a:lnTo>
                    <a:lnTo>
                      <a:pt x="125" y="401"/>
                    </a:lnTo>
                    <a:lnTo>
                      <a:pt x="125" y="402"/>
                    </a:lnTo>
                    <a:lnTo>
                      <a:pt x="125" y="403"/>
                    </a:lnTo>
                    <a:close/>
                    <a:moveTo>
                      <a:pt x="420" y="372"/>
                    </a:moveTo>
                    <a:lnTo>
                      <a:pt x="421" y="373"/>
                    </a:lnTo>
                    <a:lnTo>
                      <a:pt x="421" y="374"/>
                    </a:lnTo>
                    <a:lnTo>
                      <a:pt x="420" y="374"/>
                    </a:lnTo>
                    <a:lnTo>
                      <a:pt x="420" y="373"/>
                    </a:lnTo>
                    <a:lnTo>
                      <a:pt x="420" y="374"/>
                    </a:lnTo>
                    <a:lnTo>
                      <a:pt x="421" y="374"/>
                    </a:lnTo>
                    <a:lnTo>
                      <a:pt x="420" y="373"/>
                    </a:lnTo>
                    <a:lnTo>
                      <a:pt x="421" y="373"/>
                    </a:lnTo>
                    <a:lnTo>
                      <a:pt x="420" y="373"/>
                    </a:lnTo>
                    <a:lnTo>
                      <a:pt x="420" y="372"/>
                    </a:lnTo>
                    <a:lnTo>
                      <a:pt x="420" y="373"/>
                    </a:lnTo>
                    <a:lnTo>
                      <a:pt x="420" y="372"/>
                    </a:lnTo>
                    <a:lnTo>
                      <a:pt x="419" y="372"/>
                    </a:lnTo>
                    <a:lnTo>
                      <a:pt x="420" y="372"/>
                    </a:lnTo>
                    <a:close/>
                    <a:moveTo>
                      <a:pt x="475" y="422"/>
                    </a:moveTo>
                    <a:lnTo>
                      <a:pt x="476" y="423"/>
                    </a:lnTo>
                    <a:lnTo>
                      <a:pt x="477" y="423"/>
                    </a:lnTo>
                    <a:lnTo>
                      <a:pt x="476" y="423"/>
                    </a:lnTo>
                    <a:lnTo>
                      <a:pt x="475" y="423"/>
                    </a:lnTo>
                    <a:lnTo>
                      <a:pt x="475" y="422"/>
                    </a:lnTo>
                    <a:lnTo>
                      <a:pt x="475" y="423"/>
                    </a:lnTo>
                    <a:lnTo>
                      <a:pt x="476" y="423"/>
                    </a:lnTo>
                    <a:lnTo>
                      <a:pt x="475" y="423"/>
                    </a:lnTo>
                    <a:lnTo>
                      <a:pt x="475" y="422"/>
                    </a:lnTo>
                    <a:lnTo>
                      <a:pt x="474" y="422"/>
                    </a:lnTo>
                    <a:lnTo>
                      <a:pt x="475" y="422"/>
                    </a:lnTo>
                    <a:close/>
                    <a:moveTo>
                      <a:pt x="192" y="402"/>
                    </a:moveTo>
                    <a:lnTo>
                      <a:pt x="194" y="402"/>
                    </a:lnTo>
                    <a:lnTo>
                      <a:pt x="194" y="403"/>
                    </a:lnTo>
                    <a:lnTo>
                      <a:pt x="192" y="403"/>
                    </a:lnTo>
                    <a:lnTo>
                      <a:pt x="192" y="402"/>
                    </a:lnTo>
                    <a:close/>
                    <a:moveTo>
                      <a:pt x="233" y="399"/>
                    </a:moveTo>
                    <a:lnTo>
                      <a:pt x="229" y="400"/>
                    </a:lnTo>
                    <a:lnTo>
                      <a:pt x="229" y="399"/>
                    </a:lnTo>
                    <a:lnTo>
                      <a:pt x="229" y="400"/>
                    </a:lnTo>
                    <a:lnTo>
                      <a:pt x="232" y="399"/>
                    </a:lnTo>
                    <a:lnTo>
                      <a:pt x="233" y="399"/>
                    </a:lnTo>
                    <a:close/>
                    <a:moveTo>
                      <a:pt x="150" y="356"/>
                    </a:moveTo>
                    <a:lnTo>
                      <a:pt x="150" y="357"/>
                    </a:lnTo>
                    <a:lnTo>
                      <a:pt x="149" y="357"/>
                    </a:lnTo>
                    <a:lnTo>
                      <a:pt x="149" y="358"/>
                    </a:lnTo>
                    <a:lnTo>
                      <a:pt x="149" y="357"/>
                    </a:lnTo>
                    <a:lnTo>
                      <a:pt x="149" y="356"/>
                    </a:lnTo>
                    <a:lnTo>
                      <a:pt x="150" y="356"/>
                    </a:lnTo>
                    <a:close/>
                    <a:moveTo>
                      <a:pt x="254" y="380"/>
                    </a:moveTo>
                    <a:lnTo>
                      <a:pt x="255" y="382"/>
                    </a:lnTo>
                    <a:lnTo>
                      <a:pt x="255" y="380"/>
                    </a:lnTo>
                    <a:lnTo>
                      <a:pt x="256" y="380"/>
                    </a:lnTo>
                    <a:lnTo>
                      <a:pt x="256" y="382"/>
                    </a:lnTo>
                    <a:lnTo>
                      <a:pt x="256" y="383"/>
                    </a:lnTo>
                    <a:lnTo>
                      <a:pt x="255" y="382"/>
                    </a:lnTo>
                    <a:lnTo>
                      <a:pt x="254" y="380"/>
                    </a:lnTo>
                    <a:close/>
                    <a:moveTo>
                      <a:pt x="433" y="390"/>
                    </a:moveTo>
                    <a:lnTo>
                      <a:pt x="432" y="390"/>
                    </a:lnTo>
                    <a:lnTo>
                      <a:pt x="431" y="390"/>
                    </a:lnTo>
                    <a:lnTo>
                      <a:pt x="432" y="390"/>
                    </a:lnTo>
                    <a:lnTo>
                      <a:pt x="433" y="390"/>
                    </a:lnTo>
                    <a:close/>
                    <a:moveTo>
                      <a:pt x="289" y="389"/>
                    </a:moveTo>
                    <a:lnTo>
                      <a:pt x="290" y="389"/>
                    </a:lnTo>
                    <a:lnTo>
                      <a:pt x="290" y="390"/>
                    </a:lnTo>
                    <a:lnTo>
                      <a:pt x="289" y="390"/>
                    </a:lnTo>
                    <a:lnTo>
                      <a:pt x="287" y="389"/>
                    </a:lnTo>
                    <a:lnTo>
                      <a:pt x="289" y="389"/>
                    </a:lnTo>
                    <a:close/>
                    <a:moveTo>
                      <a:pt x="177" y="414"/>
                    </a:moveTo>
                    <a:lnTo>
                      <a:pt x="176" y="415"/>
                    </a:lnTo>
                    <a:lnTo>
                      <a:pt x="175" y="415"/>
                    </a:lnTo>
                    <a:lnTo>
                      <a:pt x="174" y="415"/>
                    </a:lnTo>
                    <a:lnTo>
                      <a:pt x="173" y="415"/>
                    </a:lnTo>
                    <a:lnTo>
                      <a:pt x="174" y="415"/>
                    </a:lnTo>
                    <a:lnTo>
                      <a:pt x="175" y="415"/>
                    </a:lnTo>
                    <a:lnTo>
                      <a:pt x="175" y="414"/>
                    </a:lnTo>
                    <a:lnTo>
                      <a:pt x="176" y="414"/>
                    </a:lnTo>
                    <a:lnTo>
                      <a:pt x="176" y="415"/>
                    </a:lnTo>
                    <a:lnTo>
                      <a:pt x="177" y="414"/>
                    </a:lnTo>
                    <a:lnTo>
                      <a:pt x="178" y="414"/>
                    </a:lnTo>
                    <a:lnTo>
                      <a:pt x="177" y="414"/>
                    </a:lnTo>
                    <a:close/>
                    <a:moveTo>
                      <a:pt x="278" y="393"/>
                    </a:moveTo>
                    <a:lnTo>
                      <a:pt x="278" y="395"/>
                    </a:lnTo>
                    <a:lnTo>
                      <a:pt x="277" y="395"/>
                    </a:lnTo>
                    <a:lnTo>
                      <a:pt x="277" y="393"/>
                    </a:lnTo>
                    <a:lnTo>
                      <a:pt x="276" y="393"/>
                    </a:lnTo>
                    <a:lnTo>
                      <a:pt x="277" y="393"/>
                    </a:lnTo>
                    <a:lnTo>
                      <a:pt x="278" y="393"/>
                    </a:lnTo>
                    <a:close/>
                    <a:moveTo>
                      <a:pt x="290" y="383"/>
                    </a:moveTo>
                    <a:lnTo>
                      <a:pt x="290" y="384"/>
                    </a:lnTo>
                    <a:lnTo>
                      <a:pt x="290" y="383"/>
                    </a:lnTo>
                    <a:lnTo>
                      <a:pt x="290" y="384"/>
                    </a:lnTo>
                    <a:lnTo>
                      <a:pt x="289" y="384"/>
                    </a:lnTo>
                    <a:lnTo>
                      <a:pt x="290" y="384"/>
                    </a:lnTo>
                    <a:lnTo>
                      <a:pt x="290" y="385"/>
                    </a:lnTo>
                    <a:lnTo>
                      <a:pt x="289" y="384"/>
                    </a:lnTo>
                    <a:lnTo>
                      <a:pt x="289" y="385"/>
                    </a:lnTo>
                    <a:lnTo>
                      <a:pt x="289" y="384"/>
                    </a:lnTo>
                    <a:lnTo>
                      <a:pt x="289" y="383"/>
                    </a:lnTo>
                    <a:lnTo>
                      <a:pt x="290" y="383"/>
                    </a:lnTo>
                    <a:close/>
                    <a:moveTo>
                      <a:pt x="177" y="361"/>
                    </a:moveTo>
                    <a:lnTo>
                      <a:pt x="178" y="361"/>
                    </a:lnTo>
                    <a:lnTo>
                      <a:pt x="178" y="362"/>
                    </a:lnTo>
                    <a:lnTo>
                      <a:pt x="177" y="362"/>
                    </a:lnTo>
                    <a:lnTo>
                      <a:pt x="177" y="361"/>
                    </a:lnTo>
                    <a:close/>
                    <a:moveTo>
                      <a:pt x="550" y="521"/>
                    </a:moveTo>
                    <a:lnTo>
                      <a:pt x="550" y="523"/>
                    </a:lnTo>
                    <a:lnTo>
                      <a:pt x="550" y="524"/>
                    </a:lnTo>
                    <a:lnTo>
                      <a:pt x="550" y="523"/>
                    </a:lnTo>
                    <a:lnTo>
                      <a:pt x="549" y="523"/>
                    </a:lnTo>
                    <a:lnTo>
                      <a:pt x="549" y="521"/>
                    </a:lnTo>
                    <a:lnTo>
                      <a:pt x="550" y="521"/>
                    </a:lnTo>
                    <a:lnTo>
                      <a:pt x="549" y="521"/>
                    </a:lnTo>
                    <a:lnTo>
                      <a:pt x="550" y="521"/>
                    </a:lnTo>
                    <a:close/>
                    <a:moveTo>
                      <a:pt x="244" y="389"/>
                    </a:moveTo>
                    <a:lnTo>
                      <a:pt x="244" y="390"/>
                    </a:lnTo>
                    <a:lnTo>
                      <a:pt x="243" y="390"/>
                    </a:lnTo>
                    <a:lnTo>
                      <a:pt x="243" y="389"/>
                    </a:lnTo>
                    <a:lnTo>
                      <a:pt x="244" y="389"/>
                    </a:lnTo>
                    <a:lnTo>
                      <a:pt x="245" y="389"/>
                    </a:lnTo>
                    <a:lnTo>
                      <a:pt x="244" y="389"/>
                    </a:lnTo>
                    <a:close/>
                    <a:moveTo>
                      <a:pt x="552" y="513"/>
                    </a:moveTo>
                    <a:lnTo>
                      <a:pt x="551" y="513"/>
                    </a:lnTo>
                    <a:lnTo>
                      <a:pt x="551" y="512"/>
                    </a:lnTo>
                    <a:lnTo>
                      <a:pt x="553" y="512"/>
                    </a:lnTo>
                    <a:lnTo>
                      <a:pt x="553" y="513"/>
                    </a:lnTo>
                    <a:lnTo>
                      <a:pt x="552" y="513"/>
                    </a:lnTo>
                    <a:close/>
                    <a:moveTo>
                      <a:pt x="291" y="454"/>
                    </a:moveTo>
                    <a:lnTo>
                      <a:pt x="289" y="454"/>
                    </a:lnTo>
                    <a:lnTo>
                      <a:pt x="290" y="453"/>
                    </a:lnTo>
                    <a:lnTo>
                      <a:pt x="291" y="453"/>
                    </a:lnTo>
                    <a:lnTo>
                      <a:pt x="291" y="454"/>
                    </a:lnTo>
                    <a:close/>
                    <a:moveTo>
                      <a:pt x="216" y="403"/>
                    </a:moveTo>
                    <a:lnTo>
                      <a:pt x="217" y="403"/>
                    </a:lnTo>
                    <a:lnTo>
                      <a:pt x="217" y="404"/>
                    </a:lnTo>
                    <a:lnTo>
                      <a:pt x="218" y="404"/>
                    </a:lnTo>
                    <a:lnTo>
                      <a:pt x="219" y="404"/>
                    </a:lnTo>
                    <a:lnTo>
                      <a:pt x="218" y="404"/>
                    </a:lnTo>
                    <a:lnTo>
                      <a:pt x="215" y="404"/>
                    </a:lnTo>
                    <a:lnTo>
                      <a:pt x="215" y="403"/>
                    </a:lnTo>
                    <a:lnTo>
                      <a:pt x="216" y="403"/>
                    </a:lnTo>
                    <a:close/>
                    <a:moveTo>
                      <a:pt x="411" y="374"/>
                    </a:moveTo>
                    <a:lnTo>
                      <a:pt x="410" y="374"/>
                    </a:lnTo>
                    <a:lnTo>
                      <a:pt x="410" y="375"/>
                    </a:lnTo>
                    <a:lnTo>
                      <a:pt x="409" y="375"/>
                    </a:lnTo>
                    <a:lnTo>
                      <a:pt x="409" y="374"/>
                    </a:lnTo>
                    <a:lnTo>
                      <a:pt x="409" y="373"/>
                    </a:lnTo>
                    <a:lnTo>
                      <a:pt x="409" y="374"/>
                    </a:lnTo>
                    <a:lnTo>
                      <a:pt x="410" y="374"/>
                    </a:lnTo>
                    <a:lnTo>
                      <a:pt x="411" y="374"/>
                    </a:lnTo>
                    <a:lnTo>
                      <a:pt x="410" y="373"/>
                    </a:lnTo>
                    <a:lnTo>
                      <a:pt x="411" y="373"/>
                    </a:lnTo>
                    <a:lnTo>
                      <a:pt x="411" y="374"/>
                    </a:lnTo>
                    <a:close/>
                    <a:moveTo>
                      <a:pt x="334" y="469"/>
                    </a:moveTo>
                    <a:lnTo>
                      <a:pt x="335" y="469"/>
                    </a:lnTo>
                    <a:lnTo>
                      <a:pt x="335" y="472"/>
                    </a:lnTo>
                    <a:lnTo>
                      <a:pt x="334" y="472"/>
                    </a:lnTo>
                    <a:lnTo>
                      <a:pt x="334" y="469"/>
                    </a:lnTo>
                    <a:close/>
                    <a:moveTo>
                      <a:pt x="173" y="410"/>
                    </a:moveTo>
                    <a:lnTo>
                      <a:pt x="173" y="411"/>
                    </a:lnTo>
                    <a:lnTo>
                      <a:pt x="173" y="412"/>
                    </a:lnTo>
                    <a:lnTo>
                      <a:pt x="173" y="411"/>
                    </a:lnTo>
                    <a:lnTo>
                      <a:pt x="171" y="411"/>
                    </a:lnTo>
                    <a:lnTo>
                      <a:pt x="171" y="412"/>
                    </a:lnTo>
                    <a:lnTo>
                      <a:pt x="171" y="411"/>
                    </a:lnTo>
                    <a:lnTo>
                      <a:pt x="173" y="411"/>
                    </a:lnTo>
                    <a:lnTo>
                      <a:pt x="173" y="410"/>
                    </a:lnTo>
                    <a:lnTo>
                      <a:pt x="171" y="410"/>
                    </a:lnTo>
                    <a:lnTo>
                      <a:pt x="171" y="411"/>
                    </a:lnTo>
                    <a:lnTo>
                      <a:pt x="171" y="410"/>
                    </a:lnTo>
                    <a:lnTo>
                      <a:pt x="170" y="411"/>
                    </a:lnTo>
                    <a:lnTo>
                      <a:pt x="170" y="410"/>
                    </a:lnTo>
                    <a:lnTo>
                      <a:pt x="170" y="411"/>
                    </a:lnTo>
                    <a:lnTo>
                      <a:pt x="169" y="411"/>
                    </a:lnTo>
                    <a:lnTo>
                      <a:pt x="169" y="410"/>
                    </a:lnTo>
                    <a:lnTo>
                      <a:pt x="169" y="411"/>
                    </a:lnTo>
                    <a:lnTo>
                      <a:pt x="169" y="410"/>
                    </a:lnTo>
                    <a:lnTo>
                      <a:pt x="171" y="410"/>
                    </a:lnTo>
                    <a:lnTo>
                      <a:pt x="173" y="410"/>
                    </a:lnTo>
                    <a:close/>
                    <a:moveTo>
                      <a:pt x="233" y="220"/>
                    </a:moveTo>
                    <a:lnTo>
                      <a:pt x="234" y="220"/>
                    </a:lnTo>
                    <a:lnTo>
                      <a:pt x="234" y="221"/>
                    </a:lnTo>
                    <a:lnTo>
                      <a:pt x="234" y="222"/>
                    </a:lnTo>
                    <a:lnTo>
                      <a:pt x="233" y="222"/>
                    </a:lnTo>
                    <a:lnTo>
                      <a:pt x="233" y="221"/>
                    </a:lnTo>
                    <a:lnTo>
                      <a:pt x="233" y="220"/>
                    </a:lnTo>
                    <a:lnTo>
                      <a:pt x="232" y="220"/>
                    </a:lnTo>
                    <a:lnTo>
                      <a:pt x="233" y="220"/>
                    </a:lnTo>
                    <a:close/>
                    <a:moveTo>
                      <a:pt x="426" y="395"/>
                    </a:moveTo>
                    <a:lnTo>
                      <a:pt x="427" y="395"/>
                    </a:lnTo>
                    <a:lnTo>
                      <a:pt x="427" y="396"/>
                    </a:lnTo>
                    <a:lnTo>
                      <a:pt x="427" y="395"/>
                    </a:lnTo>
                    <a:lnTo>
                      <a:pt x="427" y="396"/>
                    </a:lnTo>
                    <a:lnTo>
                      <a:pt x="426" y="396"/>
                    </a:lnTo>
                    <a:lnTo>
                      <a:pt x="427" y="396"/>
                    </a:lnTo>
                    <a:lnTo>
                      <a:pt x="426" y="396"/>
                    </a:lnTo>
                    <a:lnTo>
                      <a:pt x="426" y="395"/>
                    </a:lnTo>
                    <a:lnTo>
                      <a:pt x="425" y="395"/>
                    </a:lnTo>
                    <a:lnTo>
                      <a:pt x="426" y="395"/>
                    </a:lnTo>
                    <a:close/>
                    <a:moveTo>
                      <a:pt x="566" y="545"/>
                    </a:moveTo>
                    <a:lnTo>
                      <a:pt x="568" y="545"/>
                    </a:lnTo>
                    <a:lnTo>
                      <a:pt x="568" y="546"/>
                    </a:lnTo>
                    <a:lnTo>
                      <a:pt x="566" y="546"/>
                    </a:lnTo>
                    <a:lnTo>
                      <a:pt x="566" y="545"/>
                    </a:lnTo>
                    <a:close/>
                    <a:moveTo>
                      <a:pt x="333" y="469"/>
                    </a:moveTo>
                    <a:lnTo>
                      <a:pt x="334" y="469"/>
                    </a:lnTo>
                    <a:lnTo>
                      <a:pt x="334" y="470"/>
                    </a:lnTo>
                    <a:lnTo>
                      <a:pt x="332" y="469"/>
                    </a:lnTo>
                    <a:lnTo>
                      <a:pt x="333" y="469"/>
                    </a:lnTo>
                    <a:lnTo>
                      <a:pt x="333" y="468"/>
                    </a:lnTo>
                    <a:lnTo>
                      <a:pt x="333" y="469"/>
                    </a:lnTo>
                    <a:close/>
                    <a:moveTo>
                      <a:pt x="608" y="507"/>
                    </a:moveTo>
                    <a:lnTo>
                      <a:pt x="609" y="507"/>
                    </a:lnTo>
                    <a:lnTo>
                      <a:pt x="609" y="508"/>
                    </a:lnTo>
                    <a:lnTo>
                      <a:pt x="608" y="508"/>
                    </a:lnTo>
                    <a:lnTo>
                      <a:pt x="608" y="507"/>
                    </a:lnTo>
                    <a:close/>
                    <a:moveTo>
                      <a:pt x="470" y="554"/>
                    </a:moveTo>
                    <a:lnTo>
                      <a:pt x="471" y="554"/>
                    </a:lnTo>
                    <a:lnTo>
                      <a:pt x="470" y="554"/>
                    </a:lnTo>
                    <a:lnTo>
                      <a:pt x="468" y="554"/>
                    </a:lnTo>
                    <a:lnTo>
                      <a:pt x="468" y="555"/>
                    </a:lnTo>
                    <a:lnTo>
                      <a:pt x="468" y="554"/>
                    </a:lnTo>
                    <a:lnTo>
                      <a:pt x="467" y="554"/>
                    </a:lnTo>
                    <a:lnTo>
                      <a:pt x="468" y="554"/>
                    </a:lnTo>
                    <a:lnTo>
                      <a:pt x="468" y="553"/>
                    </a:lnTo>
                    <a:lnTo>
                      <a:pt x="470" y="554"/>
                    </a:lnTo>
                    <a:close/>
                    <a:moveTo>
                      <a:pt x="352" y="459"/>
                    </a:moveTo>
                    <a:lnTo>
                      <a:pt x="351" y="460"/>
                    </a:lnTo>
                    <a:lnTo>
                      <a:pt x="352" y="460"/>
                    </a:lnTo>
                    <a:lnTo>
                      <a:pt x="352" y="461"/>
                    </a:lnTo>
                    <a:lnTo>
                      <a:pt x="351" y="461"/>
                    </a:lnTo>
                    <a:lnTo>
                      <a:pt x="351" y="460"/>
                    </a:lnTo>
                    <a:lnTo>
                      <a:pt x="350" y="460"/>
                    </a:lnTo>
                    <a:lnTo>
                      <a:pt x="351" y="459"/>
                    </a:lnTo>
                    <a:lnTo>
                      <a:pt x="352" y="459"/>
                    </a:lnTo>
                    <a:close/>
                    <a:moveTo>
                      <a:pt x="551" y="545"/>
                    </a:moveTo>
                    <a:lnTo>
                      <a:pt x="552" y="546"/>
                    </a:lnTo>
                    <a:lnTo>
                      <a:pt x="552" y="545"/>
                    </a:lnTo>
                    <a:lnTo>
                      <a:pt x="553" y="545"/>
                    </a:lnTo>
                    <a:lnTo>
                      <a:pt x="552" y="545"/>
                    </a:lnTo>
                    <a:lnTo>
                      <a:pt x="552" y="546"/>
                    </a:lnTo>
                    <a:lnTo>
                      <a:pt x="551" y="546"/>
                    </a:lnTo>
                    <a:lnTo>
                      <a:pt x="550" y="545"/>
                    </a:lnTo>
                    <a:lnTo>
                      <a:pt x="548" y="545"/>
                    </a:lnTo>
                    <a:lnTo>
                      <a:pt x="546" y="545"/>
                    </a:lnTo>
                    <a:lnTo>
                      <a:pt x="546" y="544"/>
                    </a:lnTo>
                    <a:lnTo>
                      <a:pt x="546" y="545"/>
                    </a:lnTo>
                    <a:lnTo>
                      <a:pt x="548" y="545"/>
                    </a:lnTo>
                    <a:lnTo>
                      <a:pt x="550" y="545"/>
                    </a:lnTo>
                    <a:lnTo>
                      <a:pt x="551" y="545"/>
                    </a:lnTo>
                    <a:close/>
                    <a:moveTo>
                      <a:pt x="570" y="456"/>
                    </a:moveTo>
                    <a:lnTo>
                      <a:pt x="571" y="456"/>
                    </a:lnTo>
                    <a:lnTo>
                      <a:pt x="573" y="456"/>
                    </a:lnTo>
                    <a:lnTo>
                      <a:pt x="574" y="456"/>
                    </a:lnTo>
                    <a:lnTo>
                      <a:pt x="573" y="456"/>
                    </a:lnTo>
                    <a:lnTo>
                      <a:pt x="574" y="456"/>
                    </a:lnTo>
                    <a:lnTo>
                      <a:pt x="573" y="457"/>
                    </a:lnTo>
                    <a:lnTo>
                      <a:pt x="573" y="456"/>
                    </a:lnTo>
                    <a:lnTo>
                      <a:pt x="571" y="456"/>
                    </a:lnTo>
                    <a:lnTo>
                      <a:pt x="570" y="456"/>
                    </a:lnTo>
                    <a:lnTo>
                      <a:pt x="569" y="456"/>
                    </a:lnTo>
                    <a:lnTo>
                      <a:pt x="568" y="456"/>
                    </a:lnTo>
                    <a:lnTo>
                      <a:pt x="569" y="456"/>
                    </a:lnTo>
                    <a:lnTo>
                      <a:pt x="570" y="456"/>
                    </a:lnTo>
                    <a:lnTo>
                      <a:pt x="570" y="455"/>
                    </a:lnTo>
                    <a:lnTo>
                      <a:pt x="570" y="456"/>
                    </a:lnTo>
                    <a:close/>
                    <a:moveTo>
                      <a:pt x="334" y="346"/>
                    </a:moveTo>
                    <a:lnTo>
                      <a:pt x="335" y="346"/>
                    </a:lnTo>
                    <a:lnTo>
                      <a:pt x="335" y="348"/>
                    </a:lnTo>
                    <a:lnTo>
                      <a:pt x="334" y="348"/>
                    </a:lnTo>
                    <a:lnTo>
                      <a:pt x="334" y="346"/>
                    </a:lnTo>
                    <a:close/>
                    <a:moveTo>
                      <a:pt x="431" y="657"/>
                    </a:moveTo>
                    <a:lnTo>
                      <a:pt x="432" y="657"/>
                    </a:lnTo>
                    <a:lnTo>
                      <a:pt x="432" y="658"/>
                    </a:lnTo>
                    <a:lnTo>
                      <a:pt x="431" y="658"/>
                    </a:lnTo>
                    <a:lnTo>
                      <a:pt x="431" y="657"/>
                    </a:lnTo>
                    <a:close/>
                    <a:moveTo>
                      <a:pt x="563" y="552"/>
                    </a:moveTo>
                    <a:lnTo>
                      <a:pt x="564" y="553"/>
                    </a:lnTo>
                    <a:lnTo>
                      <a:pt x="564" y="552"/>
                    </a:lnTo>
                    <a:lnTo>
                      <a:pt x="565" y="552"/>
                    </a:lnTo>
                    <a:lnTo>
                      <a:pt x="564" y="552"/>
                    </a:lnTo>
                    <a:lnTo>
                      <a:pt x="564" y="553"/>
                    </a:lnTo>
                    <a:lnTo>
                      <a:pt x="563" y="553"/>
                    </a:lnTo>
                    <a:lnTo>
                      <a:pt x="563" y="552"/>
                    </a:lnTo>
                    <a:lnTo>
                      <a:pt x="563" y="551"/>
                    </a:lnTo>
                    <a:lnTo>
                      <a:pt x="564" y="551"/>
                    </a:lnTo>
                    <a:lnTo>
                      <a:pt x="564" y="552"/>
                    </a:lnTo>
                    <a:lnTo>
                      <a:pt x="563" y="552"/>
                    </a:lnTo>
                    <a:close/>
                    <a:moveTo>
                      <a:pt x="197" y="375"/>
                    </a:moveTo>
                    <a:lnTo>
                      <a:pt x="200" y="375"/>
                    </a:lnTo>
                    <a:lnTo>
                      <a:pt x="200" y="377"/>
                    </a:lnTo>
                    <a:lnTo>
                      <a:pt x="197" y="377"/>
                    </a:lnTo>
                    <a:lnTo>
                      <a:pt x="197" y="375"/>
                    </a:lnTo>
                    <a:close/>
                    <a:moveTo>
                      <a:pt x="412" y="367"/>
                    </a:moveTo>
                    <a:lnTo>
                      <a:pt x="412" y="369"/>
                    </a:lnTo>
                    <a:lnTo>
                      <a:pt x="413" y="369"/>
                    </a:lnTo>
                    <a:lnTo>
                      <a:pt x="412" y="369"/>
                    </a:lnTo>
                    <a:lnTo>
                      <a:pt x="410" y="369"/>
                    </a:lnTo>
                    <a:lnTo>
                      <a:pt x="411" y="369"/>
                    </a:lnTo>
                    <a:lnTo>
                      <a:pt x="412" y="367"/>
                    </a:lnTo>
                    <a:close/>
                    <a:moveTo>
                      <a:pt x="256" y="398"/>
                    </a:moveTo>
                    <a:lnTo>
                      <a:pt x="255" y="398"/>
                    </a:lnTo>
                    <a:lnTo>
                      <a:pt x="254" y="398"/>
                    </a:lnTo>
                    <a:lnTo>
                      <a:pt x="254" y="397"/>
                    </a:lnTo>
                    <a:lnTo>
                      <a:pt x="255" y="397"/>
                    </a:lnTo>
                    <a:lnTo>
                      <a:pt x="256" y="397"/>
                    </a:lnTo>
                    <a:lnTo>
                      <a:pt x="256" y="398"/>
                    </a:lnTo>
                    <a:close/>
                    <a:moveTo>
                      <a:pt x="196" y="395"/>
                    </a:moveTo>
                    <a:lnTo>
                      <a:pt x="197" y="395"/>
                    </a:lnTo>
                    <a:lnTo>
                      <a:pt x="197" y="397"/>
                    </a:lnTo>
                    <a:lnTo>
                      <a:pt x="196" y="397"/>
                    </a:lnTo>
                    <a:lnTo>
                      <a:pt x="196" y="395"/>
                    </a:lnTo>
                    <a:close/>
                    <a:moveTo>
                      <a:pt x="410" y="369"/>
                    </a:moveTo>
                    <a:lnTo>
                      <a:pt x="410" y="370"/>
                    </a:lnTo>
                    <a:lnTo>
                      <a:pt x="409" y="370"/>
                    </a:lnTo>
                    <a:lnTo>
                      <a:pt x="408" y="370"/>
                    </a:lnTo>
                    <a:lnTo>
                      <a:pt x="409" y="370"/>
                    </a:lnTo>
                    <a:lnTo>
                      <a:pt x="410" y="370"/>
                    </a:lnTo>
                    <a:lnTo>
                      <a:pt x="410" y="369"/>
                    </a:lnTo>
                    <a:lnTo>
                      <a:pt x="410" y="370"/>
                    </a:lnTo>
                    <a:lnTo>
                      <a:pt x="409" y="370"/>
                    </a:lnTo>
                    <a:lnTo>
                      <a:pt x="409" y="369"/>
                    </a:lnTo>
                    <a:lnTo>
                      <a:pt x="409" y="370"/>
                    </a:lnTo>
                    <a:lnTo>
                      <a:pt x="409" y="369"/>
                    </a:lnTo>
                    <a:lnTo>
                      <a:pt x="410" y="369"/>
                    </a:lnTo>
                    <a:close/>
                    <a:moveTo>
                      <a:pt x="341" y="466"/>
                    </a:moveTo>
                    <a:lnTo>
                      <a:pt x="339" y="466"/>
                    </a:lnTo>
                    <a:lnTo>
                      <a:pt x="339" y="465"/>
                    </a:lnTo>
                    <a:lnTo>
                      <a:pt x="341" y="465"/>
                    </a:lnTo>
                    <a:lnTo>
                      <a:pt x="341" y="464"/>
                    </a:lnTo>
                    <a:lnTo>
                      <a:pt x="342" y="464"/>
                    </a:lnTo>
                    <a:lnTo>
                      <a:pt x="341" y="465"/>
                    </a:lnTo>
                    <a:lnTo>
                      <a:pt x="341" y="466"/>
                    </a:lnTo>
                    <a:close/>
                    <a:moveTo>
                      <a:pt x="126" y="395"/>
                    </a:moveTo>
                    <a:lnTo>
                      <a:pt x="125" y="395"/>
                    </a:lnTo>
                    <a:lnTo>
                      <a:pt x="125" y="396"/>
                    </a:lnTo>
                    <a:lnTo>
                      <a:pt x="126" y="396"/>
                    </a:lnTo>
                    <a:lnTo>
                      <a:pt x="125" y="397"/>
                    </a:lnTo>
                    <a:lnTo>
                      <a:pt x="125" y="396"/>
                    </a:lnTo>
                    <a:lnTo>
                      <a:pt x="125" y="395"/>
                    </a:lnTo>
                    <a:lnTo>
                      <a:pt x="126" y="395"/>
                    </a:lnTo>
                    <a:close/>
                    <a:moveTo>
                      <a:pt x="158" y="399"/>
                    </a:moveTo>
                    <a:lnTo>
                      <a:pt x="158" y="400"/>
                    </a:lnTo>
                    <a:lnTo>
                      <a:pt x="157" y="400"/>
                    </a:lnTo>
                    <a:lnTo>
                      <a:pt x="157" y="399"/>
                    </a:lnTo>
                    <a:lnTo>
                      <a:pt x="158" y="399"/>
                    </a:lnTo>
                    <a:lnTo>
                      <a:pt x="158" y="398"/>
                    </a:lnTo>
                    <a:lnTo>
                      <a:pt x="160" y="398"/>
                    </a:lnTo>
                    <a:lnTo>
                      <a:pt x="160" y="399"/>
                    </a:lnTo>
                    <a:lnTo>
                      <a:pt x="158" y="399"/>
                    </a:lnTo>
                    <a:close/>
                    <a:moveTo>
                      <a:pt x="269" y="396"/>
                    </a:moveTo>
                    <a:lnTo>
                      <a:pt x="271" y="396"/>
                    </a:lnTo>
                    <a:lnTo>
                      <a:pt x="271" y="397"/>
                    </a:lnTo>
                    <a:lnTo>
                      <a:pt x="269" y="397"/>
                    </a:lnTo>
                    <a:lnTo>
                      <a:pt x="269" y="396"/>
                    </a:lnTo>
                    <a:close/>
                    <a:moveTo>
                      <a:pt x="210" y="414"/>
                    </a:moveTo>
                    <a:lnTo>
                      <a:pt x="207" y="414"/>
                    </a:lnTo>
                    <a:lnTo>
                      <a:pt x="210" y="414"/>
                    </a:lnTo>
                    <a:close/>
                    <a:moveTo>
                      <a:pt x="558" y="542"/>
                    </a:moveTo>
                    <a:lnTo>
                      <a:pt x="560" y="542"/>
                    </a:lnTo>
                    <a:lnTo>
                      <a:pt x="560" y="543"/>
                    </a:lnTo>
                    <a:lnTo>
                      <a:pt x="558" y="543"/>
                    </a:lnTo>
                    <a:lnTo>
                      <a:pt x="558" y="542"/>
                    </a:lnTo>
                    <a:close/>
                    <a:moveTo>
                      <a:pt x="497" y="575"/>
                    </a:moveTo>
                    <a:lnTo>
                      <a:pt x="498" y="575"/>
                    </a:lnTo>
                    <a:lnTo>
                      <a:pt x="499" y="575"/>
                    </a:lnTo>
                    <a:lnTo>
                      <a:pt x="498" y="575"/>
                    </a:lnTo>
                    <a:lnTo>
                      <a:pt x="497" y="575"/>
                    </a:lnTo>
                    <a:lnTo>
                      <a:pt x="496" y="575"/>
                    </a:lnTo>
                    <a:lnTo>
                      <a:pt x="496" y="573"/>
                    </a:lnTo>
                    <a:lnTo>
                      <a:pt x="496" y="572"/>
                    </a:lnTo>
                    <a:lnTo>
                      <a:pt x="496" y="571"/>
                    </a:lnTo>
                    <a:lnTo>
                      <a:pt x="497" y="572"/>
                    </a:lnTo>
                    <a:lnTo>
                      <a:pt x="496" y="572"/>
                    </a:lnTo>
                    <a:lnTo>
                      <a:pt x="496" y="573"/>
                    </a:lnTo>
                    <a:lnTo>
                      <a:pt x="496" y="575"/>
                    </a:lnTo>
                    <a:lnTo>
                      <a:pt x="497" y="575"/>
                    </a:lnTo>
                    <a:close/>
                    <a:moveTo>
                      <a:pt x="226" y="222"/>
                    </a:moveTo>
                    <a:lnTo>
                      <a:pt x="228" y="222"/>
                    </a:lnTo>
                    <a:lnTo>
                      <a:pt x="228" y="223"/>
                    </a:lnTo>
                    <a:lnTo>
                      <a:pt x="226" y="223"/>
                    </a:lnTo>
                    <a:lnTo>
                      <a:pt x="226" y="222"/>
                    </a:lnTo>
                    <a:close/>
                    <a:moveTo>
                      <a:pt x="476" y="430"/>
                    </a:moveTo>
                    <a:lnTo>
                      <a:pt x="475" y="430"/>
                    </a:lnTo>
                    <a:lnTo>
                      <a:pt x="475" y="431"/>
                    </a:lnTo>
                    <a:lnTo>
                      <a:pt x="474" y="431"/>
                    </a:lnTo>
                    <a:lnTo>
                      <a:pt x="474" y="430"/>
                    </a:lnTo>
                    <a:lnTo>
                      <a:pt x="475" y="430"/>
                    </a:lnTo>
                    <a:lnTo>
                      <a:pt x="476" y="430"/>
                    </a:lnTo>
                    <a:close/>
                    <a:moveTo>
                      <a:pt x="574" y="567"/>
                    </a:moveTo>
                    <a:lnTo>
                      <a:pt x="575" y="567"/>
                    </a:lnTo>
                    <a:lnTo>
                      <a:pt x="575" y="568"/>
                    </a:lnTo>
                    <a:lnTo>
                      <a:pt x="574" y="568"/>
                    </a:lnTo>
                    <a:lnTo>
                      <a:pt x="574" y="567"/>
                    </a:lnTo>
                    <a:close/>
                    <a:moveTo>
                      <a:pt x="238" y="235"/>
                    </a:moveTo>
                    <a:lnTo>
                      <a:pt x="238" y="236"/>
                    </a:lnTo>
                    <a:lnTo>
                      <a:pt x="239" y="236"/>
                    </a:lnTo>
                    <a:lnTo>
                      <a:pt x="238" y="236"/>
                    </a:lnTo>
                    <a:lnTo>
                      <a:pt x="238" y="235"/>
                    </a:lnTo>
                    <a:lnTo>
                      <a:pt x="236" y="235"/>
                    </a:lnTo>
                    <a:lnTo>
                      <a:pt x="238" y="235"/>
                    </a:lnTo>
                    <a:lnTo>
                      <a:pt x="236" y="235"/>
                    </a:lnTo>
                    <a:lnTo>
                      <a:pt x="236" y="234"/>
                    </a:lnTo>
                    <a:lnTo>
                      <a:pt x="238" y="234"/>
                    </a:lnTo>
                    <a:lnTo>
                      <a:pt x="238" y="235"/>
                    </a:lnTo>
                    <a:close/>
                    <a:moveTo>
                      <a:pt x="448" y="636"/>
                    </a:moveTo>
                    <a:lnTo>
                      <a:pt x="447" y="637"/>
                    </a:lnTo>
                    <a:lnTo>
                      <a:pt x="447" y="636"/>
                    </a:lnTo>
                    <a:lnTo>
                      <a:pt x="448" y="636"/>
                    </a:lnTo>
                    <a:lnTo>
                      <a:pt x="449" y="636"/>
                    </a:lnTo>
                    <a:lnTo>
                      <a:pt x="449" y="635"/>
                    </a:lnTo>
                    <a:lnTo>
                      <a:pt x="450" y="633"/>
                    </a:lnTo>
                    <a:lnTo>
                      <a:pt x="451" y="631"/>
                    </a:lnTo>
                    <a:lnTo>
                      <a:pt x="452" y="628"/>
                    </a:lnTo>
                    <a:lnTo>
                      <a:pt x="452" y="629"/>
                    </a:lnTo>
                    <a:lnTo>
                      <a:pt x="451" y="629"/>
                    </a:lnTo>
                    <a:lnTo>
                      <a:pt x="450" y="632"/>
                    </a:lnTo>
                    <a:lnTo>
                      <a:pt x="450" y="633"/>
                    </a:lnTo>
                    <a:lnTo>
                      <a:pt x="450" y="634"/>
                    </a:lnTo>
                    <a:lnTo>
                      <a:pt x="449" y="634"/>
                    </a:lnTo>
                    <a:lnTo>
                      <a:pt x="449" y="635"/>
                    </a:lnTo>
                    <a:lnTo>
                      <a:pt x="448" y="636"/>
                    </a:lnTo>
                    <a:close/>
                    <a:moveTo>
                      <a:pt x="233" y="209"/>
                    </a:moveTo>
                    <a:lnTo>
                      <a:pt x="233" y="210"/>
                    </a:lnTo>
                    <a:lnTo>
                      <a:pt x="232" y="210"/>
                    </a:lnTo>
                    <a:lnTo>
                      <a:pt x="232" y="209"/>
                    </a:lnTo>
                    <a:lnTo>
                      <a:pt x="232" y="210"/>
                    </a:lnTo>
                    <a:lnTo>
                      <a:pt x="231" y="210"/>
                    </a:lnTo>
                    <a:lnTo>
                      <a:pt x="230" y="210"/>
                    </a:lnTo>
                    <a:lnTo>
                      <a:pt x="231" y="210"/>
                    </a:lnTo>
                    <a:lnTo>
                      <a:pt x="231" y="209"/>
                    </a:lnTo>
                    <a:lnTo>
                      <a:pt x="231" y="210"/>
                    </a:lnTo>
                    <a:lnTo>
                      <a:pt x="232" y="210"/>
                    </a:lnTo>
                    <a:lnTo>
                      <a:pt x="232" y="209"/>
                    </a:lnTo>
                    <a:lnTo>
                      <a:pt x="233" y="209"/>
                    </a:lnTo>
                    <a:close/>
                    <a:moveTo>
                      <a:pt x="309" y="412"/>
                    </a:moveTo>
                    <a:lnTo>
                      <a:pt x="310" y="412"/>
                    </a:lnTo>
                    <a:lnTo>
                      <a:pt x="310" y="413"/>
                    </a:lnTo>
                    <a:lnTo>
                      <a:pt x="309" y="413"/>
                    </a:lnTo>
                    <a:lnTo>
                      <a:pt x="309" y="412"/>
                    </a:lnTo>
                    <a:close/>
                    <a:moveTo>
                      <a:pt x="489" y="423"/>
                    </a:moveTo>
                    <a:lnTo>
                      <a:pt x="489" y="424"/>
                    </a:lnTo>
                    <a:lnTo>
                      <a:pt x="488" y="423"/>
                    </a:lnTo>
                    <a:lnTo>
                      <a:pt x="488" y="424"/>
                    </a:lnTo>
                    <a:lnTo>
                      <a:pt x="488" y="423"/>
                    </a:lnTo>
                    <a:lnTo>
                      <a:pt x="487" y="423"/>
                    </a:lnTo>
                    <a:lnTo>
                      <a:pt x="486" y="423"/>
                    </a:lnTo>
                    <a:lnTo>
                      <a:pt x="487" y="423"/>
                    </a:lnTo>
                    <a:lnTo>
                      <a:pt x="488" y="423"/>
                    </a:lnTo>
                    <a:lnTo>
                      <a:pt x="489" y="423"/>
                    </a:lnTo>
                    <a:lnTo>
                      <a:pt x="489" y="424"/>
                    </a:lnTo>
                    <a:lnTo>
                      <a:pt x="489" y="423"/>
                    </a:lnTo>
                    <a:lnTo>
                      <a:pt x="490" y="423"/>
                    </a:lnTo>
                    <a:lnTo>
                      <a:pt x="489" y="423"/>
                    </a:lnTo>
                    <a:lnTo>
                      <a:pt x="490" y="423"/>
                    </a:lnTo>
                    <a:lnTo>
                      <a:pt x="489" y="423"/>
                    </a:lnTo>
                    <a:close/>
                    <a:moveTo>
                      <a:pt x="498" y="576"/>
                    </a:moveTo>
                    <a:lnTo>
                      <a:pt x="497" y="576"/>
                    </a:lnTo>
                    <a:lnTo>
                      <a:pt x="496" y="576"/>
                    </a:lnTo>
                    <a:lnTo>
                      <a:pt x="498" y="576"/>
                    </a:lnTo>
                    <a:lnTo>
                      <a:pt x="498" y="575"/>
                    </a:lnTo>
                    <a:lnTo>
                      <a:pt x="498" y="576"/>
                    </a:lnTo>
                    <a:close/>
                    <a:moveTo>
                      <a:pt x="129" y="389"/>
                    </a:moveTo>
                    <a:lnTo>
                      <a:pt x="130" y="389"/>
                    </a:lnTo>
                    <a:lnTo>
                      <a:pt x="130" y="391"/>
                    </a:lnTo>
                    <a:lnTo>
                      <a:pt x="129" y="391"/>
                    </a:lnTo>
                    <a:lnTo>
                      <a:pt x="129" y="389"/>
                    </a:lnTo>
                    <a:close/>
                    <a:moveTo>
                      <a:pt x="244" y="247"/>
                    </a:moveTo>
                    <a:lnTo>
                      <a:pt x="244" y="248"/>
                    </a:lnTo>
                    <a:lnTo>
                      <a:pt x="244" y="249"/>
                    </a:lnTo>
                    <a:lnTo>
                      <a:pt x="244" y="250"/>
                    </a:lnTo>
                    <a:lnTo>
                      <a:pt x="244" y="249"/>
                    </a:lnTo>
                    <a:lnTo>
                      <a:pt x="244" y="248"/>
                    </a:lnTo>
                    <a:lnTo>
                      <a:pt x="244" y="247"/>
                    </a:lnTo>
                    <a:lnTo>
                      <a:pt x="243" y="247"/>
                    </a:lnTo>
                    <a:lnTo>
                      <a:pt x="244" y="247"/>
                    </a:lnTo>
                    <a:close/>
                    <a:moveTo>
                      <a:pt x="226" y="404"/>
                    </a:moveTo>
                    <a:lnTo>
                      <a:pt x="228" y="404"/>
                    </a:lnTo>
                    <a:lnTo>
                      <a:pt x="228" y="405"/>
                    </a:lnTo>
                    <a:lnTo>
                      <a:pt x="226" y="405"/>
                    </a:lnTo>
                    <a:lnTo>
                      <a:pt x="226" y="404"/>
                    </a:lnTo>
                    <a:close/>
                    <a:moveTo>
                      <a:pt x="264" y="243"/>
                    </a:moveTo>
                    <a:lnTo>
                      <a:pt x="264" y="244"/>
                    </a:lnTo>
                    <a:lnTo>
                      <a:pt x="262" y="244"/>
                    </a:lnTo>
                    <a:lnTo>
                      <a:pt x="264" y="244"/>
                    </a:lnTo>
                    <a:lnTo>
                      <a:pt x="262" y="244"/>
                    </a:lnTo>
                    <a:lnTo>
                      <a:pt x="262" y="243"/>
                    </a:lnTo>
                    <a:lnTo>
                      <a:pt x="264" y="243"/>
                    </a:lnTo>
                    <a:lnTo>
                      <a:pt x="264" y="242"/>
                    </a:lnTo>
                    <a:lnTo>
                      <a:pt x="264" y="243"/>
                    </a:lnTo>
                    <a:close/>
                    <a:moveTo>
                      <a:pt x="217" y="408"/>
                    </a:moveTo>
                    <a:lnTo>
                      <a:pt x="219" y="408"/>
                    </a:lnTo>
                    <a:lnTo>
                      <a:pt x="219" y="410"/>
                    </a:lnTo>
                    <a:lnTo>
                      <a:pt x="217" y="410"/>
                    </a:lnTo>
                    <a:lnTo>
                      <a:pt x="217" y="408"/>
                    </a:lnTo>
                    <a:close/>
                    <a:moveTo>
                      <a:pt x="280" y="433"/>
                    </a:moveTo>
                    <a:lnTo>
                      <a:pt x="280" y="434"/>
                    </a:lnTo>
                    <a:lnTo>
                      <a:pt x="279" y="434"/>
                    </a:lnTo>
                    <a:lnTo>
                      <a:pt x="279" y="433"/>
                    </a:lnTo>
                    <a:lnTo>
                      <a:pt x="279" y="434"/>
                    </a:lnTo>
                    <a:lnTo>
                      <a:pt x="279" y="433"/>
                    </a:lnTo>
                    <a:lnTo>
                      <a:pt x="280" y="433"/>
                    </a:lnTo>
                    <a:close/>
                    <a:moveTo>
                      <a:pt x="475" y="353"/>
                    </a:moveTo>
                    <a:lnTo>
                      <a:pt x="476" y="353"/>
                    </a:lnTo>
                    <a:lnTo>
                      <a:pt x="476" y="354"/>
                    </a:lnTo>
                    <a:lnTo>
                      <a:pt x="475" y="354"/>
                    </a:lnTo>
                    <a:lnTo>
                      <a:pt x="475" y="353"/>
                    </a:lnTo>
                    <a:close/>
                    <a:moveTo>
                      <a:pt x="227" y="210"/>
                    </a:moveTo>
                    <a:lnTo>
                      <a:pt x="227" y="211"/>
                    </a:lnTo>
                    <a:lnTo>
                      <a:pt x="226" y="211"/>
                    </a:lnTo>
                    <a:lnTo>
                      <a:pt x="226" y="210"/>
                    </a:lnTo>
                    <a:lnTo>
                      <a:pt x="226" y="211"/>
                    </a:lnTo>
                    <a:lnTo>
                      <a:pt x="226" y="210"/>
                    </a:lnTo>
                    <a:lnTo>
                      <a:pt x="227" y="210"/>
                    </a:lnTo>
                    <a:lnTo>
                      <a:pt x="228" y="210"/>
                    </a:lnTo>
                    <a:lnTo>
                      <a:pt x="227" y="210"/>
                    </a:lnTo>
                    <a:close/>
                    <a:moveTo>
                      <a:pt x="565" y="513"/>
                    </a:moveTo>
                    <a:lnTo>
                      <a:pt x="565" y="512"/>
                    </a:lnTo>
                    <a:lnTo>
                      <a:pt x="566" y="512"/>
                    </a:lnTo>
                    <a:lnTo>
                      <a:pt x="565" y="513"/>
                    </a:lnTo>
                    <a:close/>
                    <a:moveTo>
                      <a:pt x="558" y="532"/>
                    </a:moveTo>
                    <a:lnTo>
                      <a:pt x="560" y="532"/>
                    </a:lnTo>
                    <a:lnTo>
                      <a:pt x="560" y="533"/>
                    </a:lnTo>
                    <a:lnTo>
                      <a:pt x="558" y="533"/>
                    </a:lnTo>
                    <a:lnTo>
                      <a:pt x="558" y="532"/>
                    </a:lnTo>
                    <a:close/>
                    <a:moveTo>
                      <a:pt x="183" y="357"/>
                    </a:moveTo>
                    <a:lnTo>
                      <a:pt x="182" y="361"/>
                    </a:lnTo>
                    <a:lnTo>
                      <a:pt x="182" y="360"/>
                    </a:lnTo>
                    <a:lnTo>
                      <a:pt x="182" y="358"/>
                    </a:lnTo>
                    <a:lnTo>
                      <a:pt x="181" y="358"/>
                    </a:lnTo>
                    <a:lnTo>
                      <a:pt x="181" y="357"/>
                    </a:lnTo>
                    <a:lnTo>
                      <a:pt x="182" y="358"/>
                    </a:lnTo>
                    <a:lnTo>
                      <a:pt x="182" y="360"/>
                    </a:lnTo>
                    <a:lnTo>
                      <a:pt x="182" y="361"/>
                    </a:lnTo>
                    <a:lnTo>
                      <a:pt x="183" y="358"/>
                    </a:lnTo>
                    <a:lnTo>
                      <a:pt x="183" y="357"/>
                    </a:lnTo>
                    <a:close/>
                    <a:moveTo>
                      <a:pt x="209" y="408"/>
                    </a:moveTo>
                    <a:lnTo>
                      <a:pt x="210" y="408"/>
                    </a:lnTo>
                    <a:lnTo>
                      <a:pt x="210" y="409"/>
                    </a:lnTo>
                    <a:lnTo>
                      <a:pt x="209" y="409"/>
                    </a:lnTo>
                    <a:lnTo>
                      <a:pt x="209" y="408"/>
                    </a:lnTo>
                    <a:close/>
                    <a:moveTo>
                      <a:pt x="208" y="413"/>
                    </a:moveTo>
                    <a:lnTo>
                      <a:pt x="209" y="413"/>
                    </a:lnTo>
                    <a:lnTo>
                      <a:pt x="212" y="413"/>
                    </a:lnTo>
                    <a:lnTo>
                      <a:pt x="210" y="414"/>
                    </a:lnTo>
                    <a:lnTo>
                      <a:pt x="208" y="414"/>
                    </a:lnTo>
                    <a:lnTo>
                      <a:pt x="208" y="413"/>
                    </a:lnTo>
                    <a:close/>
                    <a:moveTo>
                      <a:pt x="236" y="405"/>
                    </a:moveTo>
                    <a:lnTo>
                      <a:pt x="235" y="405"/>
                    </a:lnTo>
                    <a:lnTo>
                      <a:pt x="235" y="406"/>
                    </a:lnTo>
                    <a:lnTo>
                      <a:pt x="235" y="405"/>
                    </a:lnTo>
                    <a:lnTo>
                      <a:pt x="234" y="405"/>
                    </a:lnTo>
                    <a:lnTo>
                      <a:pt x="235" y="404"/>
                    </a:lnTo>
                    <a:lnTo>
                      <a:pt x="236" y="404"/>
                    </a:lnTo>
                    <a:lnTo>
                      <a:pt x="235" y="404"/>
                    </a:lnTo>
                    <a:lnTo>
                      <a:pt x="236" y="405"/>
                    </a:lnTo>
                    <a:close/>
                    <a:moveTo>
                      <a:pt x="548" y="536"/>
                    </a:moveTo>
                    <a:lnTo>
                      <a:pt x="550" y="536"/>
                    </a:lnTo>
                    <a:lnTo>
                      <a:pt x="550" y="537"/>
                    </a:lnTo>
                    <a:lnTo>
                      <a:pt x="548" y="537"/>
                    </a:lnTo>
                    <a:lnTo>
                      <a:pt x="548" y="536"/>
                    </a:lnTo>
                    <a:close/>
                    <a:moveTo>
                      <a:pt x="403" y="375"/>
                    </a:moveTo>
                    <a:lnTo>
                      <a:pt x="404" y="375"/>
                    </a:lnTo>
                    <a:lnTo>
                      <a:pt x="403" y="375"/>
                    </a:lnTo>
                    <a:lnTo>
                      <a:pt x="403" y="373"/>
                    </a:lnTo>
                    <a:lnTo>
                      <a:pt x="404" y="372"/>
                    </a:lnTo>
                    <a:lnTo>
                      <a:pt x="406" y="372"/>
                    </a:lnTo>
                    <a:lnTo>
                      <a:pt x="404" y="372"/>
                    </a:lnTo>
                    <a:lnTo>
                      <a:pt x="404" y="373"/>
                    </a:lnTo>
                    <a:lnTo>
                      <a:pt x="403" y="374"/>
                    </a:lnTo>
                    <a:lnTo>
                      <a:pt x="403" y="375"/>
                    </a:lnTo>
                    <a:close/>
                    <a:moveTo>
                      <a:pt x="320" y="455"/>
                    </a:moveTo>
                    <a:lnTo>
                      <a:pt x="321" y="455"/>
                    </a:lnTo>
                    <a:lnTo>
                      <a:pt x="322" y="455"/>
                    </a:lnTo>
                    <a:lnTo>
                      <a:pt x="322" y="456"/>
                    </a:lnTo>
                    <a:lnTo>
                      <a:pt x="321" y="456"/>
                    </a:lnTo>
                    <a:lnTo>
                      <a:pt x="320" y="456"/>
                    </a:lnTo>
                    <a:lnTo>
                      <a:pt x="319" y="456"/>
                    </a:lnTo>
                    <a:lnTo>
                      <a:pt x="320" y="455"/>
                    </a:lnTo>
                    <a:close/>
                    <a:moveTo>
                      <a:pt x="186" y="404"/>
                    </a:moveTo>
                    <a:lnTo>
                      <a:pt x="187" y="404"/>
                    </a:lnTo>
                    <a:lnTo>
                      <a:pt x="187" y="406"/>
                    </a:lnTo>
                    <a:lnTo>
                      <a:pt x="186" y="406"/>
                    </a:lnTo>
                    <a:lnTo>
                      <a:pt x="186" y="404"/>
                    </a:lnTo>
                    <a:close/>
                    <a:moveTo>
                      <a:pt x="425" y="367"/>
                    </a:moveTo>
                    <a:lnTo>
                      <a:pt x="426" y="367"/>
                    </a:lnTo>
                    <a:lnTo>
                      <a:pt x="426" y="369"/>
                    </a:lnTo>
                    <a:lnTo>
                      <a:pt x="425" y="369"/>
                    </a:lnTo>
                    <a:lnTo>
                      <a:pt x="425" y="367"/>
                    </a:lnTo>
                    <a:close/>
                    <a:moveTo>
                      <a:pt x="345" y="460"/>
                    </a:moveTo>
                    <a:lnTo>
                      <a:pt x="344" y="461"/>
                    </a:lnTo>
                    <a:lnTo>
                      <a:pt x="344" y="460"/>
                    </a:lnTo>
                    <a:lnTo>
                      <a:pt x="343" y="460"/>
                    </a:lnTo>
                    <a:lnTo>
                      <a:pt x="343" y="461"/>
                    </a:lnTo>
                    <a:lnTo>
                      <a:pt x="343" y="460"/>
                    </a:lnTo>
                    <a:lnTo>
                      <a:pt x="344" y="460"/>
                    </a:lnTo>
                    <a:lnTo>
                      <a:pt x="344" y="459"/>
                    </a:lnTo>
                    <a:lnTo>
                      <a:pt x="345" y="459"/>
                    </a:lnTo>
                    <a:lnTo>
                      <a:pt x="345" y="460"/>
                    </a:lnTo>
                    <a:close/>
                    <a:moveTo>
                      <a:pt x="571" y="448"/>
                    </a:moveTo>
                    <a:lnTo>
                      <a:pt x="570" y="449"/>
                    </a:lnTo>
                    <a:lnTo>
                      <a:pt x="569" y="449"/>
                    </a:lnTo>
                    <a:lnTo>
                      <a:pt x="568" y="451"/>
                    </a:lnTo>
                    <a:lnTo>
                      <a:pt x="567" y="451"/>
                    </a:lnTo>
                    <a:lnTo>
                      <a:pt x="568" y="449"/>
                    </a:lnTo>
                    <a:lnTo>
                      <a:pt x="569" y="449"/>
                    </a:lnTo>
                    <a:lnTo>
                      <a:pt x="570" y="449"/>
                    </a:lnTo>
                    <a:lnTo>
                      <a:pt x="570" y="448"/>
                    </a:lnTo>
                    <a:lnTo>
                      <a:pt x="570" y="449"/>
                    </a:lnTo>
                    <a:lnTo>
                      <a:pt x="571" y="448"/>
                    </a:lnTo>
                    <a:close/>
                    <a:moveTo>
                      <a:pt x="206" y="412"/>
                    </a:moveTo>
                    <a:lnTo>
                      <a:pt x="208" y="412"/>
                    </a:lnTo>
                    <a:lnTo>
                      <a:pt x="208" y="413"/>
                    </a:lnTo>
                    <a:lnTo>
                      <a:pt x="206" y="413"/>
                    </a:lnTo>
                    <a:lnTo>
                      <a:pt x="206" y="412"/>
                    </a:lnTo>
                    <a:close/>
                    <a:moveTo>
                      <a:pt x="569" y="639"/>
                    </a:moveTo>
                    <a:lnTo>
                      <a:pt x="570" y="640"/>
                    </a:lnTo>
                    <a:lnTo>
                      <a:pt x="571" y="640"/>
                    </a:lnTo>
                    <a:lnTo>
                      <a:pt x="571" y="641"/>
                    </a:lnTo>
                    <a:lnTo>
                      <a:pt x="570" y="640"/>
                    </a:lnTo>
                    <a:lnTo>
                      <a:pt x="570" y="641"/>
                    </a:lnTo>
                    <a:lnTo>
                      <a:pt x="571" y="641"/>
                    </a:lnTo>
                    <a:lnTo>
                      <a:pt x="571" y="642"/>
                    </a:lnTo>
                    <a:lnTo>
                      <a:pt x="570" y="641"/>
                    </a:lnTo>
                    <a:lnTo>
                      <a:pt x="570" y="640"/>
                    </a:lnTo>
                    <a:lnTo>
                      <a:pt x="569" y="640"/>
                    </a:lnTo>
                    <a:lnTo>
                      <a:pt x="569" y="639"/>
                    </a:lnTo>
                    <a:close/>
                    <a:moveTo>
                      <a:pt x="221" y="415"/>
                    </a:moveTo>
                    <a:lnTo>
                      <a:pt x="215" y="414"/>
                    </a:lnTo>
                    <a:lnTo>
                      <a:pt x="216" y="414"/>
                    </a:lnTo>
                    <a:lnTo>
                      <a:pt x="221" y="415"/>
                    </a:lnTo>
                    <a:close/>
                    <a:moveTo>
                      <a:pt x="335" y="343"/>
                    </a:moveTo>
                    <a:lnTo>
                      <a:pt x="336" y="343"/>
                    </a:lnTo>
                    <a:lnTo>
                      <a:pt x="336" y="345"/>
                    </a:lnTo>
                    <a:lnTo>
                      <a:pt x="335" y="345"/>
                    </a:lnTo>
                    <a:lnTo>
                      <a:pt x="335" y="343"/>
                    </a:lnTo>
                    <a:close/>
                    <a:moveTo>
                      <a:pt x="554" y="521"/>
                    </a:moveTo>
                    <a:lnTo>
                      <a:pt x="553" y="521"/>
                    </a:lnTo>
                    <a:lnTo>
                      <a:pt x="552" y="523"/>
                    </a:lnTo>
                    <a:lnTo>
                      <a:pt x="552" y="521"/>
                    </a:lnTo>
                    <a:lnTo>
                      <a:pt x="553" y="521"/>
                    </a:lnTo>
                    <a:lnTo>
                      <a:pt x="554" y="521"/>
                    </a:lnTo>
                    <a:close/>
                    <a:moveTo>
                      <a:pt x="183" y="345"/>
                    </a:moveTo>
                    <a:lnTo>
                      <a:pt x="184" y="345"/>
                    </a:lnTo>
                    <a:lnTo>
                      <a:pt x="184" y="346"/>
                    </a:lnTo>
                    <a:lnTo>
                      <a:pt x="183" y="346"/>
                    </a:lnTo>
                    <a:lnTo>
                      <a:pt x="183" y="345"/>
                    </a:lnTo>
                    <a:close/>
                    <a:moveTo>
                      <a:pt x="454" y="528"/>
                    </a:moveTo>
                    <a:lnTo>
                      <a:pt x="455" y="529"/>
                    </a:lnTo>
                    <a:lnTo>
                      <a:pt x="454" y="528"/>
                    </a:lnTo>
                    <a:lnTo>
                      <a:pt x="452" y="530"/>
                    </a:lnTo>
                    <a:lnTo>
                      <a:pt x="453" y="530"/>
                    </a:lnTo>
                    <a:lnTo>
                      <a:pt x="453" y="531"/>
                    </a:lnTo>
                    <a:lnTo>
                      <a:pt x="452" y="531"/>
                    </a:lnTo>
                    <a:lnTo>
                      <a:pt x="453" y="531"/>
                    </a:lnTo>
                    <a:lnTo>
                      <a:pt x="452" y="531"/>
                    </a:lnTo>
                    <a:lnTo>
                      <a:pt x="452" y="530"/>
                    </a:lnTo>
                    <a:lnTo>
                      <a:pt x="454" y="528"/>
                    </a:lnTo>
                    <a:close/>
                    <a:moveTo>
                      <a:pt x="546" y="555"/>
                    </a:moveTo>
                    <a:lnTo>
                      <a:pt x="546" y="556"/>
                    </a:lnTo>
                    <a:lnTo>
                      <a:pt x="546" y="555"/>
                    </a:lnTo>
                    <a:lnTo>
                      <a:pt x="545" y="555"/>
                    </a:lnTo>
                    <a:lnTo>
                      <a:pt x="544" y="555"/>
                    </a:lnTo>
                    <a:lnTo>
                      <a:pt x="544" y="556"/>
                    </a:lnTo>
                    <a:lnTo>
                      <a:pt x="543" y="556"/>
                    </a:lnTo>
                    <a:lnTo>
                      <a:pt x="545" y="555"/>
                    </a:lnTo>
                    <a:lnTo>
                      <a:pt x="546" y="555"/>
                    </a:lnTo>
                    <a:close/>
                    <a:moveTo>
                      <a:pt x="338" y="352"/>
                    </a:moveTo>
                    <a:lnTo>
                      <a:pt x="339" y="352"/>
                    </a:lnTo>
                    <a:lnTo>
                      <a:pt x="339" y="353"/>
                    </a:lnTo>
                    <a:lnTo>
                      <a:pt x="338" y="353"/>
                    </a:lnTo>
                    <a:lnTo>
                      <a:pt x="338" y="352"/>
                    </a:lnTo>
                    <a:close/>
                    <a:moveTo>
                      <a:pt x="462" y="442"/>
                    </a:moveTo>
                    <a:lnTo>
                      <a:pt x="464" y="442"/>
                    </a:lnTo>
                    <a:lnTo>
                      <a:pt x="464" y="444"/>
                    </a:lnTo>
                    <a:lnTo>
                      <a:pt x="462" y="444"/>
                    </a:lnTo>
                    <a:lnTo>
                      <a:pt x="462" y="442"/>
                    </a:lnTo>
                    <a:close/>
                    <a:moveTo>
                      <a:pt x="500" y="431"/>
                    </a:moveTo>
                    <a:lnTo>
                      <a:pt x="502" y="431"/>
                    </a:lnTo>
                    <a:lnTo>
                      <a:pt x="502" y="433"/>
                    </a:lnTo>
                    <a:lnTo>
                      <a:pt x="500" y="433"/>
                    </a:lnTo>
                    <a:lnTo>
                      <a:pt x="500" y="431"/>
                    </a:lnTo>
                    <a:close/>
                    <a:moveTo>
                      <a:pt x="180" y="358"/>
                    </a:moveTo>
                    <a:lnTo>
                      <a:pt x="181" y="358"/>
                    </a:lnTo>
                    <a:lnTo>
                      <a:pt x="181" y="360"/>
                    </a:lnTo>
                    <a:lnTo>
                      <a:pt x="180" y="360"/>
                    </a:lnTo>
                    <a:lnTo>
                      <a:pt x="180" y="358"/>
                    </a:lnTo>
                    <a:close/>
                    <a:moveTo>
                      <a:pt x="493" y="431"/>
                    </a:moveTo>
                    <a:lnTo>
                      <a:pt x="494" y="431"/>
                    </a:lnTo>
                    <a:lnTo>
                      <a:pt x="494" y="434"/>
                    </a:lnTo>
                    <a:lnTo>
                      <a:pt x="493" y="434"/>
                    </a:lnTo>
                    <a:lnTo>
                      <a:pt x="493" y="431"/>
                    </a:lnTo>
                    <a:close/>
                    <a:moveTo>
                      <a:pt x="182" y="353"/>
                    </a:moveTo>
                    <a:lnTo>
                      <a:pt x="184" y="353"/>
                    </a:lnTo>
                    <a:lnTo>
                      <a:pt x="184" y="354"/>
                    </a:lnTo>
                    <a:lnTo>
                      <a:pt x="182" y="354"/>
                    </a:lnTo>
                    <a:lnTo>
                      <a:pt x="182" y="353"/>
                    </a:lnTo>
                    <a:close/>
                    <a:moveTo>
                      <a:pt x="543" y="544"/>
                    </a:moveTo>
                    <a:lnTo>
                      <a:pt x="544" y="544"/>
                    </a:lnTo>
                    <a:lnTo>
                      <a:pt x="545" y="544"/>
                    </a:lnTo>
                    <a:lnTo>
                      <a:pt x="546" y="542"/>
                    </a:lnTo>
                    <a:lnTo>
                      <a:pt x="545" y="544"/>
                    </a:lnTo>
                    <a:lnTo>
                      <a:pt x="543" y="544"/>
                    </a:lnTo>
                    <a:lnTo>
                      <a:pt x="542" y="544"/>
                    </a:lnTo>
                    <a:lnTo>
                      <a:pt x="542" y="543"/>
                    </a:lnTo>
                    <a:lnTo>
                      <a:pt x="542" y="542"/>
                    </a:lnTo>
                    <a:lnTo>
                      <a:pt x="542" y="543"/>
                    </a:lnTo>
                    <a:lnTo>
                      <a:pt x="542" y="544"/>
                    </a:lnTo>
                    <a:lnTo>
                      <a:pt x="543" y="544"/>
                    </a:lnTo>
                    <a:close/>
                    <a:moveTo>
                      <a:pt x="330" y="257"/>
                    </a:moveTo>
                    <a:lnTo>
                      <a:pt x="331" y="257"/>
                    </a:lnTo>
                    <a:lnTo>
                      <a:pt x="331" y="259"/>
                    </a:lnTo>
                    <a:lnTo>
                      <a:pt x="330" y="259"/>
                    </a:lnTo>
                    <a:lnTo>
                      <a:pt x="330" y="257"/>
                    </a:lnTo>
                    <a:close/>
                    <a:moveTo>
                      <a:pt x="176" y="412"/>
                    </a:moveTo>
                    <a:lnTo>
                      <a:pt x="178" y="412"/>
                    </a:lnTo>
                    <a:lnTo>
                      <a:pt x="178" y="413"/>
                    </a:lnTo>
                    <a:lnTo>
                      <a:pt x="176" y="413"/>
                    </a:lnTo>
                    <a:lnTo>
                      <a:pt x="176" y="412"/>
                    </a:lnTo>
                    <a:close/>
                    <a:moveTo>
                      <a:pt x="228" y="389"/>
                    </a:moveTo>
                    <a:lnTo>
                      <a:pt x="229" y="389"/>
                    </a:lnTo>
                    <a:lnTo>
                      <a:pt x="229" y="391"/>
                    </a:lnTo>
                    <a:lnTo>
                      <a:pt x="228" y="391"/>
                    </a:lnTo>
                    <a:lnTo>
                      <a:pt x="228" y="389"/>
                    </a:lnTo>
                    <a:close/>
                    <a:moveTo>
                      <a:pt x="180" y="351"/>
                    </a:moveTo>
                    <a:lnTo>
                      <a:pt x="182" y="351"/>
                    </a:lnTo>
                    <a:lnTo>
                      <a:pt x="182" y="352"/>
                    </a:lnTo>
                    <a:lnTo>
                      <a:pt x="180" y="352"/>
                    </a:lnTo>
                    <a:lnTo>
                      <a:pt x="180" y="351"/>
                    </a:lnTo>
                    <a:close/>
                    <a:moveTo>
                      <a:pt x="194" y="360"/>
                    </a:moveTo>
                    <a:lnTo>
                      <a:pt x="195" y="362"/>
                    </a:lnTo>
                    <a:lnTo>
                      <a:pt x="196" y="362"/>
                    </a:lnTo>
                    <a:lnTo>
                      <a:pt x="196" y="363"/>
                    </a:lnTo>
                    <a:lnTo>
                      <a:pt x="195" y="363"/>
                    </a:lnTo>
                    <a:lnTo>
                      <a:pt x="195" y="362"/>
                    </a:lnTo>
                    <a:lnTo>
                      <a:pt x="195" y="361"/>
                    </a:lnTo>
                    <a:lnTo>
                      <a:pt x="194" y="361"/>
                    </a:lnTo>
                    <a:lnTo>
                      <a:pt x="194" y="360"/>
                    </a:lnTo>
                    <a:close/>
                    <a:moveTo>
                      <a:pt x="566" y="564"/>
                    </a:moveTo>
                    <a:lnTo>
                      <a:pt x="566" y="565"/>
                    </a:lnTo>
                    <a:lnTo>
                      <a:pt x="567" y="565"/>
                    </a:lnTo>
                    <a:lnTo>
                      <a:pt x="567" y="566"/>
                    </a:lnTo>
                    <a:lnTo>
                      <a:pt x="567" y="565"/>
                    </a:lnTo>
                    <a:lnTo>
                      <a:pt x="566" y="565"/>
                    </a:lnTo>
                    <a:lnTo>
                      <a:pt x="566" y="564"/>
                    </a:lnTo>
                    <a:close/>
                    <a:moveTo>
                      <a:pt x="577" y="498"/>
                    </a:moveTo>
                    <a:lnTo>
                      <a:pt x="578" y="498"/>
                    </a:lnTo>
                    <a:lnTo>
                      <a:pt x="578" y="499"/>
                    </a:lnTo>
                    <a:lnTo>
                      <a:pt x="577" y="499"/>
                    </a:lnTo>
                    <a:lnTo>
                      <a:pt x="577" y="498"/>
                    </a:lnTo>
                    <a:close/>
                    <a:moveTo>
                      <a:pt x="207" y="403"/>
                    </a:moveTo>
                    <a:lnTo>
                      <a:pt x="208" y="403"/>
                    </a:lnTo>
                    <a:lnTo>
                      <a:pt x="210" y="403"/>
                    </a:lnTo>
                    <a:lnTo>
                      <a:pt x="209" y="404"/>
                    </a:lnTo>
                    <a:lnTo>
                      <a:pt x="209" y="403"/>
                    </a:lnTo>
                    <a:lnTo>
                      <a:pt x="208" y="403"/>
                    </a:lnTo>
                    <a:lnTo>
                      <a:pt x="207" y="403"/>
                    </a:lnTo>
                    <a:close/>
                    <a:moveTo>
                      <a:pt x="182" y="361"/>
                    </a:moveTo>
                    <a:lnTo>
                      <a:pt x="182" y="363"/>
                    </a:lnTo>
                    <a:lnTo>
                      <a:pt x="182" y="361"/>
                    </a:lnTo>
                    <a:lnTo>
                      <a:pt x="181" y="361"/>
                    </a:lnTo>
                    <a:lnTo>
                      <a:pt x="180" y="361"/>
                    </a:lnTo>
                    <a:lnTo>
                      <a:pt x="180" y="359"/>
                    </a:lnTo>
                    <a:lnTo>
                      <a:pt x="179" y="358"/>
                    </a:lnTo>
                    <a:lnTo>
                      <a:pt x="180" y="358"/>
                    </a:lnTo>
                    <a:lnTo>
                      <a:pt x="180" y="357"/>
                    </a:lnTo>
                    <a:lnTo>
                      <a:pt x="181" y="357"/>
                    </a:lnTo>
                    <a:lnTo>
                      <a:pt x="181" y="358"/>
                    </a:lnTo>
                    <a:lnTo>
                      <a:pt x="180" y="358"/>
                    </a:lnTo>
                    <a:lnTo>
                      <a:pt x="180" y="361"/>
                    </a:lnTo>
                    <a:lnTo>
                      <a:pt x="181" y="361"/>
                    </a:lnTo>
                    <a:lnTo>
                      <a:pt x="182" y="361"/>
                    </a:lnTo>
                    <a:close/>
                    <a:moveTo>
                      <a:pt x="568" y="563"/>
                    </a:moveTo>
                    <a:lnTo>
                      <a:pt x="569" y="563"/>
                    </a:lnTo>
                    <a:lnTo>
                      <a:pt x="569" y="564"/>
                    </a:lnTo>
                    <a:lnTo>
                      <a:pt x="568" y="564"/>
                    </a:lnTo>
                    <a:lnTo>
                      <a:pt x="568" y="563"/>
                    </a:lnTo>
                    <a:close/>
                    <a:moveTo>
                      <a:pt x="208" y="412"/>
                    </a:moveTo>
                    <a:lnTo>
                      <a:pt x="207" y="412"/>
                    </a:lnTo>
                    <a:lnTo>
                      <a:pt x="207" y="411"/>
                    </a:lnTo>
                    <a:lnTo>
                      <a:pt x="208" y="410"/>
                    </a:lnTo>
                    <a:lnTo>
                      <a:pt x="208" y="411"/>
                    </a:lnTo>
                    <a:lnTo>
                      <a:pt x="207" y="412"/>
                    </a:lnTo>
                    <a:lnTo>
                      <a:pt x="208" y="412"/>
                    </a:lnTo>
                    <a:close/>
                    <a:moveTo>
                      <a:pt x="257" y="171"/>
                    </a:moveTo>
                    <a:lnTo>
                      <a:pt x="259" y="171"/>
                    </a:lnTo>
                    <a:lnTo>
                      <a:pt x="259" y="172"/>
                    </a:lnTo>
                    <a:lnTo>
                      <a:pt x="257" y="172"/>
                    </a:lnTo>
                    <a:lnTo>
                      <a:pt x="257" y="171"/>
                    </a:lnTo>
                    <a:close/>
                    <a:moveTo>
                      <a:pt x="227" y="415"/>
                    </a:moveTo>
                    <a:lnTo>
                      <a:pt x="222" y="415"/>
                    </a:lnTo>
                    <a:lnTo>
                      <a:pt x="223" y="415"/>
                    </a:lnTo>
                    <a:lnTo>
                      <a:pt x="227" y="415"/>
                    </a:lnTo>
                    <a:close/>
                    <a:moveTo>
                      <a:pt x="499" y="468"/>
                    </a:moveTo>
                    <a:lnTo>
                      <a:pt x="500" y="468"/>
                    </a:lnTo>
                    <a:lnTo>
                      <a:pt x="500" y="469"/>
                    </a:lnTo>
                    <a:lnTo>
                      <a:pt x="499" y="469"/>
                    </a:lnTo>
                    <a:lnTo>
                      <a:pt x="499" y="468"/>
                    </a:lnTo>
                    <a:close/>
                    <a:moveTo>
                      <a:pt x="273" y="369"/>
                    </a:moveTo>
                    <a:lnTo>
                      <a:pt x="273" y="370"/>
                    </a:lnTo>
                    <a:lnTo>
                      <a:pt x="272" y="370"/>
                    </a:lnTo>
                    <a:lnTo>
                      <a:pt x="272" y="371"/>
                    </a:lnTo>
                    <a:lnTo>
                      <a:pt x="271" y="371"/>
                    </a:lnTo>
                    <a:lnTo>
                      <a:pt x="272" y="370"/>
                    </a:lnTo>
                    <a:lnTo>
                      <a:pt x="272" y="369"/>
                    </a:lnTo>
                    <a:lnTo>
                      <a:pt x="273" y="369"/>
                    </a:lnTo>
                    <a:close/>
                    <a:moveTo>
                      <a:pt x="206" y="390"/>
                    </a:moveTo>
                    <a:lnTo>
                      <a:pt x="207" y="390"/>
                    </a:lnTo>
                    <a:lnTo>
                      <a:pt x="207" y="392"/>
                    </a:lnTo>
                    <a:lnTo>
                      <a:pt x="206" y="392"/>
                    </a:lnTo>
                    <a:lnTo>
                      <a:pt x="206" y="390"/>
                    </a:lnTo>
                    <a:close/>
                    <a:moveTo>
                      <a:pt x="149" y="390"/>
                    </a:moveTo>
                    <a:lnTo>
                      <a:pt x="150" y="390"/>
                    </a:lnTo>
                    <a:lnTo>
                      <a:pt x="150" y="391"/>
                    </a:lnTo>
                    <a:lnTo>
                      <a:pt x="149" y="391"/>
                    </a:lnTo>
                    <a:lnTo>
                      <a:pt x="149" y="390"/>
                    </a:lnTo>
                    <a:close/>
                    <a:moveTo>
                      <a:pt x="328" y="331"/>
                    </a:moveTo>
                    <a:lnTo>
                      <a:pt x="328" y="332"/>
                    </a:lnTo>
                    <a:lnTo>
                      <a:pt x="326" y="332"/>
                    </a:lnTo>
                    <a:lnTo>
                      <a:pt x="325" y="332"/>
                    </a:lnTo>
                    <a:lnTo>
                      <a:pt x="326" y="331"/>
                    </a:lnTo>
                    <a:lnTo>
                      <a:pt x="328" y="331"/>
                    </a:lnTo>
                    <a:close/>
                    <a:moveTo>
                      <a:pt x="488" y="422"/>
                    </a:moveTo>
                    <a:lnTo>
                      <a:pt x="490" y="422"/>
                    </a:lnTo>
                    <a:lnTo>
                      <a:pt x="490" y="423"/>
                    </a:lnTo>
                    <a:lnTo>
                      <a:pt x="488" y="423"/>
                    </a:lnTo>
                    <a:lnTo>
                      <a:pt x="488" y="422"/>
                    </a:lnTo>
                    <a:close/>
                    <a:moveTo>
                      <a:pt x="223" y="396"/>
                    </a:moveTo>
                    <a:lnTo>
                      <a:pt x="225" y="396"/>
                    </a:lnTo>
                    <a:lnTo>
                      <a:pt x="225" y="397"/>
                    </a:lnTo>
                    <a:lnTo>
                      <a:pt x="225" y="398"/>
                    </a:lnTo>
                    <a:lnTo>
                      <a:pt x="223" y="398"/>
                    </a:lnTo>
                    <a:lnTo>
                      <a:pt x="225" y="397"/>
                    </a:lnTo>
                    <a:lnTo>
                      <a:pt x="223" y="398"/>
                    </a:lnTo>
                    <a:lnTo>
                      <a:pt x="225" y="397"/>
                    </a:lnTo>
                    <a:lnTo>
                      <a:pt x="225" y="396"/>
                    </a:lnTo>
                    <a:lnTo>
                      <a:pt x="223" y="396"/>
                    </a:lnTo>
                    <a:lnTo>
                      <a:pt x="223" y="397"/>
                    </a:lnTo>
                    <a:lnTo>
                      <a:pt x="225" y="397"/>
                    </a:lnTo>
                    <a:lnTo>
                      <a:pt x="223" y="397"/>
                    </a:lnTo>
                    <a:lnTo>
                      <a:pt x="223" y="396"/>
                    </a:lnTo>
                    <a:close/>
                    <a:moveTo>
                      <a:pt x="206" y="388"/>
                    </a:moveTo>
                    <a:lnTo>
                      <a:pt x="205" y="388"/>
                    </a:lnTo>
                    <a:lnTo>
                      <a:pt x="205" y="386"/>
                    </a:lnTo>
                    <a:lnTo>
                      <a:pt x="205" y="385"/>
                    </a:lnTo>
                    <a:lnTo>
                      <a:pt x="205" y="384"/>
                    </a:lnTo>
                    <a:lnTo>
                      <a:pt x="205" y="385"/>
                    </a:lnTo>
                    <a:lnTo>
                      <a:pt x="205" y="386"/>
                    </a:lnTo>
                    <a:lnTo>
                      <a:pt x="205" y="387"/>
                    </a:lnTo>
                    <a:lnTo>
                      <a:pt x="206" y="388"/>
                    </a:lnTo>
                    <a:close/>
                    <a:moveTo>
                      <a:pt x="465" y="609"/>
                    </a:moveTo>
                    <a:lnTo>
                      <a:pt x="464" y="609"/>
                    </a:lnTo>
                    <a:lnTo>
                      <a:pt x="465" y="610"/>
                    </a:lnTo>
                    <a:lnTo>
                      <a:pt x="465" y="611"/>
                    </a:lnTo>
                    <a:lnTo>
                      <a:pt x="465" y="610"/>
                    </a:lnTo>
                    <a:lnTo>
                      <a:pt x="464" y="609"/>
                    </a:lnTo>
                    <a:lnTo>
                      <a:pt x="465" y="608"/>
                    </a:lnTo>
                    <a:lnTo>
                      <a:pt x="465" y="609"/>
                    </a:lnTo>
                    <a:close/>
                    <a:moveTo>
                      <a:pt x="566" y="549"/>
                    </a:moveTo>
                    <a:lnTo>
                      <a:pt x="567" y="549"/>
                    </a:lnTo>
                    <a:lnTo>
                      <a:pt x="567" y="550"/>
                    </a:lnTo>
                    <a:lnTo>
                      <a:pt x="567" y="549"/>
                    </a:lnTo>
                    <a:lnTo>
                      <a:pt x="567" y="550"/>
                    </a:lnTo>
                    <a:lnTo>
                      <a:pt x="568" y="550"/>
                    </a:lnTo>
                    <a:lnTo>
                      <a:pt x="568" y="551"/>
                    </a:lnTo>
                    <a:lnTo>
                      <a:pt x="567" y="551"/>
                    </a:lnTo>
                    <a:lnTo>
                      <a:pt x="567" y="550"/>
                    </a:lnTo>
                    <a:lnTo>
                      <a:pt x="566" y="549"/>
                    </a:lnTo>
                    <a:lnTo>
                      <a:pt x="565" y="549"/>
                    </a:lnTo>
                    <a:lnTo>
                      <a:pt x="566" y="549"/>
                    </a:lnTo>
                    <a:close/>
                    <a:moveTo>
                      <a:pt x="195" y="392"/>
                    </a:moveTo>
                    <a:lnTo>
                      <a:pt x="196" y="392"/>
                    </a:lnTo>
                    <a:lnTo>
                      <a:pt x="196" y="393"/>
                    </a:lnTo>
                    <a:lnTo>
                      <a:pt x="195" y="393"/>
                    </a:lnTo>
                    <a:lnTo>
                      <a:pt x="195" y="392"/>
                    </a:lnTo>
                    <a:close/>
                    <a:moveTo>
                      <a:pt x="296" y="386"/>
                    </a:moveTo>
                    <a:lnTo>
                      <a:pt x="298" y="386"/>
                    </a:lnTo>
                    <a:lnTo>
                      <a:pt x="298" y="387"/>
                    </a:lnTo>
                    <a:lnTo>
                      <a:pt x="296" y="387"/>
                    </a:lnTo>
                    <a:lnTo>
                      <a:pt x="296" y="386"/>
                    </a:lnTo>
                    <a:close/>
                    <a:moveTo>
                      <a:pt x="418" y="549"/>
                    </a:moveTo>
                    <a:lnTo>
                      <a:pt x="419" y="549"/>
                    </a:lnTo>
                    <a:lnTo>
                      <a:pt x="419" y="550"/>
                    </a:lnTo>
                    <a:lnTo>
                      <a:pt x="418" y="550"/>
                    </a:lnTo>
                    <a:lnTo>
                      <a:pt x="418" y="549"/>
                    </a:lnTo>
                    <a:close/>
                    <a:moveTo>
                      <a:pt x="252" y="225"/>
                    </a:moveTo>
                    <a:lnTo>
                      <a:pt x="252" y="226"/>
                    </a:lnTo>
                    <a:lnTo>
                      <a:pt x="252" y="228"/>
                    </a:lnTo>
                    <a:lnTo>
                      <a:pt x="252" y="226"/>
                    </a:lnTo>
                    <a:lnTo>
                      <a:pt x="253" y="226"/>
                    </a:lnTo>
                    <a:lnTo>
                      <a:pt x="253" y="228"/>
                    </a:lnTo>
                    <a:lnTo>
                      <a:pt x="252" y="228"/>
                    </a:lnTo>
                    <a:lnTo>
                      <a:pt x="253" y="228"/>
                    </a:lnTo>
                    <a:lnTo>
                      <a:pt x="252" y="228"/>
                    </a:lnTo>
                    <a:lnTo>
                      <a:pt x="252" y="226"/>
                    </a:lnTo>
                    <a:lnTo>
                      <a:pt x="251" y="226"/>
                    </a:lnTo>
                    <a:lnTo>
                      <a:pt x="251" y="225"/>
                    </a:lnTo>
                    <a:lnTo>
                      <a:pt x="252" y="225"/>
                    </a:lnTo>
                    <a:close/>
                    <a:moveTo>
                      <a:pt x="498" y="570"/>
                    </a:moveTo>
                    <a:lnTo>
                      <a:pt x="499" y="570"/>
                    </a:lnTo>
                    <a:lnTo>
                      <a:pt x="499" y="571"/>
                    </a:lnTo>
                    <a:lnTo>
                      <a:pt x="498" y="571"/>
                    </a:lnTo>
                    <a:lnTo>
                      <a:pt x="498" y="570"/>
                    </a:lnTo>
                    <a:close/>
                    <a:moveTo>
                      <a:pt x="424" y="393"/>
                    </a:moveTo>
                    <a:lnTo>
                      <a:pt x="425" y="393"/>
                    </a:lnTo>
                    <a:lnTo>
                      <a:pt x="425" y="396"/>
                    </a:lnTo>
                    <a:lnTo>
                      <a:pt x="424" y="396"/>
                    </a:lnTo>
                    <a:lnTo>
                      <a:pt x="424" y="393"/>
                    </a:lnTo>
                    <a:close/>
                    <a:moveTo>
                      <a:pt x="270" y="274"/>
                    </a:moveTo>
                    <a:lnTo>
                      <a:pt x="271" y="274"/>
                    </a:lnTo>
                    <a:lnTo>
                      <a:pt x="272" y="274"/>
                    </a:lnTo>
                    <a:lnTo>
                      <a:pt x="272" y="275"/>
                    </a:lnTo>
                    <a:lnTo>
                      <a:pt x="271" y="275"/>
                    </a:lnTo>
                    <a:lnTo>
                      <a:pt x="270" y="275"/>
                    </a:lnTo>
                    <a:lnTo>
                      <a:pt x="270" y="274"/>
                    </a:lnTo>
                    <a:close/>
                    <a:moveTo>
                      <a:pt x="227" y="402"/>
                    </a:moveTo>
                    <a:lnTo>
                      <a:pt x="228" y="402"/>
                    </a:lnTo>
                    <a:lnTo>
                      <a:pt x="228" y="404"/>
                    </a:lnTo>
                    <a:lnTo>
                      <a:pt x="227" y="404"/>
                    </a:lnTo>
                    <a:lnTo>
                      <a:pt x="227" y="402"/>
                    </a:lnTo>
                    <a:close/>
                    <a:moveTo>
                      <a:pt x="557" y="540"/>
                    </a:moveTo>
                    <a:lnTo>
                      <a:pt x="558" y="540"/>
                    </a:lnTo>
                    <a:lnTo>
                      <a:pt x="558" y="541"/>
                    </a:lnTo>
                    <a:lnTo>
                      <a:pt x="557" y="541"/>
                    </a:lnTo>
                    <a:lnTo>
                      <a:pt x="557" y="540"/>
                    </a:lnTo>
                    <a:close/>
                    <a:moveTo>
                      <a:pt x="558" y="517"/>
                    </a:moveTo>
                    <a:lnTo>
                      <a:pt x="560" y="517"/>
                    </a:lnTo>
                    <a:lnTo>
                      <a:pt x="560" y="518"/>
                    </a:lnTo>
                    <a:lnTo>
                      <a:pt x="558" y="518"/>
                    </a:lnTo>
                    <a:lnTo>
                      <a:pt x="558" y="517"/>
                    </a:lnTo>
                    <a:close/>
                    <a:moveTo>
                      <a:pt x="499" y="427"/>
                    </a:moveTo>
                    <a:lnTo>
                      <a:pt x="501" y="427"/>
                    </a:lnTo>
                    <a:lnTo>
                      <a:pt x="501" y="428"/>
                    </a:lnTo>
                    <a:lnTo>
                      <a:pt x="499" y="428"/>
                    </a:lnTo>
                    <a:lnTo>
                      <a:pt x="499" y="427"/>
                    </a:lnTo>
                    <a:close/>
                    <a:moveTo>
                      <a:pt x="502" y="462"/>
                    </a:moveTo>
                    <a:lnTo>
                      <a:pt x="502" y="464"/>
                    </a:lnTo>
                    <a:lnTo>
                      <a:pt x="502" y="462"/>
                    </a:lnTo>
                    <a:close/>
                    <a:moveTo>
                      <a:pt x="252" y="272"/>
                    </a:moveTo>
                    <a:lnTo>
                      <a:pt x="254" y="272"/>
                    </a:lnTo>
                    <a:lnTo>
                      <a:pt x="254" y="273"/>
                    </a:lnTo>
                    <a:lnTo>
                      <a:pt x="252" y="273"/>
                    </a:lnTo>
                    <a:lnTo>
                      <a:pt x="252" y="272"/>
                    </a:lnTo>
                    <a:close/>
                    <a:moveTo>
                      <a:pt x="550" y="550"/>
                    </a:moveTo>
                    <a:lnTo>
                      <a:pt x="550" y="551"/>
                    </a:lnTo>
                    <a:lnTo>
                      <a:pt x="551" y="551"/>
                    </a:lnTo>
                    <a:lnTo>
                      <a:pt x="552" y="551"/>
                    </a:lnTo>
                    <a:lnTo>
                      <a:pt x="551" y="551"/>
                    </a:lnTo>
                    <a:lnTo>
                      <a:pt x="550" y="551"/>
                    </a:lnTo>
                    <a:lnTo>
                      <a:pt x="550" y="550"/>
                    </a:lnTo>
                    <a:close/>
                    <a:moveTo>
                      <a:pt x="161" y="389"/>
                    </a:moveTo>
                    <a:lnTo>
                      <a:pt x="163" y="389"/>
                    </a:lnTo>
                    <a:lnTo>
                      <a:pt x="163" y="390"/>
                    </a:lnTo>
                    <a:lnTo>
                      <a:pt x="161" y="390"/>
                    </a:lnTo>
                    <a:lnTo>
                      <a:pt x="161" y="389"/>
                    </a:lnTo>
                    <a:close/>
                    <a:moveTo>
                      <a:pt x="499" y="467"/>
                    </a:moveTo>
                    <a:lnTo>
                      <a:pt x="500" y="467"/>
                    </a:lnTo>
                    <a:lnTo>
                      <a:pt x="500" y="468"/>
                    </a:lnTo>
                    <a:lnTo>
                      <a:pt x="499" y="468"/>
                    </a:lnTo>
                    <a:lnTo>
                      <a:pt x="499" y="467"/>
                    </a:lnTo>
                    <a:close/>
                    <a:moveTo>
                      <a:pt x="242" y="406"/>
                    </a:moveTo>
                    <a:lnTo>
                      <a:pt x="244" y="406"/>
                    </a:lnTo>
                    <a:lnTo>
                      <a:pt x="244" y="408"/>
                    </a:lnTo>
                    <a:lnTo>
                      <a:pt x="242" y="408"/>
                    </a:lnTo>
                    <a:lnTo>
                      <a:pt x="242" y="406"/>
                    </a:lnTo>
                    <a:close/>
                    <a:moveTo>
                      <a:pt x="328" y="343"/>
                    </a:moveTo>
                    <a:lnTo>
                      <a:pt x="329" y="343"/>
                    </a:lnTo>
                    <a:lnTo>
                      <a:pt x="329" y="345"/>
                    </a:lnTo>
                    <a:lnTo>
                      <a:pt x="328" y="345"/>
                    </a:lnTo>
                    <a:lnTo>
                      <a:pt x="328" y="343"/>
                    </a:lnTo>
                    <a:close/>
                    <a:moveTo>
                      <a:pt x="382" y="363"/>
                    </a:moveTo>
                    <a:lnTo>
                      <a:pt x="381" y="363"/>
                    </a:lnTo>
                    <a:lnTo>
                      <a:pt x="382" y="363"/>
                    </a:lnTo>
                    <a:lnTo>
                      <a:pt x="382" y="362"/>
                    </a:lnTo>
                    <a:lnTo>
                      <a:pt x="382" y="363"/>
                    </a:lnTo>
                    <a:close/>
                    <a:moveTo>
                      <a:pt x="274" y="401"/>
                    </a:moveTo>
                    <a:lnTo>
                      <a:pt x="276" y="402"/>
                    </a:lnTo>
                    <a:lnTo>
                      <a:pt x="278" y="404"/>
                    </a:lnTo>
                    <a:lnTo>
                      <a:pt x="276" y="402"/>
                    </a:lnTo>
                    <a:lnTo>
                      <a:pt x="274" y="401"/>
                    </a:lnTo>
                    <a:close/>
                    <a:moveTo>
                      <a:pt x="500" y="460"/>
                    </a:moveTo>
                    <a:lnTo>
                      <a:pt x="501" y="460"/>
                    </a:lnTo>
                    <a:lnTo>
                      <a:pt x="501" y="461"/>
                    </a:lnTo>
                    <a:lnTo>
                      <a:pt x="500" y="461"/>
                    </a:lnTo>
                    <a:lnTo>
                      <a:pt x="500" y="460"/>
                    </a:lnTo>
                    <a:close/>
                    <a:moveTo>
                      <a:pt x="477" y="422"/>
                    </a:moveTo>
                    <a:lnTo>
                      <a:pt x="479" y="422"/>
                    </a:lnTo>
                    <a:lnTo>
                      <a:pt x="479" y="423"/>
                    </a:lnTo>
                    <a:lnTo>
                      <a:pt x="477" y="423"/>
                    </a:lnTo>
                    <a:lnTo>
                      <a:pt x="477" y="422"/>
                    </a:lnTo>
                    <a:close/>
                    <a:moveTo>
                      <a:pt x="179" y="362"/>
                    </a:moveTo>
                    <a:lnTo>
                      <a:pt x="180" y="362"/>
                    </a:lnTo>
                    <a:lnTo>
                      <a:pt x="179" y="362"/>
                    </a:lnTo>
                    <a:close/>
                    <a:moveTo>
                      <a:pt x="415" y="374"/>
                    </a:moveTo>
                    <a:lnTo>
                      <a:pt x="414" y="375"/>
                    </a:lnTo>
                    <a:lnTo>
                      <a:pt x="413" y="375"/>
                    </a:lnTo>
                    <a:lnTo>
                      <a:pt x="414" y="375"/>
                    </a:lnTo>
                    <a:lnTo>
                      <a:pt x="414" y="374"/>
                    </a:lnTo>
                    <a:lnTo>
                      <a:pt x="415" y="374"/>
                    </a:lnTo>
                    <a:close/>
                    <a:moveTo>
                      <a:pt x="269" y="430"/>
                    </a:moveTo>
                    <a:lnTo>
                      <a:pt x="268" y="430"/>
                    </a:lnTo>
                    <a:lnTo>
                      <a:pt x="267" y="430"/>
                    </a:lnTo>
                    <a:lnTo>
                      <a:pt x="267" y="429"/>
                    </a:lnTo>
                    <a:lnTo>
                      <a:pt x="268" y="429"/>
                    </a:lnTo>
                    <a:lnTo>
                      <a:pt x="267" y="429"/>
                    </a:lnTo>
                    <a:lnTo>
                      <a:pt x="269" y="429"/>
                    </a:lnTo>
                    <a:lnTo>
                      <a:pt x="269" y="430"/>
                    </a:lnTo>
                    <a:close/>
                    <a:moveTo>
                      <a:pt x="213" y="357"/>
                    </a:moveTo>
                    <a:lnTo>
                      <a:pt x="214" y="357"/>
                    </a:lnTo>
                    <a:lnTo>
                      <a:pt x="214" y="358"/>
                    </a:lnTo>
                    <a:lnTo>
                      <a:pt x="213" y="358"/>
                    </a:lnTo>
                    <a:lnTo>
                      <a:pt x="213" y="357"/>
                    </a:lnTo>
                    <a:close/>
                    <a:moveTo>
                      <a:pt x="241" y="204"/>
                    </a:moveTo>
                    <a:lnTo>
                      <a:pt x="242" y="204"/>
                    </a:lnTo>
                    <a:lnTo>
                      <a:pt x="243" y="204"/>
                    </a:lnTo>
                    <a:lnTo>
                      <a:pt x="243" y="205"/>
                    </a:lnTo>
                    <a:lnTo>
                      <a:pt x="242" y="204"/>
                    </a:lnTo>
                    <a:lnTo>
                      <a:pt x="241" y="204"/>
                    </a:lnTo>
                    <a:close/>
                    <a:moveTo>
                      <a:pt x="141" y="377"/>
                    </a:moveTo>
                    <a:lnTo>
                      <a:pt x="142" y="377"/>
                    </a:lnTo>
                    <a:lnTo>
                      <a:pt x="143" y="377"/>
                    </a:lnTo>
                    <a:lnTo>
                      <a:pt x="142" y="377"/>
                    </a:lnTo>
                    <a:lnTo>
                      <a:pt x="141" y="377"/>
                    </a:lnTo>
                    <a:lnTo>
                      <a:pt x="141" y="376"/>
                    </a:lnTo>
                    <a:lnTo>
                      <a:pt x="141" y="377"/>
                    </a:lnTo>
                    <a:close/>
                    <a:moveTo>
                      <a:pt x="174" y="347"/>
                    </a:moveTo>
                    <a:lnTo>
                      <a:pt x="175" y="347"/>
                    </a:lnTo>
                    <a:lnTo>
                      <a:pt x="175" y="348"/>
                    </a:lnTo>
                    <a:lnTo>
                      <a:pt x="174" y="348"/>
                    </a:lnTo>
                    <a:lnTo>
                      <a:pt x="174" y="347"/>
                    </a:lnTo>
                    <a:close/>
                    <a:moveTo>
                      <a:pt x="570" y="557"/>
                    </a:moveTo>
                    <a:lnTo>
                      <a:pt x="571" y="557"/>
                    </a:lnTo>
                    <a:lnTo>
                      <a:pt x="571" y="558"/>
                    </a:lnTo>
                    <a:lnTo>
                      <a:pt x="570" y="558"/>
                    </a:lnTo>
                    <a:lnTo>
                      <a:pt x="570" y="557"/>
                    </a:lnTo>
                    <a:close/>
                    <a:moveTo>
                      <a:pt x="235" y="237"/>
                    </a:moveTo>
                    <a:lnTo>
                      <a:pt x="234" y="236"/>
                    </a:lnTo>
                    <a:lnTo>
                      <a:pt x="233" y="236"/>
                    </a:lnTo>
                    <a:lnTo>
                      <a:pt x="234" y="235"/>
                    </a:lnTo>
                    <a:lnTo>
                      <a:pt x="234" y="236"/>
                    </a:lnTo>
                    <a:lnTo>
                      <a:pt x="235" y="236"/>
                    </a:lnTo>
                    <a:lnTo>
                      <a:pt x="235" y="237"/>
                    </a:lnTo>
                    <a:close/>
                    <a:moveTo>
                      <a:pt x="245" y="418"/>
                    </a:moveTo>
                    <a:lnTo>
                      <a:pt x="244" y="418"/>
                    </a:lnTo>
                    <a:lnTo>
                      <a:pt x="239" y="417"/>
                    </a:lnTo>
                    <a:lnTo>
                      <a:pt x="245" y="418"/>
                    </a:lnTo>
                    <a:close/>
                    <a:moveTo>
                      <a:pt x="568" y="556"/>
                    </a:moveTo>
                    <a:lnTo>
                      <a:pt x="567" y="556"/>
                    </a:lnTo>
                    <a:lnTo>
                      <a:pt x="566" y="556"/>
                    </a:lnTo>
                    <a:lnTo>
                      <a:pt x="566" y="555"/>
                    </a:lnTo>
                    <a:lnTo>
                      <a:pt x="567" y="555"/>
                    </a:lnTo>
                    <a:lnTo>
                      <a:pt x="566" y="555"/>
                    </a:lnTo>
                    <a:lnTo>
                      <a:pt x="567" y="555"/>
                    </a:lnTo>
                    <a:lnTo>
                      <a:pt x="567" y="556"/>
                    </a:lnTo>
                    <a:lnTo>
                      <a:pt x="568" y="556"/>
                    </a:lnTo>
                    <a:close/>
                    <a:moveTo>
                      <a:pt x="545" y="533"/>
                    </a:moveTo>
                    <a:lnTo>
                      <a:pt x="546" y="533"/>
                    </a:lnTo>
                    <a:lnTo>
                      <a:pt x="546" y="534"/>
                    </a:lnTo>
                    <a:lnTo>
                      <a:pt x="545" y="534"/>
                    </a:lnTo>
                    <a:lnTo>
                      <a:pt x="545" y="533"/>
                    </a:lnTo>
                    <a:close/>
                    <a:moveTo>
                      <a:pt x="191" y="412"/>
                    </a:moveTo>
                    <a:lnTo>
                      <a:pt x="190" y="412"/>
                    </a:lnTo>
                    <a:lnTo>
                      <a:pt x="189" y="412"/>
                    </a:lnTo>
                    <a:lnTo>
                      <a:pt x="191" y="412"/>
                    </a:lnTo>
                    <a:close/>
                    <a:moveTo>
                      <a:pt x="342" y="462"/>
                    </a:moveTo>
                    <a:lnTo>
                      <a:pt x="341" y="462"/>
                    </a:lnTo>
                    <a:lnTo>
                      <a:pt x="342" y="461"/>
                    </a:lnTo>
                    <a:lnTo>
                      <a:pt x="342" y="460"/>
                    </a:lnTo>
                    <a:lnTo>
                      <a:pt x="342" y="461"/>
                    </a:lnTo>
                    <a:lnTo>
                      <a:pt x="342" y="462"/>
                    </a:lnTo>
                    <a:close/>
                    <a:moveTo>
                      <a:pt x="500" y="470"/>
                    </a:moveTo>
                    <a:lnTo>
                      <a:pt x="501" y="470"/>
                    </a:lnTo>
                    <a:lnTo>
                      <a:pt x="501" y="473"/>
                    </a:lnTo>
                    <a:lnTo>
                      <a:pt x="500" y="473"/>
                    </a:lnTo>
                    <a:lnTo>
                      <a:pt x="500" y="470"/>
                    </a:lnTo>
                    <a:close/>
                    <a:moveTo>
                      <a:pt x="463" y="616"/>
                    </a:moveTo>
                    <a:lnTo>
                      <a:pt x="462" y="616"/>
                    </a:lnTo>
                    <a:lnTo>
                      <a:pt x="462" y="615"/>
                    </a:lnTo>
                    <a:lnTo>
                      <a:pt x="461" y="614"/>
                    </a:lnTo>
                    <a:lnTo>
                      <a:pt x="461" y="613"/>
                    </a:lnTo>
                    <a:lnTo>
                      <a:pt x="461" y="614"/>
                    </a:lnTo>
                    <a:lnTo>
                      <a:pt x="462" y="615"/>
                    </a:lnTo>
                    <a:lnTo>
                      <a:pt x="463" y="616"/>
                    </a:lnTo>
                    <a:close/>
                    <a:moveTo>
                      <a:pt x="422" y="383"/>
                    </a:moveTo>
                    <a:lnTo>
                      <a:pt x="422" y="384"/>
                    </a:lnTo>
                    <a:lnTo>
                      <a:pt x="423" y="384"/>
                    </a:lnTo>
                    <a:lnTo>
                      <a:pt x="422" y="385"/>
                    </a:lnTo>
                    <a:lnTo>
                      <a:pt x="423" y="386"/>
                    </a:lnTo>
                    <a:lnTo>
                      <a:pt x="422" y="386"/>
                    </a:lnTo>
                    <a:lnTo>
                      <a:pt x="422" y="385"/>
                    </a:lnTo>
                    <a:lnTo>
                      <a:pt x="422" y="384"/>
                    </a:lnTo>
                    <a:lnTo>
                      <a:pt x="422" y="383"/>
                    </a:lnTo>
                    <a:lnTo>
                      <a:pt x="421" y="384"/>
                    </a:lnTo>
                    <a:lnTo>
                      <a:pt x="421" y="383"/>
                    </a:lnTo>
                    <a:lnTo>
                      <a:pt x="422" y="383"/>
                    </a:lnTo>
                    <a:close/>
                    <a:moveTo>
                      <a:pt x="153" y="391"/>
                    </a:moveTo>
                    <a:lnTo>
                      <a:pt x="154" y="391"/>
                    </a:lnTo>
                    <a:lnTo>
                      <a:pt x="154" y="392"/>
                    </a:lnTo>
                    <a:lnTo>
                      <a:pt x="154" y="391"/>
                    </a:lnTo>
                    <a:lnTo>
                      <a:pt x="154" y="392"/>
                    </a:lnTo>
                    <a:lnTo>
                      <a:pt x="153" y="392"/>
                    </a:lnTo>
                    <a:lnTo>
                      <a:pt x="152" y="392"/>
                    </a:lnTo>
                    <a:lnTo>
                      <a:pt x="153" y="392"/>
                    </a:lnTo>
                    <a:lnTo>
                      <a:pt x="153" y="391"/>
                    </a:lnTo>
                    <a:close/>
                    <a:moveTo>
                      <a:pt x="261" y="373"/>
                    </a:moveTo>
                    <a:lnTo>
                      <a:pt x="262" y="373"/>
                    </a:lnTo>
                    <a:lnTo>
                      <a:pt x="262" y="374"/>
                    </a:lnTo>
                    <a:lnTo>
                      <a:pt x="261" y="374"/>
                    </a:lnTo>
                    <a:lnTo>
                      <a:pt x="261" y="373"/>
                    </a:lnTo>
                    <a:close/>
                    <a:moveTo>
                      <a:pt x="248" y="372"/>
                    </a:moveTo>
                    <a:lnTo>
                      <a:pt x="249" y="373"/>
                    </a:lnTo>
                    <a:lnTo>
                      <a:pt x="248" y="373"/>
                    </a:lnTo>
                    <a:lnTo>
                      <a:pt x="247" y="373"/>
                    </a:lnTo>
                    <a:lnTo>
                      <a:pt x="247" y="372"/>
                    </a:lnTo>
                    <a:lnTo>
                      <a:pt x="248" y="372"/>
                    </a:lnTo>
                    <a:close/>
                    <a:moveTo>
                      <a:pt x="204" y="413"/>
                    </a:moveTo>
                    <a:lnTo>
                      <a:pt x="205" y="413"/>
                    </a:lnTo>
                    <a:lnTo>
                      <a:pt x="206" y="414"/>
                    </a:lnTo>
                    <a:lnTo>
                      <a:pt x="207" y="414"/>
                    </a:lnTo>
                    <a:lnTo>
                      <a:pt x="206" y="414"/>
                    </a:lnTo>
                    <a:lnTo>
                      <a:pt x="205" y="414"/>
                    </a:lnTo>
                    <a:lnTo>
                      <a:pt x="204" y="414"/>
                    </a:lnTo>
                    <a:lnTo>
                      <a:pt x="204" y="413"/>
                    </a:lnTo>
                    <a:close/>
                    <a:moveTo>
                      <a:pt x="420" y="542"/>
                    </a:moveTo>
                    <a:lnTo>
                      <a:pt x="421" y="542"/>
                    </a:lnTo>
                    <a:lnTo>
                      <a:pt x="421" y="543"/>
                    </a:lnTo>
                    <a:lnTo>
                      <a:pt x="420" y="543"/>
                    </a:lnTo>
                    <a:lnTo>
                      <a:pt x="420" y="542"/>
                    </a:lnTo>
                    <a:close/>
                    <a:moveTo>
                      <a:pt x="153" y="390"/>
                    </a:moveTo>
                    <a:lnTo>
                      <a:pt x="154" y="390"/>
                    </a:lnTo>
                    <a:lnTo>
                      <a:pt x="154" y="391"/>
                    </a:lnTo>
                    <a:lnTo>
                      <a:pt x="153" y="391"/>
                    </a:lnTo>
                    <a:lnTo>
                      <a:pt x="153" y="390"/>
                    </a:lnTo>
                    <a:close/>
                    <a:moveTo>
                      <a:pt x="241" y="408"/>
                    </a:moveTo>
                    <a:lnTo>
                      <a:pt x="243" y="408"/>
                    </a:lnTo>
                    <a:lnTo>
                      <a:pt x="241" y="408"/>
                    </a:lnTo>
                    <a:close/>
                    <a:moveTo>
                      <a:pt x="240" y="378"/>
                    </a:moveTo>
                    <a:lnTo>
                      <a:pt x="241" y="378"/>
                    </a:lnTo>
                    <a:lnTo>
                      <a:pt x="241" y="380"/>
                    </a:lnTo>
                    <a:lnTo>
                      <a:pt x="240" y="380"/>
                    </a:lnTo>
                    <a:lnTo>
                      <a:pt x="240" y="378"/>
                    </a:lnTo>
                    <a:close/>
                    <a:moveTo>
                      <a:pt x="271" y="423"/>
                    </a:moveTo>
                    <a:lnTo>
                      <a:pt x="270" y="423"/>
                    </a:lnTo>
                    <a:lnTo>
                      <a:pt x="270" y="424"/>
                    </a:lnTo>
                    <a:lnTo>
                      <a:pt x="269" y="424"/>
                    </a:lnTo>
                    <a:lnTo>
                      <a:pt x="270" y="424"/>
                    </a:lnTo>
                    <a:lnTo>
                      <a:pt x="270" y="423"/>
                    </a:lnTo>
                    <a:lnTo>
                      <a:pt x="271" y="423"/>
                    </a:lnTo>
                    <a:close/>
                    <a:moveTo>
                      <a:pt x="475" y="362"/>
                    </a:moveTo>
                    <a:lnTo>
                      <a:pt x="475" y="364"/>
                    </a:lnTo>
                    <a:lnTo>
                      <a:pt x="475" y="362"/>
                    </a:lnTo>
                    <a:close/>
                    <a:moveTo>
                      <a:pt x="474" y="429"/>
                    </a:moveTo>
                    <a:lnTo>
                      <a:pt x="476" y="429"/>
                    </a:lnTo>
                    <a:lnTo>
                      <a:pt x="476" y="430"/>
                    </a:lnTo>
                    <a:lnTo>
                      <a:pt x="474" y="430"/>
                    </a:lnTo>
                    <a:lnTo>
                      <a:pt x="474" y="429"/>
                    </a:lnTo>
                    <a:close/>
                    <a:moveTo>
                      <a:pt x="182" y="397"/>
                    </a:moveTo>
                    <a:lnTo>
                      <a:pt x="184" y="397"/>
                    </a:lnTo>
                    <a:lnTo>
                      <a:pt x="184" y="398"/>
                    </a:lnTo>
                    <a:lnTo>
                      <a:pt x="182" y="398"/>
                    </a:lnTo>
                    <a:lnTo>
                      <a:pt x="182" y="397"/>
                    </a:lnTo>
                    <a:close/>
                    <a:moveTo>
                      <a:pt x="586" y="563"/>
                    </a:moveTo>
                    <a:lnTo>
                      <a:pt x="583" y="565"/>
                    </a:lnTo>
                    <a:lnTo>
                      <a:pt x="584" y="564"/>
                    </a:lnTo>
                    <a:lnTo>
                      <a:pt x="584" y="563"/>
                    </a:lnTo>
                    <a:lnTo>
                      <a:pt x="586" y="563"/>
                    </a:lnTo>
                    <a:close/>
                    <a:moveTo>
                      <a:pt x="192" y="413"/>
                    </a:moveTo>
                    <a:lnTo>
                      <a:pt x="193" y="413"/>
                    </a:lnTo>
                    <a:lnTo>
                      <a:pt x="193" y="414"/>
                    </a:lnTo>
                    <a:lnTo>
                      <a:pt x="192" y="414"/>
                    </a:lnTo>
                    <a:lnTo>
                      <a:pt x="192" y="413"/>
                    </a:lnTo>
                    <a:close/>
                    <a:moveTo>
                      <a:pt x="489" y="590"/>
                    </a:moveTo>
                    <a:lnTo>
                      <a:pt x="489" y="592"/>
                    </a:lnTo>
                    <a:lnTo>
                      <a:pt x="489" y="590"/>
                    </a:lnTo>
                    <a:close/>
                    <a:moveTo>
                      <a:pt x="491" y="586"/>
                    </a:moveTo>
                    <a:lnTo>
                      <a:pt x="492" y="586"/>
                    </a:lnTo>
                    <a:lnTo>
                      <a:pt x="492" y="588"/>
                    </a:lnTo>
                    <a:lnTo>
                      <a:pt x="491" y="588"/>
                    </a:lnTo>
                    <a:lnTo>
                      <a:pt x="491" y="586"/>
                    </a:lnTo>
                    <a:close/>
                    <a:moveTo>
                      <a:pt x="553" y="549"/>
                    </a:moveTo>
                    <a:lnTo>
                      <a:pt x="554" y="549"/>
                    </a:lnTo>
                    <a:lnTo>
                      <a:pt x="555" y="549"/>
                    </a:lnTo>
                    <a:lnTo>
                      <a:pt x="555" y="550"/>
                    </a:lnTo>
                    <a:lnTo>
                      <a:pt x="554" y="550"/>
                    </a:lnTo>
                    <a:lnTo>
                      <a:pt x="552" y="550"/>
                    </a:lnTo>
                    <a:lnTo>
                      <a:pt x="552" y="549"/>
                    </a:lnTo>
                    <a:lnTo>
                      <a:pt x="553" y="549"/>
                    </a:lnTo>
                    <a:lnTo>
                      <a:pt x="552" y="549"/>
                    </a:lnTo>
                    <a:lnTo>
                      <a:pt x="553" y="549"/>
                    </a:lnTo>
                    <a:close/>
                    <a:moveTo>
                      <a:pt x="324" y="332"/>
                    </a:moveTo>
                    <a:lnTo>
                      <a:pt x="326" y="332"/>
                    </a:lnTo>
                    <a:lnTo>
                      <a:pt x="326" y="334"/>
                    </a:lnTo>
                    <a:lnTo>
                      <a:pt x="324" y="334"/>
                    </a:lnTo>
                    <a:lnTo>
                      <a:pt x="324" y="332"/>
                    </a:lnTo>
                    <a:close/>
                    <a:moveTo>
                      <a:pt x="201" y="391"/>
                    </a:moveTo>
                    <a:lnTo>
                      <a:pt x="202" y="391"/>
                    </a:lnTo>
                    <a:lnTo>
                      <a:pt x="202" y="392"/>
                    </a:lnTo>
                    <a:lnTo>
                      <a:pt x="201" y="392"/>
                    </a:lnTo>
                    <a:lnTo>
                      <a:pt x="201" y="391"/>
                    </a:lnTo>
                    <a:close/>
                    <a:moveTo>
                      <a:pt x="499" y="460"/>
                    </a:moveTo>
                    <a:lnTo>
                      <a:pt x="500" y="460"/>
                    </a:lnTo>
                    <a:lnTo>
                      <a:pt x="500" y="461"/>
                    </a:lnTo>
                    <a:lnTo>
                      <a:pt x="499" y="461"/>
                    </a:lnTo>
                    <a:lnTo>
                      <a:pt x="499" y="460"/>
                    </a:lnTo>
                    <a:close/>
                    <a:moveTo>
                      <a:pt x="199" y="375"/>
                    </a:moveTo>
                    <a:lnTo>
                      <a:pt x="200" y="375"/>
                    </a:lnTo>
                    <a:lnTo>
                      <a:pt x="200" y="376"/>
                    </a:lnTo>
                    <a:lnTo>
                      <a:pt x="199" y="376"/>
                    </a:lnTo>
                    <a:lnTo>
                      <a:pt x="199" y="375"/>
                    </a:lnTo>
                    <a:close/>
                    <a:moveTo>
                      <a:pt x="229" y="222"/>
                    </a:moveTo>
                    <a:lnTo>
                      <a:pt x="231" y="222"/>
                    </a:lnTo>
                    <a:lnTo>
                      <a:pt x="231" y="223"/>
                    </a:lnTo>
                    <a:lnTo>
                      <a:pt x="229" y="223"/>
                    </a:lnTo>
                    <a:lnTo>
                      <a:pt x="229" y="222"/>
                    </a:lnTo>
                    <a:close/>
                    <a:moveTo>
                      <a:pt x="442" y="374"/>
                    </a:moveTo>
                    <a:lnTo>
                      <a:pt x="444" y="374"/>
                    </a:lnTo>
                    <a:lnTo>
                      <a:pt x="444" y="375"/>
                    </a:lnTo>
                    <a:lnTo>
                      <a:pt x="442" y="375"/>
                    </a:lnTo>
                    <a:lnTo>
                      <a:pt x="442" y="374"/>
                    </a:lnTo>
                    <a:close/>
                    <a:moveTo>
                      <a:pt x="500" y="438"/>
                    </a:moveTo>
                    <a:lnTo>
                      <a:pt x="501" y="438"/>
                    </a:lnTo>
                    <a:lnTo>
                      <a:pt x="501" y="439"/>
                    </a:lnTo>
                    <a:lnTo>
                      <a:pt x="500" y="439"/>
                    </a:lnTo>
                    <a:lnTo>
                      <a:pt x="500" y="440"/>
                    </a:lnTo>
                    <a:lnTo>
                      <a:pt x="501" y="440"/>
                    </a:lnTo>
                    <a:lnTo>
                      <a:pt x="500" y="440"/>
                    </a:lnTo>
                    <a:lnTo>
                      <a:pt x="500" y="439"/>
                    </a:lnTo>
                    <a:lnTo>
                      <a:pt x="500" y="438"/>
                    </a:lnTo>
                    <a:close/>
                    <a:moveTo>
                      <a:pt x="501" y="449"/>
                    </a:moveTo>
                    <a:lnTo>
                      <a:pt x="500" y="448"/>
                    </a:lnTo>
                    <a:lnTo>
                      <a:pt x="500" y="447"/>
                    </a:lnTo>
                    <a:lnTo>
                      <a:pt x="500" y="446"/>
                    </a:lnTo>
                    <a:lnTo>
                      <a:pt x="500" y="444"/>
                    </a:lnTo>
                    <a:lnTo>
                      <a:pt x="500" y="446"/>
                    </a:lnTo>
                    <a:lnTo>
                      <a:pt x="500" y="447"/>
                    </a:lnTo>
                    <a:lnTo>
                      <a:pt x="500" y="448"/>
                    </a:lnTo>
                    <a:lnTo>
                      <a:pt x="501" y="449"/>
                    </a:lnTo>
                    <a:close/>
                    <a:moveTo>
                      <a:pt x="335" y="347"/>
                    </a:moveTo>
                    <a:lnTo>
                      <a:pt x="336" y="347"/>
                    </a:lnTo>
                    <a:lnTo>
                      <a:pt x="336" y="348"/>
                    </a:lnTo>
                    <a:lnTo>
                      <a:pt x="335" y="348"/>
                    </a:lnTo>
                    <a:lnTo>
                      <a:pt x="335" y="347"/>
                    </a:lnTo>
                    <a:close/>
                    <a:moveTo>
                      <a:pt x="228" y="390"/>
                    </a:moveTo>
                    <a:lnTo>
                      <a:pt x="229" y="390"/>
                    </a:lnTo>
                    <a:lnTo>
                      <a:pt x="229" y="392"/>
                    </a:lnTo>
                    <a:lnTo>
                      <a:pt x="228" y="392"/>
                    </a:lnTo>
                    <a:lnTo>
                      <a:pt x="228" y="390"/>
                    </a:lnTo>
                    <a:close/>
                    <a:moveTo>
                      <a:pt x="252" y="207"/>
                    </a:moveTo>
                    <a:lnTo>
                      <a:pt x="251" y="207"/>
                    </a:lnTo>
                    <a:lnTo>
                      <a:pt x="249" y="207"/>
                    </a:lnTo>
                    <a:lnTo>
                      <a:pt x="249" y="206"/>
                    </a:lnTo>
                    <a:lnTo>
                      <a:pt x="251" y="206"/>
                    </a:lnTo>
                    <a:lnTo>
                      <a:pt x="252" y="207"/>
                    </a:lnTo>
                    <a:close/>
                    <a:moveTo>
                      <a:pt x="222" y="401"/>
                    </a:moveTo>
                    <a:lnTo>
                      <a:pt x="222" y="402"/>
                    </a:lnTo>
                    <a:lnTo>
                      <a:pt x="223" y="402"/>
                    </a:lnTo>
                    <a:lnTo>
                      <a:pt x="222" y="402"/>
                    </a:lnTo>
                    <a:lnTo>
                      <a:pt x="222" y="401"/>
                    </a:lnTo>
                    <a:lnTo>
                      <a:pt x="221" y="401"/>
                    </a:lnTo>
                    <a:lnTo>
                      <a:pt x="223" y="401"/>
                    </a:lnTo>
                    <a:lnTo>
                      <a:pt x="222" y="401"/>
                    </a:lnTo>
                    <a:close/>
                    <a:moveTo>
                      <a:pt x="226" y="405"/>
                    </a:moveTo>
                    <a:lnTo>
                      <a:pt x="223" y="405"/>
                    </a:lnTo>
                    <a:lnTo>
                      <a:pt x="223" y="404"/>
                    </a:lnTo>
                    <a:lnTo>
                      <a:pt x="223" y="405"/>
                    </a:lnTo>
                    <a:lnTo>
                      <a:pt x="225" y="405"/>
                    </a:lnTo>
                    <a:lnTo>
                      <a:pt x="225" y="404"/>
                    </a:lnTo>
                    <a:lnTo>
                      <a:pt x="225" y="405"/>
                    </a:lnTo>
                    <a:lnTo>
                      <a:pt x="225" y="404"/>
                    </a:lnTo>
                    <a:lnTo>
                      <a:pt x="226" y="404"/>
                    </a:lnTo>
                    <a:lnTo>
                      <a:pt x="226" y="405"/>
                    </a:lnTo>
                    <a:close/>
                    <a:moveTo>
                      <a:pt x="209" y="404"/>
                    </a:moveTo>
                    <a:lnTo>
                      <a:pt x="209" y="406"/>
                    </a:lnTo>
                    <a:lnTo>
                      <a:pt x="209" y="408"/>
                    </a:lnTo>
                    <a:lnTo>
                      <a:pt x="208" y="408"/>
                    </a:lnTo>
                    <a:lnTo>
                      <a:pt x="208" y="406"/>
                    </a:lnTo>
                    <a:lnTo>
                      <a:pt x="209" y="406"/>
                    </a:lnTo>
                    <a:lnTo>
                      <a:pt x="208" y="405"/>
                    </a:lnTo>
                    <a:lnTo>
                      <a:pt x="209" y="405"/>
                    </a:lnTo>
                    <a:lnTo>
                      <a:pt x="209" y="404"/>
                    </a:lnTo>
                    <a:close/>
                    <a:moveTo>
                      <a:pt x="187" y="414"/>
                    </a:moveTo>
                    <a:lnTo>
                      <a:pt x="188" y="414"/>
                    </a:lnTo>
                    <a:lnTo>
                      <a:pt x="188" y="415"/>
                    </a:lnTo>
                    <a:lnTo>
                      <a:pt x="187" y="415"/>
                    </a:lnTo>
                    <a:lnTo>
                      <a:pt x="187" y="414"/>
                    </a:lnTo>
                    <a:close/>
                    <a:moveTo>
                      <a:pt x="556" y="538"/>
                    </a:moveTo>
                    <a:lnTo>
                      <a:pt x="557" y="538"/>
                    </a:lnTo>
                    <a:lnTo>
                      <a:pt x="557" y="539"/>
                    </a:lnTo>
                    <a:lnTo>
                      <a:pt x="556" y="539"/>
                    </a:lnTo>
                    <a:lnTo>
                      <a:pt x="556" y="538"/>
                    </a:lnTo>
                    <a:close/>
                    <a:moveTo>
                      <a:pt x="432" y="369"/>
                    </a:moveTo>
                    <a:lnTo>
                      <a:pt x="433" y="369"/>
                    </a:lnTo>
                    <a:lnTo>
                      <a:pt x="433" y="371"/>
                    </a:lnTo>
                    <a:lnTo>
                      <a:pt x="432" y="371"/>
                    </a:lnTo>
                    <a:lnTo>
                      <a:pt x="432" y="369"/>
                    </a:lnTo>
                    <a:close/>
                    <a:moveTo>
                      <a:pt x="500" y="446"/>
                    </a:moveTo>
                    <a:lnTo>
                      <a:pt x="501" y="446"/>
                    </a:lnTo>
                    <a:lnTo>
                      <a:pt x="501" y="448"/>
                    </a:lnTo>
                    <a:lnTo>
                      <a:pt x="500" y="448"/>
                    </a:lnTo>
                    <a:lnTo>
                      <a:pt x="500" y="446"/>
                    </a:lnTo>
                    <a:close/>
                    <a:moveTo>
                      <a:pt x="554" y="422"/>
                    </a:moveTo>
                    <a:lnTo>
                      <a:pt x="555" y="422"/>
                    </a:lnTo>
                    <a:lnTo>
                      <a:pt x="555" y="423"/>
                    </a:lnTo>
                    <a:lnTo>
                      <a:pt x="554" y="423"/>
                    </a:lnTo>
                    <a:lnTo>
                      <a:pt x="554" y="422"/>
                    </a:lnTo>
                    <a:close/>
                    <a:moveTo>
                      <a:pt x="199" y="356"/>
                    </a:moveTo>
                    <a:lnTo>
                      <a:pt x="200" y="356"/>
                    </a:lnTo>
                    <a:lnTo>
                      <a:pt x="200" y="357"/>
                    </a:lnTo>
                    <a:lnTo>
                      <a:pt x="199" y="357"/>
                    </a:lnTo>
                    <a:lnTo>
                      <a:pt x="199" y="356"/>
                    </a:lnTo>
                    <a:close/>
                    <a:moveTo>
                      <a:pt x="548" y="540"/>
                    </a:moveTo>
                    <a:lnTo>
                      <a:pt x="548" y="539"/>
                    </a:lnTo>
                    <a:lnTo>
                      <a:pt x="546" y="539"/>
                    </a:lnTo>
                    <a:lnTo>
                      <a:pt x="546" y="538"/>
                    </a:lnTo>
                    <a:lnTo>
                      <a:pt x="548" y="539"/>
                    </a:lnTo>
                    <a:lnTo>
                      <a:pt x="548" y="540"/>
                    </a:lnTo>
                    <a:close/>
                    <a:moveTo>
                      <a:pt x="442" y="375"/>
                    </a:moveTo>
                    <a:lnTo>
                      <a:pt x="444" y="375"/>
                    </a:lnTo>
                    <a:lnTo>
                      <a:pt x="444" y="376"/>
                    </a:lnTo>
                    <a:lnTo>
                      <a:pt x="442" y="376"/>
                    </a:lnTo>
                    <a:lnTo>
                      <a:pt x="442" y="375"/>
                    </a:lnTo>
                    <a:close/>
                    <a:moveTo>
                      <a:pt x="505" y="562"/>
                    </a:moveTo>
                    <a:lnTo>
                      <a:pt x="506" y="562"/>
                    </a:lnTo>
                    <a:lnTo>
                      <a:pt x="506" y="564"/>
                    </a:lnTo>
                    <a:lnTo>
                      <a:pt x="505" y="564"/>
                    </a:lnTo>
                    <a:lnTo>
                      <a:pt x="505" y="562"/>
                    </a:lnTo>
                    <a:close/>
                    <a:moveTo>
                      <a:pt x="481" y="421"/>
                    </a:moveTo>
                    <a:lnTo>
                      <a:pt x="483" y="421"/>
                    </a:lnTo>
                    <a:lnTo>
                      <a:pt x="483" y="423"/>
                    </a:lnTo>
                    <a:lnTo>
                      <a:pt x="481" y="423"/>
                    </a:lnTo>
                    <a:lnTo>
                      <a:pt x="481" y="421"/>
                    </a:lnTo>
                    <a:close/>
                    <a:moveTo>
                      <a:pt x="484" y="542"/>
                    </a:moveTo>
                    <a:lnTo>
                      <a:pt x="484" y="543"/>
                    </a:lnTo>
                    <a:lnTo>
                      <a:pt x="484" y="542"/>
                    </a:lnTo>
                    <a:close/>
                    <a:moveTo>
                      <a:pt x="567" y="554"/>
                    </a:moveTo>
                    <a:lnTo>
                      <a:pt x="568" y="554"/>
                    </a:lnTo>
                    <a:lnTo>
                      <a:pt x="568" y="555"/>
                    </a:lnTo>
                    <a:lnTo>
                      <a:pt x="567" y="555"/>
                    </a:lnTo>
                    <a:lnTo>
                      <a:pt x="567" y="554"/>
                    </a:lnTo>
                    <a:close/>
                    <a:moveTo>
                      <a:pt x="556" y="440"/>
                    </a:moveTo>
                    <a:lnTo>
                      <a:pt x="557" y="440"/>
                    </a:lnTo>
                    <a:lnTo>
                      <a:pt x="557" y="441"/>
                    </a:lnTo>
                    <a:lnTo>
                      <a:pt x="556" y="441"/>
                    </a:lnTo>
                    <a:lnTo>
                      <a:pt x="556" y="440"/>
                    </a:lnTo>
                    <a:close/>
                    <a:moveTo>
                      <a:pt x="505" y="559"/>
                    </a:moveTo>
                    <a:lnTo>
                      <a:pt x="507" y="559"/>
                    </a:lnTo>
                    <a:lnTo>
                      <a:pt x="507" y="562"/>
                    </a:lnTo>
                    <a:lnTo>
                      <a:pt x="505" y="562"/>
                    </a:lnTo>
                    <a:lnTo>
                      <a:pt x="505" y="559"/>
                    </a:lnTo>
                    <a:close/>
                    <a:moveTo>
                      <a:pt x="413" y="384"/>
                    </a:moveTo>
                    <a:lnTo>
                      <a:pt x="414" y="384"/>
                    </a:lnTo>
                    <a:lnTo>
                      <a:pt x="414" y="386"/>
                    </a:lnTo>
                    <a:lnTo>
                      <a:pt x="413" y="386"/>
                    </a:lnTo>
                    <a:lnTo>
                      <a:pt x="413" y="384"/>
                    </a:lnTo>
                    <a:close/>
                    <a:moveTo>
                      <a:pt x="201" y="406"/>
                    </a:moveTo>
                    <a:lnTo>
                      <a:pt x="202" y="406"/>
                    </a:lnTo>
                    <a:lnTo>
                      <a:pt x="202" y="408"/>
                    </a:lnTo>
                    <a:lnTo>
                      <a:pt x="201" y="408"/>
                    </a:lnTo>
                    <a:lnTo>
                      <a:pt x="201" y="406"/>
                    </a:lnTo>
                    <a:close/>
                    <a:moveTo>
                      <a:pt x="142" y="401"/>
                    </a:moveTo>
                    <a:lnTo>
                      <a:pt x="144" y="401"/>
                    </a:lnTo>
                    <a:lnTo>
                      <a:pt x="144" y="403"/>
                    </a:lnTo>
                    <a:lnTo>
                      <a:pt x="142" y="403"/>
                    </a:lnTo>
                    <a:lnTo>
                      <a:pt x="142" y="401"/>
                    </a:lnTo>
                    <a:close/>
                    <a:moveTo>
                      <a:pt x="498" y="422"/>
                    </a:moveTo>
                    <a:lnTo>
                      <a:pt x="499" y="422"/>
                    </a:lnTo>
                    <a:lnTo>
                      <a:pt x="499" y="423"/>
                    </a:lnTo>
                    <a:lnTo>
                      <a:pt x="498" y="423"/>
                    </a:lnTo>
                    <a:lnTo>
                      <a:pt x="498" y="422"/>
                    </a:lnTo>
                    <a:close/>
                    <a:moveTo>
                      <a:pt x="480" y="417"/>
                    </a:moveTo>
                    <a:lnTo>
                      <a:pt x="483" y="417"/>
                    </a:lnTo>
                    <a:lnTo>
                      <a:pt x="483" y="418"/>
                    </a:lnTo>
                    <a:lnTo>
                      <a:pt x="480" y="418"/>
                    </a:lnTo>
                    <a:lnTo>
                      <a:pt x="480" y="417"/>
                    </a:lnTo>
                    <a:close/>
                    <a:moveTo>
                      <a:pt x="452" y="532"/>
                    </a:moveTo>
                    <a:lnTo>
                      <a:pt x="452" y="531"/>
                    </a:lnTo>
                    <a:lnTo>
                      <a:pt x="452" y="530"/>
                    </a:lnTo>
                    <a:lnTo>
                      <a:pt x="451" y="530"/>
                    </a:lnTo>
                    <a:lnTo>
                      <a:pt x="451" y="529"/>
                    </a:lnTo>
                    <a:lnTo>
                      <a:pt x="452" y="530"/>
                    </a:lnTo>
                    <a:lnTo>
                      <a:pt x="452" y="531"/>
                    </a:lnTo>
                    <a:lnTo>
                      <a:pt x="452" y="532"/>
                    </a:lnTo>
                    <a:close/>
                    <a:moveTo>
                      <a:pt x="328" y="333"/>
                    </a:moveTo>
                    <a:lnTo>
                      <a:pt x="329" y="333"/>
                    </a:lnTo>
                    <a:lnTo>
                      <a:pt x="329" y="334"/>
                    </a:lnTo>
                    <a:lnTo>
                      <a:pt x="328" y="334"/>
                    </a:lnTo>
                    <a:lnTo>
                      <a:pt x="328" y="333"/>
                    </a:lnTo>
                    <a:close/>
                    <a:moveTo>
                      <a:pt x="500" y="459"/>
                    </a:moveTo>
                    <a:lnTo>
                      <a:pt x="500" y="461"/>
                    </a:lnTo>
                    <a:lnTo>
                      <a:pt x="500" y="459"/>
                    </a:lnTo>
                    <a:close/>
                    <a:moveTo>
                      <a:pt x="496" y="434"/>
                    </a:moveTo>
                    <a:lnTo>
                      <a:pt x="497" y="434"/>
                    </a:lnTo>
                    <a:lnTo>
                      <a:pt x="497" y="436"/>
                    </a:lnTo>
                    <a:lnTo>
                      <a:pt x="496" y="436"/>
                    </a:lnTo>
                    <a:lnTo>
                      <a:pt x="496" y="434"/>
                    </a:lnTo>
                    <a:close/>
                    <a:moveTo>
                      <a:pt x="562" y="515"/>
                    </a:moveTo>
                    <a:lnTo>
                      <a:pt x="563" y="515"/>
                    </a:lnTo>
                    <a:lnTo>
                      <a:pt x="562" y="515"/>
                    </a:lnTo>
                    <a:close/>
                    <a:moveTo>
                      <a:pt x="490" y="454"/>
                    </a:moveTo>
                    <a:lnTo>
                      <a:pt x="491" y="454"/>
                    </a:lnTo>
                    <a:lnTo>
                      <a:pt x="491" y="455"/>
                    </a:lnTo>
                    <a:lnTo>
                      <a:pt x="490" y="455"/>
                    </a:lnTo>
                    <a:lnTo>
                      <a:pt x="490" y="454"/>
                    </a:lnTo>
                    <a:close/>
                    <a:moveTo>
                      <a:pt x="568" y="637"/>
                    </a:moveTo>
                    <a:lnTo>
                      <a:pt x="570" y="637"/>
                    </a:lnTo>
                    <a:lnTo>
                      <a:pt x="570" y="640"/>
                    </a:lnTo>
                    <a:lnTo>
                      <a:pt x="568" y="640"/>
                    </a:lnTo>
                    <a:lnTo>
                      <a:pt x="568" y="637"/>
                    </a:lnTo>
                    <a:close/>
                    <a:moveTo>
                      <a:pt x="500" y="463"/>
                    </a:moveTo>
                    <a:lnTo>
                      <a:pt x="501" y="463"/>
                    </a:lnTo>
                    <a:lnTo>
                      <a:pt x="500" y="463"/>
                    </a:lnTo>
                    <a:close/>
                    <a:moveTo>
                      <a:pt x="177" y="362"/>
                    </a:moveTo>
                    <a:lnTo>
                      <a:pt x="178" y="362"/>
                    </a:lnTo>
                    <a:lnTo>
                      <a:pt x="178" y="363"/>
                    </a:lnTo>
                    <a:lnTo>
                      <a:pt x="177" y="363"/>
                    </a:lnTo>
                    <a:lnTo>
                      <a:pt x="177" y="362"/>
                    </a:lnTo>
                    <a:close/>
                    <a:moveTo>
                      <a:pt x="178" y="406"/>
                    </a:moveTo>
                    <a:lnTo>
                      <a:pt x="179" y="406"/>
                    </a:lnTo>
                    <a:lnTo>
                      <a:pt x="180" y="406"/>
                    </a:lnTo>
                    <a:lnTo>
                      <a:pt x="179" y="406"/>
                    </a:lnTo>
                    <a:lnTo>
                      <a:pt x="178" y="408"/>
                    </a:lnTo>
                    <a:lnTo>
                      <a:pt x="178" y="406"/>
                    </a:lnTo>
                    <a:close/>
                    <a:moveTo>
                      <a:pt x="522" y="536"/>
                    </a:moveTo>
                    <a:lnTo>
                      <a:pt x="523" y="536"/>
                    </a:lnTo>
                    <a:lnTo>
                      <a:pt x="523" y="537"/>
                    </a:lnTo>
                    <a:lnTo>
                      <a:pt x="522" y="537"/>
                    </a:lnTo>
                    <a:lnTo>
                      <a:pt x="522" y="536"/>
                    </a:lnTo>
                    <a:close/>
                    <a:moveTo>
                      <a:pt x="421" y="390"/>
                    </a:moveTo>
                    <a:lnTo>
                      <a:pt x="422" y="390"/>
                    </a:lnTo>
                    <a:lnTo>
                      <a:pt x="421" y="390"/>
                    </a:lnTo>
                    <a:lnTo>
                      <a:pt x="420" y="390"/>
                    </a:lnTo>
                    <a:lnTo>
                      <a:pt x="419" y="390"/>
                    </a:lnTo>
                    <a:lnTo>
                      <a:pt x="418" y="390"/>
                    </a:lnTo>
                    <a:lnTo>
                      <a:pt x="419" y="390"/>
                    </a:lnTo>
                    <a:lnTo>
                      <a:pt x="420" y="390"/>
                    </a:lnTo>
                    <a:lnTo>
                      <a:pt x="421" y="390"/>
                    </a:lnTo>
                    <a:close/>
                    <a:moveTo>
                      <a:pt x="193" y="358"/>
                    </a:moveTo>
                    <a:lnTo>
                      <a:pt x="195" y="358"/>
                    </a:lnTo>
                    <a:lnTo>
                      <a:pt x="195" y="360"/>
                    </a:lnTo>
                    <a:lnTo>
                      <a:pt x="193" y="360"/>
                    </a:lnTo>
                    <a:lnTo>
                      <a:pt x="193" y="358"/>
                    </a:lnTo>
                    <a:close/>
                    <a:moveTo>
                      <a:pt x="277" y="431"/>
                    </a:moveTo>
                    <a:lnTo>
                      <a:pt x="278" y="433"/>
                    </a:lnTo>
                    <a:lnTo>
                      <a:pt x="279" y="433"/>
                    </a:lnTo>
                    <a:lnTo>
                      <a:pt x="278" y="433"/>
                    </a:lnTo>
                    <a:lnTo>
                      <a:pt x="276" y="431"/>
                    </a:lnTo>
                    <a:lnTo>
                      <a:pt x="277" y="430"/>
                    </a:lnTo>
                    <a:lnTo>
                      <a:pt x="277" y="431"/>
                    </a:lnTo>
                    <a:close/>
                    <a:moveTo>
                      <a:pt x="418" y="390"/>
                    </a:moveTo>
                    <a:lnTo>
                      <a:pt x="420" y="390"/>
                    </a:lnTo>
                    <a:lnTo>
                      <a:pt x="420" y="392"/>
                    </a:lnTo>
                    <a:lnTo>
                      <a:pt x="418" y="392"/>
                    </a:lnTo>
                    <a:lnTo>
                      <a:pt x="418" y="390"/>
                    </a:lnTo>
                    <a:close/>
                    <a:moveTo>
                      <a:pt x="530" y="550"/>
                    </a:moveTo>
                    <a:lnTo>
                      <a:pt x="531" y="551"/>
                    </a:lnTo>
                    <a:lnTo>
                      <a:pt x="530" y="551"/>
                    </a:lnTo>
                    <a:lnTo>
                      <a:pt x="530" y="550"/>
                    </a:lnTo>
                    <a:lnTo>
                      <a:pt x="530" y="551"/>
                    </a:lnTo>
                    <a:lnTo>
                      <a:pt x="531" y="551"/>
                    </a:lnTo>
                    <a:lnTo>
                      <a:pt x="531" y="552"/>
                    </a:lnTo>
                    <a:lnTo>
                      <a:pt x="530" y="552"/>
                    </a:lnTo>
                    <a:lnTo>
                      <a:pt x="530" y="551"/>
                    </a:lnTo>
                    <a:lnTo>
                      <a:pt x="530" y="550"/>
                    </a:lnTo>
                    <a:close/>
                    <a:moveTo>
                      <a:pt x="337" y="472"/>
                    </a:moveTo>
                    <a:lnTo>
                      <a:pt x="337" y="473"/>
                    </a:lnTo>
                    <a:lnTo>
                      <a:pt x="338" y="472"/>
                    </a:lnTo>
                    <a:lnTo>
                      <a:pt x="338" y="473"/>
                    </a:lnTo>
                    <a:lnTo>
                      <a:pt x="337" y="473"/>
                    </a:lnTo>
                    <a:lnTo>
                      <a:pt x="336" y="472"/>
                    </a:lnTo>
                    <a:lnTo>
                      <a:pt x="337" y="472"/>
                    </a:lnTo>
                    <a:close/>
                    <a:moveTo>
                      <a:pt x="214" y="403"/>
                    </a:moveTo>
                    <a:lnTo>
                      <a:pt x="215" y="403"/>
                    </a:lnTo>
                    <a:lnTo>
                      <a:pt x="215" y="404"/>
                    </a:lnTo>
                    <a:lnTo>
                      <a:pt x="214" y="404"/>
                    </a:lnTo>
                    <a:lnTo>
                      <a:pt x="214" y="403"/>
                    </a:lnTo>
                    <a:close/>
                    <a:moveTo>
                      <a:pt x="271" y="399"/>
                    </a:moveTo>
                    <a:lnTo>
                      <a:pt x="272" y="400"/>
                    </a:lnTo>
                    <a:lnTo>
                      <a:pt x="271" y="399"/>
                    </a:lnTo>
                    <a:lnTo>
                      <a:pt x="270" y="399"/>
                    </a:lnTo>
                    <a:lnTo>
                      <a:pt x="270" y="398"/>
                    </a:lnTo>
                    <a:lnTo>
                      <a:pt x="271" y="398"/>
                    </a:lnTo>
                    <a:lnTo>
                      <a:pt x="271" y="399"/>
                    </a:lnTo>
                    <a:close/>
                    <a:moveTo>
                      <a:pt x="177" y="405"/>
                    </a:moveTo>
                    <a:lnTo>
                      <a:pt x="176" y="405"/>
                    </a:lnTo>
                    <a:lnTo>
                      <a:pt x="176" y="406"/>
                    </a:lnTo>
                    <a:lnTo>
                      <a:pt x="176" y="405"/>
                    </a:lnTo>
                    <a:lnTo>
                      <a:pt x="177" y="405"/>
                    </a:lnTo>
                    <a:close/>
                    <a:moveTo>
                      <a:pt x="546" y="515"/>
                    </a:moveTo>
                    <a:lnTo>
                      <a:pt x="548" y="515"/>
                    </a:lnTo>
                    <a:lnTo>
                      <a:pt x="548" y="516"/>
                    </a:lnTo>
                    <a:lnTo>
                      <a:pt x="546" y="516"/>
                    </a:lnTo>
                    <a:lnTo>
                      <a:pt x="546" y="515"/>
                    </a:lnTo>
                    <a:close/>
                    <a:moveTo>
                      <a:pt x="493" y="451"/>
                    </a:moveTo>
                    <a:lnTo>
                      <a:pt x="494" y="451"/>
                    </a:lnTo>
                    <a:lnTo>
                      <a:pt x="494" y="452"/>
                    </a:lnTo>
                    <a:lnTo>
                      <a:pt x="493" y="452"/>
                    </a:lnTo>
                    <a:lnTo>
                      <a:pt x="493" y="451"/>
                    </a:lnTo>
                    <a:close/>
                    <a:moveTo>
                      <a:pt x="448" y="528"/>
                    </a:moveTo>
                    <a:lnTo>
                      <a:pt x="446" y="528"/>
                    </a:lnTo>
                    <a:lnTo>
                      <a:pt x="447" y="528"/>
                    </a:lnTo>
                    <a:lnTo>
                      <a:pt x="448" y="528"/>
                    </a:lnTo>
                    <a:close/>
                    <a:moveTo>
                      <a:pt x="247" y="205"/>
                    </a:moveTo>
                    <a:lnTo>
                      <a:pt x="248" y="205"/>
                    </a:lnTo>
                    <a:lnTo>
                      <a:pt x="248" y="206"/>
                    </a:lnTo>
                    <a:lnTo>
                      <a:pt x="247" y="206"/>
                    </a:lnTo>
                    <a:lnTo>
                      <a:pt x="247" y="205"/>
                    </a:lnTo>
                    <a:close/>
                    <a:moveTo>
                      <a:pt x="431" y="375"/>
                    </a:moveTo>
                    <a:lnTo>
                      <a:pt x="432" y="375"/>
                    </a:lnTo>
                    <a:lnTo>
                      <a:pt x="432" y="376"/>
                    </a:lnTo>
                    <a:lnTo>
                      <a:pt x="431" y="376"/>
                    </a:lnTo>
                    <a:lnTo>
                      <a:pt x="431" y="375"/>
                    </a:lnTo>
                    <a:close/>
                    <a:moveTo>
                      <a:pt x="178" y="363"/>
                    </a:moveTo>
                    <a:lnTo>
                      <a:pt x="180" y="363"/>
                    </a:lnTo>
                    <a:lnTo>
                      <a:pt x="178" y="363"/>
                    </a:lnTo>
                    <a:close/>
                    <a:moveTo>
                      <a:pt x="181" y="353"/>
                    </a:moveTo>
                    <a:lnTo>
                      <a:pt x="182" y="353"/>
                    </a:lnTo>
                    <a:lnTo>
                      <a:pt x="183" y="354"/>
                    </a:lnTo>
                    <a:lnTo>
                      <a:pt x="182" y="354"/>
                    </a:lnTo>
                    <a:lnTo>
                      <a:pt x="181" y="354"/>
                    </a:lnTo>
                    <a:lnTo>
                      <a:pt x="181" y="353"/>
                    </a:lnTo>
                    <a:lnTo>
                      <a:pt x="181" y="354"/>
                    </a:lnTo>
                    <a:lnTo>
                      <a:pt x="181" y="353"/>
                    </a:lnTo>
                    <a:close/>
                    <a:moveTo>
                      <a:pt x="503" y="424"/>
                    </a:moveTo>
                    <a:lnTo>
                      <a:pt x="505" y="424"/>
                    </a:lnTo>
                    <a:lnTo>
                      <a:pt x="505" y="426"/>
                    </a:lnTo>
                    <a:lnTo>
                      <a:pt x="503" y="426"/>
                    </a:lnTo>
                    <a:lnTo>
                      <a:pt x="503" y="424"/>
                    </a:lnTo>
                    <a:close/>
                    <a:moveTo>
                      <a:pt x="489" y="435"/>
                    </a:moveTo>
                    <a:lnTo>
                      <a:pt x="491" y="435"/>
                    </a:lnTo>
                    <a:lnTo>
                      <a:pt x="491" y="436"/>
                    </a:lnTo>
                    <a:lnTo>
                      <a:pt x="489" y="436"/>
                    </a:lnTo>
                    <a:lnTo>
                      <a:pt x="489" y="435"/>
                    </a:lnTo>
                    <a:close/>
                    <a:moveTo>
                      <a:pt x="487" y="421"/>
                    </a:moveTo>
                    <a:lnTo>
                      <a:pt x="488" y="421"/>
                    </a:lnTo>
                    <a:lnTo>
                      <a:pt x="488" y="423"/>
                    </a:lnTo>
                    <a:lnTo>
                      <a:pt x="487" y="423"/>
                    </a:lnTo>
                    <a:lnTo>
                      <a:pt x="487" y="421"/>
                    </a:lnTo>
                    <a:close/>
                    <a:moveTo>
                      <a:pt x="420" y="673"/>
                    </a:moveTo>
                    <a:lnTo>
                      <a:pt x="421" y="673"/>
                    </a:lnTo>
                    <a:lnTo>
                      <a:pt x="421" y="674"/>
                    </a:lnTo>
                    <a:lnTo>
                      <a:pt x="420" y="674"/>
                    </a:lnTo>
                    <a:lnTo>
                      <a:pt x="420" y="673"/>
                    </a:lnTo>
                    <a:close/>
                    <a:moveTo>
                      <a:pt x="489" y="472"/>
                    </a:moveTo>
                    <a:lnTo>
                      <a:pt x="490" y="472"/>
                    </a:lnTo>
                    <a:lnTo>
                      <a:pt x="490" y="473"/>
                    </a:lnTo>
                    <a:lnTo>
                      <a:pt x="489" y="473"/>
                    </a:lnTo>
                    <a:lnTo>
                      <a:pt x="489" y="472"/>
                    </a:lnTo>
                    <a:close/>
                    <a:moveTo>
                      <a:pt x="187" y="414"/>
                    </a:moveTo>
                    <a:lnTo>
                      <a:pt x="187" y="415"/>
                    </a:lnTo>
                    <a:lnTo>
                      <a:pt x="186" y="415"/>
                    </a:lnTo>
                    <a:lnTo>
                      <a:pt x="186" y="416"/>
                    </a:lnTo>
                    <a:lnTo>
                      <a:pt x="186" y="415"/>
                    </a:lnTo>
                    <a:lnTo>
                      <a:pt x="184" y="415"/>
                    </a:lnTo>
                    <a:lnTo>
                      <a:pt x="186" y="415"/>
                    </a:lnTo>
                    <a:lnTo>
                      <a:pt x="186" y="414"/>
                    </a:lnTo>
                    <a:lnTo>
                      <a:pt x="187" y="414"/>
                    </a:lnTo>
                    <a:close/>
                    <a:moveTo>
                      <a:pt x="500" y="421"/>
                    </a:moveTo>
                    <a:lnTo>
                      <a:pt x="502" y="421"/>
                    </a:lnTo>
                    <a:lnTo>
                      <a:pt x="500" y="421"/>
                    </a:lnTo>
                    <a:close/>
                    <a:moveTo>
                      <a:pt x="554" y="551"/>
                    </a:moveTo>
                    <a:lnTo>
                      <a:pt x="555" y="551"/>
                    </a:lnTo>
                    <a:lnTo>
                      <a:pt x="555" y="552"/>
                    </a:lnTo>
                    <a:lnTo>
                      <a:pt x="554" y="552"/>
                    </a:lnTo>
                    <a:lnTo>
                      <a:pt x="554" y="551"/>
                    </a:lnTo>
                    <a:lnTo>
                      <a:pt x="554" y="552"/>
                    </a:lnTo>
                    <a:lnTo>
                      <a:pt x="553" y="552"/>
                    </a:lnTo>
                    <a:lnTo>
                      <a:pt x="553" y="551"/>
                    </a:lnTo>
                    <a:lnTo>
                      <a:pt x="554" y="551"/>
                    </a:lnTo>
                    <a:close/>
                    <a:moveTo>
                      <a:pt x="546" y="536"/>
                    </a:moveTo>
                    <a:lnTo>
                      <a:pt x="548" y="536"/>
                    </a:lnTo>
                    <a:lnTo>
                      <a:pt x="548" y="537"/>
                    </a:lnTo>
                    <a:lnTo>
                      <a:pt x="546" y="537"/>
                    </a:lnTo>
                    <a:lnTo>
                      <a:pt x="546" y="536"/>
                    </a:lnTo>
                    <a:close/>
                    <a:moveTo>
                      <a:pt x="419" y="546"/>
                    </a:moveTo>
                    <a:lnTo>
                      <a:pt x="420" y="546"/>
                    </a:lnTo>
                    <a:lnTo>
                      <a:pt x="420" y="547"/>
                    </a:lnTo>
                    <a:lnTo>
                      <a:pt x="419" y="547"/>
                    </a:lnTo>
                    <a:lnTo>
                      <a:pt x="419" y="546"/>
                    </a:lnTo>
                    <a:close/>
                    <a:moveTo>
                      <a:pt x="181" y="352"/>
                    </a:moveTo>
                    <a:lnTo>
                      <a:pt x="182" y="352"/>
                    </a:lnTo>
                    <a:lnTo>
                      <a:pt x="182" y="353"/>
                    </a:lnTo>
                    <a:lnTo>
                      <a:pt x="181" y="353"/>
                    </a:lnTo>
                    <a:lnTo>
                      <a:pt x="181" y="352"/>
                    </a:lnTo>
                    <a:close/>
                    <a:moveTo>
                      <a:pt x="574" y="555"/>
                    </a:moveTo>
                    <a:lnTo>
                      <a:pt x="576" y="555"/>
                    </a:lnTo>
                    <a:lnTo>
                      <a:pt x="576" y="556"/>
                    </a:lnTo>
                    <a:lnTo>
                      <a:pt x="574" y="556"/>
                    </a:lnTo>
                    <a:lnTo>
                      <a:pt x="574" y="555"/>
                    </a:lnTo>
                    <a:close/>
                    <a:moveTo>
                      <a:pt x="473" y="440"/>
                    </a:moveTo>
                    <a:lnTo>
                      <a:pt x="474" y="440"/>
                    </a:lnTo>
                    <a:lnTo>
                      <a:pt x="474" y="441"/>
                    </a:lnTo>
                    <a:lnTo>
                      <a:pt x="473" y="441"/>
                    </a:lnTo>
                    <a:lnTo>
                      <a:pt x="473" y="440"/>
                    </a:lnTo>
                    <a:close/>
                    <a:moveTo>
                      <a:pt x="242" y="399"/>
                    </a:moveTo>
                    <a:lnTo>
                      <a:pt x="241" y="399"/>
                    </a:lnTo>
                    <a:lnTo>
                      <a:pt x="242" y="399"/>
                    </a:lnTo>
                    <a:lnTo>
                      <a:pt x="241" y="399"/>
                    </a:lnTo>
                    <a:lnTo>
                      <a:pt x="242" y="399"/>
                    </a:lnTo>
                    <a:lnTo>
                      <a:pt x="243" y="398"/>
                    </a:lnTo>
                    <a:lnTo>
                      <a:pt x="242" y="399"/>
                    </a:lnTo>
                    <a:close/>
                    <a:moveTo>
                      <a:pt x="463" y="609"/>
                    </a:moveTo>
                    <a:lnTo>
                      <a:pt x="464" y="609"/>
                    </a:lnTo>
                    <a:lnTo>
                      <a:pt x="464" y="611"/>
                    </a:lnTo>
                    <a:lnTo>
                      <a:pt x="463" y="611"/>
                    </a:lnTo>
                    <a:lnTo>
                      <a:pt x="463" y="609"/>
                    </a:lnTo>
                    <a:close/>
                    <a:moveTo>
                      <a:pt x="509" y="563"/>
                    </a:moveTo>
                    <a:lnTo>
                      <a:pt x="510" y="563"/>
                    </a:lnTo>
                    <a:lnTo>
                      <a:pt x="510" y="564"/>
                    </a:lnTo>
                    <a:lnTo>
                      <a:pt x="509" y="564"/>
                    </a:lnTo>
                    <a:lnTo>
                      <a:pt x="509" y="563"/>
                    </a:lnTo>
                    <a:close/>
                    <a:moveTo>
                      <a:pt x="496" y="413"/>
                    </a:moveTo>
                    <a:lnTo>
                      <a:pt x="497" y="413"/>
                    </a:lnTo>
                    <a:lnTo>
                      <a:pt x="497" y="414"/>
                    </a:lnTo>
                    <a:lnTo>
                      <a:pt x="496" y="414"/>
                    </a:lnTo>
                    <a:lnTo>
                      <a:pt x="496" y="413"/>
                    </a:lnTo>
                    <a:close/>
                    <a:moveTo>
                      <a:pt x="182" y="409"/>
                    </a:moveTo>
                    <a:lnTo>
                      <a:pt x="184" y="409"/>
                    </a:lnTo>
                    <a:lnTo>
                      <a:pt x="184" y="410"/>
                    </a:lnTo>
                    <a:lnTo>
                      <a:pt x="182" y="410"/>
                    </a:lnTo>
                    <a:lnTo>
                      <a:pt x="182" y="409"/>
                    </a:lnTo>
                    <a:close/>
                    <a:moveTo>
                      <a:pt x="587" y="550"/>
                    </a:moveTo>
                    <a:lnTo>
                      <a:pt x="588" y="550"/>
                    </a:lnTo>
                    <a:lnTo>
                      <a:pt x="588" y="551"/>
                    </a:lnTo>
                    <a:lnTo>
                      <a:pt x="587" y="551"/>
                    </a:lnTo>
                    <a:lnTo>
                      <a:pt x="587" y="550"/>
                    </a:lnTo>
                    <a:close/>
                    <a:moveTo>
                      <a:pt x="558" y="520"/>
                    </a:moveTo>
                    <a:lnTo>
                      <a:pt x="560" y="520"/>
                    </a:lnTo>
                    <a:lnTo>
                      <a:pt x="560" y="521"/>
                    </a:lnTo>
                    <a:lnTo>
                      <a:pt x="558" y="521"/>
                    </a:lnTo>
                    <a:lnTo>
                      <a:pt x="558" y="520"/>
                    </a:lnTo>
                    <a:close/>
                    <a:moveTo>
                      <a:pt x="236" y="222"/>
                    </a:moveTo>
                    <a:lnTo>
                      <a:pt x="239" y="222"/>
                    </a:lnTo>
                    <a:lnTo>
                      <a:pt x="239" y="224"/>
                    </a:lnTo>
                    <a:lnTo>
                      <a:pt x="236" y="224"/>
                    </a:lnTo>
                    <a:lnTo>
                      <a:pt x="236" y="222"/>
                    </a:lnTo>
                    <a:close/>
                    <a:moveTo>
                      <a:pt x="266" y="400"/>
                    </a:moveTo>
                    <a:lnTo>
                      <a:pt x="267" y="400"/>
                    </a:lnTo>
                    <a:lnTo>
                      <a:pt x="267" y="401"/>
                    </a:lnTo>
                    <a:lnTo>
                      <a:pt x="266" y="401"/>
                    </a:lnTo>
                    <a:lnTo>
                      <a:pt x="266" y="400"/>
                    </a:lnTo>
                    <a:close/>
                    <a:moveTo>
                      <a:pt x="504" y="444"/>
                    </a:moveTo>
                    <a:lnTo>
                      <a:pt x="505" y="444"/>
                    </a:lnTo>
                    <a:lnTo>
                      <a:pt x="505" y="446"/>
                    </a:lnTo>
                    <a:lnTo>
                      <a:pt x="504" y="446"/>
                    </a:lnTo>
                    <a:lnTo>
                      <a:pt x="504" y="444"/>
                    </a:lnTo>
                    <a:close/>
                    <a:moveTo>
                      <a:pt x="501" y="438"/>
                    </a:moveTo>
                    <a:lnTo>
                      <a:pt x="500" y="438"/>
                    </a:lnTo>
                    <a:lnTo>
                      <a:pt x="500" y="437"/>
                    </a:lnTo>
                    <a:lnTo>
                      <a:pt x="500" y="436"/>
                    </a:lnTo>
                    <a:lnTo>
                      <a:pt x="500" y="437"/>
                    </a:lnTo>
                    <a:lnTo>
                      <a:pt x="500" y="438"/>
                    </a:lnTo>
                    <a:lnTo>
                      <a:pt x="501" y="438"/>
                    </a:lnTo>
                    <a:close/>
                    <a:moveTo>
                      <a:pt x="550" y="516"/>
                    </a:moveTo>
                    <a:lnTo>
                      <a:pt x="552" y="516"/>
                    </a:lnTo>
                    <a:lnTo>
                      <a:pt x="552" y="517"/>
                    </a:lnTo>
                    <a:lnTo>
                      <a:pt x="550" y="517"/>
                    </a:lnTo>
                    <a:lnTo>
                      <a:pt x="550" y="516"/>
                    </a:lnTo>
                    <a:close/>
                    <a:moveTo>
                      <a:pt x="465" y="435"/>
                    </a:moveTo>
                    <a:lnTo>
                      <a:pt x="466" y="435"/>
                    </a:lnTo>
                    <a:lnTo>
                      <a:pt x="466" y="436"/>
                    </a:lnTo>
                    <a:lnTo>
                      <a:pt x="465" y="436"/>
                    </a:lnTo>
                    <a:lnTo>
                      <a:pt x="465" y="435"/>
                    </a:lnTo>
                    <a:close/>
                    <a:moveTo>
                      <a:pt x="411" y="376"/>
                    </a:moveTo>
                    <a:lnTo>
                      <a:pt x="411" y="377"/>
                    </a:lnTo>
                    <a:lnTo>
                      <a:pt x="410" y="377"/>
                    </a:lnTo>
                    <a:lnTo>
                      <a:pt x="409" y="377"/>
                    </a:lnTo>
                    <a:lnTo>
                      <a:pt x="410" y="377"/>
                    </a:lnTo>
                    <a:lnTo>
                      <a:pt x="410" y="376"/>
                    </a:lnTo>
                    <a:lnTo>
                      <a:pt x="411" y="376"/>
                    </a:lnTo>
                    <a:close/>
                    <a:moveTo>
                      <a:pt x="480" y="420"/>
                    </a:moveTo>
                    <a:lnTo>
                      <a:pt x="479" y="420"/>
                    </a:lnTo>
                    <a:lnTo>
                      <a:pt x="478" y="420"/>
                    </a:lnTo>
                    <a:lnTo>
                      <a:pt x="479" y="420"/>
                    </a:lnTo>
                    <a:lnTo>
                      <a:pt x="479" y="421"/>
                    </a:lnTo>
                    <a:lnTo>
                      <a:pt x="479" y="420"/>
                    </a:lnTo>
                    <a:lnTo>
                      <a:pt x="480" y="420"/>
                    </a:lnTo>
                    <a:lnTo>
                      <a:pt x="479" y="421"/>
                    </a:lnTo>
                    <a:lnTo>
                      <a:pt x="479" y="420"/>
                    </a:lnTo>
                    <a:lnTo>
                      <a:pt x="479" y="421"/>
                    </a:lnTo>
                    <a:lnTo>
                      <a:pt x="478" y="421"/>
                    </a:lnTo>
                    <a:lnTo>
                      <a:pt x="478" y="420"/>
                    </a:lnTo>
                    <a:lnTo>
                      <a:pt x="479" y="420"/>
                    </a:lnTo>
                    <a:lnTo>
                      <a:pt x="480" y="420"/>
                    </a:lnTo>
                    <a:lnTo>
                      <a:pt x="480" y="418"/>
                    </a:lnTo>
                    <a:lnTo>
                      <a:pt x="480" y="420"/>
                    </a:lnTo>
                    <a:close/>
                    <a:moveTo>
                      <a:pt x="166" y="395"/>
                    </a:moveTo>
                    <a:lnTo>
                      <a:pt x="167" y="395"/>
                    </a:lnTo>
                    <a:lnTo>
                      <a:pt x="167" y="396"/>
                    </a:lnTo>
                    <a:lnTo>
                      <a:pt x="166" y="396"/>
                    </a:lnTo>
                    <a:lnTo>
                      <a:pt x="166" y="395"/>
                    </a:lnTo>
                    <a:close/>
                    <a:moveTo>
                      <a:pt x="422" y="391"/>
                    </a:moveTo>
                    <a:lnTo>
                      <a:pt x="423" y="391"/>
                    </a:lnTo>
                    <a:lnTo>
                      <a:pt x="424" y="391"/>
                    </a:lnTo>
                    <a:lnTo>
                      <a:pt x="423" y="391"/>
                    </a:lnTo>
                    <a:lnTo>
                      <a:pt x="422" y="391"/>
                    </a:lnTo>
                    <a:close/>
                    <a:moveTo>
                      <a:pt x="183" y="352"/>
                    </a:moveTo>
                    <a:lnTo>
                      <a:pt x="184" y="352"/>
                    </a:lnTo>
                    <a:lnTo>
                      <a:pt x="184" y="353"/>
                    </a:lnTo>
                    <a:lnTo>
                      <a:pt x="183" y="353"/>
                    </a:lnTo>
                    <a:lnTo>
                      <a:pt x="183" y="352"/>
                    </a:lnTo>
                    <a:close/>
                    <a:moveTo>
                      <a:pt x="266" y="402"/>
                    </a:moveTo>
                    <a:lnTo>
                      <a:pt x="267" y="402"/>
                    </a:lnTo>
                    <a:lnTo>
                      <a:pt x="267" y="403"/>
                    </a:lnTo>
                    <a:lnTo>
                      <a:pt x="266" y="403"/>
                    </a:lnTo>
                    <a:lnTo>
                      <a:pt x="266" y="402"/>
                    </a:lnTo>
                    <a:close/>
                    <a:moveTo>
                      <a:pt x="124" y="413"/>
                    </a:moveTo>
                    <a:lnTo>
                      <a:pt x="123" y="413"/>
                    </a:lnTo>
                    <a:lnTo>
                      <a:pt x="122" y="414"/>
                    </a:lnTo>
                    <a:lnTo>
                      <a:pt x="122" y="413"/>
                    </a:lnTo>
                    <a:lnTo>
                      <a:pt x="123" y="413"/>
                    </a:lnTo>
                    <a:lnTo>
                      <a:pt x="124" y="413"/>
                    </a:lnTo>
                    <a:close/>
                    <a:moveTo>
                      <a:pt x="255" y="262"/>
                    </a:moveTo>
                    <a:lnTo>
                      <a:pt x="256" y="262"/>
                    </a:lnTo>
                    <a:lnTo>
                      <a:pt x="256" y="263"/>
                    </a:lnTo>
                    <a:lnTo>
                      <a:pt x="255" y="263"/>
                    </a:lnTo>
                    <a:lnTo>
                      <a:pt x="255" y="262"/>
                    </a:lnTo>
                    <a:close/>
                    <a:moveTo>
                      <a:pt x="575" y="565"/>
                    </a:moveTo>
                    <a:lnTo>
                      <a:pt x="575" y="567"/>
                    </a:lnTo>
                    <a:lnTo>
                      <a:pt x="575" y="565"/>
                    </a:lnTo>
                    <a:close/>
                    <a:moveTo>
                      <a:pt x="552" y="437"/>
                    </a:moveTo>
                    <a:lnTo>
                      <a:pt x="553" y="437"/>
                    </a:lnTo>
                    <a:lnTo>
                      <a:pt x="553" y="438"/>
                    </a:lnTo>
                    <a:lnTo>
                      <a:pt x="552" y="438"/>
                    </a:lnTo>
                    <a:lnTo>
                      <a:pt x="552" y="437"/>
                    </a:lnTo>
                    <a:close/>
                    <a:moveTo>
                      <a:pt x="155" y="386"/>
                    </a:moveTo>
                    <a:lnTo>
                      <a:pt x="156" y="386"/>
                    </a:lnTo>
                    <a:lnTo>
                      <a:pt x="156" y="387"/>
                    </a:lnTo>
                    <a:lnTo>
                      <a:pt x="155" y="387"/>
                    </a:lnTo>
                    <a:lnTo>
                      <a:pt x="155" y="386"/>
                    </a:lnTo>
                    <a:close/>
                    <a:moveTo>
                      <a:pt x="196" y="375"/>
                    </a:moveTo>
                    <a:lnTo>
                      <a:pt x="197" y="375"/>
                    </a:lnTo>
                    <a:lnTo>
                      <a:pt x="197" y="376"/>
                    </a:lnTo>
                    <a:lnTo>
                      <a:pt x="196" y="376"/>
                    </a:lnTo>
                    <a:lnTo>
                      <a:pt x="196" y="375"/>
                    </a:lnTo>
                    <a:close/>
                    <a:moveTo>
                      <a:pt x="199" y="353"/>
                    </a:moveTo>
                    <a:lnTo>
                      <a:pt x="199" y="356"/>
                    </a:lnTo>
                    <a:lnTo>
                      <a:pt x="199" y="353"/>
                    </a:lnTo>
                    <a:close/>
                    <a:moveTo>
                      <a:pt x="549" y="537"/>
                    </a:moveTo>
                    <a:lnTo>
                      <a:pt x="550" y="537"/>
                    </a:lnTo>
                    <a:lnTo>
                      <a:pt x="550" y="538"/>
                    </a:lnTo>
                    <a:lnTo>
                      <a:pt x="549" y="538"/>
                    </a:lnTo>
                    <a:lnTo>
                      <a:pt x="549" y="537"/>
                    </a:lnTo>
                    <a:close/>
                    <a:moveTo>
                      <a:pt x="239" y="237"/>
                    </a:moveTo>
                    <a:lnTo>
                      <a:pt x="240" y="237"/>
                    </a:lnTo>
                    <a:lnTo>
                      <a:pt x="240" y="238"/>
                    </a:lnTo>
                    <a:lnTo>
                      <a:pt x="239" y="238"/>
                    </a:lnTo>
                    <a:lnTo>
                      <a:pt x="239" y="237"/>
                    </a:lnTo>
                    <a:close/>
                    <a:moveTo>
                      <a:pt x="194" y="401"/>
                    </a:moveTo>
                    <a:lnTo>
                      <a:pt x="193" y="401"/>
                    </a:lnTo>
                    <a:lnTo>
                      <a:pt x="192" y="401"/>
                    </a:lnTo>
                    <a:lnTo>
                      <a:pt x="192" y="402"/>
                    </a:lnTo>
                    <a:lnTo>
                      <a:pt x="192" y="401"/>
                    </a:lnTo>
                    <a:lnTo>
                      <a:pt x="194" y="401"/>
                    </a:lnTo>
                    <a:close/>
                    <a:moveTo>
                      <a:pt x="569" y="545"/>
                    </a:moveTo>
                    <a:lnTo>
                      <a:pt x="570" y="545"/>
                    </a:lnTo>
                    <a:lnTo>
                      <a:pt x="569" y="545"/>
                    </a:lnTo>
                    <a:close/>
                    <a:moveTo>
                      <a:pt x="103" y="329"/>
                    </a:moveTo>
                    <a:lnTo>
                      <a:pt x="104" y="329"/>
                    </a:lnTo>
                    <a:lnTo>
                      <a:pt x="104" y="331"/>
                    </a:lnTo>
                    <a:lnTo>
                      <a:pt x="103" y="331"/>
                    </a:lnTo>
                    <a:lnTo>
                      <a:pt x="103" y="329"/>
                    </a:lnTo>
                    <a:close/>
                    <a:moveTo>
                      <a:pt x="182" y="351"/>
                    </a:moveTo>
                    <a:lnTo>
                      <a:pt x="183" y="351"/>
                    </a:lnTo>
                    <a:lnTo>
                      <a:pt x="183" y="352"/>
                    </a:lnTo>
                    <a:lnTo>
                      <a:pt x="182" y="352"/>
                    </a:lnTo>
                    <a:lnTo>
                      <a:pt x="182" y="351"/>
                    </a:lnTo>
                    <a:close/>
                    <a:moveTo>
                      <a:pt x="421" y="374"/>
                    </a:moveTo>
                    <a:lnTo>
                      <a:pt x="422" y="374"/>
                    </a:lnTo>
                    <a:lnTo>
                      <a:pt x="422" y="376"/>
                    </a:lnTo>
                    <a:lnTo>
                      <a:pt x="421" y="376"/>
                    </a:lnTo>
                    <a:lnTo>
                      <a:pt x="421" y="374"/>
                    </a:lnTo>
                    <a:close/>
                    <a:moveTo>
                      <a:pt x="158" y="348"/>
                    </a:moveTo>
                    <a:lnTo>
                      <a:pt x="160" y="348"/>
                    </a:lnTo>
                    <a:lnTo>
                      <a:pt x="160" y="349"/>
                    </a:lnTo>
                    <a:lnTo>
                      <a:pt x="158" y="349"/>
                    </a:lnTo>
                    <a:lnTo>
                      <a:pt x="158" y="348"/>
                    </a:lnTo>
                    <a:close/>
                    <a:moveTo>
                      <a:pt x="389" y="364"/>
                    </a:moveTo>
                    <a:lnTo>
                      <a:pt x="388" y="364"/>
                    </a:lnTo>
                    <a:lnTo>
                      <a:pt x="387" y="364"/>
                    </a:lnTo>
                    <a:lnTo>
                      <a:pt x="388" y="363"/>
                    </a:lnTo>
                    <a:lnTo>
                      <a:pt x="388" y="364"/>
                    </a:lnTo>
                    <a:lnTo>
                      <a:pt x="388" y="363"/>
                    </a:lnTo>
                    <a:lnTo>
                      <a:pt x="389" y="364"/>
                    </a:lnTo>
                    <a:lnTo>
                      <a:pt x="389" y="363"/>
                    </a:lnTo>
                    <a:lnTo>
                      <a:pt x="390" y="363"/>
                    </a:lnTo>
                    <a:lnTo>
                      <a:pt x="389" y="364"/>
                    </a:lnTo>
                    <a:close/>
                    <a:moveTo>
                      <a:pt x="492" y="570"/>
                    </a:moveTo>
                    <a:lnTo>
                      <a:pt x="493" y="570"/>
                    </a:lnTo>
                    <a:lnTo>
                      <a:pt x="493" y="571"/>
                    </a:lnTo>
                    <a:lnTo>
                      <a:pt x="492" y="571"/>
                    </a:lnTo>
                    <a:lnTo>
                      <a:pt x="492" y="570"/>
                    </a:lnTo>
                    <a:close/>
                    <a:moveTo>
                      <a:pt x="434" y="366"/>
                    </a:moveTo>
                    <a:lnTo>
                      <a:pt x="433" y="366"/>
                    </a:lnTo>
                    <a:lnTo>
                      <a:pt x="432" y="366"/>
                    </a:lnTo>
                    <a:lnTo>
                      <a:pt x="433" y="366"/>
                    </a:lnTo>
                    <a:lnTo>
                      <a:pt x="434" y="366"/>
                    </a:lnTo>
                    <a:close/>
                    <a:moveTo>
                      <a:pt x="480" y="424"/>
                    </a:moveTo>
                    <a:lnTo>
                      <a:pt x="480" y="423"/>
                    </a:lnTo>
                    <a:lnTo>
                      <a:pt x="480" y="422"/>
                    </a:lnTo>
                    <a:lnTo>
                      <a:pt x="481" y="422"/>
                    </a:lnTo>
                    <a:lnTo>
                      <a:pt x="480" y="422"/>
                    </a:lnTo>
                    <a:lnTo>
                      <a:pt x="481" y="422"/>
                    </a:lnTo>
                    <a:lnTo>
                      <a:pt x="480" y="422"/>
                    </a:lnTo>
                    <a:lnTo>
                      <a:pt x="481" y="421"/>
                    </a:lnTo>
                    <a:lnTo>
                      <a:pt x="483" y="420"/>
                    </a:lnTo>
                    <a:lnTo>
                      <a:pt x="481" y="420"/>
                    </a:lnTo>
                    <a:lnTo>
                      <a:pt x="483" y="420"/>
                    </a:lnTo>
                    <a:lnTo>
                      <a:pt x="481" y="421"/>
                    </a:lnTo>
                    <a:lnTo>
                      <a:pt x="481" y="422"/>
                    </a:lnTo>
                    <a:lnTo>
                      <a:pt x="480" y="423"/>
                    </a:lnTo>
                    <a:lnTo>
                      <a:pt x="480" y="424"/>
                    </a:lnTo>
                    <a:close/>
                    <a:moveTo>
                      <a:pt x="228" y="405"/>
                    </a:moveTo>
                    <a:lnTo>
                      <a:pt x="229" y="405"/>
                    </a:lnTo>
                    <a:lnTo>
                      <a:pt x="229" y="406"/>
                    </a:lnTo>
                    <a:lnTo>
                      <a:pt x="228" y="406"/>
                    </a:lnTo>
                    <a:lnTo>
                      <a:pt x="228" y="405"/>
                    </a:lnTo>
                    <a:close/>
                    <a:moveTo>
                      <a:pt x="423" y="386"/>
                    </a:moveTo>
                    <a:lnTo>
                      <a:pt x="423" y="385"/>
                    </a:lnTo>
                    <a:lnTo>
                      <a:pt x="423" y="384"/>
                    </a:lnTo>
                    <a:lnTo>
                      <a:pt x="423" y="385"/>
                    </a:lnTo>
                    <a:lnTo>
                      <a:pt x="423" y="386"/>
                    </a:lnTo>
                    <a:close/>
                    <a:moveTo>
                      <a:pt x="542" y="542"/>
                    </a:moveTo>
                    <a:lnTo>
                      <a:pt x="541" y="542"/>
                    </a:lnTo>
                    <a:lnTo>
                      <a:pt x="541" y="541"/>
                    </a:lnTo>
                    <a:lnTo>
                      <a:pt x="541" y="540"/>
                    </a:lnTo>
                    <a:lnTo>
                      <a:pt x="540" y="539"/>
                    </a:lnTo>
                    <a:lnTo>
                      <a:pt x="541" y="539"/>
                    </a:lnTo>
                    <a:lnTo>
                      <a:pt x="542" y="539"/>
                    </a:lnTo>
                    <a:lnTo>
                      <a:pt x="541" y="539"/>
                    </a:lnTo>
                    <a:lnTo>
                      <a:pt x="541" y="540"/>
                    </a:lnTo>
                    <a:lnTo>
                      <a:pt x="541" y="541"/>
                    </a:lnTo>
                    <a:lnTo>
                      <a:pt x="541" y="542"/>
                    </a:lnTo>
                    <a:lnTo>
                      <a:pt x="542" y="542"/>
                    </a:lnTo>
                    <a:close/>
                    <a:moveTo>
                      <a:pt x="543" y="554"/>
                    </a:moveTo>
                    <a:lnTo>
                      <a:pt x="544" y="554"/>
                    </a:lnTo>
                    <a:lnTo>
                      <a:pt x="544" y="555"/>
                    </a:lnTo>
                    <a:lnTo>
                      <a:pt x="543" y="555"/>
                    </a:lnTo>
                    <a:lnTo>
                      <a:pt x="543" y="554"/>
                    </a:lnTo>
                    <a:close/>
                    <a:moveTo>
                      <a:pt x="390" y="364"/>
                    </a:moveTo>
                    <a:lnTo>
                      <a:pt x="391" y="364"/>
                    </a:lnTo>
                    <a:lnTo>
                      <a:pt x="393" y="364"/>
                    </a:lnTo>
                    <a:lnTo>
                      <a:pt x="394" y="364"/>
                    </a:lnTo>
                    <a:lnTo>
                      <a:pt x="395" y="364"/>
                    </a:lnTo>
                    <a:lnTo>
                      <a:pt x="396" y="364"/>
                    </a:lnTo>
                    <a:lnTo>
                      <a:pt x="397" y="364"/>
                    </a:lnTo>
                    <a:lnTo>
                      <a:pt x="396" y="364"/>
                    </a:lnTo>
                    <a:lnTo>
                      <a:pt x="394" y="364"/>
                    </a:lnTo>
                    <a:lnTo>
                      <a:pt x="393" y="364"/>
                    </a:lnTo>
                    <a:lnTo>
                      <a:pt x="391" y="364"/>
                    </a:lnTo>
                    <a:lnTo>
                      <a:pt x="390" y="364"/>
                    </a:lnTo>
                    <a:lnTo>
                      <a:pt x="389" y="364"/>
                    </a:lnTo>
                    <a:lnTo>
                      <a:pt x="390" y="364"/>
                    </a:lnTo>
                    <a:close/>
                    <a:moveTo>
                      <a:pt x="404" y="371"/>
                    </a:moveTo>
                    <a:lnTo>
                      <a:pt x="406" y="371"/>
                    </a:lnTo>
                    <a:lnTo>
                      <a:pt x="407" y="371"/>
                    </a:lnTo>
                    <a:lnTo>
                      <a:pt x="408" y="371"/>
                    </a:lnTo>
                    <a:lnTo>
                      <a:pt x="407" y="371"/>
                    </a:lnTo>
                    <a:lnTo>
                      <a:pt x="406" y="371"/>
                    </a:lnTo>
                    <a:lnTo>
                      <a:pt x="404" y="371"/>
                    </a:lnTo>
                    <a:close/>
                    <a:moveTo>
                      <a:pt x="413" y="379"/>
                    </a:moveTo>
                    <a:lnTo>
                      <a:pt x="413" y="382"/>
                    </a:lnTo>
                    <a:lnTo>
                      <a:pt x="413" y="379"/>
                    </a:lnTo>
                    <a:close/>
                    <a:moveTo>
                      <a:pt x="408" y="365"/>
                    </a:moveTo>
                    <a:lnTo>
                      <a:pt x="409" y="365"/>
                    </a:lnTo>
                    <a:lnTo>
                      <a:pt x="408" y="365"/>
                    </a:lnTo>
                    <a:lnTo>
                      <a:pt x="408" y="366"/>
                    </a:lnTo>
                    <a:lnTo>
                      <a:pt x="408" y="365"/>
                    </a:lnTo>
                    <a:lnTo>
                      <a:pt x="408" y="364"/>
                    </a:lnTo>
                    <a:lnTo>
                      <a:pt x="409" y="364"/>
                    </a:lnTo>
                    <a:lnTo>
                      <a:pt x="408" y="364"/>
                    </a:lnTo>
                    <a:lnTo>
                      <a:pt x="408" y="365"/>
                    </a:lnTo>
                    <a:close/>
                    <a:moveTo>
                      <a:pt x="186" y="406"/>
                    </a:moveTo>
                    <a:lnTo>
                      <a:pt x="187" y="406"/>
                    </a:lnTo>
                    <a:lnTo>
                      <a:pt x="187" y="408"/>
                    </a:lnTo>
                    <a:lnTo>
                      <a:pt x="186" y="408"/>
                    </a:lnTo>
                    <a:lnTo>
                      <a:pt x="186" y="406"/>
                    </a:lnTo>
                    <a:close/>
                    <a:moveTo>
                      <a:pt x="419" y="377"/>
                    </a:moveTo>
                    <a:lnTo>
                      <a:pt x="421" y="377"/>
                    </a:lnTo>
                    <a:lnTo>
                      <a:pt x="421" y="378"/>
                    </a:lnTo>
                    <a:lnTo>
                      <a:pt x="419" y="378"/>
                    </a:lnTo>
                    <a:lnTo>
                      <a:pt x="419" y="377"/>
                    </a:lnTo>
                    <a:close/>
                    <a:moveTo>
                      <a:pt x="505" y="565"/>
                    </a:moveTo>
                    <a:lnTo>
                      <a:pt x="506" y="565"/>
                    </a:lnTo>
                    <a:lnTo>
                      <a:pt x="506" y="566"/>
                    </a:lnTo>
                    <a:lnTo>
                      <a:pt x="505" y="566"/>
                    </a:lnTo>
                    <a:lnTo>
                      <a:pt x="505" y="565"/>
                    </a:lnTo>
                    <a:close/>
                    <a:moveTo>
                      <a:pt x="450" y="371"/>
                    </a:moveTo>
                    <a:lnTo>
                      <a:pt x="452" y="371"/>
                    </a:lnTo>
                    <a:lnTo>
                      <a:pt x="450" y="371"/>
                    </a:lnTo>
                    <a:close/>
                    <a:moveTo>
                      <a:pt x="566" y="563"/>
                    </a:moveTo>
                    <a:lnTo>
                      <a:pt x="567" y="563"/>
                    </a:lnTo>
                    <a:lnTo>
                      <a:pt x="567" y="564"/>
                    </a:lnTo>
                    <a:lnTo>
                      <a:pt x="566" y="564"/>
                    </a:lnTo>
                    <a:lnTo>
                      <a:pt x="566" y="563"/>
                    </a:lnTo>
                    <a:close/>
                    <a:moveTo>
                      <a:pt x="289" y="430"/>
                    </a:moveTo>
                    <a:lnTo>
                      <a:pt x="291" y="430"/>
                    </a:lnTo>
                    <a:lnTo>
                      <a:pt x="291" y="433"/>
                    </a:lnTo>
                    <a:lnTo>
                      <a:pt x="289" y="433"/>
                    </a:lnTo>
                    <a:lnTo>
                      <a:pt x="289" y="430"/>
                    </a:lnTo>
                    <a:close/>
                    <a:moveTo>
                      <a:pt x="502" y="556"/>
                    </a:moveTo>
                    <a:lnTo>
                      <a:pt x="503" y="556"/>
                    </a:lnTo>
                    <a:lnTo>
                      <a:pt x="503" y="557"/>
                    </a:lnTo>
                    <a:lnTo>
                      <a:pt x="502" y="557"/>
                    </a:lnTo>
                    <a:lnTo>
                      <a:pt x="502" y="556"/>
                    </a:lnTo>
                    <a:close/>
                    <a:moveTo>
                      <a:pt x="422" y="382"/>
                    </a:moveTo>
                    <a:lnTo>
                      <a:pt x="423" y="382"/>
                    </a:lnTo>
                    <a:lnTo>
                      <a:pt x="423" y="383"/>
                    </a:lnTo>
                    <a:lnTo>
                      <a:pt x="422" y="383"/>
                    </a:lnTo>
                    <a:lnTo>
                      <a:pt x="422" y="382"/>
                    </a:lnTo>
                    <a:close/>
                    <a:moveTo>
                      <a:pt x="245" y="397"/>
                    </a:moveTo>
                    <a:lnTo>
                      <a:pt x="245" y="398"/>
                    </a:lnTo>
                    <a:lnTo>
                      <a:pt x="244" y="398"/>
                    </a:lnTo>
                    <a:lnTo>
                      <a:pt x="245" y="398"/>
                    </a:lnTo>
                    <a:lnTo>
                      <a:pt x="244" y="398"/>
                    </a:lnTo>
                    <a:lnTo>
                      <a:pt x="243" y="398"/>
                    </a:lnTo>
                    <a:lnTo>
                      <a:pt x="244" y="398"/>
                    </a:lnTo>
                    <a:lnTo>
                      <a:pt x="245" y="397"/>
                    </a:lnTo>
                    <a:close/>
                    <a:moveTo>
                      <a:pt x="448" y="374"/>
                    </a:moveTo>
                    <a:lnTo>
                      <a:pt x="449" y="374"/>
                    </a:lnTo>
                    <a:lnTo>
                      <a:pt x="449" y="376"/>
                    </a:lnTo>
                    <a:lnTo>
                      <a:pt x="448" y="376"/>
                    </a:lnTo>
                    <a:lnTo>
                      <a:pt x="448" y="374"/>
                    </a:lnTo>
                    <a:close/>
                    <a:moveTo>
                      <a:pt x="548" y="530"/>
                    </a:moveTo>
                    <a:lnTo>
                      <a:pt x="549" y="530"/>
                    </a:lnTo>
                    <a:lnTo>
                      <a:pt x="549" y="531"/>
                    </a:lnTo>
                    <a:lnTo>
                      <a:pt x="548" y="531"/>
                    </a:lnTo>
                    <a:lnTo>
                      <a:pt x="548" y="530"/>
                    </a:lnTo>
                    <a:close/>
                    <a:moveTo>
                      <a:pt x="273" y="412"/>
                    </a:moveTo>
                    <a:lnTo>
                      <a:pt x="274" y="412"/>
                    </a:lnTo>
                    <a:lnTo>
                      <a:pt x="274" y="413"/>
                    </a:lnTo>
                    <a:lnTo>
                      <a:pt x="273" y="413"/>
                    </a:lnTo>
                    <a:lnTo>
                      <a:pt x="273" y="412"/>
                    </a:lnTo>
                    <a:close/>
                    <a:moveTo>
                      <a:pt x="274" y="413"/>
                    </a:moveTo>
                    <a:lnTo>
                      <a:pt x="273" y="413"/>
                    </a:lnTo>
                    <a:lnTo>
                      <a:pt x="272" y="413"/>
                    </a:lnTo>
                    <a:lnTo>
                      <a:pt x="273" y="413"/>
                    </a:lnTo>
                    <a:lnTo>
                      <a:pt x="274" y="413"/>
                    </a:lnTo>
                    <a:close/>
                    <a:moveTo>
                      <a:pt x="552" y="538"/>
                    </a:moveTo>
                    <a:lnTo>
                      <a:pt x="552" y="539"/>
                    </a:lnTo>
                    <a:lnTo>
                      <a:pt x="552" y="538"/>
                    </a:lnTo>
                    <a:close/>
                    <a:moveTo>
                      <a:pt x="206" y="392"/>
                    </a:moveTo>
                    <a:lnTo>
                      <a:pt x="207" y="392"/>
                    </a:lnTo>
                    <a:lnTo>
                      <a:pt x="207" y="393"/>
                    </a:lnTo>
                    <a:lnTo>
                      <a:pt x="206" y="393"/>
                    </a:lnTo>
                    <a:lnTo>
                      <a:pt x="206" y="392"/>
                    </a:lnTo>
                    <a:close/>
                    <a:moveTo>
                      <a:pt x="208" y="406"/>
                    </a:moveTo>
                    <a:lnTo>
                      <a:pt x="209" y="406"/>
                    </a:lnTo>
                    <a:lnTo>
                      <a:pt x="209" y="408"/>
                    </a:lnTo>
                    <a:lnTo>
                      <a:pt x="208" y="408"/>
                    </a:lnTo>
                    <a:lnTo>
                      <a:pt x="208" y="406"/>
                    </a:lnTo>
                    <a:close/>
                    <a:moveTo>
                      <a:pt x="254" y="209"/>
                    </a:moveTo>
                    <a:lnTo>
                      <a:pt x="255" y="209"/>
                    </a:lnTo>
                    <a:lnTo>
                      <a:pt x="255" y="210"/>
                    </a:lnTo>
                    <a:lnTo>
                      <a:pt x="254" y="210"/>
                    </a:lnTo>
                    <a:lnTo>
                      <a:pt x="254" y="209"/>
                    </a:lnTo>
                    <a:close/>
                    <a:moveTo>
                      <a:pt x="499" y="453"/>
                    </a:moveTo>
                    <a:lnTo>
                      <a:pt x="500" y="453"/>
                    </a:lnTo>
                    <a:lnTo>
                      <a:pt x="500" y="454"/>
                    </a:lnTo>
                    <a:lnTo>
                      <a:pt x="499" y="454"/>
                    </a:lnTo>
                    <a:lnTo>
                      <a:pt x="499" y="453"/>
                    </a:lnTo>
                    <a:close/>
                    <a:moveTo>
                      <a:pt x="444" y="527"/>
                    </a:moveTo>
                    <a:lnTo>
                      <a:pt x="445" y="527"/>
                    </a:lnTo>
                    <a:lnTo>
                      <a:pt x="445" y="528"/>
                    </a:lnTo>
                    <a:lnTo>
                      <a:pt x="444" y="528"/>
                    </a:lnTo>
                    <a:lnTo>
                      <a:pt x="444" y="527"/>
                    </a:lnTo>
                    <a:close/>
                    <a:moveTo>
                      <a:pt x="233" y="397"/>
                    </a:moveTo>
                    <a:lnTo>
                      <a:pt x="235" y="397"/>
                    </a:lnTo>
                    <a:lnTo>
                      <a:pt x="235" y="398"/>
                    </a:lnTo>
                    <a:lnTo>
                      <a:pt x="233" y="398"/>
                    </a:lnTo>
                    <a:lnTo>
                      <a:pt x="233" y="397"/>
                    </a:lnTo>
                    <a:close/>
                    <a:moveTo>
                      <a:pt x="566" y="564"/>
                    </a:moveTo>
                    <a:lnTo>
                      <a:pt x="567" y="564"/>
                    </a:lnTo>
                    <a:lnTo>
                      <a:pt x="567" y="565"/>
                    </a:lnTo>
                    <a:lnTo>
                      <a:pt x="566" y="565"/>
                    </a:lnTo>
                    <a:lnTo>
                      <a:pt x="566" y="564"/>
                    </a:lnTo>
                    <a:close/>
                    <a:moveTo>
                      <a:pt x="201" y="390"/>
                    </a:moveTo>
                    <a:lnTo>
                      <a:pt x="202" y="390"/>
                    </a:lnTo>
                    <a:lnTo>
                      <a:pt x="202" y="391"/>
                    </a:lnTo>
                    <a:lnTo>
                      <a:pt x="201" y="391"/>
                    </a:lnTo>
                    <a:lnTo>
                      <a:pt x="201" y="390"/>
                    </a:lnTo>
                    <a:close/>
                    <a:moveTo>
                      <a:pt x="445" y="399"/>
                    </a:moveTo>
                    <a:lnTo>
                      <a:pt x="444" y="399"/>
                    </a:lnTo>
                    <a:lnTo>
                      <a:pt x="445" y="398"/>
                    </a:lnTo>
                    <a:lnTo>
                      <a:pt x="446" y="398"/>
                    </a:lnTo>
                    <a:lnTo>
                      <a:pt x="447" y="397"/>
                    </a:lnTo>
                    <a:lnTo>
                      <a:pt x="447" y="398"/>
                    </a:lnTo>
                    <a:lnTo>
                      <a:pt x="446" y="398"/>
                    </a:lnTo>
                    <a:lnTo>
                      <a:pt x="445" y="399"/>
                    </a:lnTo>
                    <a:close/>
                    <a:moveTo>
                      <a:pt x="447" y="528"/>
                    </a:moveTo>
                    <a:lnTo>
                      <a:pt x="448" y="528"/>
                    </a:lnTo>
                    <a:lnTo>
                      <a:pt x="448" y="529"/>
                    </a:lnTo>
                    <a:lnTo>
                      <a:pt x="447" y="529"/>
                    </a:lnTo>
                    <a:lnTo>
                      <a:pt x="447" y="528"/>
                    </a:lnTo>
                    <a:close/>
                    <a:moveTo>
                      <a:pt x="236" y="403"/>
                    </a:moveTo>
                    <a:lnTo>
                      <a:pt x="238" y="403"/>
                    </a:lnTo>
                    <a:lnTo>
                      <a:pt x="238" y="404"/>
                    </a:lnTo>
                    <a:lnTo>
                      <a:pt x="236" y="404"/>
                    </a:lnTo>
                    <a:lnTo>
                      <a:pt x="236" y="403"/>
                    </a:lnTo>
                    <a:close/>
                    <a:moveTo>
                      <a:pt x="293" y="437"/>
                    </a:moveTo>
                    <a:lnTo>
                      <a:pt x="293" y="436"/>
                    </a:lnTo>
                    <a:lnTo>
                      <a:pt x="293" y="435"/>
                    </a:lnTo>
                    <a:lnTo>
                      <a:pt x="293" y="434"/>
                    </a:lnTo>
                    <a:lnTo>
                      <a:pt x="293" y="433"/>
                    </a:lnTo>
                    <a:lnTo>
                      <a:pt x="293" y="434"/>
                    </a:lnTo>
                    <a:lnTo>
                      <a:pt x="293" y="435"/>
                    </a:lnTo>
                    <a:lnTo>
                      <a:pt x="293" y="436"/>
                    </a:lnTo>
                    <a:lnTo>
                      <a:pt x="293" y="437"/>
                    </a:lnTo>
                    <a:close/>
                    <a:moveTo>
                      <a:pt x="214" y="402"/>
                    </a:moveTo>
                    <a:lnTo>
                      <a:pt x="215" y="402"/>
                    </a:lnTo>
                    <a:lnTo>
                      <a:pt x="215" y="403"/>
                    </a:lnTo>
                    <a:lnTo>
                      <a:pt x="214" y="403"/>
                    </a:lnTo>
                    <a:lnTo>
                      <a:pt x="214" y="402"/>
                    </a:lnTo>
                    <a:close/>
                    <a:moveTo>
                      <a:pt x="221" y="403"/>
                    </a:moveTo>
                    <a:lnTo>
                      <a:pt x="222" y="403"/>
                    </a:lnTo>
                    <a:lnTo>
                      <a:pt x="222" y="404"/>
                    </a:lnTo>
                    <a:lnTo>
                      <a:pt x="221" y="404"/>
                    </a:lnTo>
                    <a:lnTo>
                      <a:pt x="221" y="403"/>
                    </a:lnTo>
                    <a:close/>
                    <a:moveTo>
                      <a:pt x="324" y="264"/>
                    </a:moveTo>
                    <a:lnTo>
                      <a:pt x="325" y="264"/>
                    </a:lnTo>
                    <a:lnTo>
                      <a:pt x="325" y="266"/>
                    </a:lnTo>
                    <a:lnTo>
                      <a:pt x="324" y="266"/>
                    </a:lnTo>
                    <a:lnTo>
                      <a:pt x="324" y="264"/>
                    </a:lnTo>
                    <a:close/>
                    <a:moveTo>
                      <a:pt x="177" y="360"/>
                    </a:moveTo>
                    <a:lnTo>
                      <a:pt x="178" y="360"/>
                    </a:lnTo>
                    <a:lnTo>
                      <a:pt x="177" y="360"/>
                    </a:lnTo>
                    <a:close/>
                    <a:moveTo>
                      <a:pt x="493" y="570"/>
                    </a:moveTo>
                    <a:lnTo>
                      <a:pt x="496" y="570"/>
                    </a:lnTo>
                    <a:lnTo>
                      <a:pt x="496" y="571"/>
                    </a:lnTo>
                    <a:lnTo>
                      <a:pt x="493" y="571"/>
                    </a:lnTo>
                    <a:lnTo>
                      <a:pt x="493" y="570"/>
                    </a:lnTo>
                    <a:close/>
                    <a:moveTo>
                      <a:pt x="161" y="356"/>
                    </a:moveTo>
                    <a:lnTo>
                      <a:pt x="160" y="356"/>
                    </a:lnTo>
                    <a:lnTo>
                      <a:pt x="158" y="356"/>
                    </a:lnTo>
                    <a:lnTo>
                      <a:pt x="160" y="356"/>
                    </a:lnTo>
                    <a:lnTo>
                      <a:pt x="161" y="356"/>
                    </a:lnTo>
                    <a:lnTo>
                      <a:pt x="161" y="354"/>
                    </a:lnTo>
                    <a:lnTo>
                      <a:pt x="161" y="356"/>
                    </a:lnTo>
                    <a:close/>
                    <a:moveTo>
                      <a:pt x="455" y="623"/>
                    </a:moveTo>
                    <a:lnTo>
                      <a:pt x="457" y="623"/>
                    </a:lnTo>
                    <a:lnTo>
                      <a:pt x="457" y="624"/>
                    </a:lnTo>
                    <a:lnTo>
                      <a:pt x="457" y="623"/>
                    </a:lnTo>
                    <a:lnTo>
                      <a:pt x="455" y="623"/>
                    </a:lnTo>
                    <a:lnTo>
                      <a:pt x="454" y="624"/>
                    </a:lnTo>
                    <a:lnTo>
                      <a:pt x="454" y="626"/>
                    </a:lnTo>
                    <a:lnTo>
                      <a:pt x="453" y="626"/>
                    </a:lnTo>
                    <a:lnTo>
                      <a:pt x="454" y="626"/>
                    </a:lnTo>
                    <a:lnTo>
                      <a:pt x="454" y="624"/>
                    </a:lnTo>
                    <a:lnTo>
                      <a:pt x="455" y="623"/>
                    </a:lnTo>
                    <a:close/>
                    <a:moveTo>
                      <a:pt x="455" y="622"/>
                    </a:moveTo>
                    <a:lnTo>
                      <a:pt x="457" y="622"/>
                    </a:lnTo>
                    <a:lnTo>
                      <a:pt x="457" y="623"/>
                    </a:lnTo>
                    <a:lnTo>
                      <a:pt x="455" y="623"/>
                    </a:lnTo>
                    <a:lnTo>
                      <a:pt x="455" y="622"/>
                    </a:lnTo>
                    <a:close/>
                    <a:moveTo>
                      <a:pt x="178" y="345"/>
                    </a:moveTo>
                    <a:lnTo>
                      <a:pt x="177" y="345"/>
                    </a:lnTo>
                    <a:lnTo>
                      <a:pt x="178" y="345"/>
                    </a:lnTo>
                    <a:lnTo>
                      <a:pt x="179" y="344"/>
                    </a:lnTo>
                    <a:lnTo>
                      <a:pt x="178" y="345"/>
                    </a:lnTo>
                    <a:close/>
                    <a:moveTo>
                      <a:pt x="549" y="530"/>
                    </a:moveTo>
                    <a:lnTo>
                      <a:pt x="551" y="528"/>
                    </a:lnTo>
                    <a:lnTo>
                      <a:pt x="549" y="530"/>
                    </a:lnTo>
                    <a:close/>
                    <a:moveTo>
                      <a:pt x="179" y="351"/>
                    </a:moveTo>
                    <a:lnTo>
                      <a:pt x="180" y="351"/>
                    </a:lnTo>
                    <a:lnTo>
                      <a:pt x="180" y="353"/>
                    </a:lnTo>
                    <a:lnTo>
                      <a:pt x="179" y="353"/>
                    </a:lnTo>
                    <a:lnTo>
                      <a:pt x="179" y="351"/>
                    </a:lnTo>
                    <a:close/>
                    <a:moveTo>
                      <a:pt x="110" y="300"/>
                    </a:moveTo>
                    <a:lnTo>
                      <a:pt x="111" y="300"/>
                    </a:lnTo>
                    <a:lnTo>
                      <a:pt x="111" y="301"/>
                    </a:lnTo>
                    <a:lnTo>
                      <a:pt x="110" y="301"/>
                    </a:lnTo>
                    <a:lnTo>
                      <a:pt x="110" y="300"/>
                    </a:lnTo>
                    <a:close/>
                    <a:moveTo>
                      <a:pt x="423" y="371"/>
                    </a:moveTo>
                    <a:lnTo>
                      <a:pt x="424" y="371"/>
                    </a:lnTo>
                    <a:lnTo>
                      <a:pt x="424" y="372"/>
                    </a:lnTo>
                    <a:lnTo>
                      <a:pt x="423" y="372"/>
                    </a:lnTo>
                    <a:lnTo>
                      <a:pt x="423" y="371"/>
                    </a:lnTo>
                    <a:close/>
                    <a:moveTo>
                      <a:pt x="205" y="391"/>
                    </a:moveTo>
                    <a:lnTo>
                      <a:pt x="206" y="391"/>
                    </a:lnTo>
                    <a:lnTo>
                      <a:pt x="206" y="392"/>
                    </a:lnTo>
                    <a:lnTo>
                      <a:pt x="205" y="392"/>
                    </a:lnTo>
                    <a:lnTo>
                      <a:pt x="205" y="391"/>
                    </a:lnTo>
                    <a:close/>
                    <a:moveTo>
                      <a:pt x="548" y="539"/>
                    </a:moveTo>
                    <a:lnTo>
                      <a:pt x="549" y="539"/>
                    </a:lnTo>
                    <a:lnTo>
                      <a:pt x="549" y="540"/>
                    </a:lnTo>
                    <a:lnTo>
                      <a:pt x="548" y="540"/>
                    </a:lnTo>
                    <a:lnTo>
                      <a:pt x="548" y="539"/>
                    </a:lnTo>
                    <a:close/>
                    <a:moveTo>
                      <a:pt x="243" y="228"/>
                    </a:moveTo>
                    <a:lnTo>
                      <a:pt x="244" y="228"/>
                    </a:lnTo>
                    <a:lnTo>
                      <a:pt x="245" y="228"/>
                    </a:lnTo>
                    <a:lnTo>
                      <a:pt x="245" y="229"/>
                    </a:lnTo>
                    <a:lnTo>
                      <a:pt x="245" y="228"/>
                    </a:lnTo>
                    <a:lnTo>
                      <a:pt x="244" y="228"/>
                    </a:lnTo>
                    <a:lnTo>
                      <a:pt x="243" y="228"/>
                    </a:lnTo>
                    <a:close/>
                    <a:moveTo>
                      <a:pt x="444" y="374"/>
                    </a:moveTo>
                    <a:lnTo>
                      <a:pt x="445" y="374"/>
                    </a:lnTo>
                    <a:lnTo>
                      <a:pt x="445" y="375"/>
                    </a:lnTo>
                    <a:lnTo>
                      <a:pt x="444" y="375"/>
                    </a:lnTo>
                    <a:lnTo>
                      <a:pt x="444" y="374"/>
                    </a:lnTo>
                    <a:close/>
                    <a:moveTo>
                      <a:pt x="569" y="554"/>
                    </a:moveTo>
                    <a:lnTo>
                      <a:pt x="569" y="555"/>
                    </a:lnTo>
                    <a:lnTo>
                      <a:pt x="569" y="554"/>
                    </a:lnTo>
                    <a:close/>
                    <a:moveTo>
                      <a:pt x="474" y="430"/>
                    </a:moveTo>
                    <a:lnTo>
                      <a:pt x="473" y="431"/>
                    </a:lnTo>
                    <a:lnTo>
                      <a:pt x="473" y="430"/>
                    </a:lnTo>
                    <a:lnTo>
                      <a:pt x="472" y="430"/>
                    </a:lnTo>
                    <a:lnTo>
                      <a:pt x="473" y="430"/>
                    </a:lnTo>
                    <a:lnTo>
                      <a:pt x="474" y="430"/>
                    </a:lnTo>
                    <a:lnTo>
                      <a:pt x="475" y="430"/>
                    </a:lnTo>
                    <a:lnTo>
                      <a:pt x="474" y="430"/>
                    </a:lnTo>
                    <a:close/>
                    <a:moveTo>
                      <a:pt x="407" y="369"/>
                    </a:moveTo>
                    <a:lnTo>
                      <a:pt x="406" y="369"/>
                    </a:lnTo>
                    <a:lnTo>
                      <a:pt x="406" y="370"/>
                    </a:lnTo>
                    <a:lnTo>
                      <a:pt x="404" y="370"/>
                    </a:lnTo>
                    <a:lnTo>
                      <a:pt x="404" y="371"/>
                    </a:lnTo>
                    <a:lnTo>
                      <a:pt x="404" y="370"/>
                    </a:lnTo>
                    <a:lnTo>
                      <a:pt x="406" y="370"/>
                    </a:lnTo>
                    <a:lnTo>
                      <a:pt x="406" y="369"/>
                    </a:lnTo>
                    <a:lnTo>
                      <a:pt x="407" y="369"/>
                    </a:lnTo>
                    <a:close/>
                    <a:moveTo>
                      <a:pt x="280" y="435"/>
                    </a:moveTo>
                    <a:lnTo>
                      <a:pt x="282" y="436"/>
                    </a:lnTo>
                    <a:lnTo>
                      <a:pt x="282" y="437"/>
                    </a:lnTo>
                    <a:lnTo>
                      <a:pt x="282" y="436"/>
                    </a:lnTo>
                    <a:lnTo>
                      <a:pt x="281" y="436"/>
                    </a:lnTo>
                    <a:lnTo>
                      <a:pt x="280" y="435"/>
                    </a:lnTo>
                    <a:close/>
                    <a:moveTo>
                      <a:pt x="307" y="411"/>
                    </a:moveTo>
                    <a:lnTo>
                      <a:pt x="304" y="411"/>
                    </a:lnTo>
                    <a:lnTo>
                      <a:pt x="304" y="410"/>
                    </a:lnTo>
                    <a:lnTo>
                      <a:pt x="307" y="411"/>
                    </a:lnTo>
                    <a:close/>
                    <a:moveTo>
                      <a:pt x="475" y="428"/>
                    </a:moveTo>
                    <a:lnTo>
                      <a:pt x="476" y="428"/>
                    </a:lnTo>
                    <a:lnTo>
                      <a:pt x="476" y="429"/>
                    </a:lnTo>
                    <a:lnTo>
                      <a:pt x="475" y="429"/>
                    </a:lnTo>
                    <a:lnTo>
                      <a:pt x="475" y="428"/>
                    </a:lnTo>
                    <a:close/>
                    <a:moveTo>
                      <a:pt x="179" y="350"/>
                    </a:moveTo>
                    <a:lnTo>
                      <a:pt x="180" y="350"/>
                    </a:lnTo>
                    <a:lnTo>
                      <a:pt x="180" y="351"/>
                    </a:lnTo>
                    <a:lnTo>
                      <a:pt x="179" y="351"/>
                    </a:lnTo>
                    <a:lnTo>
                      <a:pt x="179" y="350"/>
                    </a:lnTo>
                    <a:close/>
                    <a:moveTo>
                      <a:pt x="484" y="421"/>
                    </a:moveTo>
                    <a:lnTo>
                      <a:pt x="484" y="422"/>
                    </a:lnTo>
                    <a:lnTo>
                      <a:pt x="484" y="421"/>
                    </a:lnTo>
                    <a:close/>
                    <a:moveTo>
                      <a:pt x="171" y="412"/>
                    </a:moveTo>
                    <a:lnTo>
                      <a:pt x="170" y="412"/>
                    </a:lnTo>
                    <a:lnTo>
                      <a:pt x="170" y="411"/>
                    </a:lnTo>
                    <a:lnTo>
                      <a:pt x="170" y="412"/>
                    </a:lnTo>
                    <a:lnTo>
                      <a:pt x="171" y="412"/>
                    </a:lnTo>
                    <a:close/>
                    <a:moveTo>
                      <a:pt x="492" y="436"/>
                    </a:moveTo>
                    <a:lnTo>
                      <a:pt x="493" y="436"/>
                    </a:lnTo>
                    <a:lnTo>
                      <a:pt x="493" y="437"/>
                    </a:lnTo>
                    <a:lnTo>
                      <a:pt x="492" y="437"/>
                    </a:lnTo>
                    <a:lnTo>
                      <a:pt x="492" y="436"/>
                    </a:lnTo>
                    <a:close/>
                    <a:moveTo>
                      <a:pt x="553" y="521"/>
                    </a:moveTo>
                    <a:lnTo>
                      <a:pt x="553" y="524"/>
                    </a:lnTo>
                    <a:lnTo>
                      <a:pt x="553" y="521"/>
                    </a:lnTo>
                    <a:close/>
                    <a:moveTo>
                      <a:pt x="499" y="459"/>
                    </a:moveTo>
                    <a:lnTo>
                      <a:pt x="499" y="460"/>
                    </a:lnTo>
                    <a:lnTo>
                      <a:pt x="499" y="459"/>
                    </a:lnTo>
                    <a:close/>
                    <a:moveTo>
                      <a:pt x="242" y="374"/>
                    </a:moveTo>
                    <a:lnTo>
                      <a:pt x="243" y="374"/>
                    </a:lnTo>
                    <a:lnTo>
                      <a:pt x="243" y="375"/>
                    </a:lnTo>
                    <a:lnTo>
                      <a:pt x="242" y="375"/>
                    </a:lnTo>
                    <a:lnTo>
                      <a:pt x="242" y="374"/>
                    </a:lnTo>
                    <a:close/>
                    <a:moveTo>
                      <a:pt x="573" y="555"/>
                    </a:moveTo>
                    <a:lnTo>
                      <a:pt x="574" y="555"/>
                    </a:lnTo>
                    <a:lnTo>
                      <a:pt x="574" y="556"/>
                    </a:lnTo>
                    <a:lnTo>
                      <a:pt x="573" y="556"/>
                    </a:lnTo>
                    <a:lnTo>
                      <a:pt x="573" y="555"/>
                    </a:lnTo>
                    <a:close/>
                    <a:moveTo>
                      <a:pt x="279" y="415"/>
                    </a:moveTo>
                    <a:lnTo>
                      <a:pt x="278" y="415"/>
                    </a:lnTo>
                    <a:lnTo>
                      <a:pt x="276" y="414"/>
                    </a:lnTo>
                    <a:lnTo>
                      <a:pt x="274" y="414"/>
                    </a:lnTo>
                    <a:lnTo>
                      <a:pt x="276" y="414"/>
                    </a:lnTo>
                    <a:lnTo>
                      <a:pt x="278" y="415"/>
                    </a:lnTo>
                    <a:lnTo>
                      <a:pt x="279" y="415"/>
                    </a:lnTo>
                    <a:close/>
                    <a:moveTo>
                      <a:pt x="489" y="585"/>
                    </a:moveTo>
                    <a:lnTo>
                      <a:pt x="489" y="586"/>
                    </a:lnTo>
                    <a:lnTo>
                      <a:pt x="489" y="585"/>
                    </a:lnTo>
                    <a:close/>
                    <a:moveTo>
                      <a:pt x="493" y="417"/>
                    </a:moveTo>
                    <a:lnTo>
                      <a:pt x="494" y="417"/>
                    </a:lnTo>
                    <a:lnTo>
                      <a:pt x="494" y="418"/>
                    </a:lnTo>
                    <a:lnTo>
                      <a:pt x="493" y="418"/>
                    </a:lnTo>
                    <a:lnTo>
                      <a:pt x="493" y="417"/>
                    </a:lnTo>
                    <a:close/>
                    <a:moveTo>
                      <a:pt x="455" y="621"/>
                    </a:moveTo>
                    <a:lnTo>
                      <a:pt x="458" y="621"/>
                    </a:lnTo>
                    <a:lnTo>
                      <a:pt x="458" y="622"/>
                    </a:lnTo>
                    <a:lnTo>
                      <a:pt x="455" y="622"/>
                    </a:lnTo>
                    <a:lnTo>
                      <a:pt x="455" y="621"/>
                    </a:lnTo>
                    <a:close/>
                    <a:moveTo>
                      <a:pt x="194" y="361"/>
                    </a:moveTo>
                    <a:lnTo>
                      <a:pt x="196" y="361"/>
                    </a:lnTo>
                    <a:lnTo>
                      <a:pt x="196" y="362"/>
                    </a:lnTo>
                    <a:lnTo>
                      <a:pt x="194" y="362"/>
                    </a:lnTo>
                    <a:lnTo>
                      <a:pt x="194" y="361"/>
                    </a:lnTo>
                    <a:close/>
                    <a:moveTo>
                      <a:pt x="568" y="503"/>
                    </a:moveTo>
                    <a:lnTo>
                      <a:pt x="569" y="503"/>
                    </a:lnTo>
                    <a:lnTo>
                      <a:pt x="569" y="504"/>
                    </a:lnTo>
                    <a:lnTo>
                      <a:pt x="568" y="504"/>
                    </a:lnTo>
                    <a:lnTo>
                      <a:pt x="568" y="503"/>
                    </a:lnTo>
                    <a:close/>
                    <a:moveTo>
                      <a:pt x="339" y="469"/>
                    </a:moveTo>
                    <a:lnTo>
                      <a:pt x="341" y="469"/>
                    </a:lnTo>
                    <a:lnTo>
                      <a:pt x="341" y="470"/>
                    </a:lnTo>
                    <a:lnTo>
                      <a:pt x="339" y="470"/>
                    </a:lnTo>
                    <a:lnTo>
                      <a:pt x="339" y="469"/>
                    </a:lnTo>
                    <a:close/>
                    <a:moveTo>
                      <a:pt x="337" y="467"/>
                    </a:moveTo>
                    <a:lnTo>
                      <a:pt x="339" y="467"/>
                    </a:lnTo>
                    <a:lnTo>
                      <a:pt x="339" y="468"/>
                    </a:lnTo>
                    <a:lnTo>
                      <a:pt x="337" y="468"/>
                    </a:lnTo>
                    <a:lnTo>
                      <a:pt x="337" y="467"/>
                    </a:lnTo>
                    <a:close/>
                    <a:moveTo>
                      <a:pt x="214" y="413"/>
                    </a:moveTo>
                    <a:lnTo>
                      <a:pt x="212" y="413"/>
                    </a:lnTo>
                    <a:lnTo>
                      <a:pt x="212" y="414"/>
                    </a:lnTo>
                    <a:lnTo>
                      <a:pt x="213" y="414"/>
                    </a:lnTo>
                    <a:lnTo>
                      <a:pt x="212" y="414"/>
                    </a:lnTo>
                    <a:lnTo>
                      <a:pt x="212" y="413"/>
                    </a:lnTo>
                    <a:lnTo>
                      <a:pt x="214" y="413"/>
                    </a:lnTo>
                    <a:close/>
                    <a:moveTo>
                      <a:pt x="276" y="441"/>
                    </a:moveTo>
                    <a:lnTo>
                      <a:pt x="276" y="443"/>
                    </a:lnTo>
                    <a:lnTo>
                      <a:pt x="276" y="441"/>
                    </a:lnTo>
                    <a:close/>
                    <a:moveTo>
                      <a:pt x="444" y="550"/>
                    </a:moveTo>
                    <a:lnTo>
                      <a:pt x="445" y="550"/>
                    </a:lnTo>
                    <a:lnTo>
                      <a:pt x="444" y="550"/>
                    </a:lnTo>
                    <a:close/>
                    <a:moveTo>
                      <a:pt x="415" y="547"/>
                    </a:moveTo>
                    <a:lnTo>
                      <a:pt x="416" y="547"/>
                    </a:lnTo>
                    <a:lnTo>
                      <a:pt x="416" y="549"/>
                    </a:lnTo>
                    <a:lnTo>
                      <a:pt x="415" y="549"/>
                    </a:lnTo>
                    <a:lnTo>
                      <a:pt x="415" y="547"/>
                    </a:lnTo>
                    <a:close/>
                    <a:moveTo>
                      <a:pt x="323" y="466"/>
                    </a:moveTo>
                    <a:lnTo>
                      <a:pt x="323" y="467"/>
                    </a:lnTo>
                    <a:lnTo>
                      <a:pt x="323" y="466"/>
                    </a:lnTo>
                    <a:lnTo>
                      <a:pt x="322" y="466"/>
                    </a:lnTo>
                    <a:lnTo>
                      <a:pt x="321" y="465"/>
                    </a:lnTo>
                    <a:lnTo>
                      <a:pt x="322" y="466"/>
                    </a:lnTo>
                    <a:lnTo>
                      <a:pt x="323" y="466"/>
                    </a:lnTo>
                    <a:close/>
                    <a:moveTo>
                      <a:pt x="501" y="441"/>
                    </a:moveTo>
                    <a:lnTo>
                      <a:pt x="500" y="441"/>
                    </a:lnTo>
                    <a:lnTo>
                      <a:pt x="500" y="442"/>
                    </a:lnTo>
                    <a:lnTo>
                      <a:pt x="500" y="443"/>
                    </a:lnTo>
                    <a:lnTo>
                      <a:pt x="500" y="442"/>
                    </a:lnTo>
                    <a:lnTo>
                      <a:pt x="500" y="441"/>
                    </a:lnTo>
                    <a:lnTo>
                      <a:pt x="501" y="441"/>
                    </a:lnTo>
                    <a:close/>
                    <a:moveTo>
                      <a:pt x="423" y="390"/>
                    </a:moveTo>
                    <a:lnTo>
                      <a:pt x="425" y="390"/>
                    </a:lnTo>
                    <a:lnTo>
                      <a:pt x="425" y="391"/>
                    </a:lnTo>
                    <a:lnTo>
                      <a:pt x="423" y="391"/>
                    </a:lnTo>
                    <a:lnTo>
                      <a:pt x="423" y="390"/>
                    </a:lnTo>
                    <a:close/>
                    <a:moveTo>
                      <a:pt x="503" y="436"/>
                    </a:moveTo>
                    <a:lnTo>
                      <a:pt x="505" y="436"/>
                    </a:lnTo>
                    <a:lnTo>
                      <a:pt x="505" y="437"/>
                    </a:lnTo>
                    <a:lnTo>
                      <a:pt x="503" y="437"/>
                    </a:lnTo>
                    <a:lnTo>
                      <a:pt x="503" y="436"/>
                    </a:lnTo>
                    <a:close/>
                    <a:moveTo>
                      <a:pt x="471" y="454"/>
                    </a:moveTo>
                    <a:lnTo>
                      <a:pt x="471" y="455"/>
                    </a:lnTo>
                    <a:lnTo>
                      <a:pt x="471" y="454"/>
                    </a:lnTo>
                    <a:close/>
                    <a:moveTo>
                      <a:pt x="203" y="413"/>
                    </a:moveTo>
                    <a:lnTo>
                      <a:pt x="204" y="413"/>
                    </a:lnTo>
                    <a:lnTo>
                      <a:pt x="204" y="414"/>
                    </a:lnTo>
                    <a:lnTo>
                      <a:pt x="203" y="414"/>
                    </a:lnTo>
                    <a:lnTo>
                      <a:pt x="203" y="413"/>
                    </a:lnTo>
                    <a:close/>
                    <a:moveTo>
                      <a:pt x="576" y="501"/>
                    </a:moveTo>
                    <a:lnTo>
                      <a:pt x="577" y="501"/>
                    </a:lnTo>
                    <a:lnTo>
                      <a:pt x="576" y="501"/>
                    </a:lnTo>
                    <a:close/>
                    <a:moveTo>
                      <a:pt x="422" y="383"/>
                    </a:moveTo>
                    <a:lnTo>
                      <a:pt x="421" y="383"/>
                    </a:lnTo>
                    <a:lnTo>
                      <a:pt x="420" y="383"/>
                    </a:lnTo>
                    <a:lnTo>
                      <a:pt x="421" y="383"/>
                    </a:lnTo>
                    <a:lnTo>
                      <a:pt x="422" y="383"/>
                    </a:lnTo>
                    <a:lnTo>
                      <a:pt x="422" y="382"/>
                    </a:lnTo>
                    <a:lnTo>
                      <a:pt x="422" y="383"/>
                    </a:lnTo>
                    <a:close/>
                    <a:moveTo>
                      <a:pt x="448" y="370"/>
                    </a:moveTo>
                    <a:lnTo>
                      <a:pt x="450" y="370"/>
                    </a:lnTo>
                    <a:lnTo>
                      <a:pt x="450" y="371"/>
                    </a:lnTo>
                    <a:lnTo>
                      <a:pt x="448" y="371"/>
                    </a:lnTo>
                    <a:lnTo>
                      <a:pt x="448" y="370"/>
                    </a:lnTo>
                    <a:close/>
                    <a:moveTo>
                      <a:pt x="215" y="414"/>
                    </a:moveTo>
                    <a:lnTo>
                      <a:pt x="212" y="414"/>
                    </a:lnTo>
                    <a:lnTo>
                      <a:pt x="213" y="414"/>
                    </a:lnTo>
                    <a:lnTo>
                      <a:pt x="215" y="414"/>
                    </a:lnTo>
                    <a:close/>
                    <a:moveTo>
                      <a:pt x="575" y="567"/>
                    </a:moveTo>
                    <a:lnTo>
                      <a:pt x="576" y="567"/>
                    </a:lnTo>
                    <a:lnTo>
                      <a:pt x="576" y="568"/>
                    </a:lnTo>
                    <a:lnTo>
                      <a:pt x="575" y="568"/>
                    </a:lnTo>
                    <a:lnTo>
                      <a:pt x="575" y="567"/>
                    </a:lnTo>
                    <a:close/>
                    <a:moveTo>
                      <a:pt x="276" y="413"/>
                    </a:moveTo>
                    <a:lnTo>
                      <a:pt x="277" y="413"/>
                    </a:lnTo>
                    <a:lnTo>
                      <a:pt x="277" y="414"/>
                    </a:lnTo>
                    <a:lnTo>
                      <a:pt x="276" y="413"/>
                    </a:lnTo>
                    <a:lnTo>
                      <a:pt x="274" y="413"/>
                    </a:lnTo>
                    <a:lnTo>
                      <a:pt x="276" y="413"/>
                    </a:lnTo>
                    <a:close/>
                    <a:moveTo>
                      <a:pt x="236" y="388"/>
                    </a:moveTo>
                    <a:lnTo>
                      <a:pt x="236" y="390"/>
                    </a:lnTo>
                    <a:lnTo>
                      <a:pt x="236" y="388"/>
                    </a:lnTo>
                    <a:close/>
                    <a:moveTo>
                      <a:pt x="466" y="614"/>
                    </a:moveTo>
                    <a:lnTo>
                      <a:pt x="465" y="614"/>
                    </a:lnTo>
                    <a:lnTo>
                      <a:pt x="464" y="613"/>
                    </a:lnTo>
                    <a:lnTo>
                      <a:pt x="464" y="611"/>
                    </a:lnTo>
                    <a:lnTo>
                      <a:pt x="463" y="611"/>
                    </a:lnTo>
                    <a:lnTo>
                      <a:pt x="464" y="611"/>
                    </a:lnTo>
                    <a:lnTo>
                      <a:pt x="464" y="613"/>
                    </a:lnTo>
                    <a:lnTo>
                      <a:pt x="465" y="613"/>
                    </a:lnTo>
                    <a:lnTo>
                      <a:pt x="466" y="614"/>
                    </a:lnTo>
                    <a:close/>
                    <a:moveTo>
                      <a:pt x="182" y="350"/>
                    </a:moveTo>
                    <a:lnTo>
                      <a:pt x="183" y="350"/>
                    </a:lnTo>
                    <a:lnTo>
                      <a:pt x="183" y="351"/>
                    </a:lnTo>
                    <a:lnTo>
                      <a:pt x="182" y="351"/>
                    </a:lnTo>
                    <a:lnTo>
                      <a:pt x="182" y="350"/>
                    </a:lnTo>
                    <a:close/>
                    <a:moveTo>
                      <a:pt x="229" y="389"/>
                    </a:moveTo>
                    <a:lnTo>
                      <a:pt x="230" y="389"/>
                    </a:lnTo>
                    <a:lnTo>
                      <a:pt x="230" y="390"/>
                    </a:lnTo>
                    <a:lnTo>
                      <a:pt x="229" y="390"/>
                    </a:lnTo>
                    <a:lnTo>
                      <a:pt x="229" y="389"/>
                    </a:lnTo>
                    <a:close/>
                    <a:moveTo>
                      <a:pt x="276" y="431"/>
                    </a:moveTo>
                    <a:lnTo>
                      <a:pt x="278" y="433"/>
                    </a:lnTo>
                    <a:lnTo>
                      <a:pt x="276" y="431"/>
                    </a:lnTo>
                    <a:close/>
                    <a:moveTo>
                      <a:pt x="542" y="541"/>
                    </a:moveTo>
                    <a:lnTo>
                      <a:pt x="543" y="541"/>
                    </a:lnTo>
                    <a:lnTo>
                      <a:pt x="543" y="542"/>
                    </a:lnTo>
                    <a:lnTo>
                      <a:pt x="542" y="542"/>
                    </a:lnTo>
                    <a:lnTo>
                      <a:pt x="542" y="541"/>
                    </a:lnTo>
                    <a:close/>
                    <a:moveTo>
                      <a:pt x="155" y="373"/>
                    </a:moveTo>
                    <a:lnTo>
                      <a:pt x="157" y="373"/>
                    </a:lnTo>
                    <a:lnTo>
                      <a:pt x="157" y="374"/>
                    </a:lnTo>
                    <a:lnTo>
                      <a:pt x="155" y="374"/>
                    </a:lnTo>
                    <a:lnTo>
                      <a:pt x="155" y="373"/>
                    </a:lnTo>
                    <a:close/>
                    <a:moveTo>
                      <a:pt x="556" y="441"/>
                    </a:moveTo>
                    <a:lnTo>
                      <a:pt x="556" y="442"/>
                    </a:lnTo>
                    <a:lnTo>
                      <a:pt x="556" y="441"/>
                    </a:lnTo>
                    <a:close/>
                    <a:moveTo>
                      <a:pt x="568" y="551"/>
                    </a:moveTo>
                    <a:lnTo>
                      <a:pt x="569" y="551"/>
                    </a:lnTo>
                    <a:lnTo>
                      <a:pt x="569" y="552"/>
                    </a:lnTo>
                    <a:lnTo>
                      <a:pt x="568" y="552"/>
                    </a:lnTo>
                    <a:lnTo>
                      <a:pt x="568" y="551"/>
                    </a:lnTo>
                    <a:close/>
                    <a:moveTo>
                      <a:pt x="485" y="448"/>
                    </a:moveTo>
                    <a:lnTo>
                      <a:pt x="486" y="448"/>
                    </a:lnTo>
                    <a:lnTo>
                      <a:pt x="486" y="450"/>
                    </a:lnTo>
                    <a:lnTo>
                      <a:pt x="485" y="450"/>
                    </a:lnTo>
                    <a:lnTo>
                      <a:pt x="485" y="448"/>
                    </a:lnTo>
                    <a:close/>
                    <a:moveTo>
                      <a:pt x="277" y="443"/>
                    </a:moveTo>
                    <a:lnTo>
                      <a:pt x="276" y="443"/>
                    </a:lnTo>
                    <a:lnTo>
                      <a:pt x="277" y="442"/>
                    </a:lnTo>
                    <a:lnTo>
                      <a:pt x="277" y="440"/>
                    </a:lnTo>
                    <a:lnTo>
                      <a:pt x="278" y="440"/>
                    </a:lnTo>
                    <a:lnTo>
                      <a:pt x="277" y="443"/>
                    </a:lnTo>
                    <a:close/>
                    <a:moveTo>
                      <a:pt x="230" y="218"/>
                    </a:moveTo>
                    <a:lnTo>
                      <a:pt x="231" y="218"/>
                    </a:lnTo>
                    <a:lnTo>
                      <a:pt x="231" y="219"/>
                    </a:lnTo>
                    <a:lnTo>
                      <a:pt x="230" y="219"/>
                    </a:lnTo>
                    <a:lnTo>
                      <a:pt x="230" y="218"/>
                    </a:lnTo>
                    <a:close/>
                    <a:moveTo>
                      <a:pt x="229" y="220"/>
                    </a:moveTo>
                    <a:lnTo>
                      <a:pt x="229" y="221"/>
                    </a:lnTo>
                    <a:lnTo>
                      <a:pt x="229" y="220"/>
                    </a:lnTo>
                    <a:close/>
                    <a:moveTo>
                      <a:pt x="248" y="392"/>
                    </a:moveTo>
                    <a:lnTo>
                      <a:pt x="247" y="392"/>
                    </a:lnTo>
                    <a:lnTo>
                      <a:pt x="246" y="391"/>
                    </a:lnTo>
                    <a:lnTo>
                      <a:pt x="245" y="391"/>
                    </a:lnTo>
                    <a:lnTo>
                      <a:pt x="246" y="391"/>
                    </a:lnTo>
                    <a:lnTo>
                      <a:pt x="248" y="392"/>
                    </a:lnTo>
                    <a:close/>
                    <a:moveTo>
                      <a:pt x="500" y="422"/>
                    </a:moveTo>
                    <a:lnTo>
                      <a:pt x="500" y="423"/>
                    </a:lnTo>
                    <a:lnTo>
                      <a:pt x="500" y="422"/>
                    </a:lnTo>
                    <a:close/>
                    <a:moveTo>
                      <a:pt x="427" y="391"/>
                    </a:moveTo>
                    <a:lnTo>
                      <a:pt x="429" y="391"/>
                    </a:lnTo>
                    <a:lnTo>
                      <a:pt x="427" y="391"/>
                    </a:lnTo>
                    <a:close/>
                    <a:moveTo>
                      <a:pt x="333" y="469"/>
                    </a:moveTo>
                    <a:lnTo>
                      <a:pt x="334" y="469"/>
                    </a:lnTo>
                    <a:lnTo>
                      <a:pt x="334" y="468"/>
                    </a:lnTo>
                    <a:lnTo>
                      <a:pt x="335" y="468"/>
                    </a:lnTo>
                    <a:lnTo>
                      <a:pt x="336" y="468"/>
                    </a:lnTo>
                    <a:lnTo>
                      <a:pt x="335" y="468"/>
                    </a:lnTo>
                    <a:lnTo>
                      <a:pt x="334" y="469"/>
                    </a:lnTo>
                    <a:lnTo>
                      <a:pt x="333" y="469"/>
                    </a:lnTo>
                    <a:lnTo>
                      <a:pt x="333" y="468"/>
                    </a:lnTo>
                    <a:lnTo>
                      <a:pt x="333" y="469"/>
                    </a:lnTo>
                    <a:close/>
                    <a:moveTo>
                      <a:pt x="227" y="406"/>
                    </a:moveTo>
                    <a:lnTo>
                      <a:pt x="228" y="406"/>
                    </a:lnTo>
                    <a:lnTo>
                      <a:pt x="228" y="408"/>
                    </a:lnTo>
                    <a:lnTo>
                      <a:pt x="227" y="408"/>
                    </a:lnTo>
                    <a:lnTo>
                      <a:pt x="227" y="406"/>
                    </a:lnTo>
                    <a:close/>
                    <a:moveTo>
                      <a:pt x="202" y="349"/>
                    </a:moveTo>
                    <a:lnTo>
                      <a:pt x="203" y="349"/>
                    </a:lnTo>
                    <a:lnTo>
                      <a:pt x="202" y="349"/>
                    </a:lnTo>
                    <a:close/>
                    <a:moveTo>
                      <a:pt x="485" y="423"/>
                    </a:moveTo>
                    <a:lnTo>
                      <a:pt x="486" y="423"/>
                    </a:lnTo>
                    <a:lnTo>
                      <a:pt x="486" y="424"/>
                    </a:lnTo>
                    <a:lnTo>
                      <a:pt x="485" y="424"/>
                    </a:lnTo>
                    <a:lnTo>
                      <a:pt x="485" y="423"/>
                    </a:lnTo>
                    <a:close/>
                    <a:moveTo>
                      <a:pt x="219" y="404"/>
                    </a:moveTo>
                    <a:lnTo>
                      <a:pt x="218" y="405"/>
                    </a:lnTo>
                    <a:lnTo>
                      <a:pt x="218" y="408"/>
                    </a:lnTo>
                    <a:lnTo>
                      <a:pt x="217" y="406"/>
                    </a:lnTo>
                    <a:lnTo>
                      <a:pt x="218" y="406"/>
                    </a:lnTo>
                    <a:lnTo>
                      <a:pt x="218" y="405"/>
                    </a:lnTo>
                    <a:lnTo>
                      <a:pt x="218" y="404"/>
                    </a:lnTo>
                    <a:lnTo>
                      <a:pt x="219" y="404"/>
                    </a:lnTo>
                    <a:close/>
                    <a:moveTo>
                      <a:pt x="243" y="393"/>
                    </a:moveTo>
                    <a:lnTo>
                      <a:pt x="244" y="393"/>
                    </a:lnTo>
                    <a:lnTo>
                      <a:pt x="244" y="395"/>
                    </a:lnTo>
                    <a:lnTo>
                      <a:pt x="243" y="395"/>
                    </a:lnTo>
                    <a:lnTo>
                      <a:pt x="243" y="393"/>
                    </a:lnTo>
                    <a:close/>
                    <a:moveTo>
                      <a:pt x="427" y="364"/>
                    </a:moveTo>
                    <a:lnTo>
                      <a:pt x="426" y="364"/>
                    </a:lnTo>
                    <a:lnTo>
                      <a:pt x="426" y="363"/>
                    </a:lnTo>
                    <a:lnTo>
                      <a:pt x="425" y="362"/>
                    </a:lnTo>
                    <a:lnTo>
                      <a:pt x="426" y="362"/>
                    </a:lnTo>
                    <a:lnTo>
                      <a:pt x="427" y="364"/>
                    </a:lnTo>
                    <a:close/>
                    <a:moveTo>
                      <a:pt x="397" y="364"/>
                    </a:moveTo>
                    <a:lnTo>
                      <a:pt x="398" y="364"/>
                    </a:lnTo>
                    <a:lnTo>
                      <a:pt x="399" y="364"/>
                    </a:lnTo>
                    <a:lnTo>
                      <a:pt x="399" y="365"/>
                    </a:lnTo>
                    <a:lnTo>
                      <a:pt x="398" y="365"/>
                    </a:lnTo>
                    <a:lnTo>
                      <a:pt x="399" y="365"/>
                    </a:lnTo>
                    <a:lnTo>
                      <a:pt x="398" y="365"/>
                    </a:lnTo>
                    <a:lnTo>
                      <a:pt x="397" y="365"/>
                    </a:lnTo>
                    <a:lnTo>
                      <a:pt x="398" y="365"/>
                    </a:lnTo>
                    <a:lnTo>
                      <a:pt x="397" y="365"/>
                    </a:lnTo>
                    <a:lnTo>
                      <a:pt x="397" y="364"/>
                    </a:lnTo>
                    <a:close/>
                    <a:moveTo>
                      <a:pt x="196" y="361"/>
                    </a:moveTo>
                    <a:lnTo>
                      <a:pt x="197" y="361"/>
                    </a:lnTo>
                    <a:lnTo>
                      <a:pt x="197" y="362"/>
                    </a:lnTo>
                    <a:lnTo>
                      <a:pt x="196" y="362"/>
                    </a:lnTo>
                    <a:lnTo>
                      <a:pt x="196" y="361"/>
                    </a:lnTo>
                    <a:close/>
                    <a:moveTo>
                      <a:pt x="307" y="411"/>
                    </a:moveTo>
                    <a:lnTo>
                      <a:pt x="304" y="410"/>
                    </a:lnTo>
                    <a:lnTo>
                      <a:pt x="305" y="410"/>
                    </a:lnTo>
                    <a:lnTo>
                      <a:pt x="307" y="411"/>
                    </a:lnTo>
                    <a:close/>
                    <a:moveTo>
                      <a:pt x="187" y="356"/>
                    </a:moveTo>
                    <a:lnTo>
                      <a:pt x="188" y="356"/>
                    </a:lnTo>
                    <a:lnTo>
                      <a:pt x="188" y="357"/>
                    </a:lnTo>
                    <a:lnTo>
                      <a:pt x="187" y="357"/>
                    </a:lnTo>
                    <a:lnTo>
                      <a:pt x="187" y="356"/>
                    </a:lnTo>
                    <a:close/>
                    <a:moveTo>
                      <a:pt x="249" y="391"/>
                    </a:moveTo>
                    <a:lnTo>
                      <a:pt x="249" y="392"/>
                    </a:lnTo>
                    <a:lnTo>
                      <a:pt x="249" y="391"/>
                    </a:lnTo>
                    <a:close/>
                    <a:moveTo>
                      <a:pt x="502" y="558"/>
                    </a:moveTo>
                    <a:lnTo>
                      <a:pt x="503" y="558"/>
                    </a:lnTo>
                    <a:lnTo>
                      <a:pt x="502" y="558"/>
                    </a:lnTo>
                    <a:close/>
                    <a:moveTo>
                      <a:pt x="500" y="453"/>
                    </a:moveTo>
                    <a:lnTo>
                      <a:pt x="501" y="453"/>
                    </a:lnTo>
                    <a:lnTo>
                      <a:pt x="500" y="453"/>
                    </a:lnTo>
                    <a:close/>
                    <a:moveTo>
                      <a:pt x="177" y="352"/>
                    </a:moveTo>
                    <a:lnTo>
                      <a:pt x="178" y="352"/>
                    </a:lnTo>
                    <a:lnTo>
                      <a:pt x="177" y="352"/>
                    </a:lnTo>
                    <a:close/>
                    <a:moveTo>
                      <a:pt x="178" y="351"/>
                    </a:moveTo>
                    <a:lnTo>
                      <a:pt x="179" y="351"/>
                    </a:lnTo>
                    <a:lnTo>
                      <a:pt x="179" y="352"/>
                    </a:lnTo>
                    <a:lnTo>
                      <a:pt x="178" y="352"/>
                    </a:lnTo>
                    <a:lnTo>
                      <a:pt x="178" y="351"/>
                    </a:lnTo>
                    <a:close/>
                    <a:moveTo>
                      <a:pt x="408" y="379"/>
                    </a:moveTo>
                    <a:lnTo>
                      <a:pt x="407" y="379"/>
                    </a:lnTo>
                    <a:lnTo>
                      <a:pt x="408" y="379"/>
                    </a:lnTo>
                    <a:lnTo>
                      <a:pt x="408" y="378"/>
                    </a:lnTo>
                    <a:lnTo>
                      <a:pt x="409" y="378"/>
                    </a:lnTo>
                    <a:lnTo>
                      <a:pt x="408" y="378"/>
                    </a:lnTo>
                    <a:lnTo>
                      <a:pt x="408" y="379"/>
                    </a:lnTo>
                    <a:close/>
                    <a:moveTo>
                      <a:pt x="329" y="341"/>
                    </a:moveTo>
                    <a:lnTo>
                      <a:pt x="330" y="341"/>
                    </a:lnTo>
                    <a:lnTo>
                      <a:pt x="330" y="344"/>
                    </a:lnTo>
                    <a:lnTo>
                      <a:pt x="329" y="344"/>
                    </a:lnTo>
                    <a:lnTo>
                      <a:pt x="329" y="341"/>
                    </a:lnTo>
                    <a:close/>
                    <a:moveTo>
                      <a:pt x="380" y="363"/>
                    </a:moveTo>
                    <a:lnTo>
                      <a:pt x="381" y="363"/>
                    </a:lnTo>
                    <a:lnTo>
                      <a:pt x="381" y="364"/>
                    </a:lnTo>
                    <a:lnTo>
                      <a:pt x="380" y="364"/>
                    </a:lnTo>
                    <a:lnTo>
                      <a:pt x="380" y="363"/>
                    </a:lnTo>
                    <a:close/>
                    <a:moveTo>
                      <a:pt x="408" y="374"/>
                    </a:moveTo>
                    <a:lnTo>
                      <a:pt x="409" y="374"/>
                    </a:lnTo>
                    <a:lnTo>
                      <a:pt x="409" y="375"/>
                    </a:lnTo>
                    <a:lnTo>
                      <a:pt x="408" y="375"/>
                    </a:lnTo>
                    <a:lnTo>
                      <a:pt x="408" y="374"/>
                    </a:lnTo>
                    <a:close/>
                    <a:moveTo>
                      <a:pt x="496" y="566"/>
                    </a:moveTo>
                    <a:lnTo>
                      <a:pt x="494" y="566"/>
                    </a:lnTo>
                    <a:lnTo>
                      <a:pt x="493" y="566"/>
                    </a:lnTo>
                    <a:lnTo>
                      <a:pt x="493" y="565"/>
                    </a:lnTo>
                    <a:lnTo>
                      <a:pt x="494" y="566"/>
                    </a:lnTo>
                    <a:lnTo>
                      <a:pt x="496" y="566"/>
                    </a:lnTo>
                    <a:lnTo>
                      <a:pt x="496" y="565"/>
                    </a:lnTo>
                    <a:lnTo>
                      <a:pt x="496" y="566"/>
                    </a:lnTo>
                    <a:close/>
                    <a:moveTo>
                      <a:pt x="238" y="224"/>
                    </a:moveTo>
                    <a:lnTo>
                      <a:pt x="239" y="224"/>
                    </a:lnTo>
                    <a:lnTo>
                      <a:pt x="238" y="224"/>
                    </a:lnTo>
                    <a:close/>
                    <a:moveTo>
                      <a:pt x="393" y="365"/>
                    </a:moveTo>
                    <a:lnTo>
                      <a:pt x="395" y="365"/>
                    </a:lnTo>
                    <a:lnTo>
                      <a:pt x="395" y="366"/>
                    </a:lnTo>
                    <a:lnTo>
                      <a:pt x="393" y="366"/>
                    </a:lnTo>
                    <a:lnTo>
                      <a:pt x="393" y="365"/>
                    </a:lnTo>
                    <a:close/>
                    <a:moveTo>
                      <a:pt x="236" y="387"/>
                    </a:moveTo>
                    <a:lnTo>
                      <a:pt x="233" y="386"/>
                    </a:lnTo>
                    <a:lnTo>
                      <a:pt x="236" y="387"/>
                    </a:lnTo>
                    <a:close/>
                    <a:moveTo>
                      <a:pt x="461" y="443"/>
                    </a:moveTo>
                    <a:lnTo>
                      <a:pt x="462" y="443"/>
                    </a:lnTo>
                    <a:lnTo>
                      <a:pt x="462" y="444"/>
                    </a:lnTo>
                    <a:lnTo>
                      <a:pt x="461" y="444"/>
                    </a:lnTo>
                    <a:lnTo>
                      <a:pt x="461" y="443"/>
                    </a:lnTo>
                    <a:close/>
                    <a:moveTo>
                      <a:pt x="331" y="469"/>
                    </a:moveTo>
                    <a:lnTo>
                      <a:pt x="332" y="469"/>
                    </a:lnTo>
                    <a:lnTo>
                      <a:pt x="331" y="469"/>
                    </a:lnTo>
                    <a:close/>
                    <a:moveTo>
                      <a:pt x="500" y="443"/>
                    </a:moveTo>
                    <a:lnTo>
                      <a:pt x="500" y="444"/>
                    </a:lnTo>
                    <a:lnTo>
                      <a:pt x="500" y="443"/>
                    </a:lnTo>
                    <a:lnTo>
                      <a:pt x="499" y="443"/>
                    </a:lnTo>
                    <a:lnTo>
                      <a:pt x="498" y="443"/>
                    </a:lnTo>
                    <a:lnTo>
                      <a:pt x="499" y="443"/>
                    </a:lnTo>
                    <a:lnTo>
                      <a:pt x="500" y="443"/>
                    </a:lnTo>
                    <a:close/>
                    <a:moveTo>
                      <a:pt x="563" y="547"/>
                    </a:moveTo>
                    <a:lnTo>
                      <a:pt x="565" y="547"/>
                    </a:lnTo>
                    <a:lnTo>
                      <a:pt x="565" y="549"/>
                    </a:lnTo>
                    <a:lnTo>
                      <a:pt x="563" y="549"/>
                    </a:lnTo>
                    <a:lnTo>
                      <a:pt x="563" y="547"/>
                    </a:lnTo>
                    <a:close/>
                    <a:moveTo>
                      <a:pt x="427" y="366"/>
                    </a:moveTo>
                    <a:lnTo>
                      <a:pt x="428" y="366"/>
                    </a:lnTo>
                    <a:lnTo>
                      <a:pt x="428" y="367"/>
                    </a:lnTo>
                    <a:lnTo>
                      <a:pt x="427" y="367"/>
                    </a:lnTo>
                    <a:lnTo>
                      <a:pt x="427" y="366"/>
                    </a:lnTo>
                    <a:close/>
                    <a:moveTo>
                      <a:pt x="545" y="556"/>
                    </a:moveTo>
                    <a:lnTo>
                      <a:pt x="548" y="556"/>
                    </a:lnTo>
                    <a:lnTo>
                      <a:pt x="548" y="557"/>
                    </a:lnTo>
                    <a:lnTo>
                      <a:pt x="545" y="557"/>
                    </a:lnTo>
                    <a:lnTo>
                      <a:pt x="545" y="556"/>
                    </a:lnTo>
                    <a:close/>
                    <a:moveTo>
                      <a:pt x="176" y="408"/>
                    </a:moveTo>
                    <a:lnTo>
                      <a:pt x="178" y="408"/>
                    </a:lnTo>
                    <a:lnTo>
                      <a:pt x="176" y="408"/>
                    </a:lnTo>
                    <a:close/>
                    <a:moveTo>
                      <a:pt x="498" y="589"/>
                    </a:moveTo>
                    <a:lnTo>
                      <a:pt x="498" y="590"/>
                    </a:lnTo>
                    <a:lnTo>
                      <a:pt x="498" y="591"/>
                    </a:lnTo>
                    <a:lnTo>
                      <a:pt x="498" y="590"/>
                    </a:lnTo>
                    <a:lnTo>
                      <a:pt x="497" y="590"/>
                    </a:lnTo>
                    <a:lnTo>
                      <a:pt x="497" y="589"/>
                    </a:lnTo>
                    <a:lnTo>
                      <a:pt x="498" y="589"/>
                    </a:lnTo>
                    <a:close/>
                    <a:moveTo>
                      <a:pt x="510" y="455"/>
                    </a:moveTo>
                    <a:lnTo>
                      <a:pt x="511" y="455"/>
                    </a:lnTo>
                    <a:lnTo>
                      <a:pt x="511" y="457"/>
                    </a:lnTo>
                    <a:lnTo>
                      <a:pt x="510" y="457"/>
                    </a:lnTo>
                    <a:lnTo>
                      <a:pt x="510" y="455"/>
                    </a:lnTo>
                    <a:close/>
                    <a:moveTo>
                      <a:pt x="235" y="416"/>
                    </a:moveTo>
                    <a:lnTo>
                      <a:pt x="238" y="417"/>
                    </a:lnTo>
                    <a:lnTo>
                      <a:pt x="239" y="417"/>
                    </a:lnTo>
                    <a:lnTo>
                      <a:pt x="238" y="417"/>
                    </a:lnTo>
                    <a:lnTo>
                      <a:pt x="236" y="417"/>
                    </a:lnTo>
                    <a:lnTo>
                      <a:pt x="235" y="416"/>
                    </a:lnTo>
                    <a:close/>
                    <a:moveTo>
                      <a:pt x="556" y="543"/>
                    </a:moveTo>
                    <a:lnTo>
                      <a:pt x="557" y="543"/>
                    </a:lnTo>
                    <a:lnTo>
                      <a:pt x="557" y="544"/>
                    </a:lnTo>
                    <a:lnTo>
                      <a:pt x="556" y="544"/>
                    </a:lnTo>
                    <a:lnTo>
                      <a:pt x="556" y="543"/>
                    </a:lnTo>
                    <a:close/>
                    <a:moveTo>
                      <a:pt x="214" y="413"/>
                    </a:moveTo>
                    <a:lnTo>
                      <a:pt x="215" y="413"/>
                    </a:lnTo>
                    <a:lnTo>
                      <a:pt x="215" y="414"/>
                    </a:lnTo>
                    <a:lnTo>
                      <a:pt x="214" y="414"/>
                    </a:lnTo>
                    <a:lnTo>
                      <a:pt x="214" y="413"/>
                    </a:lnTo>
                    <a:close/>
                    <a:moveTo>
                      <a:pt x="412" y="385"/>
                    </a:moveTo>
                    <a:lnTo>
                      <a:pt x="413" y="385"/>
                    </a:lnTo>
                    <a:lnTo>
                      <a:pt x="413" y="386"/>
                    </a:lnTo>
                    <a:lnTo>
                      <a:pt x="412" y="386"/>
                    </a:lnTo>
                    <a:lnTo>
                      <a:pt x="412" y="385"/>
                    </a:lnTo>
                    <a:close/>
                    <a:moveTo>
                      <a:pt x="281" y="431"/>
                    </a:moveTo>
                    <a:lnTo>
                      <a:pt x="281" y="433"/>
                    </a:lnTo>
                    <a:lnTo>
                      <a:pt x="281" y="431"/>
                    </a:lnTo>
                    <a:close/>
                    <a:moveTo>
                      <a:pt x="206" y="388"/>
                    </a:moveTo>
                    <a:lnTo>
                      <a:pt x="207" y="388"/>
                    </a:lnTo>
                    <a:lnTo>
                      <a:pt x="207" y="390"/>
                    </a:lnTo>
                    <a:lnTo>
                      <a:pt x="206" y="390"/>
                    </a:lnTo>
                    <a:lnTo>
                      <a:pt x="206" y="388"/>
                    </a:lnTo>
                    <a:close/>
                    <a:moveTo>
                      <a:pt x="415" y="387"/>
                    </a:moveTo>
                    <a:lnTo>
                      <a:pt x="418" y="387"/>
                    </a:lnTo>
                    <a:lnTo>
                      <a:pt x="418" y="388"/>
                    </a:lnTo>
                    <a:lnTo>
                      <a:pt x="415" y="388"/>
                    </a:lnTo>
                    <a:lnTo>
                      <a:pt x="415" y="387"/>
                    </a:lnTo>
                    <a:close/>
                    <a:moveTo>
                      <a:pt x="255" y="373"/>
                    </a:moveTo>
                    <a:lnTo>
                      <a:pt x="257" y="373"/>
                    </a:lnTo>
                    <a:lnTo>
                      <a:pt x="257" y="374"/>
                    </a:lnTo>
                    <a:lnTo>
                      <a:pt x="255" y="374"/>
                    </a:lnTo>
                    <a:lnTo>
                      <a:pt x="255" y="373"/>
                    </a:lnTo>
                    <a:close/>
                    <a:moveTo>
                      <a:pt x="195" y="405"/>
                    </a:moveTo>
                    <a:lnTo>
                      <a:pt x="197" y="405"/>
                    </a:lnTo>
                    <a:lnTo>
                      <a:pt x="197" y="408"/>
                    </a:lnTo>
                    <a:lnTo>
                      <a:pt x="195" y="408"/>
                    </a:lnTo>
                    <a:lnTo>
                      <a:pt x="195" y="405"/>
                    </a:lnTo>
                    <a:close/>
                    <a:moveTo>
                      <a:pt x="472" y="431"/>
                    </a:moveTo>
                    <a:lnTo>
                      <a:pt x="473" y="431"/>
                    </a:lnTo>
                    <a:lnTo>
                      <a:pt x="472" y="431"/>
                    </a:lnTo>
                    <a:close/>
                    <a:moveTo>
                      <a:pt x="483" y="424"/>
                    </a:moveTo>
                    <a:lnTo>
                      <a:pt x="484" y="424"/>
                    </a:lnTo>
                    <a:lnTo>
                      <a:pt x="484" y="425"/>
                    </a:lnTo>
                    <a:lnTo>
                      <a:pt x="483" y="425"/>
                    </a:lnTo>
                    <a:lnTo>
                      <a:pt x="483" y="424"/>
                    </a:lnTo>
                    <a:close/>
                    <a:moveTo>
                      <a:pt x="483" y="420"/>
                    </a:moveTo>
                    <a:lnTo>
                      <a:pt x="484" y="420"/>
                    </a:lnTo>
                    <a:lnTo>
                      <a:pt x="484" y="421"/>
                    </a:lnTo>
                    <a:lnTo>
                      <a:pt x="483" y="421"/>
                    </a:lnTo>
                    <a:lnTo>
                      <a:pt x="483" y="420"/>
                    </a:lnTo>
                    <a:close/>
                    <a:moveTo>
                      <a:pt x="487" y="431"/>
                    </a:moveTo>
                    <a:lnTo>
                      <a:pt x="488" y="431"/>
                    </a:lnTo>
                    <a:lnTo>
                      <a:pt x="489" y="430"/>
                    </a:lnTo>
                    <a:lnTo>
                      <a:pt x="488" y="431"/>
                    </a:lnTo>
                    <a:lnTo>
                      <a:pt x="487" y="431"/>
                    </a:lnTo>
                    <a:close/>
                    <a:moveTo>
                      <a:pt x="493" y="411"/>
                    </a:moveTo>
                    <a:lnTo>
                      <a:pt x="494" y="411"/>
                    </a:lnTo>
                    <a:lnTo>
                      <a:pt x="494" y="412"/>
                    </a:lnTo>
                    <a:lnTo>
                      <a:pt x="493" y="412"/>
                    </a:lnTo>
                    <a:lnTo>
                      <a:pt x="493" y="411"/>
                    </a:lnTo>
                    <a:close/>
                    <a:moveTo>
                      <a:pt x="223" y="398"/>
                    </a:moveTo>
                    <a:lnTo>
                      <a:pt x="225" y="398"/>
                    </a:lnTo>
                    <a:lnTo>
                      <a:pt x="225" y="399"/>
                    </a:lnTo>
                    <a:lnTo>
                      <a:pt x="223" y="399"/>
                    </a:lnTo>
                    <a:lnTo>
                      <a:pt x="223" y="398"/>
                    </a:lnTo>
                    <a:lnTo>
                      <a:pt x="222" y="398"/>
                    </a:lnTo>
                    <a:lnTo>
                      <a:pt x="223" y="398"/>
                    </a:lnTo>
                    <a:close/>
                    <a:moveTo>
                      <a:pt x="551" y="549"/>
                    </a:moveTo>
                    <a:lnTo>
                      <a:pt x="552" y="549"/>
                    </a:lnTo>
                    <a:lnTo>
                      <a:pt x="552" y="550"/>
                    </a:lnTo>
                    <a:lnTo>
                      <a:pt x="551" y="550"/>
                    </a:lnTo>
                    <a:lnTo>
                      <a:pt x="551" y="549"/>
                    </a:lnTo>
                    <a:close/>
                    <a:moveTo>
                      <a:pt x="452" y="536"/>
                    </a:moveTo>
                    <a:lnTo>
                      <a:pt x="449" y="536"/>
                    </a:lnTo>
                    <a:lnTo>
                      <a:pt x="452" y="536"/>
                    </a:lnTo>
                    <a:lnTo>
                      <a:pt x="453" y="536"/>
                    </a:lnTo>
                    <a:lnTo>
                      <a:pt x="452" y="536"/>
                    </a:lnTo>
                    <a:close/>
                    <a:moveTo>
                      <a:pt x="480" y="424"/>
                    </a:moveTo>
                    <a:lnTo>
                      <a:pt x="483" y="424"/>
                    </a:lnTo>
                    <a:lnTo>
                      <a:pt x="483" y="426"/>
                    </a:lnTo>
                    <a:lnTo>
                      <a:pt x="480" y="426"/>
                    </a:lnTo>
                    <a:lnTo>
                      <a:pt x="480" y="424"/>
                    </a:lnTo>
                    <a:close/>
                    <a:moveTo>
                      <a:pt x="268" y="396"/>
                    </a:moveTo>
                    <a:lnTo>
                      <a:pt x="270" y="396"/>
                    </a:lnTo>
                    <a:lnTo>
                      <a:pt x="268" y="396"/>
                    </a:lnTo>
                    <a:close/>
                    <a:moveTo>
                      <a:pt x="422" y="386"/>
                    </a:moveTo>
                    <a:lnTo>
                      <a:pt x="423" y="386"/>
                    </a:lnTo>
                    <a:lnTo>
                      <a:pt x="423" y="388"/>
                    </a:lnTo>
                    <a:lnTo>
                      <a:pt x="422" y="388"/>
                    </a:lnTo>
                    <a:lnTo>
                      <a:pt x="422" y="386"/>
                    </a:lnTo>
                    <a:close/>
                    <a:moveTo>
                      <a:pt x="408" y="374"/>
                    </a:moveTo>
                    <a:lnTo>
                      <a:pt x="408" y="375"/>
                    </a:lnTo>
                    <a:lnTo>
                      <a:pt x="407" y="374"/>
                    </a:lnTo>
                    <a:lnTo>
                      <a:pt x="407" y="375"/>
                    </a:lnTo>
                    <a:lnTo>
                      <a:pt x="406" y="375"/>
                    </a:lnTo>
                    <a:lnTo>
                      <a:pt x="406" y="374"/>
                    </a:lnTo>
                    <a:lnTo>
                      <a:pt x="407" y="374"/>
                    </a:lnTo>
                    <a:lnTo>
                      <a:pt x="408" y="374"/>
                    </a:lnTo>
                    <a:close/>
                    <a:moveTo>
                      <a:pt x="499" y="437"/>
                    </a:moveTo>
                    <a:lnTo>
                      <a:pt x="500" y="437"/>
                    </a:lnTo>
                    <a:lnTo>
                      <a:pt x="500" y="438"/>
                    </a:lnTo>
                    <a:lnTo>
                      <a:pt x="499" y="438"/>
                    </a:lnTo>
                    <a:lnTo>
                      <a:pt x="499" y="437"/>
                    </a:lnTo>
                    <a:close/>
                    <a:moveTo>
                      <a:pt x="270" y="428"/>
                    </a:moveTo>
                    <a:lnTo>
                      <a:pt x="267" y="427"/>
                    </a:lnTo>
                    <a:lnTo>
                      <a:pt x="268" y="427"/>
                    </a:lnTo>
                    <a:lnTo>
                      <a:pt x="270" y="427"/>
                    </a:lnTo>
                    <a:lnTo>
                      <a:pt x="270" y="428"/>
                    </a:lnTo>
                    <a:close/>
                    <a:moveTo>
                      <a:pt x="548" y="533"/>
                    </a:moveTo>
                    <a:lnTo>
                      <a:pt x="549" y="533"/>
                    </a:lnTo>
                    <a:lnTo>
                      <a:pt x="549" y="534"/>
                    </a:lnTo>
                    <a:lnTo>
                      <a:pt x="548" y="534"/>
                    </a:lnTo>
                    <a:lnTo>
                      <a:pt x="548" y="533"/>
                    </a:lnTo>
                    <a:close/>
                    <a:moveTo>
                      <a:pt x="550" y="428"/>
                    </a:moveTo>
                    <a:lnTo>
                      <a:pt x="549" y="428"/>
                    </a:lnTo>
                    <a:lnTo>
                      <a:pt x="548" y="427"/>
                    </a:lnTo>
                    <a:lnTo>
                      <a:pt x="546" y="427"/>
                    </a:lnTo>
                    <a:lnTo>
                      <a:pt x="548" y="427"/>
                    </a:lnTo>
                    <a:lnTo>
                      <a:pt x="549" y="427"/>
                    </a:lnTo>
                    <a:lnTo>
                      <a:pt x="550" y="428"/>
                    </a:lnTo>
                    <a:close/>
                    <a:moveTo>
                      <a:pt x="254" y="208"/>
                    </a:moveTo>
                    <a:lnTo>
                      <a:pt x="255" y="208"/>
                    </a:lnTo>
                    <a:lnTo>
                      <a:pt x="254" y="208"/>
                    </a:lnTo>
                    <a:close/>
                    <a:moveTo>
                      <a:pt x="480" y="420"/>
                    </a:moveTo>
                    <a:lnTo>
                      <a:pt x="481" y="420"/>
                    </a:lnTo>
                    <a:lnTo>
                      <a:pt x="481" y="421"/>
                    </a:lnTo>
                    <a:lnTo>
                      <a:pt x="480" y="421"/>
                    </a:lnTo>
                    <a:lnTo>
                      <a:pt x="480" y="420"/>
                    </a:lnTo>
                    <a:close/>
                    <a:moveTo>
                      <a:pt x="498" y="435"/>
                    </a:moveTo>
                    <a:lnTo>
                      <a:pt x="499" y="435"/>
                    </a:lnTo>
                    <a:lnTo>
                      <a:pt x="499" y="436"/>
                    </a:lnTo>
                    <a:lnTo>
                      <a:pt x="498" y="436"/>
                    </a:lnTo>
                    <a:lnTo>
                      <a:pt x="498" y="435"/>
                    </a:lnTo>
                    <a:close/>
                    <a:moveTo>
                      <a:pt x="544" y="536"/>
                    </a:moveTo>
                    <a:lnTo>
                      <a:pt x="544" y="537"/>
                    </a:lnTo>
                    <a:lnTo>
                      <a:pt x="544" y="536"/>
                    </a:lnTo>
                    <a:close/>
                    <a:moveTo>
                      <a:pt x="277" y="443"/>
                    </a:moveTo>
                    <a:lnTo>
                      <a:pt x="277" y="442"/>
                    </a:lnTo>
                    <a:lnTo>
                      <a:pt x="278" y="441"/>
                    </a:lnTo>
                    <a:lnTo>
                      <a:pt x="277" y="442"/>
                    </a:lnTo>
                    <a:lnTo>
                      <a:pt x="277" y="443"/>
                    </a:lnTo>
                    <a:close/>
                    <a:moveTo>
                      <a:pt x="435" y="371"/>
                    </a:moveTo>
                    <a:lnTo>
                      <a:pt x="436" y="371"/>
                    </a:lnTo>
                    <a:lnTo>
                      <a:pt x="436" y="372"/>
                    </a:lnTo>
                    <a:lnTo>
                      <a:pt x="435" y="372"/>
                    </a:lnTo>
                    <a:lnTo>
                      <a:pt x="435" y="371"/>
                    </a:lnTo>
                    <a:close/>
                    <a:moveTo>
                      <a:pt x="475" y="423"/>
                    </a:moveTo>
                    <a:lnTo>
                      <a:pt x="476" y="423"/>
                    </a:lnTo>
                    <a:lnTo>
                      <a:pt x="476" y="424"/>
                    </a:lnTo>
                    <a:lnTo>
                      <a:pt x="475" y="424"/>
                    </a:lnTo>
                    <a:lnTo>
                      <a:pt x="475" y="423"/>
                    </a:lnTo>
                    <a:close/>
                    <a:moveTo>
                      <a:pt x="505" y="556"/>
                    </a:moveTo>
                    <a:lnTo>
                      <a:pt x="505" y="555"/>
                    </a:lnTo>
                    <a:lnTo>
                      <a:pt x="505" y="554"/>
                    </a:lnTo>
                    <a:lnTo>
                      <a:pt x="506" y="554"/>
                    </a:lnTo>
                    <a:lnTo>
                      <a:pt x="505" y="554"/>
                    </a:lnTo>
                    <a:lnTo>
                      <a:pt x="505" y="555"/>
                    </a:lnTo>
                    <a:lnTo>
                      <a:pt x="505" y="556"/>
                    </a:lnTo>
                    <a:close/>
                    <a:moveTo>
                      <a:pt x="577" y="499"/>
                    </a:moveTo>
                    <a:lnTo>
                      <a:pt x="578" y="499"/>
                    </a:lnTo>
                    <a:lnTo>
                      <a:pt x="578" y="500"/>
                    </a:lnTo>
                    <a:lnTo>
                      <a:pt x="577" y="500"/>
                    </a:lnTo>
                    <a:lnTo>
                      <a:pt x="577" y="499"/>
                    </a:lnTo>
                    <a:close/>
                    <a:moveTo>
                      <a:pt x="505" y="441"/>
                    </a:moveTo>
                    <a:lnTo>
                      <a:pt x="506" y="441"/>
                    </a:lnTo>
                    <a:lnTo>
                      <a:pt x="505" y="441"/>
                    </a:lnTo>
                    <a:close/>
                    <a:moveTo>
                      <a:pt x="412" y="666"/>
                    </a:moveTo>
                    <a:lnTo>
                      <a:pt x="412" y="667"/>
                    </a:lnTo>
                    <a:lnTo>
                      <a:pt x="412" y="666"/>
                    </a:lnTo>
                    <a:close/>
                    <a:moveTo>
                      <a:pt x="420" y="391"/>
                    </a:moveTo>
                    <a:lnTo>
                      <a:pt x="422" y="391"/>
                    </a:lnTo>
                    <a:lnTo>
                      <a:pt x="420" y="391"/>
                    </a:lnTo>
                    <a:close/>
                    <a:moveTo>
                      <a:pt x="485" y="423"/>
                    </a:moveTo>
                    <a:lnTo>
                      <a:pt x="485" y="424"/>
                    </a:lnTo>
                    <a:lnTo>
                      <a:pt x="485" y="423"/>
                    </a:lnTo>
                    <a:close/>
                    <a:moveTo>
                      <a:pt x="168" y="413"/>
                    </a:moveTo>
                    <a:lnTo>
                      <a:pt x="167" y="413"/>
                    </a:lnTo>
                    <a:lnTo>
                      <a:pt x="168" y="412"/>
                    </a:lnTo>
                    <a:lnTo>
                      <a:pt x="169" y="412"/>
                    </a:lnTo>
                    <a:lnTo>
                      <a:pt x="168" y="413"/>
                    </a:lnTo>
                    <a:close/>
                    <a:moveTo>
                      <a:pt x="499" y="420"/>
                    </a:moveTo>
                    <a:lnTo>
                      <a:pt x="500" y="420"/>
                    </a:lnTo>
                    <a:lnTo>
                      <a:pt x="500" y="421"/>
                    </a:lnTo>
                    <a:lnTo>
                      <a:pt x="499" y="421"/>
                    </a:lnTo>
                    <a:lnTo>
                      <a:pt x="499" y="420"/>
                    </a:lnTo>
                    <a:close/>
                    <a:moveTo>
                      <a:pt x="407" y="372"/>
                    </a:moveTo>
                    <a:lnTo>
                      <a:pt x="408" y="372"/>
                    </a:lnTo>
                    <a:lnTo>
                      <a:pt x="409" y="372"/>
                    </a:lnTo>
                    <a:lnTo>
                      <a:pt x="409" y="373"/>
                    </a:lnTo>
                    <a:lnTo>
                      <a:pt x="409" y="372"/>
                    </a:lnTo>
                    <a:lnTo>
                      <a:pt x="408" y="372"/>
                    </a:lnTo>
                    <a:lnTo>
                      <a:pt x="407" y="372"/>
                    </a:lnTo>
                    <a:close/>
                    <a:moveTo>
                      <a:pt x="238" y="221"/>
                    </a:moveTo>
                    <a:lnTo>
                      <a:pt x="239" y="221"/>
                    </a:lnTo>
                    <a:lnTo>
                      <a:pt x="239" y="222"/>
                    </a:lnTo>
                    <a:lnTo>
                      <a:pt x="238" y="222"/>
                    </a:lnTo>
                    <a:lnTo>
                      <a:pt x="238" y="221"/>
                    </a:lnTo>
                    <a:close/>
                    <a:moveTo>
                      <a:pt x="500" y="444"/>
                    </a:moveTo>
                    <a:lnTo>
                      <a:pt x="501" y="444"/>
                    </a:lnTo>
                    <a:lnTo>
                      <a:pt x="501" y="446"/>
                    </a:lnTo>
                    <a:lnTo>
                      <a:pt x="500" y="446"/>
                    </a:lnTo>
                    <a:lnTo>
                      <a:pt x="500" y="444"/>
                    </a:lnTo>
                    <a:close/>
                    <a:moveTo>
                      <a:pt x="415" y="379"/>
                    </a:moveTo>
                    <a:lnTo>
                      <a:pt x="418" y="379"/>
                    </a:lnTo>
                    <a:lnTo>
                      <a:pt x="418" y="380"/>
                    </a:lnTo>
                    <a:lnTo>
                      <a:pt x="415" y="380"/>
                    </a:lnTo>
                    <a:lnTo>
                      <a:pt x="415" y="379"/>
                    </a:lnTo>
                    <a:close/>
                    <a:moveTo>
                      <a:pt x="332" y="469"/>
                    </a:moveTo>
                    <a:lnTo>
                      <a:pt x="333" y="469"/>
                    </a:lnTo>
                    <a:lnTo>
                      <a:pt x="333" y="470"/>
                    </a:lnTo>
                    <a:lnTo>
                      <a:pt x="332" y="470"/>
                    </a:lnTo>
                    <a:lnTo>
                      <a:pt x="332" y="469"/>
                    </a:lnTo>
                    <a:close/>
                    <a:moveTo>
                      <a:pt x="505" y="564"/>
                    </a:moveTo>
                    <a:lnTo>
                      <a:pt x="506" y="564"/>
                    </a:lnTo>
                    <a:lnTo>
                      <a:pt x="505" y="564"/>
                    </a:lnTo>
                    <a:close/>
                    <a:moveTo>
                      <a:pt x="494" y="580"/>
                    </a:moveTo>
                    <a:lnTo>
                      <a:pt x="496" y="580"/>
                    </a:lnTo>
                    <a:lnTo>
                      <a:pt x="496" y="581"/>
                    </a:lnTo>
                    <a:lnTo>
                      <a:pt x="494" y="581"/>
                    </a:lnTo>
                    <a:lnTo>
                      <a:pt x="494" y="580"/>
                    </a:lnTo>
                    <a:close/>
                    <a:moveTo>
                      <a:pt x="192" y="345"/>
                    </a:moveTo>
                    <a:lnTo>
                      <a:pt x="193" y="345"/>
                    </a:lnTo>
                    <a:lnTo>
                      <a:pt x="193" y="346"/>
                    </a:lnTo>
                    <a:lnTo>
                      <a:pt x="192" y="346"/>
                    </a:lnTo>
                    <a:lnTo>
                      <a:pt x="192" y="345"/>
                    </a:lnTo>
                    <a:close/>
                    <a:moveTo>
                      <a:pt x="244" y="390"/>
                    </a:moveTo>
                    <a:lnTo>
                      <a:pt x="241" y="389"/>
                    </a:lnTo>
                    <a:lnTo>
                      <a:pt x="244" y="390"/>
                    </a:lnTo>
                    <a:close/>
                    <a:moveTo>
                      <a:pt x="566" y="656"/>
                    </a:moveTo>
                    <a:lnTo>
                      <a:pt x="566" y="657"/>
                    </a:lnTo>
                    <a:lnTo>
                      <a:pt x="565" y="656"/>
                    </a:lnTo>
                    <a:lnTo>
                      <a:pt x="565" y="655"/>
                    </a:lnTo>
                    <a:lnTo>
                      <a:pt x="565" y="654"/>
                    </a:lnTo>
                    <a:lnTo>
                      <a:pt x="565" y="655"/>
                    </a:lnTo>
                    <a:lnTo>
                      <a:pt x="565" y="656"/>
                    </a:lnTo>
                    <a:lnTo>
                      <a:pt x="566" y="656"/>
                    </a:lnTo>
                    <a:close/>
                    <a:moveTo>
                      <a:pt x="504" y="434"/>
                    </a:moveTo>
                    <a:lnTo>
                      <a:pt x="505" y="434"/>
                    </a:lnTo>
                    <a:lnTo>
                      <a:pt x="505" y="435"/>
                    </a:lnTo>
                    <a:lnTo>
                      <a:pt x="504" y="435"/>
                    </a:lnTo>
                    <a:lnTo>
                      <a:pt x="504" y="434"/>
                    </a:lnTo>
                    <a:close/>
                    <a:moveTo>
                      <a:pt x="230" y="398"/>
                    </a:moveTo>
                    <a:lnTo>
                      <a:pt x="231" y="398"/>
                    </a:lnTo>
                    <a:lnTo>
                      <a:pt x="230" y="398"/>
                    </a:lnTo>
                    <a:close/>
                    <a:moveTo>
                      <a:pt x="504" y="560"/>
                    </a:moveTo>
                    <a:lnTo>
                      <a:pt x="505" y="560"/>
                    </a:lnTo>
                    <a:lnTo>
                      <a:pt x="505" y="562"/>
                    </a:lnTo>
                    <a:lnTo>
                      <a:pt x="504" y="562"/>
                    </a:lnTo>
                    <a:lnTo>
                      <a:pt x="504" y="560"/>
                    </a:lnTo>
                    <a:close/>
                    <a:moveTo>
                      <a:pt x="422" y="376"/>
                    </a:moveTo>
                    <a:lnTo>
                      <a:pt x="422" y="377"/>
                    </a:lnTo>
                    <a:lnTo>
                      <a:pt x="422" y="376"/>
                    </a:lnTo>
                    <a:close/>
                    <a:moveTo>
                      <a:pt x="476" y="423"/>
                    </a:moveTo>
                    <a:lnTo>
                      <a:pt x="477" y="423"/>
                    </a:lnTo>
                    <a:lnTo>
                      <a:pt x="477" y="424"/>
                    </a:lnTo>
                    <a:lnTo>
                      <a:pt x="476" y="424"/>
                    </a:lnTo>
                    <a:lnTo>
                      <a:pt x="476" y="423"/>
                    </a:lnTo>
                    <a:close/>
                    <a:moveTo>
                      <a:pt x="418" y="384"/>
                    </a:moveTo>
                    <a:lnTo>
                      <a:pt x="419" y="384"/>
                    </a:lnTo>
                    <a:lnTo>
                      <a:pt x="418" y="384"/>
                    </a:lnTo>
                    <a:close/>
                    <a:moveTo>
                      <a:pt x="338" y="467"/>
                    </a:moveTo>
                    <a:lnTo>
                      <a:pt x="339" y="467"/>
                    </a:lnTo>
                    <a:lnTo>
                      <a:pt x="339" y="468"/>
                    </a:lnTo>
                    <a:lnTo>
                      <a:pt x="338" y="468"/>
                    </a:lnTo>
                    <a:lnTo>
                      <a:pt x="338" y="467"/>
                    </a:lnTo>
                    <a:close/>
                    <a:moveTo>
                      <a:pt x="427" y="392"/>
                    </a:moveTo>
                    <a:lnTo>
                      <a:pt x="429" y="392"/>
                    </a:lnTo>
                    <a:lnTo>
                      <a:pt x="427" y="392"/>
                    </a:lnTo>
                    <a:close/>
                    <a:moveTo>
                      <a:pt x="492" y="429"/>
                    </a:moveTo>
                    <a:lnTo>
                      <a:pt x="492" y="430"/>
                    </a:lnTo>
                    <a:lnTo>
                      <a:pt x="491" y="430"/>
                    </a:lnTo>
                    <a:lnTo>
                      <a:pt x="490" y="430"/>
                    </a:lnTo>
                    <a:lnTo>
                      <a:pt x="490" y="429"/>
                    </a:lnTo>
                    <a:lnTo>
                      <a:pt x="491" y="429"/>
                    </a:lnTo>
                    <a:lnTo>
                      <a:pt x="492" y="429"/>
                    </a:lnTo>
                    <a:close/>
                    <a:moveTo>
                      <a:pt x="199" y="349"/>
                    </a:moveTo>
                    <a:lnTo>
                      <a:pt x="200" y="349"/>
                    </a:lnTo>
                    <a:lnTo>
                      <a:pt x="200" y="350"/>
                    </a:lnTo>
                    <a:lnTo>
                      <a:pt x="199" y="350"/>
                    </a:lnTo>
                    <a:lnTo>
                      <a:pt x="199" y="349"/>
                    </a:lnTo>
                    <a:close/>
                    <a:moveTo>
                      <a:pt x="181" y="345"/>
                    </a:moveTo>
                    <a:lnTo>
                      <a:pt x="182" y="345"/>
                    </a:lnTo>
                    <a:lnTo>
                      <a:pt x="182" y="346"/>
                    </a:lnTo>
                    <a:lnTo>
                      <a:pt x="181" y="346"/>
                    </a:lnTo>
                    <a:lnTo>
                      <a:pt x="181" y="345"/>
                    </a:lnTo>
                    <a:close/>
                    <a:moveTo>
                      <a:pt x="507" y="460"/>
                    </a:moveTo>
                    <a:lnTo>
                      <a:pt x="509" y="460"/>
                    </a:lnTo>
                    <a:lnTo>
                      <a:pt x="509" y="461"/>
                    </a:lnTo>
                    <a:lnTo>
                      <a:pt x="507" y="461"/>
                    </a:lnTo>
                    <a:lnTo>
                      <a:pt x="507" y="460"/>
                    </a:lnTo>
                    <a:close/>
                    <a:moveTo>
                      <a:pt x="467" y="554"/>
                    </a:moveTo>
                    <a:lnTo>
                      <a:pt x="467" y="555"/>
                    </a:lnTo>
                    <a:lnTo>
                      <a:pt x="467" y="554"/>
                    </a:lnTo>
                    <a:close/>
                    <a:moveTo>
                      <a:pt x="209" y="418"/>
                    </a:moveTo>
                    <a:lnTo>
                      <a:pt x="210" y="418"/>
                    </a:lnTo>
                    <a:lnTo>
                      <a:pt x="210" y="420"/>
                    </a:lnTo>
                    <a:lnTo>
                      <a:pt x="209" y="420"/>
                    </a:lnTo>
                    <a:lnTo>
                      <a:pt x="209" y="418"/>
                    </a:lnTo>
                    <a:close/>
                    <a:moveTo>
                      <a:pt x="206" y="414"/>
                    </a:moveTo>
                    <a:lnTo>
                      <a:pt x="207" y="414"/>
                    </a:lnTo>
                    <a:lnTo>
                      <a:pt x="207" y="415"/>
                    </a:lnTo>
                    <a:lnTo>
                      <a:pt x="206" y="415"/>
                    </a:lnTo>
                    <a:lnTo>
                      <a:pt x="206" y="414"/>
                    </a:lnTo>
                    <a:close/>
                    <a:moveTo>
                      <a:pt x="441" y="371"/>
                    </a:moveTo>
                    <a:lnTo>
                      <a:pt x="442" y="371"/>
                    </a:lnTo>
                    <a:lnTo>
                      <a:pt x="442" y="372"/>
                    </a:lnTo>
                    <a:lnTo>
                      <a:pt x="441" y="372"/>
                    </a:lnTo>
                    <a:lnTo>
                      <a:pt x="441" y="371"/>
                    </a:lnTo>
                    <a:close/>
                    <a:moveTo>
                      <a:pt x="329" y="468"/>
                    </a:moveTo>
                    <a:lnTo>
                      <a:pt x="325" y="467"/>
                    </a:lnTo>
                    <a:lnTo>
                      <a:pt x="329" y="468"/>
                    </a:lnTo>
                    <a:close/>
                    <a:moveTo>
                      <a:pt x="463" y="617"/>
                    </a:moveTo>
                    <a:lnTo>
                      <a:pt x="464" y="617"/>
                    </a:lnTo>
                    <a:lnTo>
                      <a:pt x="464" y="618"/>
                    </a:lnTo>
                    <a:lnTo>
                      <a:pt x="463" y="618"/>
                    </a:lnTo>
                    <a:lnTo>
                      <a:pt x="463" y="617"/>
                    </a:lnTo>
                    <a:close/>
                    <a:moveTo>
                      <a:pt x="289" y="435"/>
                    </a:moveTo>
                    <a:lnTo>
                      <a:pt x="290" y="435"/>
                    </a:lnTo>
                    <a:lnTo>
                      <a:pt x="290" y="436"/>
                    </a:lnTo>
                    <a:lnTo>
                      <a:pt x="289" y="436"/>
                    </a:lnTo>
                    <a:lnTo>
                      <a:pt x="289" y="435"/>
                    </a:lnTo>
                    <a:close/>
                    <a:moveTo>
                      <a:pt x="209" y="354"/>
                    </a:moveTo>
                    <a:lnTo>
                      <a:pt x="210" y="354"/>
                    </a:lnTo>
                    <a:lnTo>
                      <a:pt x="209" y="354"/>
                    </a:lnTo>
                    <a:close/>
                    <a:moveTo>
                      <a:pt x="491" y="418"/>
                    </a:moveTo>
                    <a:lnTo>
                      <a:pt x="491" y="420"/>
                    </a:lnTo>
                    <a:lnTo>
                      <a:pt x="491" y="418"/>
                    </a:lnTo>
                    <a:close/>
                    <a:moveTo>
                      <a:pt x="478" y="592"/>
                    </a:moveTo>
                    <a:lnTo>
                      <a:pt x="478" y="593"/>
                    </a:lnTo>
                    <a:lnTo>
                      <a:pt x="478" y="592"/>
                    </a:lnTo>
                    <a:close/>
                    <a:moveTo>
                      <a:pt x="245" y="272"/>
                    </a:moveTo>
                    <a:lnTo>
                      <a:pt x="246" y="272"/>
                    </a:lnTo>
                    <a:lnTo>
                      <a:pt x="246" y="273"/>
                    </a:lnTo>
                    <a:lnTo>
                      <a:pt x="245" y="273"/>
                    </a:lnTo>
                    <a:lnTo>
                      <a:pt x="245" y="272"/>
                    </a:lnTo>
                    <a:close/>
                    <a:moveTo>
                      <a:pt x="489" y="476"/>
                    </a:moveTo>
                    <a:lnTo>
                      <a:pt x="490" y="476"/>
                    </a:lnTo>
                    <a:lnTo>
                      <a:pt x="490" y="478"/>
                    </a:lnTo>
                    <a:lnTo>
                      <a:pt x="489" y="478"/>
                    </a:lnTo>
                    <a:lnTo>
                      <a:pt x="489" y="476"/>
                    </a:lnTo>
                    <a:close/>
                    <a:moveTo>
                      <a:pt x="449" y="529"/>
                    </a:moveTo>
                    <a:lnTo>
                      <a:pt x="450" y="529"/>
                    </a:lnTo>
                    <a:lnTo>
                      <a:pt x="450" y="530"/>
                    </a:lnTo>
                    <a:lnTo>
                      <a:pt x="449" y="530"/>
                    </a:lnTo>
                    <a:lnTo>
                      <a:pt x="449" y="529"/>
                    </a:lnTo>
                    <a:close/>
                    <a:moveTo>
                      <a:pt x="494" y="417"/>
                    </a:moveTo>
                    <a:lnTo>
                      <a:pt x="496" y="417"/>
                    </a:lnTo>
                    <a:lnTo>
                      <a:pt x="496" y="418"/>
                    </a:lnTo>
                    <a:lnTo>
                      <a:pt x="494" y="418"/>
                    </a:lnTo>
                    <a:lnTo>
                      <a:pt x="494" y="417"/>
                    </a:lnTo>
                    <a:close/>
                    <a:moveTo>
                      <a:pt x="489" y="418"/>
                    </a:moveTo>
                    <a:lnTo>
                      <a:pt x="490" y="418"/>
                    </a:lnTo>
                    <a:lnTo>
                      <a:pt x="490" y="420"/>
                    </a:lnTo>
                    <a:lnTo>
                      <a:pt x="489" y="420"/>
                    </a:lnTo>
                    <a:lnTo>
                      <a:pt x="489" y="418"/>
                    </a:lnTo>
                    <a:close/>
                    <a:moveTo>
                      <a:pt x="452" y="529"/>
                    </a:moveTo>
                    <a:lnTo>
                      <a:pt x="451" y="528"/>
                    </a:lnTo>
                    <a:lnTo>
                      <a:pt x="450" y="528"/>
                    </a:lnTo>
                    <a:lnTo>
                      <a:pt x="451" y="528"/>
                    </a:lnTo>
                    <a:lnTo>
                      <a:pt x="451" y="529"/>
                    </a:lnTo>
                    <a:lnTo>
                      <a:pt x="452" y="529"/>
                    </a:lnTo>
                    <a:close/>
                    <a:moveTo>
                      <a:pt x="496" y="461"/>
                    </a:moveTo>
                    <a:lnTo>
                      <a:pt x="497" y="461"/>
                    </a:lnTo>
                    <a:lnTo>
                      <a:pt x="496" y="461"/>
                    </a:lnTo>
                    <a:close/>
                    <a:moveTo>
                      <a:pt x="431" y="390"/>
                    </a:moveTo>
                    <a:lnTo>
                      <a:pt x="432" y="390"/>
                    </a:lnTo>
                    <a:lnTo>
                      <a:pt x="432" y="391"/>
                    </a:lnTo>
                    <a:lnTo>
                      <a:pt x="431" y="391"/>
                    </a:lnTo>
                    <a:lnTo>
                      <a:pt x="431" y="390"/>
                    </a:lnTo>
                    <a:close/>
                    <a:moveTo>
                      <a:pt x="502" y="459"/>
                    </a:moveTo>
                    <a:lnTo>
                      <a:pt x="502" y="460"/>
                    </a:lnTo>
                    <a:lnTo>
                      <a:pt x="502" y="459"/>
                    </a:lnTo>
                    <a:close/>
                    <a:moveTo>
                      <a:pt x="566" y="512"/>
                    </a:moveTo>
                    <a:lnTo>
                      <a:pt x="567" y="512"/>
                    </a:lnTo>
                    <a:lnTo>
                      <a:pt x="566" y="512"/>
                    </a:lnTo>
                    <a:close/>
                    <a:moveTo>
                      <a:pt x="160" y="343"/>
                    </a:moveTo>
                    <a:lnTo>
                      <a:pt x="161" y="343"/>
                    </a:lnTo>
                    <a:lnTo>
                      <a:pt x="161" y="344"/>
                    </a:lnTo>
                    <a:lnTo>
                      <a:pt x="160" y="344"/>
                    </a:lnTo>
                    <a:lnTo>
                      <a:pt x="160" y="343"/>
                    </a:lnTo>
                    <a:close/>
                    <a:moveTo>
                      <a:pt x="234" y="401"/>
                    </a:moveTo>
                    <a:lnTo>
                      <a:pt x="235" y="401"/>
                    </a:lnTo>
                    <a:lnTo>
                      <a:pt x="235" y="402"/>
                    </a:lnTo>
                    <a:lnTo>
                      <a:pt x="234" y="402"/>
                    </a:lnTo>
                    <a:lnTo>
                      <a:pt x="234" y="401"/>
                    </a:lnTo>
                    <a:close/>
                    <a:moveTo>
                      <a:pt x="200" y="403"/>
                    </a:moveTo>
                    <a:lnTo>
                      <a:pt x="201" y="403"/>
                    </a:lnTo>
                    <a:lnTo>
                      <a:pt x="201" y="405"/>
                    </a:lnTo>
                    <a:lnTo>
                      <a:pt x="200" y="405"/>
                    </a:lnTo>
                    <a:lnTo>
                      <a:pt x="200" y="403"/>
                    </a:lnTo>
                    <a:close/>
                    <a:moveTo>
                      <a:pt x="473" y="440"/>
                    </a:moveTo>
                    <a:lnTo>
                      <a:pt x="475" y="440"/>
                    </a:lnTo>
                    <a:lnTo>
                      <a:pt x="473" y="440"/>
                    </a:lnTo>
                    <a:close/>
                    <a:moveTo>
                      <a:pt x="565" y="555"/>
                    </a:moveTo>
                    <a:lnTo>
                      <a:pt x="566" y="555"/>
                    </a:lnTo>
                    <a:lnTo>
                      <a:pt x="566" y="556"/>
                    </a:lnTo>
                    <a:lnTo>
                      <a:pt x="565" y="556"/>
                    </a:lnTo>
                    <a:lnTo>
                      <a:pt x="565" y="555"/>
                    </a:lnTo>
                    <a:close/>
                    <a:moveTo>
                      <a:pt x="502" y="585"/>
                    </a:moveTo>
                    <a:lnTo>
                      <a:pt x="503" y="585"/>
                    </a:lnTo>
                    <a:lnTo>
                      <a:pt x="503" y="586"/>
                    </a:lnTo>
                    <a:lnTo>
                      <a:pt x="502" y="586"/>
                    </a:lnTo>
                    <a:lnTo>
                      <a:pt x="502" y="585"/>
                    </a:lnTo>
                    <a:close/>
                    <a:moveTo>
                      <a:pt x="548" y="555"/>
                    </a:moveTo>
                    <a:lnTo>
                      <a:pt x="549" y="555"/>
                    </a:lnTo>
                    <a:lnTo>
                      <a:pt x="548" y="555"/>
                    </a:lnTo>
                    <a:close/>
                    <a:moveTo>
                      <a:pt x="235" y="226"/>
                    </a:moveTo>
                    <a:lnTo>
                      <a:pt x="236" y="226"/>
                    </a:lnTo>
                    <a:lnTo>
                      <a:pt x="236" y="228"/>
                    </a:lnTo>
                    <a:lnTo>
                      <a:pt x="235" y="228"/>
                    </a:lnTo>
                    <a:lnTo>
                      <a:pt x="235" y="226"/>
                    </a:lnTo>
                    <a:close/>
                    <a:moveTo>
                      <a:pt x="570" y="566"/>
                    </a:moveTo>
                    <a:lnTo>
                      <a:pt x="570" y="567"/>
                    </a:lnTo>
                    <a:lnTo>
                      <a:pt x="570" y="566"/>
                    </a:lnTo>
                    <a:close/>
                    <a:moveTo>
                      <a:pt x="192" y="414"/>
                    </a:moveTo>
                    <a:lnTo>
                      <a:pt x="193" y="414"/>
                    </a:lnTo>
                    <a:lnTo>
                      <a:pt x="193" y="415"/>
                    </a:lnTo>
                    <a:lnTo>
                      <a:pt x="192" y="415"/>
                    </a:lnTo>
                    <a:lnTo>
                      <a:pt x="192" y="414"/>
                    </a:lnTo>
                    <a:close/>
                    <a:moveTo>
                      <a:pt x="129" y="299"/>
                    </a:moveTo>
                    <a:lnTo>
                      <a:pt x="130" y="299"/>
                    </a:lnTo>
                    <a:lnTo>
                      <a:pt x="130" y="300"/>
                    </a:lnTo>
                    <a:lnTo>
                      <a:pt x="129" y="300"/>
                    </a:lnTo>
                    <a:lnTo>
                      <a:pt x="129" y="299"/>
                    </a:lnTo>
                    <a:close/>
                    <a:moveTo>
                      <a:pt x="542" y="508"/>
                    </a:moveTo>
                    <a:lnTo>
                      <a:pt x="541" y="508"/>
                    </a:lnTo>
                    <a:lnTo>
                      <a:pt x="540" y="507"/>
                    </a:lnTo>
                    <a:lnTo>
                      <a:pt x="541" y="508"/>
                    </a:lnTo>
                    <a:lnTo>
                      <a:pt x="542" y="508"/>
                    </a:lnTo>
                    <a:close/>
                    <a:moveTo>
                      <a:pt x="111" y="300"/>
                    </a:moveTo>
                    <a:lnTo>
                      <a:pt x="112" y="300"/>
                    </a:lnTo>
                    <a:lnTo>
                      <a:pt x="111" y="300"/>
                    </a:lnTo>
                    <a:close/>
                    <a:moveTo>
                      <a:pt x="423" y="372"/>
                    </a:moveTo>
                    <a:lnTo>
                      <a:pt x="423" y="373"/>
                    </a:lnTo>
                    <a:lnTo>
                      <a:pt x="423" y="372"/>
                    </a:lnTo>
                    <a:close/>
                    <a:moveTo>
                      <a:pt x="208" y="402"/>
                    </a:moveTo>
                    <a:lnTo>
                      <a:pt x="210" y="402"/>
                    </a:lnTo>
                    <a:lnTo>
                      <a:pt x="210" y="403"/>
                    </a:lnTo>
                    <a:lnTo>
                      <a:pt x="208" y="403"/>
                    </a:lnTo>
                    <a:lnTo>
                      <a:pt x="208" y="402"/>
                    </a:lnTo>
                    <a:close/>
                    <a:moveTo>
                      <a:pt x="222" y="405"/>
                    </a:moveTo>
                    <a:lnTo>
                      <a:pt x="220" y="405"/>
                    </a:lnTo>
                    <a:lnTo>
                      <a:pt x="222" y="405"/>
                    </a:lnTo>
                    <a:close/>
                    <a:moveTo>
                      <a:pt x="178" y="406"/>
                    </a:moveTo>
                    <a:lnTo>
                      <a:pt x="180" y="406"/>
                    </a:lnTo>
                    <a:lnTo>
                      <a:pt x="180" y="408"/>
                    </a:lnTo>
                    <a:lnTo>
                      <a:pt x="178" y="408"/>
                    </a:lnTo>
                    <a:lnTo>
                      <a:pt x="178" y="406"/>
                    </a:lnTo>
                    <a:close/>
                    <a:moveTo>
                      <a:pt x="584" y="547"/>
                    </a:moveTo>
                    <a:lnTo>
                      <a:pt x="586" y="547"/>
                    </a:lnTo>
                    <a:lnTo>
                      <a:pt x="586" y="549"/>
                    </a:lnTo>
                    <a:lnTo>
                      <a:pt x="584" y="549"/>
                    </a:lnTo>
                    <a:lnTo>
                      <a:pt x="584" y="547"/>
                    </a:lnTo>
                    <a:close/>
                    <a:moveTo>
                      <a:pt x="415" y="543"/>
                    </a:moveTo>
                    <a:lnTo>
                      <a:pt x="416" y="543"/>
                    </a:lnTo>
                    <a:lnTo>
                      <a:pt x="415" y="543"/>
                    </a:lnTo>
                    <a:close/>
                    <a:moveTo>
                      <a:pt x="552" y="549"/>
                    </a:moveTo>
                    <a:lnTo>
                      <a:pt x="552" y="547"/>
                    </a:lnTo>
                    <a:lnTo>
                      <a:pt x="551" y="547"/>
                    </a:lnTo>
                    <a:lnTo>
                      <a:pt x="550" y="547"/>
                    </a:lnTo>
                    <a:lnTo>
                      <a:pt x="550" y="546"/>
                    </a:lnTo>
                    <a:lnTo>
                      <a:pt x="550" y="547"/>
                    </a:lnTo>
                    <a:lnTo>
                      <a:pt x="551" y="547"/>
                    </a:lnTo>
                    <a:lnTo>
                      <a:pt x="552" y="547"/>
                    </a:lnTo>
                    <a:lnTo>
                      <a:pt x="552" y="549"/>
                    </a:lnTo>
                    <a:close/>
                    <a:moveTo>
                      <a:pt x="416" y="388"/>
                    </a:moveTo>
                    <a:lnTo>
                      <a:pt x="419" y="388"/>
                    </a:lnTo>
                    <a:lnTo>
                      <a:pt x="419" y="389"/>
                    </a:lnTo>
                    <a:lnTo>
                      <a:pt x="416" y="389"/>
                    </a:lnTo>
                    <a:lnTo>
                      <a:pt x="416" y="388"/>
                    </a:lnTo>
                    <a:close/>
                    <a:moveTo>
                      <a:pt x="291" y="453"/>
                    </a:moveTo>
                    <a:lnTo>
                      <a:pt x="291" y="454"/>
                    </a:lnTo>
                    <a:lnTo>
                      <a:pt x="291" y="453"/>
                    </a:lnTo>
                    <a:close/>
                    <a:moveTo>
                      <a:pt x="503" y="462"/>
                    </a:moveTo>
                    <a:lnTo>
                      <a:pt x="503" y="463"/>
                    </a:lnTo>
                    <a:lnTo>
                      <a:pt x="503" y="462"/>
                    </a:lnTo>
                    <a:close/>
                    <a:moveTo>
                      <a:pt x="208" y="404"/>
                    </a:moveTo>
                    <a:lnTo>
                      <a:pt x="208" y="405"/>
                    </a:lnTo>
                    <a:lnTo>
                      <a:pt x="208" y="404"/>
                    </a:lnTo>
                    <a:close/>
                    <a:moveTo>
                      <a:pt x="472" y="454"/>
                    </a:moveTo>
                    <a:lnTo>
                      <a:pt x="472" y="455"/>
                    </a:lnTo>
                    <a:lnTo>
                      <a:pt x="472" y="454"/>
                    </a:lnTo>
                    <a:close/>
                    <a:moveTo>
                      <a:pt x="315" y="352"/>
                    </a:moveTo>
                    <a:lnTo>
                      <a:pt x="316" y="352"/>
                    </a:lnTo>
                    <a:lnTo>
                      <a:pt x="315" y="352"/>
                    </a:lnTo>
                    <a:close/>
                    <a:moveTo>
                      <a:pt x="412" y="545"/>
                    </a:moveTo>
                    <a:lnTo>
                      <a:pt x="413" y="545"/>
                    </a:lnTo>
                    <a:lnTo>
                      <a:pt x="413" y="546"/>
                    </a:lnTo>
                    <a:lnTo>
                      <a:pt x="412" y="546"/>
                    </a:lnTo>
                    <a:lnTo>
                      <a:pt x="412" y="545"/>
                    </a:lnTo>
                    <a:close/>
                    <a:moveTo>
                      <a:pt x="184" y="344"/>
                    </a:moveTo>
                    <a:lnTo>
                      <a:pt x="186" y="344"/>
                    </a:lnTo>
                    <a:lnTo>
                      <a:pt x="186" y="346"/>
                    </a:lnTo>
                    <a:lnTo>
                      <a:pt x="184" y="346"/>
                    </a:lnTo>
                    <a:lnTo>
                      <a:pt x="184" y="344"/>
                    </a:lnTo>
                    <a:close/>
                    <a:moveTo>
                      <a:pt x="490" y="425"/>
                    </a:moveTo>
                    <a:lnTo>
                      <a:pt x="491" y="425"/>
                    </a:lnTo>
                    <a:lnTo>
                      <a:pt x="491" y="426"/>
                    </a:lnTo>
                    <a:lnTo>
                      <a:pt x="490" y="426"/>
                    </a:lnTo>
                    <a:lnTo>
                      <a:pt x="490" y="425"/>
                    </a:lnTo>
                    <a:close/>
                    <a:moveTo>
                      <a:pt x="499" y="441"/>
                    </a:moveTo>
                    <a:lnTo>
                      <a:pt x="500" y="441"/>
                    </a:lnTo>
                    <a:lnTo>
                      <a:pt x="499" y="441"/>
                    </a:lnTo>
                    <a:close/>
                    <a:moveTo>
                      <a:pt x="567" y="555"/>
                    </a:moveTo>
                    <a:lnTo>
                      <a:pt x="568" y="555"/>
                    </a:lnTo>
                    <a:lnTo>
                      <a:pt x="567" y="555"/>
                    </a:lnTo>
                    <a:close/>
                    <a:moveTo>
                      <a:pt x="217" y="405"/>
                    </a:moveTo>
                    <a:lnTo>
                      <a:pt x="218" y="405"/>
                    </a:lnTo>
                    <a:lnTo>
                      <a:pt x="218" y="406"/>
                    </a:lnTo>
                    <a:lnTo>
                      <a:pt x="217" y="406"/>
                    </a:lnTo>
                    <a:lnTo>
                      <a:pt x="217" y="405"/>
                    </a:lnTo>
                    <a:close/>
                    <a:moveTo>
                      <a:pt x="490" y="424"/>
                    </a:moveTo>
                    <a:lnTo>
                      <a:pt x="491" y="424"/>
                    </a:lnTo>
                    <a:lnTo>
                      <a:pt x="491" y="425"/>
                    </a:lnTo>
                    <a:lnTo>
                      <a:pt x="490" y="425"/>
                    </a:lnTo>
                    <a:lnTo>
                      <a:pt x="490" y="424"/>
                    </a:lnTo>
                    <a:close/>
                    <a:moveTo>
                      <a:pt x="473" y="424"/>
                    </a:moveTo>
                    <a:lnTo>
                      <a:pt x="474" y="424"/>
                    </a:lnTo>
                    <a:lnTo>
                      <a:pt x="474" y="425"/>
                    </a:lnTo>
                    <a:lnTo>
                      <a:pt x="473" y="425"/>
                    </a:lnTo>
                    <a:lnTo>
                      <a:pt x="473" y="424"/>
                    </a:lnTo>
                    <a:close/>
                    <a:moveTo>
                      <a:pt x="243" y="416"/>
                    </a:moveTo>
                    <a:lnTo>
                      <a:pt x="244" y="416"/>
                    </a:lnTo>
                    <a:lnTo>
                      <a:pt x="243" y="416"/>
                    </a:lnTo>
                    <a:lnTo>
                      <a:pt x="242" y="416"/>
                    </a:lnTo>
                    <a:lnTo>
                      <a:pt x="243" y="416"/>
                    </a:lnTo>
                    <a:close/>
                    <a:moveTo>
                      <a:pt x="422" y="669"/>
                    </a:moveTo>
                    <a:lnTo>
                      <a:pt x="423" y="669"/>
                    </a:lnTo>
                    <a:lnTo>
                      <a:pt x="423" y="670"/>
                    </a:lnTo>
                    <a:lnTo>
                      <a:pt x="422" y="670"/>
                    </a:lnTo>
                    <a:lnTo>
                      <a:pt x="422" y="669"/>
                    </a:lnTo>
                    <a:close/>
                    <a:moveTo>
                      <a:pt x="360" y="417"/>
                    </a:moveTo>
                    <a:lnTo>
                      <a:pt x="361" y="417"/>
                    </a:lnTo>
                    <a:lnTo>
                      <a:pt x="361" y="418"/>
                    </a:lnTo>
                    <a:lnTo>
                      <a:pt x="360" y="418"/>
                    </a:lnTo>
                    <a:lnTo>
                      <a:pt x="360" y="417"/>
                    </a:lnTo>
                    <a:close/>
                    <a:moveTo>
                      <a:pt x="501" y="461"/>
                    </a:moveTo>
                    <a:lnTo>
                      <a:pt x="502" y="461"/>
                    </a:lnTo>
                    <a:lnTo>
                      <a:pt x="501" y="461"/>
                    </a:lnTo>
                    <a:close/>
                    <a:moveTo>
                      <a:pt x="184" y="408"/>
                    </a:moveTo>
                    <a:lnTo>
                      <a:pt x="184" y="410"/>
                    </a:lnTo>
                    <a:lnTo>
                      <a:pt x="184" y="408"/>
                    </a:lnTo>
                    <a:close/>
                    <a:moveTo>
                      <a:pt x="490" y="469"/>
                    </a:moveTo>
                    <a:lnTo>
                      <a:pt x="491" y="469"/>
                    </a:lnTo>
                    <a:lnTo>
                      <a:pt x="491" y="470"/>
                    </a:lnTo>
                    <a:lnTo>
                      <a:pt x="490" y="470"/>
                    </a:lnTo>
                    <a:lnTo>
                      <a:pt x="490" y="469"/>
                    </a:lnTo>
                    <a:close/>
                    <a:moveTo>
                      <a:pt x="424" y="370"/>
                    </a:moveTo>
                    <a:lnTo>
                      <a:pt x="425" y="370"/>
                    </a:lnTo>
                    <a:lnTo>
                      <a:pt x="425" y="371"/>
                    </a:lnTo>
                    <a:lnTo>
                      <a:pt x="424" y="371"/>
                    </a:lnTo>
                    <a:lnTo>
                      <a:pt x="424" y="370"/>
                    </a:lnTo>
                    <a:close/>
                    <a:moveTo>
                      <a:pt x="174" y="405"/>
                    </a:moveTo>
                    <a:lnTo>
                      <a:pt x="173" y="405"/>
                    </a:lnTo>
                    <a:lnTo>
                      <a:pt x="173" y="404"/>
                    </a:lnTo>
                    <a:lnTo>
                      <a:pt x="171" y="404"/>
                    </a:lnTo>
                    <a:lnTo>
                      <a:pt x="174" y="405"/>
                    </a:lnTo>
                    <a:close/>
                    <a:moveTo>
                      <a:pt x="408" y="371"/>
                    </a:moveTo>
                    <a:lnTo>
                      <a:pt x="409" y="371"/>
                    </a:lnTo>
                    <a:lnTo>
                      <a:pt x="409" y="372"/>
                    </a:lnTo>
                    <a:lnTo>
                      <a:pt x="408" y="372"/>
                    </a:lnTo>
                    <a:lnTo>
                      <a:pt x="408" y="371"/>
                    </a:lnTo>
                    <a:close/>
                    <a:moveTo>
                      <a:pt x="203" y="398"/>
                    </a:moveTo>
                    <a:lnTo>
                      <a:pt x="203" y="399"/>
                    </a:lnTo>
                    <a:lnTo>
                      <a:pt x="203" y="398"/>
                    </a:lnTo>
                    <a:close/>
                    <a:moveTo>
                      <a:pt x="496" y="567"/>
                    </a:moveTo>
                    <a:lnTo>
                      <a:pt x="497" y="567"/>
                    </a:lnTo>
                    <a:lnTo>
                      <a:pt x="497" y="568"/>
                    </a:lnTo>
                    <a:lnTo>
                      <a:pt x="496" y="568"/>
                    </a:lnTo>
                    <a:lnTo>
                      <a:pt x="496" y="567"/>
                    </a:lnTo>
                    <a:close/>
                    <a:moveTo>
                      <a:pt x="329" y="468"/>
                    </a:moveTo>
                    <a:lnTo>
                      <a:pt x="325" y="468"/>
                    </a:lnTo>
                    <a:lnTo>
                      <a:pt x="329" y="468"/>
                    </a:lnTo>
                    <a:close/>
                    <a:moveTo>
                      <a:pt x="189" y="356"/>
                    </a:moveTo>
                    <a:lnTo>
                      <a:pt x="190" y="356"/>
                    </a:lnTo>
                    <a:lnTo>
                      <a:pt x="190" y="357"/>
                    </a:lnTo>
                    <a:lnTo>
                      <a:pt x="189" y="357"/>
                    </a:lnTo>
                    <a:lnTo>
                      <a:pt x="189" y="356"/>
                    </a:lnTo>
                    <a:close/>
                    <a:moveTo>
                      <a:pt x="317" y="464"/>
                    </a:moveTo>
                    <a:lnTo>
                      <a:pt x="318" y="464"/>
                    </a:lnTo>
                    <a:lnTo>
                      <a:pt x="318" y="465"/>
                    </a:lnTo>
                    <a:lnTo>
                      <a:pt x="317" y="465"/>
                    </a:lnTo>
                    <a:lnTo>
                      <a:pt x="317" y="464"/>
                    </a:lnTo>
                    <a:close/>
                    <a:moveTo>
                      <a:pt x="416" y="378"/>
                    </a:moveTo>
                    <a:lnTo>
                      <a:pt x="418" y="378"/>
                    </a:lnTo>
                    <a:lnTo>
                      <a:pt x="416" y="378"/>
                    </a:lnTo>
                    <a:close/>
                    <a:moveTo>
                      <a:pt x="400" y="687"/>
                    </a:moveTo>
                    <a:lnTo>
                      <a:pt x="400" y="688"/>
                    </a:lnTo>
                    <a:lnTo>
                      <a:pt x="400" y="687"/>
                    </a:lnTo>
                    <a:close/>
                    <a:moveTo>
                      <a:pt x="496" y="424"/>
                    </a:moveTo>
                    <a:lnTo>
                      <a:pt x="497" y="424"/>
                    </a:lnTo>
                    <a:lnTo>
                      <a:pt x="496" y="424"/>
                    </a:lnTo>
                    <a:close/>
                    <a:moveTo>
                      <a:pt x="442" y="374"/>
                    </a:moveTo>
                    <a:lnTo>
                      <a:pt x="444" y="374"/>
                    </a:lnTo>
                    <a:lnTo>
                      <a:pt x="444" y="375"/>
                    </a:lnTo>
                    <a:lnTo>
                      <a:pt x="442" y="375"/>
                    </a:lnTo>
                    <a:lnTo>
                      <a:pt x="442" y="374"/>
                    </a:lnTo>
                    <a:close/>
                    <a:moveTo>
                      <a:pt x="498" y="416"/>
                    </a:moveTo>
                    <a:lnTo>
                      <a:pt x="499" y="416"/>
                    </a:lnTo>
                    <a:lnTo>
                      <a:pt x="498" y="416"/>
                    </a:lnTo>
                    <a:close/>
                    <a:moveTo>
                      <a:pt x="489" y="424"/>
                    </a:moveTo>
                    <a:lnTo>
                      <a:pt x="490" y="424"/>
                    </a:lnTo>
                    <a:lnTo>
                      <a:pt x="490" y="425"/>
                    </a:lnTo>
                    <a:lnTo>
                      <a:pt x="489" y="425"/>
                    </a:lnTo>
                    <a:lnTo>
                      <a:pt x="489" y="424"/>
                    </a:lnTo>
                    <a:close/>
                    <a:moveTo>
                      <a:pt x="271" y="398"/>
                    </a:moveTo>
                    <a:lnTo>
                      <a:pt x="273" y="398"/>
                    </a:lnTo>
                    <a:lnTo>
                      <a:pt x="273" y="400"/>
                    </a:lnTo>
                    <a:lnTo>
                      <a:pt x="271" y="400"/>
                    </a:lnTo>
                    <a:lnTo>
                      <a:pt x="271" y="398"/>
                    </a:lnTo>
                    <a:close/>
                    <a:moveTo>
                      <a:pt x="418" y="383"/>
                    </a:moveTo>
                    <a:lnTo>
                      <a:pt x="420" y="383"/>
                    </a:lnTo>
                    <a:lnTo>
                      <a:pt x="420" y="384"/>
                    </a:lnTo>
                    <a:lnTo>
                      <a:pt x="418" y="384"/>
                    </a:lnTo>
                    <a:lnTo>
                      <a:pt x="418" y="383"/>
                    </a:lnTo>
                    <a:close/>
                    <a:moveTo>
                      <a:pt x="588" y="550"/>
                    </a:moveTo>
                    <a:lnTo>
                      <a:pt x="588" y="551"/>
                    </a:lnTo>
                    <a:lnTo>
                      <a:pt x="588" y="550"/>
                    </a:lnTo>
                    <a:close/>
                    <a:moveTo>
                      <a:pt x="429" y="365"/>
                    </a:moveTo>
                    <a:lnTo>
                      <a:pt x="431" y="365"/>
                    </a:lnTo>
                    <a:lnTo>
                      <a:pt x="431" y="366"/>
                    </a:lnTo>
                    <a:lnTo>
                      <a:pt x="429" y="366"/>
                    </a:lnTo>
                    <a:lnTo>
                      <a:pt x="429" y="365"/>
                    </a:lnTo>
                    <a:close/>
                    <a:moveTo>
                      <a:pt x="251" y="393"/>
                    </a:moveTo>
                    <a:lnTo>
                      <a:pt x="252" y="393"/>
                    </a:lnTo>
                    <a:lnTo>
                      <a:pt x="252" y="395"/>
                    </a:lnTo>
                    <a:lnTo>
                      <a:pt x="251" y="395"/>
                    </a:lnTo>
                    <a:lnTo>
                      <a:pt x="251" y="393"/>
                    </a:lnTo>
                    <a:close/>
                    <a:moveTo>
                      <a:pt x="503" y="449"/>
                    </a:moveTo>
                    <a:lnTo>
                      <a:pt x="504" y="449"/>
                    </a:lnTo>
                    <a:lnTo>
                      <a:pt x="503" y="449"/>
                    </a:lnTo>
                    <a:close/>
                    <a:moveTo>
                      <a:pt x="336" y="468"/>
                    </a:moveTo>
                    <a:lnTo>
                      <a:pt x="337" y="468"/>
                    </a:lnTo>
                    <a:lnTo>
                      <a:pt x="337" y="469"/>
                    </a:lnTo>
                    <a:lnTo>
                      <a:pt x="336" y="469"/>
                    </a:lnTo>
                    <a:lnTo>
                      <a:pt x="336" y="468"/>
                    </a:lnTo>
                    <a:close/>
                    <a:moveTo>
                      <a:pt x="187" y="413"/>
                    </a:moveTo>
                    <a:lnTo>
                      <a:pt x="188" y="413"/>
                    </a:lnTo>
                    <a:lnTo>
                      <a:pt x="187" y="413"/>
                    </a:lnTo>
                    <a:close/>
                    <a:moveTo>
                      <a:pt x="196" y="393"/>
                    </a:moveTo>
                    <a:lnTo>
                      <a:pt x="197" y="393"/>
                    </a:lnTo>
                    <a:lnTo>
                      <a:pt x="197" y="395"/>
                    </a:lnTo>
                    <a:lnTo>
                      <a:pt x="196" y="395"/>
                    </a:lnTo>
                    <a:lnTo>
                      <a:pt x="196" y="393"/>
                    </a:lnTo>
                    <a:close/>
                    <a:moveTo>
                      <a:pt x="499" y="440"/>
                    </a:moveTo>
                    <a:lnTo>
                      <a:pt x="500" y="440"/>
                    </a:lnTo>
                    <a:lnTo>
                      <a:pt x="500" y="441"/>
                    </a:lnTo>
                    <a:lnTo>
                      <a:pt x="499" y="441"/>
                    </a:lnTo>
                    <a:lnTo>
                      <a:pt x="499" y="440"/>
                    </a:lnTo>
                    <a:close/>
                    <a:moveTo>
                      <a:pt x="505" y="462"/>
                    </a:moveTo>
                    <a:lnTo>
                      <a:pt x="506" y="462"/>
                    </a:lnTo>
                    <a:lnTo>
                      <a:pt x="506" y="463"/>
                    </a:lnTo>
                    <a:lnTo>
                      <a:pt x="505" y="463"/>
                    </a:lnTo>
                    <a:lnTo>
                      <a:pt x="505" y="462"/>
                    </a:lnTo>
                    <a:close/>
                    <a:moveTo>
                      <a:pt x="233" y="399"/>
                    </a:moveTo>
                    <a:lnTo>
                      <a:pt x="231" y="399"/>
                    </a:lnTo>
                    <a:lnTo>
                      <a:pt x="233" y="399"/>
                    </a:lnTo>
                    <a:close/>
                    <a:moveTo>
                      <a:pt x="182" y="345"/>
                    </a:moveTo>
                    <a:lnTo>
                      <a:pt x="182" y="346"/>
                    </a:lnTo>
                    <a:lnTo>
                      <a:pt x="182" y="345"/>
                    </a:lnTo>
                    <a:close/>
                    <a:moveTo>
                      <a:pt x="552" y="547"/>
                    </a:moveTo>
                    <a:lnTo>
                      <a:pt x="554" y="547"/>
                    </a:lnTo>
                    <a:lnTo>
                      <a:pt x="552" y="547"/>
                    </a:lnTo>
                    <a:close/>
                    <a:moveTo>
                      <a:pt x="566" y="476"/>
                    </a:moveTo>
                    <a:lnTo>
                      <a:pt x="567" y="476"/>
                    </a:lnTo>
                    <a:lnTo>
                      <a:pt x="566" y="476"/>
                    </a:lnTo>
                    <a:close/>
                    <a:moveTo>
                      <a:pt x="489" y="470"/>
                    </a:moveTo>
                    <a:lnTo>
                      <a:pt x="490" y="470"/>
                    </a:lnTo>
                    <a:lnTo>
                      <a:pt x="489" y="470"/>
                    </a:lnTo>
                    <a:close/>
                    <a:moveTo>
                      <a:pt x="499" y="573"/>
                    </a:moveTo>
                    <a:lnTo>
                      <a:pt x="501" y="573"/>
                    </a:lnTo>
                    <a:lnTo>
                      <a:pt x="501" y="575"/>
                    </a:lnTo>
                    <a:lnTo>
                      <a:pt x="499" y="575"/>
                    </a:lnTo>
                    <a:lnTo>
                      <a:pt x="499" y="573"/>
                    </a:lnTo>
                    <a:close/>
                    <a:moveTo>
                      <a:pt x="358" y="416"/>
                    </a:moveTo>
                    <a:lnTo>
                      <a:pt x="359" y="416"/>
                    </a:lnTo>
                    <a:lnTo>
                      <a:pt x="358" y="416"/>
                    </a:lnTo>
                    <a:close/>
                    <a:moveTo>
                      <a:pt x="459" y="616"/>
                    </a:moveTo>
                    <a:lnTo>
                      <a:pt x="459" y="618"/>
                    </a:lnTo>
                    <a:lnTo>
                      <a:pt x="459" y="616"/>
                    </a:lnTo>
                    <a:close/>
                    <a:moveTo>
                      <a:pt x="289" y="435"/>
                    </a:moveTo>
                    <a:lnTo>
                      <a:pt x="290" y="435"/>
                    </a:lnTo>
                    <a:lnTo>
                      <a:pt x="289" y="435"/>
                    </a:lnTo>
                    <a:close/>
                    <a:moveTo>
                      <a:pt x="274" y="358"/>
                    </a:moveTo>
                    <a:lnTo>
                      <a:pt x="274" y="359"/>
                    </a:lnTo>
                    <a:lnTo>
                      <a:pt x="274" y="358"/>
                    </a:lnTo>
                    <a:close/>
                    <a:moveTo>
                      <a:pt x="427" y="392"/>
                    </a:moveTo>
                    <a:lnTo>
                      <a:pt x="427" y="393"/>
                    </a:lnTo>
                    <a:lnTo>
                      <a:pt x="427" y="392"/>
                    </a:lnTo>
                    <a:close/>
                    <a:moveTo>
                      <a:pt x="503" y="556"/>
                    </a:moveTo>
                    <a:lnTo>
                      <a:pt x="504" y="556"/>
                    </a:lnTo>
                    <a:lnTo>
                      <a:pt x="504" y="557"/>
                    </a:lnTo>
                    <a:lnTo>
                      <a:pt x="503" y="557"/>
                    </a:lnTo>
                    <a:lnTo>
                      <a:pt x="503" y="556"/>
                    </a:lnTo>
                    <a:close/>
                    <a:moveTo>
                      <a:pt x="244" y="404"/>
                    </a:moveTo>
                    <a:lnTo>
                      <a:pt x="245" y="404"/>
                    </a:lnTo>
                    <a:lnTo>
                      <a:pt x="245" y="405"/>
                    </a:lnTo>
                    <a:lnTo>
                      <a:pt x="244" y="405"/>
                    </a:lnTo>
                    <a:lnTo>
                      <a:pt x="244" y="404"/>
                    </a:lnTo>
                    <a:close/>
                    <a:moveTo>
                      <a:pt x="326" y="347"/>
                    </a:moveTo>
                    <a:lnTo>
                      <a:pt x="328" y="347"/>
                    </a:lnTo>
                    <a:lnTo>
                      <a:pt x="326" y="347"/>
                    </a:lnTo>
                    <a:close/>
                    <a:moveTo>
                      <a:pt x="424" y="392"/>
                    </a:moveTo>
                    <a:lnTo>
                      <a:pt x="425" y="392"/>
                    </a:lnTo>
                    <a:lnTo>
                      <a:pt x="424" y="392"/>
                    </a:lnTo>
                    <a:close/>
                    <a:moveTo>
                      <a:pt x="578" y="568"/>
                    </a:moveTo>
                    <a:lnTo>
                      <a:pt x="579" y="568"/>
                    </a:lnTo>
                    <a:lnTo>
                      <a:pt x="578" y="568"/>
                    </a:lnTo>
                    <a:close/>
                    <a:moveTo>
                      <a:pt x="491" y="436"/>
                    </a:moveTo>
                    <a:lnTo>
                      <a:pt x="492" y="436"/>
                    </a:lnTo>
                    <a:lnTo>
                      <a:pt x="491" y="436"/>
                    </a:lnTo>
                    <a:close/>
                    <a:moveTo>
                      <a:pt x="446" y="529"/>
                    </a:moveTo>
                    <a:lnTo>
                      <a:pt x="447" y="529"/>
                    </a:lnTo>
                    <a:lnTo>
                      <a:pt x="447" y="530"/>
                    </a:lnTo>
                    <a:lnTo>
                      <a:pt x="446" y="530"/>
                    </a:lnTo>
                    <a:lnTo>
                      <a:pt x="446" y="529"/>
                    </a:lnTo>
                    <a:close/>
                    <a:moveTo>
                      <a:pt x="552" y="422"/>
                    </a:moveTo>
                    <a:lnTo>
                      <a:pt x="553" y="422"/>
                    </a:lnTo>
                    <a:lnTo>
                      <a:pt x="552" y="422"/>
                    </a:lnTo>
                    <a:close/>
                    <a:moveTo>
                      <a:pt x="423" y="388"/>
                    </a:moveTo>
                    <a:lnTo>
                      <a:pt x="424" y="388"/>
                    </a:lnTo>
                    <a:lnTo>
                      <a:pt x="424" y="389"/>
                    </a:lnTo>
                    <a:lnTo>
                      <a:pt x="423" y="389"/>
                    </a:lnTo>
                    <a:lnTo>
                      <a:pt x="423" y="388"/>
                    </a:lnTo>
                    <a:close/>
                    <a:moveTo>
                      <a:pt x="197" y="399"/>
                    </a:moveTo>
                    <a:lnTo>
                      <a:pt x="197" y="400"/>
                    </a:lnTo>
                    <a:lnTo>
                      <a:pt x="197" y="399"/>
                    </a:lnTo>
                    <a:close/>
                    <a:moveTo>
                      <a:pt x="419" y="384"/>
                    </a:moveTo>
                    <a:lnTo>
                      <a:pt x="421" y="384"/>
                    </a:lnTo>
                    <a:lnTo>
                      <a:pt x="419" y="384"/>
                    </a:lnTo>
                    <a:close/>
                    <a:moveTo>
                      <a:pt x="276" y="404"/>
                    </a:moveTo>
                    <a:lnTo>
                      <a:pt x="278" y="404"/>
                    </a:lnTo>
                    <a:lnTo>
                      <a:pt x="278" y="405"/>
                    </a:lnTo>
                    <a:lnTo>
                      <a:pt x="276" y="405"/>
                    </a:lnTo>
                    <a:lnTo>
                      <a:pt x="276" y="404"/>
                    </a:lnTo>
                    <a:close/>
                    <a:moveTo>
                      <a:pt x="539" y="524"/>
                    </a:moveTo>
                    <a:lnTo>
                      <a:pt x="540" y="524"/>
                    </a:lnTo>
                    <a:lnTo>
                      <a:pt x="540" y="525"/>
                    </a:lnTo>
                    <a:lnTo>
                      <a:pt x="539" y="525"/>
                    </a:lnTo>
                    <a:lnTo>
                      <a:pt x="539" y="524"/>
                    </a:lnTo>
                    <a:close/>
                    <a:moveTo>
                      <a:pt x="391" y="364"/>
                    </a:moveTo>
                    <a:lnTo>
                      <a:pt x="394" y="364"/>
                    </a:lnTo>
                    <a:lnTo>
                      <a:pt x="394" y="365"/>
                    </a:lnTo>
                    <a:lnTo>
                      <a:pt x="391" y="365"/>
                    </a:lnTo>
                    <a:lnTo>
                      <a:pt x="391" y="364"/>
                    </a:lnTo>
                    <a:close/>
                    <a:moveTo>
                      <a:pt x="489" y="468"/>
                    </a:moveTo>
                    <a:lnTo>
                      <a:pt x="489" y="469"/>
                    </a:lnTo>
                    <a:lnTo>
                      <a:pt x="489" y="468"/>
                    </a:lnTo>
                    <a:close/>
                    <a:moveTo>
                      <a:pt x="477" y="593"/>
                    </a:moveTo>
                    <a:lnTo>
                      <a:pt x="478" y="593"/>
                    </a:lnTo>
                    <a:lnTo>
                      <a:pt x="478" y="594"/>
                    </a:lnTo>
                    <a:lnTo>
                      <a:pt x="477" y="594"/>
                    </a:lnTo>
                    <a:lnTo>
                      <a:pt x="477" y="593"/>
                    </a:lnTo>
                    <a:close/>
                    <a:moveTo>
                      <a:pt x="155" y="390"/>
                    </a:moveTo>
                    <a:lnTo>
                      <a:pt x="155" y="391"/>
                    </a:lnTo>
                    <a:lnTo>
                      <a:pt x="155" y="390"/>
                    </a:lnTo>
                    <a:close/>
                    <a:moveTo>
                      <a:pt x="550" y="546"/>
                    </a:moveTo>
                    <a:lnTo>
                      <a:pt x="552" y="546"/>
                    </a:lnTo>
                    <a:lnTo>
                      <a:pt x="552" y="547"/>
                    </a:lnTo>
                    <a:lnTo>
                      <a:pt x="550" y="547"/>
                    </a:lnTo>
                    <a:lnTo>
                      <a:pt x="550" y="546"/>
                    </a:lnTo>
                    <a:close/>
                    <a:moveTo>
                      <a:pt x="504" y="555"/>
                    </a:moveTo>
                    <a:lnTo>
                      <a:pt x="504" y="556"/>
                    </a:lnTo>
                    <a:lnTo>
                      <a:pt x="504" y="555"/>
                    </a:lnTo>
                    <a:close/>
                    <a:moveTo>
                      <a:pt x="408" y="686"/>
                    </a:moveTo>
                    <a:lnTo>
                      <a:pt x="409" y="686"/>
                    </a:lnTo>
                    <a:lnTo>
                      <a:pt x="409" y="687"/>
                    </a:lnTo>
                    <a:lnTo>
                      <a:pt x="408" y="687"/>
                    </a:lnTo>
                    <a:lnTo>
                      <a:pt x="408" y="686"/>
                    </a:lnTo>
                    <a:close/>
                    <a:moveTo>
                      <a:pt x="500" y="443"/>
                    </a:moveTo>
                    <a:lnTo>
                      <a:pt x="502" y="443"/>
                    </a:lnTo>
                    <a:lnTo>
                      <a:pt x="502" y="444"/>
                    </a:lnTo>
                    <a:lnTo>
                      <a:pt x="500" y="444"/>
                    </a:lnTo>
                    <a:lnTo>
                      <a:pt x="500" y="443"/>
                    </a:lnTo>
                    <a:close/>
                    <a:moveTo>
                      <a:pt x="415" y="653"/>
                    </a:moveTo>
                    <a:lnTo>
                      <a:pt x="416" y="653"/>
                    </a:lnTo>
                    <a:lnTo>
                      <a:pt x="415" y="653"/>
                    </a:lnTo>
                    <a:close/>
                    <a:moveTo>
                      <a:pt x="485" y="545"/>
                    </a:moveTo>
                    <a:lnTo>
                      <a:pt x="485" y="546"/>
                    </a:lnTo>
                    <a:lnTo>
                      <a:pt x="485" y="545"/>
                    </a:lnTo>
                    <a:close/>
                    <a:moveTo>
                      <a:pt x="208" y="408"/>
                    </a:moveTo>
                    <a:lnTo>
                      <a:pt x="209" y="408"/>
                    </a:lnTo>
                    <a:lnTo>
                      <a:pt x="209" y="409"/>
                    </a:lnTo>
                    <a:lnTo>
                      <a:pt x="208" y="409"/>
                    </a:lnTo>
                    <a:lnTo>
                      <a:pt x="208" y="408"/>
                    </a:lnTo>
                    <a:close/>
                    <a:moveTo>
                      <a:pt x="557" y="545"/>
                    </a:moveTo>
                    <a:lnTo>
                      <a:pt x="558" y="545"/>
                    </a:lnTo>
                    <a:lnTo>
                      <a:pt x="558" y="546"/>
                    </a:lnTo>
                    <a:lnTo>
                      <a:pt x="557" y="546"/>
                    </a:lnTo>
                    <a:lnTo>
                      <a:pt x="557" y="545"/>
                    </a:lnTo>
                    <a:close/>
                    <a:moveTo>
                      <a:pt x="216" y="406"/>
                    </a:moveTo>
                    <a:lnTo>
                      <a:pt x="217" y="406"/>
                    </a:lnTo>
                    <a:lnTo>
                      <a:pt x="217" y="408"/>
                    </a:lnTo>
                    <a:lnTo>
                      <a:pt x="216" y="408"/>
                    </a:lnTo>
                    <a:lnTo>
                      <a:pt x="216" y="406"/>
                    </a:lnTo>
                    <a:close/>
                    <a:moveTo>
                      <a:pt x="466" y="607"/>
                    </a:moveTo>
                    <a:lnTo>
                      <a:pt x="467" y="607"/>
                    </a:lnTo>
                    <a:lnTo>
                      <a:pt x="466" y="607"/>
                    </a:lnTo>
                    <a:close/>
                    <a:moveTo>
                      <a:pt x="511" y="460"/>
                    </a:moveTo>
                    <a:lnTo>
                      <a:pt x="511" y="461"/>
                    </a:lnTo>
                    <a:lnTo>
                      <a:pt x="511" y="460"/>
                    </a:lnTo>
                    <a:close/>
                    <a:moveTo>
                      <a:pt x="234" y="398"/>
                    </a:moveTo>
                    <a:lnTo>
                      <a:pt x="232" y="398"/>
                    </a:lnTo>
                    <a:lnTo>
                      <a:pt x="234" y="398"/>
                    </a:lnTo>
                    <a:close/>
                    <a:moveTo>
                      <a:pt x="279" y="431"/>
                    </a:moveTo>
                    <a:lnTo>
                      <a:pt x="280" y="431"/>
                    </a:lnTo>
                    <a:lnTo>
                      <a:pt x="280" y="433"/>
                    </a:lnTo>
                    <a:lnTo>
                      <a:pt x="279" y="433"/>
                    </a:lnTo>
                    <a:lnTo>
                      <a:pt x="279" y="431"/>
                    </a:lnTo>
                    <a:close/>
                    <a:moveTo>
                      <a:pt x="492" y="465"/>
                    </a:moveTo>
                    <a:lnTo>
                      <a:pt x="493" y="465"/>
                    </a:lnTo>
                    <a:lnTo>
                      <a:pt x="492" y="465"/>
                    </a:lnTo>
                    <a:close/>
                    <a:moveTo>
                      <a:pt x="394" y="374"/>
                    </a:moveTo>
                    <a:lnTo>
                      <a:pt x="395" y="374"/>
                    </a:lnTo>
                    <a:lnTo>
                      <a:pt x="395" y="375"/>
                    </a:lnTo>
                    <a:lnTo>
                      <a:pt x="394" y="375"/>
                    </a:lnTo>
                    <a:lnTo>
                      <a:pt x="394" y="374"/>
                    </a:lnTo>
                    <a:close/>
                    <a:moveTo>
                      <a:pt x="561" y="546"/>
                    </a:moveTo>
                    <a:lnTo>
                      <a:pt x="562" y="546"/>
                    </a:lnTo>
                    <a:lnTo>
                      <a:pt x="561" y="546"/>
                    </a:lnTo>
                    <a:close/>
                    <a:moveTo>
                      <a:pt x="486" y="512"/>
                    </a:moveTo>
                    <a:lnTo>
                      <a:pt x="487" y="512"/>
                    </a:lnTo>
                    <a:lnTo>
                      <a:pt x="486" y="512"/>
                    </a:lnTo>
                    <a:close/>
                    <a:moveTo>
                      <a:pt x="360" y="416"/>
                    </a:moveTo>
                    <a:lnTo>
                      <a:pt x="360" y="417"/>
                    </a:lnTo>
                    <a:lnTo>
                      <a:pt x="360" y="416"/>
                    </a:lnTo>
                    <a:close/>
                    <a:moveTo>
                      <a:pt x="493" y="390"/>
                    </a:moveTo>
                    <a:lnTo>
                      <a:pt x="494" y="390"/>
                    </a:lnTo>
                    <a:lnTo>
                      <a:pt x="494" y="391"/>
                    </a:lnTo>
                    <a:lnTo>
                      <a:pt x="493" y="391"/>
                    </a:lnTo>
                    <a:lnTo>
                      <a:pt x="493" y="390"/>
                    </a:lnTo>
                    <a:close/>
                    <a:moveTo>
                      <a:pt x="499" y="453"/>
                    </a:moveTo>
                    <a:lnTo>
                      <a:pt x="500" y="453"/>
                    </a:lnTo>
                    <a:lnTo>
                      <a:pt x="499" y="453"/>
                    </a:lnTo>
                    <a:close/>
                    <a:moveTo>
                      <a:pt x="420" y="371"/>
                    </a:moveTo>
                    <a:lnTo>
                      <a:pt x="421" y="371"/>
                    </a:lnTo>
                    <a:lnTo>
                      <a:pt x="420" y="371"/>
                    </a:lnTo>
                    <a:close/>
                    <a:moveTo>
                      <a:pt x="272" y="413"/>
                    </a:moveTo>
                    <a:lnTo>
                      <a:pt x="274" y="413"/>
                    </a:lnTo>
                    <a:lnTo>
                      <a:pt x="274" y="414"/>
                    </a:lnTo>
                    <a:lnTo>
                      <a:pt x="272" y="414"/>
                    </a:lnTo>
                    <a:lnTo>
                      <a:pt x="272" y="413"/>
                    </a:lnTo>
                    <a:close/>
                    <a:moveTo>
                      <a:pt x="333" y="467"/>
                    </a:moveTo>
                    <a:lnTo>
                      <a:pt x="334" y="467"/>
                    </a:lnTo>
                    <a:lnTo>
                      <a:pt x="333" y="467"/>
                    </a:lnTo>
                    <a:close/>
                    <a:moveTo>
                      <a:pt x="503" y="448"/>
                    </a:moveTo>
                    <a:lnTo>
                      <a:pt x="504" y="448"/>
                    </a:lnTo>
                    <a:lnTo>
                      <a:pt x="503" y="448"/>
                    </a:lnTo>
                    <a:close/>
                    <a:moveTo>
                      <a:pt x="271" y="424"/>
                    </a:moveTo>
                    <a:lnTo>
                      <a:pt x="272" y="424"/>
                    </a:lnTo>
                    <a:lnTo>
                      <a:pt x="272" y="425"/>
                    </a:lnTo>
                    <a:lnTo>
                      <a:pt x="271" y="425"/>
                    </a:lnTo>
                    <a:lnTo>
                      <a:pt x="271" y="424"/>
                    </a:lnTo>
                    <a:close/>
                    <a:moveTo>
                      <a:pt x="499" y="472"/>
                    </a:moveTo>
                    <a:lnTo>
                      <a:pt x="500" y="472"/>
                    </a:lnTo>
                    <a:lnTo>
                      <a:pt x="499" y="472"/>
                    </a:lnTo>
                    <a:close/>
                    <a:moveTo>
                      <a:pt x="457" y="525"/>
                    </a:moveTo>
                    <a:lnTo>
                      <a:pt x="455" y="527"/>
                    </a:lnTo>
                    <a:lnTo>
                      <a:pt x="457" y="525"/>
                    </a:lnTo>
                    <a:lnTo>
                      <a:pt x="457" y="523"/>
                    </a:lnTo>
                    <a:lnTo>
                      <a:pt x="457" y="525"/>
                    </a:lnTo>
                    <a:close/>
                    <a:moveTo>
                      <a:pt x="448" y="528"/>
                    </a:moveTo>
                    <a:lnTo>
                      <a:pt x="449" y="528"/>
                    </a:lnTo>
                    <a:lnTo>
                      <a:pt x="448" y="528"/>
                    </a:lnTo>
                    <a:close/>
                    <a:moveTo>
                      <a:pt x="239" y="222"/>
                    </a:moveTo>
                    <a:lnTo>
                      <a:pt x="240" y="222"/>
                    </a:lnTo>
                    <a:lnTo>
                      <a:pt x="240" y="223"/>
                    </a:lnTo>
                    <a:lnTo>
                      <a:pt x="239" y="223"/>
                    </a:lnTo>
                    <a:lnTo>
                      <a:pt x="239" y="222"/>
                    </a:lnTo>
                    <a:close/>
                    <a:moveTo>
                      <a:pt x="445" y="370"/>
                    </a:moveTo>
                    <a:lnTo>
                      <a:pt x="447" y="370"/>
                    </a:lnTo>
                    <a:lnTo>
                      <a:pt x="445" y="370"/>
                    </a:lnTo>
                    <a:close/>
                    <a:moveTo>
                      <a:pt x="426" y="393"/>
                    </a:moveTo>
                    <a:lnTo>
                      <a:pt x="426" y="395"/>
                    </a:lnTo>
                    <a:lnTo>
                      <a:pt x="426" y="393"/>
                    </a:lnTo>
                    <a:close/>
                    <a:moveTo>
                      <a:pt x="462" y="443"/>
                    </a:moveTo>
                    <a:lnTo>
                      <a:pt x="462" y="444"/>
                    </a:lnTo>
                    <a:lnTo>
                      <a:pt x="462" y="443"/>
                    </a:lnTo>
                    <a:close/>
                    <a:moveTo>
                      <a:pt x="323" y="351"/>
                    </a:moveTo>
                    <a:lnTo>
                      <a:pt x="324" y="351"/>
                    </a:lnTo>
                    <a:lnTo>
                      <a:pt x="323" y="351"/>
                    </a:lnTo>
                    <a:close/>
                    <a:moveTo>
                      <a:pt x="549" y="512"/>
                    </a:moveTo>
                    <a:lnTo>
                      <a:pt x="550" y="512"/>
                    </a:lnTo>
                    <a:lnTo>
                      <a:pt x="549" y="512"/>
                    </a:lnTo>
                    <a:close/>
                    <a:moveTo>
                      <a:pt x="500" y="452"/>
                    </a:moveTo>
                    <a:lnTo>
                      <a:pt x="501" y="452"/>
                    </a:lnTo>
                    <a:lnTo>
                      <a:pt x="500" y="452"/>
                    </a:lnTo>
                    <a:close/>
                    <a:moveTo>
                      <a:pt x="474" y="426"/>
                    </a:moveTo>
                    <a:lnTo>
                      <a:pt x="475" y="426"/>
                    </a:lnTo>
                    <a:lnTo>
                      <a:pt x="475" y="427"/>
                    </a:lnTo>
                    <a:lnTo>
                      <a:pt x="474" y="427"/>
                    </a:lnTo>
                    <a:lnTo>
                      <a:pt x="474" y="426"/>
                    </a:lnTo>
                    <a:close/>
                    <a:moveTo>
                      <a:pt x="502" y="426"/>
                    </a:moveTo>
                    <a:lnTo>
                      <a:pt x="503" y="426"/>
                    </a:lnTo>
                    <a:lnTo>
                      <a:pt x="503" y="427"/>
                    </a:lnTo>
                    <a:lnTo>
                      <a:pt x="502" y="427"/>
                    </a:lnTo>
                    <a:lnTo>
                      <a:pt x="502" y="426"/>
                    </a:lnTo>
                    <a:close/>
                    <a:moveTo>
                      <a:pt x="452" y="523"/>
                    </a:moveTo>
                    <a:lnTo>
                      <a:pt x="449" y="521"/>
                    </a:lnTo>
                    <a:lnTo>
                      <a:pt x="451" y="523"/>
                    </a:lnTo>
                    <a:lnTo>
                      <a:pt x="452" y="523"/>
                    </a:lnTo>
                    <a:close/>
                    <a:moveTo>
                      <a:pt x="178" y="408"/>
                    </a:moveTo>
                    <a:lnTo>
                      <a:pt x="179" y="408"/>
                    </a:lnTo>
                    <a:lnTo>
                      <a:pt x="178" y="408"/>
                    </a:lnTo>
                    <a:close/>
                    <a:moveTo>
                      <a:pt x="499" y="567"/>
                    </a:moveTo>
                    <a:lnTo>
                      <a:pt x="500" y="567"/>
                    </a:lnTo>
                    <a:lnTo>
                      <a:pt x="499" y="567"/>
                    </a:lnTo>
                    <a:close/>
                    <a:moveTo>
                      <a:pt x="462" y="610"/>
                    </a:moveTo>
                    <a:lnTo>
                      <a:pt x="463" y="610"/>
                    </a:lnTo>
                    <a:lnTo>
                      <a:pt x="463" y="611"/>
                    </a:lnTo>
                    <a:lnTo>
                      <a:pt x="462" y="611"/>
                    </a:lnTo>
                    <a:lnTo>
                      <a:pt x="462" y="610"/>
                    </a:lnTo>
                    <a:close/>
                    <a:moveTo>
                      <a:pt x="272" y="395"/>
                    </a:moveTo>
                    <a:lnTo>
                      <a:pt x="274" y="395"/>
                    </a:lnTo>
                    <a:lnTo>
                      <a:pt x="272" y="395"/>
                    </a:lnTo>
                    <a:close/>
                    <a:moveTo>
                      <a:pt x="276" y="430"/>
                    </a:moveTo>
                    <a:lnTo>
                      <a:pt x="277" y="430"/>
                    </a:lnTo>
                    <a:lnTo>
                      <a:pt x="277" y="431"/>
                    </a:lnTo>
                    <a:lnTo>
                      <a:pt x="276" y="431"/>
                    </a:lnTo>
                    <a:lnTo>
                      <a:pt x="276" y="430"/>
                    </a:lnTo>
                    <a:close/>
                    <a:moveTo>
                      <a:pt x="223" y="222"/>
                    </a:moveTo>
                    <a:lnTo>
                      <a:pt x="225" y="222"/>
                    </a:lnTo>
                    <a:lnTo>
                      <a:pt x="223" y="222"/>
                    </a:lnTo>
                    <a:close/>
                    <a:moveTo>
                      <a:pt x="409" y="367"/>
                    </a:moveTo>
                    <a:lnTo>
                      <a:pt x="410" y="367"/>
                    </a:lnTo>
                    <a:lnTo>
                      <a:pt x="410" y="369"/>
                    </a:lnTo>
                    <a:lnTo>
                      <a:pt x="409" y="369"/>
                    </a:lnTo>
                    <a:lnTo>
                      <a:pt x="409" y="367"/>
                    </a:lnTo>
                    <a:close/>
                    <a:moveTo>
                      <a:pt x="483" y="418"/>
                    </a:moveTo>
                    <a:lnTo>
                      <a:pt x="484" y="418"/>
                    </a:lnTo>
                    <a:lnTo>
                      <a:pt x="484" y="420"/>
                    </a:lnTo>
                    <a:lnTo>
                      <a:pt x="483" y="420"/>
                    </a:lnTo>
                    <a:lnTo>
                      <a:pt x="483" y="418"/>
                    </a:lnTo>
                    <a:close/>
                    <a:moveTo>
                      <a:pt x="397" y="365"/>
                    </a:moveTo>
                    <a:lnTo>
                      <a:pt x="399" y="365"/>
                    </a:lnTo>
                    <a:lnTo>
                      <a:pt x="397" y="365"/>
                    </a:lnTo>
                    <a:close/>
                    <a:moveTo>
                      <a:pt x="415" y="387"/>
                    </a:moveTo>
                    <a:lnTo>
                      <a:pt x="416" y="387"/>
                    </a:lnTo>
                    <a:lnTo>
                      <a:pt x="415" y="387"/>
                    </a:lnTo>
                    <a:close/>
                    <a:moveTo>
                      <a:pt x="420" y="391"/>
                    </a:moveTo>
                    <a:lnTo>
                      <a:pt x="421" y="391"/>
                    </a:lnTo>
                    <a:lnTo>
                      <a:pt x="420" y="391"/>
                    </a:lnTo>
                    <a:close/>
                    <a:moveTo>
                      <a:pt x="499" y="465"/>
                    </a:moveTo>
                    <a:lnTo>
                      <a:pt x="500" y="465"/>
                    </a:lnTo>
                    <a:lnTo>
                      <a:pt x="499" y="465"/>
                    </a:lnTo>
                    <a:close/>
                    <a:moveTo>
                      <a:pt x="503" y="435"/>
                    </a:moveTo>
                    <a:lnTo>
                      <a:pt x="504" y="435"/>
                    </a:lnTo>
                    <a:lnTo>
                      <a:pt x="504" y="436"/>
                    </a:lnTo>
                    <a:lnTo>
                      <a:pt x="503" y="436"/>
                    </a:lnTo>
                    <a:lnTo>
                      <a:pt x="503" y="435"/>
                    </a:lnTo>
                    <a:close/>
                    <a:moveTo>
                      <a:pt x="281" y="431"/>
                    </a:moveTo>
                    <a:lnTo>
                      <a:pt x="282" y="431"/>
                    </a:lnTo>
                    <a:lnTo>
                      <a:pt x="281" y="431"/>
                    </a:lnTo>
                    <a:close/>
                    <a:moveTo>
                      <a:pt x="488" y="418"/>
                    </a:moveTo>
                    <a:lnTo>
                      <a:pt x="489" y="418"/>
                    </a:lnTo>
                    <a:lnTo>
                      <a:pt x="489" y="420"/>
                    </a:lnTo>
                    <a:lnTo>
                      <a:pt x="488" y="420"/>
                    </a:lnTo>
                    <a:lnTo>
                      <a:pt x="488" y="418"/>
                    </a:lnTo>
                    <a:close/>
                    <a:moveTo>
                      <a:pt x="335" y="469"/>
                    </a:moveTo>
                    <a:lnTo>
                      <a:pt x="336" y="469"/>
                    </a:lnTo>
                    <a:lnTo>
                      <a:pt x="335" y="469"/>
                    </a:lnTo>
                    <a:close/>
                    <a:moveTo>
                      <a:pt x="499" y="439"/>
                    </a:moveTo>
                    <a:lnTo>
                      <a:pt x="500" y="439"/>
                    </a:lnTo>
                    <a:lnTo>
                      <a:pt x="500" y="440"/>
                    </a:lnTo>
                    <a:lnTo>
                      <a:pt x="499" y="440"/>
                    </a:lnTo>
                    <a:lnTo>
                      <a:pt x="499" y="439"/>
                    </a:lnTo>
                    <a:close/>
                    <a:moveTo>
                      <a:pt x="422" y="376"/>
                    </a:moveTo>
                    <a:lnTo>
                      <a:pt x="423" y="376"/>
                    </a:lnTo>
                    <a:lnTo>
                      <a:pt x="423" y="377"/>
                    </a:lnTo>
                    <a:lnTo>
                      <a:pt x="422" y="377"/>
                    </a:lnTo>
                    <a:lnTo>
                      <a:pt x="422" y="376"/>
                    </a:lnTo>
                    <a:close/>
                    <a:moveTo>
                      <a:pt x="344" y="462"/>
                    </a:moveTo>
                    <a:lnTo>
                      <a:pt x="344" y="463"/>
                    </a:lnTo>
                    <a:lnTo>
                      <a:pt x="344" y="462"/>
                    </a:lnTo>
                    <a:close/>
                    <a:moveTo>
                      <a:pt x="201" y="401"/>
                    </a:moveTo>
                    <a:lnTo>
                      <a:pt x="203" y="401"/>
                    </a:lnTo>
                    <a:lnTo>
                      <a:pt x="203" y="402"/>
                    </a:lnTo>
                    <a:lnTo>
                      <a:pt x="201" y="402"/>
                    </a:lnTo>
                    <a:lnTo>
                      <a:pt x="201" y="401"/>
                    </a:lnTo>
                    <a:close/>
                    <a:moveTo>
                      <a:pt x="419" y="376"/>
                    </a:moveTo>
                    <a:lnTo>
                      <a:pt x="419" y="377"/>
                    </a:lnTo>
                    <a:lnTo>
                      <a:pt x="419" y="376"/>
                    </a:lnTo>
                    <a:close/>
                    <a:moveTo>
                      <a:pt x="504" y="442"/>
                    </a:moveTo>
                    <a:lnTo>
                      <a:pt x="505" y="442"/>
                    </a:lnTo>
                    <a:lnTo>
                      <a:pt x="505" y="443"/>
                    </a:lnTo>
                    <a:lnTo>
                      <a:pt x="504" y="443"/>
                    </a:lnTo>
                    <a:lnTo>
                      <a:pt x="504" y="442"/>
                    </a:lnTo>
                    <a:close/>
                    <a:moveTo>
                      <a:pt x="501" y="442"/>
                    </a:moveTo>
                    <a:lnTo>
                      <a:pt x="501" y="443"/>
                    </a:lnTo>
                    <a:lnTo>
                      <a:pt x="501" y="442"/>
                    </a:lnTo>
                    <a:close/>
                    <a:moveTo>
                      <a:pt x="318" y="450"/>
                    </a:moveTo>
                    <a:lnTo>
                      <a:pt x="318" y="451"/>
                    </a:lnTo>
                    <a:lnTo>
                      <a:pt x="318" y="450"/>
                    </a:lnTo>
                    <a:close/>
                    <a:moveTo>
                      <a:pt x="459" y="615"/>
                    </a:moveTo>
                    <a:lnTo>
                      <a:pt x="460" y="615"/>
                    </a:lnTo>
                    <a:lnTo>
                      <a:pt x="460" y="616"/>
                    </a:lnTo>
                    <a:lnTo>
                      <a:pt x="459" y="616"/>
                    </a:lnTo>
                    <a:lnTo>
                      <a:pt x="459" y="615"/>
                    </a:lnTo>
                    <a:close/>
                    <a:moveTo>
                      <a:pt x="194" y="395"/>
                    </a:moveTo>
                    <a:lnTo>
                      <a:pt x="195" y="395"/>
                    </a:lnTo>
                    <a:lnTo>
                      <a:pt x="194" y="395"/>
                    </a:lnTo>
                    <a:close/>
                    <a:moveTo>
                      <a:pt x="339" y="467"/>
                    </a:moveTo>
                    <a:lnTo>
                      <a:pt x="339" y="468"/>
                    </a:lnTo>
                    <a:lnTo>
                      <a:pt x="339" y="467"/>
                    </a:lnTo>
                    <a:close/>
                    <a:moveTo>
                      <a:pt x="486" y="450"/>
                    </a:moveTo>
                    <a:lnTo>
                      <a:pt x="487" y="450"/>
                    </a:lnTo>
                    <a:lnTo>
                      <a:pt x="486" y="450"/>
                    </a:lnTo>
                    <a:close/>
                    <a:moveTo>
                      <a:pt x="394" y="374"/>
                    </a:moveTo>
                    <a:lnTo>
                      <a:pt x="395" y="374"/>
                    </a:lnTo>
                    <a:lnTo>
                      <a:pt x="394" y="374"/>
                    </a:lnTo>
                    <a:close/>
                    <a:moveTo>
                      <a:pt x="493" y="567"/>
                    </a:moveTo>
                    <a:lnTo>
                      <a:pt x="493" y="568"/>
                    </a:lnTo>
                    <a:lnTo>
                      <a:pt x="493" y="567"/>
                    </a:lnTo>
                    <a:close/>
                    <a:moveTo>
                      <a:pt x="157" y="337"/>
                    </a:moveTo>
                    <a:lnTo>
                      <a:pt x="158" y="337"/>
                    </a:lnTo>
                    <a:lnTo>
                      <a:pt x="157" y="337"/>
                    </a:lnTo>
                    <a:close/>
                    <a:moveTo>
                      <a:pt x="451" y="523"/>
                    </a:moveTo>
                    <a:lnTo>
                      <a:pt x="449" y="521"/>
                    </a:lnTo>
                    <a:lnTo>
                      <a:pt x="451" y="523"/>
                    </a:lnTo>
                    <a:close/>
                    <a:moveTo>
                      <a:pt x="565" y="541"/>
                    </a:moveTo>
                    <a:lnTo>
                      <a:pt x="566" y="541"/>
                    </a:lnTo>
                    <a:lnTo>
                      <a:pt x="565" y="541"/>
                    </a:lnTo>
                    <a:close/>
                    <a:moveTo>
                      <a:pt x="422" y="373"/>
                    </a:moveTo>
                    <a:lnTo>
                      <a:pt x="423" y="373"/>
                    </a:lnTo>
                    <a:lnTo>
                      <a:pt x="423" y="374"/>
                    </a:lnTo>
                    <a:lnTo>
                      <a:pt x="422" y="374"/>
                    </a:lnTo>
                    <a:lnTo>
                      <a:pt x="422" y="373"/>
                    </a:lnTo>
                    <a:close/>
                    <a:moveTo>
                      <a:pt x="553" y="545"/>
                    </a:moveTo>
                    <a:lnTo>
                      <a:pt x="554" y="545"/>
                    </a:lnTo>
                    <a:lnTo>
                      <a:pt x="553" y="545"/>
                    </a:lnTo>
                    <a:close/>
                    <a:moveTo>
                      <a:pt x="194" y="393"/>
                    </a:moveTo>
                    <a:lnTo>
                      <a:pt x="194" y="395"/>
                    </a:lnTo>
                    <a:lnTo>
                      <a:pt x="194" y="393"/>
                    </a:lnTo>
                    <a:close/>
                    <a:moveTo>
                      <a:pt x="177" y="351"/>
                    </a:moveTo>
                    <a:lnTo>
                      <a:pt x="178" y="351"/>
                    </a:lnTo>
                    <a:lnTo>
                      <a:pt x="178" y="352"/>
                    </a:lnTo>
                    <a:lnTo>
                      <a:pt x="177" y="352"/>
                    </a:lnTo>
                    <a:lnTo>
                      <a:pt x="177" y="351"/>
                    </a:lnTo>
                    <a:close/>
                    <a:moveTo>
                      <a:pt x="506" y="454"/>
                    </a:moveTo>
                    <a:lnTo>
                      <a:pt x="507" y="454"/>
                    </a:lnTo>
                    <a:lnTo>
                      <a:pt x="506" y="454"/>
                    </a:lnTo>
                    <a:close/>
                    <a:moveTo>
                      <a:pt x="252" y="393"/>
                    </a:moveTo>
                    <a:lnTo>
                      <a:pt x="254" y="393"/>
                    </a:lnTo>
                    <a:lnTo>
                      <a:pt x="252" y="393"/>
                    </a:lnTo>
                    <a:close/>
                    <a:moveTo>
                      <a:pt x="421" y="370"/>
                    </a:moveTo>
                    <a:lnTo>
                      <a:pt x="421" y="371"/>
                    </a:lnTo>
                    <a:lnTo>
                      <a:pt x="421" y="370"/>
                    </a:lnTo>
                    <a:close/>
                    <a:moveTo>
                      <a:pt x="492" y="568"/>
                    </a:moveTo>
                    <a:lnTo>
                      <a:pt x="494" y="568"/>
                    </a:lnTo>
                    <a:lnTo>
                      <a:pt x="492" y="568"/>
                    </a:lnTo>
                    <a:close/>
                    <a:moveTo>
                      <a:pt x="150" y="403"/>
                    </a:moveTo>
                    <a:lnTo>
                      <a:pt x="151" y="403"/>
                    </a:lnTo>
                    <a:lnTo>
                      <a:pt x="151" y="404"/>
                    </a:lnTo>
                    <a:lnTo>
                      <a:pt x="150" y="404"/>
                    </a:lnTo>
                    <a:lnTo>
                      <a:pt x="150" y="403"/>
                    </a:lnTo>
                    <a:close/>
                    <a:moveTo>
                      <a:pt x="154" y="390"/>
                    </a:moveTo>
                    <a:lnTo>
                      <a:pt x="155" y="390"/>
                    </a:lnTo>
                    <a:lnTo>
                      <a:pt x="155" y="391"/>
                    </a:lnTo>
                    <a:lnTo>
                      <a:pt x="154" y="391"/>
                    </a:lnTo>
                    <a:lnTo>
                      <a:pt x="154" y="390"/>
                    </a:lnTo>
                    <a:close/>
                    <a:moveTo>
                      <a:pt x="186" y="346"/>
                    </a:moveTo>
                    <a:lnTo>
                      <a:pt x="186" y="347"/>
                    </a:lnTo>
                    <a:lnTo>
                      <a:pt x="186" y="346"/>
                    </a:lnTo>
                    <a:close/>
                    <a:moveTo>
                      <a:pt x="252" y="378"/>
                    </a:moveTo>
                    <a:lnTo>
                      <a:pt x="253" y="378"/>
                    </a:lnTo>
                    <a:lnTo>
                      <a:pt x="253" y="379"/>
                    </a:lnTo>
                    <a:lnTo>
                      <a:pt x="252" y="379"/>
                    </a:lnTo>
                    <a:lnTo>
                      <a:pt x="252" y="378"/>
                    </a:lnTo>
                    <a:close/>
                    <a:moveTo>
                      <a:pt x="418" y="384"/>
                    </a:moveTo>
                    <a:lnTo>
                      <a:pt x="419" y="384"/>
                    </a:lnTo>
                    <a:lnTo>
                      <a:pt x="419" y="385"/>
                    </a:lnTo>
                    <a:lnTo>
                      <a:pt x="418" y="385"/>
                    </a:lnTo>
                    <a:lnTo>
                      <a:pt x="418" y="384"/>
                    </a:lnTo>
                    <a:close/>
                    <a:moveTo>
                      <a:pt x="546" y="466"/>
                    </a:moveTo>
                    <a:lnTo>
                      <a:pt x="546" y="467"/>
                    </a:lnTo>
                    <a:lnTo>
                      <a:pt x="546" y="466"/>
                    </a:lnTo>
                    <a:close/>
                    <a:moveTo>
                      <a:pt x="413" y="378"/>
                    </a:moveTo>
                    <a:lnTo>
                      <a:pt x="414" y="378"/>
                    </a:lnTo>
                    <a:lnTo>
                      <a:pt x="413" y="378"/>
                    </a:lnTo>
                    <a:close/>
                    <a:moveTo>
                      <a:pt x="220" y="400"/>
                    </a:moveTo>
                    <a:lnTo>
                      <a:pt x="221" y="400"/>
                    </a:lnTo>
                    <a:lnTo>
                      <a:pt x="221" y="401"/>
                    </a:lnTo>
                    <a:lnTo>
                      <a:pt x="220" y="401"/>
                    </a:lnTo>
                    <a:lnTo>
                      <a:pt x="220" y="400"/>
                    </a:lnTo>
                    <a:close/>
                    <a:moveTo>
                      <a:pt x="490" y="421"/>
                    </a:moveTo>
                    <a:lnTo>
                      <a:pt x="491" y="421"/>
                    </a:lnTo>
                    <a:lnTo>
                      <a:pt x="490" y="421"/>
                    </a:lnTo>
                    <a:close/>
                    <a:moveTo>
                      <a:pt x="321" y="465"/>
                    </a:moveTo>
                    <a:lnTo>
                      <a:pt x="322" y="465"/>
                    </a:lnTo>
                    <a:lnTo>
                      <a:pt x="322" y="466"/>
                    </a:lnTo>
                    <a:lnTo>
                      <a:pt x="321" y="466"/>
                    </a:lnTo>
                    <a:lnTo>
                      <a:pt x="321" y="465"/>
                    </a:lnTo>
                    <a:close/>
                    <a:moveTo>
                      <a:pt x="253" y="379"/>
                    </a:moveTo>
                    <a:lnTo>
                      <a:pt x="254" y="379"/>
                    </a:lnTo>
                    <a:lnTo>
                      <a:pt x="254" y="380"/>
                    </a:lnTo>
                    <a:lnTo>
                      <a:pt x="253" y="380"/>
                    </a:lnTo>
                    <a:lnTo>
                      <a:pt x="253" y="379"/>
                    </a:lnTo>
                    <a:close/>
                    <a:moveTo>
                      <a:pt x="438" y="369"/>
                    </a:moveTo>
                    <a:lnTo>
                      <a:pt x="438" y="370"/>
                    </a:lnTo>
                    <a:lnTo>
                      <a:pt x="438" y="369"/>
                    </a:lnTo>
                    <a:close/>
                    <a:moveTo>
                      <a:pt x="578" y="498"/>
                    </a:moveTo>
                    <a:lnTo>
                      <a:pt x="579" y="498"/>
                    </a:lnTo>
                    <a:lnTo>
                      <a:pt x="578" y="498"/>
                    </a:lnTo>
                    <a:close/>
                    <a:moveTo>
                      <a:pt x="501" y="457"/>
                    </a:moveTo>
                    <a:lnTo>
                      <a:pt x="501" y="459"/>
                    </a:lnTo>
                    <a:lnTo>
                      <a:pt x="501" y="457"/>
                    </a:lnTo>
                    <a:close/>
                    <a:moveTo>
                      <a:pt x="549" y="513"/>
                    </a:moveTo>
                    <a:lnTo>
                      <a:pt x="550" y="513"/>
                    </a:lnTo>
                    <a:lnTo>
                      <a:pt x="550" y="514"/>
                    </a:lnTo>
                    <a:lnTo>
                      <a:pt x="549" y="514"/>
                    </a:lnTo>
                    <a:lnTo>
                      <a:pt x="549" y="513"/>
                    </a:lnTo>
                    <a:close/>
                    <a:moveTo>
                      <a:pt x="433" y="388"/>
                    </a:moveTo>
                    <a:lnTo>
                      <a:pt x="434" y="388"/>
                    </a:lnTo>
                    <a:lnTo>
                      <a:pt x="434" y="389"/>
                    </a:lnTo>
                    <a:lnTo>
                      <a:pt x="433" y="389"/>
                    </a:lnTo>
                    <a:lnTo>
                      <a:pt x="433" y="388"/>
                    </a:lnTo>
                    <a:close/>
                    <a:moveTo>
                      <a:pt x="413" y="378"/>
                    </a:moveTo>
                    <a:lnTo>
                      <a:pt x="414" y="378"/>
                    </a:lnTo>
                    <a:lnTo>
                      <a:pt x="413" y="378"/>
                    </a:lnTo>
                    <a:close/>
                    <a:moveTo>
                      <a:pt x="542" y="538"/>
                    </a:moveTo>
                    <a:lnTo>
                      <a:pt x="543" y="538"/>
                    </a:lnTo>
                    <a:lnTo>
                      <a:pt x="543" y="539"/>
                    </a:lnTo>
                    <a:lnTo>
                      <a:pt x="542" y="539"/>
                    </a:lnTo>
                    <a:lnTo>
                      <a:pt x="542" y="538"/>
                    </a:lnTo>
                    <a:close/>
                    <a:moveTo>
                      <a:pt x="416" y="376"/>
                    </a:moveTo>
                    <a:lnTo>
                      <a:pt x="418" y="376"/>
                    </a:lnTo>
                    <a:lnTo>
                      <a:pt x="418" y="377"/>
                    </a:lnTo>
                    <a:lnTo>
                      <a:pt x="416" y="377"/>
                    </a:lnTo>
                    <a:lnTo>
                      <a:pt x="416" y="376"/>
                    </a:lnTo>
                    <a:close/>
                    <a:moveTo>
                      <a:pt x="223" y="404"/>
                    </a:moveTo>
                    <a:lnTo>
                      <a:pt x="225" y="404"/>
                    </a:lnTo>
                    <a:lnTo>
                      <a:pt x="223" y="404"/>
                    </a:lnTo>
                    <a:close/>
                    <a:moveTo>
                      <a:pt x="474" y="429"/>
                    </a:moveTo>
                    <a:lnTo>
                      <a:pt x="474" y="430"/>
                    </a:lnTo>
                    <a:lnTo>
                      <a:pt x="474" y="429"/>
                    </a:lnTo>
                    <a:close/>
                    <a:moveTo>
                      <a:pt x="283" y="259"/>
                    </a:moveTo>
                    <a:lnTo>
                      <a:pt x="284" y="259"/>
                    </a:lnTo>
                    <a:lnTo>
                      <a:pt x="283" y="259"/>
                    </a:lnTo>
                    <a:close/>
                    <a:moveTo>
                      <a:pt x="223" y="405"/>
                    </a:moveTo>
                    <a:lnTo>
                      <a:pt x="225" y="405"/>
                    </a:lnTo>
                    <a:lnTo>
                      <a:pt x="223" y="405"/>
                    </a:lnTo>
                    <a:close/>
                    <a:moveTo>
                      <a:pt x="504" y="437"/>
                    </a:moveTo>
                    <a:lnTo>
                      <a:pt x="505" y="437"/>
                    </a:lnTo>
                    <a:lnTo>
                      <a:pt x="505" y="438"/>
                    </a:lnTo>
                    <a:lnTo>
                      <a:pt x="504" y="438"/>
                    </a:lnTo>
                    <a:lnTo>
                      <a:pt x="504" y="437"/>
                    </a:lnTo>
                    <a:close/>
                    <a:moveTo>
                      <a:pt x="567" y="551"/>
                    </a:moveTo>
                    <a:lnTo>
                      <a:pt x="568" y="551"/>
                    </a:lnTo>
                    <a:lnTo>
                      <a:pt x="568" y="552"/>
                    </a:lnTo>
                    <a:lnTo>
                      <a:pt x="567" y="552"/>
                    </a:lnTo>
                    <a:lnTo>
                      <a:pt x="567" y="551"/>
                    </a:lnTo>
                    <a:close/>
                    <a:moveTo>
                      <a:pt x="174" y="406"/>
                    </a:moveTo>
                    <a:lnTo>
                      <a:pt x="175" y="406"/>
                    </a:lnTo>
                    <a:lnTo>
                      <a:pt x="174" y="406"/>
                    </a:lnTo>
                    <a:close/>
                    <a:moveTo>
                      <a:pt x="328" y="468"/>
                    </a:moveTo>
                    <a:lnTo>
                      <a:pt x="325" y="467"/>
                    </a:lnTo>
                    <a:lnTo>
                      <a:pt x="328" y="468"/>
                    </a:lnTo>
                    <a:close/>
                    <a:moveTo>
                      <a:pt x="257" y="385"/>
                    </a:moveTo>
                    <a:lnTo>
                      <a:pt x="258" y="385"/>
                    </a:lnTo>
                    <a:lnTo>
                      <a:pt x="257" y="385"/>
                    </a:lnTo>
                    <a:close/>
                    <a:moveTo>
                      <a:pt x="509" y="451"/>
                    </a:moveTo>
                    <a:lnTo>
                      <a:pt x="509" y="452"/>
                    </a:lnTo>
                    <a:lnTo>
                      <a:pt x="509" y="451"/>
                    </a:lnTo>
                    <a:close/>
                    <a:moveTo>
                      <a:pt x="226" y="399"/>
                    </a:moveTo>
                    <a:lnTo>
                      <a:pt x="226" y="400"/>
                    </a:lnTo>
                    <a:lnTo>
                      <a:pt x="226" y="399"/>
                    </a:lnTo>
                    <a:close/>
                    <a:moveTo>
                      <a:pt x="522" y="524"/>
                    </a:moveTo>
                    <a:lnTo>
                      <a:pt x="522" y="525"/>
                    </a:lnTo>
                    <a:lnTo>
                      <a:pt x="522" y="524"/>
                    </a:lnTo>
                    <a:close/>
                    <a:moveTo>
                      <a:pt x="501" y="453"/>
                    </a:moveTo>
                    <a:lnTo>
                      <a:pt x="502" y="453"/>
                    </a:lnTo>
                    <a:lnTo>
                      <a:pt x="502" y="454"/>
                    </a:lnTo>
                    <a:lnTo>
                      <a:pt x="501" y="454"/>
                    </a:lnTo>
                    <a:lnTo>
                      <a:pt x="501" y="453"/>
                    </a:lnTo>
                    <a:close/>
                    <a:moveTo>
                      <a:pt x="499" y="436"/>
                    </a:moveTo>
                    <a:lnTo>
                      <a:pt x="499" y="437"/>
                    </a:lnTo>
                    <a:lnTo>
                      <a:pt x="499" y="436"/>
                    </a:lnTo>
                    <a:close/>
                    <a:moveTo>
                      <a:pt x="320" y="466"/>
                    </a:moveTo>
                    <a:lnTo>
                      <a:pt x="322" y="466"/>
                    </a:lnTo>
                    <a:lnTo>
                      <a:pt x="320" y="466"/>
                    </a:lnTo>
                    <a:close/>
                    <a:moveTo>
                      <a:pt x="226" y="402"/>
                    </a:moveTo>
                    <a:lnTo>
                      <a:pt x="226" y="403"/>
                    </a:lnTo>
                    <a:lnTo>
                      <a:pt x="226" y="402"/>
                    </a:lnTo>
                    <a:close/>
                    <a:moveTo>
                      <a:pt x="489" y="425"/>
                    </a:moveTo>
                    <a:lnTo>
                      <a:pt x="490" y="425"/>
                    </a:lnTo>
                    <a:lnTo>
                      <a:pt x="490" y="426"/>
                    </a:lnTo>
                    <a:lnTo>
                      <a:pt x="489" y="426"/>
                    </a:lnTo>
                    <a:lnTo>
                      <a:pt x="489" y="425"/>
                    </a:lnTo>
                    <a:close/>
                    <a:moveTo>
                      <a:pt x="308" y="457"/>
                    </a:moveTo>
                    <a:lnTo>
                      <a:pt x="309" y="457"/>
                    </a:lnTo>
                    <a:lnTo>
                      <a:pt x="309" y="459"/>
                    </a:lnTo>
                    <a:lnTo>
                      <a:pt x="308" y="459"/>
                    </a:lnTo>
                    <a:lnTo>
                      <a:pt x="308" y="457"/>
                    </a:lnTo>
                    <a:close/>
                    <a:moveTo>
                      <a:pt x="493" y="429"/>
                    </a:moveTo>
                    <a:lnTo>
                      <a:pt x="494" y="429"/>
                    </a:lnTo>
                    <a:lnTo>
                      <a:pt x="493" y="429"/>
                    </a:lnTo>
                    <a:close/>
                    <a:moveTo>
                      <a:pt x="242" y="398"/>
                    </a:moveTo>
                    <a:lnTo>
                      <a:pt x="243" y="398"/>
                    </a:lnTo>
                    <a:lnTo>
                      <a:pt x="242" y="398"/>
                    </a:lnTo>
                    <a:close/>
                    <a:moveTo>
                      <a:pt x="457" y="619"/>
                    </a:moveTo>
                    <a:lnTo>
                      <a:pt x="458" y="619"/>
                    </a:lnTo>
                    <a:lnTo>
                      <a:pt x="458" y="620"/>
                    </a:lnTo>
                    <a:lnTo>
                      <a:pt x="457" y="620"/>
                    </a:lnTo>
                    <a:lnTo>
                      <a:pt x="457" y="619"/>
                    </a:lnTo>
                    <a:close/>
                    <a:moveTo>
                      <a:pt x="415" y="386"/>
                    </a:moveTo>
                    <a:lnTo>
                      <a:pt x="416" y="386"/>
                    </a:lnTo>
                    <a:lnTo>
                      <a:pt x="416" y="387"/>
                    </a:lnTo>
                    <a:lnTo>
                      <a:pt x="415" y="387"/>
                    </a:lnTo>
                    <a:lnTo>
                      <a:pt x="415" y="386"/>
                    </a:lnTo>
                    <a:close/>
                    <a:moveTo>
                      <a:pt x="557" y="517"/>
                    </a:moveTo>
                    <a:lnTo>
                      <a:pt x="557" y="518"/>
                    </a:lnTo>
                    <a:lnTo>
                      <a:pt x="557" y="517"/>
                    </a:lnTo>
                    <a:close/>
                    <a:moveTo>
                      <a:pt x="462" y="613"/>
                    </a:moveTo>
                    <a:lnTo>
                      <a:pt x="463" y="613"/>
                    </a:lnTo>
                    <a:lnTo>
                      <a:pt x="463" y="614"/>
                    </a:lnTo>
                    <a:lnTo>
                      <a:pt x="462" y="614"/>
                    </a:lnTo>
                    <a:lnTo>
                      <a:pt x="462" y="613"/>
                    </a:lnTo>
                    <a:close/>
                    <a:moveTo>
                      <a:pt x="565" y="563"/>
                    </a:moveTo>
                    <a:lnTo>
                      <a:pt x="566" y="563"/>
                    </a:lnTo>
                    <a:lnTo>
                      <a:pt x="566" y="564"/>
                    </a:lnTo>
                    <a:lnTo>
                      <a:pt x="565" y="564"/>
                    </a:lnTo>
                    <a:lnTo>
                      <a:pt x="565" y="563"/>
                    </a:lnTo>
                    <a:close/>
                    <a:moveTo>
                      <a:pt x="421" y="371"/>
                    </a:moveTo>
                    <a:lnTo>
                      <a:pt x="422" y="371"/>
                    </a:lnTo>
                    <a:lnTo>
                      <a:pt x="421" y="371"/>
                    </a:lnTo>
                    <a:close/>
                    <a:moveTo>
                      <a:pt x="479" y="459"/>
                    </a:moveTo>
                    <a:lnTo>
                      <a:pt x="479" y="460"/>
                    </a:lnTo>
                    <a:lnTo>
                      <a:pt x="479" y="459"/>
                    </a:lnTo>
                    <a:close/>
                    <a:moveTo>
                      <a:pt x="246" y="418"/>
                    </a:moveTo>
                    <a:lnTo>
                      <a:pt x="247" y="418"/>
                    </a:lnTo>
                    <a:lnTo>
                      <a:pt x="246" y="418"/>
                    </a:lnTo>
                    <a:close/>
                    <a:moveTo>
                      <a:pt x="210" y="414"/>
                    </a:moveTo>
                    <a:lnTo>
                      <a:pt x="212" y="414"/>
                    </a:lnTo>
                    <a:lnTo>
                      <a:pt x="210" y="414"/>
                    </a:lnTo>
                    <a:close/>
                    <a:moveTo>
                      <a:pt x="390" y="362"/>
                    </a:moveTo>
                    <a:lnTo>
                      <a:pt x="391" y="362"/>
                    </a:lnTo>
                    <a:lnTo>
                      <a:pt x="391" y="363"/>
                    </a:lnTo>
                    <a:lnTo>
                      <a:pt x="390" y="363"/>
                    </a:lnTo>
                    <a:lnTo>
                      <a:pt x="390" y="362"/>
                    </a:lnTo>
                    <a:close/>
                    <a:moveTo>
                      <a:pt x="274" y="412"/>
                    </a:moveTo>
                    <a:lnTo>
                      <a:pt x="276" y="412"/>
                    </a:lnTo>
                    <a:lnTo>
                      <a:pt x="276" y="413"/>
                    </a:lnTo>
                    <a:lnTo>
                      <a:pt x="274" y="413"/>
                    </a:lnTo>
                    <a:lnTo>
                      <a:pt x="274" y="412"/>
                    </a:lnTo>
                    <a:close/>
                    <a:moveTo>
                      <a:pt x="413" y="543"/>
                    </a:moveTo>
                    <a:lnTo>
                      <a:pt x="414" y="543"/>
                    </a:lnTo>
                    <a:lnTo>
                      <a:pt x="413" y="543"/>
                    </a:lnTo>
                    <a:close/>
                    <a:moveTo>
                      <a:pt x="360" y="416"/>
                    </a:moveTo>
                    <a:lnTo>
                      <a:pt x="361" y="416"/>
                    </a:lnTo>
                    <a:lnTo>
                      <a:pt x="361" y="417"/>
                    </a:lnTo>
                    <a:lnTo>
                      <a:pt x="360" y="417"/>
                    </a:lnTo>
                    <a:lnTo>
                      <a:pt x="360" y="416"/>
                    </a:lnTo>
                    <a:close/>
                    <a:moveTo>
                      <a:pt x="439" y="533"/>
                    </a:moveTo>
                    <a:lnTo>
                      <a:pt x="439" y="534"/>
                    </a:lnTo>
                    <a:lnTo>
                      <a:pt x="439" y="533"/>
                    </a:lnTo>
                    <a:close/>
                    <a:moveTo>
                      <a:pt x="300" y="391"/>
                    </a:moveTo>
                    <a:lnTo>
                      <a:pt x="302" y="391"/>
                    </a:lnTo>
                    <a:lnTo>
                      <a:pt x="302" y="392"/>
                    </a:lnTo>
                    <a:lnTo>
                      <a:pt x="300" y="392"/>
                    </a:lnTo>
                    <a:lnTo>
                      <a:pt x="300" y="391"/>
                    </a:lnTo>
                    <a:close/>
                    <a:moveTo>
                      <a:pt x="317" y="451"/>
                    </a:moveTo>
                    <a:lnTo>
                      <a:pt x="318" y="451"/>
                    </a:lnTo>
                    <a:lnTo>
                      <a:pt x="318" y="452"/>
                    </a:lnTo>
                    <a:lnTo>
                      <a:pt x="317" y="452"/>
                    </a:lnTo>
                    <a:lnTo>
                      <a:pt x="317" y="451"/>
                    </a:lnTo>
                    <a:close/>
                    <a:moveTo>
                      <a:pt x="457" y="468"/>
                    </a:moveTo>
                    <a:lnTo>
                      <a:pt x="458" y="468"/>
                    </a:lnTo>
                    <a:lnTo>
                      <a:pt x="458" y="469"/>
                    </a:lnTo>
                    <a:lnTo>
                      <a:pt x="457" y="469"/>
                    </a:lnTo>
                    <a:lnTo>
                      <a:pt x="457" y="468"/>
                    </a:lnTo>
                    <a:close/>
                    <a:moveTo>
                      <a:pt x="503" y="443"/>
                    </a:moveTo>
                    <a:lnTo>
                      <a:pt x="504" y="443"/>
                    </a:lnTo>
                    <a:lnTo>
                      <a:pt x="503" y="443"/>
                    </a:lnTo>
                    <a:close/>
                    <a:moveTo>
                      <a:pt x="299" y="388"/>
                    </a:moveTo>
                    <a:lnTo>
                      <a:pt x="300" y="388"/>
                    </a:lnTo>
                    <a:lnTo>
                      <a:pt x="299" y="388"/>
                    </a:lnTo>
                    <a:close/>
                    <a:moveTo>
                      <a:pt x="177" y="345"/>
                    </a:moveTo>
                    <a:lnTo>
                      <a:pt x="177" y="346"/>
                    </a:lnTo>
                    <a:lnTo>
                      <a:pt x="177" y="345"/>
                    </a:lnTo>
                    <a:close/>
                    <a:moveTo>
                      <a:pt x="442" y="372"/>
                    </a:moveTo>
                    <a:lnTo>
                      <a:pt x="442" y="373"/>
                    </a:lnTo>
                    <a:lnTo>
                      <a:pt x="442" y="372"/>
                    </a:lnTo>
                    <a:close/>
                    <a:moveTo>
                      <a:pt x="448" y="529"/>
                    </a:moveTo>
                    <a:lnTo>
                      <a:pt x="449" y="529"/>
                    </a:lnTo>
                    <a:lnTo>
                      <a:pt x="448" y="529"/>
                    </a:lnTo>
                    <a:close/>
                    <a:moveTo>
                      <a:pt x="568" y="553"/>
                    </a:moveTo>
                    <a:lnTo>
                      <a:pt x="569" y="553"/>
                    </a:lnTo>
                    <a:lnTo>
                      <a:pt x="568" y="553"/>
                    </a:lnTo>
                    <a:close/>
                    <a:moveTo>
                      <a:pt x="178" y="364"/>
                    </a:moveTo>
                    <a:lnTo>
                      <a:pt x="180" y="364"/>
                    </a:lnTo>
                    <a:lnTo>
                      <a:pt x="178" y="364"/>
                    </a:lnTo>
                    <a:close/>
                    <a:moveTo>
                      <a:pt x="571" y="556"/>
                    </a:moveTo>
                    <a:lnTo>
                      <a:pt x="571" y="557"/>
                    </a:lnTo>
                    <a:lnTo>
                      <a:pt x="571" y="556"/>
                    </a:lnTo>
                    <a:close/>
                    <a:moveTo>
                      <a:pt x="564" y="552"/>
                    </a:moveTo>
                    <a:lnTo>
                      <a:pt x="565" y="552"/>
                    </a:lnTo>
                    <a:lnTo>
                      <a:pt x="565" y="553"/>
                    </a:lnTo>
                    <a:lnTo>
                      <a:pt x="564" y="553"/>
                    </a:lnTo>
                    <a:lnTo>
                      <a:pt x="564" y="552"/>
                    </a:lnTo>
                    <a:close/>
                    <a:moveTo>
                      <a:pt x="553" y="441"/>
                    </a:moveTo>
                    <a:lnTo>
                      <a:pt x="553" y="442"/>
                    </a:lnTo>
                    <a:lnTo>
                      <a:pt x="553" y="441"/>
                    </a:lnTo>
                    <a:close/>
                    <a:moveTo>
                      <a:pt x="498" y="572"/>
                    </a:moveTo>
                    <a:lnTo>
                      <a:pt x="499" y="572"/>
                    </a:lnTo>
                    <a:lnTo>
                      <a:pt x="498" y="572"/>
                    </a:lnTo>
                    <a:close/>
                    <a:moveTo>
                      <a:pt x="502" y="433"/>
                    </a:moveTo>
                    <a:lnTo>
                      <a:pt x="502" y="434"/>
                    </a:lnTo>
                    <a:lnTo>
                      <a:pt x="502" y="433"/>
                    </a:lnTo>
                    <a:close/>
                    <a:moveTo>
                      <a:pt x="571" y="642"/>
                    </a:moveTo>
                    <a:lnTo>
                      <a:pt x="571" y="643"/>
                    </a:lnTo>
                    <a:lnTo>
                      <a:pt x="571" y="642"/>
                    </a:lnTo>
                    <a:close/>
                    <a:moveTo>
                      <a:pt x="550" y="536"/>
                    </a:moveTo>
                    <a:lnTo>
                      <a:pt x="550" y="537"/>
                    </a:lnTo>
                    <a:lnTo>
                      <a:pt x="550" y="536"/>
                    </a:lnTo>
                    <a:close/>
                    <a:moveTo>
                      <a:pt x="218" y="405"/>
                    </a:moveTo>
                    <a:lnTo>
                      <a:pt x="219" y="405"/>
                    </a:lnTo>
                    <a:lnTo>
                      <a:pt x="219" y="406"/>
                    </a:lnTo>
                    <a:lnTo>
                      <a:pt x="218" y="406"/>
                    </a:lnTo>
                    <a:lnTo>
                      <a:pt x="218" y="405"/>
                    </a:lnTo>
                    <a:close/>
                    <a:moveTo>
                      <a:pt x="502" y="464"/>
                    </a:moveTo>
                    <a:lnTo>
                      <a:pt x="503" y="464"/>
                    </a:lnTo>
                    <a:lnTo>
                      <a:pt x="503" y="465"/>
                    </a:lnTo>
                    <a:lnTo>
                      <a:pt x="502" y="465"/>
                    </a:lnTo>
                    <a:lnTo>
                      <a:pt x="502" y="464"/>
                    </a:lnTo>
                    <a:close/>
                    <a:moveTo>
                      <a:pt x="380" y="362"/>
                    </a:moveTo>
                    <a:lnTo>
                      <a:pt x="381" y="362"/>
                    </a:lnTo>
                    <a:lnTo>
                      <a:pt x="380" y="362"/>
                    </a:lnTo>
                    <a:close/>
                    <a:moveTo>
                      <a:pt x="447" y="536"/>
                    </a:moveTo>
                    <a:lnTo>
                      <a:pt x="448" y="536"/>
                    </a:lnTo>
                    <a:lnTo>
                      <a:pt x="447" y="536"/>
                    </a:lnTo>
                    <a:close/>
                    <a:moveTo>
                      <a:pt x="274" y="356"/>
                    </a:moveTo>
                    <a:lnTo>
                      <a:pt x="274" y="357"/>
                    </a:lnTo>
                    <a:lnTo>
                      <a:pt x="274" y="356"/>
                    </a:lnTo>
                    <a:close/>
                    <a:moveTo>
                      <a:pt x="236" y="226"/>
                    </a:moveTo>
                    <a:lnTo>
                      <a:pt x="238" y="226"/>
                    </a:lnTo>
                    <a:lnTo>
                      <a:pt x="236" y="226"/>
                    </a:lnTo>
                    <a:close/>
                    <a:moveTo>
                      <a:pt x="553" y="438"/>
                    </a:moveTo>
                    <a:lnTo>
                      <a:pt x="553" y="439"/>
                    </a:lnTo>
                    <a:lnTo>
                      <a:pt x="553" y="438"/>
                    </a:lnTo>
                    <a:close/>
                    <a:moveTo>
                      <a:pt x="543" y="537"/>
                    </a:moveTo>
                    <a:lnTo>
                      <a:pt x="543" y="538"/>
                    </a:lnTo>
                    <a:lnTo>
                      <a:pt x="543" y="537"/>
                    </a:lnTo>
                    <a:close/>
                    <a:moveTo>
                      <a:pt x="324" y="466"/>
                    </a:moveTo>
                    <a:lnTo>
                      <a:pt x="325" y="466"/>
                    </a:lnTo>
                    <a:lnTo>
                      <a:pt x="325" y="467"/>
                    </a:lnTo>
                    <a:lnTo>
                      <a:pt x="324" y="467"/>
                    </a:lnTo>
                    <a:lnTo>
                      <a:pt x="324" y="466"/>
                    </a:lnTo>
                    <a:close/>
                    <a:moveTo>
                      <a:pt x="245" y="222"/>
                    </a:moveTo>
                    <a:lnTo>
                      <a:pt x="245" y="223"/>
                    </a:lnTo>
                    <a:lnTo>
                      <a:pt x="245" y="222"/>
                    </a:lnTo>
                    <a:close/>
                    <a:moveTo>
                      <a:pt x="503" y="462"/>
                    </a:moveTo>
                    <a:lnTo>
                      <a:pt x="504" y="462"/>
                    </a:lnTo>
                    <a:lnTo>
                      <a:pt x="503" y="462"/>
                    </a:lnTo>
                    <a:close/>
                    <a:moveTo>
                      <a:pt x="290" y="379"/>
                    </a:moveTo>
                    <a:lnTo>
                      <a:pt x="291" y="379"/>
                    </a:lnTo>
                    <a:lnTo>
                      <a:pt x="290" y="379"/>
                    </a:lnTo>
                    <a:close/>
                    <a:moveTo>
                      <a:pt x="576" y="501"/>
                    </a:moveTo>
                    <a:lnTo>
                      <a:pt x="577" y="501"/>
                    </a:lnTo>
                    <a:lnTo>
                      <a:pt x="577" y="502"/>
                    </a:lnTo>
                    <a:lnTo>
                      <a:pt x="576" y="502"/>
                    </a:lnTo>
                    <a:lnTo>
                      <a:pt x="576" y="501"/>
                    </a:lnTo>
                    <a:close/>
                    <a:moveTo>
                      <a:pt x="492" y="393"/>
                    </a:moveTo>
                    <a:lnTo>
                      <a:pt x="493" y="393"/>
                    </a:lnTo>
                    <a:lnTo>
                      <a:pt x="493" y="395"/>
                    </a:lnTo>
                    <a:lnTo>
                      <a:pt x="492" y="395"/>
                    </a:lnTo>
                    <a:lnTo>
                      <a:pt x="492" y="393"/>
                    </a:lnTo>
                    <a:close/>
                    <a:moveTo>
                      <a:pt x="490" y="472"/>
                    </a:moveTo>
                    <a:lnTo>
                      <a:pt x="490" y="473"/>
                    </a:lnTo>
                    <a:lnTo>
                      <a:pt x="490" y="472"/>
                    </a:lnTo>
                    <a:close/>
                    <a:moveTo>
                      <a:pt x="507" y="451"/>
                    </a:moveTo>
                    <a:lnTo>
                      <a:pt x="509" y="451"/>
                    </a:lnTo>
                    <a:lnTo>
                      <a:pt x="507" y="451"/>
                    </a:lnTo>
                    <a:close/>
                    <a:moveTo>
                      <a:pt x="215" y="420"/>
                    </a:moveTo>
                    <a:lnTo>
                      <a:pt x="215" y="421"/>
                    </a:lnTo>
                    <a:lnTo>
                      <a:pt x="215" y="420"/>
                    </a:lnTo>
                    <a:close/>
                    <a:moveTo>
                      <a:pt x="207" y="402"/>
                    </a:moveTo>
                    <a:lnTo>
                      <a:pt x="207" y="403"/>
                    </a:lnTo>
                    <a:lnTo>
                      <a:pt x="207" y="402"/>
                    </a:lnTo>
                    <a:close/>
                    <a:moveTo>
                      <a:pt x="492" y="466"/>
                    </a:moveTo>
                    <a:lnTo>
                      <a:pt x="492" y="467"/>
                    </a:lnTo>
                    <a:lnTo>
                      <a:pt x="492" y="466"/>
                    </a:lnTo>
                    <a:close/>
                    <a:moveTo>
                      <a:pt x="207" y="390"/>
                    </a:moveTo>
                    <a:lnTo>
                      <a:pt x="208" y="390"/>
                    </a:lnTo>
                    <a:lnTo>
                      <a:pt x="207" y="390"/>
                    </a:lnTo>
                    <a:close/>
                    <a:moveTo>
                      <a:pt x="396" y="364"/>
                    </a:moveTo>
                    <a:lnTo>
                      <a:pt x="397" y="364"/>
                    </a:lnTo>
                    <a:lnTo>
                      <a:pt x="397" y="365"/>
                    </a:lnTo>
                    <a:lnTo>
                      <a:pt x="396" y="365"/>
                    </a:lnTo>
                    <a:lnTo>
                      <a:pt x="396" y="364"/>
                    </a:lnTo>
                    <a:close/>
                    <a:moveTo>
                      <a:pt x="484" y="545"/>
                    </a:moveTo>
                    <a:lnTo>
                      <a:pt x="484" y="546"/>
                    </a:lnTo>
                    <a:lnTo>
                      <a:pt x="484" y="545"/>
                    </a:lnTo>
                    <a:close/>
                    <a:moveTo>
                      <a:pt x="206" y="415"/>
                    </a:moveTo>
                    <a:lnTo>
                      <a:pt x="207" y="415"/>
                    </a:lnTo>
                    <a:lnTo>
                      <a:pt x="206" y="415"/>
                    </a:lnTo>
                    <a:close/>
                    <a:moveTo>
                      <a:pt x="505" y="462"/>
                    </a:moveTo>
                    <a:lnTo>
                      <a:pt x="505" y="463"/>
                    </a:lnTo>
                    <a:lnTo>
                      <a:pt x="505" y="462"/>
                    </a:lnTo>
                    <a:close/>
                    <a:moveTo>
                      <a:pt x="505" y="508"/>
                    </a:moveTo>
                    <a:lnTo>
                      <a:pt x="505" y="510"/>
                    </a:lnTo>
                    <a:lnTo>
                      <a:pt x="505" y="508"/>
                    </a:lnTo>
                    <a:close/>
                    <a:moveTo>
                      <a:pt x="475" y="425"/>
                    </a:moveTo>
                    <a:lnTo>
                      <a:pt x="476" y="425"/>
                    </a:lnTo>
                    <a:lnTo>
                      <a:pt x="475" y="425"/>
                    </a:lnTo>
                    <a:close/>
                    <a:moveTo>
                      <a:pt x="474" y="428"/>
                    </a:moveTo>
                    <a:lnTo>
                      <a:pt x="475" y="428"/>
                    </a:lnTo>
                    <a:lnTo>
                      <a:pt x="475" y="429"/>
                    </a:lnTo>
                    <a:lnTo>
                      <a:pt x="474" y="429"/>
                    </a:lnTo>
                    <a:lnTo>
                      <a:pt x="474" y="428"/>
                    </a:lnTo>
                    <a:close/>
                    <a:moveTo>
                      <a:pt x="290" y="390"/>
                    </a:moveTo>
                    <a:lnTo>
                      <a:pt x="290" y="391"/>
                    </a:lnTo>
                    <a:lnTo>
                      <a:pt x="290" y="390"/>
                    </a:lnTo>
                    <a:close/>
                    <a:moveTo>
                      <a:pt x="213" y="403"/>
                    </a:moveTo>
                    <a:lnTo>
                      <a:pt x="214" y="403"/>
                    </a:lnTo>
                    <a:lnTo>
                      <a:pt x="213" y="403"/>
                    </a:lnTo>
                    <a:close/>
                    <a:moveTo>
                      <a:pt x="230" y="399"/>
                    </a:moveTo>
                    <a:lnTo>
                      <a:pt x="231" y="399"/>
                    </a:lnTo>
                    <a:lnTo>
                      <a:pt x="230" y="399"/>
                    </a:lnTo>
                    <a:close/>
                    <a:moveTo>
                      <a:pt x="554" y="523"/>
                    </a:moveTo>
                    <a:lnTo>
                      <a:pt x="554" y="524"/>
                    </a:lnTo>
                    <a:lnTo>
                      <a:pt x="554" y="523"/>
                    </a:lnTo>
                    <a:close/>
                    <a:moveTo>
                      <a:pt x="241" y="406"/>
                    </a:moveTo>
                    <a:lnTo>
                      <a:pt x="242" y="406"/>
                    </a:lnTo>
                    <a:lnTo>
                      <a:pt x="242" y="408"/>
                    </a:lnTo>
                    <a:lnTo>
                      <a:pt x="241" y="408"/>
                    </a:lnTo>
                    <a:lnTo>
                      <a:pt x="241" y="406"/>
                    </a:lnTo>
                    <a:close/>
                    <a:moveTo>
                      <a:pt x="412" y="379"/>
                    </a:moveTo>
                    <a:lnTo>
                      <a:pt x="413" y="379"/>
                    </a:lnTo>
                    <a:lnTo>
                      <a:pt x="413" y="380"/>
                    </a:lnTo>
                    <a:lnTo>
                      <a:pt x="412" y="380"/>
                    </a:lnTo>
                    <a:lnTo>
                      <a:pt x="412" y="379"/>
                    </a:lnTo>
                    <a:close/>
                    <a:moveTo>
                      <a:pt x="460" y="614"/>
                    </a:moveTo>
                    <a:lnTo>
                      <a:pt x="461" y="614"/>
                    </a:lnTo>
                    <a:lnTo>
                      <a:pt x="461" y="615"/>
                    </a:lnTo>
                    <a:lnTo>
                      <a:pt x="460" y="615"/>
                    </a:lnTo>
                    <a:lnTo>
                      <a:pt x="460" y="614"/>
                    </a:lnTo>
                    <a:close/>
                    <a:moveTo>
                      <a:pt x="320" y="466"/>
                    </a:moveTo>
                    <a:lnTo>
                      <a:pt x="321" y="466"/>
                    </a:lnTo>
                    <a:lnTo>
                      <a:pt x="320" y="466"/>
                    </a:lnTo>
                    <a:close/>
                    <a:moveTo>
                      <a:pt x="420" y="375"/>
                    </a:moveTo>
                    <a:lnTo>
                      <a:pt x="421" y="375"/>
                    </a:lnTo>
                    <a:lnTo>
                      <a:pt x="420" y="375"/>
                    </a:lnTo>
                    <a:close/>
                    <a:moveTo>
                      <a:pt x="491" y="470"/>
                    </a:moveTo>
                    <a:lnTo>
                      <a:pt x="491" y="472"/>
                    </a:lnTo>
                    <a:lnTo>
                      <a:pt x="491" y="470"/>
                    </a:lnTo>
                    <a:close/>
                    <a:moveTo>
                      <a:pt x="333" y="470"/>
                    </a:moveTo>
                    <a:lnTo>
                      <a:pt x="334" y="470"/>
                    </a:lnTo>
                    <a:lnTo>
                      <a:pt x="333" y="470"/>
                    </a:lnTo>
                    <a:close/>
                    <a:moveTo>
                      <a:pt x="220" y="401"/>
                    </a:moveTo>
                    <a:lnTo>
                      <a:pt x="221" y="401"/>
                    </a:lnTo>
                    <a:lnTo>
                      <a:pt x="221" y="402"/>
                    </a:lnTo>
                    <a:lnTo>
                      <a:pt x="220" y="402"/>
                    </a:lnTo>
                    <a:lnTo>
                      <a:pt x="220" y="401"/>
                    </a:lnTo>
                    <a:close/>
                    <a:moveTo>
                      <a:pt x="424" y="391"/>
                    </a:moveTo>
                    <a:lnTo>
                      <a:pt x="425" y="391"/>
                    </a:lnTo>
                    <a:lnTo>
                      <a:pt x="425" y="392"/>
                    </a:lnTo>
                    <a:lnTo>
                      <a:pt x="424" y="392"/>
                    </a:lnTo>
                    <a:lnTo>
                      <a:pt x="424" y="391"/>
                    </a:lnTo>
                    <a:close/>
                    <a:moveTo>
                      <a:pt x="497" y="590"/>
                    </a:moveTo>
                    <a:lnTo>
                      <a:pt x="498" y="590"/>
                    </a:lnTo>
                    <a:lnTo>
                      <a:pt x="498" y="591"/>
                    </a:lnTo>
                    <a:lnTo>
                      <a:pt x="497" y="591"/>
                    </a:lnTo>
                    <a:lnTo>
                      <a:pt x="497" y="590"/>
                    </a:lnTo>
                    <a:close/>
                    <a:moveTo>
                      <a:pt x="551" y="550"/>
                    </a:moveTo>
                    <a:lnTo>
                      <a:pt x="551" y="551"/>
                    </a:lnTo>
                    <a:lnTo>
                      <a:pt x="551" y="550"/>
                    </a:lnTo>
                    <a:close/>
                    <a:moveTo>
                      <a:pt x="494" y="472"/>
                    </a:moveTo>
                    <a:lnTo>
                      <a:pt x="496" y="472"/>
                    </a:lnTo>
                    <a:lnTo>
                      <a:pt x="494" y="472"/>
                    </a:lnTo>
                    <a:close/>
                    <a:moveTo>
                      <a:pt x="318" y="463"/>
                    </a:moveTo>
                    <a:lnTo>
                      <a:pt x="319" y="463"/>
                    </a:lnTo>
                    <a:lnTo>
                      <a:pt x="319" y="464"/>
                    </a:lnTo>
                    <a:lnTo>
                      <a:pt x="318" y="464"/>
                    </a:lnTo>
                    <a:lnTo>
                      <a:pt x="318" y="463"/>
                    </a:lnTo>
                    <a:close/>
                    <a:moveTo>
                      <a:pt x="487" y="425"/>
                    </a:moveTo>
                    <a:lnTo>
                      <a:pt x="488" y="425"/>
                    </a:lnTo>
                    <a:lnTo>
                      <a:pt x="487" y="425"/>
                    </a:lnTo>
                    <a:close/>
                    <a:moveTo>
                      <a:pt x="291" y="391"/>
                    </a:moveTo>
                    <a:lnTo>
                      <a:pt x="292" y="391"/>
                    </a:lnTo>
                    <a:lnTo>
                      <a:pt x="292" y="392"/>
                    </a:lnTo>
                    <a:lnTo>
                      <a:pt x="291" y="392"/>
                    </a:lnTo>
                    <a:lnTo>
                      <a:pt x="291" y="391"/>
                    </a:lnTo>
                    <a:close/>
                    <a:moveTo>
                      <a:pt x="450" y="600"/>
                    </a:moveTo>
                    <a:lnTo>
                      <a:pt x="451" y="600"/>
                    </a:lnTo>
                    <a:lnTo>
                      <a:pt x="450" y="600"/>
                    </a:lnTo>
                    <a:close/>
                    <a:moveTo>
                      <a:pt x="326" y="387"/>
                    </a:moveTo>
                    <a:lnTo>
                      <a:pt x="328" y="387"/>
                    </a:lnTo>
                    <a:lnTo>
                      <a:pt x="328" y="388"/>
                    </a:lnTo>
                    <a:lnTo>
                      <a:pt x="326" y="388"/>
                    </a:lnTo>
                    <a:lnTo>
                      <a:pt x="326" y="387"/>
                    </a:lnTo>
                    <a:close/>
                    <a:moveTo>
                      <a:pt x="193" y="348"/>
                    </a:moveTo>
                    <a:lnTo>
                      <a:pt x="193" y="349"/>
                    </a:lnTo>
                    <a:lnTo>
                      <a:pt x="193" y="348"/>
                    </a:lnTo>
                    <a:close/>
                    <a:moveTo>
                      <a:pt x="483" y="424"/>
                    </a:moveTo>
                    <a:lnTo>
                      <a:pt x="484" y="424"/>
                    </a:lnTo>
                    <a:lnTo>
                      <a:pt x="483" y="424"/>
                    </a:lnTo>
                    <a:close/>
                    <a:moveTo>
                      <a:pt x="215" y="421"/>
                    </a:moveTo>
                    <a:lnTo>
                      <a:pt x="216" y="421"/>
                    </a:lnTo>
                    <a:lnTo>
                      <a:pt x="215" y="421"/>
                    </a:lnTo>
                    <a:close/>
                    <a:moveTo>
                      <a:pt x="503" y="437"/>
                    </a:moveTo>
                    <a:lnTo>
                      <a:pt x="504" y="437"/>
                    </a:lnTo>
                    <a:lnTo>
                      <a:pt x="503" y="437"/>
                    </a:lnTo>
                    <a:close/>
                    <a:moveTo>
                      <a:pt x="157" y="354"/>
                    </a:moveTo>
                    <a:lnTo>
                      <a:pt x="158" y="354"/>
                    </a:lnTo>
                    <a:lnTo>
                      <a:pt x="158" y="356"/>
                    </a:lnTo>
                    <a:lnTo>
                      <a:pt x="157" y="356"/>
                    </a:lnTo>
                    <a:lnTo>
                      <a:pt x="157" y="354"/>
                    </a:lnTo>
                    <a:close/>
                    <a:moveTo>
                      <a:pt x="580" y="568"/>
                    </a:moveTo>
                    <a:lnTo>
                      <a:pt x="581" y="568"/>
                    </a:lnTo>
                    <a:lnTo>
                      <a:pt x="581" y="569"/>
                    </a:lnTo>
                    <a:lnTo>
                      <a:pt x="580" y="569"/>
                    </a:lnTo>
                    <a:lnTo>
                      <a:pt x="580" y="568"/>
                    </a:lnTo>
                    <a:close/>
                    <a:moveTo>
                      <a:pt x="573" y="567"/>
                    </a:moveTo>
                    <a:lnTo>
                      <a:pt x="574" y="567"/>
                    </a:lnTo>
                    <a:lnTo>
                      <a:pt x="574" y="568"/>
                    </a:lnTo>
                    <a:lnTo>
                      <a:pt x="573" y="568"/>
                    </a:lnTo>
                    <a:lnTo>
                      <a:pt x="573" y="567"/>
                    </a:lnTo>
                    <a:close/>
                    <a:moveTo>
                      <a:pt x="553" y="423"/>
                    </a:moveTo>
                    <a:lnTo>
                      <a:pt x="554" y="423"/>
                    </a:lnTo>
                    <a:lnTo>
                      <a:pt x="553" y="423"/>
                    </a:lnTo>
                    <a:close/>
                    <a:moveTo>
                      <a:pt x="506" y="462"/>
                    </a:moveTo>
                    <a:lnTo>
                      <a:pt x="506" y="463"/>
                    </a:lnTo>
                    <a:lnTo>
                      <a:pt x="506" y="462"/>
                    </a:lnTo>
                    <a:close/>
                    <a:moveTo>
                      <a:pt x="276" y="416"/>
                    </a:moveTo>
                    <a:lnTo>
                      <a:pt x="277" y="416"/>
                    </a:lnTo>
                    <a:lnTo>
                      <a:pt x="277" y="417"/>
                    </a:lnTo>
                    <a:lnTo>
                      <a:pt x="276" y="417"/>
                    </a:lnTo>
                    <a:lnTo>
                      <a:pt x="276" y="416"/>
                    </a:lnTo>
                    <a:close/>
                    <a:moveTo>
                      <a:pt x="236" y="228"/>
                    </a:moveTo>
                    <a:lnTo>
                      <a:pt x="238" y="228"/>
                    </a:lnTo>
                    <a:lnTo>
                      <a:pt x="238" y="229"/>
                    </a:lnTo>
                    <a:lnTo>
                      <a:pt x="236" y="229"/>
                    </a:lnTo>
                    <a:lnTo>
                      <a:pt x="236" y="228"/>
                    </a:lnTo>
                    <a:close/>
                    <a:moveTo>
                      <a:pt x="564" y="478"/>
                    </a:moveTo>
                    <a:lnTo>
                      <a:pt x="565" y="478"/>
                    </a:lnTo>
                    <a:lnTo>
                      <a:pt x="564" y="478"/>
                    </a:lnTo>
                    <a:close/>
                    <a:moveTo>
                      <a:pt x="458" y="617"/>
                    </a:moveTo>
                    <a:lnTo>
                      <a:pt x="458" y="618"/>
                    </a:lnTo>
                    <a:lnTo>
                      <a:pt x="458" y="617"/>
                    </a:lnTo>
                    <a:close/>
                    <a:moveTo>
                      <a:pt x="195" y="348"/>
                    </a:moveTo>
                    <a:lnTo>
                      <a:pt x="195" y="349"/>
                    </a:lnTo>
                    <a:lnTo>
                      <a:pt x="195" y="348"/>
                    </a:lnTo>
                    <a:close/>
                    <a:moveTo>
                      <a:pt x="574" y="553"/>
                    </a:moveTo>
                    <a:lnTo>
                      <a:pt x="575" y="553"/>
                    </a:lnTo>
                    <a:lnTo>
                      <a:pt x="575" y="554"/>
                    </a:lnTo>
                    <a:lnTo>
                      <a:pt x="574" y="554"/>
                    </a:lnTo>
                    <a:lnTo>
                      <a:pt x="574" y="553"/>
                    </a:lnTo>
                    <a:close/>
                    <a:moveTo>
                      <a:pt x="290" y="390"/>
                    </a:moveTo>
                    <a:lnTo>
                      <a:pt x="291" y="390"/>
                    </a:lnTo>
                    <a:lnTo>
                      <a:pt x="290" y="390"/>
                    </a:lnTo>
                    <a:close/>
                    <a:moveTo>
                      <a:pt x="509" y="462"/>
                    </a:moveTo>
                    <a:lnTo>
                      <a:pt x="510" y="462"/>
                    </a:lnTo>
                    <a:lnTo>
                      <a:pt x="509" y="462"/>
                    </a:lnTo>
                    <a:close/>
                    <a:moveTo>
                      <a:pt x="500" y="436"/>
                    </a:moveTo>
                    <a:lnTo>
                      <a:pt x="501" y="436"/>
                    </a:lnTo>
                    <a:lnTo>
                      <a:pt x="500" y="436"/>
                    </a:lnTo>
                    <a:close/>
                    <a:moveTo>
                      <a:pt x="268" y="396"/>
                    </a:moveTo>
                    <a:lnTo>
                      <a:pt x="269" y="396"/>
                    </a:lnTo>
                    <a:lnTo>
                      <a:pt x="268" y="396"/>
                    </a:lnTo>
                    <a:close/>
                    <a:moveTo>
                      <a:pt x="272" y="412"/>
                    </a:moveTo>
                    <a:lnTo>
                      <a:pt x="273" y="412"/>
                    </a:lnTo>
                    <a:lnTo>
                      <a:pt x="272" y="412"/>
                    </a:lnTo>
                    <a:close/>
                    <a:moveTo>
                      <a:pt x="317" y="457"/>
                    </a:moveTo>
                    <a:lnTo>
                      <a:pt x="318" y="457"/>
                    </a:lnTo>
                    <a:lnTo>
                      <a:pt x="317" y="457"/>
                    </a:lnTo>
                    <a:close/>
                    <a:moveTo>
                      <a:pt x="497" y="582"/>
                    </a:moveTo>
                    <a:lnTo>
                      <a:pt x="497" y="583"/>
                    </a:lnTo>
                    <a:lnTo>
                      <a:pt x="497" y="582"/>
                    </a:lnTo>
                    <a:close/>
                    <a:moveTo>
                      <a:pt x="487" y="430"/>
                    </a:moveTo>
                    <a:lnTo>
                      <a:pt x="487" y="431"/>
                    </a:lnTo>
                    <a:lnTo>
                      <a:pt x="487" y="430"/>
                    </a:lnTo>
                    <a:close/>
                    <a:moveTo>
                      <a:pt x="480" y="421"/>
                    </a:moveTo>
                    <a:lnTo>
                      <a:pt x="480" y="422"/>
                    </a:lnTo>
                    <a:lnTo>
                      <a:pt x="480" y="421"/>
                    </a:lnTo>
                    <a:close/>
                    <a:moveTo>
                      <a:pt x="412" y="378"/>
                    </a:moveTo>
                    <a:lnTo>
                      <a:pt x="413" y="378"/>
                    </a:lnTo>
                    <a:lnTo>
                      <a:pt x="412" y="378"/>
                    </a:lnTo>
                    <a:close/>
                    <a:moveTo>
                      <a:pt x="270" y="399"/>
                    </a:moveTo>
                    <a:lnTo>
                      <a:pt x="271" y="399"/>
                    </a:lnTo>
                    <a:lnTo>
                      <a:pt x="271" y="400"/>
                    </a:lnTo>
                    <a:lnTo>
                      <a:pt x="270" y="400"/>
                    </a:lnTo>
                    <a:lnTo>
                      <a:pt x="270" y="399"/>
                    </a:lnTo>
                    <a:close/>
                    <a:moveTo>
                      <a:pt x="486" y="430"/>
                    </a:moveTo>
                    <a:lnTo>
                      <a:pt x="487" y="430"/>
                    </a:lnTo>
                    <a:lnTo>
                      <a:pt x="486" y="430"/>
                    </a:lnTo>
                    <a:close/>
                    <a:moveTo>
                      <a:pt x="499" y="450"/>
                    </a:moveTo>
                    <a:lnTo>
                      <a:pt x="500" y="450"/>
                    </a:lnTo>
                    <a:lnTo>
                      <a:pt x="499" y="450"/>
                    </a:lnTo>
                    <a:close/>
                    <a:moveTo>
                      <a:pt x="177" y="411"/>
                    </a:moveTo>
                    <a:lnTo>
                      <a:pt x="178" y="411"/>
                    </a:lnTo>
                    <a:lnTo>
                      <a:pt x="178" y="412"/>
                    </a:lnTo>
                    <a:lnTo>
                      <a:pt x="177" y="412"/>
                    </a:lnTo>
                    <a:lnTo>
                      <a:pt x="177" y="411"/>
                    </a:lnTo>
                    <a:close/>
                    <a:moveTo>
                      <a:pt x="447" y="397"/>
                    </a:moveTo>
                    <a:lnTo>
                      <a:pt x="448" y="397"/>
                    </a:lnTo>
                    <a:lnTo>
                      <a:pt x="447" y="397"/>
                    </a:lnTo>
                    <a:close/>
                    <a:moveTo>
                      <a:pt x="244" y="390"/>
                    </a:moveTo>
                    <a:lnTo>
                      <a:pt x="245" y="390"/>
                    </a:lnTo>
                    <a:lnTo>
                      <a:pt x="244" y="390"/>
                    </a:lnTo>
                    <a:close/>
                    <a:moveTo>
                      <a:pt x="448" y="371"/>
                    </a:moveTo>
                    <a:lnTo>
                      <a:pt x="449" y="371"/>
                    </a:lnTo>
                    <a:lnTo>
                      <a:pt x="448" y="371"/>
                    </a:lnTo>
                    <a:close/>
                    <a:moveTo>
                      <a:pt x="199" y="350"/>
                    </a:moveTo>
                    <a:lnTo>
                      <a:pt x="199" y="351"/>
                    </a:lnTo>
                    <a:lnTo>
                      <a:pt x="199" y="350"/>
                    </a:lnTo>
                    <a:close/>
                    <a:moveTo>
                      <a:pt x="219" y="403"/>
                    </a:moveTo>
                    <a:lnTo>
                      <a:pt x="220" y="403"/>
                    </a:lnTo>
                    <a:lnTo>
                      <a:pt x="220" y="404"/>
                    </a:lnTo>
                    <a:lnTo>
                      <a:pt x="219" y="404"/>
                    </a:lnTo>
                    <a:lnTo>
                      <a:pt x="219" y="403"/>
                    </a:lnTo>
                    <a:close/>
                    <a:moveTo>
                      <a:pt x="475" y="427"/>
                    </a:moveTo>
                    <a:lnTo>
                      <a:pt x="476" y="427"/>
                    </a:lnTo>
                    <a:lnTo>
                      <a:pt x="475" y="427"/>
                    </a:lnTo>
                    <a:close/>
                    <a:moveTo>
                      <a:pt x="485" y="424"/>
                    </a:moveTo>
                    <a:lnTo>
                      <a:pt x="486" y="424"/>
                    </a:lnTo>
                    <a:lnTo>
                      <a:pt x="486" y="425"/>
                    </a:lnTo>
                    <a:lnTo>
                      <a:pt x="485" y="425"/>
                    </a:lnTo>
                    <a:lnTo>
                      <a:pt x="485" y="424"/>
                    </a:lnTo>
                    <a:close/>
                    <a:moveTo>
                      <a:pt x="490" y="473"/>
                    </a:moveTo>
                    <a:lnTo>
                      <a:pt x="490" y="474"/>
                    </a:lnTo>
                    <a:lnTo>
                      <a:pt x="490" y="473"/>
                    </a:lnTo>
                    <a:close/>
                    <a:moveTo>
                      <a:pt x="494" y="569"/>
                    </a:moveTo>
                    <a:lnTo>
                      <a:pt x="496" y="569"/>
                    </a:lnTo>
                    <a:lnTo>
                      <a:pt x="494" y="569"/>
                    </a:lnTo>
                    <a:close/>
                    <a:moveTo>
                      <a:pt x="474" y="429"/>
                    </a:moveTo>
                    <a:lnTo>
                      <a:pt x="474" y="430"/>
                    </a:lnTo>
                    <a:lnTo>
                      <a:pt x="474" y="429"/>
                    </a:lnTo>
                    <a:close/>
                    <a:moveTo>
                      <a:pt x="421" y="390"/>
                    </a:moveTo>
                    <a:lnTo>
                      <a:pt x="422" y="390"/>
                    </a:lnTo>
                    <a:lnTo>
                      <a:pt x="421" y="390"/>
                    </a:lnTo>
                    <a:close/>
                    <a:moveTo>
                      <a:pt x="501" y="581"/>
                    </a:moveTo>
                    <a:lnTo>
                      <a:pt x="502" y="581"/>
                    </a:lnTo>
                    <a:lnTo>
                      <a:pt x="501" y="581"/>
                    </a:lnTo>
                    <a:close/>
                    <a:moveTo>
                      <a:pt x="570" y="556"/>
                    </a:moveTo>
                    <a:lnTo>
                      <a:pt x="571" y="556"/>
                    </a:lnTo>
                    <a:lnTo>
                      <a:pt x="570" y="556"/>
                    </a:lnTo>
                    <a:close/>
                    <a:moveTo>
                      <a:pt x="583" y="453"/>
                    </a:moveTo>
                    <a:lnTo>
                      <a:pt x="584" y="453"/>
                    </a:lnTo>
                    <a:lnTo>
                      <a:pt x="584" y="454"/>
                    </a:lnTo>
                    <a:lnTo>
                      <a:pt x="583" y="454"/>
                    </a:lnTo>
                    <a:lnTo>
                      <a:pt x="583" y="453"/>
                    </a:lnTo>
                    <a:close/>
                    <a:moveTo>
                      <a:pt x="500" y="474"/>
                    </a:moveTo>
                    <a:lnTo>
                      <a:pt x="501" y="474"/>
                    </a:lnTo>
                    <a:lnTo>
                      <a:pt x="501" y="475"/>
                    </a:lnTo>
                    <a:lnTo>
                      <a:pt x="500" y="475"/>
                    </a:lnTo>
                    <a:lnTo>
                      <a:pt x="500" y="474"/>
                    </a:lnTo>
                    <a:close/>
                    <a:moveTo>
                      <a:pt x="440" y="525"/>
                    </a:moveTo>
                    <a:lnTo>
                      <a:pt x="440" y="526"/>
                    </a:lnTo>
                    <a:lnTo>
                      <a:pt x="440" y="525"/>
                    </a:lnTo>
                    <a:close/>
                    <a:moveTo>
                      <a:pt x="267" y="425"/>
                    </a:moveTo>
                    <a:lnTo>
                      <a:pt x="268" y="425"/>
                    </a:lnTo>
                    <a:lnTo>
                      <a:pt x="268" y="426"/>
                    </a:lnTo>
                    <a:lnTo>
                      <a:pt x="267" y="426"/>
                    </a:lnTo>
                    <a:lnTo>
                      <a:pt x="267" y="425"/>
                    </a:lnTo>
                    <a:close/>
                    <a:moveTo>
                      <a:pt x="427" y="390"/>
                    </a:moveTo>
                    <a:lnTo>
                      <a:pt x="427" y="391"/>
                    </a:lnTo>
                    <a:lnTo>
                      <a:pt x="427" y="390"/>
                    </a:lnTo>
                    <a:close/>
                    <a:moveTo>
                      <a:pt x="317" y="465"/>
                    </a:moveTo>
                    <a:lnTo>
                      <a:pt x="318" y="465"/>
                    </a:lnTo>
                    <a:lnTo>
                      <a:pt x="317" y="465"/>
                    </a:lnTo>
                    <a:close/>
                    <a:moveTo>
                      <a:pt x="305" y="392"/>
                    </a:moveTo>
                    <a:lnTo>
                      <a:pt x="305" y="393"/>
                    </a:lnTo>
                    <a:lnTo>
                      <a:pt x="305" y="392"/>
                    </a:lnTo>
                    <a:close/>
                    <a:moveTo>
                      <a:pt x="240" y="400"/>
                    </a:moveTo>
                    <a:lnTo>
                      <a:pt x="241" y="400"/>
                    </a:lnTo>
                    <a:lnTo>
                      <a:pt x="240" y="400"/>
                    </a:lnTo>
                    <a:close/>
                    <a:moveTo>
                      <a:pt x="570" y="554"/>
                    </a:moveTo>
                    <a:lnTo>
                      <a:pt x="571" y="554"/>
                    </a:lnTo>
                    <a:lnTo>
                      <a:pt x="570" y="554"/>
                    </a:lnTo>
                    <a:close/>
                    <a:moveTo>
                      <a:pt x="408" y="367"/>
                    </a:moveTo>
                    <a:lnTo>
                      <a:pt x="409" y="367"/>
                    </a:lnTo>
                    <a:lnTo>
                      <a:pt x="409" y="369"/>
                    </a:lnTo>
                    <a:lnTo>
                      <a:pt x="408" y="369"/>
                    </a:lnTo>
                    <a:lnTo>
                      <a:pt x="408" y="367"/>
                    </a:lnTo>
                    <a:close/>
                    <a:moveTo>
                      <a:pt x="450" y="529"/>
                    </a:moveTo>
                    <a:lnTo>
                      <a:pt x="451" y="529"/>
                    </a:lnTo>
                    <a:lnTo>
                      <a:pt x="450" y="529"/>
                    </a:lnTo>
                    <a:close/>
                    <a:moveTo>
                      <a:pt x="556" y="482"/>
                    </a:moveTo>
                    <a:lnTo>
                      <a:pt x="557" y="482"/>
                    </a:lnTo>
                    <a:lnTo>
                      <a:pt x="556" y="482"/>
                    </a:lnTo>
                    <a:close/>
                    <a:moveTo>
                      <a:pt x="570" y="565"/>
                    </a:moveTo>
                    <a:lnTo>
                      <a:pt x="571" y="565"/>
                    </a:lnTo>
                    <a:lnTo>
                      <a:pt x="571" y="566"/>
                    </a:lnTo>
                    <a:lnTo>
                      <a:pt x="570" y="566"/>
                    </a:lnTo>
                    <a:lnTo>
                      <a:pt x="570" y="565"/>
                    </a:lnTo>
                    <a:close/>
                    <a:moveTo>
                      <a:pt x="496" y="568"/>
                    </a:moveTo>
                    <a:lnTo>
                      <a:pt x="497" y="568"/>
                    </a:lnTo>
                    <a:lnTo>
                      <a:pt x="497" y="569"/>
                    </a:lnTo>
                    <a:lnTo>
                      <a:pt x="496" y="569"/>
                    </a:lnTo>
                    <a:lnTo>
                      <a:pt x="496" y="568"/>
                    </a:lnTo>
                    <a:close/>
                    <a:moveTo>
                      <a:pt x="194" y="402"/>
                    </a:moveTo>
                    <a:lnTo>
                      <a:pt x="194" y="403"/>
                    </a:lnTo>
                    <a:lnTo>
                      <a:pt x="194" y="402"/>
                    </a:lnTo>
                    <a:close/>
                    <a:moveTo>
                      <a:pt x="406" y="379"/>
                    </a:moveTo>
                    <a:lnTo>
                      <a:pt x="407" y="379"/>
                    </a:lnTo>
                    <a:lnTo>
                      <a:pt x="406" y="379"/>
                    </a:lnTo>
                    <a:close/>
                    <a:moveTo>
                      <a:pt x="208" y="411"/>
                    </a:moveTo>
                    <a:lnTo>
                      <a:pt x="208" y="412"/>
                    </a:lnTo>
                    <a:lnTo>
                      <a:pt x="208" y="411"/>
                    </a:lnTo>
                    <a:close/>
                    <a:moveTo>
                      <a:pt x="502" y="425"/>
                    </a:moveTo>
                    <a:lnTo>
                      <a:pt x="503" y="425"/>
                    </a:lnTo>
                    <a:lnTo>
                      <a:pt x="503" y="426"/>
                    </a:lnTo>
                    <a:lnTo>
                      <a:pt x="502" y="426"/>
                    </a:lnTo>
                    <a:lnTo>
                      <a:pt x="502" y="425"/>
                    </a:lnTo>
                    <a:close/>
                    <a:moveTo>
                      <a:pt x="600" y="510"/>
                    </a:moveTo>
                    <a:lnTo>
                      <a:pt x="601" y="510"/>
                    </a:lnTo>
                    <a:lnTo>
                      <a:pt x="600" y="510"/>
                    </a:lnTo>
                    <a:close/>
                    <a:moveTo>
                      <a:pt x="551" y="549"/>
                    </a:moveTo>
                    <a:lnTo>
                      <a:pt x="551" y="550"/>
                    </a:lnTo>
                    <a:lnTo>
                      <a:pt x="551" y="549"/>
                    </a:lnTo>
                    <a:close/>
                    <a:moveTo>
                      <a:pt x="269" y="399"/>
                    </a:moveTo>
                    <a:lnTo>
                      <a:pt x="270" y="399"/>
                    </a:lnTo>
                    <a:lnTo>
                      <a:pt x="270" y="400"/>
                    </a:lnTo>
                    <a:lnTo>
                      <a:pt x="269" y="400"/>
                    </a:lnTo>
                    <a:lnTo>
                      <a:pt x="269" y="399"/>
                    </a:lnTo>
                    <a:close/>
                    <a:moveTo>
                      <a:pt x="485" y="421"/>
                    </a:moveTo>
                    <a:lnTo>
                      <a:pt x="486" y="421"/>
                    </a:lnTo>
                    <a:lnTo>
                      <a:pt x="486" y="422"/>
                    </a:lnTo>
                    <a:lnTo>
                      <a:pt x="485" y="422"/>
                    </a:lnTo>
                    <a:lnTo>
                      <a:pt x="485" y="421"/>
                    </a:lnTo>
                    <a:close/>
                    <a:moveTo>
                      <a:pt x="321" y="466"/>
                    </a:moveTo>
                    <a:lnTo>
                      <a:pt x="323" y="466"/>
                    </a:lnTo>
                    <a:lnTo>
                      <a:pt x="323" y="467"/>
                    </a:lnTo>
                    <a:lnTo>
                      <a:pt x="321" y="467"/>
                    </a:lnTo>
                    <a:lnTo>
                      <a:pt x="321" y="466"/>
                    </a:lnTo>
                    <a:close/>
                    <a:moveTo>
                      <a:pt x="409" y="373"/>
                    </a:moveTo>
                    <a:lnTo>
                      <a:pt x="410" y="373"/>
                    </a:lnTo>
                    <a:lnTo>
                      <a:pt x="409" y="373"/>
                    </a:lnTo>
                    <a:close/>
                    <a:moveTo>
                      <a:pt x="291" y="391"/>
                    </a:moveTo>
                    <a:lnTo>
                      <a:pt x="292" y="391"/>
                    </a:lnTo>
                    <a:lnTo>
                      <a:pt x="291" y="391"/>
                    </a:lnTo>
                    <a:close/>
                    <a:moveTo>
                      <a:pt x="225" y="404"/>
                    </a:moveTo>
                    <a:lnTo>
                      <a:pt x="226" y="404"/>
                    </a:lnTo>
                    <a:lnTo>
                      <a:pt x="225" y="404"/>
                    </a:lnTo>
                    <a:close/>
                    <a:moveTo>
                      <a:pt x="270" y="399"/>
                    </a:moveTo>
                    <a:lnTo>
                      <a:pt x="271" y="399"/>
                    </a:lnTo>
                    <a:lnTo>
                      <a:pt x="271" y="400"/>
                    </a:lnTo>
                    <a:lnTo>
                      <a:pt x="270" y="400"/>
                    </a:lnTo>
                    <a:lnTo>
                      <a:pt x="270" y="399"/>
                    </a:lnTo>
                    <a:close/>
                    <a:moveTo>
                      <a:pt x="324" y="467"/>
                    </a:moveTo>
                    <a:lnTo>
                      <a:pt x="325" y="467"/>
                    </a:lnTo>
                    <a:lnTo>
                      <a:pt x="324" y="467"/>
                    </a:lnTo>
                    <a:close/>
                    <a:moveTo>
                      <a:pt x="290" y="391"/>
                    </a:moveTo>
                    <a:lnTo>
                      <a:pt x="291" y="391"/>
                    </a:lnTo>
                    <a:lnTo>
                      <a:pt x="290" y="391"/>
                    </a:lnTo>
                    <a:close/>
                    <a:moveTo>
                      <a:pt x="408" y="367"/>
                    </a:moveTo>
                    <a:lnTo>
                      <a:pt x="409" y="367"/>
                    </a:lnTo>
                    <a:lnTo>
                      <a:pt x="408" y="367"/>
                    </a:lnTo>
                    <a:close/>
                    <a:moveTo>
                      <a:pt x="490" y="443"/>
                    </a:moveTo>
                    <a:lnTo>
                      <a:pt x="491" y="443"/>
                    </a:lnTo>
                    <a:lnTo>
                      <a:pt x="490" y="443"/>
                    </a:lnTo>
                    <a:close/>
                    <a:moveTo>
                      <a:pt x="549" y="549"/>
                    </a:moveTo>
                    <a:lnTo>
                      <a:pt x="551" y="549"/>
                    </a:lnTo>
                    <a:lnTo>
                      <a:pt x="549" y="549"/>
                    </a:lnTo>
                    <a:close/>
                    <a:moveTo>
                      <a:pt x="395" y="364"/>
                    </a:moveTo>
                    <a:lnTo>
                      <a:pt x="396" y="364"/>
                    </a:lnTo>
                    <a:lnTo>
                      <a:pt x="395" y="364"/>
                    </a:lnTo>
                    <a:close/>
                    <a:moveTo>
                      <a:pt x="154" y="390"/>
                    </a:moveTo>
                    <a:lnTo>
                      <a:pt x="155" y="390"/>
                    </a:lnTo>
                    <a:lnTo>
                      <a:pt x="154" y="390"/>
                    </a:lnTo>
                    <a:close/>
                    <a:moveTo>
                      <a:pt x="492" y="429"/>
                    </a:moveTo>
                    <a:lnTo>
                      <a:pt x="493" y="429"/>
                    </a:lnTo>
                    <a:lnTo>
                      <a:pt x="492" y="429"/>
                    </a:lnTo>
                    <a:close/>
                    <a:moveTo>
                      <a:pt x="478" y="421"/>
                    </a:moveTo>
                    <a:lnTo>
                      <a:pt x="479" y="421"/>
                    </a:lnTo>
                    <a:lnTo>
                      <a:pt x="478" y="421"/>
                    </a:lnTo>
                    <a:close/>
                    <a:moveTo>
                      <a:pt x="484" y="418"/>
                    </a:moveTo>
                    <a:lnTo>
                      <a:pt x="484" y="420"/>
                    </a:lnTo>
                    <a:lnTo>
                      <a:pt x="484" y="418"/>
                    </a:lnTo>
                    <a:close/>
                    <a:moveTo>
                      <a:pt x="197" y="404"/>
                    </a:moveTo>
                    <a:lnTo>
                      <a:pt x="197" y="405"/>
                    </a:lnTo>
                    <a:lnTo>
                      <a:pt x="197" y="404"/>
                    </a:lnTo>
                    <a:close/>
                    <a:moveTo>
                      <a:pt x="451" y="596"/>
                    </a:moveTo>
                    <a:lnTo>
                      <a:pt x="451" y="597"/>
                    </a:lnTo>
                    <a:lnTo>
                      <a:pt x="451" y="596"/>
                    </a:lnTo>
                    <a:close/>
                    <a:moveTo>
                      <a:pt x="179" y="351"/>
                    </a:moveTo>
                    <a:lnTo>
                      <a:pt x="180" y="351"/>
                    </a:lnTo>
                    <a:lnTo>
                      <a:pt x="179" y="351"/>
                    </a:lnTo>
                    <a:close/>
                    <a:moveTo>
                      <a:pt x="244" y="390"/>
                    </a:moveTo>
                    <a:lnTo>
                      <a:pt x="245" y="390"/>
                    </a:lnTo>
                    <a:lnTo>
                      <a:pt x="245" y="391"/>
                    </a:lnTo>
                    <a:lnTo>
                      <a:pt x="244" y="391"/>
                    </a:lnTo>
                    <a:lnTo>
                      <a:pt x="244" y="390"/>
                    </a:lnTo>
                    <a:close/>
                    <a:moveTo>
                      <a:pt x="407" y="369"/>
                    </a:moveTo>
                    <a:lnTo>
                      <a:pt x="408" y="369"/>
                    </a:lnTo>
                    <a:lnTo>
                      <a:pt x="407" y="369"/>
                    </a:lnTo>
                    <a:close/>
                    <a:moveTo>
                      <a:pt x="499" y="434"/>
                    </a:moveTo>
                    <a:lnTo>
                      <a:pt x="500" y="434"/>
                    </a:lnTo>
                    <a:lnTo>
                      <a:pt x="500" y="435"/>
                    </a:lnTo>
                    <a:lnTo>
                      <a:pt x="499" y="435"/>
                    </a:lnTo>
                    <a:lnTo>
                      <a:pt x="499" y="434"/>
                    </a:lnTo>
                    <a:close/>
                    <a:moveTo>
                      <a:pt x="564" y="515"/>
                    </a:moveTo>
                    <a:lnTo>
                      <a:pt x="564" y="516"/>
                    </a:lnTo>
                    <a:lnTo>
                      <a:pt x="564" y="515"/>
                    </a:lnTo>
                    <a:close/>
                    <a:moveTo>
                      <a:pt x="485" y="453"/>
                    </a:moveTo>
                    <a:lnTo>
                      <a:pt x="486" y="453"/>
                    </a:lnTo>
                    <a:lnTo>
                      <a:pt x="486" y="454"/>
                    </a:lnTo>
                    <a:lnTo>
                      <a:pt x="485" y="454"/>
                    </a:lnTo>
                    <a:lnTo>
                      <a:pt x="485" y="453"/>
                    </a:lnTo>
                    <a:close/>
                    <a:moveTo>
                      <a:pt x="499" y="438"/>
                    </a:moveTo>
                    <a:lnTo>
                      <a:pt x="500" y="438"/>
                    </a:lnTo>
                    <a:lnTo>
                      <a:pt x="500" y="439"/>
                    </a:lnTo>
                    <a:lnTo>
                      <a:pt x="499" y="439"/>
                    </a:lnTo>
                    <a:lnTo>
                      <a:pt x="499" y="438"/>
                    </a:lnTo>
                    <a:close/>
                    <a:moveTo>
                      <a:pt x="319" y="466"/>
                    </a:moveTo>
                    <a:lnTo>
                      <a:pt x="320" y="466"/>
                    </a:lnTo>
                    <a:lnTo>
                      <a:pt x="319" y="466"/>
                    </a:lnTo>
                    <a:close/>
                    <a:moveTo>
                      <a:pt x="244" y="398"/>
                    </a:moveTo>
                    <a:lnTo>
                      <a:pt x="245" y="398"/>
                    </a:lnTo>
                    <a:lnTo>
                      <a:pt x="245" y="399"/>
                    </a:lnTo>
                    <a:lnTo>
                      <a:pt x="244" y="399"/>
                    </a:lnTo>
                    <a:lnTo>
                      <a:pt x="244" y="398"/>
                    </a:lnTo>
                    <a:close/>
                    <a:moveTo>
                      <a:pt x="243" y="392"/>
                    </a:moveTo>
                    <a:lnTo>
                      <a:pt x="243" y="393"/>
                    </a:lnTo>
                    <a:lnTo>
                      <a:pt x="243" y="392"/>
                    </a:lnTo>
                    <a:close/>
                    <a:moveTo>
                      <a:pt x="501" y="442"/>
                    </a:moveTo>
                    <a:lnTo>
                      <a:pt x="502" y="442"/>
                    </a:lnTo>
                    <a:lnTo>
                      <a:pt x="502" y="443"/>
                    </a:lnTo>
                    <a:lnTo>
                      <a:pt x="501" y="443"/>
                    </a:lnTo>
                    <a:lnTo>
                      <a:pt x="501" y="442"/>
                    </a:lnTo>
                    <a:close/>
                    <a:moveTo>
                      <a:pt x="243" y="390"/>
                    </a:moveTo>
                    <a:lnTo>
                      <a:pt x="244" y="390"/>
                    </a:lnTo>
                    <a:lnTo>
                      <a:pt x="244" y="391"/>
                    </a:lnTo>
                    <a:lnTo>
                      <a:pt x="243" y="391"/>
                    </a:lnTo>
                    <a:lnTo>
                      <a:pt x="243" y="390"/>
                    </a:lnTo>
                    <a:close/>
                    <a:moveTo>
                      <a:pt x="481" y="418"/>
                    </a:moveTo>
                    <a:lnTo>
                      <a:pt x="483" y="418"/>
                    </a:lnTo>
                    <a:lnTo>
                      <a:pt x="483" y="420"/>
                    </a:lnTo>
                    <a:lnTo>
                      <a:pt x="481" y="420"/>
                    </a:lnTo>
                    <a:lnTo>
                      <a:pt x="481" y="418"/>
                    </a:lnTo>
                    <a:close/>
                    <a:moveTo>
                      <a:pt x="255" y="397"/>
                    </a:moveTo>
                    <a:lnTo>
                      <a:pt x="256" y="397"/>
                    </a:lnTo>
                    <a:lnTo>
                      <a:pt x="255" y="397"/>
                    </a:lnTo>
                    <a:close/>
                    <a:moveTo>
                      <a:pt x="188" y="358"/>
                    </a:moveTo>
                    <a:lnTo>
                      <a:pt x="189" y="358"/>
                    </a:lnTo>
                    <a:lnTo>
                      <a:pt x="188" y="358"/>
                    </a:lnTo>
                    <a:close/>
                    <a:moveTo>
                      <a:pt x="154" y="389"/>
                    </a:moveTo>
                    <a:lnTo>
                      <a:pt x="155" y="389"/>
                    </a:lnTo>
                    <a:lnTo>
                      <a:pt x="155" y="390"/>
                    </a:lnTo>
                    <a:lnTo>
                      <a:pt x="154" y="390"/>
                    </a:lnTo>
                    <a:lnTo>
                      <a:pt x="154" y="389"/>
                    </a:lnTo>
                    <a:close/>
                    <a:moveTo>
                      <a:pt x="509" y="453"/>
                    </a:moveTo>
                    <a:lnTo>
                      <a:pt x="509" y="454"/>
                    </a:lnTo>
                    <a:lnTo>
                      <a:pt x="509" y="453"/>
                    </a:lnTo>
                    <a:close/>
                    <a:moveTo>
                      <a:pt x="413" y="549"/>
                    </a:moveTo>
                    <a:lnTo>
                      <a:pt x="413" y="550"/>
                    </a:lnTo>
                    <a:lnTo>
                      <a:pt x="413" y="549"/>
                    </a:lnTo>
                    <a:close/>
                    <a:moveTo>
                      <a:pt x="219" y="404"/>
                    </a:moveTo>
                    <a:lnTo>
                      <a:pt x="219" y="405"/>
                    </a:lnTo>
                    <a:lnTo>
                      <a:pt x="219" y="404"/>
                    </a:lnTo>
                    <a:close/>
                    <a:moveTo>
                      <a:pt x="395" y="366"/>
                    </a:moveTo>
                    <a:lnTo>
                      <a:pt x="395" y="367"/>
                    </a:lnTo>
                    <a:lnTo>
                      <a:pt x="395" y="366"/>
                    </a:lnTo>
                    <a:close/>
                    <a:moveTo>
                      <a:pt x="203" y="402"/>
                    </a:moveTo>
                    <a:lnTo>
                      <a:pt x="204" y="402"/>
                    </a:lnTo>
                    <a:lnTo>
                      <a:pt x="203" y="402"/>
                    </a:lnTo>
                    <a:close/>
                    <a:moveTo>
                      <a:pt x="244" y="398"/>
                    </a:moveTo>
                    <a:lnTo>
                      <a:pt x="244" y="399"/>
                    </a:lnTo>
                    <a:lnTo>
                      <a:pt x="244" y="398"/>
                    </a:lnTo>
                    <a:close/>
                    <a:moveTo>
                      <a:pt x="407" y="376"/>
                    </a:moveTo>
                    <a:lnTo>
                      <a:pt x="408" y="376"/>
                    </a:lnTo>
                    <a:lnTo>
                      <a:pt x="408" y="377"/>
                    </a:lnTo>
                    <a:lnTo>
                      <a:pt x="407" y="377"/>
                    </a:lnTo>
                    <a:lnTo>
                      <a:pt x="407" y="376"/>
                    </a:lnTo>
                    <a:close/>
                    <a:moveTo>
                      <a:pt x="295" y="389"/>
                    </a:moveTo>
                    <a:lnTo>
                      <a:pt x="296" y="389"/>
                    </a:lnTo>
                    <a:lnTo>
                      <a:pt x="295" y="389"/>
                    </a:lnTo>
                    <a:close/>
                    <a:moveTo>
                      <a:pt x="472" y="439"/>
                    </a:moveTo>
                    <a:lnTo>
                      <a:pt x="473" y="439"/>
                    </a:lnTo>
                    <a:lnTo>
                      <a:pt x="472" y="439"/>
                    </a:lnTo>
                    <a:close/>
                    <a:moveTo>
                      <a:pt x="575" y="556"/>
                    </a:moveTo>
                    <a:lnTo>
                      <a:pt x="576" y="556"/>
                    </a:lnTo>
                    <a:lnTo>
                      <a:pt x="575" y="556"/>
                    </a:lnTo>
                    <a:close/>
                    <a:moveTo>
                      <a:pt x="412" y="365"/>
                    </a:moveTo>
                    <a:lnTo>
                      <a:pt x="413" y="365"/>
                    </a:lnTo>
                    <a:lnTo>
                      <a:pt x="413" y="366"/>
                    </a:lnTo>
                    <a:lnTo>
                      <a:pt x="412" y="366"/>
                    </a:lnTo>
                    <a:lnTo>
                      <a:pt x="412" y="365"/>
                    </a:lnTo>
                    <a:close/>
                    <a:moveTo>
                      <a:pt x="555" y="549"/>
                    </a:moveTo>
                    <a:lnTo>
                      <a:pt x="556" y="549"/>
                    </a:lnTo>
                    <a:lnTo>
                      <a:pt x="555" y="549"/>
                    </a:lnTo>
                    <a:close/>
                    <a:moveTo>
                      <a:pt x="233" y="218"/>
                    </a:moveTo>
                    <a:lnTo>
                      <a:pt x="233" y="219"/>
                    </a:lnTo>
                    <a:lnTo>
                      <a:pt x="233" y="218"/>
                    </a:lnTo>
                    <a:close/>
                    <a:moveTo>
                      <a:pt x="337" y="469"/>
                    </a:moveTo>
                    <a:lnTo>
                      <a:pt x="338" y="469"/>
                    </a:lnTo>
                    <a:lnTo>
                      <a:pt x="337" y="469"/>
                    </a:lnTo>
                    <a:close/>
                    <a:moveTo>
                      <a:pt x="435" y="390"/>
                    </a:moveTo>
                    <a:lnTo>
                      <a:pt x="436" y="390"/>
                    </a:lnTo>
                    <a:lnTo>
                      <a:pt x="436" y="391"/>
                    </a:lnTo>
                    <a:lnTo>
                      <a:pt x="435" y="391"/>
                    </a:lnTo>
                    <a:lnTo>
                      <a:pt x="435" y="390"/>
                    </a:lnTo>
                    <a:close/>
                    <a:moveTo>
                      <a:pt x="490" y="472"/>
                    </a:moveTo>
                    <a:lnTo>
                      <a:pt x="491" y="472"/>
                    </a:lnTo>
                    <a:lnTo>
                      <a:pt x="491" y="473"/>
                    </a:lnTo>
                    <a:lnTo>
                      <a:pt x="490" y="473"/>
                    </a:lnTo>
                    <a:lnTo>
                      <a:pt x="490" y="472"/>
                    </a:lnTo>
                    <a:close/>
                    <a:moveTo>
                      <a:pt x="503" y="455"/>
                    </a:moveTo>
                    <a:lnTo>
                      <a:pt x="504" y="455"/>
                    </a:lnTo>
                    <a:lnTo>
                      <a:pt x="504" y="456"/>
                    </a:lnTo>
                    <a:lnTo>
                      <a:pt x="503" y="456"/>
                    </a:lnTo>
                    <a:lnTo>
                      <a:pt x="503" y="455"/>
                    </a:lnTo>
                    <a:close/>
                    <a:moveTo>
                      <a:pt x="433" y="396"/>
                    </a:moveTo>
                    <a:lnTo>
                      <a:pt x="433" y="398"/>
                    </a:lnTo>
                    <a:lnTo>
                      <a:pt x="433" y="396"/>
                    </a:lnTo>
                    <a:close/>
                    <a:moveTo>
                      <a:pt x="179" y="364"/>
                    </a:moveTo>
                    <a:lnTo>
                      <a:pt x="180" y="364"/>
                    </a:lnTo>
                    <a:lnTo>
                      <a:pt x="179" y="364"/>
                    </a:lnTo>
                    <a:close/>
                    <a:moveTo>
                      <a:pt x="419" y="547"/>
                    </a:moveTo>
                    <a:lnTo>
                      <a:pt x="419" y="549"/>
                    </a:lnTo>
                    <a:lnTo>
                      <a:pt x="419" y="547"/>
                    </a:lnTo>
                    <a:close/>
                    <a:moveTo>
                      <a:pt x="222" y="408"/>
                    </a:moveTo>
                    <a:lnTo>
                      <a:pt x="223" y="408"/>
                    </a:lnTo>
                    <a:lnTo>
                      <a:pt x="223" y="409"/>
                    </a:lnTo>
                    <a:lnTo>
                      <a:pt x="222" y="409"/>
                    </a:lnTo>
                    <a:lnTo>
                      <a:pt x="222" y="408"/>
                    </a:lnTo>
                    <a:close/>
                    <a:moveTo>
                      <a:pt x="568" y="552"/>
                    </a:moveTo>
                    <a:lnTo>
                      <a:pt x="568" y="553"/>
                    </a:lnTo>
                    <a:lnTo>
                      <a:pt x="568" y="552"/>
                    </a:lnTo>
                    <a:close/>
                    <a:moveTo>
                      <a:pt x="269" y="399"/>
                    </a:moveTo>
                    <a:lnTo>
                      <a:pt x="270" y="399"/>
                    </a:lnTo>
                    <a:lnTo>
                      <a:pt x="269" y="399"/>
                    </a:lnTo>
                    <a:close/>
                    <a:moveTo>
                      <a:pt x="510" y="452"/>
                    </a:moveTo>
                    <a:lnTo>
                      <a:pt x="510" y="453"/>
                    </a:lnTo>
                    <a:lnTo>
                      <a:pt x="510" y="452"/>
                    </a:lnTo>
                    <a:close/>
                    <a:moveTo>
                      <a:pt x="195" y="405"/>
                    </a:moveTo>
                    <a:lnTo>
                      <a:pt x="196" y="405"/>
                    </a:lnTo>
                    <a:lnTo>
                      <a:pt x="196" y="406"/>
                    </a:lnTo>
                    <a:lnTo>
                      <a:pt x="195" y="406"/>
                    </a:lnTo>
                    <a:lnTo>
                      <a:pt x="195" y="405"/>
                    </a:lnTo>
                    <a:close/>
                    <a:moveTo>
                      <a:pt x="500" y="434"/>
                    </a:moveTo>
                    <a:lnTo>
                      <a:pt x="500" y="435"/>
                    </a:lnTo>
                    <a:lnTo>
                      <a:pt x="500" y="434"/>
                    </a:lnTo>
                    <a:close/>
                    <a:moveTo>
                      <a:pt x="271" y="422"/>
                    </a:moveTo>
                    <a:lnTo>
                      <a:pt x="271" y="423"/>
                    </a:lnTo>
                    <a:lnTo>
                      <a:pt x="271" y="422"/>
                    </a:lnTo>
                    <a:close/>
                    <a:moveTo>
                      <a:pt x="574" y="553"/>
                    </a:moveTo>
                    <a:lnTo>
                      <a:pt x="575" y="553"/>
                    </a:lnTo>
                    <a:lnTo>
                      <a:pt x="575" y="554"/>
                    </a:lnTo>
                    <a:lnTo>
                      <a:pt x="574" y="554"/>
                    </a:lnTo>
                    <a:lnTo>
                      <a:pt x="574" y="553"/>
                    </a:lnTo>
                    <a:close/>
                    <a:moveTo>
                      <a:pt x="484" y="424"/>
                    </a:moveTo>
                    <a:lnTo>
                      <a:pt x="484" y="425"/>
                    </a:lnTo>
                    <a:lnTo>
                      <a:pt x="484" y="424"/>
                    </a:lnTo>
                    <a:close/>
                    <a:moveTo>
                      <a:pt x="412" y="549"/>
                    </a:moveTo>
                    <a:lnTo>
                      <a:pt x="413" y="549"/>
                    </a:lnTo>
                    <a:lnTo>
                      <a:pt x="412" y="549"/>
                    </a:lnTo>
                    <a:close/>
                    <a:moveTo>
                      <a:pt x="269" y="409"/>
                    </a:moveTo>
                    <a:lnTo>
                      <a:pt x="270" y="409"/>
                    </a:lnTo>
                    <a:lnTo>
                      <a:pt x="269" y="409"/>
                    </a:lnTo>
                    <a:close/>
                    <a:moveTo>
                      <a:pt x="242" y="406"/>
                    </a:moveTo>
                    <a:lnTo>
                      <a:pt x="243" y="406"/>
                    </a:lnTo>
                    <a:lnTo>
                      <a:pt x="242" y="406"/>
                    </a:lnTo>
                    <a:close/>
                    <a:moveTo>
                      <a:pt x="568" y="550"/>
                    </a:moveTo>
                    <a:lnTo>
                      <a:pt x="568" y="551"/>
                    </a:lnTo>
                    <a:lnTo>
                      <a:pt x="568" y="550"/>
                    </a:lnTo>
                    <a:close/>
                    <a:moveTo>
                      <a:pt x="168" y="412"/>
                    </a:moveTo>
                    <a:lnTo>
                      <a:pt x="169" y="412"/>
                    </a:lnTo>
                    <a:lnTo>
                      <a:pt x="168" y="412"/>
                    </a:lnTo>
                    <a:close/>
                    <a:moveTo>
                      <a:pt x="475" y="426"/>
                    </a:moveTo>
                    <a:lnTo>
                      <a:pt x="475" y="427"/>
                    </a:lnTo>
                    <a:lnTo>
                      <a:pt x="475" y="426"/>
                    </a:lnTo>
                    <a:close/>
                    <a:moveTo>
                      <a:pt x="475" y="603"/>
                    </a:moveTo>
                    <a:lnTo>
                      <a:pt x="476" y="603"/>
                    </a:lnTo>
                    <a:lnTo>
                      <a:pt x="475" y="603"/>
                    </a:lnTo>
                    <a:close/>
                    <a:moveTo>
                      <a:pt x="406" y="378"/>
                    </a:moveTo>
                    <a:lnTo>
                      <a:pt x="407" y="378"/>
                    </a:lnTo>
                    <a:lnTo>
                      <a:pt x="406" y="378"/>
                    </a:lnTo>
                    <a:close/>
                    <a:moveTo>
                      <a:pt x="484" y="420"/>
                    </a:moveTo>
                    <a:lnTo>
                      <a:pt x="484" y="421"/>
                    </a:lnTo>
                    <a:lnTo>
                      <a:pt x="484" y="420"/>
                    </a:lnTo>
                    <a:close/>
                    <a:moveTo>
                      <a:pt x="320" y="466"/>
                    </a:moveTo>
                    <a:lnTo>
                      <a:pt x="321" y="466"/>
                    </a:lnTo>
                    <a:lnTo>
                      <a:pt x="320" y="466"/>
                    </a:lnTo>
                    <a:close/>
                    <a:moveTo>
                      <a:pt x="241" y="204"/>
                    </a:moveTo>
                    <a:lnTo>
                      <a:pt x="242" y="204"/>
                    </a:lnTo>
                    <a:lnTo>
                      <a:pt x="242" y="205"/>
                    </a:lnTo>
                    <a:lnTo>
                      <a:pt x="241" y="205"/>
                    </a:lnTo>
                    <a:lnTo>
                      <a:pt x="241" y="204"/>
                    </a:lnTo>
                    <a:close/>
                    <a:moveTo>
                      <a:pt x="409" y="369"/>
                    </a:moveTo>
                    <a:lnTo>
                      <a:pt x="410" y="369"/>
                    </a:lnTo>
                    <a:lnTo>
                      <a:pt x="409" y="369"/>
                    </a:lnTo>
                    <a:close/>
                    <a:moveTo>
                      <a:pt x="322" y="466"/>
                    </a:moveTo>
                    <a:lnTo>
                      <a:pt x="323" y="466"/>
                    </a:lnTo>
                    <a:lnTo>
                      <a:pt x="322" y="466"/>
                    </a:lnTo>
                    <a:close/>
                    <a:moveTo>
                      <a:pt x="127" y="382"/>
                    </a:moveTo>
                    <a:lnTo>
                      <a:pt x="128" y="382"/>
                    </a:lnTo>
                    <a:lnTo>
                      <a:pt x="127" y="382"/>
                    </a:lnTo>
                    <a:close/>
                    <a:moveTo>
                      <a:pt x="220" y="403"/>
                    </a:moveTo>
                    <a:lnTo>
                      <a:pt x="221" y="403"/>
                    </a:lnTo>
                    <a:lnTo>
                      <a:pt x="220" y="403"/>
                    </a:lnTo>
                    <a:close/>
                    <a:moveTo>
                      <a:pt x="331" y="338"/>
                    </a:moveTo>
                    <a:lnTo>
                      <a:pt x="331" y="339"/>
                    </a:lnTo>
                    <a:lnTo>
                      <a:pt x="331" y="338"/>
                    </a:lnTo>
                    <a:close/>
                    <a:moveTo>
                      <a:pt x="503" y="557"/>
                    </a:moveTo>
                    <a:lnTo>
                      <a:pt x="503" y="558"/>
                    </a:lnTo>
                    <a:lnTo>
                      <a:pt x="503" y="557"/>
                    </a:lnTo>
                    <a:close/>
                    <a:moveTo>
                      <a:pt x="586" y="506"/>
                    </a:moveTo>
                    <a:lnTo>
                      <a:pt x="586" y="507"/>
                    </a:lnTo>
                    <a:lnTo>
                      <a:pt x="586" y="506"/>
                    </a:lnTo>
                    <a:close/>
                    <a:moveTo>
                      <a:pt x="496" y="566"/>
                    </a:moveTo>
                    <a:lnTo>
                      <a:pt x="496" y="567"/>
                    </a:lnTo>
                    <a:lnTo>
                      <a:pt x="496" y="566"/>
                    </a:lnTo>
                    <a:close/>
                    <a:moveTo>
                      <a:pt x="490" y="425"/>
                    </a:moveTo>
                    <a:lnTo>
                      <a:pt x="491" y="425"/>
                    </a:lnTo>
                    <a:lnTo>
                      <a:pt x="490" y="425"/>
                    </a:lnTo>
                    <a:close/>
                    <a:moveTo>
                      <a:pt x="505" y="453"/>
                    </a:moveTo>
                    <a:lnTo>
                      <a:pt x="506" y="453"/>
                    </a:lnTo>
                    <a:lnTo>
                      <a:pt x="506" y="454"/>
                    </a:lnTo>
                    <a:lnTo>
                      <a:pt x="505" y="454"/>
                    </a:lnTo>
                    <a:lnTo>
                      <a:pt x="505" y="453"/>
                    </a:lnTo>
                    <a:close/>
                    <a:moveTo>
                      <a:pt x="506" y="559"/>
                    </a:moveTo>
                    <a:lnTo>
                      <a:pt x="507" y="559"/>
                    </a:lnTo>
                    <a:lnTo>
                      <a:pt x="506" y="559"/>
                    </a:lnTo>
                    <a:close/>
                    <a:moveTo>
                      <a:pt x="449" y="598"/>
                    </a:moveTo>
                    <a:lnTo>
                      <a:pt x="449" y="600"/>
                    </a:lnTo>
                    <a:lnTo>
                      <a:pt x="449" y="598"/>
                    </a:lnTo>
                    <a:close/>
                    <a:moveTo>
                      <a:pt x="567" y="460"/>
                    </a:moveTo>
                    <a:lnTo>
                      <a:pt x="567" y="461"/>
                    </a:lnTo>
                    <a:lnTo>
                      <a:pt x="567" y="460"/>
                    </a:lnTo>
                    <a:close/>
                    <a:moveTo>
                      <a:pt x="188" y="354"/>
                    </a:moveTo>
                    <a:lnTo>
                      <a:pt x="189" y="354"/>
                    </a:lnTo>
                    <a:lnTo>
                      <a:pt x="189" y="356"/>
                    </a:lnTo>
                    <a:lnTo>
                      <a:pt x="188" y="356"/>
                    </a:lnTo>
                    <a:lnTo>
                      <a:pt x="188" y="354"/>
                    </a:lnTo>
                    <a:close/>
                    <a:moveTo>
                      <a:pt x="552" y="547"/>
                    </a:moveTo>
                    <a:lnTo>
                      <a:pt x="552" y="549"/>
                    </a:lnTo>
                    <a:lnTo>
                      <a:pt x="552" y="547"/>
                    </a:lnTo>
                    <a:close/>
                    <a:moveTo>
                      <a:pt x="461" y="615"/>
                    </a:moveTo>
                    <a:lnTo>
                      <a:pt x="462" y="615"/>
                    </a:lnTo>
                    <a:lnTo>
                      <a:pt x="462" y="616"/>
                    </a:lnTo>
                    <a:lnTo>
                      <a:pt x="461" y="616"/>
                    </a:lnTo>
                    <a:lnTo>
                      <a:pt x="461" y="615"/>
                    </a:lnTo>
                    <a:close/>
                    <a:moveTo>
                      <a:pt x="394" y="366"/>
                    </a:moveTo>
                    <a:lnTo>
                      <a:pt x="394" y="367"/>
                    </a:lnTo>
                    <a:lnTo>
                      <a:pt x="394" y="366"/>
                    </a:lnTo>
                    <a:close/>
                    <a:moveTo>
                      <a:pt x="447" y="370"/>
                    </a:moveTo>
                    <a:lnTo>
                      <a:pt x="447" y="371"/>
                    </a:lnTo>
                    <a:lnTo>
                      <a:pt x="447" y="370"/>
                    </a:lnTo>
                    <a:close/>
                    <a:moveTo>
                      <a:pt x="323" y="466"/>
                    </a:moveTo>
                    <a:lnTo>
                      <a:pt x="324" y="466"/>
                    </a:lnTo>
                    <a:lnTo>
                      <a:pt x="323" y="466"/>
                    </a:lnTo>
                    <a:close/>
                    <a:moveTo>
                      <a:pt x="569" y="566"/>
                    </a:moveTo>
                    <a:lnTo>
                      <a:pt x="569" y="567"/>
                    </a:lnTo>
                    <a:lnTo>
                      <a:pt x="569" y="566"/>
                    </a:lnTo>
                    <a:close/>
                    <a:moveTo>
                      <a:pt x="488" y="465"/>
                    </a:moveTo>
                    <a:lnTo>
                      <a:pt x="489" y="465"/>
                    </a:lnTo>
                    <a:lnTo>
                      <a:pt x="488" y="465"/>
                    </a:lnTo>
                    <a:close/>
                    <a:moveTo>
                      <a:pt x="161" y="390"/>
                    </a:moveTo>
                    <a:lnTo>
                      <a:pt x="162" y="390"/>
                    </a:lnTo>
                    <a:lnTo>
                      <a:pt x="162" y="391"/>
                    </a:lnTo>
                    <a:lnTo>
                      <a:pt x="161" y="391"/>
                    </a:lnTo>
                    <a:lnTo>
                      <a:pt x="161" y="390"/>
                    </a:lnTo>
                    <a:close/>
                    <a:moveTo>
                      <a:pt x="254" y="398"/>
                    </a:moveTo>
                    <a:lnTo>
                      <a:pt x="255" y="398"/>
                    </a:lnTo>
                    <a:lnTo>
                      <a:pt x="254" y="398"/>
                    </a:lnTo>
                    <a:close/>
                    <a:moveTo>
                      <a:pt x="232" y="225"/>
                    </a:moveTo>
                    <a:lnTo>
                      <a:pt x="233" y="225"/>
                    </a:lnTo>
                    <a:lnTo>
                      <a:pt x="232" y="225"/>
                    </a:lnTo>
                    <a:close/>
                    <a:moveTo>
                      <a:pt x="416" y="543"/>
                    </a:moveTo>
                    <a:lnTo>
                      <a:pt x="418" y="543"/>
                    </a:lnTo>
                    <a:lnTo>
                      <a:pt x="418" y="544"/>
                    </a:lnTo>
                    <a:lnTo>
                      <a:pt x="416" y="544"/>
                    </a:lnTo>
                    <a:lnTo>
                      <a:pt x="416" y="543"/>
                    </a:lnTo>
                    <a:close/>
                    <a:moveTo>
                      <a:pt x="407" y="370"/>
                    </a:moveTo>
                    <a:lnTo>
                      <a:pt x="408" y="370"/>
                    </a:lnTo>
                    <a:lnTo>
                      <a:pt x="407" y="370"/>
                    </a:lnTo>
                    <a:close/>
                    <a:moveTo>
                      <a:pt x="494" y="429"/>
                    </a:moveTo>
                    <a:lnTo>
                      <a:pt x="496" y="429"/>
                    </a:lnTo>
                    <a:lnTo>
                      <a:pt x="494" y="429"/>
                    </a:lnTo>
                    <a:close/>
                    <a:moveTo>
                      <a:pt x="574" y="556"/>
                    </a:moveTo>
                    <a:lnTo>
                      <a:pt x="575" y="556"/>
                    </a:lnTo>
                    <a:lnTo>
                      <a:pt x="575" y="557"/>
                    </a:lnTo>
                    <a:lnTo>
                      <a:pt x="574" y="557"/>
                    </a:lnTo>
                    <a:lnTo>
                      <a:pt x="574" y="556"/>
                    </a:lnTo>
                    <a:close/>
                    <a:moveTo>
                      <a:pt x="554" y="547"/>
                    </a:moveTo>
                    <a:lnTo>
                      <a:pt x="555" y="547"/>
                    </a:lnTo>
                    <a:lnTo>
                      <a:pt x="554" y="547"/>
                    </a:lnTo>
                    <a:close/>
                    <a:moveTo>
                      <a:pt x="549" y="546"/>
                    </a:moveTo>
                    <a:lnTo>
                      <a:pt x="550" y="546"/>
                    </a:lnTo>
                    <a:lnTo>
                      <a:pt x="549" y="546"/>
                    </a:lnTo>
                    <a:close/>
                    <a:moveTo>
                      <a:pt x="556" y="551"/>
                    </a:moveTo>
                    <a:lnTo>
                      <a:pt x="556" y="552"/>
                    </a:lnTo>
                    <a:lnTo>
                      <a:pt x="556" y="551"/>
                    </a:lnTo>
                    <a:close/>
                    <a:moveTo>
                      <a:pt x="182" y="356"/>
                    </a:moveTo>
                    <a:lnTo>
                      <a:pt x="183" y="356"/>
                    </a:lnTo>
                    <a:lnTo>
                      <a:pt x="183" y="357"/>
                    </a:lnTo>
                    <a:lnTo>
                      <a:pt x="182" y="357"/>
                    </a:lnTo>
                    <a:lnTo>
                      <a:pt x="182" y="356"/>
                    </a:lnTo>
                    <a:close/>
                    <a:moveTo>
                      <a:pt x="463" y="443"/>
                    </a:moveTo>
                    <a:lnTo>
                      <a:pt x="464" y="443"/>
                    </a:lnTo>
                    <a:lnTo>
                      <a:pt x="464" y="444"/>
                    </a:lnTo>
                    <a:lnTo>
                      <a:pt x="463" y="444"/>
                    </a:lnTo>
                    <a:lnTo>
                      <a:pt x="463" y="443"/>
                    </a:lnTo>
                    <a:close/>
                    <a:moveTo>
                      <a:pt x="473" y="552"/>
                    </a:moveTo>
                    <a:lnTo>
                      <a:pt x="474" y="552"/>
                    </a:lnTo>
                    <a:lnTo>
                      <a:pt x="473" y="552"/>
                    </a:lnTo>
                    <a:close/>
                    <a:moveTo>
                      <a:pt x="490" y="462"/>
                    </a:moveTo>
                    <a:lnTo>
                      <a:pt x="490" y="463"/>
                    </a:lnTo>
                    <a:lnTo>
                      <a:pt x="490" y="462"/>
                    </a:lnTo>
                    <a:close/>
                    <a:moveTo>
                      <a:pt x="390" y="362"/>
                    </a:moveTo>
                    <a:lnTo>
                      <a:pt x="391" y="362"/>
                    </a:lnTo>
                    <a:lnTo>
                      <a:pt x="390" y="362"/>
                    </a:lnTo>
                    <a:close/>
                    <a:moveTo>
                      <a:pt x="468" y="596"/>
                    </a:moveTo>
                    <a:lnTo>
                      <a:pt x="470" y="596"/>
                    </a:lnTo>
                    <a:lnTo>
                      <a:pt x="470" y="597"/>
                    </a:lnTo>
                    <a:lnTo>
                      <a:pt x="468" y="597"/>
                    </a:lnTo>
                    <a:lnTo>
                      <a:pt x="468" y="596"/>
                    </a:lnTo>
                    <a:close/>
                    <a:moveTo>
                      <a:pt x="413" y="365"/>
                    </a:moveTo>
                    <a:lnTo>
                      <a:pt x="413" y="366"/>
                    </a:lnTo>
                    <a:lnTo>
                      <a:pt x="413" y="365"/>
                    </a:lnTo>
                    <a:close/>
                    <a:moveTo>
                      <a:pt x="426" y="392"/>
                    </a:moveTo>
                    <a:lnTo>
                      <a:pt x="426" y="393"/>
                    </a:lnTo>
                    <a:lnTo>
                      <a:pt x="426" y="392"/>
                    </a:lnTo>
                    <a:close/>
                    <a:moveTo>
                      <a:pt x="330" y="343"/>
                    </a:moveTo>
                    <a:lnTo>
                      <a:pt x="331" y="343"/>
                    </a:lnTo>
                    <a:lnTo>
                      <a:pt x="330" y="343"/>
                    </a:lnTo>
                    <a:close/>
                    <a:moveTo>
                      <a:pt x="322" y="467"/>
                    </a:moveTo>
                    <a:lnTo>
                      <a:pt x="323" y="467"/>
                    </a:lnTo>
                    <a:lnTo>
                      <a:pt x="322" y="467"/>
                    </a:lnTo>
                    <a:close/>
                    <a:moveTo>
                      <a:pt x="313" y="456"/>
                    </a:moveTo>
                    <a:lnTo>
                      <a:pt x="315" y="456"/>
                    </a:lnTo>
                    <a:lnTo>
                      <a:pt x="313" y="456"/>
                    </a:lnTo>
                    <a:close/>
                    <a:moveTo>
                      <a:pt x="436" y="526"/>
                    </a:moveTo>
                    <a:lnTo>
                      <a:pt x="436" y="527"/>
                    </a:lnTo>
                    <a:lnTo>
                      <a:pt x="436" y="526"/>
                    </a:lnTo>
                    <a:close/>
                    <a:moveTo>
                      <a:pt x="178" y="412"/>
                    </a:moveTo>
                    <a:lnTo>
                      <a:pt x="179" y="412"/>
                    </a:lnTo>
                    <a:lnTo>
                      <a:pt x="179" y="413"/>
                    </a:lnTo>
                    <a:lnTo>
                      <a:pt x="178" y="413"/>
                    </a:lnTo>
                    <a:lnTo>
                      <a:pt x="178" y="412"/>
                    </a:lnTo>
                    <a:close/>
                    <a:moveTo>
                      <a:pt x="325" y="466"/>
                    </a:moveTo>
                    <a:lnTo>
                      <a:pt x="325" y="467"/>
                    </a:lnTo>
                    <a:lnTo>
                      <a:pt x="325" y="466"/>
                    </a:lnTo>
                    <a:close/>
                    <a:moveTo>
                      <a:pt x="309" y="457"/>
                    </a:moveTo>
                    <a:lnTo>
                      <a:pt x="310" y="457"/>
                    </a:lnTo>
                    <a:lnTo>
                      <a:pt x="310" y="459"/>
                    </a:lnTo>
                    <a:lnTo>
                      <a:pt x="309" y="459"/>
                    </a:lnTo>
                    <a:lnTo>
                      <a:pt x="309" y="457"/>
                    </a:lnTo>
                    <a:close/>
                    <a:moveTo>
                      <a:pt x="447" y="530"/>
                    </a:moveTo>
                    <a:lnTo>
                      <a:pt x="448" y="530"/>
                    </a:lnTo>
                    <a:lnTo>
                      <a:pt x="448" y="531"/>
                    </a:lnTo>
                    <a:lnTo>
                      <a:pt x="447" y="531"/>
                    </a:lnTo>
                    <a:lnTo>
                      <a:pt x="447" y="530"/>
                    </a:lnTo>
                    <a:close/>
                    <a:moveTo>
                      <a:pt x="452" y="596"/>
                    </a:moveTo>
                    <a:lnTo>
                      <a:pt x="453" y="596"/>
                    </a:lnTo>
                    <a:lnTo>
                      <a:pt x="452" y="596"/>
                    </a:lnTo>
                    <a:close/>
                    <a:moveTo>
                      <a:pt x="416" y="388"/>
                    </a:moveTo>
                    <a:lnTo>
                      <a:pt x="416" y="389"/>
                    </a:lnTo>
                    <a:lnTo>
                      <a:pt x="416" y="388"/>
                    </a:lnTo>
                    <a:close/>
                    <a:moveTo>
                      <a:pt x="423" y="378"/>
                    </a:moveTo>
                    <a:lnTo>
                      <a:pt x="423" y="379"/>
                    </a:lnTo>
                    <a:lnTo>
                      <a:pt x="423" y="378"/>
                    </a:lnTo>
                    <a:close/>
                    <a:moveTo>
                      <a:pt x="206" y="415"/>
                    </a:moveTo>
                    <a:lnTo>
                      <a:pt x="207" y="415"/>
                    </a:lnTo>
                    <a:lnTo>
                      <a:pt x="206" y="415"/>
                    </a:lnTo>
                    <a:close/>
                    <a:moveTo>
                      <a:pt x="477" y="547"/>
                    </a:moveTo>
                    <a:lnTo>
                      <a:pt x="477" y="549"/>
                    </a:lnTo>
                    <a:lnTo>
                      <a:pt x="477" y="547"/>
                    </a:lnTo>
                    <a:close/>
                    <a:moveTo>
                      <a:pt x="445" y="516"/>
                    </a:moveTo>
                    <a:lnTo>
                      <a:pt x="446" y="516"/>
                    </a:lnTo>
                    <a:lnTo>
                      <a:pt x="445" y="516"/>
                    </a:lnTo>
                    <a:close/>
                    <a:moveTo>
                      <a:pt x="242" y="399"/>
                    </a:moveTo>
                    <a:lnTo>
                      <a:pt x="243" y="399"/>
                    </a:lnTo>
                    <a:lnTo>
                      <a:pt x="242" y="399"/>
                    </a:lnTo>
                    <a:close/>
                    <a:moveTo>
                      <a:pt x="437" y="536"/>
                    </a:moveTo>
                    <a:lnTo>
                      <a:pt x="438" y="536"/>
                    </a:lnTo>
                    <a:lnTo>
                      <a:pt x="437" y="536"/>
                    </a:lnTo>
                    <a:close/>
                    <a:moveTo>
                      <a:pt x="193" y="351"/>
                    </a:moveTo>
                    <a:lnTo>
                      <a:pt x="194" y="351"/>
                    </a:lnTo>
                    <a:lnTo>
                      <a:pt x="193" y="351"/>
                    </a:lnTo>
                    <a:close/>
                    <a:moveTo>
                      <a:pt x="483" y="426"/>
                    </a:moveTo>
                    <a:lnTo>
                      <a:pt x="484" y="426"/>
                    </a:lnTo>
                    <a:lnTo>
                      <a:pt x="484" y="427"/>
                    </a:lnTo>
                    <a:lnTo>
                      <a:pt x="483" y="427"/>
                    </a:lnTo>
                    <a:lnTo>
                      <a:pt x="483" y="426"/>
                    </a:lnTo>
                    <a:close/>
                    <a:moveTo>
                      <a:pt x="235" y="391"/>
                    </a:moveTo>
                    <a:lnTo>
                      <a:pt x="236" y="391"/>
                    </a:lnTo>
                    <a:lnTo>
                      <a:pt x="235" y="391"/>
                    </a:lnTo>
                    <a:close/>
                    <a:moveTo>
                      <a:pt x="156" y="390"/>
                    </a:moveTo>
                    <a:lnTo>
                      <a:pt x="156" y="391"/>
                    </a:lnTo>
                    <a:lnTo>
                      <a:pt x="156" y="390"/>
                    </a:lnTo>
                    <a:close/>
                    <a:moveTo>
                      <a:pt x="210" y="418"/>
                    </a:moveTo>
                    <a:lnTo>
                      <a:pt x="210" y="420"/>
                    </a:lnTo>
                    <a:lnTo>
                      <a:pt x="210" y="418"/>
                    </a:lnTo>
                    <a:close/>
                    <a:moveTo>
                      <a:pt x="502" y="592"/>
                    </a:moveTo>
                    <a:lnTo>
                      <a:pt x="503" y="592"/>
                    </a:lnTo>
                    <a:lnTo>
                      <a:pt x="502" y="592"/>
                    </a:lnTo>
                    <a:close/>
                    <a:moveTo>
                      <a:pt x="503" y="562"/>
                    </a:moveTo>
                    <a:lnTo>
                      <a:pt x="504" y="562"/>
                    </a:lnTo>
                    <a:lnTo>
                      <a:pt x="503" y="562"/>
                    </a:lnTo>
                    <a:close/>
                    <a:moveTo>
                      <a:pt x="188" y="352"/>
                    </a:moveTo>
                    <a:lnTo>
                      <a:pt x="189" y="352"/>
                    </a:lnTo>
                    <a:lnTo>
                      <a:pt x="188" y="352"/>
                    </a:lnTo>
                    <a:close/>
                    <a:moveTo>
                      <a:pt x="404" y="375"/>
                    </a:moveTo>
                    <a:lnTo>
                      <a:pt x="406" y="375"/>
                    </a:lnTo>
                    <a:lnTo>
                      <a:pt x="406" y="376"/>
                    </a:lnTo>
                    <a:lnTo>
                      <a:pt x="404" y="376"/>
                    </a:lnTo>
                    <a:lnTo>
                      <a:pt x="404" y="375"/>
                    </a:lnTo>
                    <a:close/>
                    <a:moveTo>
                      <a:pt x="498" y="434"/>
                    </a:moveTo>
                    <a:lnTo>
                      <a:pt x="498" y="435"/>
                    </a:lnTo>
                    <a:lnTo>
                      <a:pt x="498" y="434"/>
                    </a:lnTo>
                    <a:close/>
                    <a:moveTo>
                      <a:pt x="442" y="540"/>
                    </a:moveTo>
                    <a:lnTo>
                      <a:pt x="442" y="541"/>
                    </a:lnTo>
                    <a:lnTo>
                      <a:pt x="442" y="540"/>
                    </a:lnTo>
                    <a:close/>
                    <a:moveTo>
                      <a:pt x="236" y="387"/>
                    </a:moveTo>
                    <a:lnTo>
                      <a:pt x="236" y="388"/>
                    </a:lnTo>
                    <a:lnTo>
                      <a:pt x="236" y="387"/>
                    </a:lnTo>
                    <a:close/>
                    <a:moveTo>
                      <a:pt x="395" y="366"/>
                    </a:moveTo>
                    <a:lnTo>
                      <a:pt x="396" y="366"/>
                    </a:lnTo>
                    <a:lnTo>
                      <a:pt x="396" y="367"/>
                    </a:lnTo>
                    <a:lnTo>
                      <a:pt x="395" y="367"/>
                    </a:lnTo>
                    <a:lnTo>
                      <a:pt x="395" y="366"/>
                    </a:lnTo>
                    <a:close/>
                    <a:moveTo>
                      <a:pt x="503" y="551"/>
                    </a:moveTo>
                    <a:lnTo>
                      <a:pt x="503" y="552"/>
                    </a:lnTo>
                    <a:lnTo>
                      <a:pt x="503" y="551"/>
                    </a:lnTo>
                    <a:close/>
                    <a:moveTo>
                      <a:pt x="504" y="435"/>
                    </a:moveTo>
                    <a:lnTo>
                      <a:pt x="505" y="435"/>
                    </a:lnTo>
                    <a:lnTo>
                      <a:pt x="505" y="436"/>
                    </a:lnTo>
                    <a:lnTo>
                      <a:pt x="504" y="436"/>
                    </a:lnTo>
                    <a:lnTo>
                      <a:pt x="504" y="435"/>
                    </a:lnTo>
                    <a:close/>
                    <a:moveTo>
                      <a:pt x="410" y="371"/>
                    </a:moveTo>
                    <a:lnTo>
                      <a:pt x="411" y="371"/>
                    </a:lnTo>
                    <a:lnTo>
                      <a:pt x="411" y="372"/>
                    </a:lnTo>
                    <a:lnTo>
                      <a:pt x="410" y="372"/>
                    </a:lnTo>
                    <a:lnTo>
                      <a:pt x="410" y="371"/>
                    </a:lnTo>
                    <a:close/>
                    <a:moveTo>
                      <a:pt x="325" y="467"/>
                    </a:moveTo>
                    <a:lnTo>
                      <a:pt x="325" y="468"/>
                    </a:lnTo>
                    <a:lnTo>
                      <a:pt x="325" y="467"/>
                    </a:lnTo>
                    <a:close/>
                    <a:moveTo>
                      <a:pt x="195" y="405"/>
                    </a:moveTo>
                    <a:lnTo>
                      <a:pt x="195" y="406"/>
                    </a:lnTo>
                    <a:lnTo>
                      <a:pt x="195" y="405"/>
                    </a:lnTo>
                    <a:close/>
                    <a:moveTo>
                      <a:pt x="408" y="378"/>
                    </a:moveTo>
                    <a:lnTo>
                      <a:pt x="408" y="379"/>
                    </a:lnTo>
                    <a:lnTo>
                      <a:pt x="408" y="378"/>
                    </a:lnTo>
                    <a:close/>
                    <a:moveTo>
                      <a:pt x="544" y="554"/>
                    </a:moveTo>
                    <a:lnTo>
                      <a:pt x="545" y="554"/>
                    </a:lnTo>
                    <a:lnTo>
                      <a:pt x="545" y="555"/>
                    </a:lnTo>
                    <a:lnTo>
                      <a:pt x="544" y="555"/>
                    </a:lnTo>
                    <a:lnTo>
                      <a:pt x="544" y="554"/>
                    </a:lnTo>
                    <a:close/>
                    <a:moveTo>
                      <a:pt x="416" y="653"/>
                    </a:moveTo>
                    <a:lnTo>
                      <a:pt x="416" y="654"/>
                    </a:lnTo>
                    <a:lnTo>
                      <a:pt x="416" y="653"/>
                    </a:lnTo>
                    <a:close/>
                    <a:moveTo>
                      <a:pt x="486" y="547"/>
                    </a:moveTo>
                    <a:lnTo>
                      <a:pt x="486" y="549"/>
                    </a:lnTo>
                    <a:lnTo>
                      <a:pt x="486" y="547"/>
                    </a:lnTo>
                    <a:close/>
                    <a:moveTo>
                      <a:pt x="240" y="399"/>
                    </a:moveTo>
                    <a:lnTo>
                      <a:pt x="241" y="399"/>
                    </a:lnTo>
                    <a:lnTo>
                      <a:pt x="240" y="399"/>
                    </a:lnTo>
                    <a:close/>
                    <a:moveTo>
                      <a:pt x="221" y="402"/>
                    </a:moveTo>
                    <a:lnTo>
                      <a:pt x="222" y="402"/>
                    </a:lnTo>
                    <a:lnTo>
                      <a:pt x="222" y="403"/>
                    </a:lnTo>
                    <a:lnTo>
                      <a:pt x="221" y="403"/>
                    </a:lnTo>
                    <a:lnTo>
                      <a:pt x="221" y="402"/>
                    </a:lnTo>
                    <a:close/>
                    <a:moveTo>
                      <a:pt x="490" y="427"/>
                    </a:moveTo>
                    <a:lnTo>
                      <a:pt x="490" y="428"/>
                    </a:lnTo>
                    <a:lnTo>
                      <a:pt x="490" y="427"/>
                    </a:lnTo>
                    <a:close/>
                    <a:moveTo>
                      <a:pt x="434" y="371"/>
                    </a:moveTo>
                    <a:lnTo>
                      <a:pt x="435" y="371"/>
                    </a:lnTo>
                    <a:lnTo>
                      <a:pt x="434" y="371"/>
                    </a:lnTo>
                    <a:close/>
                    <a:moveTo>
                      <a:pt x="220" y="408"/>
                    </a:moveTo>
                    <a:lnTo>
                      <a:pt x="221" y="408"/>
                    </a:lnTo>
                    <a:lnTo>
                      <a:pt x="220" y="408"/>
                    </a:lnTo>
                    <a:close/>
                    <a:moveTo>
                      <a:pt x="219" y="404"/>
                    </a:moveTo>
                    <a:lnTo>
                      <a:pt x="220" y="404"/>
                    </a:lnTo>
                    <a:lnTo>
                      <a:pt x="219" y="404"/>
                    </a:lnTo>
                    <a:close/>
                    <a:moveTo>
                      <a:pt x="252" y="273"/>
                    </a:moveTo>
                    <a:lnTo>
                      <a:pt x="252" y="274"/>
                    </a:lnTo>
                    <a:lnTo>
                      <a:pt x="252" y="273"/>
                    </a:lnTo>
                    <a:close/>
                    <a:moveTo>
                      <a:pt x="324" y="467"/>
                    </a:moveTo>
                    <a:lnTo>
                      <a:pt x="325" y="467"/>
                    </a:lnTo>
                    <a:lnTo>
                      <a:pt x="324" y="467"/>
                    </a:lnTo>
                    <a:close/>
                    <a:moveTo>
                      <a:pt x="568" y="566"/>
                    </a:moveTo>
                    <a:lnTo>
                      <a:pt x="569" y="566"/>
                    </a:lnTo>
                    <a:lnTo>
                      <a:pt x="568" y="566"/>
                    </a:lnTo>
                    <a:close/>
                    <a:moveTo>
                      <a:pt x="439" y="647"/>
                    </a:moveTo>
                    <a:lnTo>
                      <a:pt x="439" y="648"/>
                    </a:lnTo>
                    <a:lnTo>
                      <a:pt x="439" y="647"/>
                    </a:lnTo>
                    <a:close/>
                    <a:moveTo>
                      <a:pt x="506" y="564"/>
                    </a:moveTo>
                    <a:lnTo>
                      <a:pt x="507" y="564"/>
                    </a:lnTo>
                    <a:lnTo>
                      <a:pt x="506" y="564"/>
                    </a:lnTo>
                    <a:close/>
                    <a:moveTo>
                      <a:pt x="407" y="374"/>
                    </a:moveTo>
                    <a:lnTo>
                      <a:pt x="408" y="374"/>
                    </a:lnTo>
                    <a:lnTo>
                      <a:pt x="407" y="374"/>
                    </a:lnTo>
                    <a:close/>
                    <a:moveTo>
                      <a:pt x="501" y="554"/>
                    </a:moveTo>
                    <a:lnTo>
                      <a:pt x="501" y="555"/>
                    </a:lnTo>
                    <a:lnTo>
                      <a:pt x="501" y="554"/>
                    </a:lnTo>
                    <a:close/>
                    <a:moveTo>
                      <a:pt x="413" y="386"/>
                    </a:moveTo>
                    <a:lnTo>
                      <a:pt x="414" y="386"/>
                    </a:lnTo>
                    <a:lnTo>
                      <a:pt x="414" y="387"/>
                    </a:lnTo>
                    <a:lnTo>
                      <a:pt x="413" y="387"/>
                    </a:lnTo>
                    <a:lnTo>
                      <a:pt x="413" y="386"/>
                    </a:lnTo>
                    <a:close/>
                    <a:moveTo>
                      <a:pt x="414" y="378"/>
                    </a:moveTo>
                    <a:lnTo>
                      <a:pt x="415" y="378"/>
                    </a:lnTo>
                    <a:lnTo>
                      <a:pt x="415" y="379"/>
                    </a:lnTo>
                    <a:lnTo>
                      <a:pt x="414" y="379"/>
                    </a:lnTo>
                    <a:lnTo>
                      <a:pt x="414" y="378"/>
                    </a:lnTo>
                    <a:close/>
                    <a:moveTo>
                      <a:pt x="465" y="611"/>
                    </a:moveTo>
                    <a:lnTo>
                      <a:pt x="466" y="611"/>
                    </a:lnTo>
                    <a:lnTo>
                      <a:pt x="465" y="611"/>
                    </a:lnTo>
                    <a:close/>
                    <a:moveTo>
                      <a:pt x="505" y="564"/>
                    </a:moveTo>
                    <a:lnTo>
                      <a:pt x="506" y="564"/>
                    </a:lnTo>
                    <a:lnTo>
                      <a:pt x="506" y="565"/>
                    </a:lnTo>
                    <a:lnTo>
                      <a:pt x="505" y="565"/>
                    </a:lnTo>
                    <a:lnTo>
                      <a:pt x="505" y="564"/>
                    </a:lnTo>
                    <a:close/>
                    <a:moveTo>
                      <a:pt x="197" y="375"/>
                    </a:moveTo>
                    <a:lnTo>
                      <a:pt x="199" y="375"/>
                    </a:lnTo>
                    <a:lnTo>
                      <a:pt x="197" y="375"/>
                    </a:lnTo>
                    <a:close/>
                    <a:moveTo>
                      <a:pt x="197" y="405"/>
                    </a:moveTo>
                    <a:lnTo>
                      <a:pt x="199" y="405"/>
                    </a:lnTo>
                    <a:lnTo>
                      <a:pt x="197" y="405"/>
                    </a:lnTo>
                    <a:close/>
                    <a:moveTo>
                      <a:pt x="207" y="393"/>
                    </a:moveTo>
                    <a:lnTo>
                      <a:pt x="207" y="395"/>
                    </a:lnTo>
                    <a:lnTo>
                      <a:pt x="207" y="393"/>
                    </a:lnTo>
                    <a:close/>
                    <a:moveTo>
                      <a:pt x="281" y="409"/>
                    </a:moveTo>
                    <a:lnTo>
                      <a:pt x="281" y="410"/>
                    </a:lnTo>
                    <a:lnTo>
                      <a:pt x="281" y="409"/>
                    </a:lnTo>
                    <a:close/>
                    <a:moveTo>
                      <a:pt x="494" y="566"/>
                    </a:moveTo>
                    <a:lnTo>
                      <a:pt x="494" y="567"/>
                    </a:lnTo>
                    <a:lnTo>
                      <a:pt x="494" y="566"/>
                    </a:lnTo>
                    <a:close/>
                    <a:moveTo>
                      <a:pt x="557" y="550"/>
                    </a:moveTo>
                    <a:lnTo>
                      <a:pt x="557" y="551"/>
                    </a:lnTo>
                    <a:lnTo>
                      <a:pt x="557" y="550"/>
                    </a:lnTo>
                    <a:close/>
                    <a:moveTo>
                      <a:pt x="409" y="367"/>
                    </a:moveTo>
                    <a:lnTo>
                      <a:pt x="410" y="367"/>
                    </a:lnTo>
                    <a:lnTo>
                      <a:pt x="409" y="367"/>
                    </a:lnTo>
                    <a:close/>
                    <a:moveTo>
                      <a:pt x="543" y="557"/>
                    </a:moveTo>
                    <a:lnTo>
                      <a:pt x="544" y="557"/>
                    </a:lnTo>
                    <a:lnTo>
                      <a:pt x="543" y="557"/>
                    </a:lnTo>
                    <a:close/>
                    <a:moveTo>
                      <a:pt x="227" y="405"/>
                    </a:moveTo>
                    <a:lnTo>
                      <a:pt x="227" y="406"/>
                    </a:lnTo>
                    <a:lnTo>
                      <a:pt x="227" y="405"/>
                    </a:lnTo>
                    <a:close/>
                    <a:moveTo>
                      <a:pt x="449" y="528"/>
                    </a:moveTo>
                    <a:lnTo>
                      <a:pt x="450" y="528"/>
                    </a:lnTo>
                    <a:lnTo>
                      <a:pt x="449" y="528"/>
                    </a:lnTo>
                    <a:close/>
                    <a:moveTo>
                      <a:pt x="205" y="413"/>
                    </a:moveTo>
                    <a:lnTo>
                      <a:pt x="206" y="413"/>
                    </a:lnTo>
                    <a:lnTo>
                      <a:pt x="205" y="413"/>
                    </a:lnTo>
                    <a:close/>
                    <a:moveTo>
                      <a:pt x="492" y="569"/>
                    </a:moveTo>
                    <a:lnTo>
                      <a:pt x="493" y="569"/>
                    </a:lnTo>
                    <a:lnTo>
                      <a:pt x="492" y="569"/>
                    </a:lnTo>
                    <a:close/>
                    <a:moveTo>
                      <a:pt x="553" y="422"/>
                    </a:moveTo>
                    <a:lnTo>
                      <a:pt x="554" y="422"/>
                    </a:lnTo>
                    <a:lnTo>
                      <a:pt x="553" y="422"/>
                    </a:lnTo>
                    <a:close/>
                    <a:moveTo>
                      <a:pt x="543" y="537"/>
                    </a:moveTo>
                    <a:lnTo>
                      <a:pt x="544" y="537"/>
                    </a:lnTo>
                    <a:lnTo>
                      <a:pt x="544" y="538"/>
                    </a:lnTo>
                    <a:lnTo>
                      <a:pt x="543" y="538"/>
                    </a:lnTo>
                    <a:lnTo>
                      <a:pt x="543" y="537"/>
                    </a:lnTo>
                    <a:close/>
                    <a:moveTo>
                      <a:pt x="310" y="459"/>
                    </a:moveTo>
                    <a:lnTo>
                      <a:pt x="311" y="459"/>
                    </a:lnTo>
                    <a:lnTo>
                      <a:pt x="310" y="459"/>
                    </a:lnTo>
                    <a:close/>
                    <a:moveTo>
                      <a:pt x="434" y="371"/>
                    </a:moveTo>
                    <a:lnTo>
                      <a:pt x="435" y="371"/>
                    </a:lnTo>
                    <a:lnTo>
                      <a:pt x="434" y="371"/>
                    </a:lnTo>
                    <a:close/>
                    <a:moveTo>
                      <a:pt x="439" y="647"/>
                    </a:moveTo>
                    <a:lnTo>
                      <a:pt x="440" y="647"/>
                    </a:lnTo>
                    <a:lnTo>
                      <a:pt x="439" y="647"/>
                    </a:lnTo>
                    <a:close/>
                    <a:moveTo>
                      <a:pt x="439" y="647"/>
                    </a:moveTo>
                    <a:lnTo>
                      <a:pt x="440" y="647"/>
                    </a:lnTo>
                    <a:lnTo>
                      <a:pt x="439" y="647"/>
                    </a:lnTo>
                    <a:close/>
                    <a:moveTo>
                      <a:pt x="416" y="388"/>
                    </a:moveTo>
                    <a:lnTo>
                      <a:pt x="418" y="388"/>
                    </a:lnTo>
                    <a:lnTo>
                      <a:pt x="418" y="389"/>
                    </a:lnTo>
                    <a:lnTo>
                      <a:pt x="416" y="389"/>
                    </a:lnTo>
                    <a:lnTo>
                      <a:pt x="416" y="388"/>
                    </a:lnTo>
                    <a:close/>
                    <a:moveTo>
                      <a:pt x="241" y="399"/>
                    </a:moveTo>
                    <a:lnTo>
                      <a:pt x="241" y="400"/>
                    </a:lnTo>
                    <a:lnTo>
                      <a:pt x="241" y="399"/>
                    </a:lnTo>
                    <a:close/>
                    <a:moveTo>
                      <a:pt x="569" y="551"/>
                    </a:moveTo>
                    <a:lnTo>
                      <a:pt x="570" y="551"/>
                    </a:lnTo>
                    <a:lnTo>
                      <a:pt x="570" y="552"/>
                    </a:lnTo>
                    <a:lnTo>
                      <a:pt x="569" y="552"/>
                    </a:lnTo>
                    <a:lnTo>
                      <a:pt x="569" y="551"/>
                    </a:lnTo>
                    <a:close/>
                    <a:moveTo>
                      <a:pt x="412" y="549"/>
                    </a:moveTo>
                    <a:lnTo>
                      <a:pt x="412" y="550"/>
                    </a:lnTo>
                    <a:lnTo>
                      <a:pt x="412" y="549"/>
                    </a:lnTo>
                    <a:close/>
                    <a:moveTo>
                      <a:pt x="323" y="467"/>
                    </a:moveTo>
                    <a:lnTo>
                      <a:pt x="324" y="467"/>
                    </a:lnTo>
                    <a:lnTo>
                      <a:pt x="323" y="467"/>
                    </a:lnTo>
                    <a:close/>
                    <a:moveTo>
                      <a:pt x="448" y="531"/>
                    </a:moveTo>
                    <a:lnTo>
                      <a:pt x="449" y="531"/>
                    </a:lnTo>
                    <a:lnTo>
                      <a:pt x="448" y="531"/>
                    </a:lnTo>
                    <a:close/>
                    <a:moveTo>
                      <a:pt x="455" y="527"/>
                    </a:moveTo>
                    <a:lnTo>
                      <a:pt x="455" y="528"/>
                    </a:lnTo>
                    <a:lnTo>
                      <a:pt x="455" y="527"/>
                    </a:lnTo>
                    <a:close/>
                    <a:moveTo>
                      <a:pt x="154" y="386"/>
                    </a:moveTo>
                    <a:lnTo>
                      <a:pt x="155" y="386"/>
                    </a:lnTo>
                    <a:lnTo>
                      <a:pt x="154" y="386"/>
                    </a:lnTo>
                    <a:close/>
                    <a:moveTo>
                      <a:pt x="416" y="385"/>
                    </a:moveTo>
                    <a:lnTo>
                      <a:pt x="418" y="385"/>
                    </a:lnTo>
                    <a:lnTo>
                      <a:pt x="416" y="385"/>
                    </a:lnTo>
                    <a:close/>
                    <a:moveTo>
                      <a:pt x="451" y="597"/>
                    </a:moveTo>
                    <a:lnTo>
                      <a:pt x="451" y="598"/>
                    </a:lnTo>
                    <a:lnTo>
                      <a:pt x="451" y="597"/>
                    </a:lnTo>
                    <a:close/>
                    <a:moveTo>
                      <a:pt x="194" y="350"/>
                    </a:moveTo>
                    <a:lnTo>
                      <a:pt x="194" y="351"/>
                    </a:lnTo>
                    <a:lnTo>
                      <a:pt x="194" y="350"/>
                    </a:lnTo>
                    <a:close/>
                    <a:moveTo>
                      <a:pt x="545" y="603"/>
                    </a:moveTo>
                    <a:lnTo>
                      <a:pt x="545" y="604"/>
                    </a:lnTo>
                    <a:lnTo>
                      <a:pt x="545" y="603"/>
                    </a:lnTo>
                    <a:close/>
                    <a:moveTo>
                      <a:pt x="448" y="533"/>
                    </a:moveTo>
                    <a:lnTo>
                      <a:pt x="448" y="534"/>
                    </a:lnTo>
                    <a:lnTo>
                      <a:pt x="448" y="533"/>
                    </a:lnTo>
                    <a:close/>
                    <a:moveTo>
                      <a:pt x="447" y="538"/>
                    </a:moveTo>
                    <a:lnTo>
                      <a:pt x="448" y="538"/>
                    </a:lnTo>
                    <a:lnTo>
                      <a:pt x="447" y="538"/>
                    </a:lnTo>
                    <a:close/>
                    <a:moveTo>
                      <a:pt x="394" y="365"/>
                    </a:moveTo>
                    <a:lnTo>
                      <a:pt x="394" y="366"/>
                    </a:lnTo>
                    <a:lnTo>
                      <a:pt x="394" y="365"/>
                    </a:lnTo>
                    <a:close/>
                    <a:moveTo>
                      <a:pt x="452" y="525"/>
                    </a:moveTo>
                    <a:lnTo>
                      <a:pt x="453" y="525"/>
                    </a:lnTo>
                    <a:lnTo>
                      <a:pt x="452" y="525"/>
                    </a:lnTo>
                    <a:close/>
                    <a:moveTo>
                      <a:pt x="396" y="366"/>
                    </a:moveTo>
                    <a:lnTo>
                      <a:pt x="396" y="367"/>
                    </a:lnTo>
                    <a:lnTo>
                      <a:pt x="396" y="366"/>
                    </a:lnTo>
                    <a:close/>
                    <a:moveTo>
                      <a:pt x="199" y="405"/>
                    </a:moveTo>
                    <a:lnTo>
                      <a:pt x="199" y="406"/>
                    </a:lnTo>
                    <a:lnTo>
                      <a:pt x="199" y="405"/>
                    </a:lnTo>
                    <a:close/>
                    <a:moveTo>
                      <a:pt x="226" y="405"/>
                    </a:moveTo>
                    <a:lnTo>
                      <a:pt x="227" y="405"/>
                    </a:lnTo>
                    <a:lnTo>
                      <a:pt x="227" y="406"/>
                    </a:lnTo>
                    <a:lnTo>
                      <a:pt x="226" y="406"/>
                    </a:lnTo>
                    <a:lnTo>
                      <a:pt x="226" y="405"/>
                    </a:lnTo>
                    <a:close/>
                    <a:moveTo>
                      <a:pt x="486" y="510"/>
                    </a:moveTo>
                    <a:lnTo>
                      <a:pt x="486" y="511"/>
                    </a:lnTo>
                    <a:lnTo>
                      <a:pt x="486" y="510"/>
                    </a:lnTo>
                    <a:close/>
                    <a:moveTo>
                      <a:pt x="182" y="404"/>
                    </a:moveTo>
                    <a:lnTo>
                      <a:pt x="182" y="405"/>
                    </a:lnTo>
                    <a:lnTo>
                      <a:pt x="182" y="404"/>
                    </a:lnTo>
                    <a:close/>
                    <a:moveTo>
                      <a:pt x="440" y="551"/>
                    </a:moveTo>
                    <a:lnTo>
                      <a:pt x="441" y="551"/>
                    </a:lnTo>
                    <a:lnTo>
                      <a:pt x="440" y="551"/>
                    </a:lnTo>
                    <a:close/>
                    <a:moveTo>
                      <a:pt x="207" y="405"/>
                    </a:moveTo>
                    <a:lnTo>
                      <a:pt x="208" y="405"/>
                    </a:lnTo>
                    <a:lnTo>
                      <a:pt x="207" y="405"/>
                    </a:lnTo>
                    <a:close/>
                    <a:moveTo>
                      <a:pt x="188" y="357"/>
                    </a:moveTo>
                    <a:lnTo>
                      <a:pt x="188" y="358"/>
                    </a:lnTo>
                    <a:lnTo>
                      <a:pt x="188" y="357"/>
                    </a:lnTo>
                    <a:close/>
                    <a:moveTo>
                      <a:pt x="317" y="349"/>
                    </a:moveTo>
                    <a:lnTo>
                      <a:pt x="318" y="349"/>
                    </a:lnTo>
                    <a:lnTo>
                      <a:pt x="317" y="349"/>
                    </a:lnTo>
                    <a:close/>
                    <a:moveTo>
                      <a:pt x="155" y="390"/>
                    </a:moveTo>
                    <a:lnTo>
                      <a:pt x="156" y="390"/>
                    </a:lnTo>
                    <a:lnTo>
                      <a:pt x="155" y="390"/>
                    </a:lnTo>
                    <a:close/>
                    <a:moveTo>
                      <a:pt x="477" y="547"/>
                    </a:moveTo>
                    <a:lnTo>
                      <a:pt x="477" y="549"/>
                    </a:lnTo>
                    <a:lnTo>
                      <a:pt x="477" y="547"/>
                    </a:lnTo>
                    <a:close/>
                    <a:moveTo>
                      <a:pt x="187" y="357"/>
                    </a:moveTo>
                    <a:lnTo>
                      <a:pt x="188" y="357"/>
                    </a:lnTo>
                    <a:lnTo>
                      <a:pt x="187" y="357"/>
                    </a:lnTo>
                    <a:close/>
                    <a:moveTo>
                      <a:pt x="449" y="595"/>
                    </a:moveTo>
                    <a:lnTo>
                      <a:pt x="449" y="596"/>
                    </a:lnTo>
                    <a:lnTo>
                      <a:pt x="449" y="595"/>
                    </a:lnTo>
                    <a:close/>
                    <a:moveTo>
                      <a:pt x="223" y="402"/>
                    </a:moveTo>
                    <a:lnTo>
                      <a:pt x="223" y="403"/>
                    </a:lnTo>
                    <a:lnTo>
                      <a:pt x="223" y="402"/>
                    </a:lnTo>
                    <a:close/>
                    <a:moveTo>
                      <a:pt x="446" y="533"/>
                    </a:moveTo>
                    <a:lnTo>
                      <a:pt x="447" y="533"/>
                    </a:lnTo>
                    <a:lnTo>
                      <a:pt x="446" y="533"/>
                    </a:lnTo>
                    <a:close/>
                    <a:moveTo>
                      <a:pt x="155" y="390"/>
                    </a:moveTo>
                    <a:lnTo>
                      <a:pt x="156" y="390"/>
                    </a:lnTo>
                    <a:lnTo>
                      <a:pt x="156" y="391"/>
                    </a:lnTo>
                    <a:lnTo>
                      <a:pt x="155" y="391"/>
                    </a:lnTo>
                    <a:lnTo>
                      <a:pt x="155" y="390"/>
                    </a:lnTo>
                    <a:close/>
                    <a:moveTo>
                      <a:pt x="178" y="357"/>
                    </a:moveTo>
                    <a:lnTo>
                      <a:pt x="178" y="358"/>
                    </a:lnTo>
                    <a:lnTo>
                      <a:pt x="178" y="357"/>
                    </a:lnTo>
                    <a:close/>
                    <a:moveTo>
                      <a:pt x="178" y="414"/>
                    </a:moveTo>
                    <a:lnTo>
                      <a:pt x="179" y="414"/>
                    </a:lnTo>
                    <a:lnTo>
                      <a:pt x="179" y="415"/>
                    </a:lnTo>
                    <a:lnTo>
                      <a:pt x="178" y="415"/>
                    </a:lnTo>
                    <a:lnTo>
                      <a:pt x="178" y="414"/>
                    </a:lnTo>
                    <a:close/>
                    <a:moveTo>
                      <a:pt x="450" y="597"/>
                    </a:moveTo>
                    <a:lnTo>
                      <a:pt x="451" y="597"/>
                    </a:lnTo>
                    <a:lnTo>
                      <a:pt x="451" y="598"/>
                    </a:lnTo>
                    <a:lnTo>
                      <a:pt x="450" y="598"/>
                    </a:lnTo>
                    <a:lnTo>
                      <a:pt x="450" y="597"/>
                    </a:lnTo>
                    <a:close/>
                    <a:moveTo>
                      <a:pt x="447" y="370"/>
                    </a:moveTo>
                    <a:lnTo>
                      <a:pt x="448" y="370"/>
                    </a:lnTo>
                    <a:lnTo>
                      <a:pt x="447" y="370"/>
                    </a:lnTo>
                    <a:close/>
                    <a:moveTo>
                      <a:pt x="235" y="386"/>
                    </a:moveTo>
                    <a:lnTo>
                      <a:pt x="236" y="386"/>
                    </a:lnTo>
                    <a:lnTo>
                      <a:pt x="235" y="386"/>
                    </a:lnTo>
                    <a:close/>
                    <a:moveTo>
                      <a:pt x="182" y="351"/>
                    </a:moveTo>
                    <a:lnTo>
                      <a:pt x="183" y="351"/>
                    </a:lnTo>
                    <a:lnTo>
                      <a:pt x="182" y="351"/>
                    </a:lnTo>
                    <a:close/>
                    <a:moveTo>
                      <a:pt x="197" y="409"/>
                    </a:moveTo>
                    <a:lnTo>
                      <a:pt x="199" y="409"/>
                    </a:lnTo>
                    <a:lnTo>
                      <a:pt x="197" y="409"/>
                    </a:lnTo>
                    <a:close/>
                    <a:moveTo>
                      <a:pt x="486" y="542"/>
                    </a:moveTo>
                    <a:lnTo>
                      <a:pt x="486" y="543"/>
                    </a:lnTo>
                    <a:lnTo>
                      <a:pt x="486" y="542"/>
                    </a:lnTo>
                    <a:close/>
                    <a:moveTo>
                      <a:pt x="331" y="337"/>
                    </a:moveTo>
                    <a:lnTo>
                      <a:pt x="331" y="338"/>
                    </a:lnTo>
                    <a:lnTo>
                      <a:pt x="331" y="337"/>
                    </a:lnTo>
                    <a:close/>
                    <a:moveTo>
                      <a:pt x="181" y="358"/>
                    </a:moveTo>
                    <a:lnTo>
                      <a:pt x="182" y="358"/>
                    </a:lnTo>
                    <a:lnTo>
                      <a:pt x="181" y="358"/>
                    </a:lnTo>
                    <a:close/>
                    <a:moveTo>
                      <a:pt x="205" y="386"/>
                    </a:moveTo>
                    <a:lnTo>
                      <a:pt x="206" y="386"/>
                    </a:lnTo>
                    <a:lnTo>
                      <a:pt x="205" y="386"/>
                    </a:lnTo>
                    <a:close/>
                    <a:moveTo>
                      <a:pt x="181" y="414"/>
                    </a:moveTo>
                    <a:lnTo>
                      <a:pt x="182" y="414"/>
                    </a:lnTo>
                    <a:lnTo>
                      <a:pt x="181" y="414"/>
                    </a:lnTo>
                    <a:close/>
                    <a:moveTo>
                      <a:pt x="181" y="396"/>
                    </a:moveTo>
                    <a:lnTo>
                      <a:pt x="182" y="396"/>
                    </a:lnTo>
                    <a:lnTo>
                      <a:pt x="182" y="397"/>
                    </a:lnTo>
                    <a:lnTo>
                      <a:pt x="181" y="397"/>
                    </a:lnTo>
                    <a:lnTo>
                      <a:pt x="181" y="396"/>
                    </a:lnTo>
                    <a:close/>
                    <a:moveTo>
                      <a:pt x="199" y="376"/>
                    </a:moveTo>
                    <a:lnTo>
                      <a:pt x="200" y="376"/>
                    </a:lnTo>
                    <a:lnTo>
                      <a:pt x="200" y="377"/>
                    </a:lnTo>
                    <a:lnTo>
                      <a:pt x="199" y="377"/>
                    </a:lnTo>
                    <a:lnTo>
                      <a:pt x="199" y="376"/>
                    </a:lnTo>
                    <a:close/>
                    <a:moveTo>
                      <a:pt x="168" y="346"/>
                    </a:moveTo>
                    <a:lnTo>
                      <a:pt x="168" y="347"/>
                    </a:lnTo>
                    <a:lnTo>
                      <a:pt x="168" y="346"/>
                    </a:lnTo>
                    <a:close/>
                    <a:moveTo>
                      <a:pt x="127" y="413"/>
                    </a:moveTo>
                    <a:lnTo>
                      <a:pt x="128" y="413"/>
                    </a:lnTo>
                    <a:lnTo>
                      <a:pt x="127" y="413"/>
                    </a:lnTo>
                    <a:close/>
                    <a:moveTo>
                      <a:pt x="450" y="598"/>
                    </a:moveTo>
                    <a:lnTo>
                      <a:pt x="451" y="598"/>
                    </a:lnTo>
                    <a:lnTo>
                      <a:pt x="451" y="600"/>
                    </a:lnTo>
                    <a:lnTo>
                      <a:pt x="450" y="600"/>
                    </a:lnTo>
                    <a:lnTo>
                      <a:pt x="450" y="598"/>
                    </a:lnTo>
                    <a:close/>
                    <a:moveTo>
                      <a:pt x="438" y="533"/>
                    </a:moveTo>
                    <a:lnTo>
                      <a:pt x="439" y="533"/>
                    </a:lnTo>
                    <a:lnTo>
                      <a:pt x="438" y="533"/>
                    </a:lnTo>
                    <a:close/>
                    <a:moveTo>
                      <a:pt x="448" y="596"/>
                    </a:moveTo>
                    <a:lnTo>
                      <a:pt x="449" y="596"/>
                    </a:lnTo>
                    <a:lnTo>
                      <a:pt x="448" y="596"/>
                    </a:lnTo>
                    <a:close/>
                    <a:moveTo>
                      <a:pt x="188" y="412"/>
                    </a:moveTo>
                    <a:lnTo>
                      <a:pt x="189" y="412"/>
                    </a:lnTo>
                    <a:lnTo>
                      <a:pt x="188" y="412"/>
                    </a:lnTo>
                    <a:close/>
                    <a:moveTo>
                      <a:pt x="449" y="595"/>
                    </a:moveTo>
                    <a:lnTo>
                      <a:pt x="449" y="596"/>
                    </a:lnTo>
                    <a:lnTo>
                      <a:pt x="449" y="595"/>
                    </a:lnTo>
                    <a:close/>
                    <a:moveTo>
                      <a:pt x="201" y="391"/>
                    </a:moveTo>
                    <a:lnTo>
                      <a:pt x="201" y="392"/>
                    </a:lnTo>
                    <a:lnTo>
                      <a:pt x="201" y="391"/>
                    </a:lnTo>
                    <a:close/>
                    <a:moveTo>
                      <a:pt x="272" y="404"/>
                    </a:moveTo>
                    <a:lnTo>
                      <a:pt x="272" y="405"/>
                    </a:lnTo>
                    <a:lnTo>
                      <a:pt x="272" y="404"/>
                    </a:lnTo>
                    <a:close/>
                  </a:path>
                </a:pathLst>
              </a:custGeom>
              <a:solidFill>
                <a:srgbClr val="D6E9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grpSp>
          <p:nvGrpSpPr>
            <p:cNvPr id="1577" name="Group 1576">
              <a:extLst>
                <a:ext uri="{FF2B5EF4-FFF2-40B4-BE49-F238E27FC236}">
                  <a16:creationId xmlns:a16="http://schemas.microsoft.com/office/drawing/2014/main" id="{DFA07AF8-D243-A20C-D7C5-3D47238E5827}"/>
                </a:ext>
              </a:extLst>
            </p:cNvPr>
            <p:cNvGrpSpPr/>
            <p:nvPr/>
          </p:nvGrpSpPr>
          <p:grpSpPr>
            <a:xfrm>
              <a:off x="6451098" y="1725231"/>
              <a:ext cx="4354348" cy="3980819"/>
              <a:chOff x="1203325" y="1306512"/>
              <a:chExt cx="4354348" cy="3980819"/>
            </a:xfrm>
          </p:grpSpPr>
          <p:sp>
            <p:nvSpPr>
              <p:cNvPr id="1578" name="Rectangle 70">
                <a:extLst>
                  <a:ext uri="{FF2B5EF4-FFF2-40B4-BE49-F238E27FC236}">
                    <a16:creationId xmlns:a16="http://schemas.microsoft.com/office/drawing/2014/main" id="{4500575E-E42E-A732-354E-2A0ACDE70F8B}"/>
                  </a:ext>
                </a:extLst>
              </p:cNvPr>
              <p:cNvSpPr>
                <a:spLocks noChangeArrowheads="1"/>
              </p:cNvSpPr>
              <p:nvPr/>
            </p:nvSpPr>
            <p:spPr bwMode="auto">
              <a:xfrm>
                <a:off x="2747964" y="4725988"/>
                <a:ext cx="28532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Vermilion</a:t>
                </a:r>
              </a:p>
            </p:txBody>
          </p:sp>
          <p:sp>
            <p:nvSpPr>
              <p:cNvPr id="1579" name="Rectangle 71">
                <a:extLst>
                  <a:ext uri="{FF2B5EF4-FFF2-40B4-BE49-F238E27FC236}">
                    <a16:creationId xmlns:a16="http://schemas.microsoft.com/office/drawing/2014/main" id="{6ED7A4B6-94BE-ABE0-30B2-2DD9E66E3CAA}"/>
                  </a:ext>
                </a:extLst>
              </p:cNvPr>
              <p:cNvSpPr>
                <a:spLocks noChangeArrowheads="1"/>
              </p:cNvSpPr>
              <p:nvPr/>
            </p:nvSpPr>
            <p:spPr bwMode="auto">
              <a:xfrm>
                <a:off x="2899609" y="4320059"/>
                <a:ext cx="27268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afayette</a:t>
                </a:r>
              </a:p>
            </p:txBody>
          </p:sp>
          <p:sp>
            <p:nvSpPr>
              <p:cNvPr id="1580" name="Rectangle 72">
                <a:extLst>
                  <a:ext uri="{FF2B5EF4-FFF2-40B4-BE49-F238E27FC236}">
                    <a16:creationId xmlns:a16="http://schemas.microsoft.com/office/drawing/2014/main" id="{0A364348-8C10-2609-AC5B-BD8196612C8D}"/>
                  </a:ext>
                </a:extLst>
              </p:cNvPr>
              <p:cNvSpPr>
                <a:spLocks noChangeArrowheads="1"/>
              </p:cNvSpPr>
              <p:nvPr/>
            </p:nvSpPr>
            <p:spPr bwMode="auto">
              <a:xfrm>
                <a:off x="3049589" y="3878264"/>
                <a:ext cx="288936"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Landry</a:t>
                </a:r>
              </a:p>
            </p:txBody>
          </p:sp>
          <p:sp>
            <p:nvSpPr>
              <p:cNvPr id="1581" name="Rectangle 73">
                <a:extLst>
                  <a:ext uri="{FF2B5EF4-FFF2-40B4-BE49-F238E27FC236}">
                    <a16:creationId xmlns:a16="http://schemas.microsoft.com/office/drawing/2014/main" id="{83C45EE0-B249-31B5-BF72-BCF5FEDCE0C6}"/>
                  </a:ext>
                </a:extLst>
              </p:cNvPr>
              <p:cNvSpPr>
                <a:spLocks noChangeArrowheads="1"/>
              </p:cNvSpPr>
              <p:nvPr/>
            </p:nvSpPr>
            <p:spPr bwMode="auto">
              <a:xfrm>
                <a:off x="2679701" y="4225925"/>
                <a:ext cx="195032"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cadia</a:t>
                </a:r>
              </a:p>
            </p:txBody>
          </p:sp>
          <p:sp>
            <p:nvSpPr>
              <p:cNvPr id="1582" name="Rectangle 74">
                <a:extLst>
                  <a:ext uri="{FF2B5EF4-FFF2-40B4-BE49-F238E27FC236}">
                    <a16:creationId xmlns:a16="http://schemas.microsoft.com/office/drawing/2014/main" id="{1C714225-1E26-7295-81DC-D1E0B8DA60D5}"/>
                  </a:ext>
                </a:extLst>
              </p:cNvPr>
              <p:cNvSpPr>
                <a:spLocks noChangeArrowheads="1"/>
              </p:cNvSpPr>
              <p:nvPr/>
            </p:nvSpPr>
            <p:spPr bwMode="auto">
              <a:xfrm>
                <a:off x="2654301" y="3730625"/>
                <a:ext cx="31783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Evangeline</a:t>
                </a:r>
              </a:p>
            </p:txBody>
          </p:sp>
          <p:sp>
            <p:nvSpPr>
              <p:cNvPr id="1583" name="Rectangle 75">
                <a:extLst>
                  <a:ext uri="{FF2B5EF4-FFF2-40B4-BE49-F238E27FC236}">
                    <a16:creationId xmlns:a16="http://schemas.microsoft.com/office/drawing/2014/main" id="{AC5CB1CB-9F66-E0C8-2FB3-8BAECB03B2E6}"/>
                  </a:ext>
                </a:extLst>
              </p:cNvPr>
              <p:cNvSpPr>
                <a:spLocks noChangeArrowheads="1"/>
              </p:cNvSpPr>
              <p:nvPr/>
            </p:nvSpPr>
            <p:spPr bwMode="auto">
              <a:xfrm>
                <a:off x="2290763" y="3817938"/>
                <a:ext cx="14808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llen</a:t>
                </a:r>
              </a:p>
            </p:txBody>
          </p:sp>
          <p:sp>
            <p:nvSpPr>
              <p:cNvPr id="1584" name="Rectangle 76">
                <a:extLst>
                  <a:ext uri="{FF2B5EF4-FFF2-40B4-BE49-F238E27FC236}">
                    <a16:creationId xmlns:a16="http://schemas.microsoft.com/office/drawing/2014/main" id="{A6A62545-6218-C0CB-8C0D-6187CA127069}"/>
                  </a:ext>
                </a:extLst>
              </p:cNvPr>
              <p:cNvSpPr>
                <a:spLocks noChangeArrowheads="1"/>
              </p:cNvSpPr>
              <p:nvPr/>
            </p:nvSpPr>
            <p:spPr bwMode="auto">
              <a:xfrm>
                <a:off x="1739901" y="3821114"/>
                <a:ext cx="341306"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Beauregard</a:t>
                </a:r>
              </a:p>
            </p:txBody>
          </p:sp>
          <p:sp>
            <p:nvSpPr>
              <p:cNvPr id="1585" name="Rectangle 77">
                <a:extLst>
                  <a:ext uri="{FF2B5EF4-FFF2-40B4-BE49-F238E27FC236}">
                    <a16:creationId xmlns:a16="http://schemas.microsoft.com/office/drawing/2014/main" id="{C27F4299-2E56-0846-F2F7-3C9D0CF77C3C}"/>
                  </a:ext>
                </a:extLst>
              </p:cNvPr>
              <p:cNvSpPr>
                <a:spLocks noChangeArrowheads="1"/>
              </p:cNvSpPr>
              <p:nvPr/>
            </p:nvSpPr>
            <p:spPr bwMode="auto">
              <a:xfrm>
                <a:off x="1739901" y="4295775"/>
                <a:ext cx="27268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alcasieu</a:t>
                </a:r>
              </a:p>
            </p:txBody>
          </p:sp>
          <p:sp>
            <p:nvSpPr>
              <p:cNvPr id="1586" name="Rectangle 78">
                <a:extLst>
                  <a:ext uri="{FF2B5EF4-FFF2-40B4-BE49-F238E27FC236}">
                    <a16:creationId xmlns:a16="http://schemas.microsoft.com/office/drawing/2014/main" id="{C5CB8E62-F8B0-92F5-3F2C-3D714CB87278}"/>
                  </a:ext>
                </a:extLst>
              </p:cNvPr>
              <p:cNvSpPr>
                <a:spLocks noChangeArrowheads="1"/>
              </p:cNvSpPr>
              <p:nvPr/>
            </p:nvSpPr>
            <p:spPr bwMode="auto">
              <a:xfrm>
                <a:off x="2226903" y="4191845"/>
                <a:ext cx="269072" cy="173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Jefferson</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Davis</a:t>
                </a:r>
              </a:p>
            </p:txBody>
          </p:sp>
          <p:sp>
            <p:nvSpPr>
              <p:cNvPr id="1587" name="Rectangle 79">
                <a:extLst>
                  <a:ext uri="{FF2B5EF4-FFF2-40B4-BE49-F238E27FC236}">
                    <a16:creationId xmlns:a16="http://schemas.microsoft.com/office/drawing/2014/main" id="{43A7A380-C58A-E074-2ED9-812B093F7D86}"/>
                  </a:ext>
                </a:extLst>
              </p:cNvPr>
              <p:cNvSpPr>
                <a:spLocks noChangeArrowheads="1"/>
              </p:cNvSpPr>
              <p:nvPr/>
            </p:nvSpPr>
            <p:spPr bwMode="auto">
              <a:xfrm>
                <a:off x="1924051" y="4692650"/>
                <a:ext cx="267265"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ameron</a:t>
                </a:r>
              </a:p>
            </p:txBody>
          </p:sp>
          <p:sp>
            <p:nvSpPr>
              <p:cNvPr id="1588" name="Rectangle 80">
                <a:extLst>
                  <a:ext uri="{FF2B5EF4-FFF2-40B4-BE49-F238E27FC236}">
                    <a16:creationId xmlns:a16="http://schemas.microsoft.com/office/drawing/2014/main" id="{695F113F-D0E3-91E9-85D9-2C4FE3C76806}"/>
                  </a:ext>
                </a:extLst>
              </p:cNvPr>
              <p:cNvSpPr>
                <a:spLocks noChangeArrowheads="1"/>
              </p:cNvSpPr>
              <p:nvPr/>
            </p:nvSpPr>
            <p:spPr bwMode="auto">
              <a:xfrm>
                <a:off x="1381126" y="2220913"/>
                <a:ext cx="22934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De Soto</a:t>
                </a:r>
              </a:p>
            </p:txBody>
          </p:sp>
          <p:sp>
            <p:nvSpPr>
              <p:cNvPr id="1589" name="Rectangle 81">
                <a:extLst>
                  <a:ext uri="{FF2B5EF4-FFF2-40B4-BE49-F238E27FC236}">
                    <a16:creationId xmlns:a16="http://schemas.microsoft.com/office/drawing/2014/main" id="{083C4943-8BE3-EBB2-BB1F-E327E3273D2A}"/>
                  </a:ext>
                </a:extLst>
              </p:cNvPr>
              <p:cNvSpPr>
                <a:spLocks noChangeArrowheads="1"/>
              </p:cNvSpPr>
              <p:nvPr/>
            </p:nvSpPr>
            <p:spPr bwMode="auto">
              <a:xfrm>
                <a:off x="1755776" y="2176463"/>
                <a:ext cx="290743"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Red River</a:t>
                </a:r>
              </a:p>
            </p:txBody>
          </p:sp>
          <p:sp>
            <p:nvSpPr>
              <p:cNvPr id="1590" name="Rectangle 82">
                <a:extLst>
                  <a:ext uri="{FF2B5EF4-FFF2-40B4-BE49-F238E27FC236}">
                    <a16:creationId xmlns:a16="http://schemas.microsoft.com/office/drawing/2014/main" id="{F37406C0-6DD9-3261-7B92-9D8DE8AD6C4B}"/>
                  </a:ext>
                </a:extLst>
              </p:cNvPr>
              <p:cNvSpPr>
                <a:spLocks noChangeArrowheads="1"/>
              </p:cNvSpPr>
              <p:nvPr/>
            </p:nvSpPr>
            <p:spPr bwMode="auto">
              <a:xfrm>
                <a:off x="1874775" y="2682874"/>
                <a:ext cx="384647"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Natchitoches</a:t>
                </a:r>
              </a:p>
            </p:txBody>
          </p:sp>
          <p:sp>
            <p:nvSpPr>
              <p:cNvPr id="1591" name="Rectangle 83">
                <a:extLst>
                  <a:ext uri="{FF2B5EF4-FFF2-40B4-BE49-F238E27FC236}">
                    <a16:creationId xmlns:a16="http://schemas.microsoft.com/office/drawing/2014/main" id="{CD909083-9625-664F-BBF9-59DE240FB32D}"/>
                  </a:ext>
                </a:extLst>
              </p:cNvPr>
              <p:cNvSpPr>
                <a:spLocks noChangeArrowheads="1"/>
              </p:cNvSpPr>
              <p:nvPr/>
            </p:nvSpPr>
            <p:spPr bwMode="auto">
              <a:xfrm>
                <a:off x="1568451" y="2781301"/>
                <a:ext cx="195032"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abine</a:t>
                </a:r>
              </a:p>
            </p:txBody>
          </p:sp>
          <p:sp>
            <p:nvSpPr>
              <p:cNvPr id="1592" name="Rectangle 84">
                <a:extLst>
                  <a:ext uri="{FF2B5EF4-FFF2-40B4-BE49-F238E27FC236}">
                    <a16:creationId xmlns:a16="http://schemas.microsoft.com/office/drawing/2014/main" id="{D898E8D7-2B8C-DF9F-C24D-8414CC1204E5}"/>
                  </a:ext>
                </a:extLst>
              </p:cNvPr>
              <p:cNvSpPr>
                <a:spLocks noChangeArrowheads="1"/>
              </p:cNvSpPr>
              <p:nvPr/>
            </p:nvSpPr>
            <p:spPr bwMode="auto">
              <a:xfrm>
                <a:off x="1927226" y="3302001"/>
                <a:ext cx="22212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Vernon</a:t>
                </a:r>
              </a:p>
            </p:txBody>
          </p:sp>
          <p:sp>
            <p:nvSpPr>
              <p:cNvPr id="1593" name="Rectangle 85">
                <a:extLst>
                  <a:ext uri="{FF2B5EF4-FFF2-40B4-BE49-F238E27FC236}">
                    <a16:creationId xmlns:a16="http://schemas.microsoft.com/office/drawing/2014/main" id="{877CCAB9-2252-2114-7771-9FC23BC33B08}"/>
                  </a:ext>
                </a:extLst>
              </p:cNvPr>
              <p:cNvSpPr>
                <a:spLocks noChangeArrowheads="1"/>
              </p:cNvSpPr>
              <p:nvPr/>
            </p:nvSpPr>
            <p:spPr bwMode="auto">
              <a:xfrm>
                <a:off x="2497139" y="3198441"/>
                <a:ext cx="231149"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Rapides</a:t>
                </a:r>
              </a:p>
            </p:txBody>
          </p:sp>
          <p:sp>
            <p:nvSpPr>
              <p:cNvPr id="1594" name="Rectangle 86">
                <a:extLst>
                  <a:ext uri="{FF2B5EF4-FFF2-40B4-BE49-F238E27FC236}">
                    <a16:creationId xmlns:a16="http://schemas.microsoft.com/office/drawing/2014/main" id="{0B827E73-6108-9B72-9688-86835DCFDF2C}"/>
                  </a:ext>
                </a:extLst>
              </p:cNvPr>
              <p:cNvSpPr>
                <a:spLocks noChangeArrowheads="1"/>
              </p:cNvSpPr>
              <p:nvPr/>
            </p:nvSpPr>
            <p:spPr bwMode="auto">
              <a:xfrm>
                <a:off x="2546351" y="2741614"/>
                <a:ext cx="166138"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Grant</a:t>
                </a:r>
              </a:p>
            </p:txBody>
          </p:sp>
          <p:sp>
            <p:nvSpPr>
              <p:cNvPr id="1595" name="Rectangle 87">
                <a:extLst>
                  <a:ext uri="{FF2B5EF4-FFF2-40B4-BE49-F238E27FC236}">
                    <a16:creationId xmlns:a16="http://schemas.microsoft.com/office/drawing/2014/main" id="{6B1E6786-FF78-8910-A15D-45E884237C57}"/>
                  </a:ext>
                </a:extLst>
              </p:cNvPr>
              <p:cNvSpPr>
                <a:spLocks noChangeArrowheads="1"/>
              </p:cNvSpPr>
              <p:nvPr/>
            </p:nvSpPr>
            <p:spPr bwMode="auto">
              <a:xfrm>
                <a:off x="2920999" y="2654299"/>
                <a:ext cx="20045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aSalle</a:t>
                </a:r>
              </a:p>
            </p:txBody>
          </p:sp>
          <p:sp>
            <p:nvSpPr>
              <p:cNvPr id="1596" name="Rectangle 88">
                <a:extLst>
                  <a:ext uri="{FF2B5EF4-FFF2-40B4-BE49-F238E27FC236}">
                    <a16:creationId xmlns:a16="http://schemas.microsoft.com/office/drawing/2014/main" id="{121ABCD0-0DC2-AC59-7C70-DEF9E1E1F24F}"/>
                  </a:ext>
                </a:extLst>
              </p:cNvPr>
              <p:cNvSpPr>
                <a:spLocks noChangeArrowheads="1"/>
              </p:cNvSpPr>
              <p:nvPr/>
            </p:nvSpPr>
            <p:spPr bwMode="auto">
              <a:xfrm>
                <a:off x="3059112" y="3338513"/>
                <a:ext cx="278101"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voyelles</a:t>
                </a:r>
              </a:p>
            </p:txBody>
          </p:sp>
          <p:sp>
            <p:nvSpPr>
              <p:cNvPr id="1597" name="Rectangle 89">
                <a:extLst>
                  <a:ext uri="{FF2B5EF4-FFF2-40B4-BE49-F238E27FC236}">
                    <a16:creationId xmlns:a16="http://schemas.microsoft.com/office/drawing/2014/main" id="{7C779BD1-DFC4-82EE-41A1-217F9BDE1C2F}"/>
                  </a:ext>
                </a:extLst>
              </p:cNvPr>
              <p:cNvSpPr>
                <a:spLocks noChangeArrowheads="1"/>
              </p:cNvSpPr>
              <p:nvPr/>
            </p:nvSpPr>
            <p:spPr bwMode="auto">
              <a:xfrm>
                <a:off x="2955926" y="2178050"/>
                <a:ext cx="247402"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Caldwell</a:t>
                </a:r>
              </a:p>
            </p:txBody>
          </p:sp>
          <p:sp>
            <p:nvSpPr>
              <p:cNvPr id="1598" name="Rectangle 90">
                <a:extLst>
                  <a:ext uri="{FF2B5EF4-FFF2-40B4-BE49-F238E27FC236}">
                    <a16:creationId xmlns:a16="http://schemas.microsoft.com/office/drawing/2014/main" id="{34D6AD2C-C038-EA30-A69C-710C3C67E546}"/>
                  </a:ext>
                </a:extLst>
              </p:cNvPr>
              <p:cNvSpPr>
                <a:spLocks noChangeArrowheads="1"/>
              </p:cNvSpPr>
              <p:nvPr/>
            </p:nvSpPr>
            <p:spPr bwMode="auto">
              <a:xfrm>
                <a:off x="2474913" y="2347913"/>
                <a:ext cx="162526"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Winn</a:t>
                </a:r>
              </a:p>
            </p:txBody>
          </p:sp>
          <p:sp>
            <p:nvSpPr>
              <p:cNvPr id="1599" name="Rectangle 91">
                <a:extLst>
                  <a:ext uri="{FF2B5EF4-FFF2-40B4-BE49-F238E27FC236}">
                    <a16:creationId xmlns:a16="http://schemas.microsoft.com/office/drawing/2014/main" id="{A8222D90-0422-0125-3A32-E7A822C1542C}"/>
                  </a:ext>
                </a:extLst>
              </p:cNvPr>
              <p:cNvSpPr>
                <a:spLocks noChangeArrowheads="1"/>
              </p:cNvSpPr>
              <p:nvPr/>
            </p:nvSpPr>
            <p:spPr bwMode="auto">
              <a:xfrm>
                <a:off x="2528888" y="1936751"/>
                <a:ext cx="225732"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Jackson</a:t>
                </a:r>
              </a:p>
            </p:txBody>
          </p:sp>
          <p:sp>
            <p:nvSpPr>
              <p:cNvPr id="1600" name="Rectangle 92">
                <a:extLst>
                  <a:ext uri="{FF2B5EF4-FFF2-40B4-BE49-F238E27FC236}">
                    <a16:creationId xmlns:a16="http://schemas.microsoft.com/office/drawing/2014/main" id="{03C59A3A-85B9-6C6C-CBE7-A0314E0DC018}"/>
                  </a:ext>
                </a:extLst>
              </p:cNvPr>
              <p:cNvSpPr>
                <a:spLocks noChangeArrowheads="1"/>
              </p:cNvSpPr>
              <p:nvPr/>
            </p:nvSpPr>
            <p:spPr bwMode="auto">
              <a:xfrm>
                <a:off x="2853532" y="1741166"/>
                <a:ext cx="261849"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Ouachita</a:t>
                </a:r>
              </a:p>
            </p:txBody>
          </p:sp>
          <p:sp>
            <p:nvSpPr>
              <p:cNvPr id="1601" name="Rectangle 93">
                <a:extLst>
                  <a:ext uri="{FF2B5EF4-FFF2-40B4-BE49-F238E27FC236}">
                    <a16:creationId xmlns:a16="http://schemas.microsoft.com/office/drawing/2014/main" id="{354F967F-F9BC-8977-A21B-0C5CAD86260A}"/>
                  </a:ext>
                </a:extLst>
              </p:cNvPr>
              <p:cNvSpPr>
                <a:spLocks noChangeArrowheads="1"/>
              </p:cNvSpPr>
              <p:nvPr/>
            </p:nvSpPr>
            <p:spPr bwMode="auto">
              <a:xfrm>
                <a:off x="2432051" y="1592263"/>
                <a:ext cx="20767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incoln</a:t>
                </a:r>
              </a:p>
            </p:txBody>
          </p:sp>
          <p:sp>
            <p:nvSpPr>
              <p:cNvPr id="1602" name="Rectangle 94">
                <a:extLst>
                  <a:ext uri="{FF2B5EF4-FFF2-40B4-BE49-F238E27FC236}">
                    <a16:creationId xmlns:a16="http://schemas.microsoft.com/office/drawing/2014/main" id="{71759C3B-45F2-676A-84DC-99451BB1116C}"/>
                  </a:ext>
                </a:extLst>
              </p:cNvPr>
              <p:cNvSpPr>
                <a:spLocks noChangeArrowheads="1"/>
              </p:cNvSpPr>
              <p:nvPr/>
            </p:nvSpPr>
            <p:spPr bwMode="auto">
              <a:xfrm>
                <a:off x="2724151" y="1325563"/>
                <a:ext cx="176973"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Union</a:t>
                </a:r>
              </a:p>
            </p:txBody>
          </p:sp>
          <p:sp>
            <p:nvSpPr>
              <p:cNvPr id="1603" name="Rectangle 95">
                <a:extLst>
                  <a:ext uri="{FF2B5EF4-FFF2-40B4-BE49-F238E27FC236}">
                    <a16:creationId xmlns:a16="http://schemas.microsoft.com/office/drawing/2014/main" id="{379E8C3D-5271-3609-E611-BAB55E4FA736}"/>
                  </a:ext>
                </a:extLst>
              </p:cNvPr>
              <p:cNvSpPr>
                <a:spLocks noChangeArrowheads="1"/>
              </p:cNvSpPr>
              <p:nvPr/>
            </p:nvSpPr>
            <p:spPr bwMode="auto">
              <a:xfrm>
                <a:off x="1745457" y="1577653"/>
                <a:ext cx="261849"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Webster</a:t>
                </a:r>
              </a:p>
            </p:txBody>
          </p:sp>
          <p:sp>
            <p:nvSpPr>
              <p:cNvPr id="1604" name="Rectangle 96">
                <a:extLst>
                  <a:ext uri="{FF2B5EF4-FFF2-40B4-BE49-F238E27FC236}">
                    <a16:creationId xmlns:a16="http://schemas.microsoft.com/office/drawing/2014/main" id="{0390C7BA-15E3-4EF3-BD67-417A705BE2D3}"/>
                  </a:ext>
                </a:extLst>
              </p:cNvPr>
              <p:cNvSpPr>
                <a:spLocks noChangeArrowheads="1"/>
              </p:cNvSpPr>
              <p:nvPr/>
            </p:nvSpPr>
            <p:spPr bwMode="auto">
              <a:xfrm>
                <a:off x="2092326" y="1335088"/>
                <a:ext cx="279908"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Claiborne</a:t>
                </a:r>
              </a:p>
            </p:txBody>
          </p:sp>
          <p:sp>
            <p:nvSpPr>
              <p:cNvPr id="1605" name="Rectangle 97">
                <a:extLst>
                  <a:ext uri="{FF2B5EF4-FFF2-40B4-BE49-F238E27FC236}">
                    <a16:creationId xmlns:a16="http://schemas.microsoft.com/office/drawing/2014/main" id="{CB8F58DC-E515-BC1F-BB59-1C2D422BE835}"/>
                  </a:ext>
                </a:extLst>
              </p:cNvPr>
              <p:cNvSpPr>
                <a:spLocks noChangeArrowheads="1"/>
              </p:cNvSpPr>
              <p:nvPr/>
            </p:nvSpPr>
            <p:spPr bwMode="auto">
              <a:xfrm>
                <a:off x="2043113" y="1884363"/>
                <a:ext cx="247402"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Bienville</a:t>
                </a:r>
              </a:p>
            </p:txBody>
          </p:sp>
          <p:sp>
            <p:nvSpPr>
              <p:cNvPr id="1606" name="Rectangle 98">
                <a:extLst>
                  <a:ext uri="{FF2B5EF4-FFF2-40B4-BE49-F238E27FC236}">
                    <a16:creationId xmlns:a16="http://schemas.microsoft.com/office/drawing/2014/main" id="{62D6D737-88CD-01B0-FB61-1B9482BD3488}"/>
                  </a:ext>
                </a:extLst>
              </p:cNvPr>
              <p:cNvSpPr>
                <a:spLocks noChangeArrowheads="1"/>
              </p:cNvSpPr>
              <p:nvPr/>
            </p:nvSpPr>
            <p:spPr bwMode="auto">
              <a:xfrm>
                <a:off x="1516063" y="1503363"/>
                <a:ext cx="21309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Bossier</a:t>
                </a:r>
              </a:p>
            </p:txBody>
          </p:sp>
          <p:sp>
            <p:nvSpPr>
              <p:cNvPr id="1607" name="Rectangle 99">
                <a:extLst>
                  <a:ext uri="{FF2B5EF4-FFF2-40B4-BE49-F238E27FC236}">
                    <a16:creationId xmlns:a16="http://schemas.microsoft.com/office/drawing/2014/main" id="{5252BCE1-0A58-DCFB-1538-314C7C7DA657}"/>
                  </a:ext>
                </a:extLst>
              </p:cNvPr>
              <p:cNvSpPr>
                <a:spLocks noChangeArrowheads="1"/>
              </p:cNvSpPr>
              <p:nvPr/>
            </p:nvSpPr>
            <p:spPr bwMode="auto">
              <a:xfrm>
                <a:off x="1203325" y="1618877"/>
                <a:ext cx="186003"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addo</a:t>
                </a:r>
              </a:p>
            </p:txBody>
          </p:sp>
          <p:sp>
            <p:nvSpPr>
              <p:cNvPr id="1608" name="Rectangle 100">
                <a:extLst>
                  <a:ext uri="{FF2B5EF4-FFF2-40B4-BE49-F238E27FC236}">
                    <a16:creationId xmlns:a16="http://schemas.microsoft.com/office/drawing/2014/main" id="{1BBC9F87-6C53-6AA0-95FA-C3B300CC9C4D}"/>
                  </a:ext>
                </a:extLst>
              </p:cNvPr>
              <p:cNvSpPr>
                <a:spLocks noChangeArrowheads="1"/>
              </p:cNvSpPr>
              <p:nvPr/>
            </p:nvSpPr>
            <p:spPr bwMode="auto">
              <a:xfrm>
                <a:off x="4507578" y="4928394"/>
                <a:ext cx="292547"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afourche</a:t>
                </a:r>
              </a:p>
            </p:txBody>
          </p:sp>
          <p:sp>
            <p:nvSpPr>
              <p:cNvPr id="1609" name="Rectangle 101">
                <a:extLst>
                  <a:ext uri="{FF2B5EF4-FFF2-40B4-BE49-F238E27FC236}">
                    <a16:creationId xmlns:a16="http://schemas.microsoft.com/office/drawing/2014/main" id="{15FAF3E8-3101-1258-9365-B024144C66BC}"/>
                  </a:ext>
                </a:extLst>
              </p:cNvPr>
              <p:cNvSpPr>
                <a:spLocks noChangeArrowheads="1"/>
              </p:cNvSpPr>
              <p:nvPr/>
            </p:nvSpPr>
            <p:spPr bwMode="auto">
              <a:xfrm>
                <a:off x="4143376" y="5200650"/>
                <a:ext cx="353947"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Terrebonne</a:t>
                </a:r>
              </a:p>
            </p:txBody>
          </p:sp>
          <p:sp>
            <p:nvSpPr>
              <p:cNvPr id="1610" name="Rectangle 102">
                <a:extLst>
                  <a:ext uri="{FF2B5EF4-FFF2-40B4-BE49-F238E27FC236}">
                    <a16:creationId xmlns:a16="http://schemas.microsoft.com/office/drawing/2014/main" id="{0D632E5F-321B-37FC-B741-E259F6907635}"/>
                  </a:ext>
                </a:extLst>
              </p:cNvPr>
              <p:cNvSpPr>
                <a:spLocks noChangeArrowheads="1"/>
              </p:cNvSpPr>
              <p:nvPr/>
            </p:nvSpPr>
            <p:spPr bwMode="auto">
              <a:xfrm>
                <a:off x="3253930" y="4276776"/>
                <a:ext cx="299771"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Martin</a:t>
                </a:r>
              </a:p>
            </p:txBody>
          </p:sp>
          <p:sp>
            <p:nvSpPr>
              <p:cNvPr id="1611" name="Rectangle 103">
                <a:extLst>
                  <a:ext uri="{FF2B5EF4-FFF2-40B4-BE49-F238E27FC236}">
                    <a16:creationId xmlns:a16="http://schemas.microsoft.com/office/drawing/2014/main" id="{FA8890FF-3CA0-77F7-D015-3BB11BB41822}"/>
                  </a:ext>
                </a:extLst>
              </p:cNvPr>
              <p:cNvSpPr>
                <a:spLocks noChangeArrowheads="1"/>
              </p:cNvSpPr>
              <p:nvPr/>
            </p:nvSpPr>
            <p:spPr bwMode="auto">
              <a:xfrm>
                <a:off x="3246438" y="4582740"/>
                <a:ext cx="167945"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Iberia</a:t>
                </a:r>
              </a:p>
            </p:txBody>
          </p:sp>
          <p:sp>
            <p:nvSpPr>
              <p:cNvPr id="1612" name="Rectangle 104">
                <a:extLst>
                  <a:ext uri="{FF2B5EF4-FFF2-40B4-BE49-F238E27FC236}">
                    <a16:creationId xmlns:a16="http://schemas.microsoft.com/office/drawing/2014/main" id="{39B4B52A-591C-B3A6-916C-F3BBF47F1BCD}"/>
                  </a:ext>
                </a:extLst>
              </p:cNvPr>
              <p:cNvSpPr>
                <a:spLocks noChangeArrowheads="1"/>
              </p:cNvSpPr>
              <p:nvPr/>
            </p:nvSpPr>
            <p:spPr bwMode="auto">
              <a:xfrm>
                <a:off x="3608389" y="4872038"/>
                <a:ext cx="25101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Mary</a:t>
                </a:r>
              </a:p>
            </p:txBody>
          </p:sp>
          <p:sp>
            <p:nvSpPr>
              <p:cNvPr id="1613" name="Rectangle 105">
                <a:extLst>
                  <a:ext uri="{FF2B5EF4-FFF2-40B4-BE49-F238E27FC236}">
                    <a16:creationId xmlns:a16="http://schemas.microsoft.com/office/drawing/2014/main" id="{4F2A66CD-7AD9-14B8-87BE-241F738D227A}"/>
                  </a:ext>
                </a:extLst>
              </p:cNvPr>
              <p:cNvSpPr>
                <a:spLocks noChangeArrowheads="1"/>
              </p:cNvSpPr>
              <p:nvPr/>
            </p:nvSpPr>
            <p:spPr bwMode="auto">
              <a:xfrm>
                <a:off x="3876859" y="4609728"/>
                <a:ext cx="34853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ssumption</a:t>
                </a:r>
              </a:p>
            </p:txBody>
          </p:sp>
          <p:sp>
            <p:nvSpPr>
              <p:cNvPr id="1614" name="Rectangle 106">
                <a:extLst>
                  <a:ext uri="{FF2B5EF4-FFF2-40B4-BE49-F238E27FC236}">
                    <a16:creationId xmlns:a16="http://schemas.microsoft.com/office/drawing/2014/main" id="{48F27EF2-25A3-1FDE-9255-5B58EC0E744D}"/>
                  </a:ext>
                </a:extLst>
              </p:cNvPr>
              <p:cNvSpPr>
                <a:spLocks noChangeArrowheads="1"/>
              </p:cNvSpPr>
              <p:nvPr/>
            </p:nvSpPr>
            <p:spPr bwMode="auto">
              <a:xfrm>
                <a:off x="4874489" y="4679950"/>
                <a:ext cx="269072"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Jefferson</a:t>
                </a:r>
              </a:p>
            </p:txBody>
          </p:sp>
          <p:sp>
            <p:nvSpPr>
              <p:cNvPr id="1615" name="Rectangle 107">
                <a:extLst>
                  <a:ext uri="{FF2B5EF4-FFF2-40B4-BE49-F238E27FC236}">
                    <a16:creationId xmlns:a16="http://schemas.microsoft.com/office/drawing/2014/main" id="{AA014EE0-0650-6818-8CAD-5C3097B6ED51}"/>
                  </a:ext>
                </a:extLst>
              </p:cNvPr>
              <p:cNvSpPr>
                <a:spLocks noChangeArrowheads="1"/>
              </p:cNvSpPr>
              <p:nvPr/>
            </p:nvSpPr>
            <p:spPr bwMode="auto">
              <a:xfrm>
                <a:off x="4573588" y="4604594"/>
                <a:ext cx="30699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Charles</a:t>
                </a:r>
              </a:p>
            </p:txBody>
          </p:sp>
          <p:sp>
            <p:nvSpPr>
              <p:cNvPr id="1616" name="Rectangle 108">
                <a:extLst>
                  <a:ext uri="{FF2B5EF4-FFF2-40B4-BE49-F238E27FC236}">
                    <a16:creationId xmlns:a16="http://schemas.microsoft.com/office/drawing/2014/main" id="{C716526C-E4D6-A564-154D-32BA75B0F138}"/>
                  </a:ext>
                </a:extLst>
              </p:cNvPr>
              <p:cNvSpPr>
                <a:spLocks noChangeArrowheads="1"/>
              </p:cNvSpPr>
              <p:nvPr/>
            </p:nvSpPr>
            <p:spPr bwMode="auto">
              <a:xfrm>
                <a:off x="4416872" y="4341812"/>
                <a:ext cx="317830" cy="173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John </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the Baptist</a:t>
                </a:r>
              </a:p>
            </p:txBody>
          </p:sp>
          <p:sp>
            <p:nvSpPr>
              <p:cNvPr id="1617" name="Rectangle 109">
                <a:extLst>
                  <a:ext uri="{FF2B5EF4-FFF2-40B4-BE49-F238E27FC236}">
                    <a16:creationId xmlns:a16="http://schemas.microsoft.com/office/drawing/2014/main" id="{E007A23E-B665-25C0-2B5E-F0FE5F7D6971}"/>
                  </a:ext>
                </a:extLst>
              </p:cNvPr>
              <p:cNvSpPr>
                <a:spLocks noChangeArrowheads="1"/>
              </p:cNvSpPr>
              <p:nvPr/>
            </p:nvSpPr>
            <p:spPr bwMode="auto">
              <a:xfrm>
                <a:off x="4047171" y="4291484"/>
                <a:ext cx="296159"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Ascension</a:t>
                </a:r>
              </a:p>
            </p:txBody>
          </p:sp>
          <p:sp>
            <p:nvSpPr>
              <p:cNvPr id="1618" name="Rectangle 110">
                <a:extLst>
                  <a:ext uri="{FF2B5EF4-FFF2-40B4-BE49-F238E27FC236}">
                    <a16:creationId xmlns:a16="http://schemas.microsoft.com/office/drawing/2014/main" id="{BBA18E32-3FBF-F758-17F5-D187DF093CB5}"/>
                  </a:ext>
                </a:extLst>
              </p:cNvPr>
              <p:cNvSpPr>
                <a:spLocks noChangeArrowheads="1"/>
              </p:cNvSpPr>
              <p:nvPr/>
            </p:nvSpPr>
            <p:spPr bwMode="auto">
              <a:xfrm>
                <a:off x="4227513" y="4524375"/>
                <a:ext cx="270877"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St. James</a:t>
                </a:r>
              </a:p>
            </p:txBody>
          </p:sp>
          <p:sp>
            <p:nvSpPr>
              <p:cNvPr id="1619" name="Rectangle 111">
                <a:extLst>
                  <a:ext uri="{FF2B5EF4-FFF2-40B4-BE49-F238E27FC236}">
                    <a16:creationId xmlns:a16="http://schemas.microsoft.com/office/drawing/2014/main" id="{B5C559CF-1006-92D0-418C-953CAC1E7B06}"/>
                  </a:ext>
                </a:extLst>
              </p:cNvPr>
              <p:cNvSpPr>
                <a:spLocks noChangeArrowheads="1"/>
              </p:cNvSpPr>
              <p:nvPr/>
            </p:nvSpPr>
            <p:spPr bwMode="auto">
              <a:xfrm>
                <a:off x="3706813" y="4262438"/>
                <a:ext cx="243791"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Iberville</a:t>
                </a:r>
              </a:p>
            </p:txBody>
          </p:sp>
          <p:sp>
            <p:nvSpPr>
              <p:cNvPr id="1620" name="Rectangle 112">
                <a:extLst>
                  <a:ext uri="{FF2B5EF4-FFF2-40B4-BE49-F238E27FC236}">
                    <a16:creationId xmlns:a16="http://schemas.microsoft.com/office/drawing/2014/main" id="{7EBE240D-1196-B1C1-76D6-AAAA8331CEAC}"/>
                  </a:ext>
                </a:extLst>
              </p:cNvPr>
              <p:cNvSpPr>
                <a:spLocks noChangeArrowheads="1"/>
              </p:cNvSpPr>
              <p:nvPr/>
            </p:nvSpPr>
            <p:spPr bwMode="auto">
              <a:xfrm>
                <a:off x="3727436" y="3960018"/>
                <a:ext cx="186003" cy="260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West</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Baton</a:t>
                </a:r>
                <a:br>
                  <a:rPr kumimoji="0" lang="en-US" altLang="en-US" sz="500" u="none" strike="noStrike" cap="none" normalizeH="0" baseline="0" dirty="0">
                    <a:ln>
                      <a:noFill/>
                    </a:ln>
                    <a:effectLst/>
                    <a:latin typeface="Calibri" panose="020F0502020204030204" pitchFamily="34" charset="0"/>
                  </a:rPr>
                </a:br>
                <a:r>
                  <a:rPr kumimoji="0" lang="en-US" altLang="en-US" sz="500" u="none" strike="noStrike" cap="none" normalizeH="0" baseline="0" dirty="0">
                    <a:ln>
                      <a:noFill/>
                    </a:ln>
                    <a:effectLst/>
                    <a:latin typeface="Calibri" panose="020F0502020204030204" pitchFamily="34" charset="0"/>
                  </a:rPr>
                  <a:t>Rouge</a:t>
                </a:r>
              </a:p>
            </p:txBody>
          </p:sp>
          <p:sp>
            <p:nvSpPr>
              <p:cNvPr id="1621" name="Rectangle 113">
                <a:extLst>
                  <a:ext uri="{FF2B5EF4-FFF2-40B4-BE49-F238E27FC236}">
                    <a16:creationId xmlns:a16="http://schemas.microsoft.com/office/drawing/2014/main" id="{9A8BF803-91A4-39B4-402F-1A604EDFF407}"/>
                  </a:ext>
                </a:extLst>
              </p:cNvPr>
              <p:cNvSpPr>
                <a:spLocks noChangeArrowheads="1"/>
              </p:cNvSpPr>
              <p:nvPr/>
            </p:nvSpPr>
            <p:spPr bwMode="auto">
              <a:xfrm>
                <a:off x="3939367" y="3825553"/>
                <a:ext cx="186003" cy="260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East</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Bat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Rouge</a:t>
                </a:r>
              </a:p>
            </p:txBody>
          </p:sp>
          <p:sp>
            <p:nvSpPr>
              <p:cNvPr id="1622" name="Rectangle 114">
                <a:extLst>
                  <a:ext uri="{FF2B5EF4-FFF2-40B4-BE49-F238E27FC236}">
                    <a16:creationId xmlns:a16="http://schemas.microsoft.com/office/drawing/2014/main" id="{72CA0A66-7F84-AABE-C8A5-2DB898577CB1}"/>
                  </a:ext>
                </a:extLst>
              </p:cNvPr>
              <p:cNvSpPr>
                <a:spLocks noChangeArrowheads="1"/>
              </p:cNvSpPr>
              <p:nvPr/>
            </p:nvSpPr>
            <p:spPr bwMode="auto">
              <a:xfrm>
                <a:off x="4237354" y="4048597"/>
                <a:ext cx="296159"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Livingston</a:t>
                </a:r>
              </a:p>
            </p:txBody>
          </p:sp>
          <p:sp>
            <p:nvSpPr>
              <p:cNvPr id="1623" name="Rectangle 115">
                <a:extLst>
                  <a:ext uri="{FF2B5EF4-FFF2-40B4-BE49-F238E27FC236}">
                    <a16:creationId xmlns:a16="http://schemas.microsoft.com/office/drawing/2014/main" id="{27DCEC57-1B20-3883-608A-F0A7F59DD2A1}"/>
                  </a:ext>
                </a:extLst>
              </p:cNvPr>
              <p:cNvSpPr>
                <a:spLocks noChangeArrowheads="1"/>
              </p:cNvSpPr>
              <p:nvPr/>
            </p:nvSpPr>
            <p:spPr bwMode="auto">
              <a:xfrm>
                <a:off x="4527811" y="3865191"/>
                <a:ext cx="339501"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Tangipahoa</a:t>
                </a:r>
              </a:p>
            </p:txBody>
          </p:sp>
          <p:sp>
            <p:nvSpPr>
              <p:cNvPr id="1624" name="Rectangle 116">
                <a:extLst>
                  <a:ext uri="{FF2B5EF4-FFF2-40B4-BE49-F238E27FC236}">
                    <a16:creationId xmlns:a16="http://schemas.microsoft.com/office/drawing/2014/main" id="{7338F6F6-3B3E-CA5C-170E-4F2AC388B5FC}"/>
                  </a:ext>
                </a:extLst>
              </p:cNvPr>
              <p:cNvSpPr>
                <a:spLocks noChangeArrowheads="1"/>
              </p:cNvSpPr>
              <p:nvPr/>
            </p:nvSpPr>
            <p:spPr bwMode="auto">
              <a:xfrm>
                <a:off x="4853125" y="3557588"/>
                <a:ext cx="353947"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Washington</a:t>
                </a:r>
              </a:p>
            </p:txBody>
          </p:sp>
          <p:sp>
            <p:nvSpPr>
              <p:cNvPr id="1625" name="Rectangle 117">
                <a:extLst>
                  <a:ext uri="{FF2B5EF4-FFF2-40B4-BE49-F238E27FC236}">
                    <a16:creationId xmlns:a16="http://schemas.microsoft.com/office/drawing/2014/main" id="{2DA9A706-28CC-8771-2416-7C15036AAAC1}"/>
                  </a:ext>
                </a:extLst>
              </p:cNvPr>
              <p:cNvSpPr>
                <a:spLocks noChangeArrowheads="1"/>
              </p:cNvSpPr>
              <p:nvPr/>
            </p:nvSpPr>
            <p:spPr bwMode="auto">
              <a:xfrm>
                <a:off x="4306888" y="3625850"/>
                <a:ext cx="205867" cy="173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Helena</a:t>
                </a:r>
              </a:p>
            </p:txBody>
          </p:sp>
          <p:sp>
            <p:nvSpPr>
              <p:cNvPr id="1626" name="Rectangle 118">
                <a:extLst>
                  <a:ext uri="{FF2B5EF4-FFF2-40B4-BE49-F238E27FC236}">
                    <a16:creationId xmlns:a16="http://schemas.microsoft.com/office/drawing/2014/main" id="{BA8C8A1B-3B56-04F5-B4A1-CC638D97BE81}"/>
                  </a:ext>
                </a:extLst>
              </p:cNvPr>
              <p:cNvSpPr>
                <a:spLocks noChangeArrowheads="1"/>
              </p:cNvSpPr>
              <p:nvPr/>
            </p:nvSpPr>
            <p:spPr bwMode="auto">
              <a:xfrm>
                <a:off x="3971626" y="3533925"/>
                <a:ext cx="254626" cy="173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East</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Feliciana</a:t>
                </a:r>
              </a:p>
            </p:txBody>
          </p:sp>
          <p:sp>
            <p:nvSpPr>
              <p:cNvPr id="1627" name="Rectangle 119">
                <a:extLst>
                  <a:ext uri="{FF2B5EF4-FFF2-40B4-BE49-F238E27FC236}">
                    <a16:creationId xmlns:a16="http://schemas.microsoft.com/office/drawing/2014/main" id="{AD3745C9-C3CC-90E0-0921-3DC0F56C9897}"/>
                  </a:ext>
                </a:extLst>
              </p:cNvPr>
              <p:cNvSpPr>
                <a:spLocks noChangeArrowheads="1"/>
              </p:cNvSpPr>
              <p:nvPr/>
            </p:nvSpPr>
            <p:spPr bwMode="auto">
              <a:xfrm>
                <a:off x="3497823" y="3446091"/>
                <a:ext cx="424375"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West Feliciana</a:t>
                </a:r>
              </a:p>
            </p:txBody>
          </p:sp>
          <p:sp>
            <p:nvSpPr>
              <p:cNvPr id="1628" name="Rectangle 120">
                <a:extLst>
                  <a:ext uri="{FF2B5EF4-FFF2-40B4-BE49-F238E27FC236}">
                    <a16:creationId xmlns:a16="http://schemas.microsoft.com/office/drawing/2014/main" id="{3AE49BE1-B861-929C-703E-963D75356195}"/>
                  </a:ext>
                </a:extLst>
              </p:cNvPr>
              <p:cNvSpPr>
                <a:spLocks noChangeArrowheads="1"/>
              </p:cNvSpPr>
              <p:nvPr/>
            </p:nvSpPr>
            <p:spPr bwMode="auto">
              <a:xfrm>
                <a:off x="3408363" y="3752850"/>
                <a:ext cx="429793"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Pointe Coupee</a:t>
                </a:r>
              </a:p>
            </p:txBody>
          </p:sp>
          <p:sp>
            <p:nvSpPr>
              <p:cNvPr id="1629" name="Rectangle 121">
                <a:extLst>
                  <a:ext uri="{FF2B5EF4-FFF2-40B4-BE49-F238E27FC236}">
                    <a16:creationId xmlns:a16="http://schemas.microsoft.com/office/drawing/2014/main" id="{3A9B807A-FF03-A7B6-F2AA-9D1E0CA667FB}"/>
                  </a:ext>
                </a:extLst>
              </p:cNvPr>
              <p:cNvSpPr>
                <a:spLocks noChangeArrowheads="1"/>
              </p:cNvSpPr>
              <p:nvPr/>
            </p:nvSpPr>
            <p:spPr bwMode="auto">
              <a:xfrm>
                <a:off x="3146426" y="2553494"/>
                <a:ext cx="29435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Catahoula</a:t>
                </a:r>
              </a:p>
            </p:txBody>
          </p:sp>
          <p:sp>
            <p:nvSpPr>
              <p:cNvPr id="1630" name="Rectangle 122">
                <a:extLst>
                  <a:ext uri="{FF2B5EF4-FFF2-40B4-BE49-F238E27FC236}">
                    <a16:creationId xmlns:a16="http://schemas.microsoft.com/office/drawing/2014/main" id="{FCCBF270-6582-05FF-B1C8-9C8FD8143007}"/>
                  </a:ext>
                </a:extLst>
              </p:cNvPr>
              <p:cNvSpPr>
                <a:spLocks noChangeArrowheads="1"/>
              </p:cNvSpPr>
              <p:nvPr/>
            </p:nvSpPr>
            <p:spPr bwMode="auto">
              <a:xfrm>
                <a:off x="3405188" y="2917825"/>
                <a:ext cx="296159"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Concordia</a:t>
                </a:r>
              </a:p>
            </p:txBody>
          </p:sp>
          <p:sp>
            <p:nvSpPr>
              <p:cNvPr id="1631" name="Rectangle 123">
                <a:extLst>
                  <a:ext uri="{FF2B5EF4-FFF2-40B4-BE49-F238E27FC236}">
                    <a16:creationId xmlns:a16="http://schemas.microsoft.com/office/drawing/2014/main" id="{7377F80E-5120-45B4-9D5B-527091068AE9}"/>
                  </a:ext>
                </a:extLst>
              </p:cNvPr>
              <p:cNvSpPr>
                <a:spLocks noChangeArrowheads="1"/>
              </p:cNvSpPr>
              <p:nvPr/>
            </p:nvSpPr>
            <p:spPr bwMode="auto">
              <a:xfrm>
                <a:off x="3716337" y="2282825"/>
                <a:ext cx="20045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Tensas</a:t>
                </a:r>
              </a:p>
            </p:txBody>
          </p:sp>
          <p:sp>
            <p:nvSpPr>
              <p:cNvPr id="1632" name="Rectangle 124">
                <a:extLst>
                  <a:ext uri="{FF2B5EF4-FFF2-40B4-BE49-F238E27FC236}">
                    <a16:creationId xmlns:a16="http://schemas.microsoft.com/office/drawing/2014/main" id="{768BB91A-6972-CC0C-7ABB-CC9ACE7E10F5}"/>
                  </a:ext>
                </a:extLst>
              </p:cNvPr>
              <p:cNvSpPr>
                <a:spLocks noChangeArrowheads="1"/>
              </p:cNvSpPr>
              <p:nvPr/>
            </p:nvSpPr>
            <p:spPr bwMode="auto">
              <a:xfrm>
                <a:off x="3803651" y="1863725"/>
                <a:ext cx="254626"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Madison</a:t>
                </a:r>
              </a:p>
            </p:txBody>
          </p:sp>
          <p:sp>
            <p:nvSpPr>
              <p:cNvPr id="1633" name="Rectangle 125">
                <a:extLst>
                  <a:ext uri="{FF2B5EF4-FFF2-40B4-BE49-F238E27FC236}">
                    <a16:creationId xmlns:a16="http://schemas.microsoft.com/office/drawing/2014/main" id="{38EB9D7D-D9AC-5286-3D34-CB31A410E376}"/>
                  </a:ext>
                </a:extLst>
              </p:cNvPr>
              <p:cNvSpPr>
                <a:spLocks noChangeArrowheads="1"/>
              </p:cNvSpPr>
              <p:nvPr/>
            </p:nvSpPr>
            <p:spPr bwMode="auto">
              <a:xfrm>
                <a:off x="3344658" y="2130423"/>
                <a:ext cx="232955"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Franklin</a:t>
                </a:r>
              </a:p>
            </p:txBody>
          </p:sp>
          <p:sp>
            <p:nvSpPr>
              <p:cNvPr id="1634" name="Rectangle 126">
                <a:extLst>
                  <a:ext uri="{FF2B5EF4-FFF2-40B4-BE49-F238E27FC236}">
                    <a16:creationId xmlns:a16="http://schemas.microsoft.com/office/drawing/2014/main" id="{7A1968C8-7027-2782-08ED-067C5C76BD09}"/>
                  </a:ext>
                </a:extLst>
              </p:cNvPr>
              <p:cNvSpPr>
                <a:spLocks noChangeArrowheads="1"/>
              </p:cNvSpPr>
              <p:nvPr/>
            </p:nvSpPr>
            <p:spPr bwMode="auto">
              <a:xfrm>
                <a:off x="3165476" y="1306512"/>
                <a:ext cx="350336"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Morehouse</a:t>
                </a:r>
              </a:p>
            </p:txBody>
          </p:sp>
          <p:sp>
            <p:nvSpPr>
              <p:cNvPr id="1635" name="Rectangle 127">
                <a:extLst>
                  <a:ext uri="{FF2B5EF4-FFF2-40B4-BE49-F238E27FC236}">
                    <a16:creationId xmlns:a16="http://schemas.microsoft.com/office/drawing/2014/main" id="{914B6999-274F-797E-FC0B-DB9A785F5984}"/>
                  </a:ext>
                </a:extLst>
              </p:cNvPr>
              <p:cNvSpPr>
                <a:spLocks noChangeArrowheads="1"/>
              </p:cNvSpPr>
              <p:nvPr/>
            </p:nvSpPr>
            <p:spPr bwMode="auto">
              <a:xfrm>
                <a:off x="3568700" y="1374775"/>
                <a:ext cx="193227" cy="173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West</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Carroll</a:t>
                </a:r>
              </a:p>
            </p:txBody>
          </p:sp>
          <p:sp>
            <p:nvSpPr>
              <p:cNvPr id="1636" name="Rectangle 128">
                <a:extLst>
                  <a:ext uri="{FF2B5EF4-FFF2-40B4-BE49-F238E27FC236}">
                    <a16:creationId xmlns:a16="http://schemas.microsoft.com/office/drawing/2014/main" id="{2C165CD6-2132-2FD9-F2AE-1A89A0529189}"/>
                  </a:ext>
                </a:extLst>
              </p:cNvPr>
              <p:cNvSpPr>
                <a:spLocks noChangeArrowheads="1"/>
              </p:cNvSpPr>
              <p:nvPr/>
            </p:nvSpPr>
            <p:spPr bwMode="auto">
              <a:xfrm>
                <a:off x="3295877" y="1746300"/>
                <a:ext cx="251014"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Richland</a:t>
                </a:r>
              </a:p>
            </p:txBody>
          </p:sp>
          <p:sp>
            <p:nvSpPr>
              <p:cNvPr id="1637" name="Rectangle 129">
                <a:extLst>
                  <a:ext uri="{FF2B5EF4-FFF2-40B4-BE49-F238E27FC236}">
                    <a16:creationId xmlns:a16="http://schemas.microsoft.com/office/drawing/2014/main" id="{5371AD8B-C553-8616-060D-0DB4D5DF9388}"/>
                  </a:ext>
                </a:extLst>
              </p:cNvPr>
              <p:cNvSpPr>
                <a:spLocks noChangeArrowheads="1"/>
              </p:cNvSpPr>
              <p:nvPr/>
            </p:nvSpPr>
            <p:spPr bwMode="auto">
              <a:xfrm>
                <a:off x="3789363" y="1441450"/>
                <a:ext cx="193227" cy="173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East</a:t>
                </a:r>
                <a:br>
                  <a:rPr kumimoji="0" lang="en-US" altLang="en-US" sz="500" u="none" strike="noStrike" cap="none" normalizeH="0" baseline="0" dirty="0">
                    <a:ln>
                      <a:noFill/>
                    </a:ln>
                    <a:solidFill>
                      <a:schemeClr val="bg1"/>
                    </a:solidFill>
                    <a:effectLst/>
                    <a:latin typeface="Calibri" panose="020F0502020204030204" pitchFamily="34" charset="0"/>
                  </a:rPr>
                </a:br>
                <a:r>
                  <a:rPr kumimoji="0" lang="en-US" altLang="en-US" sz="500" u="none" strike="noStrike" cap="none" normalizeH="0" baseline="0" dirty="0">
                    <a:ln>
                      <a:noFill/>
                    </a:ln>
                    <a:solidFill>
                      <a:schemeClr val="bg1"/>
                    </a:solidFill>
                    <a:effectLst/>
                    <a:latin typeface="Calibri" panose="020F0502020204030204" pitchFamily="34" charset="0"/>
                  </a:rPr>
                  <a:t>Carroll</a:t>
                </a:r>
              </a:p>
            </p:txBody>
          </p:sp>
          <p:sp>
            <p:nvSpPr>
              <p:cNvPr id="1638" name="Rectangle 130">
                <a:extLst>
                  <a:ext uri="{FF2B5EF4-FFF2-40B4-BE49-F238E27FC236}">
                    <a16:creationId xmlns:a16="http://schemas.microsoft.com/office/drawing/2014/main" id="{DEB016FC-9840-B759-358E-C90919A4E02F}"/>
                  </a:ext>
                </a:extLst>
              </p:cNvPr>
              <p:cNvSpPr>
                <a:spLocks noChangeArrowheads="1"/>
              </p:cNvSpPr>
              <p:nvPr/>
            </p:nvSpPr>
            <p:spPr bwMode="auto">
              <a:xfrm>
                <a:off x="4921211" y="3994945"/>
                <a:ext cx="379229"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Tammany</a:t>
                </a:r>
              </a:p>
            </p:txBody>
          </p:sp>
          <p:sp>
            <p:nvSpPr>
              <p:cNvPr id="1639" name="Rectangle 131">
                <a:extLst>
                  <a:ext uri="{FF2B5EF4-FFF2-40B4-BE49-F238E27FC236}">
                    <a16:creationId xmlns:a16="http://schemas.microsoft.com/office/drawing/2014/main" id="{BC852DBD-BD5D-E4DA-E397-C04417C40DE0}"/>
                  </a:ext>
                </a:extLst>
              </p:cNvPr>
              <p:cNvSpPr>
                <a:spLocks noChangeArrowheads="1"/>
              </p:cNvSpPr>
              <p:nvPr/>
            </p:nvSpPr>
            <p:spPr bwMode="auto">
              <a:xfrm>
                <a:off x="5067125" y="4492253"/>
                <a:ext cx="225732"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Orleans</a:t>
                </a:r>
              </a:p>
            </p:txBody>
          </p:sp>
          <p:sp>
            <p:nvSpPr>
              <p:cNvPr id="1640" name="Rectangle 132">
                <a:extLst>
                  <a:ext uri="{FF2B5EF4-FFF2-40B4-BE49-F238E27FC236}">
                    <a16:creationId xmlns:a16="http://schemas.microsoft.com/office/drawing/2014/main" id="{E65528F1-5FA3-C6DA-E6F2-81A40F42A1E8}"/>
                  </a:ext>
                </a:extLst>
              </p:cNvPr>
              <p:cNvSpPr>
                <a:spLocks noChangeArrowheads="1"/>
              </p:cNvSpPr>
              <p:nvPr/>
            </p:nvSpPr>
            <p:spPr bwMode="auto">
              <a:xfrm>
                <a:off x="5230813" y="4722813"/>
                <a:ext cx="326860"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solidFill>
                      <a:schemeClr val="bg1"/>
                    </a:solidFill>
                    <a:effectLst/>
                    <a:latin typeface="Calibri" panose="020F0502020204030204" pitchFamily="34" charset="0"/>
                  </a:rPr>
                  <a:t>St. Bernard</a:t>
                </a:r>
              </a:p>
            </p:txBody>
          </p:sp>
          <p:sp>
            <p:nvSpPr>
              <p:cNvPr id="1641" name="Rectangle 133">
                <a:extLst>
                  <a:ext uri="{FF2B5EF4-FFF2-40B4-BE49-F238E27FC236}">
                    <a16:creationId xmlns:a16="http://schemas.microsoft.com/office/drawing/2014/main" id="{948870D4-7ECC-DF04-75C9-DA5B5EE80A7C}"/>
                  </a:ext>
                </a:extLst>
              </p:cNvPr>
              <p:cNvSpPr>
                <a:spLocks noChangeArrowheads="1"/>
              </p:cNvSpPr>
              <p:nvPr/>
            </p:nvSpPr>
            <p:spPr bwMode="auto">
              <a:xfrm>
                <a:off x="5099019" y="4968503"/>
                <a:ext cx="377423" cy="8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u="none" strike="noStrike" cap="none" normalizeH="0" baseline="0" dirty="0">
                    <a:ln>
                      <a:noFill/>
                    </a:ln>
                    <a:effectLst/>
                    <a:latin typeface="Calibri" panose="020F0502020204030204" pitchFamily="34" charset="0"/>
                  </a:rPr>
                  <a:t>Plaquemines</a:t>
                </a:r>
              </a:p>
            </p:txBody>
          </p:sp>
        </p:grpSp>
        <p:grpSp>
          <p:nvGrpSpPr>
            <p:cNvPr id="140" name="Group 139">
              <a:extLst>
                <a:ext uri="{FF2B5EF4-FFF2-40B4-BE49-F238E27FC236}">
                  <a16:creationId xmlns:a16="http://schemas.microsoft.com/office/drawing/2014/main" id="{569C49E3-1B95-15A9-30B9-5393140A3DE5}"/>
                </a:ext>
              </a:extLst>
            </p:cNvPr>
            <p:cNvGrpSpPr/>
            <p:nvPr/>
          </p:nvGrpSpPr>
          <p:grpSpPr>
            <a:xfrm>
              <a:off x="6392361" y="1547432"/>
              <a:ext cx="5078413" cy="4643437"/>
              <a:chOff x="675740" y="1547432"/>
              <a:chExt cx="5078413" cy="4643437"/>
            </a:xfrm>
            <a:noFill/>
          </p:grpSpPr>
          <p:grpSp>
            <p:nvGrpSpPr>
              <p:cNvPr id="141" name="Group 140">
                <a:extLst>
                  <a:ext uri="{FF2B5EF4-FFF2-40B4-BE49-F238E27FC236}">
                    <a16:creationId xmlns:a16="http://schemas.microsoft.com/office/drawing/2014/main" id="{08DCED77-0597-C72B-4A42-DCDE9F46CAED}"/>
                  </a:ext>
                </a:extLst>
              </p:cNvPr>
              <p:cNvGrpSpPr/>
              <p:nvPr/>
            </p:nvGrpSpPr>
            <p:grpSpPr>
              <a:xfrm>
                <a:off x="675740" y="1547432"/>
                <a:ext cx="5078413" cy="4643437"/>
                <a:chOff x="1144588" y="1128713"/>
                <a:chExt cx="5078413" cy="4643437"/>
              </a:xfrm>
              <a:grpFill/>
            </p:grpSpPr>
            <p:sp>
              <p:nvSpPr>
                <p:cNvPr id="145" name="Freeform 542">
                  <a:extLst>
                    <a:ext uri="{FF2B5EF4-FFF2-40B4-BE49-F238E27FC236}">
                      <a16:creationId xmlns:a16="http://schemas.microsoft.com/office/drawing/2014/main" id="{38B14F35-33A5-C47A-7129-BEC2ACAF578C}"/>
                    </a:ext>
                  </a:extLst>
                </p:cNvPr>
                <p:cNvSpPr>
                  <a:spLocks/>
                </p:cNvSpPr>
                <p:nvPr/>
              </p:nvSpPr>
              <p:spPr bwMode="auto">
                <a:xfrm>
                  <a:off x="1144588" y="1128713"/>
                  <a:ext cx="871538" cy="949325"/>
                </a:xfrm>
                <a:custGeom>
                  <a:avLst/>
                  <a:gdLst>
                    <a:gd name="T0" fmla="*/ 488 w 549"/>
                    <a:gd name="T1" fmla="*/ 1 h 598"/>
                    <a:gd name="T2" fmla="*/ 493 w 549"/>
                    <a:gd name="T3" fmla="*/ 157 h 598"/>
                    <a:gd name="T4" fmla="*/ 530 w 549"/>
                    <a:gd name="T5" fmla="*/ 252 h 598"/>
                    <a:gd name="T6" fmla="*/ 531 w 549"/>
                    <a:gd name="T7" fmla="*/ 259 h 598"/>
                    <a:gd name="T8" fmla="*/ 531 w 549"/>
                    <a:gd name="T9" fmla="*/ 263 h 598"/>
                    <a:gd name="T10" fmla="*/ 531 w 549"/>
                    <a:gd name="T11" fmla="*/ 271 h 598"/>
                    <a:gd name="T12" fmla="*/ 532 w 549"/>
                    <a:gd name="T13" fmla="*/ 282 h 598"/>
                    <a:gd name="T14" fmla="*/ 530 w 549"/>
                    <a:gd name="T15" fmla="*/ 291 h 598"/>
                    <a:gd name="T16" fmla="*/ 531 w 549"/>
                    <a:gd name="T17" fmla="*/ 303 h 598"/>
                    <a:gd name="T18" fmla="*/ 529 w 549"/>
                    <a:gd name="T19" fmla="*/ 313 h 598"/>
                    <a:gd name="T20" fmla="*/ 531 w 549"/>
                    <a:gd name="T21" fmla="*/ 324 h 598"/>
                    <a:gd name="T22" fmla="*/ 534 w 549"/>
                    <a:gd name="T23" fmla="*/ 337 h 598"/>
                    <a:gd name="T24" fmla="*/ 534 w 549"/>
                    <a:gd name="T25" fmla="*/ 350 h 598"/>
                    <a:gd name="T26" fmla="*/ 536 w 549"/>
                    <a:gd name="T27" fmla="*/ 362 h 598"/>
                    <a:gd name="T28" fmla="*/ 539 w 549"/>
                    <a:gd name="T29" fmla="*/ 371 h 598"/>
                    <a:gd name="T30" fmla="*/ 543 w 549"/>
                    <a:gd name="T31" fmla="*/ 383 h 598"/>
                    <a:gd name="T32" fmla="*/ 549 w 549"/>
                    <a:gd name="T33" fmla="*/ 392 h 598"/>
                    <a:gd name="T34" fmla="*/ 547 w 549"/>
                    <a:gd name="T35" fmla="*/ 401 h 598"/>
                    <a:gd name="T36" fmla="*/ 514 w 549"/>
                    <a:gd name="T37" fmla="*/ 411 h 598"/>
                    <a:gd name="T38" fmla="*/ 466 w 549"/>
                    <a:gd name="T39" fmla="*/ 443 h 598"/>
                    <a:gd name="T40" fmla="*/ 400 w 549"/>
                    <a:gd name="T41" fmla="*/ 454 h 598"/>
                    <a:gd name="T42" fmla="*/ 377 w 549"/>
                    <a:gd name="T43" fmla="*/ 458 h 598"/>
                    <a:gd name="T44" fmla="*/ 393 w 549"/>
                    <a:gd name="T45" fmla="*/ 475 h 598"/>
                    <a:gd name="T46" fmla="*/ 387 w 549"/>
                    <a:gd name="T47" fmla="*/ 495 h 598"/>
                    <a:gd name="T48" fmla="*/ 380 w 549"/>
                    <a:gd name="T49" fmla="*/ 513 h 598"/>
                    <a:gd name="T50" fmla="*/ 381 w 549"/>
                    <a:gd name="T51" fmla="*/ 521 h 598"/>
                    <a:gd name="T52" fmla="*/ 383 w 549"/>
                    <a:gd name="T53" fmla="*/ 530 h 598"/>
                    <a:gd name="T54" fmla="*/ 390 w 549"/>
                    <a:gd name="T55" fmla="*/ 540 h 598"/>
                    <a:gd name="T56" fmla="*/ 390 w 549"/>
                    <a:gd name="T57" fmla="*/ 551 h 598"/>
                    <a:gd name="T58" fmla="*/ 386 w 549"/>
                    <a:gd name="T59" fmla="*/ 563 h 598"/>
                    <a:gd name="T60" fmla="*/ 360 w 549"/>
                    <a:gd name="T61" fmla="*/ 569 h 598"/>
                    <a:gd name="T62" fmla="*/ 262 w 549"/>
                    <a:gd name="T63" fmla="*/ 563 h 598"/>
                    <a:gd name="T64" fmla="*/ 262 w 549"/>
                    <a:gd name="T65" fmla="*/ 546 h 598"/>
                    <a:gd name="T66" fmla="*/ 258 w 549"/>
                    <a:gd name="T67" fmla="*/ 537 h 598"/>
                    <a:gd name="T68" fmla="*/ 248 w 549"/>
                    <a:gd name="T69" fmla="*/ 527 h 598"/>
                    <a:gd name="T70" fmla="*/ 238 w 549"/>
                    <a:gd name="T71" fmla="*/ 516 h 598"/>
                    <a:gd name="T72" fmla="*/ 225 w 549"/>
                    <a:gd name="T73" fmla="*/ 509 h 598"/>
                    <a:gd name="T74" fmla="*/ 210 w 549"/>
                    <a:gd name="T75" fmla="*/ 506 h 598"/>
                    <a:gd name="T76" fmla="*/ 197 w 549"/>
                    <a:gd name="T77" fmla="*/ 505 h 598"/>
                    <a:gd name="T78" fmla="*/ 185 w 549"/>
                    <a:gd name="T79" fmla="*/ 501 h 598"/>
                    <a:gd name="T80" fmla="*/ 179 w 549"/>
                    <a:gd name="T81" fmla="*/ 492 h 598"/>
                    <a:gd name="T82" fmla="*/ 166 w 549"/>
                    <a:gd name="T83" fmla="*/ 492 h 598"/>
                    <a:gd name="T84" fmla="*/ 156 w 549"/>
                    <a:gd name="T85" fmla="*/ 494 h 598"/>
                    <a:gd name="T86" fmla="*/ 146 w 549"/>
                    <a:gd name="T87" fmla="*/ 501 h 598"/>
                    <a:gd name="T88" fmla="*/ 145 w 549"/>
                    <a:gd name="T89" fmla="*/ 514 h 598"/>
                    <a:gd name="T90" fmla="*/ 136 w 549"/>
                    <a:gd name="T91" fmla="*/ 519 h 598"/>
                    <a:gd name="T92" fmla="*/ 126 w 549"/>
                    <a:gd name="T93" fmla="*/ 527 h 598"/>
                    <a:gd name="T94" fmla="*/ 118 w 549"/>
                    <a:gd name="T95" fmla="*/ 532 h 598"/>
                    <a:gd name="T96" fmla="*/ 115 w 549"/>
                    <a:gd name="T97" fmla="*/ 542 h 598"/>
                    <a:gd name="T98" fmla="*/ 113 w 549"/>
                    <a:gd name="T99" fmla="*/ 557 h 598"/>
                    <a:gd name="T100" fmla="*/ 102 w 549"/>
                    <a:gd name="T101" fmla="*/ 566 h 598"/>
                    <a:gd name="T102" fmla="*/ 91 w 549"/>
                    <a:gd name="T103" fmla="*/ 574 h 598"/>
                    <a:gd name="T104" fmla="*/ 79 w 549"/>
                    <a:gd name="T105" fmla="*/ 582 h 598"/>
                    <a:gd name="T106" fmla="*/ 27 w 549"/>
                    <a:gd name="T107" fmla="*/ 598 h 598"/>
                    <a:gd name="T108" fmla="*/ 1 w 549"/>
                    <a:gd name="T109" fmla="*/ 477 h 598"/>
                    <a:gd name="T110" fmla="*/ 1 w 549"/>
                    <a:gd name="T111" fmla="*/ 389 h 598"/>
                    <a:gd name="T112" fmla="*/ 1 w 549"/>
                    <a:gd name="T113" fmla="*/ 336 h 598"/>
                    <a:gd name="T114" fmla="*/ 1 w 549"/>
                    <a:gd name="T115" fmla="*/ 265 h 598"/>
                    <a:gd name="T116" fmla="*/ 1 w 549"/>
                    <a:gd name="T117" fmla="*/ 182 h 598"/>
                    <a:gd name="T118" fmla="*/ 1 w 549"/>
                    <a:gd name="T119" fmla="*/ 152 h 598"/>
                    <a:gd name="T120" fmla="*/ 1 w 549"/>
                    <a:gd name="T121" fmla="*/ 88 h 598"/>
                    <a:gd name="T122" fmla="*/ 14 w 549"/>
                    <a:gd name="T123" fmla="*/ 0 h 598"/>
                    <a:gd name="T124" fmla="*/ 257 w 549"/>
                    <a:gd name="T125"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9" h="598">
                      <a:moveTo>
                        <a:pt x="321" y="0"/>
                      </a:moveTo>
                      <a:lnTo>
                        <a:pt x="339" y="1"/>
                      </a:lnTo>
                      <a:lnTo>
                        <a:pt x="346" y="0"/>
                      </a:lnTo>
                      <a:lnTo>
                        <a:pt x="353" y="0"/>
                      </a:lnTo>
                      <a:lnTo>
                        <a:pt x="360" y="0"/>
                      </a:lnTo>
                      <a:lnTo>
                        <a:pt x="366" y="0"/>
                      </a:lnTo>
                      <a:lnTo>
                        <a:pt x="399" y="1"/>
                      </a:lnTo>
                      <a:lnTo>
                        <a:pt x="409" y="1"/>
                      </a:lnTo>
                      <a:lnTo>
                        <a:pt x="413" y="1"/>
                      </a:lnTo>
                      <a:lnTo>
                        <a:pt x="423" y="1"/>
                      </a:lnTo>
                      <a:lnTo>
                        <a:pt x="431" y="1"/>
                      </a:lnTo>
                      <a:lnTo>
                        <a:pt x="440" y="1"/>
                      </a:lnTo>
                      <a:lnTo>
                        <a:pt x="450" y="1"/>
                      </a:lnTo>
                      <a:lnTo>
                        <a:pt x="482" y="1"/>
                      </a:lnTo>
                      <a:lnTo>
                        <a:pt x="488" y="1"/>
                      </a:lnTo>
                      <a:lnTo>
                        <a:pt x="493" y="1"/>
                      </a:lnTo>
                      <a:lnTo>
                        <a:pt x="493" y="7"/>
                      </a:lnTo>
                      <a:lnTo>
                        <a:pt x="493" y="14"/>
                      </a:lnTo>
                      <a:lnTo>
                        <a:pt x="493" y="15"/>
                      </a:lnTo>
                      <a:lnTo>
                        <a:pt x="493" y="83"/>
                      </a:lnTo>
                      <a:lnTo>
                        <a:pt x="493" y="97"/>
                      </a:lnTo>
                      <a:lnTo>
                        <a:pt x="493" y="102"/>
                      </a:lnTo>
                      <a:lnTo>
                        <a:pt x="493" y="108"/>
                      </a:lnTo>
                      <a:lnTo>
                        <a:pt x="493" y="120"/>
                      </a:lnTo>
                      <a:lnTo>
                        <a:pt x="493" y="123"/>
                      </a:lnTo>
                      <a:lnTo>
                        <a:pt x="494" y="135"/>
                      </a:lnTo>
                      <a:lnTo>
                        <a:pt x="494" y="141"/>
                      </a:lnTo>
                      <a:lnTo>
                        <a:pt x="494" y="149"/>
                      </a:lnTo>
                      <a:lnTo>
                        <a:pt x="493" y="155"/>
                      </a:lnTo>
                      <a:lnTo>
                        <a:pt x="493" y="157"/>
                      </a:lnTo>
                      <a:lnTo>
                        <a:pt x="493" y="159"/>
                      </a:lnTo>
                      <a:lnTo>
                        <a:pt x="493" y="188"/>
                      </a:lnTo>
                      <a:lnTo>
                        <a:pt x="493" y="194"/>
                      </a:lnTo>
                      <a:lnTo>
                        <a:pt x="493" y="196"/>
                      </a:lnTo>
                      <a:lnTo>
                        <a:pt x="494" y="196"/>
                      </a:lnTo>
                      <a:lnTo>
                        <a:pt x="494" y="221"/>
                      </a:lnTo>
                      <a:lnTo>
                        <a:pt x="508" y="220"/>
                      </a:lnTo>
                      <a:lnTo>
                        <a:pt x="515" y="220"/>
                      </a:lnTo>
                      <a:lnTo>
                        <a:pt x="525" y="220"/>
                      </a:lnTo>
                      <a:lnTo>
                        <a:pt x="525" y="236"/>
                      </a:lnTo>
                      <a:lnTo>
                        <a:pt x="525" y="242"/>
                      </a:lnTo>
                      <a:lnTo>
                        <a:pt x="526" y="252"/>
                      </a:lnTo>
                      <a:lnTo>
                        <a:pt x="530" y="252"/>
                      </a:lnTo>
                      <a:lnTo>
                        <a:pt x="531" y="252"/>
                      </a:lnTo>
                      <a:lnTo>
                        <a:pt x="530" y="252"/>
                      </a:lnTo>
                      <a:lnTo>
                        <a:pt x="530" y="253"/>
                      </a:lnTo>
                      <a:lnTo>
                        <a:pt x="529" y="253"/>
                      </a:lnTo>
                      <a:lnTo>
                        <a:pt x="529" y="255"/>
                      </a:lnTo>
                      <a:lnTo>
                        <a:pt x="528" y="255"/>
                      </a:lnTo>
                      <a:lnTo>
                        <a:pt x="528" y="256"/>
                      </a:lnTo>
                      <a:lnTo>
                        <a:pt x="528" y="257"/>
                      </a:lnTo>
                      <a:lnTo>
                        <a:pt x="527" y="257"/>
                      </a:lnTo>
                      <a:lnTo>
                        <a:pt x="527" y="258"/>
                      </a:lnTo>
                      <a:lnTo>
                        <a:pt x="528" y="258"/>
                      </a:lnTo>
                      <a:lnTo>
                        <a:pt x="529" y="258"/>
                      </a:lnTo>
                      <a:lnTo>
                        <a:pt x="530" y="258"/>
                      </a:lnTo>
                      <a:lnTo>
                        <a:pt x="531" y="258"/>
                      </a:lnTo>
                      <a:lnTo>
                        <a:pt x="530" y="258"/>
                      </a:lnTo>
                      <a:lnTo>
                        <a:pt x="530" y="259"/>
                      </a:lnTo>
                      <a:lnTo>
                        <a:pt x="531" y="259"/>
                      </a:lnTo>
                      <a:lnTo>
                        <a:pt x="530" y="259"/>
                      </a:lnTo>
                      <a:lnTo>
                        <a:pt x="531" y="260"/>
                      </a:lnTo>
                      <a:lnTo>
                        <a:pt x="530" y="260"/>
                      </a:lnTo>
                      <a:lnTo>
                        <a:pt x="531" y="260"/>
                      </a:lnTo>
                      <a:lnTo>
                        <a:pt x="531" y="261"/>
                      </a:lnTo>
                      <a:lnTo>
                        <a:pt x="530" y="261"/>
                      </a:lnTo>
                      <a:lnTo>
                        <a:pt x="531" y="261"/>
                      </a:lnTo>
                      <a:lnTo>
                        <a:pt x="531" y="262"/>
                      </a:lnTo>
                      <a:lnTo>
                        <a:pt x="532" y="262"/>
                      </a:lnTo>
                      <a:lnTo>
                        <a:pt x="531" y="262"/>
                      </a:lnTo>
                      <a:lnTo>
                        <a:pt x="531" y="263"/>
                      </a:lnTo>
                      <a:lnTo>
                        <a:pt x="532" y="263"/>
                      </a:lnTo>
                      <a:lnTo>
                        <a:pt x="531" y="263"/>
                      </a:lnTo>
                      <a:lnTo>
                        <a:pt x="531" y="264"/>
                      </a:lnTo>
                      <a:lnTo>
                        <a:pt x="531" y="263"/>
                      </a:lnTo>
                      <a:lnTo>
                        <a:pt x="530" y="263"/>
                      </a:lnTo>
                      <a:lnTo>
                        <a:pt x="530" y="264"/>
                      </a:lnTo>
                      <a:lnTo>
                        <a:pt x="530" y="265"/>
                      </a:lnTo>
                      <a:lnTo>
                        <a:pt x="529" y="265"/>
                      </a:lnTo>
                      <a:lnTo>
                        <a:pt x="528" y="265"/>
                      </a:lnTo>
                      <a:lnTo>
                        <a:pt x="529" y="265"/>
                      </a:lnTo>
                      <a:lnTo>
                        <a:pt x="529" y="267"/>
                      </a:lnTo>
                      <a:lnTo>
                        <a:pt x="529" y="268"/>
                      </a:lnTo>
                      <a:lnTo>
                        <a:pt x="529" y="269"/>
                      </a:lnTo>
                      <a:lnTo>
                        <a:pt x="530" y="269"/>
                      </a:lnTo>
                      <a:lnTo>
                        <a:pt x="530" y="270"/>
                      </a:lnTo>
                      <a:lnTo>
                        <a:pt x="531" y="270"/>
                      </a:lnTo>
                      <a:lnTo>
                        <a:pt x="531" y="271"/>
                      </a:lnTo>
                      <a:lnTo>
                        <a:pt x="532" y="271"/>
                      </a:lnTo>
                      <a:lnTo>
                        <a:pt x="531" y="271"/>
                      </a:lnTo>
                      <a:lnTo>
                        <a:pt x="531" y="272"/>
                      </a:lnTo>
                      <a:lnTo>
                        <a:pt x="531" y="273"/>
                      </a:lnTo>
                      <a:lnTo>
                        <a:pt x="531" y="274"/>
                      </a:lnTo>
                      <a:lnTo>
                        <a:pt x="531" y="275"/>
                      </a:lnTo>
                      <a:lnTo>
                        <a:pt x="531" y="276"/>
                      </a:lnTo>
                      <a:lnTo>
                        <a:pt x="531" y="277"/>
                      </a:lnTo>
                      <a:lnTo>
                        <a:pt x="530" y="277"/>
                      </a:lnTo>
                      <a:lnTo>
                        <a:pt x="531" y="277"/>
                      </a:lnTo>
                      <a:lnTo>
                        <a:pt x="531" y="278"/>
                      </a:lnTo>
                      <a:lnTo>
                        <a:pt x="531" y="280"/>
                      </a:lnTo>
                      <a:lnTo>
                        <a:pt x="532" y="280"/>
                      </a:lnTo>
                      <a:lnTo>
                        <a:pt x="532" y="281"/>
                      </a:lnTo>
                      <a:lnTo>
                        <a:pt x="533" y="281"/>
                      </a:lnTo>
                      <a:lnTo>
                        <a:pt x="533" y="282"/>
                      </a:lnTo>
                      <a:lnTo>
                        <a:pt x="532" y="282"/>
                      </a:lnTo>
                      <a:lnTo>
                        <a:pt x="532" y="283"/>
                      </a:lnTo>
                      <a:lnTo>
                        <a:pt x="532" y="284"/>
                      </a:lnTo>
                      <a:lnTo>
                        <a:pt x="532" y="285"/>
                      </a:lnTo>
                      <a:lnTo>
                        <a:pt x="531" y="285"/>
                      </a:lnTo>
                      <a:lnTo>
                        <a:pt x="532" y="285"/>
                      </a:lnTo>
                      <a:lnTo>
                        <a:pt x="531" y="285"/>
                      </a:lnTo>
                      <a:lnTo>
                        <a:pt x="531" y="286"/>
                      </a:lnTo>
                      <a:lnTo>
                        <a:pt x="530" y="286"/>
                      </a:lnTo>
                      <a:lnTo>
                        <a:pt x="531" y="286"/>
                      </a:lnTo>
                      <a:lnTo>
                        <a:pt x="531" y="287"/>
                      </a:lnTo>
                      <a:lnTo>
                        <a:pt x="530" y="287"/>
                      </a:lnTo>
                      <a:lnTo>
                        <a:pt x="530" y="288"/>
                      </a:lnTo>
                      <a:lnTo>
                        <a:pt x="530" y="289"/>
                      </a:lnTo>
                      <a:lnTo>
                        <a:pt x="530" y="290"/>
                      </a:lnTo>
                      <a:lnTo>
                        <a:pt x="530" y="291"/>
                      </a:lnTo>
                      <a:lnTo>
                        <a:pt x="530" y="293"/>
                      </a:lnTo>
                      <a:lnTo>
                        <a:pt x="530" y="294"/>
                      </a:lnTo>
                      <a:lnTo>
                        <a:pt x="530" y="295"/>
                      </a:lnTo>
                      <a:lnTo>
                        <a:pt x="531" y="295"/>
                      </a:lnTo>
                      <a:lnTo>
                        <a:pt x="531" y="296"/>
                      </a:lnTo>
                      <a:lnTo>
                        <a:pt x="531" y="297"/>
                      </a:lnTo>
                      <a:lnTo>
                        <a:pt x="530" y="297"/>
                      </a:lnTo>
                      <a:lnTo>
                        <a:pt x="530" y="298"/>
                      </a:lnTo>
                      <a:lnTo>
                        <a:pt x="530" y="299"/>
                      </a:lnTo>
                      <a:lnTo>
                        <a:pt x="530" y="300"/>
                      </a:lnTo>
                      <a:lnTo>
                        <a:pt x="530" y="301"/>
                      </a:lnTo>
                      <a:lnTo>
                        <a:pt x="531" y="302"/>
                      </a:lnTo>
                      <a:lnTo>
                        <a:pt x="530" y="302"/>
                      </a:lnTo>
                      <a:lnTo>
                        <a:pt x="531" y="302"/>
                      </a:lnTo>
                      <a:lnTo>
                        <a:pt x="531" y="303"/>
                      </a:lnTo>
                      <a:lnTo>
                        <a:pt x="530" y="303"/>
                      </a:lnTo>
                      <a:lnTo>
                        <a:pt x="531" y="303"/>
                      </a:lnTo>
                      <a:lnTo>
                        <a:pt x="531" y="304"/>
                      </a:lnTo>
                      <a:lnTo>
                        <a:pt x="530" y="306"/>
                      </a:lnTo>
                      <a:lnTo>
                        <a:pt x="529" y="306"/>
                      </a:lnTo>
                      <a:lnTo>
                        <a:pt x="528" y="306"/>
                      </a:lnTo>
                      <a:lnTo>
                        <a:pt x="528" y="307"/>
                      </a:lnTo>
                      <a:lnTo>
                        <a:pt x="528" y="308"/>
                      </a:lnTo>
                      <a:lnTo>
                        <a:pt x="529" y="308"/>
                      </a:lnTo>
                      <a:lnTo>
                        <a:pt x="529" y="309"/>
                      </a:lnTo>
                      <a:lnTo>
                        <a:pt x="528" y="310"/>
                      </a:lnTo>
                      <a:lnTo>
                        <a:pt x="528" y="311"/>
                      </a:lnTo>
                      <a:lnTo>
                        <a:pt x="528" y="312"/>
                      </a:lnTo>
                      <a:lnTo>
                        <a:pt x="529" y="312"/>
                      </a:lnTo>
                      <a:lnTo>
                        <a:pt x="529" y="313"/>
                      </a:lnTo>
                      <a:lnTo>
                        <a:pt x="528" y="313"/>
                      </a:lnTo>
                      <a:lnTo>
                        <a:pt x="528" y="314"/>
                      </a:lnTo>
                      <a:lnTo>
                        <a:pt x="528" y="315"/>
                      </a:lnTo>
                      <a:lnTo>
                        <a:pt x="529" y="315"/>
                      </a:lnTo>
                      <a:lnTo>
                        <a:pt x="530" y="316"/>
                      </a:lnTo>
                      <a:lnTo>
                        <a:pt x="530" y="317"/>
                      </a:lnTo>
                      <a:lnTo>
                        <a:pt x="531" y="317"/>
                      </a:lnTo>
                      <a:lnTo>
                        <a:pt x="531" y="319"/>
                      </a:lnTo>
                      <a:lnTo>
                        <a:pt x="531" y="320"/>
                      </a:lnTo>
                      <a:lnTo>
                        <a:pt x="531" y="321"/>
                      </a:lnTo>
                      <a:lnTo>
                        <a:pt x="530" y="321"/>
                      </a:lnTo>
                      <a:lnTo>
                        <a:pt x="531" y="321"/>
                      </a:lnTo>
                      <a:lnTo>
                        <a:pt x="531" y="322"/>
                      </a:lnTo>
                      <a:lnTo>
                        <a:pt x="531" y="323"/>
                      </a:lnTo>
                      <a:lnTo>
                        <a:pt x="531" y="324"/>
                      </a:lnTo>
                      <a:lnTo>
                        <a:pt x="531" y="325"/>
                      </a:lnTo>
                      <a:lnTo>
                        <a:pt x="531" y="326"/>
                      </a:lnTo>
                      <a:lnTo>
                        <a:pt x="531" y="327"/>
                      </a:lnTo>
                      <a:lnTo>
                        <a:pt x="532" y="327"/>
                      </a:lnTo>
                      <a:lnTo>
                        <a:pt x="532" y="328"/>
                      </a:lnTo>
                      <a:lnTo>
                        <a:pt x="532" y="329"/>
                      </a:lnTo>
                      <a:lnTo>
                        <a:pt x="533" y="330"/>
                      </a:lnTo>
                      <a:lnTo>
                        <a:pt x="532" y="330"/>
                      </a:lnTo>
                      <a:lnTo>
                        <a:pt x="532" y="332"/>
                      </a:lnTo>
                      <a:lnTo>
                        <a:pt x="532" y="333"/>
                      </a:lnTo>
                      <a:lnTo>
                        <a:pt x="533" y="333"/>
                      </a:lnTo>
                      <a:lnTo>
                        <a:pt x="533" y="334"/>
                      </a:lnTo>
                      <a:lnTo>
                        <a:pt x="533" y="335"/>
                      </a:lnTo>
                      <a:lnTo>
                        <a:pt x="534" y="336"/>
                      </a:lnTo>
                      <a:lnTo>
                        <a:pt x="534" y="337"/>
                      </a:lnTo>
                      <a:lnTo>
                        <a:pt x="535" y="337"/>
                      </a:lnTo>
                      <a:lnTo>
                        <a:pt x="535" y="338"/>
                      </a:lnTo>
                      <a:lnTo>
                        <a:pt x="535" y="340"/>
                      </a:lnTo>
                      <a:lnTo>
                        <a:pt x="536" y="340"/>
                      </a:lnTo>
                      <a:lnTo>
                        <a:pt x="536" y="341"/>
                      </a:lnTo>
                      <a:lnTo>
                        <a:pt x="536" y="342"/>
                      </a:lnTo>
                      <a:lnTo>
                        <a:pt x="535" y="342"/>
                      </a:lnTo>
                      <a:lnTo>
                        <a:pt x="535" y="345"/>
                      </a:lnTo>
                      <a:lnTo>
                        <a:pt x="534" y="345"/>
                      </a:lnTo>
                      <a:lnTo>
                        <a:pt x="534" y="346"/>
                      </a:lnTo>
                      <a:lnTo>
                        <a:pt x="534" y="347"/>
                      </a:lnTo>
                      <a:lnTo>
                        <a:pt x="533" y="348"/>
                      </a:lnTo>
                      <a:lnTo>
                        <a:pt x="534" y="348"/>
                      </a:lnTo>
                      <a:lnTo>
                        <a:pt x="534" y="349"/>
                      </a:lnTo>
                      <a:lnTo>
                        <a:pt x="534" y="350"/>
                      </a:lnTo>
                      <a:lnTo>
                        <a:pt x="534" y="351"/>
                      </a:lnTo>
                      <a:lnTo>
                        <a:pt x="534" y="352"/>
                      </a:lnTo>
                      <a:lnTo>
                        <a:pt x="535" y="352"/>
                      </a:lnTo>
                      <a:lnTo>
                        <a:pt x="535" y="353"/>
                      </a:lnTo>
                      <a:lnTo>
                        <a:pt x="535" y="354"/>
                      </a:lnTo>
                      <a:lnTo>
                        <a:pt x="535" y="355"/>
                      </a:lnTo>
                      <a:lnTo>
                        <a:pt x="536" y="357"/>
                      </a:lnTo>
                      <a:lnTo>
                        <a:pt x="536" y="358"/>
                      </a:lnTo>
                      <a:lnTo>
                        <a:pt x="535" y="358"/>
                      </a:lnTo>
                      <a:lnTo>
                        <a:pt x="535" y="359"/>
                      </a:lnTo>
                      <a:lnTo>
                        <a:pt x="534" y="359"/>
                      </a:lnTo>
                      <a:lnTo>
                        <a:pt x="535" y="360"/>
                      </a:lnTo>
                      <a:lnTo>
                        <a:pt x="535" y="361"/>
                      </a:lnTo>
                      <a:lnTo>
                        <a:pt x="535" y="362"/>
                      </a:lnTo>
                      <a:lnTo>
                        <a:pt x="536" y="362"/>
                      </a:lnTo>
                      <a:lnTo>
                        <a:pt x="535" y="363"/>
                      </a:lnTo>
                      <a:lnTo>
                        <a:pt x="536" y="363"/>
                      </a:lnTo>
                      <a:lnTo>
                        <a:pt x="536" y="364"/>
                      </a:lnTo>
                      <a:lnTo>
                        <a:pt x="536" y="365"/>
                      </a:lnTo>
                      <a:lnTo>
                        <a:pt x="536" y="366"/>
                      </a:lnTo>
                      <a:lnTo>
                        <a:pt x="538" y="366"/>
                      </a:lnTo>
                      <a:lnTo>
                        <a:pt x="538" y="367"/>
                      </a:lnTo>
                      <a:lnTo>
                        <a:pt x="539" y="367"/>
                      </a:lnTo>
                      <a:lnTo>
                        <a:pt x="538" y="367"/>
                      </a:lnTo>
                      <a:lnTo>
                        <a:pt x="538" y="368"/>
                      </a:lnTo>
                      <a:lnTo>
                        <a:pt x="538" y="370"/>
                      </a:lnTo>
                      <a:lnTo>
                        <a:pt x="536" y="370"/>
                      </a:lnTo>
                      <a:lnTo>
                        <a:pt x="536" y="371"/>
                      </a:lnTo>
                      <a:lnTo>
                        <a:pt x="538" y="371"/>
                      </a:lnTo>
                      <a:lnTo>
                        <a:pt x="539" y="371"/>
                      </a:lnTo>
                      <a:lnTo>
                        <a:pt x="539" y="372"/>
                      </a:lnTo>
                      <a:lnTo>
                        <a:pt x="539" y="373"/>
                      </a:lnTo>
                      <a:lnTo>
                        <a:pt x="539" y="374"/>
                      </a:lnTo>
                      <a:lnTo>
                        <a:pt x="539" y="375"/>
                      </a:lnTo>
                      <a:lnTo>
                        <a:pt x="539" y="376"/>
                      </a:lnTo>
                      <a:lnTo>
                        <a:pt x="540" y="376"/>
                      </a:lnTo>
                      <a:lnTo>
                        <a:pt x="540" y="377"/>
                      </a:lnTo>
                      <a:lnTo>
                        <a:pt x="541" y="377"/>
                      </a:lnTo>
                      <a:lnTo>
                        <a:pt x="541" y="378"/>
                      </a:lnTo>
                      <a:lnTo>
                        <a:pt x="541" y="379"/>
                      </a:lnTo>
                      <a:lnTo>
                        <a:pt x="542" y="379"/>
                      </a:lnTo>
                      <a:lnTo>
                        <a:pt x="542" y="380"/>
                      </a:lnTo>
                      <a:lnTo>
                        <a:pt x="542" y="381"/>
                      </a:lnTo>
                      <a:lnTo>
                        <a:pt x="542" y="383"/>
                      </a:lnTo>
                      <a:lnTo>
                        <a:pt x="543" y="383"/>
                      </a:lnTo>
                      <a:lnTo>
                        <a:pt x="544" y="383"/>
                      </a:lnTo>
                      <a:lnTo>
                        <a:pt x="544" y="384"/>
                      </a:lnTo>
                      <a:lnTo>
                        <a:pt x="545" y="385"/>
                      </a:lnTo>
                      <a:lnTo>
                        <a:pt x="545" y="386"/>
                      </a:lnTo>
                      <a:lnTo>
                        <a:pt x="545" y="387"/>
                      </a:lnTo>
                      <a:lnTo>
                        <a:pt x="544" y="388"/>
                      </a:lnTo>
                      <a:lnTo>
                        <a:pt x="544" y="389"/>
                      </a:lnTo>
                      <a:lnTo>
                        <a:pt x="544" y="390"/>
                      </a:lnTo>
                      <a:lnTo>
                        <a:pt x="544" y="391"/>
                      </a:lnTo>
                      <a:lnTo>
                        <a:pt x="544" y="392"/>
                      </a:lnTo>
                      <a:lnTo>
                        <a:pt x="545" y="392"/>
                      </a:lnTo>
                      <a:lnTo>
                        <a:pt x="546" y="392"/>
                      </a:lnTo>
                      <a:lnTo>
                        <a:pt x="547" y="392"/>
                      </a:lnTo>
                      <a:lnTo>
                        <a:pt x="548" y="392"/>
                      </a:lnTo>
                      <a:lnTo>
                        <a:pt x="549" y="392"/>
                      </a:lnTo>
                      <a:lnTo>
                        <a:pt x="549" y="393"/>
                      </a:lnTo>
                      <a:lnTo>
                        <a:pt x="548" y="393"/>
                      </a:lnTo>
                      <a:lnTo>
                        <a:pt x="549" y="394"/>
                      </a:lnTo>
                      <a:lnTo>
                        <a:pt x="549" y="396"/>
                      </a:lnTo>
                      <a:lnTo>
                        <a:pt x="548" y="397"/>
                      </a:lnTo>
                      <a:lnTo>
                        <a:pt x="548" y="398"/>
                      </a:lnTo>
                      <a:lnTo>
                        <a:pt x="549" y="398"/>
                      </a:lnTo>
                      <a:lnTo>
                        <a:pt x="549" y="399"/>
                      </a:lnTo>
                      <a:lnTo>
                        <a:pt x="548" y="399"/>
                      </a:lnTo>
                      <a:lnTo>
                        <a:pt x="547" y="400"/>
                      </a:lnTo>
                      <a:lnTo>
                        <a:pt x="548" y="400"/>
                      </a:lnTo>
                      <a:lnTo>
                        <a:pt x="548" y="401"/>
                      </a:lnTo>
                      <a:lnTo>
                        <a:pt x="547" y="401"/>
                      </a:lnTo>
                      <a:lnTo>
                        <a:pt x="547" y="402"/>
                      </a:lnTo>
                      <a:lnTo>
                        <a:pt x="547" y="401"/>
                      </a:lnTo>
                      <a:lnTo>
                        <a:pt x="546" y="401"/>
                      </a:lnTo>
                      <a:lnTo>
                        <a:pt x="546" y="402"/>
                      </a:lnTo>
                      <a:lnTo>
                        <a:pt x="546" y="403"/>
                      </a:lnTo>
                      <a:lnTo>
                        <a:pt x="547" y="403"/>
                      </a:lnTo>
                      <a:lnTo>
                        <a:pt x="547" y="404"/>
                      </a:lnTo>
                      <a:lnTo>
                        <a:pt x="547" y="405"/>
                      </a:lnTo>
                      <a:lnTo>
                        <a:pt x="546" y="405"/>
                      </a:lnTo>
                      <a:lnTo>
                        <a:pt x="546" y="406"/>
                      </a:lnTo>
                      <a:lnTo>
                        <a:pt x="546" y="407"/>
                      </a:lnTo>
                      <a:lnTo>
                        <a:pt x="547" y="407"/>
                      </a:lnTo>
                      <a:lnTo>
                        <a:pt x="548" y="409"/>
                      </a:lnTo>
                      <a:lnTo>
                        <a:pt x="549" y="410"/>
                      </a:lnTo>
                      <a:lnTo>
                        <a:pt x="549" y="411"/>
                      </a:lnTo>
                      <a:lnTo>
                        <a:pt x="527" y="411"/>
                      </a:lnTo>
                      <a:lnTo>
                        <a:pt x="514" y="411"/>
                      </a:lnTo>
                      <a:lnTo>
                        <a:pt x="513" y="411"/>
                      </a:lnTo>
                      <a:lnTo>
                        <a:pt x="512" y="411"/>
                      </a:lnTo>
                      <a:lnTo>
                        <a:pt x="494" y="411"/>
                      </a:lnTo>
                      <a:lnTo>
                        <a:pt x="494" y="413"/>
                      </a:lnTo>
                      <a:lnTo>
                        <a:pt x="494" y="419"/>
                      </a:lnTo>
                      <a:lnTo>
                        <a:pt x="494" y="423"/>
                      </a:lnTo>
                      <a:lnTo>
                        <a:pt x="494" y="425"/>
                      </a:lnTo>
                      <a:lnTo>
                        <a:pt x="494" y="427"/>
                      </a:lnTo>
                      <a:lnTo>
                        <a:pt x="494" y="431"/>
                      </a:lnTo>
                      <a:lnTo>
                        <a:pt x="494" y="443"/>
                      </a:lnTo>
                      <a:lnTo>
                        <a:pt x="486" y="443"/>
                      </a:lnTo>
                      <a:lnTo>
                        <a:pt x="479" y="443"/>
                      </a:lnTo>
                      <a:lnTo>
                        <a:pt x="476" y="443"/>
                      </a:lnTo>
                      <a:lnTo>
                        <a:pt x="467" y="443"/>
                      </a:lnTo>
                      <a:lnTo>
                        <a:pt x="466" y="443"/>
                      </a:lnTo>
                      <a:lnTo>
                        <a:pt x="456" y="443"/>
                      </a:lnTo>
                      <a:lnTo>
                        <a:pt x="448" y="443"/>
                      </a:lnTo>
                      <a:lnTo>
                        <a:pt x="441" y="443"/>
                      </a:lnTo>
                      <a:lnTo>
                        <a:pt x="431" y="443"/>
                      </a:lnTo>
                      <a:lnTo>
                        <a:pt x="424" y="443"/>
                      </a:lnTo>
                      <a:lnTo>
                        <a:pt x="416" y="443"/>
                      </a:lnTo>
                      <a:lnTo>
                        <a:pt x="411" y="443"/>
                      </a:lnTo>
                      <a:lnTo>
                        <a:pt x="410" y="444"/>
                      </a:lnTo>
                      <a:lnTo>
                        <a:pt x="409" y="445"/>
                      </a:lnTo>
                      <a:lnTo>
                        <a:pt x="406" y="447"/>
                      </a:lnTo>
                      <a:lnTo>
                        <a:pt x="405" y="448"/>
                      </a:lnTo>
                      <a:lnTo>
                        <a:pt x="404" y="449"/>
                      </a:lnTo>
                      <a:lnTo>
                        <a:pt x="403" y="452"/>
                      </a:lnTo>
                      <a:lnTo>
                        <a:pt x="401" y="453"/>
                      </a:lnTo>
                      <a:lnTo>
                        <a:pt x="400" y="454"/>
                      </a:lnTo>
                      <a:lnTo>
                        <a:pt x="399" y="454"/>
                      </a:lnTo>
                      <a:lnTo>
                        <a:pt x="397" y="454"/>
                      </a:lnTo>
                      <a:lnTo>
                        <a:pt x="396" y="454"/>
                      </a:lnTo>
                      <a:lnTo>
                        <a:pt x="394" y="453"/>
                      </a:lnTo>
                      <a:lnTo>
                        <a:pt x="390" y="451"/>
                      </a:lnTo>
                      <a:lnTo>
                        <a:pt x="388" y="451"/>
                      </a:lnTo>
                      <a:lnTo>
                        <a:pt x="387" y="450"/>
                      </a:lnTo>
                      <a:lnTo>
                        <a:pt x="385" y="450"/>
                      </a:lnTo>
                      <a:lnTo>
                        <a:pt x="384" y="450"/>
                      </a:lnTo>
                      <a:lnTo>
                        <a:pt x="383" y="450"/>
                      </a:lnTo>
                      <a:lnTo>
                        <a:pt x="381" y="451"/>
                      </a:lnTo>
                      <a:lnTo>
                        <a:pt x="380" y="452"/>
                      </a:lnTo>
                      <a:lnTo>
                        <a:pt x="378" y="454"/>
                      </a:lnTo>
                      <a:lnTo>
                        <a:pt x="377" y="456"/>
                      </a:lnTo>
                      <a:lnTo>
                        <a:pt x="377" y="458"/>
                      </a:lnTo>
                      <a:lnTo>
                        <a:pt x="377" y="462"/>
                      </a:lnTo>
                      <a:lnTo>
                        <a:pt x="377" y="463"/>
                      </a:lnTo>
                      <a:lnTo>
                        <a:pt x="377" y="464"/>
                      </a:lnTo>
                      <a:lnTo>
                        <a:pt x="378" y="465"/>
                      </a:lnTo>
                      <a:lnTo>
                        <a:pt x="379" y="467"/>
                      </a:lnTo>
                      <a:lnTo>
                        <a:pt x="380" y="468"/>
                      </a:lnTo>
                      <a:lnTo>
                        <a:pt x="381" y="469"/>
                      </a:lnTo>
                      <a:lnTo>
                        <a:pt x="383" y="469"/>
                      </a:lnTo>
                      <a:lnTo>
                        <a:pt x="384" y="470"/>
                      </a:lnTo>
                      <a:lnTo>
                        <a:pt x="386" y="470"/>
                      </a:lnTo>
                      <a:lnTo>
                        <a:pt x="390" y="471"/>
                      </a:lnTo>
                      <a:lnTo>
                        <a:pt x="391" y="473"/>
                      </a:lnTo>
                      <a:lnTo>
                        <a:pt x="392" y="474"/>
                      </a:lnTo>
                      <a:lnTo>
                        <a:pt x="393" y="474"/>
                      </a:lnTo>
                      <a:lnTo>
                        <a:pt x="393" y="475"/>
                      </a:lnTo>
                      <a:lnTo>
                        <a:pt x="394" y="476"/>
                      </a:lnTo>
                      <a:lnTo>
                        <a:pt x="394" y="477"/>
                      </a:lnTo>
                      <a:lnTo>
                        <a:pt x="394" y="478"/>
                      </a:lnTo>
                      <a:lnTo>
                        <a:pt x="394" y="479"/>
                      </a:lnTo>
                      <a:lnTo>
                        <a:pt x="394" y="480"/>
                      </a:lnTo>
                      <a:lnTo>
                        <a:pt x="393" y="481"/>
                      </a:lnTo>
                      <a:lnTo>
                        <a:pt x="393" y="482"/>
                      </a:lnTo>
                      <a:lnTo>
                        <a:pt x="392" y="484"/>
                      </a:lnTo>
                      <a:lnTo>
                        <a:pt x="390" y="486"/>
                      </a:lnTo>
                      <a:lnTo>
                        <a:pt x="390" y="487"/>
                      </a:lnTo>
                      <a:lnTo>
                        <a:pt x="389" y="488"/>
                      </a:lnTo>
                      <a:lnTo>
                        <a:pt x="388" y="490"/>
                      </a:lnTo>
                      <a:lnTo>
                        <a:pt x="388" y="491"/>
                      </a:lnTo>
                      <a:lnTo>
                        <a:pt x="387" y="493"/>
                      </a:lnTo>
                      <a:lnTo>
                        <a:pt x="387" y="495"/>
                      </a:lnTo>
                      <a:lnTo>
                        <a:pt x="386" y="499"/>
                      </a:lnTo>
                      <a:lnTo>
                        <a:pt x="385" y="500"/>
                      </a:lnTo>
                      <a:lnTo>
                        <a:pt x="385" y="503"/>
                      </a:lnTo>
                      <a:lnTo>
                        <a:pt x="385" y="505"/>
                      </a:lnTo>
                      <a:lnTo>
                        <a:pt x="384" y="506"/>
                      </a:lnTo>
                      <a:lnTo>
                        <a:pt x="384" y="507"/>
                      </a:lnTo>
                      <a:lnTo>
                        <a:pt x="383" y="508"/>
                      </a:lnTo>
                      <a:lnTo>
                        <a:pt x="381" y="508"/>
                      </a:lnTo>
                      <a:lnTo>
                        <a:pt x="381" y="509"/>
                      </a:lnTo>
                      <a:lnTo>
                        <a:pt x="383" y="509"/>
                      </a:lnTo>
                      <a:lnTo>
                        <a:pt x="383" y="510"/>
                      </a:lnTo>
                      <a:lnTo>
                        <a:pt x="381" y="510"/>
                      </a:lnTo>
                      <a:lnTo>
                        <a:pt x="380" y="510"/>
                      </a:lnTo>
                      <a:lnTo>
                        <a:pt x="380" y="512"/>
                      </a:lnTo>
                      <a:lnTo>
                        <a:pt x="380" y="513"/>
                      </a:lnTo>
                      <a:lnTo>
                        <a:pt x="380" y="514"/>
                      </a:lnTo>
                      <a:lnTo>
                        <a:pt x="380" y="515"/>
                      </a:lnTo>
                      <a:lnTo>
                        <a:pt x="379" y="516"/>
                      </a:lnTo>
                      <a:lnTo>
                        <a:pt x="378" y="516"/>
                      </a:lnTo>
                      <a:lnTo>
                        <a:pt x="378" y="517"/>
                      </a:lnTo>
                      <a:lnTo>
                        <a:pt x="378" y="518"/>
                      </a:lnTo>
                      <a:lnTo>
                        <a:pt x="379" y="518"/>
                      </a:lnTo>
                      <a:lnTo>
                        <a:pt x="379" y="519"/>
                      </a:lnTo>
                      <a:lnTo>
                        <a:pt x="378" y="519"/>
                      </a:lnTo>
                      <a:lnTo>
                        <a:pt x="378" y="520"/>
                      </a:lnTo>
                      <a:lnTo>
                        <a:pt x="378" y="521"/>
                      </a:lnTo>
                      <a:lnTo>
                        <a:pt x="379" y="521"/>
                      </a:lnTo>
                      <a:lnTo>
                        <a:pt x="379" y="522"/>
                      </a:lnTo>
                      <a:lnTo>
                        <a:pt x="380" y="521"/>
                      </a:lnTo>
                      <a:lnTo>
                        <a:pt x="381" y="521"/>
                      </a:lnTo>
                      <a:lnTo>
                        <a:pt x="380" y="522"/>
                      </a:lnTo>
                      <a:lnTo>
                        <a:pt x="379" y="522"/>
                      </a:lnTo>
                      <a:lnTo>
                        <a:pt x="379" y="524"/>
                      </a:lnTo>
                      <a:lnTo>
                        <a:pt x="379" y="525"/>
                      </a:lnTo>
                      <a:lnTo>
                        <a:pt x="380" y="525"/>
                      </a:lnTo>
                      <a:lnTo>
                        <a:pt x="381" y="525"/>
                      </a:lnTo>
                      <a:lnTo>
                        <a:pt x="381" y="526"/>
                      </a:lnTo>
                      <a:lnTo>
                        <a:pt x="383" y="526"/>
                      </a:lnTo>
                      <a:lnTo>
                        <a:pt x="384" y="526"/>
                      </a:lnTo>
                      <a:lnTo>
                        <a:pt x="384" y="527"/>
                      </a:lnTo>
                      <a:lnTo>
                        <a:pt x="383" y="527"/>
                      </a:lnTo>
                      <a:lnTo>
                        <a:pt x="383" y="528"/>
                      </a:lnTo>
                      <a:lnTo>
                        <a:pt x="381" y="528"/>
                      </a:lnTo>
                      <a:lnTo>
                        <a:pt x="381" y="529"/>
                      </a:lnTo>
                      <a:lnTo>
                        <a:pt x="383" y="530"/>
                      </a:lnTo>
                      <a:lnTo>
                        <a:pt x="383" y="532"/>
                      </a:lnTo>
                      <a:lnTo>
                        <a:pt x="383" y="534"/>
                      </a:lnTo>
                      <a:lnTo>
                        <a:pt x="384" y="534"/>
                      </a:lnTo>
                      <a:lnTo>
                        <a:pt x="385" y="533"/>
                      </a:lnTo>
                      <a:lnTo>
                        <a:pt x="386" y="533"/>
                      </a:lnTo>
                      <a:lnTo>
                        <a:pt x="387" y="532"/>
                      </a:lnTo>
                      <a:lnTo>
                        <a:pt x="388" y="533"/>
                      </a:lnTo>
                      <a:lnTo>
                        <a:pt x="389" y="533"/>
                      </a:lnTo>
                      <a:lnTo>
                        <a:pt x="390" y="534"/>
                      </a:lnTo>
                      <a:lnTo>
                        <a:pt x="390" y="535"/>
                      </a:lnTo>
                      <a:lnTo>
                        <a:pt x="390" y="537"/>
                      </a:lnTo>
                      <a:lnTo>
                        <a:pt x="391" y="538"/>
                      </a:lnTo>
                      <a:lnTo>
                        <a:pt x="391" y="539"/>
                      </a:lnTo>
                      <a:lnTo>
                        <a:pt x="391" y="540"/>
                      </a:lnTo>
                      <a:lnTo>
                        <a:pt x="390" y="540"/>
                      </a:lnTo>
                      <a:lnTo>
                        <a:pt x="389" y="540"/>
                      </a:lnTo>
                      <a:lnTo>
                        <a:pt x="389" y="541"/>
                      </a:lnTo>
                      <a:lnTo>
                        <a:pt x="389" y="543"/>
                      </a:lnTo>
                      <a:lnTo>
                        <a:pt x="388" y="543"/>
                      </a:lnTo>
                      <a:lnTo>
                        <a:pt x="388" y="544"/>
                      </a:lnTo>
                      <a:lnTo>
                        <a:pt x="388" y="545"/>
                      </a:lnTo>
                      <a:lnTo>
                        <a:pt x="389" y="545"/>
                      </a:lnTo>
                      <a:lnTo>
                        <a:pt x="389" y="546"/>
                      </a:lnTo>
                      <a:lnTo>
                        <a:pt x="390" y="546"/>
                      </a:lnTo>
                      <a:lnTo>
                        <a:pt x="391" y="546"/>
                      </a:lnTo>
                      <a:lnTo>
                        <a:pt x="391" y="547"/>
                      </a:lnTo>
                      <a:lnTo>
                        <a:pt x="390" y="547"/>
                      </a:lnTo>
                      <a:lnTo>
                        <a:pt x="389" y="548"/>
                      </a:lnTo>
                      <a:lnTo>
                        <a:pt x="390" y="550"/>
                      </a:lnTo>
                      <a:lnTo>
                        <a:pt x="390" y="551"/>
                      </a:lnTo>
                      <a:lnTo>
                        <a:pt x="389" y="552"/>
                      </a:lnTo>
                      <a:lnTo>
                        <a:pt x="390" y="553"/>
                      </a:lnTo>
                      <a:lnTo>
                        <a:pt x="390" y="554"/>
                      </a:lnTo>
                      <a:lnTo>
                        <a:pt x="390" y="555"/>
                      </a:lnTo>
                      <a:lnTo>
                        <a:pt x="389" y="555"/>
                      </a:lnTo>
                      <a:lnTo>
                        <a:pt x="388" y="555"/>
                      </a:lnTo>
                      <a:lnTo>
                        <a:pt x="388" y="556"/>
                      </a:lnTo>
                      <a:lnTo>
                        <a:pt x="388" y="557"/>
                      </a:lnTo>
                      <a:lnTo>
                        <a:pt x="389" y="558"/>
                      </a:lnTo>
                      <a:lnTo>
                        <a:pt x="389" y="559"/>
                      </a:lnTo>
                      <a:lnTo>
                        <a:pt x="389" y="560"/>
                      </a:lnTo>
                      <a:lnTo>
                        <a:pt x="388" y="560"/>
                      </a:lnTo>
                      <a:lnTo>
                        <a:pt x="388" y="561"/>
                      </a:lnTo>
                      <a:lnTo>
                        <a:pt x="387" y="561"/>
                      </a:lnTo>
                      <a:lnTo>
                        <a:pt x="386" y="563"/>
                      </a:lnTo>
                      <a:lnTo>
                        <a:pt x="385" y="563"/>
                      </a:lnTo>
                      <a:lnTo>
                        <a:pt x="385" y="564"/>
                      </a:lnTo>
                      <a:lnTo>
                        <a:pt x="384" y="564"/>
                      </a:lnTo>
                      <a:lnTo>
                        <a:pt x="384" y="566"/>
                      </a:lnTo>
                      <a:lnTo>
                        <a:pt x="383" y="567"/>
                      </a:lnTo>
                      <a:lnTo>
                        <a:pt x="381" y="568"/>
                      </a:lnTo>
                      <a:lnTo>
                        <a:pt x="380" y="567"/>
                      </a:lnTo>
                      <a:lnTo>
                        <a:pt x="379" y="567"/>
                      </a:lnTo>
                      <a:lnTo>
                        <a:pt x="378" y="567"/>
                      </a:lnTo>
                      <a:lnTo>
                        <a:pt x="378" y="568"/>
                      </a:lnTo>
                      <a:lnTo>
                        <a:pt x="377" y="568"/>
                      </a:lnTo>
                      <a:lnTo>
                        <a:pt x="377" y="569"/>
                      </a:lnTo>
                      <a:lnTo>
                        <a:pt x="374" y="569"/>
                      </a:lnTo>
                      <a:lnTo>
                        <a:pt x="373" y="569"/>
                      </a:lnTo>
                      <a:lnTo>
                        <a:pt x="360" y="569"/>
                      </a:lnTo>
                      <a:lnTo>
                        <a:pt x="359" y="569"/>
                      </a:lnTo>
                      <a:lnTo>
                        <a:pt x="357" y="569"/>
                      </a:lnTo>
                      <a:lnTo>
                        <a:pt x="355" y="568"/>
                      </a:lnTo>
                      <a:lnTo>
                        <a:pt x="351" y="568"/>
                      </a:lnTo>
                      <a:lnTo>
                        <a:pt x="341" y="568"/>
                      </a:lnTo>
                      <a:lnTo>
                        <a:pt x="340" y="568"/>
                      </a:lnTo>
                      <a:lnTo>
                        <a:pt x="336" y="568"/>
                      </a:lnTo>
                      <a:lnTo>
                        <a:pt x="333" y="568"/>
                      </a:lnTo>
                      <a:lnTo>
                        <a:pt x="287" y="568"/>
                      </a:lnTo>
                      <a:lnTo>
                        <a:pt x="286" y="568"/>
                      </a:lnTo>
                      <a:lnTo>
                        <a:pt x="263" y="568"/>
                      </a:lnTo>
                      <a:lnTo>
                        <a:pt x="262" y="566"/>
                      </a:lnTo>
                      <a:lnTo>
                        <a:pt x="262" y="565"/>
                      </a:lnTo>
                      <a:lnTo>
                        <a:pt x="262" y="564"/>
                      </a:lnTo>
                      <a:lnTo>
                        <a:pt x="262" y="563"/>
                      </a:lnTo>
                      <a:lnTo>
                        <a:pt x="262" y="561"/>
                      </a:lnTo>
                      <a:lnTo>
                        <a:pt x="262" y="560"/>
                      </a:lnTo>
                      <a:lnTo>
                        <a:pt x="261" y="559"/>
                      </a:lnTo>
                      <a:lnTo>
                        <a:pt x="261" y="558"/>
                      </a:lnTo>
                      <a:lnTo>
                        <a:pt x="261" y="557"/>
                      </a:lnTo>
                      <a:lnTo>
                        <a:pt x="260" y="556"/>
                      </a:lnTo>
                      <a:lnTo>
                        <a:pt x="261" y="556"/>
                      </a:lnTo>
                      <a:lnTo>
                        <a:pt x="261" y="555"/>
                      </a:lnTo>
                      <a:lnTo>
                        <a:pt x="261" y="552"/>
                      </a:lnTo>
                      <a:lnTo>
                        <a:pt x="262" y="551"/>
                      </a:lnTo>
                      <a:lnTo>
                        <a:pt x="262" y="550"/>
                      </a:lnTo>
                      <a:lnTo>
                        <a:pt x="263" y="548"/>
                      </a:lnTo>
                      <a:lnTo>
                        <a:pt x="263" y="547"/>
                      </a:lnTo>
                      <a:lnTo>
                        <a:pt x="263" y="546"/>
                      </a:lnTo>
                      <a:lnTo>
                        <a:pt x="262" y="546"/>
                      </a:lnTo>
                      <a:lnTo>
                        <a:pt x="263" y="545"/>
                      </a:lnTo>
                      <a:lnTo>
                        <a:pt x="263" y="544"/>
                      </a:lnTo>
                      <a:lnTo>
                        <a:pt x="262" y="544"/>
                      </a:lnTo>
                      <a:lnTo>
                        <a:pt x="262" y="543"/>
                      </a:lnTo>
                      <a:lnTo>
                        <a:pt x="262" y="542"/>
                      </a:lnTo>
                      <a:lnTo>
                        <a:pt x="261" y="542"/>
                      </a:lnTo>
                      <a:lnTo>
                        <a:pt x="260" y="542"/>
                      </a:lnTo>
                      <a:lnTo>
                        <a:pt x="261" y="541"/>
                      </a:lnTo>
                      <a:lnTo>
                        <a:pt x="260" y="541"/>
                      </a:lnTo>
                      <a:lnTo>
                        <a:pt x="260" y="540"/>
                      </a:lnTo>
                      <a:lnTo>
                        <a:pt x="259" y="540"/>
                      </a:lnTo>
                      <a:lnTo>
                        <a:pt x="259" y="539"/>
                      </a:lnTo>
                      <a:lnTo>
                        <a:pt x="259" y="538"/>
                      </a:lnTo>
                      <a:lnTo>
                        <a:pt x="258" y="538"/>
                      </a:lnTo>
                      <a:lnTo>
                        <a:pt x="258" y="537"/>
                      </a:lnTo>
                      <a:lnTo>
                        <a:pt x="258" y="535"/>
                      </a:lnTo>
                      <a:lnTo>
                        <a:pt x="257" y="534"/>
                      </a:lnTo>
                      <a:lnTo>
                        <a:pt x="256" y="534"/>
                      </a:lnTo>
                      <a:lnTo>
                        <a:pt x="255" y="533"/>
                      </a:lnTo>
                      <a:lnTo>
                        <a:pt x="254" y="533"/>
                      </a:lnTo>
                      <a:lnTo>
                        <a:pt x="252" y="533"/>
                      </a:lnTo>
                      <a:lnTo>
                        <a:pt x="252" y="532"/>
                      </a:lnTo>
                      <a:lnTo>
                        <a:pt x="251" y="532"/>
                      </a:lnTo>
                      <a:lnTo>
                        <a:pt x="251" y="531"/>
                      </a:lnTo>
                      <a:lnTo>
                        <a:pt x="250" y="531"/>
                      </a:lnTo>
                      <a:lnTo>
                        <a:pt x="250" y="530"/>
                      </a:lnTo>
                      <a:lnTo>
                        <a:pt x="249" y="530"/>
                      </a:lnTo>
                      <a:lnTo>
                        <a:pt x="248" y="530"/>
                      </a:lnTo>
                      <a:lnTo>
                        <a:pt x="248" y="528"/>
                      </a:lnTo>
                      <a:lnTo>
                        <a:pt x="248" y="527"/>
                      </a:lnTo>
                      <a:lnTo>
                        <a:pt x="247" y="526"/>
                      </a:lnTo>
                      <a:lnTo>
                        <a:pt x="247" y="525"/>
                      </a:lnTo>
                      <a:lnTo>
                        <a:pt x="246" y="525"/>
                      </a:lnTo>
                      <a:lnTo>
                        <a:pt x="246" y="524"/>
                      </a:lnTo>
                      <a:lnTo>
                        <a:pt x="245" y="524"/>
                      </a:lnTo>
                      <a:lnTo>
                        <a:pt x="244" y="522"/>
                      </a:lnTo>
                      <a:lnTo>
                        <a:pt x="244" y="521"/>
                      </a:lnTo>
                      <a:lnTo>
                        <a:pt x="244" y="520"/>
                      </a:lnTo>
                      <a:lnTo>
                        <a:pt x="243" y="519"/>
                      </a:lnTo>
                      <a:lnTo>
                        <a:pt x="242" y="519"/>
                      </a:lnTo>
                      <a:lnTo>
                        <a:pt x="242" y="518"/>
                      </a:lnTo>
                      <a:lnTo>
                        <a:pt x="241" y="518"/>
                      </a:lnTo>
                      <a:lnTo>
                        <a:pt x="239" y="517"/>
                      </a:lnTo>
                      <a:lnTo>
                        <a:pt x="238" y="517"/>
                      </a:lnTo>
                      <a:lnTo>
                        <a:pt x="238" y="516"/>
                      </a:lnTo>
                      <a:lnTo>
                        <a:pt x="237" y="516"/>
                      </a:lnTo>
                      <a:lnTo>
                        <a:pt x="236" y="515"/>
                      </a:lnTo>
                      <a:lnTo>
                        <a:pt x="235" y="515"/>
                      </a:lnTo>
                      <a:lnTo>
                        <a:pt x="235" y="514"/>
                      </a:lnTo>
                      <a:lnTo>
                        <a:pt x="235" y="513"/>
                      </a:lnTo>
                      <a:lnTo>
                        <a:pt x="234" y="513"/>
                      </a:lnTo>
                      <a:lnTo>
                        <a:pt x="234" y="512"/>
                      </a:lnTo>
                      <a:lnTo>
                        <a:pt x="233" y="512"/>
                      </a:lnTo>
                      <a:lnTo>
                        <a:pt x="232" y="512"/>
                      </a:lnTo>
                      <a:lnTo>
                        <a:pt x="232" y="510"/>
                      </a:lnTo>
                      <a:lnTo>
                        <a:pt x="231" y="510"/>
                      </a:lnTo>
                      <a:lnTo>
                        <a:pt x="229" y="510"/>
                      </a:lnTo>
                      <a:lnTo>
                        <a:pt x="228" y="510"/>
                      </a:lnTo>
                      <a:lnTo>
                        <a:pt x="226" y="510"/>
                      </a:lnTo>
                      <a:lnTo>
                        <a:pt x="225" y="509"/>
                      </a:lnTo>
                      <a:lnTo>
                        <a:pt x="224" y="509"/>
                      </a:lnTo>
                      <a:lnTo>
                        <a:pt x="223" y="509"/>
                      </a:lnTo>
                      <a:lnTo>
                        <a:pt x="222" y="510"/>
                      </a:lnTo>
                      <a:lnTo>
                        <a:pt x="221" y="510"/>
                      </a:lnTo>
                      <a:lnTo>
                        <a:pt x="220" y="510"/>
                      </a:lnTo>
                      <a:lnTo>
                        <a:pt x="219" y="510"/>
                      </a:lnTo>
                      <a:lnTo>
                        <a:pt x="218" y="510"/>
                      </a:lnTo>
                      <a:lnTo>
                        <a:pt x="217" y="509"/>
                      </a:lnTo>
                      <a:lnTo>
                        <a:pt x="216" y="508"/>
                      </a:lnTo>
                      <a:lnTo>
                        <a:pt x="215" y="507"/>
                      </a:lnTo>
                      <a:lnTo>
                        <a:pt x="213" y="506"/>
                      </a:lnTo>
                      <a:lnTo>
                        <a:pt x="213" y="505"/>
                      </a:lnTo>
                      <a:lnTo>
                        <a:pt x="212" y="505"/>
                      </a:lnTo>
                      <a:lnTo>
                        <a:pt x="211" y="505"/>
                      </a:lnTo>
                      <a:lnTo>
                        <a:pt x="210" y="506"/>
                      </a:lnTo>
                      <a:lnTo>
                        <a:pt x="210" y="507"/>
                      </a:lnTo>
                      <a:lnTo>
                        <a:pt x="211" y="508"/>
                      </a:lnTo>
                      <a:lnTo>
                        <a:pt x="210" y="509"/>
                      </a:lnTo>
                      <a:lnTo>
                        <a:pt x="209" y="509"/>
                      </a:lnTo>
                      <a:lnTo>
                        <a:pt x="208" y="509"/>
                      </a:lnTo>
                      <a:lnTo>
                        <a:pt x="207" y="509"/>
                      </a:lnTo>
                      <a:lnTo>
                        <a:pt x="206" y="510"/>
                      </a:lnTo>
                      <a:lnTo>
                        <a:pt x="205" y="512"/>
                      </a:lnTo>
                      <a:lnTo>
                        <a:pt x="202" y="512"/>
                      </a:lnTo>
                      <a:lnTo>
                        <a:pt x="200" y="510"/>
                      </a:lnTo>
                      <a:lnTo>
                        <a:pt x="199" y="509"/>
                      </a:lnTo>
                      <a:lnTo>
                        <a:pt x="199" y="508"/>
                      </a:lnTo>
                      <a:lnTo>
                        <a:pt x="199" y="507"/>
                      </a:lnTo>
                      <a:lnTo>
                        <a:pt x="198" y="506"/>
                      </a:lnTo>
                      <a:lnTo>
                        <a:pt x="197" y="505"/>
                      </a:lnTo>
                      <a:lnTo>
                        <a:pt x="196" y="505"/>
                      </a:lnTo>
                      <a:lnTo>
                        <a:pt x="196" y="504"/>
                      </a:lnTo>
                      <a:lnTo>
                        <a:pt x="195" y="502"/>
                      </a:lnTo>
                      <a:lnTo>
                        <a:pt x="194" y="502"/>
                      </a:lnTo>
                      <a:lnTo>
                        <a:pt x="193" y="503"/>
                      </a:lnTo>
                      <a:lnTo>
                        <a:pt x="193" y="504"/>
                      </a:lnTo>
                      <a:lnTo>
                        <a:pt x="192" y="504"/>
                      </a:lnTo>
                      <a:lnTo>
                        <a:pt x="191" y="504"/>
                      </a:lnTo>
                      <a:lnTo>
                        <a:pt x="190" y="504"/>
                      </a:lnTo>
                      <a:lnTo>
                        <a:pt x="188" y="504"/>
                      </a:lnTo>
                      <a:lnTo>
                        <a:pt x="187" y="504"/>
                      </a:lnTo>
                      <a:lnTo>
                        <a:pt x="187" y="503"/>
                      </a:lnTo>
                      <a:lnTo>
                        <a:pt x="186" y="503"/>
                      </a:lnTo>
                      <a:lnTo>
                        <a:pt x="186" y="502"/>
                      </a:lnTo>
                      <a:lnTo>
                        <a:pt x="185" y="501"/>
                      </a:lnTo>
                      <a:lnTo>
                        <a:pt x="185" y="500"/>
                      </a:lnTo>
                      <a:lnTo>
                        <a:pt x="185" y="499"/>
                      </a:lnTo>
                      <a:lnTo>
                        <a:pt x="184" y="500"/>
                      </a:lnTo>
                      <a:lnTo>
                        <a:pt x="184" y="499"/>
                      </a:lnTo>
                      <a:lnTo>
                        <a:pt x="183" y="497"/>
                      </a:lnTo>
                      <a:lnTo>
                        <a:pt x="183" y="496"/>
                      </a:lnTo>
                      <a:lnTo>
                        <a:pt x="184" y="495"/>
                      </a:lnTo>
                      <a:lnTo>
                        <a:pt x="183" y="495"/>
                      </a:lnTo>
                      <a:lnTo>
                        <a:pt x="183" y="494"/>
                      </a:lnTo>
                      <a:lnTo>
                        <a:pt x="181" y="493"/>
                      </a:lnTo>
                      <a:lnTo>
                        <a:pt x="180" y="494"/>
                      </a:lnTo>
                      <a:lnTo>
                        <a:pt x="179" y="494"/>
                      </a:lnTo>
                      <a:lnTo>
                        <a:pt x="178" y="494"/>
                      </a:lnTo>
                      <a:lnTo>
                        <a:pt x="179" y="493"/>
                      </a:lnTo>
                      <a:lnTo>
                        <a:pt x="179" y="492"/>
                      </a:lnTo>
                      <a:lnTo>
                        <a:pt x="178" y="492"/>
                      </a:lnTo>
                      <a:lnTo>
                        <a:pt x="177" y="491"/>
                      </a:lnTo>
                      <a:lnTo>
                        <a:pt x="175" y="491"/>
                      </a:lnTo>
                      <a:lnTo>
                        <a:pt x="174" y="491"/>
                      </a:lnTo>
                      <a:lnTo>
                        <a:pt x="173" y="491"/>
                      </a:lnTo>
                      <a:lnTo>
                        <a:pt x="172" y="491"/>
                      </a:lnTo>
                      <a:lnTo>
                        <a:pt x="172" y="492"/>
                      </a:lnTo>
                      <a:lnTo>
                        <a:pt x="171" y="491"/>
                      </a:lnTo>
                      <a:lnTo>
                        <a:pt x="172" y="491"/>
                      </a:lnTo>
                      <a:lnTo>
                        <a:pt x="171" y="491"/>
                      </a:lnTo>
                      <a:lnTo>
                        <a:pt x="171" y="490"/>
                      </a:lnTo>
                      <a:lnTo>
                        <a:pt x="170" y="491"/>
                      </a:lnTo>
                      <a:lnTo>
                        <a:pt x="169" y="491"/>
                      </a:lnTo>
                      <a:lnTo>
                        <a:pt x="168" y="491"/>
                      </a:lnTo>
                      <a:lnTo>
                        <a:pt x="166" y="492"/>
                      </a:lnTo>
                      <a:lnTo>
                        <a:pt x="167" y="492"/>
                      </a:lnTo>
                      <a:lnTo>
                        <a:pt x="167" y="493"/>
                      </a:lnTo>
                      <a:lnTo>
                        <a:pt x="166" y="493"/>
                      </a:lnTo>
                      <a:lnTo>
                        <a:pt x="165" y="493"/>
                      </a:lnTo>
                      <a:lnTo>
                        <a:pt x="165" y="494"/>
                      </a:lnTo>
                      <a:lnTo>
                        <a:pt x="164" y="494"/>
                      </a:lnTo>
                      <a:lnTo>
                        <a:pt x="164" y="493"/>
                      </a:lnTo>
                      <a:lnTo>
                        <a:pt x="162" y="493"/>
                      </a:lnTo>
                      <a:lnTo>
                        <a:pt x="162" y="492"/>
                      </a:lnTo>
                      <a:lnTo>
                        <a:pt x="161" y="492"/>
                      </a:lnTo>
                      <a:lnTo>
                        <a:pt x="160" y="492"/>
                      </a:lnTo>
                      <a:lnTo>
                        <a:pt x="159" y="492"/>
                      </a:lnTo>
                      <a:lnTo>
                        <a:pt x="158" y="493"/>
                      </a:lnTo>
                      <a:lnTo>
                        <a:pt x="157" y="493"/>
                      </a:lnTo>
                      <a:lnTo>
                        <a:pt x="156" y="494"/>
                      </a:lnTo>
                      <a:lnTo>
                        <a:pt x="155" y="494"/>
                      </a:lnTo>
                      <a:lnTo>
                        <a:pt x="156" y="495"/>
                      </a:lnTo>
                      <a:lnTo>
                        <a:pt x="155" y="495"/>
                      </a:lnTo>
                      <a:lnTo>
                        <a:pt x="154" y="495"/>
                      </a:lnTo>
                      <a:lnTo>
                        <a:pt x="153" y="496"/>
                      </a:lnTo>
                      <a:lnTo>
                        <a:pt x="152" y="496"/>
                      </a:lnTo>
                      <a:lnTo>
                        <a:pt x="151" y="496"/>
                      </a:lnTo>
                      <a:lnTo>
                        <a:pt x="151" y="497"/>
                      </a:lnTo>
                      <a:lnTo>
                        <a:pt x="149" y="499"/>
                      </a:lnTo>
                      <a:lnTo>
                        <a:pt x="151" y="499"/>
                      </a:lnTo>
                      <a:lnTo>
                        <a:pt x="149" y="499"/>
                      </a:lnTo>
                      <a:lnTo>
                        <a:pt x="148" y="499"/>
                      </a:lnTo>
                      <a:lnTo>
                        <a:pt x="148" y="500"/>
                      </a:lnTo>
                      <a:lnTo>
                        <a:pt x="147" y="500"/>
                      </a:lnTo>
                      <a:lnTo>
                        <a:pt x="146" y="501"/>
                      </a:lnTo>
                      <a:lnTo>
                        <a:pt x="146" y="502"/>
                      </a:lnTo>
                      <a:lnTo>
                        <a:pt x="145" y="503"/>
                      </a:lnTo>
                      <a:lnTo>
                        <a:pt x="145" y="504"/>
                      </a:lnTo>
                      <a:lnTo>
                        <a:pt x="145" y="505"/>
                      </a:lnTo>
                      <a:lnTo>
                        <a:pt x="144" y="506"/>
                      </a:lnTo>
                      <a:lnTo>
                        <a:pt x="144" y="507"/>
                      </a:lnTo>
                      <a:lnTo>
                        <a:pt x="145" y="507"/>
                      </a:lnTo>
                      <a:lnTo>
                        <a:pt x="145" y="508"/>
                      </a:lnTo>
                      <a:lnTo>
                        <a:pt x="145" y="509"/>
                      </a:lnTo>
                      <a:lnTo>
                        <a:pt x="144" y="509"/>
                      </a:lnTo>
                      <a:lnTo>
                        <a:pt x="145" y="510"/>
                      </a:lnTo>
                      <a:lnTo>
                        <a:pt x="144" y="510"/>
                      </a:lnTo>
                      <a:lnTo>
                        <a:pt x="145" y="512"/>
                      </a:lnTo>
                      <a:lnTo>
                        <a:pt x="145" y="513"/>
                      </a:lnTo>
                      <a:lnTo>
                        <a:pt x="145" y="514"/>
                      </a:lnTo>
                      <a:lnTo>
                        <a:pt x="144" y="515"/>
                      </a:lnTo>
                      <a:lnTo>
                        <a:pt x="143" y="515"/>
                      </a:lnTo>
                      <a:lnTo>
                        <a:pt x="143" y="516"/>
                      </a:lnTo>
                      <a:lnTo>
                        <a:pt x="142" y="516"/>
                      </a:lnTo>
                      <a:lnTo>
                        <a:pt x="142" y="517"/>
                      </a:lnTo>
                      <a:lnTo>
                        <a:pt x="141" y="517"/>
                      </a:lnTo>
                      <a:lnTo>
                        <a:pt x="140" y="517"/>
                      </a:lnTo>
                      <a:lnTo>
                        <a:pt x="139" y="517"/>
                      </a:lnTo>
                      <a:lnTo>
                        <a:pt x="138" y="517"/>
                      </a:lnTo>
                      <a:lnTo>
                        <a:pt x="138" y="518"/>
                      </a:lnTo>
                      <a:lnTo>
                        <a:pt x="136" y="518"/>
                      </a:lnTo>
                      <a:lnTo>
                        <a:pt x="136" y="519"/>
                      </a:lnTo>
                      <a:lnTo>
                        <a:pt x="136" y="518"/>
                      </a:lnTo>
                      <a:lnTo>
                        <a:pt x="135" y="519"/>
                      </a:lnTo>
                      <a:lnTo>
                        <a:pt x="136" y="519"/>
                      </a:lnTo>
                      <a:lnTo>
                        <a:pt x="135" y="520"/>
                      </a:lnTo>
                      <a:lnTo>
                        <a:pt x="135" y="521"/>
                      </a:lnTo>
                      <a:lnTo>
                        <a:pt x="134" y="521"/>
                      </a:lnTo>
                      <a:lnTo>
                        <a:pt x="133" y="521"/>
                      </a:lnTo>
                      <a:lnTo>
                        <a:pt x="132" y="521"/>
                      </a:lnTo>
                      <a:lnTo>
                        <a:pt x="131" y="521"/>
                      </a:lnTo>
                      <a:lnTo>
                        <a:pt x="130" y="522"/>
                      </a:lnTo>
                      <a:lnTo>
                        <a:pt x="130" y="524"/>
                      </a:lnTo>
                      <a:lnTo>
                        <a:pt x="129" y="524"/>
                      </a:lnTo>
                      <a:lnTo>
                        <a:pt x="128" y="524"/>
                      </a:lnTo>
                      <a:lnTo>
                        <a:pt x="128" y="525"/>
                      </a:lnTo>
                      <a:lnTo>
                        <a:pt x="127" y="525"/>
                      </a:lnTo>
                      <a:lnTo>
                        <a:pt x="127" y="526"/>
                      </a:lnTo>
                      <a:lnTo>
                        <a:pt x="126" y="526"/>
                      </a:lnTo>
                      <a:lnTo>
                        <a:pt x="126" y="527"/>
                      </a:lnTo>
                      <a:lnTo>
                        <a:pt x="125" y="526"/>
                      </a:lnTo>
                      <a:lnTo>
                        <a:pt x="125" y="527"/>
                      </a:lnTo>
                      <a:lnTo>
                        <a:pt x="123" y="528"/>
                      </a:lnTo>
                      <a:lnTo>
                        <a:pt x="123" y="529"/>
                      </a:lnTo>
                      <a:lnTo>
                        <a:pt x="122" y="529"/>
                      </a:lnTo>
                      <a:lnTo>
                        <a:pt x="121" y="529"/>
                      </a:lnTo>
                      <a:lnTo>
                        <a:pt x="120" y="529"/>
                      </a:lnTo>
                      <a:lnTo>
                        <a:pt x="120" y="530"/>
                      </a:lnTo>
                      <a:lnTo>
                        <a:pt x="119" y="529"/>
                      </a:lnTo>
                      <a:lnTo>
                        <a:pt x="119" y="530"/>
                      </a:lnTo>
                      <a:lnTo>
                        <a:pt x="118" y="531"/>
                      </a:lnTo>
                      <a:lnTo>
                        <a:pt x="118" y="530"/>
                      </a:lnTo>
                      <a:lnTo>
                        <a:pt x="117" y="531"/>
                      </a:lnTo>
                      <a:lnTo>
                        <a:pt x="118" y="531"/>
                      </a:lnTo>
                      <a:lnTo>
                        <a:pt x="118" y="532"/>
                      </a:lnTo>
                      <a:lnTo>
                        <a:pt x="118" y="533"/>
                      </a:lnTo>
                      <a:lnTo>
                        <a:pt x="117" y="533"/>
                      </a:lnTo>
                      <a:lnTo>
                        <a:pt x="117" y="534"/>
                      </a:lnTo>
                      <a:lnTo>
                        <a:pt x="117" y="533"/>
                      </a:lnTo>
                      <a:lnTo>
                        <a:pt x="117" y="534"/>
                      </a:lnTo>
                      <a:lnTo>
                        <a:pt x="116" y="534"/>
                      </a:lnTo>
                      <a:lnTo>
                        <a:pt x="116" y="535"/>
                      </a:lnTo>
                      <a:lnTo>
                        <a:pt x="115" y="537"/>
                      </a:lnTo>
                      <a:lnTo>
                        <a:pt x="115" y="538"/>
                      </a:lnTo>
                      <a:lnTo>
                        <a:pt x="115" y="539"/>
                      </a:lnTo>
                      <a:lnTo>
                        <a:pt x="116" y="539"/>
                      </a:lnTo>
                      <a:lnTo>
                        <a:pt x="116" y="540"/>
                      </a:lnTo>
                      <a:lnTo>
                        <a:pt x="115" y="540"/>
                      </a:lnTo>
                      <a:lnTo>
                        <a:pt x="115" y="541"/>
                      </a:lnTo>
                      <a:lnTo>
                        <a:pt x="115" y="542"/>
                      </a:lnTo>
                      <a:lnTo>
                        <a:pt x="115" y="543"/>
                      </a:lnTo>
                      <a:lnTo>
                        <a:pt x="114" y="544"/>
                      </a:lnTo>
                      <a:lnTo>
                        <a:pt x="114" y="545"/>
                      </a:lnTo>
                      <a:lnTo>
                        <a:pt x="114" y="546"/>
                      </a:lnTo>
                      <a:lnTo>
                        <a:pt x="114" y="547"/>
                      </a:lnTo>
                      <a:lnTo>
                        <a:pt x="114" y="548"/>
                      </a:lnTo>
                      <a:lnTo>
                        <a:pt x="115" y="551"/>
                      </a:lnTo>
                      <a:lnTo>
                        <a:pt x="114" y="551"/>
                      </a:lnTo>
                      <a:lnTo>
                        <a:pt x="114" y="552"/>
                      </a:lnTo>
                      <a:lnTo>
                        <a:pt x="114" y="553"/>
                      </a:lnTo>
                      <a:lnTo>
                        <a:pt x="114" y="554"/>
                      </a:lnTo>
                      <a:lnTo>
                        <a:pt x="113" y="554"/>
                      </a:lnTo>
                      <a:lnTo>
                        <a:pt x="113" y="555"/>
                      </a:lnTo>
                      <a:lnTo>
                        <a:pt x="113" y="556"/>
                      </a:lnTo>
                      <a:lnTo>
                        <a:pt x="113" y="557"/>
                      </a:lnTo>
                      <a:lnTo>
                        <a:pt x="112" y="557"/>
                      </a:lnTo>
                      <a:lnTo>
                        <a:pt x="112" y="558"/>
                      </a:lnTo>
                      <a:lnTo>
                        <a:pt x="110" y="558"/>
                      </a:lnTo>
                      <a:lnTo>
                        <a:pt x="109" y="559"/>
                      </a:lnTo>
                      <a:lnTo>
                        <a:pt x="108" y="559"/>
                      </a:lnTo>
                      <a:lnTo>
                        <a:pt x="108" y="560"/>
                      </a:lnTo>
                      <a:lnTo>
                        <a:pt x="107" y="560"/>
                      </a:lnTo>
                      <a:lnTo>
                        <a:pt x="106" y="560"/>
                      </a:lnTo>
                      <a:lnTo>
                        <a:pt x="105" y="561"/>
                      </a:lnTo>
                      <a:lnTo>
                        <a:pt x="104" y="563"/>
                      </a:lnTo>
                      <a:lnTo>
                        <a:pt x="103" y="563"/>
                      </a:lnTo>
                      <a:lnTo>
                        <a:pt x="104" y="564"/>
                      </a:lnTo>
                      <a:lnTo>
                        <a:pt x="104" y="565"/>
                      </a:lnTo>
                      <a:lnTo>
                        <a:pt x="103" y="566"/>
                      </a:lnTo>
                      <a:lnTo>
                        <a:pt x="102" y="566"/>
                      </a:lnTo>
                      <a:lnTo>
                        <a:pt x="101" y="567"/>
                      </a:lnTo>
                      <a:lnTo>
                        <a:pt x="101" y="568"/>
                      </a:lnTo>
                      <a:lnTo>
                        <a:pt x="100" y="568"/>
                      </a:lnTo>
                      <a:lnTo>
                        <a:pt x="99" y="568"/>
                      </a:lnTo>
                      <a:lnTo>
                        <a:pt x="99" y="569"/>
                      </a:lnTo>
                      <a:lnTo>
                        <a:pt x="97" y="569"/>
                      </a:lnTo>
                      <a:lnTo>
                        <a:pt x="96" y="570"/>
                      </a:lnTo>
                      <a:lnTo>
                        <a:pt x="96" y="571"/>
                      </a:lnTo>
                      <a:lnTo>
                        <a:pt x="95" y="571"/>
                      </a:lnTo>
                      <a:lnTo>
                        <a:pt x="95" y="572"/>
                      </a:lnTo>
                      <a:lnTo>
                        <a:pt x="94" y="572"/>
                      </a:lnTo>
                      <a:lnTo>
                        <a:pt x="93" y="573"/>
                      </a:lnTo>
                      <a:lnTo>
                        <a:pt x="92" y="573"/>
                      </a:lnTo>
                      <a:lnTo>
                        <a:pt x="92" y="574"/>
                      </a:lnTo>
                      <a:lnTo>
                        <a:pt x="91" y="574"/>
                      </a:lnTo>
                      <a:lnTo>
                        <a:pt x="91" y="576"/>
                      </a:lnTo>
                      <a:lnTo>
                        <a:pt x="90" y="576"/>
                      </a:lnTo>
                      <a:lnTo>
                        <a:pt x="89" y="576"/>
                      </a:lnTo>
                      <a:lnTo>
                        <a:pt x="88" y="576"/>
                      </a:lnTo>
                      <a:lnTo>
                        <a:pt x="88" y="577"/>
                      </a:lnTo>
                      <a:lnTo>
                        <a:pt x="87" y="577"/>
                      </a:lnTo>
                      <a:lnTo>
                        <a:pt x="86" y="578"/>
                      </a:lnTo>
                      <a:lnTo>
                        <a:pt x="86" y="580"/>
                      </a:lnTo>
                      <a:lnTo>
                        <a:pt x="84" y="580"/>
                      </a:lnTo>
                      <a:lnTo>
                        <a:pt x="83" y="580"/>
                      </a:lnTo>
                      <a:lnTo>
                        <a:pt x="82" y="581"/>
                      </a:lnTo>
                      <a:lnTo>
                        <a:pt x="81" y="581"/>
                      </a:lnTo>
                      <a:lnTo>
                        <a:pt x="80" y="581"/>
                      </a:lnTo>
                      <a:lnTo>
                        <a:pt x="80" y="582"/>
                      </a:lnTo>
                      <a:lnTo>
                        <a:pt x="79" y="582"/>
                      </a:lnTo>
                      <a:lnTo>
                        <a:pt x="78" y="583"/>
                      </a:lnTo>
                      <a:lnTo>
                        <a:pt x="77" y="584"/>
                      </a:lnTo>
                      <a:lnTo>
                        <a:pt x="76" y="584"/>
                      </a:lnTo>
                      <a:lnTo>
                        <a:pt x="75" y="585"/>
                      </a:lnTo>
                      <a:lnTo>
                        <a:pt x="75" y="586"/>
                      </a:lnTo>
                      <a:lnTo>
                        <a:pt x="74" y="586"/>
                      </a:lnTo>
                      <a:lnTo>
                        <a:pt x="73" y="586"/>
                      </a:lnTo>
                      <a:lnTo>
                        <a:pt x="73" y="587"/>
                      </a:lnTo>
                      <a:lnTo>
                        <a:pt x="71" y="587"/>
                      </a:lnTo>
                      <a:lnTo>
                        <a:pt x="65" y="592"/>
                      </a:lnTo>
                      <a:lnTo>
                        <a:pt x="57" y="598"/>
                      </a:lnTo>
                      <a:lnTo>
                        <a:pt x="52" y="598"/>
                      </a:lnTo>
                      <a:lnTo>
                        <a:pt x="46" y="598"/>
                      </a:lnTo>
                      <a:lnTo>
                        <a:pt x="33" y="598"/>
                      </a:lnTo>
                      <a:lnTo>
                        <a:pt x="27" y="598"/>
                      </a:lnTo>
                      <a:lnTo>
                        <a:pt x="1" y="598"/>
                      </a:lnTo>
                      <a:lnTo>
                        <a:pt x="1" y="578"/>
                      </a:lnTo>
                      <a:lnTo>
                        <a:pt x="1" y="559"/>
                      </a:lnTo>
                      <a:lnTo>
                        <a:pt x="1" y="550"/>
                      </a:lnTo>
                      <a:lnTo>
                        <a:pt x="1" y="540"/>
                      </a:lnTo>
                      <a:lnTo>
                        <a:pt x="1" y="539"/>
                      </a:lnTo>
                      <a:lnTo>
                        <a:pt x="1" y="534"/>
                      </a:lnTo>
                      <a:lnTo>
                        <a:pt x="1" y="530"/>
                      </a:lnTo>
                      <a:lnTo>
                        <a:pt x="1" y="526"/>
                      </a:lnTo>
                      <a:lnTo>
                        <a:pt x="1" y="499"/>
                      </a:lnTo>
                      <a:lnTo>
                        <a:pt x="1" y="493"/>
                      </a:lnTo>
                      <a:lnTo>
                        <a:pt x="1" y="491"/>
                      </a:lnTo>
                      <a:lnTo>
                        <a:pt x="1" y="488"/>
                      </a:lnTo>
                      <a:lnTo>
                        <a:pt x="1" y="482"/>
                      </a:lnTo>
                      <a:lnTo>
                        <a:pt x="1" y="477"/>
                      </a:lnTo>
                      <a:lnTo>
                        <a:pt x="1" y="473"/>
                      </a:lnTo>
                      <a:lnTo>
                        <a:pt x="1" y="469"/>
                      </a:lnTo>
                      <a:lnTo>
                        <a:pt x="1" y="468"/>
                      </a:lnTo>
                      <a:lnTo>
                        <a:pt x="1" y="456"/>
                      </a:lnTo>
                      <a:lnTo>
                        <a:pt x="1" y="425"/>
                      </a:lnTo>
                      <a:lnTo>
                        <a:pt x="1" y="422"/>
                      </a:lnTo>
                      <a:lnTo>
                        <a:pt x="1" y="410"/>
                      </a:lnTo>
                      <a:lnTo>
                        <a:pt x="1" y="406"/>
                      </a:lnTo>
                      <a:lnTo>
                        <a:pt x="1" y="405"/>
                      </a:lnTo>
                      <a:lnTo>
                        <a:pt x="1" y="400"/>
                      </a:lnTo>
                      <a:lnTo>
                        <a:pt x="1" y="399"/>
                      </a:lnTo>
                      <a:lnTo>
                        <a:pt x="1" y="394"/>
                      </a:lnTo>
                      <a:lnTo>
                        <a:pt x="1" y="393"/>
                      </a:lnTo>
                      <a:lnTo>
                        <a:pt x="1" y="391"/>
                      </a:lnTo>
                      <a:lnTo>
                        <a:pt x="1" y="389"/>
                      </a:lnTo>
                      <a:lnTo>
                        <a:pt x="1" y="384"/>
                      </a:lnTo>
                      <a:lnTo>
                        <a:pt x="1" y="383"/>
                      </a:lnTo>
                      <a:lnTo>
                        <a:pt x="1" y="378"/>
                      </a:lnTo>
                      <a:lnTo>
                        <a:pt x="1" y="375"/>
                      </a:lnTo>
                      <a:lnTo>
                        <a:pt x="1" y="374"/>
                      </a:lnTo>
                      <a:lnTo>
                        <a:pt x="1" y="371"/>
                      </a:lnTo>
                      <a:lnTo>
                        <a:pt x="1" y="368"/>
                      </a:lnTo>
                      <a:lnTo>
                        <a:pt x="1" y="367"/>
                      </a:lnTo>
                      <a:lnTo>
                        <a:pt x="1" y="366"/>
                      </a:lnTo>
                      <a:lnTo>
                        <a:pt x="1" y="365"/>
                      </a:lnTo>
                      <a:lnTo>
                        <a:pt x="0" y="362"/>
                      </a:lnTo>
                      <a:lnTo>
                        <a:pt x="1" y="349"/>
                      </a:lnTo>
                      <a:lnTo>
                        <a:pt x="1" y="343"/>
                      </a:lnTo>
                      <a:lnTo>
                        <a:pt x="1" y="340"/>
                      </a:lnTo>
                      <a:lnTo>
                        <a:pt x="1" y="336"/>
                      </a:lnTo>
                      <a:lnTo>
                        <a:pt x="1" y="335"/>
                      </a:lnTo>
                      <a:lnTo>
                        <a:pt x="1" y="329"/>
                      </a:lnTo>
                      <a:lnTo>
                        <a:pt x="1" y="323"/>
                      </a:lnTo>
                      <a:lnTo>
                        <a:pt x="1" y="312"/>
                      </a:lnTo>
                      <a:lnTo>
                        <a:pt x="1" y="302"/>
                      </a:lnTo>
                      <a:lnTo>
                        <a:pt x="1" y="298"/>
                      </a:lnTo>
                      <a:lnTo>
                        <a:pt x="1" y="297"/>
                      </a:lnTo>
                      <a:lnTo>
                        <a:pt x="1" y="291"/>
                      </a:lnTo>
                      <a:lnTo>
                        <a:pt x="1" y="289"/>
                      </a:lnTo>
                      <a:lnTo>
                        <a:pt x="1" y="286"/>
                      </a:lnTo>
                      <a:lnTo>
                        <a:pt x="1" y="278"/>
                      </a:lnTo>
                      <a:lnTo>
                        <a:pt x="1" y="277"/>
                      </a:lnTo>
                      <a:lnTo>
                        <a:pt x="1" y="276"/>
                      </a:lnTo>
                      <a:lnTo>
                        <a:pt x="1" y="274"/>
                      </a:lnTo>
                      <a:lnTo>
                        <a:pt x="1" y="265"/>
                      </a:lnTo>
                      <a:lnTo>
                        <a:pt x="1" y="262"/>
                      </a:lnTo>
                      <a:lnTo>
                        <a:pt x="1" y="255"/>
                      </a:lnTo>
                      <a:lnTo>
                        <a:pt x="1" y="240"/>
                      </a:lnTo>
                      <a:lnTo>
                        <a:pt x="1" y="237"/>
                      </a:lnTo>
                      <a:lnTo>
                        <a:pt x="1" y="234"/>
                      </a:lnTo>
                      <a:lnTo>
                        <a:pt x="1" y="222"/>
                      </a:lnTo>
                      <a:lnTo>
                        <a:pt x="1" y="216"/>
                      </a:lnTo>
                      <a:lnTo>
                        <a:pt x="1" y="214"/>
                      </a:lnTo>
                      <a:lnTo>
                        <a:pt x="1" y="201"/>
                      </a:lnTo>
                      <a:lnTo>
                        <a:pt x="1" y="193"/>
                      </a:lnTo>
                      <a:lnTo>
                        <a:pt x="1" y="192"/>
                      </a:lnTo>
                      <a:lnTo>
                        <a:pt x="1" y="188"/>
                      </a:lnTo>
                      <a:lnTo>
                        <a:pt x="1" y="184"/>
                      </a:lnTo>
                      <a:lnTo>
                        <a:pt x="1" y="183"/>
                      </a:lnTo>
                      <a:lnTo>
                        <a:pt x="1" y="182"/>
                      </a:lnTo>
                      <a:lnTo>
                        <a:pt x="1" y="181"/>
                      </a:lnTo>
                      <a:lnTo>
                        <a:pt x="1" y="180"/>
                      </a:lnTo>
                      <a:lnTo>
                        <a:pt x="1" y="179"/>
                      </a:lnTo>
                      <a:lnTo>
                        <a:pt x="1" y="176"/>
                      </a:lnTo>
                      <a:lnTo>
                        <a:pt x="1" y="174"/>
                      </a:lnTo>
                      <a:lnTo>
                        <a:pt x="1" y="171"/>
                      </a:lnTo>
                      <a:lnTo>
                        <a:pt x="1" y="169"/>
                      </a:lnTo>
                      <a:lnTo>
                        <a:pt x="1" y="168"/>
                      </a:lnTo>
                      <a:lnTo>
                        <a:pt x="1" y="167"/>
                      </a:lnTo>
                      <a:lnTo>
                        <a:pt x="1" y="166"/>
                      </a:lnTo>
                      <a:lnTo>
                        <a:pt x="1" y="165"/>
                      </a:lnTo>
                      <a:lnTo>
                        <a:pt x="1" y="161"/>
                      </a:lnTo>
                      <a:lnTo>
                        <a:pt x="1" y="156"/>
                      </a:lnTo>
                      <a:lnTo>
                        <a:pt x="1" y="154"/>
                      </a:lnTo>
                      <a:lnTo>
                        <a:pt x="1" y="152"/>
                      </a:lnTo>
                      <a:lnTo>
                        <a:pt x="1" y="139"/>
                      </a:lnTo>
                      <a:lnTo>
                        <a:pt x="1" y="137"/>
                      </a:lnTo>
                      <a:lnTo>
                        <a:pt x="1" y="129"/>
                      </a:lnTo>
                      <a:lnTo>
                        <a:pt x="1" y="124"/>
                      </a:lnTo>
                      <a:lnTo>
                        <a:pt x="1" y="123"/>
                      </a:lnTo>
                      <a:lnTo>
                        <a:pt x="1" y="121"/>
                      </a:lnTo>
                      <a:lnTo>
                        <a:pt x="1" y="113"/>
                      </a:lnTo>
                      <a:lnTo>
                        <a:pt x="1" y="111"/>
                      </a:lnTo>
                      <a:lnTo>
                        <a:pt x="1" y="110"/>
                      </a:lnTo>
                      <a:lnTo>
                        <a:pt x="1" y="109"/>
                      </a:lnTo>
                      <a:lnTo>
                        <a:pt x="1" y="106"/>
                      </a:lnTo>
                      <a:lnTo>
                        <a:pt x="1" y="104"/>
                      </a:lnTo>
                      <a:lnTo>
                        <a:pt x="1" y="101"/>
                      </a:lnTo>
                      <a:lnTo>
                        <a:pt x="1" y="92"/>
                      </a:lnTo>
                      <a:lnTo>
                        <a:pt x="1" y="88"/>
                      </a:lnTo>
                      <a:lnTo>
                        <a:pt x="1" y="80"/>
                      </a:lnTo>
                      <a:lnTo>
                        <a:pt x="1" y="79"/>
                      </a:lnTo>
                      <a:lnTo>
                        <a:pt x="1" y="59"/>
                      </a:lnTo>
                      <a:lnTo>
                        <a:pt x="1" y="58"/>
                      </a:lnTo>
                      <a:lnTo>
                        <a:pt x="1" y="51"/>
                      </a:lnTo>
                      <a:lnTo>
                        <a:pt x="1" y="49"/>
                      </a:lnTo>
                      <a:lnTo>
                        <a:pt x="1" y="46"/>
                      </a:lnTo>
                      <a:lnTo>
                        <a:pt x="1" y="41"/>
                      </a:lnTo>
                      <a:lnTo>
                        <a:pt x="1" y="8"/>
                      </a:lnTo>
                      <a:lnTo>
                        <a:pt x="1" y="0"/>
                      </a:lnTo>
                      <a:lnTo>
                        <a:pt x="3" y="0"/>
                      </a:lnTo>
                      <a:lnTo>
                        <a:pt x="6" y="0"/>
                      </a:lnTo>
                      <a:lnTo>
                        <a:pt x="12" y="0"/>
                      </a:lnTo>
                      <a:lnTo>
                        <a:pt x="13" y="0"/>
                      </a:lnTo>
                      <a:lnTo>
                        <a:pt x="14" y="0"/>
                      </a:lnTo>
                      <a:lnTo>
                        <a:pt x="27" y="0"/>
                      </a:lnTo>
                      <a:lnTo>
                        <a:pt x="28" y="0"/>
                      </a:lnTo>
                      <a:lnTo>
                        <a:pt x="44" y="0"/>
                      </a:lnTo>
                      <a:lnTo>
                        <a:pt x="76" y="0"/>
                      </a:lnTo>
                      <a:lnTo>
                        <a:pt x="88" y="0"/>
                      </a:lnTo>
                      <a:lnTo>
                        <a:pt x="93" y="0"/>
                      </a:lnTo>
                      <a:lnTo>
                        <a:pt x="141" y="0"/>
                      </a:lnTo>
                      <a:lnTo>
                        <a:pt x="145" y="0"/>
                      </a:lnTo>
                      <a:lnTo>
                        <a:pt x="146" y="0"/>
                      </a:lnTo>
                      <a:lnTo>
                        <a:pt x="147" y="0"/>
                      </a:lnTo>
                      <a:lnTo>
                        <a:pt x="180" y="0"/>
                      </a:lnTo>
                      <a:lnTo>
                        <a:pt x="183" y="0"/>
                      </a:lnTo>
                      <a:lnTo>
                        <a:pt x="225" y="0"/>
                      </a:lnTo>
                      <a:lnTo>
                        <a:pt x="247" y="0"/>
                      </a:lnTo>
                      <a:lnTo>
                        <a:pt x="257" y="0"/>
                      </a:lnTo>
                      <a:lnTo>
                        <a:pt x="306" y="0"/>
                      </a:lnTo>
                      <a:lnTo>
                        <a:pt x="321" y="0"/>
                      </a:lnTo>
                      <a:close/>
                    </a:path>
                  </a:pathLst>
                </a:custGeom>
                <a:grpFill/>
                <a:ln w="19050">
                  <a:solidFill>
                    <a:srgbClr val="FFC000"/>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46" name="Freeform 543">
                  <a:extLst>
                    <a:ext uri="{FF2B5EF4-FFF2-40B4-BE49-F238E27FC236}">
                      <a16:creationId xmlns:a16="http://schemas.microsoft.com/office/drawing/2014/main" id="{8D4AB3DE-B33E-533B-A1DE-7FC4868895D4}"/>
                    </a:ext>
                  </a:extLst>
                </p:cNvPr>
                <p:cNvSpPr>
                  <a:spLocks noEditPoints="1"/>
                </p:cNvSpPr>
                <p:nvPr/>
              </p:nvSpPr>
              <p:spPr bwMode="auto">
                <a:xfrm>
                  <a:off x="2516188" y="3614738"/>
                  <a:ext cx="1500188" cy="1293813"/>
                </a:xfrm>
                <a:custGeom>
                  <a:avLst/>
                  <a:gdLst>
                    <a:gd name="T0" fmla="*/ 103 w 945"/>
                    <a:gd name="T1" fmla="*/ 249 h 815"/>
                    <a:gd name="T2" fmla="*/ 108 w 945"/>
                    <a:gd name="T3" fmla="*/ 229 h 815"/>
                    <a:gd name="T4" fmla="*/ 127 w 945"/>
                    <a:gd name="T5" fmla="*/ 222 h 815"/>
                    <a:gd name="T6" fmla="*/ 258 w 945"/>
                    <a:gd name="T7" fmla="*/ 166 h 815"/>
                    <a:gd name="T8" fmla="*/ 270 w 945"/>
                    <a:gd name="T9" fmla="*/ 133 h 815"/>
                    <a:gd name="T10" fmla="*/ 276 w 945"/>
                    <a:gd name="T11" fmla="*/ 57 h 815"/>
                    <a:gd name="T12" fmla="*/ 326 w 945"/>
                    <a:gd name="T13" fmla="*/ 0 h 815"/>
                    <a:gd name="T14" fmla="*/ 510 w 945"/>
                    <a:gd name="T15" fmla="*/ 31 h 815"/>
                    <a:gd name="T16" fmla="*/ 542 w 945"/>
                    <a:gd name="T17" fmla="*/ 89 h 815"/>
                    <a:gd name="T18" fmla="*/ 540 w 945"/>
                    <a:gd name="T19" fmla="*/ 163 h 815"/>
                    <a:gd name="T20" fmla="*/ 547 w 945"/>
                    <a:gd name="T21" fmla="*/ 229 h 815"/>
                    <a:gd name="T22" fmla="*/ 608 w 945"/>
                    <a:gd name="T23" fmla="*/ 290 h 815"/>
                    <a:gd name="T24" fmla="*/ 611 w 945"/>
                    <a:gd name="T25" fmla="*/ 349 h 815"/>
                    <a:gd name="T26" fmla="*/ 647 w 945"/>
                    <a:gd name="T27" fmla="*/ 428 h 815"/>
                    <a:gd name="T28" fmla="*/ 707 w 945"/>
                    <a:gd name="T29" fmla="*/ 444 h 815"/>
                    <a:gd name="T30" fmla="*/ 711 w 945"/>
                    <a:gd name="T31" fmla="*/ 470 h 815"/>
                    <a:gd name="T32" fmla="*/ 716 w 945"/>
                    <a:gd name="T33" fmla="*/ 508 h 815"/>
                    <a:gd name="T34" fmla="*/ 768 w 945"/>
                    <a:gd name="T35" fmla="*/ 540 h 815"/>
                    <a:gd name="T36" fmla="*/ 716 w 945"/>
                    <a:gd name="T37" fmla="*/ 562 h 815"/>
                    <a:gd name="T38" fmla="*/ 629 w 945"/>
                    <a:gd name="T39" fmla="*/ 572 h 815"/>
                    <a:gd name="T40" fmla="*/ 588 w 945"/>
                    <a:gd name="T41" fmla="*/ 524 h 815"/>
                    <a:gd name="T42" fmla="*/ 565 w 945"/>
                    <a:gd name="T43" fmla="*/ 520 h 815"/>
                    <a:gd name="T44" fmla="*/ 534 w 945"/>
                    <a:gd name="T45" fmla="*/ 539 h 815"/>
                    <a:gd name="T46" fmla="*/ 394 w 945"/>
                    <a:gd name="T47" fmla="*/ 571 h 815"/>
                    <a:gd name="T48" fmla="*/ 338 w 945"/>
                    <a:gd name="T49" fmla="*/ 530 h 815"/>
                    <a:gd name="T50" fmla="*/ 319 w 945"/>
                    <a:gd name="T51" fmla="*/ 518 h 815"/>
                    <a:gd name="T52" fmla="*/ 249 w 945"/>
                    <a:gd name="T53" fmla="*/ 506 h 815"/>
                    <a:gd name="T54" fmla="*/ 226 w 945"/>
                    <a:gd name="T55" fmla="*/ 501 h 815"/>
                    <a:gd name="T56" fmla="*/ 208 w 945"/>
                    <a:gd name="T57" fmla="*/ 500 h 815"/>
                    <a:gd name="T58" fmla="*/ 195 w 945"/>
                    <a:gd name="T59" fmla="*/ 516 h 815"/>
                    <a:gd name="T60" fmla="*/ 184 w 945"/>
                    <a:gd name="T61" fmla="*/ 530 h 815"/>
                    <a:gd name="T62" fmla="*/ 163 w 945"/>
                    <a:gd name="T63" fmla="*/ 552 h 815"/>
                    <a:gd name="T64" fmla="*/ 124 w 945"/>
                    <a:gd name="T65" fmla="*/ 567 h 815"/>
                    <a:gd name="T66" fmla="*/ 94 w 945"/>
                    <a:gd name="T67" fmla="*/ 557 h 815"/>
                    <a:gd name="T68" fmla="*/ 74 w 945"/>
                    <a:gd name="T69" fmla="*/ 544 h 815"/>
                    <a:gd name="T70" fmla="*/ 64 w 945"/>
                    <a:gd name="T71" fmla="*/ 534 h 815"/>
                    <a:gd name="T72" fmla="*/ 55 w 945"/>
                    <a:gd name="T73" fmla="*/ 527 h 815"/>
                    <a:gd name="T74" fmla="*/ 37 w 945"/>
                    <a:gd name="T75" fmla="*/ 531 h 815"/>
                    <a:gd name="T76" fmla="*/ 18 w 945"/>
                    <a:gd name="T77" fmla="*/ 534 h 815"/>
                    <a:gd name="T78" fmla="*/ 8 w 945"/>
                    <a:gd name="T79" fmla="*/ 531 h 815"/>
                    <a:gd name="T80" fmla="*/ 4 w 945"/>
                    <a:gd name="T81" fmla="*/ 503 h 815"/>
                    <a:gd name="T82" fmla="*/ 11 w 945"/>
                    <a:gd name="T83" fmla="*/ 481 h 815"/>
                    <a:gd name="T84" fmla="*/ 24 w 945"/>
                    <a:gd name="T85" fmla="*/ 466 h 815"/>
                    <a:gd name="T86" fmla="*/ 15 w 945"/>
                    <a:gd name="T87" fmla="*/ 454 h 815"/>
                    <a:gd name="T88" fmla="*/ 5 w 945"/>
                    <a:gd name="T89" fmla="*/ 437 h 815"/>
                    <a:gd name="T90" fmla="*/ 3 w 945"/>
                    <a:gd name="T91" fmla="*/ 415 h 815"/>
                    <a:gd name="T92" fmla="*/ 5 w 945"/>
                    <a:gd name="T93" fmla="*/ 400 h 815"/>
                    <a:gd name="T94" fmla="*/ 4 w 945"/>
                    <a:gd name="T95" fmla="*/ 381 h 815"/>
                    <a:gd name="T96" fmla="*/ 8 w 945"/>
                    <a:gd name="T97" fmla="*/ 366 h 815"/>
                    <a:gd name="T98" fmla="*/ 4 w 945"/>
                    <a:gd name="T99" fmla="*/ 348 h 815"/>
                    <a:gd name="T100" fmla="*/ 7 w 945"/>
                    <a:gd name="T101" fmla="*/ 333 h 815"/>
                    <a:gd name="T102" fmla="*/ 17 w 945"/>
                    <a:gd name="T103" fmla="*/ 321 h 815"/>
                    <a:gd name="T104" fmla="*/ 24 w 945"/>
                    <a:gd name="T105" fmla="*/ 306 h 815"/>
                    <a:gd name="T106" fmla="*/ 14 w 945"/>
                    <a:gd name="T107" fmla="*/ 287 h 815"/>
                    <a:gd name="T108" fmla="*/ 3 w 945"/>
                    <a:gd name="T109" fmla="*/ 269 h 815"/>
                    <a:gd name="T110" fmla="*/ 865 w 945"/>
                    <a:gd name="T111" fmla="*/ 779 h 815"/>
                    <a:gd name="T112" fmla="*/ 759 w 945"/>
                    <a:gd name="T113" fmla="*/ 701 h 815"/>
                    <a:gd name="T114" fmla="*/ 846 w 945"/>
                    <a:gd name="T115" fmla="*/ 632 h 815"/>
                    <a:gd name="T116" fmla="*/ 859 w 945"/>
                    <a:gd name="T117" fmla="*/ 662 h 815"/>
                    <a:gd name="T118" fmla="*/ 882 w 945"/>
                    <a:gd name="T119" fmla="*/ 706 h 815"/>
                    <a:gd name="T120" fmla="*/ 933 w 945"/>
                    <a:gd name="T121" fmla="*/ 728 h 815"/>
                    <a:gd name="T122" fmla="*/ 940 w 945"/>
                    <a:gd name="T123" fmla="*/ 761 h 815"/>
                    <a:gd name="T124" fmla="*/ 940 w 945"/>
                    <a:gd name="T125" fmla="*/ 790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5" h="815">
                      <a:moveTo>
                        <a:pt x="85" y="263"/>
                      </a:moveTo>
                      <a:lnTo>
                        <a:pt x="85" y="262"/>
                      </a:lnTo>
                      <a:lnTo>
                        <a:pt x="87" y="261"/>
                      </a:lnTo>
                      <a:lnTo>
                        <a:pt x="87" y="260"/>
                      </a:lnTo>
                      <a:lnTo>
                        <a:pt x="88" y="260"/>
                      </a:lnTo>
                      <a:lnTo>
                        <a:pt x="88" y="259"/>
                      </a:lnTo>
                      <a:lnTo>
                        <a:pt x="89" y="259"/>
                      </a:lnTo>
                      <a:lnTo>
                        <a:pt x="89" y="258"/>
                      </a:lnTo>
                      <a:lnTo>
                        <a:pt x="90" y="258"/>
                      </a:lnTo>
                      <a:lnTo>
                        <a:pt x="90" y="257"/>
                      </a:lnTo>
                      <a:lnTo>
                        <a:pt x="91" y="257"/>
                      </a:lnTo>
                      <a:lnTo>
                        <a:pt x="91" y="256"/>
                      </a:lnTo>
                      <a:lnTo>
                        <a:pt x="91" y="254"/>
                      </a:lnTo>
                      <a:lnTo>
                        <a:pt x="92" y="256"/>
                      </a:lnTo>
                      <a:lnTo>
                        <a:pt x="92" y="254"/>
                      </a:lnTo>
                      <a:lnTo>
                        <a:pt x="93" y="254"/>
                      </a:lnTo>
                      <a:lnTo>
                        <a:pt x="94" y="254"/>
                      </a:lnTo>
                      <a:lnTo>
                        <a:pt x="94" y="253"/>
                      </a:lnTo>
                      <a:lnTo>
                        <a:pt x="95" y="253"/>
                      </a:lnTo>
                      <a:lnTo>
                        <a:pt x="94" y="253"/>
                      </a:lnTo>
                      <a:lnTo>
                        <a:pt x="94" y="252"/>
                      </a:lnTo>
                      <a:lnTo>
                        <a:pt x="95" y="252"/>
                      </a:lnTo>
                      <a:lnTo>
                        <a:pt x="96" y="252"/>
                      </a:lnTo>
                      <a:lnTo>
                        <a:pt x="97" y="252"/>
                      </a:lnTo>
                      <a:lnTo>
                        <a:pt x="98" y="252"/>
                      </a:lnTo>
                      <a:lnTo>
                        <a:pt x="98" y="253"/>
                      </a:lnTo>
                      <a:lnTo>
                        <a:pt x="100" y="253"/>
                      </a:lnTo>
                      <a:lnTo>
                        <a:pt x="101" y="252"/>
                      </a:lnTo>
                      <a:lnTo>
                        <a:pt x="102" y="252"/>
                      </a:lnTo>
                      <a:lnTo>
                        <a:pt x="103" y="252"/>
                      </a:lnTo>
                      <a:lnTo>
                        <a:pt x="103" y="251"/>
                      </a:lnTo>
                      <a:lnTo>
                        <a:pt x="103" y="250"/>
                      </a:lnTo>
                      <a:lnTo>
                        <a:pt x="103" y="249"/>
                      </a:lnTo>
                      <a:lnTo>
                        <a:pt x="104" y="249"/>
                      </a:lnTo>
                      <a:lnTo>
                        <a:pt x="104" y="248"/>
                      </a:lnTo>
                      <a:lnTo>
                        <a:pt x="104" y="247"/>
                      </a:lnTo>
                      <a:lnTo>
                        <a:pt x="103" y="247"/>
                      </a:lnTo>
                      <a:lnTo>
                        <a:pt x="103" y="246"/>
                      </a:lnTo>
                      <a:lnTo>
                        <a:pt x="104" y="246"/>
                      </a:lnTo>
                      <a:lnTo>
                        <a:pt x="103" y="245"/>
                      </a:lnTo>
                      <a:lnTo>
                        <a:pt x="104" y="245"/>
                      </a:lnTo>
                      <a:lnTo>
                        <a:pt x="103" y="244"/>
                      </a:lnTo>
                      <a:lnTo>
                        <a:pt x="103" y="243"/>
                      </a:lnTo>
                      <a:lnTo>
                        <a:pt x="104" y="243"/>
                      </a:lnTo>
                      <a:lnTo>
                        <a:pt x="104" y="241"/>
                      </a:lnTo>
                      <a:lnTo>
                        <a:pt x="104" y="240"/>
                      </a:lnTo>
                      <a:lnTo>
                        <a:pt x="103" y="239"/>
                      </a:lnTo>
                      <a:lnTo>
                        <a:pt x="104" y="238"/>
                      </a:lnTo>
                      <a:lnTo>
                        <a:pt x="105" y="238"/>
                      </a:lnTo>
                      <a:lnTo>
                        <a:pt x="105" y="237"/>
                      </a:lnTo>
                      <a:lnTo>
                        <a:pt x="105" y="236"/>
                      </a:lnTo>
                      <a:lnTo>
                        <a:pt x="106" y="236"/>
                      </a:lnTo>
                      <a:lnTo>
                        <a:pt x="106" y="235"/>
                      </a:lnTo>
                      <a:lnTo>
                        <a:pt x="105" y="235"/>
                      </a:lnTo>
                      <a:lnTo>
                        <a:pt x="106" y="235"/>
                      </a:lnTo>
                      <a:lnTo>
                        <a:pt x="106" y="234"/>
                      </a:lnTo>
                      <a:lnTo>
                        <a:pt x="106" y="233"/>
                      </a:lnTo>
                      <a:lnTo>
                        <a:pt x="105" y="232"/>
                      </a:lnTo>
                      <a:lnTo>
                        <a:pt x="106" y="232"/>
                      </a:lnTo>
                      <a:lnTo>
                        <a:pt x="107" y="231"/>
                      </a:lnTo>
                      <a:lnTo>
                        <a:pt x="107" y="229"/>
                      </a:lnTo>
                      <a:lnTo>
                        <a:pt x="106" y="229"/>
                      </a:lnTo>
                      <a:lnTo>
                        <a:pt x="106" y="228"/>
                      </a:lnTo>
                      <a:lnTo>
                        <a:pt x="107" y="228"/>
                      </a:lnTo>
                      <a:lnTo>
                        <a:pt x="107" y="229"/>
                      </a:lnTo>
                      <a:lnTo>
                        <a:pt x="108" y="229"/>
                      </a:lnTo>
                      <a:lnTo>
                        <a:pt x="109" y="229"/>
                      </a:lnTo>
                      <a:lnTo>
                        <a:pt x="109" y="228"/>
                      </a:lnTo>
                      <a:lnTo>
                        <a:pt x="109" y="229"/>
                      </a:lnTo>
                      <a:lnTo>
                        <a:pt x="110" y="229"/>
                      </a:lnTo>
                      <a:lnTo>
                        <a:pt x="110" y="228"/>
                      </a:lnTo>
                      <a:lnTo>
                        <a:pt x="110" y="227"/>
                      </a:lnTo>
                      <a:lnTo>
                        <a:pt x="111" y="226"/>
                      </a:lnTo>
                      <a:lnTo>
                        <a:pt x="111" y="227"/>
                      </a:lnTo>
                      <a:lnTo>
                        <a:pt x="111" y="226"/>
                      </a:lnTo>
                      <a:lnTo>
                        <a:pt x="111" y="225"/>
                      </a:lnTo>
                      <a:lnTo>
                        <a:pt x="113" y="225"/>
                      </a:lnTo>
                      <a:lnTo>
                        <a:pt x="113" y="224"/>
                      </a:lnTo>
                      <a:lnTo>
                        <a:pt x="114" y="224"/>
                      </a:lnTo>
                      <a:lnTo>
                        <a:pt x="114" y="225"/>
                      </a:lnTo>
                      <a:lnTo>
                        <a:pt x="115" y="224"/>
                      </a:lnTo>
                      <a:lnTo>
                        <a:pt x="116" y="225"/>
                      </a:lnTo>
                      <a:lnTo>
                        <a:pt x="116" y="224"/>
                      </a:lnTo>
                      <a:lnTo>
                        <a:pt x="117" y="224"/>
                      </a:lnTo>
                      <a:lnTo>
                        <a:pt x="117" y="225"/>
                      </a:lnTo>
                      <a:lnTo>
                        <a:pt x="118" y="224"/>
                      </a:lnTo>
                      <a:lnTo>
                        <a:pt x="119" y="224"/>
                      </a:lnTo>
                      <a:lnTo>
                        <a:pt x="119" y="223"/>
                      </a:lnTo>
                      <a:lnTo>
                        <a:pt x="120" y="223"/>
                      </a:lnTo>
                      <a:lnTo>
                        <a:pt x="121" y="223"/>
                      </a:lnTo>
                      <a:lnTo>
                        <a:pt x="122" y="223"/>
                      </a:lnTo>
                      <a:lnTo>
                        <a:pt x="123" y="224"/>
                      </a:lnTo>
                      <a:lnTo>
                        <a:pt x="123" y="225"/>
                      </a:lnTo>
                      <a:lnTo>
                        <a:pt x="124" y="224"/>
                      </a:lnTo>
                      <a:lnTo>
                        <a:pt x="126" y="224"/>
                      </a:lnTo>
                      <a:lnTo>
                        <a:pt x="126" y="223"/>
                      </a:lnTo>
                      <a:lnTo>
                        <a:pt x="127" y="223"/>
                      </a:lnTo>
                      <a:lnTo>
                        <a:pt x="126" y="223"/>
                      </a:lnTo>
                      <a:lnTo>
                        <a:pt x="127" y="222"/>
                      </a:lnTo>
                      <a:lnTo>
                        <a:pt x="127" y="221"/>
                      </a:lnTo>
                      <a:lnTo>
                        <a:pt x="127" y="222"/>
                      </a:lnTo>
                      <a:lnTo>
                        <a:pt x="128" y="223"/>
                      </a:lnTo>
                      <a:lnTo>
                        <a:pt x="128" y="222"/>
                      </a:lnTo>
                      <a:lnTo>
                        <a:pt x="129" y="222"/>
                      </a:lnTo>
                      <a:lnTo>
                        <a:pt x="130" y="222"/>
                      </a:lnTo>
                      <a:lnTo>
                        <a:pt x="130" y="221"/>
                      </a:lnTo>
                      <a:lnTo>
                        <a:pt x="131" y="221"/>
                      </a:lnTo>
                      <a:lnTo>
                        <a:pt x="132" y="222"/>
                      </a:lnTo>
                      <a:lnTo>
                        <a:pt x="133" y="222"/>
                      </a:lnTo>
                      <a:lnTo>
                        <a:pt x="133" y="221"/>
                      </a:lnTo>
                      <a:lnTo>
                        <a:pt x="139" y="221"/>
                      </a:lnTo>
                      <a:lnTo>
                        <a:pt x="158" y="221"/>
                      </a:lnTo>
                      <a:lnTo>
                        <a:pt x="160" y="221"/>
                      </a:lnTo>
                      <a:lnTo>
                        <a:pt x="165" y="221"/>
                      </a:lnTo>
                      <a:lnTo>
                        <a:pt x="167" y="221"/>
                      </a:lnTo>
                      <a:lnTo>
                        <a:pt x="190" y="221"/>
                      </a:lnTo>
                      <a:lnTo>
                        <a:pt x="196" y="221"/>
                      </a:lnTo>
                      <a:lnTo>
                        <a:pt x="208" y="221"/>
                      </a:lnTo>
                      <a:lnTo>
                        <a:pt x="217" y="221"/>
                      </a:lnTo>
                      <a:lnTo>
                        <a:pt x="226" y="221"/>
                      </a:lnTo>
                      <a:lnTo>
                        <a:pt x="226" y="218"/>
                      </a:lnTo>
                      <a:lnTo>
                        <a:pt x="226" y="207"/>
                      </a:lnTo>
                      <a:lnTo>
                        <a:pt x="226" y="200"/>
                      </a:lnTo>
                      <a:lnTo>
                        <a:pt x="235" y="200"/>
                      </a:lnTo>
                      <a:lnTo>
                        <a:pt x="242" y="200"/>
                      </a:lnTo>
                      <a:lnTo>
                        <a:pt x="253" y="200"/>
                      </a:lnTo>
                      <a:lnTo>
                        <a:pt x="257" y="200"/>
                      </a:lnTo>
                      <a:lnTo>
                        <a:pt x="258" y="200"/>
                      </a:lnTo>
                      <a:lnTo>
                        <a:pt x="258" y="195"/>
                      </a:lnTo>
                      <a:lnTo>
                        <a:pt x="258" y="168"/>
                      </a:lnTo>
                      <a:lnTo>
                        <a:pt x="258" y="167"/>
                      </a:lnTo>
                      <a:lnTo>
                        <a:pt x="258" y="166"/>
                      </a:lnTo>
                      <a:lnTo>
                        <a:pt x="258" y="164"/>
                      </a:lnTo>
                      <a:lnTo>
                        <a:pt x="259" y="164"/>
                      </a:lnTo>
                      <a:lnTo>
                        <a:pt x="259" y="163"/>
                      </a:lnTo>
                      <a:lnTo>
                        <a:pt x="260" y="163"/>
                      </a:lnTo>
                      <a:lnTo>
                        <a:pt x="261" y="162"/>
                      </a:lnTo>
                      <a:lnTo>
                        <a:pt x="261" y="161"/>
                      </a:lnTo>
                      <a:lnTo>
                        <a:pt x="262" y="161"/>
                      </a:lnTo>
                      <a:lnTo>
                        <a:pt x="262" y="160"/>
                      </a:lnTo>
                      <a:lnTo>
                        <a:pt x="262" y="159"/>
                      </a:lnTo>
                      <a:lnTo>
                        <a:pt x="262" y="158"/>
                      </a:lnTo>
                      <a:lnTo>
                        <a:pt x="262" y="157"/>
                      </a:lnTo>
                      <a:lnTo>
                        <a:pt x="262" y="156"/>
                      </a:lnTo>
                      <a:lnTo>
                        <a:pt x="262" y="154"/>
                      </a:lnTo>
                      <a:lnTo>
                        <a:pt x="262" y="153"/>
                      </a:lnTo>
                      <a:lnTo>
                        <a:pt x="263" y="151"/>
                      </a:lnTo>
                      <a:lnTo>
                        <a:pt x="263" y="150"/>
                      </a:lnTo>
                      <a:lnTo>
                        <a:pt x="262" y="149"/>
                      </a:lnTo>
                      <a:lnTo>
                        <a:pt x="262" y="148"/>
                      </a:lnTo>
                      <a:lnTo>
                        <a:pt x="263" y="148"/>
                      </a:lnTo>
                      <a:lnTo>
                        <a:pt x="263" y="147"/>
                      </a:lnTo>
                      <a:lnTo>
                        <a:pt x="263" y="146"/>
                      </a:lnTo>
                      <a:lnTo>
                        <a:pt x="264" y="145"/>
                      </a:lnTo>
                      <a:lnTo>
                        <a:pt x="264" y="144"/>
                      </a:lnTo>
                      <a:lnTo>
                        <a:pt x="264" y="142"/>
                      </a:lnTo>
                      <a:lnTo>
                        <a:pt x="264" y="139"/>
                      </a:lnTo>
                      <a:lnTo>
                        <a:pt x="264" y="138"/>
                      </a:lnTo>
                      <a:lnTo>
                        <a:pt x="264" y="137"/>
                      </a:lnTo>
                      <a:lnTo>
                        <a:pt x="265" y="137"/>
                      </a:lnTo>
                      <a:lnTo>
                        <a:pt x="266" y="137"/>
                      </a:lnTo>
                      <a:lnTo>
                        <a:pt x="268" y="136"/>
                      </a:lnTo>
                      <a:lnTo>
                        <a:pt x="269" y="135"/>
                      </a:lnTo>
                      <a:lnTo>
                        <a:pt x="270" y="135"/>
                      </a:lnTo>
                      <a:lnTo>
                        <a:pt x="270" y="133"/>
                      </a:lnTo>
                      <a:lnTo>
                        <a:pt x="271" y="133"/>
                      </a:lnTo>
                      <a:lnTo>
                        <a:pt x="271" y="132"/>
                      </a:lnTo>
                      <a:lnTo>
                        <a:pt x="272" y="132"/>
                      </a:lnTo>
                      <a:lnTo>
                        <a:pt x="273" y="131"/>
                      </a:lnTo>
                      <a:lnTo>
                        <a:pt x="274" y="130"/>
                      </a:lnTo>
                      <a:lnTo>
                        <a:pt x="275" y="131"/>
                      </a:lnTo>
                      <a:lnTo>
                        <a:pt x="277" y="131"/>
                      </a:lnTo>
                      <a:lnTo>
                        <a:pt x="278" y="130"/>
                      </a:lnTo>
                      <a:lnTo>
                        <a:pt x="278" y="128"/>
                      </a:lnTo>
                      <a:lnTo>
                        <a:pt x="279" y="126"/>
                      </a:lnTo>
                      <a:lnTo>
                        <a:pt x="279" y="125"/>
                      </a:lnTo>
                      <a:lnTo>
                        <a:pt x="279" y="124"/>
                      </a:lnTo>
                      <a:lnTo>
                        <a:pt x="281" y="124"/>
                      </a:lnTo>
                      <a:lnTo>
                        <a:pt x="281" y="123"/>
                      </a:lnTo>
                      <a:lnTo>
                        <a:pt x="282" y="124"/>
                      </a:lnTo>
                      <a:lnTo>
                        <a:pt x="282" y="125"/>
                      </a:lnTo>
                      <a:lnTo>
                        <a:pt x="282" y="121"/>
                      </a:lnTo>
                      <a:lnTo>
                        <a:pt x="282" y="119"/>
                      </a:lnTo>
                      <a:lnTo>
                        <a:pt x="282" y="118"/>
                      </a:lnTo>
                      <a:lnTo>
                        <a:pt x="282" y="106"/>
                      </a:lnTo>
                      <a:lnTo>
                        <a:pt x="282" y="79"/>
                      </a:lnTo>
                      <a:lnTo>
                        <a:pt x="282" y="78"/>
                      </a:lnTo>
                      <a:lnTo>
                        <a:pt x="282" y="77"/>
                      </a:lnTo>
                      <a:lnTo>
                        <a:pt x="282" y="62"/>
                      </a:lnTo>
                      <a:lnTo>
                        <a:pt x="282" y="61"/>
                      </a:lnTo>
                      <a:lnTo>
                        <a:pt x="282" y="60"/>
                      </a:lnTo>
                      <a:lnTo>
                        <a:pt x="282" y="58"/>
                      </a:lnTo>
                      <a:lnTo>
                        <a:pt x="281" y="58"/>
                      </a:lnTo>
                      <a:lnTo>
                        <a:pt x="279" y="58"/>
                      </a:lnTo>
                      <a:lnTo>
                        <a:pt x="278" y="58"/>
                      </a:lnTo>
                      <a:lnTo>
                        <a:pt x="278" y="57"/>
                      </a:lnTo>
                      <a:lnTo>
                        <a:pt x="277" y="57"/>
                      </a:lnTo>
                      <a:lnTo>
                        <a:pt x="276" y="57"/>
                      </a:lnTo>
                      <a:lnTo>
                        <a:pt x="276" y="56"/>
                      </a:lnTo>
                      <a:lnTo>
                        <a:pt x="275" y="56"/>
                      </a:lnTo>
                      <a:lnTo>
                        <a:pt x="275" y="55"/>
                      </a:lnTo>
                      <a:lnTo>
                        <a:pt x="274" y="55"/>
                      </a:lnTo>
                      <a:lnTo>
                        <a:pt x="274" y="54"/>
                      </a:lnTo>
                      <a:lnTo>
                        <a:pt x="274" y="53"/>
                      </a:lnTo>
                      <a:lnTo>
                        <a:pt x="273" y="53"/>
                      </a:lnTo>
                      <a:lnTo>
                        <a:pt x="272" y="52"/>
                      </a:lnTo>
                      <a:lnTo>
                        <a:pt x="271" y="51"/>
                      </a:lnTo>
                      <a:lnTo>
                        <a:pt x="270" y="51"/>
                      </a:lnTo>
                      <a:lnTo>
                        <a:pt x="268" y="49"/>
                      </a:lnTo>
                      <a:lnTo>
                        <a:pt x="266" y="49"/>
                      </a:lnTo>
                      <a:lnTo>
                        <a:pt x="265" y="48"/>
                      </a:lnTo>
                      <a:lnTo>
                        <a:pt x="264" y="48"/>
                      </a:lnTo>
                      <a:lnTo>
                        <a:pt x="263" y="47"/>
                      </a:lnTo>
                      <a:lnTo>
                        <a:pt x="262" y="47"/>
                      </a:lnTo>
                      <a:lnTo>
                        <a:pt x="261" y="46"/>
                      </a:lnTo>
                      <a:lnTo>
                        <a:pt x="260" y="45"/>
                      </a:lnTo>
                      <a:lnTo>
                        <a:pt x="260" y="44"/>
                      </a:lnTo>
                      <a:lnTo>
                        <a:pt x="260" y="43"/>
                      </a:lnTo>
                      <a:lnTo>
                        <a:pt x="259" y="42"/>
                      </a:lnTo>
                      <a:lnTo>
                        <a:pt x="259" y="41"/>
                      </a:lnTo>
                      <a:lnTo>
                        <a:pt x="258" y="40"/>
                      </a:lnTo>
                      <a:lnTo>
                        <a:pt x="258" y="36"/>
                      </a:lnTo>
                      <a:lnTo>
                        <a:pt x="258" y="35"/>
                      </a:lnTo>
                      <a:lnTo>
                        <a:pt x="258" y="33"/>
                      </a:lnTo>
                      <a:lnTo>
                        <a:pt x="258" y="13"/>
                      </a:lnTo>
                      <a:lnTo>
                        <a:pt x="257" y="2"/>
                      </a:lnTo>
                      <a:lnTo>
                        <a:pt x="257" y="1"/>
                      </a:lnTo>
                      <a:lnTo>
                        <a:pt x="311" y="0"/>
                      </a:lnTo>
                      <a:lnTo>
                        <a:pt x="321" y="0"/>
                      </a:lnTo>
                      <a:lnTo>
                        <a:pt x="325" y="0"/>
                      </a:lnTo>
                      <a:lnTo>
                        <a:pt x="326" y="0"/>
                      </a:lnTo>
                      <a:lnTo>
                        <a:pt x="353" y="0"/>
                      </a:lnTo>
                      <a:lnTo>
                        <a:pt x="369" y="0"/>
                      </a:lnTo>
                      <a:lnTo>
                        <a:pt x="388" y="0"/>
                      </a:lnTo>
                      <a:lnTo>
                        <a:pt x="393" y="0"/>
                      </a:lnTo>
                      <a:lnTo>
                        <a:pt x="419" y="1"/>
                      </a:lnTo>
                      <a:lnTo>
                        <a:pt x="464" y="1"/>
                      </a:lnTo>
                      <a:lnTo>
                        <a:pt x="470" y="1"/>
                      </a:lnTo>
                      <a:lnTo>
                        <a:pt x="476" y="1"/>
                      </a:lnTo>
                      <a:lnTo>
                        <a:pt x="480" y="1"/>
                      </a:lnTo>
                      <a:lnTo>
                        <a:pt x="487" y="1"/>
                      </a:lnTo>
                      <a:lnTo>
                        <a:pt x="498" y="1"/>
                      </a:lnTo>
                      <a:lnTo>
                        <a:pt x="501" y="1"/>
                      </a:lnTo>
                      <a:lnTo>
                        <a:pt x="502" y="2"/>
                      </a:lnTo>
                      <a:lnTo>
                        <a:pt x="504" y="4"/>
                      </a:lnTo>
                      <a:lnTo>
                        <a:pt x="507" y="6"/>
                      </a:lnTo>
                      <a:lnTo>
                        <a:pt x="509" y="8"/>
                      </a:lnTo>
                      <a:lnTo>
                        <a:pt x="510" y="10"/>
                      </a:lnTo>
                      <a:lnTo>
                        <a:pt x="510" y="15"/>
                      </a:lnTo>
                      <a:lnTo>
                        <a:pt x="509" y="18"/>
                      </a:lnTo>
                      <a:lnTo>
                        <a:pt x="507" y="18"/>
                      </a:lnTo>
                      <a:lnTo>
                        <a:pt x="507" y="19"/>
                      </a:lnTo>
                      <a:lnTo>
                        <a:pt x="506" y="19"/>
                      </a:lnTo>
                      <a:lnTo>
                        <a:pt x="505" y="20"/>
                      </a:lnTo>
                      <a:lnTo>
                        <a:pt x="505" y="21"/>
                      </a:lnTo>
                      <a:lnTo>
                        <a:pt x="505" y="22"/>
                      </a:lnTo>
                      <a:lnTo>
                        <a:pt x="505" y="23"/>
                      </a:lnTo>
                      <a:lnTo>
                        <a:pt x="505" y="25"/>
                      </a:lnTo>
                      <a:lnTo>
                        <a:pt x="505" y="27"/>
                      </a:lnTo>
                      <a:lnTo>
                        <a:pt x="506" y="28"/>
                      </a:lnTo>
                      <a:lnTo>
                        <a:pt x="507" y="29"/>
                      </a:lnTo>
                      <a:lnTo>
                        <a:pt x="508" y="30"/>
                      </a:lnTo>
                      <a:lnTo>
                        <a:pt x="509" y="30"/>
                      </a:lnTo>
                      <a:lnTo>
                        <a:pt x="510" y="31"/>
                      </a:lnTo>
                      <a:lnTo>
                        <a:pt x="514" y="33"/>
                      </a:lnTo>
                      <a:lnTo>
                        <a:pt x="515" y="34"/>
                      </a:lnTo>
                      <a:lnTo>
                        <a:pt x="516" y="35"/>
                      </a:lnTo>
                      <a:lnTo>
                        <a:pt x="517" y="36"/>
                      </a:lnTo>
                      <a:lnTo>
                        <a:pt x="518" y="36"/>
                      </a:lnTo>
                      <a:lnTo>
                        <a:pt x="521" y="38"/>
                      </a:lnTo>
                      <a:lnTo>
                        <a:pt x="522" y="39"/>
                      </a:lnTo>
                      <a:lnTo>
                        <a:pt x="523" y="40"/>
                      </a:lnTo>
                      <a:lnTo>
                        <a:pt x="526" y="42"/>
                      </a:lnTo>
                      <a:lnTo>
                        <a:pt x="528" y="44"/>
                      </a:lnTo>
                      <a:lnTo>
                        <a:pt x="529" y="45"/>
                      </a:lnTo>
                      <a:lnTo>
                        <a:pt x="530" y="46"/>
                      </a:lnTo>
                      <a:lnTo>
                        <a:pt x="530" y="48"/>
                      </a:lnTo>
                      <a:lnTo>
                        <a:pt x="531" y="49"/>
                      </a:lnTo>
                      <a:lnTo>
                        <a:pt x="531" y="52"/>
                      </a:lnTo>
                      <a:lnTo>
                        <a:pt x="532" y="55"/>
                      </a:lnTo>
                      <a:lnTo>
                        <a:pt x="534" y="58"/>
                      </a:lnTo>
                      <a:lnTo>
                        <a:pt x="534" y="59"/>
                      </a:lnTo>
                      <a:lnTo>
                        <a:pt x="535" y="61"/>
                      </a:lnTo>
                      <a:lnTo>
                        <a:pt x="536" y="64"/>
                      </a:lnTo>
                      <a:lnTo>
                        <a:pt x="537" y="66"/>
                      </a:lnTo>
                      <a:lnTo>
                        <a:pt x="537" y="68"/>
                      </a:lnTo>
                      <a:lnTo>
                        <a:pt x="536" y="71"/>
                      </a:lnTo>
                      <a:lnTo>
                        <a:pt x="535" y="74"/>
                      </a:lnTo>
                      <a:lnTo>
                        <a:pt x="535" y="77"/>
                      </a:lnTo>
                      <a:lnTo>
                        <a:pt x="535" y="78"/>
                      </a:lnTo>
                      <a:lnTo>
                        <a:pt x="536" y="78"/>
                      </a:lnTo>
                      <a:lnTo>
                        <a:pt x="537" y="80"/>
                      </a:lnTo>
                      <a:lnTo>
                        <a:pt x="540" y="81"/>
                      </a:lnTo>
                      <a:lnTo>
                        <a:pt x="540" y="82"/>
                      </a:lnTo>
                      <a:lnTo>
                        <a:pt x="542" y="85"/>
                      </a:lnTo>
                      <a:lnTo>
                        <a:pt x="542" y="86"/>
                      </a:lnTo>
                      <a:lnTo>
                        <a:pt x="542" y="89"/>
                      </a:lnTo>
                      <a:lnTo>
                        <a:pt x="543" y="90"/>
                      </a:lnTo>
                      <a:lnTo>
                        <a:pt x="545" y="93"/>
                      </a:lnTo>
                      <a:lnTo>
                        <a:pt x="547" y="96"/>
                      </a:lnTo>
                      <a:lnTo>
                        <a:pt x="547" y="97"/>
                      </a:lnTo>
                      <a:lnTo>
                        <a:pt x="548" y="98"/>
                      </a:lnTo>
                      <a:lnTo>
                        <a:pt x="549" y="99"/>
                      </a:lnTo>
                      <a:lnTo>
                        <a:pt x="549" y="102"/>
                      </a:lnTo>
                      <a:lnTo>
                        <a:pt x="550" y="104"/>
                      </a:lnTo>
                      <a:lnTo>
                        <a:pt x="550" y="105"/>
                      </a:lnTo>
                      <a:lnTo>
                        <a:pt x="550" y="109"/>
                      </a:lnTo>
                      <a:lnTo>
                        <a:pt x="550" y="112"/>
                      </a:lnTo>
                      <a:lnTo>
                        <a:pt x="549" y="115"/>
                      </a:lnTo>
                      <a:lnTo>
                        <a:pt x="549" y="118"/>
                      </a:lnTo>
                      <a:lnTo>
                        <a:pt x="549" y="121"/>
                      </a:lnTo>
                      <a:lnTo>
                        <a:pt x="549" y="122"/>
                      </a:lnTo>
                      <a:lnTo>
                        <a:pt x="552" y="126"/>
                      </a:lnTo>
                      <a:lnTo>
                        <a:pt x="552" y="128"/>
                      </a:lnTo>
                      <a:lnTo>
                        <a:pt x="552" y="130"/>
                      </a:lnTo>
                      <a:lnTo>
                        <a:pt x="547" y="132"/>
                      </a:lnTo>
                      <a:lnTo>
                        <a:pt x="545" y="132"/>
                      </a:lnTo>
                      <a:lnTo>
                        <a:pt x="544" y="133"/>
                      </a:lnTo>
                      <a:lnTo>
                        <a:pt x="543" y="134"/>
                      </a:lnTo>
                      <a:lnTo>
                        <a:pt x="543" y="136"/>
                      </a:lnTo>
                      <a:lnTo>
                        <a:pt x="543" y="141"/>
                      </a:lnTo>
                      <a:lnTo>
                        <a:pt x="544" y="149"/>
                      </a:lnTo>
                      <a:lnTo>
                        <a:pt x="546" y="155"/>
                      </a:lnTo>
                      <a:lnTo>
                        <a:pt x="546" y="156"/>
                      </a:lnTo>
                      <a:lnTo>
                        <a:pt x="545" y="158"/>
                      </a:lnTo>
                      <a:lnTo>
                        <a:pt x="544" y="160"/>
                      </a:lnTo>
                      <a:lnTo>
                        <a:pt x="543" y="160"/>
                      </a:lnTo>
                      <a:lnTo>
                        <a:pt x="542" y="160"/>
                      </a:lnTo>
                      <a:lnTo>
                        <a:pt x="541" y="161"/>
                      </a:lnTo>
                      <a:lnTo>
                        <a:pt x="540" y="163"/>
                      </a:lnTo>
                      <a:lnTo>
                        <a:pt x="539" y="163"/>
                      </a:lnTo>
                      <a:lnTo>
                        <a:pt x="539" y="166"/>
                      </a:lnTo>
                      <a:lnTo>
                        <a:pt x="537" y="168"/>
                      </a:lnTo>
                      <a:lnTo>
                        <a:pt x="537" y="169"/>
                      </a:lnTo>
                      <a:lnTo>
                        <a:pt x="537" y="170"/>
                      </a:lnTo>
                      <a:lnTo>
                        <a:pt x="539" y="172"/>
                      </a:lnTo>
                      <a:lnTo>
                        <a:pt x="539" y="173"/>
                      </a:lnTo>
                      <a:lnTo>
                        <a:pt x="540" y="175"/>
                      </a:lnTo>
                      <a:lnTo>
                        <a:pt x="540" y="176"/>
                      </a:lnTo>
                      <a:lnTo>
                        <a:pt x="540" y="179"/>
                      </a:lnTo>
                      <a:lnTo>
                        <a:pt x="540" y="180"/>
                      </a:lnTo>
                      <a:lnTo>
                        <a:pt x="539" y="183"/>
                      </a:lnTo>
                      <a:lnTo>
                        <a:pt x="539" y="186"/>
                      </a:lnTo>
                      <a:lnTo>
                        <a:pt x="537" y="187"/>
                      </a:lnTo>
                      <a:lnTo>
                        <a:pt x="537" y="189"/>
                      </a:lnTo>
                      <a:lnTo>
                        <a:pt x="537" y="192"/>
                      </a:lnTo>
                      <a:lnTo>
                        <a:pt x="537" y="196"/>
                      </a:lnTo>
                      <a:lnTo>
                        <a:pt x="537" y="198"/>
                      </a:lnTo>
                      <a:lnTo>
                        <a:pt x="536" y="200"/>
                      </a:lnTo>
                      <a:lnTo>
                        <a:pt x="536" y="201"/>
                      </a:lnTo>
                      <a:lnTo>
                        <a:pt x="536" y="203"/>
                      </a:lnTo>
                      <a:lnTo>
                        <a:pt x="536" y="205"/>
                      </a:lnTo>
                      <a:lnTo>
                        <a:pt x="537" y="207"/>
                      </a:lnTo>
                      <a:lnTo>
                        <a:pt x="539" y="210"/>
                      </a:lnTo>
                      <a:lnTo>
                        <a:pt x="540" y="212"/>
                      </a:lnTo>
                      <a:lnTo>
                        <a:pt x="541" y="215"/>
                      </a:lnTo>
                      <a:lnTo>
                        <a:pt x="541" y="216"/>
                      </a:lnTo>
                      <a:lnTo>
                        <a:pt x="543" y="221"/>
                      </a:lnTo>
                      <a:lnTo>
                        <a:pt x="544" y="223"/>
                      </a:lnTo>
                      <a:lnTo>
                        <a:pt x="545" y="226"/>
                      </a:lnTo>
                      <a:lnTo>
                        <a:pt x="546" y="227"/>
                      </a:lnTo>
                      <a:lnTo>
                        <a:pt x="547" y="228"/>
                      </a:lnTo>
                      <a:lnTo>
                        <a:pt x="547" y="229"/>
                      </a:lnTo>
                      <a:lnTo>
                        <a:pt x="548" y="231"/>
                      </a:lnTo>
                      <a:lnTo>
                        <a:pt x="550" y="233"/>
                      </a:lnTo>
                      <a:lnTo>
                        <a:pt x="552" y="234"/>
                      </a:lnTo>
                      <a:lnTo>
                        <a:pt x="552" y="236"/>
                      </a:lnTo>
                      <a:lnTo>
                        <a:pt x="552" y="238"/>
                      </a:lnTo>
                      <a:lnTo>
                        <a:pt x="552" y="240"/>
                      </a:lnTo>
                      <a:lnTo>
                        <a:pt x="552" y="241"/>
                      </a:lnTo>
                      <a:lnTo>
                        <a:pt x="550" y="243"/>
                      </a:lnTo>
                      <a:lnTo>
                        <a:pt x="549" y="243"/>
                      </a:lnTo>
                      <a:lnTo>
                        <a:pt x="545" y="243"/>
                      </a:lnTo>
                      <a:lnTo>
                        <a:pt x="542" y="243"/>
                      </a:lnTo>
                      <a:lnTo>
                        <a:pt x="541" y="243"/>
                      </a:lnTo>
                      <a:lnTo>
                        <a:pt x="540" y="243"/>
                      </a:lnTo>
                      <a:lnTo>
                        <a:pt x="540" y="244"/>
                      </a:lnTo>
                      <a:lnTo>
                        <a:pt x="539" y="245"/>
                      </a:lnTo>
                      <a:lnTo>
                        <a:pt x="537" y="246"/>
                      </a:lnTo>
                      <a:lnTo>
                        <a:pt x="537" y="248"/>
                      </a:lnTo>
                      <a:lnTo>
                        <a:pt x="536" y="249"/>
                      </a:lnTo>
                      <a:lnTo>
                        <a:pt x="536" y="250"/>
                      </a:lnTo>
                      <a:lnTo>
                        <a:pt x="539" y="250"/>
                      </a:lnTo>
                      <a:lnTo>
                        <a:pt x="571" y="250"/>
                      </a:lnTo>
                      <a:lnTo>
                        <a:pt x="570" y="254"/>
                      </a:lnTo>
                      <a:lnTo>
                        <a:pt x="575" y="262"/>
                      </a:lnTo>
                      <a:lnTo>
                        <a:pt x="578" y="263"/>
                      </a:lnTo>
                      <a:lnTo>
                        <a:pt x="580" y="265"/>
                      </a:lnTo>
                      <a:lnTo>
                        <a:pt x="585" y="266"/>
                      </a:lnTo>
                      <a:lnTo>
                        <a:pt x="586" y="267"/>
                      </a:lnTo>
                      <a:lnTo>
                        <a:pt x="595" y="276"/>
                      </a:lnTo>
                      <a:lnTo>
                        <a:pt x="594" y="276"/>
                      </a:lnTo>
                      <a:lnTo>
                        <a:pt x="604" y="285"/>
                      </a:lnTo>
                      <a:lnTo>
                        <a:pt x="605" y="288"/>
                      </a:lnTo>
                      <a:lnTo>
                        <a:pt x="608" y="289"/>
                      </a:lnTo>
                      <a:lnTo>
                        <a:pt x="608" y="290"/>
                      </a:lnTo>
                      <a:lnTo>
                        <a:pt x="610" y="295"/>
                      </a:lnTo>
                      <a:lnTo>
                        <a:pt x="608" y="299"/>
                      </a:lnTo>
                      <a:lnTo>
                        <a:pt x="611" y="303"/>
                      </a:lnTo>
                      <a:lnTo>
                        <a:pt x="611" y="304"/>
                      </a:lnTo>
                      <a:lnTo>
                        <a:pt x="611" y="305"/>
                      </a:lnTo>
                      <a:lnTo>
                        <a:pt x="612" y="308"/>
                      </a:lnTo>
                      <a:lnTo>
                        <a:pt x="614" y="309"/>
                      </a:lnTo>
                      <a:lnTo>
                        <a:pt x="616" y="310"/>
                      </a:lnTo>
                      <a:lnTo>
                        <a:pt x="614" y="312"/>
                      </a:lnTo>
                      <a:lnTo>
                        <a:pt x="614" y="313"/>
                      </a:lnTo>
                      <a:lnTo>
                        <a:pt x="614" y="315"/>
                      </a:lnTo>
                      <a:lnTo>
                        <a:pt x="616" y="318"/>
                      </a:lnTo>
                      <a:lnTo>
                        <a:pt x="616" y="321"/>
                      </a:lnTo>
                      <a:lnTo>
                        <a:pt x="617" y="322"/>
                      </a:lnTo>
                      <a:lnTo>
                        <a:pt x="617" y="323"/>
                      </a:lnTo>
                      <a:lnTo>
                        <a:pt x="618" y="324"/>
                      </a:lnTo>
                      <a:lnTo>
                        <a:pt x="617" y="325"/>
                      </a:lnTo>
                      <a:lnTo>
                        <a:pt x="617" y="327"/>
                      </a:lnTo>
                      <a:lnTo>
                        <a:pt x="617" y="329"/>
                      </a:lnTo>
                      <a:lnTo>
                        <a:pt x="614" y="331"/>
                      </a:lnTo>
                      <a:lnTo>
                        <a:pt x="616" y="333"/>
                      </a:lnTo>
                      <a:lnTo>
                        <a:pt x="616" y="335"/>
                      </a:lnTo>
                      <a:lnTo>
                        <a:pt x="614" y="336"/>
                      </a:lnTo>
                      <a:lnTo>
                        <a:pt x="612" y="337"/>
                      </a:lnTo>
                      <a:lnTo>
                        <a:pt x="610" y="338"/>
                      </a:lnTo>
                      <a:lnTo>
                        <a:pt x="607" y="339"/>
                      </a:lnTo>
                      <a:lnTo>
                        <a:pt x="606" y="339"/>
                      </a:lnTo>
                      <a:lnTo>
                        <a:pt x="606" y="340"/>
                      </a:lnTo>
                      <a:lnTo>
                        <a:pt x="603" y="344"/>
                      </a:lnTo>
                      <a:lnTo>
                        <a:pt x="605" y="346"/>
                      </a:lnTo>
                      <a:lnTo>
                        <a:pt x="607" y="347"/>
                      </a:lnTo>
                      <a:lnTo>
                        <a:pt x="609" y="348"/>
                      </a:lnTo>
                      <a:lnTo>
                        <a:pt x="611" y="349"/>
                      </a:lnTo>
                      <a:lnTo>
                        <a:pt x="611" y="350"/>
                      </a:lnTo>
                      <a:lnTo>
                        <a:pt x="612" y="350"/>
                      </a:lnTo>
                      <a:lnTo>
                        <a:pt x="617" y="352"/>
                      </a:lnTo>
                      <a:lnTo>
                        <a:pt x="617" y="353"/>
                      </a:lnTo>
                      <a:lnTo>
                        <a:pt x="617" y="354"/>
                      </a:lnTo>
                      <a:lnTo>
                        <a:pt x="616" y="355"/>
                      </a:lnTo>
                      <a:lnTo>
                        <a:pt x="616" y="356"/>
                      </a:lnTo>
                      <a:lnTo>
                        <a:pt x="617" y="357"/>
                      </a:lnTo>
                      <a:lnTo>
                        <a:pt x="617" y="359"/>
                      </a:lnTo>
                      <a:lnTo>
                        <a:pt x="617" y="360"/>
                      </a:lnTo>
                      <a:lnTo>
                        <a:pt x="618" y="361"/>
                      </a:lnTo>
                      <a:lnTo>
                        <a:pt x="618" y="364"/>
                      </a:lnTo>
                      <a:lnTo>
                        <a:pt x="617" y="364"/>
                      </a:lnTo>
                      <a:lnTo>
                        <a:pt x="617" y="366"/>
                      </a:lnTo>
                      <a:lnTo>
                        <a:pt x="617" y="367"/>
                      </a:lnTo>
                      <a:lnTo>
                        <a:pt x="616" y="368"/>
                      </a:lnTo>
                      <a:lnTo>
                        <a:pt x="616" y="369"/>
                      </a:lnTo>
                      <a:lnTo>
                        <a:pt x="617" y="374"/>
                      </a:lnTo>
                      <a:lnTo>
                        <a:pt x="617" y="375"/>
                      </a:lnTo>
                      <a:lnTo>
                        <a:pt x="620" y="383"/>
                      </a:lnTo>
                      <a:lnTo>
                        <a:pt x="621" y="386"/>
                      </a:lnTo>
                      <a:lnTo>
                        <a:pt x="625" y="392"/>
                      </a:lnTo>
                      <a:lnTo>
                        <a:pt x="626" y="393"/>
                      </a:lnTo>
                      <a:lnTo>
                        <a:pt x="630" y="399"/>
                      </a:lnTo>
                      <a:lnTo>
                        <a:pt x="638" y="407"/>
                      </a:lnTo>
                      <a:lnTo>
                        <a:pt x="639" y="410"/>
                      </a:lnTo>
                      <a:lnTo>
                        <a:pt x="639" y="413"/>
                      </a:lnTo>
                      <a:lnTo>
                        <a:pt x="638" y="414"/>
                      </a:lnTo>
                      <a:lnTo>
                        <a:pt x="638" y="416"/>
                      </a:lnTo>
                      <a:lnTo>
                        <a:pt x="638" y="419"/>
                      </a:lnTo>
                      <a:lnTo>
                        <a:pt x="639" y="421"/>
                      </a:lnTo>
                      <a:lnTo>
                        <a:pt x="646" y="426"/>
                      </a:lnTo>
                      <a:lnTo>
                        <a:pt x="647" y="428"/>
                      </a:lnTo>
                      <a:lnTo>
                        <a:pt x="650" y="430"/>
                      </a:lnTo>
                      <a:lnTo>
                        <a:pt x="652" y="431"/>
                      </a:lnTo>
                      <a:lnTo>
                        <a:pt x="656" y="432"/>
                      </a:lnTo>
                      <a:lnTo>
                        <a:pt x="658" y="432"/>
                      </a:lnTo>
                      <a:lnTo>
                        <a:pt x="660" y="432"/>
                      </a:lnTo>
                      <a:lnTo>
                        <a:pt x="663" y="432"/>
                      </a:lnTo>
                      <a:lnTo>
                        <a:pt x="665" y="433"/>
                      </a:lnTo>
                      <a:lnTo>
                        <a:pt x="668" y="433"/>
                      </a:lnTo>
                      <a:lnTo>
                        <a:pt x="669" y="433"/>
                      </a:lnTo>
                      <a:lnTo>
                        <a:pt x="670" y="433"/>
                      </a:lnTo>
                      <a:lnTo>
                        <a:pt x="672" y="433"/>
                      </a:lnTo>
                      <a:lnTo>
                        <a:pt x="673" y="432"/>
                      </a:lnTo>
                      <a:lnTo>
                        <a:pt x="674" y="432"/>
                      </a:lnTo>
                      <a:lnTo>
                        <a:pt x="675" y="432"/>
                      </a:lnTo>
                      <a:lnTo>
                        <a:pt x="677" y="432"/>
                      </a:lnTo>
                      <a:lnTo>
                        <a:pt x="681" y="432"/>
                      </a:lnTo>
                      <a:lnTo>
                        <a:pt x="683" y="432"/>
                      </a:lnTo>
                      <a:lnTo>
                        <a:pt x="685" y="432"/>
                      </a:lnTo>
                      <a:lnTo>
                        <a:pt x="687" y="433"/>
                      </a:lnTo>
                      <a:lnTo>
                        <a:pt x="688" y="433"/>
                      </a:lnTo>
                      <a:lnTo>
                        <a:pt x="694" y="434"/>
                      </a:lnTo>
                      <a:lnTo>
                        <a:pt x="696" y="434"/>
                      </a:lnTo>
                      <a:lnTo>
                        <a:pt x="697" y="436"/>
                      </a:lnTo>
                      <a:lnTo>
                        <a:pt x="698" y="436"/>
                      </a:lnTo>
                      <a:lnTo>
                        <a:pt x="700" y="437"/>
                      </a:lnTo>
                      <a:lnTo>
                        <a:pt x="703" y="438"/>
                      </a:lnTo>
                      <a:lnTo>
                        <a:pt x="705" y="439"/>
                      </a:lnTo>
                      <a:lnTo>
                        <a:pt x="707" y="440"/>
                      </a:lnTo>
                      <a:lnTo>
                        <a:pt x="709" y="441"/>
                      </a:lnTo>
                      <a:lnTo>
                        <a:pt x="709" y="442"/>
                      </a:lnTo>
                      <a:lnTo>
                        <a:pt x="709" y="443"/>
                      </a:lnTo>
                      <a:lnTo>
                        <a:pt x="708" y="444"/>
                      </a:lnTo>
                      <a:lnTo>
                        <a:pt x="707" y="444"/>
                      </a:lnTo>
                      <a:lnTo>
                        <a:pt x="705" y="445"/>
                      </a:lnTo>
                      <a:lnTo>
                        <a:pt x="705" y="446"/>
                      </a:lnTo>
                      <a:lnTo>
                        <a:pt x="704" y="446"/>
                      </a:lnTo>
                      <a:lnTo>
                        <a:pt x="704" y="447"/>
                      </a:lnTo>
                      <a:lnTo>
                        <a:pt x="705" y="449"/>
                      </a:lnTo>
                      <a:lnTo>
                        <a:pt x="704" y="449"/>
                      </a:lnTo>
                      <a:lnTo>
                        <a:pt x="704" y="450"/>
                      </a:lnTo>
                      <a:lnTo>
                        <a:pt x="703" y="451"/>
                      </a:lnTo>
                      <a:lnTo>
                        <a:pt x="702" y="451"/>
                      </a:lnTo>
                      <a:lnTo>
                        <a:pt x="702" y="452"/>
                      </a:lnTo>
                      <a:lnTo>
                        <a:pt x="701" y="454"/>
                      </a:lnTo>
                      <a:lnTo>
                        <a:pt x="701" y="455"/>
                      </a:lnTo>
                      <a:lnTo>
                        <a:pt x="700" y="456"/>
                      </a:lnTo>
                      <a:lnTo>
                        <a:pt x="700" y="457"/>
                      </a:lnTo>
                      <a:lnTo>
                        <a:pt x="700" y="458"/>
                      </a:lnTo>
                      <a:lnTo>
                        <a:pt x="701" y="458"/>
                      </a:lnTo>
                      <a:lnTo>
                        <a:pt x="701" y="459"/>
                      </a:lnTo>
                      <a:lnTo>
                        <a:pt x="700" y="460"/>
                      </a:lnTo>
                      <a:lnTo>
                        <a:pt x="699" y="460"/>
                      </a:lnTo>
                      <a:lnTo>
                        <a:pt x="700" y="460"/>
                      </a:lnTo>
                      <a:lnTo>
                        <a:pt x="700" y="462"/>
                      </a:lnTo>
                      <a:lnTo>
                        <a:pt x="700" y="463"/>
                      </a:lnTo>
                      <a:lnTo>
                        <a:pt x="701" y="463"/>
                      </a:lnTo>
                      <a:lnTo>
                        <a:pt x="701" y="464"/>
                      </a:lnTo>
                      <a:lnTo>
                        <a:pt x="702" y="464"/>
                      </a:lnTo>
                      <a:lnTo>
                        <a:pt x="702" y="465"/>
                      </a:lnTo>
                      <a:lnTo>
                        <a:pt x="704" y="466"/>
                      </a:lnTo>
                      <a:lnTo>
                        <a:pt x="705" y="466"/>
                      </a:lnTo>
                      <a:lnTo>
                        <a:pt x="707" y="467"/>
                      </a:lnTo>
                      <a:lnTo>
                        <a:pt x="708" y="467"/>
                      </a:lnTo>
                      <a:lnTo>
                        <a:pt x="710" y="469"/>
                      </a:lnTo>
                      <a:lnTo>
                        <a:pt x="710" y="470"/>
                      </a:lnTo>
                      <a:lnTo>
                        <a:pt x="711" y="470"/>
                      </a:lnTo>
                      <a:lnTo>
                        <a:pt x="711" y="471"/>
                      </a:lnTo>
                      <a:lnTo>
                        <a:pt x="711" y="472"/>
                      </a:lnTo>
                      <a:lnTo>
                        <a:pt x="711" y="475"/>
                      </a:lnTo>
                      <a:lnTo>
                        <a:pt x="710" y="475"/>
                      </a:lnTo>
                      <a:lnTo>
                        <a:pt x="710" y="476"/>
                      </a:lnTo>
                      <a:lnTo>
                        <a:pt x="711" y="476"/>
                      </a:lnTo>
                      <a:lnTo>
                        <a:pt x="711" y="477"/>
                      </a:lnTo>
                      <a:lnTo>
                        <a:pt x="711" y="479"/>
                      </a:lnTo>
                      <a:lnTo>
                        <a:pt x="712" y="480"/>
                      </a:lnTo>
                      <a:lnTo>
                        <a:pt x="712" y="481"/>
                      </a:lnTo>
                      <a:lnTo>
                        <a:pt x="712" y="482"/>
                      </a:lnTo>
                      <a:lnTo>
                        <a:pt x="712" y="483"/>
                      </a:lnTo>
                      <a:lnTo>
                        <a:pt x="712" y="484"/>
                      </a:lnTo>
                      <a:lnTo>
                        <a:pt x="713" y="484"/>
                      </a:lnTo>
                      <a:lnTo>
                        <a:pt x="713" y="485"/>
                      </a:lnTo>
                      <a:lnTo>
                        <a:pt x="713" y="486"/>
                      </a:lnTo>
                      <a:lnTo>
                        <a:pt x="713" y="488"/>
                      </a:lnTo>
                      <a:lnTo>
                        <a:pt x="713" y="490"/>
                      </a:lnTo>
                      <a:lnTo>
                        <a:pt x="713" y="491"/>
                      </a:lnTo>
                      <a:lnTo>
                        <a:pt x="713" y="497"/>
                      </a:lnTo>
                      <a:lnTo>
                        <a:pt x="713" y="498"/>
                      </a:lnTo>
                      <a:lnTo>
                        <a:pt x="712" y="498"/>
                      </a:lnTo>
                      <a:lnTo>
                        <a:pt x="711" y="500"/>
                      </a:lnTo>
                      <a:lnTo>
                        <a:pt x="711" y="501"/>
                      </a:lnTo>
                      <a:lnTo>
                        <a:pt x="711" y="502"/>
                      </a:lnTo>
                      <a:lnTo>
                        <a:pt x="711" y="503"/>
                      </a:lnTo>
                      <a:lnTo>
                        <a:pt x="711" y="504"/>
                      </a:lnTo>
                      <a:lnTo>
                        <a:pt x="712" y="504"/>
                      </a:lnTo>
                      <a:lnTo>
                        <a:pt x="713" y="505"/>
                      </a:lnTo>
                      <a:lnTo>
                        <a:pt x="714" y="505"/>
                      </a:lnTo>
                      <a:lnTo>
                        <a:pt x="714" y="507"/>
                      </a:lnTo>
                      <a:lnTo>
                        <a:pt x="715" y="508"/>
                      </a:lnTo>
                      <a:lnTo>
                        <a:pt x="716" y="508"/>
                      </a:lnTo>
                      <a:lnTo>
                        <a:pt x="717" y="510"/>
                      </a:lnTo>
                      <a:lnTo>
                        <a:pt x="717" y="511"/>
                      </a:lnTo>
                      <a:lnTo>
                        <a:pt x="716" y="515"/>
                      </a:lnTo>
                      <a:lnTo>
                        <a:pt x="715" y="516"/>
                      </a:lnTo>
                      <a:lnTo>
                        <a:pt x="713" y="518"/>
                      </a:lnTo>
                      <a:lnTo>
                        <a:pt x="713" y="519"/>
                      </a:lnTo>
                      <a:lnTo>
                        <a:pt x="713" y="520"/>
                      </a:lnTo>
                      <a:lnTo>
                        <a:pt x="712" y="520"/>
                      </a:lnTo>
                      <a:lnTo>
                        <a:pt x="711" y="521"/>
                      </a:lnTo>
                      <a:lnTo>
                        <a:pt x="711" y="522"/>
                      </a:lnTo>
                      <a:lnTo>
                        <a:pt x="711" y="523"/>
                      </a:lnTo>
                      <a:lnTo>
                        <a:pt x="711" y="524"/>
                      </a:lnTo>
                      <a:lnTo>
                        <a:pt x="711" y="526"/>
                      </a:lnTo>
                      <a:lnTo>
                        <a:pt x="712" y="526"/>
                      </a:lnTo>
                      <a:lnTo>
                        <a:pt x="712" y="527"/>
                      </a:lnTo>
                      <a:lnTo>
                        <a:pt x="713" y="528"/>
                      </a:lnTo>
                      <a:lnTo>
                        <a:pt x="714" y="528"/>
                      </a:lnTo>
                      <a:lnTo>
                        <a:pt x="714" y="529"/>
                      </a:lnTo>
                      <a:lnTo>
                        <a:pt x="715" y="530"/>
                      </a:lnTo>
                      <a:lnTo>
                        <a:pt x="715" y="531"/>
                      </a:lnTo>
                      <a:lnTo>
                        <a:pt x="762" y="531"/>
                      </a:lnTo>
                      <a:lnTo>
                        <a:pt x="761" y="532"/>
                      </a:lnTo>
                      <a:lnTo>
                        <a:pt x="761" y="533"/>
                      </a:lnTo>
                      <a:lnTo>
                        <a:pt x="762" y="533"/>
                      </a:lnTo>
                      <a:lnTo>
                        <a:pt x="763" y="533"/>
                      </a:lnTo>
                      <a:lnTo>
                        <a:pt x="764" y="533"/>
                      </a:lnTo>
                      <a:lnTo>
                        <a:pt x="764" y="534"/>
                      </a:lnTo>
                      <a:lnTo>
                        <a:pt x="766" y="534"/>
                      </a:lnTo>
                      <a:lnTo>
                        <a:pt x="767" y="535"/>
                      </a:lnTo>
                      <a:lnTo>
                        <a:pt x="768" y="535"/>
                      </a:lnTo>
                      <a:lnTo>
                        <a:pt x="768" y="536"/>
                      </a:lnTo>
                      <a:lnTo>
                        <a:pt x="768" y="537"/>
                      </a:lnTo>
                      <a:lnTo>
                        <a:pt x="768" y="540"/>
                      </a:lnTo>
                      <a:lnTo>
                        <a:pt x="768" y="541"/>
                      </a:lnTo>
                      <a:lnTo>
                        <a:pt x="769" y="541"/>
                      </a:lnTo>
                      <a:lnTo>
                        <a:pt x="769" y="542"/>
                      </a:lnTo>
                      <a:lnTo>
                        <a:pt x="769" y="543"/>
                      </a:lnTo>
                      <a:lnTo>
                        <a:pt x="771" y="543"/>
                      </a:lnTo>
                      <a:lnTo>
                        <a:pt x="771" y="544"/>
                      </a:lnTo>
                      <a:lnTo>
                        <a:pt x="772" y="544"/>
                      </a:lnTo>
                      <a:lnTo>
                        <a:pt x="772" y="545"/>
                      </a:lnTo>
                      <a:lnTo>
                        <a:pt x="772" y="546"/>
                      </a:lnTo>
                      <a:lnTo>
                        <a:pt x="773" y="546"/>
                      </a:lnTo>
                      <a:lnTo>
                        <a:pt x="773" y="547"/>
                      </a:lnTo>
                      <a:lnTo>
                        <a:pt x="773" y="549"/>
                      </a:lnTo>
                      <a:lnTo>
                        <a:pt x="774" y="549"/>
                      </a:lnTo>
                      <a:lnTo>
                        <a:pt x="774" y="550"/>
                      </a:lnTo>
                      <a:lnTo>
                        <a:pt x="774" y="552"/>
                      </a:lnTo>
                      <a:lnTo>
                        <a:pt x="774" y="556"/>
                      </a:lnTo>
                      <a:lnTo>
                        <a:pt x="774" y="557"/>
                      </a:lnTo>
                      <a:lnTo>
                        <a:pt x="773" y="557"/>
                      </a:lnTo>
                      <a:lnTo>
                        <a:pt x="772" y="557"/>
                      </a:lnTo>
                      <a:lnTo>
                        <a:pt x="772" y="558"/>
                      </a:lnTo>
                      <a:lnTo>
                        <a:pt x="772" y="559"/>
                      </a:lnTo>
                      <a:lnTo>
                        <a:pt x="773" y="559"/>
                      </a:lnTo>
                      <a:lnTo>
                        <a:pt x="773" y="560"/>
                      </a:lnTo>
                      <a:lnTo>
                        <a:pt x="774" y="560"/>
                      </a:lnTo>
                      <a:lnTo>
                        <a:pt x="774" y="561"/>
                      </a:lnTo>
                      <a:lnTo>
                        <a:pt x="771" y="561"/>
                      </a:lnTo>
                      <a:lnTo>
                        <a:pt x="735" y="562"/>
                      </a:lnTo>
                      <a:lnTo>
                        <a:pt x="730" y="562"/>
                      </a:lnTo>
                      <a:lnTo>
                        <a:pt x="729" y="562"/>
                      </a:lnTo>
                      <a:lnTo>
                        <a:pt x="723" y="562"/>
                      </a:lnTo>
                      <a:lnTo>
                        <a:pt x="722" y="562"/>
                      </a:lnTo>
                      <a:lnTo>
                        <a:pt x="717" y="562"/>
                      </a:lnTo>
                      <a:lnTo>
                        <a:pt x="716" y="562"/>
                      </a:lnTo>
                      <a:lnTo>
                        <a:pt x="704" y="562"/>
                      </a:lnTo>
                      <a:lnTo>
                        <a:pt x="701" y="562"/>
                      </a:lnTo>
                      <a:lnTo>
                        <a:pt x="700" y="562"/>
                      </a:lnTo>
                      <a:lnTo>
                        <a:pt x="700" y="565"/>
                      </a:lnTo>
                      <a:lnTo>
                        <a:pt x="699" y="566"/>
                      </a:lnTo>
                      <a:lnTo>
                        <a:pt x="698" y="567"/>
                      </a:lnTo>
                      <a:lnTo>
                        <a:pt x="698" y="568"/>
                      </a:lnTo>
                      <a:lnTo>
                        <a:pt x="697" y="569"/>
                      </a:lnTo>
                      <a:lnTo>
                        <a:pt x="697" y="570"/>
                      </a:lnTo>
                      <a:lnTo>
                        <a:pt x="697" y="572"/>
                      </a:lnTo>
                      <a:lnTo>
                        <a:pt x="697" y="573"/>
                      </a:lnTo>
                      <a:lnTo>
                        <a:pt x="697" y="574"/>
                      </a:lnTo>
                      <a:lnTo>
                        <a:pt x="696" y="574"/>
                      </a:lnTo>
                      <a:lnTo>
                        <a:pt x="695" y="574"/>
                      </a:lnTo>
                      <a:lnTo>
                        <a:pt x="694" y="574"/>
                      </a:lnTo>
                      <a:lnTo>
                        <a:pt x="692" y="574"/>
                      </a:lnTo>
                      <a:lnTo>
                        <a:pt x="691" y="574"/>
                      </a:lnTo>
                      <a:lnTo>
                        <a:pt x="690" y="575"/>
                      </a:lnTo>
                      <a:lnTo>
                        <a:pt x="689" y="575"/>
                      </a:lnTo>
                      <a:lnTo>
                        <a:pt x="689" y="577"/>
                      </a:lnTo>
                      <a:lnTo>
                        <a:pt x="689" y="578"/>
                      </a:lnTo>
                      <a:lnTo>
                        <a:pt x="689" y="579"/>
                      </a:lnTo>
                      <a:lnTo>
                        <a:pt x="689" y="580"/>
                      </a:lnTo>
                      <a:lnTo>
                        <a:pt x="669" y="580"/>
                      </a:lnTo>
                      <a:lnTo>
                        <a:pt x="666" y="580"/>
                      </a:lnTo>
                      <a:lnTo>
                        <a:pt x="651" y="580"/>
                      </a:lnTo>
                      <a:lnTo>
                        <a:pt x="650" y="580"/>
                      </a:lnTo>
                      <a:lnTo>
                        <a:pt x="632" y="580"/>
                      </a:lnTo>
                      <a:lnTo>
                        <a:pt x="632" y="579"/>
                      </a:lnTo>
                      <a:lnTo>
                        <a:pt x="632" y="578"/>
                      </a:lnTo>
                      <a:lnTo>
                        <a:pt x="631" y="575"/>
                      </a:lnTo>
                      <a:lnTo>
                        <a:pt x="629" y="573"/>
                      </a:lnTo>
                      <a:lnTo>
                        <a:pt x="629" y="572"/>
                      </a:lnTo>
                      <a:lnTo>
                        <a:pt x="627" y="570"/>
                      </a:lnTo>
                      <a:lnTo>
                        <a:pt x="629" y="567"/>
                      </a:lnTo>
                      <a:lnTo>
                        <a:pt x="629" y="565"/>
                      </a:lnTo>
                      <a:lnTo>
                        <a:pt x="629" y="562"/>
                      </a:lnTo>
                      <a:lnTo>
                        <a:pt x="627" y="560"/>
                      </a:lnTo>
                      <a:lnTo>
                        <a:pt x="626" y="558"/>
                      </a:lnTo>
                      <a:lnTo>
                        <a:pt x="625" y="555"/>
                      </a:lnTo>
                      <a:lnTo>
                        <a:pt x="623" y="555"/>
                      </a:lnTo>
                      <a:lnTo>
                        <a:pt x="622" y="555"/>
                      </a:lnTo>
                      <a:lnTo>
                        <a:pt x="620" y="554"/>
                      </a:lnTo>
                      <a:lnTo>
                        <a:pt x="616" y="553"/>
                      </a:lnTo>
                      <a:lnTo>
                        <a:pt x="613" y="553"/>
                      </a:lnTo>
                      <a:lnTo>
                        <a:pt x="608" y="546"/>
                      </a:lnTo>
                      <a:lnTo>
                        <a:pt x="607" y="544"/>
                      </a:lnTo>
                      <a:lnTo>
                        <a:pt x="605" y="541"/>
                      </a:lnTo>
                      <a:lnTo>
                        <a:pt x="603" y="536"/>
                      </a:lnTo>
                      <a:lnTo>
                        <a:pt x="600" y="534"/>
                      </a:lnTo>
                      <a:lnTo>
                        <a:pt x="599" y="533"/>
                      </a:lnTo>
                      <a:lnTo>
                        <a:pt x="598" y="531"/>
                      </a:lnTo>
                      <a:lnTo>
                        <a:pt x="598" y="530"/>
                      </a:lnTo>
                      <a:lnTo>
                        <a:pt x="597" y="529"/>
                      </a:lnTo>
                      <a:lnTo>
                        <a:pt x="597" y="528"/>
                      </a:lnTo>
                      <a:lnTo>
                        <a:pt x="596" y="527"/>
                      </a:lnTo>
                      <a:lnTo>
                        <a:pt x="595" y="526"/>
                      </a:lnTo>
                      <a:lnTo>
                        <a:pt x="594" y="526"/>
                      </a:lnTo>
                      <a:lnTo>
                        <a:pt x="593" y="526"/>
                      </a:lnTo>
                      <a:lnTo>
                        <a:pt x="592" y="526"/>
                      </a:lnTo>
                      <a:lnTo>
                        <a:pt x="592" y="524"/>
                      </a:lnTo>
                      <a:lnTo>
                        <a:pt x="591" y="524"/>
                      </a:lnTo>
                      <a:lnTo>
                        <a:pt x="591" y="523"/>
                      </a:lnTo>
                      <a:lnTo>
                        <a:pt x="590" y="523"/>
                      </a:lnTo>
                      <a:lnTo>
                        <a:pt x="588" y="523"/>
                      </a:lnTo>
                      <a:lnTo>
                        <a:pt x="588" y="524"/>
                      </a:lnTo>
                      <a:lnTo>
                        <a:pt x="587" y="524"/>
                      </a:lnTo>
                      <a:lnTo>
                        <a:pt x="586" y="524"/>
                      </a:lnTo>
                      <a:lnTo>
                        <a:pt x="586" y="526"/>
                      </a:lnTo>
                      <a:lnTo>
                        <a:pt x="586" y="527"/>
                      </a:lnTo>
                      <a:lnTo>
                        <a:pt x="586" y="528"/>
                      </a:lnTo>
                      <a:lnTo>
                        <a:pt x="585" y="528"/>
                      </a:lnTo>
                      <a:lnTo>
                        <a:pt x="585" y="529"/>
                      </a:lnTo>
                      <a:lnTo>
                        <a:pt x="584" y="529"/>
                      </a:lnTo>
                      <a:lnTo>
                        <a:pt x="583" y="529"/>
                      </a:lnTo>
                      <a:lnTo>
                        <a:pt x="583" y="528"/>
                      </a:lnTo>
                      <a:lnTo>
                        <a:pt x="582" y="528"/>
                      </a:lnTo>
                      <a:lnTo>
                        <a:pt x="581" y="527"/>
                      </a:lnTo>
                      <a:lnTo>
                        <a:pt x="581" y="526"/>
                      </a:lnTo>
                      <a:lnTo>
                        <a:pt x="580" y="526"/>
                      </a:lnTo>
                      <a:lnTo>
                        <a:pt x="580" y="523"/>
                      </a:lnTo>
                      <a:lnTo>
                        <a:pt x="579" y="523"/>
                      </a:lnTo>
                      <a:lnTo>
                        <a:pt x="578" y="522"/>
                      </a:lnTo>
                      <a:lnTo>
                        <a:pt x="575" y="522"/>
                      </a:lnTo>
                      <a:lnTo>
                        <a:pt x="574" y="522"/>
                      </a:lnTo>
                      <a:lnTo>
                        <a:pt x="573" y="521"/>
                      </a:lnTo>
                      <a:lnTo>
                        <a:pt x="573" y="520"/>
                      </a:lnTo>
                      <a:lnTo>
                        <a:pt x="573" y="519"/>
                      </a:lnTo>
                      <a:lnTo>
                        <a:pt x="572" y="518"/>
                      </a:lnTo>
                      <a:lnTo>
                        <a:pt x="571" y="518"/>
                      </a:lnTo>
                      <a:lnTo>
                        <a:pt x="570" y="518"/>
                      </a:lnTo>
                      <a:lnTo>
                        <a:pt x="570" y="517"/>
                      </a:lnTo>
                      <a:lnTo>
                        <a:pt x="569" y="518"/>
                      </a:lnTo>
                      <a:lnTo>
                        <a:pt x="568" y="518"/>
                      </a:lnTo>
                      <a:lnTo>
                        <a:pt x="568" y="519"/>
                      </a:lnTo>
                      <a:lnTo>
                        <a:pt x="567" y="519"/>
                      </a:lnTo>
                      <a:lnTo>
                        <a:pt x="567" y="520"/>
                      </a:lnTo>
                      <a:lnTo>
                        <a:pt x="566" y="520"/>
                      </a:lnTo>
                      <a:lnTo>
                        <a:pt x="565" y="520"/>
                      </a:lnTo>
                      <a:lnTo>
                        <a:pt x="563" y="520"/>
                      </a:lnTo>
                      <a:lnTo>
                        <a:pt x="562" y="520"/>
                      </a:lnTo>
                      <a:lnTo>
                        <a:pt x="560" y="519"/>
                      </a:lnTo>
                      <a:lnTo>
                        <a:pt x="559" y="519"/>
                      </a:lnTo>
                      <a:lnTo>
                        <a:pt x="559" y="518"/>
                      </a:lnTo>
                      <a:lnTo>
                        <a:pt x="558" y="518"/>
                      </a:lnTo>
                      <a:lnTo>
                        <a:pt x="557" y="518"/>
                      </a:lnTo>
                      <a:lnTo>
                        <a:pt x="556" y="517"/>
                      </a:lnTo>
                      <a:lnTo>
                        <a:pt x="555" y="517"/>
                      </a:lnTo>
                      <a:lnTo>
                        <a:pt x="554" y="517"/>
                      </a:lnTo>
                      <a:lnTo>
                        <a:pt x="553" y="517"/>
                      </a:lnTo>
                      <a:lnTo>
                        <a:pt x="552" y="517"/>
                      </a:lnTo>
                      <a:lnTo>
                        <a:pt x="550" y="518"/>
                      </a:lnTo>
                      <a:lnTo>
                        <a:pt x="549" y="519"/>
                      </a:lnTo>
                      <a:lnTo>
                        <a:pt x="548" y="519"/>
                      </a:lnTo>
                      <a:lnTo>
                        <a:pt x="547" y="519"/>
                      </a:lnTo>
                      <a:lnTo>
                        <a:pt x="545" y="519"/>
                      </a:lnTo>
                      <a:lnTo>
                        <a:pt x="543" y="520"/>
                      </a:lnTo>
                      <a:lnTo>
                        <a:pt x="542" y="520"/>
                      </a:lnTo>
                      <a:lnTo>
                        <a:pt x="541" y="522"/>
                      </a:lnTo>
                      <a:lnTo>
                        <a:pt x="539" y="523"/>
                      </a:lnTo>
                      <a:lnTo>
                        <a:pt x="537" y="524"/>
                      </a:lnTo>
                      <a:lnTo>
                        <a:pt x="536" y="526"/>
                      </a:lnTo>
                      <a:lnTo>
                        <a:pt x="535" y="526"/>
                      </a:lnTo>
                      <a:lnTo>
                        <a:pt x="534" y="526"/>
                      </a:lnTo>
                      <a:lnTo>
                        <a:pt x="533" y="526"/>
                      </a:lnTo>
                      <a:lnTo>
                        <a:pt x="532" y="527"/>
                      </a:lnTo>
                      <a:lnTo>
                        <a:pt x="531" y="527"/>
                      </a:lnTo>
                      <a:lnTo>
                        <a:pt x="529" y="535"/>
                      </a:lnTo>
                      <a:lnTo>
                        <a:pt x="532" y="534"/>
                      </a:lnTo>
                      <a:lnTo>
                        <a:pt x="533" y="536"/>
                      </a:lnTo>
                      <a:lnTo>
                        <a:pt x="533" y="537"/>
                      </a:lnTo>
                      <a:lnTo>
                        <a:pt x="534" y="539"/>
                      </a:lnTo>
                      <a:lnTo>
                        <a:pt x="528" y="540"/>
                      </a:lnTo>
                      <a:lnTo>
                        <a:pt x="527" y="540"/>
                      </a:lnTo>
                      <a:lnTo>
                        <a:pt x="526" y="541"/>
                      </a:lnTo>
                      <a:lnTo>
                        <a:pt x="523" y="542"/>
                      </a:lnTo>
                      <a:lnTo>
                        <a:pt x="522" y="543"/>
                      </a:lnTo>
                      <a:lnTo>
                        <a:pt x="521" y="544"/>
                      </a:lnTo>
                      <a:lnTo>
                        <a:pt x="520" y="544"/>
                      </a:lnTo>
                      <a:lnTo>
                        <a:pt x="519" y="546"/>
                      </a:lnTo>
                      <a:lnTo>
                        <a:pt x="517" y="547"/>
                      </a:lnTo>
                      <a:lnTo>
                        <a:pt x="516" y="548"/>
                      </a:lnTo>
                      <a:lnTo>
                        <a:pt x="515" y="549"/>
                      </a:lnTo>
                      <a:lnTo>
                        <a:pt x="514" y="549"/>
                      </a:lnTo>
                      <a:lnTo>
                        <a:pt x="514" y="550"/>
                      </a:lnTo>
                      <a:lnTo>
                        <a:pt x="509" y="554"/>
                      </a:lnTo>
                      <a:lnTo>
                        <a:pt x="510" y="556"/>
                      </a:lnTo>
                      <a:lnTo>
                        <a:pt x="502" y="568"/>
                      </a:lnTo>
                      <a:lnTo>
                        <a:pt x="501" y="570"/>
                      </a:lnTo>
                      <a:lnTo>
                        <a:pt x="498" y="572"/>
                      </a:lnTo>
                      <a:lnTo>
                        <a:pt x="464" y="556"/>
                      </a:lnTo>
                      <a:lnTo>
                        <a:pt x="463" y="556"/>
                      </a:lnTo>
                      <a:lnTo>
                        <a:pt x="451" y="562"/>
                      </a:lnTo>
                      <a:lnTo>
                        <a:pt x="444" y="552"/>
                      </a:lnTo>
                      <a:lnTo>
                        <a:pt x="434" y="552"/>
                      </a:lnTo>
                      <a:lnTo>
                        <a:pt x="425" y="552"/>
                      </a:lnTo>
                      <a:lnTo>
                        <a:pt x="419" y="552"/>
                      </a:lnTo>
                      <a:lnTo>
                        <a:pt x="417" y="552"/>
                      </a:lnTo>
                      <a:lnTo>
                        <a:pt x="414" y="562"/>
                      </a:lnTo>
                      <a:lnTo>
                        <a:pt x="411" y="574"/>
                      </a:lnTo>
                      <a:lnTo>
                        <a:pt x="410" y="577"/>
                      </a:lnTo>
                      <a:lnTo>
                        <a:pt x="410" y="578"/>
                      </a:lnTo>
                      <a:lnTo>
                        <a:pt x="406" y="575"/>
                      </a:lnTo>
                      <a:lnTo>
                        <a:pt x="404" y="575"/>
                      </a:lnTo>
                      <a:lnTo>
                        <a:pt x="394" y="571"/>
                      </a:lnTo>
                      <a:lnTo>
                        <a:pt x="391" y="569"/>
                      </a:lnTo>
                      <a:lnTo>
                        <a:pt x="388" y="568"/>
                      </a:lnTo>
                      <a:lnTo>
                        <a:pt x="374" y="562"/>
                      </a:lnTo>
                      <a:lnTo>
                        <a:pt x="359" y="556"/>
                      </a:lnTo>
                      <a:lnTo>
                        <a:pt x="352" y="553"/>
                      </a:lnTo>
                      <a:lnTo>
                        <a:pt x="351" y="553"/>
                      </a:lnTo>
                      <a:lnTo>
                        <a:pt x="350" y="553"/>
                      </a:lnTo>
                      <a:lnTo>
                        <a:pt x="349" y="553"/>
                      </a:lnTo>
                      <a:lnTo>
                        <a:pt x="349" y="552"/>
                      </a:lnTo>
                      <a:lnTo>
                        <a:pt x="348" y="552"/>
                      </a:lnTo>
                      <a:lnTo>
                        <a:pt x="347" y="550"/>
                      </a:lnTo>
                      <a:lnTo>
                        <a:pt x="346" y="549"/>
                      </a:lnTo>
                      <a:lnTo>
                        <a:pt x="346" y="548"/>
                      </a:lnTo>
                      <a:lnTo>
                        <a:pt x="346" y="547"/>
                      </a:lnTo>
                      <a:lnTo>
                        <a:pt x="345" y="547"/>
                      </a:lnTo>
                      <a:lnTo>
                        <a:pt x="345" y="546"/>
                      </a:lnTo>
                      <a:lnTo>
                        <a:pt x="343" y="546"/>
                      </a:lnTo>
                      <a:lnTo>
                        <a:pt x="342" y="545"/>
                      </a:lnTo>
                      <a:lnTo>
                        <a:pt x="343" y="543"/>
                      </a:lnTo>
                      <a:lnTo>
                        <a:pt x="342" y="542"/>
                      </a:lnTo>
                      <a:lnTo>
                        <a:pt x="342" y="541"/>
                      </a:lnTo>
                      <a:lnTo>
                        <a:pt x="342" y="540"/>
                      </a:lnTo>
                      <a:lnTo>
                        <a:pt x="342" y="539"/>
                      </a:lnTo>
                      <a:lnTo>
                        <a:pt x="341" y="537"/>
                      </a:lnTo>
                      <a:lnTo>
                        <a:pt x="341" y="536"/>
                      </a:lnTo>
                      <a:lnTo>
                        <a:pt x="341" y="535"/>
                      </a:lnTo>
                      <a:lnTo>
                        <a:pt x="340" y="534"/>
                      </a:lnTo>
                      <a:lnTo>
                        <a:pt x="340" y="533"/>
                      </a:lnTo>
                      <a:lnTo>
                        <a:pt x="340" y="532"/>
                      </a:lnTo>
                      <a:lnTo>
                        <a:pt x="340" y="531"/>
                      </a:lnTo>
                      <a:lnTo>
                        <a:pt x="339" y="531"/>
                      </a:lnTo>
                      <a:lnTo>
                        <a:pt x="339" y="530"/>
                      </a:lnTo>
                      <a:lnTo>
                        <a:pt x="338" y="530"/>
                      </a:lnTo>
                      <a:lnTo>
                        <a:pt x="338" y="529"/>
                      </a:lnTo>
                      <a:lnTo>
                        <a:pt x="338" y="528"/>
                      </a:lnTo>
                      <a:lnTo>
                        <a:pt x="337" y="528"/>
                      </a:lnTo>
                      <a:lnTo>
                        <a:pt x="336" y="527"/>
                      </a:lnTo>
                      <a:lnTo>
                        <a:pt x="335" y="527"/>
                      </a:lnTo>
                      <a:lnTo>
                        <a:pt x="334" y="526"/>
                      </a:lnTo>
                      <a:lnTo>
                        <a:pt x="334" y="524"/>
                      </a:lnTo>
                      <a:lnTo>
                        <a:pt x="333" y="524"/>
                      </a:lnTo>
                      <a:lnTo>
                        <a:pt x="333" y="523"/>
                      </a:lnTo>
                      <a:lnTo>
                        <a:pt x="333" y="522"/>
                      </a:lnTo>
                      <a:lnTo>
                        <a:pt x="333" y="521"/>
                      </a:lnTo>
                      <a:lnTo>
                        <a:pt x="332" y="520"/>
                      </a:lnTo>
                      <a:lnTo>
                        <a:pt x="332" y="519"/>
                      </a:lnTo>
                      <a:lnTo>
                        <a:pt x="333" y="518"/>
                      </a:lnTo>
                      <a:lnTo>
                        <a:pt x="334" y="516"/>
                      </a:lnTo>
                      <a:lnTo>
                        <a:pt x="335" y="515"/>
                      </a:lnTo>
                      <a:lnTo>
                        <a:pt x="335" y="514"/>
                      </a:lnTo>
                      <a:lnTo>
                        <a:pt x="334" y="514"/>
                      </a:lnTo>
                      <a:lnTo>
                        <a:pt x="334" y="513"/>
                      </a:lnTo>
                      <a:lnTo>
                        <a:pt x="333" y="513"/>
                      </a:lnTo>
                      <a:lnTo>
                        <a:pt x="332" y="514"/>
                      </a:lnTo>
                      <a:lnTo>
                        <a:pt x="330" y="514"/>
                      </a:lnTo>
                      <a:lnTo>
                        <a:pt x="329" y="514"/>
                      </a:lnTo>
                      <a:lnTo>
                        <a:pt x="328" y="514"/>
                      </a:lnTo>
                      <a:lnTo>
                        <a:pt x="327" y="515"/>
                      </a:lnTo>
                      <a:lnTo>
                        <a:pt x="326" y="516"/>
                      </a:lnTo>
                      <a:lnTo>
                        <a:pt x="325" y="516"/>
                      </a:lnTo>
                      <a:lnTo>
                        <a:pt x="324" y="516"/>
                      </a:lnTo>
                      <a:lnTo>
                        <a:pt x="323" y="516"/>
                      </a:lnTo>
                      <a:lnTo>
                        <a:pt x="322" y="517"/>
                      </a:lnTo>
                      <a:lnTo>
                        <a:pt x="321" y="518"/>
                      </a:lnTo>
                      <a:lnTo>
                        <a:pt x="320" y="518"/>
                      </a:lnTo>
                      <a:lnTo>
                        <a:pt x="319" y="518"/>
                      </a:lnTo>
                      <a:lnTo>
                        <a:pt x="317" y="518"/>
                      </a:lnTo>
                      <a:lnTo>
                        <a:pt x="316" y="518"/>
                      </a:lnTo>
                      <a:lnTo>
                        <a:pt x="315" y="518"/>
                      </a:lnTo>
                      <a:lnTo>
                        <a:pt x="314" y="517"/>
                      </a:lnTo>
                      <a:lnTo>
                        <a:pt x="313" y="519"/>
                      </a:lnTo>
                      <a:lnTo>
                        <a:pt x="311" y="520"/>
                      </a:lnTo>
                      <a:lnTo>
                        <a:pt x="309" y="521"/>
                      </a:lnTo>
                      <a:lnTo>
                        <a:pt x="307" y="520"/>
                      </a:lnTo>
                      <a:lnTo>
                        <a:pt x="301" y="518"/>
                      </a:lnTo>
                      <a:lnTo>
                        <a:pt x="297" y="516"/>
                      </a:lnTo>
                      <a:lnTo>
                        <a:pt x="296" y="516"/>
                      </a:lnTo>
                      <a:lnTo>
                        <a:pt x="290" y="514"/>
                      </a:lnTo>
                      <a:lnTo>
                        <a:pt x="287" y="513"/>
                      </a:lnTo>
                      <a:lnTo>
                        <a:pt x="284" y="511"/>
                      </a:lnTo>
                      <a:lnTo>
                        <a:pt x="272" y="506"/>
                      </a:lnTo>
                      <a:lnTo>
                        <a:pt x="270" y="505"/>
                      </a:lnTo>
                      <a:lnTo>
                        <a:pt x="263" y="502"/>
                      </a:lnTo>
                      <a:lnTo>
                        <a:pt x="263" y="503"/>
                      </a:lnTo>
                      <a:lnTo>
                        <a:pt x="262" y="503"/>
                      </a:lnTo>
                      <a:lnTo>
                        <a:pt x="261" y="503"/>
                      </a:lnTo>
                      <a:lnTo>
                        <a:pt x="260" y="502"/>
                      </a:lnTo>
                      <a:lnTo>
                        <a:pt x="259" y="502"/>
                      </a:lnTo>
                      <a:lnTo>
                        <a:pt x="259" y="503"/>
                      </a:lnTo>
                      <a:lnTo>
                        <a:pt x="258" y="503"/>
                      </a:lnTo>
                      <a:lnTo>
                        <a:pt x="257" y="504"/>
                      </a:lnTo>
                      <a:lnTo>
                        <a:pt x="256" y="504"/>
                      </a:lnTo>
                      <a:lnTo>
                        <a:pt x="255" y="504"/>
                      </a:lnTo>
                      <a:lnTo>
                        <a:pt x="253" y="505"/>
                      </a:lnTo>
                      <a:lnTo>
                        <a:pt x="252" y="505"/>
                      </a:lnTo>
                      <a:lnTo>
                        <a:pt x="251" y="505"/>
                      </a:lnTo>
                      <a:lnTo>
                        <a:pt x="250" y="505"/>
                      </a:lnTo>
                      <a:lnTo>
                        <a:pt x="250" y="506"/>
                      </a:lnTo>
                      <a:lnTo>
                        <a:pt x="249" y="506"/>
                      </a:lnTo>
                      <a:lnTo>
                        <a:pt x="248" y="506"/>
                      </a:lnTo>
                      <a:lnTo>
                        <a:pt x="248" y="505"/>
                      </a:lnTo>
                      <a:lnTo>
                        <a:pt x="247" y="505"/>
                      </a:lnTo>
                      <a:lnTo>
                        <a:pt x="246" y="505"/>
                      </a:lnTo>
                      <a:lnTo>
                        <a:pt x="245" y="505"/>
                      </a:lnTo>
                      <a:lnTo>
                        <a:pt x="244" y="505"/>
                      </a:lnTo>
                      <a:lnTo>
                        <a:pt x="243" y="504"/>
                      </a:lnTo>
                      <a:lnTo>
                        <a:pt x="240" y="504"/>
                      </a:lnTo>
                      <a:lnTo>
                        <a:pt x="240" y="503"/>
                      </a:lnTo>
                      <a:lnTo>
                        <a:pt x="240" y="502"/>
                      </a:lnTo>
                      <a:lnTo>
                        <a:pt x="239" y="502"/>
                      </a:lnTo>
                      <a:lnTo>
                        <a:pt x="238" y="502"/>
                      </a:lnTo>
                      <a:lnTo>
                        <a:pt x="238" y="501"/>
                      </a:lnTo>
                      <a:lnTo>
                        <a:pt x="237" y="502"/>
                      </a:lnTo>
                      <a:lnTo>
                        <a:pt x="236" y="502"/>
                      </a:lnTo>
                      <a:lnTo>
                        <a:pt x="236" y="503"/>
                      </a:lnTo>
                      <a:lnTo>
                        <a:pt x="236" y="504"/>
                      </a:lnTo>
                      <a:lnTo>
                        <a:pt x="235" y="504"/>
                      </a:lnTo>
                      <a:lnTo>
                        <a:pt x="234" y="504"/>
                      </a:lnTo>
                      <a:lnTo>
                        <a:pt x="234" y="505"/>
                      </a:lnTo>
                      <a:lnTo>
                        <a:pt x="233" y="504"/>
                      </a:lnTo>
                      <a:lnTo>
                        <a:pt x="232" y="505"/>
                      </a:lnTo>
                      <a:lnTo>
                        <a:pt x="231" y="505"/>
                      </a:lnTo>
                      <a:lnTo>
                        <a:pt x="231" y="504"/>
                      </a:lnTo>
                      <a:lnTo>
                        <a:pt x="231" y="505"/>
                      </a:lnTo>
                      <a:lnTo>
                        <a:pt x="230" y="504"/>
                      </a:lnTo>
                      <a:lnTo>
                        <a:pt x="229" y="505"/>
                      </a:lnTo>
                      <a:lnTo>
                        <a:pt x="229" y="504"/>
                      </a:lnTo>
                      <a:lnTo>
                        <a:pt x="227" y="504"/>
                      </a:lnTo>
                      <a:lnTo>
                        <a:pt x="227" y="503"/>
                      </a:lnTo>
                      <a:lnTo>
                        <a:pt x="227" y="502"/>
                      </a:lnTo>
                      <a:lnTo>
                        <a:pt x="226" y="502"/>
                      </a:lnTo>
                      <a:lnTo>
                        <a:pt x="226" y="501"/>
                      </a:lnTo>
                      <a:lnTo>
                        <a:pt x="226" y="502"/>
                      </a:lnTo>
                      <a:lnTo>
                        <a:pt x="225" y="502"/>
                      </a:lnTo>
                      <a:lnTo>
                        <a:pt x="224" y="502"/>
                      </a:lnTo>
                      <a:lnTo>
                        <a:pt x="223" y="502"/>
                      </a:lnTo>
                      <a:lnTo>
                        <a:pt x="222" y="502"/>
                      </a:lnTo>
                      <a:lnTo>
                        <a:pt x="221" y="502"/>
                      </a:lnTo>
                      <a:lnTo>
                        <a:pt x="221" y="503"/>
                      </a:lnTo>
                      <a:lnTo>
                        <a:pt x="221" y="504"/>
                      </a:lnTo>
                      <a:lnTo>
                        <a:pt x="220" y="504"/>
                      </a:lnTo>
                      <a:lnTo>
                        <a:pt x="219" y="504"/>
                      </a:lnTo>
                      <a:lnTo>
                        <a:pt x="218" y="503"/>
                      </a:lnTo>
                      <a:lnTo>
                        <a:pt x="217" y="503"/>
                      </a:lnTo>
                      <a:lnTo>
                        <a:pt x="216" y="503"/>
                      </a:lnTo>
                      <a:lnTo>
                        <a:pt x="216" y="502"/>
                      </a:lnTo>
                      <a:lnTo>
                        <a:pt x="214" y="501"/>
                      </a:lnTo>
                      <a:lnTo>
                        <a:pt x="214" y="502"/>
                      </a:lnTo>
                      <a:lnTo>
                        <a:pt x="213" y="502"/>
                      </a:lnTo>
                      <a:lnTo>
                        <a:pt x="213" y="501"/>
                      </a:lnTo>
                      <a:lnTo>
                        <a:pt x="213" y="500"/>
                      </a:lnTo>
                      <a:lnTo>
                        <a:pt x="213" y="498"/>
                      </a:lnTo>
                      <a:lnTo>
                        <a:pt x="212" y="500"/>
                      </a:lnTo>
                      <a:lnTo>
                        <a:pt x="212" y="501"/>
                      </a:lnTo>
                      <a:lnTo>
                        <a:pt x="211" y="501"/>
                      </a:lnTo>
                      <a:lnTo>
                        <a:pt x="211" y="500"/>
                      </a:lnTo>
                      <a:lnTo>
                        <a:pt x="211" y="498"/>
                      </a:lnTo>
                      <a:lnTo>
                        <a:pt x="211" y="497"/>
                      </a:lnTo>
                      <a:lnTo>
                        <a:pt x="210" y="497"/>
                      </a:lnTo>
                      <a:lnTo>
                        <a:pt x="210" y="498"/>
                      </a:lnTo>
                      <a:lnTo>
                        <a:pt x="210" y="500"/>
                      </a:lnTo>
                      <a:lnTo>
                        <a:pt x="210" y="501"/>
                      </a:lnTo>
                      <a:lnTo>
                        <a:pt x="209" y="501"/>
                      </a:lnTo>
                      <a:lnTo>
                        <a:pt x="209" y="500"/>
                      </a:lnTo>
                      <a:lnTo>
                        <a:pt x="208" y="500"/>
                      </a:lnTo>
                      <a:lnTo>
                        <a:pt x="208" y="501"/>
                      </a:lnTo>
                      <a:lnTo>
                        <a:pt x="209" y="501"/>
                      </a:lnTo>
                      <a:lnTo>
                        <a:pt x="209" y="502"/>
                      </a:lnTo>
                      <a:lnTo>
                        <a:pt x="208" y="503"/>
                      </a:lnTo>
                      <a:lnTo>
                        <a:pt x="207" y="503"/>
                      </a:lnTo>
                      <a:lnTo>
                        <a:pt x="208" y="503"/>
                      </a:lnTo>
                      <a:lnTo>
                        <a:pt x="208" y="504"/>
                      </a:lnTo>
                      <a:lnTo>
                        <a:pt x="207" y="504"/>
                      </a:lnTo>
                      <a:lnTo>
                        <a:pt x="207" y="505"/>
                      </a:lnTo>
                      <a:lnTo>
                        <a:pt x="207" y="506"/>
                      </a:lnTo>
                      <a:lnTo>
                        <a:pt x="207" y="507"/>
                      </a:lnTo>
                      <a:lnTo>
                        <a:pt x="206" y="507"/>
                      </a:lnTo>
                      <a:lnTo>
                        <a:pt x="206" y="506"/>
                      </a:lnTo>
                      <a:lnTo>
                        <a:pt x="205" y="506"/>
                      </a:lnTo>
                      <a:lnTo>
                        <a:pt x="205" y="507"/>
                      </a:lnTo>
                      <a:lnTo>
                        <a:pt x="205" y="508"/>
                      </a:lnTo>
                      <a:lnTo>
                        <a:pt x="206" y="508"/>
                      </a:lnTo>
                      <a:lnTo>
                        <a:pt x="206" y="509"/>
                      </a:lnTo>
                      <a:lnTo>
                        <a:pt x="205" y="509"/>
                      </a:lnTo>
                      <a:lnTo>
                        <a:pt x="204" y="509"/>
                      </a:lnTo>
                      <a:lnTo>
                        <a:pt x="204" y="510"/>
                      </a:lnTo>
                      <a:lnTo>
                        <a:pt x="203" y="511"/>
                      </a:lnTo>
                      <a:lnTo>
                        <a:pt x="201" y="511"/>
                      </a:lnTo>
                      <a:lnTo>
                        <a:pt x="200" y="513"/>
                      </a:lnTo>
                      <a:lnTo>
                        <a:pt x="199" y="511"/>
                      </a:lnTo>
                      <a:lnTo>
                        <a:pt x="199" y="513"/>
                      </a:lnTo>
                      <a:lnTo>
                        <a:pt x="198" y="513"/>
                      </a:lnTo>
                      <a:lnTo>
                        <a:pt x="198" y="514"/>
                      </a:lnTo>
                      <a:lnTo>
                        <a:pt x="197" y="514"/>
                      </a:lnTo>
                      <a:lnTo>
                        <a:pt x="196" y="514"/>
                      </a:lnTo>
                      <a:lnTo>
                        <a:pt x="196" y="515"/>
                      </a:lnTo>
                      <a:lnTo>
                        <a:pt x="196" y="516"/>
                      </a:lnTo>
                      <a:lnTo>
                        <a:pt x="195" y="516"/>
                      </a:lnTo>
                      <a:lnTo>
                        <a:pt x="195" y="515"/>
                      </a:lnTo>
                      <a:lnTo>
                        <a:pt x="194" y="515"/>
                      </a:lnTo>
                      <a:lnTo>
                        <a:pt x="193" y="515"/>
                      </a:lnTo>
                      <a:lnTo>
                        <a:pt x="193" y="516"/>
                      </a:lnTo>
                      <a:lnTo>
                        <a:pt x="193" y="517"/>
                      </a:lnTo>
                      <a:lnTo>
                        <a:pt x="192" y="517"/>
                      </a:lnTo>
                      <a:lnTo>
                        <a:pt x="192" y="516"/>
                      </a:lnTo>
                      <a:lnTo>
                        <a:pt x="192" y="515"/>
                      </a:lnTo>
                      <a:lnTo>
                        <a:pt x="191" y="515"/>
                      </a:lnTo>
                      <a:lnTo>
                        <a:pt x="191" y="516"/>
                      </a:lnTo>
                      <a:lnTo>
                        <a:pt x="190" y="516"/>
                      </a:lnTo>
                      <a:lnTo>
                        <a:pt x="190" y="517"/>
                      </a:lnTo>
                      <a:lnTo>
                        <a:pt x="190" y="518"/>
                      </a:lnTo>
                      <a:lnTo>
                        <a:pt x="188" y="518"/>
                      </a:lnTo>
                      <a:lnTo>
                        <a:pt x="188" y="519"/>
                      </a:lnTo>
                      <a:lnTo>
                        <a:pt x="190" y="519"/>
                      </a:lnTo>
                      <a:lnTo>
                        <a:pt x="190" y="520"/>
                      </a:lnTo>
                      <a:lnTo>
                        <a:pt x="188" y="520"/>
                      </a:lnTo>
                      <a:lnTo>
                        <a:pt x="188" y="521"/>
                      </a:lnTo>
                      <a:lnTo>
                        <a:pt x="190" y="521"/>
                      </a:lnTo>
                      <a:lnTo>
                        <a:pt x="190" y="522"/>
                      </a:lnTo>
                      <a:lnTo>
                        <a:pt x="188" y="522"/>
                      </a:lnTo>
                      <a:lnTo>
                        <a:pt x="187" y="522"/>
                      </a:lnTo>
                      <a:lnTo>
                        <a:pt x="187" y="523"/>
                      </a:lnTo>
                      <a:lnTo>
                        <a:pt x="186" y="524"/>
                      </a:lnTo>
                      <a:lnTo>
                        <a:pt x="186" y="526"/>
                      </a:lnTo>
                      <a:lnTo>
                        <a:pt x="185" y="526"/>
                      </a:lnTo>
                      <a:lnTo>
                        <a:pt x="185" y="527"/>
                      </a:lnTo>
                      <a:lnTo>
                        <a:pt x="184" y="527"/>
                      </a:lnTo>
                      <a:lnTo>
                        <a:pt x="184" y="528"/>
                      </a:lnTo>
                      <a:lnTo>
                        <a:pt x="185" y="528"/>
                      </a:lnTo>
                      <a:lnTo>
                        <a:pt x="185" y="529"/>
                      </a:lnTo>
                      <a:lnTo>
                        <a:pt x="184" y="530"/>
                      </a:lnTo>
                      <a:lnTo>
                        <a:pt x="184" y="531"/>
                      </a:lnTo>
                      <a:lnTo>
                        <a:pt x="183" y="532"/>
                      </a:lnTo>
                      <a:lnTo>
                        <a:pt x="182" y="531"/>
                      </a:lnTo>
                      <a:lnTo>
                        <a:pt x="182" y="532"/>
                      </a:lnTo>
                      <a:lnTo>
                        <a:pt x="181" y="532"/>
                      </a:lnTo>
                      <a:lnTo>
                        <a:pt x="180" y="533"/>
                      </a:lnTo>
                      <a:lnTo>
                        <a:pt x="180" y="534"/>
                      </a:lnTo>
                      <a:lnTo>
                        <a:pt x="179" y="534"/>
                      </a:lnTo>
                      <a:lnTo>
                        <a:pt x="179" y="535"/>
                      </a:lnTo>
                      <a:lnTo>
                        <a:pt x="178" y="535"/>
                      </a:lnTo>
                      <a:lnTo>
                        <a:pt x="177" y="535"/>
                      </a:lnTo>
                      <a:lnTo>
                        <a:pt x="175" y="537"/>
                      </a:lnTo>
                      <a:lnTo>
                        <a:pt x="175" y="539"/>
                      </a:lnTo>
                      <a:lnTo>
                        <a:pt x="175" y="540"/>
                      </a:lnTo>
                      <a:lnTo>
                        <a:pt x="175" y="541"/>
                      </a:lnTo>
                      <a:lnTo>
                        <a:pt x="175" y="542"/>
                      </a:lnTo>
                      <a:lnTo>
                        <a:pt x="175" y="543"/>
                      </a:lnTo>
                      <a:lnTo>
                        <a:pt x="174" y="543"/>
                      </a:lnTo>
                      <a:lnTo>
                        <a:pt x="173" y="543"/>
                      </a:lnTo>
                      <a:lnTo>
                        <a:pt x="172" y="543"/>
                      </a:lnTo>
                      <a:lnTo>
                        <a:pt x="171" y="544"/>
                      </a:lnTo>
                      <a:lnTo>
                        <a:pt x="170" y="545"/>
                      </a:lnTo>
                      <a:lnTo>
                        <a:pt x="170" y="546"/>
                      </a:lnTo>
                      <a:lnTo>
                        <a:pt x="169" y="546"/>
                      </a:lnTo>
                      <a:lnTo>
                        <a:pt x="168" y="546"/>
                      </a:lnTo>
                      <a:lnTo>
                        <a:pt x="167" y="546"/>
                      </a:lnTo>
                      <a:lnTo>
                        <a:pt x="167" y="547"/>
                      </a:lnTo>
                      <a:lnTo>
                        <a:pt x="166" y="547"/>
                      </a:lnTo>
                      <a:lnTo>
                        <a:pt x="166" y="548"/>
                      </a:lnTo>
                      <a:lnTo>
                        <a:pt x="165" y="549"/>
                      </a:lnTo>
                      <a:lnTo>
                        <a:pt x="163" y="549"/>
                      </a:lnTo>
                      <a:lnTo>
                        <a:pt x="163" y="550"/>
                      </a:lnTo>
                      <a:lnTo>
                        <a:pt x="163" y="552"/>
                      </a:lnTo>
                      <a:lnTo>
                        <a:pt x="162" y="553"/>
                      </a:lnTo>
                      <a:lnTo>
                        <a:pt x="160" y="554"/>
                      </a:lnTo>
                      <a:lnTo>
                        <a:pt x="159" y="554"/>
                      </a:lnTo>
                      <a:lnTo>
                        <a:pt x="159" y="555"/>
                      </a:lnTo>
                      <a:lnTo>
                        <a:pt x="158" y="556"/>
                      </a:lnTo>
                      <a:lnTo>
                        <a:pt x="157" y="556"/>
                      </a:lnTo>
                      <a:lnTo>
                        <a:pt x="156" y="556"/>
                      </a:lnTo>
                      <a:lnTo>
                        <a:pt x="154" y="557"/>
                      </a:lnTo>
                      <a:lnTo>
                        <a:pt x="153" y="558"/>
                      </a:lnTo>
                      <a:lnTo>
                        <a:pt x="150" y="560"/>
                      </a:lnTo>
                      <a:lnTo>
                        <a:pt x="148" y="560"/>
                      </a:lnTo>
                      <a:lnTo>
                        <a:pt x="146" y="560"/>
                      </a:lnTo>
                      <a:lnTo>
                        <a:pt x="145" y="561"/>
                      </a:lnTo>
                      <a:lnTo>
                        <a:pt x="144" y="560"/>
                      </a:lnTo>
                      <a:lnTo>
                        <a:pt x="143" y="560"/>
                      </a:lnTo>
                      <a:lnTo>
                        <a:pt x="143" y="561"/>
                      </a:lnTo>
                      <a:lnTo>
                        <a:pt x="142" y="561"/>
                      </a:lnTo>
                      <a:lnTo>
                        <a:pt x="141" y="563"/>
                      </a:lnTo>
                      <a:lnTo>
                        <a:pt x="140" y="565"/>
                      </a:lnTo>
                      <a:lnTo>
                        <a:pt x="139" y="565"/>
                      </a:lnTo>
                      <a:lnTo>
                        <a:pt x="137" y="566"/>
                      </a:lnTo>
                      <a:lnTo>
                        <a:pt x="136" y="566"/>
                      </a:lnTo>
                      <a:lnTo>
                        <a:pt x="135" y="566"/>
                      </a:lnTo>
                      <a:lnTo>
                        <a:pt x="134" y="566"/>
                      </a:lnTo>
                      <a:lnTo>
                        <a:pt x="133" y="566"/>
                      </a:lnTo>
                      <a:lnTo>
                        <a:pt x="132" y="566"/>
                      </a:lnTo>
                      <a:lnTo>
                        <a:pt x="131" y="567"/>
                      </a:lnTo>
                      <a:lnTo>
                        <a:pt x="130" y="567"/>
                      </a:lnTo>
                      <a:lnTo>
                        <a:pt x="129" y="568"/>
                      </a:lnTo>
                      <a:lnTo>
                        <a:pt x="128" y="569"/>
                      </a:lnTo>
                      <a:lnTo>
                        <a:pt x="127" y="569"/>
                      </a:lnTo>
                      <a:lnTo>
                        <a:pt x="127" y="568"/>
                      </a:lnTo>
                      <a:lnTo>
                        <a:pt x="124" y="567"/>
                      </a:lnTo>
                      <a:lnTo>
                        <a:pt x="122" y="566"/>
                      </a:lnTo>
                      <a:lnTo>
                        <a:pt x="120" y="566"/>
                      </a:lnTo>
                      <a:lnTo>
                        <a:pt x="119" y="566"/>
                      </a:lnTo>
                      <a:lnTo>
                        <a:pt x="119" y="567"/>
                      </a:lnTo>
                      <a:lnTo>
                        <a:pt x="118" y="567"/>
                      </a:lnTo>
                      <a:lnTo>
                        <a:pt x="118" y="565"/>
                      </a:lnTo>
                      <a:lnTo>
                        <a:pt x="117" y="565"/>
                      </a:lnTo>
                      <a:lnTo>
                        <a:pt x="116" y="565"/>
                      </a:lnTo>
                      <a:lnTo>
                        <a:pt x="115" y="565"/>
                      </a:lnTo>
                      <a:lnTo>
                        <a:pt x="115" y="563"/>
                      </a:lnTo>
                      <a:lnTo>
                        <a:pt x="114" y="563"/>
                      </a:lnTo>
                      <a:lnTo>
                        <a:pt x="113" y="563"/>
                      </a:lnTo>
                      <a:lnTo>
                        <a:pt x="111" y="563"/>
                      </a:lnTo>
                      <a:lnTo>
                        <a:pt x="110" y="563"/>
                      </a:lnTo>
                      <a:lnTo>
                        <a:pt x="110" y="562"/>
                      </a:lnTo>
                      <a:lnTo>
                        <a:pt x="109" y="561"/>
                      </a:lnTo>
                      <a:lnTo>
                        <a:pt x="108" y="561"/>
                      </a:lnTo>
                      <a:lnTo>
                        <a:pt x="107" y="561"/>
                      </a:lnTo>
                      <a:lnTo>
                        <a:pt x="106" y="560"/>
                      </a:lnTo>
                      <a:lnTo>
                        <a:pt x="105" y="560"/>
                      </a:lnTo>
                      <a:lnTo>
                        <a:pt x="104" y="560"/>
                      </a:lnTo>
                      <a:lnTo>
                        <a:pt x="103" y="560"/>
                      </a:lnTo>
                      <a:lnTo>
                        <a:pt x="102" y="560"/>
                      </a:lnTo>
                      <a:lnTo>
                        <a:pt x="101" y="559"/>
                      </a:lnTo>
                      <a:lnTo>
                        <a:pt x="100" y="559"/>
                      </a:lnTo>
                      <a:lnTo>
                        <a:pt x="98" y="558"/>
                      </a:lnTo>
                      <a:lnTo>
                        <a:pt x="98" y="557"/>
                      </a:lnTo>
                      <a:lnTo>
                        <a:pt x="97" y="557"/>
                      </a:lnTo>
                      <a:lnTo>
                        <a:pt x="96" y="557"/>
                      </a:lnTo>
                      <a:lnTo>
                        <a:pt x="95" y="557"/>
                      </a:lnTo>
                      <a:lnTo>
                        <a:pt x="95" y="556"/>
                      </a:lnTo>
                      <a:lnTo>
                        <a:pt x="94" y="556"/>
                      </a:lnTo>
                      <a:lnTo>
                        <a:pt x="94" y="557"/>
                      </a:lnTo>
                      <a:lnTo>
                        <a:pt x="93" y="558"/>
                      </a:lnTo>
                      <a:lnTo>
                        <a:pt x="92" y="558"/>
                      </a:lnTo>
                      <a:lnTo>
                        <a:pt x="91" y="557"/>
                      </a:lnTo>
                      <a:lnTo>
                        <a:pt x="91" y="556"/>
                      </a:lnTo>
                      <a:lnTo>
                        <a:pt x="91" y="555"/>
                      </a:lnTo>
                      <a:lnTo>
                        <a:pt x="90" y="554"/>
                      </a:lnTo>
                      <a:lnTo>
                        <a:pt x="89" y="553"/>
                      </a:lnTo>
                      <a:lnTo>
                        <a:pt x="88" y="552"/>
                      </a:lnTo>
                      <a:lnTo>
                        <a:pt x="87" y="552"/>
                      </a:lnTo>
                      <a:lnTo>
                        <a:pt x="87" y="550"/>
                      </a:lnTo>
                      <a:lnTo>
                        <a:pt x="87" y="549"/>
                      </a:lnTo>
                      <a:lnTo>
                        <a:pt x="85" y="549"/>
                      </a:lnTo>
                      <a:lnTo>
                        <a:pt x="85" y="550"/>
                      </a:lnTo>
                      <a:lnTo>
                        <a:pt x="85" y="549"/>
                      </a:lnTo>
                      <a:lnTo>
                        <a:pt x="84" y="549"/>
                      </a:lnTo>
                      <a:lnTo>
                        <a:pt x="84" y="550"/>
                      </a:lnTo>
                      <a:lnTo>
                        <a:pt x="83" y="550"/>
                      </a:lnTo>
                      <a:lnTo>
                        <a:pt x="82" y="549"/>
                      </a:lnTo>
                      <a:lnTo>
                        <a:pt x="81" y="549"/>
                      </a:lnTo>
                      <a:lnTo>
                        <a:pt x="81" y="548"/>
                      </a:lnTo>
                      <a:lnTo>
                        <a:pt x="82" y="548"/>
                      </a:lnTo>
                      <a:lnTo>
                        <a:pt x="81" y="548"/>
                      </a:lnTo>
                      <a:lnTo>
                        <a:pt x="80" y="547"/>
                      </a:lnTo>
                      <a:lnTo>
                        <a:pt x="79" y="547"/>
                      </a:lnTo>
                      <a:lnTo>
                        <a:pt x="78" y="547"/>
                      </a:lnTo>
                      <a:lnTo>
                        <a:pt x="77" y="547"/>
                      </a:lnTo>
                      <a:lnTo>
                        <a:pt x="77" y="548"/>
                      </a:lnTo>
                      <a:lnTo>
                        <a:pt x="77" y="547"/>
                      </a:lnTo>
                      <a:lnTo>
                        <a:pt x="78" y="546"/>
                      </a:lnTo>
                      <a:lnTo>
                        <a:pt x="77" y="545"/>
                      </a:lnTo>
                      <a:lnTo>
                        <a:pt x="76" y="545"/>
                      </a:lnTo>
                      <a:lnTo>
                        <a:pt x="75" y="545"/>
                      </a:lnTo>
                      <a:lnTo>
                        <a:pt x="74" y="544"/>
                      </a:lnTo>
                      <a:lnTo>
                        <a:pt x="75" y="544"/>
                      </a:lnTo>
                      <a:lnTo>
                        <a:pt x="75" y="543"/>
                      </a:lnTo>
                      <a:lnTo>
                        <a:pt x="74" y="543"/>
                      </a:lnTo>
                      <a:lnTo>
                        <a:pt x="72" y="543"/>
                      </a:lnTo>
                      <a:lnTo>
                        <a:pt x="71" y="543"/>
                      </a:lnTo>
                      <a:lnTo>
                        <a:pt x="71" y="542"/>
                      </a:lnTo>
                      <a:lnTo>
                        <a:pt x="72" y="542"/>
                      </a:lnTo>
                      <a:lnTo>
                        <a:pt x="72" y="541"/>
                      </a:lnTo>
                      <a:lnTo>
                        <a:pt x="71" y="541"/>
                      </a:lnTo>
                      <a:lnTo>
                        <a:pt x="71" y="542"/>
                      </a:lnTo>
                      <a:lnTo>
                        <a:pt x="70" y="541"/>
                      </a:lnTo>
                      <a:lnTo>
                        <a:pt x="70" y="542"/>
                      </a:lnTo>
                      <a:lnTo>
                        <a:pt x="69" y="542"/>
                      </a:lnTo>
                      <a:lnTo>
                        <a:pt x="69" y="541"/>
                      </a:lnTo>
                      <a:lnTo>
                        <a:pt x="68" y="542"/>
                      </a:lnTo>
                      <a:lnTo>
                        <a:pt x="68" y="541"/>
                      </a:lnTo>
                      <a:lnTo>
                        <a:pt x="69" y="541"/>
                      </a:lnTo>
                      <a:lnTo>
                        <a:pt x="69" y="540"/>
                      </a:lnTo>
                      <a:lnTo>
                        <a:pt x="68" y="540"/>
                      </a:lnTo>
                      <a:lnTo>
                        <a:pt x="68" y="539"/>
                      </a:lnTo>
                      <a:lnTo>
                        <a:pt x="69" y="539"/>
                      </a:lnTo>
                      <a:lnTo>
                        <a:pt x="69" y="537"/>
                      </a:lnTo>
                      <a:lnTo>
                        <a:pt x="68" y="537"/>
                      </a:lnTo>
                      <a:lnTo>
                        <a:pt x="68" y="536"/>
                      </a:lnTo>
                      <a:lnTo>
                        <a:pt x="69" y="535"/>
                      </a:lnTo>
                      <a:lnTo>
                        <a:pt x="68" y="535"/>
                      </a:lnTo>
                      <a:lnTo>
                        <a:pt x="67" y="535"/>
                      </a:lnTo>
                      <a:lnTo>
                        <a:pt x="66" y="535"/>
                      </a:lnTo>
                      <a:lnTo>
                        <a:pt x="66" y="536"/>
                      </a:lnTo>
                      <a:lnTo>
                        <a:pt x="65" y="536"/>
                      </a:lnTo>
                      <a:lnTo>
                        <a:pt x="65" y="535"/>
                      </a:lnTo>
                      <a:lnTo>
                        <a:pt x="65" y="534"/>
                      </a:lnTo>
                      <a:lnTo>
                        <a:pt x="64" y="534"/>
                      </a:lnTo>
                      <a:lnTo>
                        <a:pt x="63" y="533"/>
                      </a:lnTo>
                      <a:lnTo>
                        <a:pt x="63" y="532"/>
                      </a:lnTo>
                      <a:lnTo>
                        <a:pt x="62" y="532"/>
                      </a:lnTo>
                      <a:lnTo>
                        <a:pt x="62" y="531"/>
                      </a:lnTo>
                      <a:lnTo>
                        <a:pt x="64" y="531"/>
                      </a:lnTo>
                      <a:lnTo>
                        <a:pt x="64" y="530"/>
                      </a:lnTo>
                      <a:lnTo>
                        <a:pt x="64" y="531"/>
                      </a:lnTo>
                      <a:lnTo>
                        <a:pt x="65" y="530"/>
                      </a:lnTo>
                      <a:lnTo>
                        <a:pt x="65" y="529"/>
                      </a:lnTo>
                      <a:lnTo>
                        <a:pt x="64" y="529"/>
                      </a:lnTo>
                      <a:lnTo>
                        <a:pt x="63" y="529"/>
                      </a:lnTo>
                      <a:lnTo>
                        <a:pt x="64" y="528"/>
                      </a:lnTo>
                      <a:lnTo>
                        <a:pt x="63" y="528"/>
                      </a:lnTo>
                      <a:lnTo>
                        <a:pt x="63" y="529"/>
                      </a:lnTo>
                      <a:lnTo>
                        <a:pt x="63" y="530"/>
                      </a:lnTo>
                      <a:lnTo>
                        <a:pt x="62" y="530"/>
                      </a:lnTo>
                      <a:lnTo>
                        <a:pt x="62" y="529"/>
                      </a:lnTo>
                      <a:lnTo>
                        <a:pt x="61" y="529"/>
                      </a:lnTo>
                      <a:lnTo>
                        <a:pt x="61" y="530"/>
                      </a:lnTo>
                      <a:lnTo>
                        <a:pt x="59" y="530"/>
                      </a:lnTo>
                      <a:lnTo>
                        <a:pt x="59" y="529"/>
                      </a:lnTo>
                      <a:lnTo>
                        <a:pt x="61" y="529"/>
                      </a:lnTo>
                      <a:lnTo>
                        <a:pt x="61" y="528"/>
                      </a:lnTo>
                      <a:lnTo>
                        <a:pt x="61" y="527"/>
                      </a:lnTo>
                      <a:lnTo>
                        <a:pt x="59" y="527"/>
                      </a:lnTo>
                      <a:lnTo>
                        <a:pt x="58" y="527"/>
                      </a:lnTo>
                      <a:lnTo>
                        <a:pt x="58" y="528"/>
                      </a:lnTo>
                      <a:lnTo>
                        <a:pt x="57" y="528"/>
                      </a:lnTo>
                      <a:lnTo>
                        <a:pt x="58" y="529"/>
                      </a:lnTo>
                      <a:lnTo>
                        <a:pt x="57" y="529"/>
                      </a:lnTo>
                      <a:lnTo>
                        <a:pt x="56" y="528"/>
                      </a:lnTo>
                      <a:lnTo>
                        <a:pt x="55" y="528"/>
                      </a:lnTo>
                      <a:lnTo>
                        <a:pt x="55" y="527"/>
                      </a:lnTo>
                      <a:lnTo>
                        <a:pt x="54" y="527"/>
                      </a:lnTo>
                      <a:lnTo>
                        <a:pt x="54" y="526"/>
                      </a:lnTo>
                      <a:lnTo>
                        <a:pt x="53" y="526"/>
                      </a:lnTo>
                      <a:lnTo>
                        <a:pt x="52" y="527"/>
                      </a:lnTo>
                      <a:lnTo>
                        <a:pt x="51" y="526"/>
                      </a:lnTo>
                      <a:lnTo>
                        <a:pt x="49" y="524"/>
                      </a:lnTo>
                      <a:lnTo>
                        <a:pt x="49" y="523"/>
                      </a:lnTo>
                      <a:lnTo>
                        <a:pt x="49" y="522"/>
                      </a:lnTo>
                      <a:lnTo>
                        <a:pt x="49" y="521"/>
                      </a:lnTo>
                      <a:lnTo>
                        <a:pt x="48" y="522"/>
                      </a:lnTo>
                      <a:lnTo>
                        <a:pt x="46" y="521"/>
                      </a:lnTo>
                      <a:lnTo>
                        <a:pt x="45" y="521"/>
                      </a:lnTo>
                      <a:lnTo>
                        <a:pt x="45" y="522"/>
                      </a:lnTo>
                      <a:lnTo>
                        <a:pt x="45" y="523"/>
                      </a:lnTo>
                      <a:lnTo>
                        <a:pt x="44" y="523"/>
                      </a:lnTo>
                      <a:lnTo>
                        <a:pt x="45" y="523"/>
                      </a:lnTo>
                      <a:lnTo>
                        <a:pt x="45" y="524"/>
                      </a:lnTo>
                      <a:lnTo>
                        <a:pt x="44" y="524"/>
                      </a:lnTo>
                      <a:lnTo>
                        <a:pt x="43" y="524"/>
                      </a:lnTo>
                      <a:lnTo>
                        <a:pt x="42" y="523"/>
                      </a:lnTo>
                      <a:lnTo>
                        <a:pt x="41" y="524"/>
                      </a:lnTo>
                      <a:lnTo>
                        <a:pt x="41" y="526"/>
                      </a:lnTo>
                      <a:lnTo>
                        <a:pt x="40" y="526"/>
                      </a:lnTo>
                      <a:lnTo>
                        <a:pt x="40" y="524"/>
                      </a:lnTo>
                      <a:lnTo>
                        <a:pt x="40" y="526"/>
                      </a:lnTo>
                      <a:lnTo>
                        <a:pt x="39" y="527"/>
                      </a:lnTo>
                      <a:lnTo>
                        <a:pt x="39" y="528"/>
                      </a:lnTo>
                      <a:lnTo>
                        <a:pt x="39" y="529"/>
                      </a:lnTo>
                      <a:lnTo>
                        <a:pt x="40" y="529"/>
                      </a:lnTo>
                      <a:lnTo>
                        <a:pt x="40" y="530"/>
                      </a:lnTo>
                      <a:lnTo>
                        <a:pt x="39" y="530"/>
                      </a:lnTo>
                      <a:lnTo>
                        <a:pt x="38" y="531"/>
                      </a:lnTo>
                      <a:lnTo>
                        <a:pt x="37" y="531"/>
                      </a:lnTo>
                      <a:lnTo>
                        <a:pt x="37" y="530"/>
                      </a:lnTo>
                      <a:lnTo>
                        <a:pt x="36" y="531"/>
                      </a:lnTo>
                      <a:lnTo>
                        <a:pt x="36" y="532"/>
                      </a:lnTo>
                      <a:lnTo>
                        <a:pt x="35" y="532"/>
                      </a:lnTo>
                      <a:lnTo>
                        <a:pt x="35" y="531"/>
                      </a:lnTo>
                      <a:lnTo>
                        <a:pt x="33" y="531"/>
                      </a:lnTo>
                      <a:lnTo>
                        <a:pt x="33" y="533"/>
                      </a:lnTo>
                      <a:lnTo>
                        <a:pt x="32" y="533"/>
                      </a:lnTo>
                      <a:lnTo>
                        <a:pt x="31" y="534"/>
                      </a:lnTo>
                      <a:lnTo>
                        <a:pt x="30" y="534"/>
                      </a:lnTo>
                      <a:lnTo>
                        <a:pt x="29" y="534"/>
                      </a:lnTo>
                      <a:lnTo>
                        <a:pt x="28" y="534"/>
                      </a:lnTo>
                      <a:lnTo>
                        <a:pt x="28" y="535"/>
                      </a:lnTo>
                      <a:lnTo>
                        <a:pt x="27" y="535"/>
                      </a:lnTo>
                      <a:lnTo>
                        <a:pt x="27" y="534"/>
                      </a:lnTo>
                      <a:lnTo>
                        <a:pt x="27" y="533"/>
                      </a:lnTo>
                      <a:lnTo>
                        <a:pt x="26" y="533"/>
                      </a:lnTo>
                      <a:lnTo>
                        <a:pt x="25" y="533"/>
                      </a:lnTo>
                      <a:lnTo>
                        <a:pt x="25" y="534"/>
                      </a:lnTo>
                      <a:lnTo>
                        <a:pt x="24" y="534"/>
                      </a:lnTo>
                      <a:lnTo>
                        <a:pt x="24" y="533"/>
                      </a:lnTo>
                      <a:lnTo>
                        <a:pt x="25" y="533"/>
                      </a:lnTo>
                      <a:lnTo>
                        <a:pt x="24" y="532"/>
                      </a:lnTo>
                      <a:lnTo>
                        <a:pt x="24" y="533"/>
                      </a:lnTo>
                      <a:lnTo>
                        <a:pt x="24" y="534"/>
                      </a:lnTo>
                      <a:lnTo>
                        <a:pt x="23" y="534"/>
                      </a:lnTo>
                      <a:lnTo>
                        <a:pt x="23" y="533"/>
                      </a:lnTo>
                      <a:lnTo>
                        <a:pt x="21" y="534"/>
                      </a:lnTo>
                      <a:lnTo>
                        <a:pt x="20" y="534"/>
                      </a:lnTo>
                      <a:lnTo>
                        <a:pt x="20" y="533"/>
                      </a:lnTo>
                      <a:lnTo>
                        <a:pt x="19" y="533"/>
                      </a:lnTo>
                      <a:lnTo>
                        <a:pt x="19" y="534"/>
                      </a:lnTo>
                      <a:lnTo>
                        <a:pt x="18" y="534"/>
                      </a:lnTo>
                      <a:lnTo>
                        <a:pt x="17" y="534"/>
                      </a:lnTo>
                      <a:lnTo>
                        <a:pt x="17" y="533"/>
                      </a:lnTo>
                      <a:lnTo>
                        <a:pt x="17" y="534"/>
                      </a:lnTo>
                      <a:lnTo>
                        <a:pt x="17" y="535"/>
                      </a:lnTo>
                      <a:lnTo>
                        <a:pt x="16" y="536"/>
                      </a:lnTo>
                      <a:lnTo>
                        <a:pt x="15" y="536"/>
                      </a:lnTo>
                      <a:lnTo>
                        <a:pt x="15" y="537"/>
                      </a:lnTo>
                      <a:lnTo>
                        <a:pt x="14" y="536"/>
                      </a:lnTo>
                      <a:lnTo>
                        <a:pt x="14" y="537"/>
                      </a:lnTo>
                      <a:lnTo>
                        <a:pt x="14" y="539"/>
                      </a:lnTo>
                      <a:lnTo>
                        <a:pt x="13" y="539"/>
                      </a:lnTo>
                      <a:lnTo>
                        <a:pt x="12" y="537"/>
                      </a:lnTo>
                      <a:lnTo>
                        <a:pt x="12" y="539"/>
                      </a:lnTo>
                      <a:lnTo>
                        <a:pt x="11" y="540"/>
                      </a:lnTo>
                      <a:lnTo>
                        <a:pt x="11" y="541"/>
                      </a:lnTo>
                      <a:lnTo>
                        <a:pt x="10" y="541"/>
                      </a:lnTo>
                      <a:lnTo>
                        <a:pt x="8" y="541"/>
                      </a:lnTo>
                      <a:lnTo>
                        <a:pt x="8" y="540"/>
                      </a:lnTo>
                      <a:lnTo>
                        <a:pt x="8" y="539"/>
                      </a:lnTo>
                      <a:lnTo>
                        <a:pt x="8" y="537"/>
                      </a:lnTo>
                      <a:lnTo>
                        <a:pt x="6" y="540"/>
                      </a:lnTo>
                      <a:lnTo>
                        <a:pt x="5" y="540"/>
                      </a:lnTo>
                      <a:lnTo>
                        <a:pt x="5" y="539"/>
                      </a:lnTo>
                      <a:lnTo>
                        <a:pt x="4" y="539"/>
                      </a:lnTo>
                      <a:lnTo>
                        <a:pt x="4" y="537"/>
                      </a:lnTo>
                      <a:lnTo>
                        <a:pt x="5" y="537"/>
                      </a:lnTo>
                      <a:lnTo>
                        <a:pt x="6" y="537"/>
                      </a:lnTo>
                      <a:lnTo>
                        <a:pt x="7" y="536"/>
                      </a:lnTo>
                      <a:lnTo>
                        <a:pt x="8" y="536"/>
                      </a:lnTo>
                      <a:lnTo>
                        <a:pt x="8" y="534"/>
                      </a:lnTo>
                      <a:lnTo>
                        <a:pt x="7" y="533"/>
                      </a:lnTo>
                      <a:lnTo>
                        <a:pt x="7" y="532"/>
                      </a:lnTo>
                      <a:lnTo>
                        <a:pt x="8" y="531"/>
                      </a:lnTo>
                      <a:lnTo>
                        <a:pt x="8" y="530"/>
                      </a:lnTo>
                      <a:lnTo>
                        <a:pt x="8" y="529"/>
                      </a:lnTo>
                      <a:lnTo>
                        <a:pt x="7" y="528"/>
                      </a:lnTo>
                      <a:lnTo>
                        <a:pt x="7" y="527"/>
                      </a:lnTo>
                      <a:lnTo>
                        <a:pt x="7" y="526"/>
                      </a:lnTo>
                      <a:lnTo>
                        <a:pt x="6" y="526"/>
                      </a:lnTo>
                      <a:lnTo>
                        <a:pt x="5" y="526"/>
                      </a:lnTo>
                      <a:lnTo>
                        <a:pt x="5" y="524"/>
                      </a:lnTo>
                      <a:lnTo>
                        <a:pt x="5" y="522"/>
                      </a:lnTo>
                      <a:lnTo>
                        <a:pt x="5" y="521"/>
                      </a:lnTo>
                      <a:lnTo>
                        <a:pt x="5" y="520"/>
                      </a:lnTo>
                      <a:lnTo>
                        <a:pt x="4" y="520"/>
                      </a:lnTo>
                      <a:lnTo>
                        <a:pt x="4" y="519"/>
                      </a:lnTo>
                      <a:lnTo>
                        <a:pt x="5" y="519"/>
                      </a:lnTo>
                      <a:lnTo>
                        <a:pt x="6" y="518"/>
                      </a:lnTo>
                      <a:lnTo>
                        <a:pt x="6" y="517"/>
                      </a:lnTo>
                      <a:lnTo>
                        <a:pt x="5" y="517"/>
                      </a:lnTo>
                      <a:lnTo>
                        <a:pt x="4" y="516"/>
                      </a:lnTo>
                      <a:lnTo>
                        <a:pt x="3" y="516"/>
                      </a:lnTo>
                      <a:lnTo>
                        <a:pt x="3" y="515"/>
                      </a:lnTo>
                      <a:lnTo>
                        <a:pt x="3" y="514"/>
                      </a:lnTo>
                      <a:lnTo>
                        <a:pt x="5" y="514"/>
                      </a:lnTo>
                      <a:lnTo>
                        <a:pt x="6" y="513"/>
                      </a:lnTo>
                      <a:lnTo>
                        <a:pt x="6" y="511"/>
                      </a:lnTo>
                      <a:lnTo>
                        <a:pt x="6" y="510"/>
                      </a:lnTo>
                      <a:lnTo>
                        <a:pt x="6" y="509"/>
                      </a:lnTo>
                      <a:lnTo>
                        <a:pt x="5" y="509"/>
                      </a:lnTo>
                      <a:lnTo>
                        <a:pt x="4" y="509"/>
                      </a:lnTo>
                      <a:lnTo>
                        <a:pt x="3" y="509"/>
                      </a:lnTo>
                      <a:lnTo>
                        <a:pt x="3" y="508"/>
                      </a:lnTo>
                      <a:lnTo>
                        <a:pt x="3" y="507"/>
                      </a:lnTo>
                      <a:lnTo>
                        <a:pt x="3" y="505"/>
                      </a:lnTo>
                      <a:lnTo>
                        <a:pt x="4" y="503"/>
                      </a:lnTo>
                      <a:lnTo>
                        <a:pt x="5" y="502"/>
                      </a:lnTo>
                      <a:lnTo>
                        <a:pt x="6" y="502"/>
                      </a:lnTo>
                      <a:lnTo>
                        <a:pt x="6" y="501"/>
                      </a:lnTo>
                      <a:lnTo>
                        <a:pt x="6" y="500"/>
                      </a:lnTo>
                      <a:lnTo>
                        <a:pt x="6" y="498"/>
                      </a:lnTo>
                      <a:lnTo>
                        <a:pt x="7" y="498"/>
                      </a:lnTo>
                      <a:lnTo>
                        <a:pt x="8" y="498"/>
                      </a:lnTo>
                      <a:lnTo>
                        <a:pt x="10" y="498"/>
                      </a:lnTo>
                      <a:lnTo>
                        <a:pt x="11" y="497"/>
                      </a:lnTo>
                      <a:lnTo>
                        <a:pt x="12" y="497"/>
                      </a:lnTo>
                      <a:lnTo>
                        <a:pt x="12" y="496"/>
                      </a:lnTo>
                      <a:lnTo>
                        <a:pt x="12" y="495"/>
                      </a:lnTo>
                      <a:lnTo>
                        <a:pt x="12" y="494"/>
                      </a:lnTo>
                      <a:lnTo>
                        <a:pt x="12" y="493"/>
                      </a:lnTo>
                      <a:lnTo>
                        <a:pt x="13" y="493"/>
                      </a:lnTo>
                      <a:lnTo>
                        <a:pt x="13" y="492"/>
                      </a:lnTo>
                      <a:lnTo>
                        <a:pt x="14" y="492"/>
                      </a:lnTo>
                      <a:lnTo>
                        <a:pt x="15" y="492"/>
                      </a:lnTo>
                      <a:lnTo>
                        <a:pt x="15" y="491"/>
                      </a:lnTo>
                      <a:lnTo>
                        <a:pt x="15" y="490"/>
                      </a:lnTo>
                      <a:lnTo>
                        <a:pt x="15" y="489"/>
                      </a:lnTo>
                      <a:lnTo>
                        <a:pt x="15" y="488"/>
                      </a:lnTo>
                      <a:lnTo>
                        <a:pt x="14" y="488"/>
                      </a:lnTo>
                      <a:lnTo>
                        <a:pt x="13" y="486"/>
                      </a:lnTo>
                      <a:lnTo>
                        <a:pt x="12" y="486"/>
                      </a:lnTo>
                      <a:lnTo>
                        <a:pt x="11" y="486"/>
                      </a:lnTo>
                      <a:lnTo>
                        <a:pt x="11" y="485"/>
                      </a:lnTo>
                      <a:lnTo>
                        <a:pt x="11" y="484"/>
                      </a:lnTo>
                      <a:lnTo>
                        <a:pt x="12" y="484"/>
                      </a:lnTo>
                      <a:lnTo>
                        <a:pt x="13" y="484"/>
                      </a:lnTo>
                      <a:lnTo>
                        <a:pt x="13" y="483"/>
                      </a:lnTo>
                      <a:lnTo>
                        <a:pt x="13" y="482"/>
                      </a:lnTo>
                      <a:lnTo>
                        <a:pt x="11" y="481"/>
                      </a:lnTo>
                      <a:lnTo>
                        <a:pt x="10" y="481"/>
                      </a:lnTo>
                      <a:lnTo>
                        <a:pt x="8" y="480"/>
                      </a:lnTo>
                      <a:lnTo>
                        <a:pt x="8" y="479"/>
                      </a:lnTo>
                      <a:lnTo>
                        <a:pt x="10" y="479"/>
                      </a:lnTo>
                      <a:lnTo>
                        <a:pt x="11" y="479"/>
                      </a:lnTo>
                      <a:lnTo>
                        <a:pt x="11" y="480"/>
                      </a:lnTo>
                      <a:lnTo>
                        <a:pt x="12" y="480"/>
                      </a:lnTo>
                      <a:lnTo>
                        <a:pt x="13" y="479"/>
                      </a:lnTo>
                      <a:lnTo>
                        <a:pt x="14" y="479"/>
                      </a:lnTo>
                      <a:lnTo>
                        <a:pt x="15" y="479"/>
                      </a:lnTo>
                      <a:lnTo>
                        <a:pt x="16" y="479"/>
                      </a:lnTo>
                      <a:lnTo>
                        <a:pt x="17" y="479"/>
                      </a:lnTo>
                      <a:lnTo>
                        <a:pt x="17" y="478"/>
                      </a:lnTo>
                      <a:lnTo>
                        <a:pt x="18" y="478"/>
                      </a:lnTo>
                      <a:lnTo>
                        <a:pt x="18" y="477"/>
                      </a:lnTo>
                      <a:lnTo>
                        <a:pt x="18" y="476"/>
                      </a:lnTo>
                      <a:lnTo>
                        <a:pt x="19" y="476"/>
                      </a:lnTo>
                      <a:lnTo>
                        <a:pt x="20" y="476"/>
                      </a:lnTo>
                      <a:lnTo>
                        <a:pt x="21" y="477"/>
                      </a:lnTo>
                      <a:lnTo>
                        <a:pt x="23" y="477"/>
                      </a:lnTo>
                      <a:lnTo>
                        <a:pt x="24" y="477"/>
                      </a:lnTo>
                      <a:lnTo>
                        <a:pt x="25" y="476"/>
                      </a:lnTo>
                      <a:lnTo>
                        <a:pt x="26" y="475"/>
                      </a:lnTo>
                      <a:lnTo>
                        <a:pt x="26" y="473"/>
                      </a:lnTo>
                      <a:lnTo>
                        <a:pt x="25" y="472"/>
                      </a:lnTo>
                      <a:lnTo>
                        <a:pt x="25" y="471"/>
                      </a:lnTo>
                      <a:lnTo>
                        <a:pt x="25" y="470"/>
                      </a:lnTo>
                      <a:lnTo>
                        <a:pt x="26" y="469"/>
                      </a:lnTo>
                      <a:lnTo>
                        <a:pt x="26" y="468"/>
                      </a:lnTo>
                      <a:lnTo>
                        <a:pt x="26" y="467"/>
                      </a:lnTo>
                      <a:lnTo>
                        <a:pt x="25" y="467"/>
                      </a:lnTo>
                      <a:lnTo>
                        <a:pt x="24" y="467"/>
                      </a:lnTo>
                      <a:lnTo>
                        <a:pt x="24" y="466"/>
                      </a:lnTo>
                      <a:lnTo>
                        <a:pt x="23" y="465"/>
                      </a:lnTo>
                      <a:lnTo>
                        <a:pt x="24" y="464"/>
                      </a:lnTo>
                      <a:lnTo>
                        <a:pt x="25" y="463"/>
                      </a:lnTo>
                      <a:lnTo>
                        <a:pt x="26" y="463"/>
                      </a:lnTo>
                      <a:lnTo>
                        <a:pt x="26" y="462"/>
                      </a:lnTo>
                      <a:lnTo>
                        <a:pt x="26" y="460"/>
                      </a:lnTo>
                      <a:lnTo>
                        <a:pt x="27" y="459"/>
                      </a:lnTo>
                      <a:lnTo>
                        <a:pt x="28" y="460"/>
                      </a:lnTo>
                      <a:lnTo>
                        <a:pt x="29" y="462"/>
                      </a:lnTo>
                      <a:lnTo>
                        <a:pt x="30" y="462"/>
                      </a:lnTo>
                      <a:lnTo>
                        <a:pt x="30" y="460"/>
                      </a:lnTo>
                      <a:lnTo>
                        <a:pt x="29" y="459"/>
                      </a:lnTo>
                      <a:lnTo>
                        <a:pt x="28" y="459"/>
                      </a:lnTo>
                      <a:lnTo>
                        <a:pt x="28" y="458"/>
                      </a:lnTo>
                      <a:lnTo>
                        <a:pt x="27" y="458"/>
                      </a:lnTo>
                      <a:lnTo>
                        <a:pt x="26" y="457"/>
                      </a:lnTo>
                      <a:lnTo>
                        <a:pt x="26" y="458"/>
                      </a:lnTo>
                      <a:lnTo>
                        <a:pt x="25" y="458"/>
                      </a:lnTo>
                      <a:lnTo>
                        <a:pt x="25" y="457"/>
                      </a:lnTo>
                      <a:lnTo>
                        <a:pt x="25" y="456"/>
                      </a:lnTo>
                      <a:lnTo>
                        <a:pt x="24" y="456"/>
                      </a:lnTo>
                      <a:lnTo>
                        <a:pt x="23" y="456"/>
                      </a:lnTo>
                      <a:lnTo>
                        <a:pt x="23" y="457"/>
                      </a:lnTo>
                      <a:lnTo>
                        <a:pt x="21" y="457"/>
                      </a:lnTo>
                      <a:lnTo>
                        <a:pt x="20" y="457"/>
                      </a:lnTo>
                      <a:lnTo>
                        <a:pt x="19" y="457"/>
                      </a:lnTo>
                      <a:lnTo>
                        <a:pt x="18" y="457"/>
                      </a:lnTo>
                      <a:lnTo>
                        <a:pt x="18" y="456"/>
                      </a:lnTo>
                      <a:lnTo>
                        <a:pt x="17" y="456"/>
                      </a:lnTo>
                      <a:lnTo>
                        <a:pt x="16" y="456"/>
                      </a:lnTo>
                      <a:lnTo>
                        <a:pt x="16" y="455"/>
                      </a:lnTo>
                      <a:lnTo>
                        <a:pt x="16" y="454"/>
                      </a:lnTo>
                      <a:lnTo>
                        <a:pt x="15" y="454"/>
                      </a:lnTo>
                      <a:lnTo>
                        <a:pt x="14" y="453"/>
                      </a:lnTo>
                      <a:lnTo>
                        <a:pt x="13" y="453"/>
                      </a:lnTo>
                      <a:lnTo>
                        <a:pt x="13" y="452"/>
                      </a:lnTo>
                      <a:lnTo>
                        <a:pt x="13" y="451"/>
                      </a:lnTo>
                      <a:lnTo>
                        <a:pt x="12" y="451"/>
                      </a:lnTo>
                      <a:lnTo>
                        <a:pt x="11" y="451"/>
                      </a:lnTo>
                      <a:lnTo>
                        <a:pt x="11" y="450"/>
                      </a:lnTo>
                      <a:lnTo>
                        <a:pt x="12" y="450"/>
                      </a:lnTo>
                      <a:lnTo>
                        <a:pt x="12" y="449"/>
                      </a:lnTo>
                      <a:lnTo>
                        <a:pt x="12" y="446"/>
                      </a:lnTo>
                      <a:lnTo>
                        <a:pt x="11" y="445"/>
                      </a:lnTo>
                      <a:lnTo>
                        <a:pt x="11" y="444"/>
                      </a:lnTo>
                      <a:lnTo>
                        <a:pt x="10" y="444"/>
                      </a:lnTo>
                      <a:lnTo>
                        <a:pt x="10" y="443"/>
                      </a:lnTo>
                      <a:lnTo>
                        <a:pt x="8" y="443"/>
                      </a:lnTo>
                      <a:lnTo>
                        <a:pt x="7" y="442"/>
                      </a:lnTo>
                      <a:lnTo>
                        <a:pt x="6" y="442"/>
                      </a:lnTo>
                      <a:lnTo>
                        <a:pt x="6" y="441"/>
                      </a:lnTo>
                      <a:lnTo>
                        <a:pt x="7" y="441"/>
                      </a:lnTo>
                      <a:lnTo>
                        <a:pt x="7" y="440"/>
                      </a:lnTo>
                      <a:lnTo>
                        <a:pt x="7" y="439"/>
                      </a:lnTo>
                      <a:lnTo>
                        <a:pt x="6" y="439"/>
                      </a:lnTo>
                      <a:lnTo>
                        <a:pt x="6" y="440"/>
                      </a:lnTo>
                      <a:lnTo>
                        <a:pt x="5" y="441"/>
                      </a:lnTo>
                      <a:lnTo>
                        <a:pt x="4" y="440"/>
                      </a:lnTo>
                      <a:lnTo>
                        <a:pt x="4" y="439"/>
                      </a:lnTo>
                      <a:lnTo>
                        <a:pt x="5" y="439"/>
                      </a:lnTo>
                      <a:lnTo>
                        <a:pt x="5" y="440"/>
                      </a:lnTo>
                      <a:lnTo>
                        <a:pt x="6" y="439"/>
                      </a:lnTo>
                      <a:lnTo>
                        <a:pt x="5" y="438"/>
                      </a:lnTo>
                      <a:lnTo>
                        <a:pt x="5" y="439"/>
                      </a:lnTo>
                      <a:lnTo>
                        <a:pt x="4" y="438"/>
                      </a:lnTo>
                      <a:lnTo>
                        <a:pt x="5" y="437"/>
                      </a:lnTo>
                      <a:lnTo>
                        <a:pt x="5" y="436"/>
                      </a:lnTo>
                      <a:lnTo>
                        <a:pt x="5" y="433"/>
                      </a:lnTo>
                      <a:lnTo>
                        <a:pt x="4" y="433"/>
                      </a:lnTo>
                      <a:lnTo>
                        <a:pt x="5" y="433"/>
                      </a:lnTo>
                      <a:lnTo>
                        <a:pt x="6" y="433"/>
                      </a:lnTo>
                      <a:lnTo>
                        <a:pt x="6" y="432"/>
                      </a:lnTo>
                      <a:lnTo>
                        <a:pt x="5" y="431"/>
                      </a:lnTo>
                      <a:lnTo>
                        <a:pt x="5" y="430"/>
                      </a:lnTo>
                      <a:lnTo>
                        <a:pt x="4" y="430"/>
                      </a:lnTo>
                      <a:lnTo>
                        <a:pt x="4" y="429"/>
                      </a:lnTo>
                      <a:lnTo>
                        <a:pt x="4" y="428"/>
                      </a:lnTo>
                      <a:lnTo>
                        <a:pt x="5" y="428"/>
                      </a:lnTo>
                      <a:lnTo>
                        <a:pt x="6" y="428"/>
                      </a:lnTo>
                      <a:lnTo>
                        <a:pt x="6" y="427"/>
                      </a:lnTo>
                      <a:lnTo>
                        <a:pt x="5" y="427"/>
                      </a:lnTo>
                      <a:lnTo>
                        <a:pt x="5" y="426"/>
                      </a:lnTo>
                      <a:lnTo>
                        <a:pt x="6" y="426"/>
                      </a:lnTo>
                      <a:lnTo>
                        <a:pt x="6" y="425"/>
                      </a:lnTo>
                      <a:lnTo>
                        <a:pt x="6" y="424"/>
                      </a:lnTo>
                      <a:lnTo>
                        <a:pt x="5" y="424"/>
                      </a:lnTo>
                      <a:lnTo>
                        <a:pt x="4" y="424"/>
                      </a:lnTo>
                      <a:lnTo>
                        <a:pt x="4" y="423"/>
                      </a:lnTo>
                      <a:lnTo>
                        <a:pt x="4" y="421"/>
                      </a:lnTo>
                      <a:lnTo>
                        <a:pt x="3" y="421"/>
                      </a:lnTo>
                      <a:lnTo>
                        <a:pt x="3" y="420"/>
                      </a:lnTo>
                      <a:lnTo>
                        <a:pt x="4" y="420"/>
                      </a:lnTo>
                      <a:lnTo>
                        <a:pt x="5" y="420"/>
                      </a:lnTo>
                      <a:lnTo>
                        <a:pt x="5" y="419"/>
                      </a:lnTo>
                      <a:lnTo>
                        <a:pt x="5" y="418"/>
                      </a:lnTo>
                      <a:lnTo>
                        <a:pt x="5" y="417"/>
                      </a:lnTo>
                      <a:lnTo>
                        <a:pt x="4" y="417"/>
                      </a:lnTo>
                      <a:lnTo>
                        <a:pt x="3" y="416"/>
                      </a:lnTo>
                      <a:lnTo>
                        <a:pt x="3" y="415"/>
                      </a:lnTo>
                      <a:lnTo>
                        <a:pt x="4" y="415"/>
                      </a:lnTo>
                      <a:lnTo>
                        <a:pt x="5" y="415"/>
                      </a:lnTo>
                      <a:lnTo>
                        <a:pt x="5" y="414"/>
                      </a:lnTo>
                      <a:lnTo>
                        <a:pt x="5" y="413"/>
                      </a:lnTo>
                      <a:lnTo>
                        <a:pt x="5" y="412"/>
                      </a:lnTo>
                      <a:lnTo>
                        <a:pt x="4" y="412"/>
                      </a:lnTo>
                      <a:lnTo>
                        <a:pt x="4" y="411"/>
                      </a:lnTo>
                      <a:lnTo>
                        <a:pt x="4" y="410"/>
                      </a:lnTo>
                      <a:lnTo>
                        <a:pt x="4" y="408"/>
                      </a:lnTo>
                      <a:lnTo>
                        <a:pt x="5" y="408"/>
                      </a:lnTo>
                      <a:lnTo>
                        <a:pt x="5" y="410"/>
                      </a:lnTo>
                      <a:lnTo>
                        <a:pt x="6" y="408"/>
                      </a:lnTo>
                      <a:lnTo>
                        <a:pt x="6" y="407"/>
                      </a:lnTo>
                      <a:lnTo>
                        <a:pt x="5" y="407"/>
                      </a:lnTo>
                      <a:lnTo>
                        <a:pt x="5" y="406"/>
                      </a:lnTo>
                      <a:lnTo>
                        <a:pt x="6" y="406"/>
                      </a:lnTo>
                      <a:lnTo>
                        <a:pt x="6" y="405"/>
                      </a:lnTo>
                      <a:lnTo>
                        <a:pt x="5" y="405"/>
                      </a:lnTo>
                      <a:lnTo>
                        <a:pt x="5" y="406"/>
                      </a:lnTo>
                      <a:lnTo>
                        <a:pt x="4" y="406"/>
                      </a:lnTo>
                      <a:lnTo>
                        <a:pt x="4" y="405"/>
                      </a:lnTo>
                      <a:lnTo>
                        <a:pt x="5" y="405"/>
                      </a:lnTo>
                      <a:lnTo>
                        <a:pt x="5" y="404"/>
                      </a:lnTo>
                      <a:lnTo>
                        <a:pt x="4" y="403"/>
                      </a:lnTo>
                      <a:lnTo>
                        <a:pt x="5" y="402"/>
                      </a:lnTo>
                      <a:lnTo>
                        <a:pt x="4" y="402"/>
                      </a:lnTo>
                      <a:lnTo>
                        <a:pt x="3" y="402"/>
                      </a:lnTo>
                      <a:lnTo>
                        <a:pt x="3" y="401"/>
                      </a:lnTo>
                      <a:lnTo>
                        <a:pt x="2" y="401"/>
                      </a:lnTo>
                      <a:lnTo>
                        <a:pt x="3" y="400"/>
                      </a:lnTo>
                      <a:lnTo>
                        <a:pt x="3" y="401"/>
                      </a:lnTo>
                      <a:lnTo>
                        <a:pt x="4" y="401"/>
                      </a:lnTo>
                      <a:lnTo>
                        <a:pt x="5" y="400"/>
                      </a:lnTo>
                      <a:lnTo>
                        <a:pt x="4" y="398"/>
                      </a:lnTo>
                      <a:lnTo>
                        <a:pt x="3" y="398"/>
                      </a:lnTo>
                      <a:lnTo>
                        <a:pt x="5" y="398"/>
                      </a:lnTo>
                      <a:lnTo>
                        <a:pt x="5" y="396"/>
                      </a:lnTo>
                      <a:lnTo>
                        <a:pt x="5" y="395"/>
                      </a:lnTo>
                      <a:lnTo>
                        <a:pt x="5" y="396"/>
                      </a:lnTo>
                      <a:lnTo>
                        <a:pt x="4" y="396"/>
                      </a:lnTo>
                      <a:lnTo>
                        <a:pt x="4" y="395"/>
                      </a:lnTo>
                      <a:lnTo>
                        <a:pt x="4" y="394"/>
                      </a:lnTo>
                      <a:lnTo>
                        <a:pt x="4" y="393"/>
                      </a:lnTo>
                      <a:lnTo>
                        <a:pt x="3" y="393"/>
                      </a:lnTo>
                      <a:lnTo>
                        <a:pt x="3" y="392"/>
                      </a:lnTo>
                      <a:lnTo>
                        <a:pt x="4" y="392"/>
                      </a:lnTo>
                      <a:lnTo>
                        <a:pt x="3" y="391"/>
                      </a:lnTo>
                      <a:lnTo>
                        <a:pt x="3" y="390"/>
                      </a:lnTo>
                      <a:lnTo>
                        <a:pt x="4" y="390"/>
                      </a:lnTo>
                      <a:lnTo>
                        <a:pt x="5" y="390"/>
                      </a:lnTo>
                      <a:lnTo>
                        <a:pt x="4" y="389"/>
                      </a:lnTo>
                      <a:lnTo>
                        <a:pt x="5" y="388"/>
                      </a:lnTo>
                      <a:lnTo>
                        <a:pt x="5" y="387"/>
                      </a:lnTo>
                      <a:lnTo>
                        <a:pt x="6" y="387"/>
                      </a:lnTo>
                      <a:lnTo>
                        <a:pt x="6" y="386"/>
                      </a:lnTo>
                      <a:lnTo>
                        <a:pt x="5" y="386"/>
                      </a:lnTo>
                      <a:lnTo>
                        <a:pt x="4" y="386"/>
                      </a:lnTo>
                      <a:lnTo>
                        <a:pt x="4" y="385"/>
                      </a:lnTo>
                      <a:lnTo>
                        <a:pt x="5" y="385"/>
                      </a:lnTo>
                      <a:lnTo>
                        <a:pt x="6" y="386"/>
                      </a:lnTo>
                      <a:lnTo>
                        <a:pt x="7" y="385"/>
                      </a:lnTo>
                      <a:lnTo>
                        <a:pt x="6" y="385"/>
                      </a:lnTo>
                      <a:lnTo>
                        <a:pt x="5" y="383"/>
                      </a:lnTo>
                      <a:lnTo>
                        <a:pt x="4" y="383"/>
                      </a:lnTo>
                      <a:lnTo>
                        <a:pt x="4" y="382"/>
                      </a:lnTo>
                      <a:lnTo>
                        <a:pt x="4" y="381"/>
                      </a:lnTo>
                      <a:lnTo>
                        <a:pt x="3" y="381"/>
                      </a:lnTo>
                      <a:lnTo>
                        <a:pt x="3" y="380"/>
                      </a:lnTo>
                      <a:lnTo>
                        <a:pt x="3" y="379"/>
                      </a:lnTo>
                      <a:lnTo>
                        <a:pt x="1" y="380"/>
                      </a:lnTo>
                      <a:lnTo>
                        <a:pt x="1" y="379"/>
                      </a:lnTo>
                      <a:lnTo>
                        <a:pt x="0" y="379"/>
                      </a:lnTo>
                      <a:lnTo>
                        <a:pt x="1" y="378"/>
                      </a:lnTo>
                      <a:lnTo>
                        <a:pt x="2" y="378"/>
                      </a:lnTo>
                      <a:lnTo>
                        <a:pt x="3" y="377"/>
                      </a:lnTo>
                      <a:lnTo>
                        <a:pt x="3" y="376"/>
                      </a:lnTo>
                      <a:lnTo>
                        <a:pt x="4" y="377"/>
                      </a:lnTo>
                      <a:lnTo>
                        <a:pt x="5" y="377"/>
                      </a:lnTo>
                      <a:lnTo>
                        <a:pt x="6" y="376"/>
                      </a:lnTo>
                      <a:lnTo>
                        <a:pt x="6" y="375"/>
                      </a:lnTo>
                      <a:lnTo>
                        <a:pt x="6" y="374"/>
                      </a:lnTo>
                      <a:lnTo>
                        <a:pt x="5" y="374"/>
                      </a:lnTo>
                      <a:lnTo>
                        <a:pt x="5" y="375"/>
                      </a:lnTo>
                      <a:lnTo>
                        <a:pt x="3" y="375"/>
                      </a:lnTo>
                      <a:lnTo>
                        <a:pt x="4" y="375"/>
                      </a:lnTo>
                      <a:lnTo>
                        <a:pt x="4" y="374"/>
                      </a:lnTo>
                      <a:lnTo>
                        <a:pt x="4" y="373"/>
                      </a:lnTo>
                      <a:lnTo>
                        <a:pt x="4" y="372"/>
                      </a:lnTo>
                      <a:lnTo>
                        <a:pt x="5" y="370"/>
                      </a:lnTo>
                      <a:lnTo>
                        <a:pt x="6" y="370"/>
                      </a:lnTo>
                      <a:lnTo>
                        <a:pt x="6" y="369"/>
                      </a:lnTo>
                      <a:lnTo>
                        <a:pt x="7" y="370"/>
                      </a:lnTo>
                      <a:lnTo>
                        <a:pt x="7" y="369"/>
                      </a:lnTo>
                      <a:lnTo>
                        <a:pt x="8" y="369"/>
                      </a:lnTo>
                      <a:lnTo>
                        <a:pt x="8" y="368"/>
                      </a:lnTo>
                      <a:lnTo>
                        <a:pt x="8" y="367"/>
                      </a:lnTo>
                      <a:lnTo>
                        <a:pt x="7" y="367"/>
                      </a:lnTo>
                      <a:lnTo>
                        <a:pt x="7" y="366"/>
                      </a:lnTo>
                      <a:lnTo>
                        <a:pt x="8" y="366"/>
                      </a:lnTo>
                      <a:lnTo>
                        <a:pt x="8" y="365"/>
                      </a:lnTo>
                      <a:lnTo>
                        <a:pt x="7" y="365"/>
                      </a:lnTo>
                      <a:lnTo>
                        <a:pt x="7" y="364"/>
                      </a:lnTo>
                      <a:lnTo>
                        <a:pt x="7" y="363"/>
                      </a:lnTo>
                      <a:lnTo>
                        <a:pt x="8" y="363"/>
                      </a:lnTo>
                      <a:lnTo>
                        <a:pt x="8" y="362"/>
                      </a:lnTo>
                      <a:lnTo>
                        <a:pt x="7" y="362"/>
                      </a:lnTo>
                      <a:lnTo>
                        <a:pt x="6" y="362"/>
                      </a:lnTo>
                      <a:lnTo>
                        <a:pt x="6" y="361"/>
                      </a:lnTo>
                      <a:lnTo>
                        <a:pt x="4" y="360"/>
                      </a:lnTo>
                      <a:lnTo>
                        <a:pt x="5" y="360"/>
                      </a:lnTo>
                      <a:lnTo>
                        <a:pt x="4" y="359"/>
                      </a:lnTo>
                      <a:lnTo>
                        <a:pt x="3" y="359"/>
                      </a:lnTo>
                      <a:lnTo>
                        <a:pt x="4" y="359"/>
                      </a:lnTo>
                      <a:lnTo>
                        <a:pt x="4" y="357"/>
                      </a:lnTo>
                      <a:lnTo>
                        <a:pt x="3" y="357"/>
                      </a:lnTo>
                      <a:lnTo>
                        <a:pt x="3" y="356"/>
                      </a:lnTo>
                      <a:lnTo>
                        <a:pt x="4" y="356"/>
                      </a:lnTo>
                      <a:lnTo>
                        <a:pt x="4" y="355"/>
                      </a:lnTo>
                      <a:lnTo>
                        <a:pt x="3" y="355"/>
                      </a:lnTo>
                      <a:lnTo>
                        <a:pt x="3" y="354"/>
                      </a:lnTo>
                      <a:lnTo>
                        <a:pt x="4" y="354"/>
                      </a:lnTo>
                      <a:lnTo>
                        <a:pt x="4" y="353"/>
                      </a:lnTo>
                      <a:lnTo>
                        <a:pt x="3" y="352"/>
                      </a:lnTo>
                      <a:lnTo>
                        <a:pt x="4" y="352"/>
                      </a:lnTo>
                      <a:lnTo>
                        <a:pt x="4" y="353"/>
                      </a:lnTo>
                      <a:lnTo>
                        <a:pt x="5" y="352"/>
                      </a:lnTo>
                      <a:lnTo>
                        <a:pt x="5" y="351"/>
                      </a:lnTo>
                      <a:lnTo>
                        <a:pt x="4" y="351"/>
                      </a:lnTo>
                      <a:lnTo>
                        <a:pt x="3" y="351"/>
                      </a:lnTo>
                      <a:lnTo>
                        <a:pt x="3" y="350"/>
                      </a:lnTo>
                      <a:lnTo>
                        <a:pt x="4" y="349"/>
                      </a:lnTo>
                      <a:lnTo>
                        <a:pt x="4" y="348"/>
                      </a:lnTo>
                      <a:lnTo>
                        <a:pt x="3" y="348"/>
                      </a:lnTo>
                      <a:lnTo>
                        <a:pt x="3" y="349"/>
                      </a:lnTo>
                      <a:lnTo>
                        <a:pt x="3" y="348"/>
                      </a:lnTo>
                      <a:lnTo>
                        <a:pt x="2" y="347"/>
                      </a:lnTo>
                      <a:lnTo>
                        <a:pt x="3" y="347"/>
                      </a:lnTo>
                      <a:lnTo>
                        <a:pt x="3" y="346"/>
                      </a:lnTo>
                      <a:lnTo>
                        <a:pt x="4" y="346"/>
                      </a:lnTo>
                      <a:lnTo>
                        <a:pt x="4" y="344"/>
                      </a:lnTo>
                      <a:lnTo>
                        <a:pt x="4" y="343"/>
                      </a:lnTo>
                      <a:lnTo>
                        <a:pt x="4" y="344"/>
                      </a:lnTo>
                      <a:lnTo>
                        <a:pt x="4" y="343"/>
                      </a:lnTo>
                      <a:lnTo>
                        <a:pt x="5" y="343"/>
                      </a:lnTo>
                      <a:lnTo>
                        <a:pt x="5" y="342"/>
                      </a:lnTo>
                      <a:lnTo>
                        <a:pt x="4" y="342"/>
                      </a:lnTo>
                      <a:lnTo>
                        <a:pt x="3" y="342"/>
                      </a:lnTo>
                      <a:lnTo>
                        <a:pt x="3" y="341"/>
                      </a:lnTo>
                      <a:lnTo>
                        <a:pt x="2" y="341"/>
                      </a:lnTo>
                      <a:lnTo>
                        <a:pt x="2" y="340"/>
                      </a:lnTo>
                      <a:lnTo>
                        <a:pt x="2" y="339"/>
                      </a:lnTo>
                      <a:lnTo>
                        <a:pt x="1" y="338"/>
                      </a:lnTo>
                      <a:lnTo>
                        <a:pt x="2" y="338"/>
                      </a:lnTo>
                      <a:lnTo>
                        <a:pt x="2" y="337"/>
                      </a:lnTo>
                      <a:lnTo>
                        <a:pt x="3" y="337"/>
                      </a:lnTo>
                      <a:lnTo>
                        <a:pt x="3" y="336"/>
                      </a:lnTo>
                      <a:lnTo>
                        <a:pt x="2" y="336"/>
                      </a:lnTo>
                      <a:lnTo>
                        <a:pt x="2" y="335"/>
                      </a:lnTo>
                      <a:lnTo>
                        <a:pt x="3" y="335"/>
                      </a:lnTo>
                      <a:lnTo>
                        <a:pt x="3" y="334"/>
                      </a:lnTo>
                      <a:lnTo>
                        <a:pt x="4" y="334"/>
                      </a:lnTo>
                      <a:lnTo>
                        <a:pt x="4" y="333"/>
                      </a:lnTo>
                      <a:lnTo>
                        <a:pt x="5" y="333"/>
                      </a:lnTo>
                      <a:lnTo>
                        <a:pt x="6" y="333"/>
                      </a:lnTo>
                      <a:lnTo>
                        <a:pt x="7" y="333"/>
                      </a:lnTo>
                      <a:lnTo>
                        <a:pt x="7" y="331"/>
                      </a:lnTo>
                      <a:lnTo>
                        <a:pt x="6" y="330"/>
                      </a:lnTo>
                      <a:lnTo>
                        <a:pt x="7" y="330"/>
                      </a:lnTo>
                      <a:lnTo>
                        <a:pt x="7" y="329"/>
                      </a:lnTo>
                      <a:lnTo>
                        <a:pt x="8" y="329"/>
                      </a:lnTo>
                      <a:lnTo>
                        <a:pt x="8" y="330"/>
                      </a:lnTo>
                      <a:lnTo>
                        <a:pt x="8" y="329"/>
                      </a:lnTo>
                      <a:lnTo>
                        <a:pt x="10" y="329"/>
                      </a:lnTo>
                      <a:lnTo>
                        <a:pt x="10" y="330"/>
                      </a:lnTo>
                      <a:lnTo>
                        <a:pt x="11" y="330"/>
                      </a:lnTo>
                      <a:lnTo>
                        <a:pt x="11" y="329"/>
                      </a:lnTo>
                      <a:lnTo>
                        <a:pt x="11" y="328"/>
                      </a:lnTo>
                      <a:lnTo>
                        <a:pt x="12" y="328"/>
                      </a:lnTo>
                      <a:lnTo>
                        <a:pt x="13" y="328"/>
                      </a:lnTo>
                      <a:lnTo>
                        <a:pt x="13" y="329"/>
                      </a:lnTo>
                      <a:lnTo>
                        <a:pt x="14" y="329"/>
                      </a:lnTo>
                      <a:lnTo>
                        <a:pt x="14" y="330"/>
                      </a:lnTo>
                      <a:lnTo>
                        <a:pt x="15" y="329"/>
                      </a:lnTo>
                      <a:lnTo>
                        <a:pt x="16" y="329"/>
                      </a:lnTo>
                      <a:lnTo>
                        <a:pt x="16" y="328"/>
                      </a:lnTo>
                      <a:lnTo>
                        <a:pt x="16" y="327"/>
                      </a:lnTo>
                      <a:lnTo>
                        <a:pt x="17" y="327"/>
                      </a:lnTo>
                      <a:lnTo>
                        <a:pt x="17" y="326"/>
                      </a:lnTo>
                      <a:lnTo>
                        <a:pt x="18" y="325"/>
                      </a:lnTo>
                      <a:lnTo>
                        <a:pt x="18" y="324"/>
                      </a:lnTo>
                      <a:lnTo>
                        <a:pt x="17" y="324"/>
                      </a:lnTo>
                      <a:lnTo>
                        <a:pt x="16" y="324"/>
                      </a:lnTo>
                      <a:lnTo>
                        <a:pt x="17" y="324"/>
                      </a:lnTo>
                      <a:lnTo>
                        <a:pt x="17" y="323"/>
                      </a:lnTo>
                      <a:lnTo>
                        <a:pt x="16" y="323"/>
                      </a:lnTo>
                      <a:lnTo>
                        <a:pt x="17" y="321"/>
                      </a:lnTo>
                      <a:lnTo>
                        <a:pt x="17" y="322"/>
                      </a:lnTo>
                      <a:lnTo>
                        <a:pt x="17" y="321"/>
                      </a:lnTo>
                      <a:lnTo>
                        <a:pt x="18" y="321"/>
                      </a:lnTo>
                      <a:lnTo>
                        <a:pt x="19" y="321"/>
                      </a:lnTo>
                      <a:lnTo>
                        <a:pt x="18" y="321"/>
                      </a:lnTo>
                      <a:lnTo>
                        <a:pt x="17" y="319"/>
                      </a:lnTo>
                      <a:lnTo>
                        <a:pt x="18" y="319"/>
                      </a:lnTo>
                      <a:lnTo>
                        <a:pt x="18" y="318"/>
                      </a:lnTo>
                      <a:lnTo>
                        <a:pt x="17" y="318"/>
                      </a:lnTo>
                      <a:lnTo>
                        <a:pt x="17" y="317"/>
                      </a:lnTo>
                      <a:lnTo>
                        <a:pt x="17" y="316"/>
                      </a:lnTo>
                      <a:lnTo>
                        <a:pt x="17" y="315"/>
                      </a:lnTo>
                      <a:lnTo>
                        <a:pt x="18" y="315"/>
                      </a:lnTo>
                      <a:lnTo>
                        <a:pt x="19" y="315"/>
                      </a:lnTo>
                      <a:lnTo>
                        <a:pt x="18" y="314"/>
                      </a:lnTo>
                      <a:lnTo>
                        <a:pt x="17" y="315"/>
                      </a:lnTo>
                      <a:lnTo>
                        <a:pt x="16" y="314"/>
                      </a:lnTo>
                      <a:lnTo>
                        <a:pt x="17" y="314"/>
                      </a:lnTo>
                      <a:lnTo>
                        <a:pt x="17" y="313"/>
                      </a:lnTo>
                      <a:lnTo>
                        <a:pt x="17" y="312"/>
                      </a:lnTo>
                      <a:lnTo>
                        <a:pt x="17" y="311"/>
                      </a:lnTo>
                      <a:lnTo>
                        <a:pt x="18" y="312"/>
                      </a:lnTo>
                      <a:lnTo>
                        <a:pt x="18" y="311"/>
                      </a:lnTo>
                      <a:lnTo>
                        <a:pt x="19" y="310"/>
                      </a:lnTo>
                      <a:lnTo>
                        <a:pt x="19" y="309"/>
                      </a:lnTo>
                      <a:lnTo>
                        <a:pt x="18" y="309"/>
                      </a:lnTo>
                      <a:lnTo>
                        <a:pt x="19" y="309"/>
                      </a:lnTo>
                      <a:lnTo>
                        <a:pt x="20" y="309"/>
                      </a:lnTo>
                      <a:lnTo>
                        <a:pt x="20" y="308"/>
                      </a:lnTo>
                      <a:lnTo>
                        <a:pt x="19" y="308"/>
                      </a:lnTo>
                      <a:lnTo>
                        <a:pt x="19" y="306"/>
                      </a:lnTo>
                      <a:lnTo>
                        <a:pt x="21" y="305"/>
                      </a:lnTo>
                      <a:lnTo>
                        <a:pt x="23" y="305"/>
                      </a:lnTo>
                      <a:lnTo>
                        <a:pt x="23" y="306"/>
                      </a:lnTo>
                      <a:lnTo>
                        <a:pt x="24" y="306"/>
                      </a:lnTo>
                      <a:lnTo>
                        <a:pt x="24" y="305"/>
                      </a:lnTo>
                      <a:lnTo>
                        <a:pt x="23" y="304"/>
                      </a:lnTo>
                      <a:lnTo>
                        <a:pt x="21" y="304"/>
                      </a:lnTo>
                      <a:lnTo>
                        <a:pt x="21" y="303"/>
                      </a:lnTo>
                      <a:lnTo>
                        <a:pt x="21" y="302"/>
                      </a:lnTo>
                      <a:lnTo>
                        <a:pt x="21" y="301"/>
                      </a:lnTo>
                      <a:lnTo>
                        <a:pt x="21" y="300"/>
                      </a:lnTo>
                      <a:lnTo>
                        <a:pt x="21" y="299"/>
                      </a:lnTo>
                      <a:lnTo>
                        <a:pt x="20" y="299"/>
                      </a:lnTo>
                      <a:lnTo>
                        <a:pt x="20" y="300"/>
                      </a:lnTo>
                      <a:lnTo>
                        <a:pt x="20" y="299"/>
                      </a:lnTo>
                      <a:lnTo>
                        <a:pt x="20" y="298"/>
                      </a:lnTo>
                      <a:lnTo>
                        <a:pt x="19" y="298"/>
                      </a:lnTo>
                      <a:lnTo>
                        <a:pt x="19" y="297"/>
                      </a:lnTo>
                      <a:lnTo>
                        <a:pt x="20" y="297"/>
                      </a:lnTo>
                      <a:lnTo>
                        <a:pt x="19" y="296"/>
                      </a:lnTo>
                      <a:lnTo>
                        <a:pt x="18" y="296"/>
                      </a:lnTo>
                      <a:lnTo>
                        <a:pt x="18" y="295"/>
                      </a:lnTo>
                      <a:lnTo>
                        <a:pt x="18" y="293"/>
                      </a:lnTo>
                      <a:lnTo>
                        <a:pt x="19" y="293"/>
                      </a:lnTo>
                      <a:lnTo>
                        <a:pt x="19" y="292"/>
                      </a:lnTo>
                      <a:lnTo>
                        <a:pt x="18" y="292"/>
                      </a:lnTo>
                      <a:lnTo>
                        <a:pt x="18" y="291"/>
                      </a:lnTo>
                      <a:lnTo>
                        <a:pt x="17" y="291"/>
                      </a:lnTo>
                      <a:lnTo>
                        <a:pt x="16" y="291"/>
                      </a:lnTo>
                      <a:lnTo>
                        <a:pt x="15" y="291"/>
                      </a:lnTo>
                      <a:lnTo>
                        <a:pt x="15" y="290"/>
                      </a:lnTo>
                      <a:lnTo>
                        <a:pt x="15" y="289"/>
                      </a:lnTo>
                      <a:lnTo>
                        <a:pt x="15" y="288"/>
                      </a:lnTo>
                      <a:lnTo>
                        <a:pt x="14" y="288"/>
                      </a:lnTo>
                      <a:lnTo>
                        <a:pt x="14" y="287"/>
                      </a:lnTo>
                      <a:lnTo>
                        <a:pt x="14" y="286"/>
                      </a:lnTo>
                      <a:lnTo>
                        <a:pt x="14" y="287"/>
                      </a:lnTo>
                      <a:lnTo>
                        <a:pt x="13" y="286"/>
                      </a:lnTo>
                      <a:lnTo>
                        <a:pt x="13" y="285"/>
                      </a:lnTo>
                      <a:lnTo>
                        <a:pt x="13" y="284"/>
                      </a:lnTo>
                      <a:lnTo>
                        <a:pt x="12" y="284"/>
                      </a:lnTo>
                      <a:lnTo>
                        <a:pt x="11" y="285"/>
                      </a:lnTo>
                      <a:lnTo>
                        <a:pt x="11" y="284"/>
                      </a:lnTo>
                      <a:lnTo>
                        <a:pt x="11" y="283"/>
                      </a:lnTo>
                      <a:lnTo>
                        <a:pt x="10" y="283"/>
                      </a:lnTo>
                      <a:lnTo>
                        <a:pt x="8" y="283"/>
                      </a:lnTo>
                      <a:lnTo>
                        <a:pt x="8" y="282"/>
                      </a:lnTo>
                      <a:lnTo>
                        <a:pt x="7" y="282"/>
                      </a:lnTo>
                      <a:lnTo>
                        <a:pt x="8" y="282"/>
                      </a:lnTo>
                      <a:lnTo>
                        <a:pt x="8" y="280"/>
                      </a:lnTo>
                      <a:lnTo>
                        <a:pt x="7" y="280"/>
                      </a:lnTo>
                      <a:lnTo>
                        <a:pt x="7" y="279"/>
                      </a:lnTo>
                      <a:lnTo>
                        <a:pt x="6" y="279"/>
                      </a:lnTo>
                      <a:lnTo>
                        <a:pt x="6" y="278"/>
                      </a:lnTo>
                      <a:lnTo>
                        <a:pt x="7" y="278"/>
                      </a:lnTo>
                      <a:lnTo>
                        <a:pt x="6" y="278"/>
                      </a:lnTo>
                      <a:lnTo>
                        <a:pt x="6" y="277"/>
                      </a:lnTo>
                      <a:lnTo>
                        <a:pt x="5" y="277"/>
                      </a:lnTo>
                      <a:lnTo>
                        <a:pt x="5" y="276"/>
                      </a:lnTo>
                      <a:lnTo>
                        <a:pt x="5" y="275"/>
                      </a:lnTo>
                      <a:lnTo>
                        <a:pt x="6" y="276"/>
                      </a:lnTo>
                      <a:lnTo>
                        <a:pt x="7" y="274"/>
                      </a:lnTo>
                      <a:lnTo>
                        <a:pt x="6" y="274"/>
                      </a:lnTo>
                      <a:lnTo>
                        <a:pt x="5" y="273"/>
                      </a:lnTo>
                      <a:lnTo>
                        <a:pt x="4" y="273"/>
                      </a:lnTo>
                      <a:lnTo>
                        <a:pt x="4" y="272"/>
                      </a:lnTo>
                      <a:lnTo>
                        <a:pt x="4" y="271"/>
                      </a:lnTo>
                      <a:lnTo>
                        <a:pt x="4" y="270"/>
                      </a:lnTo>
                      <a:lnTo>
                        <a:pt x="3" y="270"/>
                      </a:lnTo>
                      <a:lnTo>
                        <a:pt x="3" y="269"/>
                      </a:lnTo>
                      <a:lnTo>
                        <a:pt x="4" y="269"/>
                      </a:lnTo>
                      <a:lnTo>
                        <a:pt x="4" y="267"/>
                      </a:lnTo>
                      <a:lnTo>
                        <a:pt x="3" y="267"/>
                      </a:lnTo>
                      <a:lnTo>
                        <a:pt x="3" y="266"/>
                      </a:lnTo>
                      <a:lnTo>
                        <a:pt x="1" y="266"/>
                      </a:lnTo>
                      <a:lnTo>
                        <a:pt x="2" y="265"/>
                      </a:lnTo>
                      <a:lnTo>
                        <a:pt x="1" y="264"/>
                      </a:lnTo>
                      <a:lnTo>
                        <a:pt x="1" y="263"/>
                      </a:lnTo>
                      <a:lnTo>
                        <a:pt x="1" y="262"/>
                      </a:lnTo>
                      <a:lnTo>
                        <a:pt x="2" y="262"/>
                      </a:lnTo>
                      <a:lnTo>
                        <a:pt x="3" y="262"/>
                      </a:lnTo>
                      <a:lnTo>
                        <a:pt x="7" y="262"/>
                      </a:lnTo>
                      <a:lnTo>
                        <a:pt x="8" y="262"/>
                      </a:lnTo>
                      <a:lnTo>
                        <a:pt x="28" y="262"/>
                      </a:lnTo>
                      <a:lnTo>
                        <a:pt x="31" y="262"/>
                      </a:lnTo>
                      <a:lnTo>
                        <a:pt x="65" y="263"/>
                      </a:lnTo>
                      <a:lnTo>
                        <a:pt x="80" y="263"/>
                      </a:lnTo>
                      <a:lnTo>
                        <a:pt x="81" y="262"/>
                      </a:lnTo>
                      <a:lnTo>
                        <a:pt x="85" y="263"/>
                      </a:lnTo>
                      <a:close/>
                      <a:moveTo>
                        <a:pt x="939" y="815"/>
                      </a:moveTo>
                      <a:lnTo>
                        <a:pt x="931" y="813"/>
                      </a:lnTo>
                      <a:lnTo>
                        <a:pt x="923" y="804"/>
                      </a:lnTo>
                      <a:lnTo>
                        <a:pt x="918" y="798"/>
                      </a:lnTo>
                      <a:lnTo>
                        <a:pt x="902" y="799"/>
                      </a:lnTo>
                      <a:lnTo>
                        <a:pt x="890" y="796"/>
                      </a:lnTo>
                      <a:lnTo>
                        <a:pt x="889" y="796"/>
                      </a:lnTo>
                      <a:lnTo>
                        <a:pt x="889" y="794"/>
                      </a:lnTo>
                      <a:lnTo>
                        <a:pt x="887" y="793"/>
                      </a:lnTo>
                      <a:lnTo>
                        <a:pt x="884" y="791"/>
                      </a:lnTo>
                      <a:lnTo>
                        <a:pt x="880" y="787"/>
                      </a:lnTo>
                      <a:lnTo>
                        <a:pt x="874" y="783"/>
                      </a:lnTo>
                      <a:lnTo>
                        <a:pt x="868" y="779"/>
                      </a:lnTo>
                      <a:lnTo>
                        <a:pt x="865" y="779"/>
                      </a:lnTo>
                      <a:lnTo>
                        <a:pt x="862" y="780"/>
                      </a:lnTo>
                      <a:lnTo>
                        <a:pt x="859" y="780"/>
                      </a:lnTo>
                      <a:lnTo>
                        <a:pt x="856" y="779"/>
                      </a:lnTo>
                      <a:lnTo>
                        <a:pt x="853" y="779"/>
                      </a:lnTo>
                      <a:lnTo>
                        <a:pt x="851" y="778"/>
                      </a:lnTo>
                      <a:lnTo>
                        <a:pt x="847" y="777"/>
                      </a:lnTo>
                      <a:lnTo>
                        <a:pt x="846" y="777"/>
                      </a:lnTo>
                      <a:lnTo>
                        <a:pt x="837" y="775"/>
                      </a:lnTo>
                      <a:lnTo>
                        <a:pt x="836" y="774"/>
                      </a:lnTo>
                      <a:lnTo>
                        <a:pt x="828" y="773"/>
                      </a:lnTo>
                      <a:lnTo>
                        <a:pt x="821" y="771"/>
                      </a:lnTo>
                      <a:lnTo>
                        <a:pt x="817" y="770"/>
                      </a:lnTo>
                      <a:lnTo>
                        <a:pt x="801" y="768"/>
                      </a:lnTo>
                      <a:lnTo>
                        <a:pt x="794" y="768"/>
                      </a:lnTo>
                      <a:lnTo>
                        <a:pt x="790" y="768"/>
                      </a:lnTo>
                      <a:lnTo>
                        <a:pt x="789" y="768"/>
                      </a:lnTo>
                      <a:lnTo>
                        <a:pt x="785" y="768"/>
                      </a:lnTo>
                      <a:lnTo>
                        <a:pt x="784" y="768"/>
                      </a:lnTo>
                      <a:lnTo>
                        <a:pt x="781" y="766"/>
                      </a:lnTo>
                      <a:lnTo>
                        <a:pt x="771" y="760"/>
                      </a:lnTo>
                      <a:lnTo>
                        <a:pt x="769" y="760"/>
                      </a:lnTo>
                      <a:lnTo>
                        <a:pt x="763" y="757"/>
                      </a:lnTo>
                      <a:lnTo>
                        <a:pt x="763" y="755"/>
                      </a:lnTo>
                      <a:lnTo>
                        <a:pt x="767" y="737"/>
                      </a:lnTo>
                      <a:lnTo>
                        <a:pt x="767" y="736"/>
                      </a:lnTo>
                      <a:lnTo>
                        <a:pt x="769" y="727"/>
                      </a:lnTo>
                      <a:lnTo>
                        <a:pt x="771" y="724"/>
                      </a:lnTo>
                      <a:lnTo>
                        <a:pt x="771" y="723"/>
                      </a:lnTo>
                      <a:lnTo>
                        <a:pt x="771" y="721"/>
                      </a:lnTo>
                      <a:lnTo>
                        <a:pt x="771" y="720"/>
                      </a:lnTo>
                      <a:lnTo>
                        <a:pt x="767" y="714"/>
                      </a:lnTo>
                      <a:lnTo>
                        <a:pt x="765" y="712"/>
                      </a:lnTo>
                      <a:lnTo>
                        <a:pt x="759" y="701"/>
                      </a:lnTo>
                      <a:lnTo>
                        <a:pt x="754" y="693"/>
                      </a:lnTo>
                      <a:lnTo>
                        <a:pt x="753" y="691"/>
                      </a:lnTo>
                      <a:lnTo>
                        <a:pt x="749" y="673"/>
                      </a:lnTo>
                      <a:lnTo>
                        <a:pt x="747" y="671"/>
                      </a:lnTo>
                      <a:lnTo>
                        <a:pt x="716" y="645"/>
                      </a:lnTo>
                      <a:lnTo>
                        <a:pt x="714" y="643"/>
                      </a:lnTo>
                      <a:lnTo>
                        <a:pt x="711" y="640"/>
                      </a:lnTo>
                      <a:lnTo>
                        <a:pt x="711" y="634"/>
                      </a:lnTo>
                      <a:lnTo>
                        <a:pt x="714" y="634"/>
                      </a:lnTo>
                      <a:lnTo>
                        <a:pt x="716" y="634"/>
                      </a:lnTo>
                      <a:lnTo>
                        <a:pt x="738" y="632"/>
                      </a:lnTo>
                      <a:lnTo>
                        <a:pt x="740" y="632"/>
                      </a:lnTo>
                      <a:lnTo>
                        <a:pt x="746" y="632"/>
                      </a:lnTo>
                      <a:lnTo>
                        <a:pt x="747" y="632"/>
                      </a:lnTo>
                      <a:lnTo>
                        <a:pt x="771" y="630"/>
                      </a:lnTo>
                      <a:lnTo>
                        <a:pt x="797" y="627"/>
                      </a:lnTo>
                      <a:lnTo>
                        <a:pt x="804" y="626"/>
                      </a:lnTo>
                      <a:lnTo>
                        <a:pt x="813" y="626"/>
                      </a:lnTo>
                      <a:lnTo>
                        <a:pt x="818" y="625"/>
                      </a:lnTo>
                      <a:lnTo>
                        <a:pt x="837" y="624"/>
                      </a:lnTo>
                      <a:lnTo>
                        <a:pt x="838" y="624"/>
                      </a:lnTo>
                      <a:lnTo>
                        <a:pt x="843" y="623"/>
                      </a:lnTo>
                      <a:lnTo>
                        <a:pt x="843" y="624"/>
                      </a:lnTo>
                      <a:lnTo>
                        <a:pt x="844" y="624"/>
                      </a:lnTo>
                      <a:lnTo>
                        <a:pt x="844" y="625"/>
                      </a:lnTo>
                      <a:lnTo>
                        <a:pt x="844" y="626"/>
                      </a:lnTo>
                      <a:lnTo>
                        <a:pt x="845" y="626"/>
                      </a:lnTo>
                      <a:lnTo>
                        <a:pt x="845" y="627"/>
                      </a:lnTo>
                      <a:lnTo>
                        <a:pt x="845" y="629"/>
                      </a:lnTo>
                      <a:lnTo>
                        <a:pt x="845" y="630"/>
                      </a:lnTo>
                      <a:lnTo>
                        <a:pt x="846" y="630"/>
                      </a:lnTo>
                      <a:lnTo>
                        <a:pt x="846" y="631"/>
                      </a:lnTo>
                      <a:lnTo>
                        <a:pt x="846" y="632"/>
                      </a:lnTo>
                      <a:lnTo>
                        <a:pt x="845" y="632"/>
                      </a:lnTo>
                      <a:lnTo>
                        <a:pt x="845" y="633"/>
                      </a:lnTo>
                      <a:lnTo>
                        <a:pt x="846" y="634"/>
                      </a:lnTo>
                      <a:lnTo>
                        <a:pt x="847" y="634"/>
                      </a:lnTo>
                      <a:lnTo>
                        <a:pt x="849" y="634"/>
                      </a:lnTo>
                      <a:lnTo>
                        <a:pt x="850" y="634"/>
                      </a:lnTo>
                      <a:lnTo>
                        <a:pt x="850" y="635"/>
                      </a:lnTo>
                      <a:lnTo>
                        <a:pt x="850" y="636"/>
                      </a:lnTo>
                      <a:lnTo>
                        <a:pt x="849" y="637"/>
                      </a:lnTo>
                      <a:lnTo>
                        <a:pt x="847" y="637"/>
                      </a:lnTo>
                      <a:lnTo>
                        <a:pt x="849" y="638"/>
                      </a:lnTo>
                      <a:lnTo>
                        <a:pt x="850" y="639"/>
                      </a:lnTo>
                      <a:lnTo>
                        <a:pt x="851" y="642"/>
                      </a:lnTo>
                      <a:lnTo>
                        <a:pt x="851" y="643"/>
                      </a:lnTo>
                      <a:lnTo>
                        <a:pt x="852" y="644"/>
                      </a:lnTo>
                      <a:lnTo>
                        <a:pt x="853" y="645"/>
                      </a:lnTo>
                      <a:lnTo>
                        <a:pt x="854" y="647"/>
                      </a:lnTo>
                      <a:lnTo>
                        <a:pt x="855" y="647"/>
                      </a:lnTo>
                      <a:lnTo>
                        <a:pt x="856" y="648"/>
                      </a:lnTo>
                      <a:lnTo>
                        <a:pt x="858" y="649"/>
                      </a:lnTo>
                      <a:lnTo>
                        <a:pt x="859" y="650"/>
                      </a:lnTo>
                      <a:lnTo>
                        <a:pt x="859" y="651"/>
                      </a:lnTo>
                      <a:lnTo>
                        <a:pt x="859" y="652"/>
                      </a:lnTo>
                      <a:lnTo>
                        <a:pt x="859" y="653"/>
                      </a:lnTo>
                      <a:lnTo>
                        <a:pt x="858" y="655"/>
                      </a:lnTo>
                      <a:lnTo>
                        <a:pt x="858" y="656"/>
                      </a:lnTo>
                      <a:lnTo>
                        <a:pt x="857" y="657"/>
                      </a:lnTo>
                      <a:lnTo>
                        <a:pt x="857" y="658"/>
                      </a:lnTo>
                      <a:lnTo>
                        <a:pt x="857" y="659"/>
                      </a:lnTo>
                      <a:lnTo>
                        <a:pt x="857" y="660"/>
                      </a:lnTo>
                      <a:lnTo>
                        <a:pt x="857" y="661"/>
                      </a:lnTo>
                      <a:lnTo>
                        <a:pt x="858" y="662"/>
                      </a:lnTo>
                      <a:lnTo>
                        <a:pt x="859" y="662"/>
                      </a:lnTo>
                      <a:lnTo>
                        <a:pt x="860" y="663"/>
                      </a:lnTo>
                      <a:lnTo>
                        <a:pt x="862" y="664"/>
                      </a:lnTo>
                      <a:lnTo>
                        <a:pt x="862" y="665"/>
                      </a:lnTo>
                      <a:lnTo>
                        <a:pt x="863" y="665"/>
                      </a:lnTo>
                      <a:lnTo>
                        <a:pt x="864" y="667"/>
                      </a:lnTo>
                      <a:lnTo>
                        <a:pt x="865" y="667"/>
                      </a:lnTo>
                      <a:lnTo>
                        <a:pt x="867" y="668"/>
                      </a:lnTo>
                      <a:lnTo>
                        <a:pt x="868" y="668"/>
                      </a:lnTo>
                      <a:lnTo>
                        <a:pt x="869" y="669"/>
                      </a:lnTo>
                      <a:lnTo>
                        <a:pt x="871" y="672"/>
                      </a:lnTo>
                      <a:lnTo>
                        <a:pt x="872" y="674"/>
                      </a:lnTo>
                      <a:lnTo>
                        <a:pt x="872" y="675"/>
                      </a:lnTo>
                      <a:lnTo>
                        <a:pt x="874" y="676"/>
                      </a:lnTo>
                      <a:lnTo>
                        <a:pt x="872" y="678"/>
                      </a:lnTo>
                      <a:lnTo>
                        <a:pt x="872" y="680"/>
                      </a:lnTo>
                      <a:lnTo>
                        <a:pt x="872" y="682"/>
                      </a:lnTo>
                      <a:lnTo>
                        <a:pt x="872" y="684"/>
                      </a:lnTo>
                      <a:lnTo>
                        <a:pt x="874" y="685"/>
                      </a:lnTo>
                      <a:lnTo>
                        <a:pt x="874" y="686"/>
                      </a:lnTo>
                      <a:lnTo>
                        <a:pt x="874" y="687"/>
                      </a:lnTo>
                      <a:lnTo>
                        <a:pt x="874" y="688"/>
                      </a:lnTo>
                      <a:lnTo>
                        <a:pt x="875" y="689"/>
                      </a:lnTo>
                      <a:lnTo>
                        <a:pt x="875" y="690"/>
                      </a:lnTo>
                      <a:lnTo>
                        <a:pt x="876" y="693"/>
                      </a:lnTo>
                      <a:lnTo>
                        <a:pt x="876" y="694"/>
                      </a:lnTo>
                      <a:lnTo>
                        <a:pt x="877" y="697"/>
                      </a:lnTo>
                      <a:lnTo>
                        <a:pt x="877" y="699"/>
                      </a:lnTo>
                      <a:lnTo>
                        <a:pt x="877" y="700"/>
                      </a:lnTo>
                      <a:lnTo>
                        <a:pt x="877" y="701"/>
                      </a:lnTo>
                      <a:lnTo>
                        <a:pt x="878" y="701"/>
                      </a:lnTo>
                      <a:lnTo>
                        <a:pt x="878" y="702"/>
                      </a:lnTo>
                      <a:lnTo>
                        <a:pt x="881" y="704"/>
                      </a:lnTo>
                      <a:lnTo>
                        <a:pt x="882" y="706"/>
                      </a:lnTo>
                      <a:lnTo>
                        <a:pt x="883" y="708"/>
                      </a:lnTo>
                      <a:lnTo>
                        <a:pt x="885" y="710"/>
                      </a:lnTo>
                      <a:lnTo>
                        <a:pt x="887" y="712"/>
                      </a:lnTo>
                      <a:lnTo>
                        <a:pt x="888" y="712"/>
                      </a:lnTo>
                      <a:lnTo>
                        <a:pt x="890" y="712"/>
                      </a:lnTo>
                      <a:lnTo>
                        <a:pt x="892" y="713"/>
                      </a:lnTo>
                      <a:lnTo>
                        <a:pt x="894" y="713"/>
                      </a:lnTo>
                      <a:lnTo>
                        <a:pt x="900" y="714"/>
                      </a:lnTo>
                      <a:lnTo>
                        <a:pt x="903" y="715"/>
                      </a:lnTo>
                      <a:lnTo>
                        <a:pt x="904" y="716"/>
                      </a:lnTo>
                      <a:lnTo>
                        <a:pt x="906" y="717"/>
                      </a:lnTo>
                      <a:lnTo>
                        <a:pt x="908" y="719"/>
                      </a:lnTo>
                      <a:lnTo>
                        <a:pt x="909" y="719"/>
                      </a:lnTo>
                      <a:lnTo>
                        <a:pt x="910" y="719"/>
                      </a:lnTo>
                      <a:lnTo>
                        <a:pt x="913" y="719"/>
                      </a:lnTo>
                      <a:lnTo>
                        <a:pt x="914" y="719"/>
                      </a:lnTo>
                      <a:lnTo>
                        <a:pt x="915" y="719"/>
                      </a:lnTo>
                      <a:lnTo>
                        <a:pt x="916" y="719"/>
                      </a:lnTo>
                      <a:lnTo>
                        <a:pt x="917" y="719"/>
                      </a:lnTo>
                      <a:lnTo>
                        <a:pt x="918" y="719"/>
                      </a:lnTo>
                      <a:lnTo>
                        <a:pt x="919" y="719"/>
                      </a:lnTo>
                      <a:lnTo>
                        <a:pt x="921" y="720"/>
                      </a:lnTo>
                      <a:lnTo>
                        <a:pt x="922" y="721"/>
                      </a:lnTo>
                      <a:lnTo>
                        <a:pt x="923" y="722"/>
                      </a:lnTo>
                      <a:lnTo>
                        <a:pt x="924" y="724"/>
                      </a:lnTo>
                      <a:lnTo>
                        <a:pt x="926" y="725"/>
                      </a:lnTo>
                      <a:lnTo>
                        <a:pt x="927" y="725"/>
                      </a:lnTo>
                      <a:lnTo>
                        <a:pt x="929" y="726"/>
                      </a:lnTo>
                      <a:lnTo>
                        <a:pt x="930" y="726"/>
                      </a:lnTo>
                      <a:lnTo>
                        <a:pt x="931" y="726"/>
                      </a:lnTo>
                      <a:lnTo>
                        <a:pt x="932" y="726"/>
                      </a:lnTo>
                      <a:lnTo>
                        <a:pt x="933" y="727"/>
                      </a:lnTo>
                      <a:lnTo>
                        <a:pt x="933" y="728"/>
                      </a:lnTo>
                      <a:lnTo>
                        <a:pt x="933" y="729"/>
                      </a:lnTo>
                      <a:lnTo>
                        <a:pt x="934" y="729"/>
                      </a:lnTo>
                      <a:lnTo>
                        <a:pt x="934" y="730"/>
                      </a:lnTo>
                      <a:lnTo>
                        <a:pt x="935" y="733"/>
                      </a:lnTo>
                      <a:lnTo>
                        <a:pt x="936" y="733"/>
                      </a:lnTo>
                      <a:lnTo>
                        <a:pt x="937" y="733"/>
                      </a:lnTo>
                      <a:lnTo>
                        <a:pt x="937" y="734"/>
                      </a:lnTo>
                      <a:lnTo>
                        <a:pt x="939" y="734"/>
                      </a:lnTo>
                      <a:lnTo>
                        <a:pt x="939" y="735"/>
                      </a:lnTo>
                      <a:lnTo>
                        <a:pt x="940" y="736"/>
                      </a:lnTo>
                      <a:lnTo>
                        <a:pt x="940" y="737"/>
                      </a:lnTo>
                      <a:lnTo>
                        <a:pt x="941" y="737"/>
                      </a:lnTo>
                      <a:lnTo>
                        <a:pt x="941" y="738"/>
                      </a:lnTo>
                      <a:lnTo>
                        <a:pt x="941" y="739"/>
                      </a:lnTo>
                      <a:lnTo>
                        <a:pt x="941" y="740"/>
                      </a:lnTo>
                      <a:lnTo>
                        <a:pt x="942" y="741"/>
                      </a:lnTo>
                      <a:lnTo>
                        <a:pt x="942" y="742"/>
                      </a:lnTo>
                      <a:lnTo>
                        <a:pt x="943" y="743"/>
                      </a:lnTo>
                      <a:lnTo>
                        <a:pt x="943" y="745"/>
                      </a:lnTo>
                      <a:lnTo>
                        <a:pt x="942" y="745"/>
                      </a:lnTo>
                      <a:lnTo>
                        <a:pt x="942" y="746"/>
                      </a:lnTo>
                      <a:lnTo>
                        <a:pt x="941" y="747"/>
                      </a:lnTo>
                      <a:lnTo>
                        <a:pt x="941" y="748"/>
                      </a:lnTo>
                      <a:lnTo>
                        <a:pt x="941" y="749"/>
                      </a:lnTo>
                      <a:lnTo>
                        <a:pt x="940" y="750"/>
                      </a:lnTo>
                      <a:lnTo>
                        <a:pt x="940" y="751"/>
                      </a:lnTo>
                      <a:lnTo>
                        <a:pt x="940" y="752"/>
                      </a:lnTo>
                      <a:lnTo>
                        <a:pt x="939" y="755"/>
                      </a:lnTo>
                      <a:lnTo>
                        <a:pt x="940" y="757"/>
                      </a:lnTo>
                      <a:lnTo>
                        <a:pt x="940" y="758"/>
                      </a:lnTo>
                      <a:lnTo>
                        <a:pt x="941" y="759"/>
                      </a:lnTo>
                      <a:lnTo>
                        <a:pt x="941" y="760"/>
                      </a:lnTo>
                      <a:lnTo>
                        <a:pt x="940" y="761"/>
                      </a:lnTo>
                      <a:lnTo>
                        <a:pt x="940" y="762"/>
                      </a:lnTo>
                      <a:lnTo>
                        <a:pt x="939" y="762"/>
                      </a:lnTo>
                      <a:lnTo>
                        <a:pt x="939" y="763"/>
                      </a:lnTo>
                      <a:lnTo>
                        <a:pt x="939" y="764"/>
                      </a:lnTo>
                      <a:lnTo>
                        <a:pt x="939" y="765"/>
                      </a:lnTo>
                      <a:lnTo>
                        <a:pt x="940" y="766"/>
                      </a:lnTo>
                      <a:lnTo>
                        <a:pt x="941" y="767"/>
                      </a:lnTo>
                      <a:lnTo>
                        <a:pt x="942" y="768"/>
                      </a:lnTo>
                      <a:lnTo>
                        <a:pt x="942" y="770"/>
                      </a:lnTo>
                      <a:lnTo>
                        <a:pt x="942" y="771"/>
                      </a:lnTo>
                      <a:lnTo>
                        <a:pt x="943" y="771"/>
                      </a:lnTo>
                      <a:lnTo>
                        <a:pt x="943" y="772"/>
                      </a:lnTo>
                      <a:lnTo>
                        <a:pt x="943" y="773"/>
                      </a:lnTo>
                      <a:lnTo>
                        <a:pt x="944" y="773"/>
                      </a:lnTo>
                      <a:lnTo>
                        <a:pt x="944" y="774"/>
                      </a:lnTo>
                      <a:lnTo>
                        <a:pt x="944" y="775"/>
                      </a:lnTo>
                      <a:lnTo>
                        <a:pt x="945" y="775"/>
                      </a:lnTo>
                      <a:lnTo>
                        <a:pt x="945" y="776"/>
                      </a:lnTo>
                      <a:lnTo>
                        <a:pt x="944" y="777"/>
                      </a:lnTo>
                      <a:lnTo>
                        <a:pt x="944" y="778"/>
                      </a:lnTo>
                      <a:lnTo>
                        <a:pt x="944" y="779"/>
                      </a:lnTo>
                      <a:lnTo>
                        <a:pt x="944" y="780"/>
                      </a:lnTo>
                      <a:lnTo>
                        <a:pt x="943" y="780"/>
                      </a:lnTo>
                      <a:lnTo>
                        <a:pt x="943" y="781"/>
                      </a:lnTo>
                      <a:lnTo>
                        <a:pt x="943" y="783"/>
                      </a:lnTo>
                      <a:lnTo>
                        <a:pt x="943" y="784"/>
                      </a:lnTo>
                      <a:lnTo>
                        <a:pt x="943" y="785"/>
                      </a:lnTo>
                      <a:lnTo>
                        <a:pt x="942" y="785"/>
                      </a:lnTo>
                      <a:lnTo>
                        <a:pt x="942" y="786"/>
                      </a:lnTo>
                      <a:lnTo>
                        <a:pt x="942" y="787"/>
                      </a:lnTo>
                      <a:lnTo>
                        <a:pt x="942" y="789"/>
                      </a:lnTo>
                      <a:lnTo>
                        <a:pt x="941" y="789"/>
                      </a:lnTo>
                      <a:lnTo>
                        <a:pt x="940" y="790"/>
                      </a:lnTo>
                      <a:lnTo>
                        <a:pt x="939" y="790"/>
                      </a:lnTo>
                      <a:lnTo>
                        <a:pt x="937" y="789"/>
                      </a:lnTo>
                      <a:lnTo>
                        <a:pt x="936" y="789"/>
                      </a:lnTo>
                      <a:lnTo>
                        <a:pt x="935" y="790"/>
                      </a:lnTo>
                      <a:lnTo>
                        <a:pt x="934" y="791"/>
                      </a:lnTo>
                      <a:lnTo>
                        <a:pt x="939" y="815"/>
                      </a:lnTo>
                      <a:close/>
                    </a:path>
                  </a:pathLst>
                </a:custGeom>
                <a:grpFill/>
                <a:ln w="19050">
                  <a:solidFill>
                    <a:srgbClr val="FFC000"/>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47" name="Freeform 544">
                  <a:extLst>
                    <a:ext uri="{FF2B5EF4-FFF2-40B4-BE49-F238E27FC236}">
                      <a16:creationId xmlns:a16="http://schemas.microsoft.com/office/drawing/2014/main" id="{21A4A409-B990-5A33-0C54-0282882FF293}"/>
                    </a:ext>
                  </a:extLst>
                </p:cNvPr>
                <p:cNvSpPr>
                  <a:spLocks noEditPoints="1"/>
                </p:cNvSpPr>
                <p:nvPr/>
              </p:nvSpPr>
              <p:spPr bwMode="auto">
                <a:xfrm>
                  <a:off x="3630613" y="3762375"/>
                  <a:ext cx="2592388" cy="2009775"/>
                </a:xfrm>
                <a:custGeom>
                  <a:avLst/>
                  <a:gdLst>
                    <a:gd name="T0" fmla="*/ 815 w 1633"/>
                    <a:gd name="T1" fmla="*/ 494 h 1266"/>
                    <a:gd name="T2" fmla="*/ 1096 w 1633"/>
                    <a:gd name="T3" fmla="*/ 423 h 1266"/>
                    <a:gd name="T4" fmla="*/ 1166 w 1633"/>
                    <a:gd name="T5" fmla="*/ 559 h 1266"/>
                    <a:gd name="T6" fmla="*/ 1310 w 1633"/>
                    <a:gd name="T7" fmla="*/ 597 h 1266"/>
                    <a:gd name="T8" fmla="*/ 1201 w 1633"/>
                    <a:gd name="T9" fmla="*/ 634 h 1266"/>
                    <a:gd name="T10" fmla="*/ 1202 w 1633"/>
                    <a:gd name="T11" fmla="*/ 659 h 1266"/>
                    <a:gd name="T12" fmla="*/ 1180 w 1633"/>
                    <a:gd name="T13" fmla="*/ 738 h 1266"/>
                    <a:gd name="T14" fmla="*/ 1093 w 1633"/>
                    <a:gd name="T15" fmla="*/ 823 h 1266"/>
                    <a:gd name="T16" fmla="*/ 1200 w 1633"/>
                    <a:gd name="T17" fmla="*/ 944 h 1266"/>
                    <a:gd name="T18" fmla="*/ 1355 w 1633"/>
                    <a:gd name="T19" fmla="*/ 971 h 1266"/>
                    <a:gd name="T20" fmla="*/ 1392 w 1633"/>
                    <a:gd name="T21" fmla="*/ 992 h 1266"/>
                    <a:gd name="T22" fmla="*/ 1308 w 1633"/>
                    <a:gd name="T23" fmla="*/ 1056 h 1266"/>
                    <a:gd name="T24" fmla="*/ 1059 w 1633"/>
                    <a:gd name="T25" fmla="*/ 927 h 1266"/>
                    <a:gd name="T26" fmla="*/ 862 w 1633"/>
                    <a:gd name="T27" fmla="*/ 839 h 1266"/>
                    <a:gd name="T28" fmla="*/ 885 w 1633"/>
                    <a:gd name="T29" fmla="*/ 966 h 1266"/>
                    <a:gd name="T30" fmla="*/ 849 w 1633"/>
                    <a:gd name="T31" fmla="*/ 1063 h 1266"/>
                    <a:gd name="T32" fmla="*/ 712 w 1633"/>
                    <a:gd name="T33" fmla="*/ 1019 h 1266"/>
                    <a:gd name="T34" fmla="*/ 492 w 1633"/>
                    <a:gd name="T35" fmla="*/ 1057 h 1266"/>
                    <a:gd name="T36" fmla="*/ 190 w 1633"/>
                    <a:gd name="T37" fmla="*/ 1057 h 1266"/>
                    <a:gd name="T38" fmla="*/ 282 w 1633"/>
                    <a:gd name="T39" fmla="*/ 285 h 1266"/>
                    <a:gd name="T40" fmla="*/ 882 w 1633"/>
                    <a:gd name="T41" fmla="*/ 999 h 1266"/>
                    <a:gd name="T42" fmla="*/ 860 w 1633"/>
                    <a:gd name="T43" fmla="*/ 983 h 1266"/>
                    <a:gd name="T44" fmla="*/ 474 w 1633"/>
                    <a:gd name="T45" fmla="*/ 1178 h 1266"/>
                    <a:gd name="T46" fmla="*/ 222 w 1633"/>
                    <a:gd name="T47" fmla="*/ 1011 h 1266"/>
                    <a:gd name="T48" fmla="*/ 803 w 1633"/>
                    <a:gd name="T49" fmla="*/ 820 h 1266"/>
                    <a:gd name="T50" fmla="*/ 954 w 1633"/>
                    <a:gd name="T51" fmla="*/ 1013 h 1266"/>
                    <a:gd name="T52" fmla="*/ 904 w 1633"/>
                    <a:gd name="T53" fmla="*/ 943 h 1266"/>
                    <a:gd name="T54" fmla="*/ 1109 w 1633"/>
                    <a:gd name="T55" fmla="*/ 232 h 1266"/>
                    <a:gd name="T56" fmla="*/ 758 w 1633"/>
                    <a:gd name="T57" fmla="*/ 78 h 1266"/>
                    <a:gd name="T58" fmla="*/ 1387 w 1633"/>
                    <a:gd name="T59" fmla="*/ 1067 h 1266"/>
                    <a:gd name="T60" fmla="*/ 1388 w 1633"/>
                    <a:gd name="T61" fmla="*/ 473 h 1266"/>
                    <a:gd name="T62" fmla="*/ 1275 w 1633"/>
                    <a:gd name="T63" fmla="*/ 479 h 1266"/>
                    <a:gd name="T64" fmla="*/ 1323 w 1633"/>
                    <a:gd name="T65" fmla="*/ 626 h 1266"/>
                    <a:gd name="T66" fmla="*/ 1351 w 1633"/>
                    <a:gd name="T67" fmla="*/ 482 h 1266"/>
                    <a:gd name="T68" fmla="*/ 1381 w 1633"/>
                    <a:gd name="T69" fmla="*/ 425 h 1266"/>
                    <a:gd name="T70" fmla="*/ 1598 w 1633"/>
                    <a:gd name="T71" fmla="*/ 597 h 1266"/>
                    <a:gd name="T72" fmla="*/ 1606 w 1633"/>
                    <a:gd name="T73" fmla="*/ 607 h 1266"/>
                    <a:gd name="T74" fmla="*/ 1622 w 1633"/>
                    <a:gd name="T75" fmla="*/ 629 h 1266"/>
                    <a:gd name="T76" fmla="*/ 1340 w 1633"/>
                    <a:gd name="T77" fmla="*/ 1162 h 1266"/>
                    <a:gd name="T78" fmla="*/ 1447 w 1633"/>
                    <a:gd name="T79" fmla="*/ 1109 h 1266"/>
                    <a:gd name="T80" fmla="*/ 1160 w 1633"/>
                    <a:gd name="T81" fmla="*/ 834 h 1266"/>
                    <a:gd name="T82" fmla="*/ 1429 w 1633"/>
                    <a:gd name="T83" fmla="*/ 1054 h 1266"/>
                    <a:gd name="T84" fmla="*/ 989 w 1633"/>
                    <a:gd name="T85" fmla="*/ 897 h 1266"/>
                    <a:gd name="T86" fmla="*/ 1288 w 1633"/>
                    <a:gd name="T87" fmla="*/ 1098 h 1266"/>
                    <a:gd name="T88" fmla="*/ 1112 w 1633"/>
                    <a:gd name="T89" fmla="*/ 810 h 1266"/>
                    <a:gd name="T90" fmla="*/ 1076 w 1633"/>
                    <a:gd name="T91" fmla="*/ 999 h 1266"/>
                    <a:gd name="T92" fmla="*/ 1013 w 1633"/>
                    <a:gd name="T93" fmla="*/ 984 h 1266"/>
                    <a:gd name="T94" fmla="*/ 955 w 1633"/>
                    <a:gd name="T95" fmla="*/ 899 h 1266"/>
                    <a:gd name="T96" fmla="*/ 1337 w 1633"/>
                    <a:gd name="T97" fmla="*/ 1176 h 1266"/>
                    <a:gd name="T98" fmla="*/ 1098 w 1633"/>
                    <a:gd name="T99" fmla="*/ 982 h 1266"/>
                    <a:gd name="T100" fmla="*/ 1138 w 1633"/>
                    <a:gd name="T101" fmla="*/ 971 h 1266"/>
                    <a:gd name="T102" fmla="*/ 1156 w 1633"/>
                    <a:gd name="T103" fmla="*/ 980 h 1266"/>
                    <a:gd name="T104" fmla="*/ 1043 w 1633"/>
                    <a:gd name="T105" fmla="*/ 992 h 1266"/>
                    <a:gd name="T106" fmla="*/ 1282 w 1633"/>
                    <a:gd name="T107" fmla="*/ 954 h 1266"/>
                    <a:gd name="T108" fmla="*/ 1085 w 1633"/>
                    <a:gd name="T109" fmla="*/ 978 h 1266"/>
                    <a:gd name="T110" fmla="*/ 1083 w 1633"/>
                    <a:gd name="T111" fmla="*/ 956 h 1266"/>
                    <a:gd name="T112" fmla="*/ 1295 w 1633"/>
                    <a:gd name="T113" fmla="*/ 970 h 1266"/>
                    <a:gd name="T114" fmla="*/ 1273 w 1633"/>
                    <a:gd name="T115" fmla="*/ 948 h 1266"/>
                    <a:gd name="T116" fmla="*/ 1068 w 1633"/>
                    <a:gd name="T117" fmla="*/ 992 h 1266"/>
                    <a:gd name="T118" fmla="*/ 1412 w 1633"/>
                    <a:gd name="T119" fmla="*/ 1108 h 1266"/>
                    <a:gd name="T120" fmla="*/ 1271 w 1633"/>
                    <a:gd name="T121" fmla="*/ 950 h 1266"/>
                    <a:gd name="T122" fmla="*/ 1368 w 1633"/>
                    <a:gd name="T123" fmla="*/ 1020 h 1266"/>
                    <a:gd name="T124" fmla="*/ 1364 w 1633"/>
                    <a:gd name="T125" fmla="*/ 1012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3" h="1266">
                      <a:moveTo>
                        <a:pt x="211" y="281"/>
                      </a:moveTo>
                      <a:lnTo>
                        <a:pt x="208" y="281"/>
                      </a:lnTo>
                      <a:lnTo>
                        <a:pt x="175" y="281"/>
                      </a:lnTo>
                      <a:lnTo>
                        <a:pt x="163" y="281"/>
                      </a:lnTo>
                      <a:lnTo>
                        <a:pt x="162" y="281"/>
                      </a:lnTo>
                      <a:lnTo>
                        <a:pt x="160" y="281"/>
                      </a:lnTo>
                      <a:lnTo>
                        <a:pt x="158" y="281"/>
                      </a:lnTo>
                      <a:lnTo>
                        <a:pt x="156" y="281"/>
                      </a:lnTo>
                      <a:lnTo>
                        <a:pt x="155" y="281"/>
                      </a:lnTo>
                      <a:lnTo>
                        <a:pt x="150" y="282"/>
                      </a:lnTo>
                      <a:lnTo>
                        <a:pt x="148" y="282"/>
                      </a:lnTo>
                      <a:lnTo>
                        <a:pt x="143" y="282"/>
                      </a:lnTo>
                      <a:lnTo>
                        <a:pt x="136" y="282"/>
                      </a:lnTo>
                      <a:lnTo>
                        <a:pt x="134" y="282"/>
                      </a:lnTo>
                      <a:lnTo>
                        <a:pt x="130" y="282"/>
                      </a:lnTo>
                      <a:lnTo>
                        <a:pt x="106" y="282"/>
                      </a:lnTo>
                      <a:lnTo>
                        <a:pt x="102" y="267"/>
                      </a:lnTo>
                      <a:lnTo>
                        <a:pt x="99" y="264"/>
                      </a:lnTo>
                      <a:lnTo>
                        <a:pt x="91" y="260"/>
                      </a:lnTo>
                      <a:lnTo>
                        <a:pt x="80" y="244"/>
                      </a:lnTo>
                      <a:lnTo>
                        <a:pt x="76" y="238"/>
                      </a:lnTo>
                      <a:lnTo>
                        <a:pt x="69" y="236"/>
                      </a:lnTo>
                      <a:lnTo>
                        <a:pt x="56" y="230"/>
                      </a:lnTo>
                      <a:lnTo>
                        <a:pt x="56" y="220"/>
                      </a:lnTo>
                      <a:lnTo>
                        <a:pt x="48" y="208"/>
                      </a:lnTo>
                      <a:lnTo>
                        <a:pt x="47" y="207"/>
                      </a:lnTo>
                      <a:lnTo>
                        <a:pt x="45" y="204"/>
                      </a:lnTo>
                      <a:lnTo>
                        <a:pt x="45" y="205"/>
                      </a:lnTo>
                      <a:lnTo>
                        <a:pt x="21" y="174"/>
                      </a:lnTo>
                      <a:lnTo>
                        <a:pt x="20" y="173"/>
                      </a:lnTo>
                      <a:lnTo>
                        <a:pt x="16" y="177"/>
                      </a:lnTo>
                      <a:lnTo>
                        <a:pt x="13" y="173"/>
                      </a:lnTo>
                      <a:lnTo>
                        <a:pt x="0" y="158"/>
                      </a:lnTo>
                      <a:lnTo>
                        <a:pt x="2" y="158"/>
                      </a:lnTo>
                      <a:lnTo>
                        <a:pt x="2" y="156"/>
                      </a:lnTo>
                      <a:lnTo>
                        <a:pt x="2" y="152"/>
                      </a:lnTo>
                      <a:lnTo>
                        <a:pt x="2" y="150"/>
                      </a:lnTo>
                      <a:lnTo>
                        <a:pt x="2" y="148"/>
                      </a:lnTo>
                      <a:lnTo>
                        <a:pt x="6" y="148"/>
                      </a:lnTo>
                      <a:lnTo>
                        <a:pt x="9" y="148"/>
                      </a:lnTo>
                      <a:lnTo>
                        <a:pt x="12" y="148"/>
                      </a:lnTo>
                      <a:lnTo>
                        <a:pt x="16" y="147"/>
                      </a:lnTo>
                      <a:lnTo>
                        <a:pt x="25" y="147"/>
                      </a:lnTo>
                      <a:lnTo>
                        <a:pt x="27" y="147"/>
                      </a:lnTo>
                      <a:lnTo>
                        <a:pt x="44" y="147"/>
                      </a:lnTo>
                      <a:lnTo>
                        <a:pt x="44" y="145"/>
                      </a:lnTo>
                      <a:lnTo>
                        <a:pt x="44" y="143"/>
                      </a:lnTo>
                      <a:lnTo>
                        <a:pt x="44" y="138"/>
                      </a:lnTo>
                      <a:lnTo>
                        <a:pt x="44" y="134"/>
                      </a:lnTo>
                      <a:lnTo>
                        <a:pt x="44" y="131"/>
                      </a:lnTo>
                      <a:lnTo>
                        <a:pt x="44" y="130"/>
                      </a:lnTo>
                      <a:lnTo>
                        <a:pt x="44" y="127"/>
                      </a:lnTo>
                      <a:lnTo>
                        <a:pt x="48" y="127"/>
                      </a:lnTo>
                      <a:lnTo>
                        <a:pt x="48" y="126"/>
                      </a:lnTo>
                      <a:lnTo>
                        <a:pt x="48" y="125"/>
                      </a:lnTo>
                      <a:lnTo>
                        <a:pt x="48" y="123"/>
                      </a:lnTo>
                      <a:lnTo>
                        <a:pt x="48" y="122"/>
                      </a:lnTo>
                      <a:lnTo>
                        <a:pt x="49" y="121"/>
                      </a:lnTo>
                      <a:lnTo>
                        <a:pt x="49" y="120"/>
                      </a:lnTo>
                      <a:lnTo>
                        <a:pt x="49" y="119"/>
                      </a:lnTo>
                      <a:lnTo>
                        <a:pt x="49" y="118"/>
                      </a:lnTo>
                      <a:lnTo>
                        <a:pt x="49" y="117"/>
                      </a:lnTo>
                      <a:lnTo>
                        <a:pt x="50" y="116"/>
                      </a:lnTo>
                      <a:lnTo>
                        <a:pt x="50" y="115"/>
                      </a:lnTo>
                      <a:lnTo>
                        <a:pt x="51" y="115"/>
                      </a:lnTo>
                      <a:lnTo>
                        <a:pt x="51" y="114"/>
                      </a:lnTo>
                      <a:lnTo>
                        <a:pt x="51" y="113"/>
                      </a:lnTo>
                      <a:lnTo>
                        <a:pt x="52" y="112"/>
                      </a:lnTo>
                      <a:lnTo>
                        <a:pt x="52" y="110"/>
                      </a:lnTo>
                      <a:lnTo>
                        <a:pt x="52" y="108"/>
                      </a:lnTo>
                      <a:lnTo>
                        <a:pt x="53" y="108"/>
                      </a:lnTo>
                      <a:lnTo>
                        <a:pt x="53" y="107"/>
                      </a:lnTo>
                      <a:lnTo>
                        <a:pt x="54" y="106"/>
                      </a:lnTo>
                      <a:lnTo>
                        <a:pt x="54" y="107"/>
                      </a:lnTo>
                      <a:lnTo>
                        <a:pt x="60" y="106"/>
                      </a:lnTo>
                      <a:lnTo>
                        <a:pt x="61" y="107"/>
                      </a:lnTo>
                      <a:lnTo>
                        <a:pt x="74" y="106"/>
                      </a:lnTo>
                      <a:lnTo>
                        <a:pt x="74" y="95"/>
                      </a:lnTo>
                      <a:lnTo>
                        <a:pt x="74" y="93"/>
                      </a:lnTo>
                      <a:lnTo>
                        <a:pt x="78" y="89"/>
                      </a:lnTo>
                      <a:lnTo>
                        <a:pt x="80" y="86"/>
                      </a:lnTo>
                      <a:lnTo>
                        <a:pt x="84" y="82"/>
                      </a:lnTo>
                      <a:lnTo>
                        <a:pt x="88" y="78"/>
                      </a:lnTo>
                      <a:lnTo>
                        <a:pt x="90" y="76"/>
                      </a:lnTo>
                      <a:lnTo>
                        <a:pt x="92" y="74"/>
                      </a:lnTo>
                      <a:lnTo>
                        <a:pt x="102" y="62"/>
                      </a:lnTo>
                      <a:lnTo>
                        <a:pt x="102" y="61"/>
                      </a:lnTo>
                      <a:lnTo>
                        <a:pt x="103" y="58"/>
                      </a:lnTo>
                      <a:lnTo>
                        <a:pt x="108" y="51"/>
                      </a:lnTo>
                      <a:lnTo>
                        <a:pt x="109" y="49"/>
                      </a:lnTo>
                      <a:lnTo>
                        <a:pt x="97" y="46"/>
                      </a:lnTo>
                      <a:lnTo>
                        <a:pt x="96" y="46"/>
                      </a:lnTo>
                      <a:lnTo>
                        <a:pt x="93" y="46"/>
                      </a:lnTo>
                      <a:lnTo>
                        <a:pt x="93" y="45"/>
                      </a:lnTo>
                      <a:lnTo>
                        <a:pt x="96" y="43"/>
                      </a:lnTo>
                      <a:lnTo>
                        <a:pt x="98" y="44"/>
                      </a:lnTo>
                      <a:lnTo>
                        <a:pt x="100" y="44"/>
                      </a:lnTo>
                      <a:lnTo>
                        <a:pt x="109" y="46"/>
                      </a:lnTo>
                      <a:lnTo>
                        <a:pt x="111" y="46"/>
                      </a:lnTo>
                      <a:lnTo>
                        <a:pt x="113" y="48"/>
                      </a:lnTo>
                      <a:lnTo>
                        <a:pt x="114" y="48"/>
                      </a:lnTo>
                      <a:lnTo>
                        <a:pt x="114" y="49"/>
                      </a:lnTo>
                      <a:lnTo>
                        <a:pt x="115" y="49"/>
                      </a:lnTo>
                      <a:lnTo>
                        <a:pt x="115" y="50"/>
                      </a:lnTo>
                      <a:lnTo>
                        <a:pt x="116" y="49"/>
                      </a:lnTo>
                      <a:lnTo>
                        <a:pt x="116" y="48"/>
                      </a:lnTo>
                      <a:lnTo>
                        <a:pt x="117" y="48"/>
                      </a:lnTo>
                      <a:lnTo>
                        <a:pt x="118" y="45"/>
                      </a:lnTo>
                      <a:lnTo>
                        <a:pt x="118" y="44"/>
                      </a:lnTo>
                      <a:lnTo>
                        <a:pt x="118" y="43"/>
                      </a:lnTo>
                      <a:lnTo>
                        <a:pt x="118" y="40"/>
                      </a:lnTo>
                      <a:lnTo>
                        <a:pt x="119" y="39"/>
                      </a:lnTo>
                      <a:lnTo>
                        <a:pt x="121" y="37"/>
                      </a:lnTo>
                      <a:lnTo>
                        <a:pt x="121" y="29"/>
                      </a:lnTo>
                      <a:lnTo>
                        <a:pt x="132" y="27"/>
                      </a:lnTo>
                      <a:lnTo>
                        <a:pt x="134" y="24"/>
                      </a:lnTo>
                      <a:lnTo>
                        <a:pt x="134" y="22"/>
                      </a:lnTo>
                      <a:lnTo>
                        <a:pt x="134" y="20"/>
                      </a:lnTo>
                      <a:lnTo>
                        <a:pt x="134" y="19"/>
                      </a:lnTo>
                      <a:lnTo>
                        <a:pt x="135" y="18"/>
                      </a:lnTo>
                      <a:lnTo>
                        <a:pt x="134" y="17"/>
                      </a:lnTo>
                      <a:lnTo>
                        <a:pt x="135" y="16"/>
                      </a:lnTo>
                      <a:lnTo>
                        <a:pt x="136" y="15"/>
                      </a:lnTo>
                      <a:lnTo>
                        <a:pt x="136" y="14"/>
                      </a:lnTo>
                      <a:lnTo>
                        <a:pt x="137" y="14"/>
                      </a:lnTo>
                      <a:lnTo>
                        <a:pt x="138" y="13"/>
                      </a:lnTo>
                      <a:lnTo>
                        <a:pt x="140" y="12"/>
                      </a:lnTo>
                      <a:lnTo>
                        <a:pt x="141" y="11"/>
                      </a:lnTo>
                      <a:lnTo>
                        <a:pt x="142" y="10"/>
                      </a:lnTo>
                      <a:lnTo>
                        <a:pt x="144" y="10"/>
                      </a:lnTo>
                      <a:lnTo>
                        <a:pt x="150" y="10"/>
                      </a:lnTo>
                      <a:lnTo>
                        <a:pt x="165" y="9"/>
                      </a:lnTo>
                      <a:lnTo>
                        <a:pt x="167" y="9"/>
                      </a:lnTo>
                      <a:lnTo>
                        <a:pt x="185" y="9"/>
                      </a:lnTo>
                      <a:lnTo>
                        <a:pt x="194" y="7"/>
                      </a:lnTo>
                      <a:lnTo>
                        <a:pt x="195" y="7"/>
                      </a:lnTo>
                      <a:lnTo>
                        <a:pt x="204" y="7"/>
                      </a:lnTo>
                      <a:lnTo>
                        <a:pt x="205" y="7"/>
                      </a:lnTo>
                      <a:lnTo>
                        <a:pt x="206" y="7"/>
                      </a:lnTo>
                      <a:lnTo>
                        <a:pt x="209" y="7"/>
                      </a:lnTo>
                      <a:lnTo>
                        <a:pt x="213" y="7"/>
                      </a:lnTo>
                      <a:lnTo>
                        <a:pt x="226" y="6"/>
                      </a:lnTo>
                      <a:lnTo>
                        <a:pt x="235" y="6"/>
                      </a:lnTo>
                      <a:lnTo>
                        <a:pt x="238" y="6"/>
                      </a:lnTo>
                      <a:lnTo>
                        <a:pt x="240" y="5"/>
                      </a:lnTo>
                      <a:lnTo>
                        <a:pt x="243" y="5"/>
                      </a:lnTo>
                      <a:lnTo>
                        <a:pt x="250" y="5"/>
                      </a:lnTo>
                      <a:lnTo>
                        <a:pt x="265" y="4"/>
                      </a:lnTo>
                      <a:lnTo>
                        <a:pt x="272" y="4"/>
                      </a:lnTo>
                      <a:lnTo>
                        <a:pt x="281" y="4"/>
                      </a:lnTo>
                      <a:lnTo>
                        <a:pt x="282" y="4"/>
                      </a:lnTo>
                      <a:lnTo>
                        <a:pt x="283" y="4"/>
                      </a:lnTo>
                      <a:lnTo>
                        <a:pt x="297" y="3"/>
                      </a:lnTo>
                      <a:lnTo>
                        <a:pt x="309" y="3"/>
                      </a:lnTo>
                      <a:lnTo>
                        <a:pt x="317" y="2"/>
                      </a:lnTo>
                      <a:lnTo>
                        <a:pt x="322" y="2"/>
                      </a:lnTo>
                      <a:lnTo>
                        <a:pt x="328" y="2"/>
                      </a:lnTo>
                      <a:lnTo>
                        <a:pt x="332" y="2"/>
                      </a:lnTo>
                      <a:lnTo>
                        <a:pt x="337" y="2"/>
                      </a:lnTo>
                      <a:lnTo>
                        <a:pt x="342" y="2"/>
                      </a:lnTo>
                      <a:lnTo>
                        <a:pt x="345" y="1"/>
                      </a:lnTo>
                      <a:lnTo>
                        <a:pt x="348" y="1"/>
                      </a:lnTo>
                      <a:lnTo>
                        <a:pt x="358" y="1"/>
                      </a:lnTo>
                      <a:lnTo>
                        <a:pt x="366" y="1"/>
                      </a:lnTo>
                      <a:lnTo>
                        <a:pt x="374" y="1"/>
                      </a:lnTo>
                      <a:lnTo>
                        <a:pt x="390" y="0"/>
                      </a:lnTo>
                      <a:lnTo>
                        <a:pt x="390" y="1"/>
                      </a:lnTo>
                      <a:lnTo>
                        <a:pt x="390" y="2"/>
                      </a:lnTo>
                      <a:lnTo>
                        <a:pt x="392" y="2"/>
                      </a:lnTo>
                      <a:lnTo>
                        <a:pt x="392" y="3"/>
                      </a:lnTo>
                      <a:lnTo>
                        <a:pt x="390" y="3"/>
                      </a:lnTo>
                      <a:lnTo>
                        <a:pt x="390" y="4"/>
                      </a:lnTo>
                      <a:lnTo>
                        <a:pt x="392" y="4"/>
                      </a:lnTo>
                      <a:lnTo>
                        <a:pt x="393" y="4"/>
                      </a:lnTo>
                      <a:lnTo>
                        <a:pt x="393" y="5"/>
                      </a:lnTo>
                      <a:lnTo>
                        <a:pt x="393" y="6"/>
                      </a:lnTo>
                      <a:lnTo>
                        <a:pt x="392" y="6"/>
                      </a:lnTo>
                      <a:lnTo>
                        <a:pt x="393" y="7"/>
                      </a:lnTo>
                      <a:lnTo>
                        <a:pt x="393" y="9"/>
                      </a:lnTo>
                      <a:lnTo>
                        <a:pt x="392" y="9"/>
                      </a:lnTo>
                      <a:lnTo>
                        <a:pt x="390" y="10"/>
                      </a:lnTo>
                      <a:lnTo>
                        <a:pt x="390" y="11"/>
                      </a:lnTo>
                      <a:lnTo>
                        <a:pt x="390" y="10"/>
                      </a:lnTo>
                      <a:lnTo>
                        <a:pt x="389" y="10"/>
                      </a:lnTo>
                      <a:lnTo>
                        <a:pt x="388" y="10"/>
                      </a:lnTo>
                      <a:lnTo>
                        <a:pt x="388" y="11"/>
                      </a:lnTo>
                      <a:lnTo>
                        <a:pt x="388" y="12"/>
                      </a:lnTo>
                      <a:lnTo>
                        <a:pt x="387" y="12"/>
                      </a:lnTo>
                      <a:lnTo>
                        <a:pt x="387" y="13"/>
                      </a:lnTo>
                      <a:lnTo>
                        <a:pt x="388" y="13"/>
                      </a:lnTo>
                      <a:lnTo>
                        <a:pt x="389" y="13"/>
                      </a:lnTo>
                      <a:lnTo>
                        <a:pt x="388" y="13"/>
                      </a:lnTo>
                      <a:lnTo>
                        <a:pt x="388" y="14"/>
                      </a:lnTo>
                      <a:lnTo>
                        <a:pt x="388" y="15"/>
                      </a:lnTo>
                      <a:lnTo>
                        <a:pt x="387" y="15"/>
                      </a:lnTo>
                      <a:lnTo>
                        <a:pt x="387" y="16"/>
                      </a:lnTo>
                      <a:lnTo>
                        <a:pt x="387" y="17"/>
                      </a:lnTo>
                      <a:lnTo>
                        <a:pt x="386" y="16"/>
                      </a:lnTo>
                      <a:lnTo>
                        <a:pt x="385" y="17"/>
                      </a:lnTo>
                      <a:lnTo>
                        <a:pt x="385" y="16"/>
                      </a:lnTo>
                      <a:lnTo>
                        <a:pt x="384" y="16"/>
                      </a:lnTo>
                      <a:lnTo>
                        <a:pt x="383" y="16"/>
                      </a:lnTo>
                      <a:lnTo>
                        <a:pt x="383" y="17"/>
                      </a:lnTo>
                      <a:lnTo>
                        <a:pt x="384" y="18"/>
                      </a:lnTo>
                      <a:lnTo>
                        <a:pt x="383" y="19"/>
                      </a:lnTo>
                      <a:lnTo>
                        <a:pt x="382" y="19"/>
                      </a:lnTo>
                      <a:lnTo>
                        <a:pt x="381" y="18"/>
                      </a:lnTo>
                      <a:lnTo>
                        <a:pt x="380" y="18"/>
                      </a:lnTo>
                      <a:lnTo>
                        <a:pt x="379" y="18"/>
                      </a:lnTo>
                      <a:lnTo>
                        <a:pt x="379" y="19"/>
                      </a:lnTo>
                      <a:lnTo>
                        <a:pt x="377" y="19"/>
                      </a:lnTo>
                      <a:lnTo>
                        <a:pt x="377" y="18"/>
                      </a:lnTo>
                      <a:lnTo>
                        <a:pt x="376" y="18"/>
                      </a:lnTo>
                      <a:lnTo>
                        <a:pt x="376" y="19"/>
                      </a:lnTo>
                      <a:lnTo>
                        <a:pt x="377" y="20"/>
                      </a:lnTo>
                      <a:lnTo>
                        <a:pt x="377" y="22"/>
                      </a:lnTo>
                      <a:lnTo>
                        <a:pt x="376" y="23"/>
                      </a:lnTo>
                      <a:lnTo>
                        <a:pt x="374" y="23"/>
                      </a:lnTo>
                      <a:lnTo>
                        <a:pt x="373" y="23"/>
                      </a:lnTo>
                      <a:lnTo>
                        <a:pt x="373" y="24"/>
                      </a:lnTo>
                      <a:lnTo>
                        <a:pt x="373" y="25"/>
                      </a:lnTo>
                      <a:lnTo>
                        <a:pt x="372" y="26"/>
                      </a:lnTo>
                      <a:lnTo>
                        <a:pt x="372" y="27"/>
                      </a:lnTo>
                      <a:lnTo>
                        <a:pt x="373" y="27"/>
                      </a:lnTo>
                      <a:lnTo>
                        <a:pt x="373" y="28"/>
                      </a:lnTo>
                      <a:lnTo>
                        <a:pt x="372" y="28"/>
                      </a:lnTo>
                      <a:lnTo>
                        <a:pt x="371" y="28"/>
                      </a:lnTo>
                      <a:lnTo>
                        <a:pt x="371" y="29"/>
                      </a:lnTo>
                      <a:lnTo>
                        <a:pt x="370" y="29"/>
                      </a:lnTo>
                      <a:lnTo>
                        <a:pt x="369" y="29"/>
                      </a:lnTo>
                      <a:lnTo>
                        <a:pt x="368" y="30"/>
                      </a:lnTo>
                      <a:lnTo>
                        <a:pt x="368" y="31"/>
                      </a:lnTo>
                      <a:lnTo>
                        <a:pt x="367" y="32"/>
                      </a:lnTo>
                      <a:lnTo>
                        <a:pt x="366" y="32"/>
                      </a:lnTo>
                      <a:lnTo>
                        <a:pt x="364" y="32"/>
                      </a:lnTo>
                      <a:lnTo>
                        <a:pt x="364" y="33"/>
                      </a:lnTo>
                      <a:lnTo>
                        <a:pt x="366" y="33"/>
                      </a:lnTo>
                      <a:lnTo>
                        <a:pt x="366" y="35"/>
                      </a:lnTo>
                      <a:lnTo>
                        <a:pt x="363" y="33"/>
                      </a:lnTo>
                      <a:lnTo>
                        <a:pt x="363" y="35"/>
                      </a:lnTo>
                      <a:lnTo>
                        <a:pt x="362" y="35"/>
                      </a:lnTo>
                      <a:lnTo>
                        <a:pt x="362" y="36"/>
                      </a:lnTo>
                      <a:lnTo>
                        <a:pt x="361" y="36"/>
                      </a:lnTo>
                      <a:lnTo>
                        <a:pt x="361" y="37"/>
                      </a:lnTo>
                      <a:lnTo>
                        <a:pt x="362" y="37"/>
                      </a:lnTo>
                      <a:lnTo>
                        <a:pt x="362" y="38"/>
                      </a:lnTo>
                      <a:lnTo>
                        <a:pt x="362" y="39"/>
                      </a:lnTo>
                      <a:lnTo>
                        <a:pt x="361" y="39"/>
                      </a:lnTo>
                      <a:lnTo>
                        <a:pt x="359" y="38"/>
                      </a:lnTo>
                      <a:lnTo>
                        <a:pt x="358" y="38"/>
                      </a:lnTo>
                      <a:lnTo>
                        <a:pt x="358" y="39"/>
                      </a:lnTo>
                      <a:lnTo>
                        <a:pt x="359" y="40"/>
                      </a:lnTo>
                      <a:lnTo>
                        <a:pt x="359" y="41"/>
                      </a:lnTo>
                      <a:lnTo>
                        <a:pt x="358" y="42"/>
                      </a:lnTo>
                      <a:lnTo>
                        <a:pt x="357" y="42"/>
                      </a:lnTo>
                      <a:lnTo>
                        <a:pt x="357" y="43"/>
                      </a:lnTo>
                      <a:lnTo>
                        <a:pt x="358" y="43"/>
                      </a:lnTo>
                      <a:lnTo>
                        <a:pt x="358" y="42"/>
                      </a:lnTo>
                      <a:lnTo>
                        <a:pt x="359" y="43"/>
                      </a:lnTo>
                      <a:lnTo>
                        <a:pt x="359" y="44"/>
                      </a:lnTo>
                      <a:lnTo>
                        <a:pt x="358" y="44"/>
                      </a:lnTo>
                      <a:lnTo>
                        <a:pt x="358" y="45"/>
                      </a:lnTo>
                      <a:lnTo>
                        <a:pt x="357" y="45"/>
                      </a:lnTo>
                      <a:lnTo>
                        <a:pt x="356" y="45"/>
                      </a:lnTo>
                      <a:lnTo>
                        <a:pt x="355" y="45"/>
                      </a:lnTo>
                      <a:lnTo>
                        <a:pt x="355" y="44"/>
                      </a:lnTo>
                      <a:lnTo>
                        <a:pt x="354" y="44"/>
                      </a:lnTo>
                      <a:lnTo>
                        <a:pt x="354" y="45"/>
                      </a:lnTo>
                      <a:lnTo>
                        <a:pt x="353" y="46"/>
                      </a:lnTo>
                      <a:lnTo>
                        <a:pt x="353" y="48"/>
                      </a:lnTo>
                      <a:lnTo>
                        <a:pt x="351" y="48"/>
                      </a:lnTo>
                      <a:lnTo>
                        <a:pt x="351" y="49"/>
                      </a:lnTo>
                      <a:lnTo>
                        <a:pt x="353" y="49"/>
                      </a:lnTo>
                      <a:lnTo>
                        <a:pt x="353" y="50"/>
                      </a:lnTo>
                      <a:lnTo>
                        <a:pt x="355" y="50"/>
                      </a:lnTo>
                      <a:lnTo>
                        <a:pt x="356" y="50"/>
                      </a:lnTo>
                      <a:lnTo>
                        <a:pt x="357" y="50"/>
                      </a:lnTo>
                      <a:lnTo>
                        <a:pt x="374" y="50"/>
                      </a:lnTo>
                      <a:lnTo>
                        <a:pt x="388" y="50"/>
                      </a:lnTo>
                      <a:lnTo>
                        <a:pt x="389" y="50"/>
                      </a:lnTo>
                      <a:lnTo>
                        <a:pt x="390" y="50"/>
                      </a:lnTo>
                      <a:lnTo>
                        <a:pt x="395" y="50"/>
                      </a:lnTo>
                      <a:lnTo>
                        <a:pt x="398" y="50"/>
                      </a:lnTo>
                      <a:lnTo>
                        <a:pt x="433" y="49"/>
                      </a:lnTo>
                      <a:lnTo>
                        <a:pt x="447" y="49"/>
                      </a:lnTo>
                      <a:lnTo>
                        <a:pt x="451" y="49"/>
                      </a:lnTo>
                      <a:lnTo>
                        <a:pt x="459" y="49"/>
                      </a:lnTo>
                      <a:lnTo>
                        <a:pt x="511" y="49"/>
                      </a:lnTo>
                      <a:lnTo>
                        <a:pt x="522" y="49"/>
                      </a:lnTo>
                      <a:lnTo>
                        <a:pt x="527" y="49"/>
                      </a:lnTo>
                      <a:lnTo>
                        <a:pt x="529" y="49"/>
                      </a:lnTo>
                      <a:lnTo>
                        <a:pt x="534" y="49"/>
                      </a:lnTo>
                      <a:lnTo>
                        <a:pt x="541" y="49"/>
                      </a:lnTo>
                      <a:lnTo>
                        <a:pt x="550" y="49"/>
                      </a:lnTo>
                      <a:lnTo>
                        <a:pt x="552" y="49"/>
                      </a:lnTo>
                      <a:lnTo>
                        <a:pt x="563" y="49"/>
                      </a:lnTo>
                      <a:lnTo>
                        <a:pt x="563" y="67"/>
                      </a:lnTo>
                      <a:lnTo>
                        <a:pt x="563" y="76"/>
                      </a:lnTo>
                      <a:lnTo>
                        <a:pt x="563" y="93"/>
                      </a:lnTo>
                      <a:lnTo>
                        <a:pt x="563" y="95"/>
                      </a:lnTo>
                      <a:lnTo>
                        <a:pt x="563" y="101"/>
                      </a:lnTo>
                      <a:lnTo>
                        <a:pt x="563" y="109"/>
                      </a:lnTo>
                      <a:lnTo>
                        <a:pt x="563" y="117"/>
                      </a:lnTo>
                      <a:lnTo>
                        <a:pt x="563" y="127"/>
                      </a:lnTo>
                      <a:lnTo>
                        <a:pt x="563" y="133"/>
                      </a:lnTo>
                      <a:lnTo>
                        <a:pt x="563" y="134"/>
                      </a:lnTo>
                      <a:lnTo>
                        <a:pt x="563" y="138"/>
                      </a:lnTo>
                      <a:lnTo>
                        <a:pt x="563" y="139"/>
                      </a:lnTo>
                      <a:lnTo>
                        <a:pt x="563" y="147"/>
                      </a:lnTo>
                      <a:lnTo>
                        <a:pt x="563" y="153"/>
                      </a:lnTo>
                      <a:lnTo>
                        <a:pt x="563" y="156"/>
                      </a:lnTo>
                      <a:lnTo>
                        <a:pt x="563" y="160"/>
                      </a:lnTo>
                      <a:lnTo>
                        <a:pt x="563" y="165"/>
                      </a:lnTo>
                      <a:lnTo>
                        <a:pt x="564" y="165"/>
                      </a:lnTo>
                      <a:lnTo>
                        <a:pt x="565" y="166"/>
                      </a:lnTo>
                      <a:lnTo>
                        <a:pt x="565" y="167"/>
                      </a:lnTo>
                      <a:lnTo>
                        <a:pt x="566" y="167"/>
                      </a:lnTo>
                      <a:lnTo>
                        <a:pt x="567" y="167"/>
                      </a:lnTo>
                      <a:lnTo>
                        <a:pt x="568" y="167"/>
                      </a:lnTo>
                      <a:lnTo>
                        <a:pt x="569" y="167"/>
                      </a:lnTo>
                      <a:lnTo>
                        <a:pt x="569" y="168"/>
                      </a:lnTo>
                      <a:lnTo>
                        <a:pt x="568" y="169"/>
                      </a:lnTo>
                      <a:lnTo>
                        <a:pt x="568" y="170"/>
                      </a:lnTo>
                      <a:lnTo>
                        <a:pt x="568" y="171"/>
                      </a:lnTo>
                      <a:lnTo>
                        <a:pt x="568" y="172"/>
                      </a:lnTo>
                      <a:lnTo>
                        <a:pt x="569" y="172"/>
                      </a:lnTo>
                      <a:lnTo>
                        <a:pt x="570" y="172"/>
                      </a:lnTo>
                      <a:lnTo>
                        <a:pt x="570" y="173"/>
                      </a:lnTo>
                      <a:lnTo>
                        <a:pt x="571" y="173"/>
                      </a:lnTo>
                      <a:lnTo>
                        <a:pt x="571" y="174"/>
                      </a:lnTo>
                      <a:lnTo>
                        <a:pt x="570" y="176"/>
                      </a:lnTo>
                      <a:lnTo>
                        <a:pt x="571" y="176"/>
                      </a:lnTo>
                      <a:lnTo>
                        <a:pt x="571" y="177"/>
                      </a:lnTo>
                      <a:lnTo>
                        <a:pt x="573" y="178"/>
                      </a:lnTo>
                      <a:lnTo>
                        <a:pt x="574" y="179"/>
                      </a:lnTo>
                      <a:lnTo>
                        <a:pt x="573" y="179"/>
                      </a:lnTo>
                      <a:lnTo>
                        <a:pt x="573" y="180"/>
                      </a:lnTo>
                      <a:lnTo>
                        <a:pt x="573" y="181"/>
                      </a:lnTo>
                      <a:lnTo>
                        <a:pt x="573" y="182"/>
                      </a:lnTo>
                      <a:lnTo>
                        <a:pt x="571" y="182"/>
                      </a:lnTo>
                      <a:lnTo>
                        <a:pt x="571" y="183"/>
                      </a:lnTo>
                      <a:lnTo>
                        <a:pt x="571" y="184"/>
                      </a:lnTo>
                      <a:lnTo>
                        <a:pt x="571" y="185"/>
                      </a:lnTo>
                      <a:lnTo>
                        <a:pt x="573" y="186"/>
                      </a:lnTo>
                      <a:lnTo>
                        <a:pt x="571" y="186"/>
                      </a:lnTo>
                      <a:lnTo>
                        <a:pt x="573" y="186"/>
                      </a:lnTo>
                      <a:lnTo>
                        <a:pt x="573" y="187"/>
                      </a:lnTo>
                      <a:lnTo>
                        <a:pt x="573" y="189"/>
                      </a:lnTo>
                      <a:lnTo>
                        <a:pt x="574" y="189"/>
                      </a:lnTo>
                      <a:lnTo>
                        <a:pt x="574" y="190"/>
                      </a:lnTo>
                      <a:lnTo>
                        <a:pt x="574" y="191"/>
                      </a:lnTo>
                      <a:lnTo>
                        <a:pt x="575" y="192"/>
                      </a:lnTo>
                      <a:lnTo>
                        <a:pt x="576" y="192"/>
                      </a:lnTo>
                      <a:lnTo>
                        <a:pt x="576" y="193"/>
                      </a:lnTo>
                      <a:lnTo>
                        <a:pt x="575" y="194"/>
                      </a:lnTo>
                      <a:lnTo>
                        <a:pt x="575" y="195"/>
                      </a:lnTo>
                      <a:lnTo>
                        <a:pt x="574" y="195"/>
                      </a:lnTo>
                      <a:lnTo>
                        <a:pt x="573" y="196"/>
                      </a:lnTo>
                      <a:lnTo>
                        <a:pt x="573" y="197"/>
                      </a:lnTo>
                      <a:lnTo>
                        <a:pt x="574" y="197"/>
                      </a:lnTo>
                      <a:lnTo>
                        <a:pt x="574" y="198"/>
                      </a:lnTo>
                      <a:lnTo>
                        <a:pt x="575" y="198"/>
                      </a:lnTo>
                      <a:lnTo>
                        <a:pt x="575" y="199"/>
                      </a:lnTo>
                      <a:lnTo>
                        <a:pt x="576" y="199"/>
                      </a:lnTo>
                      <a:lnTo>
                        <a:pt x="576" y="200"/>
                      </a:lnTo>
                      <a:lnTo>
                        <a:pt x="576" y="202"/>
                      </a:lnTo>
                      <a:lnTo>
                        <a:pt x="576" y="203"/>
                      </a:lnTo>
                      <a:lnTo>
                        <a:pt x="576" y="204"/>
                      </a:lnTo>
                      <a:lnTo>
                        <a:pt x="575" y="204"/>
                      </a:lnTo>
                      <a:lnTo>
                        <a:pt x="575" y="205"/>
                      </a:lnTo>
                      <a:lnTo>
                        <a:pt x="576" y="205"/>
                      </a:lnTo>
                      <a:lnTo>
                        <a:pt x="576" y="206"/>
                      </a:lnTo>
                      <a:lnTo>
                        <a:pt x="577" y="206"/>
                      </a:lnTo>
                      <a:lnTo>
                        <a:pt x="578" y="206"/>
                      </a:lnTo>
                      <a:lnTo>
                        <a:pt x="578" y="207"/>
                      </a:lnTo>
                      <a:lnTo>
                        <a:pt x="579" y="208"/>
                      </a:lnTo>
                      <a:lnTo>
                        <a:pt x="580" y="208"/>
                      </a:lnTo>
                      <a:lnTo>
                        <a:pt x="581" y="208"/>
                      </a:lnTo>
                      <a:lnTo>
                        <a:pt x="581" y="209"/>
                      </a:lnTo>
                      <a:lnTo>
                        <a:pt x="582" y="210"/>
                      </a:lnTo>
                      <a:lnTo>
                        <a:pt x="582" y="211"/>
                      </a:lnTo>
                      <a:lnTo>
                        <a:pt x="582" y="212"/>
                      </a:lnTo>
                      <a:lnTo>
                        <a:pt x="583" y="212"/>
                      </a:lnTo>
                      <a:lnTo>
                        <a:pt x="583" y="211"/>
                      </a:lnTo>
                      <a:lnTo>
                        <a:pt x="583" y="212"/>
                      </a:lnTo>
                      <a:lnTo>
                        <a:pt x="583" y="213"/>
                      </a:lnTo>
                      <a:lnTo>
                        <a:pt x="585" y="213"/>
                      </a:lnTo>
                      <a:lnTo>
                        <a:pt x="586" y="213"/>
                      </a:lnTo>
                      <a:lnTo>
                        <a:pt x="587" y="213"/>
                      </a:lnTo>
                      <a:lnTo>
                        <a:pt x="588" y="213"/>
                      </a:lnTo>
                      <a:lnTo>
                        <a:pt x="589" y="213"/>
                      </a:lnTo>
                      <a:lnTo>
                        <a:pt x="589" y="215"/>
                      </a:lnTo>
                      <a:lnTo>
                        <a:pt x="590" y="215"/>
                      </a:lnTo>
                      <a:lnTo>
                        <a:pt x="590" y="216"/>
                      </a:lnTo>
                      <a:lnTo>
                        <a:pt x="589" y="216"/>
                      </a:lnTo>
                      <a:lnTo>
                        <a:pt x="590" y="216"/>
                      </a:lnTo>
                      <a:lnTo>
                        <a:pt x="590" y="217"/>
                      </a:lnTo>
                      <a:lnTo>
                        <a:pt x="591" y="217"/>
                      </a:lnTo>
                      <a:lnTo>
                        <a:pt x="591" y="216"/>
                      </a:lnTo>
                      <a:lnTo>
                        <a:pt x="592" y="216"/>
                      </a:lnTo>
                      <a:lnTo>
                        <a:pt x="592" y="217"/>
                      </a:lnTo>
                      <a:lnTo>
                        <a:pt x="592" y="218"/>
                      </a:lnTo>
                      <a:lnTo>
                        <a:pt x="592" y="219"/>
                      </a:lnTo>
                      <a:lnTo>
                        <a:pt x="591" y="219"/>
                      </a:lnTo>
                      <a:lnTo>
                        <a:pt x="591" y="218"/>
                      </a:lnTo>
                      <a:lnTo>
                        <a:pt x="590" y="219"/>
                      </a:lnTo>
                      <a:lnTo>
                        <a:pt x="591" y="219"/>
                      </a:lnTo>
                      <a:lnTo>
                        <a:pt x="591" y="220"/>
                      </a:lnTo>
                      <a:lnTo>
                        <a:pt x="592" y="220"/>
                      </a:lnTo>
                      <a:lnTo>
                        <a:pt x="593" y="220"/>
                      </a:lnTo>
                      <a:lnTo>
                        <a:pt x="594" y="221"/>
                      </a:lnTo>
                      <a:lnTo>
                        <a:pt x="594" y="222"/>
                      </a:lnTo>
                      <a:lnTo>
                        <a:pt x="595" y="222"/>
                      </a:lnTo>
                      <a:lnTo>
                        <a:pt x="595" y="223"/>
                      </a:lnTo>
                      <a:lnTo>
                        <a:pt x="594" y="223"/>
                      </a:lnTo>
                      <a:lnTo>
                        <a:pt x="594" y="224"/>
                      </a:lnTo>
                      <a:lnTo>
                        <a:pt x="595" y="224"/>
                      </a:lnTo>
                      <a:lnTo>
                        <a:pt x="595" y="225"/>
                      </a:lnTo>
                      <a:lnTo>
                        <a:pt x="595" y="228"/>
                      </a:lnTo>
                      <a:lnTo>
                        <a:pt x="596" y="229"/>
                      </a:lnTo>
                      <a:lnTo>
                        <a:pt x="596" y="230"/>
                      </a:lnTo>
                      <a:lnTo>
                        <a:pt x="598" y="230"/>
                      </a:lnTo>
                      <a:lnTo>
                        <a:pt x="598" y="231"/>
                      </a:lnTo>
                      <a:lnTo>
                        <a:pt x="596" y="231"/>
                      </a:lnTo>
                      <a:lnTo>
                        <a:pt x="595" y="231"/>
                      </a:lnTo>
                      <a:lnTo>
                        <a:pt x="594" y="232"/>
                      </a:lnTo>
                      <a:lnTo>
                        <a:pt x="594" y="233"/>
                      </a:lnTo>
                      <a:lnTo>
                        <a:pt x="598" y="235"/>
                      </a:lnTo>
                      <a:lnTo>
                        <a:pt x="599" y="235"/>
                      </a:lnTo>
                      <a:lnTo>
                        <a:pt x="600" y="235"/>
                      </a:lnTo>
                      <a:lnTo>
                        <a:pt x="601" y="235"/>
                      </a:lnTo>
                      <a:lnTo>
                        <a:pt x="601" y="234"/>
                      </a:lnTo>
                      <a:lnTo>
                        <a:pt x="602" y="235"/>
                      </a:lnTo>
                      <a:lnTo>
                        <a:pt x="603" y="238"/>
                      </a:lnTo>
                      <a:lnTo>
                        <a:pt x="603" y="240"/>
                      </a:lnTo>
                      <a:lnTo>
                        <a:pt x="603" y="242"/>
                      </a:lnTo>
                      <a:lnTo>
                        <a:pt x="604" y="244"/>
                      </a:lnTo>
                      <a:lnTo>
                        <a:pt x="604" y="245"/>
                      </a:lnTo>
                      <a:lnTo>
                        <a:pt x="603" y="246"/>
                      </a:lnTo>
                      <a:lnTo>
                        <a:pt x="602" y="247"/>
                      </a:lnTo>
                      <a:lnTo>
                        <a:pt x="601" y="248"/>
                      </a:lnTo>
                      <a:lnTo>
                        <a:pt x="601" y="249"/>
                      </a:lnTo>
                      <a:lnTo>
                        <a:pt x="602" y="249"/>
                      </a:lnTo>
                      <a:lnTo>
                        <a:pt x="602" y="250"/>
                      </a:lnTo>
                      <a:lnTo>
                        <a:pt x="602" y="251"/>
                      </a:lnTo>
                      <a:lnTo>
                        <a:pt x="602" y="253"/>
                      </a:lnTo>
                      <a:lnTo>
                        <a:pt x="602" y="254"/>
                      </a:lnTo>
                      <a:lnTo>
                        <a:pt x="603" y="254"/>
                      </a:lnTo>
                      <a:lnTo>
                        <a:pt x="607" y="251"/>
                      </a:lnTo>
                      <a:lnTo>
                        <a:pt x="607" y="250"/>
                      </a:lnTo>
                      <a:lnTo>
                        <a:pt x="608" y="250"/>
                      </a:lnTo>
                      <a:lnTo>
                        <a:pt x="611" y="253"/>
                      </a:lnTo>
                      <a:lnTo>
                        <a:pt x="611" y="254"/>
                      </a:lnTo>
                      <a:lnTo>
                        <a:pt x="611" y="256"/>
                      </a:lnTo>
                      <a:lnTo>
                        <a:pt x="609" y="257"/>
                      </a:lnTo>
                      <a:lnTo>
                        <a:pt x="609" y="258"/>
                      </a:lnTo>
                      <a:lnTo>
                        <a:pt x="611" y="258"/>
                      </a:lnTo>
                      <a:lnTo>
                        <a:pt x="612" y="258"/>
                      </a:lnTo>
                      <a:lnTo>
                        <a:pt x="614" y="257"/>
                      </a:lnTo>
                      <a:lnTo>
                        <a:pt x="615" y="257"/>
                      </a:lnTo>
                      <a:lnTo>
                        <a:pt x="616" y="257"/>
                      </a:lnTo>
                      <a:lnTo>
                        <a:pt x="617" y="257"/>
                      </a:lnTo>
                      <a:lnTo>
                        <a:pt x="617" y="258"/>
                      </a:lnTo>
                      <a:lnTo>
                        <a:pt x="618" y="259"/>
                      </a:lnTo>
                      <a:lnTo>
                        <a:pt x="618" y="260"/>
                      </a:lnTo>
                      <a:lnTo>
                        <a:pt x="618" y="261"/>
                      </a:lnTo>
                      <a:lnTo>
                        <a:pt x="619" y="262"/>
                      </a:lnTo>
                      <a:lnTo>
                        <a:pt x="619" y="263"/>
                      </a:lnTo>
                      <a:lnTo>
                        <a:pt x="620" y="264"/>
                      </a:lnTo>
                      <a:lnTo>
                        <a:pt x="620" y="266"/>
                      </a:lnTo>
                      <a:lnTo>
                        <a:pt x="620" y="267"/>
                      </a:lnTo>
                      <a:lnTo>
                        <a:pt x="619" y="268"/>
                      </a:lnTo>
                      <a:lnTo>
                        <a:pt x="619" y="269"/>
                      </a:lnTo>
                      <a:lnTo>
                        <a:pt x="619" y="270"/>
                      </a:lnTo>
                      <a:lnTo>
                        <a:pt x="619" y="271"/>
                      </a:lnTo>
                      <a:lnTo>
                        <a:pt x="619" y="272"/>
                      </a:lnTo>
                      <a:lnTo>
                        <a:pt x="639" y="295"/>
                      </a:lnTo>
                      <a:lnTo>
                        <a:pt x="641" y="296"/>
                      </a:lnTo>
                      <a:lnTo>
                        <a:pt x="643" y="298"/>
                      </a:lnTo>
                      <a:lnTo>
                        <a:pt x="646" y="301"/>
                      </a:lnTo>
                      <a:lnTo>
                        <a:pt x="653" y="305"/>
                      </a:lnTo>
                      <a:lnTo>
                        <a:pt x="663" y="308"/>
                      </a:lnTo>
                      <a:lnTo>
                        <a:pt x="664" y="308"/>
                      </a:lnTo>
                      <a:lnTo>
                        <a:pt x="665" y="308"/>
                      </a:lnTo>
                      <a:lnTo>
                        <a:pt x="666" y="308"/>
                      </a:lnTo>
                      <a:lnTo>
                        <a:pt x="667" y="308"/>
                      </a:lnTo>
                      <a:lnTo>
                        <a:pt x="668" y="308"/>
                      </a:lnTo>
                      <a:lnTo>
                        <a:pt x="669" y="308"/>
                      </a:lnTo>
                      <a:lnTo>
                        <a:pt x="670" y="308"/>
                      </a:lnTo>
                      <a:lnTo>
                        <a:pt x="671" y="308"/>
                      </a:lnTo>
                      <a:lnTo>
                        <a:pt x="672" y="308"/>
                      </a:lnTo>
                      <a:lnTo>
                        <a:pt x="673" y="307"/>
                      </a:lnTo>
                      <a:lnTo>
                        <a:pt x="674" y="307"/>
                      </a:lnTo>
                      <a:lnTo>
                        <a:pt x="676" y="308"/>
                      </a:lnTo>
                      <a:lnTo>
                        <a:pt x="677" y="308"/>
                      </a:lnTo>
                      <a:lnTo>
                        <a:pt x="678" y="309"/>
                      </a:lnTo>
                      <a:lnTo>
                        <a:pt x="679" y="309"/>
                      </a:lnTo>
                      <a:lnTo>
                        <a:pt x="680" y="309"/>
                      </a:lnTo>
                      <a:lnTo>
                        <a:pt x="681" y="310"/>
                      </a:lnTo>
                      <a:lnTo>
                        <a:pt x="682" y="309"/>
                      </a:lnTo>
                      <a:lnTo>
                        <a:pt x="683" y="309"/>
                      </a:lnTo>
                      <a:lnTo>
                        <a:pt x="684" y="308"/>
                      </a:lnTo>
                      <a:lnTo>
                        <a:pt x="685" y="306"/>
                      </a:lnTo>
                      <a:lnTo>
                        <a:pt x="687" y="305"/>
                      </a:lnTo>
                      <a:lnTo>
                        <a:pt x="691" y="302"/>
                      </a:lnTo>
                      <a:lnTo>
                        <a:pt x="694" y="301"/>
                      </a:lnTo>
                      <a:lnTo>
                        <a:pt x="695" y="300"/>
                      </a:lnTo>
                      <a:lnTo>
                        <a:pt x="696" y="300"/>
                      </a:lnTo>
                      <a:lnTo>
                        <a:pt x="697" y="299"/>
                      </a:lnTo>
                      <a:lnTo>
                        <a:pt x="698" y="300"/>
                      </a:lnTo>
                      <a:lnTo>
                        <a:pt x="699" y="300"/>
                      </a:lnTo>
                      <a:lnTo>
                        <a:pt x="702" y="301"/>
                      </a:lnTo>
                      <a:lnTo>
                        <a:pt x="704" y="301"/>
                      </a:lnTo>
                      <a:lnTo>
                        <a:pt x="706" y="301"/>
                      </a:lnTo>
                      <a:lnTo>
                        <a:pt x="709" y="300"/>
                      </a:lnTo>
                      <a:lnTo>
                        <a:pt x="712" y="299"/>
                      </a:lnTo>
                      <a:lnTo>
                        <a:pt x="712" y="298"/>
                      </a:lnTo>
                      <a:lnTo>
                        <a:pt x="713" y="298"/>
                      </a:lnTo>
                      <a:lnTo>
                        <a:pt x="715" y="299"/>
                      </a:lnTo>
                      <a:lnTo>
                        <a:pt x="717" y="300"/>
                      </a:lnTo>
                      <a:lnTo>
                        <a:pt x="719" y="301"/>
                      </a:lnTo>
                      <a:lnTo>
                        <a:pt x="720" y="301"/>
                      </a:lnTo>
                      <a:lnTo>
                        <a:pt x="719" y="302"/>
                      </a:lnTo>
                      <a:lnTo>
                        <a:pt x="720" y="302"/>
                      </a:lnTo>
                      <a:lnTo>
                        <a:pt x="720" y="303"/>
                      </a:lnTo>
                      <a:lnTo>
                        <a:pt x="721" y="303"/>
                      </a:lnTo>
                      <a:lnTo>
                        <a:pt x="721" y="305"/>
                      </a:lnTo>
                      <a:lnTo>
                        <a:pt x="721" y="303"/>
                      </a:lnTo>
                      <a:lnTo>
                        <a:pt x="721" y="305"/>
                      </a:lnTo>
                      <a:lnTo>
                        <a:pt x="720" y="305"/>
                      </a:lnTo>
                      <a:lnTo>
                        <a:pt x="719" y="305"/>
                      </a:lnTo>
                      <a:lnTo>
                        <a:pt x="718" y="305"/>
                      </a:lnTo>
                      <a:lnTo>
                        <a:pt x="718" y="306"/>
                      </a:lnTo>
                      <a:lnTo>
                        <a:pt x="717" y="306"/>
                      </a:lnTo>
                      <a:lnTo>
                        <a:pt x="717" y="307"/>
                      </a:lnTo>
                      <a:lnTo>
                        <a:pt x="716" y="307"/>
                      </a:lnTo>
                      <a:lnTo>
                        <a:pt x="717" y="307"/>
                      </a:lnTo>
                      <a:lnTo>
                        <a:pt x="716" y="307"/>
                      </a:lnTo>
                      <a:lnTo>
                        <a:pt x="717" y="307"/>
                      </a:lnTo>
                      <a:lnTo>
                        <a:pt x="716" y="307"/>
                      </a:lnTo>
                      <a:lnTo>
                        <a:pt x="716" y="308"/>
                      </a:lnTo>
                      <a:lnTo>
                        <a:pt x="715" y="308"/>
                      </a:lnTo>
                      <a:lnTo>
                        <a:pt x="715" y="309"/>
                      </a:lnTo>
                      <a:lnTo>
                        <a:pt x="713" y="309"/>
                      </a:lnTo>
                      <a:lnTo>
                        <a:pt x="713" y="310"/>
                      </a:lnTo>
                      <a:lnTo>
                        <a:pt x="713" y="309"/>
                      </a:lnTo>
                      <a:lnTo>
                        <a:pt x="713" y="310"/>
                      </a:lnTo>
                      <a:lnTo>
                        <a:pt x="712" y="310"/>
                      </a:lnTo>
                      <a:lnTo>
                        <a:pt x="712" y="311"/>
                      </a:lnTo>
                      <a:lnTo>
                        <a:pt x="711" y="311"/>
                      </a:lnTo>
                      <a:lnTo>
                        <a:pt x="711" y="312"/>
                      </a:lnTo>
                      <a:lnTo>
                        <a:pt x="711" y="313"/>
                      </a:lnTo>
                      <a:lnTo>
                        <a:pt x="710" y="313"/>
                      </a:lnTo>
                      <a:lnTo>
                        <a:pt x="710" y="314"/>
                      </a:lnTo>
                      <a:lnTo>
                        <a:pt x="709" y="314"/>
                      </a:lnTo>
                      <a:lnTo>
                        <a:pt x="709" y="315"/>
                      </a:lnTo>
                      <a:lnTo>
                        <a:pt x="709" y="317"/>
                      </a:lnTo>
                      <a:lnTo>
                        <a:pt x="708" y="317"/>
                      </a:lnTo>
                      <a:lnTo>
                        <a:pt x="708" y="318"/>
                      </a:lnTo>
                      <a:lnTo>
                        <a:pt x="708" y="317"/>
                      </a:lnTo>
                      <a:lnTo>
                        <a:pt x="708" y="318"/>
                      </a:lnTo>
                      <a:lnTo>
                        <a:pt x="707" y="318"/>
                      </a:lnTo>
                      <a:lnTo>
                        <a:pt x="707" y="319"/>
                      </a:lnTo>
                      <a:lnTo>
                        <a:pt x="706" y="320"/>
                      </a:lnTo>
                      <a:lnTo>
                        <a:pt x="706" y="321"/>
                      </a:lnTo>
                      <a:lnTo>
                        <a:pt x="705" y="321"/>
                      </a:lnTo>
                      <a:lnTo>
                        <a:pt x="706" y="322"/>
                      </a:lnTo>
                      <a:lnTo>
                        <a:pt x="705" y="322"/>
                      </a:lnTo>
                      <a:lnTo>
                        <a:pt x="705" y="323"/>
                      </a:lnTo>
                      <a:lnTo>
                        <a:pt x="704" y="323"/>
                      </a:lnTo>
                      <a:lnTo>
                        <a:pt x="705" y="323"/>
                      </a:lnTo>
                      <a:lnTo>
                        <a:pt x="704" y="323"/>
                      </a:lnTo>
                      <a:lnTo>
                        <a:pt x="704" y="324"/>
                      </a:lnTo>
                      <a:lnTo>
                        <a:pt x="705" y="324"/>
                      </a:lnTo>
                      <a:lnTo>
                        <a:pt x="704" y="324"/>
                      </a:lnTo>
                      <a:lnTo>
                        <a:pt x="704" y="325"/>
                      </a:lnTo>
                      <a:lnTo>
                        <a:pt x="703" y="325"/>
                      </a:lnTo>
                      <a:lnTo>
                        <a:pt x="703" y="326"/>
                      </a:lnTo>
                      <a:lnTo>
                        <a:pt x="703" y="327"/>
                      </a:lnTo>
                      <a:lnTo>
                        <a:pt x="702" y="327"/>
                      </a:lnTo>
                      <a:lnTo>
                        <a:pt x="703" y="327"/>
                      </a:lnTo>
                      <a:lnTo>
                        <a:pt x="702" y="327"/>
                      </a:lnTo>
                      <a:lnTo>
                        <a:pt x="703" y="327"/>
                      </a:lnTo>
                      <a:lnTo>
                        <a:pt x="703" y="328"/>
                      </a:lnTo>
                      <a:lnTo>
                        <a:pt x="702" y="328"/>
                      </a:lnTo>
                      <a:lnTo>
                        <a:pt x="702" y="330"/>
                      </a:lnTo>
                      <a:lnTo>
                        <a:pt x="700" y="331"/>
                      </a:lnTo>
                      <a:lnTo>
                        <a:pt x="698" y="331"/>
                      </a:lnTo>
                      <a:lnTo>
                        <a:pt x="696" y="333"/>
                      </a:lnTo>
                      <a:lnTo>
                        <a:pt x="696" y="335"/>
                      </a:lnTo>
                      <a:lnTo>
                        <a:pt x="691" y="340"/>
                      </a:lnTo>
                      <a:lnTo>
                        <a:pt x="689" y="340"/>
                      </a:lnTo>
                      <a:lnTo>
                        <a:pt x="687" y="340"/>
                      </a:lnTo>
                      <a:lnTo>
                        <a:pt x="685" y="341"/>
                      </a:lnTo>
                      <a:lnTo>
                        <a:pt x="683" y="343"/>
                      </a:lnTo>
                      <a:lnTo>
                        <a:pt x="682" y="345"/>
                      </a:lnTo>
                      <a:lnTo>
                        <a:pt x="680" y="347"/>
                      </a:lnTo>
                      <a:lnTo>
                        <a:pt x="677" y="347"/>
                      </a:lnTo>
                      <a:lnTo>
                        <a:pt x="676" y="348"/>
                      </a:lnTo>
                      <a:lnTo>
                        <a:pt x="674" y="349"/>
                      </a:lnTo>
                      <a:lnTo>
                        <a:pt x="672" y="350"/>
                      </a:lnTo>
                      <a:lnTo>
                        <a:pt x="670" y="352"/>
                      </a:lnTo>
                      <a:lnTo>
                        <a:pt x="668" y="352"/>
                      </a:lnTo>
                      <a:lnTo>
                        <a:pt x="666" y="353"/>
                      </a:lnTo>
                      <a:lnTo>
                        <a:pt x="664" y="356"/>
                      </a:lnTo>
                      <a:lnTo>
                        <a:pt x="663" y="356"/>
                      </a:lnTo>
                      <a:lnTo>
                        <a:pt x="661" y="357"/>
                      </a:lnTo>
                      <a:lnTo>
                        <a:pt x="660" y="358"/>
                      </a:lnTo>
                      <a:lnTo>
                        <a:pt x="659" y="361"/>
                      </a:lnTo>
                      <a:lnTo>
                        <a:pt x="657" y="364"/>
                      </a:lnTo>
                      <a:lnTo>
                        <a:pt x="654" y="369"/>
                      </a:lnTo>
                      <a:lnTo>
                        <a:pt x="651" y="375"/>
                      </a:lnTo>
                      <a:lnTo>
                        <a:pt x="647" y="383"/>
                      </a:lnTo>
                      <a:lnTo>
                        <a:pt x="646" y="391"/>
                      </a:lnTo>
                      <a:lnTo>
                        <a:pt x="644" y="399"/>
                      </a:lnTo>
                      <a:lnTo>
                        <a:pt x="645" y="400"/>
                      </a:lnTo>
                      <a:lnTo>
                        <a:pt x="644" y="404"/>
                      </a:lnTo>
                      <a:lnTo>
                        <a:pt x="644" y="411"/>
                      </a:lnTo>
                      <a:lnTo>
                        <a:pt x="645" y="414"/>
                      </a:lnTo>
                      <a:lnTo>
                        <a:pt x="645" y="418"/>
                      </a:lnTo>
                      <a:lnTo>
                        <a:pt x="646" y="423"/>
                      </a:lnTo>
                      <a:lnTo>
                        <a:pt x="647" y="426"/>
                      </a:lnTo>
                      <a:lnTo>
                        <a:pt x="648" y="431"/>
                      </a:lnTo>
                      <a:lnTo>
                        <a:pt x="650" y="433"/>
                      </a:lnTo>
                      <a:lnTo>
                        <a:pt x="651" y="433"/>
                      </a:lnTo>
                      <a:lnTo>
                        <a:pt x="651" y="434"/>
                      </a:lnTo>
                      <a:lnTo>
                        <a:pt x="651" y="435"/>
                      </a:lnTo>
                      <a:lnTo>
                        <a:pt x="652" y="435"/>
                      </a:lnTo>
                      <a:lnTo>
                        <a:pt x="651" y="435"/>
                      </a:lnTo>
                      <a:lnTo>
                        <a:pt x="652" y="435"/>
                      </a:lnTo>
                      <a:lnTo>
                        <a:pt x="652" y="436"/>
                      </a:lnTo>
                      <a:lnTo>
                        <a:pt x="651" y="436"/>
                      </a:lnTo>
                      <a:lnTo>
                        <a:pt x="651" y="437"/>
                      </a:lnTo>
                      <a:lnTo>
                        <a:pt x="652" y="437"/>
                      </a:lnTo>
                      <a:lnTo>
                        <a:pt x="651" y="437"/>
                      </a:lnTo>
                      <a:lnTo>
                        <a:pt x="652" y="437"/>
                      </a:lnTo>
                      <a:lnTo>
                        <a:pt x="651" y="437"/>
                      </a:lnTo>
                      <a:lnTo>
                        <a:pt x="652" y="437"/>
                      </a:lnTo>
                      <a:lnTo>
                        <a:pt x="651" y="437"/>
                      </a:lnTo>
                      <a:lnTo>
                        <a:pt x="652" y="437"/>
                      </a:lnTo>
                      <a:lnTo>
                        <a:pt x="652" y="438"/>
                      </a:lnTo>
                      <a:lnTo>
                        <a:pt x="653" y="439"/>
                      </a:lnTo>
                      <a:lnTo>
                        <a:pt x="653" y="440"/>
                      </a:lnTo>
                      <a:lnTo>
                        <a:pt x="653" y="441"/>
                      </a:lnTo>
                      <a:lnTo>
                        <a:pt x="654" y="442"/>
                      </a:lnTo>
                      <a:lnTo>
                        <a:pt x="654" y="443"/>
                      </a:lnTo>
                      <a:lnTo>
                        <a:pt x="655" y="444"/>
                      </a:lnTo>
                      <a:lnTo>
                        <a:pt x="655" y="446"/>
                      </a:lnTo>
                      <a:lnTo>
                        <a:pt x="656" y="447"/>
                      </a:lnTo>
                      <a:lnTo>
                        <a:pt x="656" y="448"/>
                      </a:lnTo>
                      <a:lnTo>
                        <a:pt x="657" y="449"/>
                      </a:lnTo>
                      <a:lnTo>
                        <a:pt x="658" y="450"/>
                      </a:lnTo>
                      <a:lnTo>
                        <a:pt x="658" y="451"/>
                      </a:lnTo>
                      <a:lnTo>
                        <a:pt x="660" y="452"/>
                      </a:lnTo>
                      <a:lnTo>
                        <a:pt x="660" y="453"/>
                      </a:lnTo>
                      <a:lnTo>
                        <a:pt x="661" y="454"/>
                      </a:lnTo>
                      <a:lnTo>
                        <a:pt x="661" y="455"/>
                      </a:lnTo>
                      <a:lnTo>
                        <a:pt x="663" y="455"/>
                      </a:lnTo>
                      <a:lnTo>
                        <a:pt x="664" y="455"/>
                      </a:lnTo>
                      <a:lnTo>
                        <a:pt x="664" y="456"/>
                      </a:lnTo>
                      <a:lnTo>
                        <a:pt x="665" y="456"/>
                      </a:lnTo>
                      <a:lnTo>
                        <a:pt x="666" y="457"/>
                      </a:lnTo>
                      <a:lnTo>
                        <a:pt x="666" y="459"/>
                      </a:lnTo>
                      <a:lnTo>
                        <a:pt x="667" y="460"/>
                      </a:lnTo>
                      <a:lnTo>
                        <a:pt x="669" y="462"/>
                      </a:lnTo>
                      <a:lnTo>
                        <a:pt x="671" y="463"/>
                      </a:lnTo>
                      <a:lnTo>
                        <a:pt x="672" y="464"/>
                      </a:lnTo>
                      <a:lnTo>
                        <a:pt x="673" y="464"/>
                      </a:lnTo>
                      <a:lnTo>
                        <a:pt x="674" y="465"/>
                      </a:lnTo>
                      <a:lnTo>
                        <a:pt x="676" y="466"/>
                      </a:lnTo>
                      <a:lnTo>
                        <a:pt x="678" y="467"/>
                      </a:lnTo>
                      <a:lnTo>
                        <a:pt x="679" y="468"/>
                      </a:lnTo>
                      <a:lnTo>
                        <a:pt x="680" y="468"/>
                      </a:lnTo>
                      <a:lnTo>
                        <a:pt x="677" y="466"/>
                      </a:lnTo>
                      <a:lnTo>
                        <a:pt x="678" y="466"/>
                      </a:lnTo>
                      <a:lnTo>
                        <a:pt x="678" y="467"/>
                      </a:lnTo>
                      <a:lnTo>
                        <a:pt x="679" y="467"/>
                      </a:lnTo>
                      <a:lnTo>
                        <a:pt x="680" y="467"/>
                      </a:lnTo>
                      <a:lnTo>
                        <a:pt x="681" y="468"/>
                      </a:lnTo>
                      <a:lnTo>
                        <a:pt x="682" y="468"/>
                      </a:lnTo>
                      <a:lnTo>
                        <a:pt x="682" y="469"/>
                      </a:lnTo>
                      <a:lnTo>
                        <a:pt x="683" y="469"/>
                      </a:lnTo>
                      <a:lnTo>
                        <a:pt x="684" y="469"/>
                      </a:lnTo>
                      <a:lnTo>
                        <a:pt x="684" y="470"/>
                      </a:lnTo>
                      <a:lnTo>
                        <a:pt x="684" y="469"/>
                      </a:lnTo>
                      <a:lnTo>
                        <a:pt x="685" y="469"/>
                      </a:lnTo>
                      <a:lnTo>
                        <a:pt x="686" y="469"/>
                      </a:lnTo>
                      <a:lnTo>
                        <a:pt x="687" y="469"/>
                      </a:lnTo>
                      <a:lnTo>
                        <a:pt x="689" y="469"/>
                      </a:lnTo>
                      <a:lnTo>
                        <a:pt x="690" y="470"/>
                      </a:lnTo>
                      <a:lnTo>
                        <a:pt x="691" y="470"/>
                      </a:lnTo>
                      <a:lnTo>
                        <a:pt x="692" y="470"/>
                      </a:lnTo>
                      <a:lnTo>
                        <a:pt x="693" y="470"/>
                      </a:lnTo>
                      <a:lnTo>
                        <a:pt x="696" y="472"/>
                      </a:lnTo>
                      <a:lnTo>
                        <a:pt x="697" y="472"/>
                      </a:lnTo>
                      <a:lnTo>
                        <a:pt x="698" y="472"/>
                      </a:lnTo>
                      <a:lnTo>
                        <a:pt x="699" y="472"/>
                      </a:lnTo>
                      <a:lnTo>
                        <a:pt x="707" y="473"/>
                      </a:lnTo>
                      <a:lnTo>
                        <a:pt x="708" y="473"/>
                      </a:lnTo>
                      <a:lnTo>
                        <a:pt x="709" y="473"/>
                      </a:lnTo>
                      <a:lnTo>
                        <a:pt x="710" y="473"/>
                      </a:lnTo>
                      <a:lnTo>
                        <a:pt x="710" y="474"/>
                      </a:lnTo>
                      <a:lnTo>
                        <a:pt x="710" y="473"/>
                      </a:lnTo>
                      <a:lnTo>
                        <a:pt x="710" y="472"/>
                      </a:lnTo>
                      <a:lnTo>
                        <a:pt x="711" y="472"/>
                      </a:lnTo>
                      <a:lnTo>
                        <a:pt x="712" y="472"/>
                      </a:lnTo>
                      <a:lnTo>
                        <a:pt x="713" y="472"/>
                      </a:lnTo>
                      <a:lnTo>
                        <a:pt x="715" y="470"/>
                      </a:lnTo>
                      <a:lnTo>
                        <a:pt x="716" y="470"/>
                      </a:lnTo>
                      <a:lnTo>
                        <a:pt x="717" y="470"/>
                      </a:lnTo>
                      <a:lnTo>
                        <a:pt x="718" y="470"/>
                      </a:lnTo>
                      <a:lnTo>
                        <a:pt x="719" y="472"/>
                      </a:lnTo>
                      <a:lnTo>
                        <a:pt x="720" y="472"/>
                      </a:lnTo>
                      <a:lnTo>
                        <a:pt x="721" y="472"/>
                      </a:lnTo>
                      <a:lnTo>
                        <a:pt x="721" y="473"/>
                      </a:lnTo>
                      <a:lnTo>
                        <a:pt x="722" y="473"/>
                      </a:lnTo>
                      <a:lnTo>
                        <a:pt x="723" y="472"/>
                      </a:lnTo>
                      <a:lnTo>
                        <a:pt x="723" y="473"/>
                      </a:lnTo>
                      <a:lnTo>
                        <a:pt x="723" y="472"/>
                      </a:lnTo>
                      <a:lnTo>
                        <a:pt x="724" y="472"/>
                      </a:lnTo>
                      <a:lnTo>
                        <a:pt x="725" y="473"/>
                      </a:lnTo>
                      <a:lnTo>
                        <a:pt x="727" y="473"/>
                      </a:lnTo>
                      <a:lnTo>
                        <a:pt x="728" y="473"/>
                      </a:lnTo>
                      <a:lnTo>
                        <a:pt x="729" y="473"/>
                      </a:lnTo>
                      <a:lnTo>
                        <a:pt x="729" y="474"/>
                      </a:lnTo>
                      <a:lnTo>
                        <a:pt x="730" y="474"/>
                      </a:lnTo>
                      <a:lnTo>
                        <a:pt x="731" y="474"/>
                      </a:lnTo>
                      <a:lnTo>
                        <a:pt x="732" y="474"/>
                      </a:lnTo>
                      <a:lnTo>
                        <a:pt x="732" y="475"/>
                      </a:lnTo>
                      <a:lnTo>
                        <a:pt x="733" y="475"/>
                      </a:lnTo>
                      <a:lnTo>
                        <a:pt x="734" y="475"/>
                      </a:lnTo>
                      <a:lnTo>
                        <a:pt x="734" y="476"/>
                      </a:lnTo>
                      <a:lnTo>
                        <a:pt x="735" y="476"/>
                      </a:lnTo>
                      <a:lnTo>
                        <a:pt x="735" y="475"/>
                      </a:lnTo>
                      <a:lnTo>
                        <a:pt x="736" y="476"/>
                      </a:lnTo>
                      <a:lnTo>
                        <a:pt x="736" y="475"/>
                      </a:lnTo>
                      <a:lnTo>
                        <a:pt x="736" y="476"/>
                      </a:lnTo>
                      <a:lnTo>
                        <a:pt x="737" y="476"/>
                      </a:lnTo>
                      <a:lnTo>
                        <a:pt x="737" y="477"/>
                      </a:lnTo>
                      <a:lnTo>
                        <a:pt x="738" y="477"/>
                      </a:lnTo>
                      <a:lnTo>
                        <a:pt x="738" y="476"/>
                      </a:lnTo>
                      <a:lnTo>
                        <a:pt x="740" y="476"/>
                      </a:lnTo>
                      <a:lnTo>
                        <a:pt x="741" y="475"/>
                      </a:lnTo>
                      <a:lnTo>
                        <a:pt x="745" y="476"/>
                      </a:lnTo>
                      <a:lnTo>
                        <a:pt x="747" y="477"/>
                      </a:lnTo>
                      <a:lnTo>
                        <a:pt x="748" y="476"/>
                      </a:lnTo>
                      <a:lnTo>
                        <a:pt x="751" y="476"/>
                      </a:lnTo>
                      <a:lnTo>
                        <a:pt x="757" y="478"/>
                      </a:lnTo>
                      <a:lnTo>
                        <a:pt x="759" y="481"/>
                      </a:lnTo>
                      <a:lnTo>
                        <a:pt x="760" y="481"/>
                      </a:lnTo>
                      <a:lnTo>
                        <a:pt x="760" y="482"/>
                      </a:lnTo>
                      <a:lnTo>
                        <a:pt x="760" y="481"/>
                      </a:lnTo>
                      <a:lnTo>
                        <a:pt x="761" y="478"/>
                      </a:lnTo>
                      <a:lnTo>
                        <a:pt x="761" y="479"/>
                      </a:lnTo>
                      <a:lnTo>
                        <a:pt x="762" y="479"/>
                      </a:lnTo>
                      <a:lnTo>
                        <a:pt x="761" y="479"/>
                      </a:lnTo>
                      <a:lnTo>
                        <a:pt x="761" y="480"/>
                      </a:lnTo>
                      <a:lnTo>
                        <a:pt x="761" y="481"/>
                      </a:lnTo>
                      <a:lnTo>
                        <a:pt x="761" y="480"/>
                      </a:lnTo>
                      <a:lnTo>
                        <a:pt x="762" y="479"/>
                      </a:lnTo>
                      <a:lnTo>
                        <a:pt x="762" y="480"/>
                      </a:lnTo>
                      <a:lnTo>
                        <a:pt x="763" y="480"/>
                      </a:lnTo>
                      <a:lnTo>
                        <a:pt x="764" y="479"/>
                      </a:lnTo>
                      <a:lnTo>
                        <a:pt x="766" y="479"/>
                      </a:lnTo>
                      <a:lnTo>
                        <a:pt x="764" y="480"/>
                      </a:lnTo>
                      <a:lnTo>
                        <a:pt x="764" y="481"/>
                      </a:lnTo>
                      <a:lnTo>
                        <a:pt x="764" y="480"/>
                      </a:lnTo>
                      <a:lnTo>
                        <a:pt x="766" y="480"/>
                      </a:lnTo>
                      <a:lnTo>
                        <a:pt x="766" y="481"/>
                      </a:lnTo>
                      <a:lnTo>
                        <a:pt x="766" y="480"/>
                      </a:lnTo>
                      <a:lnTo>
                        <a:pt x="767" y="480"/>
                      </a:lnTo>
                      <a:lnTo>
                        <a:pt x="766" y="480"/>
                      </a:lnTo>
                      <a:lnTo>
                        <a:pt x="766" y="481"/>
                      </a:lnTo>
                      <a:lnTo>
                        <a:pt x="766" y="482"/>
                      </a:lnTo>
                      <a:lnTo>
                        <a:pt x="767" y="482"/>
                      </a:lnTo>
                      <a:lnTo>
                        <a:pt x="768" y="482"/>
                      </a:lnTo>
                      <a:lnTo>
                        <a:pt x="772" y="485"/>
                      </a:lnTo>
                      <a:lnTo>
                        <a:pt x="774" y="487"/>
                      </a:lnTo>
                      <a:lnTo>
                        <a:pt x="775" y="486"/>
                      </a:lnTo>
                      <a:lnTo>
                        <a:pt x="775" y="487"/>
                      </a:lnTo>
                      <a:lnTo>
                        <a:pt x="776" y="487"/>
                      </a:lnTo>
                      <a:lnTo>
                        <a:pt x="777" y="488"/>
                      </a:lnTo>
                      <a:lnTo>
                        <a:pt x="781" y="489"/>
                      </a:lnTo>
                      <a:lnTo>
                        <a:pt x="786" y="490"/>
                      </a:lnTo>
                      <a:lnTo>
                        <a:pt x="793" y="492"/>
                      </a:lnTo>
                      <a:lnTo>
                        <a:pt x="794" y="492"/>
                      </a:lnTo>
                      <a:lnTo>
                        <a:pt x="797" y="493"/>
                      </a:lnTo>
                      <a:lnTo>
                        <a:pt x="798" y="494"/>
                      </a:lnTo>
                      <a:lnTo>
                        <a:pt x="799" y="494"/>
                      </a:lnTo>
                      <a:lnTo>
                        <a:pt x="800" y="494"/>
                      </a:lnTo>
                      <a:lnTo>
                        <a:pt x="802" y="494"/>
                      </a:lnTo>
                      <a:lnTo>
                        <a:pt x="803" y="494"/>
                      </a:lnTo>
                      <a:lnTo>
                        <a:pt x="805" y="494"/>
                      </a:lnTo>
                      <a:lnTo>
                        <a:pt x="807" y="495"/>
                      </a:lnTo>
                      <a:lnTo>
                        <a:pt x="810" y="495"/>
                      </a:lnTo>
                      <a:lnTo>
                        <a:pt x="811" y="495"/>
                      </a:lnTo>
                      <a:lnTo>
                        <a:pt x="812" y="495"/>
                      </a:lnTo>
                      <a:lnTo>
                        <a:pt x="813" y="495"/>
                      </a:lnTo>
                      <a:lnTo>
                        <a:pt x="814" y="495"/>
                      </a:lnTo>
                      <a:lnTo>
                        <a:pt x="815" y="495"/>
                      </a:lnTo>
                      <a:lnTo>
                        <a:pt x="815" y="494"/>
                      </a:lnTo>
                      <a:lnTo>
                        <a:pt x="816" y="495"/>
                      </a:lnTo>
                      <a:lnTo>
                        <a:pt x="816" y="497"/>
                      </a:lnTo>
                      <a:lnTo>
                        <a:pt x="818" y="497"/>
                      </a:lnTo>
                      <a:lnTo>
                        <a:pt x="820" y="497"/>
                      </a:lnTo>
                      <a:lnTo>
                        <a:pt x="821" y="497"/>
                      </a:lnTo>
                      <a:lnTo>
                        <a:pt x="821" y="495"/>
                      </a:lnTo>
                      <a:lnTo>
                        <a:pt x="821" y="497"/>
                      </a:lnTo>
                      <a:lnTo>
                        <a:pt x="822" y="497"/>
                      </a:lnTo>
                      <a:lnTo>
                        <a:pt x="822" y="495"/>
                      </a:lnTo>
                      <a:lnTo>
                        <a:pt x="822" y="494"/>
                      </a:lnTo>
                      <a:lnTo>
                        <a:pt x="823" y="494"/>
                      </a:lnTo>
                      <a:lnTo>
                        <a:pt x="823" y="495"/>
                      </a:lnTo>
                      <a:lnTo>
                        <a:pt x="822" y="495"/>
                      </a:lnTo>
                      <a:lnTo>
                        <a:pt x="823" y="495"/>
                      </a:lnTo>
                      <a:lnTo>
                        <a:pt x="823" y="494"/>
                      </a:lnTo>
                      <a:lnTo>
                        <a:pt x="823" y="495"/>
                      </a:lnTo>
                      <a:lnTo>
                        <a:pt x="824" y="497"/>
                      </a:lnTo>
                      <a:lnTo>
                        <a:pt x="827" y="497"/>
                      </a:lnTo>
                      <a:lnTo>
                        <a:pt x="832" y="497"/>
                      </a:lnTo>
                      <a:lnTo>
                        <a:pt x="832" y="495"/>
                      </a:lnTo>
                      <a:lnTo>
                        <a:pt x="832" y="494"/>
                      </a:lnTo>
                      <a:lnTo>
                        <a:pt x="833" y="494"/>
                      </a:lnTo>
                      <a:lnTo>
                        <a:pt x="833" y="493"/>
                      </a:lnTo>
                      <a:lnTo>
                        <a:pt x="835" y="493"/>
                      </a:lnTo>
                      <a:lnTo>
                        <a:pt x="834" y="493"/>
                      </a:lnTo>
                      <a:lnTo>
                        <a:pt x="834" y="494"/>
                      </a:lnTo>
                      <a:lnTo>
                        <a:pt x="834" y="495"/>
                      </a:lnTo>
                      <a:lnTo>
                        <a:pt x="835" y="495"/>
                      </a:lnTo>
                      <a:lnTo>
                        <a:pt x="835" y="494"/>
                      </a:lnTo>
                      <a:lnTo>
                        <a:pt x="835" y="493"/>
                      </a:lnTo>
                      <a:lnTo>
                        <a:pt x="835" y="494"/>
                      </a:lnTo>
                      <a:lnTo>
                        <a:pt x="835" y="493"/>
                      </a:lnTo>
                      <a:lnTo>
                        <a:pt x="836" y="493"/>
                      </a:lnTo>
                      <a:lnTo>
                        <a:pt x="836" y="497"/>
                      </a:lnTo>
                      <a:lnTo>
                        <a:pt x="836" y="493"/>
                      </a:lnTo>
                      <a:lnTo>
                        <a:pt x="836" y="492"/>
                      </a:lnTo>
                      <a:lnTo>
                        <a:pt x="836" y="490"/>
                      </a:lnTo>
                      <a:lnTo>
                        <a:pt x="837" y="489"/>
                      </a:lnTo>
                      <a:lnTo>
                        <a:pt x="838" y="489"/>
                      </a:lnTo>
                      <a:lnTo>
                        <a:pt x="839" y="490"/>
                      </a:lnTo>
                      <a:lnTo>
                        <a:pt x="840" y="490"/>
                      </a:lnTo>
                      <a:lnTo>
                        <a:pt x="841" y="490"/>
                      </a:lnTo>
                      <a:lnTo>
                        <a:pt x="840" y="490"/>
                      </a:lnTo>
                      <a:lnTo>
                        <a:pt x="839" y="490"/>
                      </a:lnTo>
                      <a:lnTo>
                        <a:pt x="837" y="490"/>
                      </a:lnTo>
                      <a:lnTo>
                        <a:pt x="837" y="491"/>
                      </a:lnTo>
                      <a:lnTo>
                        <a:pt x="837" y="492"/>
                      </a:lnTo>
                      <a:lnTo>
                        <a:pt x="840" y="492"/>
                      </a:lnTo>
                      <a:lnTo>
                        <a:pt x="840" y="491"/>
                      </a:lnTo>
                      <a:lnTo>
                        <a:pt x="839" y="491"/>
                      </a:lnTo>
                      <a:lnTo>
                        <a:pt x="839" y="490"/>
                      </a:lnTo>
                      <a:lnTo>
                        <a:pt x="840" y="490"/>
                      </a:lnTo>
                      <a:lnTo>
                        <a:pt x="840" y="491"/>
                      </a:lnTo>
                      <a:lnTo>
                        <a:pt x="840" y="493"/>
                      </a:lnTo>
                      <a:lnTo>
                        <a:pt x="839" y="493"/>
                      </a:lnTo>
                      <a:lnTo>
                        <a:pt x="837" y="493"/>
                      </a:lnTo>
                      <a:lnTo>
                        <a:pt x="837" y="494"/>
                      </a:lnTo>
                      <a:lnTo>
                        <a:pt x="839" y="494"/>
                      </a:lnTo>
                      <a:lnTo>
                        <a:pt x="839" y="493"/>
                      </a:lnTo>
                      <a:lnTo>
                        <a:pt x="840" y="493"/>
                      </a:lnTo>
                      <a:lnTo>
                        <a:pt x="840" y="495"/>
                      </a:lnTo>
                      <a:lnTo>
                        <a:pt x="840" y="492"/>
                      </a:lnTo>
                      <a:lnTo>
                        <a:pt x="840" y="491"/>
                      </a:lnTo>
                      <a:lnTo>
                        <a:pt x="841" y="491"/>
                      </a:lnTo>
                      <a:lnTo>
                        <a:pt x="844" y="490"/>
                      </a:lnTo>
                      <a:lnTo>
                        <a:pt x="846" y="491"/>
                      </a:lnTo>
                      <a:lnTo>
                        <a:pt x="847" y="491"/>
                      </a:lnTo>
                      <a:lnTo>
                        <a:pt x="848" y="490"/>
                      </a:lnTo>
                      <a:lnTo>
                        <a:pt x="849" y="490"/>
                      </a:lnTo>
                      <a:lnTo>
                        <a:pt x="850" y="490"/>
                      </a:lnTo>
                      <a:lnTo>
                        <a:pt x="851" y="490"/>
                      </a:lnTo>
                      <a:lnTo>
                        <a:pt x="852" y="490"/>
                      </a:lnTo>
                      <a:lnTo>
                        <a:pt x="853" y="489"/>
                      </a:lnTo>
                      <a:lnTo>
                        <a:pt x="854" y="489"/>
                      </a:lnTo>
                      <a:lnTo>
                        <a:pt x="855" y="489"/>
                      </a:lnTo>
                      <a:lnTo>
                        <a:pt x="855" y="490"/>
                      </a:lnTo>
                      <a:lnTo>
                        <a:pt x="855" y="491"/>
                      </a:lnTo>
                      <a:lnTo>
                        <a:pt x="857" y="491"/>
                      </a:lnTo>
                      <a:lnTo>
                        <a:pt x="859" y="491"/>
                      </a:lnTo>
                      <a:lnTo>
                        <a:pt x="859" y="492"/>
                      </a:lnTo>
                      <a:lnTo>
                        <a:pt x="860" y="492"/>
                      </a:lnTo>
                      <a:lnTo>
                        <a:pt x="860" y="491"/>
                      </a:lnTo>
                      <a:lnTo>
                        <a:pt x="860" y="490"/>
                      </a:lnTo>
                      <a:lnTo>
                        <a:pt x="861" y="490"/>
                      </a:lnTo>
                      <a:lnTo>
                        <a:pt x="861" y="489"/>
                      </a:lnTo>
                      <a:lnTo>
                        <a:pt x="862" y="488"/>
                      </a:lnTo>
                      <a:lnTo>
                        <a:pt x="863" y="488"/>
                      </a:lnTo>
                      <a:lnTo>
                        <a:pt x="864" y="488"/>
                      </a:lnTo>
                      <a:lnTo>
                        <a:pt x="865" y="488"/>
                      </a:lnTo>
                      <a:lnTo>
                        <a:pt x="865" y="487"/>
                      </a:lnTo>
                      <a:lnTo>
                        <a:pt x="866" y="488"/>
                      </a:lnTo>
                      <a:lnTo>
                        <a:pt x="866" y="487"/>
                      </a:lnTo>
                      <a:lnTo>
                        <a:pt x="867" y="487"/>
                      </a:lnTo>
                      <a:lnTo>
                        <a:pt x="869" y="487"/>
                      </a:lnTo>
                      <a:lnTo>
                        <a:pt x="870" y="487"/>
                      </a:lnTo>
                      <a:lnTo>
                        <a:pt x="871" y="486"/>
                      </a:lnTo>
                      <a:lnTo>
                        <a:pt x="871" y="487"/>
                      </a:lnTo>
                      <a:lnTo>
                        <a:pt x="871" y="486"/>
                      </a:lnTo>
                      <a:lnTo>
                        <a:pt x="871" y="487"/>
                      </a:lnTo>
                      <a:lnTo>
                        <a:pt x="872" y="487"/>
                      </a:lnTo>
                      <a:lnTo>
                        <a:pt x="873" y="487"/>
                      </a:lnTo>
                      <a:lnTo>
                        <a:pt x="873" y="486"/>
                      </a:lnTo>
                      <a:lnTo>
                        <a:pt x="873" y="487"/>
                      </a:lnTo>
                      <a:lnTo>
                        <a:pt x="874" y="487"/>
                      </a:lnTo>
                      <a:lnTo>
                        <a:pt x="874" y="486"/>
                      </a:lnTo>
                      <a:lnTo>
                        <a:pt x="874" y="487"/>
                      </a:lnTo>
                      <a:lnTo>
                        <a:pt x="875" y="487"/>
                      </a:lnTo>
                      <a:lnTo>
                        <a:pt x="875" y="486"/>
                      </a:lnTo>
                      <a:lnTo>
                        <a:pt x="876" y="486"/>
                      </a:lnTo>
                      <a:lnTo>
                        <a:pt x="877" y="486"/>
                      </a:lnTo>
                      <a:lnTo>
                        <a:pt x="878" y="486"/>
                      </a:lnTo>
                      <a:lnTo>
                        <a:pt x="880" y="486"/>
                      </a:lnTo>
                      <a:lnTo>
                        <a:pt x="882" y="486"/>
                      </a:lnTo>
                      <a:lnTo>
                        <a:pt x="883" y="485"/>
                      </a:lnTo>
                      <a:lnTo>
                        <a:pt x="884" y="486"/>
                      </a:lnTo>
                      <a:lnTo>
                        <a:pt x="885" y="486"/>
                      </a:lnTo>
                      <a:lnTo>
                        <a:pt x="886" y="487"/>
                      </a:lnTo>
                      <a:lnTo>
                        <a:pt x="887" y="488"/>
                      </a:lnTo>
                      <a:lnTo>
                        <a:pt x="888" y="488"/>
                      </a:lnTo>
                      <a:lnTo>
                        <a:pt x="889" y="488"/>
                      </a:lnTo>
                      <a:lnTo>
                        <a:pt x="889" y="487"/>
                      </a:lnTo>
                      <a:lnTo>
                        <a:pt x="890" y="487"/>
                      </a:lnTo>
                      <a:lnTo>
                        <a:pt x="890" y="486"/>
                      </a:lnTo>
                      <a:lnTo>
                        <a:pt x="890" y="480"/>
                      </a:lnTo>
                      <a:lnTo>
                        <a:pt x="891" y="479"/>
                      </a:lnTo>
                      <a:lnTo>
                        <a:pt x="891" y="473"/>
                      </a:lnTo>
                      <a:lnTo>
                        <a:pt x="892" y="473"/>
                      </a:lnTo>
                      <a:lnTo>
                        <a:pt x="892" y="474"/>
                      </a:lnTo>
                      <a:lnTo>
                        <a:pt x="893" y="474"/>
                      </a:lnTo>
                      <a:lnTo>
                        <a:pt x="895" y="475"/>
                      </a:lnTo>
                      <a:lnTo>
                        <a:pt x="895" y="476"/>
                      </a:lnTo>
                      <a:lnTo>
                        <a:pt x="896" y="476"/>
                      </a:lnTo>
                      <a:lnTo>
                        <a:pt x="895" y="476"/>
                      </a:lnTo>
                      <a:lnTo>
                        <a:pt x="895" y="477"/>
                      </a:lnTo>
                      <a:lnTo>
                        <a:pt x="896" y="477"/>
                      </a:lnTo>
                      <a:lnTo>
                        <a:pt x="896" y="479"/>
                      </a:lnTo>
                      <a:lnTo>
                        <a:pt x="898" y="481"/>
                      </a:lnTo>
                      <a:lnTo>
                        <a:pt x="898" y="480"/>
                      </a:lnTo>
                      <a:lnTo>
                        <a:pt x="900" y="480"/>
                      </a:lnTo>
                      <a:lnTo>
                        <a:pt x="900" y="479"/>
                      </a:lnTo>
                      <a:lnTo>
                        <a:pt x="901" y="478"/>
                      </a:lnTo>
                      <a:lnTo>
                        <a:pt x="901" y="479"/>
                      </a:lnTo>
                      <a:lnTo>
                        <a:pt x="900" y="481"/>
                      </a:lnTo>
                      <a:lnTo>
                        <a:pt x="899" y="481"/>
                      </a:lnTo>
                      <a:lnTo>
                        <a:pt x="898" y="481"/>
                      </a:lnTo>
                      <a:lnTo>
                        <a:pt x="899" y="482"/>
                      </a:lnTo>
                      <a:lnTo>
                        <a:pt x="900" y="484"/>
                      </a:lnTo>
                      <a:lnTo>
                        <a:pt x="901" y="484"/>
                      </a:lnTo>
                      <a:lnTo>
                        <a:pt x="900" y="484"/>
                      </a:lnTo>
                      <a:lnTo>
                        <a:pt x="902" y="481"/>
                      </a:lnTo>
                      <a:lnTo>
                        <a:pt x="902" y="480"/>
                      </a:lnTo>
                      <a:lnTo>
                        <a:pt x="902" y="482"/>
                      </a:lnTo>
                      <a:lnTo>
                        <a:pt x="902" y="484"/>
                      </a:lnTo>
                      <a:lnTo>
                        <a:pt x="905" y="482"/>
                      </a:lnTo>
                      <a:lnTo>
                        <a:pt x="905" y="481"/>
                      </a:lnTo>
                      <a:lnTo>
                        <a:pt x="906" y="481"/>
                      </a:lnTo>
                      <a:lnTo>
                        <a:pt x="908" y="481"/>
                      </a:lnTo>
                      <a:lnTo>
                        <a:pt x="909" y="480"/>
                      </a:lnTo>
                      <a:lnTo>
                        <a:pt x="910" y="480"/>
                      </a:lnTo>
                      <a:lnTo>
                        <a:pt x="911" y="479"/>
                      </a:lnTo>
                      <a:lnTo>
                        <a:pt x="914" y="478"/>
                      </a:lnTo>
                      <a:lnTo>
                        <a:pt x="919" y="475"/>
                      </a:lnTo>
                      <a:lnTo>
                        <a:pt x="922" y="474"/>
                      </a:lnTo>
                      <a:lnTo>
                        <a:pt x="923" y="473"/>
                      </a:lnTo>
                      <a:lnTo>
                        <a:pt x="924" y="473"/>
                      </a:lnTo>
                      <a:lnTo>
                        <a:pt x="924" y="472"/>
                      </a:lnTo>
                      <a:lnTo>
                        <a:pt x="925" y="472"/>
                      </a:lnTo>
                      <a:lnTo>
                        <a:pt x="926" y="470"/>
                      </a:lnTo>
                      <a:lnTo>
                        <a:pt x="928" y="469"/>
                      </a:lnTo>
                      <a:lnTo>
                        <a:pt x="930" y="468"/>
                      </a:lnTo>
                      <a:lnTo>
                        <a:pt x="934" y="466"/>
                      </a:lnTo>
                      <a:lnTo>
                        <a:pt x="936" y="464"/>
                      </a:lnTo>
                      <a:lnTo>
                        <a:pt x="937" y="463"/>
                      </a:lnTo>
                      <a:lnTo>
                        <a:pt x="938" y="462"/>
                      </a:lnTo>
                      <a:lnTo>
                        <a:pt x="938" y="461"/>
                      </a:lnTo>
                      <a:lnTo>
                        <a:pt x="939" y="460"/>
                      </a:lnTo>
                      <a:lnTo>
                        <a:pt x="940" y="460"/>
                      </a:lnTo>
                      <a:lnTo>
                        <a:pt x="943" y="457"/>
                      </a:lnTo>
                      <a:lnTo>
                        <a:pt x="943" y="456"/>
                      </a:lnTo>
                      <a:lnTo>
                        <a:pt x="944" y="456"/>
                      </a:lnTo>
                      <a:lnTo>
                        <a:pt x="945" y="455"/>
                      </a:lnTo>
                      <a:lnTo>
                        <a:pt x="947" y="454"/>
                      </a:lnTo>
                      <a:lnTo>
                        <a:pt x="947" y="453"/>
                      </a:lnTo>
                      <a:lnTo>
                        <a:pt x="948" y="453"/>
                      </a:lnTo>
                      <a:lnTo>
                        <a:pt x="949" y="452"/>
                      </a:lnTo>
                      <a:lnTo>
                        <a:pt x="949" y="451"/>
                      </a:lnTo>
                      <a:lnTo>
                        <a:pt x="951" y="450"/>
                      </a:lnTo>
                      <a:lnTo>
                        <a:pt x="954" y="447"/>
                      </a:lnTo>
                      <a:lnTo>
                        <a:pt x="956" y="443"/>
                      </a:lnTo>
                      <a:lnTo>
                        <a:pt x="957" y="442"/>
                      </a:lnTo>
                      <a:lnTo>
                        <a:pt x="960" y="439"/>
                      </a:lnTo>
                      <a:lnTo>
                        <a:pt x="963" y="436"/>
                      </a:lnTo>
                      <a:lnTo>
                        <a:pt x="982" y="408"/>
                      </a:lnTo>
                      <a:lnTo>
                        <a:pt x="982" y="407"/>
                      </a:lnTo>
                      <a:lnTo>
                        <a:pt x="983" y="405"/>
                      </a:lnTo>
                      <a:lnTo>
                        <a:pt x="983" y="407"/>
                      </a:lnTo>
                      <a:lnTo>
                        <a:pt x="984" y="407"/>
                      </a:lnTo>
                      <a:lnTo>
                        <a:pt x="986" y="407"/>
                      </a:lnTo>
                      <a:lnTo>
                        <a:pt x="986" y="405"/>
                      </a:lnTo>
                      <a:lnTo>
                        <a:pt x="987" y="405"/>
                      </a:lnTo>
                      <a:lnTo>
                        <a:pt x="987" y="407"/>
                      </a:lnTo>
                      <a:lnTo>
                        <a:pt x="988" y="407"/>
                      </a:lnTo>
                      <a:lnTo>
                        <a:pt x="989" y="407"/>
                      </a:lnTo>
                      <a:lnTo>
                        <a:pt x="990" y="407"/>
                      </a:lnTo>
                      <a:lnTo>
                        <a:pt x="990" y="408"/>
                      </a:lnTo>
                      <a:lnTo>
                        <a:pt x="989" y="408"/>
                      </a:lnTo>
                      <a:lnTo>
                        <a:pt x="987" y="408"/>
                      </a:lnTo>
                      <a:lnTo>
                        <a:pt x="987" y="409"/>
                      </a:lnTo>
                      <a:lnTo>
                        <a:pt x="986" y="409"/>
                      </a:lnTo>
                      <a:lnTo>
                        <a:pt x="986" y="410"/>
                      </a:lnTo>
                      <a:lnTo>
                        <a:pt x="986" y="411"/>
                      </a:lnTo>
                      <a:lnTo>
                        <a:pt x="987" y="412"/>
                      </a:lnTo>
                      <a:lnTo>
                        <a:pt x="988" y="412"/>
                      </a:lnTo>
                      <a:lnTo>
                        <a:pt x="988" y="413"/>
                      </a:lnTo>
                      <a:lnTo>
                        <a:pt x="987" y="413"/>
                      </a:lnTo>
                      <a:lnTo>
                        <a:pt x="987" y="414"/>
                      </a:lnTo>
                      <a:lnTo>
                        <a:pt x="988" y="413"/>
                      </a:lnTo>
                      <a:lnTo>
                        <a:pt x="989" y="413"/>
                      </a:lnTo>
                      <a:lnTo>
                        <a:pt x="989" y="414"/>
                      </a:lnTo>
                      <a:lnTo>
                        <a:pt x="989" y="415"/>
                      </a:lnTo>
                      <a:lnTo>
                        <a:pt x="990" y="417"/>
                      </a:lnTo>
                      <a:lnTo>
                        <a:pt x="991" y="417"/>
                      </a:lnTo>
                      <a:lnTo>
                        <a:pt x="991" y="416"/>
                      </a:lnTo>
                      <a:lnTo>
                        <a:pt x="991" y="415"/>
                      </a:lnTo>
                      <a:lnTo>
                        <a:pt x="990" y="414"/>
                      </a:lnTo>
                      <a:lnTo>
                        <a:pt x="989" y="414"/>
                      </a:lnTo>
                      <a:lnTo>
                        <a:pt x="989" y="413"/>
                      </a:lnTo>
                      <a:lnTo>
                        <a:pt x="989" y="412"/>
                      </a:lnTo>
                      <a:lnTo>
                        <a:pt x="989" y="411"/>
                      </a:lnTo>
                      <a:lnTo>
                        <a:pt x="990" y="411"/>
                      </a:lnTo>
                      <a:lnTo>
                        <a:pt x="990" y="410"/>
                      </a:lnTo>
                      <a:lnTo>
                        <a:pt x="991" y="410"/>
                      </a:lnTo>
                      <a:lnTo>
                        <a:pt x="992" y="409"/>
                      </a:lnTo>
                      <a:lnTo>
                        <a:pt x="991" y="409"/>
                      </a:lnTo>
                      <a:lnTo>
                        <a:pt x="991" y="408"/>
                      </a:lnTo>
                      <a:lnTo>
                        <a:pt x="991" y="407"/>
                      </a:lnTo>
                      <a:lnTo>
                        <a:pt x="992" y="407"/>
                      </a:lnTo>
                      <a:lnTo>
                        <a:pt x="992" y="405"/>
                      </a:lnTo>
                      <a:lnTo>
                        <a:pt x="992" y="404"/>
                      </a:lnTo>
                      <a:lnTo>
                        <a:pt x="992" y="405"/>
                      </a:lnTo>
                      <a:lnTo>
                        <a:pt x="991" y="405"/>
                      </a:lnTo>
                      <a:lnTo>
                        <a:pt x="991" y="404"/>
                      </a:lnTo>
                      <a:lnTo>
                        <a:pt x="992" y="404"/>
                      </a:lnTo>
                      <a:lnTo>
                        <a:pt x="993" y="403"/>
                      </a:lnTo>
                      <a:lnTo>
                        <a:pt x="993" y="402"/>
                      </a:lnTo>
                      <a:lnTo>
                        <a:pt x="994" y="402"/>
                      </a:lnTo>
                      <a:lnTo>
                        <a:pt x="995" y="402"/>
                      </a:lnTo>
                      <a:lnTo>
                        <a:pt x="996" y="402"/>
                      </a:lnTo>
                      <a:lnTo>
                        <a:pt x="996" y="401"/>
                      </a:lnTo>
                      <a:lnTo>
                        <a:pt x="997" y="401"/>
                      </a:lnTo>
                      <a:lnTo>
                        <a:pt x="999" y="400"/>
                      </a:lnTo>
                      <a:lnTo>
                        <a:pt x="999" y="401"/>
                      </a:lnTo>
                      <a:lnTo>
                        <a:pt x="999" y="402"/>
                      </a:lnTo>
                      <a:lnTo>
                        <a:pt x="999" y="403"/>
                      </a:lnTo>
                      <a:lnTo>
                        <a:pt x="999" y="404"/>
                      </a:lnTo>
                      <a:lnTo>
                        <a:pt x="999" y="405"/>
                      </a:lnTo>
                      <a:lnTo>
                        <a:pt x="997" y="405"/>
                      </a:lnTo>
                      <a:lnTo>
                        <a:pt x="997" y="407"/>
                      </a:lnTo>
                      <a:lnTo>
                        <a:pt x="997" y="408"/>
                      </a:lnTo>
                      <a:lnTo>
                        <a:pt x="997" y="407"/>
                      </a:lnTo>
                      <a:lnTo>
                        <a:pt x="997" y="408"/>
                      </a:lnTo>
                      <a:lnTo>
                        <a:pt x="997" y="409"/>
                      </a:lnTo>
                      <a:lnTo>
                        <a:pt x="997" y="410"/>
                      </a:lnTo>
                      <a:lnTo>
                        <a:pt x="996" y="410"/>
                      </a:lnTo>
                      <a:lnTo>
                        <a:pt x="996" y="409"/>
                      </a:lnTo>
                      <a:lnTo>
                        <a:pt x="995" y="409"/>
                      </a:lnTo>
                      <a:lnTo>
                        <a:pt x="994" y="410"/>
                      </a:lnTo>
                      <a:lnTo>
                        <a:pt x="995" y="410"/>
                      </a:lnTo>
                      <a:lnTo>
                        <a:pt x="995" y="411"/>
                      </a:lnTo>
                      <a:lnTo>
                        <a:pt x="995" y="412"/>
                      </a:lnTo>
                      <a:lnTo>
                        <a:pt x="995" y="413"/>
                      </a:lnTo>
                      <a:lnTo>
                        <a:pt x="995" y="414"/>
                      </a:lnTo>
                      <a:lnTo>
                        <a:pt x="995" y="415"/>
                      </a:lnTo>
                      <a:lnTo>
                        <a:pt x="995" y="416"/>
                      </a:lnTo>
                      <a:lnTo>
                        <a:pt x="996" y="417"/>
                      </a:lnTo>
                      <a:lnTo>
                        <a:pt x="996" y="418"/>
                      </a:lnTo>
                      <a:lnTo>
                        <a:pt x="997" y="420"/>
                      </a:lnTo>
                      <a:lnTo>
                        <a:pt x="997" y="421"/>
                      </a:lnTo>
                      <a:lnTo>
                        <a:pt x="999" y="421"/>
                      </a:lnTo>
                      <a:lnTo>
                        <a:pt x="999" y="422"/>
                      </a:lnTo>
                      <a:lnTo>
                        <a:pt x="999" y="423"/>
                      </a:lnTo>
                      <a:lnTo>
                        <a:pt x="999" y="424"/>
                      </a:lnTo>
                      <a:lnTo>
                        <a:pt x="1000" y="424"/>
                      </a:lnTo>
                      <a:lnTo>
                        <a:pt x="1000" y="425"/>
                      </a:lnTo>
                      <a:lnTo>
                        <a:pt x="1000" y="426"/>
                      </a:lnTo>
                      <a:lnTo>
                        <a:pt x="1001" y="426"/>
                      </a:lnTo>
                      <a:lnTo>
                        <a:pt x="1001" y="427"/>
                      </a:lnTo>
                      <a:lnTo>
                        <a:pt x="1001" y="426"/>
                      </a:lnTo>
                      <a:lnTo>
                        <a:pt x="1001" y="427"/>
                      </a:lnTo>
                      <a:lnTo>
                        <a:pt x="1000" y="427"/>
                      </a:lnTo>
                      <a:lnTo>
                        <a:pt x="1000" y="428"/>
                      </a:lnTo>
                      <a:lnTo>
                        <a:pt x="1001" y="428"/>
                      </a:lnTo>
                      <a:lnTo>
                        <a:pt x="1002" y="428"/>
                      </a:lnTo>
                      <a:lnTo>
                        <a:pt x="1002" y="429"/>
                      </a:lnTo>
                      <a:lnTo>
                        <a:pt x="1003" y="429"/>
                      </a:lnTo>
                      <a:lnTo>
                        <a:pt x="1003" y="430"/>
                      </a:lnTo>
                      <a:lnTo>
                        <a:pt x="1002" y="430"/>
                      </a:lnTo>
                      <a:lnTo>
                        <a:pt x="1003" y="430"/>
                      </a:lnTo>
                      <a:lnTo>
                        <a:pt x="1003" y="431"/>
                      </a:lnTo>
                      <a:lnTo>
                        <a:pt x="1003" y="433"/>
                      </a:lnTo>
                      <a:lnTo>
                        <a:pt x="1004" y="433"/>
                      </a:lnTo>
                      <a:lnTo>
                        <a:pt x="1004" y="434"/>
                      </a:lnTo>
                      <a:lnTo>
                        <a:pt x="1003" y="434"/>
                      </a:lnTo>
                      <a:lnTo>
                        <a:pt x="1003" y="433"/>
                      </a:lnTo>
                      <a:lnTo>
                        <a:pt x="1002" y="433"/>
                      </a:lnTo>
                      <a:lnTo>
                        <a:pt x="1002" y="434"/>
                      </a:lnTo>
                      <a:lnTo>
                        <a:pt x="1001" y="434"/>
                      </a:lnTo>
                      <a:lnTo>
                        <a:pt x="1001" y="435"/>
                      </a:lnTo>
                      <a:lnTo>
                        <a:pt x="1000" y="435"/>
                      </a:lnTo>
                      <a:lnTo>
                        <a:pt x="999" y="435"/>
                      </a:lnTo>
                      <a:lnTo>
                        <a:pt x="1000" y="435"/>
                      </a:lnTo>
                      <a:lnTo>
                        <a:pt x="1000" y="436"/>
                      </a:lnTo>
                      <a:lnTo>
                        <a:pt x="1001" y="437"/>
                      </a:lnTo>
                      <a:lnTo>
                        <a:pt x="1002" y="437"/>
                      </a:lnTo>
                      <a:lnTo>
                        <a:pt x="1003" y="437"/>
                      </a:lnTo>
                      <a:lnTo>
                        <a:pt x="1003" y="436"/>
                      </a:lnTo>
                      <a:lnTo>
                        <a:pt x="1004" y="436"/>
                      </a:lnTo>
                      <a:lnTo>
                        <a:pt x="1004" y="437"/>
                      </a:lnTo>
                      <a:lnTo>
                        <a:pt x="1003" y="438"/>
                      </a:lnTo>
                      <a:lnTo>
                        <a:pt x="1002" y="439"/>
                      </a:lnTo>
                      <a:lnTo>
                        <a:pt x="1003" y="439"/>
                      </a:lnTo>
                      <a:lnTo>
                        <a:pt x="1004" y="439"/>
                      </a:lnTo>
                      <a:lnTo>
                        <a:pt x="1005" y="439"/>
                      </a:lnTo>
                      <a:lnTo>
                        <a:pt x="1006" y="439"/>
                      </a:lnTo>
                      <a:lnTo>
                        <a:pt x="1006" y="438"/>
                      </a:lnTo>
                      <a:lnTo>
                        <a:pt x="1005" y="438"/>
                      </a:lnTo>
                      <a:lnTo>
                        <a:pt x="1004" y="439"/>
                      </a:lnTo>
                      <a:lnTo>
                        <a:pt x="1004" y="438"/>
                      </a:lnTo>
                      <a:lnTo>
                        <a:pt x="1003" y="438"/>
                      </a:lnTo>
                      <a:lnTo>
                        <a:pt x="1003" y="437"/>
                      </a:lnTo>
                      <a:lnTo>
                        <a:pt x="1004" y="437"/>
                      </a:lnTo>
                      <a:lnTo>
                        <a:pt x="1005" y="437"/>
                      </a:lnTo>
                      <a:lnTo>
                        <a:pt x="1006" y="437"/>
                      </a:lnTo>
                      <a:lnTo>
                        <a:pt x="1006" y="438"/>
                      </a:lnTo>
                      <a:lnTo>
                        <a:pt x="1007" y="438"/>
                      </a:lnTo>
                      <a:lnTo>
                        <a:pt x="1007" y="437"/>
                      </a:lnTo>
                      <a:lnTo>
                        <a:pt x="1008" y="438"/>
                      </a:lnTo>
                      <a:lnTo>
                        <a:pt x="1009" y="439"/>
                      </a:lnTo>
                      <a:lnTo>
                        <a:pt x="1008" y="439"/>
                      </a:lnTo>
                      <a:lnTo>
                        <a:pt x="1008" y="440"/>
                      </a:lnTo>
                      <a:lnTo>
                        <a:pt x="1008" y="441"/>
                      </a:lnTo>
                      <a:lnTo>
                        <a:pt x="1009" y="440"/>
                      </a:lnTo>
                      <a:lnTo>
                        <a:pt x="1009" y="441"/>
                      </a:lnTo>
                      <a:lnTo>
                        <a:pt x="1008" y="441"/>
                      </a:lnTo>
                      <a:lnTo>
                        <a:pt x="1009" y="441"/>
                      </a:lnTo>
                      <a:lnTo>
                        <a:pt x="1011" y="441"/>
                      </a:lnTo>
                      <a:lnTo>
                        <a:pt x="1011" y="440"/>
                      </a:lnTo>
                      <a:lnTo>
                        <a:pt x="1011" y="441"/>
                      </a:lnTo>
                      <a:lnTo>
                        <a:pt x="1012" y="442"/>
                      </a:lnTo>
                      <a:lnTo>
                        <a:pt x="1012" y="443"/>
                      </a:lnTo>
                      <a:lnTo>
                        <a:pt x="1011" y="443"/>
                      </a:lnTo>
                      <a:lnTo>
                        <a:pt x="1011" y="442"/>
                      </a:lnTo>
                      <a:lnTo>
                        <a:pt x="1011" y="443"/>
                      </a:lnTo>
                      <a:lnTo>
                        <a:pt x="1012" y="443"/>
                      </a:lnTo>
                      <a:lnTo>
                        <a:pt x="1012" y="442"/>
                      </a:lnTo>
                      <a:lnTo>
                        <a:pt x="1013" y="442"/>
                      </a:lnTo>
                      <a:lnTo>
                        <a:pt x="1014" y="442"/>
                      </a:lnTo>
                      <a:lnTo>
                        <a:pt x="1015" y="442"/>
                      </a:lnTo>
                      <a:lnTo>
                        <a:pt x="1015" y="443"/>
                      </a:lnTo>
                      <a:lnTo>
                        <a:pt x="1015" y="442"/>
                      </a:lnTo>
                      <a:lnTo>
                        <a:pt x="1016" y="443"/>
                      </a:lnTo>
                      <a:lnTo>
                        <a:pt x="1016" y="442"/>
                      </a:lnTo>
                      <a:lnTo>
                        <a:pt x="1017" y="442"/>
                      </a:lnTo>
                      <a:lnTo>
                        <a:pt x="1017" y="443"/>
                      </a:lnTo>
                      <a:lnTo>
                        <a:pt x="1018" y="443"/>
                      </a:lnTo>
                      <a:lnTo>
                        <a:pt x="1019" y="442"/>
                      </a:lnTo>
                      <a:lnTo>
                        <a:pt x="1018" y="442"/>
                      </a:lnTo>
                      <a:lnTo>
                        <a:pt x="1019" y="442"/>
                      </a:lnTo>
                      <a:lnTo>
                        <a:pt x="1019" y="441"/>
                      </a:lnTo>
                      <a:lnTo>
                        <a:pt x="1019" y="440"/>
                      </a:lnTo>
                      <a:lnTo>
                        <a:pt x="1020" y="440"/>
                      </a:lnTo>
                      <a:lnTo>
                        <a:pt x="1020" y="441"/>
                      </a:lnTo>
                      <a:lnTo>
                        <a:pt x="1021" y="442"/>
                      </a:lnTo>
                      <a:lnTo>
                        <a:pt x="1022" y="443"/>
                      </a:lnTo>
                      <a:lnTo>
                        <a:pt x="1022" y="444"/>
                      </a:lnTo>
                      <a:lnTo>
                        <a:pt x="1025" y="444"/>
                      </a:lnTo>
                      <a:lnTo>
                        <a:pt x="1026" y="444"/>
                      </a:lnTo>
                      <a:lnTo>
                        <a:pt x="1028" y="444"/>
                      </a:lnTo>
                      <a:lnTo>
                        <a:pt x="1030" y="444"/>
                      </a:lnTo>
                      <a:lnTo>
                        <a:pt x="1033" y="444"/>
                      </a:lnTo>
                      <a:lnTo>
                        <a:pt x="1034" y="444"/>
                      </a:lnTo>
                      <a:lnTo>
                        <a:pt x="1033" y="446"/>
                      </a:lnTo>
                      <a:lnTo>
                        <a:pt x="1032" y="446"/>
                      </a:lnTo>
                      <a:lnTo>
                        <a:pt x="1031" y="447"/>
                      </a:lnTo>
                      <a:lnTo>
                        <a:pt x="1032" y="448"/>
                      </a:lnTo>
                      <a:lnTo>
                        <a:pt x="1032" y="449"/>
                      </a:lnTo>
                      <a:lnTo>
                        <a:pt x="1033" y="449"/>
                      </a:lnTo>
                      <a:lnTo>
                        <a:pt x="1034" y="449"/>
                      </a:lnTo>
                      <a:lnTo>
                        <a:pt x="1035" y="448"/>
                      </a:lnTo>
                      <a:lnTo>
                        <a:pt x="1035" y="447"/>
                      </a:lnTo>
                      <a:lnTo>
                        <a:pt x="1035" y="446"/>
                      </a:lnTo>
                      <a:lnTo>
                        <a:pt x="1035" y="444"/>
                      </a:lnTo>
                      <a:lnTo>
                        <a:pt x="1037" y="446"/>
                      </a:lnTo>
                      <a:lnTo>
                        <a:pt x="1039" y="446"/>
                      </a:lnTo>
                      <a:lnTo>
                        <a:pt x="1039" y="447"/>
                      </a:lnTo>
                      <a:lnTo>
                        <a:pt x="1038" y="448"/>
                      </a:lnTo>
                      <a:lnTo>
                        <a:pt x="1037" y="450"/>
                      </a:lnTo>
                      <a:lnTo>
                        <a:pt x="1035" y="452"/>
                      </a:lnTo>
                      <a:lnTo>
                        <a:pt x="1034" y="455"/>
                      </a:lnTo>
                      <a:lnTo>
                        <a:pt x="1033" y="456"/>
                      </a:lnTo>
                      <a:lnTo>
                        <a:pt x="1032" y="456"/>
                      </a:lnTo>
                      <a:lnTo>
                        <a:pt x="1031" y="457"/>
                      </a:lnTo>
                      <a:lnTo>
                        <a:pt x="1029" y="457"/>
                      </a:lnTo>
                      <a:lnTo>
                        <a:pt x="1028" y="457"/>
                      </a:lnTo>
                      <a:lnTo>
                        <a:pt x="1028" y="459"/>
                      </a:lnTo>
                      <a:lnTo>
                        <a:pt x="1027" y="460"/>
                      </a:lnTo>
                      <a:lnTo>
                        <a:pt x="1029" y="460"/>
                      </a:lnTo>
                      <a:lnTo>
                        <a:pt x="1030" y="460"/>
                      </a:lnTo>
                      <a:lnTo>
                        <a:pt x="1031" y="460"/>
                      </a:lnTo>
                      <a:lnTo>
                        <a:pt x="1032" y="459"/>
                      </a:lnTo>
                      <a:lnTo>
                        <a:pt x="1033" y="459"/>
                      </a:lnTo>
                      <a:lnTo>
                        <a:pt x="1034" y="457"/>
                      </a:lnTo>
                      <a:lnTo>
                        <a:pt x="1035" y="455"/>
                      </a:lnTo>
                      <a:lnTo>
                        <a:pt x="1037" y="454"/>
                      </a:lnTo>
                      <a:lnTo>
                        <a:pt x="1037" y="453"/>
                      </a:lnTo>
                      <a:lnTo>
                        <a:pt x="1038" y="451"/>
                      </a:lnTo>
                      <a:lnTo>
                        <a:pt x="1038" y="450"/>
                      </a:lnTo>
                      <a:lnTo>
                        <a:pt x="1040" y="449"/>
                      </a:lnTo>
                      <a:lnTo>
                        <a:pt x="1040" y="448"/>
                      </a:lnTo>
                      <a:lnTo>
                        <a:pt x="1040" y="447"/>
                      </a:lnTo>
                      <a:lnTo>
                        <a:pt x="1041" y="447"/>
                      </a:lnTo>
                      <a:lnTo>
                        <a:pt x="1040" y="446"/>
                      </a:lnTo>
                      <a:lnTo>
                        <a:pt x="1040" y="444"/>
                      </a:lnTo>
                      <a:lnTo>
                        <a:pt x="1038" y="442"/>
                      </a:lnTo>
                      <a:lnTo>
                        <a:pt x="1035" y="442"/>
                      </a:lnTo>
                      <a:lnTo>
                        <a:pt x="1034" y="442"/>
                      </a:lnTo>
                      <a:lnTo>
                        <a:pt x="1031" y="442"/>
                      </a:lnTo>
                      <a:lnTo>
                        <a:pt x="1028" y="441"/>
                      </a:lnTo>
                      <a:lnTo>
                        <a:pt x="1027" y="441"/>
                      </a:lnTo>
                      <a:lnTo>
                        <a:pt x="1025" y="441"/>
                      </a:lnTo>
                      <a:lnTo>
                        <a:pt x="1025" y="440"/>
                      </a:lnTo>
                      <a:lnTo>
                        <a:pt x="1027" y="440"/>
                      </a:lnTo>
                      <a:lnTo>
                        <a:pt x="1028" y="440"/>
                      </a:lnTo>
                      <a:lnTo>
                        <a:pt x="1029" y="440"/>
                      </a:lnTo>
                      <a:lnTo>
                        <a:pt x="1030" y="440"/>
                      </a:lnTo>
                      <a:lnTo>
                        <a:pt x="1030" y="439"/>
                      </a:lnTo>
                      <a:lnTo>
                        <a:pt x="1031" y="439"/>
                      </a:lnTo>
                      <a:lnTo>
                        <a:pt x="1032" y="439"/>
                      </a:lnTo>
                      <a:lnTo>
                        <a:pt x="1033" y="438"/>
                      </a:lnTo>
                      <a:lnTo>
                        <a:pt x="1034" y="438"/>
                      </a:lnTo>
                      <a:lnTo>
                        <a:pt x="1035" y="437"/>
                      </a:lnTo>
                      <a:lnTo>
                        <a:pt x="1037" y="437"/>
                      </a:lnTo>
                      <a:lnTo>
                        <a:pt x="1038" y="437"/>
                      </a:lnTo>
                      <a:lnTo>
                        <a:pt x="1038" y="436"/>
                      </a:lnTo>
                      <a:lnTo>
                        <a:pt x="1039" y="436"/>
                      </a:lnTo>
                      <a:lnTo>
                        <a:pt x="1038" y="436"/>
                      </a:lnTo>
                      <a:lnTo>
                        <a:pt x="1039" y="436"/>
                      </a:lnTo>
                      <a:lnTo>
                        <a:pt x="1039" y="435"/>
                      </a:lnTo>
                      <a:lnTo>
                        <a:pt x="1040" y="435"/>
                      </a:lnTo>
                      <a:lnTo>
                        <a:pt x="1040" y="434"/>
                      </a:lnTo>
                      <a:lnTo>
                        <a:pt x="1041" y="434"/>
                      </a:lnTo>
                      <a:lnTo>
                        <a:pt x="1040" y="434"/>
                      </a:lnTo>
                      <a:lnTo>
                        <a:pt x="1040" y="433"/>
                      </a:lnTo>
                      <a:lnTo>
                        <a:pt x="1040" y="431"/>
                      </a:lnTo>
                      <a:lnTo>
                        <a:pt x="1040" y="430"/>
                      </a:lnTo>
                      <a:lnTo>
                        <a:pt x="1041" y="430"/>
                      </a:lnTo>
                      <a:lnTo>
                        <a:pt x="1041" y="429"/>
                      </a:lnTo>
                      <a:lnTo>
                        <a:pt x="1042" y="429"/>
                      </a:lnTo>
                      <a:lnTo>
                        <a:pt x="1042" y="428"/>
                      </a:lnTo>
                      <a:lnTo>
                        <a:pt x="1043" y="428"/>
                      </a:lnTo>
                      <a:lnTo>
                        <a:pt x="1043" y="427"/>
                      </a:lnTo>
                      <a:lnTo>
                        <a:pt x="1043" y="428"/>
                      </a:lnTo>
                      <a:lnTo>
                        <a:pt x="1044" y="427"/>
                      </a:lnTo>
                      <a:lnTo>
                        <a:pt x="1044" y="426"/>
                      </a:lnTo>
                      <a:lnTo>
                        <a:pt x="1045" y="426"/>
                      </a:lnTo>
                      <a:lnTo>
                        <a:pt x="1045" y="425"/>
                      </a:lnTo>
                      <a:lnTo>
                        <a:pt x="1046" y="425"/>
                      </a:lnTo>
                      <a:lnTo>
                        <a:pt x="1046" y="424"/>
                      </a:lnTo>
                      <a:lnTo>
                        <a:pt x="1047" y="424"/>
                      </a:lnTo>
                      <a:lnTo>
                        <a:pt x="1048" y="423"/>
                      </a:lnTo>
                      <a:lnTo>
                        <a:pt x="1048" y="422"/>
                      </a:lnTo>
                      <a:lnTo>
                        <a:pt x="1050" y="422"/>
                      </a:lnTo>
                      <a:lnTo>
                        <a:pt x="1050" y="421"/>
                      </a:lnTo>
                      <a:lnTo>
                        <a:pt x="1051" y="421"/>
                      </a:lnTo>
                      <a:lnTo>
                        <a:pt x="1052" y="421"/>
                      </a:lnTo>
                      <a:lnTo>
                        <a:pt x="1052" y="420"/>
                      </a:lnTo>
                      <a:lnTo>
                        <a:pt x="1053" y="418"/>
                      </a:lnTo>
                      <a:lnTo>
                        <a:pt x="1053" y="420"/>
                      </a:lnTo>
                      <a:lnTo>
                        <a:pt x="1054" y="418"/>
                      </a:lnTo>
                      <a:lnTo>
                        <a:pt x="1054" y="417"/>
                      </a:lnTo>
                      <a:lnTo>
                        <a:pt x="1055" y="417"/>
                      </a:lnTo>
                      <a:lnTo>
                        <a:pt x="1055" y="416"/>
                      </a:lnTo>
                      <a:lnTo>
                        <a:pt x="1056" y="416"/>
                      </a:lnTo>
                      <a:lnTo>
                        <a:pt x="1055" y="416"/>
                      </a:lnTo>
                      <a:lnTo>
                        <a:pt x="1056" y="416"/>
                      </a:lnTo>
                      <a:lnTo>
                        <a:pt x="1056" y="415"/>
                      </a:lnTo>
                      <a:lnTo>
                        <a:pt x="1056" y="414"/>
                      </a:lnTo>
                      <a:lnTo>
                        <a:pt x="1057" y="414"/>
                      </a:lnTo>
                      <a:lnTo>
                        <a:pt x="1057" y="413"/>
                      </a:lnTo>
                      <a:lnTo>
                        <a:pt x="1058" y="413"/>
                      </a:lnTo>
                      <a:lnTo>
                        <a:pt x="1059" y="412"/>
                      </a:lnTo>
                      <a:lnTo>
                        <a:pt x="1059" y="411"/>
                      </a:lnTo>
                      <a:lnTo>
                        <a:pt x="1060" y="412"/>
                      </a:lnTo>
                      <a:lnTo>
                        <a:pt x="1059" y="411"/>
                      </a:lnTo>
                      <a:lnTo>
                        <a:pt x="1060" y="411"/>
                      </a:lnTo>
                      <a:lnTo>
                        <a:pt x="1061" y="411"/>
                      </a:lnTo>
                      <a:lnTo>
                        <a:pt x="1060" y="410"/>
                      </a:lnTo>
                      <a:lnTo>
                        <a:pt x="1061" y="410"/>
                      </a:lnTo>
                      <a:lnTo>
                        <a:pt x="1063" y="410"/>
                      </a:lnTo>
                      <a:lnTo>
                        <a:pt x="1063" y="409"/>
                      </a:lnTo>
                      <a:lnTo>
                        <a:pt x="1064" y="409"/>
                      </a:lnTo>
                      <a:lnTo>
                        <a:pt x="1064" y="408"/>
                      </a:lnTo>
                      <a:lnTo>
                        <a:pt x="1064" y="407"/>
                      </a:lnTo>
                      <a:lnTo>
                        <a:pt x="1064" y="408"/>
                      </a:lnTo>
                      <a:lnTo>
                        <a:pt x="1064" y="407"/>
                      </a:lnTo>
                      <a:lnTo>
                        <a:pt x="1064" y="405"/>
                      </a:lnTo>
                      <a:lnTo>
                        <a:pt x="1065" y="405"/>
                      </a:lnTo>
                      <a:lnTo>
                        <a:pt x="1065" y="404"/>
                      </a:lnTo>
                      <a:lnTo>
                        <a:pt x="1066" y="403"/>
                      </a:lnTo>
                      <a:lnTo>
                        <a:pt x="1066" y="402"/>
                      </a:lnTo>
                      <a:lnTo>
                        <a:pt x="1066" y="401"/>
                      </a:lnTo>
                      <a:lnTo>
                        <a:pt x="1067" y="401"/>
                      </a:lnTo>
                      <a:lnTo>
                        <a:pt x="1067" y="402"/>
                      </a:lnTo>
                      <a:lnTo>
                        <a:pt x="1067" y="401"/>
                      </a:lnTo>
                      <a:lnTo>
                        <a:pt x="1067" y="400"/>
                      </a:lnTo>
                      <a:lnTo>
                        <a:pt x="1067" y="399"/>
                      </a:lnTo>
                      <a:lnTo>
                        <a:pt x="1067" y="398"/>
                      </a:lnTo>
                      <a:lnTo>
                        <a:pt x="1067" y="397"/>
                      </a:lnTo>
                      <a:lnTo>
                        <a:pt x="1067" y="396"/>
                      </a:lnTo>
                      <a:lnTo>
                        <a:pt x="1066" y="396"/>
                      </a:lnTo>
                      <a:lnTo>
                        <a:pt x="1066" y="395"/>
                      </a:lnTo>
                      <a:lnTo>
                        <a:pt x="1065" y="395"/>
                      </a:lnTo>
                      <a:lnTo>
                        <a:pt x="1066" y="395"/>
                      </a:lnTo>
                      <a:lnTo>
                        <a:pt x="1066" y="393"/>
                      </a:lnTo>
                      <a:lnTo>
                        <a:pt x="1065" y="393"/>
                      </a:lnTo>
                      <a:lnTo>
                        <a:pt x="1066" y="393"/>
                      </a:lnTo>
                      <a:lnTo>
                        <a:pt x="1066" y="395"/>
                      </a:lnTo>
                      <a:lnTo>
                        <a:pt x="1066" y="393"/>
                      </a:lnTo>
                      <a:lnTo>
                        <a:pt x="1067" y="393"/>
                      </a:lnTo>
                      <a:lnTo>
                        <a:pt x="1068" y="393"/>
                      </a:lnTo>
                      <a:lnTo>
                        <a:pt x="1069" y="395"/>
                      </a:lnTo>
                      <a:lnTo>
                        <a:pt x="1068" y="395"/>
                      </a:lnTo>
                      <a:lnTo>
                        <a:pt x="1069" y="395"/>
                      </a:lnTo>
                      <a:lnTo>
                        <a:pt x="1069" y="393"/>
                      </a:lnTo>
                      <a:lnTo>
                        <a:pt x="1068" y="393"/>
                      </a:lnTo>
                      <a:lnTo>
                        <a:pt x="1068" y="392"/>
                      </a:lnTo>
                      <a:lnTo>
                        <a:pt x="1067" y="393"/>
                      </a:lnTo>
                      <a:lnTo>
                        <a:pt x="1066" y="393"/>
                      </a:lnTo>
                      <a:lnTo>
                        <a:pt x="1065" y="393"/>
                      </a:lnTo>
                      <a:lnTo>
                        <a:pt x="1066" y="393"/>
                      </a:lnTo>
                      <a:lnTo>
                        <a:pt x="1066" y="392"/>
                      </a:lnTo>
                      <a:lnTo>
                        <a:pt x="1066" y="391"/>
                      </a:lnTo>
                      <a:lnTo>
                        <a:pt x="1066" y="392"/>
                      </a:lnTo>
                      <a:lnTo>
                        <a:pt x="1066" y="391"/>
                      </a:lnTo>
                      <a:lnTo>
                        <a:pt x="1066" y="390"/>
                      </a:lnTo>
                      <a:lnTo>
                        <a:pt x="1066" y="389"/>
                      </a:lnTo>
                      <a:lnTo>
                        <a:pt x="1066" y="388"/>
                      </a:lnTo>
                      <a:lnTo>
                        <a:pt x="1066" y="387"/>
                      </a:lnTo>
                      <a:lnTo>
                        <a:pt x="1067" y="387"/>
                      </a:lnTo>
                      <a:lnTo>
                        <a:pt x="1068" y="387"/>
                      </a:lnTo>
                      <a:lnTo>
                        <a:pt x="1068" y="388"/>
                      </a:lnTo>
                      <a:lnTo>
                        <a:pt x="1068" y="389"/>
                      </a:lnTo>
                      <a:lnTo>
                        <a:pt x="1068" y="391"/>
                      </a:lnTo>
                      <a:lnTo>
                        <a:pt x="1069" y="393"/>
                      </a:lnTo>
                      <a:lnTo>
                        <a:pt x="1069" y="392"/>
                      </a:lnTo>
                      <a:lnTo>
                        <a:pt x="1070" y="391"/>
                      </a:lnTo>
                      <a:lnTo>
                        <a:pt x="1071" y="391"/>
                      </a:lnTo>
                      <a:lnTo>
                        <a:pt x="1071" y="392"/>
                      </a:lnTo>
                      <a:lnTo>
                        <a:pt x="1071" y="393"/>
                      </a:lnTo>
                      <a:lnTo>
                        <a:pt x="1071" y="392"/>
                      </a:lnTo>
                      <a:lnTo>
                        <a:pt x="1071" y="393"/>
                      </a:lnTo>
                      <a:lnTo>
                        <a:pt x="1070" y="393"/>
                      </a:lnTo>
                      <a:lnTo>
                        <a:pt x="1070" y="395"/>
                      </a:lnTo>
                      <a:lnTo>
                        <a:pt x="1069" y="395"/>
                      </a:lnTo>
                      <a:lnTo>
                        <a:pt x="1070" y="395"/>
                      </a:lnTo>
                      <a:lnTo>
                        <a:pt x="1070" y="396"/>
                      </a:lnTo>
                      <a:lnTo>
                        <a:pt x="1069" y="396"/>
                      </a:lnTo>
                      <a:lnTo>
                        <a:pt x="1070" y="396"/>
                      </a:lnTo>
                      <a:lnTo>
                        <a:pt x="1070" y="397"/>
                      </a:lnTo>
                      <a:lnTo>
                        <a:pt x="1069" y="396"/>
                      </a:lnTo>
                      <a:lnTo>
                        <a:pt x="1069" y="397"/>
                      </a:lnTo>
                      <a:lnTo>
                        <a:pt x="1070" y="397"/>
                      </a:lnTo>
                      <a:lnTo>
                        <a:pt x="1071" y="397"/>
                      </a:lnTo>
                      <a:lnTo>
                        <a:pt x="1071" y="398"/>
                      </a:lnTo>
                      <a:lnTo>
                        <a:pt x="1070" y="398"/>
                      </a:lnTo>
                      <a:lnTo>
                        <a:pt x="1071" y="398"/>
                      </a:lnTo>
                      <a:lnTo>
                        <a:pt x="1070" y="398"/>
                      </a:lnTo>
                      <a:lnTo>
                        <a:pt x="1071" y="398"/>
                      </a:lnTo>
                      <a:lnTo>
                        <a:pt x="1071" y="399"/>
                      </a:lnTo>
                      <a:lnTo>
                        <a:pt x="1070" y="399"/>
                      </a:lnTo>
                      <a:lnTo>
                        <a:pt x="1071" y="399"/>
                      </a:lnTo>
                      <a:lnTo>
                        <a:pt x="1071" y="400"/>
                      </a:lnTo>
                      <a:lnTo>
                        <a:pt x="1070" y="400"/>
                      </a:lnTo>
                      <a:lnTo>
                        <a:pt x="1071" y="400"/>
                      </a:lnTo>
                      <a:lnTo>
                        <a:pt x="1070" y="400"/>
                      </a:lnTo>
                      <a:lnTo>
                        <a:pt x="1071" y="400"/>
                      </a:lnTo>
                      <a:lnTo>
                        <a:pt x="1071" y="401"/>
                      </a:lnTo>
                      <a:lnTo>
                        <a:pt x="1071" y="402"/>
                      </a:lnTo>
                      <a:lnTo>
                        <a:pt x="1071" y="403"/>
                      </a:lnTo>
                      <a:lnTo>
                        <a:pt x="1070" y="404"/>
                      </a:lnTo>
                      <a:lnTo>
                        <a:pt x="1069" y="403"/>
                      </a:lnTo>
                      <a:lnTo>
                        <a:pt x="1069" y="404"/>
                      </a:lnTo>
                      <a:lnTo>
                        <a:pt x="1070" y="404"/>
                      </a:lnTo>
                      <a:lnTo>
                        <a:pt x="1069" y="404"/>
                      </a:lnTo>
                      <a:lnTo>
                        <a:pt x="1069" y="405"/>
                      </a:lnTo>
                      <a:lnTo>
                        <a:pt x="1069" y="404"/>
                      </a:lnTo>
                      <a:lnTo>
                        <a:pt x="1069" y="405"/>
                      </a:lnTo>
                      <a:lnTo>
                        <a:pt x="1068" y="405"/>
                      </a:lnTo>
                      <a:lnTo>
                        <a:pt x="1068" y="407"/>
                      </a:lnTo>
                      <a:lnTo>
                        <a:pt x="1068" y="405"/>
                      </a:lnTo>
                      <a:lnTo>
                        <a:pt x="1068" y="407"/>
                      </a:lnTo>
                      <a:lnTo>
                        <a:pt x="1068" y="405"/>
                      </a:lnTo>
                      <a:lnTo>
                        <a:pt x="1067" y="405"/>
                      </a:lnTo>
                      <a:lnTo>
                        <a:pt x="1068" y="407"/>
                      </a:lnTo>
                      <a:lnTo>
                        <a:pt x="1067" y="407"/>
                      </a:lnTo>
                      <a:lnTo>
                        <a:pt x="1066" y="409"/>
                      </a:lnTo>
                      <a:lnTo>
                        <a:pt x="1065" y="409"/>
                      </a:lnTo>
                      <a:lnTo>
                        <a:pt x="1064" y="410"/>
                      </a:lnTo>
                      <a:lnTo>
                        <a:pt x="1063" y="411"/>
                      </a:lnTo>
                      <a:lnTo>
                        <a:pt x="1063" y="412"/>
                      </a:lnTo>
                      <a:lnTo>
                        <a:pt x="1061" y="411"/>
                      </a:lnTo>
                      <a:lnTo>
                        <a:pt x="1061" y="412"/>
                      </a:lnTo>
                      <a:lnTo>
                        <a:pt x="1060" y="413"/>
                      </a:lnTo>
                      <a:lnTo>
                        <a:pt x="1059" y="414"/>
                      </a:lnTo>
                      <a:lnTo>
                        <a:pt x="1059" y="415"/>
                      </a:lnTo>
                      <a:lnTo>
                        <a:pt x="1058" y="416"/>
                      </a:lnTo>
                      <a:lnTo>
                        <a:pt x="1058" y="417"/>
                      </a:lnTo>
                      <a:lnTo>
                        <a:pt x="1058" y="418"/>
                      </a:lnTo>
                      <a:lnTo>
                        <a:pt x="1057" y="418"/>
                      </a:lnTo>
                      <a:lnTo>
                        <a:pt x="1057" y="420"/>
                      </a:lnTo>
                      <a:lnTo>
                        <a:pt x="1058" y="420"/>
                      </a:lnTo>
                      <a:lnTo>
                        <a:pt x="1057" y="420"/>
                      </a:lnTo>
                      <a:lnTo>
                        <a:pt x="1057" y="421"/>
                      </a:lnTo>
                      <a:lnTo>
                        <a:pt x="1057" y="422"/>
                      </a:lnTo>
                      <a:lnTo>
                        <a:pt x="1058" y="422"/>
                      </a:lnTo>
                      <a:lnTo>
                        <a:pt x="1058" y="423"/>
                      </a:lnTo>
                      <a:lnTo>
                        <a:pt x="1057" y="423"/>
                      </a:lnTo>
                      <a:lnTo>
                        <a:pt x="1057" y="424"/>
                      </a:lnTo>
                      <a:lnTo>
                        <a:pt x="1056" y="424"/>
                      </a:lnTo>
                      <a:lnTo>
                        <a:pt x="1056" y="425"/>
                      </a:lnTo>
                      <a:lnTo>
                        <a:pt x="1056" y="426"/>
                      </a:lnTo>
                      <a:lnTo>
                        <a:pt x="1057" y="426"/>
                      </a:lnTo>
                      <a:lnTo>
                        <a:pt x="1057" y="427"/>
                      </a:lnTo>
                      <a:lnTo>
                        <a:pt x="1056" y="427"/>
                      </a:lnTo>
                      <a:lnTo>
                        <a:pt x="1056" y="428"/>
                      </a:lnTo>
                      <a:lnTo>
                        <a:pt x="1056" y="429"/>
                      </a:lnTo>
                      <a:lnTo>
                        <a:pt x="1056" y="430"/>
                      </a:lnTo>
                      <a:lnTo>
                        <a:pt x="1056" y="431"/>
                      </a:lnTo>
                      <a:lnTo>
                        <a:pt x="1057" y="431"/>
                      </a:lnTo>
                      <a:lnTo>
                        <a:pt x="1057" y="433"/>
                      </a:lnTo>
                      <a:lnTo>
                        <a:pt x="1057" y="434"/>
                      </a:lnTo>
                      <a:lnTo>
                        <a:pt x="1058" y="435"/>
                      </a:lnTo>
                      <a:lnTo>
                        <a:pt x="1058" y="436"/>
                      </a:lnTo>
                      <a:lnTo>
                        <a:pt x="1058" y="437"/>
                      </a:lnTo>
                      <a:lnTo>
                        <a:pt x="1057" y="437"/>
                      </a:lnTo>
                      <a:lnTo>
                        <a:pt x="1056" y="437"/>
                      </a:lnTo>
                      <a:lnTo>
                        <a:pt x="1056" y="438"/>
                      </a:lnTo>
                      <a:lnTo>
                        <a:pt x="1056" y="439"/>
                      </a:lnTo>
                      <a:lnTo>
                        <a:pt x="1055" y="439"/>
                      </a:lnTo>
                      <a:lnTo>
                        <a:pt x="1055" y="440"/>
                      </a:lnTo>
                      <a:lnTo>
                        <a:pt x="1054" y="442"/>
                      </a:lnTo>
                      <a:lnTo>
                        <a:pt x="1055" y="443"/>
                      </a:lnTo>
                      <a:lnTo>
                        <a:pt x="1055" y="442"/>
                      </a:lnTo>
                      <a:lnTo>
                        <a:pt x="1055" y="443"/>
                      </a:lnTo>
                      <a:lnTo>
                        <a:pt x="1055" y="444"/>
                      </a:lnTo>
                      <a:lnTo>
                        <a:pt x="1056" y="444"/>
                      </a:lnTo>
                      <a:lnTo>
                        <a:pt x="1056" y="446"/>
                      </a:lnTo>
                      <a:lnTo>
                        <a:pt x="1057" y="446"/>
                      </a:lnTo>
                      <a:lnTo>
                        <a:pt x="1057" y="447"/>
                      </a:lnTo>
                      <a:lnTo>
                        <a:pt x="1058" y="447"/>
                      </a:lnTo>
                      <a:lnTo>
                        <a:pt x="1059" y="447"/>
                      </a:lnTo>
                      <a:lnTo>
                        <a:pt x="1060" y="447"/>
                      </a:lnTo>
                      <a:lnTo>
                        <a:pt x="1061" y="446"/>
                      </a:lnTo>
                      <a:lnTo>
                        <a:pt x="1063" y="446"/>
                      </a:lnTo>
                      <a:lnTo>
                        <a:pt x="1064" y="446"/>
                      </a:lnTo>
                      <a:lnTo>
                        <a:pt x="1064" y="447"/>
                      </a:lnTo>
                      <a:lnTo>
                        <a:pt x="1065" y="447"/>
                      </a:lnTo>
                      <a:lnTo>
                        <a:pt x="1066" y="447"/>
                      </a:lnTo>
                      <a:lnTo>
                        <a:pt x="1066" y="446"/>
                      </a:lnTo>
                      <a:lnTo>
                        <a:pt x="1066" y="444"/>
                      </a:lnTo>
                      <a:lnTo>
                        <a:pt x="1067" y="444"/>
                      </a:lnTo>
                      <a:lnTo>
                        <a:pt x="1066" y="443"/>
                      </a:lnTo>
                      <a:lnTo>
                        <a:pt x="1067" y="443"/>
                      </a:lnTo>
                      <a:lnTo>
                        <a:pt x="1067" y="442"/>
                      </a:lnTo>
                      <a:lnTo>
                        <a:pt x="1067" y="441"/>
                      </a:lnTo>
                      <a:lnTo>
                        <a:pt x="1067" y="440"/>
                      </a:lnTo>
                      <a:lnTo>
                        <a:pt x="1067" y="439"/>
                      </a:lnTo>
                      <a:lnTo>
                        <a:pt x="1068" y="439"/>
                      </a:lnTo>
                      <a:lnTo>
                        <a:pt x="1068" y="438"/>
                      </a:lnTo>
                      <a:lnTo>
                        <a:pt x="1069" y="438"/>
                      </a:lnTo>
                      <a:lnTo>
                        <a:pt x="1069" y="437"/>
                      </a:lnTo>
                      <a:lnTo>
                        <a:pt x="1069" y="436"/>
                      </a:lnTo>
                      <a:lnTo>
                        <a:pt x="1068" y="436"/>
                      </a:lnTo>
                      <a:lnTo>
                        <a:pt x="1068" y="435"/>
                      </a:lnTo>
                      <a:lnTo>
                        <a:pt x="1069" y="435"/>
                      </a:lnTo>
                      <a:lnTo>
                        <a:pt x="1069" y="436"/>
                      </a:lnTo>
                      <a:lnTo>
                        <a:pt x="1069" y="437"/>
                      </a:lnTo>
                      <a:lnTo>
                        <a:pt x="1070" y="437"/>
                      </a:lnTo>
                      <a:lnTo>
                        <a:pt x="1071" y="438"/>
                      </a:lnTo>
                      <a:lnTo>
                        <a:pt x="1072" y="438"/>
                      </a:lnTo>
                      <a:lnTo>
                        <a:pt x="1071" y="438"/>
                      </a:lnTo>
                      <a:lnTo>
                        <a:pt x="1072" y="438"/>
                      </a:lnTo>
                      <a:lnTo>
                        <a:pt x="1073" y="438"/>
                      </a:lnTo>
                      <a:lnTo>
                        <a:pt x="1072" y="437"/>
                      </a:lnTo>
                      <a:lnTo>
                        <a:pt x="1072" y="438"/>
                      </a:lnTo>
                      <a:lnTo>
                        <a:pt x="1071" y="438"/>
                      </a:lnTo>
                      <a:lnTo>
                        <a:pt x="1070" y="437"/>
                      </a:lnTo>
                      <a:lnTo>
                        <a:pt x="1069" y="436"/>
                      </a:lnTo>
                      <a:lnTo>
                        <a:pt x="1070" y="436"/>
                      </a:lnTo>
                      <a:lnTo>
                        <a:pt x="1071" y="436"/>
                      </a:lnTo>
                      <a:lnTo>
                        <a:pt x="1070" y="437"/>
                      </a:lnTo>
                      <a:lnTo>
                        <a:pt x="1071" y="437"/>
                      </a:lnTo>
                      <a:lnTo>
                        <a:pt x="1071" y="436"/>
                      </a:lnTo>
                      <a:lnTo>
                        <a:pt x="1072" y="436"/>
                      </a:lnTo>
                      <a:lnTo>
                        <a:pt x="1072" y="437"/>
                      </a:lnTo>
                      <a:lnTo>
                        <a:pt x="1074" y="437"/>
                      </a:lnTo>
                      <a:lnTo>
                        <a:pt x="1077" y="436"/>
                      </a:lnTo>
                      <a:lnTo>
                        <a:pt x="1078" y="436"/>
                      </a:lnTo>
                      <a:lnTo>
                        <a:pt x="1079" y="436"/>
                      </a:lnTo>
                      <a:lnTo>
                        <a:pt x="1078" y="435"/>
                      </a:lnTo>
                      <a:lnTo>
                        <a:pt x="1077" y="435"/>
                      </a:lnTo>
                      <a:lnTo>
                        <a:pt x="1077" y="436"/>
                      </a:lnTo>
                      <a:lnTo>
                        <a:pt x="1076" y="436"/>
                      </a:lnTo>
                      <a:lnTo>
                        <a:pt x="1074" y="436"/>
                      </a:lnTo>
                      <a:lnTo>
                        <a:pt x="1073" y="436"/>
                      </a:lnTo>
                      <a:lnTo>
                        <a:pt x="1072" y="436"/>
                      </a:lnTo>
                      <a:lnTo>
                        <a:pt x="1072" y="435"/>
                      </a:lnTo>
                      <a:lnTo>
                        <a:pt x="1073" y="435"/>
                      </a:lnTo>
                      <a:lnTo>
                        <a:pt x="1073" y="434"/>
                      </a:lnTo>
                      <a:lnTo>
                        <a:pt x="1073" y="433"/>
                      </a:lnTo>
                      <a:lnTo>
                        <a:pt x="1073" y="431"/>
                      </a:lnTo>
                      <a:lnTo>
                        <a:pt x="1074" y="431"/>
                      </a:lnTo>
                      <a:lnTo>
                        <a:pt x="1074" y="430"/>
                      </a:lnTo>
                      <a:lnTo>
                        <a:pt x="1074" y="429"/>
                      </a:lnTo>
                      <a:lnTo>
                        <a:pt x="1076" y="429"/>
                      </a:lnTo>
                      <a:lnTo>
                        <a:pt x="1076" y="430"/>
                      </a:lnTo>
                      <a:lnTo>
                        <a:pt x="1076" y="429"/>
                      </a:lnTo>
                      <a:lnTo>
                        <a:pt x="1077" y="429"/>
                      </a:lnTo>
                      <a:lnTo>
                        <a:pt x="1077" y="428"/>
                      </a:lnTo>
                      <a:lnTo>
                        <a:pt x="1077" y="427"/>
                      </a:lnTo>
                      <a:lnTo>
                        <a:pt x="1076" y="427"/>
                      </a:lnTo>
                      <a:lnTo>
                        <a:pt x="1074" y="426"/>
                      </a:lnTo>
                      <a:lnTo>
                        <a:pt x="1074" y="427"/>
                      </a:lnTo>
                      <a:lnTo>
                        <a:pt x="1074" y="426"/>
                      </a:lnTo>
                      <a:lnTo>
                        <a:pt x="1076" y="425"/>
                      </a:lnTo>
                      <a:lnTo>
                        <a:pt x="1077" y="425"/>
                      </a:lnTo>
                      <a:lnTo>
                        <a:pt x="1077" y="426"/>
                      </a:lnTo>
                      <a:lnTo>
                        <a:pt x="1078" y="426"/>
                      </a:lnTo>
                      <a:lnTo>
                        <a:pt x="1079" y="426"/>
                      </a:lnTo>
                      <a:lnTo>
                        <a:pt x="1080" y="425"/>
                      </a:lnTo>
                      <a:lnTo>
                        <a:pt x="1081" y="424"/>
                      </a:lnTo>
                      <a:lnTo>
                        <a:pt x="1082" y="424"/>
                      </a:lnTo>
                      <a:lnTo>
                        <a:pt x="1083" y="424"/>
                      </a:lnTo>
                      <a:lnTo>
                        <a:pt x="1083" y="425"/>
                      </a:lnTo>
                      <a:lnTo>
                        <a:pt x="1083" y="424"/>
                      </a:lnTo>
                      <a:lnTo>
                        <a:pt x="1084" y="424"/>
                      </a:lnTo>
                      <a:lnTo>
                        <a:pt x="1085" y="424"/>
                      </a:lnTo>
                      <a:lnTo>
                        <a:pt x="1085" y="425"/>
                      </a:lnTo>
                      <a:lnTo>
                        <a:pt x="1084" y="425"/>
                      </a:lnTo>
                      <a:lnTo>
                        <a:pt x="1084" y="424"/>
                      </a:lnTo>
                      <a:lnTo>
                        <a:pt x="1083" y="425"/>
                      </a:lnTo>
                      <a:lnTo>
                        <a:pt x="1084" y="425"/>
                      </a:lnTo>
                      <a:lnTo>
                        <a:pt x="1085" y="425"/>
                      </a:lnTo>
                      <a:lnTo>
                        <a:pt x="1086" y="425"/>
                      </a:lnTo>
                      <a:lnTo>
                        <a:pt x="1086" y="424"/>
                      </a:lnTo>
                      <a:lnTo>
                        <a:pt x="1087" y="424"/>
                      </a:lnTo>
                      <a:lnTo>
                        <a:pt x="1087" y="425"/>
                      </a:lnTo>
                      <a:lnTo>
                        <a:pt x="1087" y="424"/>
                      </a:lnTo>
                      <a:lnTo>
                        <a:pt x="1089" y="424"/>
                      </a:lnTo>
                      <a:lnTo>
                        <a:pt x="1089" y="423"/>
                      </a:lnTo>
                      <a:lnTo>
                        <a:pt x="1089" y="424"/>
                      </a:lnTo>
                      <a:lnTo>
                        <a:pt x="1089" y="423"/>
                      </a:lnTo>
                      <a:lnTo>
                        <a:pt x="1090" y="423"/>
                      </a:lnTo>
                      <a:lnTo>
                        <a:pt x="1091" y="423"/>
                      </a:lnTo>
                      <a:lnTo>
                        <a:pt x="1092" y="423"/>
                      </a:lnTo>
                      <a:lnTo>
                        <a:pt x="1092" y="422"/>
                      </a:lnTo>
                      <a:lnTo>
                        <a:pt x="1093" y="422"/>
                      </a:lnTo>
                      <a:lnTo>
                        <a:pt x="1093" y="423"/>
                      </a:lnTo>
                      <a:lnTo>
                        <a:pt x="1093" y="424"/>
                      </a:lnTo>
                      <a:lnTo>
                        <a:pt x="1094" y="424"/>
                      </a:lnTo>
                      <a:lnTo>
                        <a:pt x="1095" y="424"/>
                      </a:lnTo>
                      <a:lnTo>
                        <a:pt x="1095" y="425"/>
                      </a:lnTo>
                      <a:lnTo>
                        <a:pt x="1095" y="424"/>
                      </a:lnTo>
                      <a:lnTo>
                        <a:pt x="1094" y="424"/>
                      </a:lnTo>
                      <a:lnTo>
                        <a:pt x="1094" y="423"/>
                      </a:lnTo>
                      <a:lnTo>
                        <a:pt x="1093" y="423"/>
                      </a:lnTo>
                      <a:lnTo>
                        <a:pt x="1093" y="422"/>
                      </a:lnTo>
                      <a:lnTo>
                        <a:pt x="1094" y="422"/>
                      </a:lnTo>
                      <a:lnTo>
                        <a:pt x="1095" y="422"/>
                      </a:lnTo>
                      <a:lnTo>
                        <a:pt x="1095" y="421"/>
                      </a:lnTo>
                      <a:lnTo>
                        <a:pt x="1095" y="422"/>
                      </a:lnTo>
                      <a:lnTo>
                        <a:pt x="1095" y="423"/>
                      </a:lnTo>
                      <a:lnTo>
                        <a:pt x="1096" y="423"/>
                      </a:lnTo>
                      <a:lnTo>
                        <a:pt x="1097" y="423"/>
                      </a:lnTo>
                      <a:lnTo>
                        <a:pt x="1097" y="424"/>
                      </a:lnTo>
                      <a:lnTo>
                        <a:pt x="1097" y="423"/>
                      </a:lnTo>
                      <a:lnTo>
                        <a:pt x="1096" y="423"/>
                      </a:lnTo>
                      <a:lnTo>
                        <a:pt x="1097" y="423"/>
                      </a:lnTo>
                      <a:lnTo>
                        <a:pt x="1097" y="422"/>
                      </a:lnTo>
                      <a:lnTo>
                        <a:pt x="1097" y="423"/>
                      </a:lnTo>
                      <a:lnTo>
                        <a:pt x="1098" y="423"/>
                      </a:lnTo>
                      <a:lnTo>
                        <a:pt x="1098" y="422"/>
                      </a:lnTo>
                      <a:lnTo>
                        <a:pt x="1098" y="423"/>
                      </a:lnTo>
                      <a:lnTo>
                        <a:pt x="1098" y="422"/>
                      </a:lnTo>
                      <a:lnTo>
                        <a:pt x="1097" y="422"/>
                      </a:lnTo>
                      <a:lnTo>
                        <a:pt x="1097" y="423"/>
                      </a:lnTo>
                      <a:lnTo>
                        <a:pt x="1097" y="422"/>
                      </a:lnTo>
                      <a:lnTo>
                        <a:pt x="1096" y="422"/>
                      </a:lnTo>
                      <a:lnTo>
                        <a:pt x="1096" y="423"/>
                      </a:lnTo>
                      <a:lnTo>
                        <a:pt x="1097" y="423"/>
                      </a:lnTo>
                      <a:lnTo>
                        <a:pt x="1096" y="423"/>
                      </a:lnTo>
                      <a:lnTo>
                        <a:pt x="1096" y="422"/>
                      </a:lnTo>
                      <a:lnTo>
                        <a:pt x="1095" y="422"/>
                      </a:lnTo>
                      <a:lnTo>
                        <a:pt x="1095" y="421"/>
                      </a:lnTo>
                      <a:lnTo>
                        <a:pt x="1096" y="421"/>
                      </a:lnTo>
                      <a:lnTo>
                        <a:pt x="1097" y="421"/>
                      </a:lnTo>
                      <a:lnTo>
                        <a:pt x="1098" y="421"/>
                      </a:lnTo>
                      <a:lnTo>
                        <a:pt x="1099" y="420"/>
                      </a:lnTo>
                      <a:lnTo>
                        <a:pt x="1100" y="420"/>
                      </a:lnTo>
                      <a:lnTo>
                        <a:pt x="1100" y="418"/>
                      </a:lnTo>
                      <a:lnTo>
                        <a:pt x="1099" y="418"/>
                      </a:lnTo>
                      <a:lnTo>
                        <a:pt x="1100" y="418"/>
                      </a:lnTo>
                      <a:lnTo>
                        <a:pt x="1099" y="418"/>
                      </a:lnTo>
                      <a:lnTo>
                        <a:pt x="1099" y="417"/>
                      </a:lnTo>
                      <a:lnTo>
                        <a:pt x="1098" y="417"/>
                      </a:lnTo>
                      <a:lnTo>
                        <a:pt x="1098" y="416"/>
                      </a:lnTo>
                      <a:lnTo>
                        <a:pt x="1097" y="416"/>
                      </a:lnTo>
                      <a:lnTo>
                        <a:pt x="1097" y="415"/>
                      </a:lnTo>
                      <a:lnTo>
                        <a:pt x="1097" y="414"/>
                      </a:lnTo>
                      <a:lnTo>
                        <a:pt x="1097" y="413"/>
                      </a:lnTo>
                      <a:lnTo>
                        <a:pt x="1098" y="413"/>
                      </a:lnTo>
                      <a:lnTo>
                        <a:pt x="1099" y="413"/>
                      </a:lnTo>
                      <a:lnTo>
                        <a:pt x="1099" y="412"/>
                      </a:lnTo>
                      <a:lnTo>
                        <a:pt x="1099" y="411"/>
                      </a:lnTo>
                      <a:lnTo>
                        <a:pt x="1098" y="411"/>
                      </a:lnTo>
                      <a:lnTo>
                        <a:pt x="1098" y="410"/>
                      </a:lnTo>
                      <a:lnTo>
                        <a:pt x="1099" y="410"/>
                      </a:lnTo>
                      <a:lnTo>
                        <a:pt x="1100" y="410"/>
                      </a:lnTo>
                      <a:lnTo>
                        <a:pt x="1100" y="411"/>
                      </a:lnTo>
                      <a:lnTo>
                        <a:pt x="1102" y="410"/>
                      </a:lnTo>
                      <a:lnTo>
                        <a:pt x="1102" y="409"/>
                      </a:lnTo>
                      <a:lnTo>
                        <a:pt x="1102" y="408"/>
                      </a:lnTo>
                      <a:lnTo>
                        <a:pt x="1102" y="407"/>
                      </a:lnTo>
                      <a:lnTo>
                        <a:pt x="1102" y="405"/>
                      </a:lnTo>
                      <a:lnTo>
                        <a:pt x="1100" y="405"/>
                      </a:lnTo>
                      <a:lnTo>
                        <a:pt x="1099" y="405"/>
                      </a:lnTo>
                      <a:lnTo>
                        <a:pt x="1099" y="404"/>
                      </a:lnTo>
                      <a:lnTo>
                        <a:pt x="1098" y="404"/>
                      </a:lnTo>
                      <a:lnTo>
                        <a:pt x="1097" y="404"/>
                      </a:lnTo>
                      <a:lnTo>
                        <a:pt x="1097" y="403"/>
                      </a:lnTo>
                      <a:lnTo>
                        <a:pt x="1096" y="403"/>
                      </a:lnTo>
                      <a:lnTo>
                        <a:pt x="1095" y="403"/>
                      </a:lnTo>
                      <a:lnTo>
                        <a:pt x="1094" y="403"/>
                      </a:lnTo>
                      <a:lnTo>
                        <a:pt x="1093" y="403"/>
                      </a:lnTo>
                      <a:lnTo>
                        <a:pt x="1092" y="403"/>
                      </a:lnTo>
                      <a:lnTo>
                        <a:pt x="1092" y="404"/>
                      </a:lnTo>
                      <a:lnTo>
                        <a:pt x="1092" y="405"/>
                      </a:lnTo>
                      <a:lnTo>
                        <a:pt x="1092" y="407"/>
                      </a:lnTo>
                      <a:lnTo>
                        <a:pt x="1091" y="408"/>
                      </a:lnTo>
                      <a:lnTo>
                        <a:pt x="1091" y="407"/>
                      </a:lnTo>
                      <a:lnTo>
                        <a:pt x="1090" y="405"/>
                      </a:lnTo>
                      <a:lnTo>
                        <a:pt x="1091" y="405"/>
                      </a:lnTo>
                      <a:lnTo>
                        <a:pt x="1091" y="404"/>
                      </a:lnTo>
                      <a:lnTo>
                        <a:pt x="1091" y="403"/>
                      </a:lnTo>
                      <a:lnTo>
                        <a:pt x="1091" y="402"/>
                      </a:lnTo>
                      <a:lnTo>
                        <a:pt x="1091" y="401"/>
                      </a:lnTo>
                      <a:lnTo>
                        <a:pt x="1090" y="401"/>
                      </a:lnTo>
                      <a:lnTo>
                        <a:pt x="1089" y="401"/>
                      </a:lnTo>
                      <a:lnTo>
                        <a:pt x="1089" y="402"/>
                      </a:lnTo>
                      <a:lnTo>
                        <a:pt x="1089" y="403"/>
                      </a:lnTo>
                      <a:lnTo>
                        <a:pt x="1089" y="404"/>
                      </a:lnTo>
                      <a:lnTo>
                        <a:pt x="1089" y="405"/>
                      </a:lnTo>
                      <a:lnTo>
                        <a:pt x="1087" y="405"/>
                      </a:lnTo>
                      <a:lnTo>
                        <a:pt x="1087" y="407"/>
                      </a:lnTo>
                      <a:lnTo>
                        <a:pt x="1086" y="409"/>
                      </a:lnTo>
                      <a:lnTo>
                        <a:pt x="1086" y="410"/>
                      </a:lnTo>
                      <a:lnTo>
                        <a:pt x="1086" y="411"/>
                      </a:lnTo>
                      <a:lnTo>
                        <a:pt x="1086" y="412"/>
                      </a:lnTo>
                      <a:lnTo>
                        <a:pt x="1085" y="413"/>
                      </a:lnTo>
                      <a:lnTo>
                        <a:pt x="1085" y="412"/>
                      </a:lnTo>
                      <a:lnTo>
                        <a:pt x="1084" y="412"/>
                      </a:lnTo>
                      <a:lnTo>
                        <a:pt x="1084" y="411"/>
                      </a:lnTo>
                      <a:lnTo>
                        <a:pt x="1085" y="411"/>
                      </a:lnTo>
                      <a:lnTo>
                        <a:pt x="1085" y="410"/>
                      </a:lnTo>
                      <a:lnTo>
                        <a:pt x="1084" y="410"/>
                      </a:lnTo>
                      <a:lnTo>
                        <a:pt x="1084" y="411"/>
                      </a:lnTo>
                      <a:lnTo>
                        <a:pt x="1083" y="411"/>
                      </a:lnTo>
                      <a:lnTo>
                        <a:pt x="1083" y="410"/>
                      </a:lnTo>
                      <a:lnTo>
                        <a:pt x="1082" y="409"/>
                      </a:lnTo>
                      <a:lnTo>
                        <a:pt x="1082" y="408"/>
                      </a:lnTo>
                      <a:lnTo>
                        <a:pt x="1082" y="409"/>
                      </a:lnTo>
                      <a:lnTo>
                        <a:pt x="1081" y="409"/>
                      </a:lnTo>
                      <a:lnTo>
                        <a:pt x="1081" y="408"/>
                      </a:lnTo>
                      <a:lnTo>
                        <a:pt x="1081" y="407"/>
                      </a:lnTo>
                      <a:lnTo>
                        <a:pt x="1080" y="407"/>
                      </a:lnTo>
                      <a:lnTo>
                        <a:pt x="1080" y="405"/>
                      </a:lnTo>
                      <a:lnTo>
                        <a:pt x="1079" y="404"/>
                      </a:lnTo>
                      <a:lnTo>
                        <a:pt x="1078" y="404"/>
                      </a:lnTo>
                      <a:lnTo>
                        <a:pt x="1077" y="403"/>
                      </a:lnTo>
                      <a:lnTo>
                        <a:pt x="1078" y="403"/>
                      </a:lnTo>
                      <a:lnTo>
                        <a:pt x="1078" y="402"/>
                      </a:lnTo>
                      <a:lnTo>
                        <a:pt x="1078" y="401"/>
                      </a:lnTo>
                      <a:lnTo>
                        <a:pt x="1079" y="401"/>
                      </a:lnTo>
                      <a:lnTo>
                        <a:pt x="1079" y="400"/>
                      </a:lnTo>
                      <a:lnTo>
                        <a:pt x="1080" y="400"/>
                      </a:lnTo>
                      <a:lnTo>
                        <a:pt x="1081" y="401"/>
                      </a:lnTo>
                      <a:lnTo>
                        <a:pt x="1082" y="401"/>
                      </a:lnTo>
                      <a:lnTo>
                        <a:pt x="1083" y="401"/>
                      </a:lnTo>
                      <a:lnTo>
                        <a:pt x="1084" y="401"/>
                      </a:lnTo>
                      <a:lnTo>
                        <a:pt x="1085" y="401"/>
                      </a:lnTo>
                      <a:lnTo>
                        <a:pt x="1085" y="400"/>
                      </a:lnTo>
                      <a:lnTo>
                        <a:pt x="1086" y="400"/>
                      </a:lnTo>
                      <a:lnTo>
                        <a:pt x="1087" y="400"/>
                      </a:lnTo>
                      <a:lnTo>
                        <a:pt x="1089" y="399"/>
                      </a:lnTo>
                      <a:lnTo>
                        <a:pt x="1090" y="399"/>
                      </a:lnTo>
                      <a:lnTo>
                        <a:pt x="1091" y="398"/>
                      </a:lnTo>
                      <a:lnTo>
                        <a:pt x="1092" y="398"/>
                      </a:lnTo>
                      <a:lnTo>
                        <a:pt x="1093" y="398"/>
                      </a:lnTo>
                      <a:lnTo>
                        <a:pt x="1093" y="397"/>
                      </a:lnTo>
                      <a:lnTo>
                        <a:pt x="1094" y="397"/>
                      </a:lnTo>
                      <a:lnTo>
                        <a:pt x="1094" y="396"/>
                      </a:lnTo>
                      <a:lnTo>
                        <a:pt x="1095" y="396"/>
                      </a:lnTo>
                      <a:lnTo>
                        <a:pt x="1096" y="395"/>
                      </a:lnTo>
                      <a:lnTo>
                        <a:pt x="1097" y="395"/>
                      </a:lnTo>
                      <a:lnTo>
                        <a:pt x="1097" y="393"/>
                      </a:lnTo>
                      <a:lnTo>
                        <a:pt x="1098" y="393"/>
                      </a:lnTo>
                      <a:lnTo>
                        <a:pt x="1098" y="392"/>
                      </a:lnTo>
                      <a:lnTo>
                        <a:pt x="1099" y="392"/>
                      </a:lnTo>
                      <a:lnTo>
                        <a:pt x="1099" y="390"/>
                      </a:lnTo>
                      <a:lnTo>
                        <a:pt x="1099" y="389"/>
                      </a:lnTo>
                      <a:lnTo>
                        <a:pt x="1099" y="388"/>
                      </a:lnTo>
                      <a:lnTo>
                        <a:pt x="1100" y="388"/>
                      </a:lnTo>
                      <a:lnTo>
                        <a:pt x="1102" y="388"/>
                      </a:lnTo>
                      <a:lnTo>
                        <a:pt x="1103" y="388"/>
                      </a:lnTo>
                      <a:lnTo>
                        <a:pt x="1104" y="389"/>
                      </a:lnTo>
                      <a:lnTo>
                        <a:pt x="1105" y="389"/>
                      </a:lnTo>
                      <a:lnTo>
                        <a:pt x="1106" y="389"/>
                      </a:lnTo>
                      <a:lnTo>
                        <a:pt x="1106" y="390"/>
                      </a:lnTo>
                      <a:lnTo>
                        <a:pt x="1107" y="390"/>
                      </a:lnTo>
                      <a:lnTo>
                        <a:pt x="1108" y="390"/>
                      </a:lnTo>
                      <a:lnTo>
                        <a:pt x="1108" y="391"/>
                      </a:lnTo>
                      <a:lnTo>
                        <a:pt x="1109" y="391"/>
                      </a:lnTo>
                      <a:lnTo>
                        <a:pt x="1110" y="392"/>
                      </a:lnTo>
                      <a:lnTo>
                        <a:pt x="1111" y="392"/>
                      </a:lnTo>
                      <a:lnTo>
                        <a:pt x="1111" y="393"/>
                      </a:lnTo>
                      <a:lnTo>
                        <a:pt x="1112" y="393"/>
                      </a:lnTo>
                      <a:lnTo>
                        <a:pt x="1113" y="395"/>
                      </a:lnTo>
                      <a:lnTo>
                        <a:pt x="1115" y="395"/>
                      </a:lnTo>
                      <a:lnTo>
                        <a:pt x="1116" y="396"/>
                      </a:lnTo>
                      <a:lnTo>
                        <a:pt x="1117" y="396"/>
                      </a:lnTo>
                      <a:lnTo>
                        <a:pt x="1117" y="397"/>
                      </a:lnTo>
                      <a:lnTo>
                        <a:pt x="1117" y="398"/>
                      </a:lnTo>
                      <a:lnTo>
                        <a:pt x="1118" y="398"/>
                      </a:lnTo>
                      <a:lnTo>
                        <a:pt x="1117" y="398"/>
                      </a:lnTo>
                      <a:lnTo>
                        <a:pt x="1118" y="398"/>
                      </a:lnTo>
                      <a:lnTo>
                        <a:pt x="1117" y="398"/>
                      </a:lnTo>
                      <a:lnTo>
                        <a:pt x="1118" y="398"/>
                      </a:lnTo>
                      <a:lnTo>
                        <a:pt x="1118" y="399"/>
                      </a:lnTo>
                      <a:lnTo>
                        <a:pt x="1118" y="400"/>
                      </a:lnTo>
                      <a:lnTo>
                        <a:pt x="1120" y="400"/>
                      </a:lnTo>
                      <a:lnTo>
                        <a:pt x="1121" y="400"/>
                      </a:lnTo>
                      <a:lnTo>
                        <a:pt x="1122" y="400"/>
                      </a:lnTo>
                      <a:lnTo>
                        <a:pt x="1122" y="401"/>
                      </a:lnTo>
                      <a:lnTo>
                        <a:pt x="1123" y="401"/>
                      </a:lnTo>
                      <a:lnTo>
                        <a:pt x="1124" y="401"/>
                      </a:lnTo>
                      <a:lnTo>
                        <a:pt x="1124" y="402"/>
                      </a:lnTo>
                      <a:lnTo>
                        <a:pt x="1123" y="402"/>
                      </a:lnTo>
                      <a:lnTo>
                        <a:pt x="1123" y="403"/>
                      </a:lnTo>
                      <a:lnTo>
                        <a:pt x="1122" y="402"/>
                      </a:lnTo>
                      <a:lnTo>
                        <a:pt x="1122" y="403"/>
                      </a:lnTo>
                      <a:lnTo>
                        <a:pt x="1122" y="402"/>
                      </a:lnTo>
                      <a:lnTo>
                        <a:pt x="1122" y="403"/>
                      </a:lnTo>
                      <a:lnTo>
                        <a:pt x="1121" y="403"/>
                      </a:lnTo>
                      <a:lnTo>
                        <a:pt x="1122" y="403"/>
                      </a:lnTo>
                      <a:lnTo>
                        <a:pt x="1121" y="403"/>
                      </a:lnTo>
                      <a:lnTo>
                        <a:pt x="1122" y="403"/>
                      </a:lnTo>
                      <a:lnTo>
                        <a:pt x="1122" y="404"/>
                      </a:lnTo>
                      <a:lnTo>
                        <a:pt x="1123" y="404"/>
                      </a:lnTo>
                      <a:lnTo>
                        <a:pt x="1123" y="403"/>
                      </a:lnTo>
                      <a:lnTo>
                        <a:pt x="1123" y="404"/>
                      </a:lnTo>
                      <a:lnTo>
                        <a:pt x="1124" y="404"/>
                      </a:lnTo>
                      <a:lnTo>
                        <a:pt x="1124" y="403"/>
                      </a:lnTo>
                      <a:lnTo>
                        <a:pt x="1125" y="404"/>
                      </a:lnTo>
                      <a:lnTo>
                        <a:pt x="1126" y="405"/>
                      </a:lnTo>
                      <a:lnTo>
                        <a:pt x="1126" y="404"/>
                      </a:lnTo>
                      <a:lnTo>
                        <a:pt x="1128" y="404"/>
                      </a:lnTo>
                      <a:lnTo>
                        <a:pt x="1126" y="404"/>
                      </a:lnTo>
                      <a:lnTo>
                        <a:pt x="1126" y="403"/>
                      </a:lnTo>
                      <a:lnTo>
                        <a:pt x="1128" y="403"/>
                      </a:lnTo>
                      <a:lnTo>
                        <a:pt x="1126" y="403"/>
                      </a:lnTo>
                      <a:lnTo>
                        <a:pt x="1126" y="402"/>
                      </a:lnTo>
                      <a:lnTo>
                        <a:pt x="1126" y="401"/>
                      </a:lnTo>
                      <a:lnTo>
                        <a:pt x="1125" y="401"/>
                      </a:lnTo>
                      <a:lnTo>
                        <a:pt x="1125" y="402"/>
                      </a:lnTo>
                      <a:lnTo>
                        <a:pt x="1124" y="402"/>
                      </a:lnTo>
                      <a:lnTo>
                        <a:pt x="1124" y="401"/>
                      </a:lnTo>
                      <a:lnTo>
                        <a:pt x="1125" y="401"/>
                      </a:lnTo>
                      <a:lnTo>
                        <a:pt x="1126" y="401"/>
                      </a:lnTo>
                      <a:lnTo>
                        <a:pt x="1128" y="401"/>
                      </a:lnTo>
                      <a:lnTo>
                        <a:pt x="1129" y="401"/>
                      </a:lnTo>
                      <a:lnTo>
                        <a:pt x="1130" y="401"/>
                      </a:lnTo>
                      <a:lnTo>
                        <a:pt x="1131" y="401"/>
                      </a:lnTo>
                      <a:lnTo>
                        <a:pt x="1132" y="401"/>
                      </a:lnTo>
                      <a:lnTo>
                        <a:pt x="1132" y="402"/>
                      </a:lnTo>
                      <a:lnTo>
                        <a:pt x="1133" y="402"/>
                      </a:lnTo>
                      <a:lnTo>
                        <a:pt x="1134" y="402"/>
                      </a:lnTo>
                      <a:lnTo>
                        <a:pt x="1133" y="402"/>
                      </a:lnTo>
                      <a:lnTo>
                        <a:pt x="1134" y="402"/>
                      </a:lnTo>
                      <a:lnTo>
                        <a:pt x="1134" y="403"/>
                      </a:lnTo>
                      <a:lnTo>
                        <a:pt x="1135" y="403"/>
                      </a:lnTo>
                      <a:lnTo>
                        <a:pt x="1136" y="403"/>
                      </a:lnTo>
                      <a:lnTo>
                        <a:pt x="1137" y="404"/>
                      </a:lnTo>
                      <a:lnTo>
                        <a:pt x="1137" y="405"/>
                      </a:lnTo>
                      <a:lnTo>
                        <a:pt x="1136" y="405"/>
                      </a:lnTo>
                      <a:lnTo>
                        <a:pt x="1135" y="407"/>
                      </a:lnTo>
                      <a:lnTo>
                        <a:pt x="1134" y="407"/>
                      </a:lnTo>
                      <a:lnTo>
                        <a:pt x="1131" y="409"/>
                      </a:lnTo>
                      <a:lnTo>
                        <a:pt x="1130" y="410"/>
                      </a:lnTo>
                      <a:lnTo>
                        <a:pt x="1130" y="411"/>
                      </a:lnTo>
                      <a:lnTo>
                        <a:pt x="1130" y="413"/>
                      </a:lnTo>
                      <a:lnTo>
                        <a:pt x="1129" y="413"/>
                      </a:lnTo>
                      <a:lnTo>
                        <a:pt x="1129" y="414"/>
                      </a:lnTo>
                      <a:lnTo>
                        <a:pt x="1128" y="415"/>
                      </a:lnTo>
                      <a:lnTo>
                        <a:pt x="1126" y="416"/>
                      </a:lnTo>
                      <a:lnTo>
                        <a:pt x="1125" y="417"/>
                      </a:lnTo>
                      <a:lnTo>
                        <a:pt x="1124" y="417"/>
                      </a:lnTo>
                      <a:lnTo>
                        <a:pt x="1124" y="418"/>
                      </a:lnTo>
                      <a:lnTo>
                        <a:pt x="1124" y="420"/>
                      </a:lnTo>
                      <a:lnTo>
                        <a:pt x="1123" y="421"/>
                      </a:lnTo>
                      <a:lnTo>
                        <a:pt x="1123" y="422"/>
                      </a:lnTo>
                      <a:lnTo>
                        <a:pt x="1123" y="423"/>
                      </a:lnTo>
                      <a:lnTo>
                        <a:pt x="1122" y="423"/>
                      </a:lnTo>
                      <a:lnTo>
                        <a:pt x="1122" y="424"/>
                      </a:lnTo>
                      <a:lnTo>
                        <a:pt x="1121" y="425"/>
                      </a:lnTo>
                      <a:lnTo>
                        <a:pt x="1121" y="426"/>
                      </a:lnTo>
                      <a:lnTo>
                        <a:pt x="1120" y="426"/>
                      </a:lnTo>
                      <a:lnTo>
                        <a:pt x="1119" y="427"/>
                      </a:lnTo>
                      <a:lnTo>
                        <a:pt x="1118" y="427"/>
                      </a:lnTo>
                      <a:lnTo>
                        <a:pt x="1118" y="428"/>
                      </a:lnTo>
                      <a:lnTo>
                        <a:pt x="1117" y="428"/>
                      </a:lnTo>
                      <a:lnTo>
                        <a:pt x="1116" y="429"/>
                      </a:lnTo>
                      <a:lnTo>
                        <a:pt x="1115" y="429"/>
                      </a:lnTo>
                      <a:lnTo>
                        <a:pt x="1115" y="430"/>
                      </a:lnTo>
                      <a:lnTo>
                        <a:pt x="1113" y="430"/>
                      </a:lnTo>
                      <a:lnTo>
                        <a:pt x="1113" y="431"/>
                      </a:lnTo>
                      <a:lnTo>
                        <a:pt x="1112" y="431"/>
                      </a:lnTo>
                      <a:lnTo>
                        <a:pt x="1112" y="433"/>
                      </a:lnTo>
                      <a:lnTo>
                        <a:pt x="1111" y="433"/>
                      </a:lnTo>
                      <a:lnTo>
                        <a:pt x="1110" y="433"/>
                      </a:lnTo>
                      <a:lnTo>
                        <a:pt x="1110" y="431"/>
                      </a:lnTo>
                      <a:lnTo>
                        <a:pt x="1110" y="433"/>
                      </a:lnTo>
                      <a:lnTo>
                        <a:pt x="1109" y="431"/>
                      </a:lnTo>
                      <a:lnTo>
                        <a:pt x="1109" y="433"/>
                      </a:lnTo>
                      <a:lnTo>
                        <a:pt x="1108" y="433"/>
                      </a:lnTo>
                      <a:lnTo>
                        <a:pt x="1107" y="433"/>
                      </a:lnTo>
                      <a:lnTo>
                        <a:pt x="1107" y="434"/>
                      </a:lnTo>
                      <a:lnTo>
                        <a:pt x="1107" y="435"/>
                      </a:lnTo>
                      <a:lnTo>
                        <a:pt x="1106" y="435"/>
                      </a:lnTo>
                      <a:lnTo>
                        <a:pt x="1106" y="436"/>
                      </a:lnTo>
                      <a:lnTo>
                        <a:pt x="1106" y="437"/>
                      </a:lnTo>
                      <a:lnTo>
                        <a:pt x="1106" y="438"/>
                      </a:lnTo>
                      <a:lnTo>
                        <a:pt x="1106" y="439"/>
                      </a:lnTo>
                      <a:lnTo>
                        <a:pt x="1106" y="440"/>
                      </a:lnTo>
                      <a:lnTo>
                        <a:pt x="1105" y="441"/>
                      </a:lnTo>
                      <a:lnTo>
                        <a:pt x="1105" y="442"/>
                      </a:lnTo>
                      <a:lnTo>
                        <a:pt x="1105" y="443"/>
                      </a:lnTo>
                      <a:lnTo>
                        <a:pt x="1105" y="444"/>
                      </a:lnTo>
                      <a:lnTo>
                        <a:pt x="1104" y="444"/>
                      </a:lnTo>
                      <a:lnTo>
                        <a:pt x="1104" y="446"/>
                      </a:lnTo>
                      <a:lnTo>
                        <a:pt x="1104" y="447"/>
                      </a:lnTo>
                      <a:lnTo>
                        <a:pt x="1104" y="448"/>
                      </a:lnTo>
                      <a:lnTo>
                        <a:pt x="1104" y="449"/>
                      </a:lnTo>
                      <a:lnTo>
                        <a:pt x="1104" y="450"/>
                      </a:lnTo>
                      <a:lnTo>
                        <a:pt x="1104" y="451"/>
                      </a:lnTo>
                      <a:lnTo>
                        <a:pt x="1104" y="452"/>
                      </a:lnTo>
                      <a:lnTo>
                        <a:pt x="1104" y="453"/>
                      </a:lnTo>
                      <a:lnTo>
                        <a:pt x="1104" y="454"/>
                      </a:lnTo>
                      <a:lnTo>
                        <a:pt x="1104" y="455"/>
                      </a:lnTo>
                      <a:lnTo>
                        <a:pt x="1104" y="456"/>
                      </a:lnTo>
                      <a:lnTo>
                        <a:pt x="1103" y="456"/>
                      </a:lnTo>
                      <a:lnTo>
                        <a:pt x="1103" y="457"/>
                      </a:lnTo>
                      <a:lnTo>
                        <a:pt x="1102" y="457"/>
                      </a:lnTo>
                      <a:lnTo>
                        <a:pt x="1100" y="457"/>
                      </a:lnTo>
                      <a:lnTo>
                        <a:pt x="1099" y="459"/>
                      </a:lnTo>
                      <a:lnTo>
                        <a:pt x="1098" y="459"/>
                      </a:lnTo>
                      <a:lnTo>
                        <a:pt x="1097" y="459"/>
                      </a:lnTo>
                      <a:lnTo>
                        <a:pt x="1097" y="460"/>
                      </a:lnTo>
                      <a:lnTo>
                        <a:pt x="1096" y="460"/>
                      </a:lnTo>
                      <a:lnTo>
                        <a:pt x="1095" y="460"/>
                      </a:lnTo>
                      <a:lnTo>
                        <a:pt x="1094" y="460"/>
                      </a:lnTo>
                      <a:lnTo>
                        <a:pt x="1093" y="460"/>
                      </a:lnTo>
                      <a:lnTo>
                        <a:pt x="1092" y="460"/>
                      </a:lnTo>
                      <a:lnTo>
                        <a:pt x="1091" y="460"/>
                      </a:lnTo>
                      <a:lnTo>
                        <a:pt x="1091" y="461"/>
                      </a:lnTo>
                      <a:lnTo>
                        <a:pt x="1090" y="461"/>
                      </a:lnTo>
                      <a:lnTo>
                        <a:pt x="1089" y="461"/>
                      </a:lnTo>
                      <a:lnTo>
                        <a:pt x="1087" y="461"/>
                      </a:lnTo>
                      <a:lnTo>
                        <a:pt x="1086" y="461"/>
                      </a:lnTo>
                      <a:lnTo>
                        <a:pt x="1085" y="461"/>
                      </a:lnTo>
                      <a:lnTo>
                        <a:pt x="1085" y="462"/>
                      </a:lnTo>
                      <a:lnTo>
                        <a:pt x="1084" y="462"/>
                      </a:lnTo>
                      <a:lnTo>
                        <a:pt x="1083" y="462"/>
                      </a:lnTo>
                      <a:lnTo>
                        <a:pt x="1082" y="462"/>
                      </a:lnTo>
                      <a:lnTo>
                        <a:pt x="1082" y="463"/>
                      </a:lnTo>
                      <a:lnTo>
                        <a:pt x="1081" y="463"/>
                      </a:lnTo>
                      <a:lnTo>
                        <a:pt x="1080" y="463"/>
                      </a:lnTo>
                      <a:lnTo>
                        <a:pt x="1080" y="464"/>
                      </a:lnTo>
                      <a:lnTo>
                        <a:pt x="1079" y="464"/>
                      </a:lnTo>
                      <a:lnTo>
                        <a:pt x="1079" y="465"/>
                      </a:lnTo>
                      <a:lnTo>
                        <a:pt x="1078" y="465"/>
                      </a:lnTo>
                      <a:lnTo>
                        <a:pt x="1077" y="466"/>
                      </a:lnTo>
                      <a:lnTo>
                        <a:pt x="1076" y="467"/>
                      </a:lnTo>
                      <a:lnTo>
                        <a:pt x="1076" y="468"/>
                      </a:lnTo>
                      <a:lnTo>
                        <a:pt x="1074" y="468"/>
                      </a:lnTo>
                      <a:lnTo>
                        <a:pt x="1074" y="469"/>
                      </a:lnTo>
                      <a:lnTo>
                        <a:pt x="1076" y="469"/>
                      </a:lnTo>
                      <a:lnTo>
                        <a:pt x="1076" y="470"/>
                      </a:lnTo>
                      <a:lnTo>
                        <a:pt x="1074" y="470"/>
                      </a:lnTo>
                      <a:lnTo>
                        <a:pt x="1074" y="472"/>
                      </a:lnTo>
                      <a:lnTo>
                        <a:pt x="1074" y="473"/>
                      </a:lnTo>
                      <a:lnTo>
                        <a:pt x="1074" y="474"/>
                      </a:lnTo>
                      <a:lnTo>
                        <a:pt x="1074" y="475"/>
                      </a:lnTo>
                      <a:lnTo>
                        <a:pt x="1074" y="476"/>
                      </a:lnTo>
                      <a:lnTo>
                        <a:pt x="1074" y="477"/>
                      </a:lnTo>
                      <a:lnTo>
                        <a:pt x="1076" y="477"/>
                      </a:lnTo>
                      <a:lnTo>
                        <a:pt x="1076" y="478"/>
                      </a:lnTo>
                      <a:lnTo>
                        <a:pt x="1076" y="479"/>
                      </a:lnTo>
                      <a:lnTo>
                        <a:pt x="1077" y="479"/>
                      </a:lnTo>
                      <a:lnTo>
                        <a:pt x="1077" y="480"/>
                      </a:lnTo>
                      <a:lnTo>
                        <a:pt x="1078" y="480"/>
                      </a:lnTo>
                      <a:lnTo>
                        <a:pt x="1078" y="481"/>
                      </a:lnTo>
                      <a:lnTo>
                        <a:pt x="1078" y="482"/>
                      </a:lnTo>
                      <a:lnTo>
                        <a:pt x="1079" y="482"/>
                      </a:lnTo>
                      <a:lnTo>
                        <a:pt x="1079" y="484"/>
                      </a:lnTo>
                      <a:lnTo>
                        <a:pt x="1080" y="484"/>
                      </a:lnTo>
                      <a:lnTo>
                        <a:pt x="1080" y="485"/>
                      </a:lnTo>
                      <a:lnTo>
                        <a:pt x="1080" y="486"/>
                      </a:lnTo>
                      <a:lnTo>
                        <a:pt x="1081" y="486"/>
                      </a:lnTo>
                      <a:lnTo>
                        <a:pt x="1081" y="487"/>
                      </a:lnTo>
                      <a:lnTo>
                        <a:pt x="1081" y="488"/>
                      </a:lnTo>
                      <a:lnTo>
                        <a:pt x="1082" y="488"/>
                      </a:lnTo>
                      <a:lnTo>
                        <a:pt x="1082" y="489"/>
                      </a:lnTo>
                      <a:lnTo>
                        <a:pt x="1083" y="489"/>
                      </a:lnTo>
                      <a:lnTo>
                        <a:pt x="1083" y="490"/>
                      </a:lnTo>
                      <a:lnTo>
                        <a:pt x="1083" y="491"/>
                      </a:lnTo>
                      <a:lnTo>
                        <a:pt x="1083" y="492"/>
                      </a:lnTo>
                      <a:lnTo>
                        <a:pt x="1082" y="493"/>
                      </a:lnTo>
                      <a:lnTo>
                        <a:pt x="1081" y="493"/>
                      </a:lnTo>
                      <a:lnTo>
                        <a:pt x="1080" y="494"/>
                      </a:lnTo>
                      <a:lnTo>
                        <a:pt x="1079" y="494"/>
                      </a:lnTo>
                      <a:lnTo>
                        <a:pt x="1078" y="494"/>
                      </a:lnTo>
                      <a:lnTo>
                        <a:pt x="1077" y="494"/>
                      </a:lnTo>
                      <a:lnTo>
                        <a:pt x="1076" y="494"/>
                      </a:lnTo>
                      <a:lnTo>
                        <a:pt x="1074" y="494"/>
                      </a:lnTo>
                      <a:lnTo>
                        <a:pt x="1073" y="494"/>
                      </a:lnTo>
                      <a:lnTo>
                        <a:pt x="1072" y="494"/>
                      </a:lnTo>
                      <a:lnTo>
                        <a:pt x="1072" y="493"/>
                      </a:lnTo>
                      <a:lnTo>
                        <a:pt x="1071" y="493"/>
                      </a:lnTo>
                      <a:lnTo>
                        <a:pt x="1071" y="492"/>
                      </a:lnTo>
                      <a:lnTo>
                        <a:pt x="1070" y="492"/>
                      </a:lnTo>
                      <a:lnTo>
                        <a:pt x="1070" y="491"/>
                      </a:lnTo>
                      <a:lnTo>
                        <a:pt x="1069" y="491"/>
                      </a:lnTo>
                      <a:lnTo>
                        <a:pt x="1069" y="490"/>
                      </a:lnTo>
                      <a:lnTo>
                        <a:pt x="1068" y="490"/>
                      </a:lnTo>
                      <a:lnTo>
                        <a:pt x="1067" y="490"/>
                      </a:lnTo>
                      <a:lnTo>
                        <a:pt x="1067" y="489"/>
                      </a:lnTo>
                      <a:lnTo>
                        <a:pt x="1066" y="489"/>
                      </a:lnTo>
                      <a:lnTo>
                        <a:pt x="1066" y="488"/>
                      </a:lnTo>
                      <a:lnTo>
                        <a:pt x="1065" y="487"/>
                      </a:lnTo>
                      <a:lnTo>
                        <a:pt x="1065" y="486"/>
                      </a:lnTo>
                      <a:lnTo>
                        <a:pt x="1064" y="486"/>
                      </a:lnTo>
                      <a:lnTo>
                        <a:pt x="1064" y="485"/>
                      </a:lnTo>
                      <a:lnTo>
                        <a:pt x="1063" y="485"/>
                      </a:lnTo>
                      <a:lnTo>
                        <a:pt x="1063" y="484"/>
                      </a:lnTo>
                      <a:lnTo>
                        <a:pt x="1061" y="482"/>
                      </a:lnTo>
                      <a:lnTo>
                        <a:pt x="1061" y="484"/>
                      </a:lnTo>
                      <a:lnTo>
                        <a:pt x="1060" y="482"/>
                      </a:lnTo>
                      <a:lnTo>
                        <a:pt x="1059" y="482"/>
                      </a:lnTo>
                      <a:lnTo>
                        <a:pt x="1059" y="481"/>
                      </a:lnTo>
                      <a:lnTo>
                        <a:pt x="1058" y="481"/>
                      </a:lnTo>
                      <a:lnTo>
                        <a:pt x="1057" y="481"/>
                      </a:lnTo>
                      <a:lnTo>
                        <a:pt x="1056" y="480"/>
                      </a:lnTo>
                      <a:lnTo>
                        <a:pt x="1055" y="479"/>
                      </a:lnTo>
                      <a:lnTo>
                        <a:pt x="1054" y="478"/>
                      </a:lnTo>
                      <a:lnTo>
                        <a:pt x="1053" y="478"/>
                      </a:lnTo>
                      <a:lnTo>
                        <a:pt x="1052" y="478"/>
                      </a:lnTo>
                      <a:lnTo>
                        <a:pt x="1052" y="477"/>
                      </a:lnTo>
                      <a:lnTo>
                        <a:pt x="1051" y="477"/>
                      </a:lnTo>
                      <a:lnTo>
                        <a:pt x="1051" y="476"/>
                      </a:lnTo>
                      <a:lnTo>
                        <a:pt x="1050" y="476"/>
                      </a:lnTo>
                      <a:lnTo>
                        <a:pt x="1050" y="475"/>
                      </a:lnTo>
                      <a:lnTo>
                        <a:pt x="1048" y="474"/>
                      </a:lnTo>
                      <a:lnTo>
                        <a:pt x="1048" y="473"/>
                      </a:lnTo>
                      <a:lnTo>
                        <a:pt x="1046" y="474"/>
                      </a:lnTo>
                      <a:lnTo>
                        <a:pt x="1046" y="475"/>
                      </a:lnTo>
                      <a:lnTo>
                        <a:pt x="1047" y="476"/>
                      </a:lnTo>
                      <a:lnTo>
                        <a:pt x="1047" y="477"/>
                      </a:lnTo>
                      <a:lnTo>
                        <a:pt x="1048" y="477"/>
                      </a:lnTo>
                      <a:lnTo>
                        <a:pt x="1048" y="478"/>
                      </a:lnTo>
                      <a:lnTo>
                        <a:pt x="1048" y="479"/>
                      </a:lnTo>
                      <a:lnTo>
                        <a:pt x="1048" y="478"/>
                      </a:lnTo>
                      <a:lnTo>
                        <a:pt x="1047" y="478"/>
                      </a:lnTo>
                      <a:lnTo>
                        <a:pt x="1046" y="478"/>
                      </a:lnTo>
                      <a:lnTo>
                        <a:pt x="1045" y="478"/>
                      </a:lnTo>
                      <a:lnTo>
                        <a:pt x="1044" y="477"/>
                      </a:lnTo>
                      <a:lnTo>
                        <a:pt x="1042" y="477"/>
                      </a:lnTo>
                      <a:lnTo>
                        <a:pt x="1041" y="477"/>
                      </a:lnTo>
                      <a:lnTo>
                        <a:pt x="1040" y="477"/>
                      </a:lnTo>
                      <a:lnTo>
                        <a:pt x="1039" y="477"/>
                      </a:lnTo>
                      <a:lnTo>
                        <a:pt x="1038" y="477"/>
                      </a:lnTo>
                      <a:lnTo>
                        <a:pt x="1037" y="477"/>
                      </a:lnTo>
                      <a:lnTo>
                        <a:pt x="1034" y="477"/>
                      </a:lnTo>
                      <a:lnTo>
                        <a:pt x="1033" y="477"/>
                      </a:lnTo>
                      <a:lnTo>
                        <a:pt x="1032" y="477"/>
                      </a:lnTo>
                      <a:lnTo>
                        <a:pt x="1031" y="477"/>
                      </a:lnTo>
                      <a:lnTo>
                        <a:pt x="1030" y="477"/>
                      </a:lnTo>
                      <a:lnTo>
                        <a:pt x="1029" y="477"/>
                      </a:lnTo>
                      <a:lnTo>
                        <a:pt x="1028" y="477"/>
                      </a:lnTo>
                      <a:lnTo>
                        <a:pt x="1027" y="478"/>
                      </a:lnTo>
                      <a:lnTo>
                        <a:pt x="1026" y="478"/>
                      </a:lnTo>
                      <a:lnTo>
                        <a:pt x="1025" y="478"/>
                      </a:lnTo>
                      <a:lnTo>
                        <a:pt x="1024" y="478"/>
                      </a:lnTo>
                      <a:lnTo>
                        <a:pt x="1022" y="478"/>
                      </a:lnTo>
                      <a:lnTo>
                        <a:pt x="1021" y="478"/>
                      </a:lnTo>
                      <a:lnTo>
                        <a:pt x="1020" y="478"/>
                      </a:lnTo>
                      <a:lnTo>
                        <a:pt x="1020" y="479"/>
                      </a:lnTo>
                      <a:lnTo>
                        <a:pt x="1020" y="480"/>
                      </a:lnTo>
                      <a:lnTo>
                        <a:pt x="1019" y="480"/>
                      </a:lnTo>
                      <a:lnTo>
                        <a:pt x="1019" y="481"/>
                      </a:lnTo>
                      <a:lnTo>
                        <a:pt x="1018" y="481"/>
                      </a:lnTo>
                      <a:lnTo>
                        <a:pt x="1018" y="482"/>
                      </a:lnTo>
                      <a:lnTo>
                        <a:pt x="1017" y="482"/>
                      </a:lnTo>
                      <a:lnTo>
                        <a:pt x="1017" y="484"/>
                      </a:lnTo>
                      <a:lnTo>
                        <a:pt x="1016" y="485"/>
                      </a:lnTo>
                      <a:lnTo>
                        <a:pt x="1015" y="485"/>
                      </a:lnTo>
                      <a:lnTo>
                        <a:pt x="1014" y="485"/>
                      </a:lnTo>
                      <a:lnTo>
                        <a:pt x="1014" y="486"/>
                      </a:lnTo>
                      <a:lnTo>
                        <a:pt x="1013" y="486"/>
                      </a:lnTo>
                      <a:lnTo>
                        <a:pt x="1013" y="487"/>
                      </a:lnTo>
                      <a:lnTo>
                        <a:pt x="1012" y="488"/>
                      </a:lnTo>
                      <a:lnTo>
                        <a:pt x="1011" y="489"/>
                      </a:lnTo>
                      <a:lnTo>
                        <a:pt x="1009" y="490"/>
                      </a:lnTo>
                      <a:lnTo>
                        <a:pt x="1008" y="490"/>
                      </a:lnTo>
                      <a:lnTo>
                        <a:pt x="1008" y="491"/>
                      </a:lnTo>
                      <a:lnTo>
                        <a:pt x="1007" y="491"/>
                      </a:lnTo>
                      <a:lnTo>
                        <a:pt x="1007" y="492"/>
                      </a:lnTo>
                      <a:lnTo>
                        <a:pt x="1007" y="493"/>
                      </a:lnTo>
                      <a:lnTo>
                        <a:pt x="1006" y="493"/>
                      </a:lnTo>
                      <a:lnTo>
                        <a:pt x="1006" y="494"/>
                      </a:lnTo>
                      <a:lnTo>
                        <a:pt x="1005" y="494"/>
                      </a:lnTo>
                      <a:lnTo>
                        <a:pt x="1005" y="495"/>
                      </a:lnTo>
                      <a:lnTo>
                        <a:pt x="1005" y="497"/>
                      </a:lnTo>
                      <a:lnTo>
                        <a:pt x="1004" y="497"/>
                      </a:lnTo>
                      <a:lnTo>
                        <a:pt x="1004" y="498"/>
                      </a:lnTo>
                      <a:lnTo>
                        <a:pt x="1003" y="499"/>
                      </a:lnTo>
                      <a:lnTo>
                        <a:pt x="1003" y="500"/>
                      </a:lnTo>
                      <a:lnTo>
                        <a:pt x="1002" y="501"/>
                      </a:lnTo>
                      <a:lnTo>
                        <a:pt x="1002" y="502"/>
                      </a:lnTo>
                      <a:lnTo>
                        <a:pt x="1001" y="502"/>
                      </a:lnTo>
                      <a:lnTo>
                        <a:pt x="1001" y="503"/>
                      </a:lnTo>
                      <a:lnTo>
                        <a:pt x="1000" y="503"/>
                      </a:lnTo>
                      <a:lnTo>
                        <a:pt x="1000" y="504"/>
                      </a:lnTo>
                      <a:lnTo>
                        <a:pt x="999" y="504"/>
                      </a:lnTo>
                      <a:lnTo>
                        <a:pt x="997" y="504"/>
                      </a:lnTo>
                      <a:lnTo>
                        <a:pt x="997" y="505"/>
                      </a:lnTo>
                      <a:lnTo>
                        <a:pt x="996" y="506"/>
                      </a:lnTo>
                      <a:lnTo>
                        <a:pt x="996" y="508"/>
                      </a:lnTo>
                      <a:lnTo>
                        <a:pt x="995" y="510"/>
                      </a:lnTo>
                      <a:lnTo>
                        <a:pt x="994" y="511"/>
                      </a:lnTo>
                      <a:lnTo>
                        <a:pt x="995" y="511"/>
                      </a:lnTo>
                      <a:lnTo>
                        <a:pt x="996" y="510"/>
                      </a:lnTo>
                      <a:lnTo>
                        <a:pt x="997" y="510"/>
                      </a:lnTo>
                      <a:lnTo>
                        <a:pt x="997" y="508"/>
                      </a:lnTo>
                      <a:lnTo>
                        <a:pt x="997" y="510"/>
                      </a:lnTo>
                      <a:lnTo>
                        <a:pt x="997" y="511"/>
                      </a:lnTo>
                      <a:lnTo>
                        <a:pt x="999" y="512"/>
                      </a:lnTo>
                      <a:lnTo>
                        <a:pt x="999" y="513"/>
                      </a:lnTo>
                      <a:lnTo>
                        <a:pt x="999" y="514"/>
                      </a:lnTo>
                      <a:lnTo>
                        <a:pt x="1000" y="515"/>
                      </a:lnTo>
                      <a:lnTo>
                        <a:pt x="1000" y="516"/>
                      </a:lnTo>
                      <a:lnTo>
                        <a:pt x="1000" y="517"/>
                      </a:lnTo>
                      <a:lnTo>
                        <a:pt x="1000" y="518"/>
                      </a:lnTo>
                      <a:lnTo>
                        <a:pt x="1000" y="519"/>
                      </a:lnTo>
                      <a:lnTo>
                        <a:pt x="1000" y="520"/>
                      </a:lnTo>
                      <a:lnTo>
                        <a:pt x="1000" y="521"/>
                      </a:lnTo>
                      <a:lnTo>
                        <a:pt x="1000" y="523"/>
                      </a:lnTo>
                      <a:lnTo>
                        <a:pt x="1000" y="524"/>
                      </a:lnTo>
                      <a:lnTo>
                        <a:pt x="1000" y="525"/>
                      </a:lnTo>
                      <a:lnTo>
                        <a:pt x="1001" y="526"/>
                      </a:lnTo>
                      <a:lnTo>
                        <a:pt x="1001" y="527"/>
                      </a:lnTo>
                      <a:lnTo>
                        <a:pt x="1001" y="528"/>
                      </a:lnTo>
                      <a:lnTo>
                        <a:pt x="1002" y="530"/>
                      </a:lnTo>
                      <a:lnTo>
                        <a:pt x="1002" y="531"/>
                      </a:lnTo>
                      <a:lnTo>
                        <a:pt x="1003" y="532"/>
                      </a:lnTo>
                      <a:lnTo>
                        <a:pt x="1003" y="533"/>
                      </a:lnTo>
                      <a:lnTo>
                        <a:pt x="1003" y="534"/>
                      </a:lnTo>
                      <a:lnTo>
                        <a:pt x="1004" y="534"/>
                      </a:lnTo>
                      <a:lnTo>
                        <a:pt x="1004" y="536"/>
                      </a:lnTo>
                      <a:lnTo>
                        <a:pt x="1004" y="537"/>
                      </a:lnTo>
                      <a:lnTo>
                        <a:pt x="1004" y="538"/>
                      </a:lnTo>
                      <a:lnTo>
                        <a:pt x="1004" y="539"/>
                      </a:lnTo>
                      <a:lnTo>
                        <a:pt x="1004" y="540"/>
                      </a:lnTo>
                      <a:lnTo>
                        <a:pt x="1005" y="541"/>
                      </a:lnTo>
                      <a:lnTo>
                        <a:pt x="1005" y="542"/>
                      </a:lnTo>
                      <a:lnTo>
                        <a:pt x="1006" y="543"/>
                      </a:lnTo>
                      <a:lnTo>
                        <a:pt x="1006" y="544"/>
                      </a:lnTo>
                      <a:lnTo>
                        <a:pt x="1007" y="544"/>
                      </a:lnTo>
                      <a:lnTo>
                        <a:pt x="1007" y="545"/>
                      </a:lnTo>
                      <a:lnTo>
                        <a:pt x="1007" y="546"/>
                      </a:lnTo>
                      <a:lnTo>
                        <a:pt x="1008" y="546"/>
                      </a:lnTo>
                      <a:lnTo>
                        <a:pt x="1008" y="547"/>
                      </a:lnTo>
                      <a:lnTo>
                        <a:pt x="1008" y="549"/>
                      </a:lnTo>
                      <a:lnTo>
                        <a:pt x="1009" y="549"/>
                      </a:lnTo>
                      <a:lnTo>
                        <a:pt x="1008" y="550"/>
                      </a:lnTo>
                      <a:lnTo>
                        <a:pt x="1008" y="551"/>
                      </a:lnTo>
                      <a:lnTo>
                        <a:pt x="1009" y="551"/>
                      </a:lnTo>
                      <a:lnTo>
                        <a:pt x="1011" y="550"/>
                      </a:lnTo>
                      <a:lnTo>
                        <a:pt x="1011" y="551"/>
                      </a:lnTo>
                      <a:lnTo>
                        <a:pt x="1012" y="551"/>
                      </a:lnTo>
                      <a:lnTo>
                        <a:pt x="1013" y="551"/>
                      </a:lnTo>
                      <a:lnTo>
                        <a:pt x="1013" y="552"/>
                      </a:lnTo>
                      <a:lnTo>
                        <a:pt x="1014" y="552"/>
                      </a:lnTo>
                      <a:lnTo>
                        <a:pt x="1014" y="553"/>
                      </a:lnTo>
                      <a:lnTo>
                        <a:pt x="1015" y="553"/>
                      </a:lnTo>
                      <a:lnTo>
                        <a:pt x="1015" y="554"/>
                      </a:lnTo>
                      <a:lnTo>
                        <a:pt x="1016" y="554"/>
                      </a:lnTo>
                      <a:lnTo>
                        <a:pt x="1017" y="554"/>
                      </a:lnTo>
                      <a:lnTo>
                        <a:pt x="1017" y="555"/>
                      </a:lnTo>
                      <a:lnTo>
                        <a:pt x="1018" y="555"/>
                      </a:lnTo>
                      <a:lnTo>
                        <a:pt x="1019" y="556"/>
                      </a:lnTo>
                      <a:lnTo>
                        <a:pt x="1020" y="556"/>
                      </a:lnTo>
                      <a:lnTo>
                        <a:pt x="1020" y="557"/>
                      </a:lnTo>
                      <a:lnTo>
                        <a:pt x="1021" y="557"/>
                      </a:lnTo>
                      <a:lnTo>
                        <a:pt x="1022" y="557"/>
                      </a:lnTo>
                      <a:lnTo>
                        <a:pt x="1024" y="557"/>
                      </a:lnTo>
                      <a:lnTo>
                        <a:pt x="1025" y="557"/>
                      </a:lnTo>
                      <a:lnTo>
                        <a:pt x="1026" y="557"/>
                      </a:lnTo>
                      <a:lnTo>
                        <a:pt x="1027" y="557"/>
                      </a:lnTo>
                      <a:lnTo>
                        <a:pt x="1027" y="558"/>
                      </a:lnTo>
                      <a:lnTo>
                        <a:pt x="1027" y="557"/>
                      </a:lnTo>
                      <a:lnTo>
                        <a:pt x="1027" y="558"/>
                      </a:lnTo>
                      <a:lnTo>
                        <a:pt x="1028" y="558"/>
                      </a:lnTo>
                      <a:lnTo>
                        <a:pt x="1028" y="557"/>
                      </a:lnTo>
                      <a:lnTo>
                        <a:pt x="1028" y="558"/>
                      </a:lnTo>
                      <a:lnTo>
                        <a:pt x="1029" y="558"/>
                      </a:lnTo>
                      <a:lnTo>
                        <a:pt x="1030" y="558"/>
                      </a:lnTo>
                      <a:lnTo>
                        <a:pt x="1031" y="558"/>
                      </a:lnTo>
                      <a:lnTo>
                        <a:pt x="1032" y="558"/>
                      </a:lnTo>
                      <a:lnTo>
                        <a:pt x="1033" y="558"/>
                      </a:lnTo>
                      <a:lnTo>
                        <a:pt x="1034" y="558"/>
                      </a:lnTo>
                      <a:lnTo>
                        <a:pt x="1035" y="558"/>
                      </a:lnTo>
                      <a:lnTo>
                        <a:pt x="1037" y="558"/>
                      </a:lnTo>
                      <a:lnTo>
                        <a:pt x="1038" y="557"/>
                      </a:lnTo>
                      <a:lnTo>
                        <a:pt x="1039" y="557"/>
                      </a:lnTo>
                      <a:lnTo>
                        <a:pt x="1040" y="557"/>
                      </a:lnTo>
                      <a:lnTo>
                        <a:pt x="1040" y="556"/>
                      </a:lnTo>
                      <a:lnTo>
                        <a:pt x="1041" y="556"/>
                      </a:lnTo>
                      <a:lnTo>
                        <a:pt x="1042" y="556"/>
                      </a:lnTo>
                      <a:lnTo>
                        <a:pt x="1043" y="556"/>
                      </a:lnTo>
                      <a:lnTo>
                        <a:pt x="1044" y="556"/>
                      </a:lnTo>
                      <a:lnTo>
                        <a:pt x="1045" y="556"/>
                      </a:lnTo>
                      <a:lnTo>
                        <a:pt x="1046" y="555"/>
                      </a:lnTo>
                      <a:lnTo>
                        <a:pt x="1047" y="555"/>
                      </a:lnTo>
                      <a:lnTo>
                        <a:pt x="1048" y="555"/>
                      </a:lnTo>
                      <a:lnTo>
                        <a:pt x="1048" y="554"/>
                      </a:lnTo>
                      <a:lnTo>
                        <a:pt x="1050" y="554"/>
                      </a:lnTo>
                      <a:lnTo>
                        <a:pt x="1051" y="554"/>
                      </a:lnTo>
                      <a:lnTo>
                        <a:pt x="1052" y="554"/>
                      </a:lnTo>
                      <a:lnTo>
                        <a:pt x="1053" y="553"/>
                      </a:lnTo>
                      <a:lnTo>
                        <a:pt x="1054" y="553"/>
                      </a:lnTo>
                      <a:lnTo>
                        <a:pt x="1055" y="552"/>
                      </a:lnTo>
                      <a:lnTo>
                        <a:pt x="1056" y="552"/>
                      </a:lnTo>
                      <a:lnTo>
                        <a:pt x="1057" y="552"/>
                      </a:lnTo>
                      <a:lnTo>
                        <a:pt x="1057" y="551"/>
                      </a:lnTo>
                      <a:lnTo>
                        <a:pt x="1058" y="551"/>
                      </a:lnTo>
                      <a:lnTo>
                        <a:pt x="1059" y="551"/>
                      </a:lnTo>
                      <a:lnTo>
                        <a:pt x="1060" y="550"/>
                      </a:lnTo>
                      <a:lnTo>
                        <a:pt x="1061" y="550"/>
                      </a:lnTo>
                      <a:lnTo>
                        <a:pt x="1063" y="550"/>
                      </a:lnTo>
                      <a:lnTo>
                        <a:pt x="1063" y="549"/>
                      </a:lnTo>
                      <a:lnTo>
                        <a:pt x="1064" y="550"/>
                      </a:lnTo>
                      <a:lnTo>
                        <a:pt x="1065" y="549"/>
                      </a:lnTo>
                      <a:lnTo>
                        <a:pt x="1066" y="549"/>
                      </a:lnTo>
                      <a:lnTo>
                        <a:pt x="1067" y="547"/>
                      </a:lnTo>
                      <a:lnTo>
                        <a:pt x="1067" y="546"/>
                      </a:lnTo>
                      <a:lnTo>
                        <a:pt x="1068" y="546"/>
                      </a:lnTo>
                      <a:lnTo>
                        <a:pt x="1069" y="545"/>
                      </a:lnTo>
                      <a:lnTo>
                        <a:pt x="1069" y="544"/>
                      </a:lnTo>
                      <a:lnTo>
                        <a:pt x="1070" y="544"/>
                      </a:lnTo>
                      <a:lnTo>
                        <a:pt x="1071" y="543"/>
                      </a:lnTo>
                      <a:lnTo>
                        <a:pt x="1073" y="541"/>
                      </a:lnTo>
                      <a:lnTo>
                        <a:pt x="1074" y="541"/>
                      </a:lnTo>
                      <a:lnTo>
                        <a:pt x="1076" y="540"/>
                      </a:lnTo>
                      <a:lnTo>
                        <a:pt x="1077" y="540"/>
                      </a:lnTo>
                      <a:lnTo>
                        <a:pt x="1077" y="541"/>
                      </a:lnTo>
                      <a:lnTo>
                        <a:pt x="1078" y="541"/>
                      </a:lnTo>
                      <a:lnTo>
                        <a:pt x="1079" y="542"/>
                      </a:lnTo>
                      <a:lnTo>
                        <a:pt x="1080" y="542"/>
                      </a:lnTo>
                      <a:lnTo>
                        <a:pt x="1081" y="543"/>
                      </a:lnTo>
                      <a:lnTo>
                        <a:pt x="1082" y="544"/>
                      </a:lnTo>
                      <a:lnTo>
                        <a:pt x="1083" y="545"/>
                      </a:lnTo>
                      <a:lnTo>
                        <a:pt x="1083" y="546"/>
                      </a:lnTo>
                      <a:lnTo>
                        <a:pt x="1084" y="546"/>
                      </a:lnTo>
                      <a:lnTo>
                        <a:pt x="1084" y="547"/>
                      </a:lnTo>
                      <a:lnTo>
                        <a:pt x="1085" y="549"/>
                      </a:lnTo>
                      <a:lnTo>
                        <a:pt x="1084" y="549"/>
                      </a:lnTo>
                      <a:lnTo>
                        <a:pt x="1081" y="550"/>
                      </a:lnTo>
                      <a:lnTo>
                        <a:pt x="1078" y="551"/>
                      </a:lnTo>
                      <a:lnTo>
                        <a:pt x="1077" y="552"/>
                      </a:lnTo>
                      <a:lnTo>
                        <a:pt x="1076" y="552"/>
                      </a:lnTo>
                      <a:lnTo>
                        <a:pt x="1076" y="553"/>
                      </a:lnTo>
                      <a:lnTo>
                        <a:pt x="1074" y="553"/>
                      </a:lnTo>
                      <a:lnTo>
                        <a:pt x="1073" y="554"/>
                      </a:lnTo>
                      <a:lnTo>
                        <a:pt x="1072" y="554"/>
                      </a:lnTo>
                      <a:lnTo>
                        <a:pt x="1071" y="555"/>
                      </a:lnTo>
                      <a:lnTo>
                        <a:pt x="1070" y="555"/>
                      </a:lnTo>
                      <a:lnTo>
                        <a:pt x="1069" y="555"/>
                      </a:lnTo>
                      <a:lnTo>
                        <a:pt x="1068" y="555"/>
                      </a:lnTo>
                      <a:lnTo>
                        <a:pt x="1067" y="555"/>
                      </a:lnTo>
                      <a:lnTo>
                        <a:pt x="1067" y="556"/>
                      </a:lnTo>
                      <a:lnTo>
                        <a:pt x="1066" y="557"/>
                      </a:lnTo>
                      <a:lnTo>
                        <a:pt x="1066" y="558"/>
                      </a:lnTo>
                      <a:lnTo>
                        <a:pt x="1066" y="559"/>
                      </a:lnTo>
                      <a:lnTo>
                        <a:pt x="1065" y="559"/>
                      </a:lnTo>
                      <a:lnTo>
                        <a:pt x="1065" y="560"/>
                      </a:lnTo>
                      <a:lnTo>
                        <a:pt x="1064" y="560"/>
                      </a:lnTo>
                      <a:lnTo>
                        <a:pt x="1064" y="562"/>
                      </a:lnTo>
                      <a:lnTo>
                        <a:pt x="1065" y="562"/>
                      </a:lnTo>
                      <a:lnTo>
                        <a:pt x="1065" y="563"/>
                      </a:lnTo>
                      <a:lnTo>
                        <a:pt x="1065" y="564"/>
                      </a:lnTo>
                      <a:lnTo>
                        <a:pt x="1065" y="565"/>
                      </a:lnTo>
                      <a:lnTo>
                        <a:pt x="1065" y="566"/>
                      </a:lnTo>
                      <a:lnTo>
                        <a:pt x="1065" y="567"/>
                      </a:lnTo>
                      <a:lnTo>
                        <a:pt x="1065" y="568"/>
                      </a:lnTo>
                      <a:lnTo>
                        <a:pt x="1065" y="569"/>
                      </a:lnTo>
                      <a:lnTo>
                        <a:pt x="1066" y="569"/>
                      </a:lnTo>
                      <a:lnTo>
                        <a:pt x="1065" y="569"/>
                      </a:lnTo>
                      <a:lnTo>
                        <a:pt x="1066" y="569"/>
                      </a:lnTo>
                      <a:lnTo>
                        <a:pt x="1066" y="570"/>
                      </a:lnTo>
                      <a:lnTo>
                        <a:pt x="1066" y="571"/>
                      </a:lnTo>
                      <a:lnTo>
                        <a:pt x="1066" y="572"/>
                      </a:lnTo>
                      <a:lnTo>
                        <a:pt x="1066" y="574"/>
                      </a:lnTo>
                      <a:lnTo>
                        <a:pt x="1066" y="575"/>
                      </a:lnTo>
                      <a:lnTo>
                        <a:pt x="1066" y="576"/>
                      </a:lnTo>
                      <a:lnTo>
                        <a:pt x="1067" y="576"/>
                      </a:lnTo>
                      <a:lnTo>
                        <a:pt x="1067" y="577"/>
                      </a:lnTo>
                      <a:lnTo>
                        <a:pt x="1068" y="577"/>
                      </a:lnTo>
                      <a:lnTo>
                        <a:pt x="1068" y="578"/>
                      </a:lnTo>
                      <a:lnTo>
                        <a:pt x="1069" y="578"/>
                      </a:lnTo>
                      <a:lnTo>
                        <a:pt x="1069" y="579"/>
                      </a:lnTo>
                      <a:lnTo>
                        <a:pt x="1070" y="579"/>
                      </a:lnTo>
                      <a:lnTo>
                        <a:pt x="1070" y="580"/>
                      </a:lnTo>
                      <a:lnTo>
                        <a:pt x="1071" y="580"/>
                      </a:lnTo>
                      <a:lnTo>
                        <a:pt x="1072" y="581"/>
                      </a:lnTo>
                      <a:lnTo>
                        <a:pt x="1073" y="582"/>
                      </a:lnTo>
                      <a:lnTo>
                        <a:pt x="1074" y="582"/>
                      </a:lnTo>
                      <a:lnTo>
                        <a:pt x="1074" y="583"/>
                      </a:lnTo>
                      <a:lnTo>
                        <a:pt x="1076" y="583"/>
                      </a:lnTo>
                      <a:lnTo>
                        <a:pt x="1077" y="584"/>
                      </a:lnTo>
                      <a:lnTo>
                        <a:pt x="1078" y="584"/>
                      </a:lnTo>
                      <a:lnTo>
                        <a:pt x="1078" y="585"/>
                      </a:lnTo>
                      <a:lnTo>
                        <a:pt x="1079" y="585"/>
                      </a:lnTo>
                      <a:lnTo>
                        <a:pt x="1079" y="587"/>
                      </a:lnTo>
                      <a:lnTo>
                        <a:pt x="1080" y="587"/>
                      </a:lnTo>
                      <a:lnTo>
                        <a:pt x="1080" y="588"/>
                      </a:lnTo>
                      <a:lnTo>
                        <a:pt x="1080" y="589"/>
                      </a:lnTo>
                      <a:lnTo>
                        <a:pt x="1079" y="589"/>
                      </a:lnTo>
                      <a:lnTo>
                        <a:pt x="1080" y="589"/>
                      </a:lnTo>
                      <a:lnTo>
                        <a:pt x="1080" y="588"/>
                      </a:lnTo>
                      <a:lnTo>
                        <a:pt x="1081" y="588"/>
                      </a:lnTo>
                      <a:lnTo>
                        <a:pt x="1082" y="589"/>
                      </a:lnTo>
                      <a:lnTo>
                        <a:pt x="1082" y="590"/>
                      </a:lnTo>
                      <a:lnTo>
                        <a:pt x="1083" y="590"/>
                      </a:lnTo>
                      <a:lnTo>
                        <a:pt x="1083" y="591"/>
                      </a:lnTo>
                      <a:lnTo>
                        <a:pt x="1084" y="592"/>
                      </a:lnTo>
                      <a:lnTo>
                        <a:pt x="1084" y="593"/>
                      </a:lnTo>
                      <a:lnTo>
                        <a:pt x="1084" y="594"/>
                      </a:lnTo>
                      <a:lnTo>
                        <a:pt x="1085" y="595"/>
                      </a:lnTo>
                      <a:lnTo>
                        <a:pt x="1086" y="595"/>
                      </a:lnTo>
                      <a:lnTo>
                        <a:pt x="1086" y="596"/>
                      </a:lnTo>
                      <a:lnTo>
                        <a:pt x="1087" y="596"/>
                      </a:lnTo>
                      <a:lnTo>
                        <a:pt x="1089" y="597"/>
                      </a:lnTo>
                      <a:lnTo>
                        <a:pt x="1090" y="597"/>
                      </a:lnTo>
                      <a:lnTo>
                        <a:pt x="1090" y="598"/>
                      </a:lnTo>
                      <a:lnTo>
                        <a:pt x="1091" y="600"/>
                      </a:lnTo>
                      <a:lnTo>
                        <a:pt x="1092" y="600"/>
                      </a:lnTo>
                      <a:lnTo>
                        <a:pt x="1093" y="601"/>
                      </a:lnTo>
                      <a:lnTo>
                        <a:pt x="1094" y="601"/>
                      </a:lnTo>
                      <a:lnTo>
                        <a:pt x="1095" y="602"/>
                      </a:lnTo>
                      <a:lnTo>
                        <a:pt x="1096" y="602"/>
                      </a:lnTo>
                      <a:lnTo>
                        <a:pt x="1097" y="603"/>
                      </a:lnTo>
                      <a:lnTo>
                        <a:pt x="1098" y="603"/>
                      </a:lnTo>
                      <a:lnTo>
                        <a:pt x="1098" y="604"/>
                      </a:lnTo>
                      <a:lnTo>
                        <a:pt x="1099" y="603"/>
                      </a:lnTo>
                      <a:lnTo>
                        <a:pt x="1099" y="604"/>
                      </a:lnTo>
                      <a:lnTo>
                        <a:pt x="1100" y="604"/>
                      </a:lnTo>
                      <a:lnTo>
                        <a:pt x="1102" y="604"/>
                      </a:lnTo>
                      <a:lnTo>
                        <a:pt x="1103" y="604"/>
                      </a:lnTo>
                      <a:lnTo>
                        <a:pt x="1104" y="604"/>
                      </a:lnTo>
                      <a:lnTo>
                        <a:pt x="1104" y="605"/>
                      </a:lnTo>
                      <a:lnTo>
                        <a:pt x="1105" y="605"/>
                      </a:lnTo>
                      <a:lnTo>
                        <a:pt x="1106" y="605"/>
                      </a:lnTo>
                      <a:lnTo>
                        <a:pt x="1107" y="605"/>
                      </a:lnTo>
                      <a:lnTo>
                        <a:pt x="1107" y="604"/>
                      </a:lnTo>
                      <a:lnTo>
                        <a:pt x="1107" y="605"/>
                      </a:lnTo>
                      <a:lnTo>
                        <a:pt x="1108" y="605"/>
                      </a:lnTo>
                      <a:lnTo>
                        <a:pt x="1109" y="605"/>
                      </a:lnTo>
                      <a:lnTo>
                        <a:pt x="1109" y="604"/>
                      </a:lnTo>
                      <a:lnTo>
                        <a:pt x="1110" y="604"/>
                      </a:lnTo>
                      <a:lnTo>
                        <a:pt x="1111" y="604"/>
                      </a:lnTo>
                      <a:lnTo>
                        <a:pt x="1111" y="605"/>
                      </a:lnTo>
                      <a:lnTo>
                        <a:pt x="1111" y="606"/>
                      </a:lnTo>
                      <a:lnTo>
                        <a:pt x="1112" y="606"/>
                      </a:lnTo>
                      <a:lnTo>
                        <a:pt x="1113" y="606"/>
                      </a:lnTo>
                      <a:lnTo>
                        <a:pt x="1113" y="607"/>
                      </a:lnTo>
                      <a:lnTo>
                        <a:pt x="1115" y="607"/>
                      </a:lnTo>
                      <a:lnTo>
                        <a:pt x="1116" y="607"/>
                      </a:lnTo>
                      <a:lnTo>
                        <a:pt x="1117" y="607"/>
                      </a:lnTo>
                      <a:lnTo>
                        <a:pt x="1118" y="607"/>
                      </a:lnTo>
                      <a:lnTo>
                        <a:pt x="1118" y="608"/>
                      </a:lnTo>
                      <a:lnTo>
                        <a:pt x="1119" y="608"/>
                      </a:lnTo>
                      <a:lnTo>
                        <a:pt x="1120" y="608"/>
                      </a:lnTo>
                      <a:lnTo>
                        <a:pt x="1121" y="608"/>
                      </a:lnTo>
                      <a:lnTo>
                        <a:pt x="1122" y="608"/>
                      </a:lnTo>
                      <a:lnTo>
                        <a:pt x="1123" y="608"/>
                      </a:lnTo>
                      <a:lnTo>
                        <a:pt x="1123" y="607"/>
                      </a:lnTo>
                      <a:lnTo>
                        <a:pt x="1124" y="607"/>
                      </a:lnTo>
                      <a:lnTo>
                        <a:pt x="1124" y="608"/>
                      </a:lnTo>
                      <a:lnTo>
                        <a:pt x="1125" y="608"/>
                      </a:lnTo>
                      <a:lnTo>
                        <a:pt x="1126" y="608"/>
                      </a:lnTo>
                      <a:lnTo>
                        <a:pt x="1126" y="607"/>
                      </a:lnTo>
                      <a:lnTo>
                        <a:pt x="1128" y="607"/>
                      </a:lnTo>
                      <a:lnTo>
                        <a:pt x="1128" y="608"/>
                      </a:lnTo>
                      <a:lnTo>
                        <a:pt x="1129" y="607"/>
                      </a:lnTo>
                      <a:lnTo>
                        <a:pt x="1130" y="607"/>
                      </a:lnTo>
                      <a:lnTo>
                        <a:pt x="1131" y="607"/>
                      </a:lnTo>
                      <a:lnTo>
                        <a:pt x="1132" y="607"/>
                      </a:lnTo>
                      <a:lnTo>
                        <a:pt x="1133" y="607"/>
                      </a:lnTo>
                      <a:lnTo>
                        <a:pt x="1134" y="607"/>
                      </a:lnTo>
                      <a:lnTo>
                        <a:pt x="1134" y="606"/>
                      </a:lnTo>
                      <a:lnTo>
                        <a:pt x="1135" y="606"/>
                      </a:lnTo>
                      <a:lnTo>
                        <a:pt x="1136" y="606"/>
                      </a:lnTo>
                      <a:lnTo>
                        <a:pt x="1137" y="606"/>
                      </a:lnTo>
                      <a:lnTo>
                        <a:pt x="1138" y="605"/>
                      </a:lnTo>
                      <a:lnTo>
                        <a:pt x="1140" y="605"/>
                      </a:lnTo>
                      <a:lnTo>
                        <a:pt x="1141" y="605"/>
                      </a:lnTo>
                      <a:lnTo>
                        <a:pt x="1142" y="604"/>
                      </a:lnTo>
                      <a:lnTo>
                        <a:pt x="1143" y="604"/>
                      </a:lnTo>
                      <a:lnTo>
                        <a:pt x="1144" y="604"/>
                      </a:lnTo>
                      <a:lnTo>
                        <a:pt x="1145" y="603"/>
                      </a:lnTo>
                      <a:lnTo>
                        <a:pt x="1146" y="603"/>
                      </a:lnTo>
                      <a:lnTo>
                        <a:pt x="1146" y="602"/>
                      </a:lnTo>
                      <a:lnTo>
                        <a:pt x="1147" y="602"/>
                      </a:lnTo>
                      <a:lnTo>
                        <a:pt x="1148" y="602"/>
                      </a:lnTo>
                      <a:lnTo>
                        <a:pt x="1149" y="601"/>
                      </a:lnTo>
                      <a:lnTo>
                        <a:pt x="1150" y="601"/>
                      </a:lnTo>
                      <a:lnTo>
                        <a:pt x="1150" y="600"/>
                      </a:lnTo>
                      <a:lnTo>
                        <a:pt x="1151" y="600"/>
                      </a:lnTo>
                      <a:lnTo>
                        <a:pt x="1153" y="600"/>
                      </a:lnTo>
                      <a:lnTo>
                        <a:pt x="1153" y="598"/>
                      </a:lnTo>
                      <a:lnTo>
                        <a:pt x="1154" y="597"/>
                      </a:lnTo>
                      <a:lnTo>
                        <a:pt x="1155" y="597"/>
                      </a:lnTo>
                      <a:lnTo>
                        <a:pt x="1155" y="596"/>
                      </a:lnTo>
                      <a:lnTo>
                        <a:pt x="1156" y="596"/>
                      </a:lnTo>
                      <a:lnTo>
                        <a:pt x="1157" y="595"/>
                      </a:lnTo>
                      <a:lnTo>
                        <a:pt x="1158" y="595"/>
                      </a:lnTo>
                      <a:lnTo>
                        <a:pt x="1158" y="594"/>
                      </a:lnTo>
                      <a:lnTo>
                        <a:pt x="1159" y="593"/>
                      </a:lnTo>
                      <a:lnTo>
                        <a:pt x="1159" y="592"/>
                      </a:lnTo>
                      <a:lnTo>
                        <a:pt x="1159" y="591"/>
                      </a:lnTo>
                      <a:lnTo>
                        <a:pt x="1160" y="591"/>
                      </a:lnTo>
                      <a:lnTo>
                        <a:pt x="1160" y="590"/>
                      </a:lnTo>
                      <a:lnTo>
                        <a:pt x="1160" y="589"/>
                      </a:lnTo>
                      <a:lnTo>
                        <a:pt x="1160" y="588"/>
                      </a:lnTo>
                      <a:lnTo>
                        <a:pt x="1161" y="588"/>
                      </a:lnTo>
                      <a:lnTo>
                        <a:pt x="1161" y="587"/>
                      </a:lnTo>
                      <a:lnTo>
                        <a:pt x="1161" y="585"/>
                      </a:lnTo>
                      <a:lnTo>
                        <a:pt x="1161" y="584"/>
                      </a:lnTo>
                      <a:lnTo>
                        <a:pt x="1160" y="584"/>
                      </a:lnTo>
                      <a:lnTo>
                        <a:pt x="1160" y="583"/>
                      </a:lnTo>
                      <a:lnTo>
                        <a:pt x="1160" y="582"/>
                      </a:lnTo>
                      <a:lnTo>
                        <a:pt x="1160" y="581"/>
                      </a:lnTo>
                      <a:lnTo>
                        <a:pt x="1160" y="580"/>
                      </a:lnTo>
                      <a:lnTo>
                        <a:pt x="1160" y="579"/>
                      </a:lnTo>
                      <a:lnTo>
                        <a:pt x="1160" y="578"/>
                      </a:lnTo>
                      <a:lnTo>
                        <a:pt x="1160" y="577"/>
                      </a:lnTo>
                      <a:lnTo>
                        <a:pt x="1160" y="576"/>
                      </a:lnTo>
                      <a:lnTo>
                        <a:pt x="1160" y="575"/>
                      </a:lnTo>
                      <a:lnTo>
                        <a:pt x="1160" y="574"/>
                      </a:lnTo>
                      <a:lnTo>
                        <a:pt x="1161" y="574"/>
                      </a:lnTo>
                      <a:lnTo>
                        <a:pt x="1160" y="574"/>
                      </a:lnTo>
                      <a:lnTo>
                        <a:pt x="1160" y="575"/>
                      </a:lnTo>
                      <a:lnTo>
                        <a:pt x="1160" y="574"/>
                      </a:lnTo>
                      <a:lnTo>
                        <a:pt x="1160" y="572"/>
                      </a:lnTo>
                      <a:lnTo>
                        <a:pt x="1159" y="572"/>
                      </a:lnTo>
                      <a:lnTo>
                        <a:pt x="1160" y="571"/>
                      </a:lnTo>
                      <a:lnTo>
                        <a:pt x="1159" y="571"/>
                      </a:lnTo>
                      <a:lnTo>
                        <a:pt x="1159" y="570"/>
                      </a:lnTo>
                      <a:lnTo>
                        <a:pt x="1159" y="569"/>
                      </a:lnTo>
                      <a:lnTo>
                        <a:pt x="1159" y="568"/>
                      </a:lnTo>
                      <a:lnTo>
                        <a:pt x="1160" y="568"/>
                      </a:lnTo>
                      <a:lnTo>
                        <a:pt x="1161" y="567"/>
                      </a:lnTo>
                      <a:lnTo>
                        <a:pt x="1161" y="566"/>
                      </a:lnTo>
                      <a:lnTo>
                        <a:pt x="1162" y="566"/>
                      </a:lnTo>
                      <a:lnTo>
                        <a:pt x="1162" y="565"/>
                      </a:lnTo>
                      <a:lnTo>
                        <a:pt x="1163" y="564"/>
                      </a:lnTo>
                      <a:lnTo>
                        <a:pt x="1163" y="563"/>
                      </a:lnTo>
                      <a:lnTo>
                        <a:pt x="1164" y="563"/>
                      </a:lnTo>
                      <a:lnTo>
                        <a:pt x="1164" y="562"/>
                      </a:lnTo>
                      <a:lnTo>
                        <a:pt x="1166" y="562"/>
                      </a:lnTo>
                      <a:lnTo>
                        <a:pt x="1166" y="560"/>
                      </a:lnTo>
                      <a:lnTo>
                        <a:pt x="1166" y="559"/>
                      </a:lnTo>
                      <a:lnTo>
                        <a:pt x="1167" y="559"/>
                      </a:lnTo>
                      <a:lnTo>
                        <a:pt x="1167" y="558"/>
                      </a:lnTo>
                      <a:lnTo>
                        <a:pt x="1168" y="557"/>
                      </a:lnTo>
                      <a:lnTo>
                        <a:pt x="1167" y="558"/>
                      </a:lnTo>
                      <a:lnTo>
                        <a:pt x="1167" y="557"/>
                      </a:lnTo>
                      <a:lnTo>
                        <a:pt x="1167" y="556"/>
                      </a:lnTo>
                      <a:lnTo>
                        <a:pt x="1168" y="556"/>
                      </a:lnTo>
                      <a:lnTo>
                        <a:pt x="1168" y="555"/>
                      </a:lnTo>
                      <a:lnTo>
                        <a:pt x="1168" y="554"/>
                      </a:lnTo>
                      <a:lnTo>
                        <a:pt x="1167" y="554"/>
                      </a:lnTo>
                      <a:lnTo>
                        <a:pt x="1168" y="553"/>
                      </a:lnTo>
                      <a:lnTo>
                        <a:pt x="1168" y="552"/>
                      </a:lnTo>
                      <a:lnTo>
                        <a:pt x="1167" y="552"/>
                      </a:lnTo>
                      <a:lnTo>
                        <a:pt x="1168" y="552"/>
                      </a:lnTo>
                      <a:lnTo>
                        <a:pt x="1167" y="551"/>
                      </a:lnTo>
                      <a:lnTo>
                        <a:pt x="1168" y="551"/>
                      </a:lnTo>
                      <a:lnTo>
                        <a:pt x="1168" y="550"/>
                      </a:lnTo>
                      <a:lnTo>
                        <a:pt x="1167" y="550"/>
                      </a:lnTo>
                      <a:lnTo>
                        <a:pt x="1167" y="549"/>
                      </a:lnTo>
                      <a:lnTo>
                        <a:pt x="1167" y="550"/>
                      </a:lnTo>
                      <a:lnTo>
                        <a:pt x="1166" y="550"/>
                      </a:lnTo>
                      <a:lnTo>
                        <a:pt x="1166" y="549"/>
                      </a:lnTo>
                      <a:lnTo>
                        <a:pt x="1167" y="547"/>
                      </a:lnTo>
                      <a:lnTo>
                        <a:pt x="1167" y="546"/>
                      </a:lnTo>
                      <a:lnTo>
                        <a:pt x="1168" y="546"/>
                      </a:lnTo>
                      <a:lnTo>
                        <a:pt x="1168" y="545"/>
                      </a:lnTo>
                      <a:lnTo>
                        <a:pt x="1168" y="544"/>
                      </a:lnTo>
                      <a:lnTo>
                        <a:pt x="1168" y="543"/>
                      </a:lnTo>
                      <a:lnTo>
                        <a:pt x="1169" y="543"/>
                      </a:lnTo>
                      <a:lnTo>
                        <a:pt x="1169" y="542"/>
                      </a:lnTo>
                      <a:lnTo>
                        <a:pt x="1170" y="542"/>
                      </a:lnTo>
                      <a:lnTo>
                        <a:pt x="1170" y="541"/>
                      </a:lnTo>
                      <a:lnTo>
                        <a:pt x="1170" y="542"/>
                      </a:lnTo>
                      <a:lnTo>
                        <a:pt x="1170" y="541"/>
                      </a:lnTo>
                      <a:lnTo>
                        <a:pt x="1171" y="540"/>
                      </a:lnTo>
                      <a:lnTo>
                        <a:pt x="1171" y="539"/>
                      </a:lnTo>
                      <a:lnTo>
                        <a:pt x="1172" y="539"/>
                      </a:lnTo>
                      <a:lnTo>
                        <a:pt x="1172" y="538"/>
                      </a:lnTo>
                      <a:lnTo>
                        <a:pt x="1172" y="539"/>
                      </a:lnTo>
                      <a:lnTo>
                        <a:pt x="1172" y="538"/>
                      </a:lnTo>
                      <a:lnTo>
                        <a:pt x="1173" y="538"/>
                      </a:lnTo>
                      <a:lnTo>
                        <a:pt x="1173" y="537"/>
                      </a:lnTo>
                      <a:lnTo>
                        <a:pt x="1174" y="536"/>
                      </a:lnTo>
                      <a:lnTo>
                        <a:pt x="1173" y="536"/>
                      </a:lnTo>
                      <a:lnTo>
                        <a:pt x="1173" y="534"/>
                      </a:lnTo>
                      <a:lnTo>
                        <a:pt x="1173" y="533"/>
                      </a:lnTo>
                      <a:lnTo>
                        <a:pt x="1172" y="533"/>
                      </a:lnTo>
                      <a:lnTo>
                        <a:pt x="1172" y="532"/>
                      </a:lnTo>
                      <a:lnTo>
                        <a:pt x="1173" y="532"/>
                      </a:lnTo>
                      <a:lnTo>
                        <a:pt x="1172" y="531"/>
                      </a:lnTo>
                      <a:lnTo>
                        <a:pt x="1172" y="530"/>
                      </a:lnTo>
                      <a:lnTo>
                        <a:pt x="1172" y="529"/>
                      </a:lnTo>
                      <a:lnTo>
                        <a:pt x="1173" y="529"/>
                      </a:lnTo>
                      <a:lnTo>
                        <a:pt x="1173" y="528"/>
                      </a:lnTo>
                      <a:lnTo>
                        <a:pt x="1172" y="528"/>
                      </a:lnTo>
                      <a:lnTo>
                        <a:pt x="1173" y="528"/>
                      </a:lnTo>
                      <a:lnTo>
                        <a:pt x="1173" y="527"/>
                      </a:lnTo>
                      <a:lnTo>
                        <a:pt x="1172" y="526"/>
                      </a:lnTo>
                      <a:lnTo>
                        <a:pt x="1172" y="525"/>
                      </a:lnTo>
                      <a:lnTo>
                        <a:pt x="1172" y="524"/>
                      </a:lnTo>
                      <a:lnTo>
                        <a:pt x="1171" y="524"/>
                      </a:lnTo>
                      <a:lnTo>
                        <a:pt x="1171" y="523"/>
                      </a:lnTo>
                      <a:lnTo>
                        <a:pt x="1171" y="521"/>
                      </a:lnTo>
                      <a:lnTo>
                        <a:pt x="1170" y="521"/>
                      </a:lnTo>
                      <a:lnTo>
                        <a:pt x="1170" y="520"/>
                      </a:lnTo>
                      <a:lnTo>
                        <a:pt x="1169" y="519"/>
                      </a:lnTo>
                      <a:lnTo>
                        <a:pt x="1168" y="518"/>
                      </a:lnTo>
                      <a:lnTo>
                        <a:pt x="1167" y="518"/>
                      </a:lnTo>
                      <a:lnTo>
                        <a:pt x="1167" y="517"/>
                      </a:lnTo>
                      <a:lnTo>
                        <a:pt x="1167" y="516"/>
                      </a:lnTo>
                      <a:lnTo>
                        <a:pt x="1168" y="516"/>
                      </a:lnTo>
                      <a:lnTo>
                        <a:pt x="1168" y="515"/>
                      </a:lnTo>
                      <a:lnTo>
                        <a:pt x="1169" y="515"/>
                      </a:lnTo>
                      <a:lnTo>
                        <a:pt x="1169" y="514"/>
                      </a:lnTo>
                      <a:lnTo>
                        <a:pt x="1170" y="514"/>
                      </a:lnTo>
                      <a:lnTo>
                        <a:pt x="1170" y="513"/>
                      </a:lnTo>
                      <a:lnTo>
                        <a:pt x="1170" y="512"/>
                      </a:lnTo>
                      <a:lnTo>
                        <a:pt x="1170" y="513"/>
                      </a:lnTo>
                      <a:lnTo>
                        <a:pt x="1171" y="513"/>
                      </a:lnTo>
                      <a:lnTo>
                        <a:pt x="1172" y="513"/>
                      </a:lnTo>
                      <a:lnTo>
                        <a:pt x="1171" y="513"/>
                      </a:lnTo>
                      <a:lnTo>
                        <a:pt x="1172" y="513"/>
                      </a:lnTo>
                      <a:lnTo>
                        <a:pt x="1173" y="513"/>
                      </a:lnTo>
                      <a:lnTo>
                        <a:pt x="1173" y="514"/>
                      </a:lnTo>
                      <a:lnTo>
                        <a:pt x="1174" y="514"/>
                      </a:lnTo>
                      <a:lnTo>
                        <a:pt x="1174" y="513"/>
                      </a:lnTo>
                      <a:lnTo>
                        <a:pt x="1175" y="513"/>
                      </a:lnTo>
                      <a:lnTo>
                        <a:pt x="1175" y="512"/>
                      </a:lnTo>
                      <a:lnTo>
                        <a:pt x="1176" y="512"/>
                      </a:lnTo>
                      <a:lnTo>
                        <a:pt x="1176" y="513"/>
                      </a:lnTo>
                      <a:lnTo>
                        <a:pt x="1177" y="512"/>
                      </a:lnTo>
                      <a:lnTo>
                        <a:pt x="1177" y="513"/>
                      </a:lnTo>
                      <a:lnTo>
                        <a:pt x="1177" y="512"/>
                      </a:lnTo>
                      <a:lnTo>
                        <a:pt x="1179" y="512"/>
                      </a:lnTo>
                      <a:lnTo>
                        <a:pt x="1179" y="513"/>
                      </a:lnTo>
                      <a:lnTo>
                        <a:pt x="1179" y="512"/>
                      </a:lnTo>
                      <a:lnTo>
                        <a:pt x="1179" y="511"/>
                      </a:lnTo>
                      <a:lnTo>
                        <a:pt x="1180" y="511"/>
                      </a:lnTo>
                      <a:lnTo>
                        <a:pt x="1181" y="511"/>
                      </a:lnTo>
                      <a:lnTo>
                        <a:pt x="1181" y="512"/>
                      </a:lnTo>
                      <a:lnTo>
                        <a:pt x="1182" y="512"/>
                      </a:lnTo>
                      <a:lnTo>
                        <a:pt x="1182" y="511"/>
                      </a:lnTo>
                      <a:lnTo>
                        <a:pt x="1182" y="510"/>
                      </a:lnTo>
                      <a:lnTo>
                        <a:pt x="1183" y="510"/>
                      </a:lnTo>
                      <a:lnTo>
                        <a:pt x="1183" y="508"/>
                      </a:lnTo>
                      <a:lnTo>
                        <a:pt x="1183" y="507"/>
                      </a:lnTo>
                      <a:lnTo>
                        <a:pt x="1184" y="507"/>
                      </a:lnTo>
                      <a:lnTo>
                        <a:pt x="1184" y="506"/>
                      </a:lnTo>
                      <a:lnTo>
                        <a:pt x="1185" y="506"/>
                      </a:lnTo>
                      <a:lnTo>
                        <a:pt x="1186" y="505"/>
                      </a:lnTo>
                      <a:lnTo>
                        <a:pt x="1187" y="505"/>
                      </a:lnTo>
                      <a:lnTo>
                        <a:pt x="1188" y="505"/>
                      </a:lnTo>
                      <a:lnTo>
                        <a:pt x="1188" y="504"/>
                      </a:lnTo>
                      <a:lnTo>
                        <a:pt x="1189" y="504"/>
                      </a:lnTo>
                      <a:lnTo>
                        <a:pt x="1189" y="503"/>
                      </a:lnTo>
                      <a:lnTo>
                        <a:pt x="1189" y="504"/>
                      </a:lnTo>
                      <a:lnTo>
                        <a:pt x="1190" y="503"/>
                      </a:lnTo>
                      <a:lnTo>
                        <a:pt x="1190" y="502"/>
                      </a:lnTo>
                      <a:lnTo>
                        <a:pt x="1192" y="502"/>
                      </a:lnTo>
                      <a:lnTo>
                        <a:pt x="1193" y="502"/>
                      </a:lnTo>
                      <a:lnTo>
                        <a:pt x="1194" y="501"/>
                      </a:lnTo>
                      <a:lnTo>
                        <a:pt x="1195" y="501"/>
                      </a:lnTo>
                      <a:lnTo>
                        <a:pt x="1196" y="501"/>
                      </a:lnTo>
                      <a:lnTo>
                        <a:pt x="1195" y="500"/>
                      </a:lnTo>
                      <a:lnTo>
                        <a:pt x="1195" y="499"/>
                      </a:lnTo>
                      <a:lnTo>
                        <a:pt x="1196" y="499"/>
                      </a:lnTo>
                      <a:lnTo>
                        <a:pt x="1197" y="499"/>
                      </a:lnTo>
                      <a:lnTo>
                        <a:pt x="1198" y="499"/>
                      </a:lnTo>
                      <a:lnTo>
                        <a:pt x="1198" y="498"/>
                      </a:lnTo>
                      <a:lnTo>
                        <a:pt x="1199" y="498"/>
                      </a:lnTo>
                      <a:lnTo>
                        <a:pt x="1200" y="498"/>
                      </a:lnTo>
                      <a:lnTo>
                        <a:pt x="1200" y="497"/>
                      </a:lnTo>
                      <a:lnTo>
                        <a:pt x="1201" y="497"/>
                      </a:lnTo>
                      <a:lnTo>
                        <a:pt x="1201" y="495"/>
                      </a:lnTo>
                      <a:lnTo>
                        <a:pt x="1202" y="495"/>
                      </a:lnTo>
                      <a:lnTo>
                        <a:pt x="1203" y="495"/>
                      </a:lnTo>
                      <a:lnTo>
                        <a:pt x="1203" y="494"/>
                      </a:lnTo>
                      <a:lnTo>
                        <a:pt x="1205" y="494"/>
                      </a:lnTo>
                      <a:lnTo>
                        <a:pt x="1206" y="494"/>
                      </a:lnTo>
                      <a:lnTo>
                        <a:pt x="1206" y="493"/>
                      </a:lnTo>
                      <a:lnTo>
                        <a:pt x="1207" y="493"/>
                      </a:lnTo>
                      <a:lnTo>
                        <a:pt x="1207" y="492"/>
                      </a:lnTo>
                      <a:lnTo>
                        <a:pt x="1208" y="492"/>
                      </a:lnTo>
                      <a:lnTo>
                        <a:pt x="1208" y="493"/>
                      </a:lnTo>
                      <a:lnTo>
                        <a:pt x="1208" y="492"/>
                      </a:lnTo>
                      <a:lnTo>
                        <a:pt x="1209" y="492"/>
                      </a:lnTo>
                      <a:lnTo>
                        <a:pt x="1209" y="491"/>
                      </a:lnTo>
                      <a:lnTo>
                        <a:pt x="1210" y="492"/>
                      </a:lnTo>
                      <a:lnTo>
                        <a:pt x="1210" y="491"/>
                      </a:lnTo>
                      <a:lnTo>
                        <a:pt x="1211" y="491"/>
                      </a:lnTo>
                      <a:lnTo>
                        <a:pt x="1211" y="490"/>
                      </a:lnTo>
                      <a:lnTo>
                        <a:pt x="1212" y="491"/>
                      </a:lnTo>
                      <a:lnTo>
                        <a:pt x="1212" y="490"/>
                      </a:lnTo>
                      <a:lnTo>
                        <a:pt x="1212" y="489"/>
                      </a:lnTo>
                      <a:lnTo>
                        <a:pt x="1213" y="489"/>
                      </a:lnTo>
                      <a:lnTo>
                        <a:pt x="1213" y="488"/>
                      </a:lnTo>
                      <a:lnTo>
                        <a:pt x="1214" y="488"/>
                      </a:lnTo>
                      <a:lnTo>
                        <a:pt x="1214" y="487"/>
                      </a:lnTo>
                      <a:lnTo>
                        <a:pt x="1215" y="488"/>
                      </a:lnTo>
                      <a:lnTo>
                        <a:pt x="1215" y="487"/>
                      </a:lnTo>
                      <a:lnTo>
                        <a:pt x="1215" y="486"/>
                      </a:lnTo>
                      <a:lnTo>
                        <a:pt x="1216" y="486"/>
                      </a:lnTo>
                      <a:lnTo>
                        <a:pt x="1218" y="486"/>
                      </a:lnTo>
                      <a:lnTo>
                        <a:pt x="1218" y="485"/>
                      </a:lnTo>
                      <a:lnTo>
                        <a:pt x="1219" y="485"/>
                      </a:lnTo>
                      <a:lnTo>
                        <a:pt x="1220" y="485"/>
                      </a:lnTo>
                      <a:lnTo>
                        <a:pt x="1221" y="484"/>
                      </a:lnTo>
                      <a:lnTo>
                        <a:pt x="1222" y="484"/>
                      </a:lnTo>
                      <a:lnTo>
                        <a:pt x="1222" y="485"/>
                      </a:lnTo>
                      <a:lnTo>
                        <a:pt x="1222" y="484"/>
                      </a:lnTo>
                      <a:lnTo>
                        <a:pt x="1222" y="482"/>
                      </a:lnTo>
                      <a:lnTo>
                        <a:pt x="1223" y="481"/>
                      </a:lnTo>
                      <a:lnTo>
                        <a:pt x="1224" y="481"/>
                      </a:lnTo>
                      <a:lnTo>
                        <a:pt x="1224" y="480"/>
                      </a:lnTo>
                      <a:lnTo>
                        <a:pt x="1223" y="481"/>
                      </a:lnTo>
                      <a:lnTo>
                        <a:pt x="1223" y="480"/>
                      </a:lnTo>
                      <a:lnTo>
                        <a:pt x="1222" y="480"/>
                      </a:lnTo>
                      <a:lnTo>
                        <a:pt x="1223" y="480"/>
                      </a:lnTo>
                      <a:lnTo>
                        <a:pt x="1223" y="479"/>
                      </a:lnTo>
                      <a:lnTo>
                        <a:pt x="1222" y="479"/>
                      </a:lnTo>
                      <a:lnTo>
                        <a:pt x="1222" y="478"/>
                      </a:lnTo>
                      <a:lnTo>
                        <a:pt x="1221" y="478"/>
                      </a:lnTo>
                      <a:lnTo>
                        <a:pt x="1221" y="477"/>
                      </a:lnTo>
                      <a:lnTo>
                        <a:pt x="1220" y="476"/>
                      </a:lnTo>
                      <a:lnTo>
                        <a:pt x="1220" y="475"/>
                      </a:lnTo>
                      <a:lnTo>
                        <a:pt x="1221" y="474"/>
                      </a:lnTo>
                      <a:lnTo>
                        <a:pt x="1220" y="474"/>
                      </a:lnTo>
                      <a:lnTo>
                        <a:pt x="1220" y="473"/>
                      </a:lnTo>
                      <a:lnTo>
                        <a:pt x="1220" y="472"/>
                      </a:lnTo>
                      <a:lnTo>
                        <a:pt x="1219" y="470"/>
                      </a:lnTo>
                      <a:lnTo>
                        <a:pt x="1220" y="470"/>
                      </a:lnTo>
                      <a:lnTo>
                        <a:pt x="1219" y="470"/>
                      </a:lnTo>
                      <a:lnTo>
                        <a:pt x="1219" y="469"/>
                      </a:lnTo>
                      <a:lnTo>
                        <a:pt x="1219" y="468"/>
                      </a:lnTo>
                      <a:lnTo>
                        <a:pt x="1218" y="467"/>
                      </a:lnTo>
                      <a:lnTo>
                        <a:pt x="1219" y="467"/>
                      </a:lnTo>
                      <a:lnTo>
                        <a:pt x="1220" y="466"/>
                      </a:lnTo>
                      <a:lnTo>
                        <a:pt x="1220" y="465"/>
                      </a:lnTo>
                      <a:lnTo>
                        <a:pt x="1221" y="463"/>
                      </a:lnTo>
                      <a:lnTo>
                        <a:pt x="1221" y="462"/>
                      </a:lnTo>
                      <a:lnTo>
                        <a:pt x="1222" y="462"/>
                      </a:lnTo>
                      <a:lnTo>
                        <a:pt x="1221" y="461"/>
                      </a:lnTo>
                      <a:lnTo>
                        <a:pt x="1221" y="460"/>
                      </a:lnTo>
                      <a:lnTo>
                        <a:pt x="1222" y="459"/>
                      </a:lnTo>
                      <a:lnTo>
                        <a:pt x="1223" y="459"/>
                      </a:lnTo>
                      <a:lnTo>
                        <a:pt x="1223" y="457"/>
                      </a:lnTo>
                      <a:lnTo>
                        <a:pt x="1223" y="459"/>
                      </a:lnTo>
                      <a:lnTo>
                        <a:pt x="1224" y="459"/>
                      </a:lnTo>
                      <a:lnTo>
                        <a:pt x="1224" y="457"/>
                      </a:lnTo>
                      <a:lnTo>
                        <a:pt x="1224" y="459"/>
                      </a:lnTo>
                      <a:lnTo>
                        <a:pt x="1224" y="457"/>
                      </a:lnTo>
                      <a:lnTo>
                        <a:pt x="1225" y="456"/>
                      </a:lnTo>
                      <a:lnTo>
                        <a:pt x="1224" y="456"/>
                      </a:lnTo>
                      <a:lnTo>
                        <a:pt x="1225" y="456"/>
                      </a:lnTo>
                      <a:lnTo>
                        <a:pt x="1225" y="455"/>
                      </a:lnTo>
                      <a:lnTo>
                        <a:pt x="1225" y="454"/>
                      </a:lnTo>
                      <a:lnTo>
                        <a:pt x="1226" y="454"/>
                      </a:lnTo>
                      <a:lnTo>
                        <a:pt x="1226" y="455"/>
                      </a:lnTo>
                      <a:lnTo>
                        <a:pt x="1227" y="455"/>
                      </a:lnTo>
                      <a:lnTo>
                        <a:pt x="1226" y="455"/>
                      </a:lnTo>
                      <a:lnTo>
                        <a:pt x="1226" y="456"/>
                      </a:lnTo>
                      <a:lnTo>
                        <a:pt x="1227" y="456"/>
                      </a:lnTo>
                      <a:lnTo>
                        <a:pt x="1228" y="457"/>
                      </a:lnTo>
                      <a:lnTo>
                        <a:pt x="1228" y="459"/>
                      </a:lnTo>
                      <a:lnTo>
                        <a:pt x="1229" y="459"/>
                      </a:lnTo>
                      <a:lnTo>
                        <a:pt x="1229" y="460"/>
                      </a:lnTo>
                      <a:lnTo>
                        <a:pt x="1231" y="460"/>
                      </a:lnTo>
                      <a:lnTo>
                        <a:pt x="1232" y="460"/>
                      </a:lnTo>
                      <a:lnTo>
                        <a:pt x="1233" y="460"/>
                      </a:lnTo>
                      <a:lnTo>
                        <a:pt x="1234" y="461"/>
                      </a:lnTo>
                      <a:lnTo>
                        <a:pt x="1235" y="462"/>
                      </a:lnTo>
                      <a:lnTo>
                        <a:pt x="1236" y="462"/>
                      </a:lnTo>
                      <a:lnTo>
                        <a:pt x="1237" y="463"/>
                      </a:lnTo>
                      <a:lnTo>
                        <a:pt x="1238" y="463"/>
                      </a:lnTo>
                      <a:lnTo>
                        <a:pt x="1238" y="464"/>
                      </a:lnTo>
                      <a:lnTo>
                        <a:pt x="1239" y="464"/>
                      </a:lnTo>
                      <a:lnTo>
                        <a:pt x="1240" y="465"/>
                      </a:lnTo>
                      <a:lnTo>
                        <a:pt x="1240" y="466"/>
                      </a:lnTo>
                      <a:lnTo>
                        <a:pt x="1241" y="466"/>
                      </a:lnTo>
                      <a:lnTo>
                        <a:pt x="1241" y="467"/>
                      </a:lnTo>
                      <a:lnTo>
                        <a:pt x="1242" y="467"/>
                      </a:lnTo>
                      <a:lnTo>
                        <a:pt x="1242" y="468"/>
                      </a:lnTo>
                      <a:lnTo>
                        <a:pt x="1244" y="468"/>
                      </a:lnTo>
                      <a:lnTo>
                        <a:pt x="1244" y="469"/>
                      </a:lnTo>
                      <a:lnTo>
                        <a:pt x="1244" y="468"/>
                      </a:lnTo>
                      <a:lnTo>
                        <a:pt x="1245" y="467"/>
                      </a:lnTo>
                      <a:lnTo>
                        <a:pt x="1246" y="467"/>
                      </a:lnTo>
                      <a:lnTo>
                        <a:pt x="1247" y="467"/>
                      </a:lnTo>
                      <a:lnTo>
                        <a:pt x="1248" y="467"/>
                      </a:lnTo>
                      <a:lnTo>
                        <a:pt x="1249" y="467"/>
                      </a:lnTo>
                      <a:lnTo>
                        <a:pt x="1250" y="467"/>
                      </a:lnTo>
                      <a:lnTo>
                        <a:pt x="1250" y="468"/>
                      </a:lnTo>
                      <a:lnTo>
                        <a:pt x="1251" y="468"/>
                      </a:lnTo>
                      <a:lnTo>
                        <a:pt x="1252" y="469"/>
                      </a:lnTo>
                      <a:lnTo>
                        <a:pt x="1253" y="470"/>
                      </a:lnTo>
                      <a:lnTo>
                        <a:pt x="1254" y="472"/>
                      </a:lnTo>
                      <a:lnTo>
                        <a:pt x="1253" y="472"/>
                      </a:lnTo>
                      <a:lnTo>
                        <a:pt x="1252" y="472"/>
                      </a:lnTo>
                      <a:lnTo>
                        <a:pt x="1253" y="472"/>
                      </a:lnTo>
                      <a:lnTo>
                        <a:pt x="1252" y="473"/>
                      </a:lnTo>
                      <a:lnTo>
                        <a:pt x="1252" y="474"/>
                      </a:lnTo>
                      <a:lnTo>
                        <a:pt x="1253" y="474"/>
                      </a:lnTo>
                      <a:lnTo>
                        <a:pt x="1254" y="474"/>
                      </a:lnTo>
                      <a:lnTo>
                        <a:pt x="1255" y="474"/>
                      </a:lnTo>
                      <a:lnTo>
                        <a:pt x="1255" y="473"/>
                      </a:lnTo>
                      <a:lnTo>
                        <a:pt x="1255" y="472"/>
                      </a:lnTo>
                      <a:lnTo>
                        <a:pt x="1257" y="473"/>
                      </a:lnTo>
                      <a:lnTo>
                        <a:pt x="1258" y="473"/>
                      </a:lnTo>
                      <a:lnTo>
                        <a:pt x="1258" y="474"/>
                      </a:lnTo>
                      <a:lnTo>
                        <a:pt x="1259" y="474"/>
                      </a:lnTo>
                      <a:lnTo>
                        <a:pt x="1258" y="474"/>
                      </a:lnTo>
                      <a:lnTo>
                        <a:pt x="1257" y="474"/>
                      </a:lnTo>
                      <a:lnTo>
                        <a:pt x="1255" y="475"/>
                      </a:lnTo>
                      <a:lnTo>
                        <a:pt x="1254" y="475"/>
                      </a:lnTo>
                      <a:lnTo>
                        <a:pt x="1254" y="476"/>
                      </a:lnTo>
                      <a:lnTo>
                        <a:pt x="1253" y="476"/>
                      </a:lnTo>
                      <a:lnTo>
                        <a:pt x="1253" y="477"/>
                      </a:lnTo>
                      <a:lnTo>
                        <a:pt x="1252" y="477"/>
                      </a:lnTo>
                      <a:lnTo>
                        <a:pt x="1251" y="477"/>
                      </a:lnTo>
                      <a:lnTo>
                        <a:pt x="1251" y="478"/>
                      </a:lnTo>
                      <a:lnTo>
                        <a:pt x="1251" y="479"/>
                      </a:lnTo>
                      <a:lnTo>
                        <a:pt x="1251" y="480"/>
                      </a:lnTo>
                      <a:lnTo>
                        <a:pt x="1251" y="481"/>
                      </a:lnTo>
                      <a:lnTo>
                        <a:pt x="1252" y="481"/>
                      </a:lnTo>
                      <a:lnTo>
                        <a:pt x="1252" y="482"/>
                      </a:lnTo>
                      <a:lnTo>
                        <a:pt x="1252" y="484"/>
                      </a:lnTo>
                      <a:lnTo>
                        <a:pt x="1253" y="484"/>
                      </a:lnTo>
                      <a:lnTo>
                        <a:pt x="1255" y="485"/>
                      </a:lnTo>
                      <a:lnTo>
                        <a:pt x="1255" y="486"/>
                      </a:lnTo>
                      <a:lnTo>
                        <a:pt x="1255" y="487"/>
                      </a:lnTo>
                      <a:lnTo>
                        <a:pt x="1257" y="487"/>
                      </a:lnTo>
                      <a:lnTo>
                        <a:pt x="1257" y="486"/>
                      </a:lnTo>
                      <a:lnTo>
                        <a:pt x="1257" y="487"/>
                      </a:lnTo>
                      <a:lnTo>
                        <a:pt x="1258" y="487"/>
                      </a:lnTo>
                      <a:lnTo>
                        <a:pt x="1259" y="487"/>
                      </a:lnTo>
                      <a:lnTo>
                        <a:pt x="1260" y="487"/>
                      </a:lnTo>
                      <a:lnTo>
                        <a:pt x="1261" y="487"/>
                      </a:lnTo>
                      <a:lnTo>
                        <a:pt x="1261" y="486"/>
                      </a:lnTo>
                      <a:lnTo>
                        <a:pt x="1262" y="486"/>
                      </a:lnTo>
                      <a:lnTo>
                        <a:pt x="1263" y="485"/>
                      </a:lnTo>
                      <a:lnTo>
                        <a:pt x="1263" y="486"/>
                      </a:lnTo>
                      <a:lnTo>
                        <a:pt x="1264" y="486"/>
                      </a:lnTo>
                      <a:lnTo>
                        <a:pt x="1264" y="487"/>
                      </a:lnTo>
                      <a:lnTo>
                        <a:pt x="1265" y="487"/>
                      </a:lnTo>
                      <a:lnTo>
                        <a:pt x="1265" y="488"/>
                      </a:lnTo>
                      <a:lnTo>
                        <a:pt x="1266" y="489"/>
                      </a:lnTo>
                      <a:lnTo>
                        <a:pt x="1266" y="490"/>
                      </a:lnTo>
                      <a:lnTo>
                        <a:pt x="1265" y="490"/>
                      </a:lnTo>
                      <a:lnTo>
                        <a:pt x="1264" y="490"/>
                      </a:lnTo>
                      <a:lnTo>
                        <a:pt x="1264" y="491"/>
                      </a:lnTo>
                      <a:lnTo>
                        <a:pt x="1264" y="492"/>
                      </a:lnTo>
                      <a:lnTo>
                        <a:pt x="1263" y="492"/>
                      </a:lnTo>
                      <a:lnTo>
                        <a:pt x="1263" y="493"/>
                      </a:lnTo>
                      <a:lnTo>
                        <a:pt x="1263" y="494"/>
                      </a:lnTo>
                      <a:lnTo>
                        <a:pt x="1263" y="495"/>
                      </a:lnTo>
                      <a:lnTo>
                        <a:pt x="1263" y="494"/>
                      </a:lnTo>
                      <a:lnTo>
                        <a:pt x="1263" y="493"/>
                      </a:lnTo>
                      <a:lnTo>
                        <a:pt x="1262" y="493"/>
                      </a:lnTo>
                      <a:lnTo>
                        <a:pt x="1262" y="492"/>
                      </a:lnTo>
                      <a:lnTo>
                        <a:pt x="1262" y="491"/>
                      </a:lnTo>
                      <a:lnTo>
                        <a:pt x="1261" y="491"/>
                      </a:lnTo>
                      <a:lnTo>
                        <a:pt x="1261" y="490"/>
                      </a:lnTo>
                      <a:lnTo>
                        <a:pt x="1260" y="490"/>
                      </a:lnTo>
                      <a:lnTo>
                        <a:pt x="1259" y="490"/>
                      </a:lnTo>
                      <a:lnTo>
                        <a:pt x="1258" y="490"/>
                      </a:lnTo>
                      <a:lnTo>
                        <a:pt x="1255" y="490"/>
                      </a:lnTo>
                      <a:lnTo>
                        <a:pt x="1255" y="491"/>
                      </a:lnTo>
                      <a:lnTo>
                        <a:pt x="1254" y="491"/>
                      </a:lnTo>
                      <a:lnTo>
                        <a:pt x="1254" y="492"/>
                      </a:lnTo>
                      <a:lnTo>
                        <a:pt x="1253" y="492"/>
                      </a:lnTo>
                      <a:lnTo>
                        <a:pt x="1252" y="493"/>
                      </a:lnTo>
                      <a:lnTo>
                        <a:pt x="1251" y="493"/>
                      </a:lnTo>
                      <a:lnTo>
                        <a:pt x="1250" y="493"/>
                      </a:lnTo>
                      <a:lnTo>
                        <a:pt x="1250" y="494"/>
                      </a:lnTo>
                      <a:lnTo>
                        <a:pt x="1249" y="494"/>
                      </a:lnTo>
                      <a:lnTo>
                        <a:pt x="1248" y="494"/>
                      </a:lnTo>
                      <a:lnTo>
                        <a:pt x="1248" y="495"/>
                      </a:lnTo>
                      <a:lnTo>
                        <a:pt x="1248" y="497"/>
                      </a:lnTo>
                      <a:lnTo>
                        <a:pt x="1247" y="497"/>
                      </a:lnTo>
                      <a:lnTo>
                        <a:pt x="1247" y="498"/>
                      </a:lnTo>
                      <a:lnTo>
                        <a:pt x="1248" y="499"/>
                      </a:lnTo>
                      <a:lnTo>
                        <a:pt x="1248" y="500"/>
                      </a:lnTo>
                      <a:lnTo>
                        <a:pt x="1248" y="501"/>
                      </a:lnTo>
                      <a:lnTo>
                        <a:pt x="1248" y="500"/>
                      </a:lnTo>
                      <a:lnTo>
                        <a:pt x="1247" y="500"/>
                      </a:lnTo>
                      <a:lnTo>
                        <a:pt x="1247" y="501"/>
                      </a:lnTo>
                      <a:lnTo>
                        <a:pt x="1248" y="501"/>
                      </a:lnTo>
                      <a:lnTo>
                        <a:pt x="1248" y="502"/>
                      </a:lnTo>
                      <a:lnTo>
                        <a:pt x="1247" y="502"/>
                      </a:lnTo>
                      <a:lnTo>
                        <a:pt x="1246" y="502"/>
                      </a:lnTo>
                      <a:lnTo>
                        <a:pt x="1245" y="503"/>
                      </a:lnTo>
                      <a:lnTo>
                        <a:pt x="1245" y="504"/>
                      </a:lnTo>
                      <a:lnTo>
                        <a:pt x="1245" y="505"/>
                      </a:lnTo>
                      <a:lnTo>
                        <a:pt x="1244" y="505"/>
                      </a:lnTo>
                      <a:lnTo>
                        <a:pt x="1242" y="506"/>
                      </a:lnTo>
                      <a:lnTo>
                        <a:pt x="1241" y="507"/>
                      </a:lnTo>
                      <a:lnTo>
                        <a:pt x="1241" y="508"/>
                      </a:lnTo>
                      <a:lnTo>
                        <a:pt x="1241" y="510"/>
                      </a:lnTo>
                      <a:lnTo>
                        <a:pt x="1241" y="511"/>
                      </a:lnTo>
                      <a:lnTo>
                        <a:pt x="1242" y="512"/>
                      </a:lnTo>
                      <a:lnTo>
                        <a:pt x="1242" y="513"/>
                      </a:lnTo>
                      <a:lnTo>
                        <a:pt x="1242" y="514"/>
                      </a:lnTo>
                      <a:lnTo>
                        <a:pt x="1240" y="514"/>
                      </a:lnTo>
                      <a:lnTo>
                        <a:pt x="1239" y="514"/>
                      </a:lnTo>
                      <a:lnTo>
                        <a:pt x="1237" y="513"/>
                      </a:lnTo>
                      <a:lnTo>
                        <a:pt x="1236" y="514"/>
                      </a:lnTo>
                      <a:lnTo>
                        <a:pt x="1236" y="515"/>
                      </a:lnTo>
                      <a:lnTo>
                        <a:pt x="1236" y="516"/>
                      </a:lnTo>
                      <a:lnTo>
                        <a:pt x="1237" y="516"/>
                      </a:lnTo>
                      <a:lnTo>
                        <a:pt x="1237" y="515"/>
                      </a:lnTo>
                      <a:lnTo>
                        <a:pt x="1237" y="516"/>
                      </a:lnTo>
                      <a:lnTo>
                        <a:pt x="1238" y="516"/>
                      </a:lnTo>
                      <a:lnTo>
                        <a:pt x="1238" y="517"/>
                      </a:lnTo>
                      <a:lnTo>
                        <a:pt x="1239" y="517"/>
                      </a:lnTo>
                      <a:lnTo>
                        <a:pt x="1240" y="518"/>
                      </a:lnTo>
                      <a:lnTo>
                        <a:pt x="1241" y="518"/>
                      </a:lnTo>
                      <a:lnTo>
                        <a:pt x="1242" y="518"/>
                      </a:lnTo>
                      <a:lnTo>
                        <a:pt x="1242" y="517"/>
                      </a:lnTo>
                      <a:lnTo>
                        <a:pt x="1244" y="516"/>
                      </a:lnTo>
                      <a:lnTo>
                        <a:pt x="1245" y="516"/>
                      </a:lnTo>
                      <a:lnTo>
                        <a:pt x="1245" y="515"/>
                      </a:lnTo>
                      <a:lnTo>
                        <a:pt x="1246" y="516"/>
                      </a:lnTo>
                      <a:lnTo>
                        <a:pt x="1247" y="516"/>
                      </a:lnTo>
                      <a:lnTo>
                        <a:pt x="1248" y="516"/>
                      </a:lnTo>
                      <a:lnTo>
                        <a:pt x="1249" y="515"/>
                      </a:lnTo>
                      <a:lnTo>
                        <a:pt x="1249" y="514"/>
                      </a:lnTo>
                      <a:lnTo>
                        <a:pt x="1250" y="514"/>
                      </a:lnTo>
                      <a:lnTo>
                        <a:pt x="1250" y="513"/>
                      </a:lnTo>
                      <a:lnTo>
                        <a:pt x="1251" y="513"/>
                      </a:lnTo>
                      <a:lnTo>
                        <a:pt x="1250" y="512"/>
                      </a:lnTo>
                      <a:lnTo>
                        <a:pt x="1251" y="512"/>
                      </a:lnTo>
                      <a:lnTo>
                        <a:pt x="1251" y="513"/>
                      </a:lnTo>
                      <a:lnTo>
                        <a:pt x="1253" y="514"/>
                      </a:lnTo>
                      <a:lnTo>
                        <a:pt x="1253" y="515"/>
                      </a:lnTo>
                      <a:lnTo>
                        <a:pt x="1254" y="515"/>
                      </a:lnTo>
                      <a:lnTo>
                        <a:pt x="1255" y="516"/>
                      </a:lnTo>
                      <a:lnTo>
                        <a:pt x="1254" y="515"/>
                      </a:lnTo>
                      <a:lnTo>
                        <a:pt x="1253" y="515"/>
                      </a:lnTo>
                      <a:lnTo>
                        <a:pt x="1252" y="515"/>
                      </a:lnTo>
                      <a:lnTo>
                        <a:pt x="1252" y="514"/>
                      </a:lnTo>
                      <a:lnTo>
                        <a:pt x="1252" y="515"/>
                      </a:lnTo>
                      <a:lnTo>
                        <a:pt x="1251" y="515"/>
                      </a:lnTo>
                      <a:lnTo>
                        <a:pt x="1251" y="516"/>
                      </a:lnTo>
                      <a:lnTo>
                        <a:pt x="1251" y="517"/>
                      </a:lnTo>
                      <a:lnTo>
                        <a:pt x="1250" y="518"/>
                      </a:lnTo>
                      <a:lnTo>
                        <a:pt x="1251" y="519"/>
                      </a:lnTo>
                      <a:lnTo>
                        <a:pt x="1252" y="520"/>
                      </a:lnTo>
                      <a:lnTo>
                        <a:pt x="1254" y="520"/>
                      </a:lnTo>
                      <a:lnTo>
                        <a:pt x="1255" y="520"/>
                      </a:lnTo>
                      <a:lnTo>
                        <a:pt x="1255" y="521"/>
                      </a:lnTo>
                      <a:lnTo>
                        <a:pt x="1254" y="523"/>
                      </a:lnTo>
                      <a:lnTo>
                        <a:pt x="1253" y="523"/>
                      </a:lnTo>
                      <a:lnTo>
                        <a:pt x="1252" y="521"/>
                      </a:lnTo>
                      <a:lnTo>
                        <a:pt x="1251" y="521"/>
                      </a:lnTo>
                      <a:lnTo>
                        <a:pt x="1250" y="521"/>
                      </a:lnTo>
                      <a:lnTo>
                        <a:pt x="1249" y="521"/>
                      </a:lnTo>
                      <a:lnTo>
                        <a:pt x="1247" y="523"/>
                      </a:lnTo>
                      <a:lnTo>
                        <a:pt x="1246" y="523"/>
                      </a:lnTo>
                      <a:lnTo>
                        <a:pt x="1245" y="524"/>
                      </a:lnTo>
                      <a:lnTo>
                        <a:pt x="1244" y="525"/>
                      </a:lnTo>
                      <a:lnTo>
                        <a:pt x="1244" y="526"/>
                      </a:lnTo>
                      <a:lnTo>
                        <a:pt x="1242" y="525"/>
                      </a:lnTo>
                      <a:lnTo>
                        <a:pt x="1242" y="524"/>
                      </a:lnTo>
                      <a:lnTo>
                        <a:pt x="1241" y="523"/>
                      </a:lnTo>
                      <a:lnTo>
                        <a:pt x="1241" y="524"/>
                      </a:lnTo>
                      <a:lnTo>
                        <a:pt x="1240" y="523"/>
                      </a:lnTo>
                      <a:lnTo>
                        <a:pt x="1240" y="524"/>
                      </a:lnTo>
                      <a:lnTo>
                        <a:pt x="1240" y="523"/>
                      </a:lnTo>
                      <a:lnTo>
                        <a:pt x="1239" y="523"/>
                      </a:lnTo>
                      <a:lnTo>
                        <a:pt x="1239" y="521"/>
                      </a:lnTo>
                      <a:lnTo>
                        <a:pt x="1238" y="521"/>
                      </a:lnTo>
                      <a:lnTo>
                        <a:pt x="1238" y="520"/>
                      </a:lnTo>
                      <a:lnTo>
                        <a:pt x="1237" y="520"/>
                      </a:lnTo>
                      <a:lnTo>
                        <a:pt x="1236" y="520"/>
                      </a:lnTo>
                      <a:lnTo>
                        <a:pt x="1236" y="519"/>
                      </a:lnTo>
                      <a:lnTo>
                        <a:pt x="1236" y="518"/>
                      </a:lnTo>
                      <a:lnTo>
                        <a:pt x="1235" y="517"/>
                      </a:lnTo>
                      <a:lnTo>
                        <a:pt x="1234" y="517"/>
                      </a:lnTo>
                      <a:lnTo>
                        <a:pt x="1234" y="518"/>
                      </a:lnTo>
                      <a:lnTo>
                        <a:pt x="1233" y="518"/>
                      </a:lnTo>
                      <a:lnTo>
                        <a:pt x="1232" y="518"/>
                      </a:lnTo>
                      <a:lnTo>
                        <a:pt x="1231" y="519"/>
                      </a:lnTo>
                      <a:lnTo>
                        <a:pt x="1231" y="520"/>
                      </a:lnTo>
                      <a:lnTo>
                        <a:pt x="1232" y="520"/>
                      </a:lnTo>
                      <a:lnTo>
                        <a:pt x="1232" y="521"/>
                      </a:lnTo>
                      <a:lnTo>
                        <a:pt x="1233" y="521"/>
                      </a:lnTo>
                      <a:lnTo>
                        <a:pt x="1232" y="523"/>
                      </a:lnTo>
                      <a:lnTo>
                        <a:pt x="1232" y="524"/>
                      </a:lnTo>
                      <a:lnTo>
                        <a:pt x="1232" y="525"/>
                      </a:lnTo>
                      <a:lnTo>
                        <a:pt x="1232" y="526"/>
                      </a:lnTo>
                      <a:lnTo>
                        <a:pt x="1233" y="527"/>
                      </a:lnTo>
                      <a:lnTo>
                        <a:pt x="1232" y="528"/>
                      </a:lnTo>
                      <a:lnTo>
                        <a:pt x="1232" y="529"/>
                      </a:lnTo>
                      <a:lnTo>
                        <a:pt x="1233" y="529"/>
                      </a:lnTo>
                      <a:lnTo>
                        <a:pt x="1233" y="530"/>
                      </a:lnTo>
                      <a:lnTo>
                        <a:pt x="1233" y="531"/>
                      </a:lnTo>
                      <a:lnTo>
                        <a:pt x="1235" y="531"/>
                      </a:lnTo>
                      <a:lnTo>
                        <a:pt x="1236" y="532"/>
                      </a:lnTo>
                      <a:lnTo>
                        <a:pt x="1236" y="533"/>
                      </a:lnTo>
                      <a:lnTo>
                        <a:pt x="1237" y="534"/>
                      </a:lnTo>
                      <a:lnTo>
                        <a:pt x="1238" y="536"/>
                      </a:lnTo>
                      <a:lnTo>
                        <a:pt x="1239" y="536"/>
                      </a:lnTo>
                      <a:lnTo>
                        <a:pt x="1238" y="537"/>
                      </a:lnTo>
                      <a:lnTo>
                        <a:pt x="1237" y="537"/>
                      </a:lnTo>
                      <a:lnTo>
                        <a:pt x="1236" y="538"/>
                      </a:lnTo>
                      <a:lnTo>
                        <a:pt x="1235" y="538"/>
                      </a:lnTo>
                      <a:lnTo>
                        <a:pt x="1234" y="539"/>
                      </a:lnTo>
                      <a:lnTo>
                        <a:pt x="1233" y="539"/>
                      </a:lnTo>
                      <a:lnTo>
                        <a:pt x="1233" y="540"/>
                      </a:lnTo>
                      <a:lnTo>
                        <a:pt x="1232" y="540"/>
                      </a:lnTo>
                      <a:lnTo>
                        <a:pt x="1232" y="539"/>
                      </a:lnTo>
                      <a:lnTo>
                        <a:pt x="1231" y="538"/>
                      </a:lnTo>
                      <a:lnTo>
                        <a:pt x="1229" y="537"/>
                      </a:lnTo>
                      <a:lnTo>
                        <a:pt x="1228" y="537"/>
                      </a:lnTo>
                      <a:lnTo>
                        <a:pt x="1228" y="538"/>
                      </a:lnTo>
                      <a:lnTo>
                        <a:pt x="1227" y="538"/>
                      </a:lnTo>
                      <a:lnTo>
                        <a:pt x="1227" y="539"/>
                      </a:lnTo>
                      <a:lnTo>
                        <a:pt x="1227" y="540"/>
                      </a:lnTo>
                      <a:lnTo>
                        <a:pt x="1228" y="540"/>
                      </a:lnTo>
                      <a:lnTo>
                        <a:pt x="1229" y="540"/>
                      </a:lnTo>
                      <a:lnTo>
                        <a:pt x="1229" y="541"/>
                      </a:lnTo>
                      <a:lnTo>
                        <a:pt x="1228" y="542"/>
                      </a:lnTo>
                      <a:lnTo>
                        <a:pt x="1228" y="543"/>
                      </a:lnTo>
                      <a:lnTo>
                        <a:pt x="1229" y="543"/>
                      </a:lnTo>
                      <a:lnTo>
                        <a:pt x="1231" y="542"/>
                      </a:lnTo>
                      <a:lnTo>
                        <a:pt x="1232" y="542"/>
                      </a:lnTo>
                      <a:lnTo>
                        <a:pt x="1233" y="542"/>
                      </a:lnTo>
                      <a:lnTo>
                        <a:pt x="1234" y="543"/>
                      </a:lnTo>
                      <a:lnTo>
                        <a:pt x="1235" y="542"/>
                      </a:lnTo>
                      <a:lnTo>
                        <a:pt x="1236" y="541"/>
                      </a:lnTo>
                      <a:lnTo>
                        <a:pt x="1237" y="541"/>
                      </a:lnTo>
                      <a:lnTo>
                        <a:pt x="1238" y="541"/>
                      </a:lnTo>
                      <a:lnTo>
                        <a:pt x="1239" y="542"/>
                      </a:lnTo>
                      <a:lnTo>
                        <a:pt x="1240" y="542"/>
                      </a:lnTo>
                      <a:lnTo>
                        <a:pt x="1241" y="541"/>
                      </a:lnTo>
                      <a:lnTo>
                        <a:pt x="1242" y="541"/>
                      </a:lnTo>
                      <a:lnTo>
                        <a:pt x="1242" y="540"/>
                      </a:lnTo>
                      <a:lnTo>
                        <a:pt x="1242" y="539"/>
                      </a:lnTo>
                      <a:lnTo>
                        <a:pt x="1241" y="539"/>
                      </a:lnTo>
                      <a:lnTo>
                        <a:pt x="1239" y="539"/>
                      </a:lnTo>
                      <a:lnTo>
                        <a:pt x="1239" y="538"/>
                      </a:lnTo>
                      <a:lnTo>
                        <a:pt x="1240" y="538"/>
                      </a:lnTo>
                      <a:lnTo>
                        <a:pt x="1241" y="538"/>
                      </a:lnTo>
                      <a:lnTo>
                        <a:pt x="1242" y="537"/>
                      </a:lnTo>
                      <a:lnTo>
                        <a:pt x="1242" y="536"/>
                      </a:lnTo>
                      <a:lnTo>
                        <a:pt x="1242" y="534"/>
                      </a:lnTo>
                      <a:lnTo>
                        <a:pt x="1242" y="533"/>
                      </a:lnTo>
                      <a:lnTo>
                        <a:pt x="1241" y="532"/>
                      </a:lnTo>
                      <a:lnTo>
                        <a:pt x="1241" y="531"/>
                      </a:lnTo>
                      <a:lnTo>
                        <a:pt x="1242" y="531"/>
                      </a:lnTo>
                      <a:lnTo>
                        <a:pt x="1244" y="531"/>
                      </a:lnTo>
                      <a:lnTo>
                        <a:pt x="1244" y="532"/>
                      </a:lnTo>
                      <a:lnTo>
                        <a:pt x="1245" y="532"/>
                      </a:lnTo>
                      <a:lnTo>
                        <a:pt x="1247" y="533"/>
                      </a:lnTo>
                      <a:lnTo>
                        <a:pt x="1247" y="534"/>
                      </a:lnTo>
                      <a:lnTo>
                        <a:pt x="1245" y="537"/>
                      </a:lnTo>
                      <a:lnTo>
                        <a:pt x="1245" y="538"/>
                      </a:lnTo>
                      <a:lnTo>
                        <a:pt x="1245" y="539"/>
                      </a:lnTo>
                      <a:lnTo>
                        <a:pt x="1245" y="541"/>
                      </a:lnTo>
                      <a:lnTo>
                        <a:pt x="1246" y="542"/>
                      </a:lnTo>
                      <a:lnTo>
                        <a:pt x="1246" y="543"/>
                      </a:lnTo>
                      <a:lnTo>
                        <a:pt x="1245" y="544"/>
                      </a:lnTo>
                      <a:lnTo>
                        <a:pt x="1246" y="545"/>
                      </a:lnTo>
                      <a:lnTo>
                        <a:pt x="1247" y="545"/>
                      </a:lnTo>
                      <a:lnTo>
                        <a:pt x="1249" y="543"/>
                      </a:lnTo>
                      <a:lnTo>
                        <a:pt x="1250" y="542"/>
                      </a:lnTo>
                      <a:lnTo>
                        <a:pt x="1250" y="540"/>
                      </a:lnTo>
                      <a:lnTo>
                        <a:pt x="1251" y="540"/>
                      </a:lnTo>
                      <a:lnTo>
                        <a:pt x="1251" y="539"/>
                      </a:lnTo>
                      <a:lnTo>
                        <a:pt x="1252" y="539"/>
                      </a:lnTo>
                      <a:lnTo>
                        <a:pt x="1253" y="538"/>
                      </a:lnTo>
                      <a:lnTo>
                        <a:pt x="1253" y="537"/>
                      </a:lnTo>
                      <a:lnTo>
                        <a:pt x="1254" y="537"/>
                      </a:lnTo>
                      <a:lnTo>
                        <a:pt x="1254" y="536"/>
                      </a:lnTo>
                      <a:lnTo>
                        <a:pt x="1254" y="534"/>
                      </a:lnTo>
                      <a:lnTo>
                        <a:pt x="1255" y="534"/>
                      </a:lnTo>
                      <a:lnTo>
                        <a:pt x="1255" y="533"/>
                      </a:lnTo>
                      <a:lnTo>
                        <a:pt x="1257" y="533"/>
                      </a:lnTo>
                      <a:lnTo>
                        <a:pt x="1257" y="532"/>
                      </a:lnTo>
                      <a:lnTo>
                        <a:pt x="1257" y="531"/>
                      </a:lnTo>
                      <a:lnTo>
                        <a:pt x="1257" y="530"/>
                      </a:lnTo>
                      <a:lnTo>
                        <a:pt x="1255" y="530"/>
                      </a:lnTo>
                      <a:lnTo>
                        <a:pt x="1257" y="529"/>
                      </a:lnTo>
                      <a:lnTo>
                        <a:pt x="1258" y="529"/>
                      </a:lnTo>
                      <a:lnTo>
                        <a:pt x="1259" y="530"/>
                      </a:lnTo>
                      <a:lnTo>
                        <a:pt x="1261" y="530"/>
                      </a:lnTo>
                      <a:lnTo>
                        <a:pt x="1263" y="531"/>
                      </a:lnTo>
                      <a:lnTo>
                        <a:pt x="1263" y="530"/>
                      </a:lnTo>
                      <a:lnTo>
                        <a:pt x="1264" y="530"/>
                      </a:lnTo>
                      <a:lnTo>
                        <a:pt x="1265" y="530"/>
                      </a:lnTo>
                      <a:lnTo>
                        <a:pt x="1265" y="531"/>
                      </a:lnTo>
                      <a:lnTo>
                        <a:pt x="1264" y="531"/>
                      </a:lnTo>
                      <a:lnTo>
                        <a:pt x="1263" y="531"/>
                      </a:lnTo>
                      <a:lnTo>
                        <a:pt x="1263" y="532"/>
                      </a:lnTo>
                      <a:lnTo>
                        <a:pt x="1262" y="532"/>
                      </a:lnTo>
                      <a:lnTo>
                        <a:pt x="1262" y="533"/>
                      </a:lnTo>
                      <a:lnTo>
                        <a:pt x="1262" y="534"/>
                      </a:lnTo>
                      <a:lnTo>
                        <a:pt x="1263" y="534"/>
                      </a:lnTo>
                      <a:lnTo>
                        <a:pt x="1263" y="536"/>
                      </a:lnTo>
                      <a:lnTo>
                        <a:pt x="1262" y="536"/>
                      </a:lnTo>
                      <a:lnTo>
                        <a:pt x="1262" y="537"/>
                      </a:lnTo>
                      <a:lnTo>
                        <a:pt x="1261" y="537"/>
                      </a:lnTo>
                      <a:lnTo>
                        <a:pt x="1262" y="537"/>
                      </a:lnTo>
                      <a:lnTo>
                        <a:pt x="1262" y="538"/>
                      </a:lnTo>
                      <a:lnTo>
                        <a:pt x="1261" y="538"/>
                      </a:lnTo>
                      <a:lnTo>
                        <a:pt x="1261" y="539"/>
                      </a:lnTo>
                      <a:lnTo>
                        <a:pt x="1261" y="540"/>
                      </a:lnTo>
                      <a:lnTo>
                        <a:pt x="1261" y="541"/>
                      </a:lnTo>
                      <a:lnTo>
                        <a:pt x="1262" y="541"/>
                      </a:lnTo>
                      <a:lnTo>
                        <a:pt x="1262" y="540"/>
                      </a:lnTo>
                      <a:lnTo>
                        <a:pt x="1263" y="540"/>
                      </a:lnTo>
                      <a:lnTo>
                        <a:pt x="1263" y="539"/>
                      </a:lnTo>
                      <a:lnTo>
                        <a:pt x="1264" y="539"/>
                      </a:lnTo>
                      <a:lnTo>
                        <a:pt x="1264" y="538"/>
                      </a:lnTo>
                      <a:lnTo>
                        <a:pt x="1263" y="537"/>
                      </a:lnTo>
                      <a:lnTo>
                        <a:pt x="1264" y="537"/>
                      </a:lnTo>
                      <a:lnTo>
                        <a:pt x="1264" y="538"/>
                      </a:lnTo>
                      <a:lnTo>
                        <a:pt x="1265" y="538"/>
                      </a:lnTo>
                      <a:lnTo>
                        <a:pt x="1266" y="538"/>
                      </a:lnTo>
                      <a:lnTo>
                        <a:pt x="1267" y="538"/>
                      </a:lnTo>
                      <a:lnTo>
                        <a:pt x="1267" y="539"/>
                      </a:lnTo>
                      <a:lnTo>
                        <a:pt x="1268" y="539"/>
                      </a:lnTo>
                      <a:lnTo>
                        <a:pt x="1268" y="538"/>
                      </a:lnTo>
                      <a:lnTo>
                        <a:pt x="1270" y="538"/>
                      </a:lnTo>
                      <a:lnTo>
                        <a:pt x="1270" y="537"/>
                      </a:lnTo>
                      <a:lnTo>
                        <a:pt x="1270" y="536"/>
                      </a:lnTo>
                      <a:lnTo>
                        <a:pt x="1271" y="536"/>
                      </a:lnTo>
                      <a:lnTo>
                        <a:pt x="1272" y="536"/>
                      </a:lnTo>
                      <a:lnTo>
                        <a:pt x="1271" y="537"/>
                      </a:lnTo>
                      <a:lnTo>
                        <a:pt x="1272" y="537"/>
                      </a:lnTo>
                      <a:lnTo>
                        <a:pt x="1273" y="537"/>
                      </a:lnTo>
                      <a:lnTo>
                        <a:pt x="1274" y="537"/>
                      </a:lnTo>
                      <a:lnTo>
                        <a:pt x="1274" y="538"/>
                      </a:lnTo>
                      <a:lnTo>
                        <a:pt x="1275" y="538"/>
                      </a:lnTo>
                      <a:lnTo>
                        <a:pt x="1276" y="538"/>
                      </a:lnTo>
                      <a:lnTo>
                        <a:pt x="1276" y="537"/>
                      </a:lnTo>
                      <a:lnTo>
                        <a:pt x="1276" y="536"/>
                      </a:lnTo>
                      <a:lnTo>
                        <a:pt x="1277" y="536"/>
                      </a:lnTo>
                      <a:lnTo>
                        <a:pt x="1278" y="536"/>
                      </a:lnTo>
                      <a:lnTo>
                        <a:pt x="1279" y="536"/>
                      </a:lnTo>
                      <a:lnTo>
                        <a:pt x="1280" y="536"/>
                      </a:lnTo>
                      <a:lnTo>
                        <a:pt x="1280" y="537"/>
                      </a:lnTo>
                      <a:lnTo>
                        <a:pt x="1280" y="538"/>
                      </a:lnTo>
                      <a:lnTo>
                        <a:pt x="1282" y="539"/>
                      </a:lnTo>
                      <a:lnTo>
                        <a:pt x="1282" y="540"/>
                      </a:lnTo>
                      <a:lnTo>
                        <a:pt x="1280" y="540"/>
                      </a:lnTo>
                      <a:lnTo>
                        <a:pt x="1280" y="539"/>
                      </a:lnTo>
                      <a:lnTo>
                        <a:pt x="1279" y="539"/>
                      </a:lnTo>
                      <a:lnTo>
                        <a:pt x="1278" y="540"/>
                      </a:lnTo>
                      <a:lnTo>
                        <a:pt x="1278" y="541"/>
                      </a:lnTo>
                      <a:lnTo>
                        <a:pt x="1278" y="542"/>
                      </a:lnTo>
                      <a:lnTo>
                        <a:pt x="1279" y="543"/>
                      </a:lnTo>
                      <a:lnTo>
                        <a:pt x="1280" y="544"/>
                      </a:lnTo>
                      <a:lnTo>
                        <a:pt x="1280" y="545"/>
                      </a:lnTo>
                      <a:lnTo>
                        <a:pt x="1282" y="545"/>
                      </a:lnTo>
                      <a:lnTo>
                        <a:pt x="1283" y="546"/>
                      </a:lnTo>
                      <a:lnTo>
                        <a:pt x="1283" y="547"/>
                      </a:lnTo>
                      <a:lnTo>
                        <a:pt x="1284" y="549"/>
                      </a:lnTo>
                      <a:lnTo>
                        <a:pt x="1285" y="550"/>
                      </a:lnTo>
                      <a:lnTo>
                        <a:pt x="1286" y="550"/>
                      </a:lnTo>
                      <a:lnTo>
                        <a:pt x="1287" y="551"/>
                      </a:lnTo>
                      <a:lnTo>
                        <a:pt x="1288" y="551"/>
                      </a:lnTo>
                      <a:lnTo>
                        <a:pt x="1289" y="552"/>
                      </a:lnTo>
                      <a:lnTo>
                        <a:pt x="1289" y="553"/>
                      </a:lnTo>
                      <a:lnTo>
                        <a:pt x="1289" y="554"/>
                      </a:lnTo>
                      <a:lnTo>
                        <a:pt x="1289" y="553"/>
                      </a:lnTo>
                      <a:lnTo>
                        <a:pt x="1289" y="554"/>
                      </a:lnTo>
                      <a:lnTo>
                        <a:pt x="1288" y="553"/>
                      </a:lnTo>
                      <a:lnTo>
                        <a:pt x="1287" y="553"/>
                      </a:lnTo>
                      <a:lnTo>
                        <a:pt x="1287" y="552"/>
                      </a:lnTo>
                      <a:lnTo>
                        <a:pt x="1288" y="552"/>
                      </a:lnTo>
                      <a:lnTo>
                        <a:pt x="1287" y="552"/>
                      </a:lnTo>
                      <a:lnTo>
                        <a:pt x="1287" y="553"/>
                      </a:lnTo>
                      <a:lnTo>
                        <a:pt x="1286" y="553"/>
                      </a:lnTo>
                      <a:lnTo>
                        <a:pt x="1286" y="554"/>
                      </a:lnTo>
                      <a:lnTo>
                        <a:pt x="1286" y="553"/>
                      </a:lnTo>
                      <a:lnTo>
                        <a:pt x="1286" y="552"/>
                      </a:lnTo>
                      <a:lnTo>
                        <a:pt x="1285" y="552"/>
                      </a:lnTo>
                      <a:lnTo>
                        <a:pt x="1285" y="551"/>
                      </a:lnTo>
                      <a:lnTo>
                        <a:pt x="1285" y="552"/>
                      </a:lnTo>
                      <a:lnTo>
                        <a:pt x="1285" y="551"/>
                      </a:lnTo>
                      <a:lnTo>
                        <a:pt x="1284" y="551"/>
                      </a:lnTo>
                      <a:lnTo>
                        <a:pt x="1285" y="551"/>
                      </a:lnTo>
                      <a:lnTo>
                        <a:pt x="1284" y="551"/>
                      </a:lnTo>
                      <a:lnTo>
                        <a:pt x="1284" y="550"/>
                      </a:lnTo>
                      <a:lnTo>
                        <a:pt x="1283" y="550"/>
                      </a:lnTo>
                      <a:lnTo>
                        <a:pt x="1283" y="551"/>
                      </a:lnTo>
                      <a:lnTo>
                        <a:pt x="1283" y="552"/>
                      </a:lnTo>
                      <a:lnTo>
                        <a:pt x="1282" y="551"/>
                      </a:lnTo>
                      <a:lnTo>
                        <a:pt x="1280" y="551"/>
                      </a:lnTo>
                      <a:lnTo>
                        <a:pt x="1280" y="552"/>
                      </a:lnTo>
                      <a:lnTo>
                        <a:pt x="1279" y="553"/>
                      </a:lnTo>
                      <a:lnTo>
                        <a:pt x="1280" y="553"/>
                      </a:lnTo>
                      <a:lnTo>
                        <a:pt x="1280" y="554"/>
                      </a:lnTo>
                      <a:lnTo>
                        <a:pt x="1280" y="555"/>
                      </a:lnTo>
                      <a:lnTo>
                        <a:pt x="1280" y="556"/>
                      </a:lnTo>
                      <a:lnTo>
                        <a:pt x="1282" y="556"/>
                      </a:lnTo>
                      <a:lnTo>
                        <a:pt x="1283" y="556"/>
                      </a:lnTo>
                      <a:lnTo>
                        <a:pt x="1283" y="555"/>
                      </a:lnTo>
                      <a:lnTo>
                        <a:pt x="1283" y="556"/>
                      </a:lnTo>
                      <a:lnTo>
                        <a:pt x="1284" y="556"/>
                      </a:lnTo>
                      <a:lnTo>
                        <a:pt x="1284" y="555"/>
                      </a:lnTo>
                      <a:lnTo>
                        <a:pt x="1285" y="555"/>
                      </a:lnTo>
                      <a:lnTo>
                        <a:pt x="1286" y="555"/>
                      </a:lnTo>
                      <a:lnTo>
                        <a:pt x="1286" y="554"/>
                      </a:lnTo>
                      <a:lnTo>
                        <a:pt x="1287" y="554"/>
                      </a:lnTo>
                      <a:lnTo>
                        <a:pt x="1288" y="554"/>
                      </a:lnTo>
                      <a:lnTo>
                        <a:pt x="1289" y="554"/>
                      </a:lnTo>
                      <a:lnTo>
                        <a:pt x="1289" y="555"/>
                      </a:lnTo>
                      <a:lnTo>
                        <a:pt x="1289" y="556"/>
                      </a:lnTo>
                      <a:lnTo>
                        <a:pt x="1289" y="557"/>
                      </a:lnTo>
                      <a:lnTo>
                        <a:pt x="1289" y="558"/>
                      </a:lnTo>
                      <a:lnTo>
                        <a:pt x="1289" y="559"/>
                      </a:lnTo>
                      <a:lnTo>
                        <a:pt x="1289" y="558"/>
                      </a:lnTo>
                      <a:lnTo>
                        <a:pt x="1288" y="558"/>
                      </a:lnTo>
                      <a:lnTo>
                        <a:pt x="1288" y="559"/>
                      </a:lnTo>
                      <a:lnTo>
                        <a:pt x="1287" y="559"/>
                      </a:lnTo>
                      <a:lnTo>
                        <a:pt x="1286" y="559"/>
                      </a:lnTo>
                      <a:lnTo>
                        <a:pt x="1286" y="560"/>
                      </a:lnTo>
                      <a:lnTo>
                        <a:pt x="1287" y="560"/>
                      </a:lnTo>
                      <a:lnTo>
                        <a:pt x="1288" y="560"/>
                      </a:lnTo>
                      <a:lnTo>
                        <a:pt x="1288" y="559"/>
                      </a:lnTo>
                      <a:lnTo>
                        <a:pt x="1288" y="558"/>
                      </a:lnTo>
                      <a:lnTo>
                        <a:pt x="1289" y="559"/>
                      </a:lnTo>
                      <a:lnTo>
                        <a:pt x="1289" y="560"/>
                      </a:lnTo>
                      <a:lnTo>
                        <a:pt x="1290" y="560"/>
                      </a:lnTo>
                      <a:lnTo>
                        <a:pt x="1289" y="562"/>
                      </a:lnTo>
                      <a:lnTo>
                        <a:pt x="1289" y="563"/>
                      </a:lnTo>
                      <a:lnTo>
                        <a:pt x="1290" y="563"/>
                      </a:lnTo>
                      <a:lnTo>
                        <a:pt x="1290" y="564"/>
                      </a:lnTo>
                      <a:lnTo>
                        <a:pt x="1289" y="564"/>
                      </a:lnTo>
                      <a:lnTo>
                        <a:pt x="1288" y="563"/>
                      </a:lnTo>
                      <a:lnTo>
                        <a:pt x="1287" y="563"/>
                      </a:lnTo>
                      <a:lnTo>
                        <a:pt x="1287" y="564"/>
                      </a:lnTo>
                      <a:lnTo>
                        <a:pt x="1287" y="565"/>
                      </a:lnTo>
                      <a:lnTo>
                        <a:pt x="1286" y="565"/>
                      </a:lnTo>
                      <a:lnTo>
                        <a:pt x="1286" y="564"/>
                      </a:lnTo>
                      <a:lnTo>
                        <a:pt x="1285" y="563"/>
                      </a:lnTo>
                      <a:lnTo>
                        <a:pt x="1284" y="563"/>
                      </a:lnTo>
                      <a:lnTo>
                        <a:pt x="1283" y="563"/>
                      </a:lnTo>
                      <a:lnTo>
                        <a:pt x="1283" y="564"/>
                      </a:lnTo>
                      <a:lnTo>
                        <a:pt x="1282" y="565"/>
                      </a:lnTo>
                      <a:lnTo>
                        <a:pt x="1282" y="566"/>
                      </a:lnTo>
                      <a:lnTo>
                        <a:pt x="1283" y="566"/>
                      </a:lnTo>
                      <a:lnTo>
                        <a:pt x="1282" y="567"/>
                      </a:lnTo>
                      <a:lnTo>
                        <a:pt x="1282" y="566"/>
                      </a:lnTo>
                      <a:lnTo>
                        <a:pt x="1282" y="565"/>
                      </a:lnTo>
                      <a:lnTo>
                        <a:pt x="1280" y="565"/>
                      </a:lnTo>
                      <a:lnTo>
                        <a:pt x="1280" y="564"/>
                      </a:lnTo>
                      <a:lnTo>
                        <a:pt x="1279" y="564"/>
                      </a:lnTo>
                      <a:lnTo>
                        <a:pt x="1278" y="564"/>
                      </a:lnTo>
                      <a:lnTo>
                        <a:pt x="1279" y="565"/>
                      </a:lnTo>
                      <a:lnTo>
                        <a:pt x="1279" y="566"/>
                      </a:lnTo>
                      <a:lnTo>
                        <a:pt x="1278" y="566"/>
                      </a:lnTo>
                      <a:lnTo>
                        <a:pt x="1278" y="567"/>
                      </a:lnTo>
                      <a:lnTo>
                        <a:pt x="1279" y="568"/>
                      </a:lnTo>
                      <a:lnTo>
                        <a:pt x="1280" y="568"/>
                      </a:lnTo>
                      <a:lnTo>
                        <a:pt x="1282" y="568"/>
                      </a:lnTo>
                      <a:lnTo>
                        <a:pt x="1282" y="569"/>
                      </a:lnTo>
                      <a:lnTo>
                        <a:pt x="1282" y="570"/>
                      </a:lnTo>
                      <a:lnTo>
                        <a:pt x="1282" y="571"/>
                      </a:lnTo>
                      <a:lnTo>
                        <a:pt x="1283" y="572"/>
                      </a:lnTo>
                      <a:lnTo>
                        <a:pt x="1284" y="572"/>
                      </a:lnTo>
                      <a:lnTo>
                        <a:pt x="1285" y="572"/>
                      </a:lnTo>
                      <a:lnTo>
                        <a:pt x="1286" y="571"/>
                      </a:lnTo>
                      <a:lnTo>
                        <a:pt x="1286" y="570"/>
                      </a:lnTo>
                      <a:lnTo>
                        <a:pt x="1287" y="570"/>
                      </a:lnTo>
                      <a:lnTo>
                        <a:pt x="1288" y="570"/>
                      </a:lnTo>
                      <a:lnTo>
                        <a:pt x="1288" y="569"/>
                      </a:lnTo>
                      <a:lnTo>
                        <a:pt x="1288" y="570"/>
                      </a:lnTo>
                      <a:lnTo>
                        <a:pt x="1288" y="569"/>
                      </a:lnTo>
                      <a:lnTo>
                        <a:pt x="1289" y="569"/>
                      </a:lnTo>
                      <a:lnTo>
                        <a:pt x="1290" y="569"/>
                      </a:lnTo>
                      <a:lnTo>
                        <a:pt x="1290" y="570"/>
                      </a:lnTo>
                      <a:lnTo>
                        <a:pt x="1291" y="571"/>
                      </a:lnTo>
                      <a:lnTo>
                        <a:pt x="1290" y="572"/>
                      </a:lnTo>
                      <a:lnTo>
                        <a:pt x="1290" y="574"/>
                      </a:lnTo>
                      <a:lnTo>
                        <a:pt x="1291" y="575"/>
                      </a:lnTo>
                      <a:lnTo>
                        <a:pt x="1291" y="576"/>
                      </a:lnTo>
                      <a:lnTo>
                        <a:pt x="1292" y="577"/>
                      </a:lnTo>
                      <a:lnTo>
                        <a:pt x="1292" y="578"/>
                      </a:lnTo>
                      <a:lnTo>
                        <a:pt x="1292" y="579"/>
                      </a:lnTo>
                      <a:lnTo>
                        <a:pt x="1293" y="580"/>
                      </a:lnTo>
                      <a:lnTo>
                        <a:pt x="1295" y="580"/>
                      </a:lnTo>
                      <a:lnTo>
                        <a:pt x="1295" y="581"/>
                      </a:lnTo>
                      <a:lnTo>
                        <a:pt x="1295" y="582"/>
                      </a:lnTo>
                      <a:lnTo>
                        <a:pt x="1295" y="583"/>
                      </a:lnTo>
                      <a:lnTo>
                        <a:pt x="1295" y="584"/>
                      </a:lnTo>
                      <a:lnTo>
                        <a:pt x="1295" y="585"/>
                      </a:lnTo>
                      <a:lnTo>
                        <a:pt x="1295" y="584"/>
                      </a:lnTo>
                      <a:lnTo>
                        <a:pt x="1296" y="585"/>
                      </a:lnTo>
                      <a:lnTo>
                        <a:pt x="1296" y="587"/>
                      </a:lnTo>
                      <a:lnTo>
                        <a:pt x="1297" y="587"/>
                      </a:lnTo>
                      <a:lnTo>
                        <a:pt x="1296" y="587"/>
                      </a:lnTo>
                      <a:lnTo>
                        <a:pt x="1296" y="588"/>
                      </a:lnTo>
                      <a:lnTo>
                        <a:pt x="1295" y="588"/>
                      </a:lnTo>
                      <a:lnTo>
                        <a:pt x="1295" y="589"/>
                      </a:lnTo>
                      <a:lnTo>
                        <a:pt x="1293" y="589"/>
                      </a:lnTo>
                      <a:lnTo>
                        <a:pt x="1293" y="590"/>
                      </a:lnTo>
                      <a:lnTo>
                        <a:pt x="1295" y="590"/>
                      </a:lnTo>
                      <a:lnTo>
                        <a:pt x="1296" y="591"/>
                      </a:lnTo>
                      <a:lnTo>
                        <a:pt x="1297" y="590"/>
                      </a:lnTo>
                      <a:lnTo>
                        <a:pt x="1298" y="590"/>
                      </a:lnTo>
                      <a:lnTo>
                        <a:pt x="1299" y="590"/>
                      </a:lnTo>
                      <a:lnTo>
                        <a:pt x="1299" y="589"/>
                      </a:lnTo>
                      <a:lnTo>
                        <a:pt x="1298" y="589"/>
                      </a:lnTo>
                      <a:lnTo>
                        <a:pt x="1298" y="588"/>
                      </a:lnTo>
                      <a:lnTo>
                        <a:pt x="1299" y="588"/>
                      </a:lnTo>
                      <a:lnTo>
                        <a:pt x="1300" y="588"/>
                      </a:lnTo>
                      <a:lnTo>
                        <a:pt x="1301" y="588"/>
                      </a:lnTo>
                      <a:lnTo>
                        <a:pt x="1302" y="588"/>
                      </a:lnTo>
                      <a:lnTo>
                        <a:pt x="1302" y="589"/>
                      </a:lnTo>
                      <a:lnTo>
                        <a:pt x="1301" y="589"/>
                      </a:lnTo>
                      <a:lnTo>
                        <a:pt x="1301" y="590"/>
                      </a:lnTo>
                      <a:lnTo>
                        <a:pt x="1302" y="591"/>
                      </a:lnTo>
                      <a:lnTo>
                        <a:pt x="1302" y="592"/>
                      </a:lnTo>
                      <a:lnTo>
                        <a:pt x="1301" y="592"/>
                      </a:lnTo>
                      <a:lnTo>
                        <a:pt x="1300" y="592"/>
                      </a:lnTo>
                      <a:lnTo>
                        <a:pt x="1300" y="593"/>
                      </a:lnTo>
                      <a:lnTo>
                        <a:pt x="1300" y="595"/>
                      </a:lnTo>
                      <a:lnTo>
                        <a:pt x="1300" y="596"/>
                      </a:lnTo>
                      <a:lnTo>
                        <a:pt x="1299" y="597"/>
                      </a:lnTo>
                      <a:lnTo>
                        <a:pt x="1299" y="598"/>
                      </a:lnTo>
                      <a:lnTo>
                        <a:pt x="1299" y="600"/>
                      </a:lnTo>
                      <a:lnTo>
                        <a:pt x="1300" y="600"/>
                      </a:lnTo>
                      <a:lnTo>
                        <a:pt x="1301" y="600"/>
                      </a:lnTo>
                      <a:lnTo>
                        <a:pt x="1302" y="600"/>
                      </a:lnTo>
                      <a:lnTo>
                        <a:pt x="1303" y="600"/>
                      </a:lnTo>
                      <a:lnTo>
                        <a:pt x="1304" y="600"/>
                      </a:lnTo>
                      <a:lnTo>
                        <a:pt x="1304" y="598"/>
                      </a:lnTo>
                      <a:lnTo>
                        <a:pt x="1303" y="598"/>
                      </a:lnTo>
                      <a:lnTo>
                        <a:pt x="1304" y="598"/>
                      </a:lnTo>
                      <a:lnTo>
                        <a:pt x="1304" y="597"/>
                      </a:lnTo>
                      <a:lnTo>
                        <a:pt x="1304" y="596"/>
                      </a:lnTo>
                      <a:lnTo>
                        <a:pt x="1305" y="596"/>
                      </a:lnTo>
                      <a:lnTo>
                        <a:pt x="1305" y="597"/>
                      </a:lnTo>
                      <a:lnTo>
                        <a:pt x="1306" y="597"/>
                      </a:lnTo>
                      <a:lnTo>
                        <a:pt x="1308" y="598"/>
                      </a:lnTo>
                      <a:lnTo>
                        <a:pt x="1309" y="598"/>
                      </a:lnTo>
                      <a:lnTo>
                        <a:pt x="1309" y="597"/>
                      </a:lnTo>
                      <a:lnTo>
                        <a:pt x="1310" y="597"/>
                      </a:lnTo>
                      <a:lnTo>
                        <a:pt x="1309" y="596"/>
                      </a:lnTo>
                      <a:lnTo>
                        <a:pt x="1310" y="596"/>
                      </a:lnTo>
                      <a:lnTo>
                        <a:pt x="1311" y="596"/>
                      </a:lnTo>
                      <a:lnTo>
                        <a:pt x="1312" y="596"/>
                      </a:lnTo>
                      <a:lnTo>
                        <a:pt x="1312" y="595"/>
                      </a:lnTo>
                      <a:lnTo>
                        <a:pt x="1313" y="595"/>
                      </a:lnTo>
                      <a:lnTo>
                        <a:pt x="1312" y="595"/>
                      </a:lnTo>
                      <a:lnTo>
                        <a:pt x="1311" y="595"/>
                      </a:lnTo>
                      <a:lnTo>
                        <a:pt x="1312" y="595"/>
                      </a:lnTo>
                      <a:lnTo>
                        <a:pt x="1312" y="594"/>
                      </a:lnTo>
                      <a:lnTo>
                        <a:pt x="1312" y="593"/>
                      </a:lnTo>
                      <a:lnTo>
                        <a:pt x="1313" y="593"/>
                      </a:lnTo>
                      <a:lnTo>
                        <a:pt x="1313" y="594"/>
                      </a:lnTo>
                      <a:lnTo>
                        <a:pt x="1313" y="595"/>
                      </a:lnTo>
                      <a:lnTo>
                        <a:pt x="1313" y="596"/>
                      </a:lnTo>
                      <a:lnTo>
                        <a:pt x="1314" y="596"/>
                      </a:lnTo>
                      <a:lnTo>
                        <a:pt x="1313" y="597"/>
                      </a:lnTo>
                      <a:lnTo>
                        <a:pt x="1313" y="598"/>
                      </a:lnTo>
                      <a:lnTo>
                        <a:pt x="1313" y="600"/>
                      </a:lnTo>
                      <a:lnTo>
                        <a:pt x="1312" y="600"/>
                      </a:lnTo>
                      <a:lnTo>
                        <a:pt x="1312" y="601"/>
                      </a:lnTo>
                      <a:lnTo>
                        <a:pt x="1311" y="601"/>
                      </a:lnTo>
                      <a:lnTo>
                        <a:pt x="1311" y="602"/>
                      </a:lnTo>
                      <a:lnTo>
                        <a:pt x="1310" y="602"/>
                      </a:lnTo>
                      <a:lnTo>
                        <a:pt x="1310" y="601"/>
                      </a:lnTo>
                      <a:lnTo>
                        <a:pt x="1310" y="602"/>
                      </a:lnTo>
                      <a:lnTo>
                        <a:pt x="1311" y="601"/>
                      </a:lnTo>
                      <a:lnTo>
                        <a:pt x="1311" y="600"/>
                      </a:lnTo>
                      <a:lnTo>
                        <a:pt x="1310" y="600"/>
                      </a:lnTo>
                      <a:lnTo>
                        <a:pt x="1309" y="600"/>
                      </a:lnTo>
                      <a:lnTo>
                        <a:pt x="1308" y="600"/>
                      </a:lnTo>
                      <a:lnTo>
                        <a:pt x="1306" y="600"/>
                      </a:lnTo>
                      <a:lnTo>
                        <a:pt x="1305" y="600"/>
                      </a:lnTo>
                      <a:lnTo>
                        <a:pt x="1304" y="601"/>
                      </a:lnTo>
                      <a:lnTo>
                        <a:pt x="1303" y="601"/>
                      </a:lnTo>
                      <a:lnTo>
                        <a:pt x="1303" y="602"/>
                      </a:lnTo>
                      <a:lnTo>
                        <a:pt x="1303" y="603"/>
                      </a:lnTo>
                      <a:lnTo>
                        <a:pt x="1303" y="604"/>
                      </a:lnTo>
                      <a:lnTo>
                        <a:pt x="1303" y="605"/>
                      </a:lnTo>
                      <a:lnTo>
                        <a:pt x="1303" y="606"/>
                      </a:lnTo>
                      <a:lnTo>
                        <a:pt x="1304" y="608"/>
                      </a:lnTo>
                      <a:lnTo>
                        <a:pt x="1303" y="609"/>
                      </a:lnTo>
                      <a:lnTo>
                        <a:pt x="1303" y="610"/>
                      </a:lnTo>
                      <a:lnTo>
                        <a:pt x="1303" y="611"/>
                      </a:lnTo>
                      <a:lnTo>
                        <a:pt x="1302" y="611"/>
                      </a:lnTo>
                      <a:lnTo>
                        <a:pt x="1302" y="613"/>
                      </a:lnTo>
                      <a:lnTo>
                        <a:pt x="1303" y="613"/>
                      </a:lnTo>
                      <a:lnTo>
                        <a:pt x="1302" y="614"/>
                      </a:lnTo>
                      <a:lnTo>
                        <a:pt x="1303" y="614"/>
                      </a:lnTo>
                      <a:lnTo>
                        <a:pt x="1302" y="614"/>
                      </a:lnTo>
                      <a:lnTo>
                        <a:pt x="1302" y="615"/>
                      </a:lnTo>
                      <a:lnTo>
                        <a:pt x="1303" y="616"/>
                      </a:lnTo>
                      <a:lnTo>
                        <a:pt x="1304" y="616"/>
                      </a:lnTo>
                      <a:lnTo>
                        <a:pt x="1304" y="617"/>
                      </a:lnTo>
                      <a:lnTo>
                        <a:pt x="1303" y="618"/>
                      </a:lnTo>
                      <a:lnTo>
                        <a:pt x="1302" y="619"/>
                      </a:lnTo>
                      <a:lnTo>
                        <a:pt x="1301" y="619"/>
                      </a:lnTo>
                      <a:lnTo>
                        <a:pt x="1299" y="619"/>
                      </a:lnTo>
                      <a:lnTo>
                        <a:pt x="1298" y="620"/>
                      </a:lnTo>
                      <a:lnTo>
                        <a:pt x="1296" y="620"/>
                      </a:lnTo>
                      <a:lnTo>
                        <a:pt x="1295" y="620"/>
                      </a:lnTo>
                      <a:lnTo>
                        <a:pt x="1293" y="621"/>
                      </a:lnTo>
                      <a:lnTo>
                        <a:pt x="1292" y="621"/>
                      </a:lnTo>
                      <a:lnTo>
                        <a:pt x="1292" y="622"/>
                      </a:lnTo>
                      <a:lnTo>
                        <a:pt x="1291" y="622"/>
                      </a:lnTo>
                      <a:lnTo>
                        <a:pt x="1290" y="622"/>
                      </a:lnTo>
                      <a:lnTo>
                        <a:pt x="1289" y="622"/>
                      </a:lnTo>
                      <a:lnTo>
                        <a:pt x="1288" y="622"/>
                      </a:lnTo>
                      <a:lnTo>
                        <a:pt x="1287" y="623"/>
                      </a:lnTo>
                      <a:lnTo>
                        <a:pt x="1286" y="624"/>
                      </a:lnTo>
                      <a:lnTo>
                        <a:pt x="1285" y="624"/>
                      </a:lnTo>
                      <a:lnTo>
                        <a:pt x="1284" y="624"/>
                      </a:lnTo>
                      <a:lnTo>
                        <a:pt x="1283" y="624"/>
                      </a:lnTo>
                      <a:lnTo>
                        <a:pt x="1282" y="624"/>
                      </a:lnTo>
                      <a:lnTo>
                        <a:pt x="1282" y="626"/>
                      </a:lnTo>
                      <a:lnTo>
                        <a:pt x="1283" y="626"/>
                      </a:lnTo>
                      <a:lnTo>
                        <a:pt x="1284" y="626"/>
                      </a:lnTo>
                      <a:lnTo>
                        <a:pt x="1284" y="627"/>
                      </a:lnTo>
                      <a:lnTo>
                        <a:pt x="1285" y="627"/>
                      </a:lnTo>
                      <a:lnTo>
                        <a:pt x="1286" y="627"/>
                      </a:lnTo>
                      <a:lnTo>
                        <a:pt x="1286" y="628"/>
                      </a:lnTo>
                      <a:lnTo>
                        <a:pt x="1287" y="629"/>
                      </a:lnTo>
                      <a:lnTo>
                        <a:pt x="1287" y="630"/>
                      </a:lnTo>
                      <a:lnTo>
                        <a:pt x="1288" y="631"/>
                      </a:lnTo>
                      <a:lnTo>
                        <a:pt x="1287" y="631"/>
                      </a:lnTo>
                      <a:lnTo>
                        <a:pt x="1287" y="632"/>
                      </a:lnTo>
                      <a:lnTo>
                        <a:pt x="1286" y="632"/>
                      </a:lnTo>
                      <a:lnTo>
                        <a:pt x="1286" y="633"/>
                      </a:lnTo>
                      <a:lnTo>
                        <a:pt x="1285" y="633"/>
                      </a:lnTo>
                      <a:lnTo>
                        <a:pt x="1285" y="632"/>
                      </a:lnTo>
                      <a:lnTo>
                        <a:pt x="1285" y="631"/>
                      </a:lnTo>
                      <a:lnTo>
                        <a:pt x="1284" y="631"/>
                      </a:lnTo>
                      <a:lnTo>
                        <a:pt x="1283" y="631"/>
                      </a:lnTo>
                      <a:lnTo>
                        <a:pt x="1283" y="630"/>
                      </a:lnTo>
                      <a:lnTo>
                        <a:pt x="1284" y="630"/>
                      </a:lnTo>
                      <a:lnTo>
                        <a:pt x="1283" y="630"/>
                      </a:lnTo>
                      <a:lnTo>
                        <a:pt x="1282" y="630"/>
                      </a:lnTo>
                      <a:lnTo>
                        <a:pt x="1280" y="630"/>
                      </a:lnTo>
                      <a:lnTo>
                        <a:pt x="1279" y="630"/>
                      </a:lnTo>
                      <a:lnTo>
                        <a:pt x="1279" y="631"/>
                      </a:lnTo>
                      <a:lnTo>
                        <a:pt x="1278" y="631"/>
                      </a:lnTo>
                      <a:lnTo>
                        <a:pt x="1278" y="632"/>
                      </a:lnTo>
                      <a:lnTo>
                        <a:pt x="1277" y="632"/>
                      </a:lnTo>
                      <a:lnTo>
                        <a:pt x="1276" y="632"/>
                      </a:lnTo>
                      <a:lnTo>
                        <a:pt x="1275" y="632"/>
                      </a:lnTo>
                      <a:lnTo>
                        <a:pt x="1275" y="633"/>
                      </a:lnTo>
                      <a:lnTo>
                        <a:pt x="1274" y="632"/>
                      </a:lnTo>
                      <a:lnTo>
                        <a:pt x="1273" y="632"/>
                      </a:lnTo>
                      <a:lnTo>
                        <a:pt x="1273" y="633"/>
                      </a:lnTo>
                      <a:lnTo>
                        <a:pt x="1272" y="633"/>
                      </a:lnTo>
                      <a:lnTo>
                        <a:pt x="1272" y="632"/>
                      </a:lnTo>
                      <a:lnTo>
                        <a:pt x="1271" y="631"/>
                      </a:lnTo>
                      <a:lnTo>
                        <a:pt x="1271" y="632"/>
                      </a:lnTo>
                      <a:lnTo>
                        <a:pt x="1270" y="632"/>
                      </a:lnTo>
                      <a:lnTo>
                        <a:pt x="1270" y="633"/>
                      </a:lnTo>
                      <a:lnTo>
                        <a:pt x="1271" y="633"/>
                      </a:lnTo>
                      <a:lnTo>
                        <a:pt x="1270" y="633"/>
                      </a:lnTo>
                      <a:lnTo>
                        <a:pt x="1268" y="634"/>
                      </a:lnTo>
                      <a:lnTo>
                        <a:pt x="1267" y="634"/>
                      </a:lnTo>
                      <a:lnTo>
                        <a:pt x="1266" y="634"/>
                      </a:lnTo>
                      <a:lnTo>
                        <a:pt x="1264" y="634"/>
                      </a:lnTo>
                      <a:lnTo>
                        <a:pt x="1265" y="635"/>
                      </a:lnTo>
                      <a:lnTo>
                        <a:pt x="1266" y="636"/>
                      </a:lnTo>
                      <a:lnTo>
                        <a:pt x="1267" y="636"/>
                      </a:lnTo>
                      <a:lnTo>
                        <a:pt x="1267" y="637"/>
                      </a:lnTo>
                      <a:lnTo>
                        <a:pt x="1267" y="639"/>
                      </a:lnTo>
                      <a:lnTo>
                        <a:pt x="1266" y="639"/>
                      </a:lnTo>
                      <a:lnTo>
                        <a:pt x="1266" y="640"/>
                      </a:lnTo>
                      <a:lnTo>
                        <a:pt x="1265" y="640"/>
                      </a:lnTo>
                      <a:lnTo>
                        <a:pt x="1265" y="641"/>
                      </a:lnTo>
                      <a:lnTo>
                        <a:pt x="1265" y="640"/>
                      </a:lnTo>
                      <a:lnTo>
                        <a:pt x="1264" y="640"/>
                      </a:lnTo>
                      <a:lnTo>
                        <a:pt x="1264" y="641"/>
                      </a:lnTo>
                      <a:lnTo>
                        <a:pt x="1264" y="642"/>
                      </a:lnTo>
                      <a:lnTo>
                        <a:pt x="1266" y="642"/>
                      </a:lnTo>
                      <a:lnTo>
                        <a:pt x="1266" y="643"/>
                      </a:lnTo>
                      <a:lnTo>
                        <a:pt x="1267" y="642"/>
                      </a:lnTo>
                      <a:lnTo>
                        <a:pt x="1268" y="643"/>
                      </a:lnTo>
                      <a:lnTo>
                        <a:pt x="1270" y="643"/>
                      </a:lnTo>
                      <a:lnTo>
                        <a:pt x="1271" y="643"/>
                      </a:lnTo>
                      <a:lnTo>
                        <a:pt x="1272" y="643"/>
                      </a:lnTo>
                      <a:lnTo>
                        <a:pt x="1272" y="644"/>
                      </a:lnTo>
                      <a:lnTo>
                        <a:pt x="1273" y="644"/>
                      </a:lnTo>
                      <a:lnTo>
                        <a:pt x="1272" y="645"/>
                      </a:lnTo>
                      <a:lnTo>
                        <a:pt x="1273" y="645"/>
                      </a:lnTo>
                      <a:lnTo>
                        <a:pt x="1275" y="645"/>
                      </a:lnTo>
                      <a:lnTo>
                        <a:pt x="1275" y="644"/>
                      </a:lnTo>
                      <a:lnTo>
                        <a:pt x="1276" y="644"/>
                      </a:lnTo>
                      <a:lnTo>
                        <a:pt x="1276" y="645"/>
                      </a:lnTo>
                      <a:lnTo>
                        <a:pt x="1277" y="645"/>
                      </a:lnTo>
                      <a:lnTo>
                        <a:pt x="1277" y="644"/>
                      </a:lnTo>
                      <a:lnTo>
                        <a:pt x="1278" y="644"/>
                      </a:lnTo>
                      <a:lnTo>
                        <a:pt x="1279" y="644"/>
                      </a:lnTo>
                      <a:lnTo>
                        <a:pt x="1280" y="644"/>
                      </a:lnTo>
                      <a:lnTo>
                        <a:pt x="1282" y="643"/>
                      </a:lnTo>
                      <a:lnTo>
                        <a:pt x="1283" y="643"/>
                      </a:lnTo>
                      <a:lnTo>
                        <a:pt x="1283" y="644"/>
                      </a:lnTo>
                      <a:lnTo>
                        <a:pt x="1283" y="645"/>
                      </a:lnTo>
                      <a:lnTo>
                        <a:pt x="1283" y="644"/>
                      </a:lnTo>
                      <a:lnTo>
                        <a:pt x="1284" y="644"/>
                      </a:lnTo>
                      <a:lnTo>
                        <a:pt x="1284" y="645"/>
                      </a:lnTo>
                      <a:lnTo>
                        <a:pt x="1285" y="645"/>
                      </a:lnTo>
                      <a:lnTo>
                        <a:pt x="1286" y="645"/>
                      </a:lnTo>
                      <a:lnTo>
                        <a:pt x="1286" y="646"/>
                      </a:lnTo>
                      <a:lnTo>
                        <a:pt x="1287" y="647"/>
                      </a:lnTo>
                      <a:lnTo>
                        <a:pt x="1288" y="647"/>
                      </a:lnTo>
                      <a:lnTo>
                        <a:pt x="1289" y="647"/>
                      </a:lnTo>
                      <a:lnTo>
                        <a:pt x="1290" y="648"/>
                      </a:lnTo>
                      <a:lnTo>
                        <a:pt x="1290" y="649"/>
                      </a:lnTo>
                      <a:lnTo>
                        <a:pt x="1290" y="650"/>
                      </a:lnTo>
                      <a:lnTo>
                        <a:pt x="1291" y="650"/>
                      </a:lnTo>
                      <a:lnTo>
                        <a:pt x="1292" y="650"/>
                      </a:lnTo>
                      <a:lnTo>
                        <a:pt x="1293" y="650"/>
                      </a:lnTo>
                      <a:lnTo>
                        <a:pt x="1295" y="650"/>
                      </a:lnTo>
                      <a:lnTo>
                        <a:pt x="1296" y="650"/>
                      </a:lnTo>
                      <a:lnTo>
                        <a:pt x="1296" y="649"/>
                      </a:lnTo>
                      <a:lnTo>
                        <a:pt x="1296" y="650"/>
                      </a:lnTo>
                      <a:lnTo>
                        <a:pt x="1297" y="652"/>
                      </a:lnTo>
                      <a:lnTo>
                        <a:pt x="1298" y="652"/>
                      </a:lnTo>
                      <a:lnTo>
                        <a:pt x="1298" y="653"/>
                      </a:lnTo>
                      <a:lnTo>
                        <a:pt x="1299" y="653"/>
                      </a:lnTo>
                      <a:lnTo>
                        <a:pt x="1300" y="653"/>
                      </a:lnTo>
                      <a:lnTo>
                        <a:pt x="1300" y="652"/>
                      </a:lnTo>
                      <a:lnTo>
                        <a:pt x="1301" y="653"/>
                      </a:lnTo>
                      <a:lnTo>
                        <a:pt x="1302" y="653"/>
                      </a:lnTo>
                      <a:lnTo>
                        <a:pt x="1303" y="652"/>
                      </a:lnTo>
                      <a:lnTo>
                        <a:pt x="1304" y="652"/>
                      </a:lnTo>
                      <a:lnTo>
                        <a:pt x="1304" y="653"/>
                      </a:lnTo>
                      <a:lnTo>
                        <a:pt x="1305" y="653"/>
                      </a:lnTo>
                      <a:lnTo>
                        <a:pt x="1305" y="654"/>
                      </a:lnTo>
                      <a:lnTo>
                        <a:pt x="1306" y="654"/>
                      </a:lnTo>
                      <a:lnTo>
                        <a:pt x="1308" y="653"/>
                      </a:lnTo>
                      <a:lnTo>
                        <a:pt x="1309" y="653"/>
                      </a:lnTo>
                      <a:lnTo>
                        <a:pt x="1309" y="654"/>
                      </a:lnTo>
                      <a:lnTo>
                        <a:pt x="1310" y="654"/>
                      </a:lnTo>
                      <a:lnTo>
                        <a:pt x="1310" y="653"/>
                      </a:lnTo>
                      <a:lnTo>
                        <a:pt x="1311" y="653"/>
                      </a:lnTo>
                      <a:lnTo>
                        <a:pt x="1311" y="654"/>
                      </a:lnTo>
                      <a:lnTo>
                        <a:pt x="1311" y="655"/>
                      </a:lnTo>
                      <a:lnTo>
                        <a:pt x="1311" y="656"/>
                      </a:lnTo>
                      <a:lnTo>
                        <a:pt x="1313" y="656"/>
                      </a:lnTo>
                      <a:lnTo>
                        <a:pt x="1313" y="657"/>
                      </a:lnTo>
                      <a:lnTo>
                        <a:pt x="1314" y="657"/>
                      </a:lnTo>
                      <a:lnTo>
                        <a:pt x="1313" y="657"/>
                      </a:lnTo>
                      <a:lnTo>
                        <a:pt x="1313" y="658"/>
                      </a:lnTo>
                      <a:lnTo>
                        <a:pt x="1313" y="659"/>
                      </a:lnTo>
                      <a:lnTo>
                        <a:pt x="1314" y="660"/>
                      </a:lnTo>
                      <a:lnTo>
                        <a:pt x="1314" y="661"/>
                      </a:lnTo>
                      <a:lnTo>
                        <a:pt x="1315" y="662"/>
                      </a:lnTo>
                      <a:lnTo>
                        <a:pt x="1316" y="662"/>
                      </a:lnTo>
                      <a:lnTo>
                        <a:pt x="1317" y="664"/>
                      </a:lnTo>
                      <a:lnTo>
                        <a:pt x="1318" y="664"/>
                      </a:lnTo>
                      <a:lnTo>
                        <a:pt x="1319" y="664"/>
                      </a:lnTo>
                      <a:lnTo>
                        <a:pt x="1321" y="664"/>
                      </a:lnTo>
                      <a:lnTo>
                        <a:pt x="1322" y="664"/>
                      </a:lnTo>
                      <a:lnTo>
                        <a:pt x="1323" y="664"/>
                      </a:lnTo>
                      <a:lnTo>
                        <a:pt x="1324" y="664"/>
                      </a:lnTo>
                      <a:lnTo>
                        <a:pt x="1325" y="662"/>
                      </a:lnTo>
                      <a:lnTo>
                        <a:pt x="1326" y="664"/>
                      </a:lnTo>
                      <a:lnTo>
                        <a:pt x="1328" y="662"/>
                      </a:lnTo>
                      <a:lnTo>
                        <a:pt x="1329" y="662"/>
                      </a:lnTo>
                      <a:lnTo>
                        <a:pt x="1331" y="661"/>
                      </a:lnTo>
                      <a:lnTo>
                        <a:pt x="1332" y="660"/>
                      </a:lnTo>
                      <a:lnTo>
                        <a:pt x="1334" y="659"/>
                      </a:lnTo>
                      <a:lnTo>
                        <a:pt x="1336" y="659"/>
                      </a:lnTo>
                      <a:lnTo>
                        <a:pt x="1337" y="659"/>
                      </a:lnTo>
                      <a:lnTo>
                        <a:pt x="1337" y="658"/>
                      </a:lnTo>
                      <a:lnTo>
                        <a:pt x="1337" y="657"/>
                      </a:lnTo>
                      <a:lnTo>
                        <a:pt x="1336" y="656"/>
                      </a:lnTo>
                      <a:lnTo>
                        <a:pt x="1335" y="655"/>
                      </a:lnTo>
                      <a:lnTo>
                        <a:pt x="1336" y="654"/>
                      </a:lnTo>
                      <a:lnTo>
                        <a:pt x="1337" y="654"/>
                      </a:lnTo>
                      <a:lnTo>
                        <a:pt x="1338" y="653"/>
                      </a:lnTo>
                      <a:lnTo>
                        <a:pt x="1339" y="653"/>
                      </a:lnTo>
                      <a:lnTo>
                        <a:pt x="1340" y="653"/>
                      </a:lnTo>
                      <a:lnTo>
                        <a:pt x="1341" y="653"/>
                      </a:lnTo>
                      <a:lnTo>
                        <a:pt x="1342" y="653"/>
                      </a:lnTo>
                      <a:lnTo>
                        <a:pt x="1343" y="653"/>
                      </a:lnTo>
                      <a:lnTo>
                        <a:pt x="1342" y="653"/>
                      </a:lnTo>
                      <a:lnTo>
                        <a:pt x="1342" y="654"/>
                      </a:lnTo>
                      <a:lnTo>
                        <a:pt x="1341" y="654"/>
                      </a:lnTo>
                      <a:lnTo>
                        <a:pt x="1341" y="655"/>
                      </a:lnTo>
                      <a:lnTo>
                        <a:pt x="1340" y="655"/>
                      </a:lnTo>
                      <a:lnTo>
                        <a:pt x="1341" y="655"/>
                      </a:lnTo>
                      <a:lnTo>
                        <a:pt x="1340" y="655"/>
                      </a:lnTo>
                      <a:lnTo>
                        <a:pt x="1340" y="657"/>
                      </a:lnTo>
                      <a:lnTo>
                        <a:pt x="1340" y="658"/>
                      </a:lnTo>
                      <a:lnTo>
                        <a:pt x="1340" y="659"/>
                      </a:lnTo>
                      <a:lnTo>
                        <a:pt x="1340" y="660"/>
                      </a:lnTo>
                      <a:lnTo>
                        <a:pt x="1339" y="660"/>
                      </a:lnTo>
                      <a:lnTo>
                        <a:pt x="1339" y="661"/>
                      </a:lnTo>
                      <a:lnTo>
                        <a:pt x="1339" y="662"/>
                      </a:lnTo>
                      <a:lnTo>
                        <a:pt x="1340" y="662"/>
                      </a:lnTo>
                      <a:lnTo>
                        <a:pt x="1341" y="662"/>
                      </a:lnTo>
                      <a:lnTo>
                        <a:pt x="1342" y="662"/>
                      </a:lnTo>
                      <a:lnTo>
                        <a:pt x="1343" y="661"/>
                      </a:lnTo>
                      <a:lnTo>
                        <a:pt x="1344" y="661"/>
                      </a:lnTo>
                      <a:lnTo>
                        <a:pt x="1344" y="662"/>
                      </a:lnTo>
                      <a:lnTo>
                        <a:pt x="1343" y="662"/>
                      </a:lnTo>
                      <a:lnTo>
                        <a:pt x="1344" y="662"/>
                      </a:lnTo>
                      <a:lnTo>
                        <a:pt x="1343" y="664"/>
                      </a:lnTo>
                      <a:lnTo>
                        <a:pt x="1343" y="665"/>
                      </a:lnTo>
                      <a:lnTo>
                        <a:pt x="1343" y="666"/>
                      </a:lnTo>
                      <a:lnTo>
                        <a:pt x="1342" y="667"/>
                      </a:lnTo>
                      <a:lnTo>
                        <a:pt x="1343" y="667"/>
                      </a:lnTo>
                      <a:lnTo>
                        <a:pt x="1342" y="668"/>
                      </a:lnTo>
                      <a:lnTo>
                        <a:pt x="1343" y="669"/>
                      </a:lnTo>
                      <a:lnTo>
                        <a:pt x="1342" y="670"/>
                      </a:lnTo>
                      <a:lnTo>
                        <a:pt x="1342" y="671"/>
                      </a:lnTo>
                      <a:lnTo>
                        <a:pt x="1342" y="672"/>
                      </a:lnTo>
                      <a:lnTo>
                        <a:pt x="1342" y="673"/>
                      </a:lnTo>
                      <a:lnTo>
                        <a:pt x="1343" y="673"/>
                      </a:lnTo>
                      <a:lnTo>
                        <a:pt x="1343" y="674"/>
                      </a:lnTo>
                      <a:lnTo>
                        <a:pt x="1344" y="675"/>
                      </a:lnTo>
                      <a:lnTo>
                        <a:pt x="1343" y="675"/>
                      </a:lnTo>
                      <a:lnTo>
                        <a:pt x="1344" y="675"/>
                      </a:lnTo>
                      <a:lnTo>
                        <a:pt x="1345" y="675"/>
                      </a:lnTo>
                      <a:lnTo>
                        <a:pt x="1345" y="677"/>
                      </a:lnTo>
                      <a:lnTo>
                        <a:pt x="1347" y="677"/>
                      </a:lnTo>
                      <a:lnTo>
                        <a:pt x="1348" y="678"/>
                      </a:lnTo>
                      <a:lnTo>
                        <a:pt x="1347" y="678"/>
                      </a:lnTo>
                      <a:lnTo>
                        <a:pt x="1345" y="679"/>
                      </a:lnTo>
                      <a:lnTo>
                        <a:pt x="1344" y="679"/>
                      </a:lnTo>
                      <a:lnTo>
                        <a:pt x="1343" y="679"/>
                      </a:lnTo>
                      <a:lnTo>
                        <a:pt x="1342" y="678"/>
                      </a:lnTo>
                      <a:lnTo>
                        <a:pt x="1341" y="678"/>
                      </a:lnTo>
                      <a:lnTo>
                        <a:pt x="1341" y="677"/>
                      </a:lnTo>
                      <a:lnTo>
                        <a:pt x="1340" y="677"/>
                      </a:lnTo>
                      <a:lnTo>
                        <a:pt x="1338" y="677"/>
                      </a:lnTo>
                      <a:lnTo>
                        <a:pt x="1337" y="675"/>
                      </a:lnTo>
                      <a:lnTo>
                        <a:pt x="1338" y="675"/>
                      </a:lnTo>
                      <a:lnTo>
                        <a:pt x="1338" y="674"/>
                      </a:lnTo>
                      <a:lnTo>
                        <a:pt x="1337" y="674"/>
                      </a:lnTo>
                      <a:lnTo>
                        <a:pt x="1336" y="675"/>
                      </a:lnTo>
                      <a:lnTo>
                        <a:pt x="1336" y="674"/>
                      </a:lnTo>
                      <a:lnTo>
                        <a:pt x="1335" y="675"/>
                      </a:lnTo>
                      <a:lnTo>
                        <a:pt x="1335" y="674"/>
                      </a:lnTo>
                      <a:lnTo>
                        <a:pt x="1336" y="673"/>
                      </a:lnTo>
                      <a:lnTo>
                        <a:pt x="1337" y="673"/>
                      </a:lnTo>
                      <a:lnTo>
                        <a:pt x="1338" y="672"/>
                      </a:lnTo>
                      <a:lnTo>
                        <a:pt x="1337" y="672"/>
                      </a:lnTo>
                      <a:lnTo>
                        <a:pt x="1338" y="671"/>
                      </a:lnTo>
                      <a:lnTo>
                        <a:pt x="1337" y="671"/>
                      </a:lnTo>
                      <a:lnTo>
                        <a:pt x="1336" y="671"/>
                      </a:lnTo>
                      <a:lnTo>
                        <a:pt x="1335" y="671"/>
                      </a:lnTo>
                      <a:lnTo>
                        <a:pt x="1331" y="670"/>
                      </a:lnTo>
                      <a:lnTo>
                        <a:pt x="1330" y="670"/>
                      </a:lnTo>
                      <a:lnTo>
                        <a:pt x="1329" y="670"/>
                      </a:lnTo>
                      <a:lnTo>
                        <a:pt x="1328" y="670"/>
                      </a:lnTo>
                      <a:lnTo>
                        <a:pt x="1329" y="670"/>
                      </a:lnTo>
                      <a:lnTo>
                        <a:pt x="1329" y="671"/>
                      </a:lnTo>
                      <a:lnTo>
                        <a:pt x="1330" y="671"/>
                      </a:lnTo>
                      <a:lnTo>
                        <a:pt x="1331" y="672"/>
                      </a:lnTo>
                      <a:lnTo>
                        <a:pt x="1331" y="673"/>
                      </a:lnTo>
                      <a:lnTo>
                        <a:pt x="1332" y="673"/>
                      </a:lnTo>
                      <a:lnTo>
                        <a:pt x="1334" y="673"/>
                      </a:lnTo>
                      <a:lnTo>
                        <a:pt x="1334" y="674"/>
                      </a:lnTo>
                      <a:lnTo>
                        <a:pt x="1332" y="674"/>
                      </a:lnTo>
                      <a:lnTo>
                        <a:pt x="1332" y="673"/>
                      </a:lnTo>
                      <a:lnTo>
                        <a:pt x="1331" y="673"/>
                      </a:lnTo>
                      <a:lnTo>
                        <a:pt x="1330" y="673"/>
                      </a:lnTo>
                      <a:lnTo>
                        <a:pt x="1329" y="673"/>
                      </a:lnTo>
                      <a:lnTo>
                        <a:pt x="1328" y="672"/>
                      </a:lnTo>
                      <a:lnTo>
                        <a:pt x="1327" y="672"/>
                      </a:lnTo>
                      <a:lnTo>
                        <a:pt x="1326" y="671"/>
                      </a:lnTo>
                      <a:lnTo>
                        <a:pt x="1325" y="671"/>
                      </a:lnTo>
                      <a:lnTo>
                        <a:pt x="1324" y="670"/>
                      </a:lnTo>
                      <a:lnTo>
                        <a:pt x="1324" y="669"/>
                      </a:lnTo>
                      <a:lnTo>
                        <a:pt x="1323" y="668"/>
                      </a:lnTo>
                      <a:lnTo>
                        <a:pt x="1318" y="666"/>
                      </a:lnTo>
                      <a:lnTo>
                        <a:pt x="1317" y="666"/>
                      </a:lnTo>
                      <a:lnTo>
                        <a:pt x="1316" y="665"/>
                      </a:lnTo>
                      <a:lnTo>
                        <a:pt x="1315" y="664"/>
                      </a:lnTo>
                      <a:lnTo>
                        <a:pt x="1314" y="664"/>
                      </a:lnTo>
                      <a:lnTo>
                        <a:pt x="1313" y="664"/>
                      </a:lnTo>
                      <a:lnTo>
                        <a:pt x="1312" y="665"/>
                      </a:lnTo>
                      <a:lnTo>
                        <a:pt x="1311" y="664"/>
                      </a:lnTo>
                      <a:lnTo>
                        <a:pt x="1309" y="664"/>
                      </a:lnTo>
                      <a:lnTo>
                        <a:pt x="1308" y="664"/>
                      </a:lnTo>
                      <a:lnTo>
                        <a:pt x="1306" y="664"/>
                      </a:lnTo>
                      <a:lnTo>
                        <a:pt x="1305" y="664"/>
                      </a:lnTo>
                      <a:lnTo>
                        <a:pt x="1304" y="664"/>
                      </a:lnTo>
                      <a:lnTo>
                        <a:pt x="1303" y="664"/>
                      </a:lnTo>
                      <a:lnTo>
                        <a:pt x="1303" y="665"/>
                      </a:lnTo>
                      <a:lnTo>
                        <a:pt x="1302" y="665"/>
                      </a:lnTo>
                      <a:lnTo>
                        <a:pt x="1301" y="665"/>
                      </a:lnTo>
                      <a:lnTo>
                        <a:pt x="1300" y="665"/>
                      </a:lnTo>
                      <a:lnTo>
                        <a:pt x="1299" y="665"/>
                      </a:lnTo>
                      <a:lnTo>
                        <a:pt x="1298" y="666"/>
                      </a:lnTo>
                      <a:lnTo>
                        <a:pt x="1298" y="667"/>
                      </a:lnTo>
                      <a:lnTo>
                        <a:pt x="1298" y="668"/>
                      </a:lnTo>
                      <a:lnTo>
                        <a:pt x="1297" y="667"/>
                      </a:lnTo>
                      <a:lnTo>
                        <a:pt x="1297" y="666"/>
                      </a:lnTo>
                      <a:lnTo>
                        <a:pt x="1296" y="665"/>
                      </a:lnTo>
                      <a:lnTo>
                        <a:pt x="1295" y="664"/>
                      </a:lnTo>
                      <a:lnTo>
                        <a:pt x="1296" y="662"/>
                      </a:lnTo>
                      <a:lnTo>
                        <a:pt x="1297" y="662"/>
                      </a:lnTo>
                      <a:lnTo>
                        <a:pt x="1297" y="661"/>
                      </a:lnTo>
                      <a:lnTo>
                        <a:pt x="1297" y="662"/>
                      </a:lnTo>
                      <a:lnTo>
                        <a:pt x="1297" y="664"/>
                      </a:lnTo>
                      <a:lnTo>
                        <a:pt x="1297" y="662"/>
                      </a:lnTo>
                      <a:lnTo>
                        <a:pt x="1297" y="661"/>
                      </a:lnTo>
                      <a:lnTo>
                        <a:pt x="1299" y="660"/>
                      </a:lnTo>
                      <a:lnTo>
                        <a:pt x="1297" y="661"/>
                      </a:lnTo>
                      <a:lnTo>
                        <a:pt x="1296" y="662"/>
                      </a:lnTo>
                      <a:lnTo>
                        <a:pt x="1295" y="662"/>
                      </a:lnTo>
                      <a:lnTo>
                        <a:pt x="1295" y="664"/>
                      </a:lnTo>
                      <a:lnTo>
                        <a:pt x="1293" y="664"/>
                      </a:lnTo>
                      <a:lnTo>
                        <a:pt x="1293" y="662"/>
                      </a:lnTo>
                      <a:lnTo>
                        <a:pt x="1292" y="662"/>
                      </a:lnTo>
                      <a:lnTo>
                        <a:pt x="1293" y="662"/>
                      </a:lnTo>
                      <a:lnTo>
                        <a:pt x="1293" y="661"/>
                      </a:lnTo>
                      <a:lnTo>
                        <a:pt x="1293" y="660"/>
                      </a:lnTo>
                      <a:lnTo>
                        <a:pt x="1292" y="660"/>
                      </a:lnTo>
                      <a:lnTo>
                        <a:pt x="1291" y="660"/>
                      </a:lnTo>
                      <a:lnTo>
                        <a:pt x="1291" y="659"/>
                      </a:lnTo>
                      <a:lnTo>
                        <a:pt x="1292" y="659"/>
                      </a:lnTo>
                      <a:lnTo>
                        <a:pt x="1293" y="658"/>
                      </a:lnTo>
                      <a:lnTo>
                        <a:pt x="1292" y="658"/>
                      </a:lnTo>
                      <a:lnTo>
                        <a:pt x="1291" y="658"/>
                      </a:lnTo>
                      <a:lnTo>
                        <a:pt x="1290" y="658"/>
                      </a:lnTo>
                      <a:lnTo>
                        <a:pt x="1290" y="657"/>
                      </a:lnTo>
                      <a:lnTo>
                        <a:pt x="1289" y="657"/>
                      </a:lnTo>
                      <a:lnTo>
                        <a:pt x="1288" y="658"/>
                      </a:lnTo>
                      <a:lnTo>
                        <a:pt x="1287" y="658"/>
                      </a:lnTo>
                      <a:lnTo>
                        <a:pt x="1286" y="658"/>
                      </a:lnTo>
                      <a:lnTo>
                        <a:pt x="1286" y="657"/>
                      </a:lnTo>
                      <a:lnTo>
                        <a:pt x="1285" y="657"/>
                      </a:lnTo>
                      <a:lnTo>
                        <a:pt x="1284" y="657"/>
                      </a:lnTo>
                      <a:lnTo>
                        <a:pt x="1283" y="658"/>
                      </a:lnTo>
                      <a:lnTo>
                        <a:pt x="1280" y="658"/>
                      </a:lnTo>
                      <a:lnTo>
                        <a:pt x="1279" y="659"/>
                      </a:lnTo>
                      <a:lnTo>
                        <a:pt x="1278" y="659"/>
                      </a:lnTo>
                      <a:lnTo>
                        <a:pt x="1277" y="660"/>
                      </a:lnTo>
                      <a:lnTo>
                        <a:pt x="1277" y="661"/>
                      </a:lnTo>
                      <a:lnTo>
                        <a:pt x="1276" y="664"/>
                      </a:lnTo>
                      <a:lnTo>
                        <a:pt x="1275" y="664"/>
                      </a:lnTo>
                      <a:lnTo>
                        <a:pt x="1276" y="665"/>
                      </a:lnTo>
                      <a:lnTo>
                        <a:pt x="1276" y="666"/>
                      </a:lnTo>
                      <a:lnTo>
                        <a:pt x="1276" y="667"/>
                      </a:lnTo>
                      <a:lnTo>
                        <a:pt x="1275" y="667"/>
                      </a:lnTo>
                      <a:lnTo>
                        <a:pt x="1274" y="668"/>
                      </a:lnTo>
                      <a:lnTo>
                        <a:pt x="1274" y="669"/>
                      </a:lnTo>
                      <a:lnTo>
                        <a:pt x="1273" y="670"/>
                      </a:lnTo>
                      <a:lnTo>
                        <a:pt x="1274" y="671"/>
                      </a:lnTo>
                      <a:lnTo>
                        <a:pt x="1274" y="672"/>
                      </a:lnTo>
                      <a:lnTo>
                        <a:pt x="1275" y="672"/>
                      </a:lnTo>
                      <a:lnTo>
                        <a:pt x="1275" y="673"/>
                      </a:lnTo>
                      <a:lnTo>
                        <a:pt x="1274" y="673"/>
                      </a:lnTo>
                      <a:lnTo>
                        <a:pt x="1274" y="672"/>
                      </a:lnTo>
                      <a:lnTo>
                        <a:pt x="1273" y="673"/>
                      </a:lnTo>
                      <a:lnTo>
                        <a:pt x="1272" y="673"/>
                      </a:lnTo>
                      <a:lnTo>
                        <a:pt x="1271" y="674"/>
                      </a:lnTo>
                      <a:lnTo>
                        <a:pt x="1271" y="675"/>
                      </a:lnTo>
                      <a:lnTo>
                        <a:pt x="1270" y="675"/>
                      </a:lnTo>
                      <a:lnTo>
                        <a:pt x="1270" y="677"/>
                      </a:lnTo>
                      <a:lnTo>
                        <a:pt x="1270" y="678"/>
                      </a:lnTo>
                      <a:lnTo>
                        <a:pt x="1270" y="679"/>
                      </a:lnTo>
                      <a:lnTo>
                        <a:pt x="1270" y="680"/>
                      </a:lnTo>
                      <a:lnTo>
                        <a:pt x="1270" y="681"/>
                      </a:lnTo>
                      <a:lnTo>
                        <a:pt x="1268" y="681"/>
                      </a:lnTo>
                      <a:lnTo>
                        <a:pt x="1267" y="682"/>
                      </a:lnTo>
                      <a:lnTo>
                        <a:pt x="1266" y="682"/>
                      </a:lnTo>
                      <a:lnTo>
                        <a:pt x="1266" y="683"/>
                      </a:lnTo>
                      <a:lnTo>
                        <a:pt x="1267" y="683"/>
                      </a:lnTo>
                      <a:lnTo>
                        <a:pt x="1266" y="683"/>
                      </a:lnTo>
                      <a:lnTo>
                        <a:pt x="1267" y="684"/>
                      </a:lnTo>
                      <a:lnTo>
                        <a:pt x="1267" y="685"/>
                      </a:lnTo>
                      <a:lnTo>
                        <a:pt x="1266" y="685"/>
                      </a:lnTo>
                      <a:lnTo>
                        <a:pt x="1266" y="684"/>
                      </a:lnTo>
                      <a:lnTo>
                        <a:pt x="1266" y="683"/>
                      </a:lnTo>
                      <a:lnTo>
                        <a:pt x="1266" y="682"/>
                      </a:lnTo>
                      <a:lnTo>
                        <a:pt x="1266" y="679"/>
                      </a:lnTo>
                      <a:lnTo>
                        <a:pt x="1266" y="678"/>
                      </a:lnTo>
                      <a:lnTo>
                        <a:pt x="1266" y="679"/>
                      </a:lnTo>
                      <a:lnTo>
                        <a:pt x="1267" y="678"/>
                      </a:lnTo>
                      <a:lnTo>
                        <a:pt x="1267" y="677"/>
                      </a:lnTo>
                      <a:lnTo>
                        <a:pt x="1267" y="675"/>
                      </a:lnTo>
                      <a:lnTo>
                        <a:pt x="1268" y="674"/>
                      </a:lnTo>
                      <a:lnTo>
                        <a:pt x="1267" y="672"/>
                      </a:lnTo>
                      <a:lnTo>
                        <a:pt x="1268" y="669"/>
                      </a:lnTo>
                      <a:lnTo>
                        <a:pt x="1267" y="668"/>
                      </a:lnTo>
                      <a:lnTo>
                        <a:pt x="1266" y="667"/>
                      </a:lnTo>
                      <a:lnTo>
                        <a:pt x="1265" y="666"/>
                      </a:lnTo>
                      <a:lnTo>
                        <a:pt x="1263" y="666"/>
                      </a:lnTo>
                      <a:lnTo>
                        <a:pt x="1263" y="665"/>
                      </a:lnTo>
                      <a:lnTo>
                        <a:pt x="1263" y="664"/>
                      </a:lnTo>
                      <a:lnTo>
                        <a:pt x="1264" y="664"/>
                      </a:lnTo>
                      <a:lnTo>
                        <a:pt x="1265" y="662"/>
                      </a:lnTo>
                      <a:lnTo>
                        <a:pt x="1264" y="662"/>
                      </a:lnTo>
                      <a:lnTo>
                        <a:pt x="1265" y="661"/>
                      </a:lnTo>
                      <a:lnTo>
                        <a:pt x="1266" y="661"/>
                      </a:lnTo>
                      <a:lnTo>
                        <a:pt x="1268" y="662"/>
                      </a:lnTo>
                      <a:lnTo>
                        <a:pt x="1270" y="662"/>
                      </a:lnTo>
                      <a:lnTo>
                        <a:pt x="1270" y="661"/>
                      </a:lnTo>
                      <a:lnTo>
                        <a:pt x="1270" y="660"/>
                      </a:lnTo>
                      <a:lnTo>
                        <a:pt x="1268" y="660"/>
                      </a:lnTo>
                      <a:lnTo>
                        <a:pt x="1267" y="660"/>
                      </a:lnTo>
                      <a:lnTo>
                        <a:pt x="1266" y="660"/>
                      </a:lnTo>
                      <a:lnTo>
                        <a:pt x="1265" y="660"/>
                      </a:lnTo>
                      <a:lnTo>
                        <a:pt x="1264" y="660"/>
                      </a:lnTo>
                      <a:lnTo>
                        <a:pt x="1263" y="660"/>
                      </a:lnTo>
                      <a:lnTo>
                        <a:pt x="1262" y="660"/>
                      </a:lnTo>
                      <a:lnTo>
                        <a:pt x="1262" y="659"/>
                      </a:lnTo>
                      <a:lnTo>
                        <a:pt x="1262" y="660"/>
                      </a:lnTo>
                      <a:lnTo>
                        <a:pt x="1261" y="660"/>
                      </a:lnTo>
                      <a:lnTo>
                        <a:pt x="1261" y="661"/>
                      </a:lnTo>
                      <a:lnTo>
                        <a:pt x="1261" y="662"/>
                      </a:lnTo>
                      <a:lnTo>
                        <a:pt x="1261" y="664"/>
                      </a:lnTo>
                      <a:lnTo>
                        <a:pt x="1261" y="665"/>
                      </a:lnTo>
                      <a:lnTo>
                        <a:pt x="1261" y="666"/>
                      </a:lnTo>
                      <a:lnTo>
                        <a:pt x="1261" y="667"/>
                      </a:lnTo>
                      <a:lnTo>
                        <a:pt x="1260" y="667"/>
                      </a:lnTo>
                      <a:lnTo>
                        <a:pt x="1260" y="666"/>
                      </a:lnTo>
                      <a:lnTo>
                        <a:pt x="1259" y="666"/>
                      </a:lnTo>
                      <a:lnTo>
                        <a:pt x="1259" y="665"/>
                      </a:lnTo>
                      <a:lnTo>
                        <a:pt x="1258" y="665"/>
                      </a:lnTo>
                      <a:lnTo>
                        <a:pt x="1257" y="665"/>
                      </a:lnTo>
                      <a:lnTo>
                        <a:pt x="1258" y="665"/>
                      </a:lnTo>
                      <a:lnTo>
                        <a:pt x="1258" y="664"/>
                      </a:lnTo>
                      <a:lnTo>
                        <a:pt x="1257" y="662"/>
                      </a:lnTo>
                      <a:lnTo>
                        <a:pt x="1257" y="664"/>
                      </a:lnTo>
                      <a:lnTo>
                        <a:pt x="1255" y="664"/>
                      </a:lnTo>
                      <a:lnTo>
                        <a:pt x="1255" y="662"/>
                      </a:lnTo>
                      <a:lnTo>
                        <a:pt x="1254" y="662"/>
                      </a:lnTo>
                      <a:lnTo>
                        <a:pt x="1254" y="661"/>
                      </a:lnTo>
                      <a:lnTo>
                        <a:pt x="1253" y="661"/>
                      </a:lnTo>
                      <a:lnTo>
                        <a:pt x="1253" y="660"/>
                      </a:lnTo>
                      <a:lnTo>
                        <a:pt x="1252" y="660"/>
                      </a:lnTo>
                      <a:lnTo>
                        <a:pt x="1252" y="659"/>
                      </a:lnTo>
                      <a:lnTo>
                        <a:pt x="1253" y="659"/>
                      </a:lnTo>
                      <a:lnTo>
                        <a:pt x="1253" y="660"/>
                      </a:lnTo>
                      <a:lnTo>
                        <a:pt x="1253" y="659"/>
                      </a:lnTo>
                      <a:lnTo>
                        <a:pt x="1254" y="659"/>
                      </a:lnTo>
                      <a:lnTo>
                        <a:pt x="1254" y="658"/>
                      </a:lnTo>
                      <a:lnTo>
                        <a:pt x="1254" y="657"/>
                      </a:lnTo>
                      <a:lnTo>
                        <a:pt x="1255" y="657"/>
                      </a:lnTo>
                      <a:lnTo>
                        <a:pt x="1255" y="656"/>
                      </a:lnTo>
                      <a:lnTo>
                        <a:pt x="1255" y="655"/>
                      </a:lnTo>
                      <a:lnTo>
                        <a:pt x="1257" y="655"/>
                      </a:lnTo>
                      <a:lnTo>
                        <a:pt x="1257" y="654"/>
                      </a:lnTo>
                      <a:lnTo>
                        <a:pt x="1257" y="653"/>
                      </a:lnTo>
                      <a:lnTo>
                        <a:pt x="1257" y="652"/>
                      </a:lnTo>
                      <a:lnTo>
                        <a:pt x="1257" y="650"/>
                      </a:lnTo>
                      <a:lnTo>
                        <a:pt x="1255" y="650"/>
                      </a:lnTo>
                      <a:lnTo>
                        <a:pt x="1255" y="649"/>
                      </a:lnTo>
                      <a:lnTo>
                        <a:pt x="1255" y="650"/>
                      </a:lnTo>
                      <a:lnTo>
                        <a:pt x="1254" y="650"/>
                      </a:lnTo>
                      <a:lnTo>
                        <a:pt x="1255" y="649"/>
                      </a:lnTo>
                      <a:lnTo>
                        <a:pt x="1254" y="649"/>
                      </a:lnTo>
                      <a:lnTo>
                        <a:pt x="1254" y="650"/>
                      </a:lnTo>
                      <a:lnTo>
                        <a:pt x="1253" y="650"/>
                      </a:lnTo>
                      <a:lnTo>
                        <a:pt x="1252" y="650"/>
                      </a:lnTo>
                      <a:lnTo>
                        <a:pt x="1251" y="649"/>
                      </a:lnTo>
                      <a:lnTo>
                        <a:pt x="1250" y="650"/>
                      </a:lnTo>
                      <a:lnTo>
                        <a:pt x="1250" y="649"/>
                      </a:lnTo>
                      <a:lnTo>
                        <a:pt x="1249" y="648"/>
                      </a:lnTo>
                      <a:lnTo>
                        <a:pt x="1249" y="647"/>
                      </a:lnTo>
                      <a:lnTo>
                        <a:pt x="1249" y="648"/>
                      </a:lnTo>
                      <a:lnTo>
                        <a:pt x="1250" y="648"/>
                      </a:lnTo>
                      <a:lnTo>
                        <a:pt x="1250" y="649"/>
                      </a:lnTo>
                      <a:lnTo>
                        <a:pt x="1250" y="648"/>
                      </a:lnTo>
                      <a:lnTo>
                        <a:pt x="1251" y="648"/>
                      </a:lnTo>
                      <a:lnTo>
                        <a:pt x="1251" y="649"/>
                      </a:lnTo>
                      <a:lnTo>
                        <a:pt x="1252" y="649"/>
                      </a:lnTo>
                      <a:lnTo>
                        <a:pt x="1252" y="648"/>
                      </a:lnTo>
                      <a:lnTo>
                        <a:pt x="1251" y="648"/>
                      </a:lnTo>
                      <a:lnTo>
                        <a:pt x="1250" y="648"/>
                      </a:lnTo>
                      <a:lnTo>
                        <a:pt x="1250" y="647"/>
                      </a:lnTo>
                      <a:lnTo>
                        <a:pt x="1249" y="647"/>
                      </a:lnTo>
                      <a:lnTo>
                        <a:pt x="1249" y="646"/>
                      </a:lnTo>
                      <a:lnTo>
                        <a:pt x="1249" y="645"/>
                      </a:lnTo>
                      <a:lnTo>
                        <a:pt x="1250" y="645"/>
                      </a:lnTo>
                      <a:lnTo>
                        <a:pt x="1250" y="644"/>
                      </a:lnTo>
                      <a:lnTo>
                        <a:pt x="1250" y="645"/>
                      </a:lnTo>
                      <a:lnTo>
                        <a:pt x="1249" y="645"/>
                      </a:lnTo>
                      <a:lnTo>
                        <a:pt x="1248" y="645"/>
                      </a:lnTo>
                      <a:lnTo>
                        <a:pt x="1248" y="646"/>
                      </a:lnTo>
                      <a:lnTo>
                        <a:pt x="1248" y="645"/>
                      </a:lnTo>
                      <a:lnTo>
                        <a:pt x="1247" y="645"/>
                      </a:lnTo>
                      <a:lnTo>
                        <a:pt x="1246" y="644"/>
                      </a:lnTo>
                      <a:lnTo>
                        <a:pt x="1246" y="643"/>
                      </a:lnTo>
                      <a:lnTo>
                        <a:pt x="1245" y="642"/>
                      </a:lnTo>
                      <a:lnTo>
                        <a:pt x="1246" y="642"/>
                      </a:lnTo>
                      <a:lnTo>
                        <a:pt x="1247" y="642"/>
                      </a:lnTo>
                      <a:lnTo>
                        <a:pt x="1246" y="642"/>
                      </a:lnTo>
                      <a:lnTo>
                        <a:pt x="1245" y="642"/>
                      </a:lnTo>
                      <a:lnTo>
                        <a:pt x="1245" y="641"/>
                      </a:lnTo>
                      <a:lnTo>
                        <a:pt x="1245" y="640"/>
                      </a:lnTo>
                      <a:lnTo>
                        <a:pt x="1246" y="640"/>
                      </a:lnTo>
                      <a:lnTo>
                        <a:pt x="1245" y="640"/>
                      </a:lnTo>
                      <a:lnTo>
                        <a:pt x="1244" y="640"/>
                      </a:lnTo>
                      <a:lnTo>
                        <a:pt x="1245" y="640"/>
                      </a:lnTo>
                      <a:lnTo>
                        <a:pt x="1244" y="640"/>
                      </a:lnTo>
                      <a:lnTo>
                        <a:pt x="1244" y="641"/>
                      </a:lnTo>
                      <a:lnTo>
                        <a:pt x="1245" y="641"/>
                      </a:lnTo>
                      <a:lnTo>
                        <a:pt x="1245" y="642"/>
                      </a:lnTo>
                      <a:lnTo>
                        <a:pt x="1245" y="643"/>
                      </a:lnTo>
                      <a:lnTo>
                        <a:pt x="1244" y="642"/>
                      </a:lnTo>
                      <a:lnTo>
                        <a:pt x="1242" y="642"/>
                      </a:lnTo>
                      <a:lnTo>
                        <a:pt x="1242" y="641"/>
                      </a:lnTo>
                      <a:lnTo>
                        <a:pt x="1241" y="641"/>
                      </a:lnTo>
                      <a:lnTo>
                        <a:pt x="1241" y="642"/>
                      </a:lnTo>
                      <a:lnTo>
                        <a:pt x="1240" y="643"/>
                      </a:lnTo>
                      <a:lnTo>
                        <a:pt x="1240" y="642"/>
                      </a:lnTo>
                      <a:lnTo>
                        <a:pt x="1239" y="642"/>
                      </a:lnTo>
                      <a:lnTo>
                        <a:pt x="1239" y="641"/>
                      </a:lnTo>
                      <a:lnTo>
                        <a:pt x="1238" y="641"/>
                      </a:lnTo>
                      <a:lnTo>
                        <a:pt x="1239" y="641"/>
                      </a:lnTo>
                      <a:lnTo>
                        <a:pt x="1240" y="641"/>
                      </a:lnTo>
                      <a:lnTo>
                        <a:pt x="1240" y="640"/>
                      </a:lnTo>
                      <a:lnTo>
                        <a:pt x="1240" y="639"/>
                      </a:lnTo>
                      <a:lnTo>
                        <a:pt x="1240" y="637"/>
                      </a:lnTo>
                      <a:lnTo>
                        <a:pt x="1241" y="637"/>
                      </a:lnTo>
                      <a:lnTo>
                        <a:pt x="1241" y="636"/>
                      </a:lnTo>
                      <a:lnTo>
                        <a:pt x="1242" y="636"/>
                      </a:lnTo>
                      <a:lnTo>
                        <a:pt x="1242" y="637"/>
                      </a:lnTo>
                      <a:lnTo>
                        <a:pt x="1242" y="636"/>
                      </a:lnTo>
                      <a:lnTo>
                        <a:pt x="1241" y="636"/>
                      </a:lnTo>
                      <a:lnTo>
                        <a:pt x="1241" y="637"/>
                      </a:lnTo>
                      <a:lnTo>
                        <a:pt x="1241" y="636"/>
                      </a:lnTo>
                      <a:lnTo>
                        <a:pt x="1242" y="635"/>
                      </a:lnTo>
                      <a:lnTo>
                        <a:pt x="1241" y="635"/>
                      </a:lnTo>
                      <a:lnTo>
                        <a:pt x="1241" y="636"/>
                      </a:lnTo>
                      <a:lnTo>
                        <a:pt x="1240" y="636"/>
                      </a:lnTo>
                      <a:lnTo>
                        <a:pt x="1240" y="637"/>
                      </a:lnTo>
                      <a:lnTo>
                        <a:pt x="1240" y="636"/>
                      </a:lnTo>
                      <a:lnTo>
                        <a:pt x="1240" y="635"/>
                      </a:lnTo>
                      <a:lnTo>
                        <a:pt x="1239" y="635"/>
                      </a:lnTo>
                      <a:lnTo>
                        <a:pt x="1238" y="634"/>
                      </a:lnTo>
                      <a:lnTo>
                        <a:pt x="1237" y="634"/>
                      </a:lnTo>
                      <a:lnTo>
                        <a:pt x="1237" y="633"/>
                      </a:lnTo>
                      <a:lnTo>
                        <a:pt x="1237" y="632"/>
                      </a:lnTo>
                      <a:lnTo>
                        <a:pt x="1236" y="632"/>
                      </a:lnTo>
                      <a:lnTo>
                        <a:pt x="1236" y="633"/>
                      </a:lnTo>
                      <a:lnTo>
                        <a:pt x="1236" y="634"/>
                      </a:lnTo>
                      <a:lnTo>
                        <a:pt x="1236" y="635"/>
                      </a:lnTo>
                      <a:lnTo>
                        <a:pt x="1235" y="635"/>
                      </a:lnTo>
                      <a:lnTo>
                        <a:pt x="1235" y="634"/>
                      </a:lnTo>
                      <a:lnTo>
                        <a:pt x="1234" y="633"/>
                      </a:lnTo>
                      <a:lnTo>
                        <a:pt x="1234" y="634"/>
                      </a:lnTo>
                      <a:lnTo>
                        <a:pt x="1233" y="634"/>
                      </a:lnTo>
                      <a:lnTo>
                        <a:pt x="1234" y="634"/>
                      </a:lnTo>
                      <a:lnTo>
                        <a:pt x="1233" y="634"/>
                      </a:lnTo>
                      <a:lnTo>
                        <a:pt x="1232" y="634"/>
                      </a:lnTo>
                      <a:lnTo>
                        <a:pt x="1232" y="633"/>
                      </a:lnTo>
                      <a:lnTo>
                        <a:pt x="1233" y="633"/>
                      </a:lnTo>
                      <a:lnTo>
                        <a:pt x="1234" y="633"/>
                      </a:lnTo>
                      <a:lnTo>
                        <a:pt x="1234" y="632"/>
                      </a:lnTo>
                      <a:lnTo>
                        <a:pt x="1233" y="632"/>
                      </a:lnTo>
                      <a:lnTo>
                        <a:pt x="1233" y="633"/>
                      </a:lnTo>
                      <a:lnTo>
                        <a:pt x="1232" y="633"/>
                      </a:lnTo>
                      <a:lnTo>
                        <a:pt x="1232" y="632"/>
                      </a:lnTo>
                      <a:lnTo>
                        <a:pt x="1231" y="632"/>
                      </a:lnTo>
                      <a:lnTo>
                        <a:pt x="1231" y="633"/>
                      </a:lnTo>
                      <a:lnTo>
                        <a:pt x="1232" y="633"/>
                      </a:lnTo>
                      <a:lnTo>
                        <a:pt x="1231" y="633"/>
                      </a:lnTo>
                      <a:lnTo>
                        <a:pt x="1229" y="633"/>
                      </a:lnTo>
                      <a:lnTo>
                        <a:pt x="1228" y="633"/>
                      </a:lnTo>
                      <a:lnTo>
                        <a:pt x="1229" y="633"/>
                      </a:lnTo>
                      <a:lnTo>
                        <a:pt x="1228" y="633"/>
                      </a:lnTo>
                      <a:lnTo>
                        <a:pt x="1227" y="633"/>
                      </a:lnTo>
                      <a:lnTo>
                        <a:pt x="1226" y="633"/>
                      </a:lnTo>
                      <a:lnTo>
                        <a:pt x="1226" y="634"/>
                      </a:lnTo>
                      <a:lnTo>
                        <a:pt x="1225" y="634"/>
                      </a:lnTo>
                      <a:lnTo>
                        <a:pt x="1225" y="635"/>
                      </a:lnTo>
                      <a:lnTo>
                        <a:pt x="1225" y="634"/>
                      </a:lnTo>
                      <a:lnTo>
                        <a:pt x="1224" y="634"/>
                      </a:lnTo>
                      <a:lnTo>
                        <a:pt x="1224" y="633"/>
                      </a:lnTo>
                      <a:lnTo>
                        <a:pt x="1224" y="632"/>
                      </a:lnTo>
                      <a:lnTo>
                        <a:pt x="1223" y="632"/>
                      </a:lnTo>
                      <a:lnTo>
                        <a:pt x="1224" y="632"/>
                      </a:lnTo>
                      <a:lnTo>
                        <a:pt x="1225" y="633"/>
                      </a:lnTo>
                      <a:lnTo>
                        <a:pt x="1225" y="632"/>
                      </a:lnTo>
                      <a:lnTo>
                        <a:pt x="1225" y="633"/>
                      </a:lnTo>
                      <a:lnTo>
                        <a:pt x="1226" y="633"/>
                      </a:lnTo>
                      <a:lnTo>
                        <a:pt x="1225" y="633"/>
                      </a:lnTo>
                      <a:lnTo>
                        <a:pt x="1226" y="633"/>
                      </a:lnTo>
                      <a:lnTo>
                        <a:pt x="1226" y="632"/>
                      </a:lnTo>
                      <a:lnTo>
                        <a:pt x="1225" y="632"/>
                      </a:lnTo>
                      <a:lnTo>
                        <a:pt x="1225" y="631"/>
                      </a:lnTo>
                      <a:lnTo>
                        <a:pt x="1226" y="631"/>
                      </a:lnTo>
                      <a:lnTo>
                        <a:pt x="1227" y="631"/>
                      </a:lnTo>
                      <a:lnTo>
                        <a:pt x="1227" y="632"/>
                      </a:lnTo>
                      <a:lnTo>
                        <a:pt x="1227" y="631"/>
                      </a:lnTo>
                      <a:lnTo>
                        <a:pt x="1226" y="631"/>
                      </a:lnTo>
                      <a:lnTo>
                        <a:pt x="1225" y="631"/>
                      </a:lnTo>
                      <a:lnTo>
                        <a:pt x="1225" y="630"/>
                      </a:lnTo>
                      <a:lnTo>
                        <a:pt x="1224" y="630"/>
                      </a:lnTo>
                      <a:lnTo>
                        <a:pt x="1223" y="630"/>
                      </a:lnTo>
                      <a:lnTo>
                        <a:pt x="1223" y="631"/>
                      </a:lnTo>
                      <a:lnTo>
                        <a:pt x="1223" y="632"/>
                      </a:lnTo>
                      <a:lnTo>
                        <a:pt x="1223" y="633"/>
                      </a:lnTo>
                      <a:lnTo>
                        <a:pt x="1224" y="633"/>
                      </a:lnTo>
                      <a:lnTo>
                        <a:pt x="1223" y="633"/>
                      </a:lnTo>
                      <a:lnTo>
                        <a:pt x="1223" y="634"/>
                      </a:lnTo>
                      <a:lnTo>
                        <a:pt x="1223" y="633"/>
                      </a:lnTo>
                      <a:lnTo>
                        <a:pt x="1222" y="633"/>
                      </a:lnTo>
                      <a:lnTo>
                        <a:pt x="1222" y="632"/>
                      </a:lnTo>
                      <a:lnTo>
                        <a:pt x="1221" y="632"/>
                      </a:lnTo>
                      <a:lnTo>
                        <a:pt x="1220" y="632"/>
                      </a:lnTo>
                      <a:lnTo>
                        <a:pt x="1220" y="631"/>
                      </a:lnTo>
                      <a:lnTo>
                        <a:pt x="1219" y="631"/>
                      </a:lnTo>
                      <a:lnTo>
                        <a:pt x="1219" y="630"/>
                      </a:lnTo>
                      <a:lnTo>
                        <a:pt x="1219" y="629"/>
                      </a:lnTo>
                      <a:lnTo>
                        <a:pt x="1218" y="629"/>
                      </a:lnTo>
                      <a:lnTo>
                        <a:pt x="1216" y="629"/>
                      </a:lnTo>
                      <a:lnTo>
                        <a:pt x="1216" y="628"/>
                      </a:lnTo>
                      <a:lnTo>
                        <a:pt x="1215" y="627"/>
                      </a:lnTo>
                      <a:lnTo>
                        <a:pt x="1215" y="626"/>
                      </a:lnTo>
                      <a:lnTo>
                        <a:pt x="1215" y="624"/>
                      </a:lnTo>
                      <a:lnTo>
                        <a:pt x="1215" y="623"/>
                      </a:lnTo>
                      <a:lnTo>
                        <a:pt x="1215" y="622"/>
                      </a:lnTo>
                      <a:lnTo>
                        <a:pt x="1214" y="622"/>
                      </a:lnTo>
                      <a:lnTo>
                        <a:pt x="1214" y="621"/>
                      </a:lnTo>
                      <a:lnTo>
                        <a:pt x="1215" y="620"/>
                      </a:lnTo>
                      <a:lnTo>
                        <a:pt x="1215" y="619"/>
                      </a:lnTo>
                      <a:lnTo>
                        <a:pt x="1214" y="618"/>
                      </a:lnTo>
                      <a:lnTo>
                        <a:pt x="1214" y="617"/>
                      </a:lnTo>
                      <a:lnTo>
                        <a:pt x="1215" y="617"/>
                      </a:lnTo>
                      <a:lnTo>
                        <a:pt x="1215" y="616"/>
                      </a:lnTo>
                      <a:lnTo>
                        <a:pt x="1216" y="616"/>
                      </a:lnTo>
                      <a:lnTo>
                        <a:pt x="1216" y="615"/>
                      </a:lnTo>
                      <a:lnTo>
                        <a:pt x="1218" y="615"/>
                      </a:lnTo>
                      <a:lnTo>
                        <a:pt x="1216" y="615"/>
                      </a:lnTo>
                      <a:lnTo>
                        <a:pt x="1216" y="616"/>
                      </a:lnTo>
                      <a:lnTo>
                        <a:pt x="1215" y="616"/>
                      </a:lnTo>
                      <a:lnTo>
                        <a:pt x="1214" y="616"/>
                      </a:lnTo>
                      <a:lnTo>
                        <a:pt x="1214" y="617"/>
                      </a:lnTo>
                      <a:lnTo>
                        <a:pt x="1213" y="617"/>
                      </a:lnTo>
                      <a:lnTo>
                        <a:pt x="1213" y="618"/>
                      </a:lnTo>
                      <a:lnTo>
                        <a:pt x="1213" y="619"/>
                      </a:lnTo>
                      <a:lnTo>
                        <a:pt x="1213" y="620"/>
                      </a:lnTo>
                      <a:lnTo>
                        <a:pt x="1214" y="620"/>
                      </a:lnTo>
                      <a:lnTo>
                        <a:pt x="1214" y="621"/>
                      </a:lnTo>
                      <a:lnTo>
                        <a:pt x="1214" y="622"/>
                      </a:lnTo>
                      <a:lnTo>
                        <a:pt x="1215" y="623"/>
                      </a:lnTo>
                      <a:lnTo>
                        <a:pt x="1215" y="624"/>
                      </a:lnTo>
                      <a:lnTo>
                        <a:pt x="1214" y="624"/>
                      </a:lnTo>
                      <a:lnTo>
                        <a:pt x="1214" y="626"/>
                      </a:lnTo>
                      <a:lnTo>
                        <a:pt x="1214" y="627"/>
                      </a:lnTo>
                      <a:lnTo>
                        <a:pt x="1215" y="628"/>
                      </a:lnTo>
                      <a:lnTo>
                        <a:pt x="1215" y="629"/>
                      </a:lnTo>
                      <a:lnTo>
                        <a:pt x="1216" y="630"/>
                      </a:lnTo>
                      <a:lnTo>
                        <a:pt x="1215" y="630"/>
                      </a:lnTo>
                      <a:lnTo>
                        <a:pt x="1216" y="630"/>
                      </a:lnTo>
                      <a:lnTo>
                        <a:pt x="1218" y="631"/>
                      </a:lnTo>
                      <a:lnTo>
                        <a:pt x="1216" y="631"/>
                      </a:lnTo>
                      <a:lnTo>
                        <a:pt x="1214" y="630"/>
                      </a:lnTo>
                      <a:lnTo>
                        <a:pt x="1212" y="630"/>
                      </a:lnTo>
                      <a:lnTo>
                        <a:pt x="1211" y="630"/>
                      </a:lnTo>
                      <a:lnTo>
                        <a:pt x="1211" y="631"/>
                      </a:lnTo>
                      <a:lnTo>
                        <a:pt x="1210" y="631"/>
                      </a:lnTo>
                      <a:lnTo>
                        <a:pt x="1210" y="632"/>
                      </a:lnTo>
                      <a:lnTo>
                        <a:pt x="1209" y="632"/>
                      </a:lnTo>
                      <a:lnTo>
                        <a:pt x="1209" y="633"/>
                      </a:lnTo>
                      <a:lnTo>
                        <a:pt x="1210" y="633"/>
                      </a:lnTo>
                      <a:lnTo>
                        <a:pt x="1210" y="634"/>
                      </a:lnTo>
                      <a:lnTo>
                        <a:pt x="1209" y="634"/>
                      </a:lnTo>
                      <a:lnTo>
                        <a:pt x="1209" y="633"/>
                      </a:lnTo>
                      <a:lnTo>
                        <a:pt x="1208" y="633"/>
                      </a:lnTo>
                      <a:lnTo>
                        <a:pt x="1209" y="633"/>
                      </a:lnTo>
                      <a:lnTo>
                        <a:pt x="1209" y="634"/>
                      </a:lnTo>
                      <a:lnTo>
                        <a:pt x="1208" y="634"/>
                      </a:lnTo>
                      <a:lnTo>
                        <a:pt x="1208" y="633"/>
                      </a:lnTo>
                      <a:lnTo>
                        <a:pt x="1209" y="633"/>
                      </a:lnTo>
                      <a:lnTo>
                        <a:pt x="1208" y="633"/>
                      </a:lnTo>
                      <a:lnTo>
                        <a:pt x="1208" y="632"/>
                      </a:lnTo>
                      <a:lnTo>
                        <a:pt x="1208" y="631"/>
                      </a:lnTo>
                      <a:lnTo>
                        <a:pt x="1208" y="630"/>
                      </a:lnTo>
                      <a:lnTo>
                        <a:pt x="1208" y="629"/>
                      </a:lnTo>
                      <a:lnTo>
                        <a:pt x="1208" y="628"/>
                      </a:lnTo>
                      <a:lnTo>
                        <a:pt x="1208" y="627"/>
                      </a:lnTo>
                      <a:lnTo>
                        <a:pt x="1207" y="627"/>
                      </a:lnTo>
                      <a:lnTo>
                        <a:pt x="1207" y="626"/>
                      </a:lnTo>
                      <a:lnTo>
                        <a:pt x="1206" y="626"/>
                      </a:lnTo>
                      <a:lnTo>
                        <a:pt x="1206" y="624"/>
                      </a:lnTo>
                      <a:lnTo>
                        <a:pt x="1206" y="623"/>
                      </a:lnTo>
                      <a:lnTo>
                        <a:pt x="1205" y="623"/>
                      </a:lnTo>
                      <a:lnTo>
                        <a:pt x="1205" y="622"/>
                      </a:lnTo>
                      <a:lnTo>
                        <a:pt x="1205" y="621"/>
                      </a:lnTo>
                      <a:lnTo>
                        <a:pt x="1203" y="621"/>
                      </a:lnTo>
                      <a:lnTo>
                        <a:pt x="1205" y="621"/>
                      </a:lnTo>
                      <a:lnTo>
                        <a:pt x="1205" y="622"/>
                      </a:lnTo>
                      <a:lnTo>
                        <a:pt x="1206" y="622"/>
                      </a:lnTo>
                      <a:lnTo>
                        <a:pt x="1206" y="621"/>
                      </a:lnTo>
                      <a:lnTo>
                        <a:pt x="1206" y="622"/>
                      </a:lnTo>
                      <a:lnTo>
                        <a:pt x="1207" y="622"/>
                      </a:lnTo>
                      <a:lnTo>
                        <a:pt x="1207" y="623"/>
                      </a:lnTo>
                      <a:lnTo>
                        <a:pt x="1208" y="624"/>
                      </a:lnTo>
                      <a:lnTo>
                        <a:pt x="1209" y="624"/>
                      </a:lnTo>
                      <a:lnTo>
                        <a:pt x="1209" y="626"/>
                      </a:lnTo>
                      <a:lnTo>
                        <a:pt x="1209" y="624"/>
                      </a:lnTo>
                      <a:lnTo>
                        <a:pt x="1209" y="623"/>
                      </a:lnTo>
                      <a:lnTo>
                        <a:pt x="1209" y="622"/>
                      </a:lnTo>
                      <a:lnTo>
                        <a:pt x="1209" y="621"/>
                      </a:lnTo>
                      <a:lnTo>
                        <a:pt x="1208" y="621"/>
                      </a:lnTo>
                      <a:lnTo>
                        <a:pt x="1208" y="620"/>
                      </a:lnTo>
                      <a:lnTo>
                        <a:pt x="1207" y="619"/>
                      </a:lnTo>
                      <a:lnTo>
                        <a:pt x="1207" y="618"/>
                      </a:lnTo>
                      <a:lnTo>
                        <a:pt x="1207" y="617"/>
                      </a:lnTo>
                      <a:lnTo>
                        <a:pt x="1206" y="617"/>
                      </a:lnTo>
                      <a:lnTo>
                        <a:pt x="1207" y="615"/>
                      </a:lnTo>
                      <a:lnTo>
                        <a:pt x="1206" y="615"/>
                      </a:lnTo>
                      <a:lnTo>
                        <a:pt x="1206" y="616"/>
                      </a:lnTo>
                      <a:lnTo>
                        <a:pt x="1205" y="616"/>
                      </a:lnTo>
                      <a:lnTo>
                        <a:pt x="1205" y="617"/>
                      </a:lnTo>
                      <a:lnTo>
                        <a:pt x="1206" y="617"/>
                      </a:lnTo>
                      <a:lnTo>
                        <a:pt x="1206" y="618"/>
                      </a:lnTo>
                      <a:lnTo>
                        <a:pt x="1206" y="619"/>
                      </a:lnTo>
                      <a:lnTo>
                        <a:pt x="1207" y="620"/>
                      </a:lnTo>
                      <a:lnTo>
                        <a:pt x="1207" y="621"/>
                      </a:lnTo>
                      <a:lnTo>
                        <a:pt x="1206" y="621"/>
                      </a:lnTo>
                      <a:lnTo>
                        <a:pt x="1205" y="620"/>
                      </a:lnTo>
                      <a:lnTo>
                        <a:pt x="1203" y="620"/>
                      </a:lnTo>
                      <a:lnTo>
                        <a:pt x="1203" y="621"/>
                      </a:lnTo>
                      <a:lnTo>
                        <a:pt x="1203" y="622"/>
                      </a:lnTo>
                      <a:lnTo>
                        <a:pt x="1203" y="623"/>
                      </a:lnTo>
                      <a:lnTo>
                        <a:pt x="1205" y="623"/>
                      </a:lnTo>
                      <a:lnTo>
                        <a:pt x="1202" y="624"/>
                      </a:lnTo>
                      <a:lnTo>
                        <a:pt x="1201" y="626"/>
                      </a:lnTo>
                      <a:lnTo>
                        <a:pt x="1202" y="627"/>
                      </a:lnTo>
                      <a:lnTo>
                        <a:pt x="1203" y="627"/>
                      </a:lnTo>
                      <a:lnTo>
                        <a:pt x="1203" y="628"/>
                      </a:lnTo>
                      <a:lnTo>
                        <a:pt x="1203" y="627"/>
                      </a:lnTo>
                      <a:lnTo>
                        <a:pt x="1203" y="628"/>
                      </a:lnTo>
                      <a:lnTo>
                        <a:pt x="1203" y="629"/>
                      </a:lnTo>
                      <a:lnTo>
                        <a:pt x="1205" y="629"/>
                      </a:lnTo>
                      <a:lnTo>
                        <a:pt x="1203" y="630"/>
                      </a:lnTo>
                      <a:lnTo>
                        <a:pt x="1203" y="631"/>
                      </a:lnTo>
                      <a:lnTo>
                        <a:pt x="1202" y="630"/>
                      </a:lnTo>
                      <a:lnTo>
                        <a:pt x="1201" y="630"/>
                      </a:lnTo>
                      <a:lnTo>
                        <a:pt x="1200" y="630"/>
                      </a:lnTo>
                      <a:lnTo>
                        <a:pt x="1201" y="630"/>
                      </a:lnTo>
                      <a:lnTo>
                        <a:pt x="1201" y="631"/>
                      </a:lnTo>
                      <a:lnTo>
                        <a:pt x="1202" y="632"/>
                      </a:lnTo>
                      <a:lnTo>
                        <a:pt x="1202" y="633"/>
                      </a:lnTo>
                      <a:lnTo>
                        <a:pt x="1202" y="634"/>
                      </a:lnTo>
                      <a:lnTo>
                        <a:pt x="1203" y="634"/>
                      </a:lnTo>
                      <a:lnTo>
                        <a:pt x="1202" y="634"/>
                      </a:lnTo>
                      <a:lnTo>
                        <a:pt x="1201" y="634"/>
                      </a:lnTo>
                      <a:lnTo>
                        <a:pt x="1201" y="633"/>
                      </a:lnTo>
                      <a:lnTo>
                        <a:pt x="1200" y="633"/>
                      </a:lnTo>
                      <a:lnTo>
                        <a:pt x="1199" y="632"/>
                      </a:lnTo>
                      <a:lnTo>
                        <a:pt x="1198" y="632"/>
                      </a:lnTo>
                      <a:lnTo>
                        <a:pt x="1197" y="632"/>
                      </a:lnTo>
                      <a:lnTo>
                        <a:pt x="1196" y="632"/>
                      </a:lnTo>
                      <a:lnTo>
                        <a:pt x="1197" y="632"/>
                      </a:lnTo>
                      <a:lnTo>
                        <a:pt x="1198" y="632"/>
                      </a:lnTo>
                      <a:lnTo>
                        <a:pt x="1198" y="633"/>
                      </a:lnTo>
                      <a:lnTo>
                        <a:pt x="1198" y="634"/>
                      </a:lnTo>
                      <a:lnTo>
                        <a:pt x="1199" y="635"/>
                      </a:lnTo>
                      <a:lnTo>
                        <a:pt x="1200" y="635"/>
                      </a:lnTo>
                      <a:lnTo>
                        <a:pt x="1200" y="636"/>
                      </a:lnTo>
                      <a:lnTo>
                        <a:pt x="1201" y="636"/>
                      </a:lnTo>
                      <a:lnTo>
                        <a:pt x="1201" y="637"/>
                      </a:lnTo>
                      <a:lnTo>
                        <a:pt x="1202" y="637"/>
                      </a:lnTo>
                      <a:lnTo>
                        <a:pt x="1202" y="639"/>
                      </a:lnTo>
                      <a:lnTo>
                        <a:pt x="1202" y="640"/>
                      </a:lnTo>
                      <a:lnTo>
                        <a:pt x="1202" y="639"/>
                      </a:lnTo>
                      <a:lnTo>
                        <a:pt x="1201" y="639"/>
                      </a:lnTo>
                      <a:lnTo>
                        <a:pt x="1201" y="637"/>
                      </a:lnTo>
                      <a:lnTo>
                        <a:pt x="1200" y="639"/>
                      </a:lnTo>
                      <a:lnTo>
                        <a:pt x="1199" y="639"/>
                      </a:lnTo>
                      <a:lnTo>
                        <a:pt x="1199" y="637"/>
                      </a:lnTo>
                      <a:lnTo>
                        <a:pt x="1198" y="637"/>
                      </a:lnTo>
                      <a:lnTo>
                        <a:pt x="1197" y="637"/>
                      </a:lnTo>
                      <a:lnTo>
                        <a:pt x="1197" y="639"/>
                      </a:lnTo>
                      <a:lnTo>
                        <a:pt x="1198" y="640"/>
                      </a:lnTo>
                      <a:lnTo>
                        <a:pt x="1199" y="640"/>
                      </a:lnTo>
                      <a:lnTo>
                        <a:pt x="1199" y="641"/>
                      </a:lnTo>
                      <a:lnTo>
                        <a:pt x="1200" y="641"/>
                      </a:lnTo>
                      <a:lnTo>
                        <a:pt x="1200" y="642"/>
                      </a:lnTo>
                      <a:lnTo>
                        <a:pt x="1199" y="641"/>
                      </a:lnTo>
                      <a:lnTo>
                        <a:pt x="1198" y="641"/>
                      </a:lnTo>
                      <a:lnTo>
                        <a:pt x="1199" y="642"/>
                      </a:lnTo>
                      <a:lnTo>
                        <a:pt x="1199" y="643"/>
                      </a:lnTo>
                      <a:lnTo>
                        <a:pt x="1199" y="644"/>
                      </a:lnTo>
                      <a:lnTo>
                        <a:pt x="1199" y="645"/>
                      </a:lnTo>
                      <a:lnTo>
                        <a:pt x="1199" y="646"/>
                      </a:lnTo>
                      <a:lnTo>
                        <a:pt x="1198" y="646"/>
                      </a:lnTo>
                      <a:lnTo>
                        <a:pt x="1197" y="646"/>
                      </a:lnTo>
                      <a:lnTo>
                        <a:pt x="1196" y="646"/>
                      </a:lnTo>
                      <a:lnTo>
                        <a:pt x="1197" y="646"/>
                      </a:lnTo>
                      <a:lnTo>
                        <a:pt x="1197" y="647"/>
                      </a:lnTo>
                      <a:lnTo>
                        <a:pt x="1198" y="647"/>
                      </a:lnTo>
                      <a:lnTo>
                        <a:pt x="1197" y="647"/>
                      </a:lnTo>
                      <a:lnTo>
                        <a:pt x="1197" y="648"/>
                      </a:lnTo>
                      <a:lnTo>
                        <a:pt x="1197" y="647"/>
                      </a:lnTo>
                      <a:lnTo>
                        <a:pt x="1196" y="647"/>
                      </a:lnTo>
                      <a:lnTo>
                        <a:pt x="1195" y="647"/>
                      </a:lnTo>
                      <a:lnTo>
                        <a:pt x="1195" y="646"/>
                      </a:lnTo>
                      <a:lnTo>
                        <a:pt x="1194" y="646"/>
                      </a:lnTo>
                      <a:lnTo>
                        <a:pt x="1194" y="645"/>
                      </a:lnTo>
                      <a:lnTo>
                        <a:pt x="1193" y="645"/>
                      </a:lnTo>
                      <a:lnTo>
                        <a:pt x="1193" y="644"/>
                      </a:lnTo>
                      <a:lnTo>
                        <a:pt x="1193" y="643"/>
                      </a:lnTo>
                      <a:lnTo>
                        <a:pt x="1192" y="643"/>
                      </a:lnTo>
                      <a:lnTo>
                        <a:pt x="1193" y="643"/>
                      </a:lnTo>
                      <a:lnTo>
                        <a:pt x="1194" y="642"/>
                      </a:lnTo>
                      <a:lnTo>
                        <a:pt x="1194" y="643"/>
                      </a:lnTo>
                      <a:lnTo>
                        <a:pt x="1195" y="642"/>
                      </a:lnTo>
                      <a:lnTo>
                        <a:pt x="1196" y="642"/>
                      </a:lnTo>
                      <a:lnTo>
                        <a:pt x="1196" y="641"/>
                      </a:lnTo>
                      <a:lnTo>
                        <a:pt x="1195" y="641"/>
                      </a:lnTo>
                      <a:lnTo>
                        <a:pt x="1194" y="641"/>
                      </a:lnTo>
                      <a:lnTo>
                        <a:pt x="1194" y="642"/>
                      </a:lnTo>
                      <a:lnTo>
                        <a:pt x="1193" y="642"/>
                      </a:lnTo>
                      <a:lnTo>
                        <a:pt x="1192" y="642"/>
                      </a:lnTo>
                      <a:lnTo>
                        <a:pt x="1190" y="641"/>
                      </a:lnTo>
                      <a:lnTo>
                        <a:pt x="1190" y="642"/>
                      </a:lnTo>
                      <a:lnTo>
                        <a:pt x="1192" y="642"/>
                      </a:lnTo>
                      <a:lnTo>
                        <a:pt x="1192" y="643"/>
                      </a:lnTo>
                      <a:lnTo>
                        <a:pt x="1192" y="644"/>
                      </a:lnTo>
                      <a:lnTo>
                        <a:pt x="1192" y="645"/>
                      </a:lnTo>
                      <a:lnTo>
                        <a:pt x="1190" y="645"/>
                      </a:lnTo>
                      <a:lnTo>
                        <a:pt x="1192" y="645"/>
                      </a:lnTo>
                      <a:lnTo>
                        <a:pt x="1190" y="646"/>
                      </a:lnTo>
                      <a:lnTo>
                        <a:pt x="1189" y="646"/>
                      </a:lnTo>
                      <a:lnTo>
                        <a:pt x="1189" y="645"/>
                      </a:lnTo>
                      <a:lnTo>
                        <a:pt x="1188" y="645"/>
                      </a:lnTo>
                      <a:lnTo>
                        <a:pt x="1188" y="646"/>
                      </a:lnTo>
                      <a:lnTo>
                        <a:pt x="1189" y="646"/>
                      </a:lnTo>
                      <a:lnTo>
                        <a:pt x="1189" y="647"/>
                      </a:lnTo>
                      <a:lnTo>
                        <a:pt x="1190" y="647"/>
                      </a:lnTo>
                      <a:lnTo>
                        <a:pt x="1190" y="648"/>
                      </a:lnTo>
                      <a:lnTo>
                        <a:pt x="1189" y="649"/>
                      </a:lnTo>
                      <a:lnTo>
                        <a:pt x="1188" y="649"/>
                      </a:lnTo>
                      <a:lnTo>
                        <a:pt x="1189" y="650"/>
                      </a:lnTo>
                      <a:lnTo>
                        <a:pt x="1190" y="650"/>
                      </a:lnTo>
                      <a:lnTo>
                        <a:pt x="1190" y="649"/>
                      </a:lnTo>
                      <a:lnTo>
                        <a:pt x="1190" y="648"/>
                      </a:lnTo>
                      <a:lnTo>
                        <a:pt x="1192" y="648"/>
                      </a:lnTo>
                      <a:lnTo>
                        <a:pt x="1192" y="649"/>
                      </a:lnTo>
                      <a:lnTo>
                        <a:pt x="1193" y="649"/>
                      </a:lnTo>
                      <a:lnTo>
                        <a:pt x="1194" y="649"/>
                      </a:lnTo>
                      <a:lnTo>
                        <a:pt x="1195" y="649"/>
                      </a:lnTo>
                      <a:lnTo>
                        <a:pt x="1195" y="648"/>
                      </a:lnTo>
                      <a:lnTo>
                        <a:pt x="1196" y="648"/>
                      </a:lnTo>
                      <a:lnTo>
                        <a:pt x="1196" y="649"/>
                      </a:lnTo>
                      <a:lnTo>
                        <a:pt x="1196" y="648"/>
                      </a:lnTo>
                      <a:lnTo>
                        <a:pt x="1197" y="648"/>
                      </a:lnTo>
                      <a:lnTo>
                        <a:pt x="1198" y="648"/>
                      </a:lnTo>
                      <a:lnTo>
                        <a:pt x="1199" y="649"/>
                      </a:lnTo>
                      <a:lnTo>
                        <a:pt x="1199" y="648"/>
                      </a:lnTo>
                      <a:lnTo>
                        <a:pt x="1199" y="647"/>
                      </a:lnTo>
                      <a:lnTo>
                        <a:pt x="1200" y="647"/>
                      </a:lnTo>
                      <a:lnTo>
                        <a:pt x="1199" y="648"/>
                      </a:lnTo>
                      <a:lnTo>
                        <a:pt x="1200" y="648"/>
                      </a:lnTo>
                      <a:lnTo>
                        <a:pt x="1200" y="649"/>
                      </a:lnTo>
                      <a:lnTo>
                        <a:pt x="1201" y="649"/>
                      </a:lnTo>
                      <a:lnTo>
                        <a:pt x="1201" y="650"/>
                      </a:lnTo>
                      <a:lnTo>
                        <a:pt x="1201" y="649"/>
                      </a:lnTo>
                      <a:lnTo>
                        <a:pt x="1201" y="648"/>
                      </a:lnTo>
                      <a:lnTo>
                        <a:pt x="1200" y="648"/>
                      </a:lnTo>
                      <a:lnTo>
                        <a:pt x="1200" y="649"/>
                      </a:lnTo>
                      <a:lnTo>
                        <a:pt x="1200" y="648"/>
                      </a:lnTo>
                      <a:lnTo>
                        <a:pt x="1200" y="647"/>
                      </a:lnTo>
                      <a:lnTo>
                        <a:pt x="1199" y="647"/>
                      </a:lnTo>
                      <a:lnTo>
                        <a:pt x="1198" y="646"/>
                      </a:lnTo>
                      <a:lnTo>
                        <a:pt x="1199" y="646"/>
                      </a:lnTo>
                      <a:lnTo>
                        <a:pt x="1200" y="646"/>
                      </a:lnTo>
                      <a:lnTo>
                        <a:pt x="1200" y="645"/>
                      </a:lnTo>
                      <a:lnTo>
                        <a:pt x="1199" y="645"/>
                      </a:lnTo>
                      <a:lnTo>
                        <a:pt x="1200" y="645"/>
                      </a:lnTo>
                      <a:lnTo>
                        <a:pt x="1201" y="645"/>
                      </a:lnTo>
                      <a:lnTo>
                        <a:pt x="1202" y="645"/>
                      </a:lnTo>
                      <a:lnTo>
                        <a:pt x="1203" y="645"/>
                      </a:lnTo>
                      <a:lnTo>
                        <a:pt x="1203" y="646"/>
                      </a:lnTo>
                      <a:lnTo>
                        <a:pt x="1205" y="647"/>
                      </a:lnTo>
                      <a:lnTo>
                        <a:pt x="1203" y="647"/>
                      </a:lnTo>
                      <a:lnTo>
                        <a:pt x="1202" y="647"/>
                      </a:lnTo>
                      <a:lnTo>
                        <a:pt x="1202" y="646"/>
                      </a:lnTo>
                      <a:lnTo>
                        <a:pt x="1201" y="646"/>
                      </a:lnTo>
                      <a:lnTo>
                        <a:pt x="1201" y="647"/>
                      </a:lnTo>
                      <a:lnTo>
                        <a:pt x="1202" y="647"/>
                      </a:lnTo>
                      <a:lnTo>
                        <a:pt x="1203" y="647"/>
                      </a:lnTo>
                      <a:lnTo>
                        <a:pt x="1205" y="647"/>
                      </a:lnTo>
                      <a:lnTo>
                        <a:pt x="1206" y="647"/>
                      </a:lnTo>
                      <a:lnTo>
                        <a:pt x="1206" y="648"/>
                      </a:lnTo>
                      <a:lnTo>
                        <a:pt x="1207" y="648"/>
                      </a:lnTo>
                      <a:lnTo>
                        <a:pt x="1207" y="649"/>
                      </a:lnTo>
                      <a:lnTo>
                        <a:pt x="1208" y="649"/>
                      </a:lnTo>
                      <a:lnTo>
                        <a:pt x="1208" y="648"/>
                      </a:lnTo>
                      <a:lnTo>
                        <a:pt x="1207" y="648"/>
                      </a:lnTo>
                      <a:lnTo>
                        <a:pt x="1206" y="648"/>
                      </a:lnTo>
                      <a:lnTo>
                        <a:pt x="1206" y="647"/>
                      </a:lnTo>
                      <a:lnTo>
                        <a:pt x="1207" y="647"/>
                      </a:lnTo>
                      <a:lnTo>
                        <a:pt x="1208" y="647"/>
                      </a:lnTo>
                      <a:lnTo>
                        <a:pt x="1208" y="646"/>
                      </a:lnTo>
                      <a:lnTo>
                        <a:pt x="1209" y="647"/>
                      </a:lnTo>
                      <a:lnTo>
                        <a:pt x="1210" y="647"/>
                      </a:lnTo>
                      <a:lnTo>
                        <a:pt x="1210" y="648"/>
                      </a:lnTo>
                      <a:lnTo>
                        <a:pt x="1210" y="647"/>
                      </a:lnTo>
                      <a:lnTo>
                        <a:pt x="1211" y="648"/>
                      </a:lnTo>
                      <a:lnTo>
                        <a:pt x="1211" y="647"/>
                      </a:lnTo>
                      <a:lnTo>
                        <a:pt x="1212" y="647"/>
                      </a:lnTo>
                      <a:lnTo>
                        <a:pt x="1213" y="648"/>
                      </a:lnTo>
                      <a:lnTo>
                        <a:pt x="1214" y="648"/>
                      </a:lnTo>
                      <a:lnTo>
                        <a:pt x="1214" y="649"/>
                      </a:lnTo>
                      <a:lnTo>
                        <a:pt x="1215" y="649"/>
                      </a:lnTo>
                      <a:lnTo>
                        <a:pt x="1215" y="648"/>
                      </a:lnTo>
                      <a:lnTo>
                        <a:pt x="1215" y="649"/>
                      </a:lnTo>
                      <a:lnTo>
                        <a:pt x="1215" y="650"/>
                      </a:lnTo>
                      <a:lnTo>
                        <a:pt x="1214" y="650"/>
                      </a:lnTo>
                      <a:lnTo>
                        <a:pt x="1215" y="650"/>
                      </a:lnTo>
                      <a:lnTo>
                        <a:pt x="1215" y="649"/>
                      </a:lnTo>
                      <a:lnTo>
                        <a:pt x="1216" y="649"/>
                      </a:lnTo>
                      <a:lnTo>
                        <a:pt x="1216" y="648"/>
                      </a:lnTo>
                      <a:lnTo>
                        <a:pt x="1215" y="648"/>
                      </a:lnTo>
                      <a:lnTo>
                        <a:pt x="1214" y="648"/>
                      </a:lnTo>
                      <a:lnTo>
                        <a:pt x="1215" y="647"/>
                      </a:lnTo>
                      <a:lnTo>
                        <a:pt x="1215" y="646"/>
                      </a:lnTo>
                      <a:lnTo>
                        <a:pt x="1215" y="645"/>
                      </a:lnTo>
                      <a:lnTo>
                        <a:pt x="1216" y="645"/>
                      </a:lnTo>
                      <a:lnTo>
                        <a:pt x="1216" y="644"/>
                      </a:lnTo>
                      <a:lnTo>
                        <a:pt x="1218" y="644"/>
                      </a:lnTo>
                      <a:lnTo>
                        <a:pt x="1218" y="643"/>
                      </a:lnTo>
                      <a:lnTo>
                        <a:pt x="1219" y="643"/>
                      </a:lnTo>
                      <a:lnTo>
                        <a:pt x="1220" y="643"/>
                      </a:lnTo>
                      <a:lnTo>
                        <a:pt x="1219" y="643"/>
                      </a:lnTo>
                      <a:lnTo>
                        <a:pt x="1219" y="644"/>
                      </a:lnTo>
                      <a:lnTo>
                        <a:pt x="1220" y="644"/>
                      </a:lnTo>
                      <a:lnTo>
                        <a:pt x="1219" y="645"/>
                      </a:lnTo>
                      <a:lnTo>
                        <a:pt x="1220" y="645"/>
                      </a:lnTo>
                      <a:lnTo>
                        <a:pt x="1220" y="646"/>
                      </a:lnTo>
                      <a:lnTo>
                        <a:pt x="1220" y="647"/>
                      </a:lnTo>
                      <a:lnTo>
                        <a:pt x="1220" y="648"/>
                      </a:lnTo>
                      <a:lnTo>
                        <a:pt x="1221" y="649"/>
                      </a:lnTo>
                      <a:lnTo>
                        <a:pt x="1221" y="648"/>
                      </a:lnTo>
                      <a:lnTo>
                        <a:pt x="1220" y="648"/>
                      </a:lnTo>
                      <a:lnTo>
                        <a:pt x="1221" y="647"/>
                      </a:lnTo>
                      <a:lnTo>
                        <a:pt x="1220" y="647"/>
                      </a:lnTo>
                      <a:lnTo>
                        <a:pt x="1220" y="646"/>
                      </a:lnTo>
                      <a:lnTo>
                        <a:pt x="1220" y="645"/>
                      </a:lnTo>
                      <a:lnTo>
                        <a:pt x="1220" y="644"/>
                      </a:lnTo>
                      <a:lnTo>
                        <a:pt x="1219" y="644"/>
                      </a:lnTo>
                      <a:lnTo>
                        <a:pt x="1219" y="643"/>
                      </a:lnTo>
                      <a:lnTo>
                        <a:pt x="1219" y="644"/>
                      </a:lnTo>
                      <a:lnTo>
                        <a:pt x="1220" y="644"/>
                      </a:lnTo>
                      <a:lnTo>
                        <a:pt x="1220" y="643"/>
                      </a:lnTo>
                      <a:lnTo>
                        <a:pt x="1220" y="642"/>
                      </a:lnTo>
                      <a:lnTo>
                        <a:pt x="1219" y="642"/>
                      </a:lnTo>
                      <a:lnTo>
                        <a:pt x="1218" y="642"/>
                      </a:lnTo>
                      <a:lnTo>
                        <a:pt x="1218" y="641"/>
                      </a:lnTo>
                      <a:lnTo>
                        <a:pt x="1218" y="640"/>
                      </a:lnTo>
                      <a:lnTo>
                        <a:pt x="1219" y="640"/>
                      </a:lnTo>
                      <a:lnTo>
                        <a:pt x="1220" y="640"/>
                      </a:lnTo>
                      <a:lnTo>
                        <a:pt x="1219" y="639"/>
                      </a:lnTo>
                      <a:lnTo>
                        <a:pt x="1220" y="639"/>
                      </a:lnTo>
                      <a:lnTo>
                        <a:pt x="1221" y="639"/>
                      </a:lnTo>
                      <a:lnTo>
                        <a:pt x="1222" y="639"/>
                      </a:lnTo>
                      <a:lnTo>
                        <a:pt x="1221" y="639"/>
                      </a:lnTo>
                      <a:lnTo>
                        <a:pt x="1221" y="640"/>
                      </a:lnTo>
                      <a:lnTo>
                        <a:pt x="1222" y="640"/>
                      </a:lnTo>
                      <a:lnTo>
                        <a:pt x="1223" y="640"/>
                      </a:lnTo>
                      <a:lnTo>
                        <a:pt x="1223" y="639"/>
                      </a:lnTo>
                      <a:lnTo>
                        <a:pt x="1223" y="640"/>
                      </a:lnTo>
                      <a:lnTo>
                        <a:pt x="1223" y="641"/>
                      </a:lnTo>
                      <a:lnTo>
                        <a:pt x="1224" y="641"/>
                      </a:lnTo>
                      <a:lnTo>
                        <a:pt x="1224" y="642"/>
                      </a:lnTo>
                      <a:lnTo>
                        <a:pt x="1224" y="643"/>
                      </a:lnTo>
                      <a:lnTo>
                        <a:pt x="1223" y="642"/>
                      </a:lnTo>
                      <a:lnTo>
                        <a:pt x="1223" y="643"/>
                      </a:lnTo>
                      <a:lnTo>
                        <a:pt x="1223" y="642"/>
                      </a:lnTo>
                      <a:lnTo>
                        <a:pt x="1222" y="642"/>
                      </a:lnTo>
                      <a:lnTo>
                        <a:pt x="1221" y="642"/>
                      </a:lnTo>
                      <a:lnTo>
                        <a:pt x="1221" y="641"/>
                      </a:lnTo>
                      <a:lnTo>
                        <a:pt x="1220" y="641"/>
                      </a:lnTo>
                      <a:lnTo>
                        <a:pt x="1221" y="642"/>
                      </a:lnTo>
                      <a:lnTo>
                        <a:pt x="1222" y="642"/>
                      </a:lnTo>
                      <a:lnTo>
                        <a:pt x="1222" y="643"/>
                      </a:lnTo>
                      <a:lnTo>
                        <a:pt x="1223" y="643"/>
                      </a:lnTo>
                      <a:lnTo>
                        <a:pt x="1222" y="643"/>
                      </a:lnTo>
                      <a:lnTo>
                        <a:pt x="1222" y="644"/>
                      </a:lnTo>
                      <a:lnTo>
                        <a:pt x="1223" y="644"/>
                      </a:lnTo>
                      <a:lnTo>
                        <a:pt x="1224" y="645"/>
                      </a:lnTo>
                      <a:lnTo>
                        <a:pt x="1225" y="645"/>
                      </a:lnTo>
                      <a:lnTo>
                        <a:pt x="1226" y="645"/>
                      </a:lnTo>
                      <a:lnTo>
                        <a:pt x="1225" y="645"/>
                      </a:lnTo>
                      <a:lnTo>
                        <a:pt x="1225" y="644"/>
                      </a:lnTo>
                      <a:lnTo>
                        <a:pt x="1225" y="645"/>
                      </a:lnTo>
                      <a:lnTo>
                        <a:pt x="1224" y="645"/>
                      </a:lnTo>
                      <a:lnTo>
                        <a:pt x="1224" y="644"/>
                      </a:lnTo>
                      <a:lnTo>
                        <a:pt x="1223" y="644"/>
                      </a:lnTo>
                      <a:lnTo>
                        <a:pt x="1223" y="643"/>
                      </a:lnTo>
                      <a:lnTo>
                        <a:pt x="1224" y="643"/>
                      </a:lnTo>
                      <a:lnTo>
                        <a:pt x="1224" y="642"/>
                      </a:lnTo>
                      <a:lnTo>
                        <a:pt x="1225" y="641"/>
                      </a:lnTo>
                      <a:lnTo>
                        <a:pt x="1226" y="641"/>
                      </a:lnTo>
                      <a:lnTo>
                        <a:pt x="1226" y="642"/>
                      </a:lnTo>
                      <a:lnTo>
                        <a:pt x="1227" y="642"/>
                      </a:lnTo>
                      <a:lnTo>
                        <a:pt x="1226" y="643"/>
                      </a:lnTo>
                      <a:lnTo>
                        <a:pt x="1226" y="642"/>
                      </a:lnTo>
                      <a:lnTo>
                        <a:pt x="1226" y="643"/>
                      </a:lnTo>
                      <a:lnTo>
                        <a:pt x="1227" y="643"/>
                      </a:lnTo>
                      <a:lnTo>
                        <a:pt x="1227" y="642"/>
                      </a:lnTo>
                      <a:lnTo>
                        <a:pt x="1228" y="642"/>
                      </a:lnTo>
                      <a:lnTo>
                        <a:pt x="1228" y="643"/>
                      </a:lnTo>
                      <a:lnTo>
                        <a:pt x="1229" y="643"/>
                      </a:lnTo>
                      <a:lnTo>
                        <a:pt x="1231" y="643"/>
                      </a:lnTo>
                      <a:lnTo>
                        <a:pt x="1231" y="644"/>
                      </a:lnTo>
                      <a:lnTo>
                        <a:pt x="1231" y="643"/>
                      </a:lnTo>
                      <a:lnTo>
                        <a:pt x="1232" y="643"/>
                      </a:lnTo>
                      <a:lnTo>
                        <a:pt x="1232" y="642"/>
                      </a:lnTo>
                      <a:lnTo>
                        <a:pt x="1232" y="643"/>
                      </a:lnTo>
                      <a:lnTo>
                        <a:pt x="1232" y="642"/>
                      </a:lnTo>
                      <a:lnTo>
                        <a:pt x="1233" y="642"/>
                      </a:lnTo>
                      <a:lnTo>
                        <a:pt x="1233" y="643"/>
                      </a:lnTo>
                      <a:lnTo>
                        <a:pt x="1234" y="643"/>
                      </a:lnTo>
                      <a:lnTo>
                        <a:pt x="1234" y="644"/>
                      </a:lnTo>
                      <a:lnTo>
                        <a:pt x="1233" y="644"/>
                      </a:lnTo>
                      <a:lnTo>
                        <a:pt x="1234" y="644"/>
                      </a:lnTo>
                      <a:lnTo>
                        <a:pt x="1234" y="645"/>
                      </a:lnTo>
                      <a:lnTo>
                        <a:pt x="1235" y="645"/>
                      </a:lnTo>
                      <a:lnTo>
                        <a:pt x="1236" y="645"/>
                      </a:lnTo>
                      <a:lnTo>
                        <a:pt x="1237" y="644"/>
                      </a:lnTo>
                      <a:lnTo>
                        <a:pt x="1237" y="645"/>
                      </a:lnTo>
                      <a:lnTo>
                        <a:pt x="1238" y="645"/>
                      </a:lnTo>
                      <a:lnTo>
                        <a:pt x="1239" y="646"/>
                      </a:lnTo>
                      <a:lnTo>
                        <a:pt x="1240" y="646"/>
                      </a:lnTo>
                      <a:lnTo>
                        <a:pt x="1240" y="647"/>
                      </a:lnTo>
                      <a:lnTo>
                        <a:pt x="1239" y="647"/>
                      </a:lnTo>
                      <a:lnTo>
                        <a:pt x="1238" y="647"/>
                      </a:lnTo>
                      <a:lnTo>
                        <a:pt x="1237" y="648"/>
                      </a:lnTo>
                      <a:lnTo>
                        <a:pt x="1237" y="647"/>
                      </a:lnTo>
                      <a:lnTo>
                        <a:pt x="1237" y="648"/>
                      </a:lnTo>
                      <a:lnTo>
                        <a:pt x="1237" y="649"/>
                      </a:lnTo>
                      <a:lnTo>
                        <a:pt x="1237" y="650"/>
                      </a:lnTo>
                      <a:lnTo>
                        <a:pt x="1237" y="652"/>
                      </a:lnTo>
                      <a:lnTo>
                        <a:pt x="1237" y="650"/>
                      </a:lnTo>
                      <a:lnTo>
                        <a:pt x="1236" y="650"/>
                      </a:lnTo>
                      <a:lnTo>
                        <a:pt x="1235" y="649"/>
                      </a:lnTo>
                      <a:lnTo>
                        <a:pt x="1234" y="649"/>
                      </a:lnTo>
                      <a:lnTo>
                        <a:pt x="1233" y="648"/>
                      </a:lnTo>
                      <a:lnTo>
                        <a:pt x="1232" y="647"/>
                      </a:lnTo>
                      <a:lnTo>
                        <a:pt x="1232" y="648"/>
                      </a:lnTo>
                      <a:lnTo>
                        <a:pt x="1231" y="649"/>
                      </a:lnTo>
                      <a:lnTo>
                        <a:pt x="1232" y="649"/>
                      </a:lnTo>
                      <a:lnTo>
                        <a:pt x="1232" y="650"/>
                      </a:lnTo>
                      <a:lnTo>
                        <a:pt x="1233" y="650"/>
                      </a:lnTo>
                      <a:lnTo>
                        <a:pt x="1234" y="652"/>
                      </a:lnTo>
                      <a:lnTo>
                        <a:pt x="1234" y="653"/>
                      </a:lnTo>
                      <a:lnTo>
                        <a:pt x="1234" y="654"/>
                      </a:lnTo>
                      <a:lnTo>
                        <a:pt x="1233" y="654"/>
                      </a:lnTo>
                      <a:lnTo>
                        <a:pt x="1232" y="654"/>
                      </a:lnTo>
                      <a:lnTo>
                        <a:pt x="1232" y="653"/>
                      </a:lnTo>
                      <a:lnTo>
                        <a:pt x="1231" y="653"/>
                      </a:lnTo>
                      <a:lnTo>
                        <a:pt x="1229" y="653"/>
                      </a:lnTo>
                      <a:lnTo>
                        <a:pt x="1229" y="652"/>
                      </a:lnTo>
                      <a:lnTo>
                        <a:pt x="1231" y="650"/>
                      </a:lnTo>
                      <a:lnTo>
                        <a:pt x="1231" y="649"/>
                      </a:lnTo>
                      <a:lnTo>
                        <a:pt x="1229" y="649"/>
                      </a:lnTo>
                      <a:lnTo>
                        <a:pt x="1228" y="648"/>
                      </a:lnTo>
                      <a:lnTo>
                        <a:pt x="1227" y="648"/>
                      </a:lnTo>
                      <a:lnTo>
                        <a:pt x="1226" y="647"/>
                      </a:lnTo>
                      <a:lnTo>
                        <a:pt x="1225" y="647"/>
                      </a:lnTo>
                      <a:lnTo>
                        <a:pt x="1225" y="648"/>
                      </a:lnTo>
                      <a:lnTo>
                        <a:pt x="1224" y="648"/>
                      </a:lnTo>
                      <a:lnTo>
                        <a:pt x="1224" y="647"/>
                      </a:lnTo>
                      <a:lnTo>
                        <a:pt x="1223" y="647"/>
                      </a:lnTo>
                      <a:lnTo>
                        <a:pt x="1224" y="647"/>
                      </a:lnTo>
                      <a:lnTo>
                        <a:pt x="1224" y="648"/>
                      </a:lnTo>
                      <a:lnTo>
                        <a:pt x="1225" y="648"/>
                      </a:lnTo>
                      <a:lnTo>
                        <a:pt x="1225" y="649"/>
                      </a:lnTo>
                      <a:lnTo>
                        <a:pt x="1226" y="649"/>
                      </a:lnTo>
                      <a:lnTo>
                        <a:pt x="1226" y="650"/>
                      </a:lnTo>
                      <a:lnTo>
                        <a:pt x="1227" y="650"/>
                      </a:lnTo>
                      <a:lnTo>
                        <a:pt x="1228" y="650"/>
                      </a:lnTo>
                      <a:lnTo>
                        <a:pt x="1229" y="650"/>
                      </a:lnTo>
                      <a:lnTo>
                        <a:pt x="1229" y="652"/>
                      </a:lnTo>
                      <a:lnTo>
                        <a:pt x="1229" y="653"/>
                      </a:lnTo>
                      <a:lnTo>
                        <a:pt x="1231" y="653"/>
                      </a:lnTo>
                      <a:lnTo>
                        <a:pt x="1231" y="654"/>
                      </a:lnTo>
                      <a:lnTo>
                        <a:pt x="1232" y="654"/>
                      </a:lnTo>
                      <a:lnTo>
                        <a:pt x="1232" y="655"/>
                      </a:lnTo>
                      <a:lnTo>
                        <a:pt x="1233" y="655"/>
                      </a:lnTo>
                      <a:lnTo>
                        <a:pt x="1233" y="656"/>
                      </a:lnTo>
                      <a:lnTo>
                        <a:pt x="1234" y="656"/>
                      </a:lnTo>
                      <a:lnTo>
                        <a:pt x="1234" y="657"/>
                      </a:lnTo>
                      <a:lnTo>
                        <a:pt x="1235" y="657"/>
                      </a:lnTo>
                      <a:lnTo>
                        <a:pt x="1235" y="658"/>
                      </a:lnTo>
                      <a:lnTo>
                        <a:pt x="1236" y="658"/>
                      </a:lnTo>
                      <a:lnTo>
                        <a:pt x="1236" y="659"/>
                      </a:lnTo>
                      <a:lnTo>
                        <a:pt x="1237" y="659"/>
                      </a:lnTo>
                      <a:lnTo>
                        <a:pt x="1237" y="660"/>
                      </a:lnTo>
                      <a:lnTo>
                        <a:pt x="1238" y="660"/>
                      </a:lnTo>
                      <a:lnTo>
                        <a:pt x="1239" y="660"/>
                      </a:lnTo>
                      <a:lnTo>
                        <a:pt x="1239" y="661"/>
                      </a:lnTo>
                      <a:lnTo>
                        <a:pt x="1238" y="661"/>
                      </a:lnTo>
                      <a:lnTo>
                        <a:pt x="1238" y="662"/>
                      </a:lnTo>
                      <a:lnTo>
                        <a:pt x="1239" y="662"/>
                      </a:lnTo>
                      <a:lnTo>
                        <a:pt x="1239" y="661"/>
                      </a:lnTo>
                      <a:lnTo>
                        <a:pt x="1240" y="661"/>
                      </a:lnTo>
                      <a:lnTo>
                        <a:pt x="1241" y="661"/>
                      </a:lnTo>
                      <a:lnTo>
                        <a:pt x="1242" y="664"/>
                      </a:lnTo>
                      <a:lnTo>
                        <a:pt x="1244" y="664"/>
                      </a:lnTo>
                      <a:lnTo>
                        <a:pt x="1245" y="664"/>
                      </a:lnTo>
                      <a:lnTo>
                        <a:pt x="1245" y="665"/>
                      </a:lnTo>
                      <a:lnTo>
                        <a:pt x="1245" y="666"/>
                      </a:lnTo>
                      <a:lnTo>
                        <a:pt x="1246" y="667"/>
                      </a:lnTo>
                      <a:lnTo>
                        <a:pt x="1245" y="667"/>
                      </a:lnTo>
                      <a:lnTo>
                        <a:pt x="1246" y="667"/>
                      </a:lnTo>
                      <a:lnTo>
                        <a:pt x="1246" y="668"/>
                      </a:lnTo>
                      <a:lnTo>
                        <a:pt x="1246" y="669"/>
                      </a:lnTo>
                      <a:lnTo>
                        <a:pt x="1246" y="670"/>
                      </a:lnTo>
                      <a:lnTo>
                        <a:pt x="1246" y="671"/>
                      </a:lnTo>
                      <a:lnTo>
                        <a:pt x="1246" y="672"/>
                      </a:lnTo>
                      <a:lnTo>
                        <a:pt x="1247" y="673"/>
                      </a:lnTo>
                      <a:lnTo>
                        <a:pt x="1248" y="674"/>
                      </a:lnTo>
                      <a:lnTo>
                        <a:pt x="1249" y="674"/>
                      </a:lnTo>
                      <a:lnTo>
                        <a:pt x="1251" y="674"/>
                      </a:lnTo>
                      <a:lnTo>
                        <a:pt x="1251" y="675"/>
                      </a:lnTo>
                      <a:lnTo>
                        <a:pt x="1252" y="675"/>
                      </a:lnTo>
                      <a:lnTo>
                        <a:pt x="1252" y="674"/>
                      </a:lnTo>
                      <a:lnTo>
                        <a:pt x="1253" y="675"/>
                      </a:lnTo>
                      <a:lnTo>
                        <a:pt x="1253" y="677"/>
                      </a:lnTo>
                      <a:lnTo>
                        <a:pt x="1252" y="677"/>
                      </a:lnTo>
                      <a:lnTo>
                        <a:pt x="1252" y="678"/>
                      </a:lnTo>
                      <a:lnTo>
                        <a:pt x="1252" y="677"/>
                      </a:lnTo>
                      <a:lnTo>
                        <a:pt x="1252" y="678"/>
                      </a:lnTo>
                      <a:lnTo>
                        <a:pt x="1252" y="679"/>
                      </a:lnTo>
                      <a:lnTo>
                        <a:pt x="1251" y="679"/>
                      </a:lnTo>
                      <a:lnTo>
                        <a:pt x="1250" y="679"/>
                      </a:lnTo>
                      <a:lnTo>
                        <a:pt x="1251" y="679"/>
                      </a:lnTo>
                      <a:lnTo>
                        <a:pt x="1250" y="680"/>
                      </a:lnTo>
                      <a:lnTo>
                        <a:pt x="1251" y="680"/>
                      </a:lnTo>
                      <a:lnTo>
                        <a:pt x="1251" y="681"/>
                      </a:lnTo>
                      <a:lnTo>
                        <a:pt x="1252" y="682"/>
                      </a:lnTo>
                      <a:lnTo>
                        <a:pt x="1252" y="683"/>
                      </a:lnTo>
                      <a:lnTo>
                        <a:pt x="1251" y="683"/>
                      </a:lnTo>
                      <a:lnTo>
                        <a:pt x="1251" y="684"/>
                      </a:lnTo>
                      <a:lnTo>
                        <a:pt x="1251" y="685"/>
                      </a:lnTo>
                      <a:lnTo>
                        <a:pt x="1250" y="686"/>
                      </a:lnTo>
                      <a:lnTo>
                        <a:pt x="1249" y="686"/>
                      </a:lnTo>
                      <a:lnTo>
                        <a:pt x="1248" y="686"/>
                      </a:lnTo>
                      <a:lnTo>
                        <a:pt x="1247" y="685"/>
                      </a:lnTo>
                      <a:lnTo>
                        <a:pt x="1248" y="685"/>
                      </a:lnTo>
                      <a:lnTo>
                        <a:pt x="1248" y="686"/>
                      </a:lnTo>
                      <a:lnTo>
                        <a:pt x="1249" y="686"/>
                      </a:lnTo>
                      <a:lnTo>
                        <a:pt x="1250" y="686"/>
                      </a:lnTo>
                      <a:lnTo>
                        <a:pt x="1250" y="685"/>
                      </a:lnTo>
                      <a:lnTo>
                        <a:pt x="1251" y="684"/>
                      </a:lnTo>
                      <a:lnTo>
                        <a:pt x="1250" y="684"/>
                      </a:lnTo>
                      <a:lnTo>
                        <a:pt x="1250" y="683"/>
                      </a:lnTo>
                      <a:lnTo>
                        <a:pt x="1250" y="682"/>
                      </a:lnTo>
                      <a:lnTo>
                        <a:pt x="1249" y="681"/>
                      </a:lnTo>
                      <a:lnTo>
                        <a:pt x="1249" y="682"/>
                      </a:lnTo>
                      <a:lnTo>
                        <a:pt x="1249" y="683"/>
                      </a:lnTo>
                      <a:lnTo>
                        <a:pt x="1250" y="683"/>
                      </a:lnTo>
                      <a:lnTo>
                        <a:pt x="1250" y="684"/>
                      </a:lnTo>
                      <a:lnTo>
                        <a:pt x="1249" y="684"/>
                      </a:lnTo>
                      <a:lnTo>
                        <a:pt x="1248" y="684"/>
                      </a:lnTo>
                      <a:lnTo>
                        <a:pt x="1247" y="684"/>
                      </a:lnTo>
                      <a:lnTo>
                        <a:pt x="1247" y="683"/>
                      </a:lnTo>
                      <a:lnTo>
                        <a:pt x="1246" y="682"/>
                      </a:lnTo>
                      <a:lnTo>
                        <a:pt x="1246" y="681"/>
                      </a:lnTo>
                      <a:lnTo>
                        <a:pt x="1245" y="681"/>
                      </a:lnTo>
                      <a:lnTo>
                        <a:pt x="1245" y="680"/>
                      </a:lnTo>
                      <a:lnTo>
                        <a:pt x="1246" y="680"/>
                      </a:lnTo>
                      <a:lnTo>
                        <a:pt x="1245" y="680"/>
                      </a:lnTo>
                      <a:lnTo>
                        <a:pt x="1245" y="679"/>
                      </a:lnTo>
                      <a:lnTo>
                        <a:pt x="1246" y="679"/>
                      </a:lnTo>
                      <a:lnTo>
                        <a:pt x="1247" y="679"/>
                      </a:lnTo>
                      <a:lnTo>
                        <a:pt x="1246" y="679"/>
                      </a:lnTo>
                      <a:lnTo>
                        <a:pt x="1245" y="679"/>
                      </a:lnTo>
                      <a:lnTo>
                        <a:pt x="1244" y="679"/>
                      </a:lnTo>
                      <a:lnTo>
                        <a:pt x="1242" y="679"/>
                      </a:lnTo>
                      <a:lnTo>
                        <a:pt x="1242" y="678"/>
                      </a:lnTo>
                      <a:lnTo>
                        <a:pt x="1244" y="678"/>
                      </a:lnTo>
                      <a:lnTo>
                        <a:pt x="1244" y="677"/>
                      </a:lnTo>
                      <a:lnTo>
                        <a:pt x="1242" y="677"/>
                      </a:lnTo>
                      <a:lnTo>
                        <a:pt x="1242" y="678"/>
                      </a:lnTo>
                      <a:lnTo>
                        <a:pt x="1241" y="678"/>
                      </a:lnTo>
                      <a:lnTo>
                        <a:pt x="1240" y="678"/>
                      </a:lnTo>
                      <a:lnTo>
                        <a:pt x="1240" y="679"/>
                      </a:lnTo>
                      <a:lnTo>
                        <a:pt x="1239" y="678"/>
                      </a:lnTo>
                      <a:lnTo>
                        <a:pt x="1238" y="679"/>
                      </a:lnTo>
                      <a:lnTo>
                        <a:pt x="1238" y="678"/>
                      </a:lnTo>
                      <a:lnTo>
                        <a:pt x="1237" y="678"/>
                      </a:lnTo>
                      <a:lnTo>
                        <a:pt x="1236" y="677"/>
                      </a:lnTo>
                      <a:lnTo>
                        <a:pt x="1235" y="675"/>
                      </a:lnTo>
                      <a:lnTo>
                        <a:pt x="1234" y="675"/>
                      </a:lnTo>
                      <a:lnTo>
                        <a:pt x="1234" y="674"/>
                      </a:lnTo>
                      <a:lnTo>
                        <a:pt x="1234" y="673"/>
                      </a:lnTo>
                      <a:lnTo>
                        <a:pt x="1235" y="673"/>
                      </a:lnTo>
                      <a:lnTo>
                        <a:pt x="1234" y="672"/>
                      </a:lnTo>
                      <a:lnTo>
                        <a:pt x="1234" y="671"/>
                      </a:lnTo>
                      <a:lnTo>
                        <a:pt x="1235" y="671"/>
                      </a:lnTo>
                      <a:lnTo>
                        <a:pt x="1236" y="671"/>
                      </a:lnTo>
                      <a:lnTo>
                        <a:pt x="1237" y="671"/>
                      </a:lnTo>
                      <a:lnTo>
                        <a:pt x="1237" y="672"/>
                      </a:lnTo>
                      <a:lnTo>
                        <a:pt x="1238" y="672"/>
                      </a:lnTo>
                      <a:lnTo>
                        <a:pt x="1239" y="672"/>
                      </a:lnTo>
                      <a:lnTo>
                        <a:pt x="1239" y="671"/>
                      </a:lnTo>
                      <a:lnTo>
                        <a:pt x="1238" y="671"/>
                      </a:lnTo>
                      <a:lnTo>
                        <a:pt x="1237" y="671"/>
                      </a:lnTo>
                      <a:lnTo>
                        <a:pt x="1236" y="671"/>
                      </a:lnTo>
                      <a:lnTo>
                        <a:pt x="1235" y="671"/>
                      </a:lnTo>
                      <a:lnTo>
                        <a:pt x="1235" y="670"/>
                      </a:lnTo>
                      <a:lnTo>
                        <a:pt x="1235" y="671"/>
                      </a:lnTo>
                      <a:lnTo>
                        <a:pt x="1235" y="670"/>
                      </a:lnTo>
                      <a:lnTo>
                        <a:pt x="1234" y="670"/>
                      </a:lnTo>
                      <a:lnTo>
                        <a:pt x="1234" y="671"/>
                      </a:lnTo>
                      <a:lnTo>
                        <a:pt x="1233" y="671"/>
                      </a:lnTo>
                      <a:lnTo>
                        <a:pt x="1232" y="671"/>
                      </a:lnTo>
                      <a:lnTo>
                        <a:pt x="1231" y="671"/>
                      </a:lnTo>
                      <a:lnTo>
                        <a:pt x="1232" y="671"/>
                      </a:lnTo>
                      <a:lnTo>
                        <a:pt x="1232" y="670"/>
                      </a:lnTo>
                      <a:lnTo>
                        <a:pt x="1231" y="670"/>
                      </a:lnTo>
                      <a:lnTo>
                        <a:pt x="1232" y="670"/>
                      </a:lnTo>
                      <a:lnTo>
                        <a:pt x="1231" y="670"/>
                      </a:lnTo>
                      <a:lnTo>
                        <a:pt x="1232" y="669"/>
                      </a:lnTo>
                      <a:lnTo>
                        <a:pt x="1233" y="669"/>
                      </a:lnTo>
                      <a:lnTo>
                        <a:pt x="1234" y="670"/>
                      </a:lnTo>
                      <a:lnTo>
                        <a:pt x="1234" y="669"/>
                      </a:lnTo>
                      <a:lnTo>
                        <a:pt x="1235" y="669"/>
                      </a:lnTo>
                      <a:lnTo>
                        <a:pt x="1236" y="669"/>
                      </a:lnTo>
                      <a:lnTo>
                        <a:pt x="1236" y="668"/>
                      </a:lnTo>
                      <a:lnTo>
                        <a:pt x="1237" y="668"/>
                      </a:lnTo>
                      <a:lnTo>
                        <a:pt x="1237" y="667"/>
                      </a:lnTo>
                      <a:lnTo>
                        <a:pt x="1237" y="668"/>
                      </a:lnTo>
                      <a:lnTo>
                        <a:pt x="1238" y="668"/>
                      </a:lnTo>
                      <a:lnTo>
                        <a:pt x="1238" y="669"/>
                      </a:lnTo>
                      <a:lnTo>
                        <a:pt x="1239" y="669"/>
                      </a:lnTo>
                      <a:lnTo>
                        <a:pt x="1239" y="668"/>
                      </a:lnTo>
                      <a:lnTo>
                        <a:pt x="1239" y="667"/>
                      </a:lnTo>
                      <a:lnTo>
                        <a:pt x="1238" y="667"/>
                      </a:lnTo>
                      <a:lnTo>
                        <a:pt x="1237" y="667"/>
                      </a:lnTo>
                      <a:lnTo>
                        <a:pt x="1237" y="666"/>
                      </a:lnTo>
                      <a:lnTo>
                        <a:pt x="1236" y="666"/>
                      </a:lnTo>
                      <a:lnTo>
                        <a:pt x="1235" y="665"/>
                      </a:lnTo>
                      <a:lnTo>
                        <a:pt x="1234" y="665"/>
                      </a:lnTo>
                      <a:lnTo>
                        <a:pt x="1234" y="664"/>
                      </a:lnTo>
                      <a:lnTo>
                        <a:pt x="1233" y="662"/>
                      </a:lnTo>
                      <a:lnTo>
                        <a:pt x="1233" y="664"/>
                      </a:lnTo>
                      <a:lnTo>
                        <a:pt x="1233" y="662"/>
                      </a:lnTo>
                      <a:lnTo>
                        <a:pt x="1233" y="664"/>
                      </a:lnTo>
                      <a:lnTo>
                        <a:pt x="1234" y="664"/>
                      </a:lnTo>
                      <a:lnTo>
                        <a:pt x="1234" y="665"/>
                      </a:lnTo>
                      <a:lnTo>
                        <a:pt x="1234" y="666"/>
                      </a:lnTo>
                      <a:lnTo>
                        <a:pt x="1233" y="666"/>
                      </a:lnTo>
                      <a:lnTo>
                        <a:pt x="1232" y="666"/>
                      </a:lnTo>
                      <a:lnTo>
                        <a:pt x="1232" y="667"/>
                      </a:lnTo>
                      <a:lnTo>
                        <a:pt x="1231" y="667"/>
                      </a:lnTo>
                      <a:lnTo>
                        <a:pt x="1231" y="668"/>
                      </a:lnTo>
                      <a:lnTo>
                        <a:pt x="1231" y="669"/>
                      </a:lnTo>
                      <a:lnTo>
                        <a:pt x="1231" y="670"/>
                      </a:lnTo>
                      <a:lnTo>
                        <a:pt x="1229" y="670"/>
                      </a:lnTo>
                      <a:lnTo>
                        <a:pt x="1229" y="669"/>
                      </a:lnTo>
                      <a:lnTo>
                        <a:pt x="1229" y="670"/>
                      </a:lnTo>
                      <a:lnTo>
                        <a:pt x="1231" y="670"/>
                      </a:lnTo>
                      <a:lnTo>
                        <a:pt x="1231" y="671"/>
                      </a:lnTo>
                      <a:lnTo>
                        <a:pt x="1231" y="672"/>
                      </a:lnTo>
                      <a:lnTo>
                        <a:pt x="1232" y="672"/>
                      </a:lnTo>
                      <a:lnTo>
                        <a:pt x="1232" y="671"/>
                      </a:lnTo>
                      <a:lnTo>
                        <a:pt x="1233" y="671"/>
                      </a:lnTo>
                      <a:lnTo>
                        <a:pt x="1233" y="672"/>
                      </a:lnTo>
                      <a:lnTo>
                        <a:pt x="1232" y="672"/>
                      </a:lnTo>
                      <a:lnTo>
                        <a:pt x="1232" y="673"/>
                      </a:lnTo>
                      <a:lnTo>
                        <a:pt x="1232" y="674"/>
                      </a:lnTo>
                      <a:lnTo>
                        <a:pt x="1233" y="674"/>
                      </a:lnTo>
                      <a:lnTo>
                        <a:pt x="1233" y="675"/>
                      </a:lnTo>
                      <a:lnTo>
                        <a:pt x="1234" y="675"/>
                      </a:lnTo>
                      <a:lnTo>
                        <a:pt x="1233" y="675"/>
                      </a:lnTo>
                      <a:lnTo>
                        <a:pt x="1232" y="675"/>
                      </a:lnTo>
                      <a:lnTo>
                        <a:pt x="1231" y="674"/>
                      </a:lnTo>
                      <a:lnTo>
                        <a:pt x="1229" y="674"/>
                      </a:lnTo>
                      <a:lnTo>
                        <a:pt x="1229" y="675"/>
                      </a:lnTo>
                      <a:lnTo>
                        <a:pt x="1229" y="677"/>
                      </a:lnTo>
                      <a:lnTo>
                        <a:pt x="1229" y="678"/>
                      </a:lnTo>
                      <a:lnTo>
                        <a:pt x="1231" y="678"/>
                      </a:lnTo>
                      <a:lnTo>
                        <a:pt x="1231" y="679"/>
                      </a:lnTo>
                      <a:lnTo>
                        <a:pt x="1232" y="679"/>
                      </a:lnTo>
                      <a:lnTo>
                        <a:pt x="1231" y="680"/>
                      </a:lnTo>
                      <a:lnTo>
                        <a:pt x="1229" y="681"/>
                      </a:lnTo>
                      <a:lnTo>
                        <a:pt x="1228" y="682"/>
                      </a:lnTo>
                      <a:lnTo>
                        <a:pt x="1228" y="683"/>
                      </a:lnTo>
                      <a:lnTo>
                        <a:pt x="1228" y="684"/>
                      </a:lnTo>
                      <a:lnTo>
                        <a:pt x="1229" y="684"/>
                      </a:lnTo>
                      <a:lnTo>
                        <a:pt x="1229" y="685"/>
                      </a:lnTo>
                      <a:lnTo>
                        <a:pt x="1231" y="686"/>
                      </a:lnTo>
                      <a:lnTo>
                        <a:pt x="1232" y="686"/>
                      </a:lnTo>
                      <a:lnTo>
                        <a:pt x="1233" y="687"/>
                      </a:lnTo>
                      <a:lnTo>
                        <a:pt x="1234" y="687"/>
                      </a:lnTo>
                      <a:lnTo>
                        <a:pt x="1233" y="687"/>
                      </a:lnTo>
                      <a:lnTo>
                        <a:pt x="1233" y="688"/>
                      </a:lnTo>
                      <a:lnTo>
                        <a:pt x="1233" y="690"/>
                      </a:lnTo>
                      <a:lnTo>
                        <a:pt x="1233" y="688"/>
                      </a:lnTo>
                      <a:lnTo>
                        <a:pt x="1232" y="688"/>
                      </a:lnTo>
                      <a:lnTo>
                        <a:pt x="1232" y="687"/>
                      </a:lnTo>
                      <a:lnTo>
                        <a:pt x="1231" y="687"/>
                      </a:lnTo>
                      <a:lnTo>
                        <a:pt x="1231" y="688"/>
                      </a:lnTo>
                      <a:lnTo>
                        <a:pt x="1231" y="690"/>
                      </a:lnTo>
                      <a:lnTo>
                        <a:pt x="1232" y="690"/>
                      </a:lnTo>
                      <a:lnTo>
                        <a:pt x="1233" y="688"/>
                      </a:lnTo>
                      <a:lnTo>
                        <a:pt x="1232" y="690"/>
                      </a:lnTo>
                      <a:lnTo>
                        <a:pt x="1233" y="690"/>
                      </a:lnTo>
                      <a:lnTo>
                        <a:pt x="1234" y="690"/>
                      </a:lnTo>
                      <a:lnTo>
                        <a:pt x="1234" y="688"/>
                      </a:lnTo>
                      <a:lnTo>
                        <a:pt x="1234" y="687"/>
                      </a:lnTo>
                      <a:lnTo>
                        <a:pt x="1235" y="687"/>
                      </a:lnTo>
                      <a:lnTo>
                        <a:pt x="1235" y="686"/>
                      </a:lnTo>
                      <a:lnTo>
                        <a:pt x="1236" y="686"/>
                      </a:lnTo>
                      <a:lnTo>
                        <a:pt x="1235" y="686"/>
                      </a:lnTo>
                      <a:lnTo>
                        <a:pt x="1235" y="687"/>
                      </a:lnTo>
                      <a:lnTo>
                        <a:pt x="1235" y="686"/>
                      </a:lnTo>
                      <a:lnTo>
                        <a:pt x="1234" y="686"/>
                      </a:lnTo>
                      <a:lnTo>
                        <a:pt x="1234" y="687"/>
                      </a:lnTo>
                      <a:lnTo>
                        <a:pt x="1234" y="686"/>
                      </a:lnTo>
                      <a:lnTo>
                        <a:pt x="1235" y="686"/>
                      </a:lnTo>
                      <a:lnTo>
                        <a:pt x="1236" y="685"/>
                      </a:lnTo>
                      <a:lnTo>
                        <a:pt x="1236" y="686"/>
                      </a:lnTo>
                      <a:lnTo>
                        <a:pt x="1237" y="686"/>
                      </a:lnTo>
                      <a:lnTo>
                        <a:pt x="1237" y="685"/>
                      </a:lnTo>
                      <a:lnTo>
                        <a:pt x="1238" y="685"/>
                      </a:lnTo>
                      <a:lnTo>
                        <a:pt x="1238" y="686"/>
                      </a:lnTo>
                      <a:lnTo>
                        <a:pt x="1239" y="686"/>
                      </a:lnTo>
                      <a:lnTo>
                        <a:pt x="1239" y="687"/>
                      </a:lnTo>
                      <a:lnTo>
                        <a:pt x="1237" y="688"/>
                      </a:lnTo>
                      <a:lnTo>
                        <a:pt x="1236" y="690"/>
                      </a:lnTo>
                      <a:lnTo>
                        <a:pt x="1235" y="692"/>
                      </a:lnTo>
                      <a:lnTo>
                        <a:pt x="1235" y="693"/>
                      </a:lnTo>
                      <a:lnTo>
                        <a:pt x="1234" y="693"/>
                      </a:lnTo>
                      <a:lnTo>
                        <a:pt x="1234" y="694"/>
                      </a:lnTo>
                      <a:lnTo>
                        <a:pt x="1234" y="695"/>
                      </a:lnTo>
                      <a:lnTo>
                        <a:pt x="1233" y="695"/>
                      </a:lnTo>
                      <a:lnTo>
                        <a:pt x="1233" y="694"/>
                      </a:lnTo>
                      <a:lnTo>
                        <a:pt x="1232" y="694"/>
                      </a:lnTo>
                      <a:lnTo>
                        <a:pt x="1232" y="693"/>
                      </a:lnTo>
                      <a:lnTo>
                        <a:pt x="1231" y="693"/>
                      </a:lnTo>
                      <a:lnTo>
                        <a:pt x="1231" y="692"/>
                      </a:lnTo>
                      <a:lnTo>
                        <a:pt x="1232" y="692"/>
                      </a:lnTo>
                      <a:lnTo>
                        <a:pt x="1231" y="692"/>
                      </a:lnTo>
                      <a:lnTo>
                        <a:pt x="1229" y="692"/>
                      </a:lnTo>
                      <a:lnTo>
                        <a:pt x="1229" y="691"/>
                      </a:lnTo>
                      <a:lnTo>
                        <a:pt x="1228" y="691"/>
                      </a:lnTo>
                      <a:lnTo>
                        <a:pt x="1227" y="691"/>
                      </a:lnTo>
                      <a:lnTo>
                        <a:pt x="1227" y="690"/>
                      </a:lnTo>
                      <a:lnTo>
                        <a:pt x="1228" y="690"/>
                      </a:lnTo>
                      <a:lnTo>
                        <a:pt x="1228" y="691"/>
                      </a:lnTo>
                      <a:lnTo>
                        <a:pt x="1229" y="691"/>
                      </a:lnTo>
                      <a:lnTo>
                        <a:pt x="1229" y="690"/>
                      </a:lnTo>
                      <a:lnTo>
                        <a:pt x="1228" y="690"/>
                      </a:lnTo>
                      <a:lnTo>
                        <a:pt x="1228" y="688"/>
                      </a:lnTo>
                      <a:lnTo>
                        <a:pt x="1228" y="687"/>
                      </a:lnTo>
                      <a:lnTo>
                        <a:pt x="1228" y="686"/>
                      </a:lnTo>
                      <a:lnTo>
                        <a:pt x="1227" y="686"/>
                      </a:lnTo>
                      <a:lnTo>
                        <a:pt x="1226" y="686"/>
                      </a:lnTo>
                      <a:lnTo>
                        <a:pt x="1225" y="687"/>
                      </a:lnTo>
                      <a:lnTo>
                        <a:pt x="1225" y="688"/>
                      </a:lnTo>
                      <a:lnTo>
                        <a:pt x="1224" y="688"/>
                      </a:lnTo>
                      <a:lnTo>
                        <a:pt x="1224" y="687"/>
                      </a:lnTo>
                      <a:lnTo>
                        <a:pt x="1225" y="686"/>
                      </a:lnTo>
                      <a:lnTo>
                        <a:pt x="1226" y="685"/>
                      </a:lnTo>
                      <a:lnTo>
                        <a:pt x="1225" y="685"/>
                      </a:lnTo>
                      <a:lnTo>
                        <a:pt x="1225" y="684"/>
                      </a:lnTo>
                      <a:lnTo>
                        <a:pt x="1224" y="684"/>
                      </a:lnTo>
                      <a:lnTo>
                        <a:pt x="1224" y="683"/>
                      </a:lnTo>
                      <a:lnTo>
                        <a:pt x="1223" y="683"/>
                      </a:lnTo>
                      <a:lnTo>
                        <a:pt x="1223" y="682"/>
                      </a:lnTo>
                      <a:lnTo>
                        <a:pt x="1222" y="681"/>
                      </a:lnTo>
                      <a:lnTo>
                        <a:pt x="1222" y="680"/>
                      </a:lnTo>
                      <a:lnTo>
                        <a:pt x="1221" y="680"/>
                      </a:lnTo>
                      <a:lnTo>
                        <a:pt x="1221" y="681"/>
                      </a:lnTo>
                      <a:lnTo>
                        <a:pt x="1220" y="681"/>
                      </a:lnTo>
                      <a:lnTo>
                        <a:pt x="1219" y="681"/>
                      </a:lnTo>
                      <a:lnTo>
                        <a:pt x="1218" y="681"/>
                      </a:lnTo>
                      <a:lnTo>
                        <a:pt x="1218" y="680"/>
                      </a:lnTo>
                      <a:lnTo>
                        <a:pt x="1219" y="680"/>
                      </a:lnTo>
                      <a:lnTo>
                        <a:pt x="1219" y="679"/>
                      </a:lnTo>
                      <a:lnTo>
                        <a:pt x="1219" y="678"/>
                      </a:lnTo>
                      <a:lnTo>
                        <a:pt x="1220" y="678"/>
                      </a:lnTo>
                      <a:lnTo>
                        <a:pt x="1221" y="678"/>
                      </a:lnTo>
                      <a:lnTo>
                        <a:pt x="1220" y="677"/>
                      </a:lnTo>
                      <a:lnTo>
                        <a:pt x="1221" y="677"/>
                      </a:lnTo>
                      <a:lnTo>
                        <a:pt x="1222" y="677"/>
                      </a:lnTo>
                      <a:lnTo>
                        <a:pt x="1222" y="675"/>
                      </a:lnTo>
                      <a:lnTo>
                        <a:pt x="1222" y="674"/>
                      </a:lnTo>
                      <a:lnTo>
                        <a:pt x="1222" y="673"/>
                      </a:lnTo>
                      <a:lnTo>
                        <a:pt x="1221" y="673"/>
                      </a:lnTo>
                      <a:lnTo>
                        <a:pt x="1221" y="674"/>
                      </a:lnTo>
                      <a:lnTo>
                        <a:pt x="1220" y="674"/>
                      </a:lnTo>
                      <a:lnTo>
                        <a:pt x="1221" y="674"/>
                      </a:lnTo>
                      <a:lnTo>
                        <a:pt x="1220" y="675"/>
                      </a:lnTo>
                      <a:lnTo>
                        <a:pt x="1220" y="674"/>
                      </a:lnTo>
                      <a:lnTo>
                        <a:pt x="1219" y="674"/>
                      </a:lnTo>
                      <a:lnTo>
                        <a:pt x="1220" y="673"/>
                      </a:lnTo>
                      <a:lnTo>
                        <a:pt x="1219" y="673"/>
                      </a:lnTo>
                      <a:lnTo>
                        <a:pt x="1219" y="672"/>
                      </a:lnTo>
                      <a:lnTo>
                        <a:pt x="1218" y="671"/>
                      </a:lnTo>
                      <a:lnTo>
                        <a:pt x="1219" y="671"/>
                      </a:lnTo>
                      <a:lnTo>
                        <a:pt x="1218" y="671"/>
                      </a:lnTo>
                      <a:lnTo>
                        <a:pt x="1218" y="670"/>
                      </a:lnTo>
                      <a:lnTo>
                        <a:pt x="1216" y="671"/>
                      </a:lnTo>
                      <a:lnTo>
                        <a:pt x="1216" y="670"/>
                      </a:lnTo>
                      <a:lnTo>
                        <a:pt x="1215" y="670"/>
                      </a:lnTo>
                      <a:lnTo>
                        <a:pt x="1215" y="669"/>
                      </a:lnTo>
                      <a:lnTo>
                        <a:pt x="1215" y="668"/>
                      </a:lnTo>
                      <a:lnTo>
                        <a:pt x="1215" y="667"/>
                      </a:lnTo>
                      <a:lnTo>
                        <a:pt x="1216" y="667"/>
                      </a:lnTo>
                      <a:lnTo>
                        <a:pt x="1216" y="668"/>
                      </a:lnTo>
                      <a:lnTo>
                        <a:pt x="1218" y="668"/>
                      </a:lnTo>
                      <a:lnTo>
                        <a:pt x="1218" y="667"/>
                      </a:lnTo>
                      <a:lnTo>
                        <a:pt x="1216" y="667"/>
                      </a:lnTo>
                      <a:lnTo>
                        <a:pt x="1216" y="666"/>
                      </a:lnTo>
                      <a:lnTo>
                        <a:pt x="1216" y="665"/>
                      </a:lnTo>
                      <a:lnTo>
                        <a:pt x="1215" y="665"/>
                      </a:lnTo>
                      <a:lnTo>
                        <a:pt x="1215" y="664"/>
                      </a:lnTo>
                      <a:lnTo>
                        <a:pt x="1216" y="664"/>
                      </a:lnTo>
                      <a:lnTo>
                        <a:pt x="1216" y="665"/>
                      </a:lnTo>
                      <a:lnTo>
                        <a:pt x="1216" y="664"/>
                      </a:lnTo>
                      <a:lnTo>
                        <a:pt x="1215" y="664"/>
                      </a:lnTo>
                      <a:lnTo>
                        <a:pt x="1216" y="664"/>
                      </a:lnTo>
                      <a:lnTo>
                        <a:pt x="1216" y="662"/>
                      </a:lnTo>
                      <a:lnTo>
                        <a:pt x="1218" y="662"/>
                      </a:lnTo>
                      <a:lnTo>
                        <a:pt x="1218" y="664"/>
                      </a:lnTo>
                      <a:lnTo>
                        <a:pt x="1219" y="664"/>
                      </a:lnTo>
                      <a:lnTo>
                        <a:pt x="1219" y="665"/>
                      </a:lnTo>
                      <a:lnTo>
                        <a:pt x="1219" y="666"/>
                      </a:lnTo>
                      <a:lnTo>
                        <a:pt x="1220" y="666"/>
                      </a:lnTo>
                      <a:lnTo>
                        <a:pt x="1220" y="667"/>
                      </a:lnTo>
                      <a:lnTo>
                        <a:pt x="1220" y="666"/>
                      </a:lnTo>
                      <a:lnTo>
                        <a:pt x="1221" y="666"/>
                      </a:lnTo>
                      <a:lnTo>
                        <a:pt x="1220" y="665"/>
                      </a:lnTo>
                      <a:lnTo>
                        <a:pt x="1220" y="664"/>
                      </a:lnTo>
                      <a:lnTo>
                        <a:pt x="1219" y="664"/>
                      </a:lnTo>
                      <a:lnTo>
                        <a:pt x="1219" y="665"/>
                      </a:lnTo>
                      <a:lnTo>
                        <a:pt x="1219" y="664"/>
                      </a:lnTo>
                      <a:lnTo>
                        <a:pt x="1219" y="662"/>
                      </a:lnTo>
                      <a:lnTo>
                        <a:pt x="1219" y="661"/>
                      </a:lnTo>
                      <a:lnTo>
                        <a:pt x="1220" y="661"/>
                      </a:lnTo>
                      <a:lnTo>
                        <a:pt x="1220" y="660"/>
                      </a:lnTo>
                      <a:lnTo>
                        <a:pt x="1219" y="660"/>
                      </a:lnTo>
                      <a:lnTo>
                        <a:pt x="1220" y="660"/>
                      </a:lnTo>
                      <a:lnTo>
                        <a:pt x="1220" y="661"/>
                      </a:lnTo>
                      <a:lnTo>
                        <a:pt x="1221" y="661"/>
                      </a:lnTo>
                      <a:lnTo>
                        <a:pt x="1221" y="662"/>
                      </a:lnTo>
                      <a:lnTo>
                        <a:pt x="1221" y="664"/>
                      </a:lnTo>
                      <a:lnTo>
                        <a:pt x="1221" y="662"/>
                      </a:lnTo>
                      <a:lnTo>
                        <a:pt x="1221" y="664"/>
                      </a:lnTo>
                      <a:lnTo>
                        <a:pt x="1222" y="665"/>
                      </a:lnTo>
                      <a:lnTo>
                        <a:pt x="1222" y="664"/>
                      </a:lnTo>
                      <a:lnTo>
                        <a:pt x="1221" y="664"/>
                      </a:lnTo>
                      <a:lnTo>
                        <a:pt x="1222" y="664"/>
                      </a:lnTo>
                      <a:lnTo>
                        <a:pt x="1222" y="662"/>
                      </a:lnTo>
                      <a:lnTo>
                        <a:pt x="1222" y="664"/>
                      </a:lnTo>
                      <a:lnTo>
                        <a:pt x="1223" y="664"/>
                      </a:lnTo>
                      <a:lnTo>
                        <a:pt x="1224" y="664"/>
                      </a:lnTo>
                      <a:lnTo>
                        <a:pt x="1224" y="662"/>
                      </a:lnTo>
                      <a:lnTo>
                        <a:pt x="1223" y="662"/>
                      </a:lnTo>
                      <a:lnTo>
                        <a:pt x="1223" y="661"/>
                      </a:lnTo>
                      <a:lnTo>
                        <a:pt x="1222" y="661"/>
                      </a:lnTo>
                      <a:lnTo>
                        <a:pt x="1222" y="660"/>
                      </a:lnTo>
                      <a:lnTo>
                        <a:pt x="1221" y="660"/>
                      </a:lnTo>
                      <a:lnTo>
                        <a:pt x="1221" y="659"/>
                      </a:lnTo>
                      <a:lnTo>
                        <a:pt x="1220" y="659"/>
                      </a:lnTo>
                      <a:lnTo>
                        <a:pt x="1219" y="659"/>
                      </a:lnTo>
                      <a:lnTo>
                        <a:pt x="1219" y="660"/>
                      </a:lnTo>
                      <a:lnTo>
                        <a:pt x="1218" y="660"/>
                      </a:lnTo>
                      <a:lnTo>
                        <a:pt x="1218" y="659"/>
                      </a:lnTo>
                      <a:lnTo>
                        <a:pt x="1218" y="658"/>
                      </a:lnTo>
                      <a:lnTo>
                        <a:pt x="1216" y="658"/>
                      </a:lnTo>
                      <a:lnTo>
                        <a:pt x="1218" y="657"/>
                      </a:lnTo>
                      <a:lnTo>
                        <a:pt x="1216" y="657"/>
                      </a:lnTo>
                      <a:lnTo>
                        <a:pt x="1215" y="657"/>
                      </a:lnTo>
                      <a:lnTo>
                        <a:pt x="1215" y="658"/>
                      </a:lnTo>
                      <a:lnTo>
                        <a:pt x="1216" y="658"/>
                      </a:lnTo>
                      <a:lnTo>
                        <a:pt x="1216" y="657"/>
                      </a:lnTo>
                      <a:lnTo>
                        <a:pt x="1216" y="658"/>
                      </a:lnTo>
                      <a:lnTo>
                        <a:pt x="1215" y="658"/>
                      </a:lnTo>
                      <a:lnTo>
                        <a:pt x="1214" y="658"/>
                      </a:lnTo>
                      <a:lnTo>
                        <a:pt x="1214" y="657"/>
                      </a:lnTo>
                      <a:lnTo>
                        <a:pt x="1214" y="656"/>
                      </a:lnTo>
                      <a:lnTo>
                        <a:pt x="1215" y="656"/>
                      </a:lnTo>
                      <a:lnTo>
                        <a:pt x="1216" y="656"/>
                      </a:lnTo>
                      <a:lnTo>
                        <a:pt x="1215" y="656"/>
                      </a:lnTo>
                      <a:lnTo>
                        <a:pt x="1215" y="655"/>
                      </a:lnTo>
                      <a:lnTo>
                        <a:pt x="1215" y="654"/>
                      </a:lnTo>
                      <a:lnTo>
                        <a:pt x="1214" y="654"/>
                      </a:lnTo>
                      <a:lnTo>
                        <a:pt x="1215" y="653"/>
                      </a:lnTo>
                      <a:lnTo>
                        <a:pt x="1214" y="653"/>
                      </a:lnTo>
                      <a:lnTo>
                        <a:pt x="1213" y="653"/>
                      </a:lnTo>
                      <a:lnTo>
                        <a:pt x="1213" y="654"/>
                      </a:lnTo>
                      <a:lnTo>
                        <a:pt x="1212" y="654"/>
                      </a:lnTo>
                      <a:lnTo>
                        <a:pt x="1211" y="654"/>
                      </a:lnTo>
                      <a:lnTo>
                        <a:pt x="1212" y="653"/>
                      </a:lnTo>
                      <a:lnTo>
                        <a:pt x="1211" y="653"/>
                      </a:lnTo>
                      <a:lnTo>
                        <a:pt x="1211" y="654"/>
                      </a:lnTo>
                      <a:lnTo>
                        <a:pt x="1210" y="654"/>
                      </a:lnTo>
                      <a:lnTo>
                        <a:pt x="1210" y="653"/>
                      </a:lnTo>
                      <a:lnTo>
                        <a:pt x="1210" y="654"/>
                      </a:lnTo>
                      <a:lnTo>
                        <a:pt x="1211" y="654"/>
                      </a:lnTo>
                      <a:lnTo>
                        <a:pt x="1212" y="654"/>
                      </a:lnTo>
                      <a:lnTo>
                        <a:pt x="1212" y="655"/>
                      </a:lnTo>
                      <a:lnTo>
                        <a:pt x="1211" y="655"/>
                      </a:lnTo>
                      <a:lnTo>
                        <a:pt x="1210" y="655"/>
                      </a:lnTo>
                      <a:lnTo>
                        <a:pt x="1211" y="655"/>
                      </a:lnTo>
                      <a:lnTo>
                        <a:pt x="1212" y="655"/>
                      </a:lnTo>
                      <a:lnTo>
                        <a:pt x="1212" y="656"/>
                      </a:lnTo>
                      <a:lnTo>
                        <a:pt x="1212" y="657"/>
                      </a:lnTo>
                      <a:lnTo>
                        <a:pt x="1213" y="658"/>
                      </a:lnTo>
                      <a:lnTo>
                        <a:pt x="1213" y="659"/>
                      </a:lnTo>
                      <a:lnTo>
                        <a:pt x="1214" y="659"/>
                      </a:lnTo>
                      <a:lnTo>
                        <a:pt x="1214" y="660"/>
                      </a:lnTo>
                      <a:lnTo>
                        <a:pt x="1215" y="660"/>
                      </a:lnTo>
                      <a:lnTo>
                        <a:pt x="1215" y="661"/>
                      </a:lnTo>
                      <a:lnTo>
                        <a:pt x="1214" y="661"/>
                      </a:lnTo>
                      <a:lnTo>
                        <a:pt x="1213" y="661"/>
                      </a:lnTo>
                      <a:lnTo>
                        <a:pt x="1212" y="661"/>
                      </a:lnTo>
                      <a:lnTo>
                        <a:pt x="1212" y="660"/>
                      </a:lnTo>
                      <a:lnTo>
                        <a:pt x="1211" y="660"/>
                      </a:lnTo>
                      <a:lnTo>
                        <a:pt x="1210" y="660"/>
                      </a:lnTo>
                      <a:lnTo>
                        <a:pt x="1210" y="661"/>
                      </a:lnTo>
                      <a:lnTo>
                        <a:pt x="1211" y="661"/>
                      </a:lnTo>
                      <a:lnTo>
                        <a:pt x="1211" y="662"/>
                      </a:lnTo>
                      <a:lnTo>
                        <a:pt x="1210" y="664"/>
                      </a:lnTo>
                      <a:lnTo>
                        <a:pt x="1210" y="662"/>
                      </a:lnTo>
                      <a:lnTo>
                        <a:pt x="1209" y="662"/>
                      </a:lnTo>
                      <a:lnTo>
                        <a:pt x="1209" y="661"/>
                      </a:lnTo>
                      <a:lnTo>
                        <a:pt x="1209" y="660"/>
                      </a:lnTo>
                      <a:lnTo>
                        <a:pt x="1208" y="659"/>
                      </a:lnTo>
                      <a:lnTo>
                        <a:pt x="1208" y="660"/>
                      </a:lnTo>
                      <a:lnTo>
                        <a:pt x="1209" y="660"/>
                      </a:lnTo>
                      <a:lnTo>
                        <a:pt x="1209" y="661"/>
                      </a:lnTo>
                      <a:lnTo>
                        <a:pt x="1209" y="662"/>
                      </a:lnTo>
                      <a:lnTo>
                        <a:pt x="1208" y="662"/>
                      </a:lnTo>
                      <a:lnTo>
                        <a:pt x="1208" y="664"/>
                      </a:lnTo>
                      <a:lnTo>
                        <a:pt x="1207" y="664"/>
                      </a:lnTo>
                      <a:lnTo>
                        <a:pt x="1207" y="665"/>
                      </a:lnTo>
                      <a:lnTo>
                        <a:pt x="1207" y="664"/>
                      </a:lnTo>
                      <a:lnTo>
                        <a:pt x="1206" y="664"/>
                      </a:lnTo>
                      <a:lnTo>
                        <a:pt x="1206" y="662"/>
                      </a:lnTo>
                      <a:lnTo>
                        <a:pt x="1205" y="662"/>
                      </a:lnTo>
                      <a:lnTo>
                        <a:pt x="1205" y="661"/>
                      </a:lnTo>
                      <a:lnTo>
                        <a:pt x="1206" y="661"/>
                      </a:lnTo>
                      <a:lnTo>
                        <a:pt x="1206" y="660"/>
                      </a:lnTo>
                      <a:lnTo>
                        <a:pt x="1205" y="659"/>
                      </a:lnTo>
                      <a:lnTo>
                        <a:pt x="1205" y="658"/>
                      </a:lnTo>
                      <a:lnTo>
                        <a:pt x="1205" y="659"/>
                      </a:lnTo>
                      <a:lnTo>
                        <a:pt x="1203" y="659"/>
                      </a:lnTo>
                      <a:lnTo>
                        <a:pt x="1202" y="659"/>
                      </a:lnTo>
                      <a:lnTo>
                        <a:pt x="1201" y="659"/>
                      </a:lnTo>
                      <a:lnTo>
                        <a:pt x="1200" y="659"/>
                      </a:lnTo>
                      <a:lnTo>
                        <a:pt x="1200" y="660"/>
                      </a:lnTo>
                      <a:lnTo>
                        <a:pt x="1199" y="659"/>
                      </a:lnTo>
                      <a:lnTo>
                        <a:pt x="1199" y="660"/>
                      </a:lnTo>
                      <a:lnTo>
                        <a:pt x="1198" y="660"/>
                      </a:lnTo>
                      <a:lnTo>
                        <a:pt x="1199" y="660"/>
                      </a:lnTo>
                      <a:lnTo>
                        <a:pt x="1200" y="660"/>
                      </a:lnTo>
                      <a:lnTo>
                        <a:pt x="1199" y="661"/>
                      </a:lnTo>
                      <a:lnTo>
                        <a:pt x="1198" y="661"/>
                      </a:lnTo>
                      <a:lnTo>
                        <a:pt x="1199" y="661"/>
                      </a:lnTo>
                      <a:lnTo>
                        <a:pt x="1199" y="660"/>
                      </a:lnTo>
                      <a:lnTo>
                        <a:pt x="1198" y="660"/>
                      </a:lnTo>
                      <a:lnTo>
                        <a:pt x="1197" y="660"/>
                      </a:lnTo>
                      <a:lnTo>
                        <a:pt x="1197" y="659"/>
                      </a:lnTo>
                      <a:lnTo>
                        <a:pt x="1196" y="659"/>
                      </a:lnTo>
                      <a:lnTo>
                        <a:pt x="1195" y="659"/>
                      </a:lnTo>
                      <a:lnTo>
                        <a:pt x="1194" y="659"/>
                      </a:lnTo>
                      <a:lnTo>
                        <a:pt x="1194" y="658"/>
                      </a:lnTo>
                      <a:lnTo>
                        <a:pt x="1193" y="658"/>
                      </a:lnTo>
                      <a:lnTo>
                        <a:pt x="1193" y="657"/>
                      </a:lnTo>
                      <a:lnTo>
                        <a:pt x="1193" y="656"/>
                      </a:lnTo>
                      <a:lnTo>
                        <a:pt x="1194" y="656"/>
                      </a:lnTo>
                      <a:lnTo>
                        <a:pt x="1195" y="656"/>
                      </a:lnTo>
                      <a:lnTo>
                        <a:pt x="1195" y="655"/>
                      </a:lnTo>
                      <a:lnTo>
                        <a:pt x="1194" y="655"/>
                      </a:lnTo>
                      <a:lnTo>
                        <a:pt x="1194" y="654"/>
                      </a:lnTo>
                      <a:lnTo>
                        <a:pt x="1194" y="653"/>
                      </a:lnTo>
                      <a:lnTo>
                        <a:pt x="1195" y="653"/>
                      </a:lnTo>
                      <a:lnTo>
                        <a:pt x="1196" y="653"/>
                      </a:lnTo>
                      <a:lnTo>
                        <a:pt x="1197" y="654"/>
                      </a:lnTo>
                      <a:lnTo>
                        <a:pt x="1197" y="653"/>
                      </a:lnTo>
                      <a:lnTo>
                        <a:pt x="1198" y="653"/>
                      </a:lnTo>
                      <a:lnTo>
                        <a:pt x="1197" y="653"/>
                      </a:lnTo>
                      <a:lnTo>
                        <a:pt x="1196" y="653"/>
                      </a:lnTo>
                      <a:lnTo>
                        <a:pt x="1195" y="653"/>
                      </a:lnTo>
                      <a:lnTo>
                        <a:pt x="1194" y="653"/>
                      </a:lnTo>
                      <a:lnTo>
                        <a:pt x="1193" y="653"/>
                      </a:lnTo>
                      <a:lnTo>
                        <a:pt x="1193" y="654"/>
                      </a:lnTo>
                      <a:lnTo>
                        <a:pt x="1193" y="655"/>
                      </a:lnTo>
                      <a:lnTo>
                        <a:pt x="1194" y="655"/>
                      </a:lnTo>
                      <a:lnTo>
                        <a:pt x="1193" y="655"/>
                      </a:lnTo>
                      <a:lnTo>
                        <a:pt x="1193" y="656"/>
                      </a:lnTo>
                      <a:lnTo>
                        <a:pt x="1192" y="656"/>
                      </a:lnTo>
                      <a:lnTo>
                        <a:pt x="1192" y="655"/>
                      </a:lnTo>
                      <a:lnTo>
                        <a:pt x="1190" y="655"/>
                      </a:lnTo>
                      <a:lnTo>
                        <a:pt x="1189" y="655"/>
                      </a:lnTo>
                      <a:lnTo>
                        <a:pt x="1189" y="656"/>
                      </a:lnTo>
                      <a:lnTo>
                        <a:pt x="1190" y="656"/>
                      </a:lnTo>
                      <a:lnTo>
                        <a:pt x="1189" y="657"/>
                      </a:lnTo>
                      <a:lnTo>
                        <a:pt x="1190" y="657"/>
                      </a:lnTo>
                      <a:lnTo>
                        <a:pt x="1189" y="657"/>
                      </a:lnTo>
                      <a:lnTo>
                        <a:pt x="1190" y="657"/>
                      </a:lnTo>
                      <a:lnTo>
                        <a:pt x="1190" y="656"/>
                      </a:lnTo>
                      <a:lnTo>
                        <a:pt x="1192" y="656"/>
                      </a:lnTo>
                      <a:lnTo>
                        <a:pt x="1193" y="656"/>
                      </a:lnTo>
                      <a:lnTo>
                        <a:pt x="1193" y="657"/>
                      </a:lnTo>
                      <a:lnTo>
                        <a:pt x="1192" y="657"/>
                      </a:lnTo>
                      <a:lnTo>
                        <a:pt x="1192" y="658"/>
                      </a:lnTo>
                      <a:lnTo>
                        <a:pt x="1192" y="659"/>
                      </a:lnTo>
                      <a:lnTo>
                        <a:pt x="1193" y="659"/>
                      </a:lnTo>
                      <a:lnTo>
                        <a:pt x="1194" y="660"/>
                      </a:lnTo>
                      <a:lnTo>
                        <a:pt x="1194" y="659"/>
                      </a:lnTo>
                      <a:lnTo>
                        <a:pt x="1195" y="659"/>
                      </a:lnTo>
                      <a:lnTo>
                        <a:pt x="1196" y="659"/>
                      </a:lnTo>
                      <a:lnTo>
                        <a:pt x="1196" y="660"/>
                      </a:lnTo>
                      <a:lnTo>
                        <a:pt x="1196" y="661"/>
                      </a:lnTo>
                      <a:lnTo>
                        <a:pt x="1195" y="662"/>
                      </a:lnTo>
                      <a:lnTo>
                        <a:pt x="1195" y="664"/>
                      </a:lnTo>
                      <a:lnTo>
                        <a:pt x="1192" y="666"/>
                      </a:lnTo>
                      <a:lnTo>
                        <a:pt x="1193" y="666"/>
                      </a:lnTo>
                      <a:lnTo>
                        <a:pt x="1194" y="667"/>
                      </a:lnTo>
                      <a:lnTo>
                        <a:pt x="1195" y="668"/>
                      </a:lnTo>
                      <a:lnTo>
                        <a:pt x="1196" y="668"/>
                      </a:lnTo>
                      <a:lnTo>
                        <a:pt x="1197" y="669"/>
                      </a:lnTo>
                      <a:lnTo>
                        <a:pt x="1197" y="670"/>
                      </a:lnTo>
                      <a:lnTo>
                        <a:pt x="1198" y="670"/>
                      </a:lnTo>
                      <a:lnTo>
                        <a:pt x="1199" y="671"/>
                      </a:lnTo>
                      <a:lnTo>
                        <a:pt x="1200" y="671"/>
                      </a:lnTo>
                      <a:lnTo>
                        <a:pt x="1200" y="672"/>
                      </a:lnTo>
                      <a:lnTo>
                        <a:pt x="1201" y="672"/>
                      </a:lnTo>
                      <a:lnTo>
                        <a:pt x="1201" y="673"/>
                      </a:lnTo>
                      <a:lnTo>
                        <a:pt x="1202" y="673"/>
                      </a:lnTo>
                      <a:lnTo>
                        <a:pt x="1203" y="674"/>
                      </a:lnTo>
                      <a:lnTo>
                        <a:pt x="1205" y="675"/>
                      </a:lnTo>
                      <a:lnTo>
                        <a:pt x="1206" y="675"/>
                      </a:lnTo>
                      <a:lnTo>
                        <a:pt x="1206" y="677"/>
                      </a:lnTo>
                      <a:lnTo>
                        <a:pt x="1207" y="677"/>
                      </a:lnTo>
                      <a:lnTo>
                        <a:pt x="1207" y="678"/>
                      </a:lnTo>
                      <a:lnTo>
                        <a:pt x="1208" y="678"/>
                      </a:lnTo>
                      <a:lnTo>
                        <a:pt x="1209" y="679"/>
                      </a:lnTo>
                      <a:lnTo>
                        <a:pt x="1210" y="679"/>
                      </a:lnTo>
                      <a:lnTo>
                        <a:pt x="1210" y="680"/>
                      </a:lnTo>
                      <a:lnTo>
                        <a:pt x="1211" y="681"/>
                      </a:lnTo>
                      <a:lnTo>
                        <a:pt x="1212" y="682"/>
                      </a:lnTo>
                      <a:lnTo>
                        <a:pt x="1213" y="682"/>
                      </a:lnTo>
                      <a:lnTo>
                        <a:pt x="1213" y="683"/>
                      </a:lnTo>
                      <a:lnTo>
                        <a:pt x="1214" y="683"/>
                      </a:lnTo>
                      <a:lnTo>
                        <a:pt x="1216" y="685"/>
                      </a:lnTo>
                      <a:lnTo>
                        <a:pt x="1218" y="686"/>
                      </a:lnTo>
                      <a:lnTo>
                        <a:pt x="1219" y="686"/>
                      </a:lnTo>
                      <a:lnTo>
                        <a:pt x="1219" y="687"/>
                      </a:lnTo>
                      <a:lnTo>
                        <a:pt x="1220" y="687"/>
                      </a:lnTo>
                      <a:lnTo>
                        <a:pt x="1221" y="687"/>
                      </a:lnTo>
                      <a:lnTo>
                        <a:pt x="1221" y="688"/>
                      </a:lnTo>
                      <a:lnTo>
                        <a:pt x="1221" y="690"/>
                      </a:lnTo>
                      <a:lnTo>
                        <a:pt x="1222" y="690"/>
                      </a:lnTo>
                      <a:lnTo>
                        <a:pt x="1222" y="688"/>
                      </a:lnTo>
                      <a:lnTo>
                        <a:pt x="1222" y="690"/>
                      </a:lnTo>
                      <a:lnTo>
                        <a:pt x="1222" y="688"/>
                      </a:lnTo>
                      <a:lnTo>
                        <a:pt x="1223" y="690"/>
                      </a:lnTo>
                      <a:lnTo>
                        <a:pt x="1224" y="691"/>
                      </a:lnTo>
                      <a:lnTo>
                        <a:pt x="1224" y="692"/>
                      </a:lnTo>
                      <a:lnTo>
                        <a:pt x="1225" y="692"/>
                      </a:lnTo>
                      <a:lnTo>
                        <a:pt x="1226" y="693"/>
                      </a:lnTo>
                      <a:lnTo>
                        <a:pt x="1227" y="693"/>
                      </a:lnTo>
                      <a:lnTo>
                        <a:pt x="1227" y="694"/>
                      </a:lnTo>
                      <a:lnTo>
                        <a:pt x="1228" y="694"/>
                      </a:lnTo>
                      <a:lnTo>
                        <a:pt x="1228" y="695"/>
                      </a:lnTo>
                      <a:lnTo>
                        <a:pt x="1229" y="695"/>
                      </a:lnTo>
                      <a:lnTo>
                        <a:pt x="1231" y="696"/>
                      </a:lnTo>
                      <a:lnTo>
                        <a:pt x="1231" y="697"/>
                      </a:lnTo>
                      <a:lnTo>
                        <a:pt x="1231" y="698"/>
                      </a:lnTo>
                      <a:lnTo>
                        <a:pt x="1232" y="698"/>
                      </a:lnTo>
                      <a:lnTo>
                        <a:pt x="1233" y="699"/>
                      </a:lnTo>
                      <a:lnTo>
                        <a:pt x="1234" y="699"/>
                      </a:lnTo>
                      <a:lnTo>
                        <a:pt x="1235" y="700"/>
                      </a:lnTo>
                      <a:lnTo>
                        <a:pt x="1237" y="701"/>
                      </a:lnTo>
                      <a:lnTo>
                        <a:pt x="1241" y="706"/>
                      </a:lnTo>
                      <a:lnTo>
                        <a:pt x="1242" y="706"/>
                      </a:lnTo>
                      <a:lnTo>
                        <a:pt x="1245" y="708"/>
                      </a:lnTo>
                      <a:lnTo>
                        <a:pt x="1246" y="709"/>
                      </a:lnTo>
                      <a:lnTo>
                        <a:pt x="1247" y="710"/>
                      </a:lnTo>
                      <a:lnTo>
                        <a:pt x="1248" y="710"/>
                      </a:lnTo>
                      <a:lnTo>
                        <a:pt x="1252" y="713"/>
                      </a:lnTo>
                      <a:lnTo>
                        <a:pt x="1252" y="716"/>
                      </a:lnTo>
                      <a:lnTo>
                        <a:pt x="1251" y="716"/>
                      </a:lnTo>
                      <a:lnTo>
                        <a:pt x="1251" y="717"/>
                      </a:lnTo>
                      <a:lnTo>
                        <a:pt x="1251" y="718"/>
                      </a:lnTo>
                      <a:lnTo>
                        <a:pt x="1252" y="719"/>
                      </a:lnTo>
                      <a:lnTo>
                        <a:pt x="1252" y="718"/>
                      </a:lnTo>
                      <a:lnTo>
                        <a:pt x="1253" y="718"/>
                      </a:lnTo>
                      <a:lnTo>
                        <a:pt x="1252" y="718"/>
                      </a:lnTo>
                      <a:lnTo>
                        <a:pt x="1253" y="717"/>
                      </a:lnTo>
                      <a:lnTo>
                        <a:pt x="1254" y="717"/>
                      </a:lnTo>
                      <a:lnTo>
                        <a:pt x="1255" y="718"/>
                      </a:lnTo>
                      <a:lnTo>
                        <a:pt x="1257" y="718"/>
                      </a:lnTo>
                      <a:lnTo>
                        <a:pt x="1258" y="718"/>
                      </a:lnTo>
                      <a:lnTo>
                        <a:pt x="1259" y="719"/>
                      </a:lnTo>
                      <a:lnTo>
                        <a:pt x="1260" y="719"/>
                      </a:lnTo>
                      <a:lnTo>
                        <a:pt x="1278" y="734"/>
                      </a:lnTo>
                      <a:lnTo>
                        <a:pt x="1277" y="734"/>
                      </a:lnTo>
                      <a:lnTo>
                        <a:pt x="1276" y="734"/>
                      </a:lnTo>
                      <a:lnTo>
                        <a:pt x="1275" y="734"/>
                      </a:lnTo>
                      <a:lnTo>
                        <a:pt x="1273" y="733"/>
                      </a:lnTo>
                      <a:lnTo>
                        <a:pt x="1272" y="733"/>
                      </a:lnTo>
                      <a:lnTo>
                        <a:pt x="1272" y="732"/>
                      </a:lnTo>
                      <a:lnTo>
                        <a:pt x="1271" y="732"/>
                      </a:lnTo>
                      <a:lnTo>
                        <a:pt x="1270" y="731"/>
                      </a:lnTo>
                      <a:lnTo>
                        <a:pt x="1270" y="730"/>
                      </a:lnTo>
                      <a:lnTo>
                        <a:pt x="1270" y="729"/>
                      </a:lnTo>
                      <a:lnTo>
                        <a:pt x="1268" y="727"/>
                      </a:lnTo>
                      <a:lnTo>
                        <a:pt x="1268" y="726"/>
                      </a:lnTo>
                      <a:lnTo>
                        <a:pt x="1267" y="726"/>
                      </a:lnTo>
                      <a:lnTo>
                        <a:pt x="1266" y="725"/>
                      </a:lnTo>
                      <a:lnTo>
                        <a:pt x="1264" y="724"/>
                      </a:lnTo>
                      <a:lnTo>
                        <a:pt x="1263" y="724"/>
                      </a:lnTo>
                      <a:lnTo>
                        <a:pt x="1263" y="723"/>
                      </a:lnTo>
                      <a:lnTo>
                        <a:pt x="1262" y="723"/>
                      </a:lnTo>
                      <a:lnTo>
                        <a:pt x="1261" y="723"/>
                      </a:lnTo>
                      <a:lnTo>
                        <a:pt x="1261" y="722"/>
                      </a:lnTo>
                      <a:lnTo>
                        <a:pt x="1260" y="722"/>
                      </a:lnTo>
                      <a:lnTo>
                        <a:pt x="1259" y="722"/>
                      </a:lnTo>
                      <a:lnTo>
                        <a:pt x="1259" y="721"/>
                      </a:lnTo>
                      <a:lnTo>
                        <a:pt x="1258" y="721"/>
                      </a:lnTo>
                      <a:lnTo>
                        <a:pt x="1258" y="722"/>
                      </a:lnTo>
                      <a:lnTo>
                        <a:pt x="1257" y="722"/>
                      </a:lnTo>
                      <a:lnTo>
                        <a:pt x="1257" y="723"/>
                      </a:lnTo>
                      <a:lnTo>
                        <a:pt x="1257" y="724"/>
                      </a:lnTo>
                      <a:lnTo>
                        <a:pt x="1257" y="725"/>
                      </a:lnTo>
                      <a:lnTo>
                        <a:pt x="1257" y="726"/>
                      </a:lnTo>
                      <a:lnTo>
                        <a:pt x="1257" y="727"/>
                      </a:lnTo>
                      <a:lnTo>
                        <a:pt x="1257" y="729"/>
                      </a:lnTo>
                      <a:lnTo>
                        <a:pt x="1257" y="730"/>
                      </a:lnTo>
                      <a:lnTo>
                        <a:pt x="1257" y="729"/>
                      </a:lnTo>
                      <a:lnTo>
                        <a:pt x="1258" y="729"/>
                      </a:lnTo>
                      <a:lnTo>
                        <a:pt x="1258" y="730"/>
                      </a:lnTo>
                      <a:lnTo>
                        <a:pt x="1258" y="731"/>
                      </a:lnTo>
                      <a:lnTo>
                        <a:pt x="1257" y="731"/>
                      </a:lnTo>
                      <a:lnTo>
                        <a:pt x="1257" y="732"/>
                      </a:lnTo>
                      <a:lnTo>
                        <a:pt x="1257" y="733"/>
                      </a:lnTo>
                      <a:lnTo>
                        <a:pt x="1257" y="734"/>
                      </a:lnTo>
                      <a:lnTo>
                        <a:pt x="1258" y="735"/>
                      </a:lnTo>
                      <a:lnTo>
                        <a:pt x="1259" y="735"/>
                      </a:lnTo>
                      <a:lnTo>
                        <a:pt x="1259" y="736"/>
                      </a:lnTo>
                      <a:lnTo>
                        <a:pt x="1260" y="736"/>
                      </a:lnTo>
                      <a:lnTo>
                        <a:pt x="1260" y="737"/>
                      </a:lnTo>
                      <a:lnTo>
                        <a:pt x="1259" y="737"/>
                      </a:lnTo>
                      <a:lnTo>
                        <a:pt x="1260" y="737"/>
                      </a:lnTo>
                      <a:lnTo>
                        <a:pt x="1261" y="737"/>
                      </a:lnTo>
                      <a:lnTo>
                        <a:pt x="1260" y="738"/>
                      </a:lnTo>
                      <a:lnTo>
                        <a:pt x="1260" y="737"/>
                      </a:lnTo>
                      <a:lnTo>
                        <a:pt x="1259" y="737"/>
                      </a:lnTo>
                      <a:lnTo>
                        <a:pt x="1258" y="737"/>
                      </a:lnTo>
                      <a:lnTo>
                        <a:pt x="1258" y="736"/>
                      </a:lnTo>
                      <a:lnTo>
                        <a:pt x="1257" y="735"/>
                      </a:lnTo>
                      <a:lnTo>
                        <a:pt x="1255" y="735"/>
                      </a:lnTo>
                      <a:lnTo>
                        <a:pt x="1255" y="734"/>
                      </a:lnTo>
                      <a:lnTo>
                        <a:pt x="1254" y="734"/>
                      </a:lnTo>
                      <a:lnTo>
                        <a:pt x="1253" y="734"/>
                      </a:lnTo>
                      <a:lnTo>
                        <a:pt x="1252" y="735"/>
                      </a:lnTo>
                      <a:lnTo>
                        <a:pt x="1251" y="734"/>
                      </a:lnTo>
                      <a:lnTo>
                        <a:pt x="1250" y="734"/>
                      </a:lnTo>
                      <a:lnTo>
                        <a:pt x="1250" y="733"/>
                      </a:lnTo>
                      <a:lnTo>
                        <a:pt x="1250" y="734"/>
                      </a:lnTo>
                      <a:lnTo>
                        <a:pt x="1250" y="733"/>
                      </a:lnTo>
                      <a:lnTo>
                        <a:pt x="1249" y="733"/>
                      </a:lnTo>
                      <a:lnTo>
                        <a:pt x="1249" y="734"/>
                      </a:lnTo>
                      <a:lnTo>
                        <a:pt x="1248" y="734"/>
                      </a:lnTo>
                      <a:lnTo>
                        <a:pt x="1248" y="733"/>
                      </a:lnTo>
                      <a:lnTo>
                        <a:pt x="1249" y="732"/>
                      </a:lnTo>
                      <a:lnTo>
                        <a:pt x="1249" y="731"/>
                      </a:lnTo>
                      <a:lnTo>
                        <a:pt x="1248" y="731"/>
                      </a:lnTo>
                      <a:lnTo>
                        <a:pt x="1247" y="731"/>
                      </a:lnTo>
                      <a:lnTo>
                        <a:pt x="1247" y="732"/>
                      </a:lnTo>
                      <a:lnTo>
                        <a:pt x="1247" y="733"/>
                      </a:lnTo>
                      <a:lnTo>
                        <a:pt x="1247" y="732"/>
                      </a:lnTo>
                      <a:lnTo>
                        <a:pt x="1246" y="732"/>
                      </a:lnTo>
                      <a:lnTo>
                        <a:pt x="1245" y="732"/>
                      </a:lnTo>
                      <a:lnTo>
                        <a:pt x="1245" y="733"/>
                      </a:lnTo>
                      <a:lnTo>
                        <a:pt x="1244" y="733"/>
                      </a:lnTo>
                      <a:lnTo>
                        <a:pt x="1242" y="732"/>
                      </a:lnTo>
                      <a:lnTo>
                        <a:pt x="1239" y="732"/>
                      </a:lnTo>
                      <a:lnTo>
                        <a:pt x="1238" y="732"/>
                      </a:lnTo>
                      <a:lnTo>
                        <a:pt x="1237" y="732"/>
                      </a:lnTo>
                      <a:lnTo>
                        <a:pt x="1237" y="731"/>
                      </a:lnTo>
                      <a:lnTo>
                        <a:pt x="1238" y="731"/>
                      </a:lnTo>
                      <a:lnTo>
                        <a:pt x="1239" y="731"/>
                      </a:lnTo>
                      <a:lnTo>
                        <a:pt x="1240" y="731"/>
                      </a:lnTo>
                      <a:lnTo>
                        <a:pt x="1240" y="732"/>
                      </a:lnTo>
                      <a:lnTo>
                        <a:pt x="1241" y="732"/>
                      </a:lnTo>
                      <a:lnTo>
                        <a:pt x="1242" y="732"/>
                      </a:lnTo>
                      <a:lnTo>
                        <a:pt x="1242" y="731"/>
                      </a:lnTo>
                      <a:lnTo>
                        <a:pt x="1242" y="730"/>
                      </a:lnTo>
                      <a:lnTo>
                        <a:pt x="1242" y="731"/>
                      </a:lnTo>
                      <a:lnTo>
                        <a:pt x="1244" y="730"/>
                      </a:lnTo>
                      <a:lnTo>
                        <a:pt x="1244" y="731"/>
                      </a:lnTo>
                      <a:lnTo>
                        <a:pt x="1242" y="731"/>
                      </a:lnTo>
                      <a:lnTo>
                        <a:pt x="1242" y="732"/>
                      </a:lnTo>
                      <a:lnTo>
                        <a:pt x="1244" y="732"/>
                      </a:lnTo>
                      <a:lnTo>
                        <a:pt x="1244" y="731"/>
                      </a:lnTo>
                      <a:lnTo>
                        <a:pt x="1242" y="731"/>
                      </a:lnTo>
                      <a:lnTo>
                        <a:pt x="1244" y="731"/>
                      </a:lnTo>
                      <a:lnTo>
                        <a:pt x="1245" y="731"/>
                      </a:lnTo>
                      <a:lnTo>
                        <a:pt x="1246" y="731"/>
                      </a:lnTo>
                      <a:lnTo>
                        <a:pt x="1245" y="730"/>
                      </a:lnTo>
                      <a:lnTo>
                        <a:pt x="1246" y="730"/>
                      </a:lnTo>
                      <a:lnTo>
                        <a:pt x="1246" y="729"/>
                      </a:lnTo>
                      <a:lnTo>
                        <a:pt x="1245" y="729"/>
                      </a:lnTo>
                      <a:lnTo>
                        <a:pt x="1244" y="729"/>
                      </a:lnTo>
                      <a:lnTo>
                        <a:pt x="1245" y="729"/>
                      </a:lnTo>
                      <a:lnTo>
                        <a:pt x="1245" y="730"/>
                      </a:lnTo>
                      <a:lnTo>
                        <a:pt x="1244" y="730"/>
                      </a:lnTo>
                      <a:lnTo>
                        <a:pt x="1242" y="730"/>
                      </a:lnTo>
                      <a:lnTo>
                        <a:pt x="1242" y="729"/>
                      </a:lnTo>
                      <a:lnTo>
                        <a:pt x="1244" y="729"/>
                      </a:lnTo>
                      <a:lnTo>
                        <a:pt x="1244" y="727"/>
                      </a:lnTo>
                      <a:lnTo>
                        <a:pt x="1242" y="727"/>
                      </a:lnTo>
                      <a:lnTo>
                        <a:pt x="1242" y="726"/>
                      </a:lnTo>
                      <a:lnTo>
                        <a:pt x="1241" y="726"/>
                      </a:lnTo>
                      <a:lnTo>
                        <a:pt x="1240" y="726"/>
                      </a:lnTo>
                      <a:lnTo>
                        <a:pt x="1240" y="725"/>
                      </a:lnTo>
                      <a:lnTo>
                        <a:pt x="1240" y="724"/>
                      </a:lnTo>
                      <a:lnTo>
                        <a:pt x="1240" y="723"/>
                      </a:lnTo>
                      <a:lnTo>
                        <a:pt x="1240" y="722"/>
                      </a:lnTo>
                      <a:lnTo>
                        <a:pt x="1240" y="721"/>
                      </a:lnTo>
                      <a:lnTo>
                        <a:pt x="1239" y="721"/>
                      </a:lnTo>
                      <a:lnTo>
                        <a:pt x="1239" y="720"/>
                      </a:lnTo>
                      <a:lnTo>
                        <a:pt x="1238" y="720"/>
                      </a:lnTo>
                      <a:lnTo>
                        <a:pt x="1237" y="720"/>
                      </a:lnTo>
                      <a:lnTo>
                        <a:pt x="1237" y="719"/>
                      </a:lnTo>
                      <a:lnTo>
                        <a:pt x="1237" y="720"/>
                      </a:lnTo>
                      <a:lnTo>
                        <a:pt x="1236" y="720"/>
                      </a:lnTo>
                      <a:lnTo>
                        <a:pt x="1236" y="719"/>
                      </a:lnTo>
                      <a:lnTo>
                        <a:pt x="1235" y="719"/>
                      </a:lnTo>
                      <a:lnTo>
                        <a:pt x="1236" y="718"/>
                      </a:lnTo>
                      <a:lnTo>
                        <a:pt x="1235" y="718"/>
                      </a:lnTo>
                      <a:lnTo>
                        <a:pt x="1234" y="718"/>
                      </a:lnTo>
                      <a:lnTo>
                        <a:pt x="1234" y="717"/>
                      </a:lnTo>
                      <a:lnTo>
                        <a:pt x="1233" y="717"/>
                      </a:lnTo>
                      <a:lnTo>
                        <a:pt x="1232" y="716"/>
                      </a:lnTo>
                      <a:lnTo>
                        <a:pt x="1231" y="716"/>
                      </a:lnTo>
                      <a:lnTo>
                        <a:pt x="1231" y="714"/>
                      </a:lnTo>
                      <a:lnTo>
                        <a:pt x="1229" y="714"/>
                      </a:lnTo>
                      <a:lnTo>
                        <a:pt x="1229" y="713"/>
                      </a:lnTo>
                      <a:lnTo>
                        <a:pt x="1228" y="712"/>
                      </a:lnTo>
                      <a:lnTo>
                        <a:pt x="1228" y="711"/>
                      </a:lnTo>
                      <a:lnTo>
                        <a:pt x="1228" y="710"/>
                      </a:lnTo>
                      <a:lnTo>
                        <a:pt x="1228" y="711"/>
                      </a:lnTo>
                      <a:lnTo>
                        <a:pt x="1231" y="710"/>
                      </a:lnTo>
                      <a:lnTo>
                        <a:pt x="1231" y="711"/>
                      </a:lnTo>
                      <a:lnTo>
                        <a:pt x="1232" y="711"/>
                      </a:lnTo>
                      <a:lnTo>
                        <a:pt x="1233" y="711"/>
                      </a:lnTo>
                      <a:lnTo>
                        <a:pt x="1234" y="710"/>
                      </a:lnTo>
                      <a:lnTo>
                        <a:pt x="1234" y="711"/>
                      </a:lnTo>
                      <a:lnTo>
                        <a:pt x="1234" y="710"/>
                      </a:lnTo>
                      <a:lnTo>
                        <a:pt x="1234" y="709"/>
                      </a:lnTo>
                      <a:lnTo>
                        <a:pt x="1235" y="709"/>
                      </a:lnTo>
                      <a:lnTo>
                        <a:pt x="1233" y="708"/>
                      </a:lnTo>
                      <a:lnTo>
                        <a:pt x="1234" y="708"/>
                      </a:lnTo>
                      <a:lnTo>
                        <a:pt x="1235" y="708"/>
                      </a:lnTo>
                      <a:lnTo>
                        <a:pt x="1235" y="707"/>
                      </a:lnTo>
                      <a:lnTo>
                        <a:pt x="1235" y="706"/>
                      </a:lnTo>
                      <a:lnTo>
                        <a:pt x="1234" y="705"/>
                      </a:lnTo>
                      <a:lnTo>
                        <a:pt x="1233" y="703"/>
                      </a:lnTo>
                      <a:lnTo>
                        <a:pt x="1232" y="701"/>
                      </a:lnTo>
                      <a:lnTo>
                        <a:pt x="1229" y="700"/>
                      </a:lnTo>
                      <a:lnTo>
                        <a:pt x="1228" y="699"/>
                      </a:lnTo>
                      <a:lnTo>
                        <a:pt x="1227" y="699"/>
                      </a:lnTo>
                      <a:lnTo>
                        <a:pt x="1226" y="699"/>
                      </a:lnTo>
                      <a:lnTo>
                        <a:pt x="1225" y="699"/>
                      </a:lnTo>
                      <a:lnTo>
                        <a:pt x="1224" y="699"/>
                      </a:lnTo>
                      <a:lnTo>
                        <a:pt x="1224" y="698"/>
                      </a:lnTo>
                      <a:lnTo>
                        <a:pt x="1223" y="698"/>
                      </a:lnTo>
                      <a:lnTo>
                        <a:pt x="1222" y="698"/>
                      </a:lnTo>
                      <a:lnTo>
                        <a:pt x="1221" y="698"/>
                      </a:lnTo>
                      <a:lnTo>
                        <a:pt x="1221" y="697"/>
                      </a:lnTo>
                      <a:lnTo>
                        <a:pt x="1220" y="697"/>
                      </a:lnTo>
                      <a:lnTo>
                        <a:pt x="1220" y="696"/>
                      </a:lnTo>
                      <a:lnTo>
                        <a:pt x="1220" y="697"/>
                      </a:lnTo>
                      <a:lnTo>
                        <a:pt x="1220" y="698"/>
                      </a:lnTo>
                      <a:lnTo>
                        <a:pt x="1221" y="699"/>
                      </a:lnTo>
                      <a:lnTo>
                        <a:pt x="1220" y="698"/>
                      </a:lnTo>
                      <a:lnTo>
                        <a:pt x="1218" y="696"/>
                      </a:lnTo>
                      <a:lnTo>
                        <a:pt x="1218" y="695"/>
                      </a:lnTo>
                      <a:lnTo>
                        <a:pt x="1218" y="694"/>
                      </a:lnTo>
                      <a:lnTo>
                        <a:pt x="1218" y="693"/>
                      </a:lnTo>
                      <a:lnTo>
                        <a:pt x="1218" y="694"/>
                      </a:lnTo>
                      <a:lnTo>
                        <a:pt x="1216" y="695"/>
                      </a:lnTo>
                      <a:lnTo>
                        <a:pt x="1216" y="696"/>
                      </a:lnTo>
                      <a:lnTo>
                        <a:pt x="1218" y="696"/>
                      </a:lnTo>
                      <a:lnTo>
                        <a:pt x="1220" y="699"/>
                      </a:lnTo>
                      <a:lnTo>
                        <a:pt x="1220" y="698"/>
                      </a:lnTo>
                      <a:lnTo>
                        <a:pt x="1219" y="698"/>
                      </a:lnTo>
                      <a:lnTo>
                        <a:pt x="1219" y="699"/>
                      </a:lnTo>
                      <a:lnTo>
                        <a:pt x="1220" y="699"/>
                      </a:lnTo>
                      <a:lnTo>
                        <a:pt x="1220" y="700"/>
                      </a:lnTo>
                      <a:lnTo>
                        <a:pt x="1220" y="701"/>
                      </a:lnTo>
                      <a:lnTo>
                        <a:pt x="1219" y="701"/>
                      </a:lnTo>
                      <a:lnTo>
                        <a:pt x="1220" y="701"/>
                      </a:lnTo>
                      <a:lnTo>
                        <a:pt x="1220" y="703"/>
                      </a:lnTo>
                      <a:lnTo>
                        <a:pt x="1219" y="701"/>
                      </a:lnTo>
                      <a:lnTo>
                        <a:pt x="1218" y="701"/>
                      </a:lnTo>
                      <a:lnTo>
                        <a:pt x="1216" y="701"/>
                      </a:lnTo>
                      <a:lnTo>
                        <a:pt x="1215" y="703"/>
                      </a:lnTo>
                      <a:lnTo>
                        <a:pt x="1215" y="701"/>
                      </a:lnTo>
                      <a:lnTo>
                        <a:pt x="1215" y="703"/>
                      </a:lnTo>
                      <a:lnTo>
                        <a:pt x="1215" y="701"/>
                      </a:lnTo>
                      <a:lnTo>
                        <a:pt x="1215" y="700"/>
                      </a:lnTo>
                      <a:lnTo>
                        <a:pt x="1214" y="700"/>
                      </a:lnTo>
                      <a:lnTo>
                        <a:pt x="1214" y="699"/>
                      </a:lnTo>
                      <a:lnTo>
                        <a:pt x="1213" y="699"/>
                      </a:lnTo>
                      <a:lnTo>
                        <a:pt x="1212" y="699"/>
                      </a:lnTo>
                      <a:lnTo>
                        <a:pt x="1212" y="698"/>
                      </a:lnTo>
                      <a:lnTo>
                        <a:pt x="1211" y="698"/>
                      </a:lnTo>
                      <a:lnTo>
                        <a:pt x="1210" y="698"/>
                      </a:lnTo>
                      <a:lnTo>
                        <a:pt x="1209" y="698"/>
                      </a:lnTo>
                      <a:lnTo>
                        <a:pt x="1209" y="697"/>
                      </a:lnTo>
                      <a:lnTo>
                        <a:pt x="1208" y="697"/>
                      </a:lnTo>
                      <a:lnTo>
                        <a:pt x="1208" y="696"/>
                      </a:lnTo>
                      <a:lnTo>
                        <a:pt x="1207" y="696"/>
                      </a:lnTo>
                      <a:lnTo>
                        <a:pt x="1206" y="696"/>
                      </a:lnTo>
                      <a:lnTo>
                        <a:pt x="1205" y="696"/>
                      </a:lnTo>
                      <a:lnTo>
                        <a:pt x="1205" y="695"/>
                      </a:lnTo>
                      <a:lnTo>
                        <a:pt x="1203" y="695"/>
                      </a:lnTo>
                      <a:lnTo>
                        <a:pt x="1202" y="695"/>
                      </a:lnTo>
                      <a:lnTo>
                        <a:pt x="1202" y="694"/>
                      </a:lnTo>
                      <a:lnTo>
                        <a:pt x="1200" y="692"/>
                      </a:lnTo>
                      <a:lnTo>
                        <a:pt x="1199" y="692"/>
                      </a:lnTo>
                      <a:lnTo>
                        <a:pt x="1198" y="692"/>
                      </a:lnTo>
                      <a:lnTo>
                        <a:pt x="1198" y="691"/>
                      </a:lnTo>
                      <a:lnTo>
                        <a:pt x="1197" y="691"/>
                      </a:lnTo>
                      <a:lnTo>
                        <a:pt x="1196" y="691"/>
                      </a:lnTo>
                      <a:lnTo>
                        <a:pt x="1195" y="691"/>
                      </a:lnTo>
                      <a:lnTo>
                        <a:pt x="1194" y="691"/>
                      </a:lnTo>
                      <a:lnTo>
                        <a:pt x="1193" y="691"/>
                      </a:lnTo>
                      <a:lnTo>
                        <a:pt x="1193" y="690"/>
                      </a:lnTo>
                      <a:lnTo>
                        <a:pt x="1193" y="691"/>
                      </a:lnTo>
                      <a:lnTo>
                        <a:pt x="1192" y="691"/>
                      </a:lnTo>
                      <a:lnTo>
                        <a:pt x="1192" y="692"/>
                      </a:lnTo>
                      <a:lnTo>
                        <a:pt x="1190" y="692"/>
                      </a:lnTo>
                      <a:lnTo>
                        <a:pt x="1190" y="691"/>
                      </a:lnTo>
                      <a:lnTo>
                        <a:pt x="1190" y="692"/>
                      </a:lnTo>
                      <a:lnTo>
                        <a:pt x="1189" y="692"/>
                      </a:lnTo>
                      <a:lnTo>
                        <a:pt x="1188" y="692"/>
                      </a:lnTo>
                      <a:lnTo>
                        <a:pt x="1187" y="692"/>
                      </a:lnTo>
                      <a:lnTo>
                        <a:pt x="1186" y="693"/>
                      </a:lnTo>
                      <a:lnTo>
                        <a:pt x="1185" y="693"/>
                      </a:lnTo>
                      <a:lnTo>
                        <a:pt x="1184" y="693"/>
                      </a:lnTo>
                      <a:lnTo>
                        <a:pt x="1185" y="694"/>
                      </a:lnTo>
                      <a:lnTo>
                        <a:pt x="1184" y="694"/>
                      </a:lnTo>
                      <a:lnTo>
                        <a:pt x="1183" y="694"/>
                      </a:lnTo>
                      <a:lnTo>
                        <a:pt x="1182" y="695"/>
                      </a:lnTo>
                      <a:lnTo>
                        <a:pt x="1181" y="695"/>
                      </a:lnTo>
                      <a:lnTo>
                        <a:pt x="1180" y="696"/>
                      </a:lnTo>
                      <a:lnTo>
                        <a:pt x="1179" y="696"/>
                      </a:lnTo>
                      <a:lnTo>
                        <a:pt x="1179" y="695"/>
                      </a:lnTo>
                      <a:lnTo>
                        <a:pt x="1179" y="694"/>
                      </a:lnTo>
                      <a:lnTo>
                        <a:pt x="1177" y="694"/>
                      </a:lnTo>
                      <a:lnTo>
                        <a:pt x="1177" y="693"/>
                      </a:lnTo>
                      <a:lnTo>
                        <a:pt x="1176" y="693"/>
                      </a:lnTo>
                      <a:lnTo>
                        <a:pt x="1175" y="693"/>
                      </a:lnTo>
                      <a:lnTo>
                        <a:pt x="1176" y="692"/>
                      </a:lnTo>
                      <a:lnTo>
                        <a:pt x="1175" y="692"/>
                      </a:lnTo>
                      <a:lnTo>
                        <a:pt x="1175" y="691"/>
                      </a:lnTo>
                      <a:lnTo>
                        <a:pt x="1174" y="691"/>
                      </a:lnTo>
                      <a:lnTo>
                        <a:pt x="1174" y="690"/>
                      </a:lnTo>
                      <a:lnTo>
                        <a:pt x="1173" y="688"/>
                      </a:lnTo>
                      <a:lnTo>
                        <a:pt x="1172" y="688"/>
                      </a:lnTo>
                      <a:lnTo>
                        <a:pt x="1172" y="687"/>
                      </a:lnTo>
                      <a:lnTo>
                        <a:pt x="1171" y="687"/>
                      </a:lnTo>
                      <a:lnTo>
                        <a:pt x="1171" y="686"/>
                      </a:lnTo>
                      <a:lnTo>
                        <a:pt x="1170" y="686"/>
                      </a:lnTo>
                      <a:lnTo>
                        <a:pt x="1170" y="684"/>
                      </a:lnTo>
                      <a:lnTo>
                        <a:pt x="1169" y="683"/>
                      </a:lnTo>
                      <a:lnTo>
                        <a:pt x="1168" y="683"/>
                      </a:lnTo>
                      <a:lnTo>
                        <a:pt x="1167" y="683"/>
                      </a:lnTo>
                      <a:lnTo>
                        <a:pt x="1167" y="682"/>
                      </a:lnTo>
                      <a:lnTo>
                        <a:pt x="1166" y="682"/>
                      </a:lnTo>
                      <a:lnTo>
                        <a:pt x="1164" y="682"/>
                      </a:lnTo>
                      <a:lnTo>
                        <a:pt x="1164" y="683"/>
                      </a:lnTo>
                      <a:lnTo>
                        <a:pt x="1163" y="683"/>
                      </a:lnTo>
                      <a:lnTo>
                        <a:pt x="1163" y="682"/>
                      </a:lnTo>
                      <a:lnTo>
                        <a:pt x="1163" y="683"/>
                      </a:lnTo>
                      <a:lnTo>
                        <a:pt x="1163" y="684"/>
                      </a:lnTo>
                      <a:lnTo>
                        <a:pt x="1164" y="684"/>
                      </a:lnTo>
                      <a:lnTo>
                        <a:pt x="1163" y="685"/>
                      </a:lnTo>
                      <a:lnTo>
                        <a:pt x="1162" y="686"/>
                      </a:lnTo>
                      <a:lnTo>
                        <a:pt x="1162" y="687"/>
                      </a:lnTo>
                      <a:lnTo>
                        <a:pt x="1163" y="687"/>
                      </a:lnTo>
                      <a:lnTo>
                        <a:pt x="1164" y="686"/>
                      </a:lnTo>
                      <a:lnTo>
                        <a:pt x="1164" y="687"/>
                      </a:lnTo>
                      <a:lnTo>
                        <a:pt x="1163" y="687"/>
                      </a:lnTo>
                      <a:lnTo>
                        <a:pt x="1162" y="687"/>
                      </a:lnTo>
                      <a:lnTo>
                        <a:pt x="1161" y="687"/>
                      </a:lnTo>
                      <a:lnTo>
                        <a:pt x="1160" y="687"/>
                      </a:lnTo>
                      <a:lnTo>
                        <a:pt x="1160" y="688"/>
                      </a:lnTo>
                      <a:lnTo>
                        <a:pt x="1159" y="688"/>
                      </a:lnTo>
                      <a:lnTo>
                        <a:pt x="1159" y="687"/>
                      </a:lnTo>
                      <a:lnTo>
                        <a:pt x="1158" y="687"/>
                      </a:lnTo>
                      <a:lnTo>
                        <a:pt x="1157" y="687"/>
                      </a:lnTo>
                      <a:lnTo>
                        <a:pt x="1156" y="687"/>
                      </a:lnTo>
                      <a:lnTo>
                        <a:pt x="1155" y="687"/>
                      </a:lnTo>
                      <a:lnTo>
                        <a:pt x="1155" y="688"/>
                      </a:lnTo>
                      <a:lnTo>
                        <a:pt x="1154" y="688"/>
                      </a:lnTo>
                      <a:lnTo>
                        <a:pt x="1154" y="690"/>
                      </a:lnTo>
                      <a:lnTo>
                        <a:pt x="1153" y="691"/>
                      </a:lnTo>
                      <a:lnTo>
                        <a:pt x="1153" y="692"/>
                      </a:lnTo>
                      <a:lnTo>
                        <a:pt x="1153" y="693"/>
                      </a:lnTo>
                      <a:lnTo>
                        <a:pt x="1153" y="694"/>
                      </a:lnTo>
                      <a:lnTo>
                        <a:pt x="1153" y="695"/>
                      </a:lnTo>
                      <a:lnTo>
                        <a:pt x="1153" y="696"/>
                      </a:lnTo>
                      <a:lnTo>
                        <a:pt x="1154" y="696"/>
                      </a:lnTo>
                      <a:lnTo>
                        <a:pt x="1153" y="696"/>
                      </a:lnTo>
                      <a:lnTo>
                        <a:pt x="1153" y="697"/>
                      </a:lnTo>
                      <a:lnTo>
                        <a:pt x="1151" y="697"/>
                      </a:lnTo>
                      <a:lnTo>
                        <a:pt x="1151" y="698"/>
                      </a:lnTo>
                      <a:lnTo>
                        <a:pt x="1150" y="699"/>
                      </a:lnTo>
                      <a:lnTo>
                        <a:pt x="1150" y="700"/>
                      </a:lnTo>
                      <a:lnTo>
                        <a:pt x="1149" y="699"/>
                      </a:lnTo>
                      <a:lnTo>
                        <a:pt x="1149" y="698"/>
                      </a:lnTo>
                      <a:lnTo>
                        <a:pt x="1150" y="698"/>
                      </a:lnTo>
                      <a:lnTo>
                        <a:pt x="1149" y="696"/>
                      </a:lnTo>
                      <a:lnTo>
                        <a:pt x="1149" y="694"/>
                      </a:lnTo>
                      <a:lnTo>
                        <a:pt x="1149" y="693"/>
                      </a:lnTo>
                      <a:lnTo>
                        <a:pt x="1148" y="692"/>
                      </a:lnTo>
                      <a:lnTo>
                        <a:pt x="1147" y="691"/>
                      </a:lnTo>
                      <a:lnTo>
                        <a:pt x="1147" y="690"/>
                      </a:lnTo>
                      <a:lnTo>
                        <a:pt x="1146" y="688"/>
                      </a:lnTo>
                      <a:lnTo>
                        <a:pt x="1146" y="687"/>
                      </a:lnTo>
                      <a:lnTo>
                        <a:pt x="1145" y="687"/>
                      </a:lnTo>
                      <a:lnTo>
                        <a:pt x="1145" y="686"/>
                      </a:lnTo>
                      <a:lnTo>
                        <a:pt x="1145" y="685"/>
                      </a:lnTo>
                      <a:lnTo>
                        <a:pt x="1145" y="684"/>
                      </a:lnTo>
                      <a:lnTo>
                        <a:pt x="1144" y="684"/>
                      </a:lnTo>
                      <a:lnTo>
                        <a:pt x="1143" y="684"/>
                      </a:lnTo>
                      <a:lnTo>
                        <a:pt x="1143" y="685"/>
                      </a:lnTo>
                      <a:lnTo>
                        <a:pt x="1143" y="686"/>
                      </a:lnTo>
                      <a:lnTo>
                        <a:pt x="1142" y="685"/>
                      </a:lnTo>
                      <a:lnTo>
                        <a:pt x="1141" y="685"/>
                      </a:lnTo>
                      <a:lnTo>
                        <a:pt x="1140" y="685"/>
                      </a:lnTo>
                      <a:lnTo>
                        <a:pt x="1138" y="684"/>
                      </a:lnTo>
                      <a:lnTo>
                        <a:pt x="1137" y="684"/>
                      </a:lnTo>
                      <a:lnTo>
                        <a:pt x="1136" y="683"/>
                      </a:lnTo>
                      <a:lnTo>
                        <a:pt x="1136" y="682"/>
                      </a:lnTo>
                      <a:lnTo>
                        <a:pt x="1135" y="681"/>
                      </a:lnTo>
                      <a:lnTo>
                        <a:pt x="1135" y="680"/>
                      </a:lnTo>
                      <a:lnTo>
                        <a:pt x="1135" y="679"/>
                      </a:lnTo>
                      <a:lnTo>
                        <a:pt x="1134" y="679"/>
                      </a:lnTo>
                      <a:lnTo>
                        <a:pt x="1133" y="680"/>
                      </a:lnTo>
                      <a:lnTo>
                        <a:pt x="1133" y="681"/>
                      </a:lnTo>
                      <a:lnTo>
                        <a:pt x="1133" y="682"/>
                      </a:lnTo>
                      <a:lnTo>
                        <a:pt x="1132" y="681"/>
                      </a:lnTo>
                      <a:lnTo>
                        <a:pt x="1132" y="682"/>
                      </a:lnTo>
                      <a:lnTo>
                        <a:pt x="1132" y="683"/>
                      </a:lnTo>
                      <a:lnTo>
                        <a:pt x="1129" y="683"/>
                      </a:lnTo>
                      <a:lnTo>
                        <a:pt x="1128" y="684"/>
                      </a:lnTo>
                      <a:lnTo>
                        <a:pt x="1128" y="685"/>
                      </a:lnTo>
                      <a:lnTo>
                        <a:pt x="1126" y="685"/>
                      </a:lnTo>
                      <a:lnTo>
                        <a:pt x="1126" y="686"/>
                      </a:lnTo>
                      <a:lnTo>
                        <a:pt x="1125" y="685"/>
                      </a:lnTo>
                      <a:lnTo>
                        <a:pt x="1124" y="685"/>
                      </a:lnTo>
                      <a:lnTo>
                        <a:pt x="1123" y="686"/>
                      </a:lnTo>
                      <a:lnTo>
                        <a:pt x="1122" y="687"/>
                      </a:lnTo>
                      <a:lnTo>
                        <a:pt x="1122" y="688"/>
                      </a:lnTo>
                      <a:lnTo>
                        <a:pt x="1122" y="691"/>
                      </a:lnTo>
                      <a:lnTo>
                        <a:pt x="1122" y="692"/>
                      </a:lnTo>
                      <a:lnTo>
                        <a:pt x="1123" y="693"/>
                      </a:lnTo>
                      <a:lnTo>
                        <a:pt x="1123" y="694"/>
                      </a:lnTo>
                      <a:lnTo>
                        <a:pt x="1122" y="694"/>
                      </a:lnTo>
                      <a:lnTo>
                        <a:pt x="1122" y="695"/>
                      </a:lnTo>
                      <a:lnTo>
                        <a:pt x="1121" y="695"/>
                      </a:lnTo>
                      <a:lnTo>
                        <a:pt x="1122" y="696"/>
                      </a:lnTo>
                      <a:lnTo>
                        <a:pt x="1123" y="697"/>
                      </a:lnTo>
                      <a:lnTo>
                        <a:pt x="1124" y="697"/>
                      </a:lnTo>
                      <a:lnTo>
                        <a:pt x="1124" y="698"/>
                      </a:lnTo>
                      <a:lnTo>
                        <a:pt x="1125" y="699"/>
                      </a:lnTo>
                      <a:lnTo>
                        <a:pt x="1126" y="699"/>
                      </a:lnTo>
                      <a:lnTo>
                        <a:pt x="1125" y="699"/>
                      </a:lnTo>
                      <a:lnTo>
                        <a:pt x="1124" y="700"/>
                      </a:lnTo>
                      <a:lnTo>
                        <a:pt x="1124" y="701"/>
                      </a:lnTo>
                      <a:lnTo>
                        <a:pt x="1123" y="703"/>
                      </a:lnTo>
                      <a:lnTo>
                        <a:pt x="1123" y="704"/>
                      </a:lnTo>
                      <a:lnTo>
                        <a:pt x="1123" y="703"/>
                      </a:lnTo>
                      <a:lnTo>
                        <a:pt x="1122" y="703"/>
                      </a:lnTo>
                      <a:lnTo>
                        <a:pt x="1120" y="703"/>
                      </a:lnTo>
                      <a:lnTo>
                        <a:pt x="1120" y="704"/>
                      </a:lnTo>
                      <a:lnTo>
                        <a:pt x="1119" y="703"/>
                      </a:lnTo>
                      <a:lnTo>
                        <a:pt x="1119" y="704"/>
                      </a:lnTo>
                      <a:lnTo>
                        <a:pt x="1120" y="705"/>
                      </a:lnTo>
                      <a:lnTo>
                        <a:pt x="1121" y="705"/>
                      </a:lnTo>
                      <a:lnTo>
                        <a:pt x="1122" y="705"/>
                      </a:lnTo>
                      <a:lnTo>
                        <a:pt x="1123" y="705"/>
                      </a:lnTo>
                      <a:lnTo>
                        <a:pt x="1124" y="705"/>
                      </a:lnTo>
                      <a:lnTo>
                        <a:pt x="1124" y="706"/>
                      </a:lnTo>
                      <a:lnTo>
                        <a:pt x="1124" y="707"/>
                      </a:lnTo>
                      <a:lnTo>
                        <a:pt x="1125" y="708"/>
                      </a:lnTo>
                      <a:lnTo>
                        <a:pt x="1124" y="709"/>
                      </a:lnTo>
                      <a:lnTo>
                        <a:pt x="1123" y="710"/>
                      </a:lnTo>
                      <a:lnTo>
                        <a:pt x="1124" y="712"/>
                      </a:lnTo>
                      <a:lnTo>
                        <a:pt x="1125" y="714"/>
                      </a:lnTo>
                      <a:lnTo>
                        <a:pt x="1126" y="716"/>
                      </a:lnTo>
                      <a:lnTo>
                        <a:pt x="1129" y="716"/>
                      </a:lnTo>
                      <a:lnTo>
                        <a:pt x="1131" y="717"/>
                      </a:lnTo>
                      <a:lnTo>
                        <a:pt x="1131" y="718"/>
                      </a:lnTo>
                      <a:lnTo>
                        <a:pt x="1133" y="718"/>
                      </a:lnTo>
                      <a:lnTo>
                        <a:pt x="1134" y="718"/>
                      </a:lnTo>
                      <a:lnTo>
                        <a:pt x="1135" y="718"/>
                      </a:lnTo>
                      <a:lnTo>
                        <a:pt x="1136" y="718"/>
                      </a:lnTo>
                      <a:lnTo>
                        <a:pt x="1137" y="717"/>
                      </a:lnTo>
                      <a:lnTo>
                        <a:pt x="1136" y="713"/>
                      </a:lnTo>
                      <a:lnTo>
                        <a:pt x="1137" y="714"/>
                      </a:lnTo>
                      <a:lnTo>
                        <a:pt x="1138" y="714"/>
                      </a:lnTo>
                      <a:lnTo>
                        <a:pt x="1137" y="716"/>
                      </a:lnTo>
                      <a:lnTo>
                        <a:pt x="1138" y="717"/>
                      </a:lnTo>
                      <a:lnTo>
                        <a:pt x="1140" y="717"/>
                      </a:lnTo>
                      <a:lnTo>
                        <a:pt x="1138" y="717"/>
                      </a:lnTo>
                      <a:lnTo>
                        <a:pt x="1138" y="718"/>
                      </a:lnTo>
                      <a:lnTo>
                        <a:pt x="1140" y="718"/>
                      </a:lnTo>
                      <a:lnTo>
                        <a:pt x="1140" y="719"/>
                      </a:lnTo>
                      <a:lnTo>
                        <a:pt x="1140" y="720"/>
                      </a:lnTo>
                      <a:lnTo>
                        <a:pt x="1141" y="721"/>
                      </a:lnTo>
                      <a:lnTo>
                        <a:pt x="1142" y="722"/>
                      </a:lnTo>
                      <a:lnTo>
                        <a:pt x="1143" y="722"/>
                      </a:lnTo>
                      <a:lnTo>
                        <a:pt x="1144" y="722"/>
                      </a:lnTo>
                      <a:lnTo>
                        <a:pt x="1147" y="721"/>
                      </a:lnTo>
                      <a:lnTo>
                        <a:pt x="1147" y="720"/>
                      </a:lnTo>
                      <a:lnTo>
                        <a:pt x="1148" y="720"/>
                      </a:lnTo>
                      <a:lnTo>
                        <a:pt x="1148" y="719"/>
                      </a:lnTo>
                      <a:lnTo>
                        <a:pt x="1149" y="719"/>
                      </a:lnTo>
                      <a:lnTo>
                        <a:pt x="1149" y="720"/>
                      </a:lnTo>
                      <a:lnTo>
                        <a:pt x="1149" y="721"/>
                      </a:lnTo>
                      <a:lnTo>
                        <a:pt x="1150" y="720"/>
                      </a:lnTo>
                      <a:lnTo>
                        <a:pt x="1150" y="721"/>
                      </a:lnTo>
                      <a:lnTo>
                        <a:pt x="1151" y="721"/>
                      </a:lnTo>
                      <a:lnTo>
                        <a:pt x="1153" y="721"/>
                      </a:lnTo>
                      <a:lnTo>
                        <a:pt x="1154" y="721"/>
                      </a:lnTo>
                      <a:lnTo>
                        <a:pt x="1154" y="720"/>
                      </a:lnTo>
                      <a:lnTo>
                        <a:pt x="1155" y="721"/>
                      </a:lnTo>
                      <a:lnTo>
                        <a:pt x="1155" y="720"/>
                      </a:lnTo>
                      <a:lnTo>
                        <a:pt x="1156" y="720"/>
                      </a:lnTo>
                      <a:lnTo>
                        <a:pt x="1156" y="719"/>
                      </a:lnTo>
                      <a:lnTo>
                        <a:pt x="1157" y="719"/>
                      </a:lnTo>
                      <a:lnTo>
                        <a:pt x="1157" y="720"/>
                      </a:lnTo>
                      <a:lnTo>
                        <a:pt x="1158" y="720"/>
                      </a:lnTo>
                      <a:lnTo>
                        <a:pt x="1159" y="721"/>
                      </a:lnTo>
                      <a:lnTo>
                        <a:pt x="1158" y="721"/>
                      </a:lnTo>
                      <a:lnTo>
                        <a:pt x="1157" y="722"/>
                      </a:lnTo>
                      <a:lnTo>
                        <a:pt x="1158" y="723"/>
                      </a:lnTo>
                      <a:lnTo>
                        <a:pt x="1157" y="724"/>
                      </a:lnTo>
                      <a:lnTo>
                        <a:pt x="1156" y="725"/>
                      </a:lnTo>
                      <a:lnTo>
                        <a:pt x="1155" y="725"/>
                      </a:lnTo>
                      <a:lnTo>
                        <a:pt x="1154" y="725"/>
                      </a:lnTo>
                      <a:lnTo>
                        <a:pt x="1154" y="724"/>
                      </a:lnTo>
                      <a:lnTo>
                        <a:pt x="1153" y="724"/>
                      </a:lnTo>
                      <a:lnTo>
                        <a:pt x="1154" y="723"/>
                      </a:lnTo>
                      <a:lnTo>
                        <a:pt x="1154" y="724"/>
                      </a:lnTo>
                      <a:lnTo>
                        <a:pt x="1155" y="724"/>
                      </a:lnTo>
                      <a:lnTo>
                        <a:pt x="1155" y="725"/>
                      </a:lnTo>
                      <a:lnTo>
                        <a:pt x="1155" y="724"/>
                      </a:lnTo>
                      <a:lnTo>
                        <a:pt x="1156" y="724"/>
                      </a:lnTo>
                      <a:lnTo>
                        <a:pt x="1155" y="724"/>
                      </a:lnTo>
                      <a:lnTo>
                        <a:pt x="1155" y="723"/>
                      </a:lnTo>
                      <a:lnTo>
                        <a:pt x="1155" y="722"/>
                      </a:lnTo>
                      <a:lnTo>
                        <a:pt x="1154" y="722"/>
                      </a:lnTo>
                      <a:lnTo>
                        <a:pt x="1154" y="723"/>
                      </a:lnTo>
                      <a:lnTo>
                        <a:pt x="1155" y="723"/>
                      </a:lnTo>
                      <a:lnTo>
                        <a:pt x="1154" y="723"/>
                      </a:lnTo>
                      <a:lnTo>
                        <a:pt x="1154" y="722"/>
                      </a:lnTo>
                      <a:lnTo>
                        <a:pt x="1153" y="723"/>
                      </a:lnTo>
                      <a:lnTo>
                        <a:pt x="1151" y="723"/>
                      </a:lnTo>
                      <a:lnTo>
                        <a:pt x="1151" y="724"/>
                      </a:lnTo>
                      <a:lnTo>
                        <a:pt x="1153" y="724"/>
                      </a:lnTo>
                      <a:lnTo>
                        <a:pt x="1151" y="724"/>
                      </a:lnTo>
                      <a:lnTo>
                        <a:pt x="1153" y="724"/>
                      </a:lnTo>
                      <a:lnTo>
                        <a:pt x="1153" y="725"/>
                      </a:lnTo>
                      <a:lnTo>
                        <a:pt x="1153" y="724"/>
                      </a:lnTo>
                      <a:lnTo>
                        <a:pt x="1153" y="725"/>
                      </a:lnTo>
                      <a:lnTo>
                        <a:pt x="1154" y="725"/>
                      </a:lnTo>
                      <a:lnTo>
                        <a:pt x="1154" y="726"/>
                      </a:lnTo>
                      <a:lnTo>
                        <a:pt x="1153" y="726"/>
                      </a:lnTo>
                      <a:lnTo>
                        <a:pt x="1153" y="725"/>
                      </a:lnTo>
                      <a:lnTo>
                        <a:pt x="1151" y="725"/>
                      </a:lnTo>
                      <a:lnTo>
                        <a:pt x="1150" y="725"/>
                      </a:lnTo>
                      <a:lnTo>
                        <a:pt x="1150" y="724"/>
                      </a:lnTo>
                      <a:lnTo>
                        <a:pt x="1151" y="724"/>
                      </a:lnTo>
                      <a:lnTo>
                        <a:pt x="1150" y="724"/>
                      </a:lnTo>
                      <a:lnTo>
                        <a:pt x="1150" y="723"/>
                      </a:lnTo>
                      <a:lnTo>
                        <a:pt x="1149" y="723"/>
                      </a:lnTo>
                      <a:lnTo>
                        <a:pt x="1149" y="724"/>
                      </a:lnTo>
                      <a:lnTo>
                        <a:pt x="1148" y="724"/>
                      </a:lnTo>
                      <a:lnTo>
                        <a:pt x="1148" y="725"/>
                      </a:lnTo>
                      <a:lnTo>
                        <a:pt x="1147" y="725"/>
                      </a:lnTo>
                      <a:lnTo>
                        <a:pt x="1147" y="726"/>
                      </a:lnTo>
                      <a:lnTo>
                        <a:pt x="1147" y="727"/>
                      </a:lnTo>
                      <a:lnTo>
                        <a:pt x="1148" y="727"/>
                      </a:lnTo>
                      <a:lnTo>
                        <a:pt x="1147" y="727"/>
                      </a:lnTo>
                      <a:lnTo>
                        <a:pt x="1147" y="729"/>
                      </a:lnTo>
                      <a:lnTo>
                        <a:pt x="1147" y="727"/>
                      </a:lnTo>
                      <a:lnTo>
                        <a:pt x="1146" y="727"/>
                      </a:lnTo>
                      <a:lnTo>
                        <a:pt x="1146" y="729"/>
                      </a:lnTo>
                      <a:lnTo>
                        <a:pt x="1147" y="729"/>
                      </a:lnTo>
                      <a:lnTo>
                        <a:pt x="1148" y="729"/>
                      </a:lnTo>
                      <a:lnTo>
                        <a:pt x="1148" y="730"/>
                      </a:lnTo>
                      <a:lnTo>
                        <a:pt x="1149" y="730"/>
                      </a:lnTo>
                      <a:lnTo>
                        <a:pt x="1149" y="729"/>
                      </a:lnTo>
                      <a:lnTo>
                        <a:pt x="1148" y="729"/>
                      </a:lnTo>
                      <a:lnTo>
                        <a:pt x="1147" y="729"/>
                      </a:lnTo>
                      <a:lnTo>
                        <a:pt x="1147" y="727"/>
                      </a:lnTo>
                      <a:lnTo>
                        <a:pt x="1148" y="727"/>
                      </a:lnTo>
                      <a:lnTo>
                        <a:pt x="1148" y="729"/>
                      </a:lnTo>
                      <a:lnTo>
                        <a:pt x="1149" y="729"/>
                      </a:lnTo>
                      <a:lnTo>
                        <a:pt x="1150" y="729"/>
                      </a:lnTo>
                      <a:lnTo>
                        <a:pt x="1149" y="729"/>
                      </a:lnTo>
                      <a:lnTo>
                        <a:pt x="1149" y="727"/>
                      </a:lnTo>
                      <a:lnTo>
                        <a:pt x="1150" y="727"/>
                      </a:lnTo>
                      <a:lnTo>
                        <a:pt x="1151" y="727"/>
                      </a:lnTo>
                      <a:lnTo>
                        <a:pt x="1153" y="726"/>
                      </a:lnTo>
                      <a:lnTo>
                        <a:pt x="1154" y="726"/>
                      </a:lnTo>
                      <a:lnTo>
                        <a:pt x="1153" y="727"/>
                      </a:lnTo>
                      <a:lnTo>
                        <a:pt x="1154" y="727"/>
                      </a:lnTo>
                      <a:lnTo>
                        <a:pt x="1154" y="729"/>
                      </a:lnTo>
                      <a:lnTo>
                        <a:pt x="1154" y="730"/>
                      </a:lnTo>
                      <a:lnTo>
                        <a:pt x="1154" y="731"/>
                      </a:lnTo>
                      <a:lnTo>
                        <a:pt x="1153" y="731"/>
                      </a:lnTo>
                      <a:lnTo>
                        <a:pt x="1154" y="731"/>
                      </a:lnTo>
                      <a:lnTo>
                        <a:pt x="1154" y="732"/>
                      </a:lnTo>
                      <a:lnTo>
                        <a:pt x="1155" y="732"/>
                      </a:lnTo>
                      <a:lnTo>
                        <a:pt x="1155" y="733"/>
                      </a:lnTo>
                      <a:lnTo>
                        <a:pt x="1154" y="733"/>
                      </a:lnTo>
                      <a:lnTo>
                        <a:pt x="1153" y="733"/>
                      </a:lnTo>
                      <a:lnTo>
                        <a:pt x="1151" y="733"/>
                      </a:lnTo>
                      <a:lnTo>
                        <a:pt x="1150" y="733"/>
                      </a:lnTo>
                      <a:lnTo>
                        <a:pt x="1149" y="733"/>
                      </a:lnTo>
                      <a:lnTo>
                        <a:pt x="1148" y="732"/>
                      </a:lnTo>
                      <a:lnTo>
                        <a:pt x="1147" y="731"/>
                      </a:lnTo>
                      <a:lnTo>
                        <a:pt x="1147" y="730"/>
                      </a:lnTo>
                      <a:lnTo>
                        <a:pt x="1146" y="730"/>
                      </a:lnTo>
                      <a:lnTo>
                        <a:pt x="1145" y="730"/>
                      </a:lnTo>
                      <a:lnTo>
                        <a:pt x="1145" y="731"/>
                      </a:lnTo>
                      <a:lnTo>
                        <a:pt x="1145" y="732"/>
                      </a:lnTo>
                      <a:lnTo>
                        <a:pt x="1144" y="733"/>
                      </a:lnTo>
                      <a:lnTo>
                        <a:pt x="1143" y="733"/>
                      </a:lnTo>
                      <a:lnTo>
                        <a:pt x="1142" y="733"/>
                      </a:lnTo>
                      <a:lnTo>
                        <a:pt x="1141" y="732"/>
                      </a:lnTo>
                      <a:lnTo>
                        <a:pt x="1141" y="731"/>
                      </a:lnTo>
                      <a:lnTo>
                        <a:pt x="1140" y="731"/>
                      </a:lnTo>
                      <a:lnTo>
                        <a:pt x="1138" y="731"/>
                      </a:lnTo>
                      <a:lnTo>
                        <a:pt x="1137" y="731"/>
                      </a:lnTo>
                      <a:lnTo>
                        <a:pt x="1137" y="730"/>
                      </a:lnTo>
                      <a:lnTo>
                        <a:pt x="1136" y="730"/>
                      </a:lnTo>
                      <a:lnTo>
                        <a:pt x="1136" y="729"/>
                      </a:lnTo>
                      <a:lnTo>
                        <a:pt x="1135" y="729"/>
                      </a:lnTo>
                      <a:lnTo>
                        <a:pt x="1135" y="730"/>
                      </a:lnTo>
                      <a:lnTo>
                        <a:pt x="1136" y="730"/>
                      </a:lnTo>
                      <a:lnTo>
                        <a:pt x="1136" y="731"/>
                      </a:lnTo>
                      <a:lnTo>
                        <a:pt x="1136" y="730"/>
                      </a:lnTo>
                      <a:lnTo>
                        <a:pt x="1136" y="731"/>
                      </a:lnTo>
                      <a:lnTo>
                        <a:pt x="1136" y="732"/>
                      </a:lnTo>
                      <a:lnTo>
                        <a:pt x="1137" y="732"/>
                      </a:lnTo>
                      <a:lnTo>
                        <a:pt x="1137" y="733"/>
                      </a:lnTo>
                      <a:lnTo>
                        <a:pt x="1138" y="733"/>
                      </a:lnTo>
                      <a:lnTo>
                        <a:pt x="1140" y="733"/>
                      </a:lnTo>
                      <a:lnTo>
                        <a:pt x="1141" y="733"/>
                      </a:lnTo>
                      <a:lnTo>
                        <a:pt x="1140" y="733"/>
                      </a:lnTo>
                      <a:lnTo>
                        <a:pt x="1140" y="734"/>
                      </a:lnTo>
                      <a:lnTo>
                        <a:pt x="1141" y="734"/>
                      </a:lnTo>
                      <a:lnTo>
                        <a:pt x="1141" y="735"/>
                      </a:lnTo>
                      <a:lnTo>
                        <a:pt x="1141" y="734"/>
                      </a:lnTo>
                      <a:lnTo>
                        <a:pt x="1140" y="734"/>
                      </a:lnTo>
                      <a:lnTo>
                        <a:pt x="1141" y="735"/>
                      </a:lnTo>
                      <a:lnTo>
                        <a:pt x="1142" y="735"/>
                      </a:lnTo>
                      <a:lnTo>
                        <a:pt x="1141" y="734"/>
                      </a:lnTo>
                      <a:lnTo>
                        <a:pt x="1142" y="734"/>
                      </a:lnTo>
                      <a:lnTo>
                        <a:pt x="1143" y="735"/>
                      </a:lnTo>
                      <a:lnTo>
                        <a:pt x="1143" y="734"/>
                      </a:lnTo>
                      <a:lnTo>
                        <a:pt x="1143" y="735"/>
                      </a:lnTo>
                      <a:lnTo>
                        <a:pt x="1143" y="736"/>
                      </a:lnTo>
                      <a:lnTo>
                        <a:pt x="1143" y="737"/>
                      </a:lnTo>
                      <a:lnTo>
                        <a:pt x="1144" y="737"/>
                      </a:lnTo>
                      <a:lnTo>
                        <a:pt x="1145" y="736"/>
                      </a:lnTo>
                      <a:lnTo>
                        <a:pt x="1145" y="737"/>
                      </a:lnTo>
                      <a:lnTo>
                        <a:pt x="1146" y="737"/>
                      </a:lnTo>
                      <a:lnTo>
                        <a:pt x="1147" y="737"/>
                      </a:lnTo>
                      <a:lnTo>
                        <a:pt x="1148" y="738"/>
                      </a:lnTo>
                      <a:lnTo>
                        <a:pt x="1149" y="738"/>
                      </a:lnTo>
                      <a:lnTo>
                        <a:pt x="1149" y="737"/>
                      </a:lnTo>
                      <a:lnTo>
                        <a:pt x="1149" y="738"/>
                      </a:lnTo>
                      <a:lnTo>
                        <a:pt x="1150" y="738"/>
                      </a:lnTo>
                      <a:lnTo>
                        <a:pt x="1151" y="738"/>
                      </a:lnTo>
                      <a:lnTo>
                        <a:pt x="1151" y="737"/>
                      </a:lnTo>
                      <a:lnTo>
                        <a:pt x="1153" y="737"/>
                      </a:lnTo>
                      <a:lnTo>
                        <a:pt x="1154" y="737"/>
                      </a:lnTo>
                      <a:lnTo>
                        <a:pt x="1154" y="736"/>
                      </a:lnTo>
                      <a:lnTo>
                        <a:pt x="1155" y="736"/>
                      </a:lnTo>
                      <a:lnTo>
                        <a:pt x="1155" y="737"/>
                      </a:lnTo>
                      <a:lnTo>
                        <a:pt x="1155" y="736"/>
                      </a:lnTo>
                      <a:lnTo>
                        <a:pt x="1155" y="735"/>
                      </a:lnTo>
                      <a:lnTo>
                        <a:pt x="1156" y="735"/>
                      </a:lnTo>
                      <a:lnTo>
                        <a:pt x="1156" y="736"/>
                      </a:lnTo>
                      <a:lnTo>
                        <a:pt x="1157" y="736"/>
                      </a:lnTo>
                      <a:lnTo>
                        <a:pt x="1157" y="735"/>
                      </a:lnTo>
                      <a:lnTo>
                        <a:pt x="1158" y="736"/>
                      </a:lnTo>
                      <a:lnTo>
                        <a:pt x="1159" y="736"/>
                      </a:lnTo>
                      <a:lnTo>
                        <a:pt x="1159" y="735"/>
                      </a:lnTo>
                      <a:lnTo>
                        <a:pt x="1159" y="736"/>
                      </a:lnTo>
                      <a:lnTo>
                        <a:pt x="1160" y="736"/>
                      </a:lnTo>
                      <a:lnTo>
                        <a:pt x="1160" y="735"/>
                      </a:lnTo>
                      <a:lnTo>
                        <a:pt x="1160" y="736"/>
                      </a:lnTo>
                      <a:lnTo>
                        <a:pt x="1161" y="736"/>
                      </a:lnTo>
                      <a:lnTo>
                        <a:pt x="1161" y="737"/>
                      </a:lnTo>
                      <a:lnTo>
                        <a:pt x="1162" y="737"/>
                      </a:lnTo>
                      <a:lnTo>
                        <a:pt x="1163" y="737"/>
                      </a:lnTo>
                      <a:lnTo>
                        <a:pt x="1163" y="738"/>
                      </a:lnTo>
                      <a:lnTo>
                        <a:pt x="1163" y="739"/>
                      </a:lnTo>
                      <a:lnTo>
                        <a:pt x="1164" y="739"/>
                      </a:lnTo>
                      <a:lnTo>
                        <a:pt x="1164" y="741"/>
                      </a:lnTo>
                      <a:lnTo>
                        <a:pt x="1164" y="739"/>
                      </a:lnTo>
                      <a:lnTo>
                        <a:pt x="1166" y="739"/>
                      </a:lnTo>
                      <a:lnTo>
                        <a:pt x="1166" y="741"/>
                      </a:lnTo>
                      <a:lnTo>
                        <a:pt x="1167" y="741"/>
                      </a:lnTo>
                      <a:lnTo>
                        <a:pt x="1168" y="741"/>
                      </a:lnTo>
                      <a:lnTo>
                        <a:pt x="1169" y="741"/>
                      </a:lnTo>
                      <a:lnTo>
                        <a:pt x="1170" y="741"/>
                      </a:lnTo>
                      <a:lnTo>
                        <a:pt x="1170" y="742"/>
                      </a:lnTo>
                      <a:lnTo>
                        <a:pt x="1171" y="742"/>
                      </a:lnTo>
                      <a:lnTo>
                        <a:pt x="1171" y="743"/>
                      </a:lnTo>
                      <a:lnTo>
                        <a:pt x="1171" y="744"/>
                      </a:lnTo>
                      <a:lnTo>
                        <a:pt x="1172" y="744"/>
                      </a:lnTo>
                      <a:lnTo>
                        <a:pt x="1173" y="745"/>
                      </a:lnTo>
                      <a:lnTo>
                        <a:pt x="1174" y="745"/>
                      </a:lnTo>
                      <a:lnTo>
                        <a:pt x="1175" y="746"/>
                      </a:lnTo>
                      <a:lnTo>
                        <a:pt x="1177" y="746"/>
                      </a:lnTo>
                      <a:lnTo>
                        <a:pt x="1179" y="745"/>
                      </a:lnTo>
                      <a:lnTo>
                        <a:pt x="1180" y="745"/>
                      </a:lnTo>
                      <a:lnTo>
                        <a:pt x="1181" y="745"/>
                      </a:lnTo>
                      <a:lnTo>
                        <a:pt x="1181" y="744"/>
                      </a:lnTo>
                      <a:lnTo>
                        <a:pt x="1182" y="744"/>
                      </a:lnTo>
                      <a:lnTo>
                        <a:pt x="1182" y="743"/>
                      </a:lnTo>
                      <a:lnTo>
                        <a:pt x="1181" y="744"/>
                      </a:lnTo>
                      <a:lnTo>
                        <a:pt x="1181" y="743"/>
                      </a:lnTo>
                      <a:lnTo>
                        <a:pt x="1181" y="742"/>
                      </a:lnTo>
                      <a:lnTo>
                        <a:pt x="1180" y="741"/>
                      </a:lnTo>
                      <a:lnTo>
                        <a:pt x="1181" y="741"/>
                      </a:lnTo>
                      <a:lnTo>
                        <a:pt x="1181" y="739"/>
                      </a:lnTo>
                      <a:lnTo>
                        <a:pt x="1182" y="739"/>
                      </a:lnTo>
                      <a:lnTo>
                        <a:pt x="1183" y="739"/>
                      </a:lnTo>
                      <a:lnTo>
                        <a:pt x="1182" y="739"/>
                      </a:lnTo>
                      <a:lnTo>
                        <a:pt x="1181" y="739"/>
                      </a:lnTo>
                      <a:lnTo>
                        <a:pt x="1181" y="738"/>
                      </a:lnTo>
                      <a:lnTo>
                        <a:pt x="1180" y="738"/>
                      </a:lnTo>
                      <a:lnTo>
                        <a:pt x="1179" y="738"/>
                      </a:lnTo>
                      <a:lnTo>
                        <a:pt x="1180" y="738"/>
                      </a:lnTo>
                      <a:lnTo>
                        <a:pt x="1181" y="738"/>
                      </a:lnTo>
                      <a:lnTo>
                        <a:pt x="1182" y="738"/>
                      </a:lnTo>
                      <a:lnTo>
                        <a:pt x="1181" y="738"/>
                      </a:lnTo>
                      <a:lnTo>
                        <a:pt x="1181" y="737"/>
                      </a:lnTo>
                      <a:lnTo>
                        <a:pt x="1182" y="737"/>
                      </a:lnTo>
                      <a:lnTo>
                        <a:pt x="1183" y="737"/>
                      </a:lnTo>
                      <a:lnTo>
                        <a:pt x="1184" y="737"/>
                      </a:lnTo>
                      <a:lnTo>
                        <a:pt x="1184" y="738"/>
                      </a:lnTo>
                      <a:lnTo>
                        <a:pt x="1185" y="739"/>
                      </a:lnTo>
                      <a:lnTo>
                        <a:pt x="1185" y="741"/>
                      </a:lnTo>
                      <a:lnTo>
                        <a:pt x="1185" y="739"/>
                      </a:lnTo>
                      <a:lnTo>
                        <a:pt x="1184" y="739"/>
                      </a:lnTo>
                      <a:lnTo>
                        <a:pt x="1184" y="741"/>
                      </a:lnTo>
                      <a:lnTo>
                        <a:pt x="1185" y="741"/>
                      </a:lnTo>
                      <a:lnTo>
                        <a:pt x="1184" y="741"/>
                      </a:lnTo>
                      <a:lnTo>
                        <a:pt x="1183" y="741"/>
                      </a:lnTo>
                      <a:lnTo>
                        <a:pt x="1182" y="741"/>
                      </a:lnTo>
                      <a:lnTo>
                        <a:pt x="1182" y="742"/>
                      </a:lnTo>
                      <a:lnTo>
                        <a:pt x="1182" y="743"/>
                      </a:lnTo>
                      <a:lnTo>
                        <a:pt x="1183" y="744"/>
                      </a:lnTo>
                      <a:lnTo>
                        <a:pt x="1184" y="745"/>
                      </a:lnTo>
                      <a:lnTo>
                        <a:pt x="1184" y="746"/>
                      </a:lnTo>
                      <a:lnTo>
                        <a:pt x="1183" y="746"/>
                      </a:lnTo>
                      <a:lnTo>
                        <a:pt x="1182" y="746"/>
                      </a:lnTo>
                      <a:lnTo>
                        <a:pt x="1183" y="746"/>
                      </a:lnTo>
                      <a:lnTo>
                        <a:pt x="1184" y="746"/>
                      </a:lnTo>
                      <a:lnTo>
                        <a:pt x="1184" y="747"/>
                      </a:lnTo>
                      <a:lnTo>
                        <a:pt x="1184" y="748"/>
                      </a:lnTo>
                      <a:lnTo>
                        <a:pt x="1186" y="747"/>
                      </a:lnTo>
                      <a:lnTo>
                        <a:pt x="1187" y="747"/>
                      </a:lnTo>
                      <a:lnTo>
                        <a:pt x="1188" y="747"/>
                      </a:lnTo>
                      <a:lnTo>
                        <a:pt x="1189" y="747"/>
                      </a:lnTo>
                      <a:lnTo>
                        <a:pt x="1189" y="746"/>
                      </a:lnTo>
                      <a:lnTo>
                        <a:pt x="1190" y="746"/>
                      </a:lnTo>
                      <a:lnTo>
                        <a:pt x="1190" y="747"/>
                      </a:lnTo>
                      <a:lnTo>
                        <a:pt x="1192" y="746"/>
                      </a:lnTo>
                      <a:lnTo>
                        <a:pt x="1192" y="745"/>
                      </a:lnTo>
                      <a:lnTo>
                        <a:pt x="1192" y="744"/>
                      </a:lnTo>
                      <a:lnTo>
                        <a:pt x="1192" y="743"/>
                      </a:lnTo>
                      <a:lnTo>
                        <a:pt x="1193" y="743"/>
                      </a:lnTo>
                      <a:lnTo>
                        <a:pt x="1192" y="743"/>
                      </a:lnTo>
                      <a:lnTo>
                        <a:pt x="1192" y="742"/>
                      </a:lnTo>
                      <a:lnTo>
                        <a:pt x="1192" y="743"/>
                      </a:lnTo>
                      <a:lnTo>
                        <a:pt x="1190" y="743"/>
                      </a:lnTo>
                      <a:lnTo>
                        <a:pt x="1189" y="743"/>
                      </a:lnTo>
                      <a:lnTo>
                        <a:pt x="1189" y="742"/>
                      </a:lnTo>
                      <a:lnTo>
                        <a:pt x="1188" y="742"/>
                      </a:lnTo>
                      <a:lnTo>
                        <a:pt x="1188" y="741"/>
                      </a:lnTo>
                      <a:lnTo>
                        <a:pt x="1187" y="741"/>
                      </a:lnTo>
                      <a:lnTo>
                        <a:pt x="1186" y="741"/>
                      </a:lnTo>
                      <a:lnTo>
                        <a:pt x="1186" y="739"/>
                      </a:lnTo>
                      <a:lnTo>
                        <a:pt x="1186" y="738"/>
                      </a:lnTo>
                      <a:lnTo>
                        <a:pt x="1186" y="737"/>
                      </a:lnTo>
                      <a:lnTo>
                        <a:pt x="1187" y="737"/>
                      </a:lnTo>
                      <a:lnTo>
                        <a:pt x="1187" y="736"/>
                      </a:lnTo>
                      <a:lnTo>
                        <a:pt x="1188" y="736"/>
                      </a:lnTo>
                      <a:lnTo>
                        <a:pt x="1187" y="736"/>
                      </a:lnTo>
                      <a:lnTo>
                        <a:pt x="1188" y="736"/>
                      </a:lnTo>
                      <a:lnTo>
                        <a:pt x="1188" y="737"/>
                      </a:lnTo>
                      <a:lnTo>
                        <a:pt x="1188" y="736"/>
                      </a:lnTo>
                      <a:lnTo>
                        <a:pt x="1187" y="736"/>
                      </a:lnTo>
                      <a:lnTo>
                        <a:pt x="1187" y="735"/>
                      </a:lnTo>
                      <a:lnTo>
                        <a:pt x="1186" y="735"/>
                      </a:lnTo>
                      <a:lnTo>
                        <a:pt x="1185" y="735"/>
                      </a:lnTo>
                      <a:lnTo>
                        <a:pt x="1184" y="736"/>
                      </a:lnTo>
                      <a:lnTo>
                        <a:pt x="1183" y="736"/>
                      </a:lnTo>
                      <a:lnTo>
                        <a:pt x="1183" y="735"/>
                      </a:lnTo>
                      <a:lnTo>
                        <a:pt x="1184" y="735"/>
                      </a:lnTo>
                      <a:lnTo>
                        <a:pt x="1184" y="734"/>
                      </a:lnTo>
                      <a:lnTo>
                        <a:pt x="1185" y="734"/>
                      </a:lnTo>
                      <a:lnTo>
                        <a:pt x="1185" y="735"/>
                      </a:lnTo>
                      <a:lnTo>
                        <a:pt x="1186" y="735"/>
                      </a:lnTo>
                      <a:lnTo>
                        <a:pt x="1186" y="734"/>
                      </a:lnTo>
                      <a:lnTo>
                        <a:pt x="1185" y="734"/>
                      </a:lnTo>
                      <a:lnTo>
                        <a:pt x="1184" y="734"/>
                      </a:lnTo>
                      <a:lnTo>
                        <a:pt x="1185" y="734"/>
                      </a:lnTo>
                      <a:lnTo>
                        <a:pt x="1186" y="734"/>
                      </a:lnTo>
                      <a:lnTo>
                        <a:pt x="1187" y="734"/>
                      </a:lnTo>
                      <a:lnTo>
                        <a:pt x="1188" y="734"/>
                      </a:lnTo>
                      <a:lnTo>
                        <a:pt x="1188" y="735"/>
                      </a:lnTo>
                      <a:lnTo>
                        <a:pt x="1189" y="735"/>
                      </a:lnTo>
                      <a:lnTo>
                        <a:pt x="1189" y="734"/>
                      </a:lnTo>
                      <a:lnTo>
                        <a:pt x="1189" y="735"/>
                      </a:lnTo>
                      <a:lnTo>
                        <a:pt x="1190" y="735"/>
                      </a:lnTo>
                      <a:lnTo>
                        <a:pt x="1190" y="736"/>
                      </a:lnTo>
                      <a:lnTo>
                        <a:pt x="1189" y="736"/>
                      </a:lnTo>
                      <a:lnTo>
                        <a:pt x="1189" y="735"/>
                      </a:lnTo>
                      <a:lnTo>
                        <a:pt x="1189" y="736"/>
                      </a:lnTo>
                      <a:lnTo>
                        <a:pt x="1190" y="736"/>
                      </a:lnTo>
                      <a:lnTo>
                        <a:pt x="1192" y="736"/>
                      </a:lnTo>
                      <a:lnTo>
                        <a:pt x="1193" y="736"/>
                      </a:lnTo>
                      <a:lnTo>
                        <a:pt x="1194" y="736"/>
                      </a:lnTo>
                      <a:lnTo>
                        <a:pt x="1193" y="736"/>
                      </a:lnTo>
                      <a:lnTo>
                        <a:pt x="1194" y="736"/>
                      </a:lnTo>
                      <a:lnTo>
                        <a:pt x="1193" y="735"/>
                      </a:lnTo>
                      <a:lnTo>
                        <a:pt x="1194" y="735"/>
                      </a:lnTo>
                      <a:lnTo>
                        <a:pt x="1195" y="735"/>
                      </a:lnTo>
                      <a:lnTo>
                        <a:pt x="1196" y="735"/>
                      </a:lnTo>
                      <a:lnTo>
                        <a:pt x="1197" y="735"/>
                      </a:lnTo>
                      <a:lnTo>
                        <a:pt x="1197" y="734"/>
                      </a:lnTo>
                      <a:lnTo>
                        <a:pt x="1198" y="734"/>
                      </a:lnTo>
                      <a:lnTo>
                        <a:pt x="1198" y="733"/>
                      </a:lnTo>
                      <a:lnTo>
                        <a:pt x="1199" y="734"/>
                      </a:lnTo>
                      <a:lnTo>
                        <a:pt x="1199" y="733"/>
                      </a:lnTo>
                      <a:lnTo>
                        <a:pt x="1200" y="733"/>
                      </a:lnTo>
                      <a:lnTo>
                        <a:pt x="1201" y="733"/>
                      </a:lnTo>
                      <a:lnTo>
                        <a:pt x="1201" y="734"/>
                      </a:lnTo>
                      <a:lnTo>
                        <a:pt x="1200" y="734"/>
                      </a:lnTo>
                      <a:lnTo>
                        <a:pt x="1199" y="735"/>
                      </a:lnTo>
                      <a:lnTo>
                        <a:pt x="1198" y="735"/>
                      </a:lnTo>
                      <a:lnTo>
                        <a:pt x="1198" y="736"/>
                      </a:lnTo>
                      <a:lnTo>
                        <a:pt x="1198" y="737"/>
                      </a:lnTo>
                      <a:lnTo>
                        <a:pt x="1198" y="738"/>
                      </a:lnTo>
                      <a:lnTo>
                        <a:pt x="1199" y="738"/>
                      </a:lnTo>
                      <a:lnTo>
                        <a:pt x="1199" y="741"/>
                      </a:lnTo>
                      <a:lnTo>
                        <a:pt x="1198" y="741"/>
                      </a:lnTo>
                      <a:lnTo>
                        <a:pt x="1197" y="741"/>
                      </a:lnTo>
                      <a:lnTo>
                        <a:pt x="1197" y="742"/>
                      </a:lnTo>
                      <a:lnTo>
                        <a:pt x="1196" y="742"/>
                      </a:lnTo>
                      <a:lnTo>
                        <a:pt x="1195" y="742"/>
                      </a:lnTo>
                      <a:lnTo>
                        <a:pt x="1195" y="743"/>
                      </a:lnTo>
                      <a:lnTo>
                        <a:pt x="1195" y="744"/>
                      </a:lnTo>
                      <a:lnTo>
                        <a:pt x="1195" y="745"/>
                      </a:lnTo>
                      <a:lnTo>
                        <a:pt x="1196" y="746"/>
                      </a:lnTo>
                      <a:lnTo>
                        <a:pt x="1197" y="746"/>
                      </a:lnTo>
                      <a:lnTo>
                        <a:pt x="1197" y="747"/>
                      </a:lnTo>
                      <a:lnTo>
                        <a:pt x="1198" y="747"/>
                      </a:lnTo>
                      <a:lnTo>
                        <a:pt x="1198" y="748"/>
                      </a:lnTo>
                      <a:lnTo>
                        <a:pt x="1199" y="749"/>
                      </a:lnTo>
                      <a:lnTo>
                        <a:pt x="1199" y="750"/>
                      </a:lnTo>
                      <a:lnTo>
                        <a:pt x="1199" y="749"/>
                      </a:lnTo>
                      <a:lnTo>
                        <a:pt x="1200" y="750"/>
                      </a:lnTo>
                      <a:lnTo>
                        <a:pt x="1201" y="750"/>
                      </a:lnTo>
                      <a:lnTo>
                        <a:pt x="1202" y="750"/>
                      </a:lnTo>
                      <a:lnTo>
                        <a:pt x="1202" y="751"/>
                      </a:lnTo>
                      <a:lnTo>
                        <a:pt x="1203" y="751"/>
                      </a:lnTo>
                      <a:lnTo>
                        <a:pt x="1202" y="751"/>
                      </a:lnTo>
                      <a:lnTo>
                        <a:pt x="1201" y="751"/>
                      </a:lnTo>
                      <a:lnTo>
                        <a:pt x="1200" y="752"/>
                      </a:lnTo>
                      <a:lnTo>
                        <a:pt x="1199" y="752"/>
                      </a:lnTo>
                      <a:lnTo>
                        <a:pt x="1198" y="751"/>
                      </a:lnTo>
                      <a:lnTo>
                        <a:pt x="1199" y="752"/>
                      </a:lnTo>
                      <a:lnTo>
                        <a:pt x="1200" y="752"/>
                      </a:lnTo>
                      <a:lnTo>
                        <a:pt x="1201" y="752"/>
                      </a:lnTo>
                      <a:lnTo>
                        <a:pt x="1201" y="754"/>
                      </a:lnTo>
                      <a:lnTo>
                        <a:pt x="1202" y="754"/>
                      </a:lnTo>
                      <a:lnTo>
                        <a:pt x="1203" y="755"/>
                      </a:lnTo>
                      <a:lnTo>
                        <a:pt x="1205" y="755"/>
                      </a:lnTo>
                      <a:lnTo>
                        <a:pt x="1206" y="756"/>
                      </a:lnTo>
                      <a:lnTo>
                        <a:pt x="1207" y="756"/>
                      </a:lnTo>
                      <a:lnTo>
                        <a:pt x="1208" y="757"/>
                      </a:lnTo>
                      <a:lnTo>
                        <a:pt x="1209" y="757"/>
                      </a:lnTo>
                      <a:lnTo>
                        <a:pt x="1209" y="758"/>
                      </a:lnTo>
                      <a:lnTo>
                        <a:pt x="1210" y="758"/>
                      </a:lnTo>
                      <a:lnTo>
                        <a:pt x="1211" y="758"/>
                      </a:lnTo>
                      <a:lnTo>
                        <a:pt x="1211" y="759"/>
                      </a:lnTo>
                      <a:lnTo>
                        <a:pt x="1212" y="759"/>
                      </a:lnTo>
                      <a:lnTo>
                        <a:pt x="1212" y="760"/>
                      </a:lnTo>
                      <a:lnTo>
                        <a:pt x="1212" y="761"/>
                      </a:lnTo>
                      <a:lnTo>
                        <a:pt x="1212" y="762"/>
                      </a:lnTo>
                      <a:lnTo>
                        <a:pt x="1214" y="763"/>
                      </a:lnTo>
                      <a:lnTo>
                        <a:pt x="1214" y="764"/>
                      </a:lnTo>
                      <a:lnTo>
                        <a:pt x="1215" y="764"/>
                      </a:lnTo>
                      <a:lnTo>
                        <a:pt x="1215" y="765"/>
                      </a:lnTo>
                      <a:lnTo>
                        <a:pt x="1215" y="767"/>
                      </a:lnTo>
                      <a:lnTo>
                        <a:pt x="1216" y="767"/>
                      </a:lnTo>
                      <a:lnTo>
                        <a:pt x="1216" y="768"/>
                      </a:lnTo>
                      <a:lnTo>
                        <a:pt x="1216" y="769"/>
                      </a:lnTo>
                      <a:lnTo>
                        <a:pt x="1218" y="769"/>
                      </a:lnTo>
                      <a:lnTo>
                        <a:pt x="1219" y="770"/>
                      </a:lnTo>
                      <a:lnTo>
                        <a:pt x="1220" y="770"/>
                      </a:lnTo>
                      <a:lnTo>
                        <a:pt x="1221" y="771"/>
                      </a:lnTo>
                      <a:lnTo>
                        <a:pt x="1222" y="771"/>
                      </a:lnTo>
                      <a:lnTo>
                        <a:pt x="1222" y="772"/>
                      </a:lnTo>
                      <a:lnTo>
                        <a:pt x="1222" y="773"/>
                      </a:lnTo>
                      <a:lnTo>
                        <a:pt x="1221" y="772"/>
                      </a:lnTo>
                      <a:lnTo>
                        <a:pt x="1221" y="771"/>
                      </a:lnTo>
                      <a:lnTo>
                        <a:pt x="1220" y="771"/>
                      </a:lnTo>
                      <a:lnTo>
                        <a:pt x="1219" y="771"/>
                      </a:lnTo>
                      <a:lnTo>
                        <a:pt x="1219" y="770"/>
                      </a:lnTo>
                      <a:lnTo>
                        <a:pt x="1218" y="770"/>
                      </a:lnTo>
                      <a:lnTo>
                        <a:pt x="1216" y="770"/>
                      </a:lnTo>
                      <a:lnTo>
                        <a:pt x="1216" y="769"/>
                      </a:lnTo>
                      <a:lnTo>
                        <a:pt x="1215" y="769"/>
                      </a:lnTo>
                      <a:lnTo>
                        <a:pt x="1214" y="769"/>
                      </a:lnTo>
                      <a:lnTo>
                        <a:pt x="1214" y="768"/>
                      </a:lnTo>
                      <a:lnTo>
                        <a:pt x="1214" y="769"/>
                      </a:lnTo>
                      <a:lnTo>
                        <a:pt x="1213" y="768"/>
                      </a:lnTo>
                      <a:lnTo>
                        <a:pt x="1213" y="767"/>
                      </a:lnTo>
                      <a:lnTo>
                        <a:pt x="1212" y="767"/>
                      </a:lnTo>
                      <a:lnTo>
                        <a:pt x="1212" y="765"/>
                      </a:lnTo>
                      <a:lnTo>
                        <a:pt x="1212" y="764"/>
                      </a:lnTo>
                      <a:lnTo>
                        <a:pt x="1211" y="764"/>
                      </a:lnTo>
                      <a:lnTo>
                        <a:pt x="1211" y="763"/>
                      </a:lnTo>
                      <a:lnTo>
                        <a:pt x="1211" y="764"/>
                      </a:lnTo>
                      <a:lnTo>
                        <a:pt x="1210" y="763"/>
                      </a:lnTo>
                      <a:lnTo>
                        <a:pt x="1209" y="763"/>
                      </a:lnTo>
                      <a:lnTo>
                        <a:pt x="1209" y="762"/>
                      </a:lnTo>
                      <a:lnTo>
                        <a:pt x="1208" y="762"/>
                      </a:lnTo>
                      <a:lnTo>
                        <a:pt x="1207" y="762"/>
                      </a:lnTo>
                      <a:lnTo>
                        <a:pt x="1207" y="763"/>
                      </a:lnTo>
                      <a:lnTo>
                        <a:pt x="1207" y="764"/>
                      </a:lnTo>
                      <a:lnTo>
                        <a:pt x="1207" y="763"/>
                      </a:lnTo>
                      <a:lnTo>
                        <a:pt x="1206" y="763"/>
                      </a:lnTo>
                      <a:lnTo>
                        <a:pt x="1205" y="763"/>
                      </a:lnTo>
                      <a:lnTo>
                        <a:pt x="1203" y="763"/>
                      </a:lnTo>
                      <a:lnTo>
                        <a:pt x="1203" y="762"/>
                      </a:lnTo>
                      <a:lnTo>
                        <a:pt x="1202" y="762"/>
                      </a:lnTo>
                      <a:lnTo>
                        <a:pt x="1202" y="761"/>
                      </a:lnTo>
                      <a:lnTo>
                        <a:pt x="1201" y="761"/>
                      </a:lnTo>
                      <a:lnTo>
                        <a:pt x="1201" y="760"/>
                      </a:lnTo>
                      <a:lnTo>
                        <a:pt x="1202" y="761"/>
                      </a:lnTo>
                      <a:lnTo>
                        <a:pt x="1202" y="760"/>
                      </a:lnTo>
                      <a:lnTo>
                        <a:pt x="1203" y="760"/>
                      </a:lnTo>
                      <a:lnTo>
                        <a:pt x="1205" y="759"/>
                      </a:lnTo>
                      <a:lnTo>
                        <a:pt x="1203" y="759"/>
                      </a:lnTo>
                      <a:lnTo>
                        <a:pt x="1203" y="758"/>
                      </a:lnTo>
                      <a:lnTo>
                        <a:pt x="1202" y="758"/>
                      </a:lnTo>
                      <a:lnTo>
                        <a:pt x="1202" y="757"/>
                      </a:lnTo>
                      <a:lnTo>
                        <a:pt x="1201" y="757"/>
                      </a:lnTo>
                      <a:lnTo>
                        <a:pt x="1200" y="757"/>
                      </a:lnTo>
                      <a:lnTo>
                        <a:pt x="1200" y="756"/>
                      </a:lnTo>
                      <a:lnTo>
                        <a:pt x="1199" y="756"/>
                      </a:lnTo>
                      <a:lnTo>
                        <a:pt x="1198" y="756"/>
                      </a:lnTo>
                      <a:lnTo>
                        <a:pt x="1197" y="757"/>
                      </a:lnTo>
                      <a:lnTo>
                        <a:pt x="1196" y="756"/>
                      </a:lnTo>
                      <a:lnTo>
                        <a:pt x="1195" y="756"/>
                      </a:lnTo>
                      <a:lnTo>
                        <a:pt x="1194" y="756"/>
                      </a:lnTo>
                      <a:lnTo>
                        <a:pt x="1192" y="756"/>
                      </a:lnTo>
                      <a:lnTo>
                        <a:pt x="1189" y="756"/>
                      </a:lnTo>
                      <a:lnTo>
                        <a:pt x="1187" y="755"/>
                      </a:lnTo>
                      <a:lnTo>
                        <a:pt x="1185" y="752"/>
                      </a:lnTo>
                      <a:lnTo>
                        <a:pt x="1182" y="750"/>
                      </a:lnTo>
                      <a:lnTo>
                        <a:pt x="1181" y="750"/>
                      </a:lnTo>
                      <a:lnTo>
                        <a:pt x="1177" y="750"/>
                      </a:lnTo>
                      <a:lnTo>
                        <a:pt x="1176" y="750"/>
                      </a:lnTo>
                      <a:lnTo>
                        <a:pt x="1177" y="750"/>
                      </a:lnTo>
                      <a:lnTo>
                        <a:pt x="1176" y="751"/>
                      </a:lnTo>
                      <a:lnTo>
                        <a:pt x="1174" y="751"/>
                      </a:lnTo>
                      <a:lnTo>
                        <a:pt x="1173" y="751"/>
                      </a:lnTo>
                      <a:lnTo>
                        <a:pt x="1172" y="752"/>
                      </a:lnTo>
                      <a:lnTo>
                        <a:pt x="1172" y="751"/>
                      </a:lnTo>
                      <a:lnTo>
                        <a:pt x="1171" y="751"/>
                      </a:lnTo>
                      <a:lnTo>
                        <a:pt x="1170" y="752"/>
                      </a:lnTo>
                      <a:lnTo>
                        <a:pt x="1169" y="752"/>
                      </a:lnTo>
                      <a:lnTo>
                        <a:pt x="1168" y="754"/>
                      </a:lnTo>
                      <a:lnTo>
                        <a:pt x="1167" y="754"/>
                      </a:lnTo>
                      <a:lnTo>
                        <a:pt x="1166" y="754"/>
                      </a:lnTo>
                      <a:lnTo>
                        <a:pt x="1164" y="754"/>
                      </a:lnTo>
                      <a:lnTo>
                        <a:pt x="1164" y="752"/>
                      </a:lnTo>
                      <a:lnTo>
                        <a:pt x="1163" y="752"/>
                      </a:lnTo>
                      <a:lnTo>
                        <a:pt x="1163" y="751"/>
                      </a:lnTo>
                      <a:lnTo>
                        <a:pt x="1162" y="751"/>
                      </a:lnTo>
                      <a:lnTo>
                        <a:pt x="1162" y="750"/>
                      </a:lnTo>
                      <a:lnTo>
                        <a:pt x="1161" y="750"/>
                      </a:lnTo>
                      <a:lnTo>
                        <a:pt x="1159" y="750"/>
                      </a:lnTo>
                      <a:lnTo>
                        <a:pt x="1158" y="750"/>
                      </a:lnTo>
                      <a:lnTo>
                        <a:pt x="1158" y="749"/>
                      </a:lnTo>
                      <a:lnTo>
                        <a:pt x="1157" y="749"/>
                      </a:lnTo>
                      <a:lnTo>
                        <a:pt x="1156" y="749"/>
                      </a:lnTo>
                      <a:lnTo>
                        <a:pt x="1155" y="749"/>
                      </a:lnTo>
                      <a:lnTo>
                        <a:pt x="1154" y="749"/>
                      </a:lnTo>
                      <a:lnTo>
                        <a:pt x="1153" y="749"/>
                      </a:lnTo>
                      <a:lnTo>
                        <a:pt x="1151" y="749"/>
                      </a:lnTo>
                      <a:lnTo>
                        <a:pt x="1150" y="749"/>
                      </a:lnTo>
                      <a:lnTo>
                        <a:pt x="1149" y="750"/>
                      </a:lnTo>
                      <a:lnTo>
                        <a:pt x="1148" y="750"/>
                      </a:lnTo>
                      <a:lnTo>
                        <a:pt x="1148" y="751"/>
                      </a:lnTo>
                      <a:lnTo>
                        <a:pt x="1147" y="751"/>
                      </a:lnTo>
                      <a:lnTo>
                        <a:pt x="1146" y="751"/>
                      </a:lnTo>
                      <a:lnTo>
                        <a:pt x="1145" y="751"/>
                      </a:lnTo>
                      <a:lnTo>
                        <a:pt x="1145" y="750"/>
                      </a:lnTo>
                      <a:lnTo>
                        <a:pt x="1144" y="750"/>
                      </a:lnTo>
                      <a:lnTo>
                        <a:pt x="1143" y="750"/>
                      </a:lnTo>
                      <a:lnTo>
                        <a:pt x="1144" y="750"/>
                      </a:lnTo>
                      <a:lnTo>
                        <a:pt x="1143" y="750"/>
                      </a:lnTo>
                      <a:lnTo>
                        <a:pt x="1143" y="751"/>
                      </a:lnTo>
                      <a:lnTo>
                        <a:pt x="1142" y="751"/>
                      </a:lnTo>
                      <a:lnTo>
                        <a:pt x="1142" y="750"/>
                      </a:lnTo>
                      <a:lnTo>
                        <a:pt x="1142" y="749"/>
                      </a:lnTo>
                      <a:lnTo>
                        <a:pt x="1142" y="748"/>
                      </a:lnTo>
                      <a:lnTo>
                        <a:pt x="1142" y="747"/>
                      </a:lnTo>
                      <a:lnTo>
                        <a:pt x="1142" y="746"/>
                      </a:lnTo>
                      <a:lnTo>
                        <a:pt x="1141" y="746"/>
                      </a:lnTo>
                      <a:lnTo>
                        <a:pt x="1140" y="746"/>
                      </a:lnTo>
                      <a:lnTo>
                        <a:pt x="1138" y="747"/>
                      </a:lnTo>
                      <a:lnTo>
                        <a:pt x="1138" y="746"/>
                      </a:lnTo>
                      <a:lnTo>
                        <a:pt x="1138" y="745"/>
                      </a:lnTo>
                      <a:lnTo>
                        <a:pt x="1140" y="745"/>
                      </a:lnTo>
                      <a:lnTo>
                        <a:pt x="1138" y="744"/>
                      </a:lnTo>
                      <a:lnTo>
                        <a:pt x="1138" y="743"/>
                      </a:lnTo>
                      <a:lnTo>
                        <a:pt x="1137" y="743"/>
                      </a:lnTo>
                      <a:lnTo>
                        <a:pt x="1136" y="742"/>
                      </a:lnTo>
                      <a:lnTo>
                        <a:pt x="1134" y="742"/>
                      </a:lnTo>
                      <a:lnTo>
                        <a:pt x="1133" y="742"/>
                      </a:lnTo>
                      <a:lnTo>
                        <a:pt x="1134" y="742"/>
                      </a:lnTo>
                      <a:lnTo>
                        <a:pt x="1134" y="741"/>
                      </a:lnTo>
                      <a:lnTo>
                        <a:pt x="1134" y="739"/>
                      </a:lnTo>
                      <a:lnTo>
                        <a:pt x="1134" y="738"/>
                      </a:lnTo>
                      <a:lnTo>
                        <a:pt x="1135" y="738"/>
                      </a:lnTo>
                      <a:lnTo>
                        <a:pt x="1135" y="737"/>
                      </a:lnTo>
                      <a:lnTo>
                        <a:pt x="1136" y="737"/>
                      </a:lnTo>
                      <a:lnTo>
                        <a:pt x="1137" y="737"/>
                      </a:lnTo>
                      <a:lnTo>
                        <a:pt x="1136" y="737"/>
                      </a:lnTo>
                      <a:lnTo>
                        <a:pt x="1136" y="736"/>
                      </a:lnTo>
                      <a:lnTo>
                        <a:pt x="1135" y="737"/>
                      </a:lnTo>
                      <a:lnTo>
                        <a:pt x="1135" y="736"/>
                      </a:lnTo>
                      <a:lnTo>
                        <a:pt x="1134" y="736"/>
                      </a:lnTo>
                      <a:lnTo>
                        <a:pt x="1133" y="735"/>
                      </a:lnTo>
                      <a:lnTo>
                        <a:pt x="1132" y="735"/>
                      </a:lnTo>
                      <a:lnTo>
                        <a:pt x="1131" y="734"/>
                      </a:lnTo>
                      <a:lnTo>
                        <a:pt x="1130" y="734"/>
                      </a:lnTo>
                      <a:lnTo>
                        <a:pt x="1130" y="735"/>
                      </a:lnTo>
                      <a:lnTo>
                        <a:pt x="1129" y="735"/>
                      </a:lnTo>
                      <a:lnTo>
                        <a:pt x="1129" y="736"/>
                      </a:lnTo>
                      <a:lnTo>
                        <a:pt x="1128" y="736"/>
                      </a:lnTo>
                      <a:lnTo>
                        <a:pt x="1126" y="736"/>
                      </a:lnTo>
                      <a:lnTo>
                        <a:pt x="1128" y="737"/>
                      </a:lnTo>
                      <a:lnTo>
                        <a:pt x="1126" y="737"/>
                      </a:lnTo>
                      <a:lnTo>
                        <a:pt x="1126" y="738"/>
                      </a:lnTo>
                      <a:lnTo>
                        <a:pt x="1125" y="738"/>
                      </a:lnTo>
                      <a:lnTo>
                        <a:pt x="1124" y="738"/>
                      </a:lnTo>
                      <a:lnTo>
                        <a:pt x="1123" y="739"/>
                      </a:lnTo>
                      <a:lnTo>
                        <a:pt x="1122" y="739"/>
                      </a:lnTo>
                      <a:lnTo>
                        <a:pt x="1122" y="741"/>
                      </a:lnTo>
                      <a:lnTo>
                        <a:pt x="1122" y="739"/>
                      </a:lnTo>
                      <a:lnTo>
                        <a:pt x="1123" y="738"/>
                      </a:lnTo>
                      <a:lnTo>
                        <a:pt x="1123" y="737"/>
                      </a:lnTo>
                      <a:lnTo>
                        <a:pt x="1122" y="736"/>
                      </a:lnTo>
                      <a:lnTo>
                        <a:pt x="1122" y="735"/>
                      </a:lnTo>
                      <a:lnTo>
                        <a:pt x="1121" y="735"/>
                      </a:lnTo>
                      <a:lnTo>
                        <a:pt x="1121" y="734"/>
                      </a:lnTo>
                      <a:lnTo>
                        <a:pt x="1120" y="734"/>
                      </a:lnTo>
                      <a:lnTo>
                        <a:pt x="1119" y="734"/>
                      </a:lnTo>
                      <a:lnTo>
                        <a:pt x="1118" y="733"/>
                      </a:lnTo>
                      <a:lnTo>
                        <a:pt x="1117" y="733"/>
                      </a:lnTo>
                      <a:lnTo>
                        <a:pt x="1116" y="733"/>
                      </a:lnTo>
                      <a:lnTo>
                        <a:pt x="1115" y="734"/>
                      </a:lnTo>
                      <a:lnTo>
                        <a:pt x="1113" y="733"/>
                      </a:lnTo>
                      <a:lnTo>
                        <a:pt x="1112" y="732"/>
                      </a:lnTo>
                      <a:lnTo>
                        <a:pt x="1111" y="732"/>
                      </a:lnTo>
                      <a:lnTo>
                        <a:pt x="1110" y="732"/>
                      </a:lnTo>
                      <a:lnTo>
                        <a:pt x="1110" y="733"/>
                      </a:lnTo>
                      <a:lnTo>
                        <a:pt x="1109" y="733"/>
                      </a:lnTo>
                      <a:lnTo>
                        <a:pt x="1108" y="734"/>
                      </a:lnTo>
                      <a:lnTo>
                        <a:pt x="1109" y="734"/>
                      </a:lnTo>
                      <a:lnTo>
                        <a:pt x="1110" y="734"/>
                      </a:lnTo>
                      <a:lnTo>
                        <a:pt x="1110" y="735"/>
                      </a:lnTo>
                      <a:lnTo>
                        <a:pt x="1110" y="736"/>
                      </a:lnTo>
                      <a:lnTo>
                        <a:pt x="1111" y="736"/>
                      </a:lnTo>
                      <a:lnTo>
                        <a:pt x="1112" y="736"/>
                      </a:lnTo>
                      <a:lnTo>
                        <a:pt x="1112" y="737"/>
                      </a:lnTo>
                      <a:lnTo>
                        <a:pt x="1112" y="738"/>
                      </a:lnTo>
                      <a:lnTo>
                        <a:pt x="1113" y="738"/>
                      </a:lnTo>
                      <a:lnTo>
                        <a:pt x="1113" y="739"/>
                      </a:lnTo>
                      <a:lnTo>
                        <a:pt x="1115" y="739"/>
                      </a:lnTo>
                      <a:lnTo>
                        <a:pt x="1116" y="739"/>
                      </a:lnTo>
                      <a:lnTo>
                        <a:pt x="1116" y="741"/>
                      </a:lnTo>
                      <a:lnTo>
                        <a:pt x="1117" y="741"/>
                      </a:lnTo>
                      <a:lnTo>
                        <a:pt x="1117" y="742"/>
                      </a:lnTo>
                      <a:lnTo>
                        <a:pt x="1117" y="741"/>
                      </a:lnTo>
                      <a:lnTo>
                        <a:pt x="1116" y="742"/>
                      </a:lnTo>
                      <a:lnTo>
                        <a:pt x="1116" y="741"/>
                      </a:lnTo>
                      <a:lnTo>
                        <a:pt x="1115" y="742"/>
                      </a:lnTo>
                      <a:lnTo>
                        <a:pt x="1115" y="743"/>
                      </a:lnTo>
                      <a:lnTo>
                        <a:pt x="1113" y="744"/>
                      </a:lnTo>
                      <a:lnTo>
                        <a:pt x="1113" y="745"/>
                      </a:lnTo>
                      <a:lnTo>
                        <a:pt x="1115" y="746"/>
                      </a:lnTo>
                      <a:lnTo>
                        <a:pt x="1113" y="746"/>
                      </a:lnTo>
                      <a:lnTo>
                        <a:pt x="1113" y="745"/>
                      </a:lnTo>
                      <a:lnTo>
                        <a:pt x="1113" y="744"/>
                      </a:lnTo>
                      <a:lnTo>
                        <a:pt x="1112" y="744"/>
                      </a:lnTo>
                      <a:lnTo>
                        <a:pt x="1111" y="744"/>
                      </a:lnTo>
                      <a:lnTo>
                        <a:pt x="1110" y="744"/>
                      </a:lnTo>
                      <a:lnTo>
                        <a:pt x="1110" y="745"/>
                      </a:lnTo>
                      <a:lnTo>
                        <a:pt x="1111" y="746"/>
                      </a:lnTo>
                      <a:lnTo>
                        <a:pt x="1112" y="746"/>
                      </a:lnTo>
                      <a:lnTo>
                        <a:pt x="1111" y="746"/>
                      </a:lnTo>
                      <a:lnTo>
                        <a:pt x="1110" y="746"/>
                      </a:lnTo>
                      <a:lnTo>
                        <a:pt x="1109" y="746"/>
                      </a:lnTo>
                      <a:lnTo>
                        <a:pt x="1108" y="746"/>
                      </a:lnTo>
                      <a:lnTo>
                        <a:pt x="1108" y="747"/>
                      </a:lnTo>
                      <a:lnTo>
                        <a:pt x="1109" y="747"/>
                      </a:lnTo>
                      <a:lnTo>
                        <a:pt x="1109" y="748"/>
                      </a:lnTo>
                      <a:lnTo>
                        <a:pt x="1110" y="748"/>
                      </a:lnTo>
                      <a:lnTo>
                        <a:pt x="1110" y="749"/>
                      </a:lnTo>
                      <a:lnTo>
                        <a:pt x="1111" y="749"/>
                      </a:lnTo>
                      <a:lnTo>
                        <a:pt x="1111" y="750"/>
                      </a:lnTo>
                      <a:lnTo>
                        <a:pt x="1111" y="751"/>
                      </a:lnTo>
                      <a:lnTo>
                        <a:pt x="1112" y="751"/>
                      </a:lnTo>
                      <a:lnTo>
                        <a:pt x="1112" y="752"/>
                      </a:lnTo>
                      <a:lnTo>
                        <a:pt x="1113" y="752"/>
                      </a:lnTo>
                      <a:lnTo>
                        <a:pt x="1113" y="754"/>
                      </a:lnTo>
                      <a:lnTo>
                        <a:pt x="1115" y="754"/>
                      </a:lnTo>
                      <a:lnTo>
                        <a:pt x="1115" y="752"/>
                      </a:lnTo>
                      <a:lnTo>
                        <a:pt x="1116" y="754"/>
                      </a:lnTo>
                      <a:lnTo>
                        <a:pt x="1117" y="754"/>
                      </a:lnTo>
                      <a:lnTo>
                        <a:pt x="1116" y="755"/>
                      </a:lnTo>
                      <a:lnTo>
                        <a:pt x="1117" y="756"/>
                      </a:lnTo>
                      <a:lnTo>
                        <a:pt x="1117" y="755"/>
                      </a:lnTo>
                      <a:lnTo>
                        <a:pt x="1118" y="755"/>
                      </a:lnTo>
                      <a:lnTo>
                        <a:pt x="1119" y="754"/>
                      </a:lnTo>
                      <a:lnTo>
                        <a:pt x="1119" y="752"/>
                      </a:lnTo>
                      <a:lnTo>
                        <a:pt x="1118" y="752"/>
                      </a:lnTo>
                      <a:lnTo>
                        <a:pt x="1118" y="751"/>
                      </a:lnTo>
                      <a:lnTo>
                        <a:pt x="1119" y="751"/>
                      </a:lnTo>
                      <a:lnTo>
                        <a:pt x="1119" y="752"/>
                      </a:lnTo>
                      <a:lnTo>
                        <a:pt x="1119" y="754"/>
                      </a:lnTo>
                      <a:lnTo>
                        <a:pt x="1120" y="754"/>
                      </a:lnTo>
                      <a:lnTo>
                        <a:pt x="1121" y="754"/>
                      </a:lnTo>
                      <a:lnTo>
                        <a:pt x="1121" y="752"/>
                      </a:lnTo>
                      <a:lnTo>
                        <a:pt x="1122" y="754"/>
                      </a:lnTo>
                      <a:lnTo>
                        <a:pt x="1123" y="754"/>
                      </a:lnTo>
                      <a:lnTo>
                        <a:pt x="1123" y="752"/>
                      </a:lnTo>
                      <a:lnTo>
                        <a:pt x="1122" y="752"/>
                      </a:lnTo>
                      <a:lnTo>
                        <a:pt x="1122" y="751"/>
                      </a:lnTo>
                      <a:lnTo>
                        <a:pt x="1123" y="752"/>
                      </a:lnTo>
                      <a:lnTo>
                        <a:pt x="1124" y="752"/>
                      </a:lnTo>
                      <a:lnTo>
                        <a:pt x="1124" y="754"/>
                      </a:lnTo>
                      <a:lnTo>
                        <a:pt x="1125" y="754"/>
                      </a:lnTo>
                      <a:lnTo>
                        <a:pt x="1126" y="754"/>
                      </a:lnTo>
                      <a:lnTo>
                        <a:pt x="1126" y="755"/>
                      </a:lnTo>
                      <a:lnTo>
                        <a:pt x="1128" y="756"/>
                      </a:lnTo>
                      <a:lnTo>
                        <a:pt x="1128" y="757"/>
                      </a:lnTo>
                      <a:lnTo>
                        <a:pt x="1129" y="757"/>
                      </a:lnTo>
                      <a:lnTo>
                        <a:pt x="1128" y="758"/>
                      </a:lnTo>
                      <a:lnTo>
                        <a:pt x="1129" y="758"/>
                      </a:lnTo>
                      <a:lnTo>
                        <a:pt x="1129" y="759"/>
                      </a:lnTo>
                      <a:lnTo>
                        <a:pt x="1128" y="759"/>
                      </a:lnTo>
                      <a:lnTo>
                        <a:pt x="1128" y="758"/>
                      </a:lnTo>
                      <a:lnTo>
                        <a:pt x="1126" y="758"/>
                      </a:lnTo>
                      <a:lnTo>
                        <a:pt x="1126" y="757"/>
                      </a:lnTo>
                      <a:lnTo>
                        <a:pt x="1125" y="757"/>
                      </a:lnTo>
                      <a:lnTo>
                        <a:pt x="1124" y="757"/>
                      </a:lnTo>
                      <a:lnTo>
                        <a:pt x="1124" y="758"/>
                      </a:lnTo>
                      <a:lnTo>
                        <a:pt x="1124" y="759"/>
                      </a:lnTo>
                      <a:lnTo>
                        <a:pt x="1125" y="759"/>
                      </a:lnTo>
                      <a:lnTo>
                        <a:pt x="1125" y="760"/>
                      </a:lnTo>
                      <a:lnTo>
                        <a:pt x="1126" y="760"/>
                      </a:lnTo>
                      <a:lnTo>
                        <a:pt x="1126" y="759"/>
                      </a:lnTo>
                      <a:lnTo>
                        <a:pt x="1128" y="759"/>
                      </a:lnTo>
                      <a:lnTo>
                        <a:pt x="1128" y="760"/>
                      </a:lnTo>
                      <a:lnTo>
                        <a:pt x="1128" y="759"/>
                      </a:lnTo>
                      <a:lnTo>
                        <a:pt x="1129" y="759"/>
                      </a:lnTo>
                      <a:lnTo>
                        <a:pt x="1129" y="760"/>
                      </a:lnTo>
                      <a:lnTo>
                        <a:pt x="1128" y="760"/>
                      </a:lnTo>
                      <a:lnTo>
                        <a:pt x="1126" y="760"/>
                      </a:lnTo>
                      <a:lnTo>
                        <a:pt x="1125" y="760"/>
                      </a:lnTo>
                      <a:lnTo>
                        <a:pt x="1124" y="760"/>
                      </a:lnTo>
                      <a:lnTo>
                        <a:pt x="1123" y="760"/>
                      </a:lnTo>
                      <a:lnTo>
                        <a:pt x="1122" y="760"/>
                      </a:lnTo>
                      <a:lnTo>
                        <a:pt x="1121" y="760"/>
                      </a:lnTo>
                      <a:lnTo>
                        <a:pt x="1120" y="760"/>
                      </a:lnTo>
                      <a:lnTo>
                        <a:pt x="1119" y="760"/>
                      </a:lnTo>
                      <a:lnTo>
                        <a:pt x="1118" y="760"/>
                      </a:lnTo>
                      <a:lnTo>
                        <a:pt x="1117" y="760"/>
                      </a:lnTo>
                      <a:lnTo>
                        <a:pt x="1117" y="761"/>
                      </a:lnTo>
                      <a:lnTo>
                        <a:pt x="1116" y="761"/>
                      </a:lnTo>
                      <a:lnTo>
                        <a:pt x="1115" y="761"/>
                      </a:lnTo>
                      <a:lnTo>
                        <a:pt x="1115" y="762"/>
                      </a:lnTo>
                      <a:lnTo>
                        <a:pt x="1116" y="762"/>
                      </a:lnTo>
                      <a:lnTo>
                        <a:pt x="1116" y="763"/>
                      </a:lnTo>
                      <a:lnTo>
                        <a:pt x="1117" y="763"/>
                      </a:lnTo>
                      <a:lnTo>
                        <a:pt x="1118" y="764"/>
                      </a:lnTo>
                      <a:lnTo>
                        <a:pt x="1119" y="764"/>
                      </a:lnTo>
                      <a:lnTo>
                        <a:pt x="1119" y="765"/>
                      </a:lnTo>
                      <a:lnTo>
                        <a:pt x="1118" y="765"/>
                      </a:lnTo>
                      <a:lnTo>
                        <a:pt x="1118" y="767"/>
                      </a:lnTo>
                      <a:lnTo>
                        <a:pt x="1118" y="768"/>
                      </a:lnTo>
                      <a:lnTo>
                        <a:pt x="1119" y="768"/>
                      </a:lnTo>
                      <a:lnTo>
                        <a:pt x="1120" y="768"/>
                      </a:lnTo>
                      <a:lnTo>
                        <a:pt x="1120" y="769"/>
                      </a:lnTo>
                      <a:lnTo>
                        <a:pt x="1121" y="769"/>
                      </a:lnTo>
                      <a:lnTo>
                        <a:pt x="1121" y="770"/>
                      </a:lnTo>
                      <a:lnTo>
                        <a:pt x="1122" y="769"/>
                      </a:lnTo>
                      <a:lnTo>
                        <a:pt x="1122" y="770"/>
                      </a:lnTo>
                      <a:lnTo>
                        <a:pt x="1123" y="770"/>
                      </a:lnTo>
                      <a:lnTo>
                        <a:pt x="1124" y="770"/>
                      </a:lnTo>
                      <a:lnTo>
                        <a:pt x="1124" y="771"/>
                      </a:lnTo>
                      <a:lnTo>
                        <a:pt x="1124" y="770"/>
                      </a:lnTo>
                      <a:lnTo>
                        <a:pt x="1124" y="771"/>
                      </a:lnTo>
                      <a:lnTo>
                        <a:pt x="1125" y="771"/>
                      </a:lnTo>
                      <a:lnTo>
                        <a:pt x="1125" y="772"/>
                      </a:lnTo>
                      <a:lnTo>
                        <a:pt x="1124" y="772"/>
                      </a:lnTo>
                      <a:lnTo>
                        <a:pt x="1124" y="773"/>
                      </a:lnTo>
                      <a:lnTo>
                        <a:pt x="1123" y="773"/>
                      </a:lnTo>
                      <a:lnTo>
                        <a:pt x="1124" y="774"/>
                      </a:lnTo>
                      <a:lnTo>
                        <a:pt x="1125" y="774"/>
                      </a:lnTo>
                      <a:lnTo>
                        <a:pt x="1126" y="774"/>
                      </a:lnTo>
                      <a:lnTo>
                        <a:pt x="1128" y="774"/>
                      </a:lnTo>
                      <a:lnTo>
                        <a:pt x="1128" y="773"/>
                      </a:lnTo>
                      <a:lnTo>
                        <a:pt x="1126" y="772"/>
                      </a:lnTo>
                      <a:lnTo>
                        <a:pt x="1128" y="772"/>
                      </a:lnTo>
                      <a:lnTo>
                        <a:pt x="1129" y="772"/>
                      </a:lnTo>
                      <a:lnTo>
                        <a:pt x="1130" y="772"/>
                      </a:lnTo>
                      <a:lnTo>
                        <a:pt x="1130" y="773"/>
                      </a:lnTo>
                      <a:lnTo>
                        <a:pt x="1130" y="772"/>
                      </a:lnTo>
                      <a:lnTo>
                        <a:pt x="1130" y="773"/>
                      </a:lnTo>
                      <a:lnTo>
                        <a:pt x="1131" y="773"/>
                      </a:lnTo>
                      <a:lnTo>
                        <a:pt x="1132" y="773"/>
                      </a:lnTo>
                      <a:lnTo>
                        <a:pt x="1133" y="773"/>
                      </a:lnTo>
                      <a:lnTo>
                        <a:pt x="1134" y="773"/>
                      </a:lnTo>
                      <a:lnTo>
                        <a:pt x="1134" y="774"/>
                      </a:lnTo>
                      <a:lnTo>
                        <a:pt x="1135" y="774"/>
                      </a:lnTo>
                      <a:lnTo>
                        <a:pt x="1135" y="775"/>
                      </a:lnTo>
                      <a:lnTo>
                        <a:pt x="1135" y="776"/>
                      </a:lnTo>
                      <a:lnTo>
                        <a:pt x="1134" y="777"/>
                      </a:lnTo>
                      <a:lnTo>
                        <a:pt x="1134" y="778"/>
                      </a:lnTo>
                      <a:lnTo>
                        <a:pt x="1134" y="780"/>
                      </a:lnTo>
                      <a:lnTo>
                        <a:pt x="1134" y="781"/>
                      </a:lnTo>
                      <a:lnTo>
                        <a:pt x="1135" y="781"/>
                      </a:lnTo>
                      <a:lnTo>
                        <a:pt x="1135" y="782"/>
                      </a:lnTo>
                      <a:lnTo>
                        <a:pt x="1133" y="781"/>
                      </a:lnTo>
                      <a:lnTo>
                        <a:pt x="1132" y="781"/>
                      </a:lnTo>
                      <a:lnTo>
                        <a:pt x="1131" y="781"/>
                      </a:lnTo>
                      <a:lnTo>
                        <a:pt x="1131" y="780"/>
                      </a:lnTo>
                      <a:lnTo>
                        <a:pt x="1130" y="780"/>
                      </a:lnTo>
                      <a:lnTo>
                        <a:pt x="1129" y="778"/>
                      </a:lnTo>
                      <a:lnTo>
                        <a:pt x="1128" y="778"/>
                      </a:lnTo>
                      <a:lnTo>
                        <a:pt x="1126" y="777"/>
                      </a:lnTo>
                      <a:lnTo>
                        <a:pt x="1126" y="776"/>
                      </a:lnTo>
                      <a:lnTo>
                        <a:pt x="1126" y="777"/>
                      </a:lnTo>
                      <a:lnTo>
                        <a:pt x="1126" y="776"/>
                      </a:lnTo>
                      <a:lnTo>
                        <a:pt x="1125" y="775"/>
                      </a:lnTo>
                      <a:lnTo>
                        <a:pt x="1124" y="775"/>
                      </a:lnTo>
                      <a:lnTo>
                        <a:pt x="1123" y="775"/>
                      </a:lnTo>
                      <a:lnTo>
                        <a:pt x="1122" y="775"/>
                      </a:lnTo>
                      <a:lnTo>
                        <a:pt x="1121" y="775"/>
                      </a:lnTo>
                      <a:lnTo>
                        <a:pt x="1120" y="775"/>
                      </a:lnTo>
                      <a:lnTo>
                        <a:pt x="1120" y="774"/>
                      </a:lnTo>
                      <a:lnTo>
                        <a:pt x="1120" y="775"/>
                      </a:lnTo>
                      <a:lnTo>
                        <a:pt x="1119" y="774"/>
                      </a:lnTo>
                      <a:lnTo>
                        <a:pt x="1119" y="775"/>
                      </a:lnTo>
                      <a:lnTo>
                        <a:pt x="1119" y="774"/>
                      </a:lnTo>
                      <a:lnTo>
                        <a:pt x="1119" y="773"/>
                      </a:lnTo>
                      <a:lnTo>
                        <a:pt x="1119" y="772"/>
                      </a:lnTo>
                      <a:lnTo>
                        <a:pt x="1119" y="773"/>
                      </a:lnTo>
                      <a:lnTo>
                        <a:pt x="1118" y="773"/>
                      </a:lnTo>
                      <a:lnTo>
                        <a:pt x="1118" y="772"/>
                      </a:lnTo>
                      <a:lnTo>
                        <a:pt x="1117" y="772"/>
                      </a:lnTo>
                      <a:lnTo>
                        <a:pt x="1117" y="771"/>
                      </a:lnTo>
                      <a:lnTo>
                        <a:pt x="1117" y="772"/>
                      </a:lnTo>
                      <a:lnTo>
                        <a:pt x="1117" y="773"/>
                      </a:lnTo>
                      <a:lnTo>
                        <a:pt x="1116" y="772"/>
                      </a:lnTo>
                      <a:lnTo>
                        <a:pt x="1115" y="772"/>
                      </a:lnTo>
                      <a:lnTo>
                        <a:pt x="1116" y="772"/>
                      </a:lnTo>
                      <a:lnTo>
                        <a:pt x="1116" y="773"/>
                      </a:lnTo>
                      <a:lnTo>
                        <a:pt x="1116" y="772"/>
                      </a:lnTo>
                      <a:lnTo>
                        <a:pt x="1116" y="773"/>
                      </a:lnTo>
                      <a:lnTo>
                        <a:pt x="1116" y="774"/>
                      </a:lnTo>
                      <a:lnTo>
                        <a:pt x="1117" y="773"/>
                      </a:lnTo>
                      <a:lnTo>
                        <a:pt x="1117" y="774"/>
                      </a:lnTo>
                      <a:lnTo>
                        <a:pt x="1118" y="774"/>
                      </a:lnTo>
                      <a:lnTo>
                        <a:pt x="1117" y="774"/>
                      </a:lnTo>
                      <a:lnTo>
                        <a:pt x="1118" y="774"/>
                      </a:lnTo>
                      <a:lnTo>
                        <a:pt x="1118" y="775"/>
                      </a:lnTo>
                      <a:lnTo>
                        <a:pt x="1117" y="775"/>
                      </a:lnTo>
                      <a:lnTo>
                        <a:pt x="1116" y="775"/>
                      </a:lnTo>
                      <a:lnTo>
                        <a:pt x="1116" y="776"/>
                      </a:lnTo>
                      <a:lnTo>
                        <a:pt x="1115" y="776"/>
                      </a:lnTo>
                      <a:lnTo>
                        <a:pt x="1115" y="775"/>
                      </a:lnTo>
                      <a:lnTo>
                        <a:pt x="1115" y="774"/>
                      </a:lnTo>
                      <a:lnTo>
                        <a:pt x="1113" y="774"/>
                      </a:lnTo>
                      <a:lnTo>
                        <a:pt x="1113" y="773"/>
                      </a:lnTo>
                      <a:lnTo>
                        <a:pt x="1112" y="773"/>
                      </a:lnTo>
                      <a:lnTo>
                        <a:pt x="1112" y="774"/>
                      </a:lnTo>
                      <a:lnTo>
                        <a:pt x="1112" y="773"/>
                      </a:lnTo>
                      <a:lnTo>
                        <a:pt x="1111" y="773"/>
                      </a:lnTo>
                      <a:lnTo>
                        <a:pt x="1110" y="773"/>
                      </a:lnTo>
                      <a:lnTo>
                        <a:pt x="1110" y="772"/>
                      </a:lnTo>
                      <a:lnTo>
                        <a:pt x="1109" y="772"/>
                      </a:lnTo>
                      <a:lnTo>
                        <a:pt x="1108" y="772"/>
                      </a:lnTo>
                      <a:lnTo>
                        <a:pt x="1107" y="772"/>
                      </a:lnTo>
                      <a:lnTo>
                        <a:pt x="1106" y="772"/>
                      </a:lnTo>
                      <a:lnTo>
                        <a:pt x="1105" y="772"/>
                      </a:lnTo>
                      <a:lnTo>
                        <a:pt x="1104" y="773"/>
                      </a:lnTo>
                      <a:lnTo>
                        <a:pt x="1103" y="773"/>
                      </a:lnTo>
                      <a:lnTo>
                        <a:pt x="1103" y="774"/>
                      </a:lnTo>
                      <a:lnTo>
                        <a:pt x="1102" y="774"/>
                      </a:lnTo>
                      <a:lnTo>
                        <a:pt x="1100" y="774"/>
                      </a:lnTo>
                      <a:lnTo>
                        <a:pt x="1100" y="775"/>
                      </a:lnTo>
                      <a:lnTo>
                        <a:pt x="1100" y="776"/>
                      </a:lnTo>
                      <a:lnTo>
                        <a:pt x="1100" y="777"/>
                      </a:lnTo>
                      <a:lnTo>
                        <a:pt x="1099" y="777"/>
                      </a:lnTo>
                      <a:lnTo>
                        <a:pt x="1099" y="778"/>
                      </a:lnTo>
                      <a:lnTo>
                        <a:pt x="1100" y="778"/>
                      </a:lnTo>
                      <a:lnTo>
                        <a:pt x="1100" y="780"/>
                      </a:lnTo>
                      <a:lnTo>
                        <a:pt x="1100" y="781"/>
                      </a:lnTo>
                      <a:lnTo>
                        <a:pt x="1100" y="782"/>
                      </a:lnTo>
                      <a:lnTo>
                        <a:pt x="1099" y="782"/>
                      </a:lnTo>
                      <a:lnTo>
                        <a:pt x="1098" y="782"/>
                      </a:lnTo>
                      <a:lnTo>
                        <a:pt x="1098" y="783"/>
                      </a:lnTo>
                      <a:lnTo>
                        <a:pt x="1097" y="784"/>
                      </a:lnTo>
                      <a:lnTo>
                        <a:pt x="1098" y="784"/>
                      </a:lnTo>
                      <a:lnTo>
                        <a:pt x="1098" y="785"/>
                      </a:lnTo>
                      <a:lnTo>
                        <a:pt x="1097" y="785"/>
                      </a:lnTo>
                      <a:lnTo>
                        <a:pt x="1097" y="784"/>
                      </a:lnTo>
                      <a:lnTo>
                        <a:pt x="1096" y="784"/>
                      </a:lnTo>
                      <a:lnTo>
                        <a:pt x="1096" y="783"/>
                      </a:lnTo>
                      <a:lnTo>
                        <a:pt x="1095" y="783"/>
                      </a:lnTo>
                      <a:lnTo>
                        <a:pt x="1094" y="783"/>
                      </a:lnTo>
                      <a:lnTo>
                        <a:pt x="1093" y="783"/>
                      </a:lnTo>
                      <a:lnTo>
                        <a:pt x="1093" y="784"/>
                      </a:lnTo>
                      <a:lnTo>
                        <a:pt x="1093" y="783"/>
                      </a:lnTo>
                      <a:lnTo>
                        <a:pt x="1092" y="783"/>
                      </a:lnTo>
                      <a:lnTo>
                        <a:pt x="1091" y="783"/>
                      </a:lnTo>
                      <a:lnTo>
                        <a:pt x="1090" y="783"/>
                      </a:lnTo>
                      <a:lnTo>
                        <a:pt x="1089" y="783"/>
                      </a:lnTo>
                      <a:lnTo>
                        <a:pt x="1087" y="784"/>
                      </a:lnTo>
                      <a:lnTo>
                        <a:pt x="1087" y="783"/>
                      </a:lnTo>
                      <a:lnTo>
                        <a:pt x="1086" y="783"/>
                      </a:lnTo>
                      <a:lnTo>
                        <a:pt x="1085" y="782"/>
                      </a:lnTo>
                      <a:lnTo>
                        <a:pt x="1084" y="782"/>
                      </a:lnTo>
                      <a:lnTo>
                        <a:pt x="1083" y="782"/>
                      </a:lnTo>
                      <a:lnTo>
                        <a:pt x="1082" y="782"/>
                      </a:lnTo>
                      <a:lnTo>
                        <a:pt x="1081" y="782"/>
                      </a:lnTo>
                      <a:lnTo>
                        <a:pt x="1081" y="783"/>
                      </a:lnTo>
                      <a:lnTo>
                        <a:pt x="1080" y="783"/>
                      </a:lnTo>
                      <a:lnTo>
                        <a:pt x="1081" y="784"/>
                      </a:lnTo>
                      <a:lnTo>
                        <a:pt x="1082" y="784"/>
                      </a:lnTo>
                      <a:lnTo>
                        <a:pt x="1082" y="783"/>
                      </a:lnTo>
                      <a:lnTo>
                        <a:pt x="1083" y="783"/>
                      </a:lnTo>
                      <a:lnTo>
                        <a:pt x="1083" y="784"/>
                      </a:lnTo>
                      <a:lnTo>
                        <a:pt x="1083" y="785"/>
                      </a:lnTo>
                      <a:lnTo>
                        <a:pt x="1084" y="785"/>
                      </a:lnTo>
                      <a:lnTo>
                        <a:pt x="1084" y="786"/>
                      </a:lnTo>
                      <a:lnTo>
                        <a:pt x="1085" y="786"/>
                      </a:lnTo>
                      <a:lnTo>
                        <a:pt x="1086" y="786"/>
                      </a:lnTo>
                      <a:lnTo>
                        <a:pt x="1085" y="786"/>
                      </a:lnTo>
                      <a:lnTo>
                        <a:pt x="1084" y="786"/>
                      </a:lnTo>
                      <a:lnTo>
                        <a:pt x="1083" y="786"/>
                      </a:lnTo>
                      <a:lnTo>
                        <a:pt x="1083" y="787"/>
                      </a:lnTo>
                      <a:lnTo>
                        <a:pt x="1083" y="786"/>
                      </a:lnTo>
                      <a:lnTo>
                        <a:pt x="1082" y="786"/>
                      </a:lnTo>
                      <a:lnTo>
                        <a:pt x="1081" y="786"/>
                      </a:lnTo>
                      <a:lnTo>
                        <a:pt x="1080" y="786"/>
                      </a:lnTo>
                      <a:lnTo>
                        <a:pt x="1079" y="786"/>
                      </a:lnTo>
                      <a:lnTo>
                        <a:pt x="1080" y="786"/>
                      </a:lnTo>
                      <a:lnTo>
                        <a:pt x="1080" y="787"/>
                      </a:lnTo>
                      <a:lnTo>
                        <a:pt x="1079" y="787"/>
                      </a:lnTo>
                      <a:lnTo>
                        <a:pt x="1078" y="787"/>
                      </a:lnTo>
                      <a:lnTo>
                        <a:pt x="1077" y="787"/>
                      </a:lnTo>
                      <a:lnTo>
                        <a:pt x="1076" y="787"/>
                      </a:lnTo>
                      <a:lnTo>
                        <a:pt x="1074" y="787"/>
                      </a:lnTo>
                      <a:lnTo>
                        <a:pt x="1074" y="786"/>
                      </a:lnTo>
                      <a:lnTo>
                        <a:pt x="1076" y="786"/>
                      </a:lnTo>
                      <a:lnTo>
                        <a:pt x="1076" y="785"/>
                      </a:lnTo>
                      <a:lnTo>
                        <a:pt x="1077" y="785"/>
                      </a:lnTo>
                      <a:lnTo>
                        <a:pt x="1076" y="785"/>
                      </a:lnTo>
                      <a:lnTo>
                        <a:pt x="1074" y="785"/>
                      </a:lnTo>
                      <a:lnTo>
                        <a:pt x="1074" y="784"/>
                      </a:lnTo>
                      <a:lnTo>
                        <a:pt x="1074" y="783"/>
                      </a:lnTo>
                      <a:lnTo>
                        <a:pt x="1073" y="783"/>
                      </a:lnTo>
                      <a:lnTo>
                        <a:pt x="1072" y="783"/>
                      </a:lnTo>
                      <a:lnTo>
                        <a:pt x="1071" y="783"/>
                      </a:lnTo>
                      <a:lnTo>
                        <a:pt x="1070" y="783"/>
                      </a:lnTo>
                      <a:lnTo>
                        <a:pt x="1069" y="783"/>
                      </a:lnTo>
                      <a:lnTo>
                        <a:pt x="1069" y="784"/>
                      </a:lnTo>
                      <a:lnTo>
                        <a:pt x="1069" y="785"/>
                      </a:lnTo>
                      <a:lnTo>
                        <a:pt x="1070" y="785"/>
                      </a:lnTo>
                      <a:lnTo>
                        <a:pt x="1069" y="785"/>
                      </a:lnTo>
                      <a:lnTo>
                        <a:pt x="1069" y="784"/>
                      </a:lnTo>
                      <a:lnTo>
                        <a:pt x="1069" y="783"/>
                      </a:lnTo>
                      <a:lnTo>
                        <a:pt x="1070" y="783"/>
                      </a:lnTo>
                      <a:lnTo>
                        <a:pt x="1070" y="784"/>
                      </a:lnTo>
                      <a:lnTo>
                        <a:pt x="1070" y="783"/>
                      </a:lnTo>
                      <a:lnTo>
                        <a:pt x="1071" y="783"/>
                      </a:lnTo>
                      <a:lnTo>
                        <a:pt x="1072" y="783"/>
                      </a:lnTo>
                      <a:lnTo>
                        <a:pt x="1073" y="784"/>
                      </a:lnTo>
                      <a:lnTo>
                        <a:pt x="1072" y="785"/>
                      </a:lnTo>
                      <a:lnTo>
                        <a:pt x="1071" y="785"/>
                      </a:lnTo>
                      <a:lnTo>
                        <a:pt x="1071" y="786"/>
                      </a:lnTo>
                      <a:lnTo>
                        <a:pt x="1070" y="786"/>
                      </a:lnTo>
                      <a:lnTo>
                        <a:pt x="1070" y="787"/>
                      </a:lnTo>
                      <a:lnTo>
                        <a:pt x="1071" y="787"/>
                      </a:lnTo>
                      <a:lnTo>
                        <a:pt x="1071" y="788"/>
                      </a:lnTo>
                      <a:lnTo>
                        <a:pt x="1072" y="788"/>
                      </a:lnTo>
                      <a:lnTo>
                        <a:pt x="1072" y="789"/>
                      </a:lnTo>
                      <a:lnTo>
                        <a:pt x="1073" y="789"/>
                      </a:lnTo>
                      <a:lnTo>
                        <a:pt x="1074" y="789"/>
                      </a:lnTo>
                      <a:lnTo>
                        <a:pt x="1074" y="790"/>
                      </a:lnTo>
                      <a:lnTo>
                        <a:pt x="1076" y="790"/>
                      </a:lnTo>
                      <a:lnTo>
                        <a:pt x="1076" y="791"/>
                      </a:lnTo>
                      <a:lnTo>
                        <a:pt x="1077" y="791"/>
                      </a:lnTo>
                      <a:lnTo>
                        <a:pt x="1078" y="791"/>
                      </a:lnTo>
                      <a:lnTo>
                        <a:pt x="1077" y="791"/>
                      </a:lnTo>
                      <a:lnTo>
                        <a:pt x="1078" y="791"/>
                      </a:lnTo>
                      <a:lnTo>
                        <a:pt x="1079" y="791"/>
                      </a:lnTo>
                      <a:lnTo>
                        <a:pt x="1079" y="793"/>
                      </a:lnTo>
                      <a:lnTo>
                        <a:pt x="1080" y="791"/>
                      </a:lnTo>
                      <a:lnTo>
                        <a:pt x="1080" y="790"/>
                      </a:lnTo>
                      <a:lnTo>
                        <a:pt x="1081" y="790"/>
                      </a:lnTo>
                      <a:lnTo>
                        <a:pt x="1081" y="791"/>
                      </a:lnTo>
                      <a:lnTo>
                        <a:pt x="1081" y="793"/>
                      </a:lnTo>
                      <a:lnTo>
                        <a:pt x="1081" y="794"/>
                      </a:lnTo>
                      <a:lnTo>
                        <a:pt x="1081" y="795"/>
                      </a:lnTo>
                      <a:lnTo>
                        <a:pt x="1082" y="795"/>
                      </a:lnTo>
                      <a:lnTo>
                        <a:pt x="1083" y="795"/>
                      </a:lnTo>
                      <a:lnTo>
                        <a:pt x="1083" y="796"/>
                      </a:lnTo>
                      <a:lnTo>
                        <a:pt x="1084" y="796"/>
                      </a:lnTo>
                      <a:lnTo>
                        <a:pt x="1083" y="796"/>
                      </a:lnTo>
                      <a:lnTo>
                        <a:pt x="1083" y="797"/>
                      </a:lnTo>
                      <a:lnTo>
                        <a:pt x="1082" y="797"/>
                      </a:lnTo>
                      <a:lnTo>
                        <a:pt x="1082" y="796"/>
                      </a:lnTo>
                      <a:lnTo>
                        <a:pt x="1081" y="795"/>
                      </a:lnTo>
                      <a:lnTo>
                        <a:pt x="1080" y="795"/>
                      </a:lnTo>
                      <a:lnTo>
                        <a:pt x="1079" y="795"/>
                      </a:lnTo>
                      <a:lnTo>
                        <a:pt x="1079" y="794"/>
                      </a:lnTo>
                      <a:lnTo>
                        <a:pt x="1078" y="794"/>
                      </a:lnTo>
                      <a:lnTo>
                        <a:pt x="1077" y="794"/>
                      </a:lnTo>
                      <a:lnTo>
                        <a:pt x="1077" y="793"/>
                      </a:lnTo>
                      <a:lnTo>
                        <a:pt x="1076" y="794"/>
                      </a:lnTo>
                      <a:lnTo>
                        <a:pt x="1074" y="794"/>
                      </a:lnTo>
                      <a:lnTo>
                        <a:pt x="1073" y="794"/>
                      </a:lnTo>
                      <a:lnTo>
                        <a:pt x="1073" y="795"/>
                      </a:lnTo>
                      <a:lnTo>
                        <a:pt x="1073" y="796"/>
                      </a:lnTo>
                      <a:lnTo>
                        <a:pt x="1074" y="796"/>
                      </a:lnTo>
                      <a:lnTo>
                        <a:pt x="1074" y="795"/>
                      </a:lnTo>
                      <a:lnTo>
                        <a:pt x="1074" y="796"/>
                      </a:lnTo>
                      <a:lnTo>
                        <a:pt x="1076" y="795"/>
                      </a:lnTo>
                      <a:lnTo>
                        <a:pt x="1076" y="796"/>
                      </a:lnTo>
                      <a:lnTo>
                        <a:pt x="1076" y="795"/>
                      </a:lnTo>
                      <a:lnTo>
                        <a:pt x="1077" y="796"/>
                      </a:lnTo>
                      <a:lnTo>
                        <a:pt x="1076" y="796"/>
                      </a:lnTo>
                      <a:lnTo>
                        <a:pt x="1076" y="797"/>
                      </a:lnTo>
                      <a:lnTo>
                        <a:pt x="1077" y="797"/>
                      </a:lnTo>
                      <a:lnTo>
                        <a:pt x="1077" y="798"/>
                      </a:lnTo>
                      <a:lnTo>
                        <a:pt x="1077" y="799"/>
                      </a:lnTo>
                      <a:lnTo>
                        <a:pt x="1078" y="799"/>
                      </a:lnTo>
                      <a:lnTo>
                        <a:pt x="1078" y="800"/>
                      </a:lnTo>
                      <a:lnTo>
                        <a:pt x="1079" y="800"/>
                      </a:lnTo>
                      <a:lnTo>
                        <a:pt x="1079" y="801"/>
                      </a:lnTo>
                      <a:lnTo>
                        <a:pt x="1079" y="802"/>
                      </a:lnTo>
                      <a:lnTo>
                        <a:pt x="1080" y="802"/>
                      </a:lnTo>
                      <a:lnTo>
                        <a:pt x="1080" y="803"/>
                      </a:lnTo>
                      <a:lnTo>
                        <a:pt x="1081" y="804"/>
                      </a:lnTo>
                      <a:lnTo>
                        <a:pt x="1082" y="804"/>
                      </a:lnTo>
                      <a:lnTo>
                        <a:pt x="1082" y="806"/>
                      </a:lnTo>
                      <a:lnTo>
                        <a:pt x="1083" y="806"/>
                      </a:lnTo>
                      <a:lnTo>
                        <a:pt x="1083" y="807"/>
                      </a:lnTo>
                      <a:lnTo>
                        <a:pt x="1084" y="808"/>
                      </a:lnTo>
                      <a:lnTo>
                        <a:pt x="1085" y="808"/>
                      </a:lnTo>
                      <a:lnTo>
                        <a:pt x="1086" y="808"/>
                      </a:lnTo>
                      <a:lnTo>
                        <a:pt x="1086" y="809"/>
                      </a:lnTo>
                      <a:lnTo>
                        <a:pt x="1087" y="809"/>
                      </a:lnTo>
                      <a:lnTo>
                        <a:pt x="1089" y="809"/>
                      </a:lnTo>
                      <a:lnTo>
                        <a:pt x="1090" y="809"/>
                      </a:lnTo>
                      <a:lnTo>
                        <a:pt x="1091" y="809"/>
                      </a:lnTo>
                      <a:lnTo>
                        <a:pt x="1092" y="809"/>
                      </a:lnTo>
                      <a:lnTo>
                        <a:pt x="1093" y="809"/>
                      </a:lnTo>
                      <a:lnTo>
                        <a:pt x="1094" y="809"/>
                      </a:lnTo>
                      <a:lnTo>
                        <a:pt x="1095" y="810"/>
                      </a:lnTo>
                      <a:lnTo>
                        <a:pt x="1096" y="811"/>
                      </a:lnTo>
                      <a:lnTo>
                        <a:pt x="1097" y="811"/>
                      </a:lnTo>
                      <a:lnTo>
                        <a:pt x="1098" y="812"/>
                      </a:lnTo>
                      <a:lnTo>
                        <a:pt x="1097" y="812"/>
                      </a:lnTo>
                      <a:lnTo>
                        <a:pt x="1096" y="812"/>
                      </a:lnTo>
                      <a:lnTo>
                        <a:pt x="1095" y="812"/>
                      </a:lnTo>
                      <a:lnTo>
                        <a:pt x="1096" y="812"/>
                      </a:lnTo>
                      <a:lnTo>
                        <a:pt x="1096" y="813"/>
                      </a:lnTo>
                      <a:lnTo>
                        <a:pt x="1095" y="813"/>
                      </a:lnTo>
                      <a:lnTo>
                        <a:pt x="1094" y="812"/>
                      </a:lnTo>
                      <a:lnTo>
                        <a:pt x="1093" y="812"/>
                      </a:lnTo>
                      <a:lnTo>
                        <a:pt x="1092" y="812"/>
                      </a:lnTo>
                      <a:lnTo>
                        <a:pt x="1091" y="812"/>
                      </a:lnTo>
                      <a:lnTo>
                        <a:pt x="1090" y="812"/>
                      </a:lnTo>
                      <a:lnTo>
                        <a:pt x="1089" y="811"/>
                      </a:lnTo>
                      <a:lnTo>
                        <a:pt x="1087" y="811"/>
                      </a:lnTo>
                      <a:lnTo>
                        <a:pt x="1087" y="810"/>
                      </a:lnTo>
                      <a:lnTo>
                        <a:pt x="1087" y="811"/>
                      </a:lnTo>
                      <a:lnTo>
                        <a:pt x="1089" y="812"/>
                      </a:lnTo>
                      <a:lnTo>
                        <a:pt x="1090" y="812"/>
                      </a:lnTo>
                      <a:lnTo>
                        <a:pt x="1090" y="813"/>
                      </a:lnTo>
                      <a:lnTo>
                        <a:pt x="1091" y="814"/>
                      </a:lnTo>
                      <a:lnTo>
                        <a:pt x="1092" y="814"/>
                      </a:lnTo>
                      <a:lnTo>
                        <a:pt x="1092" y="815"/>
                      </a:lnTo>
                      <a:lnTo>
                        <a:pt x="1092" y="816"/>
                      </a:lnTo>
                      <a:lnTo>
                        <a:pt x="1093" y="816"/>
                      </a:lnTo>
                      <a:lnTo>
                        <a:pt x="1094" y="817"/>
                      </a:lnTo>
                      <a:lnTo>
                        <a:pt x="1094" y="816"/>
                      </a:lnTo>
                      <a:lnTo>
                        <a:pt x="1095" y="817"/>
                      </a:lnTo>
                      <a:lnTo>
                        <a:pt x="1095" y="819"/>
                      </a:lnTo>
                      <a:lnTo>
                        <a:pt x="1094" y="819"/>
                      </a:lnTo>
                      <a:lnTo>
                        <a:pt x="1094" y="817"/>
                      </a:lnTo>
                      <a:lnTo>
                        <a:pt x="1093" y="817"/>
                      </a:lnTo>
                      <a:lnTo>
                        <a:pt x="1093" y="819"/>
                      </a:lnTo>
                      <a:lnTo>
                        <a:pt x="1093" y="817"/>
                      </a:lnTo>
                      <a:lnTo>
                        <a:pt x="1092" y="819"/>
                      </a:lnTo>
                      <a:lnTo>
                        <a:pt x="1091" y="819"/>
                      </a:lnTo>
                      <a:lnTo>
                        <a:pt x="1090" y="819"/>
                      </a:lnTo>
                      <a:lnTo>
                        <a:pt x="1089" y="819"/>
                      </a:lnTo>
                      <a:lnTo>
                        <a:pt x="1087" y="819"/>
                      </a:lnTo>
                      <a:lnTo>
                        <a:pt x="1089" y="820"/>
                      </a:lnTo>
                      <a:lnTo>
                        <a:pt x="1090" y="821"/>
                      </a:lnTo>
                      <a:lnTo>
                        <a:pt x="1091" y="821"/>
                      </a:lnTo>
                      <a:lnTo>
                        <a:pt x="1092" y="821"/>
                      </a:lnTo>
                      <a:lnTo>
                        <a:pt x="1092" y="822"/>
                      </a:lnTo>
                      <a:lnTo>
                        <a:pt x="1093" y="822"/>
                      </a:lnTo>
                      <a:lnTo>
                        <a:pt x="1093" y="823"/>
                      </a:lnTo>
                      <a:lnTo>
                        <a:pt x="1094" y="823"/>
                      </a:lnTo>
                      <a:lnTo>
                        <a:pt x="1095" y="823"/>
                      </a:lnTo>
                      <a:lnTo>
                        <a:pt x="1096" y="823"/>
                      </a:lnTo>
                      <a:lnTo>
                        <a:pt x="1096" y="824"/>
                      </a:lnTo>
                      <a:lnTo>
                        <a:pt x="1097" y="825"/>
                      </a:lnTo>
                      <a:lnTo>
                        <a:pt x="1096" y="825"/>
                      </a:lnTo>
                      <a:lnTo>
                        <a:pt x="1096" y="824"/>
                      </a:lnTo>
                      <a:lnTo>
                        <a:pt x="1096" y="825"/>
                      </a:lnTo>
                      <a:lnTo>
                        <a:pt x="1095" y="825"/>
                      </a:lnTo>
                      <a:lnTo>
                        <a:pt x="1094" y="825"/>
                      </a:lnTo>
                      <a:lnTo>
                        <a:pt x="1094" y="826"/>
                      </a:lnTo>
                      <a:lnTo>
                        <a:pt x="1095" y="826"/>
                      </a:lnTo>
                      <a:lnTo>
                        <a:pt x="1094" y="826"/>
                      </a:lnTo>
                      <a:lnTo>
                        <a:pt x="1095" y="826"/>
                      </a:lnTo>
                      <a:lnTo>
                        <a:pt x="1096" y="826"/>
                      </a:lnTo>
                      <a:lnTo>
                        <a:pt x="1095" y="826"/>
                      </a:lnTo>
                      <a:lnTo>
                        <a:pt x="1095" y="825"/>
                      </a:lnTo>
                      <a:lnTo>
                        <a:pt x="1096" y="825"/>
                      </a:lnTo>
                      <a:lnTo>
                        <a:pt x="1096" y="826"/>
                      </a:lnTo>
                      <a:lnTo>
                        <a:pt x="1097" y="826"/>
                      </a:lnTo>
                      <a:lnTo>
                        <a:pt x="1097" y="827"/>
                      </a:lnTo>
                      <a:lnTo>
                        <a:pt x="1096" y="827"/>
                      </a:lnTo>
                      <a:lnTo>
                        <a:pt x="1097" y="827"/>
                      </a:lnTo>
                      <a:lnTo>
                        <a:pt x="1097" y="828"/>
                      </a:lnTo>
                      <a:lnTo>
                        <a:pt x="1097" y="827"/>
                      </a:lnTo>
                      <a:lnTo>
                        <a:pt x="1097" y="828"/>
                      </a:lnTo>
                      <a:lnTo>
                        <a:pt x="1098" y="828"/>
                      </a:lnTo>
                      <a:lnTo>
                        <a:pt x="1098" y="829"/>
                      </a:lnTo>
                      <a:lnTo>
                        <a:pt x="1098" y="831"/>
                      </a:lnTo>
                      <a:lnTo>
                        <a:pt x="1098" y="832"/>
                      </a:lnTo>
                      <a:lnTo>
                        <a:pt x="1098" y="831"/>
                      </a:lnTo>
                      <a:lnTo>
                        <a:pt x="1099" y="831"/>
                      </a:lnTo>
                      <a:lnTo>
                        <a:pt x="1100" y="831"/>
                      </a:lnTo>
                      <a:lnTo>
                        <a:pt x="1100" y="829"/>
                      </a:lnTo>
                      <a:lnTo>
                        <a:pt x="1102" y="829"/>
                      </a:lnTo>
                      <a:lnTo>
                        <a:pt x="1103" y="829"/>
                      </a:lnTo>
                      <a:lnTo>
                        <a:pt x="1104" y="829"/>
                      </a:lnTo>
                      <a:lnTo>
                        <a:pt x="1104" y="828"/>
                      </a:lnTo>
                      <a:lnTo>
                        <a:pt x="1105" y="829"/>
                      </a:lnTo>
                      <a:lnTo>
                        <a:pt x="1105" y="831"/>
                      </a:lnTo>
                      <a:lnTo>
                        <a:pt x="1106" y="831"/>
                      </a:lnTo>
                      <a:lnTo>
                        <a:pt x="1106" y="832"/>
                      </a:lnTo>
                      <a:lnTo>
                        <a:pt x="1106" y="833"/>
                      </a:lnTo>
                      <a:lnTo>
                        <a:pt x="1107" y="833"/>
                      </a:lnTo>
                      <a:lnTo>
                        <a:pt x="1107" y="834"/>
                      </a:lnTo>
                      <a:lnTo>
                        <a:pt x="1108" y="834"/>
                      </a:lnTo>
                      <a:lnTo>
                        <a:pt x="1108" y="835"/>
                      </a:lnTo>
                      <a:lnTo>
                        <a:pt x="1107" y="834"/>
                      </a:lnTo>
                      <a:lnTo>
                        <a:pt x="1106" y="834"/>
                      </a:lnTo>
                      <a:lnTo>
                        <a:pt x="1106" y="835"/>
                      </a:lnTo>
                      <a:lnTo>
                        <a:pt x="1105" y="835"/>
                      </a:lnTo>
                      <a:lnTo>
                        <a:pt x="1105" y="836"/>
                      </a:lnTo>
                      <a:lnTo>
                        <a:pt x="1105" y="837"/>
                      </a:lnTo>
                      <a:lnTo>
                        <a:pt x="1105" y="838"/>
                      </a:lnTo>
                      <a:lnTo>
                        <a:pt x="1106" y="838"/>
                      </a:lnTo>
                      <a:lnTo>
                        <a:pt x="1106" y="837"/>
                      </a:lnTo>
                      <a:lnTo>
                        <a:pt x="1107" y="837"/>
                      </a:lnTo>
                      <a:lnTo>
                        <a:pt x="1108" y="837"/>
                      </a:lnTo>
                      <a:lnTo>
                        <a:pt x="1108" y="838"/>
                      </a:lnTo>
                      <a:lnTo>
                        <a:pt x="1108" y="839"/>
                      </a:lnTo>
                      <a:lnTo>
                        <a:pt x="1107" y="838"/>
                      </a:lnTo>
                      <a:lnTo>
                        <a:pt x="1106" y="838"/>
                      </a:lnTo>
                      <a:lnTo>
                        <a:pt x="1106" y="839"/>
                      </a:lnTo>
                      <a:lnTo>
                        <a:pt x="1107" y="839"/>
                      </a:lnTo>
                      <a:lnTo>
                        <a:pt x="1107" y="840"/>
                      </a:lnTo>
                      <a:lnTo>
                        <a:pt x="1108" y="840"/>
                      </a:lnTo>
                      <a:lnTo>
                        <a:pt x="1107" y="841"/>
                      </a:lnTo>
                      <a:lnTo>
                        <a:pt x="1107" y="842"/>
                      </a:lnTo>
                      <a:lnTo>
                        <a:pt x="1106" y="842"/>
                      </a:lnTo>
                      <a:lnTo>
                        <a:pt x="1105" y="842"/>
                      </a:lnTo>
                      <a:lnTo>
                        <a:pt x="1105" y="841"/>
                      </a:lnTo>
                      <a:lnTo>
                        <a:pt x="1104" y="841"/>
                      </a:lnTo>
                      <a:lnTo>
                        <a:pt x="1104" y="840"/>
                      </a:lnTo>
                      <a:lnTo>
                        <a:pt x="1104" y="841"/>
                      </a:lnTo>
                      <a:lnTo>
                        <a:pt x="1103" y="841"/>
                      </a:lnTo>
                      <a:lnTo>
                        <a:pt x="1102" y="841"/>
                      </a:lnTo>
                      <a:lnTo>
                        <a:pt x="1102" y="842"/>
                      </a:lnTo>
                      <a:lnTo>
                        <a:pt x="1100" y="842"/>
                      </a:lnTo>
                      <a:lnTo>
                        <a:pt x="1099" y="842"/>
                      </a:lnTo>
                      <a:lnTo>
                        <a:pt x="1099" y="844"/>
                      </a:lnTo>
                      <a:lnTo>
                        <a:pt x="1099" y="842"/>
                      </a:lnTo>
                      <a:lnTo>
                        <a:pt x="1100" y="842"/>
                      </a:lnTo>
                      <a:lnTo>
                        <a:pt x="1100" y="841"/>
                      </a:lnTo>
                      <a:lnTo>
                        <a:pt x="1102" y="841"/>
                      </a:lnTo>
                      <a:lnTo>
                        <a:pt x="1100" y="840"/>
                      </a:lnTo>
                      <a:lnTo>
                        <a:pt x="1099" y="839"/>
                      </a:lnTo>
                      <a:lnTo>
                        <a:pt x="1099" y="840"/>
                      </a:lnTo>
                      <a:lnTo>
                        <a:pt x="1098" y="840"/>
                      </a:lnTo>
                      <a:lnTo>
                        <a:pt x="1098" y="839"/>
                      </a:lnTo>
                      <a:lnTo>
                        <a:pt x="1097" y="839"/>
                      </a:lnTo>
                      <a:lnTo>
                        <a:pt x="1097" y="840"/>
                      </a:lnTo>
                      <a:lnTo>
                        <a:pt x="1098" y="840"/>
                      </a:lnTo>
                      <a:lnTo>
                        <a:pt x="1097" y="840"/>
                      </a:lnTo>
                      <a:lnTo>
                        <a:pt x="1096" y="840"/>
                      </a:lnTo>
                      <a:lnTo>
                        <a:pt x="1095" y="840"/>
                      </a:lnTo>
                      <a:lnTo>
                        <a:pt x="1095" y="839"/>
                      </a:lnTo>
                      <a:lnTo>
                        <a:pt x="1094" y="840"/>
                      </a:lnTo>
                      <a:lnTo>
                        <a:pt x="1095" y="840"/>
                      </a:lnTo>
                      <a:lnTo>
                        <a:pt x="1095" y="841"/>
                      </a:lnTo>
                      <a:lnTo>
                        <a:pt x="1096" y="841"/>
                      </a:lnTo>
                      <a:lnTo>
                        <a:pt x="1096" y="842"/>
                      </a:lnTo>
                      <a:lnTo>
                        <a:pt x="1096" y="841"/>
                      </a:lnTo>
                      <a:lnTo>
                        <a:pt x="1097" y="841"/>
                      </a:lnTo>
                      <a:lnTo>
                        <a:pt x="1097" y="842"/>
                      </a:lnTo>
                      <a:lnTo>
                        <a:pt x="1098" y="842"/>
                      </a:lnTo>
                      <a:lnTo>
                        <a:pt x="1097" y="842"/>
                      </a:lnTo>
                      <a:lnTo>
                        <a:pt x="1097" y="844"/>
                      </a:lnTo>
                      <a:lnTo>
                        <a:pt x="1098" y="844"/>
                      </a:lnTo>
                      <a:lnTo>
                        <a:pt x="1099" y="844"/>
                      </a:lnTo>
                      <a:lnTo>
                        <a:pt x="1100" y="844"/>
                      </a:lnTo>
                      <a:lnTo>
                        <a:pt x="1100" y="842"/>
                      </a:lnTo>
                      <a:lnTo>
                        <a:pt x="1102" y="842"/>
                      </a:lnTo>
                      <a:lnTo>
                        <a:pt x="1103" y="842"/>
                      </a:lnTo>
                      <a:lnTo>
                        <a:pt x="1104" y="842"/>
                      </a:lnTo>
                      <a:lnTo>
                        <a:pt x="1103" y="842"/>
                      </a:lnTo>
                      <a:lnTo>
                        <a:pt x="1103" y="844"/>
                      </a:lnTo>
                      <a:lnTo>
                        <a:pt x="1102" y="844"/>
                      </a:lnTo>
                      <a:lnTo>
                        <a:pt x="1103" y="844"/>
                      </a:lnTo>
                      <a:lnTo>
                        <a:pt x="1104" y="844"/>
                      </a:lnTo>
                      <a:lnTo>
                        <a:pt x="1105" y="844"/>
                      </a:lnTo>
                      <a:lnTo>
                        <a:pt x="1102" y="845"/>
                      </a:lnTo>
                      <a:lnTo>
                        <a:pt x="1100" y="845"/>
                      </a:lnTo>
                      <a:lnTo>
                        <a:pt x="1098" y="846"/>
                      </a:lnTo>
                      <a:lnTo>
                        <a:pt x="1097" y="846"/>
                      </a:lnTo>
                      <a:lnTo>
                        <a:pt x="1096" y="846"/>
                      </a:lnTo>
                      <a:lnTo>
                        <a:pt x="1096" y="847"/>
                      </a:lnTo>
                      <a:lnTo>
                        <a:pt x="1097" y="847"/>
                      </a:lnTo>
                      <a:lnTo>
                        <a:pt x="1097" y="848"/>
                      </a:lnTo>
                      <a:lnTo>
                        <a:pt x="1098" y="848"/>
                      </a:lnTo>
                      <a:lnTo>
                        <a:pt x="1097" y="848"/>
                      </a:lnTo>
                      <a:lnTo>
                        <a:pt x="1097" y="847"/>
                      </a:lnTo>
                      <a:lnTo>
                        <a:pt x="1097" y="848"/>
                      </a:lnTo>
                      <a:lnTo>
                        <a:pt x="1098" y="848"/>
                      </a:lnTo>
                      <a:lnTo>
                        <a:pt x="1099" y="848"/>
                      </a:lnTo>
                      <a:lnTo>
                        <a:pt x="1100" y="847"/>
                      </a:lnTo>
                      <a:lnTo>
                        <a:pt x="1102" y="847"/>
                      </a:lnTo>
                      <a:lnTo>
                        <a:pt x="1103" y="847"/>
                      </a:lnTo>
                      <a:lnTo>
                        <a:pt x="1104" y="848"/>
                      </a:lnTo>
                      <a:lnTo>
                        <a:pt x="1104" y="849"/>
                      </a:lnTo>
                      <a:lnTo>
                        <a:pt x="1103" y="849"/>
                      </a:lnTo>
                      <a:lnTo>
                        <a:pt x="1102" y="849"/>
                      </a:lnTo>
                      <a:lnTo>
                        <a:pt x="1102" y="850"/>
                      </a:lnTo>
                      <a:lnTo>
                        <a:pt x="1102" y="851"/>
                      </a:lnTo>
                      <a:lnTo>
                        <a:pt x="1103" y="850"/>
                      </a:lnTo>
                      <a:lnTo>
                        <a:pt x="1104" y="850"/>
                      </a:lnTo>
                      <a:lnTo>
                        <a:pt x="1105" y="850"/>
                      </a:lnTo>
                      <a:lnTo>
                        <a:pt x="1106" y="850"/>
                      </a:lnTo>
                      <a:lnTo>
                        <a:pt x="1107" y="850"/>
                      </a:lnTo>
                      <a:lnTo>
                        <a:pt x="1107" y="851"/>
                      </a:lnTo>
                      <a:lnTo>
                        <a:pt x="1108" y="852"/>
                      </a:lnTo>
                      <a:lnTo>
                        <a:pt x="1109" y="852"/>
                      </a:lnTo>
                      <a:lnTo>
                        <a:pt x="1110" y="852"/>
                      </a:lnTo>
                      <a:lnTo>
                        <a:pt x="1110" y="853"/>
                      </a:lnTo>
                      <a:lnTo>
                        <a:pt x="1111" y="853"/>
                      </a:lnTo>
                      <a:lnTo>
                        <a:pt x="1111" y="854"/>
                      </a:lnTo>
                      <a:lnTo>
                        <a:pt x="1111" y="855"/>
                      </a:lnTo>
                      <a:lnTo>
                        <a:pt x="1112" y="855"/>
                      </a:lnTo>
                      <a:lnTo>
                        <a:pt x="1113" y="855"/>
                      </a:lnTo>
                      <a:lnTo>
                        <a:pt x="1115" y="855"/>
                      </a:lnTo>
                      <a:lnTo>
                        <a:pt x="1115" y="857"/>
                      </a:lnTo>
                      <a:lnTo>
                        <a:pt x="1116" y="857"/>
                      </a:lnTo>
                      <a:lnTo>
                        <a:pt x="1117" y="855"/>
                      </a:lnTo>
                      <a:lnTo>
                        <a:pt x="1117" y="857"/>
                      </a:lnTo>
                      <a:lnTo>
                        <a:pt x="1118" y="855"/>
                      </a:lnTo>
                      <a:lnTo>
                        <a:pt x="1119" y="855"/>
                      </a:lnTo>
                      <a:lnTo>
                        <a:pt x="1119" y="857"/>
                      </a:lnTo>
                      <a:lnTo>
                        <a:pt x="1120" y="857"/>
                      </a:lnTo>
                      <a:lnTo>
                        <a:pt x="1119" y="855"/>
                      </a:lnTo>
                      <a:lnTo>
                        <a:pt x="1118" y="855"/>
                      </a:lnTo>
                      <a:lnTo>
                        <a:pt x="1117" y="855"/>
                      </a:lnTo>
                      <a:lnTo>
                        <a:pt x="1116" y="855"/>
                      </a:lnTo>
                      <a:lnTo>
                        <a:pt x="1116" y="854"/>
                      </a:lnTo>
                      <a:lnTo>
                        <a:pt x="1115" y="854"/>
                      </a:lnTo>
                      <a:lnTo>
                        <a:pt x="1116" y="853"/>
                      </a:lnTo>
                      <a:lnTo>
                        <a:pt x="1117" y="853"/>
                      </a:lnTo>
                      <a:lnTo>
                        <a:pt x="1117" y="854"/>
                      </a:lnTo>
                      <a:lnTo>
                        <a:pt x="1118" y="853"/>
                      </a:lnTo>
                      <a:lnTo>
                        <a:pt x="1119" y="853"/>
                      </a:lnTo>
                      <a:lnTo>
                        <a:pt x="1120" y="853"/>
                      </a:lnTo>
                      <a:lnTo>
                        <a:pt x="1121" y="853"/>
                      </a:lnTo>
                      <a:lnTo>
                        <a:pt x="1122" y="853"/>
                      </a:lnTo>
                      <a:lnTo>
                        <a:pt x="1122" y="852"/>
                      </a:lnTo>
                      <a:lnTo>
                        <a:pt x="1123" y="852"/>
                      </a:lnTo>
                      <a:lnTo>
                        <a:pt x="1124" y="852"/>
                      </a:lnTo>
                      <a:lnTo>
                        <a:pt x="1123" y="853"/>
                      </a:lnTo>
                      <a:lnTo>
                        <a:pt x="1122" y="853"/>
                      </a:lnTo>
                      <a:lnTo>
                        <a:pt x="1123" y="854"/>
                      </a:lnTo>
                      <a:lnTo>
                        <a:pt x="1122" y="854"/>
                      </a:lnTo>
                      <a:lnTo>
                        <a:pt x="1123" y="854"/>
                      </a:lnTo>
                      <a:lnTo>
                        <a:pt x="1123" y="855"/>
                      </a:lnTo>
                      <a:lnTo>
                        <a:pt x="1124" y="855"/>
                      </a:lnTo>
                      <a:lnTo>
                        <a:pt x="1125" y="855"/>
                      </a:lnTo>
                      <a:lnTo>
                        <a:pt x="1125" y="857"/>
                      </a:lnTo>
                      <a:lnTo>
                        <a:pt x="1126" y="857"/>
                      </a:lnTo>
                      <a:lnTo>
                        <a:pt x="1125" y="857"/>
                      </a:lnTo>
                      <a:lnTo>
                        <a:pt x="1124" y="857"/>
                      </a:lnTo>
                      <a:lnTo>
                        <a:pt x="1124" y="855"/>
                      </a:lnTo>
                      <a:lnTo>
                        <a:pt x="1124" y="857"/>
                      </a:lnTo>
                      <a:lnTo>
                        <a:pt x="1124" y="855"/>
                      </a:lnTo>
                      <a:lnTo>
                        <a:pt x="1123" y="855"/>
                      </a:lnTo>
                      <a:lnTo>
                        <a:pt x="1123" y="854"/>
                      </a:lnTo>
                      <a:lnTo>
                        <a:pt x="1122" y="854"/>
                      </a:lnTo>
                      <a:lnTo>
                        <a:pt x="1122" y="855"/>
                      </a:lnTo>
                      <a:lnTo>
                        <a:pt x="1123" y="855"/>
                      </a:lnTo>
                      <a:lnTo>
                        <a:pt x="1123" y="857"/>
                      </a:lnTo>
                      <a:lnTo>
                        <a:pt x="1124" y="857"/>
                      </a:lnTo>
                      <a:lnTo>
                        <a:pt x="1124" y="858"/>
                      </a:lnTo>
                      <a:lnTo>
                        <a:pt x="1124" y="859"/>
                      </a:lnTo>
                      <a:lnTo>
                        <a:pt x="1125" y="859"/>
                      </a:lnTo>
                      <a:lnTo>
                        <a:pt x="1125" y="860"/>
                      </a:lnTo>
                      <a:lnTo>
                        <a:pt x="1126" y="861"/>
                      </a:lnTo>
                      <a:lnTo>
                        <a:pt x="1126" y="862"/>
                      </a:lnTo>
                      <a:lnTo>
                        <a:pt x="1128" y="862"/>
                      </a:lnTo>
                      <a:lnTo>
                        <a:pt x="1129" y="862"/>
                      </a:lnTo>
                      <a:lnTo>
                        <a:pt x="1129" y="863"/>
                      </a:lnTo>
                      <a:lnTo>
                        <a:pt x="1129" y="862"/>
                      </a:lnTo>
                      <a:lnTo>
                        <a:pt x="1130" y="862"/>
                      </a:lnTo>
                      <a:lnTo>
                        <a:pt x="1130" y="861"/>
                      </a:lnTo>
                      <a:lnTo>
                        <a:pt x="1130" y="860"/>
                      </a:lnTo>
                      <a:lnTo>
                        <a:pt x="1131" y="861"/>
                      </a:lnTo>
                      <a:lnTo>
                        <a:pt x="1132" y="861"/>
                      </a:lnTo>
                      <a:lnTo>
                        <a:pt x="1132" y="862"/>
                      </a:lnTo>
                      <a:lnTo>
                        <a:pt x="1132" y="863"/>
                      </a:lnTo>
                      <a:lnTo>
                        <a:pt x="1133" y="863"/>
                      </a:lnTo>
                      <a:lnTo>
                        <a:pt x="1134" y="863"/>
                      </a:lnTo>
                      <a:lnTo>
                        <a:pt x="1134" y="864"/>
                      </a:lnTo>
                      <a:lnTo>
                        <a:pt x="1135" y="864"/>
                      </a:lnTo>
                      <a:lnTo>
                        <a:pt x="1136" y="864"/>
                      </a:lnTo>
                      <a:lnTo>
                        <a:pt x="1137" y="864"/>
                      </a:lnTo>
                      <a:lnTo>
                        <a:pt x="1136" y="864"/>
                      </a:lnTo>
                      <a:lnTo>
                        <a:pt x="1137" y="863"/>
                      </a:lnTo>
                      <a:lnTo>
                        <a:pt x="1137" y="864"/>
                      </a:lnTo>
                      <a:lnTo>
                        <a:pt x="1138" y="864"/>
                      </a:lnTo>
                      <a:lnTo>
                        <a:pt x="1138" y="863"/>
                      </a:lnTo>
                      <a:lnTo>
                        <a:pt x="1138" y="864"/>
                      </a:lnTo>
                      <a:lnTo>
                        <a:pt x="1138" y="863"/>
                      </a:lnTo>
                      <a:lnTo>
                        <a:pt x="1140" y="863"/>
                      </a:lnTo>
                      <a:lnTo>
                        <a:pt x="1138" y="863"/>
                      </a:lnTo>
                      <a:lnTo>
                        <a:pt x="1138" y="862"/>
                      </a:lnTo>
                      <a:lnTo>
                        <a:pt x="1137" y="862"/>
                      </a:lnTo>
                      <a:lnTo>
                        <a:pt x="1136" y="862"/>
                      </a:lnTo>
                      <a:lnTo>
                        <a:pt x="1136" y="863"/>
                      </a:lnTo>
                      <a:lnTo>
                        <a:pt x="1136" y="864"/>
                      </a:lnTo>
                      <a:lnTo>
                        <a:pt x="1135" y="863"/>
                      </a:lnTo>
                      <a:lnTo>
                        <a:pt x="1136" y="863"/>
                      </a:lnTo>
                      <a:lnTo>
                        <a:pt x="1135" y="863"/>
                      </a:lnTo>
                      <a:lnTo>
                        <a:pt x="1135" y="862"/>
                      </a:lnTo>
                      <a:lnTo>
                        <a:pt x="1136" y="862"/>
                      </a:lnTo>
                      <a:lnTo>
                        <a:pt x="1137" y="862"/>
                      </a:lnTo>
                      <a:lnTo>
                        <a:pt x="1138" y="862"/>
                      </a:lnTo>
                      <a:lnTo>
                        <a:pt x="1138" y="863"/>
                      </a:lnTo>
                      <a:lnTo>
                        <a:pt x="1140" y="863"/>
                      </a:lnTo>
                      <a:lnTo>
                        <a:pt x="1141" y="863"/>
                      </a:lnTo>
                      <a:lnTo>
                        <a:pt x="1142" y="864"/>
                      </a:lnTo>
                      <a:lnTo>
                        <a:pt x="1141" y="864"/>
                      </a:lnTo>
                      <a:lnTo>
                        <a:pt x="1141" y="865"/>
                      </a:lnTo>
                      <a:lnTo>
                        <a:pt x="1140" y="865"/>
                      </a:lnTo>
                      <a:lnTo>
                        <a:pt x="1138" y="865"/>
                      </a:lnTo>
                      <a:lnTo>
                        <a:pt x="1137" y="865"/>
                      </a:lnTo>
                      <a:lnTo>
                        <a:pt x="1137" y="866"/>
                      </a:lnTo>
                      <a:lnTo>
                        <a:pt x="1136" y="866"/>
                      </a:lnTo>
                      <a:lnTo>
                        <a:pt x="1136" y="867"/>
                      </a:lnTo>
                      <a:lnTo>
                        <a:pt x="1136" y="868"/>
                      </a:lnTo>
                      <a:lnTo>
                        <a:pt x="1137" y="868"/>
                      </a:lnTo>
                      <a:lnTo>
                        <a:pt x="1137" y="870"/>
                      </a:lnTo>
                      <a:lnTo>
                        <a:pt x="1138" y="870"/>
                      </a:lnTo>
                      <a:lnTo>
                        <a:pt x="1138" y="871"/>
                      </a:lnTo>
                      <a:lnTo>
                        <a:pt x="1140" y="871"/>
                      </a:lnTo>
                      <a:lnTo>
                        <a:pt x="1140" y="872"/>
                      </a:lnTo>
                      <a:lnTo>
                        <a:pt x="1141" y="872"/>
                      </a:lnTo>
                      <a:lnTo>
                        <a:pt x="1142" y="872"/>
                      </a:lnTo>
                      <a:lnTo>
                        <a:pt x="1142" y="871"/>
                      </a:lnTo>
                      <a:lnTo>
                        <a:pt x="1143" y="871"/>
                      </a:lnTo>
                      <a:lnTo>
                        <a:pt x="1144" y="871"/>
                      </a:lnTo>
                      <a:lnTo>
                        <a:pt x="1145" y="871"/>
                      </a:lnTo>
                      <a:lnTo>
                        <a:pt x="1145" y="870"/>
                      </a:lnTo>
                      <a:lnTo>
                        <a:pt x="1145" y="868"/>
                      </a:lnTo>
                      <a:lnTo>
                        <a:pt x="1146" y="868"/>
                      </a:lnTo>
                      <a:lnTo>
                        <a:pt x="1147" y="868"/>
                      </a:lnTo>
                      <a:lnTo>
                        <a:pt x="1148" y="868"/>
                      </a:lnTo>
                      <a:lnTo>
                        <a:pt x="1148" y="867"/>
                      </a:lnTo>
                      <a:lnTo>
                        <a:pt x="1148" y="868"/>
                      </a:lnTo>
                      <a:lnTo>
                        <a:pt x="1148" y="870"/>
                      </a:lnTo>
                      <a:lnTo>
                        <a:pt x="1149" y="871"/>
                      </a:lnTo>
                      <a:lnTo>
                        <a:pt x="1150" y="870"/>
                      </a:lnTo>
                      <a:lnTo>
                        <a:pt x="1150" y="871"/>
                      </a:lnTo>
                      <a:lnTo>
                        <a:pt x="1151" y="871"/>
                      </a:lnTo>
                      <a:lnTo>
                        <a:pt x="1153" y="870"/>
                      </a:lnTo>
                      <a:lnTo>
                        <a:pt x="1151" y="871"/>
                      </a:lnTo>
                      <a:lnTo>
                        <a:pt x="1153" y="871"/>
                      </a:lnTo>
                      <a:lnTo>
                        <a:pt x="1154" y="870"/>
                      </a:lnTo>
                      <a:lnTo>
                        <a:pt x="1154" y="868"/>
                      </a:lnTo>
                      <a:lnTo>
                        <a:pt x="1153" y="868"/>
                      </a:lnTo>
                      <a:lnTo>
                        <a:pt x="1154" y="868"/>
                      </a:lnTo>
                      <a:lnTo>
                        <a:pt x="1155" y="868"/>
                      </a:lnTo>
                      <a:lnTo>
                        <a:pt x="1156" y="868"/>
                      </a:lnTo>
                      <a:lnTo>
                        <a:pt x="1155" y="868"/>
                      </a:lnTo>
                      <a:lnTo>
                        <a:pt x="1156" y="868"/>
                      </a:lnTo>
                      <a:lnTo>
                        <a:pt x="1156" y="867"/>
                      </a:lnTo>
                      <a:lnTo>
                        <a:pt x="1157" y="867"/>
                      </a:lnTo>
                      <a:lnTo>
                        <a:pt x="1158" y="867"/>
                      </a:lnTo>
                      <a:lnTo>
                        <a:pt x="1159" y="867"/>
                      </a:lnTo>
                      <a:lnTo>
                        <a:pt x="1160" y="867"/>
                      </a:lnTo>
                      <a:lnTo>
                        <a:pt x="1160" y="868"/>
                      </a:lnTo>
                      <a:lnTo>
                        <a:pt x="1161" y="868"/>
                      </a:lnTo>
                      <a:lnTo>
                        <a:pt x="1161" y="867"/>
                      </a:lnTo>
                      <a:lnTo>
                        <a:pt x="1162" y="867"/>
                      </a:lnTo>
                      <a:lnTo>
                        <a:pt x="1163" y="867"/>
                      </a:lnTo>
                      <a:lnTo>
                        <a:pt x="1162" y="867"/>
                      </a:lnTo>
                      <a:lnTo>
                        <a:pt x="1162" y="868"/>
                      </a:lnTo>
                      <a:lnTo>
                        <a:pt x="1163" y="868"/>
                      </a:lnTo>
                      <a:lnTo>
                        <a:pt x="1162" y="870"/>
                      </a:lnTo>
                      <a:lnTo>
                        <a:pt x="1162" y="871"/>
                      </a:lnTo>
                      <a:lnTo>
                        <a:pt x="1162" y="870"/>
                      </a:lnTo>
                      <a:lnTo>
                        <a:pt x="1161" y="870"/>
                      </a:lnTo>
                      <a:lnTo>
                        <a:pt x="1160" y="870"/>
                      </a:lnTo>
                      <a:lnTo>
                        <a:pt x="1160" y="868"/>
                      </a:lnTo>
                      <a:lnTo>
                        <a:pt x="1160" y="870"/>
                      </a:lnTo>
                      <a:lnTo>
                        <a:pt x="1159" y="870"/>
                      </a:lnTo>
                      <a:lnTo>
                        <a:pt x="1159" y="868"/>
                      </a:lnTo>
                      <a:lnTo>
                        <a:pt x="1158" y="868"/>
                      </a:lnTo>
                      <a:lnTo>
                        <a:pt x="1157" y="868"/>
                      </a:lnTo>
                      <a:lnTo>
                        <a:pt x="1157" y="870"/>
                      </a:lnTo>
                      <a:lnTo>
                        <a:pt x="1158" y="870"/>
                      </a:lnTo>
                      <a:lnTo>
                        <a:pt x="1159" y="870"/>
                      </a:lnTo>
                      <a:lnTo>
                        <a:pt x="1160" y="870"/>
                      </a:lnTo>
                      <a:lnTo>
                        <a:pt x="1160" y="871"/>
                      </a:lnTo>
                      <a:lnTo>
                        <a:pt x="1161" y="871"/>
                      </a:lnTo>
                      <a:lnTo>
                        <a:pt x="1160" y="871"/>
                      </a:lnTo>
                      <a:lnTo>
                        <a:pt x="1160" y="872"/>
                      </a:lnTo>
                      <a:lnTo>
                        <a:pt x="1160" y="871"/>
                      </a:lnTo>
                      <a:lnTo>
                        <a:pt x="1159" y="872"/>
                      </a:lnTo>
                      <a:lnTo>
                        <a:pt x="1159" y="871"/>
                      </a:lnTo>
                      <a:lnTo>
                        <a:pt x="1158" y="871"/>
                      </a:lnTo>
                      <a:lnTo>
                        <a:pt x="1158" y="870"/>
                      </a:lnTo>
                      <a:lnTo>
                        <a:pt x="1157" y="871"/>
                      </a:lnTo>
                      <a:lnTo>
                        <a:pt x="1157" y="870"/>
                      </a:lnTo>
                      <a:lnTo>
                        <a:pt x="1156" y="870"/>
                      </a:lnTo>
                      <a:lnTo>
                        <a:pt x="1156" y="871"/>
                      </a:lnTo>
                      <a:lnTo>
                        <a:pt x="1157" y="871"/>
                      </a:lnTo>
                      <a:lnTo>
                        <a:pt x="1158" y="871"/>
                      </a:lnTo>
                      <a:lnTo>
                        <a:pt x="1158" y="872"/>
                      </a:lnTo>
                      <a:lnTo>
                        <a:pt x="1159" y="872"/>
                      </a:lnTo>
                      <a:lnTo>
                        <a:pt x="1160" y="872"/>
                      </a:lnTo>
                      <a:lnTo>
                        <a:pt x="1160" y="873"/>
                      </a:lnTo>
                      <a:lnTo>
                        <a:pt x="1159" y="873"/>
                      </a:lnTo>
                      <a:lnTo>
                        <a:pt x="1158" y="873"/>
                      </a:lnTo>
                      <a:lnTo>
                        <a:pt x="1159" y="873"/>
                      </a:lnTo>
                      <a:lnTo>
                        <a:pt x="1159" y="874"/>
                      </a:lnTo>
                      <a:lnTo>
                        <a:pt x="1159" y="873"/>
                      </a:lnTo>
                      <a:lnTo>
                        <a:pt x="1160" y="874"/>
                      </a:lnTo>
                      <a:lnTo>
                        <a:pt x="1159" y="874"/>
                      </a:lnTo>
                      <a:lnTo>
                        <a:pt x="1159" y="875"/>
                      </a:lnTo>
                      <a:lnTo>
                        <a:pt x="1159" y="876"/>
                      </a:lnTo>
                      <a:lnTo>
                        <a:pt x="1159" y="877"/>
                      </a:lnTo>
                      <a:lnTo>
                        <a:pt x="1160" y="878"/>
                      </a:lnTo>
                      <a:lnTo>
                        <a:pt x="1161" y="878"/>
                      </a:lnTo>
                      <a:lnTo>
                        <a:pt x="1162" y="878"/>
                      </a:lnTo>
                      <a:lnTo>
                        <a:pt x="1162" y="877"/>
                      </a:lnTo>
                      <a:lnTo>
                        <a:pt x="1163" y="877"/>
                      </a:lnTo>
                      <a:lnTo>
                        <a:pt x="1163" y="878"/>
                      </a:lnTo>
                      <a:lnTo>
                        <a:pt x="1163" y="879"/>
                      </a:lnTo>
                      <a:lnTo>
                        <a:pt x="1163" y="880"/>
                      </a:lnTo>
                      <a:lnTo>
                        <a:pt x="1164" y="880"/>
                      </a:lnTo>
                      <a:lnTo>
                        <a:pt x="1166" y="880"/>
                      </a:lnTo>
                      <a:lnTo>
                        <a:pt x="1166" y="881"/>
                      </a:lnTo>
                      <a:lnTo>
                        <a:pt x="1164" y="881"/>
                      </a:lnTo>
                      <a:lnTo>
                        <a:pt x="1163" y="880"/>
                      </a:lnTo>
                      <a:lnTo>
                        <a:pt x="1163" y="881"/>
                      </a:lnTo>
                      <a:lnTo>
                        <a:pt x="1163" y="880"/>
                      </a:lnTo>
                      <a:lnTo>
                        <a:pt x="1162" y="880"/>
                      </a:lnTo>
                      <a:lnTo>
                        <a:pt x="1162" y="881"/>
                      </a:lnTo>
                      <a:lnTo>
                        <a:pt x="1163" y="883"/>
                      </a:lnTo>
                      <a:lnTo>
                        <a:pt x="1164" y="883"/>
                      </a:lnTo>
                      <a:lnTo>
                        <a:pt x="1164" y="884"/>
                      </a:lnTo>
                      <a:lnTo>
                        <a:pt x="1166" y="884"/>
                      </a:lnTo>
                      <a:lnTo>
                        <a:pt x="1167" y="884"/>
                      </a:lnTo>
                      <a:lnTo>
                        <a:pt x="1167" y="885"/>
                      </a:lnTo>
                      <a:lnTo>
                        <a:pt x="1167" y="886"/>
                      </a:lnTo>
                      <a:lnTo>
                        <a:pt x="1168" y="886"/>
                      </a:lnTo>
                      <a:lnTo>
                        <a:pt x="1168" y="887"/>
                      </a:lnTo>
                      <a:lnTo>
                        <a:pt x="1169" y="887"/>
                      </a:lnTo>
                      <a:lnTo>
                        <a:pt x="1169" y="888"/>
                      </a:lnTo>
                      <a:lnTo>
                        <a:pt x="1170" y="888"/>
                      </a:lnTo>
                      <a:lnTo>
                        <a:pt x="1170" y="889"/>
                      </a:lnTo>
                      <a:lnTo>
                        <a:pt x="1171" y="889"/>
                      </a:lnTo>
                      <a:lnTo>
                        <a:pt x="1171" y="888"/>
                      </a:lnTo>
                      <a:lnTo>
                        <a:pt x="1171" y="889"/>
                      </a:lnTo>
                      <a:lnTo>
                        <a:pt x="1172" y="889"/>
                      </a:lnTo>
                      <a:lnTo>
                        <a:pt x="1171" y="889"/>
                      </a:lnTo>
                      <a:lnTo>
                        <a:pt x="1171" y="888"/>
                      </a:lnTo>
                      <a:lnTo>
                        <a:pt x="1172" y="888"/>
                      </a:lnTo>
                      <a:lnTo>
                        <a:pt x="1172" y="887"/>
                      </a:lnTo>
                      <a:lnTo>
                        <a:pt x="1171" y="887"/>
                      </a:lnTo>
                      <a:lnTo>
                        <a:pt x="1171" y="886"/>
                      </a:lnTo>
                      <a:lnTo>
                        <a:pt x="1172" y="886"/>
                      </a:lnTo>
                      <a:lnTo>
                        <a:pt x="1171" y="886"/>
                      </a:lnTo>
                      <a:lnTo>
                        <a:pt x="1171" y="885"/>
                      </a:lnTo>
                      <a:lnTo>
                        <a:pt x="1171" y="886"/>
                      </a:lnTo>
                      <a:lnTo>
                        <a:pt x="1171" y="885"/>
                      </a:lnTo>
                      <a:lnTo>
                        <a:pt x="1172" y="885"/>
                      </a:lnTo>
                      <a:lnTo>
                        <a:pt x="1172" y="884"/>
                      </a:lnTo>
                      <a:lnTo>
                        <a:pt x="1171" y="884"/>
                      </a:lnTo>
                      <a:lnTo>
                        <a:pt x="1172" y="884"/>
                      </a:lnTo>
                      <a:lnTo>
                        <a:pt x="1172" y="883"/>
                      </a:lnTo>
                      <a:lnTo>
                        <a:pt x="1171" y="883"/>
                      </a:lnTo>
                      <a:lnTo>
                        <a:pt x="1170" y="883"/>
                      </a:lnTo>
                      <a:lnTo>
                        <a:pt x="1170" y="884"/>
                      </a:lnTo>
                      <a:lnTo>
                        <a:pt x="1171" y="884"/>
                      </a:lnTo>
                      <a:lnTo>
                        <a:pt x="1170" y="884"/>
                      </a:lnTo>
                      <a:lnTo>
                        <a:pt x="1170" y="883"/>
                      </a:lnTo>
                      <a:lnTo>
                        <a:pt x="1171" y="883"/>
                      </a:lnTo>
                      <a:lnTo>
                        <a:pt x="1171" y="881"/>
                      </a:lnTo>
                      <a:lnTo>
                        <a:pt x="1170" y="881"/>
                      </a:lnTo>
                      <a:lnTo>
                        <a:pt x="1170" y="880"/>
                      </a:lnTo>
                      <a:lnTo>
                        <a:pt x="1171" y="880"/>
                      </a:lnTo>
                      <a:lnTo>
                        <a:pt x="1171" y="879"/>
                      </a:lnTo>
                      <a:lnTo>
                        <a:pt x="1171" y="880"/>
                      </a:lnTo>
                      <a:lnTo>
                        <a:pt x="1172" y="880"/>
                      </a:lnTo>
                      <a:lnTo>
                        <a:pt x="1172" y="881"/>
                      </a:lnTo>
                      <a:lnTo>
                        <a:pt x="1173" y="881"/>
                      </a:lnTo>
                      <a:lnTo>
                        <a:pt x="1173" y="883"/>
                      </a:lnTo>
                      <a:lnTo>
                        <a:pt x="1174" y="884"/>
                      </a:lnTo>
                      <a:lnTo>
                        <a:pt x="1175" y="884"/>
                      </a:lnTo>
                      <a:lnTo>
                        <a:pt x="1176" y="885"/>
                      </a:lnTo>
                      <a:lnTo>
                        <a:pt x="1176" y="886"/>
                      </a:lnTo>
                      <a:lnTo>
                        <a:pt x="1176" y="887"/>
                      </a:lnTo>
                      <a:lnTo>
                        <a:pt x="1176" y="888"/>
                      </a:lnTo>
                      <a:lnTo>
                        <a:pt x="1177" y="888"/>
                      </a:lnTo>
                      <a:lnTo>
                        <a:pt x="1177" y="889"/>
                      </a:lnTo>
                      <a:lnTo>
                        <a:pt x="1177" y="890"/>
                      </a:lnTo>
                      <a:lnTo>
                        <a:pt x="1177" y="891"/>
                      </a:lnTo>
                      <a:lnTo>
                        <a:pt x="1177" y="892"/>
                      </a:lnTo>
                      <a:lnTo>
                        <a:pt x="1179" y="892"/>
                      </a:lnTo>
                      <a:lnTo>
                        <a:pt x="1180" y="892"/>
                      </a:lnTo>
                      <a:lnTo>
                        <a:pt x="1180" y="891"/>
                      </a:lnTo>
                      <a:lnTo>
                        <a:pt x="1180" y="892"/>
                      </a:lnTo>
                      <a:lnTo>
                        <a:pt x="1181" y="892"/>
                      </a:lnTo>
                      <a:lnTo>
                        <a:pt x="1182" y="892"/>
                      </a:lnTo>
                      <a:lnTo>
                        <a:pt x="1182" y="891"/>
                      </a:lnTo>
                      <a:lnTo>
                        <a:pt x="1182" y="890"/>
                      </a:lnTo>
                      <a:lnTo>
                        <a:pt x="1183" y="889"/>
                      </a:lnTo>
                      <a:lnTo>
                        <a:pt x="1182" y="889"/>
                      </a:lnTo>
                      <a:lnTo>
                        <a:pt x="1183" y="889"/>
                      </a:lnTo>
                      <a:lnTo>
                        <a:pt x="1184" y="889"/>
                      </a:lnTo>
                      <a:lnTo>
                        <a:pt x="1184" y="888"/>
                      </a:lnTo>
                      <a:lnTo>
                        <a:pt x="1185" y="888"/>
                      </a:lnTo>
                      <a:lnTo>
                        <a:pt x="1185" y="889"/>
                      </a:lnTo>
                      <a:lnTo>
                        <a:pt x="1184" y="889"/>
                      </a:lnTo>
                      <a:lnTo>
                        <a:pt x="1184" y="890"/>
                      </a:lnTo>
                      <a:lnTo>
                        <a:pt x="1183" y="890"/>
                      </a:lnTo>
                      <a:lnTo>
                        <a:pt x="1183" y="891"/>
                      </a:lnTo>
                      <a:lnTo>
                        <a:pt x="1183" y="892"/>
                      </a:lnTo>
                      <a:lnTo>
                        <a:pt x="1183" y="893"/>
                      </a:lnTo>
                      <a:lnTo>
                        <a:pt x="1184" y="893"/>
                      </a:lnTo>
                      <a:lnTo>
                        <a:pt x="1183" y="893"/>
                      </a:lnTo>
                      <a:lnTo>
                        <a:pt x="1183" y="894"/>
                      </a:lnTo>
                      <a:lnTo>
                        <a:pt x="1184" y="896"/>
                      </a:lnTo>
                      <a:lnTo>
                        <a:pt x="1184" y="897"/>
                      </a:lnTo>
                      <a:lnTo>
                        <a:pt x="1185" y="897"/>
                      </a:lnTo>
                      <a:lnTo>
                        <a:pt x="1185" y="898"/>
                      </a:lnTo>
                      <a:lnTo>
                        <a:pt x="1186" y="898"/>
                      </a:lnTo>
                      <a:lnTo>
                        <a:pt x="1187" y="899"/>
                      </a:lnTo>
                      <a:lnTo>
                        <a:pt x="1188" y="899"/>
                      </a:lnTo>
                      <a:lnTo>
                        <a:pt x="1189" y="899"/>
                      </a:lnTo>
                      <a:lnTo>
                        <a:pt x="1189" y="900"/>
                      </a:lnTo>
                      <a:lnTo>
                        <a:pt x="1190" y="900"/>
                      </a:lnTo>
                      <a:lnTo>
                        <a:pt x="1192" y="900"/>
                      </a:lnTo>
                      <a:lnTo>
                        <a:pt x="1193" y="900"/>
                      </a:lnTo>
                      <a:lnTo>
                        <a:pt x="1193" y="899"/>
                      </a:lnTo>
                      <a:lnTo>
                        <a:pt x="1193" y="898"/>
                      </a:lnTo>
                      <a:lnTo>
                        <a:pt x="1194" y="897"/>
                      </a:lnTo>
                      <a:lnTo>
                        <a:pt x="1195" y="897"/>
                      </a:lnTo>
                      <a:lnTo>
                        <a:pt x="1195" y="896"/>
                      </a:lnTo>
                      <a:lnTo>
                        <a:pt x="1196" y="896"/>
                      </a:lnTo>
                      <a:lnTo>
                        <a:pt x="1196" y="894"/>
                      </a:lnTo>
                      <a:lnTo>
                        <a:pt x="1196" y="896"/>
                      </a:lnTo>
                      <a:lnTo>
                        <a:pt x="1197" y="896"/>
                      </a:lnTo>
                      <a:lnTo>
                        <a:pt x="1197" y="894"/>
                      </a:lnTo>
                      <a:lnTo>
                        <a:pt x="1197" y="896"/>
                      </a:lnTo>
                      <a:lnTo>
                        <a:pt x="1198" y="896"/>
                      </a:lnTo>
                      <a:lnTo>
                        <a:pt x="1198" y="894"/>
                      </a:lnTo>
                      <a:lnTo>
                        <a:pt x="1198" y="896"/>
                      </a:lnTo>
                      <a:lnTo>
                        <a:pt x="1199" y="896"/>
                      </a:lnTo>
                      <a:lnTo>
                        <a:pt x="1199" y="894"/>
                      </a:lnTo>
                      <a:lnTo>
                        <a:pt x="1200" y="894"/>
                      </a:lnTo>
                      <a:lnTo>
                        <a:pt x="1200" y="896"/>
                      </a:lnTo>
                      <a:lnTo>
                        <a:pt x="1200" y="894"/>
                      </a:lnTo>
                      <a:lnTo>
                        <a:pt x="1201" y="893"/>
                      </a:lnTo>
                      <a:lnTo>
                        <a:pt x="1201" y="894"/>
                      </a:lnTo>
                      <a:lnTo>
                        <a:pt x="1201" y="893"/>
                      </a:lnTo>
                      <a:lnTo>
                        <a:pt x="1202" y="892"/>
                      </a:lnTo>
                      <a:lnTo>
                        <a:pt x="1202" y="893"/>
                      </a:lnTo>
                      <a:lnTo>
                        <a:pt x="1203" y="893"/>
                      </a:lnTo>
                      <a:lnTo>
                        <a:pt x="1202" y="893"/>
                      </a:lnTo>
                      <a:lnTo>
                        <a:pt x="1202" y="894"/>
                      </a:lnTo>
                      <a:lnTo>
                        <a:pt x="1201" y="894"/>
                      </a:lnTo>
                      <a:lnTo>
                        <a:pt x="1201" y="896"/>
                      </a:lnTo>
                      <a:lnTo>
                        <a:pt x="1200" y="896"/>
                      </a:lnTo>
                      <a:lnTo>
                        <a:pt x="1200" y="897"/>
                      </a:lnTo>
                      <a:lnTo>
                        <a:pt x="1199" y="898"/>
                      </a:lnTo>
                      <a:lnTo>
                        <a:pt x="1198" y="897"/>
                      </a:lnTo>
                      <a:lnTo>
                        <a:pt x="1197" y="897"/>
                      </a:lnTo>
                      <a:lnTo>
                        <a:pt x="1196" y="897"/>
                      </a:lnTo>
                      <a:lnTo>
                        <a:pt x="1195" y="897"/>
                      </a:lnTo>
                      <a:lnTo>
                        <a:pt x="1195" y="898"/>
                      </a:lnTo>
                      <a:lnTo>
                        <a:pt x="1194" y="898"/>
                      </a:lnTo>
                      <a:lnTo>
                        <a:pt x="1194" y="899"/>
                      </a:lnTo>
                      <a:lnTo>
                        <a:pt x="1194" y="900"/>
                      </a:lnTo>
                      <a:lnTo>
                        <a:pt x="1193" y="900"/>
                      </a:lnTo>
                      <a:lnTo>
                        <a:pt x="1194" y="900"/>
                      </a:lnTo>
                      <a:lnTo>
                        <a:pt x="1193" y="900"/>
                      </a:lnTo>
                      <a:lnTo>
                        <a:pt x="1194" y="900"/>
                      </a:lnTo>
                      <a:lnTo>
                        <a:pt x="1194" y="901"/>
                      </a:lnTo>
                      <a:lnTo>
                        <a:pt x="1193" y="901"/>
                      </a:lnTo>
                      <a:lnTo>
                        <a:pt x="1193" y="902"/>
                      </a:lnTo>
                      <a:lnTo>
                        <a:pt x="1192" y="902"/>
                      </a:lnTo>
                      <a:lnTo>
                        <a:pt x="1192" y="901"/>
                      </a:lnTo>
                      <a:lnTo>
                        <a:pt x="1190" y="901"/>
                      </a:lnTo>
                      <a:lnTo>
                        <a:pt x="1190" y="902"/>
                      </a:lnTo>
                      <a:lnTo>
                        <a:pt x="1192" y="902"/>
                      </a:lnTo>
                      <a:lnTo>
                        <a:pt x="1192" y="903"/>
                      </a:lnTo>
                      <a:lnTo>
                        <a:pt x="1190" y="903"/>
                      </a:lnTo>
                      <a:lnTo>
                        <a:pt x="1190" y="904"/>
                      </a:lnTo>
                      <a:lnTo>
                        <a:pt x="1189" y="904"/>
                      </a:lnTo>
                      <a:lnTo>
                        <a:pt x="1189" y="905"/>
                      </a:lnTo>
                      <a:lnTo>
                        <a:pt x="1190" y="905"/>
                      </a:lnTo>
                      <a:lnTo>
                        <a:pt x="1192" y="906"/>
                      </a:lnTo>
                      <a:lnTo>
                        <a:pt x="1193" y="906"/>
                      </a:lnTo>
                      <a:lnTo>
                        <a:pt x="1193" y="907"/>
                      </a:lnTo>
                      <a:lnTo>
                        <a:pt x="1192" y="907"/>
                      </a:lnTo>
                      <a:lnTo>
                        <a:pt x="1190" y="909"/>
                      </a:lnTo>
                      <a:lnTo>
                        <a:pt x="1189" y="909"/>
                      </a:lnTo>
                      <a:lnTo>
                        <a:pt x="1189" y="907"/>
                      </a:lnTo>
                      <a:lnTo>
                        <a:pt x="1189" y="906"/>
                      </a:lnTo>
                      <a:lnTo>
                        <a:pt x="1188" y="906"/>
                      </a:lnTo>
                      <a:lnTo>
                        <a:pt x="1187" y="906"/>
                      </a:lnTo>
                      <a:lnTo>
                        <a:pt x="1187" y="905"/>
                      </a:lnTo>
                      <a:lnTo>
                        <a:pt x="1186" y="905"/>
                      </a:lnTo>
                      <a:lnTo>
                        <a:pt x="1186" y="904"/>
                      </a:lnTo>
                      <a:lnTo>
                        <a:pt x="1185" y="904"/>
                      </a:lnTo>
                      <a:lnTo>
                        <a:pt x="1184" y="904"/>
                      </a:lnTo>
                      <a:lnTo>
                        <a:pt x="1184" y="905"/>
                      </a:lnTo>
                      <a:lnTo>
                        <a:pt x="1184" y="904"/>
                      </a:lnTo>
                      <a:lnTo>
                        <a:pt x="1184" y="903"/>
                      </a:lnTo>
                      <a:lnTo>
                        <a:pt x="1184" y="902"/>
                      </a:lnTo>
                      <a:lnTo>
                        <a:pt x="1184" y="901"/>
                      </a:lnTo>
                      <a:lnTo>
                        <a:pt x="1184" y="900"/>
                      </a:lnTo>
                      <a:lnTo>
                        <a:pt x="1184" y="901"/>
                      </a:lnTo>
                      <a:lnTo>
                        <a:pt x="1185" y="901"/>
                      </a:lnTo>
                      <a:lnTo>
                        <a:pt x="1186" y="901"/>
                      </a:lnTo>
                      <a:lnTo>
                        <a:pt x="1186" y="900"/>
                      </a:lnTo>
                      <a:lnTo>
                        <a:pt x="1186" y="899"/>
                      </a:lnTo>
                      <a:lnTo>
                        <a:pt x="1186" y="898"/>
                      </a:lnTo>
                      <a:lnTo>
                        <a:pt x="1186" y="899"/>
                      </a:lnTo>
                      <a:lnTo>
                        <a:pt x="1185" y="898"/>
                      </a:lnTo>
                      <a:lnTo>
                        <a:pt x="1185" y="899"/>
                      </a:lnTo>
                      <a:lnTo>
                        <a:pt x="1185" y="900"/>
                      </a:lnTo>
                      <a:lnTo>
                        <a:pt x="1184" y="900"/>
                      </a:lnTo>
                      <a:lnTo>
                        <a:pt x="1184" y="899"/>
                      </a:lnTo>
                      <a:lnTo>
                        <a:pt x="1183" y="899"/>
                      </a:lnTo>
                      <a:lnTo>
                        <a:pt x="1183" y="898"/>
                      </a:lnTo>
                      <a:lnTo>
                        <a:pt x="1182" y="898"/>
                      </a:lnTo>
                      <a:lnTo>
                        <a:pt x="1181" y="898"/>
                      </a:lnTo>
                      <a:lnTo>
                        <a:pt x="1181" y="897"/>
                      </a:lnTo>
                      <a:lnTo>
                        <a:pt x="1181" y="896"/>
                      </a:lnTo>
                      <a:lnTo>
                        <a:pt x="1181" y="897"/>
                      </a:lnTo>
                      <a:lnTo>
                        <a:pt x="1181" y="896"/>
                      </a:lnTo>
                      <a:lnTo>
                        <a:pt x="1181" y="897"/>
                      </a:lnTo>
                      <a:lnTo>
                        <a:pt x="1180" y="897"/>
                      </a:lnTo>
                      <a:lnTo>
                        <a:pt x="1180" y="896"/>
                      </a:lnTo>
                      <a:lnTo>
                        <a:pt x="1180" y="897"/>
                      </a:lnTo>
                      <a:lnTo>
                        <a:pt x="1180" y="898"/>
                      </a:lnTo>
                      <a:lnTo>
                        <a:pt x="1180" y="899"/>
                      </a:lnTo>
                      <a:lnTo>
                        <a:pt x="1179" y="899"/>
                      </a:lnTo>
                      <a:lnTo>
                        <a:pt x="1179" y="898"/>
                      </a:lnTo>
                      <a:lnTo>
                        <a:pt x="1179" y="899"/>
                      </a:lnTo>
                      <a:lnTo>
                        <a:pt x="1180" y="899"/>
                      </a:lnTo>
                      <a:lnTo>
                        <a:pt x="1180" y="900"/>
                      </a:lnTo>
                      <a:lnTo>
                        <a:pt x="1180" y="901"/>
                      </a:lnTo>
                      <a:lnTo>
                        <a:pt x="1179" y="901"/>
                      </a:lnTo>
                      <a:lnTo>
                        <a:pt x="1179" y="902"/>
                      </a:lnTo>
                      <a:lnTo>
                        <a:pt x="1180" y="902"/>
                      </a:lnTo>
                      <a:lnTo>
                        <a:pt x="1179" y="902"/>
                      </a:lnTo>
                      <a:lnTo>
                        <a:pt x="1179" y="901"/>
                      </a:lnTo>
                      <a:lnTo>
                        <a:pt x="1177" y="901"/>
                      </a:lnTo>
                      <a:lnTo>
                        <a:pt x="1176" y="901"/>
                      </a:lnTo>
                      <a:lnTo>
                        <a:pt x="1176" y="902"/>
                      </a:lnTo>
                      <a:lnTo>
                        <a:pt x="1176" y="903"/>
                      </a:lnTo>
                      <a:lnTo>
                        <a:pt x="1176" y="904"/>
                      </a:lnTo>
                      <a:lnTo>
                        <a:pt x="1176" y="905"/>
                      </a:lnTo>
                      <a:lnTo>
                        <a:pt x="1176" y="906"/>
                      </a:lnTo>
                      <a:lnTo>
                        <a:pt x="1177" y="907"/>
                      </a:lnTo>
                      <a:lnTo>
                        <a:pt x="1179" y="907"/>
                      </a:lnTo>
                      <a:lnTo>
                        <a:pt x="1180" y="907"/>
                      </a:lnTo>
                      <a:lnTo>
                        <a:pt x="1180" y="909"/>
                      </a:lnTo>
                      <a:lnTo>
                        <a:pt x="1181" y="909"/>
                      </a:lnTo>
                      <a:lnTo>
                        <a:pt x="1182" y="909"/>
                      </a:lnTo>
                      <a:lnTo>
                        <a:pt x="1182" y="910"/>
                      </a:lnTo>
                      <a:lnTo>
                        <a:pt x="1182" y="911"/>
                      </a:lnTo>
                      <a:lnTo>
                        <a:pt x="1183" y="911"/>
                      </a:lnTo>
                      <a:lnTo>
                        <a:pt x="1184" y="911"/>
                      </a:lnTo>
                      <a:lnTo>
                        <a:pt x="1184" y="912"/>
                      </a:lnTo>
                      <a:lnTo>
                        <a:pt x="1183" y="913"/>
                      </a:lnTo>
                      <a:lnTo>
                        <a:pt x="1183" y="914"/>
                      </a:lnTo>
                      <a:lnTo>
                        <a:pt x="1183" y="913"/>
                      </a:lnTo>
                      <a:lnTo>
                        <a:pt x="1184" y="913"/>
                      </a:lnTo>
                      <a:lnTo>
                        <a:pt x="1185" y="913"/>
                      </a:lnTo>
                      <a:lnTo>
                        <a:pt x="1186" y="913"/>
                      </a:lnTo>
                      <a:lnTo>
                        <a:pt x="1186" y="912"/>
                      </a:lnTo>
                      <a:lnTo>
                        <a:pt x="1186" y="911"/>
                      </a:lnTo>
                      <a:lnTo>
                        <a:pt x="1185" y="911"/>
                      </a:lnTo>
                      <a:lnTo>
                        <a:pt x="1186" y="911"/>
                      </a:lnTo>
                      <a:lnTo>
                        <a:pt x="1187" y="911"/>
                      </a:lnTo>
                      <a:lnTo>
                        <a:pt x="1188" y="911"/>
                      </a:lnTo>
                      <a:lnTo>
                        <a:pt x="1188" y="912"/>
                      </a:lnTo>
                      <a:lnTo>
                        <a:pt x="1188" y="913"/>
                      </a:lnTo>
                      <a:lnTo>
                        <a:pt x="1188" y="912"/>
                      </a:lnTo>
                      <a:lnTo>
                        <a:pt x="1189" y="912"/>
                      </a:lnTo>
                      <a:lnTo>
                        <a:pt x="1190" y="912"/>
                      </a:lnTo>
                      <a:lnTo>
                        <a:pt x="1190" y="913"/>
                      </a:lnTo>
                      <a:lnTo>
                        <a:pt x="1189" y="913"/>
                      </a:lnTo>
                      <a:lnTo>
                        <a:pt x="1189" y="914"/>
                      </a:lnTo>
                      <a:lnTo>
                        <a:pt x="1189" y="913"/>
                      </a:lnTo>
                      <a:lnTo>
                        <a:pt x="1188" y="913"/>
                      </a:lnTo>
                      <a:lnTo>
                        <a:pt x="1187" y="913"/>
                      </a:lnTo>
                      <a:lnTo>
                        <a:pt x="1187" y="914"/>
                      </a:lnTo>
                      <a:lnTo>
                        <a:pt x="1186" y="914"/>
                      </a:lnTo>
                      <a:lnTo>
                        <a:pt x="1186" y="915"/>
                      </a:lnTo>
                      <a:lnTo>
                        <a:pt x="1186" y="916"/>
                      </a:lnTo>
                      <a:lnTo>
                        <a:pt x="1187" y="916"/>
                      </a:lnTo>
                      <a:lnTo>
                        <a:pt x="1187" y="917"/>
                      </a:lnTo>
                      <a:lnTo>
                        <a:pt x="1188" y="917"/>
                      </a:lnTo>
                      <a:lnTo>
                        <a:pt x="1188" y="918"/>
                      </a:lnTo>
                      <a:lnTo>
                        <a:pt x="1189" y="918"/>
                      </a:lnTo>
                      <a:lnTo>
                        <a:pt x="1189" y="919"/>
                      </a:lnTo>
                      <a:lnTo>
                        <a:pt x="1190" y="919"/>
                      </a:lnTo>
                      <a:lnTo>
                        <a:pt x="1190" y="921"/>
                      </a:lnTo>
                      <a:lnTo>
                        <a:pt x="1192" y="921"/>
                      </a:lnTo>
                      <a:lnTo>
                        <a:pt x="1192" y="919"/>
                      </a:lnTo>
                      <a:lnTo>
                        <a:pt x="1192" y="921"/>
                      </a:lnTo>
                      <a:lnTo>
                        <a:pt x="1190" y="921"/>
                      </a:lnTo>
                      <a:lnTo>
                        <a:pt x="1189" y="921"/>
                      </a:lnTo>
                      <a:lnTo>
                        <a:pt x="1189" y="919"/>
                      </a:lnTo>
                      <a:lnTo>
                        <a:pt x="1189" y="921"/>
                      </a:lnTo>
                      <a:lnTo>
                        <a:pt x="1189" y="922"/>
                      </a:lnTo>
                      <a:lnTo>
                        <a:pt x="1189" y="923"/>
                      </a:lnTo>
                      <a:lnTo>
                        <a:pt x="1190" y="924"/>
                      </a:lnTo>
                      <a:lnTo>
                        <a:pt x="1190" y="925"/>
                      </a:lnTo>
                      <a:lnTo>
                        <a:pt x="1190" y="924"/>
                      </a:lnTo>
                      <a:lnTo>
                        <a:pt x="1190" y="925"/>
                      </a:lnTo>
                      <a:lnTo>
                        <a:pt x="1190" y="924"/>
                      </a:lnTo>
                      <a:lnTo>
                        <a:pt x="1190" y="925"/>
                      </a:lnTo>
                      <a:lnTo>
                        <a:pt x="1189" y="925"/>
                      </a:lnTo>
                      <a:lnTo>
                        <a:pt x="1189" y="924"/>
                      </a:lnTo>
                      <a:lnTo>
                        <a:pt x="1188" y="924"/>
                      </a:lnTo>
                      <a:lnTo>
                        <a:pt x="1187" y="923"/>
                      </a:lnTo>
                      <a:lnTo>
                        <a:pt x="1186" y="922"/>
                      </a:lnTo>
                      <a:lnTo>
                        <a:pt x="1187" y="922"/>
                      </a:lnTo>
                      <a:lnTo>
                        <a:pt x="1187" y="921"/>
                      </a:lnTo>
                      <a:lnTo>
                        <a:pt x="1187" y="919"/>
                      </a:lnTo>
                      <a:lnTo>
                        <a:pt x="1188" y="919"/>
                      </a:lnTo>
                      <a:lnTo>
                        <a:pt x="1187" y="918"/>
                      </a:lnTo>
                      <a:lnTo>
                        <a:pt x="1187" y="919"/>
                      </a:lnTo>
                      <a:lnTo>
                        <a:pt x="1187" y="918"/>
                      </a:lnTo>
                      <a:lnTo>
                        <a:pt x="1186" y="918"/>
                      </a:lnTo>
                      <a:lnTo>
                        <a:pt x="1185" y="917"/>
                      </a:lnTo>
                      <a:lnTo>
                        <a:pt x="1184" y="917"/>
                      </a:lnTo>
                      <a:lnTo>
                        <a:pt x="1184" y="918"/>
                      </a:lnTo>
                      <a:lnTo>
                        <a:pt x="1184" y="919"/>
                      </a:lnTo>
                      <a:lnTo>
                        <a:pt x="1183" y="919"/>
                      </a:lnTo>
                      <a:lnTo>
                        <a:pt x="1184" y="921"/>
                      </a:lnTo>
                      <a:lnTo>
                        <a:pt x="1184" y="922"/>
                      </a:lnTo>
                      <a:lnTo>
                        <a:pt x="1183" y="922"/>
                      </a:lnTo>
                      <a:lnTo>
                        <a:pt x="1183" y="921"/>
                      </a:lnTo>
                      <a:lnTo>
                        <a:pt x="1183" y="919"/>
                      </a:lnTo>
                      <a:lnTo>
                        <a:pt x="1183" y="918"/>
                      </a:lnTo>
                      <a:lnTo>
                        <a:pt x="1182" y="918"/>
                      </a:lnTo>
                      <a:lnTo>
                        <a:pt x="1182" y="917"/>
                      </a:lnTo>
                      <a:lnTo>
                        <a:pt x="1181" y="917"/>
                      </a:lnTo>
                      <a:lnTo>
                        <a:pt x="1181" y="916"/>
                      </a:lnTo>
                      <a:lnTo>
                        <a:pt x="1180" y="916"/>
                      </a:lnTo>
                      <a:lnTo>
                        <a:pt x="1180" y="917"/>
                      </a:lnTo>
                      <a:lnTo>
                        <a:pt x="1180" y="918"/>
                      </a:lnTo>
                      <a:lnTo>
                        <a:pt x="1180" y="919"/>
                      </a:lnTo>
                      <a:lnTo>
                        <a:pt x="1179" y="919"/>
                      </a:lnTo>
                      <a:lnTo>
                        <a:pt x="1179" y="921"/>
                      </a:lnTo>
                      <a:lnTo>
                        <a:pt x="1177" y="921"/>
                      </a:lnTo>
                      <a:lnTo>
                        <a:pt x="1177" y="922"/>
                      </a:lnTo>
                      <a:lnTo>
                        <a:pt x="1176" y="922"/>
                      </a:lnTo>
                      <a:lnTo>
                        <a:pt x="1175" y="921"/>
                      </a:lnTo>
                      <a:lnTo>
                        <a:pt x="1175" y="922"/>
                      </a:lnTo>
                      <a:lnTo>
                        <a:pt x="1174" y="921"/>
                      </a:lnTo>
                      <a:lnTo>
                        <a:pt x="1173" y="921"/>
                      </a:lnTo>
                      <a:lnTo>
                        <a:pt x="1172" y="921"/>
                      </a:lnTo>
                      <a:lnTo>
                        <a:pt x="1172" y="922"/>
                      </a:lnTo>
                      <a:lnTo>
                        <a:pt x="1173" y="922"/>
                      </a:lnTo>
                      <a:lnTo>
                        <a:pt x="1174" y="922"/>
                      </a:lnTo>
                      <a:lnTo>
                        <a:pt x="1175" y="922"/>
                      </a:lnTo>
                      <a:lnTo>
                        <a:pt x="1175" y="923"/>
                      </a:lnTo>
                      <a:lnTo>
                        <a:pt x="1174" y="923"/>
                      </a:lnTo>
                      <a:lnTo>
                        <a:pt x="1173" y="923"/>
                      </a:lnTo>
                      <a:lnTo>
                        <a:pt x="1172" y="923"/>
                      </a:lnTo>
                      <a:lnTo>
                        <a:pt x="1171" y="923"/>
                      </a:lnTo>
                      <a:lnTo>
                        <a:pt x="1171" y="924"/>
                      </a:lnTo>
                      <a:lnTo>
                        <a:pt x="1172" y="924"/>
                      </a:lnTo>
                      <a:lnTo>
                        <a:pt x="1172" y="925"/>
                      </a:lnTo>
                      <a:lnTo>
                        <a:pt x="1171" y="925"/>
                      </a:lnTo>
                      <a:lnTo>
                        <a:pt x="1171" y="926"/>
                      </a:lnTo>
                      <a:lnTo>
                        <a:pt x="1172" y="926"/>
                      </a:lnTo>
                      <a:lnTo>
                        <a:pt x="1171" y="927"/>
                      </a:lnTo>
                      <a:lnTo>
                        <a:pt x="1171" y="926"/>
                      </a:lnTo>
                      <a:lnTo>
                        <a:pt x="1170" y="926"/>
                      </a:lnTo>
                      <a:lnTo>
                        <a:pt x="1169" y="926"/>
                      </a:lnTo>
                      <a:lnTo>
                        <a:pt x="1169" y="927"/>
                      </a:lnTo>
                      <a:lnTo>
                        <a:pt x="1170" y="927"/>
                      </a:lnTo>
                      <a:lnTo>
                        <a:pt x="1169" y="927"/>
                      </a:lnTo>
                      <a:lnTo>
                        <a:pt x="1169" y="928"/>
                      </a:lnTo>
                      <a:lnTo>
                        <a:pt x="1170" y="927"/>
                      </a:lnTo>
                      <a:lnTo>
                        <a:pt x="1170" y="928"/>
                      </a:lnTo>
                      <a:lnTo>
                        <a:pt x="1171" y="928"/>
                      </a:lnTo>
                      <a:lnTo>
                        <a:pt x="1171" y="929"/>
                      </a:lnTo>
                      <a:lnTo>
                        <a:pt x="1170" y="929"/>
                      </a:lnTo>
                      <a:lnTo>
                        <a:pt x="1170" y="930"/>
                      </a:lnTo>
                      <a:lnTo>
                        <a:pt x="1171" y="930"/>
                      </a:lnTo>
                      <a:lnTo>
                        <a:pt x="1171" y="929"/>
                      </a:lnTo>
                      <a:lnTo>
                        <a:pt x="1171" y="930"/>
                      </a:lnTo>
                      <a:lnTo>
                        <a:pt x="1170" y="930"/>
                      </a:lnTo>
                      <a:lnTo>
                        <a:pt x="1169" y="930"/>
                      </a:lnTo>
                      <a:lnTo>
                        <a:pt x="1170" y="930"/>
                      </a:lnTo>
                      <a:lnTo>
                        <a:pt x="1170" y="931"/>
                      </a:lnTo>
                      <a:lnTo>
                        <a:pt x="1171" y="931"/>
                      </a:lnTo>
                      <a:lnTo>
                        <a:pt x="1171" y="932"/>
                      </a:lnTo>
                      <a:lnTo>
                        <a:pt x="1172" y="932"/>
                      </a:lnTo>
                      <a:lnTo>
                        <a:pt x="1172" y="931"/>
                      </a:lnTo>
                      <a:lnTo>
                        <a:pt x="1172" y="932"/>
                      </a:lnTo>
                      <a:lnTo>
                        <a:pt x="1172" y="931"/>
                      </a:lnTo>
                      <a:lnTo>
                        <a:pt x="1173" y="931"/>
                      </a:lnTo>
                      <a:lnTo>
                        <a:pt x="1173" y="930"/>
                      </a:lnTo>
                      <a:lnTo>
                        <a:pt x="1173" y="929"/>
                      </a:lnTo>
                      <a:lnTo>
                        <a:pt x="1172" y="928"/>
                      </a:lnTo>
                      <a:lnTo>
                        <a:pt x="1173" y="928"/>
                      </a:lnTo>
                      <a:lnTo>
                        <a:pt x="1174" y="929"/>
                      </a:lnTo>
                      <a:lnTo>
                        <a:pt x="1175" y="929"/>
                      </a:lnTo>
                      <a:lnTo>
                        <a:pt x="1176" y="929"/>
                      </a:lnTo>
                      <a:lnTo>
                        <a:pt x="1175" y="930"/>
                      </a:lnTo>
                      <a:lnTo>
                        <a:pt x="1176" y="930"/>
                      </a:lnTo>
                      <a:lnTo>
                        <a:pt x="1176" y="929"/>
                      </a:lnTo>
                      <a:lnTo>
                        <a:pt x="1176" y="930"/>
                      </a:lnTo>
                      <a:lnTo>
                        <a:pt x="1176" y="931"/>
                      </a:lnTo>
                      <a:lnTo>
                        <a:pt x="1175" y="932"/>
                      </a:lnTo>
                      <a:lnTo>
                        <a:pt x="1176" y="932"/>
                      </a:lnTo>
                      <a:lnTo>
                        <a:pt x="1175" y="932"/>
                      </a:lnTo>
                      <a:lnTo>
                        <a:pt x="1175" y="934"/>
                      </a:lnTo>
                      <a:lnTo>
                        <a:pt x="1175" y="935"/>
                      </a:lnTo>
                      <a:lnTo>
                        <a:pt x="1176" y="935"/>
                      </a:lnTo>
                      <a:lnTo>
                        <a:pt x="1175" y="935"/>
                      </a:lnTo>
                      <a:lnTo>
                        <a:pt x="1175" y="936"/>
                      </a:lnTo>
                      <a:lnTo>
                        <a:pt x="1176" y="936"/>
                      </a:lnTo>
                      <a:lnTo>
                        <a:pt x="1177" y="936"/>
                      </a:lnTo>
                      <a:lnTo>
                        <a:pt x="1177" y="935"/>
                      </a:lnTo>
                      <a:lnTo>
                        <a:pt x="1179" y="935"/>
                      </a:lnTo>
                      <a:lnTo>
                        <a:pt x="1179" y="934"/>
                      </a:lnTo>
                      <a:lnTo>
                        <a:pt x="1179" y="935"/>
                      </a:lnTo>
                      <a:lnTo>
                        <a:pt x="1179" y="936"/>
                      </a:lnTo>
                      <a:lnTo>
                        <a:pt x="1177" y="937"/>
                      </a:lnTo>
                      <a:lnTo>
                        <a:pt x="1179" y="937"/>
                      </a:lnTo>
                      <a:lnTo>
                        <a:pt x="1179" y="938"/>
                      </a:lnTo>
                      <a:lnTo>
                        <a:pt x="1177" y="938"/>
                      </a:lnTo>
                      <a:lnTo>
                        <a:pt x="1179" y="938"/>
                      </a:lnTo>
                      <a:lnTo>
                        <a:pt x="1180" y="938"/>
                      </a:lnTo>
                      <a:lnTo>
                        <a:pt x="1180" y="939"/>
                      </a:lnTo>
                      <a:lnTo>
                        <a:pt x="1180" y="938"/>
                      </a:lnTo>
                      <a:lnTo>
                        <a:pt x="1181" y="938"/>
                      </a:lnTo>
                      <a:lnTo>
                        <a:pt x="1181" y="939"/>
                      </a:lnTo>
                      <a:lnTo>
                        <a:pt x="1182" y="938"/>
                      </a:lnTo>
                      <a:lnTo>
                        <a:pt x="1183" y="938"/>
                      </a:lnTo>
                      <a:lnTo>
                        <a:pt x="1184" y="938"/>
                      </a:lnTo>
                      <a:lnTo>
                        <a:pt x="1185" y="938"/>
                      </a:lnTo>
                      <a:lnTo>
                        <a:pt x="1186" y="938"/>
                      </a:lnTo>
                      <a:lnTo>
                        <a:pt x="1187" y="938"/>
                      </a:lnTo>
                      <a:lnTo>
                        <a:pt x="1188" y="938"/>
                      </a:lnTo>
                      <a:lnTo>
                        <a:pt x="1188" y="939"/>
                      </a:lnTo>
                      <a:lnTo>
                        <a:pt x="1188" y="940"/>
                      </a:lnTo>
                      <a:lnTo>
                        <a:pt x="1188" y="941"/>
                      </a:lnTo>
                      <a:lnTo>
                        <a:pt x="1189" y="941"/>
                      </a:lnTo>
                      <a:lnTo>
                        <a:pt x="1188" y="942"/>
                      </a:lnTo>
                      <a:lnTo>
                        <a:pt x="1189" y="942"/>
                      </a:lnTo>
                      <a:lnTo>
                        <a:pt x="1190" y="942"/>
                      </a:lnTo>
                      <a:lnTo>
                        <a:pt x="1190" y="943"/>
                      </a:lnTo>
                      <a:lnTo>
                        <a:pt x="1192" y="943"/>
                      </a:lnTo>
                      <a:lnTo>
                        <a:pt x="1193" y="943"/>
                      </a:lnTo>
                      <a:lnTo>
                        <a:pt x="1193" y="942"/>
                      </a:lnTo>
                      <a:lnTo>
                        <a:pt x="1193" y="943"/>
                      </a:lnTo>
                      <a:lnTo>
                        <a:pt x="1194" y="943"/>
                      </a:lnTo>
                      <a:lnTo>
                        <a:pt x="1195" y="944"/>
                      </a:lnTo>
                      <a:lnTo>
                        <a:pt x="1196" y="944"/>
                      </a:lnTo>
                      <a:lnTo>
                        <a:pt x="1197" y="944"/>
                      </a:lnTo>
                      <a:lnTo>
                        <a:pt x="1198" y="944"/>
                      </a:lnTo>
                      <a:lnTo>
                        <a:pt x="1199" y="944"/>
                      </a:lnTo>
                      <a:lnTo>
                        <a:pt x="1200" y="944"/>
                      </a:lnTo>
                      <a:lnTo>
                        <a:pt x="1201" y="944"/>
                      </a:lnTo>
                      <a:lnTo>
                        <a:pt x="1202" y="944"/>
                      </a:lnTo>
                      <a:lnTo>
                        <a:pt x="1203" y="944"/>
                      </a:lnTo>
                      <a:lnTo>
                        <a:pt x="1203" y="945"/>
                      </a:lnTo>
                      <a:lnTo>
                        <a:pt x="1205" y="945"/>
                      </a:lnTo>
                      <a:lnTo>
                        <a:pt x="1206" y="945"/>
                      </a:lnTo>
                      <a:lnTo>
                        <a:pt x="1207" y="945"/>
                      </a:lnTo>
                      <a:lnTo>
                        <a:pt x="1208" y="945"/>
                      </a:lnTo>
                      <a:lnTo>
                        <a:pt x="1209" y="945"/>
                      </a:lnTo>
                      <a:lnTo>
                        <a:pt x="1210" y="945"/>
                      </a:lnTo>
                      <a:lnTo>
                        <a:pt x="1210" y="944"/>
                      </a:lnTo>
                      <a:lnTo>
                        <a:pt x="1211" y="944"/>
                      </a:lnTo>
                      <a:lnTo>
                        <a:pt x="1211" y="943"/>
                      </a:lnTo>
                      <a:lnTo>
                        <a:pt x="1212" y="943"/>
                      </a:lnTo>
                      <a:lnTo>
                        <a:pt x="1213" y="943"/>
                      </a:lnTo>
                      <a:lnTo>
                        <a:pt x="1214" y="943"/>
                      </a:lnTo>
                      <a:lnTo>
                        <a:pt x="1214" y="942"/>
                      </a:lnTo>
                      <a:lnTo>
                        <a:pt x="1215" y="942"/>
                      </a:lnTo>
                      <a:lnTo>
                        <a:pt x="1216" y="942"/>
                      </a:lnTo>
                      <a:lnTo>
                        <a:pt x="1216" y="941"/>
                      </a:lnTo>
                      <a:lnTo>
                        <a:pt x="1218" y="941"/>
                      </a:lnTo>
                      <a:lnTo>
                        <a:pt x="1219" y="941"/>
                      </a:lnTo>
                      <a:lnTo>
                        <a:pt x="1219" y="940"/>
                      </a:lnTo>
                      <a:lnTo>
                        <a:pt x="1220" y="940"/>
                      </a:lnTo>
                      <a:lnTo>
                        <a:pt x="1221" y="940"/>
                      </a:lnTo>
                      <a:lnTo>
                        <a:pt x="1222" y="940"/>
                      </a:lnTo>
                      <a:lnTo>
                        <a:pt x="1221" y="940"/>
                      </a:lnTo>
                      <a:lnTo>
                        <a:pt x="1222" y="940"/>
                      </a:lnTo>
                      <a:lnTo>
                        <a:pt x="1222" y="939"/>
                      </a:lnTo>
                      <a:lnTo>
                        <a:pt x="1223" y="939"/>
                      </a:lnTo>
                      <a:lnTo>
                        <a:pt x="1224" y="938"/>
                      </a:lnTo>
                      <a:lnTo>
                        <a:pt x="1225" y="937"/>
                      </a:lnTo>
                      <a:lnTo>
                        <a:pt x="1225" y="936"/>
                      </a:lnTo>
                      <a:lnTo>
                        <a:pt x="1226" y="936"/>
                      </a:lnTo>
                      <a:lnTo>
                        <a:pt x="1227" y="936"/>
                      </a:lnTo>
                      <a:lnTo>
                        <a:pt x="1227" y="937"/>
                      </a:lnTo>
                      <a:lnTo>
                        <a:pt x="1228" y="936"/>
                      </a:lnTo>
                      <a:lnTo>
                        <a:pt x="1228" y="937"/>
                      </a:lnTo>
                      <a:lnTo>
                        <a:pt x="1228" y="936"/>
                      </a:lnTo>
                      <a:lnTo>
                        <a:pt x="1229" y="936"/>
                      </a:lnTo>
                      <a:lnTo>
                        <a:pt x="1229" y="937"/>
                      </a:lnTo>
                      <a:lnTo>
                        <a:pt x="1229" y="936"/>
                      </a:lnTo>
                      <a:lnTo>
                        <a:pt x="1231" y="936"/>
                      </a:lnTo>
                      <a:lnTo>
                        <a:pt x="1231" y="937"/>
                      </a:lnTo>
                      <a:lnTo>
                        <a:pt x="1231" y="936"/>
                      </a:lnTo>
                      <a:lnTo>
                        <a:pt x="1232" y="935"/>
                      </a:lnTo>
                      <a:lnTo>
                        <a:pt x="1233" y="934"/>
                      </a:lnTo>
                      <a:lnTo>
                        <a:pt x="1234" y="932"/>
                      </a:lnTo>
                      <a:lnTo>
                        <a:pt x="1235" y="932"/>
                      </a:lnTo>
                      <a:lnTo>
                        <a:pt x="1235" y="934"/>
                      </a:lnTo>
                      <a:lnTo>
                        <a:pt x="1236" y="934"/>
                      </a:lnTo>
                      <a:lnTo>
                        <a:pt x="1237" y="935"/>
                      </a:lnTo>
                      <a:lnTo>
                        <a:pt x="1235" y="935"/>
                      </a:lnTo>
                      <a:lnTo>
                        <a:pt x="1234" y="935"/>
                      </a:lnTo>
                      <a:lnTo>
                        <a:pt x="1233" y="935"/>
                      </a:lnTo>
                      <a:lnTo>
                        <a:pt x="1233" y="936"/>
                      </a:lnTo>
                      <a:lnTo>
                        <a:pt x="1234" y="936"/>
                      </a:lnTo>
                      <a:lnTo>
                        <a:pt x="1236" y="935"/>
                      </a:lnTo>
                      <a:lnTo>
                        <a:pt x="1237" y="935"/>
                      </a:lnTo>
                      <a:lnTo>
                        <a:pt x="1237" y="936"/>
                      </a:lnTo>
                      <a:lnTo>
                        <a:pt x="1237" y="937"/>
                      </a:lnTo>
                      <a:lnTo>
                        <a:pt x="1238" y="937"/>
                      </a:lnTo>
                      <a:lnTo>
                        <a:pt x="1239" y="938"/>
                      </a:lnTo>
                      <a:lnTo>
                        <a:pt x="1240" y="938"/>
                      </a:lnTo>
                      <a:lnTo>
                        <a:pt x="1240" y="939"/>
                      </a:lnTo>
                      <a:lnTo>
                        <a:pt x="1241" y="939"/>
                      </a:lnTo>
                      <a:lnTo>
                        <a:pt x="1240" y="939"/>
                      </a:lnTo>
                      <a:lnTo>
                        <a:pt x="1241" y="939"/>
                      </a:lnTo>
                      <a:lnTo>
                        <a:pt x="1242" y="939"/>
                      </a:lnTo>
                      <a:lnTo>
                        <a:pt x="1244" y="939"/>
                      </a:lnTo>
                      <a:lnTo>
                        <a:pt x="1245" y="939"/>
                      </a:lnTo>
                      <a:lnTo>
                        <a:pt x="1245" y="940"/>
                      </a:lnTo>
                      <a:lnTo>
                        <a:pt x="1244" y="940"/>
                      </a:lnTo>
                      <a:lnTo>
                        <a:pt x="1244" y="939"/>
                      </a:lnTo>
                      <a:lnTo>
                        <a:pt x="1242" y="939"/>
                      </a:lnTo>
                      <a:lnTo>
                        <a:pt x="1242" y="940"/>
                      </a:lnTo>
                      <a:lnTo>
                        <a:pt x="1241" y="941"/>
                      </a:lnTo>
                      <a:lnTo>
                        <a:pt x="1241" y="940"/>
                      </a:lnTo>
                      <a:lnTo>
                        <a:pt x="1240" y="941"/>
                      </a:lnTo>
                      <a:lnTo>
                        <a:pt x="1239" y="941"/>
                      </a:lnTo>
                      <a:lnTo>
                        <a:pt x="1239" y="940"/>
                      </a:lnTo>
                      <a:lnTo>
                        <a:pt x="1239" y="939"/>
                      </a:lnTo>
                      <a:lnTo>
                        <a:pt x="1239" y="940"/>
                      </a:lnTo>
                      <a:lnTo>
                        <a:pt x="1239" y="941"/>
                      </a:lnTo>
                      <a:lnTo>
                        <a:pt x="1238" y="941"/>
                      </a:lnTo>
                      <a:lnTo>
                        <a:pt x="1238" y="940"/>
                      </a:lnTo>
                      <a:lnTo>
                        <a:pt x="1238" y="941"/>
                      </a:lnTo>
                      <a:lnTo>
                        <a:pt x="1239" y="941"/>
                      </a:lnTo>
                      <a:lnTo>
                        <a:pt x="1238" y="941"/>
                      </a:lnTo>
                      <a:lnTo>
                        <a:pt x="1239" y="941"/>
                      </a:lnTo>
                      <a:lnTo>
                        <a:pt x="1238" y="941"/>
                      </a:lnTo>
                      <a:lnTo>
                        <a:pt x="1239" y="941"/>
                      </a:lnTo>
                      <a:lnTo>
                        <a:pt x="1239" y="942"/>
                      </a:lnTo>
                      <a:lnTo>
                        <a:pt x="1239" y="941"/>
                      </a:lnTo>
                      <a:lnTo>
                        <a:pt x="1240" y="941"/>
                      </a:lnTo>
                      <a:lnTo>
                        <a:pt x="1241" y="941"/>
                      </a:lnTo>
                      <a:lnTo>
                        <a:pt x="1242" y="941"/>
                      </a:lnTo>
                      <a:lnTo>
                        <a:pt x="1244" y="941"/>
                      </a:lnTo>
                      <a:lnTo>
                        <a:pt x="1244" y="942"/>
                      </a:lnTo>
                      <a:lnTo>
                        <a:pt x="1245" y="942"/>
                      </a:lnTo>
                      <a:lnTo>
                        <a:pt x="1245" y="941"/>
                      </a:lnTo>
                      <a:lnTo>
                        <a:pt x="1246" y="941"/>
                      </a:lnTo>
                      <a:lnTo>
                        <a:pt x="1247" y="941"/>
                      </a:lnTo>
                      <a:lnTo>
                        <a:pt x="1246" y="940"/>
                      </a:lnTo>
                      <a:lnTo>
                        <a:pt x="1247" y="940"/>
                      </a:lnTo>
                      <a:lnTo>
                        <a:pt x="1247" y="941"/>
                      </a:lnTo>
                      <a:lnTo>
                        <a:pt x="1248" y="941"/>
                      </a:lnTo>
                      <a:lnTo>
                        <a:pt x="1248" y="940"/>
                      </a:lnTo>
                      <a:lnTo>
                        <a:pt x="1249" y="940"/>
                      </a:lnTo>
                      <a:lnTo>
                        <a:pt x="1249" y="941"/>
                      </a:lnTo>
                      <a:lnTo>
                        <a:pt x="1249" y="942"/>
                      </a:lnTo>
                      <a:lnTo>
                        <a:pt x="1250" y="942"/>
                      </a:lnTo>
                      <a:lnTo>
                        <a:pt x="1251" y="942"/>
                      </a:lnTo>
                      <a:lnTo>
                        <a:pt x="1252" y="942"/>
                      </a:lnTo>
                      <a:lnTo>
                        <a:pt x="1253" y="942"/>
                      </a:lnTo>
                      <a:lnTo>
                        <a:pt x="1254" y="942"/>
                      </a:lnTo>
                      <a:lnTo>
                        <a:pt x="1254" y="943"/>
                      </a:lnTo>
                      <a:lnTo>
                        <a:pt x="1254" y="942"/>
                      </a:lnTo>
                      <a:lnTo>
                        <a:pt x="1254" y="943"/>
                      </a:lnTo>
                      <a:lnTo>
                        <a:pt x="1253" y="943"/>
                      </a:lnTo>
                      <a:lnTo>
                        <a:pt x="1253" y="944"/>
                      </a:lnTo>
                      <a:lnTo>
                        <a:pt x="1254" y="944"/>
                      </a:lnTo>
                      <a:lnTo>
                        <a:pt x="1253" y="944"/>
                      </a:lnTo>
                      <a:lnTo>
                        <a:pt x="1253" y="943"/>
                      </a:lnTo>
                      <a:lnTo>
                        <a:pt x="1254" y="944"/>
                      </a:lnTo>
                      <a:lnTo>
                        <a:pt x="1254" y="943"/>
                      </a:lnTo>
                      <a:lnTo>
                        <a:pt x="1255" y="942"/>
                      </a:lnTo>
                      <a:lnTo>
                        <a:pt x="1255" y="943"/>
                      </a:lnTo>
                      <a:lnTo>
                        <a:pt x="1257" y="943"/>
                      </a:lnTo>
                      <a:lnTo>
                        <a:pt x="1255" y="943"/>
                      </a:lnTo>
                      <a:lnTo>
                        <a:pt x="1254" y="943"/>
                      </a:lnTo>
                      <a:lnTo>
                        <a:pt x="1255" y="943"/>
                      </a:lnTo>
                      <a:lnTo>
                        <a:pt x="1255" y="944"/>
                      </a:lnTo>
                      <a:lnTo>
                        <a:pt x="1254" y="944"/>
                      </a:lnTo>
                      <a:lnTo>
                        <a:pt x="1254" y="945"/>
                      </a:lnTo>
                      <a:lnTo>
                        <a:pt x="1255" y="945"/>
                      </a:lnTo>
                      <a:lnTo>
                        <a:pt x="1255" y="947"/>
                      </a:lnTo>
                      <a:lnTo>
                        <a:pt x="1257" y="947"/>
                      </a:lnTo>
                      <a:lnTo>
                        <a:pt x="1258" y="947"/>
                      </a:lnTo>
                      <a:lnTo>
                        <a:pt x="1258" y="945"/>
                      </a:lnTo>
                      <a:lnTo>
                        <a:pt x="1259" y="945"/>
                      </a:lnTo>
                      <a:lnTo>
                        <a:pt x="1260" y="945"/>
                      </a:lnTo>
                      <a:lnTo>
                        <a:pt x="1259" y="947"/>
                      </a:lnTo>
                      <a:lnTo>
                        <a:pt x="1259" y="948"/>
                      </a:lnTo>
                      <a:lnTo>
                        <a:pt x="1259" y="947"/>
                      </a:lnTo>
                      <a:lnTo>
                        <a:pt x="1258" y="947"/>
                      </a:lnTo>
                      <a:lnTo>
                        <a:pt x="1257" y="947"/>
                      </a:lnTo>
                      <a:lnTo>
                        <a:pt x="1255" y="948"/>
                      </a:lnTo>
                      <a:lnTo>
                        <a:pt x="1257" y="947"/>
                      </a:lnTo>
                      <a:lnTo>
                        <a:pt x="1258" y="947"/>
                      </a:lnTo>
                      <a:lnTo>
                        <a:pt x="1258" y="948"/>
                      </a:lnTo>
                      <a:lnTo>
                        <a:pt x="1257" y="948"/>
                      </a:lnTo>
                      <a:lnTo>
                        <a:pt x="1257" y="949"/>
                      </a:lnTo>
                      <a:lnTo>
                        <a:pt x="1258" y="949"/>
                      </a:lnTo>
                      <a:lnTo>
                        <a:pt x="1258" y="950"/>
                      </a:lnTo>
                      <a:lnTo>
                        <a:pt x="1258" y="951"/>
                      </a:lnTo>
                      <a:lnTo>
                        <a:pt x="1258" y="952"/>
                      </a:lnTo>
                      <a:lnTo>
                        <a:pt x="1257" y="952"/>
                      </a:lnTo>
                      <a:lnTo>
                        <a:pt x="1258" y="952"/>
                      </a:lnTo>
                      <a:lnTo>
                        <a:pt x="1258" y="953"/>
                      </a:lnTo>
                      <a:lnTo>
                        <a:pt x="1258" y="954"/>
                      </a:lnTo>
                      <a:lnTo>
                        <a:pt x="1258" y="953"/>
                      </a:lnTo>
                      <a:lnTo>
                        <a:pt x="1259" y="953"/>
                      </a:lnTo>
                      <a:lnTo>
                        <a:pt x="1259" y="952"/>
                      </a:lnTo>
                      <a:lnTo>
                        <a:pt x="1260" y="951"/>
                      </a:lnTo>
                      <a:lnTo>
                        <a:pt x="1260" y="952"/>
                      </a:lnTo>
                      <a:lnTo>
                        <a:pt x="1259" y="952"/>
                      </a:lnTo>
                      <a:lnTo>
                        <a:pt x="1259" y="953"/>
                      </a:lnTo>
                      <a:lnTo>
                        <a:pt x="1259" y="952"/>
                      </a:lnTo>
                      <a:lnTo>
                        <a:pt x="1260" y="952"/>
                      </a:lnTo>
                      <a:lnTo>
                        <a:pt x="1260" y="951"/>
                      </a:lnTo>
                      <a:lnTo>
                        <a:pt x="1261" y="951"/>
                      </a:lnTo>
                      <a:lnTo>
                        <a:pt x="1261" y="952"/>
                      </a:lnTo>
                      <a:lnTo>
                        <a:pt x="1260" y="953"/>
                      </a:lnTo>
                      <a:lnTo>
                        <a:pt x="1261" y="953"/>
                      </a:lnTo>
                      <a:lnTo>
                        <a:pt x="1260" y="953"/>
                      </a:lnTo>
                      <a:lnTo>
                        <a:pt x="1260" y="954"/>
                      </a:lnTo>
                      <a:lnTo>
                        <a:pt x="1260" y="953"/>
                      </a:lnTo>
                      <a:lnTo>
                        <a:pt x="1261" y="954"/>
                      </a:lnTo>
                      <a:lnTo>
                        <a:pt x="1261" y="953"/>
                      </a:lnTo>
                      <a:lnTo>
                        <a:pt x="1260" y="953"/>
                      </a:lnTo>
                      <a:lnTo>
                        <a:pt x="1261" y="952"/>
                      </a:lnTo>
                      <a:lnTo>
                        <a:pt x="1261" y="953"/>
                      </a:lnTo>
                      <a:lnTo>
                        <a:pt x="1261" y="952"/>
                      </a:lnTo>
                      <a:lnTo>
                        <a:pt x="1261" y="951"/>
                      </a:lnTo>
                      <a:lnTo>
                        <a:pt x="1260" y="950"/>
                      </a:lnTo>
                      <a:lnTo>
                        <a:pt x="1260" y="951"/>
                      </a:lnTo>
                      <a:lnTo>
                        <a:pt x="1259" y="952"/>
                      </a:lnTo>
                      <a:lnTo>
                        <a:pt x="1258" y="952"/>
                      </a:lnTo>
                      <a:lnTo>
                        <a:pt x="1258" y="951"/>
                      </a:lnTo>
                      <a:lnTo>
                        <a:pt x="1258" y="952"/>
                      </a:lnTo>
                      <a:lnTo>
                        <a:pt x="1258" y="951"/>
                      </a:lnTo>
                      <a:lnTo>
                        <a:pt x="1258" y="950"/>
                      </a:lnTo>
                      <a:lnTo>
                        <a:pt x="1259" y="950"/>
                      </a:lnTo>
                      <a:lnTo>
                        <a:pt x="1258" y="949"/>
                      </a:lnTo>
                      <a:lnTo>
                        <a:pt x="1257" y="949"/>
                      </a:lnTo>
                      <a:lnTo>
                        <a:pt x="1258" y="949"/>
                      </a:lnTo>
                      <a:lnTo>
                        <a:pt x="1257" y="949"/>
                      </a:lnTo>
                      <a:lnTo>
                        <a:pt x="1257" y="948"/>
                      </a:lnTo>
                      <a:lnTo>
                        <a:pt x="1258" y="948"/>
                      </a:lnTo>
                      <a:lnTo>
                        <a:pt x="1259" y="948"/>
                      </a:lnTo>
                      <a:lnTo>
                        <a:pt x="1259" y="949"/>
                      </a:lnTo>
                      <a:lnTo>
                        <a:pt x="1260" y="949"/>
                      </a:lnTo>
                      <a:lnTo>
                        <a:pt x="1260" y="950"/>
                      </a:lnTo>
                      <a:lnTo>
                        <a:pt x="1261" y="950"/>
                      </a:lnTo>
                      <a:lnTo>
                        <a:pt x="1262" y="950"/>
                      </a:lnTo>
                      <a:lnTo>
                        <a:pt x="1263" y="950"/>
                      </a:lnTo>
                      <a:lnTo>
                        <a:pt x="1262" y="951"/>
                      </a:lnTo>
                      <a:lnTo>
                        <a:pt x="1262" y="952"/>
                      </a:lnTo>
                      <a:lnTo>
                        <a:pt x="1262" y="953"/>
                      </a:lnTo>
                      <a:lnTo>
                        <a:pt x="1261" y="953"/>
                      </a:lnTo>
                      <a:lnTo>
                        <a:pt x="1262" y="953"/>
                      </a:lnTo>
                      <a:lnTo>
                        <a:pt x="1262" y="952"/>
                      </a:lnTo>
                      <a:lnTo>
                        <a:pt x="1263" y="951"/>
                      </a:lnTo>
                      <a:lnTo>
                        <a:pt x="1264" y="951"/>
                      </a:lnTo>
                      <a:lnTo>
                        <a:pt x="1265" y="951"/>
                      </a:lnTo>
                      <a:lnTo>
                        <a:pt x="1265" y="950"/>
                      </a:lnTo>
                      <a:lnTo>
                        <a:pt x="1266" y="950"/>
                      </a:lnTo>
                      <a:lnTo>
                        <a:pt x="1267" y="950"/>
                      </a:lnTo>
                      <a:lnTo>
                        <a:pt x="1267" y="951"/>
                      </a:lnTo>
                      <a:lnTo>
                        <a:pt x="1266" y="951"/>
                      </a:lnTo>
                      <a:lnTo>
                        <a:pt x="1265" y="951"/>
                      </a:lnTo>
                      <a:lnTo>
                        <a:pt x="1266" y="951"/>
                      </a:lnTo>
                      <a:lnTo>
                        <a:pt x="1267" y="951"/>
                      </a:lnTo>
                      <a:lnTo>
                        <a:pt x="1267" y="950"/>
                      </a:lnTo>
                      <a:lnTo>
                        <a:pt x="1267" y="949"/>
                      </a:lnTo>
                      <a:lnTo>
                        <a:pt x="1267" y="948"/>
                      </a:lnTo>
                      <a:lnTo>
                        <a:pt x="1268" y="948"/>
                      </a:lnTo>
                      <a:lnTo>
                        <a:pt x="1268" y="949"/>
                      </a:lnTo>
                      <a:lnTo>
                        <a:pt x="1268" y="950"/>
                      </a:lnTo>
                      <a:lnTo>
                        <a:pt x="1267" y="950"/>
                      </a:lnTo>
                      <a:lnTo>
                        <a:pt x="1267" y="952"/>
                      </a:lnTo>
                      <a:lnTo>
                        <a:pt x="1266" y="952"/>
                      </a:lnTo>
                      <a:lnTo>
                        <a:pt x="1265" y="952"/>
                      </a:lnTo>
                      <a:lnTo>
                        <a:pt x="1264" y="952"/>
                      </a:lnTo>
                      <a:lnTo>
                        <a:pt x="1265" y="952"/>
                      </a:lnTo>
                      <a:lnTo>
                        <a:pt x="1266" y="952"/>
                      </a:lnTo>
                      <a:lnTo>
                        <a:pt x="1267" y="952"/>
                      </a:lnTo>
                      <a:lnTo>
                        <a:pt x="1267" y="953"/>
                      </a:lnTo>
                      <a:lnTo>
                        <a:pt x="1267" y="954"/>
                      </a:lnTo>
                      <a:lnTo>
                        <a:pt x="1270" y="953"/>
                      </a:lnTo>
                      <a:lnTo>
                        <a:pt x="1268" y="953"/>
                      </a:lnTo>
                      <a:lnTo>
                        <a:pt x="1268" y="954"/>
                      </a:lnTo>
                      <a:lnTo>
                        <a:pt x="1270" y="954"/>
                      </a:lnTo>
                      <a:lnTo>
                        <a:pt x="1268" y="954"/>
                      </a:lnTo>
                      <a:lnTo>
                        <a:pt x="1268" y="953"/>
                      </a:lnTo>
                      <a:lnTo>
                        <a:pt x="1267" y="953"/>
                      </a:lnTo>
                      <a:lnTo>
                        <a:pt x="1267" y="954"/>
                      </a:lnTo>
                      <a:lnTo>
                        <a:pt x="1268" y="954"/>
                      </a:lnTo>
                      <a:lnTo>
                        <a:pt x="1268" y="955"/>
                      </a:lnTo>
                      <a:lnTo>
                        <a:pt x="1268" y="956"/>
                      </a:lnTo>
                      <a:lnTo>
                        <a:pt x="1267" y="956"/>
                      </a:lnTo>
                      <a:lnTo>
                        <a:pt x="1268" y="956"/>
                      </a:lnTo>
                      <a:lnTo>
                        <a:pt x="1270" y="956"/>
                      </a:lnTo>
                      <a:lnTo>
                        <a:pt x="1270" y="955"/>
                      </a:lnTo>
                      <a:lnTo>
                        <a:pt x="1270" y="956"/>
                      </a:lnTo>
                      <a:lnTo>
                        <a:pt x="1271" y="956"/>
                      </a:lnTo>
                      <a:lnTo>
                        <a:pt x="1271" y="955"/>
                      </a:lnTo>
                      <a:lnTo>
                        <a:pt x="1271" y="956"/>
                      </a:lnTo>
                      <a:lnTo>
                        <a:pt x="1270" y="956"/>
                      </a:lnTo>
                      <a:lnTo>
                        <a:pt x="1270" y="957"/>
                      </a:lnTo>
                      <a:lnTo>
                        <a:pt x="1270" y="958"/>
                      </a:lnTo>
                      <a:lnTo>
                        <a:pt x="1268" y="958"/>
                      </a:lnTo>
                      <a:lnTo>
                        <a:pt x="1270" y="958"/>
                      </a:lnTo>
                      <a:lnTo>
                        <a:pt x="1270" y="957"/>
                      </a:lnTo>
                      <a:lnTo>
                        <a:pt x="1271" y="957"/>
                      </a:lnTo>
                      <a:lnTo>
                        <a:pt x="1271" y="958"/>
                      </a:lnTo>
                      <a:lnTo>
                        <a:pt x="1271" y="960"/>
                      </a:lnTo>
                      <a:lnTo>
                        <a:pt x="1271" y="958"/>
                      </a:lnTo>
                      <a:lnTo>
                        <a:pt x="1271" y="957"/>
                      </a:lnTo>
                      <a:lnTo>
                        <a:pt x="1272" y="957"/>
                      </a:lnTo>
                      <a:lnTo>
                        <a:pt x="1273" y="956"/>
                      </a:lnTo>
                      <a:lnTo>
                        <a:pt x="1274" y="956"/>
                      </a:lnTo>
                      <a:lnTo>
                        <a:pt x="1275" y="956"/>
                      </a:lnTo>
                      <a:lnTo>
                        <a:pt x="1275" y="955"/>
                      </a:lnTo>
                      <a:lnTo>
                        <a:pt x="1276" y="955"/>
                      </a:lnTo>
                      <a:lnTo>
                        <a:pt x="1276" y="956"/>
                      </a:lnTo>
                      <a:lnTo>
                        <a:pt x="1275" y="956"/>
                      </a:lnTo>
                      <a:lnTo>
                        <a:pt x="1274" y="956"/>
                      </a:lnTo>
                      <a:lnTo>
                        <a:pt x="1274" y="957"/>
                      </a:lnTo>
                      <a:lnTo>
                        <a:pt x="1273" y="957"/>
                      </a:lnTo>
                      <a:lnTo>
                        <a:pt x="1272" y="957"/>
                      </a:lnTo>
                      <a:lnTo>
                        <a:pt x="1272" y="958"/>
                      </a:lnTo>
                      <a:lnTo>
                        <a:pt x="1271" y="958"/>
                      </a:lnTo>
                      <a:lnTo>
                        <a:pt x="1271" y="960"/>
                      </a:lnTo>
                      <a:lnTo>
                        <a:pt x="1271" y="961"/>
                      </a:lnTo>
                      <a:lnTo>
                        <a:pt x="1272" y="962"/>
                      </a:lnTo>
                      <a:lnTo>
                        <a:pt x="1273" y="961"/>
                      </a:lnTo>
                      <a:lnTo>
                        <a:pt x="1274" y="961"/>
                      </a:lnTo>
                      <a:lnTo>
                        <a:pt x="1273" y="961"/>
                      </a:lnTo>
                      <a:lnTo>
                        <a:pt x="1274" y="961"/>
                      </a:lnTo>
                      <a:lnTo>
                        <a:pt x="1273" y="960"/>
                      </a:lnTo>
                      <a:lnTo>
                        <a:pt x="1274" y="961"/>
                      </a:lnTo>
                      <a:lnTo>
                        <a:pt x="1275" y="961"/>
                      </a:lnTo>
                      <a:lnTo>
                        <a:pt x="1276" y="960"/>
                      </a:lnTo>
                      <a:lnTo>
                        <a:pt x="1276" y="961"/>
                      </a:lnTo>
                      <a:lnTo>
                        <a:pt x="1277" y="961"/>
                      </a:lnTo>
                      <a:lnTo>
                        <a:pt x="1277" y="960"/>
                      </a:lnTo>
                      <a:lnTo>
                        <a:pt x="1277" y="961"/>
                      </a:lnTo>
                      <a:lnTo>
                        <a:pt x="1278" y="961"/>
                      </a:lnTo>
                      <a:lnTo>
                        <a:pt x="1278" y="960"/>
                      </a:lnTo>
                      <a:lnTo>
                        <a:pt x="1277" y="960"/>
                      </a:lnTo>
                      <a:lnTo>
                        <a:pt x="1277" y="961"/>
                      </a:lnTo>
                      <a:lnTo>
                        <a:pt x="1277" y="960"/>
                      </a:lnTo>
                      <a:lnTo>
                        <a:pt x="1278" y="958"/>
                      </a:lnTo>
                      <a:lnTo>
                        <a:pt x="1278" y="960"/>
                      </a:lnTo>
                      <a:lnTo>
                        <a:pt x="1278" y="958"/>
                      </a:lnTo>
                      <a:lnTo>
                        <a:pt x="1278" y="960"/>
                      </a:lnTo>
                      <a:lnTo>
                        <a:pt x="1279" y="960"/>
                      </a:lnTo>
                      <a:lnTo>
                        <a:pt x="1280" y="961"/>
                      </a:lnTo>
                      <a:lnTo>
                        <a:pt x="1282" y="961"/>
                      </a:lnTo>
                      <a:lnTo>
                        <a:pt x="1282" y="962"/>
                      </a:lnTo>
                      <a:lnTo>
                        <a:pt x="1280" y="963"/>
                      </a:lnTo>
                      <a:lnTo>
                        <a:pt x="1280" y="962"/>
                      </a:lnTo>
                      <a:lnTo>
                        <a:pt x="1279" y="962"/>
                      </a:lnTo>
                      <a:lnTo>
                        <a:pt x="1278" y="961"/>
                      </a:lnTo>
                      <a:lnTo>
                        <a:pt x="1277" y="961"/>
                      </a:lnTo>
                      <a:lnTo>
                        <a:pt x="1277" y="962"/>
                      </a:lnTo>
                      <a:lnTo>
                        <a:pt x="1276" y="962"/>
                      </a:lnTo>
                      <a:lnTo>
                        <a:pt x="1276" y="961"/>
                      </a:lnTo>
                      <a:lnTo>
                        <a:pt x="1275" y="961"/>
                      </a:lnTo>
                      <a:lnTo>
                        <a:pt x="1274" y="961"/>
                      </a:lnTo>
                      <a:lnTo>
                        <a:pt x="1274" y="962"/>
                      </a:lnTo>
                      <a:lnTo>
                        <a:pt x="1274" y="963"/>
                      </a:lnTo>
                      <a:lnTo>
                        <a:pt x="1275" y="963"/>
                      </a:lnTo>
                      <a:lnTo>
                        <a:pt x="1275" y="964"/>
                      </a:lnTo>
                      <a:lnTo>
                        <a:pt x="1276" y="964"/>
                      </a:lnTo>
                      <a:lnTo>
                        <a:pt x="1275" y="964"/>
                      </a:lnTo>
                      <a:lnTo>
                        <a:pt x="1275" y="965"/>
                      </a:lnTo>
                      <a:lnTo>
                        <a:pt x="1276" y="965"/>
                      </a:lnTo>
                      <a:lnTo>
                        <a:pt x="1275" y="964"/>
                      </a:lnTo>
                      <a:lnTo>
                        <a:pt x="1276" y="964"/>
                      </a:lnTo>
                      <a:lnTo>
                        <a:pt x="1275" y="963"/>
                      </a:lnTo>
                      <a:lnTo>
                        <a:pt x="1276" y="963"/>
                      </a:lnTo>
                      <a:lnTo>
                        <a:pt x="1276" y="964"/>
                      </a:lnTo>
                      <a:lnTo>
                        <a:pt x="1277" y="964"/>
                      </a:lnTo>
                      <a:lnTo>
                        <a:pt x="1277" y="965"/>
                      </a:lnTo>
                      <a:lnTo>
                        <a:pt x="1277" y="966"/>
                      </a:lnTo>
                      <a:lnTo>
                        <a:pt x="1278" y="966"/>
                      </a:lnTo>
                      <a:lnTo>
                        <a:pt x="1278" y="965"/>
                      </a:lnTo>
                      <a:lnTo>
                        <a:pt x="1279" y="965"/>
                      </a:lnTo>
                      <a:lnTo>
                        <a:pt x="1280" y="966"/>
                      </a:lnTo>
                      <a:lnTo>
                        <a:pt x="1279" y="966"/>
                      </a:lnTo>
                      <a:lnTo>
                        <a:pt x="1279" y="967"/>
                      </a:lnTo>
                      <a:lnTo>
                        <a:pt x="1279" y="966"/>
                      </a:lnTo>
                      <a:lnTo>
                        <a:pt x="1279" y="967"/>
                      </a:lnTo>
                      <a:lnTo>
                        <a:pt x="1278" y="967"/>
                      </a:lnTo>
                      <a:lnTo>
                        <a:pt x="1279" y="967"/>
                      </a:lnTo>
                      <a:lnTo>
                        <a:pt x="1279" y="968"/>
                      </a:lnTo>
                      <a:lnTo>
                        <a:pt x="1280" y="968"/>
                      </a:lnTo>
                      <a:lnTo>
                        <a:pt x="1280" y="967"/>
                      </a:lnTo>
                      <a:lnTo>
                        <a:pt x="1280" y="968"/>
                      </a:lnTo>
                      <a:lnTo>
                        <a:pt x="1282" y="968"/>
                      </a:lnTo>
                      <a:lnTo>
                        <a:pt x="1282" y="969"/>
                      </a:lnTo>
                      <a:lnTo>
                        <a:pt x="1280" y="969"/>
                      </a:lnTo>
                      <a:lnTo>
                        <a:pt x="1279" y="969"/>
                      </a:lnTo>
                      <a:lnTo>
                        <a:pt x="1280" y="970"/>
                      </a:lnTo>
                      <a:lnTo>
                        <a:pt x="1282" y="969"/>
                      </a:lnTo>
                      <a:lnTo>
                        <a:pt x="1282" y="970"/>
                      </a:lnTo>
                      <a:lnTo>
                        <a:pt x="1282" y="971"/>
                      </a:lnTo>
                      <a:lnTo>
                        <a:pt x="1283" y="971"/>
                      </a:lnTo>
                      <a:lnTo>
                        <a:pt x="1282" y="971"/>
                      </a:lnTo>
                      <a:lnTo>
                        <a:pt x="1283" y="973"/>
                      </a:lnTo>
                      <a:lnTo>
                        <a:pt x="1284" y="973"/>
                      </a:lnTo>
                      <a:lnTo>
                        <a:pt x="1284" y="971"/>
                      </a:lnTo>
                      <a:lnTo>
                        <a:pt x="1283" y="970"/>
                      </a:lnTo>
                      <a:lnTo>
                        <a:pt x="1284" y="970"/>
                      </a:lnTo>
                      <a:lnTo>
                        <a:pt x="1284" y="971"/>
                      </a:lnTo>
                      <a:lnTo>
                        <a:pt x="1284" y="970"/>
                      </a:lnTo>
                      <a:lnTo>
                        <a:pt x="1285" y="970"/>
                      </a:lnTo>
                      <a:lnTo>
                        <a:pt x="1284" y="970"/>
                      </a:lnTo>
                      <a:lnTo>
                        <a:pt x="1285" y="970"/>
                      </a:lnTo>
                      <a:lnTo>
                        <a:pt x="1285" y="971"/>
                      </a:lnTo>
                      <a:lnTo>
                        <a:pt x="1284" y="971"/>
                      </a:lnTo>
                      <a:lnTo>
                        <a:pt x="1284" y="973"/>
                      </a:lnTo>
                      <a:lnTo>
                        <a:pt x="1285" y="973"/>
                      </a:lnTo>
                      <a:lnTo>
                        <a:pt x="1285" y="971"/>
                      </a:lnTo>
                      <a:lnTo>
                        <a:pt x="1286" y="971"/>
                      </a:lnTo>
                      <a:lnTo>
                        <a:pt x="1286" y="973"/>
                      </a:lnTo>
                      <a:lnTo>
                        <a:pt x="1285" y="973"/>
                      </a:lnTo>
                      <a:lnTo>
                        <a:pt x="1284" y="973"/>
                      </a:lnTo>
                      <a:lnTo>
                        <a:pt x="1284" y="974"/>
                      </a:lnTo>
                      <a:lnTo>
                        <a:pt x="1285" y="974"/>
                      </a:lnTo>
                      <a:lnTo>
                        <a:pt x="1286" y="974"/>
                      </a:lnTo>
                      <a:lnTo>
                        <a:pt x="1287" y="974"/>
                      </a:lnTo>
                      <a:lnTo>
                        <a:pt x="1287" y="975"/>
                      </a:lnTo>
                      <a:lnTo>
                        <a:pt x="1287" y="976"/>
                      </a:lnTo>
                      <a:lnTo>
                        <a:pt x="1287" y="975"/>
                      </a:lnTo>
                      <a:lnTo>
                        <a:pt x="1287" y="974"/>
                      </a:lnTo>
                      <a:lnTo>
                        <a:pt x="1288" y="974"/>
                      </a:lnTo>
                      <a:lnTo>
                        <a:pt x="1287" y="975"/>
                      </a:lnTo>
                      <a:lnTo>
                        <a:pt x="1288" y="975"/>
                      </a:lnTo>
                      <a:lnTo>
                        <a:pt x="1288" y="974"/>
                      </a:lnTo>
                      <a:lnTo>
                        <a:pt x="1288" y="975"/>
                      </a:lnTo>
                      <a:lnTo>
                        <a:pt x="1288" y="974"/>
                      </a:lnTo>
                      <a:lnTo>
                        <a:pt x="1289" y="974"/>
                      </a:lnTo>
                      <a:lnTo>
                        <a:pt x="1288" y="975"/>
                      </a:lnTo>
                      <a:lnTo>
                        <a:pt x="1289" y="975"/>
                      </a:lnTo>
                      <a:lnTo>
                        <a:pt x="1289" y="974"/>
                      </a:lnTo>
                      <a:lnTo>
                        <a:pt x="1289" y="975"/>
                      </a:lnTo>
                      <a:lnTo>
                        <a:pt x="1290" y="975"/>
                      </a:lnTo>
                      <a:lnTo>
                        <a:pt x="1290" y="974"/>
                      </a:lnTo>
                      <a:lnTo>
                        <a:pt x="1290" y="975"/>
                      </a:lnTo>
                      <a:lnTo>
                        <a:pt x="1290" y="976"/>
                      </a:lnTo>
                      <a:lnTo>
                        <a:pt x="1291" y="976"/>
                      </a:lnTo>
                      <a:lnTo>
                        <a:pt x="1291" y="975"/>
                      </a:lnTo>
                      <a:lnTo>
                        <a:pt x="1291" y="973"/>
                      </a:lnTo>
                      <a:lnTo>
                        <a:pt x="1291" y="971"/>
                      </a:lnTo>
                      <a:lnTo>
                        <a:pt x="1292" y="971"/>
                      </a:lnTo>
                      <a:lnTo>
                        <a:pt x="1292" y="970"/>
                      </a:lnTo>
                      <a:lnTo>
                        <a:pt x="1292" y="971"/>
                      </a:lnTo>
                      <a:lnTo>
                        <a:pt x="1293" y="971"/>
                      </a:lnTo>
                      <a:lnTo>
                        <a:pt x="1293" y="970"/>
                      </a:lnTo>
                      <a:lnTo>
                        <a:pt x="1295" y="970"/>
                      </a:lnTo>
                      <a:lnTo>
                        <a:pt x="1293" y="970"/>
                      </a:lnTo>
                      <a:lnTo>
                        <a:pt x="1293" y="971"/>
                      </a:lnTo>
                      <a:lnTo>
                        <a:pt x="1292" y="971"/>
                      </a:lnTo>
                      <a:lnTo>
                        <a:pt x="1292" y="973"/>
                      </a:lnTo>
                      <a:lnTo>
                        <a:pt x="1292" y="974"/>
                      </a:lnTo>
                      <a:lnTo>
                        <a:pt x="1293" y="974"/>
                      </a:lnTo>
                      <a:lnTo>
                        <a:pt x="1293" y="975"/>
                      </a:lnTo>
                      <a:lnTo>
                        <a:pt x="1292" y="975"/>
                      </a:lnTo>
                      <a:lnTo>
                        <a:pt x="1292" y="974"/>
                      </a:lnTo>
                      <a:lnTo>
                        <a:pt x="1292" y="975"/>
                      </a:lnTo>
                      <a:lnTo>
                        <a:pt x="1292" y="976"/>
                      </a:lnTo>
                      <a:lnTo>
                        <a:pt x="1292" y="977"/>
                      </a:lnTo>
                      <a:lnTo>
                        <a:pt x="1293" y="977"/>
                      </a:lnTo>
                      <a:lnTo>
                        <a:pt x="1293" y="978"/>
                      </a:lnTo>
                      <a:lnTo>
                        <a:pt x="1295" y="978"/>
                      </a:lnTo>
                      <a:lnTo>
                        <a:pt x="1293" y="978"/>
                      </a:lnTo>
                      <a:lnTo>
                        <a:pt x="1295" y="977"/>
                      </a:lnTo>
                      <a:lnTo>
                        <a:pt x="1296" y="977"/>
                      </a:lnTo>
                      <a:lnTo>
                        <a:pt x="1296" y="978"/>
                      </a:lnTo>
                      <a:lnTo>
                        <a:pt x="1295" y="978"/>
                      </a:lnTo>
                      <a:lnTo>
                        <a:pt x="1296" y="978"/>
                      </a:lnTo>
                      <a:lnTo>
                        <a:pt x="1296" y="977"/>
                      </a:lnTo>
                      <a:lnTo>
                        <a:pt x="1296" y="976"/>
                      </a:lnTo>
                      <a:lnTo>
                        <a:pt x="1297" y="976"/>
                      </a:lnTo>
                      <a:lnTo>
                        <a:pt x="1297" y="977"/>
                      </a:lnTo>
                      <a:lnTo>
                        <a:pt x="1297" y="978"/>
                      </a:lnTo>
                      <a:lnTo>
                        <a:pt x="1298" y="978"/>
                      </a:lnTo>
                      <a:lnTo>
                        <a:pt x="1298" y="979"/>
                      </a:lnTo>
                      <a:lnTo>
                        <a:pt x="1299" y="979"/>
                      </a:lnTo>
                      <a:lnTo>
                        <a:pt x="1299" y="978"/>
                      </a:lnTo>
                      <a:lnTo>
                        <a:pt x="1300" y="977"/>
                      </a:lnTo>
                      <a:lnTo>
                        <a:pt x="1300" y="976"/>
                      </a:lnTo>
                      <a:lnTo>
                        <a:pt x="1301" y="976"/>
                      </a:lnTo>
                      <a:lnTo>
                        <a:pt x="1301" y="977"/>
                      </a:lnTo>
                      <a:lnTo>
                        <a:pt x="1301" y="978"/>
                      </a:lnTo>
                      <a:lnTo>
                        <a:pt x="1300" y="978"/>
                      </a:lnTo>
                      <a:lnTo>
                        <a:pt x="1301" y="978"/>
                      </a:lnTo>
                      <a:lnTo>
                        <a:pt x="1302" y="977"/>
                      </a:lnTo>
                      <a:lnTo>
                        <a:pt x="1302" y="978"/>
                      </a:lnTo>
                      <a:lnTo>
                        <a:pt x="1302" y="977"/>
                      </a:lnTo>
                      <a:lnTo>
                        <a:pt x="1303" y="977"/>
                      </a:lnTo>
                      <a:lnTo>
                        <a:pt x="1303" y="976"/>
                      </a:lnTo>
                      <a:lnTo>
                        <a:pt x="1304" y="976"/>
                      </a:lnTo>
                      <a:lnTo>
                        <a:pt x="1304" y="977"/>
                      </a:lnTo>
                      <a:lnTo>
                        <a:pt x="1304" y="978"/>
                      </a:lnTo>
                      <a:lnTo>
                        <a:pt x="1303" y="978"/>
                      </a:lnTo>
                      <a:lnTo>
                        <a:pt x="1303" y="979"/>
                      </a:lnTo>
                      <a:lnTo>
                        <a:pt x="1303" y="980"/>
                      </a:lnTo>
                      <a:lnTo>
                        <a:pt x="1304" y="980"/>
                      </a:lnTo>
                      <a:lnTo>
                        <a:pt x="1304" y="981"/>
                      </a:lnTo>
                      <a:lnTo>
                        <a:pt x="1304" y="982"/>
                      </a:lnTo>
                      <a:lnTo>
                        <a:pt x="1305" y="982"/>
                      </a:lnTo>
                      <a:lnTo>
                        <a:pt x="1305" y="981"/>
                      </a:lnTo>
                      <a:lnTo>
                        <a:pt x="1305" y="982"/>
                      </a:lnTo>
                      <a:lnTo>
                        <a:pt x="1306" y="982"/>
                      </a:lnTo>
                      <a:lnTo>
                        <a:pt x="1306" y="981"/>
                      </a:lnTo>
                      <a:lnTo>
                        <a:pt x="1306" y="982"/>
                      </a:lnTo>
                      <a:lnTo>
                        <a:pt x="1305" y="982"/>
                      </a:lnTo>
                      <a:lnTo>
                        <a:pt x="1305" y="983"/>
                      </a:lnTo>
                      <a:lnTo>
                        <a:pt x="1304" y="983"/>
                      </a:lnTo>
                      <a:lnTo>
                        <a:pt x="1304" y="984"/>
                      </a:lnTo>
                      <a:lnTo>
                        <a:pt x="1305" y="984"/>
                      </a:lnTo>
                      <a:lnTo>
                        <a:pt x="1305" y="986"/>
                      </a:lnTo>
                      <a:lnTo>
                        <a:pt x="1306" y="986"/>
                      </a:lnTo>
                      <a:lnTo>
                        <a:pt x="1306" y="984"/>
                      </a:lnTo>
                      <a:lnTo>
                        <a:pt x="1306" y="983"/>
                      </a:lnTo>
                      <a:lnTo>
                        <a:pt x="1306" y="982"/>
                      </a:lnTo>
                      <a:lnTo>
                        <a:pt x="1308" y="982"/>
                      </a:lnTo>
                      <a:lnTo>
                        <a:pt x="1308" y="981"/>
                      </a:lnTo>
                      <a:lnTo>
                        <a:pt x="1308" y="982"/>
                      </a:lnTo>
                      <a:lnTo>
                        <a:pt x="1309" y="982"/>
                      </a:lnTo>
                      <a:lnTo>
                        <a:pt x="1310" y="982"/>
                      </a:lnTo>
                      <a:lnTo>
                        <a:pt x="1310" y="981"/>
                      </a:lnTo>
                      <a:lnTo>
                        <a:pt x="1311" y="980"/>
                      </a:lnTo>
                      <a:lnTo>
                        <a:pt x="1311" y="979"/>
                      </a:lnTo>
                      <a:lnTo>
                        <a:pt x="1311" y="978"/>
                      </a:lnTo>
                      <a:lnTo>
                        <a:pt x="1311" y="977"/>
                      </a:lnTo>
                      <a:lnTo>
                        <a:pt x="1312" y="977"/>
                      </a:lnTo>
                      <a:lnTo>
                        <a:pt x="1312" y="976"/>
                      </a:lnTo>
                      <a:lnTo>
                        <a:pt x="1312" y="975"/>
                      </a:lnTo>
                      <a:lnTo>
                        <a:pt x="1313" y="975"/>
                      </a:lnTo>
                      <a:lnTo>
                        <a:pt x="1312" y="975"/>
                      </a:lnTo>
                      <a:lnTo>
                        <a:pt x="1312" y="974"/>
                      </a:lnTo>
                      <a:lnTo>
                        <a:pt x="1313" y="974"/>
                      </a:lnTo>
                      <a:lnTo>
                        <a:pt x="1313" y="973"/>
                      </a:lnTo>
                      <a:lnTo>
                        <a:pt x="1313" y="971"/>
                      </a:lnTo>
                      <a:lnTo>
                        <a:pt x="1313" y="970"/>
                      </a:lnTo>
                      <a:lnTo>
                        <a:pt x="1313" y="971"/>
                      </a:lnTo>
                      <a:lnTo>
                        <a:pt x="1314" y="971"/>
                      </a:lnTo>
                      <a:lnTo>
                        <a:pt x="1314" y="970"/>
                      </a:lnTo>
                      <a:lnTo>
                        <a:pt x="1313" y="970"/>
                      </a:lnTo>
                      <a:lnTo>
                        <a:pt x="1312" y="970"/>
                      </a:lnTo>
                      <a:lnTo>
                        <a:pt x="1312" y="969"/>
                      </a:lnTo>
                      <a:lnTo>
                        <a:pt x="1313" y="969"/>
                      </a:lnTo>
                      <a:lnTo>
                        <a:pt x="1313" y="970"/>
                      </a:lnTo>
                      <a:lnTo>
                        <a:pt x="1314" y="970"/>
                      </a:lnTo>
                      <a:lnTo>
                        <a:pt x="1314" y="971"/>
                      </a:lnTo>
                      <a:lnTo>
                        <a:pt x="1315" y="971"/>
                      </a:lnTo>
                      <a:lnTo>
                        <a:pt x="1315" y="970"/>
                      </a:lnTo>
                      <a:lnTo>
                        <a:pt x="1315" y="971"/>
                      </a:lnTo>
                      <a:lnTo>
                        <a:pt x="1315" y="973"/>
                      </a:lnTo>
                      <a:lnTo>
                        <a:pt x="1316" y="973"/>
                      </a:lnTo>
                      <a:lnTo>
                        <a:pt x="1316" y="971"/>
                      </a:lnTo>
                      <a:lnTo>
                        <a:pt x="1316" y="970"/>
                      </a:lnTo>
                      <a:lnTo>
                        <a:pt x="1315" y="970"/>
                      </a:lnTo>
                      <a:lnTo>
                        <a:pt x="1314" y="970"/>
                      </a:lnTo>
                      <a:lnTo>
                        <a:pt x="1314" y="969"/>
                      </a:lnTo>
                      <a:lnTo>
                        <a:pt x="1313" y="969"/>
                      </a:lnTo>
                      <a:lnTo>
                        <a:pt x="1312" y="969"/>
                      </a:lnTo>
                      <a:lnTo>
                        <a:pt x="1312" y="968"/>
                      </a:lnTo>
                      <a:lnTo>
                        <a:pt x="1312" y="966"/>
                      </a:lnTo>
                      <a:lnTo>
                        <a:pt x="1312" y="968"/>
                      </a:lnTo>
                      <a:lnTo>
                        <a:pt x="1312" y="969"/>
                      </a:lnTo>
                      <a:lnTo>
                        <a:pt x="1312" y="968"/>
                      </a:lnTo>
                      <a:lnTo>
                        <a:pt x="1313" y="969"/>
                      </a:lnTo>
                      <a:lnTo>
                        <a:pt x="1314" y="969"/>
                      </a:lnTo>
                      <a:lnTo>
                        <a:pt x="1315" y="969"/>
                      </a:lnTo>
                      <a:lnTo>
                        <a:pt x="1316" y="970"/>
                      </a:lnTo>
                      <a:lnTo>
                        <a:pt x="1317" y="970"/>
                      </a:lnTo>
                      <a:lnTo>
                        <a:pt x="1317" y="969"/>
                      </a:lnTo>
                      <a:lnTo>
                        <a:pt x="1318" y="969"/>
                      </a:lnTo>
                      <a:lnTo>
                        <a:pt x="1317" y="968"/>
                      </a:lnTo>
                      <a:lnTo>
                        <a:pt x="1317" y="967"/>
                      </a:lnTo>
                      <a:lnTo>
                        <a:pt x="1316" y="967"/>
                      </a:lnTo>
                      <a:lnTo>
                        <a:pt x="1316" y="966"/>
                      </a:lnTo>
                      <a:lnTo>
                        <a:pt x="1315" y="966"/>
                      </a:lnTo>
                      <a:lnTo>
                        <a:pt x="1315" y="967"/>
                      </a:lnTo>
                      <a:lnTo>
                        <a:pt x="1315" y="966"/>
                      </a:lnTo>
                      <a:lnTo>
                        <a:pt x="1315" y="965"/>
                      </a:lnTo>
                      <a:lnTo>
                        <a:pt x="1314" y="966"/>
                      </a:lnTo>
                      <a:lnTo>
                        <a:pt x="1314" y="965"/>
                      </a:lnTo>
                      <a:lnTo>
                        <a:pt x="1315" y="965"/>
                      </a:lnTo>
                      <a:lnTo>
                        <a:pt x="1314" y="965"/>
                      </a:lnTo>
                      <a:lnTo>
                        <a:pt x="1315" y="965"/>
                      </a:lnTo>
                      <a:lnTo>
                        <a:pt x="1316" y="965"/>
                      </a:lnTo>
                      <a:lnTo>
                        <a:pt x="1315" y="965"/>
                      </a:lnTo>
                      <a:lnTo>
                        <a:pt x="1316" y="965"/>
                      </a:lnTo>
                      <a:lnTo>
                        <a:pt x="1316" y="966"/>
                      </a:lnTo>
                      <a:lnTo>
                        <a:pt x="1317" y="965"/>
                      </a:lnTo>
                      <a:lnTo>
                        <a:pt x="1317" y="966"/>
                      </a:lnTo>
                      <a:lnTo>
                        <a:pt x="1318" y="966"/>
                      </a:lnTo>
                      <a:lnTo>
                        <a:pt x="1319" y="966"/>
                      </a:lnTo>
                      <a:lnTo>
                        <a:pt x="1318" y="965"/>
                      </a:lnTo>
                      <a:lnTo>
                        <a:pt x="1319" y="965"/>
                      </a:lnTo>
                      <a:lnTo>
                        <a:pt x="1319" y="966"/>
                      </a:lnTo>
                      <a:lnTo>
                        <a:pt x="1319" y="965"/>
                      </a:lnTo>
                      <a:lnTo>
                        <a:pt x="1319" y="966"/>
                      </a:lnTo>
                      <a:lnTo>
                        <a:pt x="1321" y="966"/>
                      </a:lnTo>
                      <a:lnTo>
                        <a:pt x="1319" y="967"/>
                      </a:lnTo>
                      <a:lnTo>
                        <a:pt x="1321" y="967"/>
                      </a:lnTo>
                      <a:lnTo>
                        <a:pt x="1322" y="967"/>
                      </a:lnTo>
                      <a:lnTo>
                        <a:pt x="1323" y="967"/>
                      </a:lnTo>
                      <a:lnTo>
                        <a:pt x="1324" y="967"/>
                      </a:lnTo>
                      <a:lnTo>
                        <a:pt x="1325" y="967"/>
                      </a:lnTo>
                      <a:lnTo>
                        <a:pt x="1326" y="967"/>
                      </a:lnTo>
                      <a:lnTo>
                        <a:pt x="1327" y="967"/>
                      </a:lnTo>
                      <a:lnTo>
                        <a:pt x="1328" y="967"/>
                      </a:lnTo>
                      <a:lnTo>
                        <a:pt x="1328" y="966"/>
                      </a:lnTo>
                      <a:lnTo>
                        <a:pt x="1329" y="966"/>
                      </a:lnTo>
                      <a:lnTo>
                        <a:pt x="1328" y="966"/>
                      </a:lnTo>
                      <a:lnTo>
                        <a:pt x="1329" y="965"/>
                      </a:lnTo>
                      <a:lnTo>
                        <a:pt x="1330" y="965"/>
                      </a:lnTo>
                      <a:lnTo>
                        <a:pt x="1331" y="965"/>
                      </a:lnTo>
                      <a:lnTo>
                        <a:pt x="1331" y="964"/>
                      </a:lnTo>
                      <a:lnTo>
                        <a:pt x="1331" y="965"/>
                      </a:lnTo>
                      <a:lnTo>
                        <a:pt x="1331" y="964"/>
                      </a:lnTo>
                      <a:lnTo>
                        <a:pt x="1332" y="964"/>
                      </a:lnTo>
                      <a:lnTo>
                        <a:pt x="1332" y="963"/>
                      </a:lnTo>
                      <a:lnTo>
                        <a:pt x="1334" y="963"/>
                      </a:lnTo>
                      <a:lnTo>
                        <a:pt x="1335" y="963"/>
                      </a:lnTo>
                      <a:lnTo>
                        <a:pt x="1335" y="962"/>
                      </a:lnTo>
                      <a:lnTo>
                        <a:pt x="1335" y="961"/>
                      </a:lnTo>
                      <a:lnTo>
                        <a:pt x="1336" y="961"/>
                      </a:lnTo>
                      <a:lnTo>
                        <a:pt x="1336" y="960"/>
                      </a:lnTo>
                      <a:lnTo>
                        <a:pt x="1336" y="958"/>
                      </a:lnTo>
                      <a:lnTo>
                        <a:pt x="1335" y="958"/>
                      </a:lnTo>
                      <a:lnTo>
                        <a:pt x="1335" y="960"/>
                      </a:lnTo>
                      <a:lnTo>
                        <a:pt x="1334" y="958"/>
                      </a:lnTo>
                      <a:lnTo>
                        <a:pt x="1334" y="957"/>
                      </a:lnTo>
                      <a:lnTo>
                        <a:pt x="1335" y="957"/>
                      </a:lnTo>
                      <a:lnTo>
                        <a:pt x="1334" y="957"/>
                      </a:lnTo>
                      <a:lnTo>
                        <a:pt x="1332" y="957"/>
                      </a:lnTo>
                      <a:lnTo>
                        <a:pt x="1334" y="955"/>
                      </a:lnTo>
                      <a:lnTo>
                        <a:pt x="1334" y="954"/>
                      </a:lnTo>
                      <a:lnTo>
                        <a:pt x="1332" y="954"/>
                      </a:lnTo>
                      <a:lnTo>
                        <a:pt x="1331" y="954"/>
                      </a:lnTo>
                      <a:lnTo>
                        <a:pt x="1331" y="953"/>
                      </a:lnTo>
                      <a:lnTo>
                        <a:pt x="1332" y="953"/>
                      </a:lnTo>
                      <a:lnTo>
                        <a:pt x="1332" y="952"/>
                      </a:lnTo>
                      <a:lnTo>
                        <a:pt x="1331" y="952"/>
                      </a:lnTo>
                      <a:lnTo>
                        <a:pt x="1330" y="951"/>
                      </a:lnTo>
                      <a:lnTo>
                        <a:pt x="1329" y="951"/>
                      </a:lnTo>
                      <a:lnTo>
                        <a:pt x="1328" y="951"/>
                      </a:lnTo>
                      <a:lnTo>
                        <a:pt x="1328" y="950"/>
                      </a:lnTo>
                      <a:lnTo>
                        <a:pt x="1328" y="949"/>
                      </a:lnTo>
                      <a:lnTo>
                        <a:pt x="1327" y="948"/>
                      </a:lnTo>
                      <a:lnTo>
                        <a:pt x="1327" y="947"/>
                      </a:lnTo>
                      <a:lnTo>
                        <a:pt x="1327" y="948"/>
                      </a:lnTo>
                      <a:lnTo>
                        <a:pt x="1328" y="948"/>
                      </a:lnTo>
                      <a:lnTo>
                        <a:pt x="1328" y="949"/>
                      </a:lnTo>
                      <a:lnTo>
                        <a:pt x="1329" y="949"/>
                      </a:lnTo>
                      <a:lnTo>
                        <a:pt x="1329" y="950"/>
                      </a:lnTo>
                      <a:lnTo>
                        <a:pt x="1329" y="949"/>
                      </a:lnTo>
                      <a:lnTo>
                        <a:pt x="1329" y="948"/>
                      </a:lnTo>
                      <a:lnTo>
                        <a:pt x="1328" y="947"/>
                      </a:lnTo>
                      <a:lnTo>
                        <a:pt x="1329" y="947"/>
                      </a:lnTo>
                      <a:lnTo>
                        <a:pt x="1329" y="945"/>
                      </a:lnTo>
                      <a:lnTo>
                        <a:pt x="1330" y="945"/>
                      </a:lnTo>
                      <a:lnTo>
                        <a:pt x="1330" y="947"/>
                      </a:lnTo>
                      <a:lnTo>
                        <a:pt x="1331" y="947"/>
                      </a:lnTo>
                      <a:lnTo>
                        <a:pt x="1331" y="945"/>
                      </a:lnTo>
                      <a:lnTo>
                        <a:pt x="1331" y="944"/>
                      </a:lnTo>
                      <a:lnTo>
                        <a:pt x="1332" y="944"/>
                      </a:lnTo>
                      <a:lnTo>
                        <a:pt x="1332" y="945"/>
                      </a:lnTo>
                      <a:lnTo>
                        <a:pt x="1332" y="947"/>
                      </a:lnTo>
                      <a:lnTo>
                        <a:pt x="1332" y="948"/>
                      </a:lnTo>
                      <a:lnTo>
                        <a:pt x="1331" y="948"/>
                      </a:lnTo>
                      <a:lnTo>
                        <a:pt x="1331" y="949"/>
                      </a:lnTo>
                      <a:lnTo>
                        <a:pt x="1331" y="950"/>
                      </a:lnTo>
                      <a:lnTo>
                        <a:pt x="1332" y="951"/>
                      </a:lnTo>
                      <a:lnTo>
                        <a:pt x="1334" y="951"/>
                      </a:lnTo>
                      <a:lnTo>
                        <a:pt x="1335" y="951"/>
                      </a:lnTo>
                      <a:lnTo>
                        <a:pt x="1335" y="952"/>
                      </a:lnTo>
                      <a:lnTo>
                        <a:pt x="1335" y="953"/>
                      </a:lnTo>
                      <a:lnTo>
                        <a:pt x="1336" y="953"/>
                      </a:lnTo>
                      <a:lnTo>
                        <a:pt x="1336" y="954"/>
                      </a:lnTo>
                      <a:lnTo>
                        <a:pt x="1336" y="955"/>
                      </a:lnTo>
                      <a:lnTo>
                        <a:pt x="1336" y="956"/>
                      </a:lnTo>
                      <a:lnTo>
                        <a:pt x="1337" y="957"/>
                      </a:lnTo>
                      <a:lnTo>
                        <a:pt x="1337" y="956"/>
                      </a:lnTo>
                      <a:lnTo>
                        <a:pt x="1337" y="955"/>
                      </a:lnTo>
                      <a:lnTo>
                        <a:pt x="1338" y="955"/>
                      </a:lnTo>
                      <a:lnTo>
                        <a:pt x="1339" y="955"/>
                      </a:lnTo>
                      <a:lnTo>
                        <a:pt x="1339" y="956"/>
                      </a:lnTo>
                      <a:lnTo>
                        <a:pt x="1340" y="956"/>
                      </a:lnTo>
                      <a:lnTo>
                        <a:pt x="1340" y="955"/>
                      </a:lnTo>
                      <a:lnTo>
                        <a:pt x="1341" y="955"/>
                      </a:lnTo>
                      <a:lnTo>
                        <a:pt x="1342" y="955"/>
                      </a:lnTo>
                      <a:lnTo>
                        <a:pt x="1342" y="956"/>
                      </a:lnTo>
                      <a:lnTo>
                        <a:pt x="1343" y="956"/>
                      </a:lnTo>
                      <a:lnTo>
                        <a:pt x="1343" y="957"/>
                      </a:lnTo>
                      <a:lnTo>
                        <a:pt x="1342" y="957"/>
                      </a:lnTo>
                      <a:lnTo>
                        <a:pt x="1342" y="958"/>
                      </a:lnTo>
                      <a:lnTo>
                        <a:pt x="1342" y="960"/>
                      </a:lnTo>
                      <a:lnTo>
                        <a:pt x="1342" y="961"/>
                      </a:lnTo>
                      <a:lnTo>
                        <a:pt x="1342" y="962"/>
                      </a:lnTo>
                      <a:lnTo>
                        <a:pt x="1342" y="963"/>
                      </a:lnTo>
                      <a:lnTo>
                        <a:pt x="1341" y="964"/>
                      </a:lnTo>
                      <a:lnTo>
                        <a:pt x="1342" y="964"/>
                      </a:lnTo>
                      <a:lnTo>
                        <a:pt x="1341" y="964"/>
                      </a:lnTo>
                      <a:lnTo>
                        <a:pt x="1341" y="965"/>
                      </a:lnTo>
                      <a:lnTo>
                        <a:pt x="1342" y="965"/>
                      </a:lnTo>
                      <a:lnTo>
                        <a:pt x="1342" y="964"/>
                      </a:lnTo>
                      <a:lnTo>
                        <a:pt x="1342" y="963"/>
                      </a:lnTo>
                      <a:lnTo>
                        <a:pt x="1342" y="964"/>
                      </a:lnTo>
                      <a:lnTo>
                        <a:pt x="1343" y="964"/>
                      </a:lnTo>
                      <a:lnTo>
                        <a:pt x="1343" y="963"/>
                      </a:lnTo>
                      <a:lnTo>
                        <a:pt x="1343" y="962"/>
                      </a:lnTo>
                      <a:lnTo>
                        <a:pt x="1343" y="963"/>
                      </a:lnTo>
                      <a:lnTo>
                        <a:pt x="1343" y="964"/>
                      </a:lnTo>
                      <a:lnTo>
                        <a:pt x="1343" y="965"/>
                      </a:lnTo>
                      <a:lnTo>
                        <a:pt x="1342" y="965"/>
                      </a:lnTo>
                      <a:lnTo>
                        <a:pt x="1342" y="966"/>
                      </a:lnTo>
                      <a:lnTo>
                        <a:pt x="1341" y="966"/>
                      </a:lnTo>
                      <a:lnTo>
                        <a:pt x="1340" y="966"/>
                      </a:lnTo>
                      <a:lnTo>
                        <a:pt x="1340" y="967"/>
                      </a:lnTo>
                      <a:lnTo>
                        <a:pt x="1339" y="967"/>
                      </a:lnTo>
                      <a:lnTo>
                        <a:pt x="1340" y="967"/>
                      </a:lnTo>
                      <a:lnTo>
                        <a:pt x="1340" y="968"/>
                      </a:lnTo>
                      <a:lnTo>
                        <a:pt x="1341" y="968"/>
                      </a:lnTo>
                      <a:lnTo>
                        <a:pt x="1342" y="968"/>
                      </a:lnTo>
                      <a:lnTo>
                        <a:pt x="1342" y="967"/>
                      </a:lnTo>
                      <a:lnTo>
                        <a:pt x="1342" y="968"/>
                      </a:lnTo>
                      <a:lnTo>
                        <a:pt x="1342" y="967"/>
                      </a:lnTo>
                      <a:lnTo>
                        <a:pt x="1342" y="968"/>
                      </a:lnTo>
                      <a:lnTo>
                        <a:pt x="1343" y="968"/>
                      </a:lnTo>
                      <a:lnTo>
                        <a:pt x="1343" y="967"/>
                      </a:lnTo>
                      <a:lnTo>
                        <a:pt x="1343" y="968"/>
                      </a:lnTo>
                      <a:lnTo>
                        <a:pt x="1343" y="967"/>
                      </a:lnTo>
                      <a:lnTo>
                        <a:pt x="1343" y="968"/>
                      </a:lnTo>
                      <a:lnTo>
                        <a:pt x="1344" y="968"/>
                      </a:lnTo>
                      <a:lnTo>
                        <a:pt x="1344" y="967"/>
                      </a:lnTo>
                      <a:lnTo>
                        <a:pt x="1345" y="967"/>
                      </a:lnTo>
                      <a:lnTo>
                        <a:pt x="1344" y="968"/>
                      </a:lnTo>
                      <a:lnTo>
                        <a:pt x="1345" y="968"/>
                      </a:lnTo>
                      <a:lnTo>
                        <a:pt x="1345" y="969"/>
                      </a:lnTo>
                      <a:lnTo>
                        <a:pt x="1345" y="968"/>
                      </a:lnTo>
                      <a:lnTo>
                        <a:pt x="1345" y="969"/>
                      </a:lnTo>
                      <a:lnTo>
                        <a:pt x="1345" y="970"/>
                      </a:lnTo>
                      <a:lnTo>
                        <a:pt x="1347" y="970"/>
                      </a:lnTo>
                      <a:lnTo>
                        <a:pt x="1347" y="969"/>
                      </a:lnTo>
                      <a:lnTo>
                        <a:pt x="1348" y="969"/>
                      </a:lnTo>
                      <a:lnTo>
                        <a:pt x="1348" y="970"/>
                      </a:lnTo>
                      <a:lnTo>
                        <a:pt x="1347" y="970"/>
                      </a:lnTo>
                      <a:lnTo>
                        <a:pt x="1347" y="971"/>
                      </a:lnTo>
                      <a:lnTo>
                        <a:pt x="1348" y="970"/>
                      </a:lnTo>
                      <a:lnTo>
                        <a:pt x="1348" y="969"/>
                      </a:lnTo>
                      <a:lnTo>
                        <a:pt x="1348" y="970"/>
                      </a:lnTo>
                      <a:lnTo>
                        <a:pt x="1349" y="970"/>
                      </a:lnTo>
                      <a:lnTo>
                        <a:pt x="1349" y="969"/>
                      </a:lnTo>
                      <a:lnTo>
                        <a:pt x="1350" y="970"/>
                      </a:lnTo>
                      <a:lnTo>
                        <a:pt x="1350" y="969"/>
                      </a:lnTo>
                      <a:lnTo>
                        <a:pt x="1350" y="970"/>
                      </a:lnTo>
                      <a:lnTo>
                        <a:pt x="1350" y="971"/>
                      </a:lnTo>
                      <a:lnTo>
                        <a:pt x="1350" y="973"/>
                      </a:lnTo>
                      <a:lnTo>
                        <a:pt x="1351" y="973"/>
                      </a:lnTo>
                      <a:lnTo>
                        <a:pt x="1350" y="973"/>
                      </a:lnTo>
                      <a:lnTo>
                        <a:pt x="1351" y="973"/>
                      </a:lnTo>
                      <a:lnTo>
                        <a:pt x="1350" y="974"/>
                      </a:lnTo>
                      <a:lnTo>
                        <a:pt x="1349" y="974"/>
                      </a:lnTo>
                      <a:lnTo>
                        <a:pt x="1348" y="974"/>
                      </a:lnTo>
                      <a:lnTo>
                        <a:pt x="1348" y="975"/>
                      </a:lnTo>
                      <a:lnTo>
                        <a:pt x="1349" y="975"/>
                      </a:lnTo>
                      <a:lnTo>
                        <a:pt x="1349" y="974"/>
                      </a:lnTo>
                      <a:lnTo>
                        <a:pt x="1349" y="975"/>
                      </a:lnTo>
                      <a:lnTo>
                        <a:pt x="1349" y="974"/>
                      </a:lnTo>
                      <a:lnTo>
                        <a:pt x="1349" y="975"/>
                      </a:lnTo>
                      <a:lnTo>
                        <a:pt x="1349" y="974"/>
                      </a:lnTo>
                      <a:lnTo>
                        <a:pt x="1350" y="974"/>
                      </a:lnTo>
                      <a:lnTo>
                        <a:pt x="1351" y="974"/>
                      </a:lnTo>
                      <a:lnTo>
                        <a:pt x="1351" y="973"/>
                      </a:lnTo>
                      <a:lnTo>
                        <a:pt x="1351" y="971"/>
                      </a:lnTo>
                      <a:lnTo>
                        <a:pt x="1351" y="970"/>
                      </a:lnTo>
                      <a:lnTo>
                        <a:pt x="1351" y="969"/>
                      </a:lnTo>
                      <a:lnTo>
                        <a:pt x="1351" y="970"/>
                      </a:lnTo>
                      <a:lnTo>
                        <a:pt x="1351" y="969"/>
                      </a:lnTo>
                      <a:lnTo>
                        <a:pt x="1351" y="968"/>
                      </a:lnTo>
                      <a:lnTo>
                        <a:pt x="1350" y="968"/>
                      </a:lnTo>
                      <a:lnTo>
                        <a:pt x="1351" y="968"/>
                      </a:lnTo>
                      <a:lnTo>
                        <a:pt x="1351" y="967"/>
                      </a:lnTo>
                      <a:lnTo>
                        <a:pt x="1350" y="966"/>
                      </a:lnTo>
                      <a:lnTo>
                        <a:pt x="1349" y="966"/>
                      </a:lnTo>
                      <a:lnTo>
                        <a:pt x="1349" y="965"/>
                      </a:lnTo>
                      <a:lnTo>
                        <a:pt x="1348" y="965"/>
                      </a:lnTo>
                      <a:lnTo>
                        <a:pt x="1347" y="965"/>
                      </a:lnTo>
                      <a:lnTo>
                        <a:pt x="1347" y="966"/>
                      </a:lnTo>
                      <a:lnTo>
                        <a:pt x="1347" y="965"/>
                      </a:lnTo>
                      <a:lnTo>
                        <a:pt x="1345" y="965"/>
                      </a:lnTo>
                      <a:lnTo>
                        <a:pt x="1345" y="964"/>
                      </a:lnTo>
                      <a:lnTo>
                        <a:pt x="1345" y="963"/>
                      </a:lnTo>
                      <a:lnTo>
                        <a:pt x="1345" y="962"/>
                      </a:lnTo>
                      <a:lnTo>
                        <a:pt x="1345" y="963"/>
                      </a:lnTo>
                      <a:lnTo>
                        <a:pt x="1345" y="964"/>
                      </a:lnTo>
                      <a:lnTo>
                        <a:pt x="1347" y="964"/>
                      </a:lnTo>
                      <a:lnTo>
                        <a:pt x="1348" y="964"/>
                      </a:lnTo>
                      <a:lnTo>
                        <a:pt x="1349" y="964"/>
                      </a:lnTo>
                      <a:lnTo>
                        <a:pt x="1350" y="964"/>
                      </a:lnTo>
                      <a:lnTo>
                        <a:pt x="1351" y="964"/>
                      </a:lnTo>
                      <a:lnTo>
                        <a:pt x="1351" y="965"/>
                      </a:lnTo>
                      <a:lnTo>
                        <a:pt x="1350" y="965"/>
                      </a:lnTo>
                      <a:lnTo>
                        <a:pt x="1349" y="965"/>
                      </a:lnTo>
                      <a:lnTo>
                        <a:pt x="1350" y="965"/>
                      </a:lnTo>
                      <a:lnTo>
                        <a:pt x="1350" y="966"/>
                      </a:lnTo>
                      <a:lnTo>
                        <a:pt x="1351" y="966"/>
                      </a:lnTo>
                      <a:lnTo>
                        <a:pt x="1352" y="966"/>
                      </a:lnTo>
                      <a:lnTo>
                        <a:pt x="1352" y="967"/>
                      </a:lnTo>
                      <a:lnTo>
                        <a:pt x="1352" y="968"/>
                      </a:lnTo>
                      <a:lnTo>
                        <a:pt x="1352" y="969"/>
                      </a:lnTo>
                      <a:lnTo>
                        <a:pt x="1352" y="970"/>
                      </a:lnTo>
                      <a:lnTo>
                        <a:pt x="1352" y="971"/>
                      </a:lnTo>
                      <a:lnTo>
                        <a:pt x="1353" y="971"/>
                      </a:lnTo>
                      <a:lnTo>
                        <a:pt x="1353" y="973"/>
                      </a:lnTo>
                      <a:lnTo>
                        <a:pt x="1353" y="974"/>
                      </a:lnTo>
                      <a:lnTo>
                        <a:pt x="1353" y="975"/>
                      </a:lnTo>
                      <a:lnTo>
                        <a:pt x="1353" y="976"/>
                      </a:lnTo>
                      <a:lnTo>
                        <a:pt x="1353" y="977"/>
                      </a:lnTo>
                      <a:lnTo>
                        <a:pt x="1352" y="977"/>
                      </a:lnTo>
                      <a:lnTo>
                        <a:pt x="1353" y="977"/>
                      </a:lnTo>
                      <a:lnTo>
                        <a:pt x="1353" y="978"/>
                      </a:lnTo>
                      <a:lnTo>
                        <a:pt x="1354" y="978"/>
                      </a:lnTo>
                      <a:lnTo>
                        <a:pt x="1354" y="977"/>
                      </a:lnTo>
                      <a:lnTo>
                        <a:pt x="1353" y="977"/>
                      </a:lnTo>
                      <a:lnTo>
                        <a:pt x="1353" y="976"/>
                      </a:lnTo>
                      <a:lnTo>
                        <a:pt x="1354" y="976"/>
                      </a:lnTo>
                      <a:lnTo>
                        <a:pt x="1354" y="975"/>
                      </a:lnTo>
                      <a:lnTo>
                        <a:pt x="1354" y="974"/>
                      </a:lnTo>
                      <a:lnTo>
                        <a:pt x="1354" y="973"/>
                      </a:lnTo>
                      <a:lnTo>
                        <a:pt x="1354" y="971"/>
                      </a:lnTo>
                      <a:lnTo>
                        <a:pt x="1355" y="970"/>
                      </a:lnTo>
                      <a:lnTo>
                        <a:pt x="1356" y="970"/>
                      </a:lnTo>
                      <a:lnTo>
                        <a:pt x="1356" y="969"/>
                      </a:lnTo>
                      <a:lnTo>
                        <a:pt x="1357" y="969"/>
                      </a:lnTo>
                      <a:lnTo>
                        <a:pt x="1358" y="968"/>
                      </a:lnTo>
                      <a:lnTo>
                        <a:pt x="1356" y="969"/>
                      </a:lnTo>
                      <a:lnTo>
                        <a:pt x="1356" y="970"/>
                      </a:lnTo>
                      <a:lnTo>
                        <a:pt x="1356" y="971"/>
                      </a:lnTo>
                      <a:lnTo>
                        <a:pt x="1355" y="971"/>
                      </a:lnTo>
                      <a:lnTo>
                        <a:pt x="1356" y="971"/>
                      </a:lnTo>
                      <a:lnTo>
                        <a:pt x="1356" y="973"/>
                      </a:lnTo>
                      <a:lnTo>
                        <a:pt x="1357" y="973"/>
                      </a:lnTo>
                      <a:lnTo>
                        <a:pt x="1356" y="973"/>
                      </a:lnTo>
                      <a:lnTo>
                        <a:pt x="1357" y="973"/>
                      </a:lnTo>
                      <a:lnTo>
                        <a:pt x="1358" y="973"/>
                      </a:lnTo>
                      <a:lnTo>
                        <a:pt x="1358" y="974"/>
                      </a:lnTo>
                      <a:lnTo>
                        <a:pt x="1360" y="975"/>
                      </a:lnTo>
                      <a:lnTo>
                        <a:pt x="1358" y="975"/>
                      </a:lnTo>
                      <a:lnTo>
                        <a:pt x="1360" y="975"/>
                      </a:lnTo>
                      <a:lnTo>
                        <a:pt x="1360" y="976"/>
                      </a:lnTo>
                      <a:lnTo>
                        <a:pt x="1361" y="976"/>
                      </a:lnTo>
                      <a:lnTo>
                        <a:pt x="1361" y="977"/>
                      </a:lnTo>
                      <a:lnTo>
                        <a:pt x="1361" y="978"/>
                      </a:lnTo>
                      <a:lnTo>
                        <a:pt x="1360" y="978"/>
                      </a:lnTo>
                      <a:lnTo>
                        <a:pt x="1360" y="979"/>
                      </a:lnTo>
                      <a:lnTo>
                        <a:pt x="1361" y="979"/>
                      </a:lnTo>
                      <a:lnTo>
                        <a:pt x="1362" y="978"/>
                      </a:lnTo>
                      <a:lnTo>
                        <a:pt x="1362" y="977"/>
                      </a:lnTo>
                      <a:lnTo>
                        <a:pt x="1363" y="977"/>
                      </a:lnTo>
                      <a:lnTo>
                        <a:pt x="1362" y="977"/>
                      </a:lnTo>
                      <a:lnTo>
                        <a:pt x="1363" y="978"/>
                      </a:lnTo>
                      <a:lnTo>
                        <a:pt x="1363" y="977"/>
                      </a:lnTo>
                      <a:lnTo>
                        <a:pt x="1364" y="977"/>
                      </a:lnTo>
                      <a:lnTo>
                        <a:pt x="1364" y="976"/>
                      </a:lnTo>
                      <a:lnTo>
                        <a:pt x="1364" y="977"/>
                      </a:lnTo>
                      <a:lnTo>
                        <a:pt x="1365" y="977"/>
                      </a:lnTo>
                      <a:lnTo>
                        <a:pt x="1364" y="977"/>
                      </a:lnTo>
                      <a:lnTo>
                        <a:pt x="1364" y="978"/>
                      </a:lnTo>
                      <a:lnTo>
                        <a:pt x="1365" y="978"/>
                      </a:lnTo>
                      <a:lnTo>
                        <a:pt x="1364" y="979"/>
                      </a:lnTo>
                      <a:lnTo>
                        <a:pt x="1365" y="979"/>
                      </a:lnTo>
                      <a:lnTo>
                        <a:pt x="1365" y="980"/>
                      </a:lnTo>
                      <a:lnTo>
                        <a:pt x="1366" y="980"/>
                      </a:lnTo>
                      <a:lnTo>
                        <a:pt x="1366" y="981"/>
                      </a:lnTo>
                      <a:lnTo>
                        <a:pt x="1367" y="981"/>
                      </a:lnTo>
                      <a:lnTo>
                        <a:pt x="1367" y="982"/>
                      </a:lnTo>
                      <a:lnTo>
                        <a:pt x="1366" y="981"/>
                      </a:lnTo>
                      <a:lnTo>
                        <a:pt x="1365" y="980"/>
                      </a:lnTo>
                      <a:lnTo>
                        <a:pt x="1364" y="979"/>
                      </a:lnTo>
                      <a:lnTo>
                        <a:pt x="1364" y="980"/>
                      </a:lnTo>
                      <a:lnTo>
                        <a:pt x="1364" y="981"/>
                      </a:lnTo>
                      <a:lnTo>
                        <a:pt x="1363" y="981"/>
                      </a:lnTo>
                      <a:lnTo>
                        <a:pt x="1362" y="981"/>
                      </a:lnTo>
                      <a:lnTo>
                        <a:pt x="1363" y="981"/>
                      </a:lnTo>
                      <a:lnTo>
                        <a:pt x="1363" y="980"/>
                      </a:lnTo>
                      <a:lnTo>
                        <a:pt x="1362" y="980"/>
                      </a:lnTo>
                      <a:lnTo>
                        <a:pt x="1362" y="981"/>
                      </a:lnTo>
                      <a:lnTo>
                        <a:pt x="1361" y="981"/>
                      </a:lnTo>
                      <a:lnTo>
                        <a:pt x="1360" y="981"/>
                      </a:lnTo>
                      <a:lnTo>
                        <a:pt x="1360" y="982"/>
                      </a:lnTo>
                      <a:lnTo>
                        <a:pt x="1358" y="982"/>
                      </a:lnTo>
                      <a:lnTo>
                        <a:pt x="1360" y="982"/>
                      </a:lnTo>
                      <a:lnTo>
                        <a:pt x="1361" y="982"/>
                      </a:lnTo>
                      <a:lnTo>
                        <a:pt x="1361" y="983"/>
                      </a:lnTo>
                      <a:lnTo>
                        <a:pt x="1362" y="983"/>
                      </a:lnTo>
                      <a:lnTo>
                        <a:pt x="1362" y="984"/>
                      </a:lnTo>
                      <a:lnTo>
                        <a:pt x="1363" y="984"/>
                      </a:lnTo>
                      <a:lnTo>
                        <a:pt x="1363" y="986"/>
                      </a:lnTo>
                      <a:lnTo>
                        <a:pt x="1363" y="987"/>
                      </a:lnTo>
                      <a:lnTo>
                        <a:pt x="1362" y="987"/>
                      </a:lnTo>
                      <a:lnTo>
                        <a:pt x="1363" y="988"/>
                      </a:lnTo>
                      <a:lnTo>
                        <a:pt x="1363" y="987"/>
                      </a:lnTo>
                      <a:lnTo>
                        <a:pt x="1364" y="988"/>
                      </a:lnTo>
                      <a:lnTo>
                        <a:pt x="1364" y="987"/>
                      </a:lnTo>
                      <a:lnTo>
                        <a:pt x="1364" y="988"/>
                      </a:lnTo>
                      <a:lnTo>
                        <a:pt x="1364" y="987"/>
                      </a:lnTo>
                      <a:lnTo>
                        <a:pt x="1365" y="987"/>
                      </a:lnTo>
                      <a:lnTo>
                        <a:pt x="1366" y="987"/>
                      </a:lnTo>
                      <a:lnTo>
                        <a:pt x="1367" y="987"/>
                      </a:lnTo>
                      <a:lnTo>
                        <a:pt x="1367" y="988"/>
                      </a:lnTo>
                      <a:lnTo>
                        <a:pt x="1367" y="987"/>
                      </a:lnTo>
                      <a:lnTo>
                        <a:pt x="1367" y="988"/>
                      </a:lnTo>
                      <a:lnTo>
                        <a:pt x="1366" y="988"/>
                      </a:lnTo>
                      <a:lnTo>
                        <a:pt x="1365" y="988"/>
                      </a:lnTo>
                      <a:lnTo>
                        <a:pt x="1365" y="989"/>
                      </a:lnTo>
                      <a:lnTo>
                        <a:pt x="1364" y="989"/>
                      </a:lnTo>
                      <a:lnTo>
                        <a:pt x="1364" y="990"/>
                      </a:lnTo>
                      <a:lnTo>
                        <a:pt x="1364" y="991"/>
                      </a:lnTo>
                      <a:lnTo>
                        <a:pt x="1365" y="991"/>
                      </a:lnTo>
                      <a:lnTo>
                        <a:pt x="1365" y="992"/>
                      </a:lnTo>
                      <a:lnTo>
                        <a:pt x="1366" y="992"/>
                      </a:lnTo>
                      <a:lnTo>
                        <a:pt x="1366" y="993"/>
                      </a:lnTo>
                      <a:lnTo>
                        <a:pt x="1365" y="992"/>
                      </a:lnTo>
                      <a:lnTo>
                        <a:pt x="1364" y="992"/>
                      </a:lnTo>
                      <a:lnTo>
                        <a:pt x="1364" y="991"/>
                      </a:lnTo>
                      <a:lnTo>
                        <a:pt x="1363" y="991"/>
                      </a:lnTo>
                      <a:lnTo>
                        <a:pt x="1362" y="991"/>
                      </a:lnTo>
                      <a:lnTo>
                        <a:pt x="1362" y="990"/>
                      </a:lnTo>
                      <a:lnTo>
                        <a:pt x="1362" y="991"/>
                      </a:lnTo>
                      <a:lnTo>
                        <a:pt x="1362" y="990"/>
                      </a:lnTo>
                      <a:lnTo>
                        <a:pt x="1361" y="990"/>
                      </a:lnTo>
                      <a:lnTo>
                        <a:pt x="1361" y="989"/>
                      </a:lnTo>
                      <a:lnTo>
                        <a:pt x="1362" y="989"/>
                      </a:lnTo>
                      <a:lnTo>
                        <a:pt x="1361" y="989"/>
                      </a:lnTo>
                      <a:lnTo>
                        <a:pt x="1360" y="989"/>
                      </a:lnTo>
                      <a:lnTo>
                        <a:pt x="1360" y="990"/>
                      </a:lnTo>
                      <a:lnTo>
                        <a:pt x="1358" y="990"/>
                      </a:lnTo>
                      <a:lnTo>
                        <a:pt x="1358" y="989"/>
                      </a:lnTo>
                      <a:lnTo>
                        <a:pt x="1358" y="988"/>
                      </a:lnTo>
                      <a:lnTo>
                        <a:pt x="1357" y="988"/>
                      </a:lnTo>
                      <a:lnTo>
                        <a:pt x="1357" y="989"/>
                      </a:lnTo>
                      <a:lnTo>
                        <a:pt x="1357" y="988"/>
                      </a:lnTo>
                      <a:lnTo>
                        <a:pt x="1357" y="989"/>
                      </a:lnTo>
                      <a:lnTo>
                        <a:pt x="1356" y="989"/>
                      </a:lnTo>
                      <a:lnTo>
                        <a:pt x="1357" y="989"/>
                      </a:lnTo>
                      <a:lnTo>
                        <a:pt x="1356" y="989"/>
                      </a:lnTo>
                      <a:lnTo>
                        <a:pt x="1356" y="990"/>
                      </a:lnTo>
                      <a:lnTo>
                        <a:pt x="1355" y="990"/>
                      </a:lnTo>
                      <a:lnTo>
                        <a:pt x="1355" y="989"/>
                      </a:lnTo>
                      <a:lnTo>
                        <a:pt x="1356" y="989"/>
                      </a:lnTo>
                      <a:lnTo>
                        <a:pt x="1356" y="988"/>
                      </a:lnTo>
                      <a:lnTo>
                        <a:pt x="1355" y="988"/>
                      </a:lnTo>
                      <a:lnTo>
                        <a:pt x="1356" y="988"/>
                      </a:lnTo>
                      <a:lnTo>
                        <a:pt x="1355" y="988"/>
                      </a:lnTo>
                      <a:lnTo>
                        <a:pt x="1355" y="989"/>
                      </a:lnTo>
                      <a:lnTo>
                        <a:pt x="1354" y="989"/>
                      </a:lnTo>
                      <a:lnTo>
                        <a:pt x="1355" y="989"/>
                      </a:lnTo>
                      <a:lnTo>
                        <a:pt x="1355" y="990"/>
                      </a:lnTo>
                      <a:lnTo>
                        <a:pt x="1356" y="991"/>
                      </a:lnTo>
                      <a:lnTo>
                        <a:pt x="1357" y="991"/>
                      </a:lnTo>
                      <a:lnTo>
                        <a:pt x="1357" y="992"/>
                      </a:lnTo>
                      <a:lnTo>
                        <a:pt x="1358" y="992"/>
                      </a:lnTo>
                      <a:lnTo>
                        <a:pt x="1357" y="992"/>
                      </a:lnTo>
                      <a:lnTo>
                        <a:pt x="1357" y="993"/>
                      </a:lnTo>
                      <a:lnTo>
                        <a:pt x="1356" y="993"/>
                      </a:lnTo>
                      <a:lnTo>
                        <a:pt x="1356" y="992"/>
                      </a:lnTo>
                      <a:lnTo>
                        <a:pt x="1356" y="993"/>
                      </a:lnTo>
                      <a:lnTo>
                        <a:pt x="1357" y="992"/>
                      </a:lnTo>
                      <a:lnTo>
                        <a:pt x="1356" y="992"/>
                      </a:lnTo>
                      <a:lnTo>
                        <a:pt x="1357" y="992"/>
                      </a:lnTo>
                      <a:lnTo>
                        <a:pt x="1356" y="992"/>
                      </a:lnTo>
                      <a:lnTo>
                        <a:pt x="1355" y="992"/>
                      </a:lnTo>
                      <a:lnTo>
                        <a:pt x="1356" y="993"/>
                      </a:lnTo>
                      <a:lnTo>
                        <a:pt x="1355" y="993"/>
                      </a:lnTo>
                      <a:lnTo>
                        <a:pt x="1356" y="993"/>
                      </a:lnTo>
                      <a:lnTo>
                        <a:pt x="1356" y="994"/>
                      </a:lnTo>
                      <a:lnTo>
                        <a:pt x="1357" y="994"/>
                      </a:lnTo>
                      <a:lnTo>
                        <a:pt x="1356" y="994"/>
                      </a:lnTo>
                      <a:lnTo>
                        <a:pt x="1357" y="994"/>
                      </a:lnTo>
                      <a:lnTo>
                        <a:pt x="1358" y="994"/>
                      </a:lnTo>
                      <a:lnTo>
                        <a:pt x="1360" y="994"/>
                      </a:lnTo>
                      <a:lnTo>
                        <a:pt x="1360" y="993"/>
                      </a:lnTo>
                      <a:lnTo>
                        <a:pt x="1361" y="993"/>
                      </a:lnTo>
                      <a:lnTo>
                        <a:pt x="1360" y="994"/>
                      </a:lnTo>
                      <a:lnTo>
                        <a:pt x="1361" y="994"/>
                      </a:lnTo>
                      <a:lnTo>
                        <a:pt x="1361" y="993"/>
                      </a:lnTo>
                      <a:lnTo>
                        <a:pt x="1362" y="993"/>
                      </a:lnTo>
                      <a:lnTo>
                        <a:pt x="1362" y="994"/>
                      </a:lnTo>
                      <a:lnTo>
                        <a:pt x="1362" y="995"/>
                      </a:lnTo>
                      <a:lnTo>
                        <a:pt x="1361" y="995"/>
                      </a:lnTo>
                      <a:lnTo>
                        <a:pt x="1362" y="995"/>
                      </a:lnTo>
                      <a:lnTo>
                        <a:pt x="1361" y="995"/>
                      </a:lnTo>
                      <a:lnTo>
                        <a:pt x="1361" y="996"/>
                      </a:lnTo>
                      <a:lnTo>
                        <a:pt x="1362" y="996"/>
                      </a:lnTo>
                      <a:lnTo>
                        <a:pt x="1361" y="996"/>
                      </a:lnTo>
                      <a:lnTo>
                        <a:pt x="1362" y="998"/>
                      </a:lnTo>
                      <a:lnTo>
                        <a:pt x="1363" y="998"/>
                      </a:lnTo>
                      <a:lnTo>
                        <a:pt x="1364" y="998"/>
                      </a:lnTo>
                      <a:lnTo>
                        <a:pt x="1363" y="998"/>
                      </a:lnTo>
                      <a:lnTo>
                        <a:pt x="1362" y="998"/>
                      </a:lnTo>
                      <a:lnTo>
                        <a:pt x="1361" y="998"/>
                      </a:lnTo>
                      <a:lnTo>
                        <a:pt x="1361" y="996"/>
                      </a:lnTo>
                      <a:lnTo>
                        <a:pt x="1360" y="995"/>
                      </a:lnTo>
                      <a:lnTo>
                        <a:pt x="1361" y="995"/>
                      </a:lnTo>
                      <a:lnTo>
                        <a:pt x="1361" y="996"/>
                      </a:lnTo>
                      <a:lnTo>
                        <a:pt x="1361" y="995"/>
                      </a:lnTo>
                      <a:lnTo>
                        <a:pt x="1360" y="995"/>
                      </a:lnTo>
                      <a:lnTo>
                        <a:pt x="1358" y="995"/>
                      </a:lnTo>
                      <a:lnTo>
                        <a:pt x="1357" y="995"/>
                      </a:lnTo>
                      <a:lnTo>
                        <a:pt x="1356" y="995"/>
                      </a:lnTo>
                      <a:lnTo>
                        <a:pt x="1356" y="994"/>
                      </a:lnTo>
                      <a:lnTo>
                        <a:pt x="1355" y="994"/>
                      </a:lnTo>
                      <a:lnTo>
                        <a:pt x="1355" y="995"/>
                      </a:lnTo>
                      <a:lnTo>
                        <a:pt x="1354" y="995"/>
                      </a:lnTo>
                      <a:lnTo>
                        <a:pt x="1353" y="995"/>
                      </a:lnTo>
                      <a:lnTo>
                        <a:pt x="1352" y="995"/>
                      </a:lnTo>
                      <a:lnTo>
                        <a:pt x="1353" y="995"/>
                      </a:lnTo>
                      <a:lnTo>
                        <a:pt x="1352" y="995"/>
                      </a:lnTo>
                      <a:lnTo>
                        <a:pt x="1352" y="996"/>
                      </a:lnTo>
                      <a:lnTo>
                        <a:pt x="1352" y="995"/>
                      </a:lnTo>
                      <a:lnTo>
                        <a:pt x="1352" y="996"/>
                      </a:lnTo>
                      <a:lnTo>
                        <a:pt x="1352" y="998"/>
                      </a:lnTo>
                      <a:lnTo>
                        <a:pt x="1352" y="999"/>
                      </a:lnTo>
                      <a:lnTo>
                        <a:pt x="1352" y="1000"/>
                      </a:lnTo>
                      <a:lnTo>
                        <a:pt x="1351" y="999"/>
                      </a:lnTo>
                      <a:lnTo>
                        <a:pt x="1351" y="998"/>
                      </a:lnTo>
                      <a:lnTo>
                        <a:pt x="1352" y="998"/>
                      </a:lnTo>
                      <a:lnTo>
                        <a:pt x="1352" y="996"/>
                      </a:lnTo>
                      <a:lnTo>
                        <a:pt x="1351" y="996"/>
                      </a:lnTo>
                      <a:lnTo>
                        <a:pt x="1352" y="996"/>
                      </a:lnTo>
                      <a:lnTo>
                        <a:pt x="1351" y="996"/>
                      </a:lnTo>
                      <a:lnTo>
                        <a:pt x="1352" y="996"/>
                      </a:lnTo>
                      <a:lnTo>
                        <a:pt x="1351" y="996"/>
                      </a:lnTo>
                      <a:lnTo>
                        <a:pt x="1351" y="998"/>
                      </a:lnTo>
                      <a:lnTo>
                        <a:pt x="1350" y="998"/>
                      </a:lnTo>
                      <a:lnTo>
                        <a:pt x="1350" y="999"/>
                      </a:lnTo>
                      <a:lnTo>
                        <a:pt x="1349" y="999"/>
                      </a:lnTo>
                      <a:lnTo>
                        <a:pt x="1349" y="1000"/>
                      </a:lnTo>
                      <a:lnTo>
                        <a:pt x="1350" y="1000"/>
                      </a:lnTo>
                      <a:lnTo>
                        <a:pt x="1350" y="1001"/>
                      </a:lnTo>
                      <a:lnTo>
                        <a:pt x="1349" y="1001"/>
                      </a:lnTo>
                      <a:lnTo>
                        <a:pt x="1349" y="1000"/>
                      </a:lnTo>
                      <a:lnTo>
                        <a:pt x="1349" y="999"/>
                      </a:lnTo>
                      <a:lnTo>
                        <a:pt x="1349" y="998"/>
                      </a:lnTo>
                      <a:lnTo>
                        <a:pt x="1350" y="998"/>
                      </a:lnTo>
                      <a:lnTo>
                        <a:pt x="1350" y="996"/>
                      </a:lnTo>
                      <a:lnTo>
                        <a:pt x="1351" y="996"/>
                      </a:lnTo>
                      <a:lnTo>
                        <a:pt x="1350" y="996"/>
                      </a:lnTo>
                      <a:lnTo>
                        <a:pt x="1350" y="995"/>
                      </a:lnTo>
                      <a:lnTo>
                        <a:pt x="1350" y="996"/>
                      </a:lnTo>
                      <a:lnTo>
                        <a:pt x="1349" y="996"/>
                      </a:lnTo>
                      <a:lnTo>
                        <a:pt x="1349" y="995"/>
                      </a:lnTo>
                      <a:lnTo>
                        <a:pt x="1348" y="995"/>
                      </a:lnTo>
                      <a:lnTo>
                        <a:pt x="1348" y="994"/>
                      </a:lnTo>
                      <a:lnTo>
                        <a:pt x="1347" y="994"/>
                      </a:lnTo>
                      <a:lnTo>
                        <a:pt x="1345" y="994"/>
                      </a:lnTo>
                      <a:lnTo>
                        <a:pt x="1345" y="995"/>
                      </a:lnTo>
                      <a:lnTo>
                        <a:pt x="1345" y="994"/>
                      </a:lnTo>
                      <a:lnTo>
                        <a:pt x="1344" y="994"/>
                      </a:lnTo>
                      <a:lnTo>
                        <a:pt x="1344" y="995"/>
                      </a:lnTo>
                      <a:lnTo>
                        <a:pt x="1343" y="995"/>
                      </a:lnTo>
                      <a:lnTo>
                        <a:pt x="1342" y="995"/>
                      </a:lnTo>
                      <a:lnTo>
                        <a:pt x="1343" y="996"/>
                      </a:lnTo>
                      <a:lnTo>
                        <a:pt x="1344" y="996"/>
                      </a:lnTo>
                      <a:lnTo>
                        <a:pt x="1343" y="996"/>
                      </a:lnTo>
                      <a:lnTo>
                        <a:pt x="1342" y="996"/>
                      </a:lnTo>
                      <a:lnTo>
                        <a:pt x="1341" y="996"/>
                      </a:lnTo>
                      <a:lnTo>
                        <a:pt x="1341" y="998"/>
                      </a:lnTo>
                      <a:lnTo>
                        <a:pt x="1340" y="998"/>
                      </a:lnTo>
                      <a:lnTo>
                        <a:pt x="1340" y="999"/>
                      </a:lnTo>
                      <a:lnTo>
                        <a:pt x="1339" y="999"/>
                      </a:lnTo>
                      <a:lnTo>
                        <a:pt x="1340" y="999"/>
                      </a:lnTo>
                      <a:lnTo>
                        <a:pt x="1340" y="1000"/>
                      </a:lnTo>
                      <a:lnTo>
                        <a:pt x="1341" y="1000"/>
                      </a:lnTo>
                      <a:lnTo>
                        <a:pt x="1341" y="1001"/>
                      </a:lnTo>
                      <a:lnTo>
                        <a:pt x="1341" y="1000"/>
                      </a:lnTo>
                      <a:lnTo>
                        <a:pt x="1341" y="1001"/>
                      </a:lnTo>
                      <a:lnTo>
                        <a:pt x="1340" y="1001"/>
                      </a:lnTo>
                      <a:lnTo>
                        <a:pt x="1340" y="1000"/>
                      </a:lnTo>
                      <a:lnTo>
                        <a:pt x="1339" y="1000"/>
                      </a:lnTo>
                      <a:lnTo>
                        <a:pt x="1338" y="999"/>
                      </a:lnTo>
                      <a:lnTo>
                        <a:pt x="1338" y="998"/>
                      </a:lnTo>
                      <a:lnTo>
                        <a:pt x="1338" y="999"/>
                      </a:lnTo>
                      <a:lnTo>
                        <a:pt x="1338" y="1000"/>
                      </a:lnTo>
                      <a:lnTo>
                        <a:pt x="1339" y="1001"/>
                      </a:lnTo>
                      <a:lnTo>
                        <a:pt x="1338" y="1001"/>
                      </a:lnTo>
                      <a:lnTo>
                        <a:pt x="1338" y="1000"/>
                      </a:lnTo>
                      <a:lnTo>
                        <a:pt x="1338" y="999"/>
                      </a:lnTo>
                      <a:lnTo>
                        <a:pt x="1337" y="999"/>
                      </a:lnTo>
                      <a:lnTo>
                        <a:pt x="1338" y="999"/>
                      </a:lnTo>
                      <a:lnTo>
                        <a:pt x="1338" y="1000"/>
                      </a:lnTo>
                      <a:lnTo>
                        <a:pt x="1338" y="1001"/>
                      </a:lnTo>
                      <a:lnTo>
                        <a:pt x="1338" y="1002"/>
                      </a:lnTo>
                      <a:lnTo>
                        <a:pt x="1338" y="1001"/>
                      </a:lnTo>
                      <a:lnTo>
                        <a:pt x="1338" y="1002"/>
                      </a:lnTo>
                      <a:lnTo>
                        <a:pt x="1337" y="1002"/>
                      </a:lnTo>
                      <a:lnTo>
                        <a:pt x="1337" y="1001"/>
                      </a:lnTo>
                      <a:lnTo>
                        <a:pt x="1336" y="1001"/>
                      </a:lnTo>
                      <a:lnTo>
                        <a:pt x="1337" y="1001"/>
                      </a:lnTo>
                      <a:lnTo>
                        <a:pt x="1337" y="1000"/>
                      </a:lnTo>
                      <a:lnTo>
                        <a:pt x="1336" y="1000"/>
                      </a:lnTo>
                      <a:lnTo>
                        <a:pt x="1336" y="1001"/>
                      </a:lnTo>
                      <a:lnTo>
                        <a:pt x="1337" y="1002"/>
                      </a:lnTo>
                      <a:lnTo>
                        <a:pt x="1336" y="1001"/>
                      </a:lnTo>
                      <a:lnTo>
                        <a:pt x="1336" y="1002"/>
                      </a:lnTo>
                      <a:lnTo>
                        <a:pt x="1337" y="1002"/>
                      </a:lnTo>
                      <a:lnTo>
                        <a:pt x="1337" y="1003"/>
                      </a:lnTo>
                      <a:lnTo>
                        <a:pt x="1336" y="1003"/>
                      </a:lnTo>
                      <a:lnTo>
                        <a:pt x="1336" y="1002"/>
                      </a:lnTo>
                      <a:lnTo>
                        <a:pt x="1335" y="1002"/>
                      </a:lnTo>
                      <a:lnTo>
                        <a:pt x="1334" y="1002"/>
                      </a:lnTo>
                      <a:lnTo>
                        <a:pt x="1334" y="1003"/>
                      </a:lnTo>
                      <a:lnTo>
                        <a:pt x="1335" y="1003"/>
                      </a:lnTo>
                      <a:lnTo>
                        <a:pt x="1334" y="1003"/>
                      </a:lnTo>
                      <a:lnTo>
                        <a:pt x="1335" y="1003"/>
                      </a:lnTo>
                      <a:lnTo>
                        <a:pt x="1335" y="1004"/>
                      </a:lnTo>
                      <a:lnTo>
                        <a:pt x="1336" y="1005"/>
                      </a:lnTo>
                      <a:lnTo>
                        <a:pt x="1336" y="1004"/>
                      </a:lnTo>
                      <a:lnTo>
                        <a:pt x="1337" y="1004"/>
                      </a:lnTo>
                      <a:lnTo>
                        <a:pt x="1337" y="1005"/>
                      </a:lnTo>
                      <a:lnTo>
                        <a:pt x="1338" y="1005"/>
                      </a:lnTo>
                      <a:lnTo>
                        <a:pt x="1338" y="1006"/>
                      </a:lnTo>
                      <a:lnTo>
                        <a:pt x="1339" y="1006"/>
                      </a:lnTo>
                      <a:lnTo>
                        <a:pt x="1338" y="1006"/>
                      </a:lnTo>
                      <a:lnTo>
                        <a:pt x="1338" y="1007"/>
                      </a:lnTo>
                      <a:lnTo>
                        <a:pt x="1337" y="1007"/>
                      </a:lnTo>
                      <a:lnTo>
                        <a:pt x="1336" y="1007"/>
                      </a:lnTo>
                      <a:lnTo>
                        <a:pt x="1336" y="1006"/>
                      </a:lnTo>
                      <a:lnTo>
                        <a:pt x="1336" y="1005"/>
                      </a:lnTo>
                      <a:lnTo>
                        <a:pt x="1335" y="1005"/>
                      </a:lnTo>
                      <a:lnTo>
                        <a:pt x="1334" y="1005"/>
                      </a:lnTo>
                      <a:lnTo>
                        <a:pt x="1332" y="1005"/>
                      </a:lnTo>
                      <a:lnTo>
                        <a:pt x="1334" y="1005"/>
                      </a:lnTo>
                      <a:lnTo>
                        <a:pt x="1332" y="1006"/>
                      </a:lnTo>
                      <a:lnTo>
                        <a:pt x="1332" y="1005"/>
                      </a:lnTo>
                      <a:lnTo>
                        <a:pt x="1332" y="1006"/>
                      </a:lnTo>
                      <a:lnTo>
                        <a:pt x="1334" y="1006"/>
                      </a:lnTo>
                      <a:lnTo>
                        <a:pt x="1332" y="1006"/>
                      </a:lnTo>
                      <a:lnTo>
                        <a:pt x="1334" y="1006"/>
                      </a:lnTo>
                      <a:lnTo>
                        <a:pt x="1334" y="1007"/>
                      </a:lnTo>
                      <a:lnTo>
                        <a:pt x="1332" y="1007"/>
                      </a:lnTo>
                      <a:lnTo>
                        <a:pt x="1332" y="1006"/>
                      </a:lnTo>
                      <a:lnTo>
                        <a:pt x="1332" y="1007"/>
                      </a:lnTo>
                      <a:lnTo>
                        <a:pt x="1331" y="1007"/>
                      </a:lnTo>
                      <a:lnTo>
                        <a:pt x="1331" y="1008"/>
                      </a:lnTo>
                      <a:lnTo>
                        <a:pt x="1331" y="1009"/>
                      </a:lnTo>
                      <a:lnTo>
                        <a:pt x="1331" y="1008"/>
                      </a:lnTo>
                      <a:lnTo>
                        <a:pt x="1330" y="1008"/>
                      </a:lnTo>
                      <a:lnTo>
                        <a:pt x="1331" y="1008"/>
                      </a:lnTo>
                      <a:lnTo>
                        <a:pt x="1331" y="1009"/>
                      </a:lnTo>
                      <a:lnTo>
                        <a:pt x="1330" y="1011"/>
                      </a:lnTo>
                      <a:lnTo>
                        <a:pt x="1329" y="1011"/>
                      </a:lnTo>
                      <a:lnTo>
                        <a:pt x="1329" y="1012"/>
                      </a:lnTo>
                      <a:lnTo>
                        <a:pt x="1329" y="1011"/>
                      </a:lnTo>
                      <a:lnTo>
                        <a:pt x="1328" y="1011"/>
                      </a:lnTo>
                      <a:lnTo>
                        <a:pt x="1328" y="1012"/>
                      </a:lnTo>
                      <a:lnTo>
                        <a:pt x="1327" y="1012"/>
                      </a:lnTo>
                      <a:lnTo>
                        <a:pt x="1327" y="1011"/>
                      </a:lnTo>
                      <a:lnTo>
                        <a:pt x="1326" y="1011"/>
                      </a:lnTo>
                      <a:lnTo>
                        <a:pt x="1326" y="1012"/>
                      </a:lnTo>
                      <a:lnTo>
                        <a:pt x="1325" y="1011"/>
                      </a:lnTo>
                      <a:lnTo>
                        <a:pt x="1325" y="1012"/>
                      </a:lnTo>
                      <a:lnTo>
                        <a:pt x="1325" y="1013"/>
                      </a:lnTo>
                      <a:lnTo>
                        <a:pt x="1325" y="1014"/>
                      </a:lnTo>
                      <a:lnTo>
                        <a:pt x="1325" y="1015"/>
                      </a:lnTo>
                      <a:lnTo>
                        <a:pt x="1326" y="1015"/>
                      </a:lnTo>
                      <a:lnTo>
                        <a:pt x="1326" y="1014"/>
                      </a:lnTo>
                      <a:lnTo>
                        <a:pt x="1327" y="1014"/>
                      </a:lnTo>
                      <a:lnTo>
                        <a:pt x="1327" y="1015"/>
                      </a:lnTo>
                      <a:lnTo>
                        <a:pt x="1327" y="1016"/>
                      </a:lnTo>
                      <a:lnTo>
                        <a:pt x="1328" y="1015"/>
                      </a:lnTo>
                      <a:lnTo>
                        <a:pt x="1329" y="1015"/>
                      </a:lnTo>
                      <a:lnTo>
                        <a:pt x="1329" y="1016"/>
                      </a:lnTo>
                      <a:lnTo>
                        <a:pt x="1330" y="1016"/>
                      </a:lnTo>
                      <a:lnTo>
                        <a:pt x="1330" y="1015"/>
                      </a:lnTo>
                      <a:lnTo>
                        <a:pt x="1330" y="1016"/>
                      </a:lnTo>
                      <a:lnTo>
                        <a:pt x="1331" y="1016"/>
                      </a:lnTo>
                      <a:lnTo>
                        <a:pt x="1331" y="1017"/>
                      </a:lnTo>
                      <a:lnTo>
                        <a:pt x="1330" y="1017"/>
                      </a:lnTo>
                      <a:lnTo>
                        <a:pt x="1330" y="1018"/>
                      </a:lnTo>
                      <a:lnTo>
                        <a:pt x="1330" y="1017"/>
                      </a:lnTo>
                      <a:lnTo>
                        <a:pt x="1330" y="1018"/>
                      </a:lnTo>
                      <a:lnTo>
                        <a:pt x="1329" y="1018"/>
                      </a:lnTo>
                      <a:lnTo>
                        <a:pt x="1328" y="1018"/>
                      </a:lnTo>
                      <a:lnTo>
                        <a:pt x="1327" y="1017"/>
                      </a:lnTo>
                      <a:lnTo>
                        <a:pt x="1327" y="1018"/>
                      </a:lnTo>
                      <a:lnTo>
                        <a:pt x="1327" y="1019"/>
                      </a:lnTo>
                      <a:lnTo>
                        <a:pt x="1327" y="1020"/>
                      </a:lnTo>
                      <a:lnTo>
                        <a:pt x="1326" y="1020"/>
                      </a:lnTo>
                      <a:lnTo>
                        <a:pt x="1325" y="1020"/>
                      </a:lnTo>
                      <a:lnTo>
                        <a:pt x="1325" y="1019"/>
                      </a:lnTo>
                      <a:lnTo>
                        <a:pt x="1324" y="1019"/>
                      </a:lnTo>
                      <a:lnTo>
                        <a:pt x="1323" y="1019"/>
                      </a:lnTo>
                      <a:lnTo>
                        <a:pt x="1324" y="1019"/>
                      </a:lnTo>
                      <a:lnTo>
                        <a:pt x="1324" y="1020"/>
                      </a:lnTo>
                      <a:lnTo>
                        <a:pt x="1323" y="1020"/>
                      </a:lnTo>
                      <a:lnTo>
                        <a:pt x="1324" y="1020"/>
                      </a:lnTo>
                      <a:lnTo>
                        <a:pt x="1324" y="1021"/>
                      </a:lnTo>
                      <a:lnTo>
                        <a:pt x="1324" y="1022"/>
                      </a:lnTo>
                      <a:lnTo>
                        <a:pt x="1324" y="1021"/>
                      </a:lnTo>
                      <a:lnTo>
                        <a:pt x="1325" y="1020"/>
                      </a:lnTo>
                      <a:lnTo>
                        <a:pt x="1325" y="1021"/>
                      </a:lnTo>
                      <a:lnTo>
                        <a:pt x="1324" y="1021"/>
                      </a:lnTo>
                      <a:lnTo>
                        <a:pt x="1324" y="1022"/>
                      </a:lnTo>
                      <a:lnTo>
                        <a:pt x="1325" y="1022"/>
                      </a:lnTo>
                      <a:lnTo>
                        <a:pt x="1324" y="1022"/>
                      </a:lnTo>
                      <a:lnTo>
                        <a:pt x="1325" y="1022"/>
                      </a:lnTo>
                      <a:lnTo>
                        <a:pt x="1326" y="1022"/>
                      </a:lnTo>
                      <a:lnTo>
                        <a:pt x="1327" y="1022"/>
                      </a:lnTo>
                      <a:lnTo>
                        <a:pt x="1326" y="1022"/>
                      </a:lnTo>
                      <a:lnTo>
                        <a:pt x="1326" y="1024"/>
                      </a:lnTo>
                      <a:lnTo>
                        <a:pt x="1325" y="1024"/>
                      </a:lnTo>
                      <a:lnTo>
                        <a:pt x="1325" y="1025"/>
                      </a:lnTo>
                      <a:lnTo>
                        <a:pt x="1326" y="1024"/>
                      </a:lnTo>
                      <a:lnTo>
                        <a:pt x="1326" y="1025"/>
                      </a:lnTo>
                      <a:lnTo>
                        <a:pt x="1326" y="1026"/>
                      </a:lnTo>
                      <a:lnTo>
                        <a:pt x="1327" y="1026"/>
                      </a:lnTo>
                      <a:lnTo>
                        <a:pt x="1327" y="1027"/>
                      </a:lnTo>
                      <a:lnTo>
                        <a:pt x="1327" y="1028"/>
                      </a:lnTo>
                      <a:lnTo>
                        <a:pt x="1326" y="1029"/>
                      </a:lnTo>
                      <a:lnTo>
                        <a:pt x="1327" y="1029"/>
                      </a:lnTo>
                      <a:lnTo>
                        <a:pt x="1327" y="1030"/>
                      </a:lnTo>
                      <a:lnTo>
                        <a:pt x="1328" y="1030"/>
                      </a:lnTo>
                      <a:lnTo>
                        <a:pt x="1327" y="1030"/>
                      </a:lnTo>
                      <a:lnTo>
                        <a:pt x="1327" y="1031"/>
                      </a:lnTo>
                      <a:lnTo>
                        <a:pt x="1328" y="1031"/>
                      </a:lnTo>
                      <a:lnTo>
                        <a:pt x="1328" y="1032"/>
                      </a:lnTo>
                      <a:lnTo>
                        <a:pt x="1329" y="1032"/>
                      </a:lnTo>
                      <a:lnTo>
                        <a:pt x="1329" y="1033"/>
                      </a:lnTo>
                      <a:lnTo>
                        <a:pt x="1330" y="1033"/>
                      </a:lnTo>
                      <a:lnTo>
                        <a:pt x="1330" y="1034"/>
                      </a:lnTo>
                      <a:lnTo>
                        <a:pt x="1331" y="1034"/>
                      </a:lnTo>
                      <a:lnTo>
                        <a:pt x="1331" y="1035"/>
                      </a:lnTo>
                      <a:lnTo>
                        <a:pt x="1332" y="1035"/>
                      </a:lnTo>
                      <a:lnTo>
                        <a:pt x="1332" y="1037"/>
                      </a:lnTo>
                      <a:lnTo>
                        <a:pt x="1334" y="1037"/>
                      </a:lnTo>
                      <a:lnTo>
                        <a:pt x="1335" y="1037"/>
                      </a:lnTo>
                      <a:lnTo>
                        <a:pt x="1336" y="1037"/>
                      </a:lnTo>
                      <a:lnTo>
                        <a:pt x="1335" y="1037"/>
                      </a:lnTo>
                      <a:lnTo>
                        <a:pt x="1336" y="1038"/>
                      </a:lnTo>
                      <a:lnTo>
                        <a:pt x="1336" y="1037"/>
                      </a:lnTo>
                      <a:lnTo>
                        <a:pt x="1336" y="1038"/>
                      </a:lnTo>
                      <a:lnTo>
                        <a:pt x="1337" y="1038"/>
                      </a:lnTo>
                      <a:lnTo>
                        <a:pt x="1337" y="1039"/>
                      </a:lnTo>
                      <a:lnTo>
                        <a:pt x="1337" y="1040"/>
                      </a:lnTo>
                      <a:lnTo>
                        <a:pt x="1337" y="1039"/>
                      </a:lnTo>
                      <a:lnTo>
                        <a:pt x="1337" y="1040"/>
                      </a:lnTo>
                      <a:lnTo>
                        <a:pt x="1338" y="1040"/>
                      </a:lnTo>
                      <a:lnTo>
                        <a:pt x="1339" y="1039"/>
                      </a:lnTo>
                      <a:lnTo>
                        <a:pt x="1340" y="1038"/>
                      </a:lnTo>
                      <a:lnTo>
                        <a:pt x="1341" y="1037"/>
                      </a:lnTo>
                      <a:lnTo>
                        <a:pt x="1341" y="1035"/>
                      </a:lnTo>
                      <a:lnTo>
                        <a:pt x="1340" y="1035"/>
                      </a:lnTo>
                      <a:lnTo>
                        <a:pt x="1339" y="1034"/>
                      </a:lnTo>
                      <a:lnTo>
                        <a:pt x="1338" y="1034"/>
                      </a:lnTo>
                      <a:lnTo>
                        <a:pt x="1338" y="1033"/>
                      </a:lnTo>
                      <a:lnTo>
                        <a:pt x="1337" y="1033"/>
                      </a:lnTo>
                      <a:lnTo>
                        <a:pt x="1336" y="1032"/>
                      </a:lnTo>
                      <a:lnTo>
                        <a:pt x="1335" y="1031"/>
                      </a:lnTo>
                      <a:lnTo>
                        <a:pt x="1334" y="1031"/>
                      </a:lnTo>
                      <a:lnTo>
                        <a:pt x="1334" y="1030"/>
                      </a:lnTo>
                      <a:lnTo>
                        <a:pt x="1332" y="1030"/>
                      </a:lnTo>
                      <a:lnTo>
                        <a:pt x="1332" y="1029"/>
                      </a:lnTo>
                      <a:lnTo>
                        <a:pt x="1332" y="1030"/>
                      </a:lnTo>
                      <a:lnTo>
                        <a:pt x="1334" y="1030"/>
                      </a:lnTo>
                      <a:lnTo>
                        <a:pt x="1335" y="1030"/>
                      </a:lnTo>
                      <a:lnTo>
                        <a:pt x="1335" y="1031"/>
                      </a:lnTo>
                      <a:lnTo>
                        <a:pt x="1336" y="1031"/>
                      </a:lnTo>
                      <a:lnTo>
                        <a:pt x="1336" y="1030"/>
                      </a:lnTo>
                      <a:lnTo>
                        <a:pt x="1336" y="1031"/>
                      </a:lnTo>
                      <a:lnTo>
                        <a:pt x="1337" y="1032"/>
                      </a:lnTo>
                      <a:lnTo>
                        <a:pt x="1338" y="1033"/>
                      </a:lnTo>
                      <a:lnTo>
                        <a:pt x="1339" y="1034"/>
                      </a:lnTo>
                      <a:lnTo>
                        <a:pt x="1340" y="1034"/>
                      </a:lnTo>
                      <a:lnTo>
                        <a:pt x="1341" y="1035"/>
                      </a:lnTo>
                      <a:lnTo>
                        <a:pt x="1342" y="1035"/>
                      </a:lnTo>
                      <a:lnTo>
                        <a:pt x="1342" y="1037"/>
                      </a:lnTo>
                      <a:lnTo>
                        <a:pt x="1342" y="1035"/>
                      </a:lnTo>
                      <a:lnTo>
                        <a:pt x="1343" y="1034"/>
                      </a:lnTo>
                      <a:lnTo>
                        <a:pt x="1342" y="1034"/>
                      </a:lnTo>
                      <a:lnTo>
                        <a:pt x="1342" y="1035"/>
                      </a:lnTo>
                      <a:lnTo>
                        <a:pt x="1341" y="1035"/>
                      </a:lnTo>
                      <a:lnTo>
                        <a:pt x="1341" y="1034"/>
                      </a:lnTo>
                      <a:lnTo>
                        <a:pt x="1341" y="1033"/>
                      </a:lnTo>
                      <a:lnTo>
                        <a:pt x="1342" y="1033"/>
                      </a:lnTo>
                      <a:lnTo>
                        <a:pt x="1343" y="1033"/>
                      </a:lnTo>
                      <a:lnTo>
                        <a:pt x="1344" y="1033"/>
                      </a:lnTo>
                      <a:lnTo>
                        <a:pt x="1345" y="1033"/>
                      </a:lnTo>
                      <a:lnTo>
                        <a:pt x="1345" y="1034"/>
                      </a:lnTo>
                      <a:lnTo>
                        <a:pt x="1347" y="1034"/>
                      </a:lnTo>
                      <a:lnTo>
                        <a:pt x="1345" y="1034"/>
                      </a:lnTo>
                      <a:lnTo>
                        <a:pt x="1344" y="1034"/>
                      </a:lnTo>
                      <a:lnTo>
                        <a:pt x="1343" y="1035"/>
                      </a:lnTo>
                      <a:lnTo>
                        <a:pt x="1342" y="1037"/>
                      </a:lnTo>
                      <a:lnTo>
                        <a:pt x="1342" y="1038"/>
                      </a:lnTo>
                      <a:lnTo>
                        <a:pt x="1343" y="1038"/>
                      </a:lnTo>
                      <a:lnTo>
                        <a:pt x="1343" y="1039"/>
                      </a:lnTo>
                      <a:lnTo>
                        <a:pt x="1342" y="1040"/>
                      </a:lnTo>
                      <a:lnTo>
                        <a:pt x="1342" y="1039"/>
                      </a:lnTo>
                      <a:lnTo>
                        <a:pt x="1342" y="1040"/>
                      </a:lnTo>
                      <a:lnTo>
                        <a:pt x="1342" y="1041"/>
                      </a:lnTo>
                      <a:lnTo>
                        <a:pt x="1342" y="1042"/>
                      </a:lnTo>
                      <a:lnTo>
                        <a:pt x="1343" y="1042"/>
                      </a:lnTo>
                      <a:lnTo>
                        <a:pt x="1343" y="1041"/>
                      </a:lnTo>
                      <a:lnTo>
                        <a:pt x="1343" y="1042"/>
                      </a:lnTo>
                      <a:lnTo>
                        <a:pt x="1344" y="1042"/>
                      </a:lnTo>
                      <a:lnTo>
                        <a:pt x="1344" y="1041"/>
                      </a:lnTo>
                      <a:lnTo>
                        <a:pt x="1344" y="1040"/>
                      </a:lnTo>
                      <a:lnTo>
                        <a:pt x="1344" y="1041"/>
                      </a:lnTo>
                      <a:lnTo>
                        <a:pt x="1345" y="1040"/>
                      </a:lnTo>
                      <a:lnTo>
                        <a:pt x="1345" y="1039"/>
                      </a:lnTo>
                      <a:lnTo>
                        <a:pt x="1345" y="1041"/>
                      </a:lnTo>
                      <a:lnTo>
                        <a:pt x="1344" y="1042"/>
                      </a:lnTo>
                      <a:lnTo>
                        <a:pt x="1345" y="1042"/>
                      </a:lnTo>
                      <a:lnTo>
                        <a:pt x="1345" y="1041"/>
                      </a:lnTo>
                      <a:lnTo>
                        <a:pt x="1345" y="1040"/>
                      </a:lnTo>
                      <a:lnTo>
                        <a:pt x="1347" y="1039"/>
                      </a:lnTo>
                      <a:lnTo>
                        <a:pt x="1347" y="1038"/>
                      </a:lnTo>
                      <a:lnTo>
                        <a:pt x="1347" y="1039"/>
                      </a:lnTo>
                      <a:lnTo>
                        <a:pt x="1345" y="1039"/>
                      </a:lnTo>
                      <a:lnTo>
                        <a:pt x="1345" y="1040"/>
                      </a:lnTo>
                      <a:lnTo>
                        <a:pt x="1345" y="1041"/>
                      </a:lnTo>
                      <a:lnTo>
                        <a:pt x="1347" y="1041"/>
                      </a:lnTo>
                      <a:lnTo>
                        <a:pt x="1345" y="1041"/>
                      </a:lnTo>
                      <a:lnTo>
                        <a:pt x="1345" y="1042"/>
                      </a:lnTo>
                      <a:lnTo>
                        <a:pt x="1347" y="1043"/>
                      </a:lnTo>
                      <a:lnTo>
                        <a:pt x="1349" y="1044"/>
                      </a:lnTo>
                      <a:lnTo>
                        <a:pt x="1348" y="1044"/>
                      </a:lnTo>
                      <a:lnTo>
                        <a:pt x="1347" y="1043"/>
                      </a:lnTo>
                      <a:lnTo>
                        <a:pt x="1347" y="1044"/>
                      </a:lnTo>
                      <a:lnTo>
                        <a:pt x="1345" y="1044"/>
                      </a:lnTo>
                      <a:lnTo>
                        <a:pt x="1347" y="1044"/>
                      </a:lnTo>
                      <a:lnTo>
                        <a:pt x="1347" y="1045"/>
                      </a:lnTo>
                      <a:lnTo>
                        <a:pt x="1347" y="1046"/>
                      </a:lnTo>
                      <a:lnTo>
                        <a:pt x="1348" y="1046"/>
                      </a:lnTo>
                      <a:lnTo>
                        <a:pt x="1348" y="1047"/>
                      </a:lnTo>
                      <a:lnTo>
                        <a:pt x="1349" y="1047"/>
                      </a:lnTo>
                      <a:lnTo>
                        <a:pt x="1349" y="1048"/>
                      </a:lnTo>
                      <a:lnTo>
                        <a:pt x="1349" y="1050"/>
                      </a:lnTo>
                      <a:lnTo>
                        <a:pt x="1350" y="1050"/>
                      </a:lnTo>
                      <a:lnTo>
                        <a:pt x="1350" y="1051"/>
                      </a:lnTo>
                      <a:lnTo>
                        <a:pt x="1350" y="1052"/>
                      </a:lnTo>
                      <a:lnTo>
                        <a:pt x="1350" y="1053"/>
                      </a:lnTo>
                      <a:lnTo>
                        <a:pt x="1350" y="1052"/>
                      </a:lnTo>
                      <a:lnTo>
                        <a:pt x="1350" y="1051"/>
                      </a:lnTo>
                      <a:lnTo>
                        <a:pt x="1349" y="1051"/>
                      </a:lnTo>
                      <a:lnTo>
                        <a:pt x="1349" y="1048"/>
                      </a:lnTo>
                      <a:lnTo>
                        <a:pt x="1348" y="1048"/>
                      </a:lnTo>
                      <a:lnTo>
                        <a:pt x="1348" y="1047"/>
                      </a:lnTo>
                      <a:lnTo>
                        <a:pt x="1347" y="1047"/>
                      </a:lnTo>
                      <a:lnTo>
                        <a:pt x="1347" y="1046"/>
                      </a:lnTo>
                      <a:lnTo>
                        <a:pt x="1347" y="1047"/>
                      </a:lnTo>
                      <a:lnTo>
                        <a:pt x="1347" y="1048"/>
                      </a:lnTo>
                      <a:lnTo>
                        <a:pt x="1348" y="1048"/>
                      </a:lnTo>
                      <a:lnTo>
                        <a:pt x="1348" y="1050"/>
                      </a:lnTo>
                      <a:lnTo>
                        <a:pt x="1349" y="1050"/>
                      </a:lnTo>
                      <a:lnTo>
                        <a:pt x="1349" y="1051"/>
                      </a:lnTo>
                      <a:lnTo>
                        <a:pt x="1348" y="1051"/>
                      </a:lnTo>
                      <a:lnTo>
                        <a:pt x="1349" y="1051"/>
                      </a:lnTo>
                      <a:lnTo>
                        <a:pt x="1349" y="1052"/>
                      </a:lnTo>
                      <a:lnTo>
                        <a:pt x="1349" y="1053"/>
                      </a:lnTo>
                      <a:lnTo>
                        <a:pt x="1349" y="1054"/>
                      </a:lnTo>
                      <a:lnTo>
                        <a:pt x="1350" y="1055"/>
                      </a:lnTo>
                      <a:lnTo>
                        <a:pt x="1351" y="1056"/>
                      </a:lnTo>
                      <a:lnTo>
                        <a:pt x="1351" y="1055"/>
                      </a:lnTo>
                      <a:lnTo>
                        <a:pt x="1351" y="1054"/>
                      </a:lnTo>
                      <a:lnTo>
                        <a:pt x="1351" y="1053"/>
                      </a:lnTo>
                      <a:lnTo>
                        <a:pt x="1351" y="1052"/>
                      </a:lnTo>
                      <a:lnTo>
                        <a:pt x="1351" y="1053"/>
                      </a:lnTo>
                      <a:lnTo>
                        <a:pt x="1351" y="1054"/>
                      </a:lnTo>
                      <a:lnTo>
                        <a:pt x="1351" y="1055"/>
                      </a:lnTo>
                      <a:lnTo>
                        <a:pt x="1351" y="1054"/>
                      </a:lnTo>
                      <a:lnTo>
                        <a:pt x="1351" y="1053"/>
                      </a:lnTo>
                      <a:lnTo>
                        <a:pt x="1351" y="1052"/>
                      </a:lnTo>
                      <a:lnTo>
                        <a:pt x="1352" y="1052"/>
                      </a:lnTo>
                      <a:lnTo>
                        <a:pt x="1352" y="1053"/>
                      </a:lnTo>
                      <a:lnTo>
                        <a:pt x="1352" y="1054"/>
                      </a:lnTo>
                      <a:lnTo>
                        <a:pt x="1352" y="1055"/>
                      </a:lnTo>
                      <a:lnTo>
                        <a:pt x="1352" y="1056"/>
                      </a:lnTo>
                      <a:lnTo>
                        <a:pt x="1353" y="1056"/>
                      </a:lnTo>
                      <a:lnTo>
                        <a:pt x="1353" y="1057"/>
                      </a:lnTo>
                      <a:lnTo>
                        <a:pt x="1353" y="1058"/>
                      </a:lnTo>
                      <a:lnTo>
                        <a:pt x="1353" y="1057"/>
                      </a:lnTo>
                      <a:lnTo>
                        <a:pt x="1353" y="1058"/>
                      </a:lnTo>
                      <a:lnTo>
                        <a:pt x="1354" y="1058"/>
                      </a:lnTo>
                      <a:lnTo>
                        <a:pt x="1353" y="1059"/>
                      </a:lnTo>
                      <a:lnTo>
                        <a:pt x="1354" y="1059"/>
                      </a:lnTo>
                      <a:lnTo>
                        <a:pt x="1354" y="1060"/>
                      </a:lnTo>
                      <a:lnTo>
                        <a:pt x="1355" y="1060"/>
                      </a:lnTo>
                      <a:lnTo>
                        <a:pt x="1355" y="1061"/>
                      </a:lnTo>
                      <a:lnTo>
                        <a:pt x="1355" y="1063"/>
                      </a:lnTo>
                      <a:lnTo>
                        <a:pt x="1356" y="1063"/>
                      </a:lnTo>
                      <a:lnTo>
                        <a:pt x="1356" y="1061"/>
                      </a:lnTo>
                      <a:lnTo>
                        <a:pt x="1356" y="1063"/>
                      </a:lnTo>
                      <a:lnTo>
                        <a:pt x="1356" y="1064"/>
                      </a:lnTo>
                      <a:lnTo>
                        <a:pt x="1357" y="1064"/>
                      </a:lnTo>
                      <a:lnTo>
                        <a:pt x="1357" y="1065"/>
                      </a:lnTo>
                      <a:lnTo>
                        <a:pt x="1356" y="1065"/>
                      </a:lnTo>
                      <a:lnTo>
                        <a:pt x="1357" y="1066"/>
                      </a:lnTo>
                      <a:lnTo>
                        <a:pt x="1357" y="1067"/>
                      </a:lnTo>
                      <a:lnTo>
                        <a:pt x="1358" y="1067"/>
                      </a:lnTo>
                      <a:lnTo>
                        <a:pt x="1358" y="1068"/>
                      </a:lnTo>
                      <a:lnTo>
                        <a:pt x="1358" y="1069"/>
                      </a:lnTo>
                      <a:lnTo>
                        <a:pt x="1357" y="1069"/>
                      </a:lnTo>
                      <a:lnTo>
                        <a:pt x="1358" y="1069"/>
                      </a:lnTo>
                      <a:lnTo>
                        <a:pt x="1358" y="1070"/>
                      </a:lnTo>
                      <a:lnTo>
                        <a:pt x="1358" y="1071"/>
                      </a:lnTo>
                      <a:lnTo>
                        <a:pt x="1360" y="1071"/>
                      </a:lnTo>
                      <a:lnTo>
                        <a:pt x="1361" y="1071"/>
                      </a:lnTo>
                      <a:lnTo>
                        <a:pt x="1361" y="1070"/>
                      </a:lnTo>
                      <a:lnTo>
                        <a:pt x="1361" y="1069"/>
                      </a:lnTo>
                      <a:lnTo>
                        <a:pt x="1361" y="1070"/>
                      </a:lnTo>
                      <a:lnTo>
                        <a:pt x="1362" y="1069"/>
                      </a:lnTo>
                      <a:lnTo>
                        <a:pt x="1362" y="1068"/>
                      </a:lnTo>
                      <a:lnTo>
                        <a:pt x="1362" y="1067"/>
                      </a:lnTo>
                      <a:lnTo>
                        <a:pt x="1363" y="1067"/>
                      </a:lnTo>
                      <a:lnTo>
                        <a:pt x="1362" y="1067"/>
                      </a:lnTo>
                      <a:lnTo>
                        <a:pt x="1362" y="1066"/>
                      </a:lnTo>
                      <a:lnTo>
                        <a:pt x="1362" y="1065"/>
                      </a:lnTo>
                      <a:lnTo>
                        <a:pt x="1362" y="1064"/>
                      </a:lnTo>
                      <a:lnTo>
                        <a:pt x="1362" y="1065"/>
                      </a:lnTo>
                      <a:lnTo>
                        <a:pt x="1362" y="1066"/>
                      </a:lnTo>
                      <a:lnTo>
                        <a:pt x="1361" y="1066"/>
                      </a:lnTo>
                      <a:lnTo>
                        <a:pt x="1362" y="1066"/>
                      </a:lnTo>
                      <a:lnTo>
                        <a:pt x="1361" y="1067"/>
                      </a:lnTo>
                      <a:lnTo>
                        <a:pt x="1361" y="1066"/>
                      </a:lnTo>
                      <a:lnTo>
                        <a:pt x="1360" y="1066"/>
                      </a:lnTo>
                      <a:lnTo>
                        <a:pt x="1361" y="1066"/>
                      </a:lnTo>
                      <a:lnTo>
                        <a:pt x="1361" y="1065"/>
                      </a:lnTo>
                      <a:lnTo>
                        <a:pt x="1361" y="1064"/>
                      </a:lnTo>
                      <a:lnTo>
                        <a:pt x="1361" y="1063"/>
                      </a:lnTo>
                      <a:lnTo>
                        <a:pt x="1362" y="1061"/>
                      </a:lnTo>
                      <a:lnTo>
                        <a:pt x="1361" y="1061"/>
                      </a:lnTo>
                      <a:lnTo>
                        <a:pt x="1361" y="1060"/>
                      </a:lnTo>
                      <a:lnTo>
                        <a:pt x="1361" y="1059"/>
                      </a:lnTo>
                      <a:lnTo>
                        <a:pt x="1361" y="1058"/>
                      </a:lnTo>
                      <a:lnTo>
                        <a:pt x="1362" y="1058"/>
                      </a:lnTo>
                      <a:lnTo>
                        <a:pt x="1362" y="1059"/>
                      </a:lnTo>
                      <a:lnTo>
                        <a:pt x="1363" y="1059"/>
                      </a:lnTo>
                      <a:lnTo>
                        <a:pt x="1363" y="1058"/>
                      </a:lnTo>
                      <a:lnTo>
                        <a:pt x="1364" y="1058"/>
                      </a:lnTo>
                      <a:lnTo>
                        <a:pt x="1364" y="1057"/>
                      </a:lnTo>
                      <a:lnTo>
                        <a:pt x="1363" y="1057"/>
                      </a:lnTo>
                      <a:lnTo>
                        <a:pt x="1361" y="1056"/>
                      </a:lnTo>
                      <a:lnTo>
                        <a:pt x="1360" y="1056"/>
                      </a:lnTo>
                      <a:lnTo>
                        <a:pt x="1358" y="1056"/>
                      </a:lnTo>
                      <a:lnTo>
                        <a:pt x="1357" y="1055"/>
                      </a:lnTo>
                      <a:lnTo>
                        <a:pt x="1358" y="1054"/>
                      </a:lnTo>
                      <a:lnTo>
                        <a:pt x="1358" y="1055"/>
                      </a:lnTo>
                      <a:lnTo>
                        <a:pt x="1360" y="1054"/>
                      </a:lnTo>
                      <a:lnTo>
                        <a:pt x="1362" y="1054"/>
                      </a:lnTo>
                      <a:lnTo>
                        <a:pt x="1362" y="1055"/>
                      </a:lnTo>
                      <a:lnTo>
                        <a:pt x="1364" y="1055"/>
                      </a:lnTo>
                      <a:lnTo>
                        <a:pt x="1364" y="1054"/>
                      </a:lnTo>
                      <a:lnTo>
                        <a:pt x="1365" y="1054"/>
                      </a:lnTo>
                      <a:lnTo>
                        <a:pt x="1365" y="1055"/>
                      </a:lnTo>
                      <a:lnTo>
                        <a:pt x="1366" y="1055"/>
                      </a:lnTo>
                      <a:lnTo>
                        <a:pt x="1366" y="1054"/>
                      </a:lnTo>
                      <a:lnTo>
                        <a:pt x="1366" y="1053"/>
                      </a:lnTo>
                      <a:lnTo>
                        <a:pt x="1366" y="1052"/>
                      </a:lnTo>
                      <a:lnTo>
                        <a:pt x="1367" y="1051"/>
                      </a:lnTo>
                      <a:lnTo>
                        <a:pt x="1368" y="1050"/>
                      </a:lnTo>
                      <a:lnTo>
                        <a:pt x="1368" y="1048"/>
                      </a:lnTo>
                      <a:lnTo>
                        <a:pt x="1369" y="1048"/>
                      </a:lnTo>
                      <a:lnTo>
                        <a:pt x="1370" y="1048"/>
                      </a:lnTo>
                      <a:lnTo>
                        <a:pt x="1370" y="1047"/>
                      </a:lnTo>
                      <a:lnTo>
                        <a:pt x="1369" y="1047"/>
                      </a:lnTo>
                      <a:lnTo>
                        <a:pt x="1369" y="1046"/>
                      </a:lnTo>
                      <a:lnTo>
                        <a:pt x="1370" y="1045"/>
                      </a:lnTo>
                      <a:lnTo>
                        <a:pt x="1371" y="1046"/>
                      </a:lnTo>
                      <a:lnTo>
                        <a:pt x="1371" y="1045"/>
                      </a:lnTo>
                      <a:lnTo>
                        <a:pt x="1370" y="1044"/>
                      </a:lnTo>
                      <a:lnTo>
                        <a:pt x="1371" y="1044"/>
                      </a:lnTo>
                      <a:lnTo>
                        <a:pt x="1371" y="1043"/>
                      </a:lnTo>
                      <a:lnTo>
                        <a:pt x="1373" y="1042"/>
                      </a:lnTo>
                      <a:lnTo>
                        <a:pt x="1374" y="1042"/>
                      </a:lnTo>
                      <a:lnTo>
                        <a:pt x="1373" y="1042"/>
                      </a:lnTo>
                      <a:lnTo>
                        <a:pt x="1373" y="1041"/>
                      </a:lnTo>
                      <a:lnTo>
                        <a:pt x="1374" y="1041"/>
                      </a:lnTo>
                      <a:lnTo>
                        <a:pt x="1373" y="1041"/>
                      </a:lnTo>
                      <a:lnTo>
                        <a:pt x="1373" y="1040"/>
                      </a:lnTo>
                      <a:lnTo>
                        <a:pt x="1374" y="1040"/>
                      </a:lnTo>
                      <a:lnTo>
                        <a:pt x="1374" y="1039"/>
                      </a:lnTo>
                      <a:lnTo>
                        <a:pt x="1374" y="1040"/>
                      </a:lnTo>
                      <a:lnTo>
                        <a:pt x="1375" y="1040"/>
                      </a:lnTo>
                      <a:lnTo>
                        <a:pt x="1375" y="1039"/>
                      </a:lnTo>
                      <a:lnTo>
                        <a:pt x="1375" y="1038"/>
                      </a:lnTo>
                      <a:lnTo>
                        <a:pt x="1376" y="1038"/>
                      </a:lnTo>
                      <a:lnTo>
                        <a:pt x="1376" y="1037"/>
                      </a:lnTo>
                      <a:lnTo>
                        <a:pt x="1376" y="1035"/>
                      </a:lnTo>
                      <a:lnTo>
                        <a:pt x="1377" y="1035"/>
                      </a:lnTo>
                      <a:lnTo>
                        <a:pt x="1376" y="1034"/>
                      </a:lnTo>
                      <a:lnTo>
                        <a:pt x="1376" y="1035"/>
                      </a:lnTo>
                      <a:lnTo>
                        <a:pt x="1376" y="1037"/>
                      </a:lnTo>
                      <a:lnTo>
                        <a:pt x="1375" y="1037"/>
                      </a:lnTo>
                      <a:lnTo>
                        <a:pt x="1375" y="1038"/>
                      </a:lnTo>
                      <a:lnTo>
                        <a:pt x="1375" y="1039"/>
                      </a:lnTo>
                      <a:lnTo>
                        <a:pt x="1374" y="1038"/>
                      </a:lnTo>
                      <a:lnTo>
                        <a:pt x="1375" y="1038"/>
                      </a:lnTo>
                      <a:lnTo>
                        <a:pt x="1375" y="1037"/>
                      </a:lnTo>
                      <a:lnTo>
                        <a:pt x="1375" y="1035"/>
                      </a:lnTo>
                      <a:lnTo>
                        <a:pt x="1375" y="1037"/>
                      </a:lnTo>
                      <a:lnTo>
                        <a:pt x="1375" y="1035"/>
                      </a:lnTo>
                      <a:lnTo>
                        <a:pt x="1376" y="1035"/>
                      </a:lnTo>
                      <a:lnTo>
                        <a:pt x="1376" y="1034"/>
                      </a:lnTo>
                      <a:lnTo>
                        <a:pt x="1376" y="1033"/>
                      </a:lnTo>
                      <a:lnTo>
                        <a:pt x="1377" y="1033"/>
                      </a:lnTo>
                      <a:lnTo>
                        <a:pt x="1376" y="1033"/>
                      </a:lnTo>
                      <a:lnTo>
                        <a:pt x="1377" y="1033"/>
                      </a:lnTo>
                      <a:lnTo>
                        <a:pt x="1376" y="1032"/>
                      </a:lnTo>
                      <a:lnTo>
                        <a:pt x="1375" y="1032"/>
                      </a:lnTo>
                      <a:lnTo>
                        <a:pt x="1375" y="1031"/>
                      </a:lnTo>
                      <a:lnTo>
                        <a:pt x="1376" y="1031"/>
                      </a:lnTo>
                      <a:lnTo>
                        <a:pt x="1376" y="1030"/>
                      </a:lnTo>
                      <a:lnTo>
                        <a:pt x="1375" y="1030"/>
                      </a:lnTo>
                      <a:lnTo>
                        <a:pt x="1375" y="1029"/>
                      </a:lnTo>
                      <a:lnTo>
                        <a:pt x="1375" y="1028"/>
                      </a:lnTo>
                      <a:lnTo>
                        <a:pt x="1374" y="1027"/>
                      </a:lnTo>
                      <a:lnTo>
                        <a:pt x="1373" y="1025"/>
                      </a:lnTo>
                      <a:lnTo>
                        <a:pt x="1373" y="1024"/>
                      </a:lnTo>
                      <a:lnTo>
                        <a:pt x="1373" y="1022"/>
                      </a:lnTo>
                      <a:lnTo>
                        <a:pt x="1371" y="1022"/>
                      </a:lnTo>
                      <a:lnTo>
                        <a:pt x="1371" y="1024"/>
                      </a:lnTo>
                      <a:lnTo>
                        <a:pt x="1371" y="1022"/>
                      </a:lnTo>
                      <a:lnTo>
                        <a:pt x="1370" y="1024"/>
                      </a:lnTo>
                      <a:lnTo>
                        <a:pt x="1371" y="1022"/>
                      </a:lnTo>
                      <a:lnTo>
                        <a:pt x="1370" y="1022"/>
                      </a:lnTo>
                      <a:lnTo>
                        <a:pt x="1370" y="1024"/>
                      </a:lnTo>
                      <a:lnTo>
                        <a:pt x="1369" y="1024"/>
                      </a:lnTo>
                      <a:lnTo>
                        <a:pt x="1370" y="1022"/>
                      </a:lnTo>
                      <a:lnTo>
                        <a:pt x="1369" y="1022"/>
                      </a:lnTo>
                      <a:lnTo>
                        <a:pt x="1369" y="1021"/>
                      </a:lnTo>
                      <a:lnTo>
                        <a:pt x="1369" y="1020"/>
                      </a:lnTo>
                      <a:lnTo>
                        <a:pt x="1368" y="1020"/>
                      </a:lnTo>
                      <a:lnTo>
                        <a:pt x="1369" y="1020"/>
                      </a:lnTo>
                      <a:lnTo>
                        <a:pt x="1369" y="1019"/>
                      </a:lnTo>
                      <a:lnTo>
                        <a:pt x="1370" y="1020"/>
                      </a:lnTo>
                      <a:lnTo>
                        <a:pt x="1370" y="1021"/>
                      </a:lnTo>
                      <a:lnTo>
                        <a:pt x="1371" y="1020"/>
                      </a:lnTo>
                      <a:lnTo>
                        <a:pt x="1370" y="1019"/>
                      </a:lnTo>
                      <a:lnTo>
                        <a:pt x="1370" y="1018"/>
                      </a:lnTo>
                      <a:lnTo>
                        <a:pt x="1370" y="1017"/>
                      </a:lnTo>
                      <a:lnTo>
                        <a:pt x="1369" y="1016"/>
                      </a:lnTo>
                      <a:lnTo>
                        <a:pt x="1369" y="1015"/>
                      </a:lnTo>
                      <a:lnTo>
                        <a:pt x="1369" y="1014"/>
                      </a:lnTo>
                      <a:lnTo>
                        <a:pt x="1369" y="1012"/>
                      </a:lnTo>
                      <a:lnTo>
                        <a:pt x="1370" y="1011"/>
                      </a:lnTo>
                      <a:lnTo>
                        <a:pt x="1370" y="1009"/>
                      </a:lnTo>
                      <a:lnTo>
                        <a:pt x="1371" y="1009"/>
                      </a:lnTo>
                      <a:lnTo>
                        <a:pt x="1373" y="1009"/>
                      </a:lnTo>
                      <a:lnTo>
                        <a:pt x="1374" y="1009"/>
                      </a:lnTo>
                      <a:lnTo>
                        <a:pt x="1374" y="1011"/>
                      </a:lnTo>
                      <a:lnTo>
                        <a:pt x="1374" y="1009"/>
                      </a:lnTo>
                      <a:lnTo>
                        <a:pt x="1373" y="1009"/>
                      </a:lnTo>
                      <a:lnTo>
                        <a:pt x="1371" y="1009"/>
                      </a:lnTo>
                      <a:lnTo>
                        <a:pt x="1370" y="1009"/>
                      </a:lnTo>
                      <a:lnTo>
                        <a:pt x="1370" y="1008"/>
                      </a:lnTo>
                      <a:lnTo>
                        <a:pt x="1370" y="1007"/>
                      </a:lnTo>
                      <a:lnTo>
                        <a:pt x="1370" y="1006"/>
                      </a:lnTo>
                      <a:lnTo>
                        <a:pt x="1370" y="1005"/>
                      </a:lnTo>
                      <a:lnTo>
                        <a:pt x="1371" y="1005"/>
                      </a:lnTo>
                      <a:lnTo>
                        <a:pt x="1373" y="1005"/>
                      </a:lnTo>
                      <a:lnTo>
                        <a:pt x="1373" y="1006"/>
                      </a:lnTo>
                      <a:lnTo>
                        <a:pt x="1373" y="1005"/>
                      </a:lnTo>
                      <a:lnTo>
                        <a:pt x="1371" y="1005"/>
                      </a:lnTo>
                      <a:lnTo>
                        <a:pt x="1370" y="1005"/>
                      </a:lnTo>
                      <a:lnTo>
                        <a:pt x="1369" y="1005"/>
                      </a:lnTo>
                      <a:lnTo>
                        <a:pt x="1369" y="1004"/>
                      </a:lnTo>
                      <a:lnTo>
                        <a:pt x="1369" y="1003"/>
                      </a:lnTo>
                      <a:lnTo>
                        <a:pt x="1369" y="1002"/>
                      </a:lnTo>
                      <a:lnTo>
                        <a:pt x="1368" y="1002"/>
                      </a:lnTo>
                      <a:lnTo>
                        <a:pt x="1368" y="1001"/>
                      </a:lnTo>
                      <a:lnTo>
                        <a:pt x="1369" y="1001"/>
                      </a:lnTo>
                      <a:lnTo>
                        <a:pt x="1369" y="1000"/>
                      </a:lnTo>
                      <a:lnTo>
                        <a:pt x="1369" y="1001"/>
                      </a:lnTo>
                      <a:lnTo>
                        <a:pt x="1368" y="1001"/>
                      </a:lnTo>
                      <a:lnTo>
                        <a:pt x="1369" y="1001"/>
                      </a:lnTo>
                      <a:lnTo>
                        <a:pt x="1369" y="1000"/>
                      </a:lnTo>
                      <a:lnTo>
                        <a:pt x="1370" y="999"/>
                      </a:lnTo>
                      <a:lnTo>
                        <a:pt x="1371" y="999"/>
                      </a:lnTo>
                      <a:lnTo>
                        <a:pt x="1371" y="998"/>
                      </a:lnTo>
                      <a:lnTo>
                        <a:pt x="1373" y="998"/>
                      </a:lnTo>
                      <a:lnTo>
                        <a:pt x="1373" y="996"/>
                      </a:lnTo>
                      <a:lnTo>
                        <a:pt x="1373" y="995"/>
                      </a:lnTo>
                      <a:lnTo>
                        <a:pt x="1374" y="995"/>
                      </a:lnTo>
                      <a:lnTo>
                        <a:pt x="1375" y="995"/>
                      </a:lnTo>
                      <a:lnTo>
                        <a:pt x="1375" y="996"/>
                      </a:lnTo>
                      <a:lnTo>
                        <a:pt x="1375" y="998"/>
                      </a:lnTo>
                      <a:lnTo>
                        <a:pt x="1375" y="999"/>
                      </a:lnTo>
                      <a:lnTo>
                        <a:pt x="1375" y="1000"/>
                      </a:lnTo>
                      <a:lnTo>
                        <a:pt x="1376" y="1000"/>
                      </a:lnTo>
                      <a:lnTo>
                        <a:pt x="1376" y="1001"/>
                      </a:lnTo>
                      <a:lnTo>
                        <a:pt x="1377" y="1001"/>
                      </a:lnTo>
                      <a:lnTo>
                        <a:pt x="1378" y="1001"/>
                      </a:lnTo>
                      <a:lnTo>
                        <a:pt x="1379" y="1001"/>
                      </a:lnTo>
                      <a:lnTo>
                        <a:pt x="1379" y="1002"/>
                      </a:lnTo>
                      <a:lnTo>
                        <a:pt x="1380" y="1002"/>
                      </a:lnTo>
                      <a:lnTo>
                        <a:pt x="1380" y="1001"/>
                      </a:lnTo>
                      <a:lnTo>
                        <a:pt x="1381" y="1001"/>
                      </a:lnTo>
                      <a:lnTo>
                        <a:pt x="1382" y="1001"/>
                      </a:lnTo>
                      <a:lnTo>
                        <a:pt x="1382" y="1000"/>
                      </a:lnTo>
                      <a:lnTo>
                        <a:pt x="1381" y="1000"/>
                      </a:lnTo>
                      <a:lnTo>
                        <a:pt x="1381" y="999"/>
                      </a:lnTo>
                      <a:lnTo>
                        <a:pt x="1382" y="999"/>
                      </a:lnTo>
                      <a:lnTo>
                        <a:pt x="1382" y="998"/>
                      </a:lnTo>
                      <a:lnTo>
                        <a:pt x="1383" y="998"/>
                      </a:lnTo>
                      <a:lnTo>
                        <a:pt x="1383" y="996"/>
                      </a:lnTo>
                      <a:lnTo>
                        <a:pt x="1384" y="996"/>
                      </a:lnTo>
                      <a:lnTo>
                        <a:pt x="1384" y="995"/>
                      </a:lnTo>
                      <a:lnTo>
                        <a:pt x="1384" y="996"/>
                      </a:lnTo>
                      <a:lnTo>
                        <a:pt x="1384" y="995"/>
                      </a:lnTo>
                      <a:lnTo>
                        <a:pt x="1384" y="994"/>
                      </a:lnTo>
                      <a:lnTo>
                        <a:pt x="1386" y="994"/>
                      </a:lnTo>
                      <a:lnTo>
                        <a:pt x="1384" y="993"/>
                      </a:lnTo>
                      <a:lnTo>
                        <a:pt x="1386" y="993"/>
                      </a:lnTo>
                      <a:lnTo>
                        <a:pt x="1386" y="994"/>
                      </a:lnTo>
                      <a:lnTo>
                        <a:pt x="1386" y="993"/>
                      </a:lnTo>
                      <a:lnTo>
                        <a:pt x="1386" y="992"/>
                      </a:lnTo>
                      <a:lnTo>
                        <a:pt x="1386" y="991"/>
                      </a:lnTo>
                      <a:lnTo>
                        <a:pt x="1384" y="990"/>
                      </a:lnTo>
                      <a:lnTo>
                        <a:pt x="1384" y="989"/>
                      </a:lnTo>
                      <a:lnTo>
                        <a:pt x="1384" y="988"/>
                      </a:lnTo>
                      <a:lnTo>
                        <a:pt x="1386" y="989"/>
                      </a:lnTo>
                      <a:lnTo>
                        <a:pt x="1386" y="988"/>
                      </a:lnTo>
                      <a:lnTo>
                        <a:pt x="1387" y="988"/>
                      </a:lnTo>
                      <a:lnTo>
                        <a:pt x="1388" y="988"/>
                      </a:lnTo>
                      <a:lnTo>
                        <a:pt x="1388" y="987"/>
                      </a:lnTo>
                      <a:lnTo>
                        <a:pt x="1389" y="987"/>
                      </a:lnTo>
                      <a:lnTo>
                        <a:pt x="1390" y="987"/>
                      </a:lnTo>
                      <a:lnTo>
                        <a:pt x="1390" y="988"/>
                      </a:lnTo>
                      <a:lnTo>
                        <a:pt x="1389" y="988"/>
                      </a:lnTo>
                      <a:lnTo>
                        <a:pt x="1390" y="988"/>
                      </a:lnTo>
                      <a:lnTo>
                        <a:pt x="1389" y="988"/>
                      </a:lnTo>
                      <a:lnTo>
                        <a:pt x="1389" y="989"/>
                      </a:lnTo>
                      <a:lnTo>
                        <a:pt x="1390" y="989"/>
                      </a:lnTo>
                      <a:lnTo>
                        <a:pt x="1390" y="990"/>
                      </a:lnTo>
                      <a:lnTo>
                        <a:pt x="1391" y="990"/>
                      </a:lnTo>
                      <a:lnTo>
                        <a:pt x="1391" y="991"/>
                      </a:lnTo>
                      <a:lnTo>
                        <a:pt x="1392" y="991"/>
                      </a:lnTo>
                      <a:lnTo>
                        <a:pt x="1392" y="992"/>
                      </a:lnTo>
                      <a:lnTo>
                        <a:pt x="1391" y="992"/>
                      </a:lnTo>
                      <a:lnTo>
                        <a:pt x="1391" y="993"/>
                      </a:lnTo>
                      <a:lnTo>
                        <a:pt x="1392" y="993"/>
                      </a:lnTo>
                      <a:lnTo>
                        <a:pt x="1391" y="993"/>
                      </a:lnTo>
                      <a:lnTo>
                        <a:pt x="1391" y="992"/>
                      </a:lnTo>
                      <a:lnTo>
                        <a:pt x="1392" y="992"/>
                      </a:lnTo>
                      <a:lnTo>
                        <a:pt x="1392" y="991"/>
                      </a:lnTo>
                      <a:lnTo>
                        <a:pt x="1392" y="992"/>
                      </a:lnTo>
                      <a:lnTo>
                        <a:pt x="1393" y="992"/>
                      </a:lnTo>
                      <a:lnTo>
                        <a:pt x="1393" y="993"/>
                      </a:lnTo>
                      <a:lnTo>
                        <a:pt x="1394" y="993"/>
                      </a:lnTo>
                      <a:lnTo>
                        <a:pt x="1394" y="992"/>
                      </a:lnTo>
                      <a:lnTo>
                        <a:pt x="1393" y="992"/>
                      </a:lnTo>
                      <a:lnTo>
                        <a:pt x="1393" y="993"/>
                      </a:lnTo>
                      <a:lnTo>
                        <a:pt x="1393" y="992"/>
                      </a:lnTo>
                      <a:lnTo>
                        <a:pt x="1392" y="992"/>
                      </a:lnTo>
                      <a:lnTo>
                        <a:pt x="1392" y="991"/>
                      </a:lnTo>
                      <a:lnTo>
                        <a:pt x="1393" y="991"/>
                      </a:lnTo>
                      <a:lnTo>
                        <a:pt x="1392" y="991"/>
                      </a:lnTo>
                      <a:lnTo>
                        <a:pt x="1392" y="990"/>
                      </a:lnTo>
                      <a:lnTo>
                        <a:pt x="1392" y="989"/>
                      </a:lnTo>
                      <a:lnTo>
                        <a:pt x="1391" y="989"/>
                      </a:lnTo>
                      <a:lnTo>
                        <a:pt x="1391" y="988"/>
                      </a:lnTo>
                      <a:lnTo>
                        <a:pt x="1391" y="987"/>
                      </a:lnTo>
                      <a:lnTo>
                        <a:pt x="1390" y="987"/>
                      </a:lnTo>
                      <a:lnTo>
                        <a:pt x="1391" y="987"/>
                      </a:lnTo>
                      <a:lnTo>
                        <a:pt x="1391" y="986"/>
                      </a:lnTo>
                      <a:lnTo>
                        <a:pt x="1391" y="984"/>
                      </a:lnTo>
                      <a:lnTo>
                        <a:pt x="1391" y="983"/>
                      </a:lnTo>
                      <a:lnTo>
                        <a:pt x="1390" y="983"/>
                      </a:lnTo>
                      <a:lnTo>
                        <a:pt x="1390" y="982"/>
                      </a:lnTo>
                      <a:lnTo>
                        <a:pt x="1391" y="982"/>
                      </a:lnTo>
                      <a:lnTo>
                        <a:pt x="1391" y="981"/>
                      </a:lnTo>
                      <a:lnTo>
                        <a:pt x="1391" y="982"/>
                      </a:lnTo>
                      <a:lnTo>
                        <a:pt x="1392" y="982"/>
                      </a:lnTo>
                      <a:lnTo>
                        <a:pt x="1392" y="981"/>
                      </a:lnTo>
                      <a:lnTo>
                        <a:pt x="1393" y="981"/>
                      </a:lnTo>
                      <a:lnTo>
                        <a:pt x="1393" y="982"/>
                      </a:lnTo>
                      <a:lnTo>
                        <a:pt x="1394" y="982"/>
                      </a:lnTo>
                      <a:lnTo>
                        <a:pt x="1395" y="982"/>
                      </a:lnTo>
                      <a:lnTo>
                        <a:pt x="1394" y="982"/>
                      </a:lnTo>
                      <a:lnTo>
                        <a:pt x="1394" y="983"/>
                      </a:lnTo>
                      <a:lnTo>
                        <a:pt x="1394" y="984"/>
                      </a:lnTo>
                      <a:lnTo>
                        <a:pt x="1395" y="984"/>
                      </a:lnTo>
                      <a:lnTo>
                        <a:pt x="1395" y="986"/>
                      </a:lnTo>
                      <a:lnTo>
                        <a:pt x="1395" y="987"/>
                      </a:lnTo>
                      <a:lnTo>
                        <a:pt x="1396" y="987"/>
                      </a:lnTo>
                      <a:lnTo>
                        <a:pt x="1396" y="988"/>
                      </a:lnTo>
                      <a:lnTo>
                        <a:pt x="1397" y="988"/>
                      </a:lnTo>
                      <a:lnTo>
                        <a:pt x="1397" y="989"/>
                      </a:lnTo>
                      <a:lnTo>
                        <a:pt x="1397" y="988"/>
                      </a:lnTo>
                      <a:lnTo>
                        <a:pt x="1397" y="987"/>
                      </a:lnTo>
                      <a:lnTo>
                        <a:pt x="1399" y="987"/>
                      </a:lnTo>
                      <a:lnTo>
                        <a:pt x="1397" y="987"/>
                      </a:lnTo>
                      <a:lnTo>
                        <a:pt x="1399" y="986"/>
                      </a:lnTo>
                      <a:lnTo>
                        <a:pt x="1399" y="984"/>
                      </a:lnTo>
                      <a:lnTo>
                        <a:pt x="1397" y="984"/>
                      </a:lnTo>
                      <a:lnTo>
                        <a:pt x="1397" y="983"/>
                      </a:lnTo>
                      <a:lnTo>
                        <a:pt x="1396" y="983"/>
                      </a:lnTo>
                      <a:lnTo>
                        <a:pt x="1396" y="982"/>
                      </a:lnTo>
                      <a:lnTo>
                        <a:pt x="1395" y="982"/>
                      </a:lnTo>
                      <a:lnTo>
                        <a:pt x="1396" y="982"/>
                      </a:lnTo>
                      <a:lnTo>
                        <a:pt x="1396" y="981"/>
                      </a:lnTo>
                      <a:lnTo>
                        <a:pt x="1396" y="980"/>
                      </a:lnTo>
                      <a:lnTo>
                        <a:pt x="1397" y="980"/>
                      </a:lnTo>
                      <a:lnTo>
                        <a:pt x="1396" y="980"/>
                      </a:lnTo>
                      <a:lnTo>
                        <a:pt x="1397" y="980"/>
                      </a:lnTo>
                      <a:lnTo>
                        <a:pt x="1396" y="979"/>
                      </a:lnTo>
                      <a:lnTo>
                        <a:pt x="1396" y="978"/>
                      </a:lnTo>
                      <a:lnTo>
                        <a:pt x="1397" y="978"/>
                      </a:lnTo>
                      <a:lnTo>
                        <a:pt x="1396" y="978"/>
                      </a:lnTo>
                      <a:lnTo>
                        <a:pt x="1396" y="977"/>
                      </a:lnTo>
                      <a:lnTo>
                        <a:pt x="1397" y="977"/>
                      </a:lnTo>
                      <a:lnTo>
                        <a:pt x="1396" y="977"/>
                      </a:lnTo>
                      <a:lnTo>
                        <a:pt x="1396" y="976"/>
                      </a:lnTo>
                      <a:lnTo>
                        <a:pt x="1396" y="975"/>
                      </a:lnTo>
                      <a:lnTo>
                        <a:pt x="1397" y="975"/>
                      </a:lnTo>
                      <a:lnTo>
                        <a:pt x="1399" y="974"/>
                      </a:lnTo>
                      <a:lnTo>
                        <a:pt x="1400" y="974"/>
                      </a:lnTo>
                      <a:lnTo>
                        <a:pt x="1401" y="974"/>
                      </a:lnTo>
                      <a:lnTo>
                        <a:pt x="1402" y="975"/>
                      </a:lnTo>
                      <a:lnTo>
                        <a:pt x="1402" y="978"/>
                      </a:lnTo>
                      <a:lnTo>
                        <a:pt x="1402" y="979"/>
                      </a:lnTo>
                      <a:lnTo>
                        <a:pt x="1403" y="981"/>
                      </a:lnTo>
                      <a:lnTo>
                        <a:pt x="1404" y="983"/>
                      </a:lnTo>
                      <a:lnTo>
                        <a:pt x="1405" y="986"/>
                      </a:lnTo>
                      <a:lnTo>
                        <a:pt x="1405" y="987"/>
                      </a:lnTo>
                      <a:lnTo>
                        <a:pt x="1405" y="989"/>
                      </a:lnTo>
                      <a:lnTo>
                        <a:pt x="1406" y="990"/>
                      </a:lnTo>
                      <a:lnTo>
                        <a:pt x="1406" y="992"/>
                      </a:lnTo>
                      <a:lnTo>
                        <a:pt x="1405" y="996"/>
                      </a:lnTo>
                      <a:lnTo>
                        <a:pt x="1404" y="1000"/>
                      </a:lnTo>
                      <a:lnTo>
                        <a:pt x="1404" y="1002"/>
                      </a:lnTo>
                      <a:lnTo>
                        <a:pt x="1402" y="1005"/>
                      </a:lnTo>
                      <a:lnTo>
                        <a:pt x="1401" y="1007"/>
                      </a:lnTo>
                      <a:lnTo>
                        <a:pt x="1400" y="1008"/>
                      </a:lnTo>
                      <a:lnTo>
                        <a:pt x="1400" y="1009"/>
                      </a:lnTo>
                      <a:lnTo>
                        <a:pt x="1399" y="1009"/>
                      </a:lnTo>
                      <a:lnTo>
                        <a:pt x="1397" y="1012"/>
                      </a:lnTo>
                      <a:lnTo>
                        <a:pt x="1396" y="1012"/>
                      </a:lnTo>
                      <a:lnTo>
                        <a:pt x="1395" y="1013"/>
                      </a:lnTo>
                      <a:lnTo>
                        <a:pt x="1394" y="1013"/>
                      </a:lnTo>
                      <a:lnTo>
                        <a:pt x="1394" y="1014"/>
                      </a:lnTo>
                      <a:lnTo>
                        <a:pt x="1393" y="1014"/>
                      </a:lnTo>
                      <a:lnTo>
                        <a:pt x="1393" y="1015"/>
                      </a:lnTo>
                      <a:lnTo>
                        <a:pt x="1392" y="1014"/>
                      </a:lnTo>
                      <a:lnTo>
                        <a:pt x="1391" y="1014"/>
                      </a:lnTo>
                      <a:lnTo>
                        <a:pt x="1390" y="1014"/>
                      </a:lnTo>
                      <a:lnTo>
                        <a:pt x="1389" y="1014"/>
                      </a:lnTo>
                      <a:lnTo>
                        <a:pt x="1388" y="1015"/>
                      </a:lnTo>
                      <a:lnTo>
                        <a:pt x="1387" y="1015"/>
                      </a:lnTo>
                      <a:lnTo>
                        <a:pt x="1388" y="1017"/>
                      </a:lnTo>
                      <a:lnTo>
                        <a:pt x="1389" y="1017"/>
                      </a:lnTo>
                      <a:lnTo>
                        <a:pt x="1390" y="1017"/>
                      </a:lnTo>
                      <a:lnTo>
                        <a:pt x="1390" y="1018"/>
                      </a:lnTo>
                      <a:lnTo>
                        <a:pt x="1391" y="1018"/>
                      </a:lnTo>
                      <a:lnTo>
                        <a:pt x="1390" y="1019"/>
                      </a:lnTo>
                      <a:lnTo>
                        <a:pt x="1389" y="1020"/>
                      </a:lnTo>
                      <a:lnTo>
                        <a:pt x="1387" y="1022"/>
                      </a:lnTo>
                      <a:lnTo>
                        <a:pt x="1384" y="1026"/>
                      </a:lnTo>
                      <a:lnTo>
                        <a:pt x="1382" y="1028"/>
                      </a:lnTo>
                      <a:lnTo>
                        <a:pt x="1381" y="1030"/>
                      </a:lnTo>
                      <a:lnTo>
                        <a:pt x="1378" y="1035"/>
                      </a:lnTo>
                      <a:lnTo>
                        <a:pt x="1377" y="1035"/>
                      </a:lnTo>
                      <a:lnTo>
                        <a:pt x="1377" y="1037"/>
                      </a:lnTo>
                      <a:lnTo>
                        <a:pt x="1376" y="1038"/>
                      </a:lnTo>
                      <a:lnTo>
                        <a:pt x="1376" y="1039"/>
                      </a:lnTo>
                      <a:lnTo>
                        <a:pt x="1375" y="1040"/>
                      </a:lnTo>
                      <a:lnTo>
                        <a:pt x="1375" y="1041"/>
                      </a:lnTo>
                      <a:lnTo>
                        <a:pt x="1374" y="1042"/>
                      </a:lnTo>
                      <a:lnTo>
                        <a:pt x="1374" y="1044"/>
                      </a:lnTo>
                      <a:lnTo>
                        <a:pt x="1373" y="1046"/>
                      </a:lnTo>
                      <a:lnTo>
                        <a:pt x="1370" y="1051"/>
                      </a:lnTo>
                      <a:lnTo>
                        <a:pt x="1369" y="1052"/>
                      </a:lnTo>
                      <a:lnTo>
                        <a:pt x="1369" y="1053"/>
                      </a:lnTo>
                      <a:lnTo>
                        <a:pt x="1369" y="1054"/>
                      </a:lnTo>
                      <a:lnTo>
                        <a:pt x="1368" y="1055"/>
                      </a:lnTo>
                      <a:lnTo>
                        <a:pt x="1366" y="1058"/>
                      </a:lnTo>
                      <a:lnTo>
                        <a:pt x="1366" y="1059"/>
                      </a:lnTo>
                      <a:lnTo>
                        <a:pt x="1365" y="1058"/>
                      </a:lnTo>
                      <a:lnTo>
                        <a:pt x="1366" y="1059"/>
                      </a:lnTo>
                      <a:lnTo>
                        <a:pt x="1366" y="1060"/>
                      </a:lnTo>
                      <a:lnTo>
                        <a:pt x="1364" y="1065"/>
                      </a:lnTo>
                      <a:lnTo>
                        <a:pt x="1363" y="1070"/>
                      </a:lnTo>
                      <a:lnTo>
                        <a:pt x="1362" y="1070"/>
                      </a:lnTo>
                      <a:lnTo>
                        <a:pt x="1362" y="1071"/>
                      </a:lnTo>
                      <a:lnTo>
                        <a:pt x="1361" y="1071"/>
                      </a:lnTo>
                      <a:lnTo>
                        <a:pt x="1361" y="1072"/>
                      </a:lnTo>
                      <a:lnTo>
                        <a:pt x="1358" y="1072"/>
                      </a:lnTo>
                      <a:lnTo>
                        <a:pt x="1357" y="1072"/>
                      </a:lnTo>
                      <a:lnTo>
                        <a:pt x="1357" y="1071"/>
                      </a:lnTo>
                      <a:lnTo>
                        <a:pt x="1357" y="1070"/>
                      </a:lnTo>
                      <a:lnTo>
                        <a:pt x="1356" y="1070"/>
                      </a:lnTo>
                      <a:lnTo>
                        <a:pt x="1355" y="1070"/>
                      </a:lnTo>
                      <a:lnTo>
                        <a:pt x="1354" y="1070"/>
                      </a:lnTo>
                      <a:lnTo>
                        <a:pt x="1354" y="1069"/>
                      </a:lnTo>
                      <a:lnTo>
                        <a:pt x="1353" y="1067"/>
                      </a:lnTo>
                      <a:lnTo>
                        <a:pt x="1353" y="1066"/>
                      </a:lnTo>
                      <a:lnTo>
                        <a:pt x="1352" y="1065"/>
                      </a:lnTo>
                      <a:lnTo>
                        <a:pt x="1352" y="1064"/>
                      </a:lnTo>
                      <a:lnTo>
                        <a:pt x="1351" y="1064"/>
                      </a:lnTo>
                      <a:lnTo>
                        <a:pt x="1351" y="1063"/>
                      </a:lnTo>
                      <a:lnTo>
                        <a:pt x="1351" y="1061"/>
                      </a:lnTo>
                      <a:lnTo>
                        <a:pt x="1350" y="1061"/>
                      </a:lnTo>
                      <a:lnTo>
                        <a:pt x="1350" y="1060"/>
                      </a:lnTo>
                      <a:lnTo>
                        <a:pt x="1349" y="1060"/>
                      </a:lnTo>
                      <a:lnTo>
                        <a:pt x="1349" y="1059"/>
                      </a:lnTo>
                      <a:lnTo>
                        <a:pt x="1349" y="1058"/>
                      </a:lnTo>
                      <a:lnTo>
                        <a:pt x="1348" y="1057"/>
                      </a:lnTo>
                      <a:lnTo>
                        <a:pt x="1348" y="1056"/>
                      </a:lnTo>
                      <a:lnTo>
                        <a:pt x="1347" y="1055"/>
                      </a:lnTo>
                      <a:lnTo>
                        <a:pt x="1345" y="1054"/>
                      </a:lnTo>
                      <a:lnTo>
                        <a:pt x="1345" y="1053"/>
                      </a:lnTo>
                      <a:lnTo>
                        <a:pt x="1344" y="1052"/>
                      </a:lnTo>
                      <a:lnTo>
                        <a:pt x="1343" y="1052"/>
                      </a:lnTo>
                      <a:lnTo>
                        <a:pt x="1343" y="1051"/>
                      </a:lnTo>
                      <a:lnTo>
                        <a:pt x="1342" y="1050"/>
                      </a:lnTo>
                      <a:lnTo>
                        <a:pt x="1342" y="1048"/>
                      </a:lnTo>
                      <a:lnTo>
                        <a:pt x="1341" y="1046"/>
                      </a:lnTo>
                      <a:lnTo>
                        <a:pt x="1340" y="1046"/>
                      </a:lnTo>
                      <a:lnTo>
                        <a:pt x="1340" y="1045"/>
                      </a:lnTo>
                      <a:lnTo>
                        <a:pt x="1339" y="1045"/>
                      </a:lnTo>
                      <a:lnTo>
                        <a:pt x="1339" y="1044"/>
                      </a:lnTo>
                      <a:lnTo>
                        <a:pt x="1338" y="1044"/>
                      </a:lnTo>
                      <a:lnTo>
                        <a:pt x="1338" y="1043"/>
                      </a:lnTo>
                      <a:lnTo>
                        <a:pt x="1337" y="1043"/>
                      </a:lnTo>
                      <a:lnTo>
                        <a:pt x="1337" y="1042"/>
                      </a:lnTo>
                      <a:lnTo>
                        <a:pt x="1336" y="1041"/>
                      </a:lnTo>
                      <a:lnTo>
                        <a:pt x="1335" y="1040"/>
                      </a:lnTo>
                      <a:lnTo>
                        <a:pt x="1334" y="1039"/>
                      </a:lnTo>
                      <a:lnTo>
                        <a:pt x="1332" y="1038"/>
                      </a:lnTo>
                      <a:lnTo>
                        <a:pt x="1330" y="1035"/>
                      </a:lnTo>
                      <a:lnTo>
                        <a:pt x="1328" y="1033"/>
                      </a:lnTo>
                      <a:lnTo>
                        <a:pt x="1324" y="1029"/>
                      </a:lnTo>
                      <a:lnTo>
                        <a:pt x="1317" y="1024"/>
                      </a:lnTo>
                      <a:lnTo>
                        <a:pt x="1313" y="1019"/>
                      </a:lnTo>
                      <a:lnTo>
                        <a:pt x="1311" y="1017"/>
                      </a:lnTo>
                      <a:lnTo>
                        <a:pt x="1310" y="1015"/>
                      </a:lnTo>
                      <a:lnTo>
                        <a:pt x="1309" y="1013"/>
                      </a:lnTo>
                      <a:lnTo>
                        <a:pt x="1308" y="1012"/>
                      </a:lnTo>
                      <a:lnTo>
                        <a:pt x="1308" y="1013"/>
                      </a:lnTo>
                      <a:lnTo>
                        <a:pt x="1308" y="1012"/>
                      </a:lnTo>
                      <a:lnTo>
                        <a:pt x="1306" y="1009"/>
                      </a:lnTo>
                      <a:lnTo>
                        <a:pt x="1306" y="1011"/>
                      </a:lnTo>
                      <a:lnTo>
                        <a:pt x="1305" y="1011"/>
                      </a:lnTo>
                      <a:lnTo>
                        <a:pt x="1305" y="1009"/>
                      </a:lnTo>
                      <a:lnTo>
                        <a:pt x="1304" y="1008"/>
                      </a:lnTo>
                      <a:lnTo>
                        <a:pt x="1305" y="1008"/>
                      </a:lnTo>
                      <a:lnTo>
                        <a:pt x="1304" y="1008"/>
                      </a:lnTo>
                      <a:lnTo>
                        <a:pt x="1304" y="1007"/>
                      </a:lnTo>
                      <a:lnTo>
                        <a:pt x="1303" y="1007"/>
                      </a:lnTo>
                      <a:lnTo>
                        <a:pt x="1303" y="1006"/>
                      </a:lnTo>
                      <a:lnTo>
                        <a:pt x="1302" y="1006"/>
                      </a:lnTo>
                      <a:lnTo>
                        <a:pt x="1302" y="1005"/>
                      </a:lnTo>
                      <a:lnTo>
                        <a:pt x="1301" y="1004"/>
                      </a:lnTo>
                      <a:lnTo>
                        <a:pt x="1301" y="1003"/>
                      </a:lnTo>
                      <a:lnTo>
                        <a:pt x="1300" y="1003"/>
                      </a:lnTo>
                      <a:lnTo>
                        <a:pt x="1300" y="1002"/>
                      </a:lnTo>
                      <a:lnTo>
                        <a:pt x="1300" y="1001"/>
                      </a:lnTo>
                      <a:lnTo>
                        <a:pt x="1299" y="1001"/>
                      </a:lnTo>
                      <a:lnTo>
                        <a:pt x="1300" y="1001"/>
                      </a:lnTo>
                      <a:lnTo>
                        <a:pt x="1299" y="1001"/>
                      </a:lnTo>
                      <a:lnTo>
                        <a:pt x="1299" y="1000"/>
                      </a:lnTo>
                      <a:lnTo>
                        <a:pt x="1298" y="999"/>
                      </a:lnTo>
                      <a:lnTo>
                        <a:pt x="1298" y="1000"/>
                      </a:lnTo>
                      <a:lnTo>
                        <a:pt x="1298" y="999"/>
                      </a:lnTo>
                      <a:lnTo>
                        <a:pt x="1297" y="998"/>
                      </a:lnTo>
                      <a:lnTo>
                        <a:pt x="1297" y="996"/>
                      </a:lnTo>
                      <a:lnTo>
                        <a:pt x="1298" y="998"/>
                      </a:lnTo>
                      <a:lnTo>
                        <a:pt x="1297" y="995"/>
                      </a:lnTo>
                      <a:lnTo>
                        <a:pt x="1296" y="995"/>
                      </a:lnTo>
                      <a:lnTo>
                        <a:pt x="1296" y="994"/>
                      </a:lnTo>
                      <a:lnTo>
                        <a:pt x="1296" y="995"/>
                      </a:lnTo>
                      <a:lnTo>
                        <a:pt x="1295" y="994"/>
                      </a:lnTo>
                      <a:lnTo>
                        <a:pt x="1295" y="993"/>
                      </a:lnTo>
                      <a:lnTo>
                        <a:pt x="1293" y="993"/>
                      </a:lnTo>
                      <a:lnTo>
                        <a:pt x="1292" y="992"/>
                      </a:lnTo>
                      <a:lnTo>
                        <a:pt x="1292" y="991"/>
                      </a:lnTo>
                      <a:lnTo>
                        <a:pt x="1290" y="990"/>
                      </a:lnTo>
                      <a:lnTo>
                        <a:pt x="1290" y="989"/>
                      </a:lnTo>
                      <a:lnTo>
                        <a:pt x="1289" y="988"/>
                      </a:lnTo>
                      <a:lnTo>
                        <a:pt x="1289" y="987"/>
                      </a:lnTo>
                      <a:lnTo>
                        <a:pt x="1288" y="986"/>
                      </a:lnTo>
                      <a:lnTo>
                        <a:pt x="1287" y="984"/>
                      </a:lnTo>
                      <a:lnTo>
                        <a:pt x="1285" y="982"/>
                      </a:lnTo>
                      <a:lnTo>
                        <a:pt x="1285" y="981"/>
                      </a:lnTo>
                      <a:lnTo>
                        <a:pt x="1285" y="980"/>
                      </a:lnTo>
                      <a:lnTo>
                        <a:pt x="1284" y="980"/>
                      </a:lnTo>
                      <a:lnTo>
                        <a:pt x="1283" y="979"/>
                      </a:lnTo>
                      <a:lnTo>
                        <a:pt x="1282" y="978"/>
                      </a:lnTo>
                      <a:lnTo>
                        <a:pt x="1280" y="977"/>
                      </a:lnTo>
                      <a:lnTo>
                        <a:pt x="1279" y="976"/>
                      </a:lnTo>
                      <a:lnTo>
                        <a:pt x="1279" y="975"/>
                      </a:lnTo>
                      <a:lnTo>
                        <a:pt x="1278" y="974"/>
                      </a:lnTo>
                      <a:lnTo>
                        <a:pt x="1277" y="974"/>
                      </a:lnTo>
                      <a:lnTo>
                        <a:pt x="1276" y="973"/>
                      </a:lnTo>
                      <a:lnTo>
                        <a:pt x="1276" y="971"/>
                      </a:lnTo>
                      <a:lnTo>
                        <a:pt x="1274" y="970"/>
                      </a:lnTo>
                      <a:lnTo>
                        <a:pt x="1273" y="973"/>
                      </a:lnTo>
                      <a:lnTo>
                        <a:pt x="1272" y="975"/>
                      </a:lnTo>
                      <a:lnTo>
                        <a:pt x="1273" y="976"/>
                      </a:lnTo>
                      <a:lnTo>
                        <a:pt x="1274" y="977"/>
                      </a:lnTo>
                      <a:lnTo>
                        <a:pt x="1279" y="982"/>
                      </a:lnTo>
                      <a:lnTo>
                        <a:pt x="1280" y="983"/>
                      </a:lnTo>
                      <a:lnTo>
                        <a:pt x="1282" y="986"/>
                      </a:lnTo>
                      <a:lnTo>
                        <a:pt x="1285" y="989"/>
                      </a:lnTo>
                      <a:lnTo>
                        <a:pt x="1286" y="991"/>
                      </a:lnTo>
                      <a:lnTo>
                        <a:pt x="1288" y="993"/>
                      </a:lnTo>
                      <a:lnTo>
                        <a:pt x="1289" y="995"/>
                      </a:lnTo>
                      <a:lnTo>
                        <a:pt x="1290" y="996"/>
                      </a:lnTo>
                      <a:lnTo>
                        <a:pt x="1291" y="999"/>
                      </a:lnTo>
                      <a:lnTo>
                        <a:pt x="1291" y="1000"/>
                      </a:lnTo>
                      <a:lnTo>
                        <a:pt x="1293" y="1001"/>
                      </a:lnTo>
                      <a:lnTo>
                        <a:pt x="1293" y="1002"/>
                      </a:lnTo>
                      <a:lnTo>
                        <a:pt x="1293" y="1003"/>
                      </a:lnTo>
                      <a:lnTo>
                        <a:pt x="1295" y="1003"/>
                      </a:lnTo>
                      <a:lnTo>
                        <a:pt x="1297" y="1006"/>
                      </a:lnTo>
                      <a:lnTo>
                        <a:pt x="1297" y="1007"/>
                      </a:lnTo>
                      <a:lnTo>
                        <a:pt x="1299" y="1009"/>
                      </a:lnTo>
                      <a:lnTo>
                        <a:pt x="1299" y="1011"/>
                      </a:lnTo>
                      <a:lnTo>
                        <a:pt x="1300" y="1012"/>
                      </a:lnTo>
                      <a:lnTo>
                        <a:pt x="1301" y="1014"/>
                      </a:lnTo>
                      <a:lnTo>
                        <a:pt x="1302" y="1015"/>
                      </a:lnTo>
                      <a:lnTo>
                        <a:pt x="1304" y="1018"/>
                      </a:lnTo>
                      <a:lnTo>
                        <a:pt x="1305" y="1019"/>
                      </a:lnTo>
                      <a:lnTo>
                        <a:pt x="1305" y="1020"/>
                      </a:lnTo>
                      <a:lnTo>
                        <a:pt x="1306" y="1020"/>
                      </a:lnTo>
                      <a:lnTo>
                        <a:pt x="1306" y="1021"/>
                      </a:lnTo>
                      <a:lnTo>
                        <a:pt x="1306" y="1022"/>
                      </a:lnTo>
                      <a:lnTo>
                        <a:pt x="1308" y="1022"/>
                      </a:lnTo>
                      <a:lnTo>
                        <a:pt x="1306" y="1024"/>
                      </a:lnTo>
                      <a:lnTo>
                        <a:pt x="1306" y="1025"/>
                      </a:lnTo>
                      <a:lnTo>
                        <a:pt x="1306" y="1026"/>
                      </a:lnTo>
                      <a:lnTo>
                        <a:pt x="1306" y="1027"/>
                      </a:lnTo>
                      <a:lnTo>
                        <a:pt x="1306" y="1028"/>
                      </a:lnTo>
                      <a:lnTo>
                        <a:pt x="1306" y="1029"/>
                      </a:lnTo>
                      <a:lnTo>
                        <a:pt x="1305" y="1029"/>
                      </a:lnTo>
                      <a:lnTo>
                        <a:pt x="1306" y="1030"/>
                      </a:lnTo>
                      <a:lnTo>
                        <a:pt x="1305" y="1030"/>
                      </a:lnTo>
                      <a:lnTo>
                        <a:pt x="1306" y="1031"/>
                      </a:lnTo>
                      <a:lnTo>
                        <a:pt x="1306" y="1032"/>
                      </a:lnTo>
                      <a:lnTo>
                        <a:pt x="1309" y="1032"/>
                      </a:lnTo>
                      <a:lnTo>
                        <a:pt x="1309" y="1031"/>
                      </a:lnTo>
                      <a:lnTo>
                        <a:pt x="1309" y="1030"/>
                      </a:lnTo>
                      <a:lnTo>
                        <a:pt x="1308" y="1029"/>
                      </a:lnTo>
                      <a:lnTo>
                        <a:pt x="1308" y="1028"/>
                      </a:lnTo>
                      <a:lnTo>
                        <a:pt x="1308" y="1027"/>
                      </a:lnTo>
                      <a:lnTo>
                        <a:pt x="1308" y="1026"/>
                      </a:lnTo>
                      <a:lnTo>
                        <a:pt x="1308" y="1025"/>
                      </a:lnTo>
                      <a:lnTo>
                        <a:pt x="1309" y="1025"/>
                      </a:lnTo>
                      <a:lnTo>
                        <a:pt x="1309" y="1026"/>
                      </a:lnTo>
                      <a:lnTo>
                        <a:pt x="1311" y="1027"/>
                      </a:lnTo>
                      <a:lnTo>
                        <a:pt x="1313" y="1029"/>
                      </a:lnTo>
                      <a:lnTo>
                        <a:pt x="1314" y="1029"/>
                      </a:lnTo>
                      <a:lnTo>
                        <a:pt x="1315" y="1030"/>
                      </a:lnTo>
                      <a:lnTo>
                        <a:pt x="1316" y="1031"/>
                      </a:lnTo>
                      <a:lnTo>
                        <a:pt x="1316" y="1032"/>
                      </a:lnTo>
                      <a:lnTo>
                        <a:pt x="1317" y="1032"/>
                      </a:lnTo>
                      <a:lnTo>
                        <a:pt x="1317" y="1033"/>
                      </a:lnTo>
                      <a:lnTo>
                        <a:pt x="1318" y="1033"/>
                      </a:lnTo>
                      <a:lnTo>
                        <a:pt x="1319" y="1033"/>
                      </a:lnTo>
                      <a:lnTo>
                        <a:pt x="1321" y="1034"/>
                      </a:lnTo>
                      <a:lnTo>
                        <a:pt x="1322" y="1037"/>
                      </a:lnTo>
                      <a:lnTo>
                        <a:pt x="1323" y="1037"/>
                      </a:lnTo>
                      <a:lnTo>
                        <a:pt x="1324" y="1038"/>
                      </a:lnTo>
                      <a:lnTo>
                        <a:pt x="1325" y="1039"/>
                      </a:lnTo>
                      <a:lnTo>
                        <a:pt x="1326" y="1040"/>
                      </a:lnTo>
                      <a:lnTo>
                        <a:pt x="1327" y="1040"/>
                      </a:lnTo>
                      <a:lnTo>
                        <a:pt x="1328" y="1041"/>
                      </a:lnTo>
                      <a:lnTo>
                        <a:pt x="1328" y="1042"/>
                      </a:lnTo>
                      <a:lnTo>
                        <a:pt x="1330" y="1044"/>
                      </a:lnTo>
                      <a:lnTo>
                        <a:pt x="1331" y="1045"/>
                      </a:lnTo>
                      <a:lnTo>
                        <a:pt x="1331" y="1046"/>
                      </a:lnTo>
                      <a:lnTo>
                        <a:pt x="1332" y="1046"/>
                      </a:lnTo>
                      <a:lnTo>
                        <a:pt x="1331" y="1047"/>
                      </a:lnTo>
                      <a:lnTo>
                        <a:pt x="1330" y="1047"/>
                      </a:lnTo>
                      <a:lnTo>
                        <a:pt x="1324" y="1046"/>
                      </a:lnTo>
                      <a:lnTo>
                        <a:pt x="1319" y="1046"/>
                      </a:lnTo>
                      <a:lnTo>
                        <a:pt x="1321" y="1046"/>
                      </a:lnTo>
                      <a:lnTo>
                        <a:pt x="1321" y="1047"/>
                      </a:lnTo>
                      <a:lnTo>
                        <a:pt x="1319" y="1047"/>
                      </a:lnTo>
                      <a:lnTo>
                        <a:pt x="1319" y="1046"/>
                      </a:lnTo>
                      <a:lnTo>
                        <a:pt x="1318" y="1047"/>
                      </a:lnTo>
                      <a:lnTo>
                        <a:pt x="1318" y="1046"/>
                      </a:lnTo>
                      <a:lnTo>
                        <a:pt x="1317" y="1047"/>
                      </a:lnTo>
                      <a:lnTo>
                        <a:pt x="1318" y="1047"/>
                      </a:lnTo>
                      <a:lnTo>
                        <a:pt x="1318" y="1048"/>
                      </a:lnTo>
                      <a:lnTo>
                        <a:pt x="1318" y="1050"/>
                      </a:lnTo>
                      <a:lnTo>
                        <a:pt x="1318" y="1051"/>
                      </a:lnTo>
                      <a:lnTo>
                        <a:pt x="1317" y="1051"/>
                      </a:lnTo>
                      <a:lnTo>
                        <a:pt x="1318" y="1051"/>
                      </a:lnTo>
                      <a:lnTo>
                        <a:pt x="1318" y="1052"/>
                      </a:lnTo>
                      <a:lnTo>
                        <a:pt x="1319" y="1052"/>
                      </a:lnTo>
                      <a:lnTo>
                        <a:pt x="1319" y="1053"/>
                      </a:lnTo>
                      <a:lnTo>
                        <a:pt x="1319" y="1052"/>
                      </a:lnTo>
                      <a:lnTo>
                        <a:pt x="1321" y="1052"/>
                      </a:lnTo>
                      <a:lnTo>
                        <a:pt x="1321" y="1053"/>
                      </a:lnTo>
                      <a:lnTo>
                        <a:pt x="1322" y="1054"/>
                      </a:lnTo>
                      <a:lnTo>
                        <a:pt x="1323" y="1054"/>
                      </a:lnTo>
                      <a:lnTo>
                        <a:pt x="1323" y="1055"/>
                      </a:lnTo>
                      <a:lnTo>
                        <a:pt x="1323" y="1056"/>
                      </a:lnTo>
                      <a:lnTo>
                        <a:pt x="1324" y="1057"/>
                      </a:lnTo>
                      <a:lnTo>
                        <a:pt x="1325" y="1057"/>
                      </a:lnTo>
                      <a:lnTo>
                        <a:pt x="1325" y="1056"/>
                      </a:lnTo>
                      <a:lnTo>
                        <a:pt x="1326" y="1056"/>
                      </a:lnTo>
                      <a:lnTo>
                        <a:pt x="1327" y="1056"/>
                      </a:lnTo>
                      <a:lnTo>
                        <a:pt x="1327" y="1055"/>
                      </a:lnTo>
                      <a:lnTo>
                        <a:pt x="1328" y="1055"/>
                      </a:lnTo>
                      <a:lnTo>
                        <a:pt x="1328" y="1056"/>
                      </a:lnTo>
                      <a:lnTo>
                        <a:pt x="1328" y="1055"/>
                      </a:lnTo>
                      <a:lnTo>
                        <a:pt x="1328" y="1054"/>
                      </a:lnTo>
                      <a:lnTo>
                        <a:pt x="1329" y="1054"/>
                      </a:lnTo>
                      <a:lnTo>
                        <a:pt x="1329" y="1053"/>
                      </a:lnTo>
                      <a:lnTo>
                        <a:pt x="1330" y="1052"/>
                      </a:lnTo>
                      <a:lnTo>
                        <a:pt x="1329" y="1052"/>
                      </a:lnTo>
                      <a:lnTo>
                        <a:pt x="1329" y="1053"/>
                      </a:lnTo>
                      <a:lnTo>
                        <a:pt x="1329" y="1052"/>
                      </a:lnTo>
                      <a:lnTo>
                        <a:pt x="1330" y="1051"/>
                      </a:lnTo>
                      <a:lnTo>
                        <a:pt x="1330" y="1050"/>
                      </a:lnTo>
                      <a:lnTo>
                        <a:pt x="1331" y="1050"/>
                      </a:lnTo>
                      <a:lnTo>
                        <a:pt x="1331" y="1048"/>
                      </a:lnTo>
                      <a:lnTo>
                        <a:pt x="1332" y="1048"/>
                      </a:lnTo>
                      <a:lnTo>
                        <a:pt x="1334" y="1048"/>
                      </a:lnTo>
                      <a:lnTo>
                        <a:pt x="1335" y="1050"/>
                      </a:lnTo>
                      <a:lnTo>
                        <a:pt x="1336" y="1051"/>
                      </a:lnTo>
                      <a:lnTo>
                        <a:pt x="1336" y="1052"/>
                      </a:lnTo>
                      <a:lnTo>
                        <a:pt x="1335" y="1052"/>
                      </a:lnTo>
                      <a:lnTo>
                        <a:pt x="1336" y="1052"/>
                      </a:lnTo>
                      <a:lnTo>
                        <a:pt x="1337" y="1053"/>
                      </a:lnTo>
                      <a:lnTo>
                        <a:pt x="1338" y="1054"/>
                      </a:lnTo>
                      <a:lnTo>
                        <a:pt x="1338" y="1055"/>
                      </a:lnTo>
                      <a:lnTo>
                        <a:pt x="1339" y="1056"/>
                      </a:lnTo>
                      <a:lnTo>
                        <a:pt x="1339" y="1057"/>
                      </a:lnTo>
                      <a:lnTo>
                        <a:pt x="1340" y="1057"/>
                      </a:lnTo>
                      <a:lnTo>
                        <a:pt x="1340" y="1058"/>
                      </a:lnTo>
                      <a:lnTo>
                        <a:pt x="1341" y="1059"/>
                      </a:lnTo>
                      <a:lnTo>
                        <a:pt x="1341" y="1060"/>
                      </a:lnTo>
                      <a:lnTo>
                        <a:pt x="1342" y="1061"/>
                      </a:lnTo>
                      <a:lnTo>
                        <a:pt x="1342" y="1063"/>
                      </a:lnTo>
                      <a:lnTo>
                        <a:pt x="1342" y="1064"/>
                      </a:lnTo>
                      <a:lnTo>
                        <a:pt x="1343" y="1064"/>
                      </a:lnTo>
                      <a:lnTo>
                        <a:pt x="1343" y="1065"/>
                      </a:lnTo>
                      <a:lnTo>
                        <a:pt x="1343" y="1066"/>
                      </a:lnTo>
                      <a:lnTo>
                        <a:pt x="1344" y="1066"/>
                      </a:lnTo>
                      <a:lnTo>
                        <a:pt x="1344" y="1067"/>
                      </a:lnTo>
                      <a:lnTo>
                        <a:pt x="1345" y="1068"/>
                      </a:lnTo>
                      <a:lnTo>
                        <a:pt x="1345" y="1069"/>
                      </a:lnTo>
                      <a:lnTo>
                        <a:pt x="1345" y="1070"/>
                      </a:lnTo>
                      <a:lnTo>
                        <a:pt x="1347" y="1070"/>
                      </a:lnTo>
                      <a:lnTo>
                        <a:pt x="1347" y="1071"/>
                      </a:lnTo>
                      <a:lnTo>
                        <a:pt x="1347" y="1072"/>
                      </a:lnTo>
                      <a:lnTo>
                        <a:pt x="1348" y="1074"/>
                      </a:lnTo>
                      <a:lnTo>
                        <a:pt x="1349" y="1077"/>
                      </a:lnTo>
                      <a:lnTo>
                        <a:pt x="1348" y="1077"/>
                      </a:lnTo>
                      <a:lnTo>
                        <a:pt x="1347" y="1077"/>
                      </a:lnTo>
                      <a:lnTo>
                        <a:pt x="1345" y="1077"/>
                      </a:lnTo>
                      <a:lnTo>
                        <a:pt x="1345" y="1076"/>
                      </a:lnTo>
                      <a:lnTo>
                        <a:pt x="1345" y="1074"/>
                      </a:lnTo>
                      <a:lnTo>
                        <a:pt x="1344" y="1074"/>
                      </a:lnTo>
                      <a:lnTo>
                        <a:pt x="1343" y="1073"/>
                      </a:lnTo>
                      <a:lnTo>
                        <a:pt x="1343" y="1072"/>
                      </a:lnTo>
                      <a:lnTo>
                        <a:pt x="1342" y="1072"/>
                      </a:lnTo>
                      <a:lnTo>
                        <a:pt x="1341" y="1071"/>
                      </a:lnTo>
                      <a:lnTo>
                        <a:pt x="1341" y="1070"/>
                      </a:lnTo>
                      <a:lnTo>
                        <a:pt x="1342" y="1069"/>
                      </a:lnTo>
                      <a:lnTo>
                        <a:pt x="1342" y="1068"/>
                      </a:lnTo>
                      <a:lnTo>
                        <a:pt x="1342" y="1067"/>
                      </a:lnTo>
                      <a:lnTo>
                        <a:pt x="1342" y="1066"/>
                      </a:lnTo>
                      <a:lnTo>
                        <a:pt x="1343" y="1066"/>
                      </a:lnTo>
                      <a:lnTo>
                        <a:pt x="1342" y="1065"/>
                      </a:lnTo>
                      <a:lnTo>
                        <a:pt x="1341" y="1065"/>
                      </a:lnTo>
                      <a:lnTo>
                        <a:pt x="1340" y="1064"/>
                      </a:lnTo>
                      <a:lnTo>
                        <a:pt x="1340" y="1063"/>
                      </a:lnTo>
                      <a:lnTo>
                        <a:pt x="1339" y="1061"/>
                      </a:lnTo>
                      <a:lnTo>
                        <a:pt x="1339" y="1060"/>
                      </a:lnTo>
                      <a:lnTo>
                        <a:pt x="1339" y="1059"/>
                      </a:lnTo>
                      <a:lnTo>
                        <a:pt x="1338" y="1058"/>
                      </a:lnTo>
                      <a:lnTo>
                        <a:pt x="1338" y="1057"/>
                      </a:lnTo>
                      <a:lnTo>
                        <a:pt x="1337" y="1057"/>
                      </a:lnTo>
                      <a:lnTo>
                        <a:pt x="1337" y="1056"/>
                      </a:lnTo>
                      <a:lnTo>
                        <a:pt x="1337" y="1057"/>
                      </a:lnTo>
                      <a:lnTo>
                        <a:pt x="1338" y="1058"/>
                      </a:lnTo>
                      <a:lnTo>
                        <a:pt x="1338" y="1059"/>
                      </a:lnTo>
                      <a:lnTo>
                        <a:pt x="1338" y="1060"/>
                      </a:lnTo>
                      <a:lnTo>
                        <a:pt x="1338" y="1061"/>
                      </a:lnTo>
                      <a:lnTo>
                        <a:pt x="1337" y="1061"/>
                      </a:lnTo>
                      <a:lnTo>
                        <a:pt x="1337" y="1060"/>
                      </a:lnTo>
                      <a:lnTo>
                        <a:pt x="1337" y="1059"/>
                      </a:lnTo>
                      <a:lnTo>
                        <a:pt x="1336" y="1059"/>
                      </a:lnTo>
                      <a:lnTo>
                        <a:pt x="1336" y="1060"/>
                      </a:lnTo>
                      <a:lnTo>
                        <a:pt x="1336" y="1061"/>
                      </a:lnTo>
                      <a:lnTo>
                        <a:pt x="1336" y="1063"/>
                      </a:lnTo>
                      <a:lnTo>
                        <a:pt x="1335" y="1061"/>
                      </a:lnTo>
                      <a:lnTo>
                        <a:pt x="1335" y="1060"/>
                      </a:lnTo>
                      <a:lnTo>
                        <a:pt x="1335" y="1059"/>
                      </a:lnTo>
                      <a:lnTo>
                        <a:pt x="1335" y="1058"/>
                      </a:lnTo>
                      <a:lnTo>
                        <a:pt x="1335" y="1057"/>
                      </a:lnTo>
                      <a:lnTo>
                        <a:pt x="1334" y="1056"/>
                      </a:lnTo>
                      <a:lnTo>
                        <a:pt x="1332" y="1056"/>
                      </a:lnTo>
                      <a:lnTo>
                        <a:pt x="1331" y="1056"/>
                      </a:lnTo>
                      <a:lnTo>
                        <a:pt x="1332" y="1056"/>
                      </a:lnTo>
                      <a:lnTo>
                        <a:pt x="1332" y="1055"/>
                      </a:lnTo>
                      <a:lnTo>
                        <a:pt x="1331" y="1056"/>
                      </a:lnTo>
                      <a:lnTo>
                        <a:pt x="1330" y="1056"/>
                      </a:lnTo>
                      <a:lnTo>
                        <a:pt x="1330" y="1057"/>
                      </a:lnTo>
                      <a:lnTo>
                        <a:pt x="1329" y="1057"/>
                      </a:lnTo>
                      <a:lnTo>
                        <a:pt x="1330" y="1057"/>
                      </a:lnTo>
                      <a:lnTo>
                        <a:pt x="1329" y="1057"/>
                      </a:lnTo>
                      <a:lnTo>
                        <a:pt x="1328" y="1057"/>
                      </a:lnTo>
                      <a:lnTo>
                        <a:pt x="1328" y="1058"/>
                      </a:lnTo>
                      <a:lnTo>
                        <a:pt x="1327" y="1058"/>
                      </a:lnTo>
                      <a:lnTo>
                        <a:pt x="1326" y="1058"/>
                      </a:lnTo>
                      <a:lnTo>
                        <a:pt x="1326" y="1059"/>
                      </a:lnTo>
                      <a:lnTo>
                        <a:pt x="1327" y="1059"/>
                      </a:lnTo>
                      <a:lnTo>
                        <a:pt x="1328" y="1060"/>
                      </a:lnTo>
                      <a:lnTo>
                        <a:pt x="1327" y="1060"/>
                      </a:lnTo>
                      <a:lnTo>
                        <a:pt x="1327" y="1061"/>
                      </a:lnTo>
                      <a:lnTo>
                        <a:pt x="1328" y="1061"/>
                      </a:lnTo>
                      <a:lnTo>
                        <a:pt x="1328" y="1063"/>
                      </a:lnTo>
                      <a:lnTo>
                        <a:pt x="1328" y="1064"/>
                      </a:lnTo>
                      <a:lnTo>
                        <a:pt x="1327" y="1064"/>
                      </a:lnTo>
                      <a:lnTo>
                        <a:pt x="1327" y="1063"/>
                      </a:lnTo>
                      <a:lnTo>
                        <a:pt x="1327" y="1061"/>
                      </a:lnTo>
                      <a:lnTo>
                        <a:pt x="1326" y="1061"/>
                      </a:lnTo>
                      <a:lnTo>
                        <a:pt x="1326" y="1060"/>
                      </a:lnTo>
                      <a:lnTo>
                        <a:pt x="1326" y="1059"/>
                      </a:lnTo>
                      <a:lnTo>
                        <a:pt x="1325" y="1059"/>
                      </a:lnTo>
                      <a:lnTo>
                        <a:pt x="1324" y="1059"/>
                      </a:lnTo>
                      <a:lnTo>
                        <a:pt x="1324" y="1060"/>
                      </a:lnTo>
                      <a:lnTo>
                        <a:pt x="1324" y="1061"/>
                      </a:lnTo>
                      <a:lnTo>
                        <a:pt x="1323" y="1060"/>
                      </a:lnTo>
                      <a:lnTo>
                        <a:pt x="1323" y="1059"/>
                      </a:lnTo>
                      <a:lnTo>
                        <a:pt x="1322" y="1059"/>
                      </a:lnTo>
                      <a:lnTo>
                        <a:pt x="1322" y="1060"/>
                      </a:lnTo>
                      <a:lnTo>
                        <a:pt x="1322" y="1061"/>
                      </a:lnTo>
                      <a:lnTo>
                        <a:pt x="1323" y="1061"/>
                      </a:lnTo>
                      <a:lnTo>
                        <a:pt x="1323" y="1063"/>
                      </a:lnTo>
                      <a:lnTo>
                        <a:pt x="1322" y="1063"/>
                      </a:lnTo>
                      <a:lnTo>
                        <a:pt x="1322" y="1061"/>
                      </a:lnTo>
                      <a:lnTo>
                        <a:pt x="1321" y="1061"/>
                      </a:lnTo>
                      <a:lnTo>
                        <a:pt x="1321" y="1063"/>
                      </a:lnTo>
                      <a:lnTo>
                        <a:pt x="1321" y="1064"/>
                      </a:lnTo>
                      <a:lnTo>
                        <a:pt x="1321" y="1065"/>
                      </a:lnTo>
                      <a:lnTo>
                        <a:pt x="1321" y="1066"/>
                      </a:lnTo>
                      <a:lnTo>
                        <a:pt x="1321" y="1067"/>
                      </a:lnTo>
                      <a:lnTo>
                        <a:pt x="1322" y="1067"/>
                      </a:lnTo>
                      <a:lnTo>
                        <a:pt x="1322" y="1068"/>
                      </a:lnTo>
                      <a:lnTo>
                        <a:pt x="1321" y="1068"/>
                      </a:lnTo>
                      <a:lnTo>
                        <a:pt x="1319" y="1067"/>
                      </a:lnTo>
                      <a:lnTo>
                        <a:pt x="1319" y="1066"/>
                      </a:lnTo>
                      <a:lnTo>
                        <a:pt x="1319" y="1065"/>
                      </a:lnTo>
                      <a:lnTo>
                        <a:pt x="1319" y="1064"/>
                      </a:lnTo>
                      <a:lnTo>
                        <a:pt x="1319" y="1063"/>
                      </a:lnTo>
                      <a:lnTo>
                        <a:pt x="1318" y="1063"/>
                      </a:lnTo>
                      <a:lnTo>
                        <a:pt x="1318" y="1061"/>
                      </a:lnTo>
                      <a:lnTo>
                        <a:pt x="1318" y="1060"/>
                      </a:lnTo>
                      <a:lnTo>
                        <a:pt x="1318" y="1059"/>
                      </a:lnTo>
                      <a:lnTo>
                        <a:pt x="1317" y="1059"/>
                      </a:lnTo>
                      <a:lnTo>
                        <a:pt x="1317" y="1058"/>
                      </a:lnTo>
                      <a:lnTo>
                        <a:pt x="1317" y="1057"/>
                      </a:lnTo>
                      <a:lnTo>
                        <a:pt x="1317" y="1056"/>
                      </a:lnTo>
                      <a:lnTo>
                        <a:pt x="1317" y="1057"/>
                      </a:lnTo>
                      <a:lnTo>
                        <a:pt x="1318" y="1057"/>
                      </a:lnTo>
                      <a:lnTo>
                        <a:pt x="1318" y="1056"/>
                      </a:lnTo>
                      <a:lnTo>
                        <a:pt x="1318" y="1055"/>
                      </a:lnTo>
                      <a:lnTo>
                        <a:pt x="1317" y="1055"/>
                      </a:lnTo>
                      <a:lnTo>
                        <a:pt x="1316" y="1055"/>
                      </a:lnTo>
                      <a:lnTo>
                        <a:pt x="1316" y="1056"/>
                      </a:lnTo>
                      <a:lnTo>
                        <a:pt x="1315" y="1056"/>
                      </a:lnTo>
                      <a:lnTo>
                        <a:pt x="1316" y="1055"/>
                      </a:lnTo>
                      <a:lnTo>
                        <a:pt x="1316" y="1054"/>
                      </a:lnTo>
                      <a:lnTo>
                        <a:pt x="1315" y="1054"/>
                      </a:lnTo>
                      <a:lnTo>
                        <a:pt x="1315" y="1055"/>
                      </a:lnTo>
                      <a:lnTo>
                        <a:pt x="1315" y="1056"/>
                      </a:lnTo>
                      <a:lnTo>
                        <a:pt x="1315" y="1057"/>
                      </a:lnTo>
                      <a:lnTo>
                        <a:pt x="1314" y="1057"/>
                      </a:lnTo>
                      <a:lnTo>
                        <a:pt x="1314" y="1058"/>
                      </a:lnTo>
                      <a:lnTo>
                        <a:pt x="1314" y="1059"/>
                      </a:lnTo>
                      <a:lnTo>
                        <a:pt x="1314" y="1060"/>
                      </a:lnTo>
                      <a:lnTo>
                        <a:pt x="1314" y="1061"/>
                      </a:lnTo>
                      <a:lnTo>
                        <a:pt x="1314" y="1063"/>
                      </a:lnTo>
                      <a:lnTo>
                        <a:pt x="1314" y="1064"/>
                      </a:lnTo>
                      <a:lnTo>
                        <a:pt x="1315" y="1065"/>
                      </a:lnTo>
                      <a:lnTo>
                        <a:pt x="1314" y="1065"/>
                      </a:lnTo>
                      <a:lnTo>
                        <a:pt x="1314" y="1066"/>
                      </a:lnTo>
                      <a:lnTo>
                        <a:pt x="1314" y="1067"/>
                      </a:lnTo>
                      <a:lnTo>
                        <a:pt x="1314" y="1068"/>
                      </a:lnTo>
                      <a:lnTo>
                        <a:pt x="1314" y="1069"/>
                      </a:lnTo>
                      <a:lnTo>
                        <a:pt x="1314" y="1070"/>
                      </a:lnTo>
                      <a:lnTo>
                        <a:pt x="1315" y="1071"/>
                      </a:lnTo>
                      <a:lnTo>
                        <a:pt x="1316" y="1071"/>
                      </a:lnTo>
                      <a:lnTo>
                        <a:pt x="1317" y="1071"/>
                      </a:lnTo>
                      <a:lnTo>
                        <a:pt x="1318" y="1071"/>
                      </a:lnTo>
                      <a:lnTo>
                        <a:pt x="1319" y="1071"/>
                      </a:lnTo>
                      <a:lnTo>
                        <a:pt x="1321" y="1071"/>
                      </a:lnTo>
                      <a:lnTo>
                        <a:pt x="1321" y="1070"/>
                      </a:lnTo>
                      <a:lnTo>
                        <a:pt x="1322" y="1070"/>
                      </a:lnTo>
                      <a:lnTo>
                        <a:pt x="1323" y="1070"/>
                      </a:lnTo>
                      <a:lnTo>
                        <a:pt x="1323" y="1071"/>
                      </a:lnTo>
                      <a:lnTo>
                        <a:pt x="1324" y="1071"/>
                      </a:lnTo>
                      <a:lnTo>
                        <a:pt x="1324" y="1072"/>
                      </a:lnTo>
                      <a:lnTo>
                        <a:pt x="1323" y="1072"/>
                      </a:lnTo>
                      <a:lnTo>
                        <a:pt x="1324" y="1072"/>
                      </a:lnTo>
                      <a:lnTo>
                        <a:pt x="1324" y="1073"/>
                      </a:lnTo>
                      <a:lnTo>
                        <a:pt x="1324" y="1074"/>
                      </a:lnTo>
                      <a:lnTo>
                        <a:pt x="1323" y="1074"/>
                      </a:lnTo>
                      <a:lnTo>
                        <a:pt x="1322" y="1074"/>
                      </a:lnTo>
                      <a:lnTo>
                        <a:pt x="1321" y="1074"/>
                      </a:lnTo>
                      <a:lnTo>
                        <a:pt x="1322" y="1074"/>
                      </a:lnTo>
                      <a:lnTo>
                        <a:pt x="1322" y="1076"/>
                      </a:lnTo>
                      <a:lnTo>
                        <a:pt x="1322" y="1077"/>
                      </a:lnTo>
                      <a:lnTo>
                        <a:pt x="1322" y="1076"/>
                      </a:lnTo>
                      <a:lnTo>
                        <a:pt x="1321" y="1076"/>
                      </a:lnTo>
                      <a:lnTo>
                        <a:pt x="1319" y="1074"/>
                      </a:lnTo>
                      <a:lnTo>
                        <a:pt x="1319" y="1076"/>
                      </a:lnTo>
                      <a:lnTo>
                        <a:pt x="1318" y="1076"/>
                      </a:lnTo>
                      <a:lnTo>
                        <a:pt x="1317" y="1076"/>
                      </a:lnTo>
                      <a:lnTo>
                        <a:pt x="1317" y="1077"/>
                      </a:lnTo>
                      <a:lnTo>
                        <a:pt x="1317" y="1078"/>
                      </a:lnTo>
                      <a:lnTo>
                        <a:pt x="1317" y="1079"/>
                      </a:lnTo>
                      <a:lnTo>
                        <a:pt x="1316" y="1079"/>
                      </a:lnTo>
                      <a:lnTo>
                        <a:pt x="1316" y="1078"/>
                      </a:lnTo>
                      <a:lnTo>
                        <a:pt x="1315" y="1078"/>
                      </a:lnTo>
                      <a:lnTo>
                        <a:pt x="1315" y="1079"/>
                      </a:lnTo>
                      <a:lnTo>
                        <a:pt x="1315" y="1080"/>
                      </a:lnTo>
                      <a:lnTo>
                        <a:pt x="1316" y="1080"/>
                      </a:lnTo>
                      <a:lnTo>
                        <a:pt x="1318" y="1080"/>
                      </a:lnTo>
                      <a:lnTo>
                        <a:pt x="1319" y="1080"/>
                      </a:lnTo>
                      <a:lnTo>
                        <a:pt x="1321" y="1081"/>
                      </a:lnTo>
                      <a:lnTo>
                        <a:pt x="1321" y="1082"/>
                      </a:lnTo>
                      <a:lnTo>
                        <a:pt x="1319" y="1081"/>
                      </a:lnTo>
                      <a:lnTo>
                        <a:pt x="1318" y="1081"/>
                      </a:lnTo>
                      <a:lnTo>
                        <a:pt x="1317" y="1081"/>
                      </a:lnTo>
                      <a:lnTo>
                        <a:pt x="1316" y="1081"/>
                      </a:lnTo>
                      <a:lnTo>
                        <a:pt x="1316" y="1082"/>
                      </a:lnTo>
                      <a:lnTo>
                        <a:pt x="1315" y="1082"/>
                      </a:lnTo>
                      <a:lnTo>
                        <a:pt x="1314" y="1081"/>
                      </a:lnTo>
                      <a:lnTo>
                        <a:pt x="1314" y="1082"/>
                      </a:lnTo>
                      <a:lnTo>
                        <a:pt x="1314" y="1083"/>
                      </a:lnTo>
                      <a:lnTo>
                        <a:pt x="1314" y="1084"/>
                      </a:lnTo>
                      <a:lnTo>
                        <a:pt x="1313" y="1084"/>
                      </a:lnTo>
                      <a:lnTo>
                        <a:pt x="1313" y="1085"/>
                      </a:lnTo>
                      <a:lnTo>
                        <a:pt x="1312" y="1085"/>
                      </a:lnTo>
                      <a:lnTo>
                        <a:pt x="1313" y="1085"/>
                      </a:lnTo>
                      <a:lnTo>
                        <a:pt x="1313" y="1086"/>
                      </a:lnTo>
                      <a:lnTo>
                        <a:pt x="1314" y="1086"/>
                      </a:lnTo>
                      <a:lnTo>
                        <a:pt x="1314" y="1088"/>
                      </a:lnTo>
                      <a:lnTo>
                        <a:pt x="1313" y="1088"/>
                      </a:lnTo>
                      <a:lnTo>
                        <a:pt x="1313" y="1086"/>
                      </a:lnTo>
                      <a:lnTo>
                        <a:pt x="1312" y="1086"/>
                      </a:lnTo>
                      <a:lnTo>
                        <a:pt x="1312" y="1085"/>
                      </a:lnTo>
                      <a:lnTo>
                        <a:pt x="1312" y="1084"/>
                      </a:lnTo>
                      <a:lnTo>
                        <a:pt x="1312" y="1083"/>
                      </a:lnTo>
                      <a:lnTo>
                        <a:pt x="1312" y="1082"/>
                      </a:lnTo>
                      <a:lnTo>
                        <a:pt x="1313" y="1081"/>
                      </a:lnTo>
                      <a:lnTo>
                        <a:pt x="1313" y="1080"/>
                      </a:lnTo>
                      <a:lnTo>
                        <a:pt x="1313" y="1079"/>
                      </a:lnTo>
                      <a:lnTo>
                        <a:pt x="1312" y="1079"/>
                      </a:lnTo>
                      <a:lnTo>
                        <a:pt x="1312" y="1080"/>
                      </a:lnTo>
                      <a:lnTo>
                        <a:pt x="1311" y="1080"/>
                      </a:lnTo>
                      <a:lnTo>
                        <a:pt x="1311" y="1081"/>
                      </a:lnTo>
                      <a:lnTo>
                        <a:pt x="1311" y="1082"/>
                      </a:lnTo>
                      <a:lnTo>
                        <a:pt x="1310" y="1083"/>
                      </a:lnTo>
                      <a:lnTo>
                        <a:pt x="1310" y="1084"/>
                      </a:lnTo>
                      <a:lnTo>
                        <a:pt x="1310" y="1088"/>
                      </a:lnTo>
                      <a:lnTo>
                        <a:pt x="1310" y="1089"/>
                      </a:lnTo>
                      <a:lnTo>
                        <a:pt x="1310" y="1090"/>
                      </a:lnTo>
                      <a:lnTo>
                        <a:pt x="1309" y="1091"/>
                      </a:lnTo>
                      <a:lnTo>
                        <a:pt x="1309" y="1092"/>
                      </a:lnTo>
                      <a:lnTo>
                        <a:pt x="1309" y="1094"/>
                      </a:lnTo>
                      <a:lnTo>
                        <a:pt x="1309" y="1095"/>
                      </a:lnTo>
                      <a:lnTo>
                        <a:pt x="1308" y="1096"/>
                      </a:lnTo>
                      <a:lnTo>
                        <a:pt x="1308" y="1095"/>
                      </a:lnTo>
                      <a:lnTo>
                        <a:pt x="1308" y="1094"/>
                      </a:lnTo>
                      <a:lnTo>
                        <a:pt x="1306" y="1094"/>
                      </a:lnTo>
                      <a:lnTo>
                        <a:pt x="1306" y="1093"/>
                      </a:lnTo>
                      <a:lnTo>
                        <a:pt x="1308" y="1093"/>
                      </a:lnTo>
                      <a:lnTo>
                        <a:pt x="1308" y="1092"/>
                      </a:lnTo>
                      <a:lnTo>
                        <a:pt x="1309" y="1092"/>
                      </a:lnTo>
                      <a:lnTo>
                        <a:pt x="1309" y="1091"/>
                      </a:lnTo>
                      <a:lnTo>
                        <a:pt x="1308" y="1091"/>
                      </a:lnTo>
                      <a:lnTo>
                        <a:pt x="1306" y="1092"/>
                      </a:lnTo>
                      <a:lnTo>
                        <a:pt x="1305" y="1092"/>
                      </a:lnTo>
                      <a:lnTo>
                        <a:pt x="1305" y="1091"/>
                      </a:lnTo>
                      <a:lnTo>
                        <a:pt x="1306" y="1091"/>
                      </a:lnTo>
                      <a:lnTo>
                        <a:pt x="1306" y="1090"/>
                      </a:lnTo>
                      <a:lnTo>
                        <a:pt x="1308" y="1090"/>
                      </a:lnTo>
                      <a:lnTo>
                        <a:pt x="1308" y="1089"/>
                      </a:lnTo>
                      <a:lnTo>
                        <a:pt x="1309" y="1089"/>
                      </a:lnTo>
                      <a:lnTo>
                        <a:pt x="1309" y="1088"/>
                      </a:lnTo>
                      <a:lnTo>
                        <a:pt x="1309" y="1086"/>
                      </a:lnTo>
                      <a:lnTo>
                        <a:pt x="1309" y="1085"/>
                      </a:lnTo>
                      <a:lnTo>
                        <a:pt x="1310" y="1085"/>
                      </a:lnTo>
                      <a:lnTo>
                        <a:pt x="1310" y="1084"/>
                      </a:lnTo>
                      <a:lnTo>
                        <a:pt x="1310" y="1083"/>
                      </a:lnTo>
                      <a:lnTo>
                        <a:pt x="1310" y="1082"/>
                      </a:lnTo>
                      <a:lnTo>
                        <a:pt x="1311" y="1081"/>
                      </a:lnTo>
                      <a:lnTo>
                        <a:pt x="1311" y="1080"/>
                      </a:lnTo>
                      <a:lnTo>
                        <a:pt x="1311" y="1079"/>
                      </a:lnTo>
                      <a:lnTo>
                        <a:pt x="1312" y="1079"/>
                      </a:lnTo>
                      <a:lnTo>
                        <a:pt x="1312" y="1078"/>
                      </a:lnTo>
                      <a:lnTo>
                        <a:pt x="1312" y="1077"/>
                      </a:lnTo>
                      <a:lnTo>
                        <a:pt x="1312" y="1076"/>
                      </a:lnTo>
                      <a:lnTo>
                        <a:pt x="1313" y="1074"/>
                      </a:lnTo>
                      <a:lnTo>
                        <a:pt x="1313" y="1073"/>
                      </a:lnTo>
                      <a:lnTo>
                        <a:pt x="1312" y="1072"/>
                      </a:lnTo>
                      <a:lnTo>
                        <a:pt x="1312" y="1071"/>
                      </a:lnTo>
                      <a:lnTo>
                        <a:pt x="1312" y="1070"/>
                      </a:lnTo>
                      <a:lnTo>
                        <a:pt x="1311" y="1069"/>
                      </a:lnTo>
                      <a:lnTo>
                        <a:pt x="1311" y="1068"/>
                      </a:lnTo>
                      <a:lnTo>
                        <a:pt x="1310" y="1068"/>
                      </a:lnTo>
                      <a:lnTo>
                        <a:pt x="1310" y="1069"/>
                      </a:lnTo>
                      <a:lnTo>
                        <a:pt x="1309" y="1069"/>
                      </a:lnTo>
                      <a:lnTo>
                        <a:pt x="1308" y="1069"/>
                      </a:lnTo>
                      <a:lnTo>
                        <a:pt x="1308" y="1070"/>
                      </a:lnTo>
                      <a:lnTo>
                        <a:pt x="1306" y="1070"/>
                      </a:lnTo>
                      <a:lnTo>
                        <a:pt x="1308" y="1069"/>
                      </a:lnTo>
                      <a:lnTo>
                        <a:pt x="1309" y="1068"/>
                      </a:lnTo>
                      <a:lnTo>
                        <a:pt x="1310" y="1068"/>
                      </a:lnTo>
                      <a:lnTo>
                        <a:pt x="1310" y="1067"/>
                      </a:lnTo>
                      <a:lnTo>
                        <a:pt x="1311" y="1067"/>
                      </a:lnTo>
                      <a:lnTo>
                        <a:pt x="1311" y="1066"/>
                      </a:lnTo>
                      <a:lnTo>
                        <a:pt x="1311" y="1065"/>
                      </a:lnTo>
                      <a:lnTo>
                        <a:pt x="1310" y="1065"/>
                      </a:lnTo>
                      <a:lnTo>
                        <a:pt x="1311" y="1065"/>
                      </a:lnTo>
                      <a:lnTo>
                        <a:pt x="1310" y="1064"/>
                      </a:lnTo>
                      <a:lnTo>
                        <a:pt x="1311" y="1064"/>
                      </a:lnTo>
                      <a:lnTo>
                        <a:pt x="1310" y="1064"/>
                      </a:lnTo>
                      <a:lnTo>
                        <a:pt x="1310" y="1063"/>
                      </a:lnTo>
                      <a:lnTo>
                        <a:pt x="1311" y="1063"/>
                      </a:lnTo>
                      <a:lnTo>
                        <a:pt x="1310" y="1061"/>
                      </a:lnTo>
                      <a:lnTo>
                        <a:pt x="1311" y="1061"/>
                      </a:lnTo>
                      <a:lnTo>
                        <a:pt x="1311" y="1060"/>
                      </a:lnTo>
                      <a:lnTo>
                        <a:pt x="1311" y="1059"/>
                      </a:lnTo>
                      <a:lnTo>
                        <a:pt x="1311" y="1058"/>
                      </a:lnTo>
                      <a:lnTo>
                        <a:pt x="1312" y="1057"/>
                      </a:lnTo>
                      <a:lnTo>
                        <a:pt x="1312" y="1056"/>
                      </a:lnTo>
                      <a:lnTo>
                        <a:pt x="1312" y="1055"/>
                      </a:lnTo>
                      <a:lnTo>
                        <a:pt x="1312" y="1054"/>
                      </a:lnTo>
                      <a:lnTo>
                        <a:pt x="1312" y="1053"/>
                      </a:lnTo>
                      <a:lnTo>
                        <a:pt x="1311" y="1052"/>
                      </a:lnTo>
                      <a:lnTo>
                        <a:pt x="1311" y="1051"/>
                      </a:lnTo>
                      <a:lnTo>
                        <a:pt x="1311" y="1050"/>
                      </a:lnTo>
                      <a:lnTo>
                        <a:pt x="1311" y="1048"/>
                      </a:lnTo>
                      <a:lnTo>
                        <a:pt x="1310" y="1047"/>
                      </a:lnTo>
                      <a:lnTo>
                        <a:pt x="1310" y="1048"/>
                      </a:lnTo>
                      <a:lnTo>
                        <a:pt x="1309" y="1048"/>
                      </a:lnTo>
                      <a:lnTo>
                        <a:pt x="1309" y="1050"/>
                      </a:lnTo>
                      <a:lnTo>
                        <a:pt x="1309" y="1048"/>
                      </a:lnTo>
                      <a:lnTo>
                        <a:pt x="1309" y="1047"/>
                      </a:lnTo>
                      <a:lnTo>
                        <a:pt x="1310" y="1048"/>
                      </a:lnTo>
                      <a:lnTo>
                        <a:pt x="1310" y="1047"/>
                      </a:lnTo>
                      <a:lnTo>
                        <a:pt x="1309" y="1047"/>
                      </a:lnTo>
                      <a:lnTo>
                        <a:pt x="1309" y="1046"/>
                      </a:lnTo>
                      <a:lnTo>
                        <a:pt x="1309" y="1045"/>
                      </a:lnTo>
                      <a:lnTo>
                        <a:pt x="1308" y="1045"/>
                      </a:lnTo>
                      <a:lnTo>
                        <a:pt x="1308" y="1046"/>
                      </a:lnTo>
                      <a:lnTo>
                        <a:pt x="1308" y="1045"/>
                      </a:lnTo>
                      <a:lnTo>
                        <a:pt x="1308" y="1044"/>
                      </a:lnTo>
                      <a:lnTo>
                        <a:pt x="1308" y="1043"/>
                      </a:lnTo>
                      <a:lnTo>
                        <a:pt x="1309" y="1043"/>
                      </a:lnTo>
                      <a:lnTo>
                        <a:pt x="1308" y="1043"/>
                      </a:lnTo>
                      <a:lnTo>
                        <a:pt x="1308" y="1042"/>
                      </a:lnTo>
                      <a:lnTo>
                        <a:pt x="1308" y="1043"/>
                      </a:lnTo>
                      <a:lnTo>
                        <a:pt x="1308" y="1042"/>
                      </a:lnTo>
                      <a:lnTo>
                        <a:pt x="1308" y="1041"/>
                      </a:lnTo>
                      <a:lnTo>
                        <a:pt x="1309" y="1041"/>
                      </a:lnTo>
                      <a:lnTo>
                        <a:pt x="1309" y="1040"/>
                      </a:lnTo>
                      <a:lnTo>
                        <a:pt x="1309" y="1039"/>
                      </a:lnTo>
                      <a:lnTo>
                        <a:pt x="1309" y="1040"/>
                      </a:lnTo>
                      <a:lnTo>
                        <a:pt x="1308" y="1040"/>
                      </a:lnTo>
                      <a:lnTo>
                        <a:pt x="1308" y="1039"/>
                      </a:lnTo>
                      <a:lnTo>
                        <a:pt x="1306" y="1039"/>
                      </a:lnTo>
                      <a:lnTo>
                        <a:pt x="1306" y="1040"/>
                      </a:lnTo>
                      <a:lnTo>
                        <a:pt x="1306" y="1041"/>
                      </a:lnTo>
                      <a:lnTo>
                        <a:pt x="1305" y="1040"/>
                      </a:lnTo>
                      <a:lnTo>
                        <a:pt x="1306" y="1041"/>
                      </a:lnTo>
                      <a:lnTo>
                        <a:pt x="1305" y="1041"/>
                      </a:lnTo>
                      <a:lnTo>
                        <a:pt x="1306" y="1042"/>
                      </a:lnTo>
                      <a:lnTo>
                        <a:pt x="1306" y="1043"/>
                      </a:lnTo>
                      <a:lnTo>
                        <a:pt x="1306" y="1044"/>
                      </a:lnTo>
                      <a:lnTo>
                        <a:pt x="1306" y="1045"/>
                      </a:lnTo>
                      <a:lnTo>
                        <a:pt x="1305" y="1045"/>
                      </a:lnTo>
                      <a:lnTo>
                        <a:pt x="1305" y="1046"/>
                      </a:lnTo>
                      <a:lnTo>
                        <a:pt x="1305" y="1047"/>
                      </a:lnTo>
                      <a:lnTo>
                        <a:pt x="1304" y="1048"/>
                      </a:lnTo>
                      <a:lnTo>
                        <a:pt x="1305" y="1048"/>
                      </a:lnTo>
                      <a:lnTo>
                        <a:pt x="1305" y="1047"/>
                      </a:lnTo>
                      <a:lnTo>
                        <a:pt x="1306" y="1047"/>
                      </a:lnTo>
                      <a:lnTo>
                        <a:pt x="1308" y="1047"/>
                      </a:lnTo>
                      <a:lnTo>
                        <a:pt x="1308" y="1048"/>
                      </a:lnTo>
                      <a:lnTo>
                        <a:pt x="1308" y="1050"/>
                      </a:lnTo>
                      <a:lnTo>
                        <a:pt x="1309" y="1050"/>
                      </a:lnTo>
                      <a:lnTo>
                        <a:pt x="1309" y="1051"/>
                      </a:lnTo>
                      <a:lnTo>
                        <a:pt x="1310" y="1051"/>
                      </a:lnTo>
                      <a:lnTo>
                        <a:pt x="1310" y="1052"/>
                      </a:lnTo>
                      <a:lnTo>
                        <a:pt x="1311" y="1052"/>
                      </a:lnTo>
                      <a:lnTo>
                        <a:pt x="1311" y="1053"/>
                      </a:lnTo>
                      <a:lnTo>
                        <a:pt x="1311" y="1054"/>
                      </a:lnTo>
                      <a:lnTo>
                        <a:pt x="1310" y="1053"/>
                      </a:lnTo>
                      <a:lnTo>
                        <a:pt x="1310" y="1054"/>
                      </a:lnTo>
                      <a:lnTo>
                        <a:pt x="1311" y="1054"/>
                      </a:lnTo>
                      <a:lnTo>
                        <a:pt x="1311" y="1055"/>
                      </a:lnTo>
                      <a:lnTo>
                        <a:pt x="1310" y="1055"/>
                      </a:lnTo>
                      <a:lnTo>
                        <a:pt x="1311" y="1056"/>
                      </a:lnTo>
                      <a:lnTo>
                        <a:pt x="1310" y="1056"/>
                      </a:lnTo>
                      <a:lnTo>
                        <a:pt x="1310" y="1057"/>
                      </a:lnTo>
                      <a:lnTo>
                        <a:pt x="1309" y="1057"/>
                      </a:lnTo>
                      <a:lnTo>
                        <a:pt x="1309" y="1058"/>
                      </a:lnTo>
                      <a:lnTo>
                        <a:pt x="1309" y="1059"/>
                      </a:lnTo>
                      <a:lnTo>
                        <a:pt x="1308" y="1059"/>
                      </a:lnTo>
                      <a:lnTo>
                        <a:pt x="1309" y="1059"/>
                      </a:lnTo>
                      <a:lnTo>
                        <a:pt x="1308" y="1060"/>
                      </a:lnTo>
                      <a:lnTo>
                        <a:pt x="1308" y="1061"/>
                      </a:lnTo>
                      <a:lnTo>
                        <a:pt x="1309" y="1063"/>
                      </a:lnTo>
                      <a:lnTo>
                        <a:pt x="1309" y="1064"/>
                      </a:lnTo>
                      <a:lnTo>
                        <a:pt x="1308" y="1064"/>
                      </a:lnTo>
                      <a:lnTo>
                        <a:pt x="1308" y="1065"/>
                      </a:lnTo>
                      <a:lnTo>
                        <a:pt x="1306" y="1065"/>
                      </a:lnTo>
                      <a:lnTo>
                        <a:pt x="1306" y="1066"/>
                      </a:lnTo>
                      <a:lnTo>
                        <a:pt x="1306" y="1067"/>
                      </a:lnTo>
                      <a:lnTo>
                        <a:pt x="1305" y="1068"/>
                      </a:lnTo>
                      <a:lnTo>
                        <a:pt x="1304" y="1067"/>
                      </a:lnTo>
                      <a:lnTo>
                        <a:pt x="1305" y="1067"/>
                      </a:lnTo>
                      <a:lnTo>
                        <a:pt x="1305" y="1066"/>
                      </a:lnTo>
                      <a:lnTo>
                        <a:pt x="1306" y="1065"/>
                      </a:lnTo>
                      <a:lnTo>
                        <a:pt x="1305" y="1065"/>
                      </a:lnTo>
                      <a:lnTo>
                        <a:pt x="1305" y="1064"/>
                      </a:lnTo>
                      <a:lnTo>
                        <a:pt x="1305" y="1063"/>
                      </a:lnTo>
                      <a:lnTo>
                        <a:pt x="1304" y="1063"/>
                      </a:lnTo>
                      <a:lnTo>
                        <a:pt x="1304" y="1061"/>
                      </a:lnTo>
                      <a:lnTo>
                        <a:pt x="1305" y="1061"/>
                      </a:lnTo>
                      <a:lnTo>
                        <a:pt x="1305" y="1060"/>
                      </a:lnTo>
                      <a:lnTo>
                        <a:pt x="1305" y="1059"/>
                      </a:lnTo>
                      <a:lnTo>
                        <a:pt x="1305" y="1060"/>
                      </a:lnTo>
                      <a:lnTo>
                        <a:pt x="1305" y="1059"/>
                      </a:lnTo>
                      <a:lnTo>
                        <a:pt x="1305" y="1058"/>
                      </a:lnTo>
                      <a:lnTo>
                        <a:pt x="1306" y="1058"/>
                      </a:lnTo>
                      <a:lnTo>
                        <a:pt x="1306" y="1057"/>
                      </a:lnTo>
                      <a:lnTo>
                        <a:pt x="1306" y="1056"/>
                      </a:lnTo>
                      <a:lnTo>
                        <a:pt x="1308" y="1056"/>
                      </a:lnTo>
                      <a:lnTo>
                        <a:pt x="1306" y="1056"/>
                      </a:lnTo>
                      <a:lnTo>
                        <a:pt x="1306" y="1055"/>
                      </a:lnTo>
                      <a:lnTo>
                        <a:pt x="1308" y="1055"/>
                      </a:lnTo>
                      <a:lnTo>
                        <a:pt x="1306" y="1055"/>
                      </a:lnTo>
                      <a:lnTo>
                        <a:pt x="1305" y="1056"/>
                      </a:lnTo>
                      <a:lnTo>
                        <a:pt x="1305" y="1057"/>
                      </a:lnTo>
                      <a:lnTo>
                        <a:pt x="1304" y="1058"/>
                      </a:lnTo>
                      <a:lnTo>
                        <a:pt x="1304" y="1057"/>
                      </a:lnTo>
                      <a:lnTo>
                        <a:pt x="1305" y="1057"/>
                      </a:lnTo>
                      <a:lnTo>
                        <a:pt x="1305" y="1056"/>
                      </a:lnTo>
                      <a:lnTo>
                        <a:pt x="1305" y="1055"/>
                      </a:lnTo>
                      <a:lnTo>
                        <a:pt x="1304" y="1055"/>
                      </a:lnTo>
                      <a:lnTo>
                        <a:pt x="1305" y="1055"/>
                      </a:lnTo>
                      <a:lnTo>
                        <a:pt x="1305" y="1054"/>
                      </a:lnTo>
                      <a:lnTo>
                        <a:pt x="1305" y="1053"/>
                      </a:lnTo>
                      <a:lnTo>
                        <a:pt x="1305" y="1054"/>
                      </a:lnTo>
                      <a:lnTo>
                        <a:pt x="1304" y="1054"/>
                      </a:lnTo>
                      <a:lnTo>
                        <a:pt x="1304" y="1053"/>
                      </a:lnTo>
                      <a:lnTo>
                        <a:pt x="1305" y="1053"/>
                      </a:lnTo>
                      <a:lnTo>
                        <a:pt x="1305" y="1052"/>
                      </a:lnTo>
                      <a:lnTo>
                        <a:pt x="1305" y="1053"/>
                      </a:lnTo>
                      <a:lnTo>
                        <a:pt x="1304" y="1052"/>
                      </a:lnTo>
                      <a:lnTo>
                        <a:pt x="1304" y="1053"/>
                      </a:lnTo>
                      <a:lnTo>
                        <a:pt x="1303" y="1053"/>
                      </a:lnTo>
                      <a:lnTo>
                        <a:pt x="1302" y="1053"/>
                      </a:lnTo>
                      <a:lnTo>
                        <a:pt x="1302" y="1054"/>
                      </a:lnTo>
                      <a:lnTo>
                        <a:pt x="1302" y="1055"/>
                      </a:lnTo>
                      <a:lnTo>
                        <a:pt x="1301" y="1055"/>
                      </a:lnTo>
                      <a:lnTo>
                        <a:pt x="1300" y="1055"/>
                      </a:lnTo>
                      <a:lnTo>
                        <a:pt x="1300" y="1054"/>
                      </a:lnTo>
                      <a:lnTo>
                        <a:pt x="1300" y="1053"/>
                      </a:lnTo>
                      <a:lnTo>
                        <a:pt x="1301" y="1053"/>
                      </a:lnTo>
                      <a:lnTo>
                        <a:pt x="1302" y="1053"/>
                      </a:lnTo>
                      <a:lnTo>
                        <a:pt x="1302" y="1052"/>
                      </a:lnTo>
                      <a:lnTo>
                        <a:pt x="1302" y="1051"/>
                      </a:lnTo>
                      <a:lnTo>
                        <a:pt x="1301" y="1051"/>
                      </a:lnTo>
                      <a:lnTo>
                        <a:pt x="1300" y="1051"/>
                      </a:lnTo>
                      <a:lnTo>
                        <a:pt x="1300" y="1052"/>
                      </a:lnTo>
                      <a:lnTo>
                        <a:pt x="1299" y="1052"/>
                      </a:lnTo>
                      <a:lnTo>
                        <a:pt x="1298" y="1052"/>
                      </a:lnTo>
                      <a:lnTo>
                        <a:pt x="1297" y="1052"/>
                      </a:lnTo>
                      <a:lnTo>
                        <a:pt x="1296" y="1052"/>
                      </a:lnTo>
                      <a:lnTo>
                        <a:pt x="1296" y="1053"/>
                      </a:lnTo>
                      <a:lnTo>
                        <a:pt x="1296" y="1054"/>
                      </a:lnTo>
                      <a:lnTo>
                        <a:pt x="1296" y="1055"/>
                      </a:lnTo>
                      <a:lnTo>
                        <a:pt x="1297" y="1055"/>
                      </a:lnTo>
                      <a:lnTo>
                        <a:pt x="1297" y="1054"/>
                      </a:lnTo>
                      <a:lnTo>
                        <a:pt x="1298" y="1054"/>
                      </a:lnTo>
                      <a:lnTo>
                        <a:pt x="1298" y="1055"/>
                      </a:lnTo>
                      <a:lnTo>
                        <a:pt x="1297" y="1055"/>
                      </a:lnTo>
                      <a:lnTo>
                        <a:pt x="1298" y="1056"/>
                      </a:lnTo>
                      <a:lnTo>
                        <a:pt x="1297" y="1056"/>
                      </a:lnTo>
                      <a:lnTo>
                        <a:pt x="1297" y="1057"/>
                      </a:lnTo>
                      <a:lnTo>
                        <a:pt x="1296" y="1057"/>
                      </a:lnTo>
                      <a:lnTo>
                        <a:pt x="1297" y="1058"/>
                      </a:lnTo>
                      <a:lnTo>
                        <a:pt x="1297" y="1059"/>
                      </a:lnTo>
                      <a:lnTo>
                        <a:pt x="1297" y="1060"/>
                      </a:lnTo>
                      <a:lnTo>
                        <a:pt x="1297" y="1061"/>
                      </a:lnTo>
                      <a:lnTo>
                        <a:pt x="1297" y="1063"/>
                      </a:lnTo>
                      <a:lnTo>
                        <a:pt x="1297" y="1064"/>
                      </a:lnTo>
                      <a:lnTo>
                        <a:pt x="1297" y="1065"/>
                      </a:lnTo>
                      <a:lnTo>
                        <a:pt x="1297" y="1066"/>
                      </a:lnTo>
                      <a:lnTo>
                        <a:pt x="1297" y="1065"/>
                      </a:lnTo>
                      <a:lnTo>
                        <a:pt x="1297" y="1064"/>
                      </a:lnTo>
                      <a:lnTo>
                        <a:pt x="1296" y="1063"/>
                      </a:lnTo>
                      <a:lnTo>
                        <a:pt x="1296" y="1061"/>
                      </a:lnTo>
                      <a:lnTo>
                        <a:pt x="1296" y="1060"/>
                      </a:lnTo>
                      <a:lnTo>
                        <a:pt x="1296" y="1061"/>
                      </a:lnTo>
                      <a:lnTo>
                        <a:pt x="1296" y="1060"/>
                      </a:lnTo>
                      <a:lnTo>
                        <a:pt x="1296" y="1061"/>
                      </a:lnTo>
                      <a:lnTo>
                        <a:pt x="1296" y="1063"/>
                      </a:lnTo>
                      <a:lnTo>
                        <a:pt x="1295" y="1063"/>
                      </a:lnTo>
                      <a:lnTo>
                        <a:pt x="1295" y="1064"/>
                      </a:lnTo>
                      <a:lnTo>
                        <a:pt x="1295" y="1063"/>
                      </a:lnTo>
                      <a:lnTo>
                        <a:pt x="1293" y="1063"/>
                      </a:lnTo>
                      <a:lnTo>
                        <a:pt x="1293" y="1061"/>
                      </a:lnTo>
                      <a:lnTo>
                        <a:pt x="1295" y="1061"/>
                      </a:lnTo>
                      <a:lnTo>
                        <a:pt x="1295" y="1060"/>
                      </a:lnTo>
                      <a:lnTo>
                        <a:pt x="1295" y="1059"/>
                      </a:lnTo>
                      <a:lnTo>
                        <a:pt x="1296" y="1059"/>
                      </a:lnTo>
                      <a:lnTo>
                        <a:pt x="1296" y="1058"/>
                      </a:lnTo>
                      <a:lnTo>
                        <a:pt x="1296" y="1059"/>
                      </a:lnTo>
                      <a:lnTo>
                        <a:pt x="1296" y="1058"/>
                      </a:lnTo>
                      <a:lnTo>
                        <a:pt x="1295" y="1058"/>
                      </a:lnTo>
                      <a:lnTo>
                        <a:pt x="1295" y="1057"/>
                      </a:lnTo>
                      <a:lnTo>
                        <a:pt x="1295" y="1056"/>
                      </a:lnTo>
                      <a:lnTo>
                        <a:pt x="1295" y="1055"/>
                      </a:lnTo>
                      <a:lnTo>
                        <a:pt x="1296" y="1055"/>
                      </a:lnTo>
                      <a:lnTo>
                        <a:pt x="1295" y="1055"/>
                      </a:lnTo>
                      <a:lnTo>
                        <a:pt x="1295" y="1054"/>
                      </a:lnTo>
                      <a:lnTo>
                        <a:pt x="1295" y="1055"/>
                      </a:lnTo>
                      <a:lnTo>
                        <a:pt x="1295" y="1054"/>
                      </a:lnTo>
                      <a:lnTo>
                        <a:pt x="1295" y="1055"/>
                      </a:lnTo>
                      <a:lnTo>
                        <a:pt x="1295" y="1056"/>
                      </a:lnTo>
                      <a:lnTo>
                        <a:pt x="1293" y="1056"/>
                      </a:lnTo>
                      <a:lnTo>
                        <a:pt x="1293" y="1055"/>
                      </a:lnTo>
                      <a:lnTo>
                        <a:pt x="1292" y="1056"/>
                      </a:lnTo>
                      <a:lnTo>
                        <a:pt x="1292" y="1057"/>
                      </a:lnTo>
                      <a:lnTo>
                        <a:pt x="1292" y="1058"/>
                      </a:lnTo>
                      <a:lnTo>
                        <a:pt x="1293" y="1058"/>
                      </a:lnTo>
                      <a:lnTo>
                        <a:pt x="1292" y="1058"/>
                      </a:lnTo>
                      <a:lnTo>
                        <a:pt x="1291" y="1058"/>
                      </a:lnTo>
                      <a:lnTo>
                        <a:pt x="1290" y="1058"/>
                      </a:lnTo>
                      <a:lnTo>
                        <a:pt x="1290" y="1057"/>
                      </a:lnTo>
                      <a:lnTo>
                        <a:pt x="1289" y="1056"/>
                      </a:lnTo>
                      <a:lnTo>
                        <a:pt x="1288" y="1055"/>
                      </a:lnTo>
                      <a:lnTo>
                        <a:pt x="1287" y="1055"/>
                      </a:lnTo>
                      <a:lnTo>
                        <a:pt x="1286" y="1055"/>
                      </a:lnTo>
                      <a:lnTo>
                        <a:pt x="1286" y="1056"/>
                      </a:lnTo>
                      <a:lnTo>
                        <a:pt x="1285" y="1056"/>
                      </a:lnTo>
                      <a:lnTo>
                        <a:pt x="1285" y="1057"/>
                      </a:lnTo>
                      <a:lnTo>
                        <a:pt x="1285" y="1058"/>
                      </a:lnTo>
                      <a:lnTo>
                        <a:pt x="1285" y="1059"/>
                      </a:lnTo>
                      <a:lnTo>
                        <a:pt x="1285" y="1060"/>
                      </a:lnTo>
                      <a:lnTo>
                        <a:pt x="1284" y="1060"/>
                      </a:lnTo>
                      <a:lnTo>
                        <a:pt x="1285" y="1061"/>
                      </a:lnTo>
                      <a:lnTo>
                        <a:pt x="1285" y="1063"/>
                      </a:lnTo>
                      <a:lnTo>
                        <a:pt x="1286" y="1063"/>
                      </a:lnTo>
                      <a:lnTo>
                        <a:pt x="1286" y="1064"/>
                      </a:lnTo>
                      <a:lnTo>
                        <a:pt x="1286" y="1065"/>
                      </a:lnTo>
                      <a:lnTo>
                        <a:pt x="1286" y="1066"/>
                      </a:lnTo>
                      <a:lnTo>
                        <a:pt x="1285" y="1066"/>
                      </a:lnTo>
                      <a:lnTo>
                        <a:pt x="1284" y="1066"/>
                      </a:lnTo>
                      <a:lnTo>
                        <a:pt x="1284" y="1067"/>
                      </a:lnTo>
                      <a:lnTo>
                        <a:pt x="1283" y="1068"/>
                      </a:lnTo>
                      <a:lnTo>
                        <a:pt x="1283" y="1069"/>
                      </a:lnTo>
                      <a:lnTo>
                        <a:pt x="1283" y="1070"/>
                      </a:lnTo>
                      <a:lnTo>
                        <a:pt x="1283" y="1071"/>
                      </a:lnTo>
                      <a:lnTo>
                        <a:pt x="1282" y="1071"/>
                      </a:lnTo>
                      <a:lnTo>
                        <a:pt x="1282" y="1072"/>
                      </a:lnTo>
                      <a:lnTo>
                        <a:pt x="1280" y="1072"/>
                      </a:lnTo>
                      <a:lnTo>
                        <a:pt x="1278" y="1072"/>
                      </a:lnTo>
                      <a:lnTo>
                        <a:pt x="1277" y="1072"/>
                      </a:lnTo>
                      <a:lnTo>
                        <a:pt x="1276" y="1073"/>
                      </a:lnTo>
                      <a:lnTo>
                        <a:pt x="1275" y="1073"/>
                      </a:lnTo>
                      <a:lnTo>
                        <a:pt x="1275" y="1074"/>
                      </a:lnTo>
                      <a:lnTo>
                        <a:pt x="1276" y="1074"/>
                      </a:lnTo>
                      <a:lnTo>
                        <a:pt x="1277" y="1074"/>
                      </a:lnTo>
                      <a:lnTo>
                        <a:pt x="1277" y="1076"/>
                      </a:lnTo>
                      <a:lnTo>
                        <a:pt x="1277" y="1077"/>
                      </a:lnTo>
                      <a:lnTo>
                        <a:pt x="1276" y="1077"/>
                      </a:lnTo>
                      <a:lnTo>
                        <a:pt x="1276" y="1078"/>
                      </a:lnTo>
                      <a:lnTo>
                        <a:pt x="1275" y="1078"/>
                      </a:lnTo>
                      <a:lnTo>
                        <a:pt x="1275" y="1079"/>
                      </a:lnTo>
                      <a:lnTo>
                        <a:pt x="1274" y="1079"/>
                      </a:lnTo>
                      <a:lnTo>
                        <a:pt x="1274" y="1080"/>
                      </a:lnTo>
                      <a:lnTo>
                        <a:pt x="1273" y="1080"/>
                      </a:lnTo>
                      <a:lnTo>
                        <a:pt x="1273" y="1081"/>
                      </a:lnTo>
                      <a:lnTo>
                        <a:pt x="1273" y="1082"/>
                      </a:lnTo>
                      <a:lnTo>
                        <a:pt x="1272" y="1083"/>
                      </a:lnTo>
                      <a:lnTo>
                        <a:pt x="1271" y="1085"/>
                      </a:lnTo>
                      <a:lnTo>
                        <a:pt x="1270" y="1085"/>
                      </a:lnTo>
                      <a:lnTo>
                        <a:pt x="1270" y="1086"/>
                      </a:lnTo>
                      <a:lnTo>
                        <a:pt x="1270" y="1088"/>
                      </a:lnTo>
                      <a:lnTo>
                        <a:pt x="1270" y="1086"/>
                      </a:lnTo>
                      <a:lnTo>
                        <a:pt x="1270" y="1085"/>
                      </a:lnTo>
                      <a:lnTo>
                        <a:pt x="1270" y="1083"/>
                      </a:lnTo>
                      <a:lnTo>
                        <a:pt x="1270" y="1082"/>
                      </a:lnTo>
                      <a:lnTo>
                        <a:pt x="1268" y="1082"/>
                      </a:lnTo>
                      <a:lnTo>
                        <a:pt x="1268" y="1083"/>
                      </a:lnTo>
                      <a:lnTo>
                        <a:pt x="1267" y="1083"/>
                      </a:lnTo>
                      <a:lnTo>
                        <a:pt x="1267" y="1082"/>
                      </a:lnTo>
                      <a:lnTo>
                        <a:pt x="1266" y="1081"/>
                      </a:lnTo>
                      <a:lnTo>
                        <a:pt x="1265" y="1080"/>
                      </a:lnTo>
                      <a:lnTo>
                        <a:pt x="1265" y="1081"/>
                      </a:lnTo>
                      <a:lnTo>
                        <a:pt x="1264" y="1082"/>
                      </a:lnTo>
                      <a:lnTo>
                        <a:pt x="1264" y="1083"/>
                      </a:lnTo>
                      <a:lnTo>
                        <a:pt x="1263" y="1083"/>
                      </a:lnTo>
                      <a:lnTo>
                        <a:pt x="1262" y="1083"/>
                      </a:lnTo>
                      <a:lnTo>
                        <a:pt x="1262" y="1082"/>
                      </a:lnTo>
                      <a:lnTo>
                        <a:pt x="1262" y="1081"/>
                      </a:lnTo>
                      <a:lnTo>
                        <a:pt x="1262" y="1080"/>
                      </a:lnTo>
                      <a:lnTo>
                        <a:pt x="1262" y="1079"/>
                      </a:lnTo>
                      <a:lnTo>
                        <a:pt x="1262" y="1078"/>
                      </a:lnTo>
                      <a:lnTo>
                        <a:pt x="1262" y="1077"/>
                      </a:lnTo>
                      <a:lnTo>
                        <a:pt x="1262" y="1076"/>
                      </a:lnTo>
                      <a:lnTo>
                        <a:pt x="1262" y="1074"/>
                      </a:lnTo>
                      <a:lnTo>
                        <a:pt x="1262" y="1073"/>
                      </a:lnTo>
                      <a:lnTo>
                        <a:pt x="1261" y="1073"/>
                      </a:lnTo>
                      <a:lnTo>
                        <a:pt x="1260" y="1073"/>
                      </a:lnTo>
                      <a:lnTo>
                        <a:pt x="1260" y="1074"/>
                      </a:lnTo>
                      <a:lnTo>
                        <a:pt x="1260" y="1073"/>
                      </a:lnTo>
                      <a:lnTo>
                        <a:pt x="1259" y="1072"/>
                      </a:lnTo>
                      <a:lnTo>
                        <a:pt x="1258" y="1072"/>
                      </a:lnTo>
                      <a:lnTo>
                        <a:pt x="1257" y="1072"/>
                      </a:lnTo>
                      <a:lnTo>
                        <a:pt x="1257" y="1073"/>
                      </a:lnTo>
                      <a:lnTo>
                        <a:pt x="1257" y="1074"/>
                      </a:lnTo>
                      <a:lnTo>
                        <a:pt x="1257" y="1076"/>
                      </a:lnTo>
                      <a:lnTo>
                        <a:pt x="1255" y="1076"/>
                      </a:lnTo>
                      <a:lnTo>
                        <a:pt x="1254" y="1077"/>
                      </a:lnTo>
                      <a:lnTo>
                        <a:pt x="1252" y="1077"/>
                      </a:lnTo>
                      <a:lnTo>
                        <a:pt x="1251" y="1077"/>
                      </a:lnTo>
                      <a:lnTo>
                        <a:pt x="1250" y="1078"/>
                      </a:lnTo>
                      <a:lnTo>
                        <a:pt x="1249" y="1078"/>
                      </a:lnTo>
                      <a:lnTo>
                        <a:pt x="1249" y="1079"/>
                      </a:lnTo>
                      <a:lnTo>
                        <a:pt x="1249" y="1080"/>
                      </a:lnTo>
                      <a:lnTo>
                        <a:pt x="1250" y="1080"/>
                      </a:lnTo>
                      <a:lnTo>
                        <a:pt x="1251" y="1080"/>
                      </a:lnTo>
                      <a:lnTo>
                        <a:pt x="1252" y="1079"/>
                      </a:lnTo>
                      <a:lnTo>
                        <a:pt x="1253" y="1079"/>
                      </a:lnTo>
                      <a:lnTo>
                        <a:pt x="1254" y="1079"/>
                      </a:lnTo>
                      <a:lnTo>
                        <a:pt x="1255" y="1079"/>
                      </a:lnTo>
                      <a:lnTo>
                        <a:pt x="1257" y="1079"/>
                      </a:lnTo>
                      <a:lnTo>
                        <a:pt x="1257" y="1080"/>
                      </a:lnTo>
                      <a:lnTo>
                        <a:pt x="1254" y="1081"/>
                      </a:lnTo>
                      <a:lnTo>
                        <a:pt x="1253" y="1081"/>
                      </a:lnTo>
                      <a:lnTo>
                        <a:pt x="1252" y="1081"/>
                      </a:lnTo>
                      <a:lnTo>
                        <a:pt x="1251" y="1081"/>
                      </a:lnTo>
                      <a:lnTo>
                        <a:pt x="1250" y="1081"/>
                      </a:lnTo>
                      <a:lnTo>
                        <a:pt x="1249" y="1081"/>
                      </a:lnTo>
                      <a:lnTo>
                        <a:pt x="1248" y="1081"/>
                      </a:lnTo>
                      <a:lnTo>
                        <a:pt x="1248" y="1082"/>
                      </a:lnTo>
                      <a:lnTo>
                        <a:pt x="1248" y="1083"/>
                      </a:lnTo>
                      <a:lnTo>
                        <a:pt x="1248" y="1084"/>
                      </a:lnTo>
                      <a:lnTo>
                        <a:pt x="1247" y="1084"/>
                      </a:lnTo>
                      <a:lnTo>
                        <a:pt x="1246" y="1083"/>
                      </a:lnTo>
                      <a:lnTo>
                        <a:pt x="1245" y="1081"/>
                      </a:lnTo>
                      <a:lnTo>
                        <a:pt x="1245" y="1080"/>
                      </a:lnTo>
                      <a:lnTo>
                        <a:pt x="1246" y="1080"/>
                      </a:lnTo>
                      <a:lnTo>
                        <a:pt x="1245" y="1079"/>
                      </a:lnTo>
                      <a:lnTo>
                        <a:pt x="1242" y="1078"/>
                      </a:lnTo>
                      <a:lnTo>
                        <a:pt x="1241" y="1076"/>
                      </a:lnTo>
                      <a:lnTo>
                        <a:pt x="1239" y="1072"/>
                      </a:lnTo>
                      <a:lnTo>
                        <a:pt x="1238" y="1072"/>
                      </a:lnTo>
                      <a:lnTo>
                        <a:pt x="1237" y="1071"/>
                      </a:lnTo>
                      <a:lnTo>
                        <a:pt x="1237" y="1070"/>
                      </a:lnTo>
                      <a:lnTo>
                        <a:pt x="1236" y="1069"/>
                      </a:lnTo>
                      <a:lnTo>
                        <a:pt x="1235" y="1067"/>
                      </a:lnTo>
                      <a:lnTo>
                        <a:pt x="1235" y="1066"/>
                      </a:lnTo>
                      <a:lnTo>
                        <a:pt x="1234" y="1065"/>
                      </a:lnTo>
                      <a:lnTo>
                        <a:pt x="1232" y="1063"/>
                      </a:lnTo>
                      <a:lnTo>
                        <a:pt x="1231" y="1060"/>
                      </a:lnTo>
                      <a:lnTo>
                        <a:pt x="1229" y="1059"/>
                      </a:lnTo>
                      <a:lnTo>
                        <a:pt x="1228" y="1059"/>
                      </a:lnTo>
                      <a:lnTo>
                        <a:pt x="1227" y="1058"/>
                      </a:lnTo>
                      <a:lnTo>
                        <a:pt x="1226" y="1057"/>
                      </a:lnTo>
                      <a:lnTo>
                        <a:pt x="1225" y="1056"/>
                      </a:lnTo>
                      <a:lnTo>
                        <a:pt x="1224" y="1055"/>
                      </a:lnTo>
                      <a:lnTo>
                        <a:pt x="1224" y="1054"/>
                      </a:lnTo>
                      <a:lnTo>
                        <a:pt x="1224" y="1053"/>
                      </a:lnTo>
                      <a:lnTo>
                        <a:pt x="1224" y="1052"/>
                      </a:lnTo>
                      <a:lnTo>
                        <a:pt x="1224" y="1051"/>
                      </a:lnTo>
                      <a:lnTo>
                        <a:pt x="1224" y="1050"/>
                      </a:lnTo>
                      <a:lnTo>
                        <a:pt x="1224" y="1048"/>
                      </a:lnTo>
                      <a:lnTo>
                        <a:pt x="1225" y="1047"/>
                      </a:lnTo>
                      <a:lnTo>
                        <a:pt x="1226" y="1045"/>
                      </a:lnTo>
                      <a:lnTo>
                        <a:pt x="1226" y="1044"/>
                      </a:lnTo>
                      <a:lnTo>
                        <a:pt x="1227" y="1043"/>
                      </a:lnTo>
                      <a:lnTo>
                        <a:pt x="1228" y="1043"/>
                      </a:lnTo>
                      <a:lnTo>
                        <a:pt x="1229" y="1043"/>
                      </a:lnTo>
                      <a:lnTo>
                        <a:pt x="1231" y="1043"/>
                      </a:lnTo>
                      <a:lnTo>
                        <a:pt x="1232" y="1043"/>
                      </a:lnTo>
                      <a:lnTo>
                        <a:pt x="1232" y="1044"/>
                      </a:lnTo>
                      <a:lnTo>
                        <a:pt x="1232" y="1045"/>
                      </a:lnTo>
                      <a:lnTo>
                        <a:pt x="1232" y="1046"/>
                      </a:lnTo>
                      <a:lnTo>
                        <a:pt x="1232" y="1047"/>
                      </a:lnTo>
                      <a:lnTo>
                        <a:pt x="1232" y="1048"/>
                      </a:lnTo>
                      <a:lnTo>
                        <a:pt x="1233" y="1048"/>
                      </a:lnTo>
                      <a:lnTo>
                        <a:pt x="1233" y="1050"/>
                      </a:lnTo>
                      <a:lnTo>
                        <a:pt x="1233" y="1048"/>
                      </a:lnTo>
                      <a:lnTo>
                        <a:pt x="1234" y="1048"/>
                      </a:lnTo>
                      <a:lnTo>
                        <a:pt x="1234" y="1050"/>
                      </a:lnTo>
                      <a:lnTo>
                        <a:pt x="1234" y="1048"/>
                      </a:lnTo>
                      <a:lnTo>
                        <a:pt x="1235" y="1048"/>
                      </a:lnTo>
                      <a:lnTo>
                        <a:pt x="1236" y="1048"/>
                      </a:lnTo>
                      <a:lnTo>
                        <a:pt x="1236" y="1050"/>
                      </a:lnTo>
                      <a:lnTo>
                        <a:pt x="1236" y="1048"/>
                      </a:lnTo>
                      <a:lnTo>
                        <a:pt x="1237" y="1050"/>
                      </a:lnTo>
                      <a:lnTo>
                        <a:pt x="1238" y="1050"/>
                      </a:lnTo>
                      <a:lnTo>
                        <a:pt x="1237" y="1050"/>
                      </a:lnTo>
                      <a:lnTo>
                        <a:pt x="1237" y="1048"/>
                      </a:lnTo>
                      <a:lnTo>
                        <a:pt x="1237" y="1047"/>
                      </a:lnTo>
                      <a:lnTo>
                        <a:pt x="1237" y="1046"/>
                      </a:lnTo>
                      <a:lnTo>
                        <a:pt x="1238" y="1046"/>
                      </a:lnTo>
                      <a:lnTo>
                        <a:pt x="1238" y="1045"/>
                      </a:lnTo>
                      <a:lnTo>
                        <a:pt x="1239" y="1045"/>
                      </a:lnTo>
                      <a:lnTo>
                        <a:pt x="1239" y="1044"/>
                      </a:lnTo>
                      <a:lnTo>
                        <a:pt x="1239" y="1043"/>
                      </a:lnTo>
                      <a:lnTo>
                        <a:pt x="1240" y="1043"/>
                      </a:lnTo>
                      <a:lnTo>
                        <a:pt x="1240" y="1042"/>
                      </a:lnTo>
                      <a:lnTo>
                        <a:pt x="1239" y="1042"/>
                      </a:lnTo>
                      <a:lnTo>
                        <a:pt x="1239" y="1041"/>
                      </a:lnTo>
                      <a:lnTo>
                        <a:pt x="1239" y="1040"/>
                      </a:lnTo>
                      <a:lnTo>
                        <a:pt x="1238" y="1040"/>
                      </a:lnTo>
                      <a:lnTo>
                        <a:pt x="1238" y="1039"/>
                      </a:lnTo>
                      <a:lnTo>
                        <a:pt x="1237" y="1039"/>
                      </a:lnTo>
                      <a:lnTo>
                        <a:pt x="1236" y="1038"/>
                      </a:lnTo>
                      <a:lnTo>
                        <a:pt x="1235" y="1038"/>
                      </a:lnTo>
                      <a:lnTo>
                        <a:pt x="1234" y="1038"/>
                      </a:lnTo>
                      <a:lnTo>
                        <a:pt x="1234" y="1039"/>
                      </a:lnTo>
                      <a:lnTo>
                        <a:pt x="1234" y="1040"/>
                      </a:lnTo>
                      <a:lnTo>
                        <a:pt x="1234" y="1041"/>
                      </a:lnTo>
                      <a:lnTo>
                        <a:pt x="1234" y="1042"/>
                      </a:lnTo>
                      <a:lnTo>
                        <a:pt x="1233" y="1041"/>
                      </a:lnTo>
                      <a:lnTo>
                        <a:pt x="1233" y="1042"/>
                      </a:lnTo>
                      <a:lnTo>
                        <a:pt x="1232" y="1041"/>
                      </a:lnTo>
                      <a:lnTo>
                        <a:pt x="1232" y="1042"/>
                      </a:lnTo>
                      <a:lnTo>
                        <a:pt x="1232" y="1041"/>
                      </a:lnTo>
                      <a:lnTo>
                        <a:pt x="1231" y="1041"/>
                      </a:lnTo>
                      <a:lnTo>
                        <a:pt x="1229" y="1041"/>
                      </a:lnTo>
                      <a:lnTo>
                        <a:pt x="1229" y="1042"/>
                      </a:lnTo>
                      <a:lnTo>
                        <a:pt x="1228" y="1042"/>
                      </a:lnTo>
                      <a:lnTo>
                        <a:pt x="1227" y="1042"/>
                      </a:lnTo>
                      <a:lnTo>
                        <a:pt x="1227" y="1041"/>
                      </a:lnTo>
                      <a:lnTo>
                        <a:pt x="1227" y="1040"/>
                      </a:lnTo>
                      <a:lnTo>
                        <a:pt x="1227" y="1039"/>
                      </a:lnTo>
                      <a:lnTo>
                        <a:pt x="1227" y="1038"/>
                      </a:lnTo>
                      <a:lnTo>
                        <a:pt x="1227" y="1037"/>
                      </a:lnTo>
                      <a:lnTo>
                        <a:pt x="1228" y="1037"/>
                      </a:lnTo>
                      <a:lnTo>
                        <a:pt x="1228" y="1035"/>
                      </a:lnTo>
                      <a:lnTo>
                        <a:pt x="1228" y="1033"/>
                      </a:lnTo>
                      <a:lnTo>
                        <a:pt x="1229" y="1033"/>
                      </a:lnTo>
                      <a:lnTo>
                        <a:pt x="1228" y="1033"/>
                      </a:lnTo>
                      <a:lnTo>
                        <a:pt x="1229" y="1033"/>
                      </a:lnTo>
                      <a:lnTo>
                        <a:pt x="1231" y="1033"/>
                      </a:lnTo>
                      <a:lnTo>
                        <a:pt x="1229" y="1033"/>
                      </a:lnTo>
                      <a:lnTo>
                        <a:pt x="1228" y="1033"/>
                      </a:lnTo>
                      <a:lnTo>
                        <a:pt x="1229" y="1033"/>
                      </a:lnTo>
                      <a:lnTo>
                        <a:pt x="1228" y="1033"/>
                      </a:lnTo>
                      <a:lnTo>
                        <a:pt x="1228" y="1032"/>
                      </a:lnTo>
                      <a:lnTo>
                        <a:pt x="1229" y="1032"/>
                      </a:lnTo>
                      <a:lnTo>
                        <a:pt x="1231" y="1032"/>
                      </a:lnTo>
                      <a:lnTo>
                        <a:pt x="1232" y="1032"/>
                      </a:lnTo>
                      <a:lnTo>
                        <a:pt x="1232" y="1031"/>
                      </a:lnTo>
                      <a:lnTo>
                        <a:pt x="1233" y="1031"/>
                      </a:lnTo>
                      <a:lnTo>
                        <a:pt x="1233" y="1032"/>
                      </a:lnTo>
                      <a:lnTo>
                        <a:pt x="1233" y="1031"/>
                      </a:lnTo>
                      <a:lnTo>
                        <a:pt x="1233" y="1030"/>
                      </a:lnTo>
                      <a:lnTo>
                        <a:pt x="1232" y="1030"/>
                      </a:lnTo>
                      <a:lnTo>
                        <a:pt x="1232" y="1029"/>
                      </a:lnTo>
                      <a:lnTo>
                        <a:pt x="1232" y="1028"/>
                      </a:lnTo>
                      <a:lnTo>
                        <a:pt x="1231" y="1028"/>
                      </a:lnTo>
                      <a:lnTo>
                        <a:pt x="1231" y="1027"/>
                      </a:lnTo>
                      <a:lnTo>
                        <a:pt x="1232" y="1027"/>
                      </a:lnTo>
                      <a:lnTo>
                        <a:pt x="1232" y="1026"/>
                      </a:lnTo>
                      <a:lnTo>
                        <a:pt x="1231" y="1026"/>
                      </a:lnTo>
                      <a:lnTo>
                        <a:pt x="1232" y="1026"/>
                      </a:lnTo>
                      <a:lnTo>
                        <a:pt x="1231" y="1025"/>
                      </a:lnTo>
                      <a:lnTo>
                        <a:pt x="1232" y="1025"/>
                      </a:lnTo>
                      <a:lnTo>
                        <a:pt x="1232" y="1024"/>
                      </a:lnTo>
                      <a:lnTo>
                        <a:pt x="1232" y="1022"/>
                      </a:lnTo>
                      <a:lnTo>
                        <a:pt x="1232" y="1021"/>
                      </a:lnTo>
                      <a:lnTo>
                        <a:pt x="1231" y="1021"/>
                      </a:lnTo>
                      <a:lnTo>
                        <a:pt x="1229" y="1021"/>
                      </a:lnTo>
                      <a:lnTo>
                        <a:pt x="1229" y="1020"/>
                      </a:lnTo>
                      <a:lnTo>
                        <a:pt x="1228" y="1020"/>
                      </a:lnTo>
                      <a:lnTo>
                        <a:pt x="1227" y="1019"/>
                      </a:lnTo>
                      <a:lnTo>
                        <a:pt x="1228" y="1018"/>
                      </a:lnTo>
                      <a:lnTo>
                        <a:pt x="1229" y="1017"/>
                      </a:lnTo>
                      <a:lnTo>
                        <a:pt x="1231" y="1017"/>
                      </a:lnTo>
                      <a:lnTo>
                        <a:pt x="1231" y="1016"/>
                      </a:lnTo>
                      <a:lnTo>
                        <a:pt x="1232" y="1016"/>
                      </a:lnTo>
                      <a:lnTo>
                        <a:pt x="1232" y="1015"/>
                      </a:lnTo>
                      <a:lnTo>
                        <a:pt x="1232" y="1014"/>
                      </a:lnTo>
                      <a:lnTo>
                        <a:pt x="1232" y="1013"/>
                      </a:lnTo>
                      <a:lnTo>
                        <a:pt x="1231" y="1012"/>
                      </a:lnTo>
                      <a:lnTo>
                        <a:pt x="1232" y="1011"/>
                      </a:lnTo>
                      <a:lnTo>
                        <a:pt x="1231" y="1011"/>
                      </a:lnTo>
                      <a:lnTo>
                        <a:pt x="1232" y="1011"/>
                      </a:lnTo>
                      <a:lnTo>
                        <a:pt x="1232" y="1009"/>
                      </a:lnTo>
                      <a:lnTo>
                        <a:pt x="1231" y="1009"/>
                      </a:lnTo>
                      <a:lnTo>
                        <a:pt x="1232" y="1009"/>
                      </a:lnTo>
                      <a:lnTo>
                        <a:pt x="1231" y="1008"/>
                      </a:lnTo>
                      <a:lnTo>
                        <a:pt x="1231" y="1007"/>
                      </a:lnTo>
                      <a:lnTo>
                        <a:pt x="1231" y="1006"/>
                      </a:lnTo>
                      <a:lnTo>
                        <a:pt x="1229" y="1005"/>
                      </a:lnTo>
                      <a:lnTo>
                        <a:pt x="1228" y="1005"/>
                      </a:lnTo>
                      <a:lnTo>
                        <a:pt x="1228" y="1006"/>
                      </a:lnTo>
                      <a:lnTo>
                        <a:pt x="1228" y="1005"/>
                      </a:lnTo>
                      <a:lnTo>
                        <a:pt x="1228" y="1004"/>
                      </a:lnTo>
                      <a:lnTo>
                        <a:pt x="1229" y="1004"/>
                      </a:lnTo>
                      <a:lnTo>
                        <a:pt x="1228" y="1004"/>
                      </a:lnTo>
                      <a:lnTo>
                        <a:pt x="1228" y="1003"/>
                      </a:lnTo>
                      <a:lnTo>
                        <a:pt x="1228" y="1002"/>
                      </a:lnTo>
                      <a:lnTo>
                        <a:pt x="1227" y="1001"/>
                      </a:lnTo>
                      <a:lnTo>
                        <a:pt x="1227" y="1000"/>
                      </a:lnTo>
                      <a:lnTo>
                        <a:pt x="1226" y="1000"/>
                      </a:lnTo>
                      <a:lnTo>
                        <a:pt x="1226" y="999"/>
                      </a:lnTo>
                      <a:lnTo>
                        <a:pt x="1227" y="999"/>
                      </a:lnTo>
                      <a:lnTo>
                        <a:pt x="1227" y="998"/>
                      </a:lnTo>
                      <a:lnTo>
                        <a:pt x="1227" y="999"/>
                      </a:lnTo>
                      <a:lnTo>
                        <a:pt x="1227" y="998"/>
                      </a:lnTo>
                      <a:lnTo>
                        <a:pt x="1226" y="996"/>
                      </a:lnTo>
                      <a:lnTo>
                        <a:pt x="1226" y="995"/>
                      </a:lnTo>
                      <a:lnTo>
                        <a:pt x="1226" y="994"/>
                      </a:lnTo>
                      <a:lnTo>
                        <a:pt x="1226" y="995"/>
                      </a:lnTo>
                      <a:lnTo>
                        <a:pt x="1227" y="994"/>
                      </a:lnTo>
                      <a:lnTo>
                        <a:pt x="1226" y="994"/>
                      </a:lnTo>
                      <a:lnTo>
                        <a:pt x="1226" y="993"/>
                      </a:lnTo>
                      <a:lnTo>
                        <a:pt x="1226" y="992"/>
                      </a:lnTo>
                      <a:lnTo>
                        <a:pt x="1225" y="992"/>
                      </a:lnTo>
                      <a:lnTo>
                        <a:pt x="1225" y="991"/>
                      </a:lnTo>
                      <a:lnTo>
                        <a:pt x="1225" y="990"/>
                      </a:lnTo>
                      <a:lnTo>
                        <a:pt x="1224" y="990"/>
                      </a:lnTo>
                      <a:lnTo>
                        <a:pt x="1222" y="989"/>
                      </a:lnTo>
                      <a:lnTo>
                        <a:pt x="1222" y="988"/>
                      </a:lnTo>
                      <a:lnTo>
                        <a:pt x="1218" y="986"/>
                      </a:lnTo>
                      <a:lnTo>
                        <a:pt x="1216" y="984"/>
                      </a:lnTo>
                      <a:lnTo>
                        <a:pt x="1212" y="982"/>
                      </a:lnTo>
                      <a:lnTo>
                        <a:pt x="1211" y="982"/>
                      </a:lnTo>
                      <a:lnTo>
                        <a:pt x="1209" y="981"/>
                      </a:lnTo>
                      <a:lnTo>
                        <a:pt x="1208" y="981"/>
                      </a:lnTo>
                      <a:lnTo>
                        <a:pt x="1207" y="981"/>
                      </a:lnTo>
                      <a:lnTo>
                        <a:pt x="1205" y="981"/>
                      </a:lnTo>
                      <a:lnTo>
                        <a:pt x="1206" y="980"/>
                      </a:lnTo>
                      <a:lnTo>
                        <a:pt x="1206" y="979"/>
                      </a:lnTo>
                      <a:lnTo>
                        <a:pt x="1207" y="979"/>
                      </a:lnTo>
                      <a:lnTo>
                        <a:pt x="1206" y="978"/>
                      </a:lnTo>
                      <a:lnTo>
                        <a:pt x="1206" y="979"/>
                      </a:lnTo>
                      <a:lnTo>
                        <a:pt x="1205" y="980"/>
                      </a:lnTo>
                      <a:lnTo>
                        <a:pt x="1205" y="981"/>
                      </a:lnTo>
                      <a:lnTo>
                        <a:pt x="1203" y="981"/>
                      </a:lnTo>
                      <a:lnTo>
                        <a:pt x="1202" y="980"/>
                      </a:lnTo>
                      <a:lnTo>
                        <a:pt x="1201" y="979"/>
                      </a:lnTo>
                      <a:lnTo>
                        <a:pt x="1200" y="978"/>
                      </a:lnTo>
                      <a:lnTo>
                        <a:pt x="1201" y="978"/>
                      </a:lnTo>
                      <a:lnTo>
                        <a:pt x="1200" y="978"/>
                      </a:lnTo>
                      <a:lnTo>
                        <a:pt x="1200" y="977"/>
                      </a:lnTo>
                      <a:lnTo>
                        <a:pt x="1199" y="976"/>
                      </a:lnTo>
                      <a:lnTo>
                        <a:pt x="1199" y="975"/>
                      </a:lnTo>
                      <a:lnTo>
                        <a:pt x="1198" y="975"/>
                      </a:lnTo>
                      <a:lnTo>
                        <a:pt x="1199" y="976"/>
                      </a:lnTo>
                      <a:lnTo>
                        <a:pt x="1198" y="975"/>
                      </a:lnTo>
                      <a:lnTo>
                        <a:pt x="1200" y="974"/>
                      </a:lnTo>
                      <a:lnTo>
                        <a:pt x="1200" y="973"/>
                      </a:lnTo>
                      <a:lnTo>
                        <a:pt x="1200" y="971"/>
                      </a:lnTo>
                      <a:lnTo>
                        <a:pt x="1200" y="973"/>
                      </a:lnTo>
                      <a:lnTo>
                        <a:pt x="1199" y="974"/>
                      </a:lnTo>
                      <a:lnTo>
                        <a:pt x="1198" y="975"/>
                      </a:lnTo>
                      <a:lnTo>
                        <a:pt x="1197" y="974"/>
                      </a:lnTo>
                      <a:lnTo>
                        <a:pt x="1197" y="973"/>
                      </a:lnTo>
                      <a:lnTo>
                        <a:pt x="1196" y="973"/>
                      </a:lnTo>
                      <a:lnTo>
                        <a:pt x="1195" y="971"/>
                      </a:lnTo>
                      <a:lnTo>
                        <a:pt x="1194" y="970"/>
                      </a:lnTo>
                      <a:lnTo>
                        <a:pt x="1194" y="969"/>
                      </a:lnTo>
                      <a:lnTo>
                        <a:pt x="1193" y="969"/>
                      </a:lnTo>
                      <a:lnTo>
                        <a:pt x="1193" y="968"/>
                      </a:lnTo>
                      <a:lnTo>
                        <a:pt x="1192" y="968"/>
                      </a:lnTo>
                      <a:lnTo>
                        <a:pt x="1192" y="967"/>
                      </a:lnTo>
                      <a:lnTo>
                        <a:pt x="1193" y="968"/>
                      </a:lnTo>
                      <a:lnTo>
                        <a:pt x="1194" y="966"/>
                      </a:lnTo>
                      <a:lnTo>
                        <a:pt x="1193" y="966"/>
                      </a:lnTo>
                      <a:lnTo>
                        <a:pt x="1193" y="965"/>
                      </a:lnTo>
                      <a:lnTo>
                        <a:pt x="1192" y="965"/>
                      </a:lnTo>
                      <a:lnTo>
                        <a:pt x="1192" y="966"/>
                      </a:lnTo>
                      <a:lnTo>
                        <a:pt x="1192" y="965"/>
                      </a:lnTo>
                      <a:lnTo>
                        <a:pt x="1190" y="965"/>
                      </a:lnTo>
                      <a:lnTo>
                        <a:pt x="1190" y="966"/>
                      </a:lnTo>
                      <a:lnTo>
                        <a:pt x="1190" y="967"/>
                      </a:lnTo>
                      <a:lnTo>
                        <a:pt x="1189" y="967"/>
                      </a:lnTo>
                      <a:lnTo>
                        <a:pt x="1188" y="967"/>
                      </a:lnTo>
                      <a:lnTo>
                        <a:pt x="1187" y="967"/>
                      </a:lnTo>
                      <a:lnTo>
                        <a:pt x="1187" y="966"/>
                      </a:lnTo>
                      <a:lnTo>
                        <a:pt x="1186" y="966"/>
                      </a:lnTo>
                      <a:lnTo>
                        <a:pt x="1185" y="966"/>
                      </a:lnTo>
                      <a:lnTo>
                        <a:pt x="1184" y="966"/>
                      </a:lnTo>
                      <a:lnTo>
                        <a:pt x="1184" y="965"/>
                      </a:lnTo>
                      <a:lnTo>
                        <a:pt x="1183" y="964"/>
                      </a:lnTo>
                      <a:lnTo>
                        <a:pt x="1183" y="963"/>
                      </a:lnTo>
                      <a:lnTo>
                        <a:pt x="1182" y="963"/>
                      </a:lnTo>
                      <a:lnTo>
                        <a:pt x="1181" y="963"/>
                      </a:lnTo>
                      <a:lnTo>
                        <a:pt x="1180" y="963"/>
                      </a:lnTo>
                      <a:lnTo>
                        <a:pt x="1179" y="962"/>
                      </a:lnTo>
                      <a:lnTo>
                        <a:pt x="1177" y="962"/>
                      </a:lnTo>
                      <a:lnTo>
                        <a:pt x="1177" y="961"/>
                      </a:lnTo>
                      <a:lnTo>
                        <a:pt x="1179" y="961"/>
                      </a:lnTo>
                      <a:lnTo>
                        <a:pt x="1179" y="960"/>
                      </a:lnTo>
                      <a:lnTo>
                        <a:pt x="1177" y="960"/>
                      </a:lnTo>
                      <a:lnTo>
                        <a:pt x="1177" y="961"/>
                      </a:lnTo>
                      <a:lnTo>
                        <a:pt x="1176" y="961"/>
                      </a:lnTo>
                      <a:lnTo>
                        <a:pt x="1174" y="961"/>
                      </a:lnTo>
                      <a:lnTo>
                        <a:pt x="1175" y="961"/>
                      </a:lnTo>
                      <a:lnTo>
                        <a:pt x="1175" y="960"/>
                      </a:lnTo>
                      <a:lnTo>
                        <a:pt x="1174" y="960"/>
                      </a:lnTo>
                      <a:lnTo>
                        <a:pt x="1174" y="961"/>
                      </a:lnTo>
                      <a:lnTo>
                        <a:pt x="1174" y="960"/>
                      </a:lnTo>
                      <a:lnTo>
                        <a:pt x="1174" y="961"/>
                      </a:lnTo>
                      <a:lnTo>
                        <a:pt x="1171" y="960"/>
                      </a:lnTo>
                      <a:lnTo>
                        <a:pt x="1170" y="960"/>
                      </a:lnTo>
                      <a:lnTo>
                        <a:pt x="1170" y="958"/>
                      </a:lnTo>
                      <a:lnTo>
                        <a:pt x="1168" y="958"/>
                      </a:lnTo>
                      <a:lnTo>
                        <a:pt x="1167" y="957"/>
                      </a:lnTo>
                      <a:lnTo>
                        <a:pt x="1163" y="957"/>
                      </a:lnTo>
                      <a:lnTo>
                        <a:pt x="1161" y="956"/>
                      </a:lnTo>
                      <a:lnTo>
                        <a:pt x="1159" y="955"/>
                      </a:lnTo>
                      <a:lnTo>
                        <a:pt x="1158" y="956"/>
                      </a:lnTo>
                      <a:lnTo>
                        <a:pt x="1159" y="956"/>
                      </a:lnTo>
                      <a:lnTo>
                        <a:pt x="1164" y="958"/>
                      </a:lnTo>
                      <a:lnTo>
                        <a:pt x="1164" y="960"/>
                      </a:lnTo>
                      <a:lnTo>
                        <a:pt x="1161" y="963"/>
                      </a:lnTo>
                      <a:lnTo>
                        <a:pt x="1159" y="965"/>
                      </a:lnTo>
                      <a:lnTo>
                        <a:pt x="1158" y="965"/>
                      </a:lnTo>
                      <a:lnTo>
                        <a:pt x="1158" y="964"/>
                      </a:lnTo>
                      <a:lnTo>
                        <a:pt x="1158" y="963"/>
                      </a:lnTo>
                      <a:lnTo>
                        <a:pt x="1157" y="963"/>
                      </a:lnTo>
                      <a:lnTo>
                        <a:pt x="1157" y="962"/>
                      </a:lnTo>
                      <a:lnTo>
                        <a:pt x="1157" y="960"/>
                      </a:lnTo>
                      <a:lnTo>
                        <a:pt x="1157" y="958"/>
                      </a:lnTo>
                      <a:lnTo>
                        <a:pt x="1156" y="958"/>
                      </a:lnTo>
                      <a:lnTo>
                        <a:pt x="1156" y="957"/>
                      </a:lnTo>
                      <a:lnTo>
                        <a:pt x="1156" y="956"/>
                      </a:lnTo>
                      <a:lnTo>
                        <a:pt x="1156" y="955"/>
                      </a:lnTo>
                      <a:lnTo>
                        <a:pt x="1156" y="954"/>
                      </a:lnTo>
                      <a:lnTo>
                        <a:pt x="1155" y="953"/>
                      </a:lnTo>
                      <a:lnTo>
                        <a:pt x="1155" y="952"/>
                      </a:lnTo>
                      <a:lnTo>
                        <a:pt x="1155" y="951"/>
                      </a:lnTo>
                      <a:lnTo>
                        <a:pt x="1155" y="950"/>
                      </a:lnTo>
                      <a:lnTo>
                        <a:pt x="1154" y="950"/>
                      </a:lnTo>
                      <a:lnTo>
                        <a:pt x="1154" y="949"/>
                      </a:lnTo>
                      <a:lnTo>
                        <a:pt x="1154" y="948"/>
                      </a:lnTo>
                      <a:lnTo>
                        <a:pt x="1153" y="949"/>
                      </a:lnTo>
                      <a:lnTo>
                        <a:pt x="1153" y="950"/>
                      </a:lnTo>
                      <a:lnTo>
                        <a:pt x="1154" y="950"/>
                      </a:lnTo>
                      <a:lnTo>
                        <a:pt x="1154" y="951"/>
                      </a:lnTo>
                      <a:lnTo>
                        <a:pt x="1154" y="952"/>
                      </a:lnTo>
                      <a:lnTo>
                        <a:pt x="1154" y="951"/>
                      </a:lnTo>
                      <a:lnTo>
                        <a:pt x="1153" y="951"/>
                      </a:lnTo>
                      <a:lnTo>
                        <a:pt x="1153" y="950"/>
                      </a:lnTo>
                      <a:lnTo>
                        <a:pt x="1151" y="950"/>
                      </a:lnTo>
                      <a:lnTo>
                        <a:pt x="1153" y="950"/>
                      </a:lnTo>
                      <a:lnTo>
                        <a:pt x="1153" y="949"/>
                      </a:lnTo>
                      <a:lnTo>
                        <a:pt x="1151" y="948"/>
                      </a:lnTo>
                      <a:lnTo>
                        <a:pt x="1151" y="947"/>
                      </a:lnTo>
                      <a:lnTo>
                        <a:pt x="1150" y="947"/>
                      </a:lnTo>
                      <a:lnTo>
                        <a:pt x="1151" y="951"/>
                      </a:lnTo>
                      <a:lnTo>
                        <a:pt x="1150" y="948"/>
                      </a:lnTo>
                      <a:lnTo>
                        <a:pt x="1149" y="948"/>
                      </a:lnTo>
                      <a:lnTo>
                        <a:pt x="1151" y="947"/>
                      </a:lnTo>
                      <a:lnTo>
                        <a:pt x="1151" y="945"/>
                      </a:lnTo>
                      <a:lnTo>
                        <a:pt x="1151" y="944"/>
                      </a:lnTo>
                      <a:lnTo>
                        <a:pt x="1150" y="944"/>
                      </a:lnTo>
                      <a:lnTo>
                        <a:pt x="1150" y="943"/>
                      </a:lnTo>
                      <a:lnTo>
                        <a:pt x="1150" y="942"/>
                      </a:lnTo>
                      <a:lnTo>
                        <a:pt x="1150" y="943"/>
                      </a:lnTo>
                      <a:lnTo>
                        <a:pt x="1150" y="942"/>
                      </a:lnTo>
                      <a:lnTo>
                        <a:pt x="1149" y="943"/>
                      </a:lnTo>
                      <a:lnTo>
                        <a:pt x="1149" y="942"/>
                      </a:lnTo>
                      <a:lnTo>
                        <a:pt x="1148" y="942"/>
                      </a:lnTo>
                      <a:lnTo>
                        <a:pt x="1148" y="941"/>
                      </a:lnTo>
                      <a:lnTo>
                        <a:pt x="1147" y="941"/>
                      </a:lnTo>
                      <a:lnTo>
                        <a:pt x="1147" y="942"/>
                      </a:lnTo>
                      <a:lnTo>
                        <a:pt x="1146" y="942"/>
                      </a:lnTo>
                      <a:lnTo>
                        <a:pt x="1146" y="941"/>
                      </a:lnTo>
                      <a:lnTo>
                        <a:pt x="1145" y="941"/>
                      </a:lnTo>
                      <a:lnTo>
                        <a:pt x="1145" y="940"/>
                      </a:lnTo>
                      <a:lnTo>
                        <a:pt x="1145" y="939"/>
                      </a:lnTo>
                      <a:lnTo>
                        <a:pt x="1144" y="939"/>
                      </a:lnTo>
                      <a:lnTo>
                        <a:pt x="1144" y="940"/>
                      </a:lnTo>
                      <a:lnTo>
                        <a:pt x="1144" y="939"/>
                      </a:lnTo>
                      <a:lnTo>
                        <a:pt x="1143" y="939"/>
                      </a:lnTo>
                      <a:lnTo>
                        <a:pt x="1142" y="939"/>
                      </a:lnTo>
                      <a:lnTo>
                        <a:pt x="1142" y="938"/>
                      </a:lnTo>
                      <a:lnTo>
                        <a:pt x="1142" y="937"/>
                      </a:lnTo>
                      <a:lnTo>
                        <a:pt x="1141" y="937"/>
                      </a:lnTo>
                      <a:lnTo>
                        <a:pt x="1140" y="937"/>
                      </a:lnTo>
                      <a:lnTo>
                        <a:pt x="1140" y="936"/>
                      </a:lnTo>
                      <a:lnTo>
                        <a:pt x="1138" y="936"/>
                      </a:lnTo>
                      <a:lnTo>
                        <a:pt x="1138" y="935"/>
                      </a:lnTo>
                      <a:lnTo>
                        <a:pt x="1140" y="935"/>
                      </a:lnTo>
                      <a:lnTo>
                        <a:pt x="1140" y="934"/>
                      </a:lnTo>
                      <a:lnTo>
                        <a:pt x="1140" y="935"/>
                      </a:lnTo>
                      <a:lnTo>
                        <a:pt x="1140" y="934"/>
                      </a:lnTo>
                      <a:lnTo>
                        <a:pt x="1138" y="934"/>
                      </a:lnTo>
                      <a:lnTo>
                        <a:pt x="1138" y="932"/>
                      </a:lnTo>
                      <a:lnTo>
                        <a:pt x="1138" y="934"/>
                      </a:lnTo>
                      <a:lnTo>
                        <a:pt x="1137" y="934"/>
                      </a:lnTo>
                      <a:lnTo>
                        <a:pt x="1137" y="932"/>
                      </a:lnTo>
                      <a:lnTo>
                        <a:pt x="1137" y="934"/>
                      </a:lnTo>
                      <a:lnTo>
                        <a:pt x="1138" y="934"/>
                      </a:lnTo>
                      <a:lnTo>
                        <a:pt x="1137" y="934"/>
                      </a:lnTo>
                      <a:lnTo>
                        <a:pt x="1137" y="935"/>
                      </a:lnTo>
                      <a:lnTo>
                        <a:pt x="1136" y="935"/>
                      </a:lnTo>
                      <a:lnTo>
                        <a:pt x="1136" y="936"/>
                      </a:lnTo>
                      <a:lnTo>
                        <a:pt x="1137" y="936"/>
                      </a:lnTo>
                      <a:lnTo>
                        <a:pt x="1137" y="935"/>
                      </a:lnTo>
                      <a:lnTo>
                        <a:pt x="1137" y="936"/>
                      </a:lnTo>
                      <a:lnTo>
                        <a:pt x="1138" y="936"/>
                      </a:lnTo>
                      <a:lnTo>
                        <a:pt x="1137" y="936"/>
                      </a:lnTo>
                      <a:lnTo>
                        <a:pt x="1138" y="936"/>
                      </a:lnTo>
                      <a:lnTo>
                        <a:pt x="1138" y="937"/>
                      </a:lnTo>
                      <a:lnTo>
                        <a:pt x="1137" y="937"/>
                      </a:lnTo>
                      <a:lnTo>
                        <a:pt x="1137" y="936"/>
                      </a:lnTo>
                      <a:lnTo>
                        <a:pt x="1138" y="936"/>
                      </a:lnTo>
                      <a:lnTo>
                        <a:pt x="1137" y="936"/>
                      </a:lnTo>
                      <a:lnTo>
                        <a:pt x="1136" y="936"/>
                      </a:lnTo>
                      <a:lnTo>
                        <a:pt x="1135" y="936"/>
                      </a:lnTo>
                      <a:lnTo>
                        <a:pt x="1134" y="936"/>
                      </a:lnTo>
                      <a:lnTo>
                        <a:pt x="1133" y="936"/>
                      </a:lnTo>
                      <a:lnTo>
                        <a:pt x="1132" y="936"/>
                      </a:lnTo>
                      <a:lnTo>
                        <a:pt x="1132" y="935"/>
                      </a:lnTo>
                      <a:lnTo>
                        <a:pt x="1132" y="934"/>
                      </a:lnTo>
                      <a:lnTo>
                        <a:pt x="1132" y="932"/>
                      </a:lnTo>
                      <a:lnTo>
                        <a:pt x="1131" y="932"/>
                      </a:lnTo>
                      <a:lnTo>
                        <a:pt x="1131" y="931"/>
                      </a:lnTo>
                      <a:lnTo>
                        <a:pt x="1130" y="931"/>
                      </a:lnTo>
                      <a:lnTo>
                        <a:pt x="1130" y="930"/>
                      </a:lnTo>
                      <a:lnTo>
                        <a:pt x="1130" y="929"/>
                      </a:lnTo>
                      <a:lnTo>
                        <a:pt x="1129" y="929"/>
                      </a:lnTo>
                      <a:lnTo>
                        <a:pt x="1128" y="929"/>
                      </a:lnTo>
                      <a:lnTo>
                        <a:pt x="1128" y="928"/>
                      </a:lnTo>
                      <a:lnTo>
                        <a:pt x="1129" y="929"/>
                      </a:lnTo>
                      <a:lnTo>
                        <a:pt x="1129" y="928"/>
                      </a:lnTo>
                      <a:lnTo>
                        <a:pt x="1130" y="929"/>
                      </a:lnTo>
                      <a:lnTo>
                        <a:pt x="1131" y="929"/>
                      </a:lnTo>
                      <a:lnTo>
                        <a:pt x="1128" y="927"/>
                      </a:lnTo>
                      <a:lnTo>
                        <a:pt x="1126" y="927"/>
                      </a:lnTo>
                      <a:lnTo>
                        <a:pt x="1128" y="927"/>
                      </a:lnTo>
                      <a:lnTo>
                        <a:pt x="1126" y="927"/>
                      </a:lnTo>
                      <a:lnTo>
                        <a:pt x="1126" y="928"/>
                      </a:lnTo>
                      <a:lnTo>
                        <a:pt x="1128" y="928"/>
                      </a:lnTo>
                      <a:lnTo>
                        <a:pt x="1126" y="928"/>
                      </a:lnTo>
                      <a:lnTo>
                        <a:pt x="1126" y="927"/>
                      </a:lnTo>
                      <a:lnTo>
                        <a:pt x="1125" y="926"/>
                      </a:lnTo>
                      <a:lnTo>
                        <a:pt x="1124" y="926"/>
                      </a:lnTo>
                      <a:lnTo>
                        <a:pt x="1124" y="927"/>
                      </a:lnTo>
                      <a:lnTo>
                        <a:pt x="1123" y="927"/>
                      </a:lnTo>
                      <a:lnTo>
                        <a:pt x="1124" y="928"/>
                      </a:lnTo>
                      <a:lnTo>
                        <a:pt x="1123" y="928"/>
                      </a:lnTo>
                      <a:lnTo>
                        <a:pt x="1123" y="927"/>
                      </a:lnTo>
                      <a:lnTo>
                        <a:pt x="1123" y="928"/>
                      </a:lnTo>
                      <a:lnTo>
                        <a:pt x="1122" y="929"/>
                      </a:lnTo>
                      <a:lnTo>
                        <a:pt x="1123" y="929"/>
                      </a:lnTo>
                      <a:lnTo>
                        <a:pt x="1123" y="930"/>
                      </a:lnTo>
                      <a:lnTo>
                        <a:pt x="1123" y="931"/>
                      </a:lnTo>
                      <a:lnTo>
                        <a:pt x="1123" y="932"/>
                      </a:lnTo>
                      <a:lnTo>
                        <a:pt x="1122" y="934"/>
                      </a:lnTo>
                      <a:lnTo>
                        <a:pt x="1122" y="935"/>
                      </a:lnTo>
                      <a:lnTo>
                        <a:pt x="1123" y="935"/>
                      </a:lnTo>
                      <a:lnTo>
                        <a:pt x="1123" y="936"/>
                      </a:lnTo>
                      <a:lnTo>
                        <a:pt x="1123" y="937"/>
                      </a:lnTo>
                      <a:lnTo>
                        <a:pt x="1124" y="937"/>
                      </a:lnTo>
                      <a:lnTo>
                        <a:pt x="1124" y="938"/>
                      </a:lnTo>
                      <a:lnTo>
                        <a:pt x="1124" y="939"/>
                      </a:lnTo>
                      <a:lnTo>
                        <a:pt x="1125" y="940"/>
                      </a:lnTo>
                      <a:lnTo>
                        <a:pt x="1123" y="940"/>
                      </a:lnTo>
                      <a:lnTo>
                        <a:pt x="1122" y="940"/>
                      </a:lnTo>
                      <a:lnTo>
                        <a:pt x="1121" y="940"/>
                      </a:lnTo>
                      <a:lnTo>
                        <a:pt x="1121" y="939"/>
                      </a:lnTo>
                      <a:lnTo>
                        <a:pt x="1121" y="938"/>
                      </a:lnTo>
                      <a:lnTo>
                        <a:pt x="1120" y="938"/>
                      </a:lnTo>
                      <a:lnTo>
                        <a:pt x="1119" y="939"/>
                      </a:lnTo>
                      <a:lnTo>
                        <a:pt x="1119" y="938"/>
                      </a:lnTo>
                      <a:lnTo>
                        <a:pt x="1118" y="938"/>
                      </a:lnTo>
                      <a:lnTo>
                        <a:pt x="1118" y="939"/>
                      </a:lnTo>
                      <a:lnTo>
                        <a:pt x="1119" y="939"/>
                      </a:lnTo>
                      <a:lnTo>
                        <a:pt x="1120" y="939"/>
                      </a:lnTo>
                      <a:lnTo>
                        <a:pt x="1120" y="940"/>
                      </a:lnTo>
                      <a:lnTo>
                        <a:pt x="1121" y="940"/>
                      </a:lnTo>
                      <a:lnTo>
                        <a:pt x="1120" y="940"/>
                      </a:lnTo>
                      <a:lnTo>
                        <a:pt x="1119" y="940"/>
                      </a:lnTo>
                      <a:lnTo>
                        <a:pt x="1118" y="941"/>
                      </a:lnTo>
                      <a:lnTo>
                        <a:pt x="1117" y="940"/>
                      </a:lnTo>
                      <a:lnTo>
                        <a:pt x="1117" y="941"/>
                      </a:lnTo>
                      <a:lnTo>
                        <a:pt x="1117" y="940"/>
                      </a:lnTo>
                      <a:lnTo>
                        <a:pt x="1118" y="940"/>
                      </a:lnTo>
                      <a:lnTo>
                        <a:pt x="1117" y="940"/>
                      </a:lnTo>
                      <a:lnTo>
                        <a:pt x="1117" y="941"/>
                      </a:lnTo>
                      <a:lnTo>
                        <a:pt x="1117" y="940"/>
                      </a:lnTo>
                      <a:lnTo>
                        <a:pt x="1116" y="940"/>
                      </a:lnTo>
                      <a:lnTo>
                        <a:pt x="1116" y="939"/>
                      </a:lnTo>
                      <a:lnTo>
                        <a:pt x="1116" y="940"/>
                      </a:lnTo>
                      <a:lnTo>
                        <a:pt x="1115" y="940"/>
                      </a:lnTo>
                      <a:lnTo>
                        <a:pt x="1116" y="940"/>
                      </a:lnTo>
                      <a:lnTo>
                        <a:pt x="1116" y="941"/>
                      </a:lnTo>
                      <a:lnTo>
                        <a:pt x="1116" y="940"/>
                      </a:lnTo>
                      <a:lnTo>
                        <a:pt x="1115" y="940"/>
                      </a:lnTo>
                      <a:lnTo>
                        <a:pt x="1113" y="941"/>
                      </a:lnTo>
                      <a:lnTo>
                        <a:pt x="1113" y="940"/>
                      </a:lnTo>
                      <a:lnTo>
                        <a:pt x="1112" y="940"/>
                      </a:lnTo>
                      <a:lnTo>
                        <a:pt x="1111" y="940"/>
                      </a:lnTo>
                      <a:lnTo>
                        <a:pt x="1111" y="939"/>
                      </a:lnTo>
                      <a:lnTo>
                        <a:pt x="1110" y="939"/>
                      </a:lnTo>
                      <a:lnTo>
                        <a:pt x="1110" y="938"/>
                      </a:lnTo>
                      <a:lnTo>
                        <a:pt x="1110" y="937"/>
                      </a:lnTo>
                      <a:lnTo>
                        <a:pt x="1109" y="937"/>
                      </a:lnTo>
                      <a:lnTo>
                        <a:pt x="1109" y="936"/>
                      </a:lnTo>
                      <a:lnTo>
                        <a:pt x="1109" y="937"/>
                      </a:lnTo>
                      <a:lnTo>
                        <a:pt x="1108" y="937"/>
                      </a:lnTo>
                      <a:lnTo>
                        <a:pt x="1108" y="938"/>
                      </a:lnTo>
                      <a:lnTo>
                        <a:pt x="1108" y="939"/>
                      </a:lnTo>
                      <a:lnTo>
                        <a:pt x="1108" y="938"/>
                      </a:lnTo>
                      <a:lnTo>
                        <a:pt x="1107" y="938"/>
                      </a:lnTo>
                      <a:lnTo>
                        <a:pt x="1106" y="938"/>
                      </a:lnTo>
                      <a:lnTo>
                        <a:pt x="1105" y="939"/>
                      </a:lnTo>
                      <a:lnTo>
                        <a:pt x="1104" y="938"/>
                      </a:lnTo>
                      <a:lnTo>
                        <a:pt x="1103" y="938"/>
                      </a:lnTo>
                      <a:lnTo>
                        <a:pt x="1103" y="939"/>
                      </a:lnTo>
                      <a:lnTo>
                        <a:pt x="1102" y="938"/>
                      </a:lnTo>
                      <a:lnTo>
                        <a:pt x="1100" y="939"/>
                      </a:lnTo>
                      <a:lnTo>
                        <a:pt x="1100" y="938"/>
                      </a:lnTo>
                      <a:lnTo>
                        <a:pt x="1099" y="938"/>
                      </a:lnTo>
                      <a:lnTo>
                        <a:pt x="1098" y="938"/>
                      </a:lnTo>
                      <a:lnTo>
                        <a:pt x="1098" y="939"/>
                      </a:lnTo>
                      <a:lnTo>
                        <a:pt x="1097" y="939"/>
                      </a:lnTo>
                      <a:lnTo>
                        <a:pt x="1096" y="939"/>
                      </a:lnTo>
                      <a:lnTo>
                        <a:pt x="1095" y="939"/>
                      </a:lnTo>
                      <a:lnTo>
                        <a:pt x="1094" y="939"/>
                      </a:lnTo>
                      <a:lnTo>
                        <a:pt x="1095" y="939"/>
                      </a:lnTo>
                      <a:lnTo>
                        <a:pt x="1094" y="939"/>
                      </a:lnTo>
                      <a:lnTo>
                        <a:pt x="1094" y="940"/>
                      </a:lnTo>
                      <a:lnTo>
                        <a:pt x="1093" y="940"/>
                      </a:lnTo>
                      <a:lnTo>
                        <a:pt x="1093" y="939"/>
                      </a:lnTo>
                      <a:lnTo>
                        <a:pt x="1093" y="940"/>
                      </a:lnTo>
                      <a:lnTo>
                        <a:pt x="1092" y="939"/>
                      </a:lnTo>
                      <a:lnTo>
                        <a:pt x="1091" y="938"/>
                      </a:lnTo>
                      <a:lnTo>
                        <a:pt x="1090" y="937"/>
                      </a:lnTo>
                      <a:lnTo>
                        <a:pt x="1090" y="938"/>
                      </a:lnTo>
                      <a:lnTo>
                        <a:pt x="1091" y="938"/>
                      </a:lnTo>
                      <a:lnTo>
                        <a:pt x="1092" y="939"/>
                      </a:lnTo>
                      <a:lnTo>
                        <a:pt x="1092" y="940"/>
                      </a:lnTo>
                      <a:lnTo>
                        <a:pt x="1090" y="940"/>
                      </a:lnTo>
                      <a:lnTo>
                        <a:pt x="1089" y="940"/>
                      </a:lnTo>
                      <a:lnTo>
                        <a:pt x="1087" y="941"/>
                      </a:lnTo>
                      <a:lnTo>
                        <a:pt x="1086" y="941"/>
                      </a:lnTo>
                      <a:lnTo>
                        <a:pt x="1084" y="942"/>
                      </a:lnTo>
                      <a:lnTo>
                        <a:pt x="1083" y="941"/>
                      </a:lnTo>
                      <a:lnTo>
                        <a:pt x="1082" y="941"/>
                      </a:lnTo>
                      <a:lnTo>
                        <a:pt x="1081" y="941"/>
                      </a:lnTo>
                      <a:lnTo>
                        <a:pt x="1080" y="941"/>
                      </a:lnTo>
                      <a:lnTo>
                        <a:pt x="1080" y="940"/>
                      </a:lnTo>
                      <a:lnTo>
                        <a:pt x="1079" y="940"/>
                      </a:lnTo>
                      <a:lnTo>
                        <a:pt x="1079" y="941"/>
                      </a:lnTo>
                      <a:lnTo>
                        <a:pt x="1078" y="940"/>
                      </a:lnTo>
                      <a:lnTo>
                        <a:pt x="1077" y="940"/>
                      </a:lnTo>
                      <a:lnTo>
                        <a:pt x="1077" y="939"/>
                      </a:lnTo>
                      <a:lnTo>
                        <a:pt x="1077" y="938"/>
                      </a:lnTo>
                      <a:lnTo>
                        <a:pt x="1078" y="938"/>
                      </a:lnTo>
                      <a:lnTo>
                        <a:pt x="1078" y="937"/>
                      </a:lnTo>
                      <a:lnTo>
                        <a:pt x="1078" y="936"/>
                      </a:lnTo>
                      <a:lnTo>
                        <a:pt x="1078" y="937"/>
                      </a:lnTo>
                      <a:lnTo>
                        <a:pt x="1078" y="938"/>
                      </a:lnTo>
                      <a:lnTo>
                        <a:pt x="1079" y="938"/>
                      </a:lnTo>
                      <a:lnTo>
                        <a:pt x="1079" y="937"/>
                      </a:lnTo>
                      <a:lnTo>
                        <a:pt x="1079" y="936"/>
                      </a:lnTo>
                      <a:lnTo>
                        <a:pt x="1079" y="935"/>
                      </a:lnTo>
                      <a:lnTo>
                        <a:pt x="1079" y="934"/>
                      </a:lnTo>
                      <a:lnTo>
                        <a:pt x="1078" y="934"/>
                      </a:lnTo>
                      <a:lnTo>
                        <a:pt x="1078" y="932"/>
                      </a:lnTo>
                      <a:lnTo>
                        <a:pt x="1078" y="931"/>
                      </a:lnTo>
                      <a:lnTo>
                        <a:pt x="1078" y="932"/>
                      </a:lnTo>
                      <a:lnTo>
                        <a:pt x="1077" y="932"/>
                      </a:lnTo>
                      <a:lnTo>
                        <a:pt x="1077" y="931"/>
                      </a:lnTo>
                      <a:lnTo>
                        <a:pt x="1076" y="930"/>
                      </a:lnTo>
                      <a:lnTo>
                        <a:pt x="1076" y="931"/>
                      </a:lnTo>
                      <a:lnTo>
                        <a:pt x="1076" y="932"/>
                      </a:lnTo>
                      <a:lnTo>
                        <a:pt x="1076" y="931"/>
                      </a:lnTo>
                      <a:lnTo>
                        <a:pt x="1074" y="931"/>
                      </a:lnTo>
                      <a:lnTo>
                        <a:pt x="1074" y="930"/>
                      </a:lnTo>
                      <a:lnTo>
                        <a:pt x="1074" y="931"/>
                      </a:lnTo>
                      <a:lnTo>
                        <a:pt x="1073" y="931"/>
                      </a:lnTo>
                      <a:lnTo>
                        <a:pt x="1073" y="930"/>
                      </a:lnTo>
                      <a:lnTo>
                        <a:pt x="1072" y="929"/>
                      </a:lnTo>
                      <a:lnTo>
                        <a:pt x="1073" y="929"/>
                      </a:lnTo>
                      <a:lnTo>
                        <a:pt x="1072" y="929"/>
                      </a:lnTo>
                      <a:lnTo>
                        <a:pt x="1072" y="928"/>
                      </a:lnTo>
                      <a:lnTo>
                        <a:pt x="1072" y="927"/>
                      </a:lnTo>
                      <a:lnTo>
                        <a:pt x="1072" y="926"/>
                      </a:lnTo>
                      <a:lnTo>
                        <a:pt x="1071" y="925"/>
                      </a:lnTo>
                      <a:lnTo>
                        <a:pt x="1072" y="925"/>
                      </a:lnTo>
                      <a:lnTo>
                        <a:pt x="1071" y="925"/>
                      </a:lnTo>
                      <a:lnTo>
                        <a:pt x="1070" y="925"/>
                      </a:lnTo>
                      <a:lnTo>
                        <a:pt x="1070" y="924"/>
                      </a:lnTo>
                      <a:lnTo>
                        <a:pt x="1069" y="924"/>
                      </a:lnTo>
                      <a:lnTo>
                        <a:pt x="1069" y="923"/>
                      </a:lnTo>
                      <a:lnTo>
                        <a:pt x="1070" y="923"/>
                      </a:lnTo>
                      <a:lnTo>
                        <a:pt x="1069" y="923"/>
                      </a:lnTo>
                      <a:lnTo>
                        <a:pt x="1070" y="923"/>
                      </a:lnTo>
                      <a:lnTo>
                        <a:pt x="1070" y="922"/>
                      </a:lnTo>
                      <a:lnTo>
                        <a:pt x="1070" y="921"/>
                      </a:lnTo>
                      <a:lnTo>
                        <a:pt x="1071" y="921"/>
                      </a:lnTo>
                      <a:lnTo>
                        <a:pt x="1071" y="919"/>
                      </a:lnTo>
                      <a:lnTo>
                        <a:pt x="1070" y="919"/>
                      </a:lnTo>
                      <a:lnTo>
                        <a:pt x="1070" y="918"/>
                      </a:lnTo>
                      <a:lnTo>
                        <a:pt x="1069" y="917"/>
                      </a:lnTo>
                      <a:lnTo>
                        <a:pt x="1068" y="917"/>
                      </a:lnTo>
                      <a:lnTo>
                        <a:pt x="1068" y="918"/>
                      </a:lnTo>
                      <a:lnTo>
                        <a:pt x="1067" y="919"/>
                      </a:lnTo>
                      <a:lnTo>
                        <a:pt x="1067" y="921"/>
                      </a:lnTo>
                      <a:lnTo>
                        <a:pt x="1067" y="922"/>
                      </a:lnTo>
                      <a:lnTo>
                        <a:pt x="1066" y="922"/>
                      </a:lnTo>
                      <a:lnTo>
                        <a:pt x="1067" y="922"/>
                      </a:lnTo>
                      <a:lnTo>
                        <a:pt x="1066" y="923"/>
                      </a:lnTo>
                      <a:lnTo>
                        <a:pt x="1066" y="924"/>
                      </a:lnTo>
                      <a:lnTo>
                        <a:pt x="1065" y="924"/>
                      </a:lnTo>
                      <a:lnTo>
                        <a:pt x="1065" y="923"/>
                      </a:lnTo>
                      <a:lnTo>
                        <a:pt x="1064" y="924"/>
                      </a:lnTo>
                      <a:lnTo>
                        <a:pt x="1064" y="926"/>
                      </a:lnTo>
                      <a:lnTo>
                        <a:pt x="1063" y="926"/>
                      </a:lnTo>
                      <a:lnTo>
                        <a:pt x="1063" y="927"/>
                      </a:lnTo>
                      <a:lnTo>
                        <a:pt x="1061" y="928"/>
                      </a:lnTo>
                      <a:lnTo>
                        <a:pt x="1061" y="929"/>
                      </a:lnTo>
                      <a:lnTo>
                        <a:pt x="1060" y="929"/>
                      </a:lnTo>
                      <a:lnTo>
                        <a:pt x="1061" y="929"/>
                      </a:lnTo>
                      <a:lnTo>
                        <a:pt x="1061" y="928"/>
                      </a:lnTo>
                      <a:lnTo>
                        <a:pt x="1060" y="928"/>
                      </a:lnTo>
                      <a:lnTo>
                        <a:pt x="1059" y="928"/>
                      </a:lnTo>
                      <a:lnTo>
                        <a:pt x="1059" y="927"/>
                      </a:lnTo>
                      <a:lnTo>
                        <a:pt x="1059" y="928"/>
                      </a:lnTo>
                      <a:lnTo>
                        <a:pt x="1059" y="927"/>
                      </a:lnTo>
                      <a:lnTo>
                        <a:pt x="1060" y="927"/>
                      </a:lnTo>
                      <a:lnTo>
                        <a:pt x="1059" y="927"/>
                      </a:lnTo>
                      <a:lnTo>
                        <a:pt x="1060" y="927"/>
                      </a:lnTo>
                      <a:lnTo>
                        <a:pt x="1060" y="926"/>
                      </a:lnTo>
                      <a:lnTo>
                        <a:pt x="1060" y="925"/>
                      </a:lnTo>
                      <a:lnTo>
                        <a:pt x="1059" y="925"/>
                      </a:lnTo>
                      <a:lnTo>
                        <a:pt x="1061" y="925"/>
                      </a:lnTo>
                      <a:lnTo>
                        <a:pt x="1063" y="925"/>
                      </a:lnTo>
                      <a:lnTo>
                        <a:pt x="1063" y="924"/>
                      </a:lnTo>
                      <a:lnTo>
                        <a:pt x="1064" y="924"/>
                      </a:lnTo>
                      <a:lnTo>
                        <a:pt x="1064" y="923"/>
                      </a:lnTo>
                      <a:lnTo>
                        <a:pt x="1063" y="923"/>
                      </a:lnTo>
                      <a:lnTo>
                        <a:pt x="1063" y="924"/>
                      </a:lnTo>
                      <a:lnTo>
                        <a:pt x="1061" y="924"/>
                      </a:lnTo>
                      <a:lnTo>
                        <a:pt x="1063" y="924"/>
                      </a:lnTo>
                      <a:lnTo>
                        <a:pt x="1063" y="925"/>
                      </a:lnTo>
                      <a:lnTo>
                        <a:pt x="1061" y="925"/>
                      </a:lnTo>
                      <a:lnTo>
                        <a:pt x="1060" y="925"/>
                      </a:lnTo>
                      <a:lnTo>
                        <a:pt x="1059" y="925"/>
                      </a:lnTo>
                      <a:lnTo>
                        <a:pt x="1059" y="924"/>
                      </a:lnTo>
                      <a:lnTo>
                        <a:pt x="1059" y="925"/>
                      </a:lnTo>
                      <a:lnTo>
                        <a:pt x="1058" y="925"/>
                      </a:lnTo>
                      <a:lnTo>
                        <a:pt x="1058" y="924"/>
                      </a:lnTo>
                      <a:lnTo>
                        <a:pt x="1058" y="925"/>
                      </a:lnTo>
                      <a:lnTo>
                        <a:pt x="1059" y="925"/>
                      </a:lnTo>
                      <a:lnTo>
                        <a:pt x="1058" y="926"/>
                      </a:lnTo>
                      <a:lnTo>
                        <a:pt x="1058" y="925"/>
                      </a:lnTo>
                      <a:lnTo>
                        <a:pt x="1058" y="926"/>
                      </a:lnTo>
                      <a:lnTo>
                        <a:pt x="1057" y="925"/>
                      </a:lnTo>
                      <a:lnTo>
                        <a:pt x="1057" y="926"/>
                      </a:lnTo>
                      <a:lnTo>
                        <a:pt x="1057" y="925"/>
                      </a:lnTo>
                      <a:lnTo>
                        <a:pt x="1056" y="926"/>
                      </a:lnTo>
                      <a:lnTo>
                        <a:pt x="1056" y="927"/>
                      </a:lnTo>
                      <a:lnTo>
                        <a:pt x="1057" y="927"/>
                      </a:lnTo>
                      <a:lnTo>
                        <a:pt x="1056" y="927"/>
                      </a:lnTo>
                      <a:lnTo>
                        <a:pt x="1055" y="928"/>
                      </a:lnTo>
                      <a:lnTo>
                        <a:pt x="1054" y="928"/>
                      </a:lnTo>
                      <a:lnTo>
                        <a:pt x="1054" y="929"/>
                      </a:lnTo>
                      <a:lnTo>
                        <a:pt x="1053" y="930"/>
                      </a:lnTo>
                      <a:lnTo>
                        <a:pt x="1052" y="930"/>
                      </a:lnTo>
                      <a:lnTo>
                        <a:pt x="1052" y="931"/>
                      </a:lnTo>
                      <a:lnTo>
                        <a:pt x="1052" y="932"/>
                      </a:lnTo>
                      <a:lnTo>
                        <a:pt x="1052" y="931"/>
                      </a:lnTo>
                      <a:lnTo>
                        <a:pt x="1051" y="931"/>
                      </a:lnTo>
                      <a:lnTo>
                        <a:pt x="1050" y="931"/>
                      </a:lnTo>
                      <a:lnTo>
                        <a:pt x="1050" y="930"/>
                      </a:lnTo>
                      <a:lnTo>
                        <a:pt x="1048" y="930"/>
                      </a:lnTo>
                      <a:lnTo>
                        <a:pt x="1047" y="929"/>
                      </a:lnTo>
                      <a:lnTo>
                        <a:pt x="1048" y="929"/>
                      </a:lnTo>
                      <a:lnTo>
                        <a:pt x="1047" y="929"/>
                      </a:lnTo>
                      <a:lnTo>
                        <a:pt x="1047" y="927"/>
                      </a:lnTo>
                      <a:lnTo>
                        <a:pt x="1048" y="927"/>
                      </a:lnTo>
                      <a:lnTo>
                        <a:pt x="1048" y="926"/>
                      </a:lnTo>
                      <a:lnTo>
                        <a:pt x="1048" y="927"/>
                      </a:lnTo>
                      <a:lnTo>
                        <a:pt x="1048" y="926"/>
                      </a:lnTo>
                      <a:lnTo>
                        <a:pt x="1047" y="926"/>
                      </a:lnTo>
                      <a:lnTo>
                        <a:pt x="1047" y="927"/>
                      </a:lnTo>
                      <a:lnTo>
                        <a:pt x="1047" y="926"/>
                      </a:lnTo>
                      <a:lnTo>
                        <a:pt x="1047" y="925"/>
                      </a:lnTo>
                      <a:lnTo>
                        <a:pt x="1047" y="924"/>
                      </a:lnTo>
                      <a:lnTo>
                        <a:pt x="1048" y="924"/>
                      </a:lnTo>
                      <a:lnTo>
                        <a:pt x="1048" y="925"/>
                      </a:lnTo>
                      <a:lnTo>
                        <a:pt x="1048" y="926"/>
                      </a:lnTo>
                      <a:lnTo>
                        <a:pt x="1050" y="927"/>
                      </a:lnTo>
                      <a:lnTo>
                        <a:pt x="1048" y="927"/>
                      </a:lnTo>
                      <a:lnTo>
                        <a:pt x="1050" y="927"/>
                      </a:lnTo>
                      <a:lnTo>
                        <a:pt x="1050" y="928"/>
                      </a:lnTo>
                      <a:lnTo>
                        <a:pt x="1051" y="928"/>
                      </a:lnTo>
                      <a:lnTo>
                        <a:pt x="1050" y="928"/>
                      </a:lnTo>
                      <a:lnTo>
                        <a:pt x="1050" y="927"/>
                      </a:lnTo>
                      <a:lnTo>
                        <a:pt x="1051" y="927"/>
                      </a:lnTo>
                      <a:lnTo>
                        <a:pt x="1051" y="928"/>
                      </a:lnTo>
                      <a:lnTo>
                        <a:pt x="1052" y="927"/>
                      </a:lnTo>
                      <a:lnTo>
                        <a:pt x="1051" y="927"/>
                      </a:lnTo>
                      <a:lnTo>
                        <a:pt x="1052" y="926"/>
                      </a:lnTo>
                      <a:lnTo>
                        <a:pt x="1053" y="927"/>
                      </a:lnTo>
                      <a:lnTo>
                        <a:pt x="1053" y="926"/>
                      </a:lnTo>
                      <a:lnTo>
                        <a:pt x="1053" y="927"/>
                      </a:lnTo>
                      <a:lnTo>
                        <a:pt x="1053" y="926"/>
                      </a:lnTo>
                      <a:lnTo>
                        <a:pt x="1052" y="926"/>
                      </a:lnTo>
                      <a:lnTo>
                        <a:pt x="1052" y="925"/>
                      </a:lnTo>
                      <a:lnTo>
                        <a:pt x="1053" y="925"/>
                      </a:lnTo>
                      <a:lnTo>
                        <a:pt x="1054" y="925"/>
                      </a:lnTo>
                      <a:lnTo>
                        <a:pt x="1053" y="925"/>
                      </a:lnTo>
                      <a:lnTo>
                        <a:pt x="1054" y="924"/>
                      </a:lnTo>
                      <a:lnTo>
                        <a:pt x="1054" y="925"/>
                      </a:lnTo>
                      <a:lnTo>
                        <a:pt x="1054" y="924"/>
                      </a:lnTo>
                      <a:lnTo>
                        <a:pt x="1055" y="924"/>
                      </a:lnTo>
                      <a:lnTo>
                        <a:pt x="1055" y="925"/>
                      </a:lnTo>
                      <a:lnTo>
                        <a:pt x="1057" y="923"/>
                      </a:lnTo>
                      <a:lnTo>
                        <a:pt x="1056" y="923"/>
                      </a:lnTo>
                      <a:lnTo>
                        <a:pt x="1056" y="922"/>
                      </a:lnTo>
                      <a:lnTo>
                        <a:pt x="1054" y="924"/>
                      </a:lnTo>
                      <a:lnTo>
                        <a:pt x="1056" y="923"/>
                      </a:lnTo>
                      <a:lnTo>
                        <a:pt x="1056" y="922"/>
                      </a:lnTo>
                      <a:lnTo>
                        <a:pt x="1055" y="922"/>
                      </a:lnTo>
                      <a:lnTo>
                        <a:pt x="1055" y="923"/>
                      </a:lnTo>
                      <a:lnTo>
                        <a:pt x="1054" y="923"/>
                      </a:lnTo>
                      <a:lnTo>
                        <a:pt x="1055" y="923"/>
                      </a:lnTo>
                      <a:lnTo>
                        <a:pt x="1055" y="922"/>
                      </a:lnTo>
                      <a:lnTo>
                        <a:pt x="1054" y="922"/>
                      </a:lnTo>
                      <a:lnTo>
                        <a:pt x="1054" y="923"/>
                      </a:lnTo>
                      <a:lnTo>
                        <a:pt x="1054" y="922"/>
                      </a:lnTo>
                      <a:lnTo>
                        <a:pt x="1053" y="922"/>
                      </a:lnTo>
                      <a:lnTo>
                        <a:pt x="1053" y="923"/>
                      </a:lnTo>
                      <a:lnTo>
                        <a:pt x="1054" y="923"/>
                      </a:lnTo>
                      <a:lnTo>
                        <a:pt x="1054" y="924"/>
                      </a:lnTo>
                      <a:lnTo>
                        <a:pt x="1053" y="924"/>
                      </a:lnTo>
                      <a:lnTo>
                        <a:pt x="1052" y="924"/>
                      </a:lnTo>
                      <a:lnTo>
                        <a:pt x="1052" y="925"/>
                      </a:lnTo>
                      <a:lnTo>
                        <a:pt x="1052" y="924"/>
                      </a:lnTo>
                      <a:lnTo>
                        <a:pt x="1053" y="923"/>
                      </a:lnTo>
                      <a:lnTo>
                        <a:pt x="1052" y="923"/>
                      </a:lnTo>
                      <a:lnTo>
                        <a:pt x="1052" y="922"/>
                      </a:lnTo>
                      <a:lnTo>
                        <a:pt x="1052" y="923"/>
                      </a:lnTo>
                      <a:lnTo>
                        <a:pt x="1052" y="924"/>
                      </a:lnTo>
                      <a:lnTo>
                        <a:pt x="1052" y="925"/>
                      </a:lnTo>
                      <a:lnTo>
                        <a:pt x="1051" y="925"/>
                      </a:lnTo>
                      <a:lnTo>
                        <a:pt x="1051" y="927"/>
                      </a:lnTo>
                      <a:lnTo>
                        <a:pt x="1050" y="927"/>
                      </a:lnTo>
                      <a:lnTo>
                        <a:pt x="1050" y="926"/>
                      </a:lnTo>
                      <a:lnTo>
                        <a:pt x="1050" y="925"/>
                      </a:lnTo>
                      <a:lnTo>
                        <a:pt x="1051" y="926"/>
                      </a:lnTo>
                      <a:lnTo>
                        <a:pt x="1051" y="927"/>
                      </a:lnTo>
                      <a:lnTo>
                        <a:pt x="1051" y="926"/>
                      </a:lnTo>
                      <a:lnTo>
                        <a:pt x="1050" y="924"/>
                      </a:lnTo>
                      <a:lnTo>
                        <a:pt x="1050" y="923"/>
                      </a:lnTo>
                      <a:lnTo>
                        <a:pt x="1050" y="922"/>
                      </a:lnTo>
                      <a:lnTo>
                        <a:pt x="1048" y="922"/>
                      </a:lnTo>
                      <a:lnTo>
                        <a:pt x="1047" y="922"/>
                      </a:lnTo>
                      <a:lnTo>
                        <a:pt x="1047" y="921"/>
                      </a:lnTo>
                      <a:lnTo>
                        <a:pt x="1046" y="921"/>
                      </a:lnTo>
                      <a:lnTo>
                        <a:pt x="1043" y="922"/>
                      </a:lnTo>
                      <a:lnTo>
                        <a:pt x="1041" y="923"/>
                      </a:lnTo>
                      <a:lnTo>
                        <a:pt x="1041" y="922"/>
                      </a:lnTo>
                      <a:lnTo>
                        <a:pt x="1040" y="922"/>
                      </a:lnTo>
                      <a:lnTo>
                        <a:pt x="1039" y="922"/>
                      </a:lnTo>
                      <a:lnTo>
                        <a:pt x="1039" y="923"/>
                      </a:lnTo>
                      <a:lnTo>
                        <a:pt x="1040" y="923"/>
                      </a:lnTo>
                      <a:lnTo>
                        <a:pt x="1040" y="922"/>
                      </a:lnTo>
                      <a:lnTo>
                        <a:pt x="1040" y="923"/>
                      </a:lnTo>
                      <a:lnTo>
                        <a:pt x="1041" y="923"/>
                      </a:lnTo>
                      <a:lnTo>
                        <a:pt x="1040" y="923"/>
                      </a:lnTo>
                      <a:lnTo>
                        <a:pt x="1040" y="924"/>
                      </a:lnTo>
                      <a:lnTo>
                        <a:pt x="1039" y="924"/>
                      </a:lnTo>
                      <a:lnTo>
                        <a:pt x="1038" y="925"/>
                      </a:lnTo>
                      <a:lnTo>
                        <a:pt x="1037" y="925"/>
                      </a:lnTo>
                      <a:lnTo>
                        <a:pt x="1037" y="924"/>
                      </a:lnTo>
                      <a:lnTo>
                        <a:pt x="1038" y="924"/>
                      </a:lnTo>
                      <a:lnTo>
                        <a:pt x="1037" y="924"/>
                      </a:lnTo>
                      <a:lnTo>
                        <a:pt x="1038" y="924"/>
                      </a:lnTo>
                      <a:lnTo>
                        <a:pt x="1037" y="924"/>
                      </a:lnTo>
                      <a:lnTo>
                        <a:pt x="1035" y="924"/>
                      </a:lnTo>
                      <a:lnTo>
                        <a:pt x="1037" y="924"/>
                      </a:lnTo>
                      <a:lnTo>
                        <a:pt x="1037" y="925"/>
                      </a:lnTo>
                      <a:lnTo>
                        <a:pt x="1035" y="924"/>
                      </a:lnTo>
                      <a:lnTo>
                        <a:pt x="1035" y="925"/>
                      </a:lnTo>
                      <a:lnTo>
                        <a:pt x="1034" y="925"/>
                      </a:lnTo>
                      <a:lnTo>
                        <a:pt x="1034" y="924"/>
                      </a:lnTo>
                      <a:lnTo>
                        <a:pt x="1034" y="923"/>
                      </a:lnTo>
                      <a:lnTo>
                        <a:pt x="1034" y="924"/>
                      </a:lnTo>
                      <a:lnTo>
                        <a:pt x="1034" y="925"/>
                      </a:lnTo>
                      <a:lnTo>
                        <a:pt x="1033" y="924"/>
                      </a:lnTo>
                      <a:lnTo>
                        <a:pt x="1033" y="925"/>
                      </a:lnTo>
                      <a:lnTo>
                        <a:pt x="1032" y="925"/>
                      </a:lnTo>
                      <a:lnTo>
                        <a:pt x="1032" y="924"/>
                      </a:lnTo>
                      <a:lnTo>
                        <a:pt x="1031" y="925"/>
                      </a:lnTo>
                      <a:lnTo>
                        <a:pt x="1030" y="925"/>
                      </a:lnTo>
                      <a:lnTo>
                        <a:pt x="1030" y="924"/>
                      </a:lnTo>
                      <a:lnTo>
                        <a:pt x="1030" y="923"/>
                      </a:lnTo>
                      <a:lnTo>
                        <a:pt x="1030" y="924"/>
                      </a:lnTo>
                      <a:lnTo>
                        <a:pt x="1029" y="924"/>
                      </a:lnTo>
                      <a:lnTo>
                        <a:pt x="1028" y="924"/>
                      </a:lnTo>
                      <a:lnTo>
                        <a:pt x="1028" y="925"/>
                      </a:lnTo>
                      <a:lnTo>
                        <a:pt x="1027" y="925"/>
                      </a:lnTo>
                      <a:lnTo>
                        <a:pt x="1027" y="924"/>
                      </a:lnTo>
                      <a:lnTo>
                        <a:pt x="1028" y="924"/>
                      </a:lnTo>
                      <a:lnTo>
                        <a:pt x="1028" y="923"/>
                      </a:lnTo>
                      <a:lnTo>
                        <a:pt x="1027" y="923"/>
                      </a:lnTo>
                      <a:lnTo>
                        <a:pt x="1027" y="925"/>
                      </a:lnTo>
                      <a:lnTo>
                        <a:pt x="1026" y="925"/>
                      </a:lnTo>
                      <a:lnTo>
                        <a:pt x="1026" y="924"/>
                      </a:lnTo>
                      <a:lnTo>
                        <a:pt x="1026" y="923"/>
                      </a:lnTo>
                      <a:lnTo>
                        <a:pt x="1025" y="922"/>
                      </a:lnTo>
                      <a:lnTo>
                        <a:pt x="1025" y="923"/>
                      </a:lnTo>
                      <a:lnTo>
                        <a:pt x="1025" y="922"/>
                      </a:lnTo>
                      <a:lnTo>
                        <a:pt x="1025" y="921"/>
                      </a:lnTo>
                      <a:lnTo>
                        <a:pt x="1026" y="921"/>
                      </a:lnTo>
                      <a:lnTo>
                        <a:pt x="1025" y="921"/>
                      </a:lnTo>
                      <a:lnTo>
                        <a:pt x="1024" y="921"/>
                      </a:lnTo>
                      <a:lnTo>
                        <a:pt x="1024" y="919"/>
                      </a:lnTo>
                      <a:lnTo>
                        <a:pt x="1024" y="918"/>
                      </a:lnTo>
                      <a:lnTo>
                        <a:pt x="1024" y="917"/>
                      </a:lnTo>
                      <a:lnTo>
                        <a:pt x="1025" y="917"/>
                      </a:lnTo>
                      <a:lnTo>
                        <a:pt x="1025" y="916"/>
                      </a:lnTo>
                      <a:lnTo>
                        <a:pt x="1026" y="915"/>
                      </a:lnTo>
                      <a:lnTo>
                        <a:pt x="1026" y="914"/>
                      </a:lnTo>
                      <a:lnTo>
                        <a:pt x="1026" y="913"/>
                      </a:lnTo>
                      <a:lnTo>
                        <a:pt x="1026" y="912"/>
                      </a:lnTo>
                      <a:lnTo>
                        <a:pt x="1025" y="911"/>
                      </a:lnTo>
                      <a:lnTo>
                        <a:pt x="1026" y="911"/>
                      </a:lnTo>
                      <a:lnTo>
                        <a:pt x="1026" y="910"/>
                      </a:lnTo>
                      <a:lnTo>
                        <a:pt x="1025" y="911"/>
                      </a:lnTo>
                      <a:lnTo>
                        <a:pt x="1024" y="912"/>
                      </a:lnTo>
                      <a:lnTo>
                        <a:pt x="1024" y="911"/>
                      </a:lnTo>
                      <a:lnTo>
                        <a:pt x="1022" y="911"/>
                      </a:lnTo>
                      <a:lnTo>
                        <a:pt x="1024" y="912"/>
                      </a:lnTo>
                      <a:lnTo>
                        <a:pt x="1022" y="912"/>
                      </a:lnTo>
                      <a:lnTo>
                        <a:pt x="1021" y="912"/>
                      </a:lnTo>
                      <a:lnTo>
                        <a:pt x="1021" y="913"/>
                      </a:lnTo>
                      <a:lnTo>
                        <a:pt x="1020" y="913"/>
                      </a:lnTo>
                      <a:lnTo>
                        <a:pt x="1020" y="914"/>
                      </a:lnTo>
                      <a:lnTo>
                        <a:pt x="1019" y="914"/>
                      </a:lnTo>
                      <a:lnTo>
                        <a:pt x="1018" y="914"/>
                      </a:lnTo>
                      <a:lnTo>
                        <a:pt x="1018" y="915"/>
                      </a:lnTo>
                      <a:lnTo>
                        <a:pt x="1018" y="916"/>
                      </a:lnTo>
                      <a:lnTo>
                        <a:pt x="1017" y="916"/>
                      </a:lnTo>
                      <a:lnTo>
                        <a:pt x="1016" y="916"/>
                      </a:lnTo>
                      <a:lnTo>
                        <a:pt x="1015" y="917"/>
                      </a:lnTo>
                      <a:lnTo>
                        <a:pt x="1014" y="917"/>
                      </a:lnTo>
                      <a:lnTo>
                        <a:pt x="1015" y="918"/>
                      </a:lnTo>
                      <a:lnTo>
                        <a:pt x="1014" y="918"/>
                      </a:lnTo>
                      <a:lnTo>
                        <a:pt x="1013" y="918"/>
                      </a:lnTo>
                      <a:lnTo>
                        <a:pt x="1012" y="918"/>
                      </a:lnTo>
                      <a:lnTo>
                        <a:pt x="1012" y="917"/>
                      </a:lnTo>
                      <a:lnTo>
                        <a:pt x="1012" y="918"/>
                      </a:lnTo>
                      <a:lnTo>
                        <a:pt x="1011" y="919"/>
                      </a:lnTo>
                      <a:lnTo>
                        <a:pt x="1011" y="921"/>
                      </a:lnTo>
                      <a:lnTo>
                        <a:pt x="1009" y="921"/>
                      </a:lnTo>
                      <a:lnTo>
                        <a:pt x="1008" y="919"/>
                      </a:lnTo>
                      <a:lnTo>
                        <a:pt x="1009" y="918"/>
                      </a:lnTo>
                      <a:lnTo>
                        <a:pt x="1011" y="918"/>
                      </a:lnTo>
                      <a:lnTo>
                        <a:pt x="1011" y="917"/>
                      </a:lnTo>
                      <a:lnTo>
                        <a:pt x="1011" y="918"/>
                      </a:lnTo>
                      <a:lnTo>
                        <a:pt x="1011" y="917"/>
                      </a:lnTo>
                      <a:lnTo>
                        <a:pt x="1009" y="917"/>
                      </a:lnTo>
                      <a:lnTo>
                        <a:pt x="1009" y="918"/>
                      </a:lnTo>
                      <a:lnTo>
                        <a:pt x="1008" y="918"/>
                      </a:lnTo>
                      <a:lnTo>
                        <a:pt x="1007" y="918"/>
                      </a:lnTo>
                      <a:lnTo>
                        <a:pt x="1007" y="917"/>
                      </a:lnTo>
                      <a:lnTo>
                        <a:pt x="1006" y="918"/>
                      </a:lnTo>
                      <a:lnTo>
                        <a:pt x="1006" y="917"/>
                      </a:lnTo>
                      <a:lnTo>
                        <a:pt x="1005" y="917"/>
                      </a:lnTo>
                      <a:lnTo>
                        <a:pt x="1005" y="916"/>
                      </a:lnTo>
                      <a:lnTo>
                        <a:pt x="1006" y="916"/>
                      </a:lnTo>
                      <a:lnTo>
                        <a:pt x="1007" y="916"/>
                      </a:lnTo>
                      <a:lnTo>
                        <a:pt x="1008" y="916"/>
                      </a:lnTo>
                      <a:lnTo>
                        <a:pt x="1007" y="915"/>
                      </a:lnTo>
                      <a:lnTo>
                        <a:pt x="1007" y="914"/>
                      </a:lnTo>
                      <a:lnTo>
                        <a:pt x="1008" y="914"/>
                      </a:lnTo>
                      <a:lnTo>
                        <a:pt x="1009" y="914"/>
                      </a:lnTo>
                      <a:lnTo>
                        <a:pt x="1011" y="913"/>
                      </a:lnTo>
                      <a:lnTo>
                        <a:pt x="1012" y="913"/>
                      </a:lnTo>
                      <a:lnTo>
                        <a:pt x="1012" y="914"/>
                      </a:lnTo>
                      <a:lnTo>
                        <a:pt x="1013" y="914"/>
                      </a:lnTo>
                      <a:lnTo>
                        <a:pt x="1014" y="913"/>
                      </a:lnTo>
                      <a:lnTo>
                        <a:pt x="1014" y="912"/>
                      </a:lnTo>
                      <a:lnTo>
                        <a:pt x="1013" y="912"/>
                      </a:lnTo>
                      <a:lnTo>
                        <a:pt x="1012" y="912"/>
                      </a:lnTo>
                      <a:lnTo>
                        <a:pt x="1011" y="912"/>
                      </a:lnTo>
                      <a:lnTo>
                        <a:pt x="1009" y="912"/>
                      </a:lnTo>
                      <a:lnTo>
                        <a:pt x="1009" y="911"/>
                      </a:lnTo>
                      <a:lnTo>
                        <a:pt x="1011" y="911"/>
                      </a:lnTo>
                      <a:lnTo>
                        <a:pt x="1012" y="911"/>
                      </a:lnTo>
                      <a:lnTo>
                        <a:pt x="1013" y="911"/>
                      </a:lnTo>
                      <a:lnTo>
                        <a:pt x="1014" y="911"/>
                      </a:lnTo>
                      <a:lnTo>
                        <a:pt x="1015" y="911"/>
                      </a:lnTo>
                      <a:lnTo>
                        <a:pt x="1016" y="910"/>
                      </a:lnTo>
                      <a:lnTo>
                        <a:pt x="1016" y="909"/>
                      </a:lnTo>
                      <a:lnTo>
                        <a:pt x="1017" y="909"/>
                      </a:lnTo>
                      <a:lnTo>
                        <a:pt x="1017" y="907"/>
                      </a:lnTo>
                      <a:lnTo>
                        <a:pt x="1016" y="907"/>
                      </a:lnTo>
                      <a:lnTo>
                        <a:pt x="1017" y="907"/>
                      </a:lnTo>
                      <a:lnTo>
                        <a:pt x="1017" y="906"/>
                      </a:lnTo>
                      <a:lnTo>
                        <a:pt x="1016" y="906"/>
                      </a:lnTo>
                      <a:lnTo>
                        <a:pt x="1016" y="907"/>
                      </a:lnTo>
                      <a:lnTo>
                        <a:pt x="1016" y="906"/>
                      </a:lnTo>
                      <a:lnTo>
                        <a:pt x="1015" y="905"/>
                      </a:lnTo>
                      <a:lnTo>
                        <a:pt x="1014" y="905"/>
                      </a:lnTo>
                      <a:lnTo>
                        <a:pt x="1014" y="906"/>
                      </a:lnTo>
                      <a:lnTo>
                        <a:pt x="1013" y="906"/>
                      </a:lnTo>
                      <a:lnTo>
                        <a:pt x="1013" y="907"/>
                      </a:lnTo>
                      <a:lnTo>
                        <a:pt x="1014" y="907"/>
                      </a:lnTo>
                      <a:lnTo>
                        <a:pt x="1014" y="909"/>
                      </a:lnTo>
                      <a:lnTo>
                        <a:pt x="1013" y="909"/>
                      </a:lnTo>
                      <a:lnTo>
                        <a:pt x="1013" y="907"/>
                      </a:lnTo>
                      <a:lnTo>
                        <a:pt x="1013" y="909"/>
                      </a:lnTo>
                      <a:lnTo>
                        <a:pt x="1012" y="909"/>
                      </a:lnTo>
                      <a:lnTo>
                        <a:pt x="1012" y="910"/>
                      </a:lnTo>
                      <a:lnTo>
                        <a:pt x="1012" y="909"/>
                      </a:lnTo>
                      <a:lnTo>
                        <a:pt x="1011" y="909"/>
                      </a:lnTo>
                      <a:lnTo>
                        <a:pt x="1011" y="907"/>
                      </a:lnTo>
                      <a:lnTo>
                        <a:pt x="1009" y="907"/>
                      </a:lnTo>
                      <a:lnTo>
                        <a:pt x="1008" y="909"/>
                      </a:lnTo>
                      <a:lnTo>
                        <a:pt x="1007" y="909"/>
                      </a:lnTo>
                      <a:lnTo>
                        <a:pt x="1006" y="909"/>
                      </a:lnTo>
                      <a:lnTo>
                        <a:pt x="1007" y="909"/>
                      </a:lnTo>
                      <a:lnTo>
                        <a:pt x="1007" y="907"/>
                      </a:lnTo>
                      <a:lnTo>
                        <a:pt x="1008" y="907"/>
                      </a:lnTo>
                      <a:lnTo>
                        <a:pt x="1007" y="906"/>
                      </a:lnTo>
                      <a:lnTo>
                        <a:pt x="1008" y="906"/>
                      </a:lnTo>
                      <a:lnTo>
                        <a:pt x="1008" y="905"/>
                      </a:lnTo>
                      <a:lnTo>
                        <a:pt x="1009" y="905"/>
                      </a:lnTo>
                      <a:lnTo>
                        <a:pt x="1011" y="905"/>
                      </a:lnTo>
                      <a:lnTo>
                        <a:pt x="1011" y="904"/>
                      </a:lnTo>
                      <a:lnTo>
                        <a:pt x="1012" y="904"/>
                      </a:lnTo>
                      <a:lnTo>
                        <a:pt x="1013" y="904"/>
                      </a:lnTo>
                      <a:lnTo>
                        <a:pt x="1013" y="903"/>
                      </a:lnTo>
                      <a:lnTo>
                        <a:pt x="1012" y="903"/>
                      </a:lnTo>
                      <a:lnTo>
                        <a:pt x="1012" y="904"/>
                      </a:lnTo>
                      <a:lnTo>
                        <a:pt x="1011" y="903"/>
                      </a:lnTo>
                      <a:lnTo>
                        <a:pt x="1011" y="904"/>
                      </a:lnTo>
                      <a:lnTo>
                        <a:pt x="1009" y="903"/>
                      </a:lnTo>
                      <a:lnTo>
                        <a:pt x="1011" y="903"/>
                      </a:lnTo>
                      <a:lnTo>
                        <a:pt x="1011" y="902"/>
                      </a:lnTo>
                      <a:lnTo>
                        <a:pt x="1011" y="901"/>
                      </a:lnTo>
                      <a:lnTo>
                        <a:pt x="1011" y="900"/>
                      </a:lnTo>
                      <a:lnTo>
                        <a:pt x="1011" y="899"/>
                      </a:lnTo>
                      <a:lnTo>
                        <a:pt x="1011" y="897"/>
                      </a:lnTo>
                      <a:lnTo>
                        <a:pt x="1012" y="897"/>
                      </a:lnTo>
                      <a:lnTo>
                        <a:pt x="1013" y="897"/>
                      </a:lnTo>
                      <a:lnTo>
                        <a:pt x="1014" y="898"/>
                      </a:lnTo>
                      <a:lnTo>
                        <a:pt x="1014" y="899"/>
                      </a:lnTo>
                      <a:lnTo>
                        <a:pt x="1013" y="899"/>
                      </a:lnTo>
                      <a:lnTo>
                        <a:pt x="1014" y="899"/>
                      </a:lnTo>
                      <a:lnTo>
                        <a:pt x="1014" y="898"/>
                      </a:lnTo>
                      <a:lnTo>
                        <a:pt x="1014" y="897"/>
                      </a:lnTo>
                      <a:lnTo>
                        <a:pt x="1015" y="897"/>
                      </a:lnTo>
                      <a:lnTo>
                        <a:pt x="1015" y="896"/>
                      </a:lnTo>
                      <a:lnTo>
                        <a:pt x="1015" y="897"/>
                      </a:lnTo>
                      <a:lnTo>
                        <a:pt x="1016" y="898"/>
                      </a:lnTo>
                      <a:lnTo>
                        <a:pt x="1017" y="899"/>
                      </a:lnTo>
                      <a:lnTo>
                        <a:pt x="1017" y="900"/>
                      </a:lnTo>
                      <a:lnTo>
                        <a:pt x="1017" y="901"/>
                      </a:lnTo>
                      <a:lnTo>
                        <a:pt x="1018" y="901"/>
                      </a:lnTo>
                      <a:lnTo>
                        <a:pt x="1019" y="901"/>
                      </a:lnTo>
                      <a:lnTo>
                        <a:pt x="1020" y="901"/>
                      </a:lnTo>
                      <a:lnTo>
                        <a:pt x="1020" y="900"/>
                      </a:lnTo>
                      <a:lnTo>
                        <a:pt x="1021" y="900"/>
                      </a:lnTo>
                      <a:lnTo>
                        <a:pt x="1022" y="900"/>
                      </a:lnTo>
                      <a:lnTo>
                        <a:pt x="1022" y="899"/>
                      </a:lnTo>
                      <a:lnTo>
                        <a:pt x="1022" y="898"/>
                      </a:lnTo>
                      <a:lnTo>
                        <a:pt x="1022" y="897"/>
                      </a:lnTo>
                      <a:lnTo>
                        <a:pt x="1024" y="897"/>
                      </a:lnTo>
                      <a:lnTo>
                        <a:pt x="1024" y="896"/>
                      </a:lnTo>
                      <a:lnTo>
                        <a:pt x="1024" y="894"/>
                      </a:lnTo>
                      <a:lnTo>
                        <a:pt x="1025" y="892"/>
                      </a:lnTo>
                      <a:lnTo>
                        <a:pt x="1024" y="892"/>
                      </a:lnTo>
                      <a:lnTo>
                        <a:pt x="1022" y="891"/>
                      </a:lnTo>
                      <a:lnTo>
                        <a:pt x="1022" y="890"/>
                      </a:lnTo>
                      <a:lnTo>
                        <a:pt x="1021" y="890"/>
                      </a:lnTo>
                      <a:lnTo>
                        <a:pt x="1020" y="889"/>
                      </a:lnTo>
                      <a:lnTo>
                        <a:pt x="1020" y="888"/>
                      </a:lnTo>
                      <a:lnTo>
                        <a:pt x="1018" y="888"/>
                      </a:lnTo>
                      <a:lnTo>
                        <a:pt x="1018" y="887"/>
                      </a:lnTo>
                      <a:lnTo>
                        <a:pt x="1017" y="886"/>
                      </a:lnTo>
                      <a:lnTo>
                        <a:pt x="1017" y="885"/>
                      </a:lnTo>
                      <a:lnTo>
                        <a:pt x="1016" y="885"/>
                      </a:lnTo>
                      <a:lnTo>
                        <a:pt x="1016" y="884"/>
                      </a:lnTo>
                      <a:lnTo>
                        <a:pt x="1015" y="884"/>
                      </a:lnTo>
                      <a:lnTo>
                        <a:pt x="1014" y="883"/>
                      </a:lnTo>
                      <a:lnTo>
                        <a:pt x="1013" y="883"/>
                      </a:lnTo>
                      <a:lnTo>
                        <a:pt x="1012" y="881"/>
                      </a:lnTo>
                      <a:lnTo>
                        <a:pt x="1011" y="880"/>
                      </a:lnTo>
                      <a:lnTo>
                        <a:pt x="1009" y="880"/>
                      </a:lnTo>
                      <a:lnTo>
                        <a:pt x="1008" y="880"/>
                      </a:lnTo>
                      <a:lnTo>
                        <a:pt x="1007" y="880"/>
                      </a:lnTo>
                      <a:lnTo>
                        <a:pt x="1005" y="880"/>
                      </a:lnTo>
                      <a:lnTo>
                        <a:pt x="1004" y="880"/>
                      </a:lnTo>
                      <a:lnTo>
                        <a:pt x="1003" y="880"/>
                      </a:lnTo>
                      <a:lnTo>
                        <a:pt x="1003" y="879"/>
                      </a:lnTo>
                      <a:lnTo>
                        <a:pt x="1001" y="880"/>
                      </a:lnTo>
                      <a:lnTo>
                        <a:pt x="1000" y="880"/>
                      </a:lnTo>
                      <a:lnTo>
                        <a:pt x="997" y="881"/>
                      </a:lnTo>
                      <a:lnTo>
                        <a:pt x="996" y="881"/>
                      </a:lnTo>
                      <a:lnTo>
                        <a:pt x="995" y="881"/>
                      </a:lnTo>
                      <a:lnTo>
                        <a:pt x="994" y="880"/>
                      </a:lnTo>
                      <a:lnTo>
                        <a:pt x="995" y="880"/>
                      </a:lnTo>
                      <a:lnTo>
                        <a:pt x="994" y="880"/>
                      </a:lnTo>
                      <a:lnTo>
                        <a:pt x="993" y="880"/>
                      </a:lnTo>
                      <a:lnTo>
                        <a:pt x="993" y="879"/>
                      </a:lnTo>
                      <a:lnTo>
                        <a:pt x="994" y="879"/>
                      </a:lnTo>
                      <a:lnTo>
                        <a:pt x="994" y="877"/>
                      </a:lnTo>
                      <a:lnTo>
                        <a:pt x="993" y="877"/>
                      </a:lnTo>
                      <a:lnTo>
                        <a:pt x="993" y="876"/>
                      </a:lnTo>
                      <a:lnTo>
                        <a:pt x="992" y="876"/>
                      </a:lnTo>
                      <a:lnTo>
                        <a:pt x="991" y="876"/>
                      </a:lnTo>
                      <a:lnTo>
                        <a:pt x="990" y="876"/>
                      </a:lnTo>
                      <a:lnTo>
                        <a:pt x="990" y="877"/>
                      </a:lnTo>
                      <a:lnTo>
                        <a:pt x="989" y="877"/>
                      </a:lnTo>
                      <a:lnTo>
                        <a:pt x="989" y="878"/>
                      </a:lnTo>
                      <a:lnTo>
                        <a:pt x="988" y="878"/>
                      </a:lnTo>
                      <a:lnTo>
                        <a:pt x="988" y="879"/>
                      </a:lnTo>
                      <a:lnTo>
                        <a:pt x="988" y="880"/>
                      </a:lnTo>
                      <a:lnTo>
                        <a:pt x="988" y="881"/>
                      </a:lnTo>
                      <a:lnTo>
                        <a:pt x="989" y="881"/>
                      </a:lnTo>
                      <a:lnTo>
                        <a:pt x="988" y="881"/>
                      </a:lnTo>
                      <a:lnTo>
                        <a:pt x="987" y="881"/>
                      </a:lnTo>
                      <a:lnTo>
                        <a:pt x="986" y="883"/>
                      </a:lnTo>
                      <a:lnTo>
                        <a:pt x="986" y="884"/>
                      </a:lnTo>
                      <a:lnTo>
                        <a:pt x="984" y="884"/>
                      </a:lnTo>
                      <a:lnTo>
                        <a:pt x="984" y="885"/>
                      </a:lnTo>
                      <a:lnTo>
                        <a:pt x="983" y="885"/>
                      </a:lnTo>
                      <a:lnTo>
                        <a:pt x="983" y="884"/>
                      </a:lnTo>
                      <a:lnTo>
                        <a:pt x="982" y="884"/>
                      </a:lnTo>
                      <a:lnTo>
                        <a:pt x="982" y="885"/>
                      </a:lnTo>
                      <a:lnTo>
                        <a:pt x="983" y="885"/>
                      </a:lnTo>
                      <a:lnTo>
                        <a:pt x="983" y="886"/>
                      </a:lnTo>
                      <a:lnTo>
                        <a:pt x="982" y="886"/>
                      </a:lnTo>
                      <a:lnTo>
                        <a:pt x="981" y="885"/>
                      </a:lnTo>
                      <a:lnTo>
                        <a:pt x="980" y="885"/>
                      </a:lnTo>
                      <a:lnTo>
                        <a:pt x="979" y="886"/>
                      </a:lnTo>
                      <a:lnTo>
                        <a:pt x="979" y="887"/>
                      </a:lnTo>
                      <a:lnTo>
                        <a:pt x="978" y="887"/>
                      </a:lnTo>
                      <a:lnTo>
                        <a:pt x="977" y="887"/>
                      </a:lnTo>
                      <a:lnTo>
                        <a:pt x="977" y="886"/>
                      </a:lnTo>
                      <a:lnTo>
                        <a:pt x="977" y="885"/>
                      </a:lnTo>
                      <a:lnTo>
                        <a:pt x="978" y="885"/>
                      </a:lnTo>
                      <a:lnTo>
                        <a:pt x="978" y="886"/>
                      </a:lnTo>
                      <a:lnTo>
                        <a:pt x="979" y="886"/>
                      </a:lnTo>
                      <a:lnTo>
                        <a:pt x="979" y="885"/>
                      </a:lnTo>
                      <a:lnTo>
                        <a:pt x="978" y="884"/>
                      </a:lnTo>
                      <a:lnTo>
                        <a:pt x="978" y="885"/>
                      </a:lnTo>
                      <a:lnTo>
                        <a:pt x="977" y="884"/>
                      </a:lnTo>
                      <a:lnTo>
                        <a:pt x="977" y="885"/>
                      </a:lnTo>
                      <a:lnTo>
                        <a:pt x="976" y="885"/>
                      </a:lnTo>
                      <a:lnTo>
                        <a:pt x="976" y="884"/>
                      </a:lnTo>
                      <a:lnTo>
                        <a:pt x="975" y="884"/>
                      </a:lnTo>
                      <a:lnTo>
                        <a:pt x="974" y="884"/>
                      </a:lnTo>
                      <a:lnTo>
                        <a:pt x="973" y="885"/>
                      </a:lnTo>
                      <a:lnTo>
                        <a:pt x="973" y="884"/>
                      </a:lnTo>
                      <a:lnTo>
                        <a:pt x="974" y="884"/>
                      </a:lnTo>
                      <a:lnTo>
                        <a:pt x="974" y="883"/>
                      </a:lnTo>
                      <a:lnTo>
                        <a:pt x="974" y="881"/>
                      </a:lnTo>
                      <a:lnTo>
                        <a:pt x="973" y="881"/>
                      </a:lnTo>
                      <a:lnTo>
                        <a:pt x="974" y="881"/>
                      </a:lnTo>
                      <a:lnTo>
                        <a:pt x="974" y="880"/>
                      </a:lnTo>
                      <a:lnTo>
                        <a:pt x="975" y="880"/>
                      </a:lnTo>
                      <a:lnTo>
                        <a:pt x="976" y="880"/>
                      </a:lnTo>
                      <a:lnTo>
                        <a:pt x="977" y="880"/>
                      </a:lnTo>
                      <a:lnTo>
                        <a:pt x="977" y="881"/>
                      </a:lnTo>
                      <a:lnTo>
                        <a:pt x="976" y="881"/>
                      </a:lnTo>
                      <a:lnTo>
                        <a:pt x="977" y="881"/>
                      </a:lnTo>
                      <a:lnTo>
                        <a:pt x="978" y="881"/>
                      </a:lnTo>
                      <a:lnTo>
                        <a:pt x="978" y="880"/>
                      </a:lnTo>
                      <a:lnTo>
                        <a:pt x="978" y="879"/>
                      </a:lnTo>
                      <a:lnTo>
                        <a:pt x="979" y="879"/>
                      </a:lnTo>
                      <a:lnTo>
                        <a:pt x="979" y="878"/>
                      </a:lnTo>
                      <a:lnTo>
                        <a:pt x="980" y="877"/>
                      </a:lnTo>
                      <a:lnTo>
                        <a:pt x="981" y="876"/>
                      </a:lnTo>
                      <a:lnTo>
                        <a:pt x="982" y="875"/>
                      </a:lnTo>
                      <a:lnTo>
                        <a:pt x="982" y="873"/>
                      </a:lnTo>
                      <a:lnTo>
                        <a:pt x="982" y="872"/>
                      </a:lnTo>
                      <a:lnTo>
                        <a:pt x="981" y="871"/>
                      </a:lnTo>
                      <a:lnTo>
                        <a:pt x="980" y="871"/>
                      </a:lnTo>
                      <a:lnTo>
                        <a:pt x="980" y="870"/>
                      </a:lnTo>
                      <a:lnTo>
                        <a:pt x="979" y="870"/>
                      </a:lnTo>
                      <a:lnTo>
                        <a:pt x="978" y="870"/>
                      </a:lnTo>
                      <a:lnTo>
                        <a:pt x="978" y="868"/>
                      </a:lnTo>
                      <a:lnTo>
                        <a:pt x="977" y="868"/>
                      </a:lnTo>
                      <a:lnTo>
                        <a:pt x="976" y="868"/>
                      </a:lnTo>
                      <a:lnTo>
                        <a:pt x="975" y="868"/>
                      </a:lnTo>
                      <a:lnTo>
                        <a:pt x="974" y="868"/>
                      </a:lnTo>
                      <a:lnTo>
                        <a:pt x="973" y="868"/>
                      </a:lnTo>
                      <a:lnTo>
                        <a:pt x="971" y="868"/>
                      </a:lnTo>
                      <a:lnTo>
                        <a:pt x="970" y="868"/>
                      </a:lnTo>
                      <a:lnTo>
                        <a:pt x="970" y="870"/>
                      </a:lnTo>
                      <a:lnTo>
                        <a:pt x="969" y="870"/>
                      </a:lnTo>
                      <a:lnTo>
                        <a:pt x="969" y="871"/>
                      </a:lnTo>
                      <a:lnTo>
                        <a:pt x="968" y="872"/>
                      </a:lnTo>
                      <a:lnTo>
                        <a:pt x="968" y="873"/>
                      </a:lnTo>
                      <a:lnTo>
                        <a:pt x="968" y="874"/>
                      </a:lnTo>
                      <a:lnTo>
                        <a:pt x="967" y="874"/>
                      </a:lnTo>
                      <a:lnTo>
                        <a:pt x="967" y="875"/>
                      </a:lnTo>
                      <a:lnTo>
                        <a:pt x="967" y="877"/>
                      </a:lnTo>
                      <a:lnTo>
                        <a:pt x="967" y="878"/>
                      </a:lnTo>
                      <a:lnTo>
                        <a:pt x="966" y="878"/>
                      </a:lnTo>
                      <a:lnTo>
                        <a:pt x="965" y="878"/>
                      </a:lnTo>
                      <a:lnTo>
                        <a:pt x="965" y="877"/>
                      </a:lnTo>
                      <a:lnTo>
                        <a:pt x="964" y="877"/>
                      </a:lnTo>
                      <a:lnTo>
                        <a:pt x="965" y="877"/>
                      </a:lnTo>
                      <a:lnTo>
                        <a:pt x="965" y="876"/>
                      </a:lnTo>
                      <a:lnTo>
                        <a:pt x="966" y="876"/>
                      </a:lnTo>
                      <a:lnTo>
                        <a:pt x="966" y="875"/>
                      </a:lnTo>
                      <a:lnTo>
                        <a:pt x="966" y="874"/>
                      </a:lnTo>
                      <a:lnTo>
                        <a:pt x="966" y="873"/>
                      </a:lnTo>
                      <a:lnTo>
                        <a:pt x="966" y="872"/>
                      </a:lnTo>
                      <a:lnTo>
                        <a:pt x="966" y="871"/>
                      </a:lnTo>
                      <a:lnTo>
                        <a:pt x="966" y="870"/>
                      </a:lnTo>
                      <a:lnTo>
                        <a:pt x="966" y="868"/>
                      </a:lnTo>
                      <a:lnTo>
                        <a:pt x="966" y="867"/>
                      </a:lnTo>
                      <a:lnTo>
                        <a:pt x="965" y="867"/>
                      </a:lnTo>
                      <a:lnTo>
                        <a:pt x="965" y="868"/>
                      </a:lnTo>
                      <a:lnTo>
                        <a:pt x="965" y="870"/>
                      </a:lnTo>
                      <a:lnTo>
                        <a:pt x="964" y="870"/>
                      </a:lnTo>
                      <a:lnTo>
                        <a:pt x="964" y="871"/>
                      </a:lnTo>
                      <a:lnTo>
                        <a:pt x="964" y="872"/>
                      </a:lnTo>
                      <a:lnTo>
                        <a:pt x="964" y="873"/>
                      </a:lnTo>
                      <a:lnTo>
                        <a:pt x="964" y="874"/>
                      </a:lnTo>
                      <a:lnTo>
                        <a:pt x="963" y="874"/>
                      </a:lnTo>
                      <a:lnTo>
                        <a:pt x="963" y="873"/>
                      </a:lnTo>
                      <a:lnTo>
                        <a:pt x="962" y="873"/>
                      </a:lnTo>
                      <a:lnTo>
                        <a:pt x="961" y="873"/>
                      </a:lnTo>
                      <a:lnTo>
                        <a:pt x="961" y="872"/>
                      </a:lnTo>
                      <a:lnTo>
                        <a:pt x="961" y="871"/>
                      </a:lnTo>
                      <a:lnTo>
                        <a:pt x="960" y="871"/>
                      </a:lnTo>
                      <a:lnTo>
                        <a:pt x="960" y="870"/>
                      </a:lnTo>
                      <a:lnTo>
                        <a:pt x="958" y="870"/>
                      </a:lnTo>
                      <a:lnTo>
                        <a:pt x="958" y="868"/>
                      </a:lnTo>
                      <a:lnTo>
                        <a:pt x="958" y="867"/>
                      </a:lnTo>
                      <a:lnTo>
                        <a:pt x="958" y="866"/>
                      </a:lnTo>
                      <a:lnTo>
                        <a:pt x="958" y="865"/>
                      </a:lnTo>
                      <a:lnTo>
                        <a:pt x="960" y="865"/>
                      </a:lnTo>
                      <a:lnTo>
                        <a:pt x="960" y="864"/>
                      </a:lnTo>
                      <a:lnTo>
                        <a:pt x="960" y="863"/>
                      </a:lnTo>
                      <a:lnTo>
                        <a:pt x="960" y="862"/>
                      </a:lnTo>
                      <a:lnTo>
                        <a:pt x="960" y="861"/>
                      </a:lnTo>
                      <a:lnTo>
                        <a:pt x="961" y="860"/>
                      </a:lnTo>
                      <a:lnTo>
                        <a:pt x="961" y="859"/>
                      </a:lnTo>
                      <a:lnTo>
                        <a:pt x="961" y="858"/>
                      </a:lnTo>
                      <a:lnTo>
                        <a:pt x="961" y="857"/>
                      </a:lnTo>
                      <a:lnTo>
                        <a:pt x="960" y="857"/>
                      </a:lnTo>
                      <a:lnTo>
                        <a:pt x="960" y="855"/>
                      </a:lnTo>
                      <a:lnTo>
                        <a:pt x="958" y="855"/>
                      </a:lnTo>
                      <a:lnTo>
                        <a:pt x="957" y="855"/>
                      </a:lnTo>
                      <a:lnTo>
                        <a:pt x="954" y="855"/>
                      </a:lnTo>
                      <a:lnTo>
                        <a:pt x="953" y="855"/>
                      </a:lnTo>
                      <a:lnTo>
                        <a:pt x="952" y="857"/>
                      </a:lnTo>
                      <a:lnTo>
                        <a:pt x="951" y="857"/>
                      </a:lnTo>
                      <a:lnTo>
                        <a:pt x="951" y="858"/>
                      </a:lnTo>
                      <a:lnTo>
                        <a:pt x="950" y="857"/>
                      </a:lnTo>
                      <a:lnTo>
                        <a:pt x="950" y="858"/>
                      </a:lnTo>
                      <a:lnTo>
                        <a:pt x="950" y="859"/>
                      </a:lnTo>
                      <a:lnTo>
                        <a:pt x="951" y="859"/>
                      </a:lnTo>
                      <a:lnTo>
                        <a:pt x="951" y="861"/>
                      </a:lnTo>
                      <a:lnTo>
                        <a:pt x="951" y="862"/>
                      </a:lnTo>
                      <a:lnTo>
                        <a:pt x="952" y="862"/>
                      </a:lnTo>
                      <a:lnTo>
                        <a:pt x="953" y="863"/>
                      </a:lnTo>
                      <a:lnTo>
                        <a:pt x="954" y="863"/>
                      </a:lnTo>
                      <a:lnTo>
                        <a:pt x="954" y="864"/>
                      </a:lnTo>
                      <a:lnTo>
                        <a:pt x="955" y="864"/>
                      </a:lnTo>
                      <a:lnTo>
                        <a:pt x="956" y="864"/>
                      </a:lnTo>
                      <a:lnTo>
                        <a:pt x="956" y="865"/>
                      </a:lnTo>
                      <a:lnTo>
                        <a:pt x="956" y="866"/>
                      </a:lnTo>
                      <a:lnTo>
                        <a:pt x="955" y="867"/>
                      </a:lnTo>
                      <a:lnTo>
                        <a:pt x="955" y="868"/>
                      </a:lnTo>
                      <a:lnTo>
                        <a:pt x="955" y="870"/>
                      </a:lnTo>
                      <a:lnTo>
                        <a:pt x="954" y="870"/>
                      </a:lnTo>
                      <a:lnTo>
                        <a:pt x="953" y="870"/>
                      </a:lnTo>
                      <a:lnTo>
                        <a:pt x="953" y="871"/>
                      </a:lnTo>
                      <a:lnTo>
                        <a:pt x="954" y="871"/>
                      </a:lnTo>
                      <a:lnTo>
                        <a:pt x="954" y="872"/>
                      </a:lnTo>
                      <a:lnTo>
                        <a:pt x="953" y="872"/>
                      </a:lnTo>
                      <a:lnTo>
                        <a:pt x="952" y="873"/>
                      </a:lnTo>
                      <a:lnTo>
                        <a:pt x="952" y="874"/>
                      </a:lnTo>
                      <a:lnTo>
                        <a:pt x="953" y="874"/>
                      </a:lnTo>
                      <a:lnTo>
                        <a:pt x="953" y="875"/>
                      </a:lnTo>
                      <a:lnTo>
                        <a:pt x="952" y="875"/>
                      </a:lnTo>
                      <a:lnTo>
                        <a:pt x="952" y="876"/>
                      </a:lnTo>
                      <a:lnTo>
                        <a:pt x="952" y="877"/>
                      </a:lnTo>
                      <a:lnTo>
                        <a:pt x="952" y="878"/>
                      </a:lnTo>
                      <a:lnTo>
                        <a:pt x="952" y="879"/>
                      </a:lnTo>
                      <a:lnTo>
                        <a:pt x="951" y="879"/>
                      </a:lnTo>
                      <a:lnTo>
                        <a:pt x="951" y="880"/>
                      </a:lnTo>
                      <a:lnTo>
                        <a:pt x="951" y="881"/>
                      </a:lnTo>
                      <a:lnTo>
                        <a:pt x="952" y="881"/>
                      </a:lnTo>
                      <a:lnTo>
                        <a:pt x="953" y="881"/>
                      </a:lnTo>
                      <a:lnTo>
                        <a:pt x="953" y="883"/>
                      </a:lnTo>
                      <a:lnTo>
                        <a:pt x="954" y="883"/>
                      </a:lnTo>
                      <a:lnTo>
                        <a:pt x="954" y="884"/>
                      </a:lnTo>
                      <a:lnTo>
                        <a:pt x="955" y="884"/>
                      </a:lnTo>
                      <a:lnTo>
                        <a:pt x="955" y="885"/>
                      </a:lnTo>
                      <a:lnTo>
                        <a:pt x="954" y="885"/>
                      </a:lnTo>
                      <a:lnTo>
                        <a:pt x="953" y="885"/>
                      </a:lnTo>
                      <a:lnTo>
                        <a:pt x="952" y="885"/>
                      </a:lnTo>
                      <a:lnTo>
                        <a:pt x="952" y="886"/>
                      </a:lnTo>
                      <a:lnTo>
                        <a:pt x="951" y="886"/>
                      </a:lnTo>
                      <a:lnTo>
                        <a:pt x="951" y="887"/>
                      </a:lnTo>
                      <a:lnTo>
                        <a:pt x="951" y="888"/>
                      </a:lnTo>
                      <a:lnTo>
                        <a:pt x="951" y="889"/>
                      </a:lnTo>
                      <a:lnTo>
                        <a:pt x="952" y="889"/>
                      </a:lnTo>
                      <a:lnTo>
                        <a:pt x="952" y="890"/>
                      </a:lnTo>
                      <a:lnTo>
                        <a:pt x="953" y="890"/>
                      </a:lnTo>
                      <a:lnTo>
                        <a:pt x="954" y="890"/>
                      </a:lnTo>
                      <a:lnTo>
                        <a:pt x="954" y="889"/>
                      </a:lnTo>
                      <a:lnTo>
                        <a:pt x="955" y="889"/>
                      </a:lnTo>
                      <a:lnTo>
                        <a:pt x="956" y="889"/>
                      </a:lnTo>
                      <a:lnTo>
                        <a:pt x="956" y="890"/>
                      </a:lnTo>
                      <a:lnTo>
                        <a:pt x="956" y="889"/>
                      </a:lnTo>
                      <a:lnTo>
                        <a:pt x="957" y="889"/>
                      </a:lnTo>
                      <a:lnTo>
                        <a:pt x="957" y="890"/>
                      </a:lnTo>
                      <a:lnTo>
                        <a:pt x="958" y="889"/>
                      </a:lnTo>
                      <a:lnTo>
                        <a:pt x="960" y="889"/>
                      </a:lnTo>
                      <a:lnTo>
                        <a:pt x="960" y="890"/>
                      </a:lnTo>
                      <a:lnTo>
                        <a:pt x="960" y="891"/>
                      </a:lnTo>
                      <a:lnTo>
                        <a:pt x="958" y="891"/>
                      </a:lnTo>
                      <a:lnTo>
                        <a:pt x="957" y="891"/>
                      </a:lnTo>
                      <a:lnTo>
                        <a:pt x="956" y="891"/>
                      </a:lnTo>
                      <a:lnTo>
                        <a:pt x="956" y="890"/>
                      </a:lnTo>
                      <a:lnTo>
                        <a:pt x="955" y="890"/>
                      </a:lnTo>
                      <a:lnTo>
                        <a:pt x="954" y="891"/>
                      </a:lnTo>
                      <a:lnTo>
                        <a:pt x="953" y="891"/>
                      </a:lnTo>
                      <a:lnTo>
                        <a:pt x="952" y="891"/>
                      </a:lnTo>
                      <a:lnTo>
                        <a:pt x="951" y="891"/>
                      </a:lnTo>
                      <a:lnTo>
                        <a:pt x="950" y="890"/>
                      </a:lnTo>
                      <a:lnTo>
                        <a:pt x="949" y="890"/>
                      </a:lnTo>
                      <a:lnTo>
                        <a:pt x="949" y="891"/>
                      </a:lnTo>
                      <a:lnTo>
                        <a:pt x="948" y="891"/>
                      </a:lnTo>
                      <a:lnTo>
                        <a:pt x="948" y="892"/>
                      </a:lnTo>
                      <a:lnTo>
                        <a:pt x="948" y="893"/>
                      </a:lnTo>
                      <a:lnTo>
                        <a:pt x="947" y="892"/>
                      </a:lnTo>
                      <a:lnTo>
                        <a:pt x="945" y="892"/>
                      </a:lnTo>
                      <a:lnTo>
                        <a:pt x="947" y="892"/>
                      </a:lnTo>
                      <a:lnTo>
                        <a:pt x="945" y="892"/>
                      </a:lnTo>
                      <a:lnTo>
                        <a:pt x="944" y="892"/>
                      </a:lnTo>
                      <a:lnTo>
                        <a:pt x="944" y="891"/>
                      </a:lnTo>
                      <a:lnTo>
                        <a:pt x="944" y="892"/>
                      </a:lnTo>
                      <a:lnTo>
                        <a:pt x="943" y="891"/>
                      </a:lnTo>
                      <a:lnTo>
                        <a:pt x="943" y="892"/>
                      </a:lnTo>
                      <a:lnTo>
                        <a:pt x="942" y="892"/>
                      </a:lnTo>
                      <a:lnTo>
                        <a:pt x="941" y="892"/>
                      </a:lnTo>
                      <a:lnTo>
                        <a:pt x="940" y="892"/>
                      </a:lnTo>
                      <a:lnTo>
                        <a:pt x="939" y="893"/>
                      </a:lnTo>
                      <a:lnTo>
                        <a:pt x="938" y="893"/>
                      </a:lnTo>
                      <a:lnTo>
                        <a:pt x="937" y="893"/>
                      </a:lnTo>
                      <a:lnTo>
                        <a:pt x="936" y="893"/>
                      </a:lnTo>
                      <a:lnTo>
                        <a:pt x="935" y="892"/>
                      </a:lnTo>
                      <a:lnTo>
                        <a:pt x="935" y="891"/>
                      </a:lnTo>
                      <a:lnTo>
                        <a:pt x="935" y="890"/>
                      </a:lnTo>
                      <a:lnTo>
                        <a:pt x="934" y="890"/>
                      </a:lnTo>
                      <a:lnTo>
                        <a:pt x="934" y="889"/>
                      </a:lnTo>
                      <a:lnTo>
                        <a:pt x="932" y="889"/>
                      </a:lnTo>
                      <a:lnTo>
                        <a:pt x="931" y="889"/>
                      </a:lnTo>
                      <a:lnTo>
                        <a:pt x="931" y="888"/>
                      </a:lnTo>
                      <a:lnTo>
                        <a:pt x="930" y="889"/>
                      </a:lnTo>
                      <a:lnTo>
                        <a:pt x="929" y="889"/>
                      </a:lnTo>
                      <a:lnTo>
                        <a:pt x="928" y="889"/>
                      </a:lnTo>
                      <a:lnTo>
                        <a:pt x="927" y="889"/>
                      </a:lnTo>
                      <a:lnTo>
                        <a:pt x="927" y="890"/>
                      </a:lnTo>
                      <a:lnTo>
                        <a:pt x="926" y="890"/>
                      </a:lnTo>
                      <a:lnTo>
                        <a:pt x="925" y="891"/>
                      </a:lnTo>
                      <a:lnTo>
                        <a:pt x="924" y="891"/>
                      </a:lnTo>
                      <a:lnTo>
                        <a:pt x="923" y="892"/>
                      </a:lnTo>
                      <a:lnTo>
                        <a:pt x="922" y="892"/>
                      </a:lnTo>
                      <a:lnTo>
                        <a:pt x="922" y="891"/>
                      </a:lnTo>
                      <a:lnTo>
                        <a:pt x="919" y="890"/>
                      </a:lnTo>
                      <a:lnTo>
                        <a:pt x="918" y="889"/>
                      </a:lnTo>
                      <a:lnTo>
                        <a:pt x="918" y="888"/>
                      </a:lnTo>
                      <a:lnTo>
                        <a:pt x="918" y="886"/>
                      </a:lnTo>
                      <a:lnTo>
                        <a:pt x="917" y="885"/>
                      </a:lnTo>
                      <a:lnTo>
                        <a:pt x="917" y="884"/>
                      </a:lnTo>
                      <a:lnTo>
                        <a:pt x="917" y="883"/>
                      </a:lnTo>
                      <a:lnTo>
                        <a:pt x="917" y="881"/>
                      </a:lnTo>
                      <a:lnTo>
                        <a:pt x="916" y="881"/>
                      </a:lnTo>
                      <a:lnTo>
                        <a:pt x="916" y="880"/>
                      </a:lnTo>
                      <a:lnTo>
                        <a:pt x="917" y="880"/>
                      </a:lnTo>
                      <a:lnTo>
                        <a:pt x="917" y="879"/>
                      </a:lnTo>
                      <a:lnTo>
                        <a:pt x="917" y="878"/>
                      </a:lnTo>
                      <a:lnTo>
                        <a:pt x="916" y="878"/>
                      </a:lnTo>
                      <a:lnTo>
                        <a:pt x="916" y="879"/>
                      </a:lnTo>
                      <a:lnTo>
                        <a:pt x="915" y="879"/>
                      </a:lnTo>
                      <a:lnTo>
                        <a:pt x="915" y="878"/>
                      </a:lnTo>
                      <a:lnTo>
                        <a:pt x="915" y="877"/>
                      </a:lnTo>
                      <a:lnTo>
                        <a:pt x="915" y="876"/>
                      </a:lnTo>
                      <a:lnTo>
                        <a:pt x="914" y="876"/>
                      </a:lnTo>
                      <a:lnTo>
                        <a:pt x="914" y="875"/>
                      </a:lnTo>
                      <a:lnTo>
                        <a:pt x="913" y="875"/>
                      </a:lnTo>
                      <a:lnTo>
                        <a:pt x="913" y="874"/>
                      </a:lnTo>
                      <a:lnTo>
                        <a:pt x="912" y="874"/>
                      </a:lnTo>
                      <a:lnTo>
                        <a:pt x="912" y="873"/>
                      </a:lnTo>
                      <a:lnTo>
                        <a:pt x="912" y="874"/>
                      </a:lnTo>
                      <a:lnTo>
                        <a:pt x="911" y="874"/>
                      </a:lnTo>
                      <a:lnTo>
                        <a:pt x="910" y="874"/>
                      </a:lnTo>
                      <a:lnTo>
                        <a:pt x="909" y="874"/>
                      </a:lnTo>
                      <a:lnTo>
                        <a:pt x="909" y="875"/>
                      </a:lnTo>
                      <a:lnTo>
                        <a:pt x="908" y="875"/>
                      </a:lnTo>
                      <a:lnTo>
                        <a:pt x="906" y="876"/>
                      </a:lnTo>
                      <a:lnTo>
                        <a:pt x="905" y="876"/>
                      </a:lnTo>
                      <a:lnTo>
                        <a:pt x="905" y="875"/>
                      </a:lnTo>
                      <a:lnTo>
                        <a:pt x="904" y="875"/>
                      </a:lnTo>
                      <a:lnTo>
                        <a:pt x="904" y="874"/>
                      </a:lnTo>
                      <a:lnTo>
                        <a:pt x="904" y="873"/>
                      </a:lnTo>
                      <a:lnTo>
                        <a:pt x="904" y="872"/>
                      </a:lnTo>
                      <a:lnTo>
                        <a:pt x="903" y="872"/>
                      </a:lnTo>
                      <a:lnTo>
                        <a:pt x="903" y="871"/>
                      </a:lnTo>
                      <a:lnTo>
                        <a:pt x="903" y="868"/>
                      </a:lnTo>
                      <a:lnTo>
                        <a:pt x="902" y="867"/>
                      </a:lnTo>
                      <a:lnTo>
                        <a:pt x="902" y="866"/>
                      </a:lnTo>
                      <a:lnTo>
                        <a:pt x="903" y="866"/>
                      </a:lnTo>
                      <a:lnTo>
                        <a:pt x="903" y="865"/>
                      </a:lnTo>
                      <a:lnTo>
                        <a:pt x="902" y="866"/>
                      </a:lnTo>
                      <a:lnTo>
                        <a:pt x="901" y="866"/>
                      </a:lnTo>
                      <a:lnTo>
                        <a:pt x="901" y="865"/>
                      </a:lnTo>
                      <a:lnTo>
                        <a:pt x="901" y="864"/>
                      </a:lnTo>
                      <a:lnTo>
                        <a:pt x="900" y="864"/>
                      </a:lnTo>
                      <a:lnTo>
                        <a:pt x="898" y="863"/>
                      </a:lnTo>
                      <a:lnTo>
                        <a:pt x="897" y="863"/>
                      </a:lnTo>
                      <a:lnTo>
                        <a:pt x="897" y="864"/>
                      </a:lnTo>
                      <a:lnTo>
                        <a:pt x="898" y="865"/>
                      </a:lnTo>
                      <a:lnTo>
                        <a:pt x="898" y="866"/>
                      </a:lnTo>
                      <a:lnTo>
                        <a:pt x="897" y="867"/>
                      </a:lnTo>
                      <a:lnTo>
                        <a:pt x="896" y="867"/>
                      </a:lnTo>
                      <a:lnTo>
                        <a:pt x="896" y="866"/>
                      </a:lnTo>
                      <a:lnTo>
                        <a:pt x="896" y="865"/>
                      </a:lnTo>
                      <a:lnTo>
                        <a:pt x="895" y="865"/>
                      </a:lnTo>
                      <a:lnTo>
                        <a:pt x="895" y="866"/>
                      </a:lnTo>
                      <a:lnTo>
                        <a:pt x="896" y="866"/>
                      </a:lnTo>
                      <a:lnTo>
                        <a:pt x="896" y="867"/>
                      </a:lnTo>
                      <a:lnTo>
                        <a:pt x="895" y="867"/>
                      </a:lnTo>
                      <a:lnTo>
                        <a:pt x="895" y="866"/>
                      </a:lnTo>
                      <a:lnTo>
                        <a:pt x="895" y="867"/>
                      </a:lnTo>
                      <a:lnTo>
                        <a:pt x="893" y="866"/>
                      </a:lnTo>
                      <a:lnTo>
                        <a:pt x="893" y="867"/>
                      </a:lnTo>
                      <a:lnTo>
                        <a:pt x="893" y="866"/>
                      </a:lnTo>
                      <a:lnTo>
                        <a:pt x="892" y="866"/>
                      </a:lnTo>
                      <a:lnTo>
                        <a:pt x="890" y="866"/>
                      </a:lnTo>
                      <a:lnTo>
                        <a:pt x="889" y="866"/>
                      </a:lnTo>
                      <a:lnTo>
                        <a:pt x="888" y="867"/>
                      </a:lnTo>
                      <a:lnTo>
                        <a:pt x="887" y="867"/>
                      </a:lnTo>
                      <a:lnTo>
                        <a:pt x="888" y="867"/>
                      </a:lnTo>
                      <a:lnTo>
                        <a:pt x="888" y="868"/>
                      </a:lnTo>
                      <a:lnTo>
                        <a:pt x="887" y="868"/>
                      </a:lnTo>
                      <a:lnTo>
                        <a:pt x="887" y="867"/>
                      </a:lnTo>
                      <a:lnTo>
                        <a:pt x="887" y="866"/>
                      </a:lnTo>
                      <a:lnTo>
                        <a:pt x="887" y="865"/>
                      </a:lnTo>
                      <a:lnTo>
                        <a:pt x="886" y="866"/>
                      </a:lnTo>
                      <a:lnTo>
                        <a:pt x="885" y="866"/>
                      </a:lnTo>
                      <a:lnTo>
                        <a:pt x="885" y="867"/>
                      </a:lnTo>
                      <a:lnTo>
                        <a:pt x="886" y="867"/>
                      </a:lnTo>
                      <a:lnTo>
                        <a:pt x="887" y="867"/>
                      </a:lnTo>
                      <a:lnTo>
                        <a:pt x="886" y="867"/>
                      </a:lnTo>
                      <a:lnTo>
                        <a:pt x="885" y="867"/>
                      </a:lnTo>
                      <a:lnTo>
                        <a:pt x="884" y="867"/>
                      </a:lnTo>
                      <a:lnTo>
                        <a:pt x="884" y="866"/>
                      </a:lnTo>
                      <a:lnTo>
                        <a:pt x="885" y="866"/>
                      </a:lnTo>
                      <a:lnTo>
                        <a:pt x="885" y="865"/>
                      </a:lnTo>
                      <a:lnTo>
                        <a:pt x="884" y="865"/>
                      </a:lnTo>
                      <a:lnTo>
                        <a:pt x="884" y="864"/>
                      </a:lnTo>
                      <a:lnTo>
                        <a:pt x="884" y="863"/>
                      </a:lnTo>
                      <a:lnTo>
                        <a:pt x="884" y="862"/>
                      </a:lnTo>
                      <a:lnTo>
                        <a:pt x="883" y="862"/>
                      </a:lnTo>
                      <a:lnTo>
                        <a:pt x="883" y="861"/>
                      </a:lnTo>
                      <a:lnTo>
                        <a:pt x="883" y="860"/>
                      </a:lnTo>
                      <a:lnTo>
                        <a:pt x="882" y="860"/>
                      </a:lnTo>
                      <a:lnTo>
                        <a:pt x="880" y="860"/>
                      </a:lnTo>
                      <a:lnTo>
                        <a:pt x="879" y="860"/>
                      </a:lnTo>
                      <a:lnTo>
                        <a:pt x="878" y="860"/>
                      </a:lnTo>
                      <a:lnTo>
                        <a:pt x="877" y="860"/>
                      </a:lnTo>
                      <a:lnTo>
                        <a:pt x="877" y="859"/>
                      </a:lnTo>
                      <a:lnTo>
                        <a:pt x="876" y="859"/>
                      </a:lnTo>
                      <a:lnTo>
                        <a:pt x="876" y="858"/>
                      </a:lnTo>
                      <a:lnTo>
                        <a:pt x="875" y="857"/>
                      </a:lnTo>
                      <a:lnTo>
                        <a:pt x="874" y="857"/>
                      </a:lnTo>
                      <a:lnTo>
                        <a:pt x="873" y="857"/>
                      </a:lnTo>
                      <a:lnTo>
                        <a:pt x="872" y="857"/>
                      </a:lnTo>
                      <a:lnTo>
                        <a:pt x="870" y="857"/>
                      </a:lnTo>
                      <a:lnTo>
                        <a:pt x="869" y="857"/>
                      </a:lnTo>
                      <a:lnTo>
                        <a:pt x="867" y="855"/>
                      </a:lnTo>
                      <a:lnTo>
                        <a:pt x="866" y="853"/>
                      </a:lnTo>
                      <a:lnTo>
                        <a:pt x="865" y="852"/>
                      </a:lnTo>
                      <a:lnTo>
                        <a:pt x="864" y="851"/>
                      </a:lnTo>
                      <a:lnTo>
                        <a:pt x="863" y="850"/>
                      </a:lnTo>
                      <a:lnTo>
                        <a:pt x="863" y="849"/>
                      </a:lnTo>
                      <a:lnTo>
                        <a:pt x="863" y="848"/>
                      </a:lnTo>
                      <a:lnTo>
                        <a:pt x="862" y="848"/>
                      </a:lnTo>
                      <a:lnTo>
                        <a:pt x="861" y="848"/>
                      </a:lnTo>
                      <a:lnTo>
                        <a:pt x="861" y="847"/>
                      </a:lnTo>
                      <a:lnTo>
                        <a:pt x="861" y="846"/>
                      </a:lnTo>
                      <a:lnTo>
                        <a:pt x="861" y="845"/>
                      </a:lnTo>
                      <a:lnTo>
                        <a:pt x="862" y="845"/>
                      </a:lnTo>
                      <a:lnTo>
                        <a:pt x="862" y="844"/>
                      </a:lnTo>
                      <a:lnTo>
                        <a:pt x="862" y="842"/>
                      </a:lnTo>
                      <a:lnTo>
                        <a:pt x="863" y="842"/>
                      </a:lnTo>
                      <a:lnTo>
                        <a:pt x="863" y="841"/>
                      </a:lnTo>
                      <a:lnTo>
                        <a:pt x="864" y="841"/>
                      </a:lnTo>
                      <a:lnTo>
                        <a:pt x="865" y="840"/>
                      </a:lnTo>
                      <a:lnTo>
                        <a:pt x="866" y="840"/>
                      </a:lnTo>
                      <a:lnTo>
                        <a:pt x="867" y="840"/>
                      </a:lnTo>
                      <a:lnTo>
                        <a:pt x="867" y="841"/>
                      </a:lnTo>
                      <a:lnTo>
                        <a:pt x="867" y="842"/>
                      </a:lnTo>
                      <a:lnTo>
                        <a:pt x="869" y="842"/>
                      </a:lnTo>
                      <a:lnTo>
                        <a:pt x="870" y="842"/>
                      </a:lnTo>
                      <a:lnTo>
                        <a:pt x="872" y="842"/>
                      </a:lnTo>
                      <a:lnTo>
                        <a:pt x="873" y="842"/>
                      </a:lnTo>
                      <a:lnTo>
                        <a:pt x="874" y="842"/>
                      </a:lnTo>
                      <a:lnTo>
                        <a:pt x="874" y="841"/>
                      </a:lnTo>
                      <a:lnTo>
                        <a:pt x="875" y="841"/>
                      </a:lnTo>
                      <a:lnTo>
                        <a:pt x="875" y="840"/>
                      </a:lnTo>
                      <a:lnTo>
                        <a:pt x="874" y="840"/>
                      </a:lnTo>
                      <a:lnTo>
                        <a:pt x="873" y="840"/>
                      </a:lnTo>
                      <a:lnTo>
                        <a:pt x="872" y="840"/>
                      </a:lnTo>
                      <a:lnTo>
                        <a:pt x="871" y="840"/>
                      </a:lnTo>
                      <a:lnTo>
                        <a:pt x="870" y="840"/>
                      </a:lnTo>
                      <a:lnTo>
                        <a:pt x="870" y="839"/>
                      </a:lnTo>
                      <a:lnTo>
                        <a:pt x="869" y="838"/>
                      </a:lnTo>
                      <a:lnTo>
                        <a:pt x="869" y="837"/>
                      </a:lnTo>
                      <a:lnTo>
                        <a:pt x="867" y="836"/>
                      </a:lnTo>
                      <a:lnTo>
                        <a:pt x="865" y="836"/>
                      </a:lnTo>
                      <a:lnTo>
                        <a:pt x="864" y="837"/>
                      </a:lnTo>
                      <a:lnTo>
                        <a:pt x="864" y="838"/>
                      </a:lnTo>
                      <a:lnTo>
                        <a:pt x="863" y="838"/>
                      </a:lnTo>
                      <a:lnTo>
                        <a:pt x="863" y="839"/>
                      </a:lnTo>
                      <a:lnTo>
                        <a:pt x="862" y="839"/>
                      </a:lnTo>
                      <a:lnTo>
                        <a:pt x="862" y="838"/>
                      </a:lnTo>
                      <a:lnTo>
                        <a:pt x="862" y="836"/>
                      </a:lnTo>
                      <a:lnTo>
                        <a:pt x="861" y="835"/>
                      </a:lnTo>
                      <a:lnTo>
                        <a:pt x="860" y="835"/>
                      </a:lnTo>
                      <a:lnTo>
                        <a:pt x="859" y="835"/>
                      </a:lnTo>
                      <a:lnTo>
                        <a:pt x="858" y="835"/>
                      </a:lnTo>
                      <a:lnTo>
                        <a:pt x="857" y="835"/>
                      </a:lnTo>
                      <a:lnTo>
                        <a:pt x="857" y="836"/>
                      </a:lnTo>
                      <a:lnTo>
                        <a:pt x="855" y="837"/>
                      </a:lnTo>
                      <a:lnTo>
                        <a:pt x="854" y="837"/>
                      </a:lnTo>
                      <a:lnTo>
                        <a:pt x="853" y="838"/>
                      </a:lnTo>
                      <a:lnTo>
                        <a:pt x="852" y="838"/>
                      </a:lnTo>
                      <a:lnTo>
                        <a:pt x="852" y="837"/>
                      </a:lnTo>
                      <a:lnTo>
                        <a:pt x="852" y="836"/>
                      </a:lnTo>
                      <a:lnTo>
                        <a:pt x="851" y="837"/>
                      </a:lnTo>
                      <a:lnTo>
                        <a:pt x="850" y="838"/>
                      </a:lnTo>
                      <a:lnTo>
                        <a:pt x="851" y="839"/>
                      </a:lnTo>
                      <a:lnTo>
                        <a:pt x="850" y="839"/>
                      </a:lnTo>
                      <a:lnTo>
                        <a:pt x="849" y="839"/>
                      </a:lnTo>
                      <a:lnTo>
                        <a:pt x="848" y="839"/>
                      </a:lnTo>
                      <a:lnTo>
                        <a:pt x="847" y="839"/>
                      </a:lnTo>
                      <a:lnTo>
                        <a:pt x="846" y="840"/>
                      </a:lnTo>
                      <a:lnTo>
                        <a:pt x="845" y="840"/>
                      </a:lnTo>
                      <a:lnTo>
                        <a:pt x="845" y="839"/>
                      </a:lnTo>
                      <a:lnTo>
                        <a:pt x="845" y="838"/>
                      </a:lnTo>
                      <a:lnTo>
                        <a:pt x="844" y="838"/>
                      </a:lnTo>
                      <a:lnTo>
                        <a:pt x="842" y="837"/>
                      </a:lnTo>
                      <a:lnTo>
                        <a:pt x="842" y="836"/>
                      </a:lnTo>
                      <a:lnTo>
                        <a:pt x="841" y="836"/>
                      </a:lnTo>
                      <a:lnTo>
                        <a:pt x="841" y="835"/>
                      </a:lnTo>
                      <a:lnTo>
                        <a:pt x="840" y="835"/>
                      </a:lnTo>
                      <a:lnTo>
                        <a:pt x="839" y="834"/>
                      </a:lnTo>
                      <a:lnTo>
                        <a:pt x="838" y="834"/>
                      </a:lnTo>
                      <a:lnTo>
                        <a:pt x="837" y="834"/>
                      </a:lnTo>
                      <a:lnTo>
                        <a:pt x="836" y="833"/>
                      </a:lnTo>
                      <a:lnTo>
                        <a:pt x="836" y="832"/>
                      </a:lnTo>
                      <a:lnTo>
                        <a:pt x="836" y="831"/>
                      </a:lnTo>
                      <a:lnTo>
                        <a:pt x="836" y="829"/>
                      </a:lnTo>
                      <a:lnTo>
                        <a:pt x="837" y="829"/>
                      </a:lnTo>
                      <a:lnTo>
                        <a:pt x="836" y="829"/>
                      </a:lnTo>
                      <a:lnTo>
                        <a:pt x="836" y="828"/>
                      </a:lnTo>
                      <a:lnTo>
                        <a:pt x="835" y="828"/>
                      </a:lnTo>
                      <a:lnTo>
                        <a:pt x="834" y="827"/>
                      </a:lnTo>
                      <a:lnTo>
                        <a:pt x="834" y="826"/>
                      </a:lnTo>
                      <a:lnTo>
                        <a:pt x="833" y="826"/>
                      </a:lnTo>
                      <a:lnTo>
                        <a:pt x="832" y="826"/>
                      </a:lnTo>
                      <a:lnTo>
                        <a:pt x="831" y="826"/>
                      </a:lnTo>
                      <a:lnTo>
                        <a:pt x="829" y="826"/>
                      </a:lnTo>
                      <a:lnTo>
                        <a:pt x="828" y="825"/>
                      </a:lnTo>
                      <a:lnTo>
                        <a:pt x="828" y="824"/>
                      </a:lnTo>
                      <a:lnTo>
                        <a:pt x="828" y="823"/>
                      </a:lnTo>
                      <a:lnTo>
                        <a:pt x="828" y="822"/>
                      </a:lnTo>
                      <a:lnTo>
                        <a:pt x="828" y="821"/>
                      </a:lnTo>
                      <a:lnTo>
                        <a:pt x="828" y="820"/>
                      </a:lnTo>
                      <a:lnTo>
                        <a:pt x="827" y="820"/>
                      </a:lnTo>
                      <a:lnTo>
                        <a:pt x="827" y="817"/>
                      </a:lnTo>
                      <a:lnTo>
                        <a:pt x="827" y="816"/>
                      </a:lnTo>
                      <a:lnTo>
                        <a:pt x="827" y="815"/>
                      </a:lnTo>
                      <a:lnTo>
                        <a:pt x="827" y="814"/>
                      </a:lnTo>
                      <a:lnTo>
                        <a:pt x="827" y="813"/>
                      </a:lnTo>
                      <a:lnTo>
                        <a:pt x="827" y="812"/>
                      </a:lnTo>
                      <a:lnTo>
                        <a:pt x="827" y="811"/>
                      </a:lnTo>
                      <a:lnTo>
                        <a:pt x="828" y="811"/>
                      </a:lnTo>
                      <a:lnTo>
                        <a:pt x="829" y="811"/>
                      </a:lnTo>
                      <a:lnTo>
                        <a:pt x="829" y="810"/>
                      </a:lnTo>
                      <a:lnTo>
                        <a:pt x="829" y="809"/>
                      </a:lnTo>
                      <a:lnTo>
                        <a:pt x="831" y="809"/>
                      </a:lnTo>
                      <a:lnTo>
                        <a:pt x="832" y="809"/>
                      </a:lnTo>
                      <a:lnTo>
                        <a:pt x="832" y="808"/>
                      </a:lnTo>
                      <a:lnTo>
                        <a:pt x="832" y="807"/>
                      </a:lnTo>
                      <a:lnTo>
                        <a:pt x="832" y="806"/>
                      </a:lnTo>
                      <a:lnTo>
                        <a:pt x="833" y="806"/>
                      </a:lnTo>
                      <a:lnTo>
                        <a:pt x="833" y="804"/>
                      </a:lnTo>
                      <a:lnTo>
                        <a:pt x="834" y="804"/>
                      </a:lnTo>
                      <a:lnTo>
                        <a:pt x="835" y="804"/>
                      </a:lnTo>
                      <a:lnTo>
                        <a:pt x="836" y="804"/>
                      </a:lnTo>
                      <a:lnTo>
                        <a:pt x="836" y="803"/>
                      </a:lnTo>
                      <a:lnTo>
                        <a:pt x="836" y="802"/>
                      </a:lnTo>
                      <a:lnTo>
                        <a:pt x="836" y="801"/>
                      </a:lnTo>
                      <a:lnTo>
                        <a:pt x="836" y="800"/>
                      </a:lnTo>
                      <a:lnTo>
                        <a:pt x="837" y="799"/>
                      </a:lnTo>
                      <a:lnTo>
                        <a:pt x="838" y="798"/>
                      </a:lnTo>
                      <a:lnTo>
                        <a:pt x="839" y="799"/>
                      </a:lnTo>
                      <a:lnTo>
                        <a:pt x="839" y="798"/>
                      </a:lnTo>
                      <a:lnTo>
                        <a:pt x="839" y="797"/>
                      </a:lnTo>
                      <a:lnTo>
                        <a:pt x="839" y="796"/>
                      </a:lnTo>
                      <a:lnTo>
                        <a:pt x="840" y="795"/>
                      </a:lnTo>
                      <a:lnTo>
                        <a:pt x="840" y="794"/>
                      </a:lnTo>
                      <a:lnTo>
                        <a:pt x="841" y="791"/>
                      </a:lnTo>
                      <a:lnTo>
                        <a:pt x="840" y="791"/>
                      </a:lnTo>
                      <a:lnTo>
                        <a:pt x="841" y="790"/>
                      </a:lnTo>
                      <a:lnTo>
                        <a:pt x="841" y="789"/>
                      </a:lnTo>
                      <a:lnTo>
                        <a:pt x="841" y="788"/>
                      </a:lnTo>
                      <a:lnTo>
                        <a:pt x="842" y="786"/>
                      </a:lnTo>
                      <a:lnTo>
                        <a:pt x="841" y="786"/>
                      </a:lnTo>
                      <a:lnTo>
                        <a:pt x="841" y="785"/>
                      </a:lnTo>
                      <a:lnTo>
                        <a:pt x="841" y="784"/>
                      </a:lnTo>
                      <a:lnTo>
                        <a:pt x="841" y="781"/>
                      </a:lnTo>
                      <a:lnTo>
                        <a:pt x="840" y="780"/>
                      </a:lnTo>
                      <a:lnTo>
                        <a:pt x="840" y="778"/>
                      </a:lnTo>
                      <a:lnTo>
                        <a:pt x="839" y="778"/>
                      </a:lnTo>
                      <a:lnTo>
                        <a:pt x="839" y="777"/>
                      </a:lnTo>
                      <a:lnTo>
                        <a:pt x="840" y="776"/>
                      </a:lnTo>
                      <a:lnTo>
                        <a:pt x="841" y="775"/>
                      </a:lnTo>
                      <a:lnTo>
                        <a:pt x="841" y="774"/>
                      </a:lnTo>
                      <a:lnTo>
                        <a:pt x="842" y="773"/>
                      </a:lnTo>
                      <a:lnTo>
                        <a:pt x="842" y="772"/>
                      </a:lnTo>
                      <a:lnTo>
                        <a:pt x="841" y="771"/>
                      </a:lnTo>
                      <a:lnTo>
                        <a:pt x="841" y="770"/>
                      </a:lnTo>
                      <a:lnTo>
                        <a:pt x="841" y="769"/>
                      </a:lnTo>
                      <a:lnTo>
                        <a:pt x="841" y="768"/>
                      </a:lnTo>
                      <a:lnTo>
                        <a:pt x="842" y="767"/>
                      </a:lnTo>
                      <a:lnTo>
                        <a:pt x="841" y="764"/>
                      </a:lnTo>
                      <a:lnTo>
                        <a:pt x="841" y="763"/>
                      </a:lnTo>
                      <a:lnTo>
                        <a:pt x="841" y="761"/>
                      </a:lnTo>
                      <a:lnTo>
                        <a:pt x="841" y="760"/>
                      </a:lnTo>
                      <a:lnTo>
                        <a:pt x="841" y="759"/>
                      </a:lnTo>
                      <a:lnTo>
                        <a:pt x="840" y="759"/>
                      </a:lnTo>
                      <a:lnTo>
                        <a:pt x="839" y="757"/>
                      </a:lnTo>
                      <a:lnTo>
                        <a:pt x="839" y="756"/>
                      </a:lnTo>
                      <a:lnTo>
                        <a:pt x="838" y="755"/>
                      </a:lnTo>
                      <a:lnTo>
                        <a:pt x="838" y="754"/>
                      </a:lnTo>
                      <a:lnTo>
                        <a:pt x="838" y="752"/>
                      </a:lnTo>
                      <a:lnTo>
                        <a:pt x="838" y="751"/>
                      </a:lnTo>
                      <a:lnTo>
                        <a:pt x="837" y="750"/>
                      </a:lnTo>
                      <a:lnTo>
                        <a:pt x="837" y="749"/>
                      </a:lnTo>
                      <a:lnTo>
                        <a:pt x="836" y="749"/>
                      </a:lnTo>
                      <a:lnTo>
                        <a:pt x="835" y="748"/>
                      </a:lnTo>
                      <a:lnTo>
                        <a:pt x="835" y="747"/>
                      </a:lnTo>
                      <a:lnTo>
                        <a:pt x="836" y="746"/>
                      </a:lnTo>
                      <a:lnTo>
                        <a:pt x="837" y="746"/>
                      </a:lnTo>
                      <a:lnTo>
                        <a:pt x="839" y="746"/>
                      </a:lnTo>
                      <a:lnTo>
                        <a:pt x="839" y="747"/>
                      </a:lnTo>
                      <a:lnTo>
                        <a:pt x="840" y="746"/>
                      </a:lnTo>
                      <a:lnTo>
                        <a:pt x="841" y="745"/>
                      </a:lnTo>
                      <a:lnTo>
                        <a:pt x="840" y="745"/>
                      </a:lnTo>
                      <a:lnTo>
                        <a:pt x="839" y="745"/>
                      </a:lnTo>
                      <a:lnTo>
                        <a:pt x="839" y="744"/>
                      </a:lnTo>
                      <a:lnTo>
                        <a:pt x="838" y="744"/>
                      </a:lnTo>
                      <a:lnTo>
                        <a:pt x="838" y="743"/>
                      </a:lnTo>
                      <a:lnTo>
                        <a:pt x="837" y="743"/>
                      </a:lnTo>
                      <a:lnTo>
                        <a:pt x="836" y="743"/>
                      </a:lnTo>
                      <a:lnTo>
                        <a:pt x="835" y="742"/>
                      </a:lnTo>
                      <a:lnTo>
                        <a:pt x="834" y="742"/>
                      </a:lnTo>
                      <a:lnTo>
                        <a:pt x="833" y="742"/>
                      </a:lnTo>
                      <a:lnTo>
                        <a:pt x="832" y="742"/>
                      </a:lnTo>
                      <a:lnTo>
                        <a:pt x="831" y="742"/>
                      </a:lnTo>
                      <a:lnTo>
                        <a:pt x="831" y="743"/>
                      </a:lnTo>
                      <a:lnTo>
                        <a:pt x="829" y="743"/>
                      </a:lnTo>
                      <a:lnTo>
                        <a:pt x="829" y="744"/>
                      </a:lnTo>
                      <a:lnTo>
                        <a:pt x="829" y="745"/>
                      </a:lnTo>
                      <a:lnTo>
                        <a:pt x="828" y="746"/>
                      </a:lnTo>
                      <a:lnTo>
                        <a:pt x="827" y="746"/>
                      </a:lnTo>
                      <a:lnTo>
                        <a:pt x="827" y="747"/>
                      </a:lnTo>
                      <a:lnTo>
                        <a:pt x="826" y="746"/>
                      </a:lnTo>
                      <a:lnTo>
                        <a:pt x="826" y="745"/>
                      </a:lnTo>
                      <a:lnTo>
                        <a:pt x="826" y="744"/>
                      </a:lnTo>
                      <a:lnTo>
                        <a:pt x="826" y="743"/>
                      </a:lnTo>
                      <a:lnTo>
                        <a:pt x="825" y="743"/>
                      </a:lnTo>
                      <a:lnTo>
                        <a:pt x="825" y="742"/>
                      </a:lnTo>
                      <a:lnTo>
                        <a:pt x="826" y="742"/>
                      </a:lnTo>
                      <a:lnTo>
                        <a:pt x="827" y="742"/>
                      </a:lnTo>
                      <a:lnTo>
                        <a:pt x="827" y="741"/>
                      </a:lnTo>
                      <a:lnTo>
                        <a:pt x="828" y="741"/>
                      </a:lnTo>
                      <a:lnTo>
                        <a:pt x="829" y="741"/>
                      </a:lnTo>
                      <a:lnTo>
                        <a:pt x="831" y="739"/>
                      </a:lnTo>
                      <a:lnTo>
                        <a:pt x="829" y="739"/>
                      </a:lnTo>
                      <a:lnTo>
                        <a:pt x="829" y="738"/>
                      </a:lnTo>
                      <a:lnTo>
                        <a:pt x="829" y="737"/>
                      </a:lnTo>
                      <a:lnTo>
                        <a:pt x="831" y="737"/>
                      </a:lnTo>
                      <a:lnTo>
                        <a:pt x="832" y="737"/>
                      </a:lnTo>
                      <a:lnTo>
                        <a:pt x="832" y="736"/>
                      </a:lnTo>
                      <a:lnTo>
                        <a:pt x="831" y="736"/>
                      </a:lnTo>
                      <a:lnTo>
                        <a:pt x="829" y="736"/>
                      </a:lnTo>
                      <a:lnTo>
                        <a:pt x="828" y="736"/>
                      </a:lnTo>
                      <a:lnTo>
                        <a:pt x="827" y="736"/>
                      </a:lnTo>
                      <a:lnTo>
                        <a:pt x="827" y="737"/>
                      </a:lnTo>
                      <a:lnTo>
                        <a:pt x="826" y="736"/>
                      </a:lnTo>
                      <a:lnTo>
                        <a:pt x="826" y="737"/>
                      </a:lnTo>
                      <a:lnTo>
                        <a:pt x="825" y="737"/>
                      </a:lnTo>
                      <a:lnTo>
                        <a:pt x="824" y="737"/>
                      </a:lnTo>
                      <a:lnTo>
                        <a:pt x="823" y="737"/>
                      </a:lnTo>
                      <a:lnTo>
                        <a:pt x="823" y="738"/>
                      </a:lnTo>
                      <a:lnTo>
                        <a:pt x="822" y="738"/>
                      </a:lnTo>
                      <a:lnTo>
                        <a:pt x="822" y="739"/>
                      </a:lnTo>
                      <a:lnTo>
                        <a:pt x="821" y="741"/>
                      </a:lnTo>
                      <a:lnTo>
                        <a:pt x="821" y="742"/>
                      </a:lnTo>
                      <a:lnTo>
                        <a:pt x="820" y="742"/>
                      </a:lnTo>
                      <a:lnTo>
                        <a:pt x="821" y="742"/>
                      </a:lnTo>
                      <a:lnTo>
                        <a:pt x="821" y="741"/>
                      </a:lnTo>
                      <a:lnTo>
                        <a:pt x="821" y="739"/>
                      </a:lnTo>
                      <a:lnTo>
                        <a:pt x="821" y="738"/>
                      </a:lnTo>
                      <a:lnTo>
                        <a:pt x="821" y="737"/>
                      </a:lnTo>
                      <a:lnTo>
                        <a:pt x="821" y="736"/>
                      </a:lnTo>
                      <a:lnTo>
                        <a:pt x="821" y="735"/>
                      </a:lnTo>
                      <a:lnTo>
                        <a:pt x="821" y="734"/>
                      </a:lnTo>
                      <a:lnTo>
                        <a:pt x="821" y="733"/>
                      </a:lnTo>
                      <a:lnTo>
                        <a:pt x="820" y="733"/>
                      </a:lnTo>
                      <a:lnTo>
                        <a:pt x="819" y="733"/>
                      </a:lnTo>
                      <a:lnTo>
                        <a:pt x="818" y="733"/>
                      </a:lnTo>
                      <a:lnTo>
                        <a:pt x="816" y="732"/>
                      </a:lnTo>
                      <a:lnTo>
                        <a:pt x="815" y="732"/>
                      </a:lnTo>
                      <a:lnTo>
                        <a:pt x="814" y="732"/>
                      </a:lnTo>
                      <a:lnTo>
                        <a:pt x="814" y="731"/>
                      </a:lnTo>
                      <a:lnTo>
                        <a:pt x="813" y="732"/>
                      </a:lnTo>
                      <a:lnTo>
                        <a:pt x="812" y="732"/>
                      </a:lnTo>
                      <a:lnTo>
                        <a:pt x="809" y="732"/>
                      </a:lnTo>
                      <a:lnTo>
                        <a:pt x="809" y="731"/>
                      </a:lnTo>
                      <a:lnTo>
                        <a:pt x="808" y="731"/>
                      </a:lnTo>
                      <a:lnTo>
                        <a:pt x="807" y="731"/>
                      </a:lnTo>
                      <a:lnTo>
                        <a:pt x="806" y="731"/>
                      </a:lnTo>
                      <a:lnTo>
                        <a:pt x="805" y="731"/>
                      </a:lnTo>
                      <a:lnTo>
                        <a:pt x="803" y="732"/>
                      </a:lnTo>
                      <a:lnTo>
                        <a:pt x="802" y="733"/>
                      </a:lnTo>
                      <a:lnTo>
                        <a:pt x="801" y="733"/>
                      </a:lnTo>
                      <a:lnTo>
                        <a:pt x="801" y="734"/>
                      </a:lnTo>
                      <a:lnTo>
                        <a:pt x="801" y="735"/>
                      </a:lnTo>
                      <a:lnTo>
                        <a:pt x="802" y="735"/>
                      </a:lnTo>
                      <a:lnTo>
                        <a:pt x="803" y="735"/>
                      </a:lnTo>
                      <a:lnTo>
                        <a:pt x="803" y="737"/>
                      </a:lnTo>
                      <a:lnTo>
                        <a:pt x="805" y="737"/>
                      </a:lnTo>
                      <a:lnTo>
                        <a:pt x="805" y="738"/>
                      </a:lnTo>
                      <a:lnTo>
                        <a:pt x="806" y="738"/>
                      </a:lnTo>
                      <a:lnTo>
                        <a:pt x="806" y="739"/>
                      </a:lnTo>
                      <a:lnTo>
                        <a:pt x="806" y="741"/>
                      </a:lnTo>
                      <a:lnTo>
                        <a:pt x="806" y="742"/>
                      </a:lnTo>
                      <a:lnTo>
                        <a:pt x="806" y="743"/>
                      </a:lnTo>
                      <a:lnTo>
                        <a:pt x="806" y="745"/>
                      </a:lnTo>
                      <a:lnTo>
                        <a:pt x="807" y="745"/>
                      </a:lnTo>
                      <a:lnTo>
                        <a:pt x="807" y="747"/>
                      </a:lnTo>
                      <a:lnTo>
                        <a:pt x="806" y="748"/>
                      </a:lnTo>
                      <a:lnTo>
                        <a:pt x="807" y="749"/>
                      </a:lnTo>
                      <a:lnTo>
                        <a:pt x="806" y="749"/>
                      </a:lnTo>
                      <a:lnTo>
                        <a:pt x="806" y="750"/>
                      </a:lnTo>
                      <a:lnTo>
                        <a:pt x="805" y="750"/>
                      </a:lnTo>
                      <a:lnTo>
                        <a:pt x="803" y="751"/>
                      </a:lnTo>
                      <a:lnTo>
                        <a:pt x="803" y="752"/>
                      </a:lnTo>
                      <a:lnTo>
                        <a:pt x="803" y="754"/>
                      </a:lnTo>
                      <a:lnTo>
                        <a:pt x="802" y="755"/>
                      </a:lnTo>
                      <a:lnTo>
                        <a:pt x="802" y="754"/>
                      </a:lnTo>
                      <a:lnTo>
                        <a:pt x="802" y="752"/>
                      </a:lnTo>
                      <a:lnTo>
                        <a:pt x="801" y="752"/>
                      </a:lnTo>
                      <a:lnTo>
                        <a:pt x="800" y="752"/>
                      </a:lnTo>
                      <a:lnTo>
                        <a:pt x="800" y="756"/>
                      </a:lnTo>
                      <a:lnTo>
                        <a:pt x="800" y="757"/>
                      </a:lnTo>
                      <a:lnTo>
                        <a:pt x="801" y="757"/>
                      </a:lnTo>
                      <a:lnTo>
                        <a:pt x="801" y="758"/>
                      </a:lnTo>
                      <a:lnTo>
                        <a:pt x="800" y="758"/>
                      </a:lnTo>
                      <a:lnTo>
                        <a:pt x="800" y="759"/>
                      </a:lnTo>
                      <a:lnTo>
                        <a:pt x="799" y="759"/>
                      </a:lnTo>
                      <a:lnTo>
                        <a:pt x="799" y="760"/>
                      </a:lnTo>
                      <a:lnTo>
                        <a:pt x="799" y="761"/>
                      </a:lnTo>
                      <a:lnTo>
                        <a:pt x="799" y="762"/>
                      </a:lnTo>
                      <a:lnTo>
                        <a:pt x="799" y="763"/>
                      </a:lnTo>
                      <a:lnTo>
                        <a:pt x="799" y="764"/>
                      </a:lnTo>
                      <a:lnTo>
                        <a:pt x="800" y="765"/>
                      </a:lnTo>
                      <a:lnTo>
                        <a:pt x="800" y="767"/>
                      </a:lnTo>
                      <a:lnTo>
                        <a:pt x="801" y="768"/>
                      </a:lnTo>
                      <a:lnTo>
                        <a:pt x="802" y="768"/>
                      </a:lnTo>
                      <a:lnTo>
                        <a:pt x="803" y="768"/>
                      </a:lnTo>
                      <a:lnTo>
                        <a:pt x="803" y="769"/>
                      </a:lnTo>
                      <a:lnTo>
                        <a:pt x="802" y="769"/>
                      </a:lnTo>
                      <a:lnTo>
                        <a:pt x="801" y="770"/>
                      </a:lnTo>
                      <a:lnTo>
                        <a:pt x="801" y="771"/>
                      </a:lnTo>
                      <a:lnTo>
                        <a:pt x="800" y="772"/>
                      </a:lnTo>
                      <a:lnTo>
                        <a:pt x="800" y="774"/>
                      </a:lnTo>
                      <a:lnTo>
                        <a:pt x="800" y="775"/>
                      </a:lnTo>
                      <a:lnTo>
                        <a:pt x="799" y="776"/>
                      </a:lnTo>
                      <a:lnTo>
                        <a:pt x="799" y="777"/>
                      </a:lnTo>
                      <a:lnTo>
                        <a:pt x="800" y="778"/>
                      </a:lnTo>
                      <a:lnTo>
                        <a:pt x="800" y="781"/>
                      </a:lnTo>
                      <a:lnTo>
                        <a:pt x="801" y="781"/>
                      </a:lnTo>
                      <a:lnTo>
                        <a:pt x="800" y="782"/>
                      </a:lnTo>
                      <a:lnTo>
                        <a:pt x="800" y="783"/>
                      </a:lnTo>
                      <a:lnTo>
                        <a:pt x="801" y="784"/>
                      </a:lnTo>
                      <a:lnTo>
                        <a:pt x="802" y="786"/>
                      </a:lnTo>
                      <a:lnTo>
                        <a:pt x="803" y="786"/>
                      </a:lnTo>
                      <a:lnTo>
                        <a:pt x="805" y="788"/>
                      </a:lnTo>
                      <a:lnTo>
                        <a:pt x="806" y="789"/>
                      </a:lnTo>
                      <a:lnTo>
                        <a:pt x="806" y="790"/>
                      </a:lnTo>
                      <a:lnTo>
                        <a:pt x="807" y="790"/>
                      </a:lnTo>
                      <a:lnTo>
                        <a:pt x="808" y="793"/>
                      </a:lnTo>
                      <a:lnTo>
                        <a:pt x="809" y="794"/>
                      </a:lnTo>
                      <a:lnTo>
                        <a:pt x="809" y="795"/>
                      </a:lnTo>
                      <a:lnTo>
                        <a:pt x="809" y="796"/>
                      </a:lnTo>
                      <a:lnTo>
                        <a:pt x="809" y="798"/>
                      </a:lnTo>
                      <a:lnTo>
                        <a:pt x="809" y="799"/>
                      </a:lnTo>
                      <a:lnTo>
                        <a:pt x="809" y="800"/>
                      </a:lnTo>
                      <a:lnTo>
                        <a:pt x="809" y="801"/>
                      </a:lnTo>
                      <a:lnTo>
                        <a:pt x="808" y="802"/>
                      </a:lnTo>
                      <a:lnTo>
                        <a:pt x="808" y="803"/>
                      </a:lnTo>
                      <a:lnTo>
                        <a:pt x="807" y="803"/>
                      </a:lnTo>
                      <a:lnTo>
                        <a:pt x="806" y="804"/>
                      </a:lnTo>
                      <a:lnTo>
                        <a:pt x="805" y="804"/>
                      </a:lnTo>
                      <a:lnTo>
                        <a:pt x="805" y="806"/>
                      </a:lnTo>
                      <a:lnTo>
                        <a:pt x="806" y="806"/>
                      </a:lnTo>
                      <a:lnTo>
                        <a:pt x="807" y="806"/>
                      </a:lnTo>
                      <a:lnTo>
                        <a:pt x="806" y="806"/>
                      </a:lnTo>
                      <a:lnTo>
                        <a:pt x="806" y="807"/>
                      </a:lnTo>
                      <a:lnTo>
                        <a:pt x="807" y="807"/>
                      </a:lnTo>
                      <a:lnTo>
                        <a:pt x="806" y="807"/>
                      </a:lnTo>
                      <a:lnTo>
                        <a:pt x="806" y="808"/>
                      </a:lnTo>
                      <a:lnTo>
                        <a:pt x="807" y="809"/>
                      </a:lnTo>
                      <a:lnTo>
                        <a:pt x="807" y="808"/>
                      </a:lnTo>
                      <a:lnTo>
                        <a:pt x="807" y="809"/>
                      </a:lnTo>
                      <a:lnTo>
                        <a:pt x="808" y="809"/>
                      </a:lnTo>
                      <a:lnTo>
                        <a:pt x="808" y="810"/>
                      </a:lnTo>
                      <a:lnTo>
                        <a:pt x="807" y="810"/>
                      </a:lnTo>
                      <a:lnTo>
                        <a:pt x="807" y="811"/>
                      </a:lnTo>
                      <a:lnTo>
                        <a:pt x="806" y="811"/>
                      </a:lnTo>
                      <a:lnTo>
                        <a:pt x="805" y="811"/>
                      </a:lnTo>
                      <a:lnTo>
                        <a:pt x="803" y="811"/>
                      </a:lnTo>
                      <a:lnTo>
                        <a:pt x="803" y="812"/>
                      </a:lnTo>
                      <a:lnTo>
                        <a:pt x="802" y="812"/>
                      </a:lnTo>
                      <a:lnTo>
                        <a:pt x="802" y="811"/>
                      </a:lnTo>
                      <a:lnTo>
                        <a:pt x="802" y="812"/>
                      </a:lnTo>
                      <a:lnTo>
                        <a:pt x="801" y="812"/>
                      </a:lnTo>
                      <a:lnTo>
                        <a:pt x="800" y="812"/>
                      </a:lnTo>
                      <a:lnTo>
                        <a:pt x="799" y="812"/>
                      </a:lnTo>
                      <a:lnTo>
                        <a:pt x="798" y="812"/>
                      </a:lnTo>
                      <a:lnTo>
                        <a:pt x="798" y="811"/>
                      </a:lnTo>
                      <a:lnTo>
                        <a:pt x="797" y="811"/>
                      </a:lnTo>
                      <a:lnTo>
                        <a:pt x="797" y="812"/>
                      </a:lnTo>
                      <a:lnTo>
                        <a:pt x="796" y="812"/>
                      </a:lnTo>
                      <a:lnTo>
                        <a:pt x="795" y="812"/>
                      </a:lnTo>
                      <a:lnTo>
                        <a:pt x="794" y="812"/>
                      </a:lnTo>
                      <a:lnTo>
                        <a:pt x="793" y="812"/>
                      </a:lnTo>
                      <a:lnTo>
                        <a:pt x="793" y="813"/>
                      </a:lnTo>
                      <a:lnTo>
                        <a:pt x="794" y="813"/>
                      </a:lnTo>
                      <a:lnTo>
                        <a:pt x="793" y="813"/>
                      </a:lnTo>
                      <a:lnTo>
                        <a:pt x="793" y="814"/>
                      </a:lnTo>
                      <a:lnTo>
                        <a:pt x="792" y="814"/>
                      </a:lnTo>
                      <a:lnTo>
                        <a:pt x="790" y="814"/>
                      </a:lnTo>
                      <a:lnTo>
                        <a:pt x="789" y="814"/>
                      </a:lnTo>
                      <a:lnTo>
                        <a:pt x="788" y="814"/>
                      </a:lnTo>
                      <a:lnTo>
                        <a:pt x="787" y="815"/>
                      </a:lnTo>
                      <a:lnTo>
                        <a:pt x="786" y="815"/>
                      </a:lnTo>
                      <a:lnTo>
                        <a:pt x="785" y="816"/>
                      </a:lnTo>
                      <a:lnTo>
                        <a:pt x="784" y="816"/>
                      </a:lnTo>
                      <a:lnTo>
                        <a:pt x="783" y="816"/>
                      </a:lnTo>
                      <a:lnTo>
                        <a:pt x="783" y="817"/>
                      </a:lnTo>
                      <a:lnTo>
                        <a:pt x="782" y="819"/>
                      </a:lnTo>
                      <a:lnTo>
                        <a:pt x="781" y="819"/>
                      </a:lnTo>
                      <a:lnTo>
                        <a:pt x="781" y="820"/>
                      </a:lnTo>
                      <a:lnTo>
                        <a:pt x="780" y="821"/>
                      </a:lnTo>
                      <a:lnTo>
                        <a:pt x="780" y="822"/>
                      </a:lnTo>
                      <a:lnTo>
                        <a:pt x="779" y="822"/>
                      </a:lnTo>
                      <a:lnTo>
                        <a:pt x="779" y="823"/>
                      </a:lnTo>
                      <a:lnTo>
                        <a:pt x="779" y="824"/>
                      </a:lnTo>
                      <a:lnTo>
                        <a:pt x="777" y="824"/>
                      </a:lnTo>
                      <a:lnTo>
                        <a:pt x="777" y="825"/>
                      </a:lnTo>
                      <a:lnTo>
                        <a:pt x="779" y="825"/>
                      </a:lnTo>
                      <a:lnTo>
                        <a:pt x="779" y="826"/>
                      </a:lnTo>
                      <a:lnTo>
                        <a:pt x="779" y="827"/>
                      </a:lnTo>
                      <a:lnTo>
                        <a:pt x="777" y="827"/>
                      </a:lnTo>
                      <a:lnTo>
                        <a:pt x="777" y="828"/>
                      </a:lnTo>
                      <a:lnTo>
                        <a:pt x="776" y="829"/>
                      </a:lnTo>
                      <a:lnTo>
                        <a:pt x="776" y="831"/>
                      </a:lnTo>
                      <a:lnTo>
                        <a:pt x="775" y="832"/>
                      </a:lnTo>
                      <a:lnTo>
                        <a:pt x="775" y="833"/>
                      </a:lnTo>
                      <a:lnTo>
                        <a:pt x="775" y="834"/>
                      </a:lnTo>
                      <a:lnTo>
                        <a:pt x="774" y="834"/>
                      </a:lnTo>
                      <a:lnTo>
                        <a:pt x="774" y="835"/>
                      </a:lnTo>
                      <a:lnTo>
                        <a:pt x="773" y="835"/>
                      </a:lnTo>
                      <a:lnTo>
                        <a:pt x="773" y="836"/>
                      </a:lnTo>
                      <a:lnTo>
                        <a:pt x="772" y="836"/>
                      </a:lnTo>
                      <a:lnTo>
                        <a:pt x="772" y="837"/>
                      </a:lnTo>
                      <a:lnTo>
                        <a:pt x="771" y="837"/>
                      </a:lnTo>
                      <a:lnTo>
                        <a:pt x="770" y="838"/>
                      </a:lnTo>
                      <a:lnTo>
                        <a:pt x="771" y="838"/>
                      </a:lnTo>
                      <a:lnTo>
                        <a:pt x="771" y="839"/>
                      </a:lnTo>
                      <a:lnTo>
                        <a:pt x="772" y="839"/>
                      </a:lnTo>
                      <a:lnTo>
                        <a:pt x="772" y="840"/>
                      </a:lnTo>
                      <a:lnTo>
                        <a:pt x="773" y="841"/>
                      </a:lnTo>
                      <a:lnTo>
                        <a:pt x="773" y="842"/>
                      </a:lnTo>
                      <a:lnTo>
                        <a:pt x="774" y="842"/>
                      </a:lnTo>
                      <a:lnTo>
                        <a:pt x="774" y="844"/>
                      </a:lnTo>
                      <a:lnTo>
                        <a:pt x="775" y="844"/>
                      </a:lnTo>
                      <a:lnTo>
                        <a:pt x="776" y="844"/>
                      </a:lnTo>
                      <a:lnTo>
                        <a:pt x="776" y="845"/>
                      </a:lnTo>
                      <a:lnTo>
                        <a:pt x="777" y="845"/>
                      </a:lnTo>
                      <a:lnTo>
                        <a:pt x="779" y="845"/>
                      </a:lnTo>
                      <a:lnTo>
                        <a:pt x="779" y="846"/>
                      </a:lnTo>
                      <a:lnTo>
                        <a:pt x="780" y="846"/>
                      </a:lnTo>
                      <a:lnTo>
                        <a:pt x="780" y="847"/>
                      </a:lnTo>
                      <a:lnTo>
                        <a:pt x="780" y="846"/>
                      </a:lnTo>
                      <a:lnTo>
                        <a:pt x="781" y="846"/>
                      </a:lnTo>
                      <a:lnTo>
                        <a:pt x="782" y="846"/>
                      </a:lnTo>
                      <a:lnTo>
                        <a:pt x="782" y="845"/>
                      </a:lnTo>
                      <a:lnTo>
                        <a:pt x="783" y="845"/>
                      </a:lnTo>
                      <a:lnTo>
                        <a:pt x="784" y="845"/>
                      </a:lnTo>
                      <a:lnTo>
                        <a:pt x="785" y="845"/>
                      </a:lnTo>
                      <a:lnTo>
                        <a:pt x="786" y="845"/>
                      </a:lnTo>
                      <a:lnTo>
                        <a:pt x="785" y="845"/>
                      </a:lnTo>
                      <a:lnTo>
                        <a:pt x="785" y="846"/>
                      </a:lnTo>
                      <a:lnTo>
                        <a:pt x="786" y="847"/>
                      </a:lnTo>
                      <a:lnTo>
                        <a:pt x="786" y="848"/>
                      </a:lnTo>
                      <a:lnTo>
                        <a:pt x="787" y="848"/>
                      </a:lnTo>
                      <a:lnTo>
                        <a:pt x="787" y="847"/>
                      </a:lnTo>
                      <a:lnTo>
                        <a:pt x="788" y="847"/>
                      </a:lnTo>
                      <a:lnTo>
                        <a:pt x="788" y="848"/>
                      </a:lnTo>
                      <a:lnTo>
                        <a:pt x="789" y="848"/>
                      </a:lnTo>
                      <a:lnTo>
                        <a:pt x="789" y="850"/>
                      </a:lnTo>
                      <a:lnTo>
                        <a:pt x="788" y="849"/>
                      </a:lnTo>
                      <a:lnTo>
                        <a:pt x="787" y="849"/>
                      </a:lnTo>
                      <a:lnTo>
                        <a:pt x="786" y="849"/>
                      </a:lnTo>
                      <a:lnTo>
                        <a:pt x="785" y="849"/>
                      </a:lnTo>
                      <a:lnTo>
                        <a:pt x="785" y="850"/>
                      </a:lnTo>
                      <a:lnTo>
                        <a:pt x="784" y="850"/>
                      </a:lnTo>
                      <a:lnTo>
                        <a:pt x="784" y="849"/>
                      </a:lnTo>
                      <a:lnTo>
                        <a:pt x="783" y="849"/>
                      </a:lnTo>
                      <a:lnTo>
                        <a:pt x="783" y="848"/>
                      </a:lnTo>
                      <a:lnTo>
                        <a:pt x="782" y="848"/>
                      </a:lnTo>
                      <a:lnTo>
                        <a:pt x="781" y="848"/>
                      </a:lnTo>
                      <a:lnTo>
                        <a:pt x="780" y="848"/>
                      </a:lnTo>
                      <a:lnTo>
                        <a:pt x="777" y="848"/>
                      </a:lnTo>
                      <a:lnTo>
                        <a:pt x="776" y="849"/>
                      </a:lnTo>
                      <a:lnTo>
                        <a:pt x="775" y="849"/>
                      </a:lnTo>
                      <a:lnTo>
                        <a:pt x="774" y="849"/>
                      </a:lnTo>
                      <a:lnTo>
                        <a:pt x="773" y="849"/>
                      </a:lnTo>
                      <a:lnTo>
                        <a:pt x="772" y="849"/>
                      </a:lnTo>
                      <a:lnTo>
                        <a:pt x="770" y="849"/>
                      </a:lnTo>
                      <a:lnTo>
                        <a:pt x="770" y="850"/>
                      </a:lnTo>
                      <a:lnTo>
                        <a:pt x="769" y="850"/>
                      </a:lnTo>
                      <a:lnTo>
                        <a:pt x="769" y="851"/>
                      </a:lnTo>
                      <a:lnTo>
                        <a:pt x="768" y="852"/>
                      </a:lnTo>
                      <a:lnTo>
                        <a:pt x="768" y="853"/>
                      </a:lnTo>
                      <a:lnTo>
                        <a:pt x="768" y="854"/>
                      </a:lnTo>
                      <a:lnTo>
                        <a:pt x="768" y="855"/>
                      </a:lnTo>
                      <a:lnTo>
                        <a:pt x="769" y="855"/>
                      </a:lnTo>
                      <a:lnTo>
                        <a:pt x="768" y="855"/>
                      </a:lnTo>
                      <a:lnTo>
                        <a:pt x="768" y="857"/>
                      </a:lnTo>
                      <a:lnTo>
                        <a:pt x="768" y="858"/>
                      </a:lnTo>
                      <a:lnTo>
                        <a:pt x="768" y="859"/>
                      </a:lnTo>
                      <a:lnTo>
                        <a:pt x="769" y="859"/>
                      </a:lnTo>
                      <a:lnTo>
                        <a:pt x="769" y="858"/>
                      </a:lnTo>
                      <a:lnTo>
                        <a:pt x="770" y="858"/>
                      </a:lnTo>
                      <a:lnTo>
                        <a:pt x="770" y="859"/>
                      </a:lnTo>
                      <a:lnTo>
                        <a:pt x="770" y="858"/>
                      </a:lnTo>
                      <a:lnTo>
                        <a:pt x="770" y="859"/>
                      </a:lnTo>
                      <a:lnTo>
                        <a:pt x="769" y="859"/>
                      </a:lnTo>
                      <a:lnTo>
                        <a:pt x="769" y="860"/>
                      </a:lnTo>
                      <a:lnTo>
                        <a:pt x="769" y="861"/>
                      </a:lnTo>
                      <a:lnTo>
                        <a:pt x="768" y="861"/>
                      </a:lnTo>
                      <a:lnTo>
                        <a:pt x="768" y="862"/>
                      </a:lnTo>
                      <a:lnTo>
                        <a:pt x="767" y="862"/>
                      </a:lnTo>
                      <a:lnTo>
                        <a:pt x="767" y="863"/>
                      </a:lnTo>
                      <a:lnTo>
                        <a:pt x="768" y="863"/>
                      </a:lnTo>
                      <a:lnTo>
                        <a:pt x="767" y="864"/>
                      </a:lnTo>
                      <a:lnTo>
                        <a:pt x="768" y="864"/>
                      </a:lnTo>
                      <a:lnTo>
                        <a:pt x="769" y="864"/>
                      </a:lnTo>
                      <a:lnTo>
                        <a:pt x="769" y="863"/>
                      </a:lnTo>
                      <a:lnTo>
                        <a:pt x="770" y="863"/>
                      </a:lnTo>
                      <a:lnTo>
                        <a:pt x="770" y="862"/>
                      </a:lnTo>
                      <a:lnTo>
                        <a:pt x="771" y="862"/>
                      </a:lnTo>
                      <a:lnTo>
                        <a:pt x="772" y="861"/>
                      </a:lnTo>
                      <a:lnTo>
                        <a:pt x="772" y="860"/>
                      </a:lnTo>
                      <a:lnTo>
                        <a:pt x="773" y="860"/>
                      </a:lnTo>
                      <a:lnTo>
                        <a:pt x="773" y="861"/>
                      </a:lnTo>
                      <a:lnTo>
                        <a:pt x="774" y="861"/>
                      </a:lnTo>
                      <a:lnTo>
                        <a:pt x="774" y="862"/>
                      </a:lnTo>
                      <a:lnTo>
                        <a:pt x="774" y="863"/>
                      </a:lnTo>
                      <a:lnTo>
                        <a:pt x="774" y="864"/>
                      </a:lnTo>
                      <a:lnTo>
                        <a:pt x="773" y="864"/>
                      </a:lnTo>
                      <a:lnTo>
                        <a:pt x="773" y="865"/>
                      </a:lnTo>
                      <a:lnTo>
                        <a:pt x="774" y="865"/>
                      </a:lnTo>
                      <a:lnTo>
                        <a:pt x="774" y="866"/>
                      </a:lnTo>
                      <a:lnTo>
                        <a:pt x="773" y="866"/>
                      </a:lnTo>
                      <a:lnTo>
                        <a:pt x="773" y="867"/>
                      </a:lnTo>
                      <a:lnTo>
                        <a:pt x="773" y="868"/>
                      </a:lnTo>
                      <a:lnTo>
                        <a:pt x="773" y="870"/>
                      </a:lnTo>
                      <a:lnTo>
                        <a:pt x="774" y="870"/>
                      </a:lnTo>
                      <a:lnTo>
                        <a:pt x="775" y="871"/>
                      </a:lnTo>
                      <a:lnTo>
                        <a:pt x="776" y="872"/>
                      </a:lnTo>
                      <a:lnTo>
                        <a:pt x="776" y="873"/>
                      </a:lnTo>
                      <a:lnTo>
                        <a:pt x="777" y="873"/>
                      </a:lnTo>
                      <a:lnTo>
                        <a:pt x="777" y="872"/>
                      </a:lnTo>
                      <a:lnTo>
                        <a:pt x="779" y="872"/>
                      </a:lnTo>
                      <a:lnTo>
                        <a:pt x="779" y="873"/>
                      </a:lnTo>
                      <a:lnTo>
                        <a:pt x="780" y="873"/>
                      </a:lnTo>
                      <a:lnTo>
                        <a:pt x="780" y="872"/>
                      </a:lnTo>
                      <a:lnTo>
                        <a:pt x="780" y="873"/>
                      </a:lnTo>
                      <a:lnTo>
                        <a:pt x="781" y="873"/>
                      </a:lnTo>
                      <a:lnTo>
                        <a:pt x="782" y="873"/>
                      </a:lnTo>
                      <a:lnTo>
                        <a:pt x="783" y="873"/>
                      </a:lnTo>
                      <a:lnTo>
                        <a:pt x="783" y="874"/>
                      </a:lnTo>
                      <a:lnTo>
                        <a:pt x="783" y="873"/>
                      </a:lnTo>
                      <a:lnTo>
                        <a:pt x="784" y="873"/>
                      </a:lnTo>
                      <a:lnTo>
                        <a:pt x="785" y="873"/>
                      </a:lnTo>
                      <a:lnTo>
                        <a:pt x="786" y="873"/>
                      </a:lnTo>
                      <a:lnTo>
                        <a:pt x="787" y="872"/>
                      </a:lnTo>
                      <a:lnTo>
                        <a:pt x="787" y="873"/>
                      </a:lnTo>
                      <a:lnTo>
                        <a:pt x="788" y="873"/>
                      </a:lnTo>
                      <a:lnTo>
                        <a:pt x="789" y="873"/>
                      </a:lnTo>
                      <a:lnTo>
                        <a:pt x="790" y="873"/>
                      </a:lnTo>
                      <a:lnTo>
                        <a:pt x="792" y="873"/>
                      </a:lnTo>
                      <a:lnTo>
                        <a:pt x="792" y="874"/>
                      </a:lnTo>
                      <a:lnTo>
                        <a:pt x="793" y="874"/>
                      </a:lnTo>
                      <a:lnTo>
                        <a:pt x="793" y="875"/>
                      </a:lnTo>
                      <a:lnTo>
                        <a:pt x="793" y="876"/>
                      </a:lnTo>
                      <a:lnTo>
                        <a:pt x="794" y="877"/>
                      </a:lnTo>
                      <a:lnTo>
                        <a:pt x="795" y="877"/>
                      </a:lnTo>
                      <a:lnTo>
                        <a:pt x="796" y="878"/>
                      </a:lnTo>
                      <a:lnTo>
                        <a:pt x="795" y="878"/>
                      </a:lnTo>
                      <a:lnTo>
                        <a:pt x="795" y="879"/>
                      </a:lnTo>
                      <a:lnTo>
                        <a:pt x="795" y="880"/>
                      </a:lnTo>
                      <a:lnTo>
                        <a:pt x="795" y="881"/>
                      </a:lnTo>
                      <a:lnTo>
                        <a:pt x="796" y="883"/>
                      </a:lnTo>
                      <a:lnTo>
                        <a:pt x="797" y="884"/>
                      </a:lnTo>
                      <a:lnTo>
                        <a:pt x="797" y="885"/>
                      </a:lnTo>
                      <a:lnTo>
                        <a:pt x="798" y="885"/>
                      </a:lnTo>
                      <a:lnTo>
                        <a:pt x="798" y="886"/>
                      </a:lnTo>
                      <a:lnTo>
                        <a:pt x="799" y="886"/>
                      </a:lnTo>
                      <a:lnTo>
                        <a:pt x="799" y="885"/>
                      </a:lnTo>
                      <a:lnTo>
                        <a:pt x="800" y="885"/>
                      </a:lnTo>
                      <a:lnTo>
                        <a:pt x="800" y="886"/>
                      </a:lnTo>
                      <a:lnTo>
                        <a:pt x="801" y="886"/>
                      </a:lnTo>
                      <a:lnTo>
                        <a:pt x="801" y="885"/>
                      </a:lnTo>
                      <a:lnTo>
                        <a:pt x="802" y="884"/>
                      </a:lnTo>
                      <a:lnTo>
                        <a:pt x="802" y="885"/>
                      </a:lnTo>
                      <a:lnTo>
                        <a:pt x="802" y="884"/>
                      </a:lnTo>
                      <a:lnTo>
                        <a:pt x="803" y="884"/>
                      </a:lnTo>
                      <a:lnTo>
                        <a:pt x="803" y="883"/>
                      </a:lnTo>
                      <a:lnTo>
                        <a:pt x="802" y="883"/>
                      </a:lnTo>
                      <a:lnTo>
                        <a:pt x="803" y="883"/>
                      </a:lnTo>
                      <a:lnTo>
                        <a:pt x="805" y="883"/>
                      </a:lnTo>
                      <a:lnTo>
                        <a:pt x="806" y="883"/>
                      </a:lnTo>
                      <a:lnTo>
                        <a:pt x="808" y="883"/>
                      </a:lnTo>
                      <a:lnTo>
                        <a:pt x="809" y="883"/>
                      </a:lnTo>
                      <a:lnTo>
                        <a:pt x="810" y="883"/>
                      </a:lnTo>
                      <a:lnTo>
                        <a:pt x="811" y="883"/>
                      </a:lnTo>
                      <a:lnTo>
                        <a:pt x="812" y="883"/>
                      </a:lnTo>
                      <a:lnTo>
                        <a:pt x="812" y="881"/>
                      </a:lnTo>
                      <a:lnTo>
                        <a:pt x="811" y="880"/>
                      </a:lnTo>
                      <a:lnTo>
                        <a:pt x="812" y="880"/>
                      </a:lnTo>
                      <a:lnTo>
                        <a:pt x="812" y="879"/>
                      </a:lnTo>
                      <a:lnTo>
                        <a:pt x="812" y="878"/>
                      </a:lnTo>
                      <a:lnTo>
                        <a:pt x="812" y="877"/>
                      </a:lnTo>
                      <a:lnTo>
                        <a:pt x="812" y="876"/>
                      </a:lnTo>
                      <a:lnTo>
                        <a:pt x="813" y="876"/>
                      </a:lnTo>
                      <a:lnTo>
                        <a:pt x="813" y="875"/>
                      </a:lnTo>
                      <a:lnTo>
                        <a:pt x="813" y="874"/>
                      </a:lnTo>
                      <a:lnTo>
                        <a:pt x="813" y="875"/>
                      </a:lnTo>
                      <a:lnTo>
                        <a:pt x="813" y="876"/>
                      </a:lnTo>
                      <a:lnTo>
                        <a:pt x="812" y="877"/>
                      </a:lnTo>
                      <a:lnTo>
                        <a:pt x="813" y="878"/>
                      </a:lnTo>
                      <a:lnTo>
                        <a:pt x="814" y="878"/>
                      </a:lnTo>
                      <a:lnTo>
                        <a:pt x="814" y="879"/>
                      </a:lnTo>
                      <a:lnTo>
                        <a:pt x="815" y="879"/>
                      </a:lnTo>
                      <a:lnTo>
                        <a:pt x="816" y="880"/>
                      </a:lnTo>
                      <a:lnTo>
                        <a:pt x="818" y="881"/>
                      </a:lnTo>
                      <a:lnTo>
                        <a:pt x="818" y="883"/>
                      </a:lnTo>
                      <a:lnTo>
                        <a:pt x="818" y="884"/>
                      </a:lnTo>
                      <a:lnTo>
                        <a:pt x="818" y="885"/>
                      </a:lnTo>
                      <a:lnTo>
                        <a:pt x="819" y="886"/>
                      </a:lnTo>
                      <a:lnTo>
                        <a:pt x="819" y="887"/>
                      </a:lnTo>
                      <a:lnTo>
                        <a:pt x="820" y="887"/>
                      </a:lnTo>
                      <a:lnTo>
                        <a:pt x="820" y="888"/>
                      </a:lnTo>
                      <a:lnTo>
                        <a:pt x="820" y="889"/>
                      </a:lnTo>
                      <a:lnTo>
                        <a:pt x="820" y="890"/>
                      </a:lnTo>
                      <a:lnTo>
                        <a:pt x="821" y="891"/>
                      </a:lnTo>
                      <a:lnTo>
                        <a:pt x="820" y="892"/>
                      </a:lnTo>
                      <a:lnTo>
                        <a:pt x="821" y="892"/>
                      </a:lnTo>
                      <a:lnTo>
                        <a:pt x="822" y="892"/>
                      </a:lnTo>
                      <a:lnTo>
                        <a:pt x="822" y="893"/>
                      </a:lnTo>
                      <a:lnTo>
                        <a:pt x="823" y="893"/>
                      </a:lnTo>
                      <a:lnTo>
                        <a:pt x="824" y="893"/>
                      </a:lnTo>
                      <a:lnTo>
                        <a:pt x="824" y="894"/>
                      </a:lnTo>
                      <a:lnTo>
                        <a:pt x="825" y="894"/>
                      </a:lnTo>
                      <a:lnTo>
                        <a:pt x="826" y="894"/>
                      </a:lnTo>
                      <a:lnTo>
                        <a:pt x="826" y="893"/>
                      </a:lnTo>
                      <a:lnTo>
                        <a:pt x="827" y="893"/>
                      </a:lnTo>
                      <a:lnTo>
                        <a:pt x="828" y="893"/>
                      </a:lnTo>
                      <a:lnTo>
                        <a:pt x="829" y="893"/>
                      </a:lnTo>
                      <a:lnTo>
                        <a:pt x="831" y="893"/>
                      </a:lnTo>
                      <a:lnTo>
                        <a:pt x="829" y="894"/>
                      </a:lnTo>
                      <a:lnTo>
                        <a:pt x="831" y="896"/>
                      </a:lnTo>
                      <a:lnTo>
                        <a:pt x="831" y="897"/>
                      </a:lnTo>
                      <a:lnTo>
                        <a:pt x="831" y="898"/>
                      </a:lnTo>
                      <a:lnTo>
                        <a:pt x="831" y="897"/>
                      </a:lnTo>
                      <a:lnTo>
                        <a:pt x="832" y="897"/>
                      </a:lnTo>
                      <a:lnTo>
                        <a:pt x="833" y="897"/>
                      </a:lnTo>
                      <a:lnTo>
                        <a:pt x="833" y="896"/>
                      </a:lnTo>
                      <a:lnTo>
                        <a:pt x="833" y="899"/>
                      </a:lnTo>
                      <a:lnTo>
                        <a:pt x="832" y="899"/>
                      </a:lnTo>
                      <a:lnTo>
                        <a:pt x="832" y="900"/>
                      </a:lnTo>
                      <a:lnTo>
                        <a:pt x="833" y="900"/>
                      </a:lnTo>
                      <a:lnTo>
                        <a:pt x="834" y="900"/>
                      </a:lnTo>
                      <a:lnTo>
                        <a:pt x="835" y="900"/>
                      </a:lnTo>
                      <a:lnTo>
                        <a:pt x="835" y="901"/>
                      </a:lnTo>
                      <a:lnTo>
                        <a:pt x="836" y="901"/>
                      </a:lnTo>
                      <a:lnTo>
                        <a:pt x="836" y="902"/>
                      </a:lnTo>
                      <a:lnTo>
                        <a:pt x="837" y="902"/>
                      </a:lnTo>
                      <a:lnTo>
                        <a:pt x="838" y="902"/>
                      </a:lnTo>
                      <a:lnTo>
                        <a:pt x="839" y="902"/>
                      </a:lnTo>
                      <a:lnTo>
                        <a:pt x="840" y="901"/>
                      </a:lnTo>
                      <a:lnTo>
                        <a:pt x="840" y="900"/>
                      </a:lnTo>
                      <a:lnTo>
                        <a:pt x="840" y="899"/>
                      </a:lnTo>
                      <a:lnTo>
                        <a:pt x="840" y="898"/>
                      </a:lnTo>
                      <a:lnTo>
                        <a:pt x="841" y="898"/>
                      </a:lnTo>
                      <a:lnTo>
                        <a:pt x="840" y="898"/>
                      </a:lnTo>
                      <a:lnTo>
                        <a:pt x="841" y="897"/>
                      </a:lnTo>
                      <a:lnTo>
                        <a:pt x="842" y="897"/>
                      </a:lnTo>
                      <a:lnTo>
                        <a:pt x="842" y="898"/>
                      </a:lnTo>
                      <a:lnTo>
                        <a:pt x="844" y="897"/>
                      </a:lnTo>
                      <a:lnTo>
                        <a:pt x="845" y="897"/>
                      </a:lnTo>
                      <a:lnTo>
                        <a:pt x="846" y="898"/>
                      </a:lnTo>
                      <a:lnTo>
                        <a:pt x="847" y="898"/>
                      </a:lnTo>
                      <a:lnTo>
                        <a:pt x="848" y="898"/>
                      </a:lnTo>
                      <a:lnTo>
                        <a:pt x="848" y="899"/>
                      </a:lnTo>
                      <a:lnTo>
                        <a:pt x="849" y="899"/>
                      </a:lnTo>
                      <a:lnTo>
                        <a:pt x="850" y="899"/>
                      </a:lnTo>
                      <a:lnTo>
                        <a:pt x="851" y="900"/>
                      </a:lnTo>
                      <a:lnTo>
                        <a:pt x="852" y="900"/>
                      </a:lnTo>
                      <a:lnTo>
                        <a:pt x="853" y="900"/>
                      </a:lnTo>
                      <a:lnTo>
                        <a:pt x="854" y="900"/>
                      </a:lnTo>
                      <a:lnTo>
                        <a:pt x="855" y="900"/>
                      </a:lnTo>
                      <a:lnTo>
                        <a:pt x="855" y="901"/>
                      </a:lnTo>
                      <a:lnTo>
                        <a:pt x="854" y="901"/>
                      </a:lnTo>
                      <a:lnTo>
                        <a:pt x="854" y="902"/>
                      </a:lnTo>
                      <a:lnTo>
                        <a:pt x="855" y="903"/>
                      </a:lnTo>
                      <a:lnTo>
                        <a:pt x="855" y="902"/>
                      </a:lnTo>
                      <a:lnTo>
                        <a:pt x="857" y="901"/>
                      </a:lnTo>
                      <a:lnTo>
                        <a:pt x="857" y="900"/>
                      </a:lnTo>
                      <a:lnTo>
                        <a:pt x="857" y="899"/>
                      </a:lnTo>
                      <a:lnTo>
                        <a:pt x="858" y="899"/>
                      </a:lnTo>
                      <a:lnTo>
                        <a:pt x="859" y="899"/>
                      </a:lnTo>
                      <a:lnTo>
                        <a:pt x="859" y="898"/>
                      </a:lnTo>
                      <a:lnTo>
                        <a:pt x="859" y="899"/>
                      </a:lnTo>
                      <a:lnTo>
                        <a:pt x="860" y="899"/>
                      </a:lnTo>
                      <a:lnTo>
                        <a:pt x="861" y="900"/>
                      </a:lnTo>
                      <a:lnTo>
                        <a:pt x="862" y="899"/>
                      </a:lnTo>
                      <a:lnTo>
                        <a:pt x="862" y="900"/>
                      </a:lnTo>
                      <a:lnTo>
                        <a:pt x="863" y="900"/>
                      </a:lnTo>
                      <a:lnTo>
                        <a:pt x="864" y="900"/>
                      </a:lnTo>
                      <a:lnTo>
                        <a:pt x="865" y="900"/>
                      </a:lnTo>
                      <a:lnTo>
                        <a:pt x="865" y="899"/>
                      </a:lnTo>
                      <a:lnTo>
                        <a:pt x="865" y="900"/>
                      </a:lnTo>
                      <a:lnTo>
                        <a:pt x="866" y="900"/>
                      </a:lnTo>
                      <a:lnTo>
                        <a:pt x="867" y="900"/>
                      </a:lnTo>
                      <a:lnTo>
                        <a:pt x="867" y="899"/>
                      </a:lnTo>
                      <a:lnTo>
                        <a:pt x="869" y="899"/>
                      </a:lnTo>
                      <a:lnTo>
                        <a:pt x="870" y="899"/>
                      </a:lnTo>
                      <a:lnTo>
                        <a:pt x="871" y="899"/>
                      </a:lnTo>
                      <a:lnTo>
                        <a:pt x="871" y="900"/>
                      </a:lnTo>
                      <a:lnTo>
                        <a:pt x="870" y="900"/>
                      </a:lnTo>
                      <a:lnTo>
                        <a:pt x="870" y="901"/>
                      </a:lnTo>
                      <a:lnTo>
                        <a:pt x="870" y="902"/>
                      </a:lnTo>
                      <a:lnTo>
                        <a:pt x="871" y="904"/>
                      </a:lnTo>
                      <a:lnTo>
                        <a:pt x="870" y="904"/>
                      </a:lnTo>
                      <a:lnTo>
                        <a:pt x="869" y="904"/>
                      </a:lnTo>
                      <a:lnTo>
                        <a:pt x="867" y="903"/>
                      </a:lnTo>
                      <a:lnTo>
                        <a:pt x="866" y="903"/>
                      </a:lnTo>
                      <a:lnTo>
                        <a:pt x="866" y="904"/>
                      </a:lnTo>
                      <a:lnTo>
                        <a:pt x="865" y="904"/>
                      </a:lnTo>
                      <a:lnTo>
                        <a:pt x="864" y="904"/>
                      </a:lnTo>
                      <a:lnTo>
                        <a:pt x="864" y="905"/>
                      </a:lnTo>
                      <a:lnTo>
                        <a:pt x="863" y="905"/>
                      </a:lnTo>
                      <a:lnTo>
                        <a:pt x="862" y="905"/>
                      </a:lnTo>
                      <a:lnTo>
                        <a:pt x="861" y="905"/>
                      </a:lnTo>
                      <a:lnTo>
                        <a:pt x="860" y="905"/>
                      </a:lnTo>
                      <a:lnTo>
                        <a:pt x="860" y="906"/>
                      </a:lnTo>
                      <a:lnTo>
                        <a:pt x="860" y="907"/>
                      </a:lnTo>
                      <a:lnTo>
                        <a:pt x="860" y="909"/>
                      </a:lnTo>
                      <a:lnTo>
                        <a:pt x="859" y="909"/>
                      </a:lnTo>
                      <a:lnTo>
                        <a:pt x="860" y="910"/>
                      </a:lnTo>
                      <a:lnTo>
                        <a:pt x="860" y="911"/>
                      </a:lnTo>
                      <a:lnTo>
                        <a:pt x="861" y="911"/>
                      </a:lnTo>
                      <a:lnTo>
                        <a:pt x="861" y="912"/>
                      </a:lnTo>
                      <a:lnTo>
                        <a:pt x="862" y="912"/>
                      </a:lnTo>
                      <a:lnTo>
                        <a:pt x="862" y="911"/>
                      </a:lnTo>
                      <a:lnTo>
                        <a:pt x="861" y="910"/>
                      </a:lnTo>
                      <a:lnTo>
                        <a:pt x="861" y="909"/>
                      </a:lnTo>
                      <a:lnTo>
                        <a:pt x="862" y="907"/>
                      </a:lnTo>
                      <a:lnTo>
                        <a:pt x="864" y="907"/>
                      </a:lnTo>
                      <a:lnTo>
                        <a:pt x="865" y="909"/>
                      </a:lnTo>
                      <a:lnTo>
                        <a:pt x="865" y="907"/>
                      </a:lnTo>
                      <a:lnTo>
                        <a:pt x="866" y="907"/>
                      </a:lnTo>
                      <a:lnTo>
                        <a:pt x="866" y="906"/>
                      </a:lnTo>
                      <a:lnTo>
                        <a:pt x="867" y="906"/>
                      </a:lnTo>
                      <a:lnTo>
                        <a:pt x="867" y="905"/>
                      </a:lnTo>
                      <a:lnTo>
                        <a:pt x="869" y="905"/>
                      </a:lnTo>
                      <a:lnTo>
                        <a:pt x="869" y="906"/>
                      </a:lnTo>
                      <a:lnTo>
                        <a:pt x="869" y="907"/>
                      </a:lnTo>
                      <a:lnTo>
                        <a:pt x="870" y="909"/>
                      </a:lnTo>
                      <a:lnTo>
                        <a:pt x="870" y="910"/>
                      </a:lnTo>
                      <a:lnTo>
                        <a:pt x="870" y="911"/>
                      </a:lnTo>
                      <a:lnTo>
                        <a:pt x="870" y="912"/>
                      </a:lnTo>
                      <a:lnTo>
                        <a:pt x="870" y="913"/>
                      </a:lnTo>
                      <a:lnTo>
                        <a:pt x="871" y="913"/>
                      </a:lnTo>
                      <a:lnTo>
                        <a:pt x="871" y="912"/>
                      </a:lnTo>
                      <a:lnTo>
                        <a:pt x="870" y="912"/>
                      </a:lnTo>
                      <a:lnTo>
                        <a:pt x="871" y="912"/>
                      </a:lnTo>
                      <a:lnTo>
                        <a:pt x="871" y="913"/>
                      </a:lnTo>
                      <a:lnTo>
                        <a:pt x="872" y="912"/>
                      </a:lnTo>
                      <a:lnTo>
                        <a:pt x="872" y="913"/>
                      </a:lnTo>
                      <a:lnTo>
                        <a:pt x="872" y="914"/>
                      </a:lnTo>
                      <a:lnTo>
                        <a:pt x="873" y="915"/>
                      </a:lnTo>
                      <a:lnTo>
                        <a:pt x="873" y="916"/>
                      </a:lnTo>
                      <a:lnTo>
                        <a:pt x="874" y="917"/>
                      </a:lnTo>
                      <a:lnTo>
                        <a:pt x="875" y="918"/>
                      </a:lnTo>
                      <a:lnTo>
                        <a:pt x="875" y="919"/>
                      </a:lnTo>
                      <a:lnTo>
                        <a:pt x="875" y="921"/>
                      </a:lnTo>
                      <a:lnTo>
                        <a:pt x="875" y="922"/>
                      </a:lnTo>
                      <a:lnTo>
                        <a:pt x="874" y="922"/>
                      </a:lnTo>
                      <a:lnTo>
                        <a:pt x="874" y="923"/>
                      </a:lnTo>
                      <a:lnTo>
                        <a:pt x="873" y="925"/>
                      </a:lnTo>
                      <a:lnTo>
                        <a:pt x="873" y="926"/>
                      </a:lnTo>
                      <a:lnTo>
                        <a:pt x="874" y="926"/>
                      </a:lnTo>
                      <a:lnTo>
                        <a:pt x="874" y="927"/>
                      </a:lnTo>
                      <a:lnTo>
                        <a:pt x="874" y="928"/>
                      </a:lnTo>
                      <a:lnTo>
                        <a:pt x="874" y="929"/>
                      </a:lnTo>
                      <a:lnTo>
                        <a:pt x="875" y="929"/>
                      </a:lnTo>
                      <a:lnTo>
                        <a:pt x="875" y="930"/>
                      </a:lnTo>
                      <a:lnTo>
                        <a:pt x="874" y="930"/>
                      </a:lnTo>
                      <a:lnTo>
                        <a:pt x="873" y="930"/>
                      </a:lnTo>
                      <a:lnTo>
                        <a:pt x="873" y="931"/>
                      </a:lnTo>
                      <a:lnTo>
                        <a:pt x="872" y="931"/>
                      </a:lnTo>
                      <a:lnTo>
                        <a:pt x="872" y="930"/>
                      </a:lnTo>
                      <a:lnTo>
                        <a:pt x="871" y="930"/>
                      </a:lnTo>
                      <a:lnTo>
                        <a:pt x="870" y="930"/>
                      </a:lnTo>
                      <a:lnTo>
                        <a:pt x="869" y="931"/>
                      </a:lnTo>
                      <a:lnTo>
                        <a:pt x="869" y="932"/>
                      </a:lnTo>
                      <a:lnTo>
                        <a:pt x="867" y="932"/>
                      </a:lnTo>
                      <a:lnTo>
                        <a:pt x="867" y="934"/>
                      </a:lnTo>
                      <a:lnTo>
                        <a:pt x="866" y="934"/>
                      </a:lnTo>
                      <a:lnTo>
                        <a:pt x="866" y="935"/>
                      </a:lnTo>
                      <a:lnTo>
                        <a:pt x="867" y="935"/>
                      </a:lnTo>
                      <a:lnTo>
                        <a:pt x="867" y="936"/>
                      </a:lnTo>
                      <a:lnTo>
                        <a:pt x="869" y="936"/>
                      </a:lnTo>
                      <a:lnTo>
                        <a:pt x="869" y="937"/>
                      </a:lnTo>
                      <a:lnTo>
                        <a:pt x="870" y="937"/>
                      </a:lnTo>
                      <a:lnTo>
                        <a:pt x="870" y="938"/>
                      </a:lnTo>
                      <a:lnTo>
                        <a:pt x="871" y="938"/>
                      </a:lnTo>
                      <a:lnTo>
                        <a:pt x="871" y="939"/>
                      </a:lnTo>
                      <a:lnTo>
                        <a:pt x="872" y="939"/>
                      </a:lnTo>
                      <a:lnTo>
                        <a:pt x="873" y="940"/>
                      </a:lnTo>
                      <a:lnTo>
                        <a:pt x="874" y="940"/>
                      </a:lnTo>
                      <a:lnTo>
                        <a:pt x="873" y="940"/>
                      </a:lnTo>
                      <a:lnTo>
                        <a:pt x="873" y="941"/>
                      </a:lnTo>
                      <a:lnTo>
                        <a:pt x="874" y="941"/>
                      </a:lnTo>
                      <a:lnTo>
                        <a:pt x="875" y="941"/>
                      </a:lnTo>
                      <a:lnTo>
                        <a:pt x="875" y="942"/>
                      </a:lnTo>
                      <a:lnTo>
                        <a:pt x="874" y="942"/>
                      </a:lnTo>
                      <a:lnTo>
                        <a:pt x="874" y="943"/>
                      </a:lnTo>
                      <a:lnTo>
                        <a:pt x="874" y="944"/>
                      </a:lnTo>
                      <a:lnTo>
                        <a:pt x="875" y="945"/>
                      </a:lnTo>
                      <a:lnTo>
                        <a:pt x="876" y="945"/>
                      </a:lnTo>
                      <a:lnTo>
                        <a:pt x="877" y="945"/>
                      </a:lnTo>
                      <a:lnTo>
                        <a:pt x="878" y="945"/>
                      </a:lnTo>
                      <a:lnTo>
                        <a:pt x="877" y="947"/>
                      </a:lnTo>
                      <a:lnTo>
                        <a:pt x="876" y="947"/>
                      </a:lnTo>
                      <a:lnTo>
                        <a:pt x="875" y="948"/>
                      </a:lnTo>
                      <a:lnTo>
                        <a:pt x="874" y="948"/>
                      </a:lnTo>
                      <a:lnTo>
                        <a:pt x="874" y="949"/>
                      </a:lnTo>
                      <a:lnTo>
                        <a:pt x="875" y="950"/>
                      </a:lnTo>
                      <a:lnTo>
                        <a:pt x="876" y="950"/>
                      </a:lnTo>
                      <a:lnTo>
                        <a:pt x="877" y="949"/>
                      </a:lnTo>
                      <a:lnTo>
                        <a:pt x="878" y="949"/>
                      </a:lnTo>
                      <a:lnTo>
                        <a:pt x="879" y="949"/>
                      </a:lnTo>
                      <a:lnTo>
                        <a:pt x="880" y="949"/>
                      </a:lnTo>
                      <a:lnTo>
                        <a:pt x="880" y="948"/>
                      </a:lnTo>
                      <a:lnTo>
                        <a:pt x="882" y="948"/>
                      </a:lnTo>
                      <a:lnTo>
                        <a:pt x="882" y="949"/>
                      </a:lnTo>
                      <a:lnTo>
                        <a:pt x="883" y="949"/>
                      </a:lnTo>
                      <a:lnTo>
                        <a:pt x="884" y="949"/>
                      </a:lnTo>
                      <a:lnTo>
                        <a:pt x="885" y="949"/>
                      </a:lnTo>
                      <a:lnTo>
                        <a:pt x="886" y="949"/>
                      </a:lnTo>
                      <a:lnTo>
                        <a:pt x="886" y="948"/>
                      </a:lnTo>
                      <a:lnTo>
                        <a:pt x="886" y="949"/>
                      </a:lnTo>
                      <a:lnTo>
                        <a:pt x="886" y="950"/>
                      </a:lnTo>
                      <a:lnTo>
                        <a:pt x="886" y="951"/>
                      </a:lnTo>
                      <a:lnTo>
                        <a:pt x="887" y="951"/>
                      </a:lnTo>
                      <a:lnTo>
                        <a:pt x="887" y="952"/>
                      </a:lnTo>
                      <a:lnTo>
                        <a:pt x="887" y="951"/>
                      </a:lnTo>
                      <a:lnTo>
                        <a:pt x="887" y="952"/>
                      </a:lnTo>
                      <a:lnTo>
                        <a:pt x="887" y="953"/>
                      </a:lnTo>
                      <a:lnTo>
                        <a:pt x="886" y="953"/>
                      </a:lnTo>
                      <a:lnTo>
                        <a:pt x="885" y="953"/>
                      </a:lnTo>
                      <a:lnTo>
                        <a:pt x="884" y="954"/>
                      </a:lnTo>
                      <a:lnTo>
                        <a:pt x="883" y="954"/>
                      </a:lnTo>
                      <a:lnTo>
                        <a:pt x="883" y="955"/>
                      </a:lnTo>
                      <a:lnTo>
                        <a:pt x="884" y="955"/>
                      </a:lnTo>
                      <a:lnTo>
                        <a:pt x="884" y="956"/>
                      </a:lnTo>
                      <a:lnTo>
                        <a:pt x="883" y="956"/>
                      </a:lnTo>
                      <a:lnTo>
                        <a:pt x="883" y="957"/>
                      </a:lnTo>
                      <a:lnTo>
                        <a:pt x="883" y="958"/>
                      </a:lnTo>
                      <a:lnTo>
                        <a:pt x="883" y="960"/>
                      </a:lnTo>
                      <a:lnTo>
                        <a:pt x="883" y="961"/>
                      </a:lnTo>
                      <a:lnTo>
                        <a:pt x="884" y="961"/>
                      </a:lnTo>
                      <a:lnTo>
                        <a:pt x="885" y="961"/>
                      </a:lnTo>
                      <a:lnTo>
                        <a:pt x="885" y="962"/>
                      </a:lnTo>
                      <a:lnTo>
                        <a:pt x="884" y="962"/>
                      </a:lnTo>
                      <a:lnTo>
                        <a:pt x="884" y="963"/>
                      </a:lnTo>
                      <a:lnTo>
                        <a:pt x="885" y="963"/>
                      </a:lnTo>
                      <a:lnTo>
                        <a:pt x="886" y="963"/>
                      </a:lnTo>
                      <a:lnTo>
                        <a:pt x="886" y="964"/>
                      </a:lnTo>
                      <a:lnTo>
                        <a:pt x="887" y="965"/>
                      </a:lnTo>
                      <a:lnTo>
                        <a:pt x="886" y="965"/>
                      </a:lnTo>
                      <a:lnTo>
                        <a:pt x="885" y="965"/>
                      </a:lnTo>
                      <a:lnTo>
                        <a:pt x="885" y="966"/>
                      </a:lnTo>
                      <a:lnTo>
                        <a:pt x="884" y="966"/>
                      </a:lnTo>
                      <a:lnTo>
                        <a:pt x="883" y="966"/>
                      </a:lnTo>
                      <a:lnTo>
                        <a:pt x="883" y="965"/>
                      </a:lnTo>
                      <a:lnTo>
                        <a:pt x="884" y="965"/>
                      </a:lnTo>
                      <a:lnTo>
                        <a:pt x="883" y="965"/>
                      </a:lnTo>
                      <a:lnTo>
                        <a:pt x="883" y="964"/>
                      </a:lnTo>
                      <a:lnTo>
                        <a:pt x="882" y="964"/>
                      </a:lnTo>
                      <a:lnTo>
                        <a:pt x="882" y="963"/>
                      </a:lnTo>
                      <a:lnTo>
                        <a:pt x="882" y="962"/>
                      </a:lnTo>
                      <a:lnTo>
                        <a:pt x="880" y="961"/>
                      </a:lnTo>
                      <a:lnTo>
                        <a:pt x="879" y="962"/>
                      </a:lnTo>
                      <a:lnTo>
                        <a:pt x="879" y="961"/>
                      </a:lnTo>
                      <a:lnTo>
                        <a:pt x="878" y="962"/>
                      </a:lnTo>
                      <a:lnTo>
                        <a:pt x="877" y="962"/>
                      </a:lnTo>
                      <a:lnTo>
                        <a:pt x="877" y="963"/>
                      </a:lnTo>
                      <a:lnTo>
                        <a:pt x="876" y="963"/>
                      </a:lnTo>
                      <a:lnTo>
                        <a:pt x="876" y="962"/>
                      </a:lnTo>
                      <a:lnTo>
                        <a:pt x="875" y="961"/>
                      </a:lnTo>
                      <a:lnTo>
                        <a:pt x="874" y="961"/>
                      </a:lnTo>
                      <a:lnTo>
                        <a:pt x="874" y="962"/>
                      </a:lnTo>
                      <a:lnTo>
                        <a:pt x="874" y="963"/>
                      </a:lnTo>
                      <a:lnTo>
                        <a:pt x="875" y="963"/>
                      </a:lnTo>
                      <a:lnTo>
                        <a:pt x="876" y="963"/>
                      </a:lnTo>
                      <a:lnTo>
                        <a:pt x="877" y="963"/>
                      </a:lnTo>
                      <a:lnTo>
                        <a:pt x="877" y="964"/>
                      </a:lnTo>
                      <a:lnTo>
                        <a:pt x="878" y="964"/>
                      </a:lnTo>
                      <a:lnTo>
                        <a:pt x="879" y="965"/>
                      </a:lnTo>
                      <a:lnTo>
                        <a:pt x="880" y="965"/>
                      </a:lnTo>
                      <a:lnTo>
                        <a:pt x="880" y="964"/>
                      </a:lnTo>
                      <a:lnTo>
                        <a:pt x="882" y="964"/>
                      </a:lnTo>
                      <a:lnTo>
                        <a:pt x="883" y="964"/>
                      </a:lnTo>
                      <a:lnTo>
                        <a:pt x="883" y="965"/>
                      </a:lnTo>
                      <a:lnTo>
                        <a:pt x="883" y="966"/>
                      </a:lnTo>
                      <a:lnTo>
                        <a:pt x="882" y="966"/>
                      </a:lnTo>
                      <a:lnTo>
                        <a:pt x="883" y="966"/>
                      </a:lnTo>
                      <a:lnTo>
                        <a:pt x="883" y="967"/>
                      </a:lnTo>
                      <a:lnTo>
                        <a:pt x="884" y="967"/>
                      </a:lnTo>
                      <a:lnTo>
                        <a:pt x="884" y="968"/>
                      </a:lnTo>
                      <a:lnTo>
                        <a:pt x="883" y="968"/>
                      </a:lnTo>
                      <a:lnTo>
                        <a:pt x="882" y="968"/>
                      </a:lnTo>
                      <a:lnTo>
                        <a:pt x="882" y="967"/>
                      </a:lnTo>
                      <a:lnTo>
                        <a:pt x="880" y="967"/>
                      </a:lnTo>
                      <a:lnTo>
                        <a:pt x="880" y="968"/>
                      </a:lnTo>
                      <a:lnTo>
                        <a:pt x="879" y="968"/>
                      </a:lnTo>
                      <a:lnTo>
                        <a:pt x="879" y="969"/>
                      </a:lnTo>
                      <a:lnTo>
                        <a:pt x="879" y="970"/>
                      </a:lnTo>
                      <a:lnTo>
                        <a:pt x="880" y="971"/>
                      </a:lnTo>
                      <a:lnTo>
                        <a:pt x="882" y="971"/>
                      </a:lnTo>
                      <a:lnTo>
                        <a:pt x="882" y="973"/>
                      </a:lnTo>
                      <a:lnTo>
                        <a:pt x="883" y="973"/>
                      </a:lnTo>
                      <a:lnTo>
                        <a:pt x="884" y="973"/>
                      </a:lnTo>
                      <a:lnTo>
                        <a:pt x="884" y="974"/>
                      </a:lnTo>
                      <a:lnTo>
                        <a:pt x="884" y="973"/>
                      </a:lnTo>
                      <a:lnTo>
                        <a:pt x="884" y="974"/>
                      </a:lnTo>
                      <a:lnTo>
                        <a:pt x="884" y="975"/>
                      </a:lnTo>
                      <a:lnTo>
                        <a:pt x="883" y="975"/>
                      </a:lnTo>
                      <a:lnTo>
                        <a:pt x="883" y="976"/>
                      </a:lnTo>
                      <a:lnTo>
                        <a:pt x="882" y="976"/>
                      </a:lnTo>
                      <a:lnTo>
                        <a:pt x="882" y="975"/>
                      </a:lnTo>
                      <a:lnTo>
                        <a:pt x="880" y="976"/>
                      </a:lnTo>
                      <a:lnTo>
                        <a:pt x="880" y="975"/>
                      </a:lnTo>
                      <a:lnTo>
                        <a:pt x="879" y="975"/>
                      </a:lnTo>
                      <a:lnTo>
                        <a:pt x="878" y="976"/>
                      </a:lnTo>
                      <a:lnTo>
                        <a:pt x="877" y="976"/>
                      </a:lnTo>
                      <a:lnTo>
                        <a:pt x="878" y="976"/>
                      </a:lnTo>
                      <a:lnTo>
                        <a:pt x="878" y="975"/>
                      </a:lnTo>
                      <a:lnTo>
                        <a:pt x="879" y="975"/>
                      </a:lnTo>
                      <a:lnTo>
                        <a:pt x="879" y="974"/>
                      </a:lnTo>
                      <a:lnTo>
                        <a:pt x="879" y="973"/>
                      </a:lnTo>
                      <a:lnTo>
                        <a:pt x="880" y="973"/>
                      </a:lnTo>
                      <a:lnTo>
                        <a:pt x="879" y="973"/>
                      </a:lnTo>
                      <a:lnTo>
                        <a:pt x="879" y="971"/>
                      </a:lnTo>
                      <a:lnTo>
                        <a:pt x="879" y="970"/>
                      </a:lnTo>
                      <a:lnTo>
                        <a:pt x="879" y="969"/>
                      </a:lnTo>
                      <a:lnTo>
                        <a:pt x="878" y="969"/>
                      </a:lnTo>
                      <a:lnTo>
                        <a:pt x="878" y="968"/>
                      </a:lnTo>
                      <a:lnTo>
                        <a:pt x="877" y="968"/>
                      </a:lnTo>
                      <a:lnTo>
                        <a:pt x="877" y="967"/>
                      </a:lnTo>
                      <a:lnTo>
                        <a:pt x="877" y="966"/>
                      </a:lnTo>
                      <a:lnTo>
                        <a:pt x="877" y="965"/>
                      </a:lnTo>
                      <a:lnTo>
                        <a:pt x="877" y="964"/>
                      </a:lnTo>
                      <a:lnTo>
                        <a:pt x="876" y="964"/>
                      </a:lnTo>
                      <a:lnTo>
                        <a:pt x="875" y="964"/>
                      </a:lnTo>
                      <a:lnTo>
                        <a:pt x="875" y="965"/>
                      </a:lnTo>
                      <a:lnTo>
                        <a:pt x="875" y="966"/>
                      </a:lnTo>
                      <a:lnTo>
                        <a:pt x="876" y="966"/>
                      </a:lnTo>
                      <a:lnTo>
                        <a:pt x="876" y="967"/>
                      </a:lnTo>
                      <a:lnTo>
                        <a:pt x="876" y="968"/>
                      </a:lnTo>
                      <a:lnTo>
                        <a:pt x="875" y="968"/>
                      </a:lnTo>
                      <a:lnTo>
                        <a:pt x="875" y="969"/>
                      </a:lnTo>
                      <a:lnTo>
                        <a:pt x="874" y="969"/>
                      </a:lnTo>
                      <a:lnTo>
                        <a:pt x="874" y="970"/>
                      </a:lnTo>
                      <a:lnTo>
                        <a:pt x="874" y="971"/>
                      </a:lnTo>
                      <a:lnTo>
                        <a:pt x="874" y="973"/>
                      </a:lnTo>
                      <a:lnTo>
                        <a:pt x="873" y="973"/>
                      </a:lnTo>
                      <a:lnTo>
                        <a:pt x="873" y="974"/>
                      </a:lnTo>
                      <a:lnTo>
                        <a:pt x="872" y="974"/>
                      </a:lnTo>
                      <a:lnTo>
                        <a:pt x="872" y="975"/>
                      </a:lnTo>
                      <a:lnTo>
                        <a:pt x="872" y="976"/>
                      </a:lnTo>
                      <a:lnTo>
                        <a:pt x="873" y="976"/>
                      </a:lnTo>
                      <a:lnTo>
                        <a:pt x="873" y="975"/>
                      </a:lnTo>
                      <a:lnTo>
                        <a:pt x="874" y="976"/>
                      </a:lnTo>
                      <a:lnTo>
                        <a:pt x="873" y="976"/>
                      </a:lnTo>
                      <a:lnTo>
                        <a:pt x="873" y="977"/>
                      </a:lnTo>
                      <a:lnTo>
                        <a:pt x="872" y="977"/>
                      </a:lnTo>
                      <a:lnTo>
                        <a:pt x="873" y="979"/>
                      </a:lnTo>
                      <a:lnTo>
                        <a:pt x="873" y="980"/>
                      </a:lnTo>
                      <a:lnTo>
                        <a:pt x="873" y="979"/>
                      </a:lnTo>
                      <a:lnTo>
                        <a:pt x="874" y="979"/>
                      </a:lnTo>
                      <a:lnTo>
                        <a:pt x="873" y="979"/>
                      </a:lnTo>
                      <a:lnTo>
                        <a:pt x="873" y="978"/>
                      </a:lnTo>
                      <a:lnTo>
                        <a:pt x="873" y="979"/>
                      </a:lnTo>
                      <a:lnTo>
                        <a:pt x="874" y="979"/>
                      </a:lnTo>
                      <a:lnTo>
                        <a:pt x="874" y="978"/>
                      </a:lnTo>
                      <a:lnTo>
                        <a:pt x="875" y="978"/>
                      </a:lnTo>
                      <a:lnTo>
                        <a:pt x="874" y="978"/>
                      </a:lnTo>
                      <a:lnTo>
                        <a:pt x="874" y="977"/>
                      </a:lnTo>
                      <a:lnTo>
                        <a:pt x="875" y="976"/>
                      </a:lnTo>
                      <a:lnTo>
                        <a:pt x="875" y="977"/>
                      </a:lnTo>
                      <a:lnTo>
                        <a:pt x="875" y="976"/>
                      </a:lnTo>
                      <a:lnTo>
                        <a:pt x="875" y="977"/>
                      </a:lnTo>
                      <a:lnTo>
                        <a:pt x="875" y="978"/>
                      </a:lnTo>
                      <a:lnTo>
                        <a:pt x="875" y="979"/>
                      </a:lnTo>
                      <a:lnTo>
                        <a:pt x="874" y="979"/>
                      </a:lnTo>
                      <a:lnTo>
                        <a:pt x="873" y="980"/>
                      </a:lnTo>
                      <a:lnTo>
                        <a:pt x="873" y="981"/>
                      </a:lnTo>
                      <a:lnTo>
                        <a:pt x="874" y="982"/>
                      </a:lnTo>
                      <a:lnTo>
                        <a:pt x="874" y="983"/>
                      </a:lnTo>
                      <a:lnTo>
                        <a:pt x="875" y="983"/>
                      </a:lnTo>
                      <a:lnTo>
                        <a:pt x="875" y="984"/>
                      </a:lnTo>
                      <a:lnTo>
                        <a:pt x="876" y="984"/>
                      </a:lnTo>
                      <a:lnTo>
                        <a:pt x="876" y="986"/>
                      </a:lnTo>
                      <a:lnTo>
                        <a:pt x="877" y="987"/>
                      </a:lnTo>
                      <a:lnTo>
                        <a:pt x="877" y="988"/>
                      </a:lnTo>
                      <a:lnTo>
                        <a:pt x="878" y="988"/>
                      </a:lnTo>
                      <a:lnTo>
                        <a:pt x="878" y="989"/>
                      </a:lnTo>
                      <a:lnTo>
                        <a:pt x="879" y="989"/>
                      </a:lnTo>
                      <a:lnTo>
                        <a:pt x="879" y="990"/>
                      </a:lnTo>
                      <a:lnTo>
                        <a:pt x="878" y="990"/>
                      </a:lnTo>
                      <a:lnTo>
                        <a:pt x="879" y="990"/>
                      </a:lnTo>
                      <a:lnTo>
                        <a:pt x="879" y="991"/>
                      </a:lnTo>
                      <a:lnTo>
                        <a:pt x="878" y="991"/>
                      </a:lnTo>
                      <a:lnTo>
                        <a:pt x="877" y="991"/>
                      </a:lnTo>
                      <a:lnTo>
                        <a:pt x="877" y="992"/>
                      </a:lnTo>
                      <a:lnTo>
                        <a:pt x="878" y="992"/>
                      </a:lnTo>
                      <a:lnTo>
                        <a:pt x="879" y="992"/>
                      </a:lnTo>
                      <a:lnTo>
                        <a:pt x="880" y="992"/>
                      </a:lnTo>
                      <a:lnTo>
                        <a:pt x="880" y="993"/>
                      </a:lnTo>
                      <a:lnTo>
                        <a:pt x="882" y="994"/>
                      </a:lnTo>
                      <a:lnTo>
                        <a:pt x="880" y="994"/>
                      </a:lnTo>
                      <a:lnTo>
                        <a:pt x="880" y="995"/>
                      </a:lnTo>
                      <a:lnTo>
                        <a:pt x="879" y="995"/>
                      </a:lnTo>
                      <a:lnTo>
                        <a:pt x="879" y="994"/>
                      </a:lnTo>
                      <a:lnTo>
                        <a:pt x="878" y="994"/>
                      </a:lnTo>
                      <a:lnTo>
                        <a:pt x="879" y="994"/>
                      </a:lnTo>
                      <a:lnTo>
                        <a:pt x="878" y="994"/>
                      </a:lnTo>
                      <a:lnTo>
                        <a:pt x="879" y="994"/>
                      </a:lnTo>
                      <a:lnTo>
                        <a:pt x="878" y="994"/>
                      </a:lnTo>
                      <a:lnTo>
                        <a:pt x="878" y="995"/>
                      </a:lnTo>
                      <a:lnTo>
                        <a:pt x="879" y="995"/>
                      </a:lnTo>
                      <a:lnTo>
                        <a:pt x="878" y="995"/>
                      </a:lnTo>
                      <a:lnTo>
                        <a:pt x="877" y="994"/>
                      </a:lnTo>
                      <a:lnTo>
                        <a:pt x="876" y="994"/>
                      </a:lnTo>
                      <a:lnTo>
                        <a:pt x="876" y="993"/>
                      </a:lnTo>
                      <a:lnTo>
                        <a:pt x="875" y="993"/>
                      </a:lnTo>
                      <a:lnTo>
                        <a:pt x="874" y="993"/>
                      </a:lnTo>
                      <a:lnTo>
                        <a:pt x="874" y="992"/>
                      </a:lnTo>
                      <a:lnTo>
                        <a:pt x="873" y="990"/>
                      </a:lnTo>
                      <a:lnTo>
                        <a:pt x="873" y="989"/>
                      </a:lnTo>
                      <a:lnTo>
                        <a:pt x="872" y="989"/>
                      </a:lnTo>
                      <a:lnTo>
                        <a:pt x="871" y="988"/>
                      </a:lnTo>
                      <a:lnTo>
                        <a:pt x="870" y="987"/>
                      </a:lnTo>
                      <a:lnTo>
                        <a:pt x="870" y="986"/>
                      </a:lnTo>
                      <a:lnTo>
                        <a:pt x="867" y="984"/>
                      </a:lnTo>
                      <a:lnTo>
                        <a:pt x="867" y="983"/>
                      </a:lnTo>
                      <a:lnTo>
                        <a:pt x="866" y="983"/>
                      </a:lnTo>
                      <a:lnTo>
                        <a:pt x="866" y="982"/>
                      </a:lnTo>
                      <a:lnTo>
                        <a:pt x="865" y="982"/>
                      </a:lnTo>
                      <a:lnTo>
                        <a:pt x="865" y="981"/>
                      </a:lnTo>
                      <a:lnTo>
                        <a:pt x="865" y="980"/>
                      </a:lnTo>
                      <a:lnTo>
                        <a:pt x="864" y="980"/>
                      </a:lnTo>
                      <a:lnTo>
                        <a:pt x="863" y="978"/>
                      </a:lnTo>
                      <a:lnTo>
                        <a:pt x="862" y="978"/>
                      </a:lnTo>
                      <a:lnTo>
                        <a:pt x="863" y="978"/>
                      </a:lnTo>
                      <a:lnTo>
                        <a:pt x="862" y="977"/>
                      </a:lnTo>
                      <a:lnTo>
                        <a:pt x="861" y="976"/>
                      </a:lnTo>
                      <a:lnTo>
                        <a:pt x="860" y="975"/>
                      </a:lnTo>
                      <a:lnTo>
                        <a:pt x="859" y="975"/>
                      </a:lnTo>
                      <a:lnTo>
                        <a:pt x="859" y="974"/>
                      </a:lnTo>
                      <a:lnTo>
                        <a:pt x="859" y="973"/>
                      </a:lnTo>
                      <a:lnTo>
                        <a:pt x="858" y="973"/>
                      </a:lnTo>
                      <a:lnTo>
                        <a:pt x="858" y="971"/>
                      </a:lnTo>
                      <a:lnTo>
                        <a:pt x="857" y="971"/>
                      </a:lnTo>
                      <a:lnTo>
                        <a:pt x="857" y="970"/>
                      </a:lnTo>
                      <a:lnTo>
                        <a:pt x="855" y="970"/>
                      </a:lnTo>
                      <a:lnTo>
                        <a:pt x="857" y="971"/>
                      </a:lnTo>
                      <a:lnTo>
                        <a:pt x="855" y="971"/>
                      </a:lnTo>
                      <a:lnTo>
                        <a:pt x="854" y="971"/>
                      </a:lnTo>
                      <a:lnTo>
                        <a:pt x="854" y="970"/>
                      </a:lnTo>
                      <a:lnTo>
                        <a:pt x="854" y="969"/>
                      </a:lnTo>
                      <a:lnTo>
                        <a:pt x="853" y="969"/>
                      </a:lnTo>
                      <a:lnTo>
                        <a:pt x="853" y="968"/>
                      </a:lnTo>
                      <a:lnTo>
                        <a:pt x="852" y="968"/>
                      </a:lnTo>
                      <a:lnTo>
                        <a:pt x="852" y="967"/>
                      </a:lnTo>
                      <a:lnTo>
                        <a:pt x="852" y="966"/>
                      </a:lnTo>
                      <a:lnTo>
                        <a:pt x="852" y="965"/>
                      </a:lnTo>
                      <a:lnTo>
                        <a:pt x="851" y="966"/>
                      </a:lnTo>
                      <a:lnTo>
                        <a:pt x="851" y="965"/>
                      </a:lnTo>
                      <a:lnTo>
                        <a:pt x="851" y="964"/>
                      </a:lnTo>
                      <a:lnTo>
                        <a:pt x="850" y="963"/>
                      </a:lnTo>
                      <a:lnTo>
                        <a:pt x="849" y="963"/>
                      </a:lnTo>
                      <a:lnTo>
                        <a:pt x="849" y="964"/>
                      </a:lnTo>
                      <a:lnTo>
                        <a:pt x="849" y="965"/>
                      </a:lnTo>
                      <a:lnTo>
                        <a:pt x="850" y="965"/>
                      </a:lnTo>
                      <a:lnTo>
                        <a:pt x="850" y="966"/>
                      </a:lnTo>
                      <a:lnTo>
                        <a:pt x="851" y="966"/>
                      </a:lnTo>
                      <a:lnTo>
                        <a:pt x="850" y="967"/>
                      </a:lnTo>
                      <a:lnTo>
                        <a:pt x="849" y="966"/>
                      </a:lnTo>
                      <a:lnTo>
                        <a:pt x="849" y="965"/>
                      </a:lnTo>
                      <a:lnTo>
                        <a:pt x="847" y="965"/>
                      </a:lnTo>
                      <a:lnTo>
                        <a:pt x="846" y="965"/>
                      </a:lnTo>
                      <a:lnTo>
                        <a:pt x="845" y="965"/>
                      </a:lnTo>
                      <a:lnTo>
                        <a:pt x="846" y="965"/>
                      </a:lnTo>
                      <a:lnTo>
                        <a:pt x="847" y="966"/>
                      </a:lnTo>
                      <a:lnTo>
                        <a:pt x="847" y="967"/>
                      </a:lnTo>
                      <a:lnTo>
                        <a:pt x="847" y="968"/>
                      </a:lnTo>
                      <a:lnTo>
                        <a:pt x="848" y="969"/>
                      </a:lnTo>
                      <a:lnTo>
                        <a:pt x="848" y="970"/>
                      </a:lnTo>
                      <a:lnTo>
                        <a:pt x="849" y="970"/>
                      </a:lnTo>
                      <a:lnTo>
                        <a:pt x="849" y="971"/>
                      </a:lnTo>
                      <a:lnTo>
                        <a:pt x="849" y="970"/>
                      </a:lnTo>
                      <a:lnTo>
                        <a:pt x="848" y="969"/>
                      </a:lnTo>
                      <a:lnTo>
                        <a:pt x="848" y="968"/>
                      </a:lnTo>
                      <a:lnTo>
                        <a:pt x="847" y="967"/>
                      </a:lnTo>
                      <a:lnTo>
                        <a:pt x="847" y="966"/>
                      </a:lnTo>
                      <a:lnTo>
                        <a:pt x="848" y="966"/>
                      </a:lnTo>
                      <a:lnTo>
                        <a:pt x="849" y="966"/>
                      </a:lnTo>
                      <a:lnTo>
                        <a:pt x="849" y="967"/>
                      </a:lnTo>
                      <a:lnTo>
                        <a:pt x="850" y="967"/>
                      </a:lnTo>
                      <a:lnTo>
                        <a:pt x="850" y="968"/>
                      </a:lnTo>
                      <a:lnTo>
                        <a:pt x="850" y="969"/>
                      </a:lnTo>
                      <a:lnTo>
                        <a:pt x="850" y="970"/>
                      </a:lnTo>
                      <a:lnTo>
                        <a:pt x="850" y="971"/>
                      </a:lnTo>
                      <a:lnTo>
                        <a:pt x="851" y="971"/>
                      </a:lnTo>
                      <a:lnTo>
                        <a:pt x="851" y="973"/>
                      </a:lnTo>
                      <a:lnTo>
                        <a:pt x="852" y="974"/>
                      </a:lnTo>
                      <a:lnTo>
                        <a:pt x="853" y="975"/>
                      </a:lnTo>
                      <a:lnTo>
                        <a:pt x="854" y="976"/>
                      </a:lnTo>
                      <a:lnTo>
                        <a:pt x="854" y="977"/>
                      </a:lnTo>
                      <a:lnTo>
                        <a:pt x="854" y="978"/>
                      </a:lnTo>
                      <a:lnTo>
                        <a:pt x="855" y="978"/>
                      </a:lnTo>
                      <a:lnTo>
                        <a:pt x="855" y="977"/>
                      </a:lnTo>
                      <a:lnTo>
                        <a:pt x="857" y="978"/>
                      </a:lnTo>
                      <a:lnTo>
                        <a:pt x="858" y="978"/>
                      </a:lnTo>
                      <a:lnTo>
                        <a:pt x="858" y="979"/>
                      </a:lnTo>
                      <a:lnTo>
                        <a:pt x="859" y="979"/>
                      </a:lnTo>
                      <a:lnTo>
                        <a:pt x="859" y="978"/>
                      </a:lnTo>
                      <a:lnTo>
                        <a:pt x="859" y="979"/>
                      </a:lnTo>
                      <a:lnTo>
                        <a:pt x="860" y="979"/>
                      </a:lnTo>
                      <a:lnTo>
                        <a:pt x="861" y="979"/>
                      </a:lnTo>
                      <a:lnTo>
                        <a:pt x="860" y="980"/>
                      </a:lnTo>
                      <a:lnTo>
                        <a:pt x="860" y="981"/>
                      </a:lnTo>
                      <a:lnTo>
                        <a:pt x="859" y="981"/>
                      </a:lnTo>
                      <a:lnTo>
                        <a:pt x="859" y="980"/>
                      </a:lnTo>
                      <a:lnTo>
                        <a:pt x="859" y="979"/>
                      </a:lnTo>
                      <a:lnTo>
                        <a:pt x="858" y="979"/>
                      </a:lnTo>
                      <a:lnTo>
                        <a:pt x="858" y="980"/>
                      </a:lnTo>
                      <a:lnTo>
                        <a:pt x="859" y="980"/>
                      </a:lnTo>
                      <a:lnTo>
                        <a:pt x="859" y="981"/>
                      </a:lnTo>
                      <a:lnTo>
                        <a:pt x="857" y="981"/>
                      </a:lnTo>
                      <a:lnTo>
                        <a:pt x="855" y="982"/>
                      </a:lnTo>
                      <a:lnTo>
                        <a:pt x="854" y="981"/>
                      </a:lnTo>
                      <a:lnTo>
                        <a:pt x="855" y="980"/>
                      </a:lnTo>
                      <a:lnTo>
                        <a:pt x="854" y="979"/>
                      </a:lnTo>
                      <a:lnTo>
                        <a:pt x="853" y="979"/>
                      </a:lnTo>
                      <a:lnTo>
                        <a:pt x="853" y="978"/>
                      </a:lnTo>
                      <a:lnTo>
                        <a:pt x="852" y="978"/>
                      </a:lnTo>
                      <a:lnTo>
                        <a:pt x="852" y="979"/>
                      </a:lnTo>
                      <a:lnTo>
                        <a:pt x="851" y="979"/>
                      </a:lnTo>
                      <a:lnTo>
                        <a:pt x="851" y="980"/>
                      </a:lnTo>
                      <a:lnTo>
                        <a:pt x="850" y="980"/>
                      </a:lnTo>
                      <a:lnTo>
                        <a:pt x="850" y="979"/>
                      </a:lnTo>
                      <a:lnTo>
                        <a:pt x="849" y="979"/>
                      </a:lnTo>
                      <a:lnTo>
                        <a:pt x="849" y="978"/>
                      </a:lnTo>
                      <a:lnTo>
                        <a:pt x="848" y="977"/>
                      </a:lnTo>
                      <a:lnTo>
                        <a:pt x="848" y="976"/>
                      </a:lnTo>
                      <a:lnTo>
                        <a:pt x="849" y="976"/>
                      </a:lnTo>
                      <a:lnTo>
                        <a:pt x="849" y="977"/>
                      </a:lnTo>
                      <a:lnTo>
                        <a:pt x="850" y="977"/>
                      </a:lnTo>
                      <a:lnTo>
                        <a:pt x="850" y="978"/>
                      </a:lnTo>
                      <a:lnTo>
                        <a:pt x="851" y="978"/>
                      </a:lnTo>
                      <a:lnTo>
                        <a:pt x="852" y="978"/>
                      </a:lnTo>
                      <a:lnTo>
                        <a:pt x="852" y="977"/>
                      </a:lnTo>
                      <a:lnTo>
                        <a:pt x="851" y="977"/>
                      </a:lnTo>
                      <a:lnTo>
                        <a:pt x="851" y="976"/>
                      </a:lnTo>
                      <a:lnTo>
                        <a:pt x="850" y="975"/>
                      </a:lnTo>
                      <a:lnTo>
                        <a:pt x="849" y="975"/>
                      </a:lnTo>
                      <a:lnTo>
                        <a:pt x="849" y="974"/>
                      </a:lnTo>
                      <a:lnTo>
                        <a:pt x="850" y="974"/>
                      </a:lnTo>
                      <a:lnTo>
                        <a:pt x="849" y="974"/>
                      </a:lnTo>
                      <a:lnTo>
                        <a:pt x="849" y="973"/>
                      </a:lnTo>
                      <a:lnTo>
                        <a:pt x="848" y="971"/>
                      </a:lnTo>
                      <a:lnTo>
                        <a:pt x="847" y="971"/>
                      </a:lnTo>
                      <a:lnTo>
                        <a:pt x="848" y="973"/>
                      </a:lnTo>
                      <a:lnTo>
                        <a:pt x="848" y="974"/>
                      </a:lnTo>
                      <a:lnTo>
                        <a:pt x="847" y="974"/>
                      </a:lnTo>
                      <a:lnTo>
                        <a:pt x="847" y="975"/>
                      </a:lnTo>
                      <a:lnTo>
                        <a:pt x="846" y="975"/>
                      </a:lnTo>
                      <a:lnTo>
                        <a:pt x="846" y="974"/>
                      </a:lnTo>
                      <a:lnTo>
                        <a:pt x="845" y="974"/>
                      </a:lnTo>
                      <a:lnTo>
                        <a:pt x="845" y="973"/>
                      </a:lnTo>
                      <a:lnTo>
                        <a:pt x="844" y="971"/>
                      </a:lnTo>
                      <a:lnTo>
                        <a:pt x="844" y="970"/>
                      </a:lnTo>
                      <a:lnTo>
                        <a:pt x="845" y="970"/>
                      </a:lnTo>
                      <a:lnTo>
                        <a:pt x="845" y="971"/>
                      </a:lnTo>
                      <a:lnTo>
                        <a:pt x="846" y="971"/>
                      </a:lnTo>
                      <a:lnTo>
                        <a:pt x="846" y="973"/>
                      </a:lnTo>
                      <a:lnTo>
                        <a:pt x="847" y="971"/>
                      </a:lnTo>
                      <a:lnTo>
                        <a:pt x="846" y="971"/>
                      </a:lnTo>
                      <a:lnTo>
                        <a:pt x="846" y="970"/>
                      </a:lnTo>
                      <a:lnTo>
                        <a:pt x="845" y="969"/>
                      </a:lnTo>
                      <a:lnTo>
                        <a:pt x="844" y="969"/>
                      </a:lnTo>
                      <a:lnTo>
                        <a:pt x="844" y="968"/>
                      </a:lnTo>
                      <a:lnTo>
                        <a:pt x="845" y="968"/>
                      </a:lnTo>
                      <a:lnTo>
                        <a:pt x="846" y="968"/>
                      </a:lnTo>
                      <a:lnTo>
                        <a:pt x="846" y="969"/>
                      </a:lnTo>
                      <a:lnTo>
                        <a:pt x="847" y="968"/>
                      </a:lnTo>
                      <a:lnTo>
                        <a:pt x="846" y="968"/>
                      </a:lnTo>
                      <a:lnTo>
                        <a:pt x="846" y="967"/>
                      </a:lnTo>
                      <a:lnTo>
                        <a:pt x="845" y="967"/>
                      </a:lnTo>
                      <a:lnTo>
                        <a:pt x="844" y="967"/>
                      </a:lnTo>
                      <a:lnTo>
                        <a:pt x="844" y="966"/>
                      </a:lnTo>
                      <a:lnTo>
                        <a:pt x="842" y="966"/>
                      </a:lnTo>
                      <a:lnTo>
                        <a:pt x="842" y="965"/>
                      </a:lnTo>
                      <a:lnTo>
                        <a:pt x="841" y="965"/>
                      </a:lnTo>
                      <a:lnTo>
                        <a:pt x="840" y="965"/>
                      </a:lnTo>
                      <a:lnTo>
                        <a:pt x="840" y="966"/>
                      </a:lnTo>
                      <a:lnTo>
                        <a:pt x="841" y="966"/>
                      </a:lnTo>
                      <a:lnTo>
                        <a:pt x="842" y="966"/>
                      </a:lnTo>
                      <a:lnTo>
                        <a:pt x="842" y="967"/>
                      </a:lnTo>
                      <a:lnTo>
                        <a:pt x="844" y="968"/>
                      </a:lnTo>
                      <a:lnTo>
                        <a:pt x="844" y="969"/>
                      </a:lnTo>
                      <a:lnTo>
                        <a:pt x="844" y="970"/>
                      </a:lnTo>
                      <a:lnTo>
                        <a:pt x="842" y="970"/>
                      </a:lnTo>
                      <a:lnTo>
                        <a:pt x="842" y="969"/>
                      </a:lnTo>
                      <a:lnTo>
                        <a:pt x="842" y="968"/>
                      </a:lnTo>
                      <a:lnTo>
                        <a:pt x="841" y="968"/>
                      </a:lnTo>
                      <a:lnTo>
                        <a:pt x="841" y="969"/>
                      </a:lnTo>
                      <a:lnTo>
                        <a:pt x="840" y="968"/>
                      </a:lnTo>
                      <a:lnTo>
                        <a:pt x="840" y="967"/>
                      </a:lnTo>
                      <a:lnTo>
                        <a:pt x="839" y="966"/>
                      </a:lnTo>
                      <a:lnTo>
                        <a:pt x="838" y="965"/>
                      </a:lnTo>
                      <a:lnTo>
                        <a:pt x="837" y="964"/>
                      </a:lnTo>
                      <a:lnTo>
                        <a:pt x="836" y="963"/>
                      </a:lnTo>
                      <a:lnTo>
                        <a:pt x="835" y="962"/>
                      </a:lnTo>
                      <a:lnTo>
                        <a:pt x="833" y="961"/>
                      </a:lnTo>
                      <a:lnTo>
                        <a:pt x="832" y="960"/>
                      </a:lnTo>
                      <a:lnTo>
                        <a:pt x="832" y="961"/>
                      </a:lnTo>
                      <a:lnTo>
                        <a:pt x="832" y="962"/>
                      </a:lnTo>
                      <a:lnTo>
                        <a:pt x="831" y="962"/>
                      </a:lnTo>
                      <a:lnTo>
                        <a:pt x="831" y="963"/>
                      </a:lnTo>
                      <a:lnTo>
                        <a:pt x="831" y="964"/>
                      </a:lnTo>
                      <a:lnTo>
                        <a:pt x="829" y="963"/>
                      </a:lnTo>
                      <a:lnTo>
                        <a:pt x="828" y="963"/>
                      </a:lnTo>
                      <a:lnTo>
                        <a:pt x="828" y="962"/>
                      </a:lnTo>
                      <a:lnTo>
                        <a:pt x="827" y="962"/>
                      </a:lnTo>
                      <a:lnTo>
                        <a:pt x="826" y="962"/>
                      </a:lnTo>
                      <a:lnTo>
                        <a:pt x="826" y="961"/>
                      </a:lnTo>
                      <a:lnTo>
                        <a:pt x="826" y="962"/>
                      </a:lnTo>
                      <a:lnTo>
                        <a:pt x="827" y="962"/>
                      </a:lnTo>
                      <a:lnTo>
                        <a:pt x="829" y="961"/>
                      </a:lnTo>
                      <a:lnTo>
                        <a:pt x="831" y="962"/>
                      </a:lnTo>
                      <a:lnTo>
                        <a:pt x="831" y="961"/>
                      </a:lnTo>
                      <a:lnTo>
                        <a:pt x="828" y="961"/>
                      </a:lnTo>
                      <a:lnTo>
                        <a:pt x="827" y="961"/>
                      </a:lnTo>
                      <a:lnTo>
                        <a:pt x="826" y="961"/>
                      </a:lnTo>
                      <a:lnTo>
                        <a:pt x="826" y="960"/>
                      </a:lnTo>
                      <a:lnTo>
                        <a:pt x="827" y="960"/>
                      </a:lnTo>
                      <a:lnTo>
                        <a:pt x="827" y="958"/>
                      </a:lnTo>
                      <a:lnTo>
                        <a:pt x="827" y="957"/>
                      </a:lnTo>
                      <a:lnTo>
                        <a:pt x="826" y="956"/>
                      </a:lnTo>
                      <a:lnTo>
                        <a:pt x="825" y="956"/>
                      </a:lnTo>
                      <a:lnTo>
                        <a:pt x="824" y="956"/>
                      </a:lnTo>
                      <a:lnTo>
                        <a:pt x="825" y="955"/>
                      </a:lnTo>
                      <a:lnTo>
                        <a:pt x="824" y="955"/>
                      </a:lnTo>
                      <a:lnTo>
                        <a:pt x="824" y="956"/>
                      </a:lnTo>
                      <a:lnTo>
                        <a:pt x="825" y="957"/>
                      </a:lnTo>
                      <a:lnTo>
                        <a:pt x="824" y="957"/>
                      </a:lnTo>
                      <a:lnTo>
                        <a:pt x="825" y="957"/>
                      </a:lnTo>
                      <a:lnTo>
                        <a:pt x="825" y="956"/>
                      </a:lnTo>
                      <a:lnTo>
                        <a:pt x="825" y="957"/>
                      </a:lnTo>
                      <a:lnTo>
                        <a:pt x="826" y="958"/>
                      </a:lnTo>
                      <a:lnTo>
                        <a:pt x="825" y="958"/>
                      </a:lnTo>
                      <a:lnTo>
                        <a:pt x="825" y="960"/>
                      </a:lnTo>
                      <a:lnTo>
                        <a:pt x="825" y="958"/>
                      </a:lnTo>
                      <a:lnTo>
                        <a:pt x="824" y="958"/>
                      </a:lnTo>
                      <a:lnTo>
                        <a:pt x="825" y="958"/>
                      </a:lnTo>
                      <a:lnTo>
                        <a:pt x="825" y="957"/>
                      </a:lnTo>
                      <a:lnTo>
                        <a:pt x="824" y="957"/>
                      </a:lnTo>
                      <a:lnTo>
                        <a:pt x="823" y="956"/>
                      </a:lnTo>
                      <a:lnTo>
                        <a:pt x="821" y="954"/>
                      </a:lnTo>
                      <a:lnTo>
                        <a:pt x="822" y="954"/>
                      </a:lnTo>
                      <a:lnTo>
                        <a:pt x="822" y="953"/>
                      </a:lnTo>
                      <a:lnTo>
                        <a:pt x="819" y="954"/>
                      </a:lnTo>
                      <a:lnTo>
                        <a:pt x="821" y="954"/>
                      </a:lnTo>
                      <a:lnTo>
                        <a:pt x="822" y="955"/>
                      </a:lnTo>
                      <a:lnTo>
                        <a:pt x="823" y="956"/>
                      </a:lnTo>
                      <a:lnTo>
                        <a:pt x="824" y="957"/>
                      </a:lnTo>
                      <a:lnTo>
                        <a:pt x="824" y="958"/>
                      </a:lnTo>
                      <a:lnTo>
                        <a:pt x="824" y="960"/>
                      </a:lnTo>
                      <a:lnTo>
                        <a:pt x="823" y="960"/>
                      </a:lnTo>
                      <a:lnTo>
                        <a:pt x="823" y="961"/>
                      </a:lnTo>
                      <a:lnTo>
                        <a:pt x="823" y="960"/>
                      </a:lnTo>
                      <a:lnTo>
                        <a:pt x="823" y="958"/>
                      </a:lnTo>
                      <a:lnTo>
                        <a:pt x="822" y="958"/>
                      </a:lnTo>
                      <a:lnTo>
                        <a:pt x="823" y="958"/>
                      </a:lnTo>
                      <a:lnTo>
                        <a:pt x="823" y="960"/>
                      </a:lnTo>
                      <a:lnTo>
                        <a:pt x="823" y="961"/>
                      </a:lnTo>
                      <a:lnTo>
                        <a:pt x="824" y="961"/>
                      </a:lnTo>
                      <a:lnTo>
                        <a:pt x="823" y="961"/>
                      </a:lnTo>
                      <a:lnTo>
                        <a:pt x="822" y="961"/>
                      </a:lnTo>
                      <a:lnTo>
                        <a:pt x="823" y="961"/>
                      </a:lnTo>
                      <a:lnTo>
                        <a:pt x="822" y="961"/>
                      </a:lnTo>
                      <a:lnTo>
                        <a:pt x="823" y="960"/>
                      </a:lnTo>
                      <a:lnTo>
                        <a:pt x="822" y="958"/>
                      </a:lnTo>
                      <a:lnTo>
                        <a:pt x="822" y="957"/>
                      </a:lnTo>
                      <a:lnTo>
                        <a:pt x="821" y="957"/>
                      </a:lnTo>
                      <a:lnTo>
                        <a:pt x="821" y="956"/>
                      </a:lnTo>
                      <a:lnTo>
                        <a:pt x="820" y="956"/>
                      </a:lnTo>
                      <a:lnTo>
                        <a:pt x="819" y="956"/>
                      </a:lnTo>
                      <a:lnTo>
                        <a:pt x="819" y="955"/>
                      </a:lnTo>
                      <a:lnTo>
                        <a:pt x="818" y="955"/>
                      </a:lnTo>
                      <a:lnTo>
                        <a:pt x="816" y="955"/>
                      </a:lnTo>
                      <a:lnTo>
                        <a:pt x="816" y="954"/>
                      </a:lnTo>
                      <a:lnTo>
                        <a:pt x="818" y="954"/>
                      </a:lnTo>
                      <a:lnTo>
                        <a:pt x="816" y="954"/>
                      </a:lnTo>
                      <a:lnTo>
                        <a:pt x="816" y="953"/>
                      </a:lnTo>
                      <a:lnTo>
                        <a:pt x="815" y="953"/>
                      </a:lnTo>
                      <a:lnTo>
                        <a:pt x="815" y="952"/>
                      </a:lnTo>
                      <a:lnTo>
                        <a:pt x="814" y="952"/>
                      </a:lnTo>
                      <a:lnTo>
                        <a:pt x="814" y="951"/>
                      </a:lnTo>
                      <a:lnTo>
                        <a:pt x="815" y="951"/>
                      </a:lnTo>
                      <a:lnTo>
                        <a:pt x="815" y="950"/>
                      </a:lnTo>
                      <a:lnTo>
                        <a:pt x="814" y="950"/>
                      </a:lnTo>
                      <a:lnTo>
                        <a:pt x="814" y="952"/>
                      </a:lnTo>
                      <a:lnTo>
                        <a:pt x="814" y="954"/>
                      </a:lnTo>
                      <a:lnTo>
                        <a:pt x="813" y="953"/>
                      </a:lnTo>
                      <a:lnTo>
                        <a:pt x="812" y="952"/>
                      </a:lnTo>
                      <a:lnTo>
                        <a:pt x="811" y="952"/>
                      </a:lnTo>
                      <a:lnTo>
                        <a:pt x="810" y="951"/>
                      </a:lnTo>
                      <a:lnTo>
                        <a:pt x="809" y="951"/>
                      </a:lnTo>
                      <a:lnTo>
                        <a:pt x="812" y="953"/>
                      </a:lnTo>
                      <a:lnTo>
                        <a:pt x="811" y="954"/>
                      </a:lnTo>
                      <a:lnTo>
                        <a:pt x="811" y="955"/>
                      </a:lnTo>
                      <a:lnTo>
                        <a:pt x="810" y="955"/>
                      </a:lnTo>
                      <a:lnTo>
                        <a:pt x="809" y="955"/>
                      </a:lnTo>
                      <a:lnTo>
                        <a:pt x="809" y="954"/>
                      </a:lnTo>
                      <a:lnTo>
                        <a:pt x="808" y="953"/>
                      </a:lnTo>
                      <a:lnTo>
                        <a:pt x="808" y="952"/>
                      </a:lnTo>
                      <a:lnTo>
                        <a:pt x="807" y="952"/>
                      </a:lnTo>
                      <a:lnTo>
                        <a:pt x="807" y="953"/>
                      </a:lnTo>
                      <a:lnTo>
                        <a:pt x="808" y="954"/>
                      </a:lnTo>
                      <a:lnTo>
                        <a:pt x="809" y="954"/>
                      </a:lnTo>
                      <a:lnTo>
                        <a:pt x="809" y="955"/>
                      </a:lnTo>
                      <a:lnTo>
                        <a:pt x="810" y="955"/>
                      </a:lnTo>
                      <a:lnTo>
                        <a:pt x="811" y="955"/>
                      </a:lnTo>
                      <a:lnTo>
                        <a:pt x="811" y="956"/>
                      </a:lnTo>
                      <a:lnTo>
                        <a:pt x="812" y="956"/>
                      </a:lnTo>
                      <a:lnTo>
                        <a:pt x="812" y="957"/>
                      </a:lnTo>
                      <a:lnTo>
                        <a:pt x="812" y="958"/>
                      </a:lnTo>
                      <a:lnTo>
                        <a:pt x="813" y="958"/>
                      </a:lnTo>
                      <a:lnTo>
                        <a:pt x="813" y="960"/>
                      </a:lnTo>
                      <a:lnTo>
                        <a:pt x="814" y="960"/>
                      </a:lnTo>
                      <a:lnTo>
                        <a:pt x="814" y="961"/>
                      </a:lnTo>
                      <a:lnTo>
                        <a:pt x="815" y="961"/>
                      </a:lnTo>
                      <a:lnTo>
                        <a:pt x="815" y="962"/>
                      </a:lnTo>
                      <a:lnTo>
                        <a:pt x="816" y="963"/>
                      </a:lnTo>
                      <a:lnTo>
                        <a:pt x="815" y="963"/>
                      </a:lnTo>
                      <a:lnTo>
                        <a:pt x="816" y="963"/>
                      </a:lnTo>
                      <a:lnTo>
                        <a:pt x="816" y="964"/>
                      </a:lnTo>
                      <a:lnTo>
                        <a:pt x="816" y="965"/>
                      </a:lnTo>
                      <a:lnTo>
                        <a:pt x="818" y="965"/>
                      </a:lnTo>
                      <a:lnTo>
                        <a:pt x="816" y="965"/>
                      </a:lnTo>
                      <a:lnTo>
                        <a:pt x="818" y="965"/>
                      </a:lnTo>
                      <a:lnTo>
                        <a:pt x="818" y="966"/>
                      </a:lnTo>
                      <a:lnTo>
                        <a:pt x="818" y="967"/>
                      </a:lnTo>
                      <a:lnTo>
                        <a:pt x="819" y="967"/>
                      </a:lnTo>
                      <a:lnTo>
                        <a:pt x="819" y="968"/>
                      </a:lnTo>
                      <a:lnTo>
                        <a:pt x="819" y="969"/>
                      </a:lnTo>
                      <a:lnTo>
                        <a:pt x="820" y="969"/>
                      </a:lnTo>
                      <a:lnTo>
                        <a:pt x="821" y="969"/>
                      </a:lnTo>
                      <a:lnTo>
                        <a:pt x="822" y="970"/>
                      </a:lnTo>
                      <a:lnTo>
                        <a:pt x="821" y="970"/>
                      </a:lnTo>
                      <a:lnTo>
                        <a:pt x="820" y="970"/>
                      </a:lnTo>
                      <a:lnTo>
                        <a:pt x="820" y="969"/>
                      </a:lnTo>
                      <a:lnTo>
                        <a:pt x="819" y="969"/>
                      </a:lnTo>
                      <a:lnTo>
                        <a:pt x="819" y="970"/>
                      </a:lnTo>
                      <a:lnTo>
                        <a:pt x="819" y="971"/>
                      </a:lnTo>
                      <a:lnTo>
                        <a:pt x="820" y="971"/>
                      </a:lnTo>
                      <a:lnTo>
                        <a:pt x="821" y="971"/>
                      </a:lnTo>
                      <a:lnTo>
                        <a:pt x="821" y="973"/>
                      </a:lnTo>
                      <a:lnTo>
                        <a:pt x="821" y="974"/>
                      </a:lnTo>
                      <a:lnTo>
                        <a:pt x="821" y="975"/>
                      </a:lnTo>
                      <a:lnTo>
                        <a:pt x="821" y="974"/>
                      </a:lnTo>
                      <a:lnTo>
                        <a:pt x="821" y="975"/>
                      </a:lnTo>
                      <a:lnTo>
                        <a:pt x="822" y="975"/>
                      </a:lnTo>
                      <a:lnTo>
                        <a:pt x="823" y="975"/>
                      </a:lnTo>
                      <a:lnTo>
                        <a:pt x="823" y="974"/>
                      </a:lnTo>
                      <a:lnTo>
                        <a:pt x="823" y="973"/>
                      </a:lnTo>
                      <a:lnTo>
                        <a:pt x="822" y="973"/>
                      </a:lnTo>
                      <a:lnTo>
                        <a:pt x="823" y="973"/>
                      </a:lnTo>
                      <a:lnTo>
                        <a:pt x="824" y="973"/>
                      </a:lnTo>
                      <a:lnTo>
                        <a:pt x="824" y="971"/>
                      </a:lnTo>
                      <a:lnTo>
                        <a:pt x="825" y="971"/>
                      </a:lnTo>
                      <a:lnTo>
                        <a:pt x="826" y="971"/>
                      </a:lnTo>
                      <a:lnTo>
                        <a:pt x="826" y="970"/>
                      </a:lnTo>
                      <a:lnTo>
                        <a:pt x="826" y="971"/>
                      </a:lnTo>
                      <a:lnTo>
                        <a:pt x="826" y="970"/>
                      </a:lnTo>
                      <a:lnTo>
                        <a:pt x="826" y="971"/>
                      </a:lnTo>
                      <a:lnTo>
                        <a:pt x="826" y="973"/>
                      </a:lnTo>
                      <a:lnTo>
                        <a:pt x="827" y="971"/>
                      </a:lnTo>
                      <a:lnTo>
                        <a:pt x="828" y="971"/>
                      </a:lnTo>
                      <a:lnTo>
                        <a:pt x="828" y="973"/>
                      </a:lnTo>
                      <a:lnTo>
                        <a:pt x="827" y="973"/>
                      </a:lnTo>
                      <a:lnTo>
                        <a:pt x="828" y="973"/>
                      </a:lnTo>
                      <a:lnTo>
                        <a:pt x="828" y="974"/>
                      </a:lnTo>
                      <a:lnTo>
                        <a:pt x="829" y="974"/>
                      </a:lnTo>
                      <a:lnTo>
                        <a:pt x="829" y="975"/>
                      </a:lnTo>
                      <a:lnTo>
                        <a:pt x="829" y="976"/>
                      </a:lnTo>
                      <a:lnTo>
                        <a:pt x="828" y="976"/>
                      </a:lnTo>
                      <a:lnTo>
                        <a:pt x="828" y="975"/>
                      </a:lnTo>
                      <a:lnTo>
                        <a:pt x="827" y="975"/>
                      </a:lnTo>
                      <a:lnTo>
                        <a:pt x="826" y="975"/>
                      </a:lnTo>
                      <a:lnTo>
                        <a:pt x="825" y="975"/>
                      </a:lnTo>
                      <a:lnTo>
                        <a:pt x="824" y="975"/>
                      </a:lnTo>
                      <a:lnTo>
                        <a:pt x="824" y="976"/>
                      </a:lnTo>
                      <a:lnTo>
                        <a:pt x="824" y="977"/>
                      </a:lnTo>
                      <a:lnTo>
                        <a:pt x="824" y="978"/>
                      </a:lnTo>
                      <a:lnTo>
                        <a:pt x="825" y="978"/>
                      </a:lnTo>
                      <a:lnTo>
                        <a:pt x="825" y="979"/>
                      </a:lnTo>
                      <a:lnTo>
                        <a:pt x="824" y="979"/>
                      </a:lnTo>
                      <a:lnTo>
                        <a:pt x="823" y="979"/>
                      </a:lnTo>
                      <a:lnTo>
                        <a:pt x="823" y="980"/>
                      </a:lnTo>
                      <a:lnTo>
                        <a:pt x="824" y="979"/>
                      </a:lnTo>
                      <a:lnTo>
                        <a:pt x="825" y="979"/>
                      </a:lnTo>
                      <a:lnTo>
                        <a:pt x="826" y="979"/>
                      </a:lnTo>
                      <a:lnTo>
                        <a:pt x="826" y="980"/>
                      </a:lnTo>
                      <a:lnTo>
                        <a:pt x="825" y="980"/>
                      </a:lnTo>
                      <a:lnTo>
                        <a:pt x="825" y="981"/>
                      </a:lnTo>
                      <a:lnTo>
                        <a:pt x="824" y="981"/>
                      </a:lnTo>
                      <a:lnTo>
                        <a:pt x="824" y="980"/>
                      </a:lnTo>
                      <a:lnTo>
                        <a:pt x="824" y="981"/>
                      </a:lnTo>
                      <a:lnTo>
                        <a:pt x="824" y="982"/>
                      </a:lnTo>
                      <a:lnTo>
                        <a:pt x="825" y="982"/>
                      </a:lnTo>
                      <a:lnTo>
                        <a:pt x="825" y="981"/>
                      </a:lnTo>
                      <a:lnTo>
                        <a:pt x="826" y="981"/>
                      </a:lnTo>
                      <a:lnTo>
                        <a:pt x="826" y="980"/>
                      </a:lnTo>
                      <a:lnTo>
                        <a:pt x="827" y="981"/>
                      </a:lnTo>
                      <a:lnTo>
                        <a:pt x="827" y="982"/>
                      </a:lnTo>
                      <a:lnTo>
                        <a:pt x="827" y="983"/>
                      </a:lnTo>
                      <a:lnTo>
                        <a:pt x="826" y="983"/>
                      </a:lnTo>
                      <a:lnTo>
                        <a:pt x="826" y="982"/>
                      </a:lnTo>
                      <a:lnTo>
                        <a:pt x="826" y="983"/>
                      </a:lnTo>
                      <a:lnTo>
                        <a:pt x="827" y="983"/>
                      </a:lnTo>
                      <a:lnTo>
                        <a:pt x="827" y="984"/>
                      </a:lnTo>
                      <a:lnTo>
                        <a:pt x="828" y="984"/>
                      </a:lnTo>
                      <a:lnTo>
                        <a:pt x="828" y="983"/>
                      </a:lnTo>
                      <a:lnTo>
                        <a:pt x="827" y="983"/>
                      </a:lnTo>
                      <a:lnTo>
                        <a:pt x="827" y="982"/>
                      </a:lnTo>
                      <a:lnTo>
                        <a:pt x="827" y="983"/>
                      </a:lnTo>
                      <a:lnTo>
                        <a:pt x="828" y="983"/>
                      </a:lnTo>
                      <a:lnTo>
                        <a:pt x="828" y="984"/>
                      </a:lnTo>
                      <a:lnTo>
                        <a:pt x="829" y="984"/>
                      </a:lnTo>
                      <a:lnTo>
                        <a:pt x="829" y="986"/>
                      </a:lnTo>
                      <a:lnTo>
                        <a:pt x="829" y="984"/>
                      </a:lnTo>
                      <a:lnTo>
                        <a:pt x="829" y="986"/>
                      </a:lnTo>
                      <a:lnTo>
                        <a:pt x="828" y="986"/>
                      </a:lnTo>
                      <a:lnTo>
                        <a:pt x="827" y="986"/>
                      </a:lnTo>
                      <a:lnTo>
                        <a:pt x="827" y="984"/>
                      </a:lnTo>
                      <a:lnTo>
                        <a:pt x="826" y="984"/>
                      </a:lnTo>
                      <a:lnTo>
                        <a:pt x="827" y="984"/>
                      </a:lnTo>
                      <a:lnTo>
                        <a:pt x="827" y="986"/>
                      </a:lnTo>
                      <a:lnTo>
                        <a:pt x="828" y="987"/>
                      </a:lnTo>
                      <a:lnTo>
                        <a:pt x="827" y="987"/>
                      </a:lnTo>
                      <a:lnTo>
                        <a:pt x="832" y="987"/>
                      </a:lnTo>
                      <a:lnTo>
                        <a:pt x="833" y="987"/>
                      </a:lnTo>
                      <a:lnTo>
                        <a:pt x="834" y="987"/>
                      </a:lnTo>
                      <a:lnTo>
                        <a:pt x="827" y="987"/>
                      </a:lnTo>
                      <a:lnTo>
                        <a:pt x="835" y="988"/>
                      </a:lnTo>
                      <a:lnTo>
                        <a:pt x="834" y="988"/>
                      </a:lnTo>
                      <a:lnTo>
                        <a:pt x="833" y="988"/>
                      </a:lnTo>
                      <a:lnTo>
                        <a:pt x="832" y="988"/>
                      </a:lnTo>
                      <a:lnTo>
                        <a:pt x="831" y="988"/>
                      </a:lnTo>
                      <a:lnTo>
                        <a:pt x="831" y="989"/>
                      </a:lnTo>
                      <a:lnTo>
                        <a:pt x="829" y="989"/>
                      </a:lnTo>
                      <a:lnTo>
                        <a:pt x="831" y="990"/>
                      </a:lnTo>
                      <a:lnTo>
                        <a:pt x="831" y="991"/>
                      </a:lnTo>
                      <a:lnTo>
                        <a:pt x="831" y="992"/>
                      </a:lnTo>
                      <a:lnTo>
                        <a:pt x="832" y="992"/>
                      </a:lnTo>
                      <a:lnTo>
                        <a:pt x="833" y="994"/>
                      </a:lnTo>
                      <a:lnTo>
                        <a:pt x="833" y="995"/>
                      </a:lnTo>
                      <a:lnTo>
                        <a:pt x="833" y="994"/>
                      </a:lnTo>
                      <a:lnTo>
                        <a:pt x="832" y="994"/>
                      </a:lnTo>
                      <a:lnTo>
                        <a:pt x="832" y="993"/>
                      </a:lnTo>
                      <a:lnTo>
                        <a:pt x="831" y="993"/>
                      </a:lnTo>
                      <a:lnTo>
                        <a:pt x="831" y="994"/>
                      </a:lnTo>
                      <a:lnTo>
                        <a:pt x="831" y="993"/>
                      </a:lnTo>
                      <a:lnTo>
                        <a:pt x="829" y="993"/>
                      </a:lnTo>
                      <a:lnTo>
                        <a:pt x="829" y="992"/>
                      </a:lnTo>
                      <a:lnTo>
                        <a:pt x="828" y="992"/>
                      </a:lnTo>
                      <a:lnTo>
                        <a:pt x="829" y="992"/>
                      </a:lnTo>
                      <a:lnTo>
                        <a:pt x="828" y="992"/>
                      </a:lnTo>
                      <a:lnTo>
                        <a:pt x="828" y="991"/>
                      </a:lnTo>
                      <a:lnTo>
                        <a:pt x="827" y="991"/>
                      </a:lnTo>
                      <a:lnTo>
                        <a:pt x="827" y="992"/>
                      </a:lnTo>
                      <a:lnTo>
                        <a:pt x="827" y="993"/>
                      </a:lnTo>
                      <a:lnTo>
                        <a:pt x="827" y="994"/>
                      </a:lnTo>
                      <a:lnTo>
                        <a:pt x="827" y="995"/>
                      </a:lnTo>
                      <a:lnTo>
                        <a:pt x="828" y="995"/>
                      </a:lnTo>
                      <a:lnTo>
                        <a:pt x="828" y="996"/>
                      </a:lnTo>
                      <a:lnTo>
                        <a:pt x="829" y="996"/>
                      </a:lnTo>
                      <a:lnTo>
                        <a:pt x="829" y="998"/>
                      </a:lnTo>
                      <a:lnTo>
                        <a:pt x="831" y="998"/>
                      </a:lnTo>
                      <a:lnTo>
                        <a:pt x="829" y="998"/>
                      </a:lnTo>
                      <a:lnTo>
                        <a:pt x="829" y="996"/>
                      </a:lnTo>
                      <a:lnTo>
                        <a:pt x="829" y="995"/>
                      </a:lnTo>
                      <a:lnTo>
                        <a:pt x="831" y="996"/>
                      </a:lnTo>
                      <a:lnTo>
                        <a:pt x="831" y="998"/>
                      </a:lnTo>
                      <a:lnTo>
                        <a:pt x="831" y="999"/>
                      </a:lnTo>
                      <a:lnTo>
                        <a:pt x="832" y="999"/>
                      </a:lnTo>
                      <a:lnTo>
                        <a:pt x="832" y="1000"/>
                      </a:lnTo>
                      <a:lnTo>
                        <a:pt x="833" y="1000"/>
                      </a:lnTo>
                      <a:lnTo>
                        <a:pt x="833" y="1001"/>
                      </a:lnTo>
                      <a:lnTo>
                        <a:pt x="833" y="1002"/>
                      </a:lnTo>
                      <a:lnTo>
                        <a:pt x="833" y="1003"/>
                      </a:lnTo>
                      <a:lnTo>
                        <a:pt x="833" y="1004"/>
                      </a:lnTo>
                      <a:lnTo>
                        <a:pt x="834" y="1004"/>
                      </a:lnTo>
                      <a:lnTo>
                        <a:pt x="834" y="1005"/>
                      </a:lnTo>
                      <a:lnTo>
                        <a:pt x="833" y="1005"/>
                      </a:lnTo>
                      <a:lnTo>
                        <a:pt x="833" y="1006"/>
                      </a:lnTo>
                      <a:lnTo>
                        <a:pt x="832" y="1006"/>
                      </a:lnTo>
                      <a:lnTo>
                        <a:pt x="832" y="1007"/>
                      </a:lnTo>
                      <a:lnTo>
                        <a:pt x="832" y="1008"/>
                      </a:lnTo>
                      <a:lnTo>
                        <a:pt x="832" y="1009"/>
                      </a:lnTo>
                      <a:lnTo>
                        <a:pt x="832" y="1011"/>
                      </a:lnTo>
                      <a:lnTo>
                        <a:pt x="833" y="1011"/>
                      </a:lnTo>
                      <a:lnTo>
                        <a:pt x="834" y="1011"/>
                      </a:lnTo>
                      <a:lnTo>
                        <a:pt x="834" y="1012"/>
                      </a:lnTo>
                      <a:lnTo>
                        <a:pt x="834" y="1013"/>
                      </a:lnTo>
                      <a:lnTo>
                        <a:pt x="835" y="1014"/>
                      </a:lnTo>
                      <a:lnTo>
                        <a:pt x="836" y="1015"/>
                      </a:lnTo>
                      <a:lnTo>
                        <a:pt x="837" y="1015"/>
                      </a:lnTo>
                      <a:lnTo>
                        <a:pt x="838" y="1015"/>
                      </a:lnTo>
                      <a:lnTo>
                        <a:pt x="839" y="1015"/>
                      </a:lnTo>
                      <a:lnTo>
                        <a:pt x="839" y="1016"/>
                      </a:lnTo>
                      <a:lnTo>
                        <a:pt x="839" y="1017"/>
                      </a:lnTo>
                      <a:lnTo>
                        <a:pt x="839" y="1018"/>
                      </a:lnTo>
                      <a:lnTo>
                        <a:pt x="840" y="1018"/>
                      </a:lnTo>
                      <a:lnTo>
                        <a:pt x="839" y="1018"/>
                      </a:lnTo>
                      <a:lnTo>
                        <a:pt x="840" y="1018"/>
                      </a:lnTo>
                      <a:lnTo>
                        <a:pt x="839" y="1018"/>
                      </a:lnTo>
                      <a:lnTo>
                        <a:pt x="840" y="1018"/>
                      </a:lnTo>
                      <a:lnTo>
                        <a:pt x="841" y="1018"/>
                      </a:lnTo>
                      <a:lnTo>
                        <a:pt x="842" y="1018"/>
                      </a:lnTo>
                      <a:lnTo>
                        <a:pt x="841" y="1018"/>
                      </a:lnTo>
                      <a:lnTo>
                        <a:pt x="840" y="1018"/>
                      </a:lnTo>
                      <a:lnTo>
                        <a:pt x="840" y="1019"/>
                      </a:lnTo>
                      <a:lnTo>
                        <a:pt x="841" y="1019"/>
                      </a:lnTo>
                      <a:lnTo>
                        <a:pt x="839" y="1021"/>
                      </a:lnTo>
                      <a:lnTo>
                        <a:pt x="840" y="1021"/>
                      </a:lnTo>
                      <a:lnTo>
                        <a:pt x="841" y="1020"/>
                      </a:lnTo>
                      <a:lnTo>
                        <a:pt x="841" y="1021"/>
                      </a:lnTo>
                      <a:lnTo>
                        <a:pt x="842" y="1021"/>
                      </a:lnTo>
                      <a:lnTo>
                        <a:pt x="844" y="1021"/>
                      </a:lnTo>
                      <a:lnTo>
                        <a:pt x="842" y="1022"/>
                      </a:lnTo>
                      <a:lnTo>
                        <a:pt x="842" y="1024"/>
                      </a:lnTo>
                      <a:lnTo>
                        <a:pt x="841" y="1024"/>
                      </a:lnTo>
                      <a:lnTo>
                        <a:pt x="841" y="1025"/>
                      </a:lnTo>
                      <a:lnTo>
                        <a:pt x="842" y="1026"/>
                      </a:lnTo>
                      <a:lnTo>
                        <a:pt x="844" y="1026"/>
                      </a:lnTo>
                      <a:lnTo>
                        <a:pt x="844" y="1027"/>
                      </a:lnTo>
                      <a:lnTo>
                        <a:pt x="845" y="1028"/>
                      </a:lnTo>
                      <a:lnTo>
                        <a:pt x="842" y="1028"/>
                      </a:lnTo>
                      <a:lnTo>
                        <a:pt x="844" y="1029"/>
                      </a:lnTo>
                      <a:lnTo>
                        <a:pt x="845" y="1030"/>
                      </a:lnTo>
                      <a:lnTo>
                        <a:pt x="845" y="1033"/>
                      </a:lnTo>
                      <a:lnTo>
                        <a:pt x="845" y="1034"/>
                      </a:lnTo>
                      <a:lnTo>
                        <a:pt x="845" y="1035"/>
                      </a:lnTo>
                      <a:lnTo>
                        <a:pt x="846" y="1035"/>
                      </a:lnTo>
                      <a:lnTo>
                        <a:pt x="846" y="1037"/>
                      </a:lnTo>
                      <a:lnTo>
                        <a:pt x="845" y="1037"/>
                      </a:lnTo>
                      <a:lnTo>
                        <a:pt x="845" y="1038"/>
                      </a:lnTo>
                      <a:lnTo>
                        <a:pt x="844" y="1038"/>
                      </a:lnTo>
                      <a:lnTo>
                        <a:pt x="844" y="1039"/>
                      </a:lnTo>
                      <a:lnTo>
                        <a:pt x="845" y="1039"/>
                      </a:lnTo>
                      <a:lnTo>
                        <a:pt x="846" y="1039"/>
                      </a:lnTo>
                      <a:lnTo>
                        <a:pt x="846" y="1040"/>
                      </a:lnTo>
                      <a:lnTo>
                        <a:pt x="845" y="1040"/>
                      </a:lnTo>
                      <a:lnTo>
                        <a:pt x="846" y="1040"/>
                      </a:lnTo>
                      <a:lnTo>
                        <a:pt x="847" y="1040"/>
                      </a:lnTo>
                      <a:lnTo>
                        <a:pt x="847" y="1041"/>
                      </a:lnTo>
                      <a:lnTo>
                        <a:pt x="848" y="1040"/>
                      </a:lnTo>
                      <a:lnTo>
                        <a:pt x="849" y="1040"/>
                      </a:lnTo>
                      <a:lnTo>
                        <a:pt x="849" y="1041"/>
                      </a:lnTo>
                      <a:lnTo>
                        <a:pt x="849" y="1042"/>
                      </a:lnTo>
                      <a:lnTo>
                        <a:pt x="848" y="1042"/>
                      </a:lnTo>
                      <a:lnTo>
                        <a:pt x="847" y="1042"/>
                      </a:lnTo>
                      <a:lnTo>
                        <a:pt x="846" y="1042"/>
                      </a:lnTo>
                      <a:lnTo>
                        <a:pt x="846" y="1041"/>
                      </a:lnTo>
                      <a:lnTo>
                        <a:pt x="845" y="1042"/>
                      </a:lnTo>
                      <a:lnTo>
                        <a:pt x="846" y="1042"/>
                      </a:lnTo>
                      <a:lnTo>
                        <a:pt x="845" y="1042"/>
                      </a:lnTo>
                      <a:lnTo>
                        <a:pt x="845" y="1043"/>
                      </a:lnTo>
                      <a:lnTo>
                        <a:pt x="846" y="1042"/>
                      </a:lnTo>
                      <a:lnTo>
                        <a:pt x="847" y="1043"/>
                      </a:lnTo>
                      <a:lnTo>
                        <a:pt x="847" y="1044"/>
                      </a:lnTo>
                      <a:lnTo>
                        <a:pt x="847" y="1045"/>
                      </a:lnTo>
                      <a:lnTo>
                        <a:pt x="848" y="1045"/>
                      </a:lnTo>
                      <a:lnTo>
                        <a:pt x="848" y="1044"/>
                      </a:lnTo>
                      <a:lnTo>
                        <a:pt x="848" y="1043"/>
                      </a:lnTo>
                      <a:lnTo>
                        <a:pt x="849" y="1043"/>
                      </a:lnTo>
                      <a:lnTo>
                        <a:pt x="848" y="1044"/>
                      </a:lnTo>
                      <a:lnTo>
                        <a:pt x="848" y="1045"/>
                      </a:lnTo>
                      <a:lnTo>
                        <a:pt x="848" y="1046"/>
                      </a:lnTo>
                      <a:lnTo>
                        <a:pt x="849" y="1046"/>
                      </a:lnTo>
                      <a:lnTo>
                        <a:pt x="848" y="1046"/>
                      </a:lnTo>
                      <a:lnTo>
                        <a:pt x="847" y="1046"/>
                      </a:lnTo>
                      <a:lnTo>
                        <a:pt x="846" y="1045"/>
                      </a:lnTo>
                      <a:lnTo>
                        <a:pt x="846" y="1044"/>
                      </a:lnTo>
                      <a:lnTo>
                        <a:pt x="846" y="1043"/>
                      </a:lnTo>
                      <a:lnTo>
                        <a:pt x="846" y="1044"/>
                      </a:lnTo>
                      <a:lnTo>
                        <a:pt x="845" y="1044"/>
                      </a:lnTo>
                      <a:lnTo>
                        <a:pt x="845" y="1043"/>
                      </a:lnTo>
                      <a:lnTo>
                        <a:pt x="845" y="1042"/>
                      </a:lnTo>
                      <a:lnTo>
                        <a:pt x="844" y="1043"/>
                      </a:lnTo>
                      <a:lnTo>
                        <a:pt x="845" y="1044"/>
                      </a:lnTo>
                      <a:lnTo>
                        <a:pt x="845" y="1045"/>
                      </a:lnTo>
                      <a:lnTo>
                        <a:pt x="845" y="1046"/>
                      </a:lnTo>
                      <a:lnTo>
                        <a:pt x="846" y="1046"/>
                      </a:lnTo>
                      <a:lnTo>
                        <a:pt x="846" y="1047"/>
                      </a:lnTo>
                      <a:lnTo>
                        <a:pt x="846" y="1048"/>
                      </a:lnTo>
                      <a:lnTo>
                        <a:pt x="846" y="1050"/>
                      </a:lnTo>
                      <a:lnTo>
                        <a:pt x="847" y="1051"/>
                      </a:lnTo>
                      <a:lnTo>
                        <a:pt x="848" y="1051"/>
                      </a:lnTo>
                      <a:lnTo>
                        <a:pt x="849" y="1051"/>
                      </a:lnTo>
                      <a:lnTo>
                        <a:pt x="850" y="1051"/>
                      </a:lnTo>
                      <a:lnTo>
                        <a:pt x="850" y="1050"/>
                      </a:lnTo>
                      <a:lnTo>
                        <a:pt x="850" y="1051"/>
                      </a:lnTo>
                      <a:lnTo>
                        <a:pt x="850" y="1052"/>
                      </a:lnTo>
                      <a:lnTo>
                        <a:pt x="851" y="1052"/>
                      </a:lnTo>
                      <a:lnTo>
                        <a:pt x="852" y="1052"/>
                      </a:lnTo>
                      <a:lnTo>
                        <a:pt x="853" y="1052"/>
                      </a:lnTo>
                      <a:lnTo>
                        <a:pt x="853" y="1051"/>
                      </a:lnTo>
                      <a:lnTo>
                        <a:pt x="854" y="1051"/>
                      </a:lnTo>
                      <a:lnTo>
                        <a:pt x="854" y="1052"/>
                      </a:lnTo>
                      <a:lnTo>
                        <a:pt x="853" y="1052"/>
                      </a:lnTo>
                      <a:lnTo>
                        <a:pt x="853" y="1053"/>
                      </a:lnTo>
                      <a:lnTo>
                        <a:pt x="852" y="1053"/>
                      </a:lnTo>
                      <a:lnTo>
                        <a:pt x="851" y="1053"/>
                      </a:lnTo>
                      <a:lnTo>
                        <a:pt x="851" y="1052"/>
                      </a:lnTo>
                      <a:lnTo>
                        <a:pt x="850" y="1052"/>
                      </a:lnTo>
                      <a:lnTo>
                        <a:pt x="849" y="1052"/>
                      </a:lnTo>
                      <a:lnTo>
                        <a:pt x="849" y="1051"/>
                      </a:lnTo>
                      <a:lnTo>
                        <a:pt x="849" y="1052"/>
                      </a:lnTo>
                      <a:lnTo>
                        <a:pt x="848" y="1052"/>
                      </a:lnTo>
                      <a:lnTo>
                        <a:pt x="847" y="1052"/>
                      </a:lnTo>
                      <a:lnTo>
                        <a:pt x="847" y="1051"/>
                      </a:lnTo>
                      <a:lnTo>
                        <a:pt x="847" y="1052"/>
                      </a:lnTo>
                      <a:lnTo>
                        <a:pt x="846" y="1052"/>
                      </a:lnTo>
                      <a:lnTo>
                        <a:pt x="846" y="1051"/>
                      </a:lnTo>
                      <a:lnTo>
                        <a:pt x="845" y="1051"/>
                      </a:lnTo>
                      <a:lnTo>
                        <a:pt x="845" y="1050"/>
                      </a:lnTo>
                      <a:lnTo>
                        <a:pt x="845" y="1051"/>
                      </a:lnTo>
                      <a:lnTo>
                        <a:pt x="846" y="1051"/>
                      </a:lnTo>
                      <a:lnTo>
                        <a:pt x="845" y="1051"/>
                      </a:lnTo>
                      <a:lnTo>
                        <a:pt x="846" y="1051"/>
                      </a:lnTo>
                      <a:lnTo>
                        <a:pt x="845" y="1051"/>
                      </a:lnTo>
                      <a:lnTo>
                        <a:pt x="846" y="1052"/>
                      </a:lnTo>
                      <a:lnTo>
                        <a:pt x="847" y="1052"/>
                      </a:lnTo>
                      <a:lnTo>
                        <a:pt x="846" y="1052"/>
                      </a:lnTo>
                      <a:lnTo>
                        <a:pt x="846" y="1053"/>
                      </a:lnTo>
                      <a:lnTo>
                        <a:pt x="846" y="1054"/>
                      </a:lnTo>
                      <a:lnTo>
                        <a:pt x="846" y="1055"/>
                      </a:lnTo>
                      <a:lnTo>
                        <a:pt x="846" y="1056"/>
                      </a:lnTo>
                      <a:lnTo>
                        <a:pt x="847" y="1056"/>
                      </a:lnTo>
                      <a:lnTo>
                        <a:pt x="847" y="1057"/>
                      </a:lnTo>
                      <a:lnTo>
                        <a:pt x="847" y="1058"/>
                      </a:lnTo>
                      <a:lnTo>
                        <a:pt x="847" y="1057"/>
                      </a:lnTo>
                      <a:lnTo>
                        <a:pt x="846" y="1057"/>
                      </a:lnTo>
                      <a:lnTo>
                        <a:pt x="847" y="1057"/>
                      </a:lnTo>
                      <a:lnTo>
                        <a:pt x="847" y="1058"/>
                      </a:lnTo>
                      <a:lnTo>
                        <a:pt x="848" y="1058"/>
                      </a:lnTo>
                      <a:lnTo>
                        <a:pt x="848" y="1059"/>
                      </a:lnTo>
                      <a:lnTo>
                        <a:pt x="848" y="1058"/>
                      </a:lnTo>
                      <a:lnTo>
                        <a:pt x="848" y="1059"/>
                      </a:lnTo>
                      <a:lnTo>
                        <a:pt x="848" y="1060"/>
                      </a:lnTo>
                      <a:lnTo>
                        <a:pt x="849" y="1060"/>
                      </a:lnTo>
                      <a:lnTo>
                        <a:pt x="849" y="1059"/>
                      </a:lnTo>
                      <a:lnTo>
                        <a:pt x="849" y="1060"/>
                      </a:lnTo>
                      <a:lnTo>
                        <a:pt x="849" y="1061"/>
                      </a:lnTo>
                      <a:lnTo>
                        <a:pt x="849" y="1063"/>
                      </a:lnTo>
                      <a:lnTo>
                        <a:pt x="849" y="1064"/>
                      </a:lnTo>
                      <a:lnTo>
                        <a:pt x="850" y="1065"/>
                      </a:lnTo>
                      <a:lnTo>
                        <a:pt x="850" y="1066"/>
                      </a:lnTo>
                      <a:lnTo>
                        <a:pt x="849" y="1066"/>
                      </a:lnTo>
                      <a:lnTo>
                        <a:pt x="849" y="1067"/>
                      </a:lnTo>
                      <a:lnTo>
                        <a:pt x="850" y="1067"/>
                      </a:lnTo>
                      <a:lnTo>
                        <a:pt x="849" y="1068"/>
                      </a:lnTo>
                      <a:lnTo>
                        <a:pt x="849" y="1067"/>
                      </a:lnTo>
                      <a:lnTo>
                        <a:pt x="849" y="1068"/>
                      </a:lnTo>
                      <a:lnTo>
                        <a:pt x="849" y="1069"/>
                      </a:lnTo>
                      <a:lnTo>
                        <a:pt x="850" y="1069"/>
                      </a:lnTo>
                      <a:lnTo>
                        <a:pt x="850" y="1070"/>
                      </a:lnTo>
                      <a:lnTo>
                        <a:pt x="850" y="1071"/>
                      </a:lnTo>
                      <a:lnTo>
                        <a:pt x="849" y="1071"/>
                      </a:lnTo>
                      <a:lnTo>
                        <a:pt x="850" y="1071"/>
                      </a:lnTo>
                      <a:lnTo>
                        <a:pt x="849" y="1071"/>
                      </a:lnTo>
                      <a:lnTo>
                        <a:pt x="849" y="1072"/>
                      </a:lnTo>
                      <a:lnTo>
                        <a:pt x="849" y="1073"/>
                      </a:lnTo>
                      <a:lnTo>
                        <a:pt x="849" y="1074"/>
                      </a:lnTo>
                      <a:lnTo>
                        <a:pt x="850" y="1074"/>
                      </a:lnTo>
                      <a:lnTo>
                        <a:pt x="849" y="1073"/>
                      </a:lnTo>
                      <a:lnTo>
                        <a:pt x="850" y="1073"/>
                      </a:lnTo>
                      <a:lnTo>
                        <a:pt x="850" y="1074"/>
                      </a:lnTo>
                      <a:lnTo>
                        <a:pt x="851" y="1074"/>
                      </a:lnTo>
                      <a:lnTo>
                        <a:pt x="852" y="1073"/>
                      </a:lnTo>
                      <a:lnTo>
                        <a:pt x="852" y="1072"/>
                      </a:lnTo>
                      <a:lnTo>
                        <a:pt x="851" y="1072"/>
                      </a:lnTo>
                      <a:lnTo>
                        <a:pt x="851" y="1071"/>
                      </a:lnTo>
                      <a:lnTo>
                        <a:pt x="850" y="1071"/>
                      </a:lnTo>
                      <a:lnTo>
                        <a:pt x="851" y="1071"/>
                      </a:lnTo>
                      <a:lnTo>
                        <a:pt x="851" y="1072"/>
                      </a:lnTo>
                      <a:lnTo>
                        <a:pt x="852" y="1072"/>
                      </a:lnTo>
                      <a:lnTo>
                        <a:pt x="851" y="1071"/>
                      </a:lnTo>
                      <a:lnTo>
                        <a:pt x="851" y="1070"/>
                      </a:lnTo>
                      <a:lnTo>
                        <a:pt x="851" y="1071"/>
                      </a:lnTo>
                      <a:lnTo>
                        <a:pt x="852" y="1070"/>
                      </a:lnTo>
                      <a:lnTo>
                        <a:pt x="851" y="1070"/>
                      </a:lnTo>
                      <a:lnTo>
                        <a:pt x="851" y="1071"/>
                      </a:lnTo>
                      <a:lnTo>
                        <a:pt x="850" y="1071"/>
                      </a:lnTo>
                      <a:lnTo>
                        <a:pt x="850" y="1070"/>
                      </a:lnTo>
                      <a:lnTo>
                        <a:pt x="851" y="1070"/>
                      </a:lnTo>
                      <a:lnTo>
                        <a:pt x="851" y="1069"/>
                      </a:lnTo>
                      <a:lnTo>
                        <a:pt x="852" y="1069"/>
                      </a:lnTo>
                      <a:lnTo>
                        <a:pt x="852" y="1070"/>
                      </a:lnTo>
                      <a:lnTo>
                        <a:pt x="852" y="1071"/>
                      </a:lnTo>
                      <a:lnTo>
                        <a:pt x="853" y="1071"/>
                      </a:lnTo>
                      <a:lnTo>
                        <a:pt x="853" y="1072"/>
                      </a:lnTo>
                      <a:lnTo>
                        <a:pt x="854" y="1072"/>
                      </a:lnTo>
                      <a:lnTo>
                        <a:pt x="854" y="1071"/>
                      </a:lnTo>
                      <a:lnTo>
                        <a:pt x="853" y="1071"/>
                      </a:lnTo>
                      <a:lnTo>
                        <a:pt x="853" y="1070"/>
                      </a:lnTo>
                      <a:lnTo>
                        <a:pt x="854" y="1071"/>
                      </a:lnTo>
                      <a:lnTo>
                        <a:pt x="854" y="1070"/>
                      </a:lnTo>
                      <a:lnTo>
                        <a:pt x="854" y="1071"/>
                      </a:lnTo>
                      <a:lnTo>
                        <a:pt x="855" y="1071"/>
                      </a:lnTo>
                      <a:lnTo>
                        <a:pt x="855" y="1070"/>
                      </a:lnTo>
                      <a:lnTo>
                        <a:pt x="857" y="1070"/>
                      </a:lnTo>
                      <a:lnTo>
                        <a:pt x="855" y="1071"/>
                      </a:lnTo>
                      <a:lnTo>
                        <a:pt x="857" y="1071"/>
                      </a:lnTo>
                      <a:lnTo>
                        <a:pt x="857" y="1070"/>
                      </a:lnTo>
                      <a:lnTo>
                        <a:pt x="858" y="1070"/>
                      </a:lnTo>
                      <a:lnTo>
                        <a:pt x="858" y="1071"/>
                      </a:lnTo>
                      <a:lnTo>
                        <a:pt x="858" y="1070"/>
                      </a:lnTo>
                      <a:lnTo>
                        <a:pt x="857" y="1071"/>
                      </a:lnTo>
                      <a:lnTo>
                        <a:pt x="855" y="1071"/>
                      </a:lnTo>
                      <a:lnTo>
                        <a:pt x="855" y="1072"/>
                      </a:lnTo>
                      <a:lnTo>
                        <a:pt x="857" y="1072"/>
                      </a:lnTo>
                      <a:lnTo>
                        <a:pt x="857" y="1071"/>
                      </a:lnTo>
                      <a:lnTo>
                        <a:pt x="857" y="1072"/>
                      </a:lnTo>
                      <a:lnTo>
                        <a:pt x="857" y="1073"/>
                      </a:lnTo>
                      <a:lnTo>
                        <a:pt x="855" y="1073"/>
                      </a:lnTo>
                      <a:lnTo>
                        <a:pt x="855" y="1074"/>
                      </a:lnTo>
                      <a:lnTo>
                        <a:pt x="855" y="1076"/>
                      </a:lnTo>
                      <a:lnTo>
                        <a:pt x="855" y="1074"/>
                      </a:lnTo>
                      <a:lnTo>
                        <a:pt x="855" y="1073"/>
                      </a:lnTo>
                      <a:lnTo>
                        <a:pt x="854" y="1073"/>
                      </a:lnTo>
                      <a:lnTo>
                        <a:pt x="854" y="1072"/>
                      </a:lnTo>
                      <a:lnTo>
                        <a:pt x="854" y="1073"/>
                      </a:lnTo>
                      <a:lnTo>
                        <a:pt x="853" y="1073"/>
                      </a:lnTo>
                      <a:lnTo>
                        <a:pt x="853" y="1074"/>
                      </a:lnTo>
                      <a:lnTo>
                        <a:pt x="854" y="1074"/>
                      </a:lnTo>
                      <a:lnTo>
                        <a:pt x="854" y="1076"/>
                      </a:lnTo>
                      <a:lnTo>
                        <a:pt x="854" y="1077"/>
                      </a:lnTo>
                      <a:lnTo>
                        <a:pt x="853" y="1077"/>
                      </a:lnTo>
                      <a:lnTo>
                        <a:pt x="852" y="1077"/>
                      </a:lnTo>
                      <a:lnTo>
                        <a:pt x="851" y="1078"/>
                      </a:lnTo>
                      <a:lnTo>
                        <a:pt x="852" y="1078"/>
                      </a:lnTo>
                      <a:lnTo>
                        <a:pt x="853" y="1078"/>
                      </a:lnTo>
                      <a:lnTo>
                        <a:pt x="852" y="1078"/>
                      </a:lnTo>
                      <a:lnTo>
                        <a:pt x="852" y="1077"/>
                      </a:lnTo>
                      <a:lnTo>
                        <a:pt x="853" y="1077"/>
                      </a:lnTo>
                      <a:lnTo>
                        <a:pt x="854" y="1077"/>
                      </a:lnTo>
                      <a:lnTo>
                        <a:pt x="854" y="1076"/>
                      </a:lnTo>
                      <a:lnTo>
                        <a:pt x="855" y="1076"/>
                      </a:lnTo>
                      <a:lnTo>
                        <a:pt x="855" y="1077"/>
                      </a:lnTo>
                      <a:lnTo>
                        <a:pt x="855" y="1078"/>
                      </a:lnTo>
                      <a:lnTo>
                        <a:pt x="854" y="1078"/>
                      </a:lnTo>
                      <a:lnTo>
                        <a:pt x="853" y="1078"/>
                      </a:lnTo>
                      <a:lnTo>
                        <a:pt x="854" y="1079"/>
                      </a:lnTo>
                      <a:lnTo>
                        <a:pt x="855" y="1079"/>
                      </a:lnTo>
                      <a:lnTo>
                        <a:pt x="855" y="1078"/>
                      </a:lnTo>
                      <a:lnTo>
                        <a:pt x="855" y="1077"/>
                      </a:lnTo>
                      <a:lnTo>
                        <a:pt x="855" y="1076"/>
                      </a:lnTo>
                      <a:lnTo>
                        <a:pt x="857" y="1076"/>
                      </a:lnTo>
                      <a:lnTo>
                        <a:pt x="858" y="1076"/>
                      </a:lnTo>
                      <a:lnTo>
                        <a:pt x="859" y="1076"/>
                      </a:lnTo>
                      <a:lnTo>
                        <a:pt x="859" y="1077"/>
                      </a:lnTo>
                      <a:lnTo>
                        <a:pt x="858" y="1077"/>
                      </a:lnTo>
                      <a:lnTo>
                        <a:pt x="857" y="1077"/>
                      </a:lnTo>
                      <a:lnTo>
                        <a:pt x="857" y="1078"/>
                      </a:lnTo>
                      <a:lnTo>
                        <a:pt x="858" y="1078"/>
                      </a:lnTo>
                      <a:lnTo>
                        <a:pt x="859" y="1078"/>
                      </a:lnTo>
                      <a:lnTo>
                        <a:pt x="860" y="1078"/>
                      </a:lnTo>
                      <a:lnTo>
                        <a:pt x="861" y="1078"/>
                      </a:lnTo>
                      <a:lnTo>
                        <a:pt x="862" y="1078"/>
                      </a:lnTo>
                      <a:lnTo>
                        <a:pt x="861" y="1078"/>
                      </a:lnTo>
                      <a:lnTo>
                        <a:pt x="861" y="1077"/>
                      </a:lnTo>
                      <a:lnTo>
                        <a:pt x="862" y="1077"/>
                      </a:lnTo>
                      <a:lnTo>
                        <a:pt x="861" y="1077"/>
                      </a:lnTo>
                      <a:lnTo>
                        <a:pt x="861" y="1076"/>
                      </a:lnTo>
                      <a:lnTo>
                        <a:pt x="861" y="1077"/>
                      </a:lnTo>
                      <a:lnTo>
                        <a:pt x="860" y="1077"/>
                      </a:lnTo>
                      <a:lnTo>
                        <a:pt x="860" y="1076"/>
                      </a:lnTo>
                      <a:lnTo>
                        <a:pt x="860" y="1077"/>
                      </a:lnTo>
                      <a:lnTo>
                        <a:pt x="860" y="1076"/>
                      </a:lnTo>
                      <a:lnTo>
                        <a:pt x="859" y="1076"/>
                      </a:lnTo>
                      <a:lnTo>
                        <a:pt x="860" y="1076"/>
                      </a:lnTo>
                      <a:lnTo>
                        <a:pt x="860" y="1074"/>
                      </a:lnTo>
                      <a:lnTo>
                        <a:pt x="861" y="1074"/>
                      </a:lnTo>
                      <a:lnTo>
                        <a:pt x="861" y="1076"/>
                      </a:lnTo>
                      <a:lnTo>
                        <a:pt x="862" y="1076"/>
                      </a:lnTo>
                      <a:lnTo>
                        <a:pt x="862" y="1074"/>
                      </a:lnTo>
                      <a:lnTo>
                        <a:pt x="863" y="1074"/>
                      </a:lnTo>
                      <a:lnTo>
                        <a:pt x="863" y="1076"/>
                      </a:lnTo>
                      <a:lnTo>
                        <a:pt x="863" y="1074"/>
                      </a:lnTo>
                      <a:lnTo>
                        <a:pt x="862" y="1076"/>
                      </a:lnTo>
                      <a:lnTo>
                        <a:pt x="862" y="1077"/>
                      </a:lnTo>
                      <a:lnTo>
                        <a:pt x="861" y="1077"/>
                      </a:lnTo>
                      <a:lnTo>
                        <a:pt x="862" y="1077"/>
                      </a:lnTo>
                      <a:lnTo>
                        <a:pt x="863" y="1077"/>
                      </a:lnTo>
                      <a:lnTo>
                        <a:pt x="863" y="1076"/>
                      </a:lnTo>
                      <a:lnTo>
                        <a:pt x="863" y="1074"/>
                      </a:lnTo>
                      <a:lnTo>
                        <a:pt x="864" y="1074"/>
                      </a:lnTo>
                      <a:lnTo>
                        <a:pt x="864" y="1073"/>
                      </a:lnTo>
                      <a:lnTo>
                        <a:pt x="865" y="1073"/>
                      </a:lnTo>
                      <a:lnTo>
                        <a:pt x="865" y="1072"/>
                      </a:lnTo>
                      <a:lnTo>
                        <a:pt x="865" y="1071"/>
                      </a:lnTo>
                      <a:lnTo>
                        <a:pt x="866" y="1071"/>
                      </a:lnTo>
                      <a:lnTo>
                        <a:pt x="865" y="1071"/>
                      </a:lnTo>
                      <a:lnTo>
                        <a:pt x="866" y="1071"/>
                      </a:lnTo>
                      <a:lnTo>
                        <a:pt x="866" y="1070"/>
                      </a:lnTo>
                      <a:lnTo>
                        <a:pt x="866" y="1069"/>
                      </a:lnTo>
                      <a:lnTo>
                        <a:pt x="865" y="1069"/>
                      </a:lnTo>
                      <a:lnTo>
                        <a:pt x="865" y="1068"/>
                      </a:lnTo>
                      <a:lnTo>
                        <a:pt x="865" y="1067"/>
                      </a:lnTo>
                      <a:lnTo>
                        <a:pt x="865" y="1068"/>
                      </a:lnTo>
                      <a:lnTo>
                        <a:pt x="866" y="1068"/>
                      </a:lnTo>
                      <a:lnTo>
                        <a:pt x="867" y="1069"/>
                      </a:lnTo>
                      <a:lnTo>
                        <a:pt x="869" y="1069"/>
                      </a:lnTo>
                      <a:lnTo>
                        <a:pt x="870" y="1068"/>
                      </a:lnTo>
                      <a:lnTo>
                        <a:pt x="870" y="1067"/>
                      </a:lnTo>
                      <a:lnTo>
                        <a:pt x="871" y="1068"/>
                      </a:lnTo>
                      <a:lnTo>
                        <a:pt x="871" y="1069"/>
                      </a:lnTo>
                      <a:lnTo>
                        <a:pt x="871" y="1070"/>
                      </a:lnTo>
                      <a:lnTo>
                        <a:pt x="872" y="1070"/>
                      </a:lnTo>
                      <a:lnTo>
                        <a:pt x="872" y="1069"/>
                      </a:lnTo>
                      <a:lnTo>
                        <a:pt x="873" y="1069"/>
                      </a:lnTo>
                      <a:lnTo>
                        <a:pt x="874" y="1069"/>
                      </a:lnTo>
                      <a:lnTo>
                        <a:pt x="873" y="1069"/>
                      </a:lnTo>
                      <a:lnTo>
                        <a:pt x="874" y="1069"/>
                      </a:lnTo>
                      <a:lnTo>
                        <a:pt x="874" y="1068"/>
                      </a:lnTo>
                      <a:lnTo>
                        <a:pt x="873" y="1068"/>
                      </a:lnTo>
                      <a:lnTo>
                        <a:pt x="874" y="1068"/>
                      </a:lnTo>
                      <a:lnTo>
                        <a:pt x="875" y="1068"/>
                      </a:lnTo>
                      <a:lnTo>
                        <a:pt x="876" y="1068"/>
                      </a:lnTo>
                      <a:lnTo>
                        <a:pt x="876" y="1067"/>
                      </a:lnTo>
                      <a:lnTo>
                        <a:pt x="876" y="1068"/>
                      </a:lnTo>
                      <a:lnTo>
                        <a:pt x="877" y="1068"/>
                      </a:lnTo>
                      <a:lnTo>
                        <a:pt x="877" y="1067"/>
                      </a:lnTo>
                      <a:lnTo>
                        <a:pt x="877" y="1066"/>
                      </a:lnTo>
                      <a:lnTo>
                        <a:pt x="878" y="1066"/>
                      </a:lnTo>
                      <a:lnTo>
                        <a:pt x="877" y="1066"/>
                      </a:lnTo>
                      <a:lnTo>
                        <a:pt x="878" y="1066"/>
                      </a:lnTo>
                      <a:lnTo>
                        <a:pt x="878" y="1065"/>
                      </a:lnTo>
                      <a:lnTo>
                        <a:pt x="877" y="1065"/>
                      </a:lnTo>
                      <a:lnTo>
                        <a:pt x="878" y="1065"/>
                      </a:lnTo>
                      <a:lnTo>
                        <a:pt x="878" y="1066"/>
                      </a:lnTo>
                      <a:lnTo>
                        <a:pt x="878" y="1065"/>
                      </a:lnTo>
                      <a:lnTo>
                        <a:pt x="879" y="1066"/>
                      </a:lnTo>
                      <a:lnTo>
                        <a:pt x="878" y="1065"/>
                      </a:lnTo>
                      <a:lnTo>
                        <a:pt x="879" y="1065"/>
                      </a:lnTo>
                      <a:lnTo>
                        <a:pt x="879" y="1064"/>
                      </a:lnTo>
                      <a:lnTo>
                        <a:pt x="880" y="1064"/>
                      </a:lnTo>
                      <a:lnTo>
                        <a:pt x="879" y="1064"/>
                      </a:lnTo>
                      <a:lnTo>
                        <a:pt x="879" y="1063"/>
                      </a:lnTo>
                      <a:lnTo>
                        <a:pt x="880" y="1063"/>
                      </a:lnTo>
                      <a:lnTo>
                        <a:pt x="879" y="1063"/>
                      </a:lnTo>
                      <a:lnTo>
                        <a:pt x="879" y="1064"/>
                      </a:lnTo>
                      <a:lnTo>
                        <a:pt x="880" y="1064"/>
                      </a:lnTo>
                      <a:lnTo>
                        <a:pt x="879" y="1064"/>
                      </a:lnTo>
                      <a:lnTo>
                        <a:pt x="880" y="1063"/>
                      </a:lnTo>
                      <a:lnTo>
                        <a:pt x="880" y="1064"/>
                      </a:lnTo>
                      <a:lnTo>
                        <a:pt x="880" y="1065"/>
                      </a:lnTo>
                      <a:lnTo>
                        <a:pt x="880" y="1066"/>
                      </a:lnTo>
                      <a:lnTo>
                        <a:pt x="879" y="1066"/>
                      </a:lnTo>
                      <a:lnTo>
                        <a:pt x="879" y="1067"/>
                      </a:lnTo>
                      <a:lnTo>
                        <a:pt x="878" y="1068"/>
                      </a:lnTo>
                      <a:lnTo>
                        <a:pt x="877" y="1069"/>
                      </a:lnTo>
                      <a:lnTo>
                        <a:pt x="877" y="1070"/>
                      </a:lnTo>
                      <a:lnTo>
                        <a:pt x="876" y="1070"/>
                      </a:lnTo>
                      <a:lnTo>
                        <a:pt x="876" y="1071"/>
                      </a:lnTo>
                      <a:lnTo>
                        <a:pt x="876" y="1070"/>
                      </a:lnTo>
                      <a:lnTo>
                        <a:pt x="875" y="1071"/>
                      </a:lnTo>
                      <a:lnTo>
                        <a:pt x="875" y="1072"/>
                      </a:lnTo>
                      <a:lnTo>
                        <a:pt x="874" y="1072"/>
                      </a:lnTo>
                      <a:lnTo>
                        <a:pt x="874" y="1073"/>
                      </a:lnTo>
                      <a:lnTo>
                        <a:pt x="874" y="1074"/>
                      </a:lnTo>
                      <a:lnTo>
                        <a:pt x="873" y="1076"/>
                      </a:lnTo>
                      <a:lnTo>
                        <a:pt x="873" y="1077"/>
                      </a:lnTo>
                      <a:lnTo>
                        <a:pt x="873" y="1076"/>
                      </a:lnTo>
                      <a:lnTo>
                        <a:pt x="872" y="1076"/>
                      </a:lnTo>
                      <a:lnTo>
                        <a:pt x="872" y="1077"/>
                      </a:lnTo>
                      <a:lnTo>
                        <a:pt x="873" y="1077"/>
                      </a:lnTo>
                      <a:lnTo>
                        <a:pt x="872" y="1077"/>
                      </a:lnTo>
                      <a:lnTo>
                        <a:pt x="872" y="1078"/>
                      </a:lnTo>
                      <a:lnTo>
                        <a:pt x="872" y="1079"/>
                      </a:lnTo>
                      <a:lnTo>
                        <a:pt x="871" y="1079"/>
                      </a:lnTo>
                      <a:lnTo>
                        <a:pt x="871" y="1080"/>
                      </a:lnTo>
                      <a:lnTo>
                        <a:pt x="871" y="1081"/>
                      </a:lnTo>
                      <a:lnTo>
                        <a:pt x="870" y="1081"/>
                      </a:lnTo>
                      <a:lnTo>
                        <a:pt x="870" y="1082"/>
                      </a:lnTo>
                      <a:lnTo>
                        <a:pt x="869" y="1082"/>
                      </a:lnTo>
                      <a:lnTo>
                        <a:pt x="870" y="1082"/>
                      </a:lnTo>
                      <a:lnTo>
                        <a:pt x="870" y="1083"/>
                      </a:lnTo>
                      <a:lnTo>
                        <a:pt x="869" y="1083"/>
                      </a:lnTo>
                      <a:lnTo>
                        <a:pt x="869" y="1084"/>
                      </a:lnTo>
                      <a:lnTo>
                        <a:pt x="867" y="1084"/>
                      </a:lnTo>
                      <a:lnTo>
                        <a:pt x="869" y="1084"/>
                      </a:lnTo>
                      <a:lnTo>
                        <a:pt x="867" y="1084"/>
                      </a:lnTo>
                      <a:lnTo>
                        <a:pt x="867" y="1085"/>
                      </a:lnTo>
                      <a:lnTo>
                        <a:pt x="866" y="1086"/>
                      </a:lnTo>
                      <a:lnTo>
                        <a:pt x="866" y="1085"/>
                      </a:lnTo>
                      <a:lnTo>
                        <a:pt x="866" y="1086"/>
                      </a:lnTo>
                      <a:lnTo>
                        <a:pt x="867" y="1086"/>
                      </a:lnTo>
                      <a:lnTo>
                        <a:pt x="867" y="1085"/>
                      </a:lnTo>
                      <a:lnTo>
                        <a:pt x="867" y="1086"/>
                      </a:lnTo>
                      <a:lnTo>
                        <a:pt x="866" y="1086"/>
                      </a:lnTo>
                      <a:lnTo>
                        <a:pt x="866" y="1088"/>
                      </a:lnTo>
                      <a:lnTo>
                        <a:pt x="865" y="1088"/>
                      </a:lnTo>
                      <a:lnTo>
                        <a:pt x="864" y="1090"/>
                      </a:lnTo>
                      <a:lnTo>
                        <a:pt x="865" y="1090"/>
                      </a:lnTo>
                      <a:lnTo>
                        <a:pt x="865" y="1091"/>
                      </a:lnTo>
                      <a:lnTo>
                        <a:pt x="864" y="1091"/>
                      </a:lnTo>
                      <a:lnTo>
                        <a:pt x="864" y="1092"/>
                      </a:lnTo>
                      <a:lnTo>
                        <a:pt x="863" y="1092"/>
                      </a:lnTo>
                      <a:lnTo>
                        <a:pt x="862" y="1092"/>
                      </a:lnTo>
                      <a:lnTo>
                        <a:pt x="862" y="1093"/>
                      </a:lnTo>
                      <a:lnTo>
                        <a:pt x="861" y="1093"/>
                      </a:lnTo>
                      <a:lnTo>
                        <a:pt x="861" y="1094"/>
                      </a:lnTo>
                      <a:lnTo>
                        <a:pt x="859" y="1095"/>
                      </a:lnTo>
                      <a:lnTo>
                        <a:pt x="858" y="1095"/>
                      </a:lnTo>
                      <a:lnTo>
                        <a:pt x="858" y="1094"/>
                      </a:lnTo>
                      <a:lnTo>
                        <a:pt x="858" y="1095"/>
                      </a:lnTo>
                      <a:lnTo>
                        <a:pt x="858" y="1096"/>
                      </a:lnTo>
                      <a:lnTo>
                        <a:pt x="857" y="1096"/>
                      </a:lnTo>
                      <a:lnTo>
                        <a:pt x="857" y="1097"/>
                      </a:lnTo>
                      <a:lnTo>
                        <a:pt x="855" y="1097"/>
                      </a:lnTo>
                      <a:lnTo>
                        <a:pt x="846" y="1106"/>
                      </a:lnTo>
                      <a:lnTo>
                        <a:pt x="840" y="1110"/>
                      </a:lnTo>
                      <a:lnTo>
                        <a:pt x="834" y="1115"/>
                      </a:lnTo>
                      <a:lnTo>
                        <a:pt x="825" y="1121"/>
                      </a:lnTo>
                      <a:lnTo>
                        <a:pt x="806" y="1134"/>
                      </a:lnTo>
                      <a:lnTo>
                        <a:pt x="801" y="1137"/>
                      </a:lnTo>
                      <a:lnTo>
                        <a:pt x="797" y="1142"/>
                      </a:lnTo>
                      <a:lnTo>
                        <a:pt x="796" y="1142"/>
                      </a:lnTo>
                      <a:lnTo>
                        <a:pt x="787" y="1147"/>
                      </a:lnTo>
                      <a:lnTo>
                        <a:pt x="785" y="1148"/>
                      </a:lnTo>
                      <a:lnTo>
                        <a:pt x="784" y="1148"/>
                      </a:lnTo>
                      <a:lnTo>
                        <a:pt x="783" y="1149"/>
                      </a:lnTo>
                      <a:lnTo>
                        <a:pt x="782" y="1149"/>
                      </a:lnTo>
                      <a:lnTo>
                        <a:pt x="780" y="1150"/>
                      </a:lnTo>
                      <a:lnTo>
                        <a:pt x="779" y="1151"/>
                      </a:lnTo>
                      <a:lnTo>
                        <a:pt x="777" y="1153"/>
                      </a:lnTo>
                      <a:lnTo>
                        <a:pt x="776" y="1153"/>
                      </a:lnTo>
                      <a:lnTo>
                        <a:pt x="775" y="1154"/>
                      </a:lnTo>
                      <a:lnTo>
                        <a:pt x="773" y="1155"/>
                      </a:lnTo>
                      <a:lnTo>
                        <a:pt x="773" y="1154"/>
                      </a:lnTo>
                      <a:lnTo>
                        <a:pt x="773" y="1153"/>
                      </a:lnTo>
                      <a:lnTo>
                        <a:pt x="773" y="1151"/>
                      </a:lnTo>
                      <a:lnTo>
                        <a:pt x="773" y="1150"/>
                      </a:lnTo>
                      <a:lnTo>
                        <a:pt x="774" y="1149"/>
                      </a:lnTo>
                      <a:lnTo>
                        <a:pt x="774" y="1148"/>
                      </a:lnTo>
                      <a:lnTo>
                        <a:pt x="774" y="1147"/>
                      </a:lnTo>
                      <a:lnTo>
                        <a:pt x="774" y="1146"/>
                      </a:lnTo>
                      <a:lnTo>
                        <a:pt x="774" y="1145"/>
                      </a:lnTo>
                      <a:lnTo>
                        <a:pt x="775" y="1145"/>
                      </a:lnTo>
                      <a:lnTo>
                        <a:pt x="775" y="1144"/>
                      </a:lnTo>
                      <a:lnTo>
                        <a:pt x="776" y="1143"/>
                      </a:lnTo>
                      <a:lnTo>
                        <a:pt x="777" y="1143"/>
                      </a:lnTo>
                      <a:lnTo>
                        <a:pt x="777" y="1142"/>
                      </a:lnTo>
                      <a:lnTo>
                        <a:pt x="780" y="1141"/>
                      </a:lnTo>
                      <a:lnTo>
                        <a:pt x="780" y="1140"/>
                      </a:lnTo>
                      <a:lnTo>
                        <a:pt x="776" y="1141"/>
                      </a:lnTo>
                      <a:lnTo>
                        <a:pt x="775" y="1143"/>
                      </a:lnTo>
                      <a:lnTo>
                        <a:pt x="774" y="1144"/>
                      </a:lnTo>
                      <a:lnTo>
                        <a:pt x="773" y="1145"/>
                      </a:lnTo>
                      <a:lnTo>
                        <a:pt x="773" y="1146"/>
                      </a:lnTo>
                      <a:lnTo>
                        <a:pt x="773" y="1147"/>
                      </a:lnTo>
                      <a:lnTo>
                        <a:pt x="772" y="1147"/>
                      </a:lnTo>
                      <a:lnTo>
                        <a:pt x="772" y="1148"/>
                      </a:lnTo>
                      <a:lnTo>
                        <a:pt x="772" y="1149"/>
                      </a:lnTo>
                      <a:lnTo>
                        <a:pt x="771" y="1151"/>
                      </a:lnTo>
                      <a:lnTo>
                        <a:pt x="771" y="1153"/>
                      </a:lnTo>
                      <a:lnTo>
                        <a:pt x="770" y="1151"/>
                      </a:lnTo>
                      <a:lnTo>
                        <a:pt x="769" y="1151"/>
                      </a:lnTo>
                      <a:lnTo>
                        <a:pt x="768" y="1151"/>
                      </a:lnTo>
                      <a:lnTo>
                        <a:pt x="767" y="1150"/>
                      </a:lnTo>
                      <a:lnTo>
                        <a:pt x="764" y="1150"/>
                      </a:lnTo>
                      <a:lnTo>
                        <a:pt x="763" y="1149"/>
                      </a:lnTo>
                      <a:lnTo>
                        <a:pt x="762" y="1149"/>
                      </a:lnTo>
                      <a:lnTo>
                        <a:pt x="757" y="1149"/>
                      </a:lnTo>
                      <a:lnTo>
                        <a:pt x="756" y="1149"/>
                      </a:lnTo>
                      <a:lnTo>
                        <a:pt x="756" y="1148"/>
                      </a:lnTo>
                      <a:lnTo>
                        <a:pt x="757" y="1147"/>
                      </a:lnTo>
                      <a:lnTo>
                        <a:pt x="757" y="1148"/>
                      </a:lnTo>
                      <a:lnTo>
                        <a:pt x="758" y="1148"/>
                      </a:lnTo>
                      <a:lnTo>
                        <a:pt x="758" y="1147"/>
                      </a:lnTo>
                      <a:lnTo>
                        <a:pt x="758" y="1146"/>
                      </a:lnTo>
                      <a:lnTo>
                        <a:pt x="759" y="1146"/>
                      </a:lnTo>
                      <a:lnTo>
                        <a:pt x="760" y="1146"/>
                      </a:lnTo>
                      <a:lnTo>
                        <a:pt x="761" y="1147"/>
                      </a:lnTo>
                      <a:lnTo>
                        <a:pt x="762" y="1147"/>
                      </a:lnTo>
                      <a:lnTo>
                        <a:pt x="763" y="1148"/>
                      </a:lnTo>
                      <a:lnTo>
                        <a:pt x="764" y="1148"/>
                      </a:lnTo>
                      <a:lnTo>
                        <a:pt x="766" y="1148"/>
                      </a:lnTo>
                      <a:lnTo>
                        <a:pt x="764" y="1148"/>
                      </a:lnTo>
                      <a:lnTo>
                        <a:pt x="764" y="1147"/>
                      </a:lnTo>
                      <a:lnTo>
                        <a:pt x="763" y="1147"/>
                      </a:lnTo>
                      <a:lnTo>
                        <a:pt x="762" y="1147"/>
                      </a:lnTo>
                      <a:lnTo>
                        <a:pt x="762" y="1146"/>
                      </a:lnTo>
                      <a:lnTo>
                        <a:pt x="762" y="1145"/>
                      </a:lnTo>
                      <a:lnTo>
                        <a:pt x="762" y="1144"/>
                      </a:lnTo>
                      <a:lnTo>
                        <a:pt x="761" y="1144"/>
                      </a:lnTo>
                      <a:lnTo>
                        <a:pt x="760" y="1143"/>
                      </a:lnTo>
                      <a:lnTo>
                        <a:pt x="759" y="1142"/>
                      </a:lnTo>
                      <a:lnTo>
                        <a:pt x="759" y="1141"/>
                      </a:lnTo>
                      <a:lnTo>
                        <a:pt x="758" y="1141"/>
                      </a:lnTo>
                      <a:lnTo>
                        <a:pt x="757" y="1140"/>
                      </a:lnTo>
                      <a:lnTo>
                        <a:pt x="757" y="1138"/>
                      </a:lnTo>
                      <a:lnTo>
                        <a:pt x="758" y="1137"/>
                      </a:lnTo>
                      <a:lnTo>
                        <a:pt x="758" y="1138"/>
                      </a:lnTo>
                      <a:lnTo>
                        <a:pt x="759" y="1138"/>
                      </a:lnTo>
                      <a:lnTo>
                        <a:pt x="759" y="1137"/>
                      </a:lnTo>
                      <a:lnTo>
                        <a:pt x="758" y="1137"/>
                      </a:lnTo>
                      <a:lnTo>
                        <a:pt x="759" y="1137"/>
                      </a:lnTo>
                      <a:lnTo>
                        <a:pt x="760" y="1137"/>
                      </a:lnTo>
                      <a:lnTo>
                        <a:pt x="761" y="1137"/>
                      </a:lnTo>
                      <a:lnTo>
                        <a:pt x="761" y="1138"/>
                      </a:lnTo>
                      <a:lnTo>
                        <a:pt x="762" y="1138"/>
                      </a:lnTo>
                      <a:lnTo>
                        <a:pt x="762" y="1140"/>
                      </a:lnTo>
                      <a:lnTo>
                        <a:pt x="763" y="1140"/>
                      </a:lnTo>
                      <a:lnTo>
                        <a:pt x="763" y="1138"/>
                      </a:lnTo>
                      <a:lnTo>
                        <a:pt x="764" y="1138"/>
                      </a:lnTo>
                      <a:lnTo>
                        <a:pt x="764" y="1140"/>
                      </a:lnTo>
                      <a:lnTo>
                        <a:pt x="764" y="1137"/>
                      </a:lnTo>
                      <a:lnTo>
                        <a:pt x="766" y="1137"/>
                      </a:lnTo>
                      <a:lnTo>
                        <a:pt x="767" y="1136"/>
                      </a:lnTo>
                      <a:lnTo>
                        <a:pt x="767" y="1135"/>
                      </a:lnTo>
                      <a:lnTo>
                        <a:pt x="767" y="1132"/>
                      </a:lnTo>
                      <a:lnTo>
                        <a:pt x="767" y="1131"/>
                      </a:lnTo>
                      <a:lnTo>
                        <a:pt x="767" y="1130"/>
                      </a:lnTo>
                      <a:lnTo>
                        <a:pt x="767" y="1128"/>
                      </a:lnTo>
                      <a:lnTo>
                        <a:pt x="767" y="1127"/>
                      </a:lnTo>
                      <a:lnTo>
                        <a:pt x="768" y="1125"/>
                      </a:lnTo>
                      <a:lnTo>
                        <a:pt x="767" y="1125"/>
                      </a:lnTo>
                      <a:lnTo>
                        <a:pt x="767" y="1124"/>
                      </a:lnTo>
                      <a:lnTo>
                        <a:pt x="767" y="1123"/>
                      </a:lnTo>
                      <a:lnTo>
                        <a:pt x="766" y="1123"/>
                      </a:lnTo>
                      <a:lnTo>
                        <a:pt x="766" y="1122"/>
                      </a:lnTo>
                      <a:lnTo>
                        <a:pt x="764" y="1122"/>
                      </a:lnTo>
                      <a:lnTo>
                        <a:pt x="763" y="1123"/>
                      </a:lnTo>
                      <a:lnTo>
                        <a:pt x="762" y="1123"/>
                      </a:lnTo>
                      <a:lnTo>
                        <a:pt x="762" y="1122"/>
                      </a:lnTo>
                      <a:lnTo>
                        <a:pt x="761" y="1121"/>
                      </a:lnTo>
                      <a:lnTo>
                        <a:pt x="761" y="1120"/>
                      </a:lnTo>
                      <a:lnTo>
                        <a:pt x="761" y="1119"/>
                      </a:lnTo>
                      <a:lnTo>
                        <a:pt x="760" y="1118"/>
                      </a:lnTo>
                      <a:lnTo>
                        <a:pt x="760" y="1117"/>
                      </a:lnTo>
                      <a:lnTo>
                        <a:pt x="760" y="1116"/>
                      </a:lnTo>
                      <a:lnTo>
                        <a:pt x="759" y="1116"/>
                      </a:lnTo>
                      <a:lnTo>
                        <a:pt x="759" y="1117"/>
                      </a:lnTo>
                      <a:lnTo>
                        <a:pt x="758" y="1117"/>
                      </a:lnTo>
                      <a:lnTo>
                        <a:pt x="758" y="1116"/>
                      </a:lnTo>
                      <a:lnTo>
                        <a:pt x="758" y="1117"/>
                      </a:lnTo>
                      <a:lnTo>
                        <a:pt x="757" y="1117"/>
                      </a:lnTo>
                      <a:lnTo>
                        <a:pt x="756" y="1117"/>
                      </a:lnTo>
                      <a:lnTo>
                        <a:pt x="755" y="1117"/>
                      </a:lnTo>
                      <a:lnTo>
                        <a:pt x="753" y="1117"/>
                      </a:lnTo>
                      <a:lnTo>
                        <a:pt x="751" y="1117"/>
                      </a:lnTo>
                      <a:lnTo>
                        <a:pt x="750" y="1117"/>
                      </a:lnTo>
                      <a:lnTo>
                        <a:pt x="749" y="1117"/>
                      </a:lnTo>
                      <a:lnTo>
                        <a:pt x="748" y="1117"/>
                      </a:lnTo>
                      <a:lnTo>
                        <a:pt x="747" y="1117"/>
                      </a:lnTo>
                      <a:lnTo>
                        <a:pt x="746" y="1117"/>
                      </a:lnTo>
                      <a:lnTo>
                        <a:pt x="745" y="1117"/>
                      </a:lnTo>
                      <a:lnTo>
                        <a:pt x="745" y="1116"/>
                      </a:lnTo>
                      <a:lnTo>
                        <a:pt x="744" y="1116"/>
                      </a:lnTo>
                      <a:lnTo>
                        <a:pt x="743" y="1116"/>
                      </a:lnTo>
                      <a:lnTo>
                        <a:pt x="743" y="1115"/>
                      </a:lnTo>
                      <a:lnTo>
                        <a:pt x="744" y="1115"/>
                      </a:lnTo>
                      <a:lnTo>
                        <a:pt x="745" y="1115"/>
                      </a:lnTo>
                      <a:lnTo>
                        <a:pt x="745" y="1114"/>
                      </a:lnTo>
                      <a:lnTo>
                        <a:pt x="746" y="1114"/>
                      </a:lnTo>
                      <a:lnTo>
                        <a:pt x="747" y="1114"/>
                      </a:lnTo>
                      <a:lnTo>
                        <a:pt x="747" y="1115"/>
                      </a:lnTo>
                      <a:lnTo>
                        <a:pt x="748" y="1115"/>
                      </a:lnTo>
                      <a:lnTo>
                        <a:pt x="748" y="1116"/>
                      </a:lnTo>
                      <a:lnTo>
                        <a:pt x="748" y="1115"/>
                      </a:lnTo>
                      <a:lnTo>
                        <a:pt x="749" y="1114"/>
                      </a:lnTo>
                      <a:lnTo>
                        <a:pt x="750" y="1114"/>
                      </a:lnTo>
                      <a:lnTo>
                        <a:pt x="751" y="1114"/>
                      </a:lnTo>
                      <a:lnTo>
                        <a:pt x="753" y="1114"/>
                      </a:lnTo>
                      <a:lnTo>
                        <a:pt x="754" y="1114"/>
                      </a:lnTo>
                      <a:lnTo>
                        <a:pt x="755" y="1114"/>
                      </a:lnTo>
                      <a:lnTo>
                        <a:pt x="755" y="1112"/>
                      </a:lnTo>
                      <a:lnTo>
                        <a:pt x="756" y="1112"/>
                      </a:lnTo>
                      <a:lnTo>
                        <a:pt x="756" y="1111"/>
                      </a:lnTo>
                      <a:lnTo>
                        <a:pt x="758" y="1111"/>
                      </a:lnTo>
                      <a:lnTo>
                        <a:pt x="759" y="1111"/>
                      </a:lnTo>
                      <a:lnTo>
                        <a:pt x="760" y="1110"/>
                      </a:lnTo>
                      <a:lnTo>
                        <a:pt x="760" y="1109"/>
                      </a:lnTo>
                      <a:lnTo>
                        <a:pt x="759" y="1109"/>
                      </a:lnTo>
                      <a:lnTo>
                        <a:pt x="759" y="1108"/>
                      </a:lnTo>
                      <a:lnTo>
                        <a:pt x="758" y="1108"/>
                      </a:lnTo>
                      <a:lnTo>
                        <a:pt x="757" y="1108"/>
                      </a:lnTo>
                      <a:lnTo>
                        <a:pt x="756" y="1108"/>
                      </a:lnTo>
                      <a:lnTo>
                        <a:pt x="756" y="1109"/>
                      </a:lnTo>
                      <a:lnTo>
                        <a:pt x="756" y="1108"/>
                      </a:lnTo>
                      <a:lnTo>
                        <a:pt x="755" y="1107"/>
                      </a:lnTo>
                      <a:lnTo>
                        <a:pt x="753" y="1106"/>
                      </a:lnTo>
                      <a:lnTo>
                        <a:pt x="751" y="1105"/>
                      </a:lnTo>
                      <a:lnTo>
                        <a:pt x="750" y="1104"/>
                      </a:lnTo>
                      <a:lnTo>
                        <a:pt x="748" y="1104"/>
                      </a:lnTo>
                      <a:lnTo>
                        <a:pt x="748" y="1105"/>
                      </a:lnTo>
                      <a:lnTo>
                        <a:pt x="747" y="1105"/>
                      </a:lnTo>
                      <a:lnTo>
                        <a:pt x="747" y="1106"/>
                      </a:lnTo>
                      <a:lnTo>
                        <a:pt x="746" y="1106"/>
                      </a:lnTo>
                      <a:lnTo>
                        <a:pt x="746" y="1105"/>
                      </a:lnTo>
                      <a:lnTo>
                        <a:pt x="747" y="1105"/>
                      </a:lnTo>
                      <a:lnTo>
                        <a:pt x="747" y="1104"/>
                      </a:lnTo>
                      <a:lnTo>
                        <a:pt x="747" y="1103"/>
                      </a:lnTo>
                      <a:lnTo>
                        <a:pt x="747" y="1104"/>
                      </a:lnTo>
                      <a:lnTo>
                        <a:pt x="747" y="1105"/>
                      </a:lnTo>
                      <a:lnTo>
                        <a:pt x="746" y="1104"/>
                      </a:lnTo>
                      <a:lnTo>
                        <a:pt x="746" y="1105"/>
                      </a:lnTo>
                      <a:lnTo>
                        <a:pt x="746" y="1106"/>
                      </a:lnTo>
                      <a:lnTo>
                        <a:pt x="745" y="1107"/>
                      </a:lnTo>
                      <a:lnTo>
                        <a:pt x="744" y="1105"/>
                      </a:lnTo>
                      <a:lnTo>
                        <a:pt x="743" y="1104"/>
                      </a:lnTo>
                      <a:lnTo>
                        <a:pt x="743" y="1103"/>
                      </a:lnTo>
                      <a:lnTo>
                        <a:pt x="742" y="1103"/>
                      </a:lnTo>
                      <a:lnTo>
                        <a:pt x="741" y="1103"/>
                      </a:lnTo>
                      <a:lnTo>
                        <a:pt x="740" y="1104"/>
                      </a:lnTo>
                      <a:lnTo>
                        <a:pt x="738" y="1105"/>
                      </a:lnTo>
                      <a:lnTo>
                        <a:pt x="737" y="1105"/>
                      </a:lnTo>
                      <a:lnTo>
                        <a:pt x="737" y="1104"/>
                      </a:lnTo>
                      <a:lnTo>
                        <a:pt x="738" y="1103"/>
                      </a:lnTo>
                      <a:lnTo>
                        <a:pt x="740" y="1102"/>
                      </a:lnTo>
                      <a:lnTo>
                        <a:pt x="741" y="1102"/>
                      </a:lnTo>
                      <a:lnTo>
                        <a:pt x="742" y="1102"/>
                      </a:lnTo>
                      <a:lnTo>
                        <a:pt x="743" y="1102"/>
                      </a:lnTo>
                      <a:lnTo>
                        <a:pt x="743" y="1103"/>
                      </a:lnTo>
                      <a:lnTo>
                        <a:pt x="744" y="1103"/>
                      </a:lnTo>
                      <a:lnTo>
                        <a:pt x="745" y="1103"/>
                      </a:lnTo>
                      <a:lnTo>
                        <a:pt x="747" y="1102"/>
                      </a:lnTo>
                      <a:lnTo>
                        <a:pt x="748" y="1101"/>
                      </a:lnTo>
                      <a:lnTo>
                        <a:pt x="749" y="1101"/>
                      </a:lnTo>
                      <a:lnTo>
                        <a:pt x="749" y="1099"/>
                      </a:lnTo>
                      <a:lnTo>
                        <a:pt x="750" y="1099"/>
                      </a:lnTo>
                      <a:lnTo>
                        <a:pt x="750" y="1101"/>
                      </a:lnTo>
                      <a:lnTo>
                        <a:pt x="751" y="1102"/>
                      </a:lnTo>
                      <a:lnTo>
                        <a:pt x="753" y="1102"/>
                      </a:lnTo>
                      <a:lnTo>
                        <a:pt x="754" y="1102"/>
                      </a:lnTo>
                      <a:lnTo>
                        <a:pt x="754" y="1103"/>
                      </a:lnTo>
                      <a:lnTo>
                        <a:pt x="755" y="1103"/>
                      </a:lnTo>
                      <a:lnTo>
                        <a:pt x="756" y="1103"/>
                      </a:lnTo>
                      <a:lnTo>
                        <a:pt x="757" y="1103"/>
                      </a:lnTo>
                      <a:lnTo>
                        <a:pt x="757" y="1102"/>
                      </a:lnTo>
                      <a:lnTo>
                        <a:pt x="757" y="1098"/>
                      </a:lnTo>
                      <a:lnTo>
                        <a:pt x="756" y="1097"/>
                      </a:lnTo>
                      <a:lnTo>
                        <a:pt x="755" y="1098"/>
                      </a:lnTo>
                      <a:lnTo>
                        <a:pt x="754" y="1098"/>
                      </a:lnTo>
                      <a:lnTo>
                        <a:pt x="754" y="1097"/>
                      </a:lnTo>
                      <a:lnTo>
                        <a:pt x="754" y="1096"/>
                      </a:lnTo>
                      <a:lnTo>
                        <a:pt x="753" y="1096"/>
                      </a:lnTo>
                      <a:lnTo>
                        <a:pt x="753" y="1095"/>
                      </a:lnTo>
                      <a:lnTo>
                        <a:pt x="753" y="1094"/>
                      </a:lnTo>
                      <a:lnTo>
                        <a:pt x="751" y="1094"/>
                      </a:lnTo>
                      <a:lnTo>
                        <a:pt x="750" y="1094"/>
                      </a:lnTo>
                      <a:lnTo>
                        <a:pt x="749" y="1094"/>
                      </a:lnTo>
                      <a:lnTo>
                        <a:pt x="748" y="1093"/>
                      </a:lnTo>
                      <a:lnTo>
                        <a:pt x="747" y="1093"/>
                      </a:lnTo>
                      <a:lnTo>
                        <a:pt x="747" y="1094"/>
                      </a:lnTo>
                      <a:lnTo>
                        <a:pt x="746" y="1094"/>
                      </a:lnTo>
                      <a:lnTo>
                        <a:pt x="745" y="1094"/>
                      </a:lnTo>
                      <a:lnTo>
                        <a:pt x="744" y="1094"/>
                      </a:lnTo>
                      <a:lnTo>
                        <a:pt x="743" y="1095"/>
                      </a:lnTo>
                      <a:lnTo>
                        <a:pt x="742" y="1095"/>
                      </a:lnTo>
                      <a:lnTo>
                        <a:pt x="742" y="1096"/>
                      </a:lnTo>
                      <a:lnTo>
                        <a:pt x="742" y="1095"/>
                      </a:lnTo>
                      <a:lnTo>
                        <a:pt x="741" y="1095"/>
                      </a:lnTo>
                      <a:lnTo>
                        <a:pt x="741" y="1094"/>
                      </a:lnTo>
                      <a:lnTo>
                        <a:pt x="740" y="1094"/>
                      </a:lnTo>
                      <a:lnTo>
                        <a:pt x="738" y="1095"/>
                      </a:lnTo>
                      <a:lnTo>
                        <a:pt x="737" y="1095"/>
                      </a:lnTo>
                      <a:lnTo>
                        <a:pt x="738" y="1093"/>
                      </a:lnTo>
                      <a:lnTo>
                        <a:pt x="738" y="1094"/>
                      </a:lnTo>
                      <a:lnTo>
                        <a:pt x="738" y="1093"/>
                      </a:lnTo>
                      <a:lnTo>
                        <a:pt x="740" y="1093"/>
                      </a:lnTo>
                      <a:lnTo>
                        <a:pt x="740" y="1092"/>
                      </a:lnTo>
                      <a:lnTo>
                        <a:pt x="741" y="1092"/>
                      </a:lnTo>
                      <a:lnTo>
                        <a:pt x="741" y="1091"/>
                      </a:lnTo>
                      <a:lnTo>
                        <a:pt x="741" y="1090"/>
                      </a:lnTo>
                      <a:lnTo>
                        <a:pt x="742" y="1090"/>
                      </a:lnTo>
                      <a:lnTo>
                        <a:pt x="742" y="1091"/>
                      </a:lnTo>
                      <a:lnTo>
                        <a:pt x="743" y="1091"/>
                      </a:lnTo>
                      <a:lnTo>
                        <a:pt x="743" y="1092"/>
                      </a:lnTo>
                      <a:lnTo>
                        <a:pt x="743" y="1091"/>
                      </a:lnTo>
                      <a:lnTo>
                        <a:pt x="744" y="1091"/>
                      </a:lnTo>
                      <a:lnTo>
                        <a:pt x="744" y="1090"/>
                      </a:lnTo>
                      <a:lnTo>
                        <a:pt x="745" y="1090"/>
                      </a:lnTo>
                      <a:lnTo>
                        <a:pt x="746" y="1090"/>
                      </a:lnTo>
                      <a:lnTo>
                        <a:pt x="746" y="1089"/>
                      </a:lnTo>
                      <a:lnTo>
                        <a:pt x="747" y="1089"/>
                      </a:lnTo>
                      <a:lnTo>
                        <a:pt x="748" y="1089"/>
                      </a:lnTo>
                      <a:lnTo>
                        <a:pt x="748" y="1090"/>
                      </a:lnTo>
                      <a:lnTo>
                        <a:pt x="749" y="1090"/>
                      </a:lnTo>
                      <a:lnTo>
                        <a:pt x="749" y="1091"/>
                      </a:lnTo>
                      <a:lnTo>
                        <a:pt x="750" y="1092"/>
                      </a:lnTo>
                      <a:lnTo>
                        <a:pt x="750" y="1091"/>
                      </a:lnTo>
                      <a:lnTo>
                        <a:pt x="751" y="1090"/>
                      </a:lnTo>
                      <a:lnTo>
                        <a:pt x="753" y="1090"/>
                      </a:lnTo>
                      <a:lnTo>
                        <a:pt x="754" y="1089"/>
                      </a:lnTo>
                      <a:lnTo>
                        <a:pt x="754" y="1088"/>
                      </a:lnTo>
                      <a:lnTo>
                        <a:pt x="753" y="1086"/>
                      </a:lnTo>
                      <a:lnTo>
                        <a:pt x="753" y="1085"/>
                      </a:lnTo>
                      <a:lnTo>
                        <a:pt x="751" y="1085"/>
                      </a:lnTo>
                      <a:lnTo>
                        <a:pt x="750" y="1085"/>
                      </a:lnTo>
                      <a:lnTo>
                        <a:pt x="750" y="1086"/>
                      </a:lnTo>
                      <a:lnTo>
                        <a:pt x="750" y="1088"/>
                      </a:lnTo>
                      <a:lnTo>
                        <a:pt x="749" y="1088"/>
                      </a:lnTo>
                      <a:lnTo>
                        <a:pt x="749" y="1089"/>
                      </a:lnTo>
                      <a:lnTo>
                        <a:pt x="749" y="1088"/>
                      </a:lnTo>
                      <a:lnTo>
                        <a:pt x="749" y="1086"/>
                      </a:lnTo>
                      <a:lnTo>
                        <a:pt x="749" y="1085"/>
                      </a:lnTo>
                      <a:lnTo>
                        <a:pt x="750" y="1085"/>
                      </a:lnTo>
                      <a:lnTo>
                        <a:pt x="751" y="1082"/>
                      </a:lnTo>
                      <a:lnTo>
                        <a:pt x="750" y="1081"/>
                      </a:lnTo>
                      <a:lnTo>
                        <a:pt x="750" y="1080"/>
                      </a:lnTo>
                      <a:lnTo>
                        <a:pt x="749" y="1081"/>
                      </a:lnTo>
                      <a:lnTo>
                        <a:pt x="749" y="1080"/>
                      </a:lnTo>
                      <a:lnTo>
                        <a:pt x="748" y="1080"/>
                      </a:lnTo>
                      <a:lnTo>
                        <a:pt x="748" y="1081"/>
                      </a:lnTo>
                      <a:lnTo>
                        <a:pt x="748" y="1080"/>
                      </a:lnTo>
                      <a:lnTo>
                        <a:pt x="748" y="1079"/>
                      </a:lnTo>
                      <a:lnTo>
                        <a:pt x="749" y="1079"/>
                      </a:lnTo>
                      <a:lnTo>
                        <a:pt x="750" y="1079"/>
                      </a:lnTo>
                      <a:lnTo>
                        <a:pt x="750" y="1078"/>
                      </a:lnTo>
                      <a:lnTo>
                        <a:pt x="749" y="1078"/>
                      </a:lnTo>
                      <a:lnTo>
                        <a:pt x="750" y="1077"/>
                      </a:lnTo>
                      <a:lnTo>
                        <a:pt x="750" y="1078"/>
                      </a:lnTo>
                      <a:lnTo>
                        <a:pt x="750" y="1077"/>
                      </a:lnTo>
                      <a:lnTo>
                        <a:pt x="750" y="1076"/>
                      </a:lnTo>
                      <a:lnTo>
                        <a:pt x="751" y="1074"/>
                      </a:lnTo>
                      <a:lnTo>
                        <a:pt x="751" y="1073"/>
                      </a:lnTo>
                      <a:lnTo>
                        <a:pt x="751" y="1072"/>
                      </a:lnTo>
                      <a:lnTo>
                        <a:pt x="751" y="1070"/>
                      </a:lnTo>
                      <a:lnTo>
                        <a:pt x="750" y="1070"/>
                      </a:lnTo>
                      <a:lnTo>
                        <a:pt x="750" y="1071"/>
                      </a:lnTo>
                      <a:lnTo>
                        <a:pt x="750" y="1072"/>
                      </a:lnTo>
                      <a:lnTo>
                        <a:pt x="749" y="1072"/>
                      </a:lnTo>
                      <a:lnTo>
                        <a:pt x="749" y="1071"/>
                      </a:lnTo>
                      <a:lnTo>
                        <a:pt x="750" y="1071"/>
                      </a:lnTo>
                      <a:lnTo>
                        <a:pt x="750" y="1070"/>
                      </a:lnTo>
                      <a:lnTo>
                        <a:pt x="749" y="1069"/>
                      </a:lnTo>
                      <a:lnTo>
                        <a:pt x="748" y="1069"/>
                      </a:lnTo>
                      <a:lnTo>
                        <a:pt x="747" y="1069"/>
                      </a:lnTo>
                      <a:lnTo>
                        <a:pt x="747" y="1070"/>
                      </a:lnTo>
                      <a:lnTo>
                        <a:pt x="748" y="1072"/>
                      </a:lnTo>
                      <a:lnTo>
                        <a:pt x="749" y="1072"/>
                      </a:lnTo>
                      <a:lnTo>
                        <a:pt x="749" y="1073"/>
                      </a:lnTo>
                      <a:lnTo>
                        <a:pt x="749" y="1074"/>
                      </a:lnTo>
                      <a:lnTo>
                        <a:pt x="748" y="1074"/>
                      </a:lnTo>
                      <a:lnTo>
                        <a:pt x="747" y="1074"/>
                      </a:lnTo>
                      <a:lnTo>
                        <a:pt x="745" y="1074"/>
                      </a:lnTo>
                      <a:lnTo>
                        <a:pt x="744" y="1074"/>
                      </a:lnTo>
                      <a:lnTo>
                        <a:pt x="743" y="1074"/>
                      </a:lnTo>
                      <a:lnTo>
                        <a:pt x="743" y="1073"/>
                      </a:lnTo>
                      <a:lnTo>
                        <a:pt x="744" y="1073"/>
                      </a:lnTo>
                      <a:lnTo>
                        <a:pt x="744" y="1072"/>
                      </a:lnTo>
                      <a:lnTo>
                        <a:pt x="744" y="1071"/>
                      </a:lnTo>
                      <a:lnTo>
                        <a:pt x="744" y="1070"/>
                      </a:lnTo>
                      <a:lnTo>
                        <a:pt x="743" y="1069"/>
                      </a:lnTo>
                      <a:lnTo>
                        <a:pt x="742" y="1069"/>
                      </a:lnTo>
                      <a:lnTo>
                        <a:pt x="742" y="1068"/>
                      </a:lnTo>
                      <a:lnTo>
                        <a:pt x="741" y="1067"/>
                      </a:lnTo>
                      <a:lnTo>
                        <a:pt x="741" y="1066"/>
                      </a:lnTo>
                      <a:lnTo>
                        <a:pt x="742" y="1066"/>
                      </a:lnTo>
                      <a:lnTo>
                        <a:pt x="743" y="1066"/>
                      </a:lnTo>
                      <a:lnTo>
                        <a:pt x="743" y="1067"/>
                      </a:lnTo>
                      <a:lnTo>
                        <a:pt x="744" y="1067"/>
                      </a:lnTo>
                      <a:lnTo>
                        <a:pt x="745" y="1067"/>
                      </a:lnTo>
                      <a:lnTo>
                        <a:pt x="746" y="1066"/>
                      </a:lnTo>
                      <a:lnTo>
                        <a:pt x="747" y="1066"/>
                      </a:lnTo>
                      <a:lnTo>
                        <a:pt x="747" y="1065"/>
                      </a:lnTo>
                      <a:lnTo>
                        <a:pt x="747" y="1064"/>
                      </a:lnTo>
                      <a:lnTo>
                        <a:pt x="748" y="1064"/>
                      </a:lnTo>
                      <a:lnTo>
                        <a:pt x="748" y="1063"/>
                      </a:lnTo>
                      <a:lnTo>
                        <a:pt x="748" y="1061"/>
                      </a:lnTo>
                      <a:lnTo>
                        <a:pt x="749" y="1061"/>
                      </a:lnTo>
                      <a:lnTo>
                        <a:pt x="750" y="1063"/>
                      </a:lnTo>
                      <a:lnTo>
                        <a:pt x="750" y="1064"/>
                      </a:lnTo>
                      <a:lnTo>
                        <a:pt x="750" y="1065"/>
                      </a:lnTo>
                      <a:lnTo>
                        <a:pt x="750" y="1066"/>
                      </a:lnTo>
                      <a:lnTo>
                        <a:pt x="750" y="1067"/>
                      </a:lnTo>
                      <a:lnTo>
                        <a:pt x="750" y="1068"/>
                      </a:lnTo>
                      <a:lnTo>
                        <a:pt x="751" y="1069"/>
                      </a:lnTo>
                      <a:lnTo>
                        <a:pt x="753" y="1069"/>
                      </a:lnTo>
                      <a:lnTo>
                        <a:pt x="754" y="1069"/>
                      </a:lnTo>
                      <a:lnTo>
                        <a:pt x="754" y="1070"/>
                      </a:lnTo>
                      <a:lnTo>
                        <a:pt x="755" y="1070"/>
                      </a:lnTo>
                      <a:lnTo>
                        <a:pt x="756" y="1070"/>
                      </a:lnTo>
                      <a:lnTo>
                        <a:pt x="755" y="1070"/>
                      </a:lnTo>
                      <a:lnTo>
                        <a:pt x="755" y="1069"/>
                      </a:lnTo>
                      <a:lnTo>
                        <a:pt x="755" y="1068"/>
                      </a:lnTo>
                      <a:lnTo>
                        <a:pt x="756" y="1067"/>
                      </a:lnTo>
                      <a:lnTo>
                        <a:pt x="756" y="1066"/>
                      </a:lnTo>
                      <a:lnTo>
                        <a:pt x="757" y="1066"/>
                      </a:lnTo>
                      <a:lnTo>
                        <a:pt x="756" y="1065"/>
                      </a:lnTo>
                      <a:lnTo>
                        <a:pt x="757" y="1064"/>
                      </a:lnTo>
                      <a:lnTo>
                        <a:pt x="757" y="1063"/>
                      </a:lnTo>
                      <a:lnTo>
                        <a:pt x="757" y="1061"/>
                      </a:lnTo>
                      <a:lnTo>
                        <a:pt x="757" y="1060"/>
                      </a:lnTo>
                      <a:lnTo>
                        <a:pt x="757" y="1059"/>
                      </a:lnTo>
                      <a:lnTo>
                        <a:pt x="758" y="1059"/>
                      </a:lnTo>
                      <a:lnTo>
                        <a:pt x="759" y="1058"/>
                      </a:lnTo>
                      <a:lnTo>
                        <a:pt x="760" y="1058"/>
                      </a:lnTo>
                      <a:lnTo>
                        <a:pt x="761" y="1058"/>
                      </a:lnTo>
                      <a:lnTo>
                        <a:pt x="762" y="1057"/>
                      </a:lnTo>
                      <a:lnTo>
                        <a:pt x="763" y="1056"/>
                      </a:lnTo>
                      <a:lnTo>
                        <a:pt x="764" y="1056"/>
                      </a:lnTo>
                      <a:lnTo>
                        <a:pt x="764" y="1055"/>
                      </a:lnTo>
                      <a:lnTo>
                        <a:pt x="766" y="1055"/>
                      </a:lnTo>
                      <a:lnTo>
                        <a:pt x="766" y="1054"/>
                      </a:lnTo>
                      <a:lnTo>
                        <a:pt x="764" y="1053"/>
                      </a:lnTo>
                      <a:lnTo>
                        <a:pt x="764" y="1052"/>
                      </a:lnTo>
                      <a:lnTo>
                        <a:pt x="764" y="1051"/>
                      </a:lnTo>
                      <a:lnTo>
                        <a:pt x="764" y="1050"/>
                      </a:lnTo>
                      <a:lnTo>
                        <a:pt x="763" y="1048"/>
                      </a:lnTo>
                      <a:lnTo>
                        <a:pt x="762" y="1048"/>
                      </a:lnTo>
                      <a:lnTo>
                        <a:pt x="761" y="1048"/>
                      </a:lnTo>
                      <a:lnTo>
                        <a:pt x="759" y="1048"/>
                      </a:lnTo>
                      <a:lnTo>
                        <a:pt x="759" y="1050"/>
                      </a:lnTo>
                      <a:lnTo>
                        <a:pt x="758" y="1051"/>
                      </a:lnTo>
                      <a:lnTo>
                        <a:pt x="757" y="1051"/>
                      </a:lnTo>
                      <a:lnTo>
                        <a:pt x="756" y="1052"/>
                      </a:lnTo>
                      <a:lnTo>
                        <a:pt x="756" y="1053"/>
                      </a:lnTo>
                      <a:lnTo>
                        <a:pt x="755" y="1054"/>
                      </a:lnTo>
                      <a:lnTo>
                        <a:pt x="755" y="1055"/>
                      </a:lnTo>
                      <a:lnTo>
                        <a:pt x="755" y="1056"/>
                      </a:lnTo>
                      <a:lnTo>
                        <a:pt x="754" y="1056"/>
                      </a:lnTo>
                      <a:lnTo>
                        <a:pt x="754" y="1057"/>
                      </a:lnTo>
                      <a:lnTo>
                        <a:pt x="753" y="1056"/>
                      </a:lnTo>
                      <a:lnTo>
                        <a:pt x="751" y="1056"/>
                      </a:lnTo>
                      <a:lnTo>
                        <a:pt x="751" y="1055"/>
                      </a:lnTo>
                      <a:lnTo>
                        <a:pt x="753" y="1054"/>
                      </a:lnTo>
                      <a:lnTo>
                        <a:pt x="754" y="1053"/>
                      </a:lnTo>
                      <a:lnTo>
                        <a:pt x="755" y="1051"/>
                      </a:lnTo>
                      <a:lnTo>
                        <a:pt x="756" y="1050"/>
                      </a:lnTo>
                      <a:lnTo>
                        <a:pt x="756" y="1048"/>
                      </a:lnTo>
                      <a:lnTo>
                        <a:pt x="755" y="1047"/>
                      </a:lnTo>
                      <a:lnTo>
                        <a:pt x="755" y="1046"/>
                      </a:lnTo>
                      <a:lnTo>
                        <a:pt x="755" y="1045"/>
                      </a:lnTo>
                      <a:lnTo>
                        <a:pt x="755" y="1044"/>
                      </a:lnTo>
                      <a:lnTo>
                        <a:pt x="755" y="1043"/>
                      </a:lnTo>
                      <a:lnTo>
                        <a:pt x="754" y="1043"/>
                      </a:lnTo>
                      <a:lnTo>
                        <a:pt x="755" y="1043"/>
                      </a:lnTo>
                      <a:lnTo>
                        <a:pt x="754" y="1042"/>
                      </a:lnTo>
                      <a:lnTo>
                        <a:pt x="755" y="1041"/>
                      </a:lnTo>
                      <a:lnTo>
                        <a:pt x="755" y="1039"/>
                      </a:lnTo>
                      <a:lnTo>
                        <a:pt x="754" y="1039"/>
                      </a:lnTo>
                      <a:lnTo>
                        <a:pt x="754" y="1038"/>
                      </a:lnTo>
                      <a:lnTo>
                        <a:pt x="754" y="1037"/>
                      </a:lnTo>
                      <a:lnTo>
                        <a:pt x="753" y="1037"/>
                      </a:lnTo>
                      <a:lnTo>
                        <a:pt x="753" y="1035"/>
                      </a:lnTo>
                      <a:lnTo>
                        <a:pt x="753" y="1034"/>
                      </a:lnTo>
                      <a:lnTo>
                        <a:pt x="751" y="1034"/>
                      </a:lnTo>
                      <a:lnTo>
                        <a:pt x="751" y="1033"/>
                      </a:lnTo>
                      <a:lnTo>
                        <a:pt x="750" y="1032"/>
                      </a:lnTo>
                      <a:lnTo>
                        <a:pt x="749" y="1032"/>
                      </a:lnTo>
                      <a:lnTo>
                        <a:pt x="748" y="1032"/>
                      </a:lnTo>
                      <a:lnTo>
                        <a:pt x="747" y="1032"/>
                      </a:lnTo>
                      <a:lnTo>
                        <a:pt x="746" y="1032"/>
                      </a:lnTo>
                      <a:lnTo>
                        <a:pt x="745" y="1032"/>
                      </a:lnTo>
                      <a:lnTo>
                        <a:pt x="745" y="1031"/>
                      </a:lnTo>
                      <a:lnTo>
                        <a:pt x="745" y="1030"/>
                      </a:lnTo>
                      <a:lnTo>
                        <a:pt x="744" y="1029"/>
                      </a:lnTo>
                      <a:lnTo>
                        <a:pt x="743" y="1028"/>
                      </a:lnTo>
                      <a:lnTo>
                        <a:pt x="742" y="1027"/>
                      </a:lnTo>
                      <a:lnTo>
                        <a:pt x="741" y="1027"/>
                      </a:lnTo>
                      <a:lnTo>
                        <a:pt x="740" y="1027"/>
                      </a:lnTo>
                      <a:lnTo>
                        <a:pt x="738" y="1027"/>
                      </a:lnTo>
                      <a:lnTo>
                        <a:pt x="737" y="1027"/>
                      </a:lnTo>
                      <a:lnTo>
                        <a:pt x="737" y="1028"/>
                      </a:lnTo>
                      <a:lnTo>
                        <a:pt x="737" y="1029"/>
                      </a:lnTo>
                      <a:lnTo>
                        <a:pt x="737" y="1030"/>
                      </a:lnTo>
                      <a:lnTo>
                        <a:pt x="736" y="1031"/>
                      </a:lnTo>
                      <a:lnTo>
                        <a:pt x="735" y="1031"/>
                      </a:lnTo>
                      <a:lnTo>
                        <a:pt x="735" y="1032"/>
                      </a:lnTo>
                      <a:lnTo>
                        <a:pt x="736" y="1033"/>
                      </a:lnTo>
                      <a:lnTo>
                        <a:pt x="736" y="1034"/>
                      </a:lnTo>
                      <a:lnTo>
                        <a:pt x="736" y="1037"/>
                      </a:lnTo>
                      <a:lnTo>
                        <a:pt x="736" y="1038"/>
                      </a:lnTo>
                      <a:lnTo>
                        <a:pt x="737" y="1039"/>
                      </a:lnTo>
                      <a:lnTo>
                        <a:pt x="738" y="1039"/>
                      </a:lnTo>
                      <a:lnTo>
                        <a:pt x="737" y="1040"/>
                      </a:lnTo>
                      <a:lnTo>
                        <a:pt x="736" y="1040"/>
                      </a:lnTo>
                      <a:lnTo>
                        <a:pt x="735" y="1041"/>
                      </a:lnTo>
                      <a:lnTo>
                        <a:pt x="735" y="1042"/>
                      </a:lnTo>
                      <a:lnTo>
                        <a:pt x="736" y="1042"/>
                      </a:lnTo>
                      <a:lnTo>
                        <a:pt x="735" y="1045"/>
                      </a:lnTo>
                      <a:lnTo>
                        <a:pt x="736" y="1045"/>
                      </a:lnTo>
                      <a:lnTo>
                        <a:pt x="736" y="1046"/>
                      </a:lnTo>
                      <a:lnTo>
                        <a:pt x="737" y="1047"/>
                      </a:lnTo>
                      <a:lnTo>
                        <a:pt x="737" y="1048"/>
                      </a:lnTo>
                      <a:lnTo>
                        <a:pt x="737" y="1050"/>
                      </a:lnTo>
                      <a:lnTo>
                        <a:pt x="737" y="1053"/>
                      </a:lnTo>
                      <a:lnTo>
                        <a:pt x="736" y="1055"/>
                      </a:lnTo>
                      <a:lnTo>
                        <a:pt x="737" y="1055"/>
                      </a:lnTo>
                      <a:lnTo>
                        <a:pt x="737" y="1056"/>
                      </a:lnTo>
                      <a:lnTo>
                        <a:pt x="736" y="1057"/>
                      </a:lnTo>
                      <a:lnTo>
                        <a:pt x="736" y="1059"/>
                      </a:lnTo>
                      <a:lnTo>
                        <a:pt x="735" y="1058"/>
                      </a:lnTo>
                      <a:lnTo>
                        <a:pt x="735" y="1057"/>
                      </a:lnTo>
                      <a:lnTo>
                        <a:pt x="735" y="1056"/>
                      </a:lnTo>
                      <a:lnTo>
                        <a:pt x="734" y="1055"/>
                      </a:lnTo>
                      <a:lnTo>
                        <a:pt x="734" y="1054"/>
                      </a:lnTo>
                      <a:lnTo>
                        <a:pt x="734" y="1053"/>
                      </a:lnTo>
                      <a:lnTo>
                        <a:pt x="734" y="1052"/>
                      </a:lnTo>
                      <a:lnTo>
                        <a:pt x="733" y="1051"/>
                      </a:lnTo>
                      <a:lnTo>
                        <a:pt x="733" y="1050"/>
                      </a:lnTo>
                      <a:lnTo>
                        <a:pt x="733" y="1048"/>
                      </a:lnTo>
                      <a:lnTo>
                        <a:pt x="733" y="1047"/>
                      </a:lnTo>
                      <a:lnTo>
                        <a:pt x="733" y="1046"/>
                      </a:lnTo>
                      <a:lnTo>
                        <a:pt x="733" y="1045"/>
                      </a:lnTo>
                      <a:lnTo>
                        <a:pt x="732" y="1045"/>
                      </a:lnTo>
                      <a:lnTo>
                        <a:pt x="731" y="1045"/>
                      </a:lnTo>
                      <a:lnTo>
                        <a:pt x="730" y="1044"/>
                      </a:lnTo>
                      <a:lnTo>
                        <a:pt x="730" y="1043"/>
                      </a:lnTo>
                      <a:lnTo>
                        <a:pt x="730" y="1042"/>
                      </a:lnTo>
                      <a:lnTo>
                        <a:pt x="730" y="1041"/>
                      </a:lnTo>
                      <a:lnTo>
                        <a:pt x="730" y="1040"/>
                      </a:lnTo>
                      <a:lnTo>
                        <a:pt x="729" y="1040"/>
                      </a:lnTo>
                      <a:lnTo>
                        <a:pt x="728" y="1040"/>
                      </a:lnTo>
                      <a:lnTo>
                        <a:pt x="728" y="1039"/>
                      </a:lnTo>
                      <a:lnTo>
                        <a:pt x="728" y="1038"/>
                      </a:lnTo>
                      <a:lnTo>
                        <a:pt x="728" y="1037"/>
                      </a:lnTo>
                      <a:lnTo>
                        <a:pt x="727" y="1034"/>
                      </a:lnTo>
                      <a:lnTo>
                        <a:pt x="727" y="1033"/>
                      </a:lnTo>
                      <a:lnTo>
                        <a:pt x="727" y="1032"/>
                      </a:lnTo>
                      <a:lnTo>
                        <a:pt x="725" y="1032"/>
                      </a:lnTo>
                      <a:lnTo>
                        <a:pt x="725" y="1031"/>
                      </a:lnTo>
                      <a:lnTo>
                        <a:pt x="725" y="1030"/>
                      </a:lnTo>
                      <a:lnTo>
                        <a:pt x="724" y="1030"/>
                      </a:lnTo>
                      <a:lnTo>
                        <a:pt x="724" y="1029"/>
                      </a:lnTo>
                      <a:lnTo>
                        <a:pt x="723" y="1028"/>
                      </a:lnTo>
                      <a:lnTo>
                        <a:pt x="724" y="1027"/>
                      </a:lnTo>
                      <a:lnTo>
                        <a:pt x="723" y="1026"/>
                      </a:lnTo>
                      <a:lnTo>
                        <a:pt x="722" y="1026"/>
                      </a:lnTo>
                      <a:lnTo>
                        <a:pt x="722" y="1025"/>
                      </a:lnTo>
                      <a:lnTo>
                        <a:pt x="721" y="1024"/>
                      </a:lnTo>
                      <a:lnTo>
                        <a:pt x="720" y="1024"/>
                      </a:lnTo>
                      <a:lnTo>
                        <a:pt x="720" y="1025"/>
                      </a:lnTo>
                      <a:lnTo>
                        <a:pt x="720" y="1026"/>
                      </a:lnTo>
                      <a:lnTo>
                        <a:pt x="719" y="1026"/>
                      </a:lnTo>
                      <a:lnTo>
                        <a:pt x="718" y="1026"/>
                      </a:lnTo>
                      <a:lnTo>
                        <a:pt x="718" y="1025"/>
                      </a:lnTo>
                      <a:lnTo>
                        <a:pt x="717" y="1025"/>
                      </a:lnTo>
                      <a:lnTo>
                        <a:pt x="717" y="1024"/>
                      </a:lnTo>
                      <a:lnTo>
                        <a:pt x="717" y="1022"/>
                      </a:lnTo>
                      <a:lnTo>
                        <a:pt x="716" y="1021"/>
                      </a:lnTo>
                      <a:lnTo>
                        <a:pt x="716" y="1020"/>
                      </a:lnTo>
                      <a:lnTo>
                        <a:pt x="715" y="1020"/>
                      </a:lnTo>
                      <a:lnTo>
                        <a:pt x="715" y="1022"/>
                      </a:lnTo>
                      <a:lnTo>
                        <a:pt x="713" y="1022"/>
                      </a:lnTo>
                      <a:lnTo>
                        <a:pt x="712" y="1024"/>
                      </a:lnTo>
                      <a:lnTo>
                        <a:pt x="711" y="1022"/>
                      </a:lnTo>
                      <a:lnTo>
                        <a:pt x="712" y="1022"/>
                      </a:lnTo>
                      <a:lnTo>
                        <a:pt x="712" y="1021"/>
                      </a:lnTo>
                      <a:lnTo>
                        <a:pt x="712" y="1020"/>
                      </a:lnTo>
                      <a:lnTo>
                        <a:pt x="712" y="1019"/>
                      </a:lnTo>
                      <a:lnTo>
                        <a:pt x="712" y="1018"/>
                      </a:lnTo>
                      <a:lnTo>
                        <a:pt x="712" y="1017"/>
                      </a:lnTo>
                      <a:lnTo>
                        <a:pt x="712" y="1016"/>
                      </a:lnTo>
                      <a:lnTo>
                        <a:pt x="713" y="1016"/>
                      </a:lnTo>
                      <a:lnTo>
                        <a:pt x="711" y="1014"/>
                      </a:lnTo>
                      <a:lnTo>
                        <a:pt x="710" y="1013"/>
                      </a:lnTo>
                      <a:lnTo>
                        <a:pt x="709" y="1013"/>
                      </a:lnTo>
                      <a:lnTo>
                        <a:pt x="709" y="1015"/>
                      </a:lnTo>
                      <a:lnTo>
                        <a:pt x="708" y="1015"/>
                      </a:lnTo>
                      <a:lnTo>
                        <a:pt x="707" y="1015"/>
                      </a:lnTo>
                      <a:lnTo>
                        <a:pt x="707" y="1016"/>
                      </a:lnTo>
                      <a:lnTo>
                        <a:pt x="707" y="1017"/>
                      </a:lnTo>
                      <a:lnTo>
                        <a:pt x="707" y="1018"/>
                      </a:lnTo>
                      <a:lnTo>
                        <a:pt x="706" y="1018"/>
                      </a:lnTo>
                      <a:lnTo>
                        <a:pt x="706" y="1017"/>
                      </a:lnTo>
                      <a:lnTo>
                        <a:pt x="705" y="1016"/>
                      </a:lnTo>
                      <a:lnTo>
                        <a:pt x="705" y="1015"/>
                      </a:lnTo>
                      <a:lnTo>
                        <a:pt x="704" y="1015"/>
                      </a:lnTo>
                      <a:lnTo>
                        <a:pt x="703" y="1014"/>
                      </a:lnTo>
                      <a:lnTo>
                        <a:pt x="704" y="1014"/>
                      </a:lnTo>
                      <a:lnTo>
                        <a:pt x="704" y="1013"/>
                      </a:lnTo>
                      <a:lnTo>
                        <a:pt x="703" y="1012"/>
                      </a:lnTo>
                      <a:lnTo>
                        <a:pt x="702" y="1012"/>
                      </a:lnTo>
                      <a:lnTo>
                        <a:pt x="700" y="1011"/>
                      </a:lnTo>
                      <a:lnTo>
                        <a:pt x="700" y="1012"/>
                      </a:lnTo>
                      <a:lnTo>
                        <a:pt x="699" y="1012"/>
                      </a:lnTo>
                      <a:lnTo>
                        <a:pt x="698" y="1012"/>
                      </a:lnTo>
                      <a:lnTo>
                        <a:pt x="698" y="1011"/>
                      </a:lnTo>
                      <a:lnTo>
                        <a:pt x="699" y="1011"/>
                      </a:lnTo>
                      <a:lnTo>
                        <a:pt x="700" y="1011"/>
                      </a:lnTo>
                      <a:lnTo>
                        <a:pt x="702" y="1011"/>
                      </a:lnTo>
                      <a:lnTo>
                        <a:pt x="704" y="1009"/>
                      </a:lnTo>
                      <a:lnTo>
                        <a:pt x="705" y="1008"/>
                      </a:lnTo>
                      <a:lnTo>
                        <a:pt x="706" y="1007"/>
                      </a:lnTo>
                      <a:lnTo>
                        <a:pt x="707" y="1006"/>
                      </a:lnTo>
                      <a:lnTo>
                        <a:pt x="707" y="1005"/>
                      </a:lnTo>
                      <a:lnTo>
                        <a:pt x="707" y="1004"/>
                      </a:lnTo>
                      <a:lnTo>
                        <a:pt x="707" y="1003"/>
                      </a:lnTo>
                      <a:lnTo>
                        <a:pt x="707" y="1002"/>
                      </a:lnTo>
                      <a:lnTo>
                        <a:pt x="707" y="1001"/>
                      </a:lnTo>
                      <a:lnTo>
                        <a:pt x="707" y="1000"/>
                      </a:lnTo>
                      <a:lnTo>
                        <a:pt x="707" y="999"/>
                      </a:lnTo>
                      <a:lnTo>
                        <a:pt x="707" y="998"/>
                      </a:lnTo>
                      <a:lnTo>
                        <a:pt x="707" y="996"/>
                      </a:lnTo>
                      <a:lnTo>
                        <a:pt x="706" y="995"/>
                      </a:lnTo>
                      <a:lnTo>
                        <a:pt x="706" y="994"/>
                      </a:lnTo>
                      <a:lnTo>
                        <a:pt x="704" y="993"/>
                      </a:lnTo>
                      <a:lnTo>
                        <a:pt x="703" y="992"/>
                      </a:lnTo>
                      <a:lnTo>
                        <a:pt x="703" y="991"/>
                      </a:lnTo>
                      <a:lnTo>
                        <a:pt x="703" y="990"/>
                      </a:lnTo>
                      <a:lnTo>
                        <a:pt x="702" y="989"/>
                      </a:lnTo>
                      <a:lnTo>
                        <a:pt x="700" y="989"/>
                      </a:lnTo>
                      <a:lnTo>
                        <a:pt x="699" y="988"/>
                      </a:lnTo>
                      <a:lnTo>
                        <a:pt x="698" y="988"/>
                      </a:lnTo>
                      <a:lnTo>
                        <a:pt x="698" y="987"/>
                      </a:lnTo>
                      <a:lnTo>
                        <a:pt x="699" y="986"/>
                      </a:lnTo>
                      <a:lnTo>
                        <a:pt x="700" y="987"/>
                      </a:lnTo>
                      <a:lnTo>
                        <a:pt x="702" y="986"/>
                      </a:lnTo>
                      <a:lnTo>
                        <a:pt x="702" y="984"/>
                      </a:lnTo>
                      <a:lnTo>
                        <a:pt x="700" y="984"/>
                      </a:lnTo>
                      <a:lnTo>
                        <a:pt x="700" y="983"/>
                      </a:lnTo>
                      <a:lnTo>
                        <a:pt x="700" y="981"/>
                      </a:lnTo>
                      <a:lnTo>
                        <a:pt x="699" y="981"/>
                      </a:lnTo>
                      <a:lnTo>
                        <a:pt x="699" y="980"/>
                      </a:lnTo>
                      <a:lnTo>
                        <a:pt x="698" y="980"/>
                      </a:lnTo>
                      <a:lnTo>
                        <a:pt x="698" y="979"/>
                      </a:lnTo>
                      <a:lnTo>
                        <a:pt x="698" y="978"/>
                      </a:lnTo>
                      <a:lnTo>
                        <a:pt x="697" y="978"/>
                      </a:lnTo>
                      <a:lnTo>
                        <a:pt x="697" y="977"/>
                      </a:lnTo>
                      <a:lnTo>
                        <a:pt x="696" y="977"/>
                      </a:lnTo>
                      <a:lnTo>
                        <a:pt x="696" y="976"/>
                      </a:lnTo>
                      <a:lnTo>
                        <a:pt x="695" y="975"/>
                      </a:lnTo>
                      <a:lnTo>
                        <a:pt x="694" y="975"/>
                      </a:lnTo>
                      <a:lnTo>
                        <a:pt x="693" y="975"/>
                      </a:lnTo>
                      <a:lnTo>
                        <a:pt x="692" y="975"/>
                      </a:lnTo>
                      <a:lnTo>
                        <a:pt x="692" y="976"/>
                      </a:lnTo>
                      <a:lnTo>
                        <a:pt x="692" y="977"/>
                      </a:lnTo>
                      <a:lnTo>
                        <a:pt x="692" y="978"/>
                      </a:lnTo>
                      <a:lnTo>
                        <a:pt x="692" y="979"/>
                      </a:lnTo>
                      <a:lnTo>
                        <a:pt x="692" y="980"/>
                      </a:lnTo>
                      <a:lnTo>
                        <a:pt x="693" y="980"/>
                      </a:lnTo>
                      <a:lnTo>
                        <a:pt x="693" y="981"/>
                      </a:lnTo>
                      <a:lnTo>
                        <a:pt x="693" y="982"/>
                      </a:lnTo>
                      <a:lnTo>
                        <a:pt x="693" y="983"/>
                      </a:lnTo>
                      <a:lnTo>
                        <a:pt x="694" y="984"/>
                      </a:lnTo>
                      <a:lnTo>
                        <a:pt x="694" y="986"/>
                      </a:lnTo>
                      <a:lnTo>
                        <a:pt x="695" y="986"/>
                      </a:lnTo>
                      <a:lnTo>
                        <a:pt x="695" y="987"/>
                      </a:lnTo>
                      <a:lnTo>
                        <a:pt x="696" y="988"/>
                      </a:lnTo>
                      <a:lnTo>
                        <a:pt x="696" y="989"/>
                      </a:lnTo>
                      <a:lnTo>
                        <a:pt x="695" y="989"/>
                      </a:lnTo>
                      <a:lnTo>
                        <a:pt x="695" y="990"/>
                      </a:lnTo>
                      <a:lnTo>
                        <a:pt x="695" y="991"/>
                      </a:lnTo>
                      <a:lnTo>
                        <a:pt x="695" y="992"/>
                      </a:lnTo>
                      <a:lnTo>
                        <a:pt x="695" y="993"/>
                      </a:lnTo>
                      <a:lnTo>
                        <a:pt x="695" y="994"/>
                      </a:lnTo>
                      <a:lnTo>
                        <a:pt x="696" y="995"/>
                      </a:lnTo>
                      <a:lnTo>
                        <a:pt x="697" y="995"/>
                      </a:lnTo>
                      <a:lnTo>
                        <a:pt x="697" y="996"/>
                      </a:lnTo>
                      <a:lnTo>
                        <a:pt x="697" y="998"/>
                      </a:lnTo>
                      <a:lnTo>
                        <a:pt x="697" y="999"/>
                      </a:lnTo>
                      <a:lnTo>
                        <a:pt x="697" y="998"/>
                      </a:lnTo>
                      <a:lnTo>
                        <a:pt x="696" y="998"/>
                      </a:lnTo>
                      <a:lnTo>
                        <a:pt x="697" y="998"/>
                      </a:lnTo>
                      <a:lnTo>
                        <a:pt x="697" y="999"/>
                      </a:lnTo>
                      <a:lnTo>
                        <a:pt x="696" y="999"/>
                      </a:lnTo>
                      <a:lnTo>
                        <a:pt x="697" y="999"/>
                      </a:lnTo>
                      <a:lnTo>
                        <a:pt x="697" y="1000"/>
                      </a:lnTo>
                      <a:lnTo>
                        <a:pt x="698" y="1000"/>
                      </a:lnTo>
                      <a:lnTo>
                        <a:pt x="698" y="1001"/>
                      </a:lnTo>
                      <a:lnTo>
                        <a:pt x="699" y="1001"/>
                      </a:lnTo>
                      <a:lnTo>
                        <a:pt x="699" y="1002"/>
                      </a:lnTo>
                      <a:lnTo>
                        <a:pt x="699" y="1003"/>
                      </a:lnTo>
                      <a:lnTo>
                        <a:pt x="700" y="1003"/>
                      </a:lnTo>
                      <a:lnTo>
                        <a:pt x="700" y="1004"/>
                      </a:lnTo>
                      <a:lnTo>
                        <a:pt x="702" y="1003"/>
                      </a:lnTo>
                      <a:lnTo>
                        <a:pt x="702" y="1004"/>
                      </a:lnTo>
                      <a:lnTo>
                        <a:pt x="703" y="1004"/>
                      </a:lnTo>
                      <a:lnTo>
                        <a:pt x="702" y="1004"/>
                      </a:lnTo>
                      <a:lnTo>
                        <a:pt x="700" y="1004"/>
                      </a:lnTo>
                      <a:lnTo>
                        <a:pt x="699" y="1004"/>
                      </a:lnTo>
                      <a:lnTo>
                        <a:pt x="698" y="1003"/>
                      </a:lnTo>
                      <a:lnTo>
                        <a:pt x="697" y="1003"/>
                      </a:lnTo>
                      <a:lnTo>
                        <a:pt x="696" y="1001"/>
                      </a:lnTo>
                      <a:lnTo>
                        <a:pt x="696" y="1000"/>
                      </a:lnTo>
                      <a:lnTo>
                        <a:pt x="695" y="1000"/>
                      </a:lnTo>
                      <a:lnTo>
                        <a:pt x="694" y="1000"/>
                      </a:lnTo>
                      <a:lnTo>
                        <a:pt x="694" y="999"/>
                      </a:lnTo>
                      <a:lnTo>
                        <a:pt x="693" y="998"/>
                      </a:lnTo>
                      <a:lnTo>
                        <a:pt x="692" y="998"/>
                      </a:lnTo>
                      <a:lnTo>
                        <a:pt x="692" y="996"/>
                      </a:lnTo>
                      <a:lnTo>
                        <a:pt x="691" y="996"/>
                      </a:lnTo>
                      <a:lnTo>
                        <a:pt x="690" y="996"/>
                      </a:lnTo>
                      <a:lnTo>
                        <a:pt x="689" y="996"/>
                      </a:lnTo>
                      <a:lnTo>
                        <a:pt x="689" y="998"/>
                      </a:lnTo>
                      <a:lnTo>
                        <a:pt x="689" y="999"/>
                      </a:lnTo>
                      <a:lnTo>
                        <a:pt x="689" y="1000"/>
                      </a:lnTo>
                      <a:lnTo>
                        <a:pt x="687" y="1001"/>
                      </a:lnTo>
                      <a:lnTo>
                        <a:pt x="687" y="1002"/>
                      </a:lnTo>
                      <a:lnTo>
                        <a:pt x="686" y="1002"/>
                      </a:lnTo>
                      <a:lnTo>
                        <a:pt x="686" y="1003"/>
                      </a:lnTo>
                      <a:lnTo>
                        <a:pt x="687" y="1003"/>
                      </a:lnTo>
                      <a:lnTo>
                        <a:pt x="687" y="1005"/>
                      </a:lnTo>
                      <a:lnTo>
                        <a:pt x="685" y="1005"/>
                      </a:lnTo>
                      <a:lnTo>
                        <a:pt x="683" y="1005"/>
                      </a:lnTo>
                      <a:lnTo>
                        <a:pt x="682" y="1005"/>
                      </a:lnTo>
                      <a:lnTo>
                        <a:pt x="682" y="1004"/>
                      </a:lnTo>
                      <a:lnTo>
                        <a:pt x="683" y="1003"/>
                      </a:lnTo>
                      <a:lnTo>
                        <a:pt x="684" y="1003"/>
                      </a:lnTo>
                      <a:lnTo>
                        <a:pt x="684" y="1002"/>
                      </a:lnTo>
                      <a:lnTo>
                        <a:pt x="684" y="1001"/>
                      </a:lnTo>
                      <a:lnTo>
                        <a:pt x="684" y="1000"/>
                      </a:lnTo>
                      <a:lnTo>
                        <a:pt x="684" y="999"/>
                      </a:lnTo>
                      <a:lnTo>
                        <a:pt x="683" y="999"/>
                      </a:lnTo>
                      <a:lnTo>
                        <a:pt x="684" y="998"/>
                      </a:lnTo>
                      <a:lnTo>
                        <a:pt x="683" y="998"/>
                      </a:lnTo>
                      <a:lnTo>
                        <a:pt x="682" y="999"/>
                      </a:lnTo>
                      <a:lnTo>
                        <a:pt x="682" y="1000"/>
                      </a:lnTo>
                      <a:lnTo>
                        <a:pt x="681" y="1001"/>
                      </a:lnTo>
                      <a:lnTo>
                        <a:pt x="681" y="1002"/>
                      </a:lnTo>
                      <a:lnTo>
                        <a:pt x="681" y="1004"/>
                      </a:lnTo>
                      <a:lnTo>
                        <a:pt x="681" y="1005"/>
                      </a:lnTo>
                      <a:lnTo>
                        <a:pt x="681" y="1006"/>
                      </a:lnTo>
                      <a:lnTo>
                        <a:pt x="681" y="1007"/>
                      </a:lnTo>
                      <a:lnTo>
                        <a:pt x="680" y="1007"/>
                      </a:lnTo>
                      <a:lnTo>
                        <a:pt x="679" y="1008"/>
                      </a:lnTo>
                      <a:lnTo>
                        <a:pt x="679" y="1009"/>
                      </a:lnTo>
                      <a:lnTo>
                        <a:pt x="679" y="1011"/>
                      </a:lnTo>
                      <a:lnTo>
                        <a:pt x="679" y="1012"/>
                      </a:lnTo>
                      <a:lnTo>
                        <a:pt x="679" y="1013"/>
                      </a:lnTo>
                      <a:lnTo>
                        <a:pt x="678" y="1014"/>
                      </a:lnTo>
                      <a:lnTo>
                        <a:pt x="678" y="1015"/>
                      </a:lnTo>
                      <a:lnTo>
                        <a:pt x="678" y="1016"/>
                      </a:lnTo>
                      <a:lnTo>
                        <a:pt x="679" y="1017"/>
                      </a:lnTo>
                      <a:lnTo>
                        <a:pt x="678" y="1018"/>
                      </a:lnTo>
                      <a:lnTo>
                        <a:pt x="679" y="1018"/>
                      </a:lnTo>
                      <a:lnTo>
                        <a:pt x="679" y="1019"/>
                      </a:lnTo>
                      <a:lnTo>
                        <a:pt x="679" y="1020"/>
                      </a:lnTo>
                      <a:lnTo>
                        <a:pt x="679" y="1021"/>
                      </a:lnTo>
                      <a:lnTo>
                        <a:pt x="680" y="1022"/>
                      </a:lnTo>
                      <a:lnTo>
                        <a:pt x="681" y="1021"/>
                      </a:lnTo>
                      <a:lnTo>
                        <a:pt x="682" y="1021"/>
                      </a:lnTo>
                      <a:lnTo>
                        <a:pt x="682" y="1022"/>
                      </a:lnTo>
                      <a:lnTo>
                        <a:pt x="681" y="1022"/>
                      </a:lnTo>
                      <a:lnTo>
                        <a:pt x="681" y="1024"/>
                      </a:lnTo>
                      <a:lnTo>
                        <a:pt x="681" y="1025"/>
                      </a:lnTo>
                      <a:lnTo>
                        <a:pt x="681" y="1026"/>
                      </a:lnTo>
                      <a:lnTo>
                        <a:pt x="681" y="1027"/>
                      </a:lnTo>
                      <a:lnTo>
                        <a:pt x="682" y="1028"/>
                      </a:lnTo>
                      <a:lnTo>
                        <a:pt x="682" y="1029"/>
                      </a:lnTo>
                      <a:lnTo>
                        <a:pt x="681" y="1029"/>
                      </a:lnTo>
                      <a:lnTo>
                        <a:pt x="680" y="1029"/>
                      </a:lnTo>
                      <a:lnTo>
                        <a:pt x="679" y="1031"/>
                      </a:lnTo>
                      <a:lnTo>
                        <a:pt x="678" y="1031"/>
                      </a:lnTo>
                      <a:lnTo>
                        <a:pt x="678" y="1032"/>
                      </a:lnTo>
                      <a:lnTo>
                        <a:pt x="678" y="1033"/>
                      </a:lnTo>
                      <a:lnTo>
                        <a:pt x="678" y="1034"/>
                      </a:lnTo>
                      <a:lnTo>
                        <a:pt x="677" y="1034"/>
                      </a:lnTo>
                      <a:lnTo>
                        <a:pt x="676" y="1034"/>
                      </a:lnTo>
                      <a:lnTo>
                        <a:pt x="677" y="1033"/>
                      </a:lnTo>
                      <a:lnTo>
                        <a:pt x="677" y="1032"/>
                      </a:lnTo>
                      <a:lnTo>
                        <a:pt x="677" y="1031"/>
                      </a:lnTo>
                      <a:lnTo>
                        <a:pt x="677" y="1030"/>
                      </a:lnTo>
                      <a:lnTo>
                        <a:pt x="677" y="1029"/>
                      </a:lnTo>
                      <a:lnTo>
                        <a:pt x="677" y="1027"/>
                      </a:lnTo>
                      <a:lnTo>
                        <a:pt x="676" y="1026"/>
                      </a:lnTo>
                      <a:lnTo>
                        <a:pt x="676" y="1025"/>
                      </a:lnTo>
                      <a:lnTo>
                        <a:pt x="674" y="1025"/>
                      </a:lnTo>
                      <a:lnTo>
                        <a:pt x="674" y="1027"/>
                      </a:lnTo>
                      <a:lnTo>
                        <a:pt x="674" y="1028"/>
                      </a:lnTo>
                      <a:lnTo>
                        <a:pt x="674" y="1029"/>
                      </a:lnTo>
                      <a:lnTo>
                        <a:pt x="673" y="1029"/>
                      </a:lnTo>
                      <a:lnTo>
                        <a:pt x="672" y="1029"/>
                      </a:lnTo>
                      <a:lnTo>
                        <a:pt x="673" y="1028"/>
                      </a:lnTo>
                      <a:lnTo>
                        <a:pt x="673" y="1027"/>
                      </a:lnTo>
                      <a:lnTo>
                        <a:pt x="671" y="1026"/>
                      </a:lnTo>
                      <a:lnTo>
                        <a:pt x="670" y="1027"/>
                      </a:lnTo>
                      <a:lnTo>
                        <a:pt x="670" y="1029"/>
                      </a:lnTo>
                      <a:lnTo>
                        <a:pt x="669" y="1029"/>
                      </a:lnTo>
                      <a:lnTo>
                        <a:pt x="668" y="1028"/>
                      </a:lnTo>
                      <a:lnTo>
                        <a:pt x="667" y="1029"/>
                      </a:lnTo>
                      <a:lnTo>
                        <a:pt x="667" y="1028"/>
                      </a:lnTo>
                      <a:lnTo>
                        <a:pt x="667" y="1027"/>
                      </a:lnTo>
                      <a:lnTo>
                        <a:pt x="667" y="1026"/>
                      </a:lnTo>
                      <a:lnTo>
                        <a:pt x="667" y="1025"/>
                      </a:lnTo>
                      <a:lnTo>
                        <a:pt x="667" y="1024"/>
                      </a:lnTo>
                      <a:lnTo>
                        <a:pt x="667" y="1021"/>
                      </a:lnTo>
                      <a:lnTo>
                        <a:pt x="666" y="1021"/>
                      </a:lnTo>
                      <a:lnTo>
                        <a:pt x="665" y="1021"/>
                      </a:lnTo>
                      <a:lnTo>
                        <a:pt x="665" y="1020"/>
                      </a:lnTo>
                      <a:lnTo>
                        <a:pt x="666" y="1019"/>
                      </a:lnTo>
                      <a:lnTo>
                        <a:pt x="666" y="1018"/>
                      </a:lnTo>
                      <a:lnTo>
                        <a:pt x="666" y="1015"/>
                      </a:lnTo>
                      <a:lnTo>
                        <a:pt x="666" y="1014"/>
                      </a:lnTo>
                      <a:lnTo>
                        <a:pt x="667" y="1014"/>
                      </a:lnTo>
                      <a:lnTo>
                        <a:pt x="667" y="1013"/>
                      </a:lnTo>
                      <a:lnTo>
                        <a:pt x="667" y="1012"/>
                      </a:lnTo>
                      <a:lnTo>
                        <a:pt x="668" y="1012"/>
                      </a:lnTo>
                      <a:lnTo>
                        <a:pt x="668" y="1011"/>
                      </a:lnTo>
                      <a:lnTo>
                        <a:pt x="668" y="1009"/>
                      </a:lnTo>
                      <a:lnTo>
                        <a:pt x="668" y="1007"/>
                      </a:lnTo>
                      <a:lnTo>
                        <a:pt x="669" y="1007"/>
                      </a:lnTo>
                      <a:lnTo>
                        <a:pt x="669" y="1006"/>
                      </a:lnTo>
                      <a:lnTo>
                        <a:pt x="670" y="1005"/>
                      </a:lnTo>
                      <a:lnTo>
                        <a:pt x="669" y="1005"/>
                      </a:lnTo>
                      <a:lnTo>
                        <a:pt x="669" y="1004"/>
                      </a:lnTo>
                      <a:lnTo>
                        <a:pt x="668" y="1003"/>
                      </a:lnTo>
                      <a:lnTo>
                        <a:pt x="668" y="1002"/>
                      </a:lnTo>
                      <a:lnTo>
                        <a:pt x="667" y="1001"/>
                      </a:lnTo>
                      <a:lnTo>
                        <a:pt x="667" y="1000"/>
                      </a:lnTo>
                      <a:lnTo>
                        <a:pt x="667" y="999"/>
                      </a:lnTo>
                      <a:lnTo>
                        <a:pt x="667" y="998"/>
                      </a:lnTo>
                      <a:lnTo>
                        <a:pt x="667" y="996"/>
                      </a:lnTo>
                      <a:lnTo>
                        <a:pt x="667" y="995"/>
                      </a:lnTo>
                      <a:lnTo>
                        <a:pt x="666" y="995"/>
                      </a:lnTo>
                      <a:lnTo>
                        <a:pt x="665" y="995"/>
                      </a:lnTo>
                      <a:lnTo>
                        <a:pt x="664" y="995"/>
                      </a:lnTo>
                      <a:lnTo>
                        <a:pt x="663" y="995"/>
                      </a:lnTo>
                      <a:lnTo>
                        <a:pt x="663" y="994"/>
                      </a:lnTo>
                      <a:lnTo>
                        <a:pt x="661" y="994"/>
                      </a:lnTo>
                      <a:lnTo>
                        <a:pt x="660" y="994"/>
                      </a:lnTo>
                      <a:lnTo>
                        <a:pt x="660" y="993"/>
                      </a:lnTo>
                      <a:lnTo>
                        <a:pt x="659" y="993"/>
                      </a:lnTo>
                      <a:lnTo>
                        <a:pt x="658" y="992"/>
                      </a:lnTo>
                      <a:lnTo>
                        <a:pt x="658" y="991"/>
                      </a:lnTo>
                      <a:lnTo>
                        <a:pt x="658" y="990"/>
                      </a:lnTo>
                      <a:lnTo>
                        <a:pt x="657" y="990"/>
                      </a:lnTo>
                      <a:lnTo>
                        <a:pt x="656" y="990"/>
                      </a:lnTo>
                      <a:lnTo>
                        <a:pt x="655" y="990"/>
                      </a:lnTo>
                      <a:lnTo>
                        <a:pt x="655" y="989"/>
                      </a:lnTo>
                      <a:lnTo>
                        <a:pt x="655" y="988"/>
                      </a:lnTo>
                      <a:lnTo>
                        <a:pt x="655" y="987"/>
                      </a:lnTo>
                      <a:lnTo>
                        <a:pt x="654" y="987"/>
                      </a:lnTo>
                      <a:lnTo>
                        <a:pt x="653" y="987"/>
                      </a:lnTo>
                      <a:lnTo>
                        <a:pt x="652" y="986"/>
                      </a:lnTo>
                      <a:lnTo>
                        <a:pt x="651" y="986"/>
                      </a:lnTo>
                      <a:lnTo>
                        <a:pt x="651" y="984"/>
                      </a:lnTo>
                      <a:lnTo>
                        <a:pt x="650" y="984"/>
                      </a:lnTo>
                      <a:lnTo>
                        <a:pt x="650" y="986"/>
                      </a:lnTo>
                      <a:lnTo>
                        <a:pt x="650" y="984"/>
                      </a:lnTo>
                      <a:lnTo>
                        <a:pt x="650" y="982"/>
                      </a:lnTo>
                      <a:lnTo>
                        <a:pt x="648" y="981"/>
                      </a:lnTo>
                      <a:lnTo>
                        <a:pt x="648" y="980"/>
                      </a:lnTo>
                      <a:lnTo>
                        <a:pt x="650" y="979"/>
                      </a:lnTo>
                      <a:lnTo>
                        <a:pt x="648" y="979"/>
                      </a:lnTo>
                      <a:lnTo>
                        <a:pt x="647" y="979"/>
                      </a:lnTo>
                      <a:lnTo>
                        <a:pt x="647" y="978"/>
                      </a:lnTo>
                      <a:lnTo>
                        <a:pt x="647" y="977"/>
                      </a:lnTo>
                      <a:lnTo>
                        <a:pt x="647" y="976"/>
                      </a:lnTo>
                      <a:lnTo>
                        <a:pt x="647" y="975"/>
                      </a:lnTo>
                      <a:lnTo>
                        <a:pt x="647" y="976"/>
                      </a:lnTo>
                      <a:lnTo>
                        <a:pt x="646" y="976"/>
                      </a:lnTo>
                      <a:lnTo>
                        <a:pt x="646" y="975"/>
                      </a:lnTo>
                      <a:lnTo>
                        <a:pt x="646" y="973"/>
                      </a:lnTo>
                      <a:lnTo>
                        <a:pt x="647" y="971"/>
                      </a:lnTo>
                      <a:lnTo>
                        <a:pt x="647" y="970"/>
                      </a:lnTo>
                      <a:lnTo>
                        <a:pt x="647" y="969"/>
                      </a:lnTo>
                      <a:lnTo>
                        <a:pt x="646" y="969"/>
                      </a:lnTo>
                      <a:lnTo>
                        <a:pt x="645" y="970"/>
                      </a:lnTo>
                      <a:lnTo>
                        <a:pt x="644" y="970"/>
                      </a:lnTo>
                      <a:lnTo>
                        <a:pt x="644" y="969"/>
                      </a:lnTo>
                      <a:lnTo>
                        <a:pt x="643" y="969"/>
                      </a:lnTo>
                      <a:lnTo>
                        <a:pt x="642" y="969"/>
                      </a:lnTo>
                      <a:lnTo>
                        <a:pt x="641" y="969"/>
                      </a:lnTo>
                      <a:lnTo>
                        <a:pt x="640" y="969"/>
                      </a:lnTo>
                      <a:lnTo>
                        <a:pt x="639" y="969"/>
                      </a:lnTo>
                      <a:lnTo>
                        <a:pt x="638" y="968"/>
                      </a:lnTo>
                      <a:lnTo>
                        <a:pt x="638" y="967"/>
                      </a:lnTo>
                      <a:lnTo>
                        <a:pt x="637" y="967"/>
                      </a:lnTo>
                      <a:lnTo>
                        <a:pt x="635" y="968"/>
                      </a:lnTo>
                      <a:lnTo>
                        <a:pt x="635" y="969"/>
                      </a:lnTo>
                      <a:lnTo>
                        <a:pt x="635" y="970"/>
                      </a:lnTo>
                      <a:lnTo>
                        <a:pt x="637" y="970"/>
                      </a:lnTo>
                      <a:lnTo>
                        <a:pt x="635" y="970"/>
                      </a:lnTo>
                      <a:lnTo>
                        <a:pt x="634" y="971"/>
                      </a:lnTo>
                      <a:lnTo>
                        <a:pt x="633" y="973"/>
                      </a:lnTo>
                      <a:lnTo>
                        <a:pt x="632" y="973"/>
                      </a:lnTo>
                      <a:lnTo>
                        <a:pt x="631" y="974"/>
                      </a:lnTo>
                      <a:lnTo>
                        <a:pt x="630" y="974"/>
                      </a:lnTo>
                      <a:lnTo>
                        <a:pt x="630" y="975"/>
                      </a:lnTo>
                      <a:lnTo>
                        <a:pt x="630" y="976"/>
                      </a:lnTo>
                      <a:lnTo>
                        <a:pt x="629" y="976"/>
                      </a:lnTo>
                      <a:lnTo>
                        <a:pt x="629" y="977"/>
                      </a:lnTo>
                      <a:lnTo>
                        <a:pt x="628" y="977"/>
                      </a:lnTo>
                      <a:lnTo>
                        <a:pt x="628" y="978"/>
                      </a:lnTo>
                      <a:lnTo>
                        <a:pt x="629" y="978"/>
                      </a:lnTo>
                      <a:lnTo>
                        <a:pt x="630" y="979"/>
                      </a:lnTo>
                      <a:lnTo>
                        <a:pt x="630" y="980"/>
                      </a:lnTo>
                      <a:lnTo>
                        <a:pt x="630" y="981"/>
                      </a:lnTo>
                      <a:lnTo>
                        <a:pt x="631" y="982"/>
                      </a:lnTo>
                      <a:lnTo>
                        <a:pt x="631" y="983"/>
                      </a:lnTo>
                      <a:lnTo>
                        <a:pt x="632" y="983"/>
                      </a:lnTo>
                      <a:lnTo>
                        <a:pt x="632" y="984"/>
                      </a:lnTo>
                      <a:lnTo>
                        <a:pt x="633" y="984"/>
                      </a:lnTo>
                      <a:lnTo>
                        <a:pt x="634" y="986"/>
                      </a:lnTo>
                      <a:lnTo>
                        <a:pt x="634" y="987"/>
                      </a:lnTo>
                      <a:lnTo>
                        <a:pt x="634" y="988"/>
                      </a:lnTo>
                      <a:lnTo>
                        <a:pt x="633" y="988"/>
                      </a:lnTo>
                      <a:lnTo>
                        <a:pt x="633" y="989"/>
                      </a:lnTo>
                      <a:lnTo>
                        <a:pt x="632" y="990"/>
                      </a:lnTo>
                      <a:lnTo>
                        <a:pt x="633" y="990"/>
                      </a:lnTo>
                      <a:lnTo>
                        <a:pt x="632" y="991"/>
                      </a:lnTo>
                      <a:lnTo>
                        <a:pt x="631" y="991"/>
                      </a:lnTo>
                      <a:lnTo>
                        <a:pt x="631" y="992"/>
                      </a:lnTo>
                      <a:lnTo>
                        <a:pt x="631" y="993"/>
                      </a:lnTo>
                      <a:lnTo>
                        <a:pt x="630" y="993"/>
                      </a:lnTo>
                      <a:lnTo>
                        <a:pt x="629" y="994"/>
                      </a:lnTo>
                      <a:lnTo>
                        <a:pt x="628" y="994"/>
                      </a:lnTo>
                      <a:lnTo>
                        <a:pt x="628" y="995"/>
                      </a:lnTo>
                      <a:lnTo>
                        <a:pt x="627" y="996"/>
                      </a:lnTo>
                      <a:lnTo>
                        <a:pt x="626" y="996"/>
                      </a:lnTo>
                      <a:lnTo>
                        <a:pt x="626" y="998"/>
                      </a:lnTo>
                      <a:lnTo>
                        <a:pt x="625" y="998"/>
                      </a:lnTo>
                      <a:lnTo>
                        <a:pt x="625" y="999"/>
                      </a:lnTo>
                      <a:lnTo>
                        <a:pt x="625" y="1000"/>
                      </a:lnTo>
                      <a:lnTo>
                        <a:pt x="625" y="1001"/>
                      </a:lnTo>
                      <a:lnTo>
                        <a:pt x="625" y="1002"/>
                      </a:lnTo>
                      <a:lnTo>
                        <a:pt x="624" y="1003"/>
                      </a:lnTo>
                      <a:lnTo>
                        <a:pt x="622" y="1004"/>
                      </a:lnTo>
                      <a:lnTo>
                        <a:pt x="622" y="1005"/>
                      </a:lnTo>
                      <a:lnTo>
                        <a:pt x="621" y="1005"/>
                      </a:lnTo>
                      <a:lnTo>
                        <a:pt x="620" y="1005"/>
                      </a:lnTo>
                      <a:lnTo>
                        <a:pt x="620" y="1006"/>
                      </a:lnTo>
                      <a:lnTo>
                        <a:pt x="619" y="1006"/>
                      </a:lnTo>
                      <a:lnTo>
                        <a:pt x="618" y="1007"/>
                      </a:lnTo>
                      <a:lnTo>
                        <a:pt x="617" y="1008"/>
                      </a:lnTo>
                      <a:lnTo>
                        <a:pt x="617" y="1009"/>
                      </a:lnTo>
                      <a:lnTo>
                        <a:pt x="616" y="1009"/>
                      </a:lnTo>
                      <a:lnTo>
                        <a:pt x="616" y="1008"/>
                      </a:lnTo>
                      <a:lnTo>
                        <a:pt x="616" y="1007"/>
                      </a:lnTo>
                      <a:lnTo>
                        <a:pt x="615" y="1006"/>
                      </a:lnTo>
                      <a:lnTo>
                        <a:pt x="615" y="1005"/>
                      </a:lnTo>
                      <a:lnTo>
                        <a:pt x="614" y="1005"/>
                      </a:lnTo>
                      <a:lnTo>
                        <a:pt x="614" y="1006"/>
                      </a:lnTo>
                      <a:lnTo>
                        <a:pt x="614" y="1007"/>
                      </a:lnTo>
                      <a:lnTo>
                        <a:pt x="613" y="1007"/>
                      </a:lnTo>
                      <a:lnTo>
                        <a:pt x="613" y="1008"/>
                      </a:lnTo>
                      <a:lnTo>
                        <a:pt x="613" y="1007"/>
                      </a:lnTo>
                      <a:lnTo>
                        <a:pt x="612" y="1007"/>
                      </a:lnTo>
                      <a:lnTo>
                        <a:pt x="612" y="1006"/>
                      </a:lnTo>
                      <a:lnTo>
                        <a:pt x="611" y="1006"/>
                      </a:lnTo>
                      <a:lnTo>
                        <a:pt x="611" y="1007"/>
                      </a:lnTo>
                      <a:lnTo>
                        <a:pt x="609" y="1006"/>
                      </a:lnTo>
                      <a:lnTo>
                        <a:pt x="608" y="1006"/>
                      </a:lnTo>
                      <a:lnTo>
                        <a:pt x="607" y="1006"/>
                      </a:lnTo>
                      <a:lnTo>
                        <a:pt x="607" y="1005"/>
                      </a:lnTo>
                      <a:lnTo>
                        <a:pt x="606" y="1005"/>
                      </a:lnTo>
                      <a:lnTo>
                        <a:pt x="604" y="1004"/>
                      </a:lnTo>
                      <a:lnTo>
                        <a:pt x="604" y="1003"/>
                      </a:lnTo>
                      <a:lnTo>
                        <a:pt x="603" y="1003"/>
                      </a:lnTo>
                      <a:lnTo>
                        <a:pt x="603" y="1002"/>
                      </a:lnTo>
                      <a:lnTo>
                        <a:pt x="603" y="1001"/>
                      </a:lnTo>
                      <a:lnTo>
                        <a:pt x="603" y="1000"/>
                      </a:lnTo>
                      <a:lnTo>
                        <a:pt x="602" y="1000"/>
                      </a:lnTo>
                      <a:lnTo>
                        <a:pt x="601" y="1000"/>
                      </a:lnTo>
                      <a:lnTo>
                        <a:pt x="600" y="1000"/>
                      </a:lnTo>
                      <a:lnTo>
                        <a:pt x="599" y="1000"/>
                      </a:lnTo>
                      <a:lnTo>
                        <a:pt x="598" y="1000"/>
                      </a:lnTo>
                      <a:lnTo>
                        <a:pt x="598" y="1001"/>
                      </a:lnTo>
                      <a:lnTo>
                        <a:pt x="598" y="1002"/>
                      </a:lnTo>
                      <a:lnTo>
                        <a:pt x="596" y="1002"/>
                      </a:lnTo>
                      <a:lnTo>
                        <a:pt x="596" y="1003"/>
                      </a:lnTo>
                      <a:lnTo>
                        <a:pt x="595" y="1003"/>
                      </a:lnTo>
                      <a:lnTo>
                        <a:pt x="594" y="1002"/>
                      </a:lnTo>
                      <a:lnTo>
                        <a:pt x="593" y="1002"/>
                      </a:lnTo>
                      <a:lnTo>
                        <a:pt x="592" y="1002"/>
                      </a:lnTo>
                      <a:lnTo>
                        <a:pt x="591" y="1002"/>
                      </a:lnTo>
                      <a:lnTo>
                        <a:pt x="590" y="1002"/>
                      </a:lnTo>
                      <a:lnTo>
                        <a:pt x="590" y="1001"/>
                      </a:lnTo>
                      <a:lnTo>
                        <a:pt x="589" y="1000"/>
                      </a:lnTo>
                      <a:lnTo>
                        <a:pt x="588" y="1000"/>
                      </a:lnTo>
                      <a:lnTo>
                        <a:pt x="587" y="1000"/>
                      </a:lnTo>
                      <a:lnTo>
                        <a:pt x="586" y="1001"/>
                      </a:lnTo>
                      <a:lnTo>
                        <a:pt x="585" y="1001"/>
                      </a:lnTo>
                      <a:lnTo>
                        <a:pt x="585" y="1002"/>
                      </a:lnTo>
                      <a:lnTo>
                        <a:pt x="583" y="1002"/>
                      </a:lnTo>
                      <a:lnTo>
                        <a:pt x="583" y="1001"/>
                      </a:lnTo>
                      <a:lnTo>
                        <a:pt x="582" y="1001"/>
                      </a:lnTo>
                      <a:lnTo>
                        <a:pt x="581" y="1001"/>
                      </a:lnTo>
                      <a:lnTo>
                        <a:pt x="581" y="1000"/>
                      </a:lnTo>
                      <a:lnTo>
                        <a:pt x="581" y="999"/>
                      </a:lnTo>
                      <a:lnTo>
                        <a:pt x="580" y="999"/>
                      </a:lnTo>
                      <a:lnTo>
                        <a:pt x="580" y="998"/>
                      </a:lnTo>
                      <a:lnTo>
                        <a:pt x="580" y="996"/>
                      </a:lnTo>
                      <a:lnTo>
                        <a:pt x="579" y="998"/>
                      </a:lnTo>
                      <a:lnTo>
                        <a:pt x="579" y="999"/>
                      </a:lnTo>
                      <a:lnTo>
                        <a:pt x="578" y="999"/>
                      </a:lnTo>
                      <a:lnTo>
                        <a:pt x="578" y="998"/>
                      </a:lnTo>
                      <a:lnTo>
                        <a:pt x="579" y="998"/>
                      </a:lnTo>
                      <a:lnTo>
                        <a:pt x="579" y="996"/>
                      </a:lnTo>
                      <a:lnTo>
                        <a:pt x="578" y="995"/>
                      </a:lnTo>
                      <a:lnTo>
                        <a:pt x="578" y="994"/>
                      </a:lnTo>
                      <a:lnTo>
                        <a:pt x="578" y="993"/>
                      </a:lnTo>
                      <a:lnTo>
                        <a:pt x="578" y="992"/>
                      </a:lnTo>
                      <a:lnTo>
                        <a:pt x="577" y="992"/>
                      </a:lnTo>
                      <a:lnTo>
                        <a:pt x="576" y="992"/>
                      </a:lnTo>
                      <a:lnTo>
                        <a:pt x="575" y="992"/>
                      </a:lnTo>
                      <a:lnTo>
                        <a:pt x="575" y="991"/>
                      </a:lnTo>
                      <a:lnTo>
                        <a:pt x="574" y="992"/>
                      </a:lnTo>
                      <a:lnTo>
                        <a:pt x="573" y="992"/>
                      </a:lnTo>
                      <a:lnTo>
                        <a:pt x="571" y="992"/>
                      </a:lnTo>
                      <a:lnTo>
                        <a:pt x="570" y="992"/>
                      </a:lnTo>
                      <a:lnTo>
                        <a:pt x="570" y="993"/>
                      </a:lnTo>
                      <a:lnTo>
                        <a:pt x="570" y="994"/>
                      </a:lnTo>
                      <a:lnTo>
                        <a:pt x="569" y="994"/>
                      </a:lnTo>
                      <a:lnTo>
                        <a:pt x="569" y="995"/>
                      </a:lnTo>
                      <a:lnTo>
                        <a:pt x="569" y="996"/>
                      </a:lnTo>
                      <a:lnTo>
                        <a:pt x="568" y="996"/>
                      </a:lnTo>
                      <a:lnTo>
                        <a:pt x="567" y="996"/>
                      </a:lnTo>
                      <a:lnTo>
                        <a:pt x="567" y="998"/>
                      </a:lnTo>
                      <a:lnTo>
                        <a:pt x="566" y="998"/>
                      </a:lnTo>
                      <a:lnTo>
                        <a:pt x="567" y="998"/>
                      </a:lnTo>
                      <a:lnTo>
                        <a:pt x="567" y="999"/>
                      </a:lnTo>
                      <a:lnTo>
                        <a:pt x="568" y="1000"/>
                      </a:lnTo>
                      <a:lnTo>
                        <a:pt x="567" y="1000"/>
                      </a:lnTo>
                      <a:lnTo>
                        <a:pt x="567" y="1001"/>
                      </a:lnTo>
                      <a:lnTo>
                        <a:pt x="567" y="1000"/>
                      </a:lnTo>
                      <a:lnTo>
                        <a:pt x="566" y="1000"/>
                      </a:lnTo>
                      <a:lnTo>
                        <a:pt x="567" y="1000"/>
                      </a:lnTo>
                      <a:lnTo>
                        <a:pt x="567" y="999"/>
                      </a:lnTo>
                      <a:lnTo>
                        <a:pt x="566" y="999"/>
                      </a:lnTo>
                      <a:lnTo>
                        <a:pt x="566" y="998"/>
                      </a:lnTo>
                      <a:lnTo>
                        <a:pt x="565" y="998"/>
                      </a:lnTo>
                      <a:lnTo>
                        <a:pt x="566" y="996"/>
                      </a:lnTo>
                      <a:lnTo>
                        <a:pt x="565" y="996"/>
                      </a:lnTo>
                      <a:lnTo>
                        <a:pt x="564" y="996"/>
                      </a:lnTo>
                      <a:lnTo>
                        <a:pt x="564" y="995"/>
                      </a:lnTo>
                      <a:lnTo>
                        <a:pt x="563" y="995"/>
                      </a:lnTo>
                      <a:lnTo>
                        <a:pt x="563" y="994"/>
                      </a:lnTo>
                      <a:lnTo>
                        <a:pt x="562" y="994"/>
                      </a:lnTo>
                      <a:lnTo>
                        <a:pt x="561" y="994"/>
                      </a:lnTo>
                      <a:lnTo>
                        <a:pt x="560" y="993"/>
                      </a:lnTo>
                      <a:lnTo>
                        <a:pt x="558" y="993"/>
                      </a:lnTo>
                      <a:lnTo>
                        <a:pt x="557" y="994"/>
                      </a:lnTo>
                      <a:lnTo>
                        <a:pt x="556" y="994"/>
                      </a:lnTo>
                      <a:lnTo>
                        <a:pt x="555" y="995"/>
                      </a:lnTo>
                      <a:lnTo>
                        <a:pt x="554" y="995"/>
                      </a:lnTo>
                      <a:lnTo>
                        <a:pt x="554" y="994"/>
                      </a:lnTo>
                      <a:lnTo>
                        <a:pt x="553" y="995"/>
                      </a:lnTo>
                      <a:lnTo>
                        <a:pt x="552" y="995"/>
                      </a:lnTo>
                      <a:lnTo>
                        <a:pt x="552" y="994"/>
                      </a:lnTo>
                      <a:lnTo>
                        <a:pt x="552" y="993"/>
                      </a:lnTo>
                      <a:lnTo>
                        <a:pt x="551" y="993"/>
                      </a:lnTo>
                      <a:lnTo>
                        <a:pt x="551" y="992"/>
                      </a:lnTo>
                      <a:lnTo>
                        <a:pt x="550" y="993"/>
                      </a:lnTo>
                      <a:lnTo>
                        <a:pt x="550" y="994"/>
                      </a:lnTo>
                      <a:lnTo>
                        <a:pt x="549" y="994"/>
                      </a:lnTo>
                      <a:lnTo>
                        <a:pt x="549" y="996"/>
                      </a:lnTo>
                      <a:lnTo>
                        <a:pt x="550" y="996"/>
                      </a:lnTo>
                      <a:lnTo>
                        <a:pt x="549" y="998"/>
                      </a:lnTo>
                      <a:lnTo>
                        <a:pt x="550" y="998"/>
                      </a:lnTo>
                      <a:lnTo>
                        <a:pt x="549" y="999"/>
                      </a:lnTo>
                      <a:lnTo>
                        <a:pt x="548" y="999"/>
                      </a:lnTo>
                      <a:lnTo>
                        <a:pt x="547" y="998"/>
                      </a:lnTo>
                      <a:lnTo>
                        <a:pt x="547" y="999"/>
                      </a:lnTo>
                      <a:lnTo>
                        <a:pt x="545" y="999"/>
                      </a:lnTo>
                      <a:lnTo>
                        <a:pt x="545" y="998"/>
                      </a:lnTo>
                      <a:lnTo>
                        <a:pt x="544" y="998"/>
                      </a:lnTo>
                      <a:lnTo>
                        <a:pt x="544" y="996"/>
                      </a:lnTo>
                      <a:lnTo>
                        <a:pt x="543" y="996"/>
                      </a:lnTo>
                      <a:lnTo>
                        <a:pt x="542" y="998"/>
                      </a:lnTo>
                      <a:lnTo>
                        <a:pt x="542" y="999"/>
                      </a:lnTo>
                      <a:lnTo>
                        <a:pt x="541" y="1000"/>
                      </a:lnTo>
                      <a:lnTo>
                        <a:pt x="542" y="1000"/>
                      </a:lnTo>
                      <a:lnTo>
                        <a:pt x="543" y="1000"/>
                      </a:lnTo>
                      <a:lnTo>
                        <a:pt x="543" y="1001"/>
                      </a:lnTo>
                      <a:lnTo>
                        <a:pt x="543" y="1002"/>
                      </a:lnTo>
                      <a:lnTo>
                        <a:pt x="543" y="1003"/>
                      </a:lnTo>
                      <a:lnTo>
                        <a:pt x="543" y="1004"/>
                      </a:lnTo>
                      <a:lnTo>
                        <a:pt x="543" y="1005"/>
                      </a:lnTo>
                      <a:lnTo>
                        <a:pt x="542" y="1005"/>
                      </a:lnTo>
                      <a:lnTo>
                        <a:pt x="542" y="1004"/>
                      </a:lnTo>
                      <a:lnTo>
                        <a:pt x="541" y="1004"/>
                      </a:lnTo>
                      <a:lnTo>
                        <a:pt x="541" y="1003"/>
                      </a:lnTo>
                      <a:lnTo>
                        <a:pt x="540" y="1003"/>
                      </a:lnTo>
                      <a:lnTo>
                        <a:pt x="539" y="1003"/>
                      </a:lnTo>
                      <a:lnTo>
                        <a:pt x="538" y="1004"/>
                      </a:lnTo>
                      <a:lnTo>
                        <a:pt x="538" y="1003"/>
                      </a:lnTo>
                      <a:lnTo>
                        <a:pt x="537" y="1002"/>
                      </a:lnTo>
                      <a:lnTo>
                        <a:pt x="536" y="1002"/>
                      </a:lnTo>
                      <a:lnTo>
                        <a:pt x="536" y="1003"/>
                      </a:lnTo>
                      <a:lnTo>
                        <a:pt x="535" y="1003"/>
                      </a:lnTo>
                      <a:lnTo>
                        <a:pt x="535" y="1004"/>
                      </a:lnTo>
                      <a:lnTo>
                        <a:pt x="535" y="1005"/>
                      </a:lnTo>
                      <a:lnTo>
                        <a:pt x="535" y="1006"/>
                      </a:lnTo>
                      <a:lnTo>
                        <a:pt x="534" y="1007"/>
                      </a:lnTo>
                      <a:lnTo>
                        <a:pt x="534" y="1006"/>
                      </a:lnTo>
                      <a:lnTo>
                        <a:pt x="532" y="1006"/>
                      </a:lnTo>
                      <a:lnTo>
                        <a:pt x="531" y="1005"/>
                      </a:lnTo>
                      <a:lnTo>
                        <a:pt x="531" y="1006"/>
                      </a:lnTo>
                      <a:lnTo>
                        <a:pt x="530" y="1006"/>
                      </a:lnTo>
                      <a:lnTo>
                        <a:pt x="531" y="1007"/>
                      </a:lnTo>
                      <a:lnTo>
                        <a:pt x="532" y="1007"/>
                      </a:lnTo>
                      <a:lnTo>
                        <a:pt x="532" y="1008"/>
                      </a:lnTo>
                      <a:lnTo>
                        <a:pt x="534" y="1008"/>
                      </a:lnTo>
                      <a:lnTo>
                        <a:pt x="534" y="1009"/>
                      </a:lnTo>
                      <a:lnTo>
                        <a:pt x="532" y="1008"/>
                      </a:lnTo>
                      <a:lnTo>
                        <a:pt x="531" y="1008"/>
                      </a:lnTo>
                      <a:lnTo>
                        <a:pt x="530" y="1009"/>
                      </a:lnTo>
                      <a:lnTo>
                        <a:pt x="530" y="1011"/>
                      </a:lnTo>
                      <a:lnTo>
                        <a:pt x="530" y="1012"/>
                      </a:lnTo>
                      <a:lnTo>
                        <a:pt x="530" y="1013"/>
                      </a:lnTo>
                      <a:lnTo>
                        <a:pt x="530" y="1014"/>
                      </a:lnTo>
                      <a:lnTo>
                        <a:pt x="531" y="1014"/>
                      </a:lnTo>
                      <a:lnTo>
                        <a:pt x="532" y="1015"/>
                      </a:lnTo>
                      <a:lnTo>
                        <a:pt x="532" y="1016"/>
                      </a:lnTo>
                      <a:lnTo>
                        <a:pt x="532" y="1017"/>
                      </a:lnTo>
                      <a:lnTo>
                        <a:pt x="532" y="1018"/>
                      </a:lnTo>
                      <a:lnTo>
                        <a:pt x="534" y="1018"/>
                      </a:lnTo>
                      <a:lnTo>
                        <a:pt x="534" y="1019"/>
                      </a:lnTo>
                      <a:lnTo>
                        <a:pt x="535" y="1019"/>
                      </a:lnTo>
                      <a:lnTo>
                        <a:pt x="535" y="1020"/>
                      </a:lnTo>
                      <a:lnTo>
                        <a:pt x="536" y="1020"/>
                      </a:lnTo>
                      <a:lnTo>
                        <a:pt x="536" y="1021"/>
                      </a:lnTo>
                      <a:lnTo>
                        <a:pt x="537" y="1021"/>
                      </a:lnTo>
                      <a:lnTo>
                        <a:pt x="538" y="1022"/>
                      </a:lnTo>
                      <a:lnTo>
                        <a:pt x="539" y="1024"/>
                      </a:lnTo>
                      <a:lnTo>
                        <a:pt x="539" y="1025"/>
                      </a:lnTo>
                      <a:lnTo>
                        <a:pt x="540" y="1025"/>
                      </a:lnTo>
                      <a:lnTo>
                        <a:pt x="541" y="1027"/>
                      </a:lnTo>
                      <a:lnTo>
                        <a:pt x="542" y="1027"/>
                      </a:lnTo>
                      <a:lnTo>
                        <a:pt x="543" y="1028"/>
                      </a:lnTo>
                      <a:lnTo>
                        <a:pt x="543" y="1027"/>
                      </a:lnTo>
                      <a:lnTo>
                        <a:pt x="544" y="1027"/>
                      </a:lnTo>
                      <a:lnTo>
                        <a:pt x="544" y="1025"/>
                      </a:lnTo>
                      <a:lnTo>
                        <a:pt x="545" y="1025"/>
                      </a:lnTo>
                      <a:lnTo>
                        <a:pt x="545" y="1024"/>
                      </a:lnTo>
                      <a:lnTo>
                        <a:pt x="547" y="1022"/>
                      </a:lnTo>
                      <a:lnTo>
                        <a:pt x="548" y="1022"/>
                      </a:lnTo>
                      <a:lnTo>
                        <a:pt x="549" y="1021"/>
                      </a:lnTo>
                      <a:lnTo>
                        <a:pt x="550" y="1022"/>
                      </a:lnTo>
                      <a:lnTo>
                        <a:pt x="550" y="1024"/>
                      </a:lnTo>
                      <a:lnTo>
                        <a:pt x="550" y="1025"/>
                      </a:lnTo>
                      <a:lnTo>
                        <a:pt x="549" y="1025"/>
                      </a:lnTo>
                      <a:lnTo>
                        <a:pt x="548" y="1025"/>
                      </a:lnTo>
                      <a:lnTo>
                        <a:pt x="547" y="1025"/>
                      </a:lnTo>
                      <a:lnTo>
                        <a:pt x="547" y="1026"/>
                      </a:lnTo>
                      <a:lnTo>
                        <a:pt x="547" y="1027"/>
                      </a:lnTo>
                      <a:lnTo>
                        <a:pt x="548" y="1027"/>
                      </a:lnTo>
                      <a:lnTo>
                        <a:pt x="548" y="1028"/>
                      </a:lnTo>
                      <a:lnTo>
                        <a:pt x="549" y="1028"/>
                      </a:lnTo>
                      <a:lnTo>
                        <a:pt x="549" y="1029"/>
                      </a:lnTo>
                      <a:lnTo>
                        <a:pt x="548" y="1029"/>
                      </a:lnTo>
                      <a:lnTo>
                        <a:pt x="548" y="1030"/>
                      </a:lnTo>
                      <a:lnTo>
                        <a:pt x="549" y="1030"/>
                      </a:lnTo>
                      <a:lnTo>
                        <a:pt x="549" y="1031"/>
                      </a:lnTo>
                      <a:lnTo>
                        <a:pt x="550" y="1032"/>
                      </a:lnTo>
                      <a:lnTo>
                        <a:pt x="549" y="1032"/>
                      </a:lnTo>
                      <a:lnTo>
                        <a:pt x="549" y="1033"/>
                      </a:lnTo>
                      <a:lnTo>
                        <a:pt x="549" y="1034"/>
                      </a:lnTo>
                      <a:lnTo>
                        <a:pt x="549" y="1035"/>
                      </a:lnTo>
                      <a:lnTo>
                        <a:pt x="549" y="1037"/>
                      </a:lnTo>
                      <a:lnTo>
                        <a:pt x="548" y="1038"/>
                      </a:lnTo>
                      <a:lnTo>
                        <a:pt x="548" y="1039"/>
                      </a:lnTo>
                      <a:lnTo>
                        <a:pt x="548" y="1040"/>
                      </a:lnTo>
                      <a:lnTo>
                        <a:pt x="548" y="1041"/>
                      </a:lnTo>
                      <a:lnTo>
                        <a:pt x="548" y="1043"/>
                      </a:lnTo>
                      <a:lnTo>
                        <a:pt x="547" y="1043"/>
                      </a:lnTo>
                      <a:lnTo>
                        <a:pt x="547" y="1045"/>
                      </a:lnTo>
                      <a:lnTo>
                        <a:pt x="545" y="1045"/>
                      </a:lnTo>
                      <a:lnTo>
                        <a:pt x="544" y="1045"/>
                      </a:lnTo>
                      <a:lnTo>
                        <a:pt x="543" y="1045"/>
                      </a:lnTo>
                      <a:lnTo>
                        <a:pt x="542" y="1044"/>
                      </a:lnTo>
                      <a:lnTo>
                        <a:pt x="542" y="1043"/>
                      </a:lnTo>
                      <a:lnTo>
                        <a:pt x="542" y="1042"/>
                      </a:lnTo>
                      <a:lnTo>
                        <a:pt x="541" y="1042"/>
                      </a:lnTo>
                      <a:lnTo>
                        <a:pt x="541" y="1041"/>
                      </a:lnTo>
                      <a:lnTo>
                        <a:pt x="540" y="1041"/>
                      </a:lnTo>
                      <a:lnTo>
                        <a:pt x="540" y="1040"/>
                      </a:lnTo>
                      <a:lnTo>
                        <a:pt x="539" y="1039"/>
                      </a:lnTo>
                      <a:lnTo>
                        <a:pt x="538" y="1039"/>
                      </a:lnTo>
                      <a:lnTo>
                        <a:pt x="537" y="1039"/>
                      </a:lnTo>
                      <a:lnTo>
                        <a:pt x="537" y="1038"/>
                      </a:lnTo>
                      <a:lnTo>
                        <a:pt x="537" y="1037"/>
                      </a:lnTo>
                      <a:lnTo>
                        <a:pt x="537" y="1035"/>
                      </a:lnTo>
                      <a:lnTo>
                        <a:pt x="536" y="1035"/>
                      </a:lnTo>
                      <a:lnTo>
                        <a:pt x="535" y="1034"/>
                      </a:lnTo>
                      <a:lnTo>
                        <a:pt x="534" y="1034"/>
                      </a:lnTo>
                      <a:lnTo>
                        <a:pt x="532" y="1034"/>
                      </a:lnTo>
                      <a:lnTo>
                        <a:pt x="531" y="1034"/>
                      </a:lnTo>
                      <a:lnTo>
                        <a:pt x="530" y="1034"/>
                      </a:lnTo>
                      <a:lnTo>
                        <a:pt x="528" y="1033"/>
                      </a:lnTo>
                      <a:lnTo>
                        <a:pt x="526" y="1033"/>
                      </a:lnTo>
                      <a:lnTo>
                        <a:pt x="525" y="1033"/>
                      </a:lnTo>
                      <a:lnTo>
                        <a:pt x="525" y="1034"/>
                      </a:lnTo>
                      <a:lnTo>
                        <a:pt x="524" y="1034"/>
                      </a:lnTo>
                      <a:lnTo>
                        <a:pt x="524" y="1035"/>
                      </a:lnTo>
                      <a:lnTo>
                        <a:pt x="524" y="1037"/>
                      </a:lnTo>
                      <a:lnTo>
                        <a:pt x="523" y="1038"/>
                      </a:lnTo>
                      <a:lnTo>
                        <a:pt x="523" y="1039"/>
                      </a:lnTo>
                      <a:lnTo>
                        <a:pt x="524" y="1040"/>
                      </a:lnTo>
                      <a:lnTo>
                        <a:pt x="525" y="1041"/>
                      </a:lnTo>
                      <a:lnTo>
                        <a:pt x="525" y="1042"/>
                      </a:lnTo>
                      <a:lnTo>
                        <a:pt x="526" y="1042"/>
                      </a:lnTo>
                      <a:lnTo>
                        <a:pt x="526" y="1043"/>
                      </a:lnTo>
                      <a:lnTo>
                        <a:pt x="526" y="1044"/>
                      </a:lnTo>
                      <a:lnTo>
                        <a:pt x="527" y="1044"/>
                      </a:lnTo>
                      <a:lnTo>
                        <a:pt x="527" y="1045"/>
                      </a:lnTo>
                      <a:lnTo>
                        <a:pt x="528" y="1046"/>
                      </a:lnTo>
                      <a:lnTo>
                        <a:pt x="528" y="1047"/>
                      </a:lnTo>
                      <a:lnTo>
                        <a:pt x="529" y="1047"/>
                      </a:lnTo>
                      <a:lnTo>
                        <a:pt x="530" y="1047"/>
                      </a:lnTo>
                      <a:lnTo>
                        <a:pt x="530" y="1046"/>
                      </a:lnTo>
                      <a:lnTo>
                        <a:pt x="531" y="1046"/>
                      </a:lnTo>
                      <a:lnTo>
                        <a:pt x="532" y="1047"/>
                      </a:lnTo>
                      <a:lnTo>
                        <a:pt x="531" y="1047"/>
                      </a:lnTo>
                      <a:lnTo>
                        <a:pt x="531" y="1048"/>
                      </a:lnTo>
                      <a:lnTo>
                        <a:pt x="531" y="1050"/>
                      </a:lnTo>
                      <a:lnTo>
                        <a:pt x="532" y="1051"/>
                      </a:lnTo>
                      <a:lnTo>
                        <a:pt x="535" y="1052"/>
                      </a:lnTo>
                      <a:lnTo>
                        <a:pt x="536" y="1053"/>
                      </a:lnTo>
                      <a:lnTo>
                        <a:pt x="536" y="1054"/>
                      </a:lnTo>
                      <a:lnTo>
                        <a:pt x="537" y="1054"/>
                      </a:lnTo>
                      <a:lnTo>
                        <a:pt x="538" y="1055"/>
                      </a:lnTo>
                      <a:lnTo>
                        <a:pt x="539" y="1056"/>
                      </a:lnTo>
                      <a:lnTo>
                        <a:pt x="539" y="1057"/>
                      </a:lnTo>
                      <a:lnTo>
                        <a:pt x="538" y="1057"/>
                      </a:lnTo>
                      <a:lnTo>
                        <a:pt x="537" y="1057"/>
                      </a:lnTo>
                      <a:lnTo>
                        <a:pt x="537" y="1056"/>
                      </a:lnTo>
                      <a:lnTo>
                        <a:pt x="537" y="1055"/>
                      </a:lnTo>
                      <a:lnTo>
                        <a:pt x="536" y="1055"/>
                      </a:lnTo>
                      <a:lnTo>
                        <a:pt x="535" y="1054"/>
                      </a:lnTo>
                      <a:lnTo>
                        <a:pt x="534" y="1054"/>
                      </a:lnTo>
                      <a:lnTo>
                        <a:pt x="534" y="1055"/>
                      </a:lnTo>
                      <a:lnTo>
                        <a:pt x="534" y="1056"/>
                      </a:lnTo>
                      <a:lnTo>
                        <a:pt x="534" y="1057"/>
                      </a:lnTo>
                      <a:lnTo>
                        <a:pt x="535" y="1058"/>
                      </a:lnTo>
                      <a:lnTo>
                        <a:pt x="535" y="1059"/>
                      </a:lnTo>
                      <a:lnTo>
                        <a:pt x="536" y="1060"/>
                      </a:lnTo>
                      <a:lnTo>
                        <a:pt x="536" y="1061"/>
                      </a:lnTo>
                      <a:lnTo>
                        <a:pt x="536" y="1063"/>
                      </a:lnTo>
                      <a:lnTo>
                        <a:pt x="536" y="1064"/>
                      </a:lnTo>
                      <a:lnTo>
                        <a:pt x="535" y="1064"/>
                      </a:lnTo>
                      <a:lnTo>
                        <a:pt x="535" y="1063"/>
                      </a:lnTo>
                      <a:lnTo>
                        <a:pt x="535" y="1060"/>
                      </a:lnTo>
                      <a:lnTo>
                        <a:pt x="534" y="1058"/>
                      </a:lnTo>
                      <a:lnTo>
                        <a:pt x="532" y="1058"/>
                      </a:lnTo>
                      <a:lnTo>
                        <a:pt x="532" y="1057"/>
                      </a:lnTo>
                      <a:lnTo>
                        <a:pt x="531" y="1056"/>
                      </a:lnTo>
                      <a:lnTo>
                        <a:pt x="531" y="1054"/>
                      </a:lnTo>
                      <a:lnTo>
                        <a:pt x="530" y="1054"/>
                      </a:lnTo>
                      <a:lnTo>
                        <a:pt x="530" y="1053"/>
                      </a:lnTo>
                      <a:lnTo>
                        <a:pt x="530" y="1052"/>
                      </a:lnTo>
                      <a:lnTo>
                        <a:pt x="529" y="1051"/>
                      </a:lnTo>
                      <a:lnTo>
                        <a:pt x="528" y="1050"/>
                      </a:lnTo>
                      <a:lnTo>
                        <a:pt x="528" y="1048"/>
                      </a:lnTo>
                      <a:lnTo>
                        <a:pt x="527" y="1048"/>
                      </a:lnTo>
                      <a:lnTo>
                        <a:pt x="527" y="1047"/>
                      </a:lnTo>
                      <a:lnTo>
                        <a:pt x="526" y="1047"/>
                      </a:lnTo>
                      <a:lnTo>
                        <a:pt x="526" y="1046"/>
                      </a:lnTo>
                      <a:lnTo>
                        <a:pt x="525" y="1045"/>
                      </a:lnTo>
                      <a:lnTo>
                        <a:pt x="524" y="1044"/>
                      </a:lnTo>
                      <a:lnTo>
                        <a:pt x="524" y="1043"/>
                      </a:lnTo>
                      <a:lnTo>
                        <a:pt x="523" y="1042"/>
                      </a:lnTo>
                      <a:lnTo>
                        <a:pt x="522" y="1042"/>
                      </a:lnTo>
                      <a:lnTo>
                        <a:pt x="522" y="1041"/>
                      </a:lnTo>
                      <a:lnTo>
                        <a:pt x="521" y="1041"/>
                      </a:lnTo>
                      <a:lnTo>
                        <a:pt x="521" y="1042"/>
                      </a:lnTo>
                      <a:lnTo>
                        <a:pt x="519" y="1042"/>
                      </a:lnTo>
                      <a:lnTo>
                        <a:pt x="519" y="1043"/>
                      </a:lnTo>
                      <a:lnTo>
                        <a:pt x="518" y="1043"/>
                      </a:lnTo>
                      <a:lnTo>
                        <a:pt x="517" y="1043"/>
                      </a:lnTo>
                      <a:lnTo>
                        <a:pt x="517" y="1044"/>
                      </a:lnTo>
                      <a:lnTo>
                        <a:pt x="517" y="1045"/>
                      </a:lnTo>
                      <a:lnTo>
                        <a:pt x="518" y="1046"/>
                      </a:lnTo>
                      <a:lnTo>
                        <a:pt x="518" y="1047"/>
                      </a:lnTo>
                      <a:lnTo>
                        <a:pt x="519" y="1047"/>
                      </a:lnTo>
                      <a:lnTo>
                        <a:pt x="519" y="1048"/>
                      </a:lnTo>
                      <a:lnTo>
                        <a:pt x="521" y="1048"/>
                      </a:lnTo>
                      <a:lnTo>
                        <a:pt x="522" y="1048"/>
                      </a:lnTo>
                      <a:lnTo>
                        <a:pt x="522" y="1050"/>
                      </a:lnTo>
                      <a:lnTo>
                        <a:pt x="521" y="1050"/>
                      </a:lnTo>
                      <a:lnTo>
                        <a:pt x="521" y="1051"/>
                      </a:lnTo>
                      <a:lnTo>
                        <a:pt x="519" y="1052"/>
                      </a:lnTo>
                      <a:lnTo>
                        <a:pt x="519" y="1053"/>
                      </a:lnTo>
                      <a:lnTo>
                        <a:pt x="519" y="1054"/>
                      </a:lnTo>
                      <a:lnTo>
                        <a:pt x="519" y="1055"/>
                      </a:lnTo>
                      <a:lnTo>
                        <a:pt x="519" y="1056"/>
                      </a:lnTo>
                      <a:lnTo>
                        <a:pt x="518" y="1056"/>
                      </a:lnTo>
                      <a:lnTo>
                        <a:pt x="518" y="1057"/>
                      </a:lnTo>
                      <a:lnTo>
                        <a:pt x="518" y="1058"/>
                      </a:lnTo>
                      <a:lnTo>
                        <a:pt x="518" y="1057"/>
                      </a:lnTo>
                      <a:lnTo>
                        <a:pt x="518" y="1056"/>
                      </a:lnTo>
                      <a:lnTo>
                        <a:pt x="517" y="1056"/>
                      </a:lnTo>
                      <a:lnTo>
                        <a:pt x="517" y="1055"/>
                      </a:lnTo>
                      <a:lnTo>
                        <a:pt x="517" y="1054"/>
                      </a:lnTo>
                      <a:lnTo>
                        <a:pt x="518" y="1054"/>
                      </a:lnTo>
                      <a:lnTo>
                        <a:pt x="518" y="1053"/>
                      </a:lnTo>
                      <a:lnTo>
                        <a:pt x="518" y="1052"/>
                      </a:lnTo>
                      <a:lnTo>
                        <a:pt x="518" y="1051"/>
                      </a:lnTo>
                      <a:lnTo>
                        <a:pt x="518" y="1050"/>
                      </a:lnTo>
                      <a:lnTo>
                        <a:pt x="517" y="1050"/>
                      </a:lnTo>
                      <a:lnTo>
                        <a:pt x="517" y="1048"/>
                      </a:lnTo>
                      <a:lnTo>
                        <a:pt x="516" y="1048"/>
                      </a:lnTo>
                      <a:lnTo>
                        <a:pt x="516" y="1047"/>
                      </a:lnTo>
                      <a:lnTo>
                        <a:pt x="515" y="1047"/>
                      </a:lnTo>
                      <a:lnTo>
                        <a:pt x="515" y="1050"/>
                      </a:lnTo>
                      <a:lnTo>
                        <a:pt x="514" y="1050"/>
                      </a:lnTo>
                      <a:lnTo>
                        <a:pt x="513" y="1050"/>
                      </a:lnTo>
                      <a:lnTo>
                        <a:pt x="512" y="1050"/>
                      </a:lnTo>
                      <a:lnTo>
                        <a:pt x="512" y="1051"/>
                      </a:lnTo>
                      <a:lnTo>
                        <a:pt x="511" y="1051"/>
                      </a:lnTo>
                      <a:lnTo>
                        <a:pt x="511" y="1052"/>
                      </a:lnTo>
                      <a:lnTo>
                        <a:pt x="510" y="1052"/>
                      </a:lnTo>
                      <a:lnTo>
                        <a:pt x="509" y="1052"/>
                      </a:lnTo>
                      <a:lnTo>
                        <a:pt x="508" y="1052"/>
                      </a:lnTo>
                      <a:lnTo>
                        <a:pt x="508" y="1053"/>
                      </a:lnTo>
                      <a:lnTo>
                        <a:pt x="506" y="1053"/>
                      </a:lnTo>
                      <a:lnTo>
                        <a:pt x="506" y="1054"/>
                      </a:lnTo>
                      <a:lnTo>
                        <a:pt x="505" y="1054"/>
                      </a:lnTo>
                      <a:lnTo>
                        <a:pt x="505" y="1055"/>
                      </a:lnTo>
                      <a:lnTo>
                        <a:pt x="505" y="1056"/>
                      </a:lnTo>
                      <a:lnTo>
                        <a:pt x="505" y="1055"/>
                      </a:lnTo>
                      <a:lnTo>
                        <a:pt x="504" y="1055"/>
                      </a:lnTo>
                      <a:lnTo>
                        <a:pt x="504" y="1054"/>
                      </a:lnTo>
                      <a:lnTo>
                        <a:pt x="503" y="1053"/>
                      </a:lnTo>
                      <a:lnTo>
                        <a:pt x="503" y="1052"/>
                      </a:lnTo>
                      <a:lnTo>
                        <a:pt x="502" y="1051"/>
                      </a:lnTo>
                      <a:lnTo>
                        <a:pt x="501" y="1052"/>
                      </a:lnTo>
                      <a:lnTo>
                        <a:pt x="500" y="1052"/>
                      </a:lnTo>
                      <a:lnTo>
                        <a:pt x="500" y="1053"/>
                      </a:lnTo>
                      <a:lnTo>
                        <a:pt x="500" y="1054"/>
                      </a:lnTo>
                      <a:lnTo>
                        <a:pt x="500" y="1056"/>
                      </a:lnTo>
                      <a:lnTo>
                        <a:pt x="501" y="1057"/>
                      </a:lnTo>
                      <a:lnTo>
                        <a:pt x="501" y="1058"/>
                      </a:lnTo>
                      <a:lnTo>
                        <a:pt x="501" y="1059"/>
                      </a:lnTo>
                      <a:lnTo>
                        <a:pt x="501" y="1060"/>
                      </a:lnTo>
                      <a:lnTo>
                        <a:pt x="501" y="1061"/>
                      </a:lnTo>
                      <a:lnTo>
                        <a:pt x="501" y="1063"/>
                      </a:lnTo>
                      <a:lnTo>
                        <a:pt x="502" y="1065"/>
                      </a:lnTo>
                      <a:lnTo>
                        <a:pt x="502" y="1066"/>
                      </a:lnTo>
                      <a:lnTo>
                        <a:pt x="502" y="1067"/>
                      </a:lnTo>
                      <a:lnTo>
                        <a:pt x="502" y="1068"/>
                      </a:lnTo>
                      <a:lnTo>
                        <a:pt x="502" y="1069"/>
                      </a:lnTo>
                      <a:lnTo>
                        <a:pt x="501" y="1069"/>
                      </a:lnTo>
                      <a:lnTo>
                        <a:pt x="501" y="1070"/>
                      </a:lnTo>
                      <a:lnTo>
                        <a:pt x="500" y="1070"/>
                      </a:lnTo>
                      <a:lnTo>
                        <a:pt x="499" y="1070"/>
                      </a:lnTo>
                      <a:lnTo>
                        <a:pt x="499" y="1069"/>
                      </a:lnTo>
                      <a:lnTo>
                        <a:pt x="498" y="1068"/>
                      </a:lnTo>
                      <a:lnTo>
                        <a:pt x="497" y="1068"/>
                      </a:lnTo>
                      <a:lnTo>
                        <a:pt x="497" y="1069"/>
                      </a:lnTo>
                      <a:lnTo>
                        <a:pt x="497" y="1068"/>
                      </a:lnTo>
                      <a:lnTo>
                        <a:pt x="496" y="1068"/>
                      </a:lnTo>
                      <a:lnTo>
                        <a:pt x="496" y="1067"/>
                      </a:lnTo>
                      <a:lnTo>
                        <a:pt x="496" y="1066"/>
                      </a:lnTo>
                      <a:lnTo>
                        <a:pt x="495" y="1066"/>
                      </a:lnTo>
                      <a:lnTo>
                        <a:pt x="495" y="1065"/>
                      </a:lnTo>
                      <a:lnTo>
                        <a:pt x="495" y="1064"/>
                      </a:lnTo>
                      <a:lnTo>
                        <a:pt x="495" y="1063"/>
                      </a:lnTo>
                      <a:lnTo>
                        <a:pt x="495" y="1061"/>
                      </a:lnTo>
                      <a:lnTo>
                        <a:pt x="493" y="1061"/>
                      </a:lnTo>
                      <a:lnTo>
                        <a:pt x="493" y="1060"/>
                      </a:lnTo>
                      <a:lnTo>
                        <a:pt x="493" y="1059"/>
                      </a:lnTo>
                      <a:lnTo>
                        <a:pt x="493" y="1058"/>
                      </a:lnTo>
                      <a:lnTo>
                        <a:pt x="495" y="1058"/>
                      </a:lnTo>
                      <a:lnTo>
                        <a:pt x="495" y="1057"/>
                      </a:lnTo>
                      <a:lnTo>
                        <a:pt x="495" y="1056"/>
                      </a:lnTo>
                      <a:lnTo>
                        <a:pt x="493" y="1056"/>
                      </a:lnTo>
                      <a:lnTo>
                        <a:pt x="493" y="1057"/>
                      </a:lnTo>
                      <a:lnTo>
                        <a:pt x="492" y="1057"/>
                      </a:lnTo>
                      <a:lnTo>
                        <a:pt x="491" y="1057"/>
                      </a:lnTo>
                      <a:lnTo>
                        <a:pt x="490" y="1057"/>
                      </a:lnTo>
                      <a:lnTo>
                        <a:pt x="490" y="1058"/>
                      </a:lnTo>
                      <a:lnTo>
                        <a:pt x="489" y="1058"/>
                      </a:lnTo>
                      <a:lnTo>
                        <a:pt x="490" y="1059"/>
                      </a:lnTo>
                      <a:lnTo>
                        <a:pt x="489" y="1059"/>
                      </a:lnTo>
                      <a:lnTo>
                        <a:pt x="489" y="1060"/>
                      </a:lnTo>
                      <a:lnTo>
                        <a:pt x="488" y="1060"/>
                      </a:lnTo>
                      <a:lnTo>
                        <a:pt x="487" y="1060"/>
                      </a:lnTo>
                      <a:lnTo>
                        <a:pt x="487" y="1061"/>
                      </a:lnTo>
                      <a:lnTo>
                        <a:pt x="488" y="1061"/>
                      </a:lnTo>
                      <a:lnTo>
                        <a:pt x="487" y="1063"/>
                      </a:lnTo>
                      <a:lnTo>
                        <a:pt x="487" y="1064"/>
                      </a:lnTo>
                      <a:lnTo>
                        <a:pt x="487" y="1065"/>
                      </a:lnTo>
                      <a:lnTo>
                        <a:pt x="487" y="1066"/>
                      </a:lnTo>
                      <a:lnTo>
                        <a:pt x="488" y="1066"/>
                      </a:lnTo>
                      <a:lnTo>
                        <a:pt x="489" y="1067"/>
                      </a:lnTo>
                      <a:lnTo>
                        <a:pt x="488" y="1067"/>
                      </a:lnTo>
                      <a:lnTo>
                        <a:pt x="488" y="1068"/>
                      </a:lnTo>
                      <a:lnTo>
                        <a:pt x="487" y="1068"/>
                      </a:lnTo>
                      <a:lnTo>
                        <a:pt x="488" y="1069"/>
                      </a:lnTo>
                      <a:lnTo>
                        <a:pt x="488" y="1070"/>
                      </a:lnTo>
                      <a:lnTo>
                        <a:pt x="487" y="1070"/>
                      </a:lnTo>
                      <a:lnTo>
                        <a:pt x="488" y="1070"/>
                      </a:lnTo>
                      <a:lnTo>
                        <a:pt x="488" y="1071"/>
                      </a:lnTo>
                      <a:lnTo>
                        <a:pt x="490" y="1071"/>
                      </a:lnTo>
                      <a:lnTo>
                        <a:pt x="492" y="1072"/>
                      </a:lnTo>
                      <a:lnTo>
                        <a:pt x="491" y="1072"/>
                      </a:lnTo>
                      <a:lnTo>
                        <a:pt x="492" y="1073"/>
                      </a:lnTo>
                      <a:lnTo>
                        <a:pt x="493" y="1073"/>
                      </a:lnTo>
                      <a:lnTo>
                        <a:pt x="495" y="1073"/>
                      </a:lnTo>
                      <a:lnTo>
                        <a:pt x="495" y="1074"/>
                      </a:lnTo>
                      <a:lnTo>
                        <a:pt x="493" y="1074"/>
                      </a:lnTo>
                      <a:lnTo>
                        <a:pt x="492" y="1074"/>
                      </a:lnTo>
                      <a:lnTo>
                        <a:pt x="492" y="1076"/>
                      </a:lnTo>
                      <a:lnTo>
                        <a:pt x="493" y="1076"/>
                      </a:lnTo>
                      <a:lnTo>
                        <a:pt x="493" y="1077"/>
                      </a:lnTo>
                      <a:lnTo>
                        <a:pt x="493" y="1078"/>
                      </a:lnTo>
                      <a:lnTo>
                        <a:pt x="495" y="1078"/>
                      </a:lnTo>
                      <a:lnTo>
                        <a:pt x="496" y="1078"/>
                      </a:lnTo>
                      <a:lnTo>
                        <a:pt x="497" y="1078"/>
                      </a:lnTo>
                      <a:lnTo>
                        <a:pt x="497" y="1077"/>
                      </a:lnTo>
                      <a:lnTo>
                        <a:pt x="497" y="1076"/>
                      </a:lnTo>
                      <a:lnTo>
                        <a:pt x="497" y="1074"/>
                      </a:lnTo>
                      <a:lnTo>
                        <a:pt x="498" y="1074"/>
                      </a:lnTo>
                      <a:lnTo>
                        <a:pt x="499" y="1074"/>
                      </a:lnTo>
                      <a:lnTo>
                        <a:pt x="499" y="1076"/>
                      </a:lnTo>
                      <a:lnTo>
                        <a:pt x="498" y="1077"/>
                      </a:lnTo>
                      <a:lnTo>
                        <a:pt x="499" y="1078"/>
                      </a:lnTo>
                      <a:lnTo>
                        <a:pt x="499" y="1079"/>
                      </a:lnTo>
                      <a:lnTo>
                        <a:pt x="500" y="1079"/>
                      </a:lnTo>
                      <a:lnTo>
                        <a:pt x="500" y="1080"/>
                      </a:lnTo>
                      <a:lnTo>
                        <a:pt x="501" y="1081"/>
                      </a:lnTo>
                      <a:lnTo>
                        <a:pt x="500" y="1082"/>
                      </a:lnTo>
                      <a:lnTo>
                        <a:pt x="499" y="1082"/>
                      </a:lnTo>
                      <a:lnTo>
                        <a:pt x="498" y="1082"/>
                      </a:lnTo>
                      <a:lnTo>
                        <a:pt x="497" y="1082"/>
                      </a:lnTo>
                      <a:lnTo>
                        <a:pt x="496" y="1083"/>
                      </a:lnTo>
                      <a:lnTo>
                        <a:pt x="496" y="1084"/>
                      </a:lnTo>
                      <a:lnTo>
                        <a:pt x="496" y="1085"/>
                      </a:lnTo>
                      <a:lnTo>
                        <a:pt x="496" y="1086"/>
                      </a:lnTo>
                      <a:lnTo>
                        <a:pt x="496" y="1088"/>
                      </a:lnTo>
                      <a:lnTo>
                        <a:pt x="496" y="1089"/>
                      </a:lnTo>
                      <a:lnTo>
                        <a:pt x="496" y="1090"/>
                      </a:lnTo>
                      <a:lnTo>
                        <a:pt x="496" y="1091"/>
                      </a:lnTo>
                      <a:lnTo>
                        <a:pt x="497" y="1091"/>
                      </a:lnTo>
                      <a:lnTo>
                        <a:pt x="497" y="1092"/>
                      </a:lnTo>
                      <a:lnTo>
                        <a:pt x="497" y="1093"/>
                      </a:lnTo>
                      <a:lnTo>
                        <a:pt x="496" y="1093"/>
                      </a:lnTo>
                      <a:lnTo>
                        <a:pt x="495" y="1093"/>
                      </a:lnTo>
                      <a:lnTo>
                        <a:pt x="493" y="1093"/>
                      </a:lnTo>
                      <a:lnTo>
                        <a:pt x="493" y="1094"/>
                      </a:lnTo>
                      <a:lnTo>
                        <a:pt x="492" y="1094"/>
                      </a:lnTo>
                      <a:lnTo>
                        <a:pt x="491" y="1094"/>
                      </a:lnTo>
                      <a:lnTo>
                        <a:pt x="490" y="1094"/>
                      </a:lnTo>
                      <a:lnTo>
                        <a:pt x="489" y="1095"/>
                      </a:lnTo>
                      <a:lnTo>
                        <a:pt x="489" y="1096"/>
                      </a:lnTo>
                      <a:lnTo>
                        <a:pt x="490" y="1097"/>
                      </a:lnTo>
                      <a:lnTo>
                        <a:pt x="490" y="1098"/>
                      </a:lnTo>
                      <a:lnTo>
                        <a:pt x="489" y="1098"/>
                      </a:lnTo>
                      <a:lnTo>
                        <a:pt x="489" y="1099"/>
                      </a:lnTo>
                      <a:lnTo>
                        <a:pt x="489" y="1101"/>
                      </a:lnTo>
                      <a:lnTo>
                        <a:pt x="490" y="1101"/>
                      </a:lnTo>
                      <a:lnTo>
                        <a:pt x="490" y="1102"/>
                      </a:lnTo>
                      <a:lnTo>
                        <a:pt x="490" y="1103"/>
                      </a:lnTo>
                      <a:lnTo>
                        <a:pt x="490" y="1104"/>
                      </a:lnTo>
                      <a:lnTo>
                        <a:pt x="491" y="1104"/>
                      </a:lnTo>
                      <a:lnTo>
                        <a:pt x="492" y="1104"/>
                      </a:lnTo>
                      <a:lnTo>
                        <a:pt x="492" y="1105"/>
                      </a:lnTo>
                      <a:lnTo>
                        <a:pt x="492" y="1106"/>
                      </a:lnTo>
                      <a:lnTo>
                        <a:pt x="491" y="1106"/>
                      </a:lnTo>
                      <a:lnTo>
                        <a:pt x="491" y="1107"/>
                      </a:lnTo>
                      <a:lnTo>
                        <a:pt x="490" y="1107"/>
                      </a:lnTo>
                      <a:lnTo>
                        <a:pt x="489" y="1108"/>
                      </a:lnTo>
                      <a:lnTo>
                        <a:pt x="489" y="1109"/>
                      </a:lnTo>
                      <a:lnTo>
                        <a:pt x="488" y="1109"/>
                      </a:lnTo>
                      <a:lnTo>
                        <a:pt x="488" y="1110"/>
                      </a:lnTo>
                      <a:lnTo>
                        <a:pt x="488" y="1111"/>
                      </a:lnTo>
                      <a:lnTo>
                        <a:pt x="488" y="1112"/>
                      </a:lnTo>
                      <a:lnTo>
                        <a:pt x="488" y="1114"/>
                      </a:lnTo>
                      <a:lnTo>
                        <a:pt x="488" y="1115"/>
                      </a:lnTo>
                      <a:lnTo>
                        <a:pt x="488" y="1116"/>
                      </a:lnTo>
                      <a:lnTo>
                        <a:pt x="488" y="1117"/>
                      </a:lnTo>
                      <a:lnTo>
                        <a:pt x="488" y="1116"/>
                      </a:lnTo>
                      <a:lnTo>
                        <a:pt x="487" y="1115"/>
                      </a:lnTo>
                      <a:lnTo>
                        <a:pt x="487" y="1114"/>
                      </a:lnTo>
                      <a:lnTo>
                        <a:pt x="486" y="1115"/>
                      </a:lnTo>
                      <a:lnTo>
                        <a:pt x="485" y="1115"/>
                      </a:lnTo>
                      <a:lnTo>
                        <a:pt x="486" y="1116"/>
                      </a:lnTo>
                      <a:lnTo>
                        <a:pt x="486" y="1117"/>
                      </a:lnTo>
                      <a:lnTo>
                        <a:pt x="485" y="1118"/>
                      </a:lnTo>
                      <a:lnTo>
                        <a:pt x="484" y="1118"/>
                      </a:lnTo>
                      <a:lnTo>
                        <a:pt x="484" y="1117"/>
                      </a:lnTo>
                      <a:lnTo>
                        <a:pt x="483" y="1116"/>
                      </a:lnTo>
                      <a:lnTo>
                        <a:pt x="482" y="1115"/>
                      </a:lnTo>
                      <a:lnTo>
                        <a:pt x="480" y="1116"/>
                      </a:lnTo>
                      <a:lnTo>
                        <a:pt x="480" y="1115"/>
                      </a:lnTo>
                      <a:lnTo>
                        <a:pt x="480" y="1114"/>
                      </a:lnTo>
                      <a:lnTo>
                        <a:pt x="479" y="1114"/>
                      </a:lnTo>
                      <a:lnTo>
                        <a:pt x="479" y="1112"/>
                      </a:lnTo>
                      <a:lnTo>
                        <a:pt x="479" y="1111"/>
                      </a:lnTo>
                      <a:lnTo>
                        <a:pt x="478" y="1111"/>
                      </a:lnTo>
                      <a:lnTo>
                        <a:pt x="477" y="1111"/>
                      </a:lnTo>
                      <a:lnTo>
                        <a:pt x="477" y="1112"/>
                      </a:lnTo>
                      <a:lnTo>
                        <a:pt x="476" y="1112"/>
                      </a:lnTo>
                      <a:lnTo>
                        <a:pt x="475" y="1112"/>
                      </a:lnTo>
                      <a:lnTo>
                        <a:pt x="474" y="1112"/>
                      </a:lnTo>
                      <a:lnTo>
                        <a:pt x="473" y="1112"/>
                      </a:lnTo>
                      <a:lnTo>
                        <a:pt x="471" y="1112"/>
                      </a:lnTo>
                      <a:lnTo>
                        <a:pt x="470" y="1112"/>
                      </a:lnTo>
                      <a:lnTo>
                        <a:pt x="470" y="1114"/>
                      </a:lnTo>
                      <a:lnTo>
                        <a:pt x="469" y="1114"/>
                      </a:lnTo>
                      <a:lnTo>
                        <a:pt x="469" y="1115"/>
                      </a:lnTo>
                      <a:lnTo>
                        <a:pt x="467" y="1115"/>
                      </a:lnTo>
                      <a:lnTo>
                        <a:pt x="469" y="1116"/>
                      </a:lnTo>
                      <a:lnTo>
                        <a:pt x="469" y="1117"/>
                      </a:lnTo>
                      <a:lnTo>
                        <a:pt x="470" y="1117"/>
                      </a:lnTo>
                      <a:lnTo>
                        <a:pt x="471" y="1117"/>
                      </a:lnTo>
                      <a:lnTo>
                        <a:pt x="471" y="1118"/>
                      </a:lnTo>
                      <a:lnTo>
                        <a:pt x="470" y="1118"/>
                      </a:lnTo>
                      <a:lnTo>
                        <a:pt x="469" y="1119"/>
                      </a:lnTo>
                      <a:lnTo>
                        <a:pt x="467" y="1118"/>
                      </a:lnTo>
                      <a:lnTo>
                        <a:pt x="467" y="1119"/>
                      </a:lnTo>
                      <a:lnTo>
                        <a:pt x="467" y="1118"/>
                      </a:lnTo>
                      <a:lnTo>
                        <a:pt x="466" y="1118"/>
                      </a:lnTo>
                      <a:lnTo>
                        <a:pt x="466" y="1117"/>
                      </a:lnTo>
                      <a:lnTo>
                        <a:pt x="465" y="1117"/>
                      </a:lnTo>
                      <a:lnTo>
                        <a:pt x="464" y="1118"/>
                      </a:lnTo>
                      <a:lnTo>
                        <a:pt x="463" y="1118"/>
                      </a:lnTo>
                      <a:lnTo>
                        <a:pt x="464" y="1117"/>
                      </a:lnTo>
                      <a:lnTo>
                        <a:pt x="464" y="1116"/>
                      </a:lnTo>
                      <a:lnTo>
                        <a:pt x="463" y="1116"/>
                      </a:lnTo>
                      <a:lnTo>
                        <a:pt x="463" y="1117"/>
                      </a:lnTo>
                      <a:lnTo>
                        <a:pt x="462" y="1117"/>
                      </a:lnTo>
                      <a:lnTo>
                        <a:pt x="461" y="1117"/>
                      </a:lnTo>
                      <a:lnTo>
                        <a:pt x="461" y="1116"/>
                      </a:lnTo>
                      <a:lnTo>
                        <a:pt x="460" y="1116"/>
                      </a:lnTo>
                      <a:lnTo>
                        <a:pt x="458" y="1116"/>
                      </a:lnTo>
                      <a:lnTo>
                        <a:pt x="458" y="1117"/>
                      </a:lnTo>
                      <a:lnTo>
                        <a:pt x="457" y="1118"/>
                      </a:lnTo>
                      <a:lnTo>
                        <a:pt x="458" y="1118"/>
                      </a:lnTo>
                      <a:lnTo>
                        <a:pt x="459" y="1118"/>
                      </a:lnTo>
                      <a:lnTo>
                        <a:pt x="459" y="1119"/>
                      </a:lnTo>
                      <a:lnTo>
                        <a:pt x="459" y="1120"/>
                      </a:lnTo>
                      <a:lnTo>
                        <a:pt x="459" y="1121"/>
                      </a:lnTo>
                      <a:lnTo>
                        <a:pt x="458" y="1122"/>
                      </a:lnTo>
                      <a:lnTo>
                        <a:pt x="458" y="1123"/>
                      </a:lnTo>
                      <a:lnTo>
                        <a:pt x="457" y="1123"/>
                      </a:lnTo>
                      <a:lnTo>
                        <a:pt x="457" y="1124"/>
                      </a:lnTo>
                      <a:lnTo>
                        <a:pt x="457" y="1125"/>
                      </a:lnTo>
                      <a:lnTo>
                        <a:pt x="456" y="1125"/>
                      </a:lnTo>
                      <a:lnTo>
                        <a:pt x="454" y="1125"/>
                      </a:lnTo>
                      <a:lnTo>
                        <a:pt x="454" y="1127"/>
                      </a:lnTo>
                      <a:lnTo>
                        <a:pt x="454" y="1128"/>
                      </a:lnTo>
                      <a:lnTo>
                        <a:pt x="454" y="1129"/>
                      </a:lnTo>
                      <a:lnTo>
                        <a:pt x="456" y="1129"/>
                      </a:lnTo>
                      <a:lnTo>
                        <a:pt x="456" y="1130"/>
                      </a:lnTo>
                      <a:lnTo>
                        <a:pt x="454" y="1130"/>
                      </a:lnTo>
                      <a:lnTo>
                        <a:pt x="454" y="1131"/>
                      </a:lnTo>
                      <a:lnTo>
                        <a:pt x="454" y="1132"/>
                      </a:lnTo>
                      <a:lnTo>
                        <a:pt x="453" y="1132"/>
                      </a:lnTo>
                      <a:lnTo>
                        <a:pt x="452" y="1131"/>
                      </a:lnTo>
                      <a:lnTo>
                        <a:pt x="451" y="1131"/>
                      </a:lnTo>
                      <a:lnTo>
                        <a:pt x="450" y="1131"/>
                      </a:lnTo>
                      <a:lnTo>
                        <a:pt x="449" y="1131"/>
                      </a:lnTo>
                      <a:lnTo>
                        <a:pt x="450" y="1131"/>
                      </a:lnTo>
                      <a:lnTo>
                        <a:pt x="450" y="1130"/>
                      </a:lnTo>
                      <a:lnTo>
                        <a:pt x="449" y="1130"/>
                      </a:lnTo>
                      <a:lnTo>
                        <a:pt x="449" y="1129"/>
                      </a:lnTo>
                      <a:lnTo>
                        <a:pt x="450" y="1129"/>
                      </a:lnTo>
                      <a:lnTo>
                        <a:pt x="449" y="1128"/>
                      </a:lnTo>
                      <a:lnTo>
                        <a:pt x="449" y="1129"/>
                      </a:lnTo>
                      <a:lnTo>
                        <a:pt x="448" y="1129"/>
                      </a:lnTo>
                      <a:lnTo>
                        <a:pt x="448" y="1128"/>
                      </a:lnTo>
                      <a:lnTo>
                        <a:pt x="448" y="1127"/>
                      </a:lnTo>
                      <a:lnTo>
                        <a:pt x="449" y="1127"/>
                      </a:lnTo>
                      <a:lnTo>
                        <a:pt x="450" y="1127"/>
                      </a:lnTo>
                      <a:lnTo>
                        <a:pt x="450" y="1125"/>
                      </a:lnTo>
                      <a:lnTo>
                        <a:pt x="449" y="1125"/>
                      </a:lnTo>
                      <a:lnTo>
                        <a:pt x="448" y="1125"/>
                      </a:lnTo>
                      <a:lnTo>
                        <a:pt x="448" y="1124"/>
                      </a:lnTo>
                      <a:lnTo>
                        <a:pt x="448" y="1125"/>
                      </a:lnTo>
                      <a:lnTo>
                        <a:pt x="447" y="1125"/>
                      </a:lnTo>
                      <a:lnTo>
                        <a:pt x="446" y="1125"/>
                      </a:lnTo>
                      <a:lnTo>
                        <a:pt x="446" y="1127"/>
                      </a:lnTo>
                      <a:lnTo>
                        <a:pt x="445" y="1127"/>
                      </a:lnTo>
                      <a:lnTo>
                        <a:pt x="445" y="1125"/>
                      </a:lnTo>
                      <a:lnTo>
                        <a:pt x="444" y="1125"/>
                      </a:lnTo>
                      <a:lnTo>
                        <a:pt x="443" y="1125"/>
                      </a:lnTo>
                      <a:lnTo>
                        <a:pt x="443" y="1127"/>
                      </a:lnTo>
                      <a:lnTo>
                        <a:pt x="441" y="1127"/>
                      </a:lnTo>
                      <a:lnTo>
                        <a:pt x="441" y="1128"/>
                      </a:lnTo>
                      <a:lnTo>
                        <a:pt x="443" y="1129"/>
                      </a:lnTo>
                      <a:lnTo>
                        <a:pt x="444" y="1129"/>
                      </a:lnTo>
                      <a:lnTo>
                        <a:pt x="444" y="1130"/>
                      </a:lnTo>
                      <a:lnTo>
                        <a:pt x="443" y="1131"/>
                      </a:lnTo>
                      <a:lnTo>
                        <a:pt x="443" y="1132"/>
                      </a:lnTo>
                      <a:lnTo>
                        <a:pt x="441" y="1133"/>
                      </a:lnTo>
                      <a:lnTo>
                        <a:pt x="440" y="1134"/>
                      </a:lnTo>
                      <a:lnTo>
                        <a:pt x="439" y="1134"/>
                      </a:lnTo>
                      <a:lnTo>
                        <a:pt x="438" y="1135"/>
                      </a:lnTo>
                      <a:lnTo>
                        <a:pt x="438" y="1136"/>
                      </a:lnTo>
                      <a:lnTo>
                        <a:pt x="437" y="1136"/>
                      </a:lnTo>
                      <a:lnTo>
                        <a:pt x="437" y="1137"/>
                      </a:lnTo>
                      <a:lnTo>
                        <a:pt x="436" y="1137"/>
                      </a:lnTo>
                      <a:lnTo>
                        <a:pt x="436" y="1138"/>
                      </a:lnTo>
                      <a:lnTo>
                        <a:pt x="436" y="1140"/>
                      </a:lnTo>
                      <a:lnTo>
                        <a:pt x="437" y="1141"/>
                      </a:lnTo>
                      <a:lnTo>
                        <a:pt x="437" y="1142"/>
                      </a:lnTo>
                      <a:lnTo>
                        <a:pt x="436" y="1142"/>
                      </a:lnTo>
                      <a:lnTo>
                        <a:pt x="435" y="1142"/>
                      </a:lnTo>
                      <a:lnTo>
                        <a:pt x="434" y="1141"/>
                      </a:lnTo>
                      <a:lnTo>
                        <a:pt x="434" y="1140"/>
                      </a:lnTo>
                      <a:lnTo>
                        <a:pt x="433" y="1140"/>
                      </a:lnTo>
                      <a:lnTo>
                        <a:pt x="433" y="1141"/>
                      </a:lnTo>
                      <a:lnTo>
                        <a:pt x="433" y="1140"/>
                      </a:lnTo>
                      <a:lnTo>
                        <a:pt x="432" y="1140"/>
                      </a:lnTo>
                      <a:lnTo>
                        <a:pt x="432" y="1138"/>
                      </a:lnTo>
                      <a:lnTo>
                        <a:pt x="432" y="1137"/>
                      </a:lnTo>
                      <a:lnTo>
                        <a:pt x="433" y="1137"/>
                      </a:lnTo>
                      <a:lnTo>
                        <a:pt x="433" y="1136"/>
                      </a:lnTo>
                      <a:lnTo>
                        <a:pt x="434" y="1136"/>
                      </a:lnTo>
                      <a:lnTo>
                        <a:pt x="434" y="1135"/>
                      </a:lnTo>
                      <a:lnTo>
                        <a:pt x="434" y="1134"/>
                      </a:lnTo>
                      <a:lnTo>
                        <a:pt x="435" y="1134"/>
                      </a:lnTo>
                      <a:lnTo>
                        <a:pt x="435" y="1133"/>
                      </a:lnTo>
                      <a:lnTo>
                        <a:pt x="436" y="1133"/>
                      </a:lnTo>
                      <a:lnTo>
                        <a:pt x="436" y="1132"/>
                      </a:lnTo>
                      <a:lnTo>
                        <a:pt x="435" y="1132"/>
                      </a:lnTo>
                      <a:lnTo>
                        <a:pt x="435" y="1131"/>
                      </a:lnTo>
                      <a:lnTo>
                        <a:pt x="434" y="1131"/>
                      </a:lnTo>
                      <a:lnTo>
                        <a:pt x="434" y="1130"/>
                      </a:lnTo>
                      <a:lnTo>
                        <a:pt x="433" y="1130"/>
                      </a:lnTo>
                      <a:lnTo>
                        <a:pt x="433" y="1129"/>
                      </a:lnTo>
                      <a:lnTo>
                        <a:pt x="432" y="1129"/>
                      </a:lnTo>
                      <a:lnTo>
                        <a:pt x="431" y="1129"/>
                      </a:lnTo>
                      <a:lnTo>
                        <a:pt x="431" y="1128"/>
                      </a:lnTo>
                      <a:lnTo>
                        <a:pt x="429" y="1128"/>
                      </a:lnTo>
                      <a:lnTo>
                        <a:pt x="428" y="1127"/>
                      </a:lnTo>
                      <a:lnTo>
                        <a:pt x="427" y="1127"/>
                      </a:lnTo>
                      <a:lnTo>
                        <a:pt x="426" y="1127"/>
                      </a:lnTo>
                      <a:lnTo>
                        <a:pt x="425" y="1125"/>
                      </a:lnTo>
                      <a:lnTo>
                        <a:pt x="424" y="1125"/>
                      </a:lnTo>
                      <a:lnTo>
                        <a:pt x="423" y="1125"/>
                      </a:lnTo>
                      <a:lnTo>
                        <a:pt x="422" y="1127"/>
                      </a:lnTo>
                      <a:lnTo>
                        <a:pt x="421" y="1128"/>
                      </a:lnTo>
                      <a:lnTo>
                        <a:pt x="420" y="1128"/>
                      </a:lnTo>
                      <a:lnTo>
                        <a:pt x="420" y="1129"/>
                      </a:lnTo>
                      <a:lnTo>
                        <a:pt x="419" y="1129"/>
                      </a:lnTo>
                      <a:lnTo>
                        <a:pt x="419" y="1128"/>
                      </a:lnTo>
                      <a:lnTo>
                        <a:pt x="420" y="1128"/>
                      </a:lnTo>
                      <a:lnTo>
                        <a:pt x="420" y="1127"/>
                      </a:lnTo>
                      <a:lnTo>
                        <a:pt x="419" y="1127"/>
                      </a:lnTo>
                      <a:lnTo>
                        <a:pt x="418" y="1128"/>
                      </a:lnTo>
                      <a:lnTo>
                        <a:pt x="416" y="1128"/>
                      </a:lnTo>
                      <a:lnTo>
                        <a:pt x="415" y="1128"/>
                      </a:lnTo>
                      <a:lnTo>
                        <a:pt x="414" y="1128"/>
                      </a:lnTo>
                      <a:lnTo>
                        <a:pt x="413" y="1129"/>
                      </a:lnTo>
                      <a:lnTo>
                        <a:pt x="412" y="1128"/>
                      </a:lnTo>
                      <a:lnTo>
                        <a:pt x="412" y="1129"/>
                      </a:lnTo>
                      <a:lnTo>
                        <a:pt x="412" y="1130"/>
                      </a:lnTo>
                      <a:lnTo>
                        <a:pt x="412" y="1131"/>
                      </a:lnTo>
                      <a:lnTo>
                        <a:pt x="412" y="1132"/>
                      </a:lnTo>
                      <a:lnTo>
                        <a:pt x="413" y="1132"/>
                      </a:lnTo>
                      <a:lnTo>
                        <a:pt x="413" y="1133"/>
                      </a:lnTo>
                      <a:lnTo>
                        <a:pt x="413" y="1134"/>
                      </a:lnTo>
                      <a:lnTo>
                        <a:pt x="412" y="1134"/>
                      </a:lnTo>
                      <a:lnTo>
                        <a:pt x="412" y="1133"/>
                      </a:lnTo>
                      <a:lnTo>
                        <a:pt x="411" y="1133"/>
                      </a:lnTo>
                      <a:lnTo>
                        <a:pt x="411" y="1132"/>
                      </a:lnTo>
                      <a:lnTo>
                        <a:pt x="411" y="1131"/>
                      </a:lnTo>
                      <a:lnTo>
                        <a:pt x="410" y="1130"/>
                      </a:lnTo>
                      <a:lnTo>
                        <a:pt x="409" y="1130"/>
                      </a:lnTo>
                      <a:lnTo>
                        <a:pt x="408" y="1130"/>
                      </a:lnTo>
                      <a:lnTo>
                        <a:pt x="408" y="1132"/>
                      </a:lnTo>
                      <a:lnTo>
                        <a:pt x="407" y="1132"/>
                      </a:lnTo>
                      <a:lnTo>
                        <a:pt x="407" y="1133"/>
                      </a:lnTo>
                      <a:lnTo>
                        <a:pt x="407" y="1134"/>
                      </a:lnTo>
                      <a:lnTo>
                        <a:pt x="407" y="1135"/>
                      </a:lnTo>
                      <a:lnTo>
                        <a:pt x="406" y="1135"/>
                      </a:lnTo>
                      <a:lnTo>
                        <a:pt x="405" y="1135"/>
                      </a:lnTo>
                      <a:lnTo>
                        <a:pt x="405" y="1136"/>
                      </a:lnTo>
                      <a:lnTo>
                        <a:pt x="403" y="1137"/>
                      </a:lnTo>
                      <a:lnTo>
                        <a:pt x="403" y="1136"/>
                      </a:lnTo>
                      <a:lnTo>
                        <a:pt x="402" y="1135"/>
                      </a:lnTo>
                      <a:lnTo>
                        <a:pt x="401" y="1135"/>
                      </a:lnTo>
                      <a:lnTo>
                        <a:pt x="400" y="1135"/>
                      </a:lnTo>
                      <a:lnTo>
                        <a:pt x="400" y="1136"/>
                      </a:lnTo>
                      <a:lnTo>
                        <a:pt x="400" y="1137"/>
                      </a:lnTo>
                      <a:lnTo>
                        <a:pt x="400" y="1138"/>
                      </a:lnTo>
                      <a:lnTo>
                        <a:pt x="399" y="1138"/>
                      </a:lnTo>
                      <a:lnTo>
                        <a:pt x="399" y="1140"/>
                      </a:lnTo>
                      <a:lnTo>
                        <a:pt x="398" y="1140"/>
                      </a:lnTo>
                      <a:lnTo>
                        <a:pt x="398" y="1141"/>
                      </a:lnTo>
                      <a:lnTo>
                        <a:pt x="397" y="1141"/>
                      </a:lnTo>
                      <a:lnTo>
                        <a:pt x="397" y="1142"/>
                      </a:lnTo>
                      <a:lnTo>
                        <a:pt x="397" y="1141"/>
                      </a:lnTo>
                      <a:lnTo>
                        <a:pt x="396" y="1141"/>
                      </a:lnTo>
                      <a:lnTo>
                        <a:pt x="395" y="1142"/>
                      </a:lnTo>
                      <a:lnTo>
                        <a:pt x="394" y="1142"/>
                      </a:lnTo>
                      <a:lnTo>
                        <a:pt x="393" y="1141"/>
                      </a:lnTo>
                      <a:lnTo>
                        <a:pt x="393" y="1140"/>
                      </a:lnTo>
                      <a:lnTo>
                        <a:pt x="392" y="1140"/>
                      </a:lnTo>
                      <a:lnTo>
                        <a:pt x="392" y="1141"/>
                      </a:lnTo>
                      <a:lnTo>
                        <a:pt x="390" y="1141"/>
                      </a:lnTo>
                      <a:lnTo>
                        <a:pt x="389" y="1140"/>
                      </a:lnTo>
                      <a:lnTo>
                        <a:pt x="388" y="1140"/>
                      </a:lnTo>
                      <a:lnTo>
                        <a:pt x="387" y="1140"/>
                      </a:lnTo>
                      <a:lnTo>
                        <a:pt x="386" y="1140"/>
                      </a:lnTo>
                      <a:lnTo>
                        <a:pt x="385" y="1140"/>
                      </a:lnTo>
                      <a:lnTo>
                        <a:pt x="385" y="1141"/>
                      </a:lnTo>
                      <a:lnTo>
                        <a:pt x="384" y="1141"/>
                      </a:lnTo>
                      <a:lnTo>
                        <a:pt x="384" y="1142"/>
                      </a:lnTo>
                      <a:lnTo>
                        <a:pt x="384" y="1145"/>
                      </a:lnTo>
                      <a:lnTo>
                        <a:pt x="384" y="1146"/>
                      </a:lnTo>
                      <a:lnTo>
                        <a:pt x="385" y="1146"/>
                      </a:lnTo>
                      <a:lnTo>
                        <a:pt x="384" y="1147"/>
                      </a:lnTo>
                      <a:lnTo>
                        <a:pt x="385" y="1147"/>
                      </a:lnTo>
                      <a:lnTo>
                        <a:pt x="385" y="1148"/>
                      </a:lnTo>
                      <a:lnTo>
                        <a:pt x="386" y="1149"/>
                      </a:lnTo>
                      <a:lnTo>
                        <a:pt x="386" y="1150"/>
                      </a:lnTo>
                      <a:lnTo>
                        <a:pt x="385" y="1150"/>
                      </a:lnTo>
                      <a:lnTo>
                        <a:pt x="385" y="1149"/>
                      </a:lnTo>
                      <a:lnTo>
                        <a:pt x="384" y="1149"/>
                      </a:lnTo>
                      <a:lnTo>
                        <a:pt x="384" y="1148"/>
                      </a:lnTo>
                      <a:lnTo>
                        <a:pt x="383" y="1147"/>
                      </a:lnTo>
                      <a:lnTo>
                        <a:pt x="384" y="1146"/>
                      </a:lnTo>
                      <a:lnTo>
                        <a:pt x="383" y="1146"/>
                      </a:lnTo>
                      <a:lnTo>
                        <a:pt x="383" y="1145"/>
                      </a:lnTo>
                      <a:lnTo>
                        <a:pt x="383" y="1144"/>
                      </a:lnTo>
                      <a:lnTo>
                        <a:pt x="383" y="1143"/>
                      </a:lnTo>
                      <a:lnTo>
                        <a:pt x="383" y="1142"/>
                      </a:lnTo>
                      <a:lnTo>
                        <a:pt x="383" y="1141"/>
                      </a:lnTo>
                      <a:lnTo>
                        <a:pt x="382" y="1141"/>
                      </a:lnTo>
                      <a:lnTo>
                        <a:pt x="382" y="1142"/>
                      </a:lnTo>
                      <a:lnTo>
                        <a:pt x="381" y="1142"/>
                      </a:lnTo>
                      <a:lnTo>
                        <a:pt x="380" y="1142"/>
                      </a:lnTo>
                      <a:lnTo>
                        <a:pt x="379" y="1141"/>
                      </a:lnTo>
                      <a:lnTo>
                        <a:pt x="379" y="1140"/>
                      </a:lnTo>
                      <a:lnTo>
                        <a:pt x="377" y="1140"/>
                      </a:lnTo>
                      <a:lnTo>
                        <a:pt x="376" y="1140"/>
                      </a:lnTo>
                      <a:lnTo>
                        <a:pt x="375" y="1140"/>
                      </a:lnTo>
                      <a:lnTo>
                        <a:pt x="374" y="1140"/>
                      </a:lnTo>
                      <a:lnTo>
                        <a:pt x="374" y="1138"/>
                      </a:lnTo>
                      <a:lnTo>
                        <a:pt x="374" y="1137"/>
                      </a:lnTo>
                      <a:lnTo>
                        <a:pt x="374" y="1136"/>
                      </a:lnTo>
                      <a:lnTo>
                        <a:pt x="375" y="1135"/>
                      </a:lnTo>
                      <a:lnTo>
                        <a:pt x="376" y="1134"/>
                      </a:lnTo>
                      <a:lnTo>
                        <a:pt x="377" y="1133"/>
                      </a:lnTo>
                      <a:lnTo>
                        <a:pt x="377" y="1132"/>
                      </a:lnTo>
                      <a:lnTo>
                        <a:pt x="377" y="1131"/>
                      </a:lnTo>
                      <a:lnTo>
                        <a:pt x="379" y="1131"/>
                      </a:lnTo>
                      <a:lnTo>
                        <a:pt x="379" y="1130"/>
                      </a:lnTo>
                      <a:lnTo>
                        <a:pt x="377" y="1129"/>
                      </a:lnTo>
                      <a:lnTo>
                        <a:pt x="377" y="1128"/>
                      </a:lnTo>
                      <a:lnTo>
                        <a:pt x="375" y="1128"/>
                      </a:lnTo>
                      <a:lnTo>
                        <a:pt x="375" y="1129"/>
                      </a:lnTo>
                      <a:lnTo>
                        <a:pt x="374" y="1129"/>
                      </a:lnTo>
                      <a:lnTo>
                        <a:pt x="374" y="1130"/>
                      </a:lnTo>
                      <a:lnTo>
                        <a:pt x="374" y="1131"/>
                      </a:lnTo>
                      <a:lnTo>
                        <a:pt x="373" y="1131"/>
                      </a:lnTo>
                      <a:lnTo>
                        <a:pt x="372" y="1131"/>
                      </a:lnTo>
                      <a:lnTo>
                        <a:pt x="372" y="1132"/>
                      </a:lnTo>
                      <a:lnTo>
                        <a:pt x="371" y="1131"/>
                      </a:lnTo>
                      <a:lnTo>
                        <a:pt x="371" y="1132"/>
                      </a:lnTo>
                      <a:lnTo>
                        <a:pt x="370" y="1131"/>
                      </a:lnTo>
                      <a:lnTo>
                        <a:pt x="369" y="1131"/>
                      </a:lnTo>
                      <a:lnTo>
                        <a:pt x="367" y="1129"/>
                      </a:lnTo>
                      <a:lnTo>
                        <a:pt x="366" y="1129"/>
                      </a:lnTo>
                      <a:lnTo>
                        <a:pt x="366" y="1128"/>
                      </a:lnTo>
                      <a:lnTo>
                        <a:pt x="367" y="1128"/>
                      </a:lnTo>
                      <a:lnTo>
                        <a:pt x="368" y="1127"/>
                      </a:lnTo>
                      <a:lnTo>
                        <a:pt x="369" y="1127"/>
                      </a:lnTo>
                      <a:lnTo>
                        <a:pt x="370" y="1127"/>
                      </a:lnTo>
                      <a:lnTo>
                        <a:pt x="370" y="1125"/>
                      </a:lnTo>
                      <a:lnTo>
                        <a:pt x="370" y="1124"/>
                      </a:lnTo>
                      <a:lnTo>
                        <a:pt x="369" y="1123"/>
                      </a:lnTo>
                      <a:lnTo>
                        <a:pt x="369" y="1122"/>
                      </a:lnTo>
                      <a:lnTo>
                        <a:pt x="368" y="1123"/>
                      </a:lnTo>
                      <a:lnTo>
                        <a:pt x="368" y="1124"/>
                      </a:lnTo>
                      <a:lnTo>
                        <a:pt x="367" y="1124"/>
                      </a:lnTo>
                      <a:lnTo>
                        <a:pt x="366" y="1124"/>
                      </a:lnTo>
                      <a:lnTo>
                        <a:pt x="366" y="1123"/>
                      </a:lnTo>
                      <a:lnTo>
                        <a:pt x="366" y="1122"/>
                      </a:lnTo>
                      <a:lnTo>
                        <a:pt x="366" y="1121"/>
                      </a:lnTo>
                      <a:lnTo>
                        <a:pt x="364" y="1121"/>
                      </a:lnTo>
                      <a:lnTo>
                        <a:pt x="363" y="1121"/>
                      </a:lnTo>
                      <a:lnTo>
                        <a:pt x="363" y="1122"/>
                      </a:lnTo>
                      <a:lnTo>
                        <a:pt x="362" y="1122"/>
                      </a:lnTo>
                      <a:lnTo>
                        <a:pt x="361" y="1122"/>
                      </a:lnTo>
                      <a:lnTo>
                        <a:pt x="361" y="1121"/>
                      </a:lnTo>
                      <a:lnTo>
                        <a:pt x="361" y="1120"/>
                      </a:lnTo>
                      <a:lnTo>
                        <a:pt x="360" y="1120"/>
                      </a:lnTo>
                      <a:lnTo>
                        <a:pt x="359" y="1121"/>
                      </a:lnTo>
                      <a:lnTo>
                        <a:pt x="359" y="1120"/>
                      </a:lnTo>
                      <a:lnTo>
                        <a:pt x="358" y="1120"/>
                      </a:lnTo>
                      <a:lnTo>
                        <a:pt x="358" y="1119"/>
                      </a:lnTo>
                      <a:lnTo>
                        <a:pt x="358" y="1118"/>
                      </a:lnTo>
                      <a:lnTo>
                        <a:pt x="359" y="1118"/>
                      </a:lnTo>
                      <a:lnTo>
                        <a:pt x="359" y="1117"/>
                      </a:lnTo>
                      <a:lnTo>
                        <a:pt x="360" y="1117"/>
                      </a:lnTo>
                      <a:lnTo>
                        <a:pt x="360" y="1116"/>
                      </a:lnTo>
                      <a:lnTo>
                        <a:pt x="361" y="1116"/>
                      </a:lnTo>
                      <a:lnTo>
                        <a:pt x="362" y="1115"/>
                      </a:lnTo>
                      <a:lnTo>
                        <a:pt x="362" y="1114"/>
                      </a:lnTo>
                      <a:lnTo>
                        <a:pt x="361" y="1114"/>
                      </a:lnTo>
                      <a:lnTo>
                        <a:pt x="360" y="1112"/>
                      </a:lnTo>
                      <a:lnTo>
                        <a:pt x="360" y="1111"/>
                      </a:lnTo>
                      <a:lnTo>
                        <a:pt x="359" y="1111"/>
                      </a:lnTo>
                      <a:lnTo>
                        <a:pt x="358" y="1112"/>
                      </a:lnTo>
                      <a:lnTo>
                        <a:pt x="357" y="1114"/>
                      </a:lnTo>
                      <a:lnTo>
                        <a:pt x="356" y="1115"/>
                      </a:lnTo>
                      <a:lnTo>
                        <a:pt x="356" y="1116"/>
                      </a:lnTo>
                      <a:lnTo>
                        <a:pt x="355" y="1116"/>
                      </a:lnTo>
                      <a:lnTo>
                        <a:pt x="354" y="1116"/>
                      </a:lnTo>
                      <a:lnTo>
                        <a:pt x="354" y="1115"/>
                      </a:lnTo>
                      <a:lnTo>
                        <a:pt x="354" y="1114"/>
                      </a:lnTo>
                      <a:lnTo>
                        <a:pt x="355" y="1114"/>
                      </a:lnTo>
                      <a:lnTo>
                        <a:pt x="355" y="1112"/>
                      </a:lnTo>
                      <a:lnTo>
                        <a:pt x="354" y="1112"/>
                      </a:lnTo>
                      <a:lnTo>
                        <a:pt x="353" y="1112"/>
                      </a:lnTo>
                      <a:lnTo>
                        <a:pt x="351" y="1111"/>
                      </a:lnTo>
                      <a:lnTo>
                        <a:pt x="353" y="1111"/>
                      </a:lnTo>
                      <a:lnTo>
                        <a:pt x="353" y="1110"/>
                      </a:lnTo>
                      <a:lnTo>
                        <a:pt x="353" y="1109"/>
                      </a:lnTo>
                      <a:lnTo>
                        <a:pt x="351" y="1109"/>
                      </a:lnTo>
                      <a:lnTo>
                        <a:pt x="350" y="1110"/>
                      </a:lnTo>
                      <a:lnTo>
                        <a:pt x="350" y="1111"/>
                      </a:lnTo>
                      <a:lnTo>
                        <a:pt x="349" y="1111"/>
                      </a:lnTo>
                      <a:lnTo>
                        <a:pt x="349" y="1110"/>
                      </a:lnTo>
                      <a:lnTo>
                        <a:pt x="348" y="1110"/>
                      </a:lnTo>
                      <a:lnTo>
                        <a:pt x="348" y="1109"/>
                      </a:lnTo>
                      <a:lnTo>
                        <a:pt x="347" y="1109"/>
                      </a:lnTo>
                      <a:lnTo>
                        <a:pt x="346" y="1108"/>
                      </a:lnTo>
                      <a:lnTo>
                        <a:pt x="345" y="1108"/>
                      </a:lnTo>
                      <a:lnTo>
                        <a:pt x="345" y="1107"/>
                      </a:lnTo>
                      <a:lnTo>
                        <a:pt x="344" y="1106"/>
                      </a:lnTo>
                      <a:lnTo>
                        <a:pt x="343" y="1105"/>
                      </a:lnTo>
                      <a:lnTo>
                        <a:pt x="342" y="1105"/>
                      </a:lnTo>
                      <a:lnTo>
                        <a:pt x="342" y="1104"/>
                      </a:lnTo>
                      <a:lnTo>
                        <a:pt x="341" y="1104"/>
                      </a:lnTo>
                      <a:lnTo>
                        <a:pt x="340" y="1103"/>
                      </a:lnTo>
                      <a:lnTo>
                        <a:pt x="340" y="1102"/>
                      </a:lnTo>
                      <a:lnTo>
                        <a:pt x="338" y="1101"/>
                      </a:lnTo>
                      <a:lnTo>
                        <a:pt x="337" y="1101"/>
                      </a:lnTo>
                      <a:lnTo>
                        <a:pt x="336" y="1099"/>
                      </a:lnTo>
                      <a:lnTo>
                        <a:pt x="336" y="1098"/>
                      </a:lnTo>
                      <a:lnTo>
                        <a:pt x="335" y="1098"/>
                      </a:lnTo>
                      <a:lnTo>
                        <a:pt x="334" y="1097"/>
                      </a:lnTo>
                      <a:lnTo>
                        <a:pt x="335" y="1097"/>
                      </a:lnTo>
                      <a:lnTo>
                        <a:pt x="335" y="1096"/>
                      </a:lnTo>
                      <a:lnTo>
                        <a:pt x="335" y="1095"/>
                      </a:lnTo>
                      <a:lnTo>
                        <a:pt x="336" y="1095"/>
                      </a:lnTo>
                      <a:lnTo>
                        <a:pt x="336" y="1094"/>
                      </a:lnTo>
                      <a:lnTo>
                        <a:pt x="337" y="1094"/>
                      </a:lnTo>
                      <a:lnTo>
                        <a:pt x="337" y="1093"/>
                      </a:lnTo>
                      <a:lnTo>
                        <a:pt x="336" y="1093"/>
                      </a:lnTo>
                      <a:lnTo>
                        <a:pt x="336" y="1092"/>
                      </a:lnTo>
                      <a:lnTo>
                        <a:pt x="336" y="1091"/>
                      </a:lnTo>
                      <a:lnTo>
                        <a:pt x="336" y="1090"/>
                      </a:lnTo>
                      <a:lnTo>
                        <a:pt x="337" y="1089"/>
                      </a:lnTo>
                      <a:lnTo>
                        <a:pt x="337" y="1088"/>
                      </a:lnTo>
                      <a:lnTo>
                        <a:pt x="336" y="1086"/>
                      </a:lnTo>
                      <a:lnTo>
                        <a:pt x="336" y="1085"/>
                      </a:lnTo>
                      <a:lnTo>
                        <a:pt x="335" y="1085"/>
                      </a:lnTo>
                      <a:lnTo>
                        <a:pt x="334" y="1085"/>
                      </a:lnTo>
                      <a:lnTo>
                        <a:pt x="334" y="1086"/>
                      </a:lnTo>
                      <a:lnTo>
                        <a:pt x="333" y="1086"/>
                      </a:lnTo>
                      <a:lnTo>
                        <a:pt x="333" y="1088"/>
                      </a:lnTo>
                      <a:lnTo>
                        <a:pt x="332" y="1088"/>
                      </a:lnTo>
                      <a:lnTo>
                        <a:pt x="333" y="1089"/>
                      </a:lnTo>
                      <a:lnTo>
                        <a:pt x="332" y="1090"/>
                      </a:lnTo>
                      <a:lnTo>
                        <a:pt x="333" y="1091"/>
                      </a:lnTo>
                      <a:lnTo>
                        <a:pt x="332" y="1091"/>
                      </a:lnTo>
                      <a:lnTo>
                        <a:pt x="332" y="1092"/>
                      </a:lnTo>
                      <a:lnTo>
                        <a:pt x="331" y="1091"/>
                      </a:lnTo>
                      <a:lnTo>
                        <a:pt x="330" y="1091"/>
                      </a:lnTo>
                      <a:lnTo>
                        <a:pt x="329" y="1091"/>
                      </a:lnTo>
                      <a:lnTo>
                        <a:pt x="329" y="1090"/>
                      </a:lnTo>
                      <a:lnTo>
                        <a:pt x="329" y="1089"/>
                      </a:lnTo>
                      <a:lnTo>
                        <a:pt x="328" y="1088"/>
                      </a:lnTo>
                      <a:lnTo>
                        <a:pt x="328" y="1089"/>
                      </a:lnTo>
                      <a:lnTo>
                        <a:pt x="327" y="1089"/>
                      </a:lnTo>
                      <a:lnTo>
                        <a:pt x="327" y="1088"/>
                      </a:lnTo>
                      <a:lnTo>
                        <a:pt x="327" y="1086"/>
                      </a:lnTo>
                      <a:lnTo>
                        <a:pt x="327" y="1085"/>
                      </a:lnTo>
                      <a:lnTo>
                        <a:pt x="325" y="1085"/>
                      </a:lnTo>
                      <a:lnTo>
                        <a:pt x="324" y="1084"/>
                      </a:lnTo>
                      <a:lnTo>
                        <a:pt x="323" y="1084"/>
                      </a:lnTo>
                      <a:lnTo>
                        <a:pt x="322" y="1083"/>
                      </a:lnTo>
                      <a:lnTo>
                        <a:pt x="322" y="1082"/>
                      </a:lnTo>
                      <a:lnTo>
                        <a:pt x="321" y="1082"/>
                      </a:lnTo>
                      <a:lnTo>
                        <a:pt x="320" y="1082"/>
                      </a:lnTo>
                      <a:lnTo>
                        <a:pt x="317" y="1082"/>
                      </a:lnTo>
                      <a:lnTo>
                        <a:pt x="316" y="1082"/>
                      </a:lnTo>
                      <a:lnTo>
                        <a:pt x="316" y="1081"/>
                      </a:lnTo>
                      <a:lnTo>
                        <a:pt x="317" y="1080"/>
                      </a:lnTo>
                      <a:lnTo>
                        <a:pt x="317" y="1079"/>
                      </a:lnTo>
                      <a:lnTo>
                        <a:pt x="318" y="1078"/>
                      </a:lnTo>
                      <a:lnTo>
                        <a:pt x="318" y="1077"/>
                      </a:lnTo>
                      <a:lnTo>
                        <a:pt x="318" y="1076"/>
                      </a:lnTo>
                      <a:lnTo>
                        <a:pt x="318" y="1077"/>
                      </a:lnTo>
                      <a:lnTo>
                        <a:pt x="320" y="1077"/>
                      </a:lnTo>
                      <a:lnTo>
                        <a:pt x="321" y="1077"/>
                      </a:lnTo>
                      <a:lnTo>
                        <a:pt x="322" y="1076"/>
                      </a:lnTo>
                      <a:lnTo>
                        <a:pt x="323" y="1076"/>
                      </a:lnTo>
                      <a:lnTo>
                        <a:pt x="324" y="1076"/>
                      </a:lnTo>
                      <a:lnTo>
                        <a:pt x="325" y="1076"/>
                      </a:lnTo>
                      <a:lnTo>
                        <a:pt x="327" y="1076"/>
                      </a:lnTo>
                      <a:lnTo>
                        <a:pt x="328" y="1076"/>
                      </a:lnTo>
                      <a:lnTo>
                        <a:pt x="328" y="1077"/>
                      </a:lnTo>
                      <a:lnTo>
                        <a:pt x="329" y="1077"/>
                      </a:lnTo>
                      <a:lnTo>
                        <a:pt x="330" y="1077"/>
                      </a:lnTo>
                      <a:lnTo>
                        <a:pt x="331" y="1077"/>
                      </a:lnTo>
                      <a:lnTo>
                        <a:pt x="332" y="1077"/>
                      </a:lnTo>
                      <a:lnTo>
                        <a:pt x="332" y="1078"/>
                      </a:lnTo>
                      <a:lnTo>
                        <a:pt x="333" y="1078"/>
                      </a:lnTo>
                      <a:lnTo>
                        <a:pt x="334" y="1078"/>
                      </a:lnTo>
                      <a:lnTo>
                        <a:pt x="334" y="1077"/>
                      </a:lnTo>
                      <a:lnTo>
                        <a:pt x="335" y="1077"/>
                      </a:lnTo>
                      <a:lnTo>
                        <a:pt x="335" y="1076"/>
                      </a:lnTo>
                      <a:lnTo>
                        <a:pt x="335" y="1074"/>
                      </a:lnTo>
                      <a:lnTo>
                        <a:pt x="335" y="1073"/>
                      </a:lnTo>
                      <a:lnTo>
                        <a:pt x="334" y="1073"/>
                      </a:lnTo>
                      <a:lnTo>
                        <a:pt x="333" y="1072"/>
                      </a:lnTo>
                      <a:lnTo>
                        <a:pt x="332" y="1072"/>
                      </a:lnTo>
                      <a:lnTo>
                        <a:pt x="331" y="1072"/>
                      </a:lnTo>
                      <a:lnTo>
                        <a:pt x="330" y="1072"/>
                      </a:lnTo>
                      <a:lnTo>
                        <a:pt x="329" y="1072"/>
                      </a:lnTo>
                      <a:lnTo>
                        <a:pt x="328" y="1073"/>
                      </a:lnTo>
                      <a:lnTo>
                        <a:pt x="327" y="1073"/>
                      </a:lnTo>
                      <a:lnTo>
                        <a:pt x="325" y="1072"/>
                      </a:lnTo>
                      <a:lnTo>
                        <a:pt x="324" y="1072"/>
                      </a:lnTo>
                      <a:lnTo>
                        <a:pt x="323" y="1072"/>
                      </a:lnTo>
                      <a:lnTo>
                        <a:pt x="322" y="1072"/>
                      </a:lnTo>
                      <a:lnTo>
                        <a:pt x="322" y="1073"/>
                      </a:lnTo>
                      <a:lnTo>
                        <a:pt x="321" y="1073"/>
                      </a:lnTo>
                      <a:lnTo>
                        <a:pt x="320" y="1073"/>
                      </a:lnTo>
                      <a:lnTo>
                        <a:pt x="319" y="1073"/>
                      </a:lnTo>
                      <a:lnTo>
                        <a:pt x="317" y="1073"/>
                      </a:lnTo>
                      <a:lnTo>
                        <a:pt x="316" y="1073"/>
                      </a:lnTo>
                      <a:lnTo>
                        <a:pt x="315" y="1073"/>
                      </a:lnTo>
                      <a:lnTo>
                        <a:pt x="315" y="1074"/>
                      </a:lnTo>
                      <a:lnTo>
                        <a:pt x="315" y="1076"/>
                      </a:lnTo>
                      <a:lnTo>
                        <a:pt x="314" y="1076"/>
                      </a:lnTo>
                      <a:lnTo>
                        <a:pt x="314" y="1077"/>
                      </a:lnTo>
                      <a:lnTo>
                        <a:pt x="312" y="1077"/>
                      </a:lnTo>
                      <a:lnTo>
                        <a:pt x="312" y="1076"/>
                      </a:lnTo>
                      <a:lnTo>
                        <a:pt x="312" y="1077"/>
                      </a:lnTo>
                      <a:lnTo>
                        <a:pt x="311" y="1077"/>
                      </a:lnTo>
                      <a:lnTo>
                        <a:pt x="310" y="1077"/>
                      </a:lnTo>
                      <a:lnTo>
                        <a:pt x="310" y="1078"/>
                      </a:lnTo>
                      <a:lnTo>
                        <a:pt x="310" y="1079"/>
                      </a:lnTo>
                      <a:lnTo>
                        <a:pt x="311" y="1079"/>
                      </a:lnTo>
                      <a:lnTo>
                        <a:pt x="312" y="1079"/>
                      </a:lnTo>
                      <a:lnTo>
                        <a:pt x="311" y="1080"/>
                      </a:lnTo>
                      <a:lnTo>
                        <a:pt x="312" y="1080"/>
                      </a:lnTo>
                      <a:lnTo>
                        <a:pt x="311" y="1081"/>
                      </a:lnTo>
                      <a:lnTo>
                        <a:pt x="310" y="1082"/>
                      </a:lnTo>
                      <a:lnTo>
                        <a:pt x="309" y="1082"/>
                      </a:lnTo>
                      <a:lnTo>
                        <a:pt x="309" y="1083"/>
                      </a:lnTo>
                      <a:lnTo>
                        <a:pt x="309" y="1084"/>
                      </a:lnTo>
                      <a:lnTo>
                        <a:pt x="310" y="1084"/>
                      </a:lnTo>
                      <a:lnTo>
                        <a:pt x="310" y="1085"/>
                      </a:lnTo>
                      <a:lnTo>
                        <a:pt x="311" y="1085"/>
                      </a:lnTo>
                      <a:lnTo>
                        <a:pt x="311" y="1086"/>
                      </a:lnTo>
                      <a:lnTo>
                        <a:pt x="311" y="1088"/>
                      </a:lnTo>
                      <a:lnTo>
                        <a:pt x="312" y="1086"/>
                      </a:lnTo>
                      <a:lnTo>
                        <a:pt x="312" y="1088"/>
                      </a:lnTo>
                      <a:lnTo>
                        <a:pt x="314" y="1086"/>
                      </a:lnTo>
                      <a:lnTo>
                        <a:pt x="314" y="1088"/>
                      </a:lnTo>
                      <a:lnTo>
                        <a:pt x="315" y="1088"/>
                      </a:lnTo>
                      <a:lnTo>
                        <a:pt x="315" y="1086"/>
                      </a:lnTo>
                      <a:lnTo>
                        <a:pt x="316" y="1086"/>
                      </a:lnTo>
                      <a:lnTo>
                        <a:pt x="316" y="1088"/>
                      </a:lnTo>
                      <a:lnTo>
                        <a:pt x="315" y="1088"/>
                      </a:lnTo>
                      <a:lnTo>
                        <a:pt x="315" y="1089"/>
                      </a:lnTo>
                      <a:lnTo>
                        <a:pt x="315" y="1088"/>
                      </a:lnTo>
                      <a:lnTo>
                        <a:pt x="316" y="1088"/>
                      </a:lnTo>
                      <a:lnTo>
                        <a:pt x="317" y="1088"/>
                      </a:lnTo>
                      <a:lnTo>
                        <a:pt x="317" y="1089"/>
                      </a:lnTo>
                      <a:lnTo>
                        <a:pt x="316" y="1089"/>
                      </a:lnTo>
                      <a:lnTo>
                        <a:pt x="315" y="1089"/>
                      </a:lnTo>
                      <a:lnTo>
                        <a:pt x="315" y="1090"/>
                      </a:lnTo>
                      <a:lnTo>
                        <a:pt x="314" y="1090"/>
                      </a:lnTo>
                      <a:lnTo>
                        <a:pt x="312" y="1091"/>
                      </a:lnTo>
                      <a:lnTo>
                        <a:pt x="311" y="1091"/>
                      </a:lnTo>
                      <a:lnTo>
                        <a:pt x="310" y="1091"/>
                      </a:lnTo>
                      <a:lnTo>
                        <a:pt x="310" y="1092"/>
                      </a:lnTo>
                      <a:lnTo>
                        <a:pt x="309" y="1092"/>
                      </a:lnTo>
                      <a:lnTo>
                        <a:pt x="308" y="1092"/>
                      </a:lnTo>
                      <a:lnTo>
                        <a:pt x="307" y="1092"/>
                      </a:lnTo>
                      <a:lnTo>
                        <a:pt x="305" y="1092"/>
                      </a:lnTo>
                      <a:lnTo>
                        <a:pt x="304" y="1092"/>
                      </a:lnTo>
                      <a:lnTo>
                        <a:pt x="304" y="1091"/>
                      </a:lnTo>
                      <a:lnTo>
                        <a:pt x="303" y="1091"/>
                      </a:lnTo>
                      <a:lnTo>
                        <a:pt x="303" y="1090"/>
                      </a:lnTo>
                      <a:lnTo>
                        <a:pt x="303" y="1091"/>
                      </a:lnTo>
                      <a:lnTo>
                        <a:pt x="302" y="1091"/>
                      </a:lnTo>
                      <a:lnTo>
                        <a:pt x="302" y="1092"/>
                      </a:lnTo>
                      <a:lnTo>
                        <a:pt x="300" y="1092"/>
                      </a:lnTo>
                      <a:lnTo>
                        <a:pt x="300" y="1093"/>
                      </a:lnTo>
                      <a:lnTo>
                        <a:pt x="299" y="1093"/>
                      </a:lnTo>
                      <a:lnTo>
                        <a:pt x="298" y="1093"/>
                      </a:lnTo>
                      <a:lnTo>
                        <a:pt x="297" y="1093"/>
                      </a:lnTo>
                      <a:lnTo>
                        <a:pt x="297" y="1092"/>
                      </a:lnTo>
                      <a:lnTo>
                        <a:pt x="296" y="1093"/>
                      </a:lnTo>
                      <a:lnTo>
                        <a:pt x="296" y="1092"/>
                      </a:lnTo>
                      <a:lnTo>
                        <a:pt x="295" y="1092"/>
                      </a:lnTo>
                      <a:lnTo>
                        <a:pt x="294" y="1092"/>
                      </a:lnTo>
                      <a:lnTo>
                        <a:pt x="293" y="1092"/>
                      </a:lnTo>
                      <a:lnTo>
                        <a:pt x="292" y="1092"/>
                      </a:lnTo>
                      <a:lnTo>
                        <a:pt x="292" y="1091"/>
                      </a:lnTo>
                      <a:lnTo>
                        <a:pt x="291" y="1091"/>
                      </a:lnTo>
                      <a:lnTo>
                        <a:pt x="291" y="1090"/>
                      </a:lnTo>
                      <a:lnTo>
                        <a:pt x="292" y="1090"/>
                      </a:lnTo>
                      <a:lnTo>
                        <a:pt x="292" y="1089"/>
                      </a:lnTo>
                      <a:lnTo>
                        <a:pt x="291" y="1088"/>
                      </a:lnTo>
                      <a:lnTo>
                        <a:pt x="291" y="1086"/>
                      </a:lnTo>
                      <a:lnTo>
                        <a:pt x="290" y="1085"/>
                      </a:lnTo>
                      <a:lnTo>
                        <a:pt x="291" y="1085"/>
                      </a:lnTo>
                      <a:lnTo>
                        <a:pt x="292" y="1085"/>
                      </a:lnTo>
                      <a:lnTo>
                        <a:pt x="293" y="1085"/>
                      </a:lnTo>
                      <a:lnTo>
                        <a:pt x="293" y="1084"/>
                      </a:lnTo>
                      <a:lnTo>
                        <a:pt x="294" y="1084"/>
                      </a:lnTo>
                      <a:lnTo>
                        <a:pt x="294" y="1083"/>
                      </a:lnTo>
                      <a:lnTo>
                        <a:pt x="293" y="1082"/>
                      </a:lnTo>
                      <a:lnTo>
                        <a:pt x="293" y="1081"/>
                      </a:lnTo>
                      <a:lnTo>
                        <a:pt x="293" y="1080"/>
                      </a:lnTo>
                      <a:lnTo>
                        <a:pt x="293" y="1079"/>
                      </a:lnTo>
                      <a:lnTo>
                        <a:pt x="294" y="1079"/>
                      </a:lnTo>
                      <a:lnTo>
                        <a:pt x="293" y="1079"/>
                      </a:lnTo>
                      <a:lnTo>
                        <a:pt x="293" y="1078"/>
                      </a:lnTo>
                      <a:lnTo>
                        <a:pt x="292" y="1078"/>
                      </a:lnTo>
                      <a:lnTo>
                        <a:pt x="292" y="1077"/>
                      </a:lnTo>
                      <a:lnTo>
                        <a:pt x="293" y="1077"/>
                      </a:lnTo>
                      <a:lnTo>
                        <a:pt x="293" y="1076"/>
                      </a:lnTo>
                      <a:lnTo>
                        <a:pt x="293" y="1074"/>
                      </a:lnTo>
                      <a:lnTo>
                        <a:pt x="293" y="1076"/>
                      </a:lnTo>
                      <a:lnTo>
                        <a:pt x="293" y="1077"/>
                      </a:lnTo>
                      <a:lnTo>
                        <a:pt x="294" y="1077"/>
                      </a:lnTo>
                      <a:lnTo>
                        <a:pt x="295" y="1077"/>
                      </a:lnTo>
                      <a:lnTo>
                        <a:pt x="294" y="1076"/>
                      </a:lnTo>
                      <a:lnTo>
                        <a:pt x="295" y="1076"/>
                      </a:lnTo>
                      <a:lnTo>
                        <a:pt x="296" y="1076"/>
                      </a:lnTo>
                      <a:lnTo>
                        <a:pt x="297" y="1076"/>
                      </a:lnTo>
                      <a:lnTo>
                        <a:pt x="298" y="1074"/>
                      </a:lnTo>
                      <a:lnTo>
                        <a:pt x="299" y="1074"/>
                      </a:lnTo>
                      <a:lnTo>
                        <a:pt x="300" y="1073"/>
                      </a:lnTo>
                      <a:lnTo>
                        <a:pt x="299" y="1073"/>
                      </a:lnTo>
                      <a:lnTo>
                        <a:pt x="300" y="1073"/>
                      </a:lnTo>
                      <a:lnTo>
                        <a:pt x="302" y="1073"/>
                      </a:lnTo>
                      <a:lnTo>
                        <a:pt x="302" y="1074"/>
                      </a:lnTo>
                      <a:lnTo>
                        <a:pt x="303" y="1074"/>
                      </a:lnTo>
                      <a:lnTo>
                        <a:pt x="303" y="1073"/>
                      </a:lnTo>
                      <a:lnTo>
                        <a:pt x="303" y="1072"/>
                      </a:lnTo>
                      <a:lnTo>
                        <a:pt x="303" y="1071"/>
                      </a:lnTo>
                      <a:lnTo>
                        <a:pt x="302" y="1069"/>
                      </a:lnTo>
                      <a:lnTo>
                        <a:pt x="300" y="1069"/>
                      </a:lnTo>
                      <a:lnTo>
                        <a:pt x="300" y="1071"/>
                      </a:lnTo>
                      <a:lnTo>
                        <a:pt x="300" y="1070"/>
                      </a:lnTo>
                      <a:lnTo>
                        <a:pt x="299" y="1070"/>
                      </a:lnTo>
                      <a:lnTo>
                        <a:pt x="299" y="1069"/>
                      </a:lnTo>
                      <a:lnTo>
                        <a:pt x="298" y="1069"/>
                      </a:lnTo>
                      <a:lnTo>
                        <a:pt x="298" y="1068"/>
                      </a:lnTo>
                      <a:lnTo>
                        <a:pt x="299" y="1068"/>
                      </a:lnTo>
                      <a:lnTo>
                        <a:pt x="299" y="1067"/>
                      </a:lnTo>
                      <a:lnTo>
                        <a:pt x="298" y="1067"/>
                      </a:lnTo>
                      <a:lnTo>
                        <a:pt x="298" y="1068"/>
                      </a:lnTo>
                      <a:lnTo>
                        <a:pt x="297" y="1067"/>
                      </a:lnTo>
                      <a:lnTo>
                        <a:pt x="297" y="1066"/>
                      </a:lnTo>
                      <a:lnTo>
                        <a:pt x="297" y="1065"/>
                      </a:lnTo>
                      <a:lnTo>
                        <a:pt x="297" y="1064"/>
                      </a:lnTo>
                      <a:lnTo>
                        <a:pt x="297" y="1063"/>
                      </a:lnTo>
                      <a:lnTo>
                        <a:pt x="296" y="1063"/>
                      </a:lnTo>
                      <a:lnTo>
                        <a:pt x="295" y="1061"/>
                      </a:lnTo>
                      <a:lnTo>
                        <a:pt x="294" y="1061"/>
                      </a:lnTo>
                      <a:lnTo>
                        <a:pt x="293" y="1061"/>
                      </a:lnTo>
                      <a:lnTo>
                        <a:pt x="294" y="1061"/>
                      </a:lnTo>
                      <a:lnTo>
                        <a:pt x="293" y="1063"/>
                      </a:lnTo>
                      <a:lnTo>
                        <a:pt x="292" y="1064"/>
                      </a:lnTo>
                      <a:lnTo>
                        <a:pt x="291" y="1065"/>
                      </a:lnTo>
                      <a:lnTo>
                        <a:pt x="290" y="1065"/>
                      </a:lnTo>
                      <a:lnTo>
                        <a:pt x="290" y="1066"/>
                      </a:lnTo>
                      <a:lnTo>
                        <a:pt x="289" y="1066"/>
                      </a:lnTo>
                      <a:lnTo>
                        <a:pt x="287" y="1066"/>
                      </a:lnTo>
                      <a:lnTo>
                        <a:pt x="287" y="1067"/>
                      </a:lnTo>
                      <a:lnTo>
                        <a:pt x="287" y="1068"/>
                      </a:lnTo>
                      <a:lnTo>
                        <a:pt x="287" y="1069"/>
                      </a:lnTo>
                      <a:lnTo>
                        <a:pt x="286" y="1069"/>
                      </a:lnTo>
                      <a:lnTo>
                        <a:pt x="285" y="1069"/>
                      </a:lnTo>
                      <a:lnTo>
                        <a:pt x="284" y="1070"/>
                      </a:lnTo>
                      <a:lnTo>
                        <a:pt x="283" y="1070"/>
                      </a:lnTo>
                      <a:lnTo>
                        <a:pt x="282" y="1070"/>
                      </a:lnTo>
                      <a:lnTo>
                        <a:pt x="282" y="1071"/>
                      </a:lnTo>
                      <a:lnTo>
                        <a:pt x="282" y="1072"/>
                      </a:lnTo>
                      <a:lnTo>
                        <a:pt x="281" y="1072"/>
                      </a:lnTo>
                      <a:lnTo>
                        <a:pt x="280" y="1072"/>
                      </a:lnTo>
                      <a:lnTo>
                        <a:pt x="280" y="1070"/>
                      </a:lnTo>
                      <a:lnTo>
                        <a:pt x="279" y="1070"/>
                      </a:lnTo>
                      <a:lnTo>
                        <a:pt x="279" y="1071"/>
                      </a:lnTo>
                      <a:lnTo>
                        <a:pt x="279" y="1072"/>
                      </a:lnTo>
                      <a:lnTo>
                        <a:pt x="278" y="1072"/>
                      </a:lnTo>
                      <a:lnTo>
                        <a:pt x="278" y="1071"/>
                      </a:lnTo>
                      <a:lnTo>
                        <a:pt x="277" y="1071"/>
                      </a:lnTo>
                      <a:lnTo>
                        <a:pt x="277" y="1070"/>
                      </a:lnTo>
                      <a:lnTo>
                        <a:pt x="276" y="1069"/>
                      </a:lnTo>
                      <a:lnTo>
                        <a:pt x="276" y="1068"/>
                      </a:lnTo>
                      <a:lnTo>
                        <a:pt x="274" y="1068"/>
                      </a:lnTo>
                      <a:lnTo>
                        <a:pt x="274" y="1067"/>
                      </a:lnTo>
                      <a:lnTo>
                        <a:pt x="274" y="1066"/>
                      </a:lnTo>
                      <a:lnTo>
                        <a:pt x="273" y="1065"/>
                      </a:lnTo>
                      <a:lnTo>
                        <a:pt x="273" y="1064"/>
                      </a:lnTo>
                      <a:lnTo>
                        <a:pt x="272" y="1064"/>
                      </a:lnTo>
                      <a:lnTo>
                        <a:pt x="272" y="1065"/>
                      </a:lnTo>
                      <a:lnTo>
                        <a:pt x="272" y="1066"/>
                      </a:lnTo>
                      <a:lnTo>
                        <a:pt x="272" y="1067"/>
                      </a:lnTo>
                      <a:lnTo>
                        <a:pt x="271" y="1067"/>
                      </a:lnTo>
                      <a:lnTo>
                        <a:pt x="270" y="1068"/>
                      </a:lnTo>
                      <a:lnTo>
                        <a:pt x="269" y="1069"/>
                      </a:lnTo>
                      <a:lnTo>
                        <a:pt x="269" y="1070"/>
                      </a:lnTo>
                      <a:lnTo>
                        <a:pt x="269" y="1071"/>
                      </a:lnTo>
                      <a:lnTo>
                        <a:pt x="268" y="1071"/>
                      </a:lnTo>
                      <a:lnTo>
                        <a:pt x="268" y="1072"/>
                      </a:lnTo>
                      <a:lnTo>
                        <a:pt x="267" y="1073"/>
                      </a:lnTo>
                      <a:lnTo>
                        <a:pt x="267" y="1074"/>
                      </a:lnTo>
                      <a:lnTo>
                        <a:pt x="267" y="1076"/>
                      </a:lnTo>
                      <a:lnTo>
                        <a:pt x="267" y="1077"/>
                      </a:lnTo>
                      <a:lnTo>
                        <a:pt x="267" y="1078"/>
                      </a:lnTo>
                      <a:lnTo>
                        <a:pt x="267" y="1079"/>
                      </a:lnTo>
                      <a:lnTo>
                        <a:pt x="266" y="1079"/>
                      </a:lnTo>
                      <a:lnTo>
                        <a:pt x="265" y="1078"/>
                      </a:lnTo>
                      <a:lnTo>
                        <a:pt x="265" y="1079"/>
                      </a:lnTo>
                      <a:lnTo>
                        <a:pt x="264" y="1079"/>
                      </a:lnTo>
                      <a:lnTo>
                        <a:pt x="264" y="1080"/>
                      </a:lnTo>
                      <a:lnTo>
                        <a:pt x="264" y="1081"/>
                      </a:lnTo>
                      <a:lnTo>
                        <a:pt x="265" y="1081"/>
                      </a:lnTo>
                      <a:lnTo>
                        <a:pt x="264" y="1081"/>
                      </a:lnTo>
                      <a:lnTo>
                        <a:pt x="264" y="1082"/>
                      </a:lnTo>
                      <a:lnTo>
                        <a:pt x="263" y="1082"/>
                      </a:lnTo>
                      <a:lnTo>
                        <a:pt x="263" y="1083"/>
                      </a:lnTo>
                      <a:lnTo>
                        <a:pt x="263" y="1084"/>
                      </a:lnTo>
                      <a:lnTo>
                        <a:pt x="261" y="1084"/>
                      </a:lnTo>
                      <a:lnTo>
                        <a:pt x="260" y="1084"/>
                      </a:lnTo>
                      <a:lnTo>
                        <a:pt x="260" y="1085"/>
                      </a:lnTo>
                      <a:lnTo>
                        <a:pt x="259" y="1085"/>
                      </a:lnTo>
                      <a:lnTo>
                        <a:pt x="258" y="1085"/>
                      </a:lnTo>
                      <a:lnTo>
                        <a:pt x="257" y="1083"/>
                      </a:lnTo>
                      <a:lnTo>
                        <a:pt x="254" y="1082"/>
                      </a:lnTo>
                      <a:lnTo>
                        <a:pt x="252" y="1081"/>
                      </a:lnTo>
                      <a:lnTo>
                        <a:pt x="250" y="1081"/>
                      </a:lnTo>
                      <a:lnTo>
                        <a:pt x="250" y="1080"/>
                      </a:lnTo>
                      <a:lnTo>
                        <a:pt x="248" y="1080"/>
                      </a:lnTo>
                      <a:lnTo>
                        <a:pt x="246" y="1080"/>
                      </a:lnTo>
                      <a:lnTo>
                        <a:pt x="245" y="1080"/>
                      </a:lnTo>
                      <a:lnTo>
                        <a:pt x="245" y="1081"/>
                      </a:lnTo>
                      <a:lnTo>
                        <a:pt x="243" y="1081"/>
                      </a:lnTo>
                      <a:lnTo>
                        <a:pt x="240" y="1080"/>
                      </a:lnTo>
                      <a:lnTo>
                        <a:pt x="239" y="1078"/>
                      </a:lnTo>
                      <a:lnTo>
                        <a:pt x="238" y="1077"/>
                      </a:lnTo>
                      <a:lnTo>
                        <a:pt x="235" y="1073"/>
                      </a:lnTo>
                      <a:lnTo>
                        <a:pt x="230" y="1070"/>
                      </a:lnTo>
                      <a:lnTo>
                        <a:pt x="229" y="1068"/>
                      </a:lnTo>
                      <a:lnTo>
                        <a:pt x="225" y="1064"/>
                      </a:lnTo>
                      <a:lnTo>
                        <a:pt x="219" y="1060"/>
                      </a:lnTo>
                      <a:lnTo>
                        <a:pt x="218" y="1059"/>
                      </a:lnTo>
                      <a:lnTo>
                        <a:pt x="218" y="1058"/>
                      </a:lnTo>
                      <a:lnTo>
                        <a:pt x="217" y="1058"/>
                      </a:lnTo>
                      <a:lnTo>
                        <a:pt x="217" y="1059"/>
                      </a:lnTo>
                      <a:lnTo>
                        <a:pt x="217" y="1060"/>
                      </a:lnTo>
                      <a:lnTo>
                        <a:pt x="214" y="1061"/>
                      </a:lnTo>
                      <a:lnTo>
                        <a:pt x="213" y="1061"/>
                      </a:lnTo>
                      <a:lnTo>
                        <a:pt x="212" y="1060"/>
                      </a:lnTo>
                      <a:lnTo>
                        <a:pt x="211" y="1060"/>
                      </a:lnTo>
                      <a:lnTo>
                        <a:pt x="207" y="1059"/>
                      </a:lnTo>
                      <a:lnTo>
                        <a:pt x="204" y="1058"/>
                      </a:lnTo>
                      <a:lnTo>
                        <a:pt x="203" y="1058"/>
                      </a:lnTo>
                      <a:lnTo>
                        <a:pt x="201" y="1057"/>
                      </a:lnTo>
                      <a:lnTo>
                        <a:pt x="200" y="1058"/>
                      </a:lnTo>
                      <a:lnTo>
                        <a:pt x="196" y="1057"/>
                      </a:lnTo>
                      <a:lnTo>
                        <a:pt x="190" y="1057"/>
                      </a:lnTo>
                      <a:lnTo>
                        <a:pt x="179" y="1057"/>
                      </a:lnTo>
                      <a:lnTo>
                        <a:pt x="175" y="1057"/>
                      </a:lnTo>
                      <a:lnTo>
                        <a:pt x="172" y="1056"/>
                      </a:lnTo>
                      <a:lnTo>
                        <a:pt x="169" y="1056"/>
                      </a:lnTo>
                      <a:lnTo>
                        <a:pt x="165" y="1055"/>
                      </a:lnTo>
                      <a:lnTo>
                        <a:pt x="162" y="1054"/>
                      </a:lnTo>
                      <a:lnTo>
                        <a:pt x="160" y="1053"/>
                      </a:lnTo>
                      <a:lnTo>
                        <a:pt x="157" y="1052"/>
                      </a:lnTo>
                      <a:lnTo>
                        <a:pt x="155" y="1051"/>
                      </a:lnTo>
                      <a:lnTo>
                        <a:pt x="153" y="1050"/>
                      </a:lnTo>
                      <a:lnTo>
                        <a:pt x="151" y="1048"/>
                      </a:lnTo>
                      <a:lnTo>
                        <a:pt x="150" y="1048"/>
                      </a:lnTo>
                      <a:lnTo>
                        <a:pt x="149" y="1047"/>
                      </a:lnTo>
                      <a:lnTo>
                        <a:pt x="148" y="1047"/>
                      </a:lnTo>
                      <a:lnTo>
                        <a:pt x="145" y="1047"/>
                      </a:lnTo>
                      <a:lnTo>
                        <a:pt x="143" y="1046"/>
                      </a:lnTo>
                      <a:lnTo>
                        <a:pt x="142" y="1045"/>
                      </a:lnTo>
                      <a:lnTo>
                        <a:pt x="141" y="1045"/>
                      </a:lnTo>
                      <a:lnTo>
                        <a:pt x="140" y="1044"/>
                      </a:lnTo>
                      <a:lnTo>
                        <a:pt x="139" y="1044"/>
                      </a:lnTo>
                      <a:lnTo>
                        <a:pt x="138" y="1043"/>
                      </a:lnTo>
                      <a:lnTo>
                        <a:pt x="137" y="1043"/>
                      </a:lnTo>
                      <a:lnTo>
                        <a:pt x="135" y="1042"/>
                      </a:lnTo>
                      <a:lnTo>
                        <a:pt x="132" y="1041"/>
                      </a:lnTo>
                      <a:lnTo>
                        <a:pt x="131" y="1041"/>
                      </a:lnTo>
                      <a:lnTo>
                        <a:pt x="129" y="1040"/>
                      </a:lnTo>
                      <a:lnTo>
                        <a:pt x="127" y="1039"/>
                      </a:lnTo>
                      <a:lnTo>
                        <a:pt x="126" y="1038"/>
                      </a:lnTo>
                      <a:lnTo>
                        <a:pt x="125" y="1037"/>
                      </a:lnTo>
                      <a:lnTo>
                        <a:pt x="121" y="1034"/>
                      </a:lnTo>
                      <a:lnTo>
                        <a:pt x="121" y="1033"/>
                      </a:lnTo>
                      <a:lnTo>
                        <a:pt x="116" y="1030"/>
                      </a:lnTo>
                      <a:lnTo>
                        <a:pt x="114" y="1028"/>
                      </a:lnTo>
                      <a:lnTo>
                        <a:pt x="113" y="1027"/>
                      </a:lnTo>
                      <a:lnTo>
                        <a:pt x="112" y="1026"/>
                      </a:lnTo>
                      <a:lnTo>
                        <a:pt x="112" y="1025"/>
                      </a:lnTo>
                      <a:lnTo>
                        <a:pt x="111" y="1024"/>
                      </a:lnTo>
                      <a:lnTo>
                        <a:pt x="110" y="1024"/>
                      </a:lnTo>
                      <a:lnTo>
                        <a:pt x="108" y="1019"/>
                      </a:lnTo>
                      <a:lnTo>
                        <a:pt x="106" y="1019"/>
                      </a:lnTo>
                      <a:lnTo>
                        <a:pt x="105" y="1017"/>
                      </a:lnTo>
                      <a:lnTo>
                        <a:pt x="104" y="1016"/>
                      </a:lnTo>
                      <a:lnTo>
                        <a:pt x="103" y="1015"/>
                      </a:lnTo>
                      <a:lnTo>
                        <a:pt x="103" y="1014"/>
                      </a:lnTo>
                      <a:lnTo>
                        <a:pt x="101" y="1013"/>
                      </a:lnTo>
                      <a:lnTo>
                        <a:pt x="100" y="1012"/>
                      </a:lnTo>
                      <a:lnTo>
                        <a:pt x="99" y="1009"/>
                      </a:lnTo>
                      <a:lnTo>
                        <a:pt x="98" y="1008"/>
                      </a:lnTo>
                      <a:lnTo>
                        <a:pt x="97" y="1008"/>
                      </a:lnTo>
                      <a:lnTo>
                        <a:pt x="96" y="1006"/>
                      </a:lnTo>
                      <a:lnTo>
                        <a:pt x="93" y="1004"/>
                      </a:lnTo>
                      <a:lnTo>
                        <a:pt x="92" y="1002"/>
                      </a:lnTo>
                      <a:lnTo>
                        <a:pt x="91" y="1001"/>
                      </a:lnTo>
                      <a:lnTo>
                        <a:pt x="90" y="1000"/>
                      </a:lnTo>
                      <a:lnTo>
                        <a:pt x="89" y="998"/>
                      </a:lnTo>
                      <a:lnTo>
                        <a:pt x="89" y="996"/>
                      </a:lnTo>
                      <a:lnTo>
                        <a:pt x="90" y="998"/>
                      </a:lnTo>
                      <a:lnTo>
                        <a:pt x="91" y="998"/>
                      </a:lnTo>
                      <a:lnTo>
                        <a:pt x="91" y="999"/>
                      </a:lnTo>
                      <a:lnTo>
                        <a:pt x="92" y="998"/>
                      </a:lnTo>
                      <a:lnTo>
                        <a:pt x="92" y="999"/>
                      </a:lnTo>
                      <a:lnTo>
                        <a:pt x="93" y="999"/>
                      </a:lnTo>
                      <a:lnTo>
                        <a:pt x="95" y="999"/>
                      </a:lnTo>
                      <a:lnTo>
                        <a:pt x="95" y="998"/>
                      </a:lnTo>
                      <a:lnTo>
                        <a:pt x="96" y="998"/>
                      </a:lnTo>
                      <a:lnTo>
                        <a:pt x="96" y="999"/>
                      </a:lnTo>
                      <a:lnTo>
                        <a:pt x="97" y="999"/>
                      </a:lnTo>
                      <a:lnTo>
                        <a:pt x="98" y="1000"/>
                      </a:lnTo>
                      <a:lnTo>
                        <a:pt x="99" y="1000"/>
                      </a:lnTo>
                      <a:lnTo>
                        <a:pt x="100" y="999"/>
                      </a:lnTo>
                      <a:lnTo>
                        <a:pt x="101" y="999"/>
                      </a:lnTo>
                      <a:lnTo>
                        <a:pt x="102" y="999"/>
                      </a:lnTo>
                      <a:lnTo>
                        <a:pt x="103" y="1000"/>
                      </a:lnTo>
                      <a:lnTo>
                        <a:pt x="104" y="1000"/>
                      </a:lnTo>
                      <a:lnTo>
                        <a:pt x="105" y="1000"/>
                      </a:lnTo>
                      <a:lnTo>
                        <a:pt x="108" y="1000"/>
                      </a:lnTo>
                      <a:lnTo>
                        <a:pt x="109" y="1000"/>
                      </a:lnTo>
                      <a:lnTo>
                        <a:pt x="110" y="1000"/>
                      </a:lnTo>
                      <a:lnTo>
                        <a:pt x="110" y="999"/>
                      </a:lnTo>
                      <a:lnTo>
                        <a:pt x="110" y="998"/>
                      </a:lnTo>
                      <a:lnTo>
                        <a:pt x="111" y="998"/>
                      </a:lnTo>
                      <a:lnTo>
                        <a:pt x="112" y="998"/>
                      </a:lnTo>
                      <a:lnTo>
                        <a:pt x="115" y="998"/>
                      </a:lnTo>
                      <a:lnTo>
                        <a:pt x="117" y="998"/>
                      </a:lnTo>
                      <a:lnTo>
                        <a:pt x="118" y="996"/>
                      </a:lnTo>
                      <a:lnTo>
                        <a:pt x="119" y="995"/>
                      </a:lnTo>
                      <a:lnTo>
                        <a:pt x="119" y="994"/>
                      </a:lnTo>
                      <a:lnTo>
                        <a:pt x="121" y="993"/>
                      </a:lnTo>
                      <a:lnTo>
                        <a:pt x="121" y="992"/>
                      </a:lnTo>
                      <a:lnTo>
                        <a:pt x="121" y="991"/>
                      </a:lnTo>
                      <a:lnTo>
                        <a:pt x="121" y="990"/>
                      </a:lnTo>
                      <a:lnTo>
                        <a:pt x="121" y="989"/>
                      </a:lnTo>
                      <a:lnTo>
                        <a:pt x="122" y="989"/>
                      </a:lnTo>
                      <a:lnTo>
                        <a:pt x="124" y="987"/>
                      </a:lnTo>
                      <a:lnTo>
                        <a:pt x="125" y="987"/>
                      </a:lnTo>
                      <a:lnTo>
                        <a:pt x="127" y="986"/>
                      </a:lnTo>
                      <a:lnTo>
                        <a:pt x="127" y="984"/>
                      </a:lnTo>
                      <a:lnTo>
                        <a:pt x="128" y="983"/>
                      </a:lnTo>
                      <a:lnTo>
                        <a:pt x="129" y="982"/>
                      </a:lnTo>
                      <a:lnTo>
                        <a:pt x="129" y="981"/>
                      </a:lnTo>
                      <a:lnTo>
                        <a:pt x="129" y="978"/>
                      </a:lnTo>
                      <a:lnTo>
                        <a:pt x="129" y="976"/>
                      </a:lnTo>
                      <a:lnTo>
                        <a:pt x="129" y="974"/>
                      </a:lnTo>
                      <a:lnTo>
                        <a:pt x="129" y="973"/>
                      </a:lnTo>
                      <a:lnTo>
                        <a:pt x="130" y="971"/>
                      </a:lnTo>
                      <a:lnTo>
                        <a:pt x="131" y="970"/>
                      </a:lnTo>
                      <a:lnTo>
                        <a:pt x="131" y="969"/>
                      </a:lnTo>
                      <a:lnTo>
                        <a:pt x="132" y="967"/>
                      </a:lnTo>
                      <a:lnTo>
                        <a:pt x="132" y="966"/>
                      </a:lnTo>
                      <a:lnTo>
                        <a:pt x="132" y="965"/>
                      </a:lnTo>
                      <a:lnTo>
                        <a:pt x="132" y="963"/>
                      </a:lnTo>
                      <a:lnTo>
                        <a:pt x="135" y="962"/>
                      </a:lnTo>
                      <a:lnTo>
                        <a:pt x="136" y="961"/>
                      </a:lnTo>
                      <a:lnTo>
                        <a:pt x="138" y="961"/>
                      </a:lnTo>
                      <a:lnTo>
                        <a:pt x="139" y="960"/>
                      </a:lnTo>
                      <a:lnTo>
                        <a:pt x="140" y="960"/>
                      </a:lnTo>
                      <a:lnTo>
                        <a:pt x="141" y="960"/>
                      </a:lnTo>
                      <a:lnTo>
                        <a:pt x="141" y="958"/>
                      </a:lnTo>
                      <a:lnTo>
                        <a:pt x="143" y="957"/>
                      </a:lnTo>
                      <a:lnTo>
                        <a:pt x="143" y="956"/>
                      </a:lnTo>
                      <a:lnTo>
                        <a:pt x="144" y="956"/>
                      </a:lnTo>
                      <a:lnTo>
                        <a:pt x="145" y="955"/>
                      </a:lnTo>
                      <a:lnTo>
                        <a:pt x="147" y="955"/>
                      </a:lnTo>
                      <a:lnTo>
                        <a:pt x="151" y="954"/>
                      </a:lnTo>
                      <a:lnTo>
                        <a:pt x="153" y="953"/>
                      </a:lnTo>
                      <a:lnTo>
                        <a:pt x="153" y="954"/>
                      </a:lnTo>
                      <a:lnTo>
                        <a:pt x="152" y="955"/>
                      </a:lnTo>
                      <a:lnTo>
                        <a:pt x="152" y="956"/>
                      </a:lnTo>
                      <a:lnTo>
                        <a:pt x="152" y="957"/>
                      </a:lnTo>
                      <a:lnTo>
                        <a:pt x="152" y="958"/>
                      </a:lnTo>
                      <a:lnTo>
                        <a:pt x="152" y="961"/>
                      </a:lnTo>
                      <a:lnTo>
                        <a:pt x="151" y="962"/>
                      </a:lnTo>
                      <a:lnTo>
                        <a:pt x="150" y="962"/>
                      </a:lnTo>
                      <a:lnTo>
                        <a:pt x="150" y="963"/>
                      </a:lnTo>
                      <a:lnTo>
                        <a:pt x="151" y="963"/>
                      </a:lnTo>
                      <a:lnTo>
                        <a:pt x="151" y="964"/>
                      </a:lnTo>
                      <a:lnTo>
                        <a:pt x="151" y="965"/>
                      </a:lnTo>
                      <a:lnTo>
                        <a:pt x="151" y="966"/>
                      </a:lnTo>
                      <a:lnTo>
                        <a:pt x="151" y="967"/>
                      </a:lnTo>
                      <a:lnTo>
                        <a:pt x="151" y="968"/>
                      </a:lnTo>
                      <a:lnTo>
                        <a:pt x="152" y="968"/>
                      </a:lnTo>
                      <a:lnTo>
                        <a:pt x="153" y="968"/>
                      </a:lnTo>
                      <a:lnTo>
                        <a:pt x="154" y="969"/>
                      </a:lnTo>
                      <a:lnTo>
                        <a:pt x="154" y="970"/>
                      </a:lnTo>
                      <a:lnTo>
                        <a:pt x="155" y="973"/>
                      </a:lnTo>
                      <a:lnTo>
                        <a:pt x="156" y="973"/>
                      </a:lnTo>
                      <a:lnTo>
                        <a:pt x="157" y="975"/>
                      </a:lnTo>
                      <a:lnTo>
                        <a:pt x="158" y="976"/>
                      </a:lnTo>
                      <a:lnTo>
                        <a:pt x="158" y="977"/>
                      </a:lnTo>
                      <a:lnTo>
                        <a:pt x="160" y="978"/>
                      </a:lnTo>
                      <a:lnTo>
                        <a:pt x="160" y="979"/>
                      </a:lnTo>
                      <a:lnTo>
                        <a:pt x="160" y="980"/>
                      </a:lnTo>
                      <a:lnTo>
                        <a:pt x="160" y="981"/>
                      </a:lnTo>
                      <a:lnTo>
                        <a:pt x="161" y="982"/>
                      </a:lnTo>
                      <a:lnTo>
                        <a:pt x="161" y="983"/>
                      </a:lnTo>
                      <a:lnTo>
                        <a:pt x="161" y="984"/>
                      </a:lnTo>
                      <a:lnTo>
                        <a:pt x="162" y="984"/>
                      </a:lnTo>
                      <a:lnTo>
                        <a:pt x="163" y="986"/>
                      </a:lnTo>
                      <a:lnTo>
                        <a:pt x="165" y="987"/>
                      </a:lnTo>
                      <a:lnTo>
                        <a:pt x="166" y="988"/>
                      </a:lnTo>
                      <a:lnTo>
                        <a:pt x="166" y="989"/>
                      </a:lnTo>
                      <a:lnTo>
                        <a:pt x="166" y="990"/>
                      </a:lnTo>
                      <a:lnTo>
                        <a:pt x="166" y="991"/>
                      </a:lnTo>
                      <a:lnTo>
                        <a:pt x="167" y="991"/>
                      </a:lnTo>
                      <a:lnTo>
                        <a:pt x="168" y="993"/>
                      </a:lnTo>
                      <a:lnTo>
                        <a:pt x="169" y="993"/>
                      </a:lnTo>
                      <a:lnTo>
                        <a:pt x="170" y="993"/>
                      </a:lnTo>
                      <a:lnTo>
                        <a:pt x="172" y="992"/>
                      </a:lnTo>
                      <a:lnTo>
                        <a:pt x="173" y="993"/>
                      </a:lnTo>
                      <a:lnTo>
                        <a:pt x="174" y="994"/>
                      </a:lnTo>
                      <a:lnTo>
                        <a:pt x="174" y="996"/>
                      </a:lnTo>
                      <a:lnTo>
                        <a:pt x="175" y="998"/>
                      </a:lnTo>
                      <a:lnTo>
                        <a:pt x="175" y="999"/>
                      </a:lnTo>
                      <a:lnTo>
                        <a:pt x="175" y="1000"/>
                      </a:lnTo>
                      <a:lnTo>
                        <a:pt x="176" y="1000"/>
                      </a:lnTo>
                      <a:lnTo>
                        <a:pt x="177" y="1000"/>
                      </a:lnTo>
                      <a:lnTo>
                        <a:pt x="178" y="1000"/>
                      </a:lnTo>
                      <a:lnTo>
                        <a:pt x="179" y="1001"/>
                      </a:lnTo>
                      <a:lnTo>
                        <a:pt x="180" y="1003"/>
                      </a:lnTo>
                      <a:lnTo>
                        <a:pt x="181" y="1003"/>
                      </a:lnTo>
                      <a:lnTo>
                        <a:pt x="182" y="1003"/>
                      </a:lnTo>
                      <a:lnTo>
                        <a:pt x="183" y="1002"/>
                      </a:lnTo>
                      <a:lnTo>
                        <a:pt x="183" y="1001"/>
                      </a:lnTo>
                      <a:lnTo>
                        <a:pt x="182" y="1000"/>
                      </a:lnTo>
                      <a:lnTo>
                        <a:pt x="181" y="1000"/>
                      </a:lnTo>
                      <a:lnTo>
                        <a:pt x="180" y="998"/>
                      </a:lnTo>
                      <a:lnTo>
                        <a:pt x="180" y="996"/>
                      </a:lnTo>
                      <a:lnTo>
                        <a:pt x="181" y="996"/>
                      </a:lnTo>
                      <a:lnTo>
                        <a:pt x="181" y="998"/>
                      </a:lnTo>
                      <a:lnTo>
                        <a:pt x="182" y="998"/>
                      </a:lnTo>
                      <a:lnTo>
                        <a:pt x="182" y="999"/>
                      </a:lnTo>
                      <a:lnTo>
                        <a:pt x="182" y="998"/>
                      </a:lnTo>
                      <a:lnTo>
                        <a:pt x="182" y="996"/>
                      </a:lnTo>
                      <a:lnTo>
                        <a:pt x="182" y="995"/>
                      </a:lnTo>
                      <a:lnTo>
                        <a:pt x="183" y="994"/>
                      </a:lnTo>
                      <a:lnTo>
                        <a:pt x="185" y="993"/>
                      </a:lnTo>
                      <a:lnTo>
                        <a:pt x="186" y="993"/>
                      </a:lnTo>
                      <a:lnTo>
                        <a:pt x="186" y="992"/>
                      </a:lnTo>
                      <a:lnTo>
                        <a:pt x="187" y="992"/>
                      </a:lnTo>
                      <a:lnTo>
                        <a:pt x="187" y="991"/>
                      </a:lnTo>
                      <a:lnTo>
                        <a:pt x="188" y="991"/>
                      </a:lnTo>
                      <a:lnTo>
                        <a:pt x="189" y="991"/>
                      </a:lnTo>
                      <a:lnTo>
                        <a:pt x="190" y="991"/>
                      </a:lnTo>
                      <a:lnTo>
                        <a:pt x="189" y="991"/>
                      </a:lnTo>
                      <a:lnTo>
                        <a:pt x="189" y="990"/>
                      </a:lnTo>
                      <a:lnTo>
                        <a:pt x="188" y="990"/>
                      </a:lnTo>
                      <a:lnTo>
                        <a:pt x="189" y="989"/>
                      </a:lnTo>
                      <a:lnTo>
                        <a:pt x="190" y="989"/>
                      </a:lnTo>
                      <a:lnTo>
                        <a:pt x="191" y="988"/>
                      </a:lnTo>
                      <a:lnTo>
                        <a:pt x="191" y="987"/>
                      </a:lnTo>
                      <a:lnTo>
                        <a:pt x="192" y="987"/>
                      </a:lnTo>
                      <a:lnTo>
                        <a:pt x="192" y="986"/>
                      </a:lnTo>
                      <a:lnTo>
                        <a:pt x="193" y="987"/>
                      </a:lnTo>
                      <a:lnTo>
                        <a:pt x="195" y="987"/>
                      </a:lnTo>
                      <a:lnTo>
                        <a:pt x="196" y="988"/>
                      </a:lnTo>
                      <a:lnTo>
                        <a:pt x="198" y="989"/>
                      </a:lnTo>
                      <a:lnTo>
                        <a:pt x="199" y="990"/>
                      </a:lnTo>
                      <a:lnTo>
                        <a:pt x="199" y="991"/>
                      </a:lnTo>
                      <a:lnTo>
                        <a:pt x="198" y="992"/>
                      </a:lnTo>
                      <a:lnTo>
                        <a:pt x="196" y="993"/>
                      </a:lnTo>
                      <a:lnTo>
                        <a:pt x="195" y="995"/>
                      </a:lnTo>
                      <a:lnTo>
                        <a:pt x="194" y="998"/>
                      </a:lnTo>
                      <a:lnTo>
                        <a:pt x="194" y="999"/>
                      </a:lnTo>
                      <a:lnTo>
                        <a:pt x="194" y="1000"/>
                      </a:lnTo>
                      <a:lnTo>
                        <a:pt x="193" y="1002"/>
                      </a:lnTo>
                      <a:lnTo>
                        <a:pt x="193" y="1003"/>
                      </a:lnTo>
                      <a:lnTo>
                        <a:pt x="194" y="1004"/>
                      </a:lnTo>
                      <a:lnTo>
                        <a:pt x="193" y="1005"/>
                      </a:lnTo>
                      <a:lnTo>
                        <a:pt x="193" y="1006"/>
                      </a:lnTo>
                      <a:lnTo>
                        <a:pt x="193" y="1007"/>
                      </a:lnTo>
                      <a:lnTo>
                        <a:pt x="193" y="1008"/>
                      </a:lnTo>
                      <a:lnTo>
                        <a:pt x="194" y="1011"/>
                      </a:lnTo>
                      <a:lnTo>
                        <a:pt x="194" y="1013"/>
                      </a:lnTo>
                      <a:lnTo>
                        <a:pt x="194" y="1014"/>
                      </a:lnTo>
                      <a:lnTo>
                        <a:pt x="192" y="1018"/>
                      </a:lnTo>
                      <a:lnTo>
                        <a:pt x="192" y="1019"/>
                      </a:lnTo>
                      <a:lnTo>
                        <a:pt x="192" y="1020"/>
                      </a:lnTo>
                      <a:lnTo>
                        <a:pt x="191" y="1021"/>
                      </a:lnTo>
                      <a:lnTo>
                        <a:pt x="192" y="1021"/>
                      </a:lnTo>
                      <a:lnTo>
                        <a:pt x="192" y="1022"/>
                      </a:lnTo>
                      <a:lnTo>
                        <a:pt x="191" y="1022"/>
                      </a:lnTo>
                      <a:lnTo>
                        <a:pt x="190" y="1024"/>
                      </a:lnTo>
                      <a:lnTo>
                        <a:pt x="189" y="1024"/>
                      </a:lnTo>
                      <a:lnTo>
                        <a:pt x="188" y="1024"/>
                      </a:lnTo>
                      <a:lnTo>
                        <a:pt x="187" y="1021"/>
                      </a:lnTo>
                      <a:lnTo>
                        <a:pt x="186" y="1022"/>
                      </a:lnTo>
                      <a:lnTo>
                        <a:pt x="186" y="1025"/>
                      </a:lnTo>
                      <a:lnTo>
                        <a:pt x="187" y="1025"/>
                      </a:lnTo>
                      <a:lnTo>
                        <a:pt x="188" y="1025"/>
                      </a:lnTo>
                      <a:lnTo>
                        <a:pt x="189" y="1026"/>
                      </a:lnTo>
                      <a:lnTo>
                        <a:pt x="190" y="1026"/>
                      </a:lnTo>
                      <a:lnTo>
                        <a:pt x="191" y="1026"/>
                      </a:lnTo>
                      <a:lnTo>
                        <a:pt x="192" y="1027"/>
                      </a:lnTo>
                      <a:lnTo>
                        <a:pt x="193" y="1028"/>
                      </a:lnTo>
                      <a:lnTo>
                        <a:pt x="194" y="1028"/>
                      </a:lnTo>
                      <a:lnTo>
                        <a:pt x="195" y="1029"/>
                      </a:lnTo>
                      <a:lnTo>
                        <a:pt x="195" y="1030"/>
                      </a:lnTo>
                      <a:lnTo>
                        <a:pt x="196" y="1032"/>
                      </a:lnTo>
                      <a:lnTo>
                        <a:pt x="198" y="1032"/>
                      </a:lnTo>
                      <a:lnTo>
                        <a:pt x="199" y="1032"/>
                      </a:lnTo>
                      <a:lnTo>
                        <a:pt x="202" y="1033"/>
                      </a:lnTo>
                      <a:lnTo>
                        <a:pt x="203" y="1033"/>
                      </a:lnTo>
                      <a:lnTo>
                        <a:pt x="203" y="1034"/>
                      </a:lnTo>
                      <a:lnTo>
                        <a:pt x="204" y="1035"/>
                      </a:lnTo>
                      <a:lnTo>
                        <a:pt x="203" y="1035"/>
                      </a:lnTo>
                      <a:lnTo>
                        <a:pt x="203" y="1034"/>
                      </a:lnTo>
                      <a:lnTo>
                        <a:pt x="202" y="1034"/>
                      </a:lnTo>
                      <a:lnTo>
                        <a:pt x="201" y="1034"/>
                      </a:lnTo>
                      <a:lnTo>
                        <a:pt x="200" y="1034"/>
                      </a:lnTo>
                      <a:lnTo>
                        <a:pt x="199" y="1034"/>
                      </a:lnTo>
                      <a:lnTo>
                        <a:pt x="198" y="1034"/>
                      </a:lnTo>
                      <a:lnTo>
                        <a:pt x="196" y="1035"/>
                      </a:lnTo>
                      <a:lnTo>
                        <a:pt x="196" y="1037"/>
                      </a:lnTo>
                      <a:lnTo>
                        <a:pt x="195" y="1038"/>
                      </a:lnTo>
                      <a:lnTo>
                        <a:pt x="195" y="1039"/>
                      </a:lnTo>
                      <a:lnTo>
                        <a:pt x="194" y="1040"/>
                      </a:lnTo>
                      <a:lnTo>
                        <a:pt x="194" y="1041"/>
                      </a:lnTo>
                      <a:lnTo>
                        <a:pt x="193" y="1042"/>
                      </a:lnTo>
                      <a:lnTo>
                        <a:pt x="193" y="1043"/>
                      </a:lnTo>
                      <a:lnTo>
                        <a:pt x="193" y="1044"/>
                      </a:lnTo>
                      <a:lnTo>
                        <a:pt x="192" y="1045"/>
                      </a:lnTo>
                      <a:lnTo>
                        <a:pt x="192" y="1046"/>
                      </a:lnTo>
                      <a:lnTo>
                        <a:pt x="192" y="1047"/>
                      </a:lnTo>
                      <a:lnTo>
                        <a:pt x="193" y="1048"/>
                      </a:lnTo>
                      <a:lnTo>
                        <a:pt x="193" y="1050"/>
                      </a:lnTo>
                      <a:lnTo>
                        <a:pt x="194" y="1050"/>
                      </a:lnTo>
                      <a:lnTo>
                        <a:pt x="195" y="1050"/>
                      </a:lnTo>
                      <a:lnTo>
                        <a:pt x="196" y="1050"/>
                      </a:lnTo>
                      <a:lnTo>
                        <a:pt x="198" y="1050"/>
                      </a:lnTo>
                      <a:lnTo>
                        <a:pt x="198" y="1048"/>
                      </a:lnTo>
                      <a:lnTo>
                        <a:pt x="196" y="1048"/>
                      </a:lnTo>
                      <a:lnTo>
                        <a:pt x="195" y="1048"/>
                      </a:lnTo>
                      <a:lnTo>
                        <a:pt x="196" y="1046"/>
                      </a:lnTo>
                      <a:lnTo>
                        <a:pt x="196" y="1045"/>
                      </a:lnTo>
                      <a:lnTo>
                        <a:pt x="198" y="1045"/>
                      </a:lnTo>
                      <a:lnTo>
                        <a:pt x="199" y="1045"/>
                      </a:lnTo>
                      <a:lnTo>
                        <a:pt x="200" y="1045"/>
                      </a:lnTo>
                      <a:lnTo>
                        <a:pt x="202" y="1044"/>
                      </a:lnTo>
                      <a:lnTo>
                        <a:pt x="205" y="1044"/>
                      </a:lnTo>
                      <a:lnTo>
                        <a:pt x="206" y="1044"/>
                      </a:lnTo>
                      <a:lnTo>
                        <a:pt x="207" y="1044"/>
                      </a:lnTo>
                      <a:lnTo>
                        <a:pt x="208" y="1043"/>
                      </a:lnTo>
                      <a:lnTo>
                        <a:pt x="208" y="1042"/>
                      </a:lnTo>
                      <a:lnTo>
                        <a:pt x="208" y="1041"/>
                      </a:lnTo>
                      <a:lnTo>
                        <a:pt x="208" y="1039"/>
                      </a:lnTo>
                      <a:lnTo>
                        <a:pt x="209" y="1038"/>
                      </a:lnTo>
                      <a:lnTo>
                        <a:pt x="211" y="1038"/>
                      </a:lnTo>
                      <a:lnTo>
                        <a:pt x="211" y="1039"/>
                      </a:lnTo>
                      <a:lnTo>
                        <a:pt x="213" y="1039"/>
                      </a:lnTo>
                      <a:lnTo>
                        <a:pt x="214" y="1039"/>
                      </a:lnTo>
                      <a:lnTo>
                        <a:pt x="214" y="1040"/>
                      </a:lnTo>
                      <a:lnTo>
                        <a:pt x="215" y="1040"/>
                      </a:lnTo>
                      <a:lnTo>
                        <a:pt x="215" y="1041"/>
                      </a:lnTo>
                      <a:lnTo>
                        <a:pt x="216" y="1041"/>
                      </a:lnTo>
                      <a:lnTo>
                        <a:pt x="216" y="1042"/>
                      </a:lnTo>
                      <a:lnTo>
                        <a:pt x="217" y="1042"/>
                      </a:lnTo>
                      <a:lnTo>
                        <a:pt x="217" y="1041"/>
                      </a:lnTo>
                      <a:lnTo>
                        <a:pt x="217" y="1040"/>
                      </a:lnTo>
                      <a:lnTo>
                        <a:pt x="218" y="1040"/>
                      </a:lnTo>
                      <a:lnTo>
                        <a:pt x="219" y="1040"/>
                      </a:lnTo>
                      <a:lnTo>
                        <a:pt x="220" y="1040"/>
                      </a:lnTo>
                      <a:lnTo>
                        <a:pt x="221" y="1040"/>
                      </a:lnTo>
                      <a:lnTo>
                        <a:pt x="222" y="1039"/>
                      </a:lnTo>
                      <a:lnTo>
                        <a:pt x="222" y="1038"/>
                      </a:lnTo>
                      <a:lnTo>
                        <a:pt x="224" y="1038"/>
                      </a:lnTo>
                      <a:lnTo>
                        <a:pt x="224" y="1037"/>
                      </a:lnTo>
                      <a:lnTo>
                        <a:pt x="224" y="1035"/>
                      </a:lnTo>
                      <a:lnTo>
                        <a:pt x="225" y="1035"/>
                      </a:lnTo>
                      <a:lnTo>
                        <a:pt x="225" y="1034"/>
                      </a:lnTo>
                      <a:lnTo>
                        <a:pt x="226" y="1034"/>
                      </a:lnTo>
                      <a:lnTo>
                        <a:pt x="226" y="1033"/>
                      </a:lnTo>
                      <a:lnTo>
                        <a:pt x="226" y="1032"/>
                      </a:lnTo>
                      <a:lnTo>
                        <a:pt x="226" y="1033"/>
                      </a:lnTo>
                      <a:lnTo>
                        <a:pt x="226" y="1032"/>
                      </a:lnTo>
                      <a:lnTo>
                        <a:pt x="225" y="1032"/>
                      </a:lnTo>
                      <a:lnTo>
                        <a:pt x="225" y="1031"/>
                      </a:lnTo>
                      <a:lnTo>
                        <a:pt x="224" y="1031"/>
                      </a:lnTo>
                      <a:lnTo>
                        <a:pt x="225" y="1030"/>
                      </a:lnTo>
                      <a:lnTo>
                        <a:pt x="225" y="1028"/>
                      </a:lnTo>
                      <a:lnTo>
                        <a:pt x="225" y="1027"/>
                      </a:lnTo>
                      <a:lnTo>
                        <a:pt x="225" y="1026"/>
                      </a:lnTo>
                      <a:lnTo>
                        <a:pt x="224" y="1025"/>
                      </a:lnTo>
                      <a:lnTo>
                        <a:pt x="224" y="1024"/>
                      </a:lnTo>
                      <a:lnTo>
                        <a:pt x="224" y="1022"/>
                      </a:lnTo>
                      <a:lnTo>
                        <a:pt x="224" y="1021"/>
                      </a:lnTo>
                      <a:lnTo>
                        <a:pt x="221" y="1020"/>
                      </a:lnTo>
                      <a:lnTo>
                        <a:pt x="222" y="1019"/>
                      </a:lnTo>
                      <a:lnTo>
                        <a:pt x="224" y="1018"/>
                      </a:lnTo>
                      <a:lnTo>
                        <a:pt x="222" y="1019"/>
                      </a:lnTo>
                      <a:lnTo>
                        <a:pt x="221" y="1019"/>
                      </a:lnTo>
                      <a:lnTo>
                        <a:pt x="220" y="1019"/>
                      </a:lnTo>
                      <a:lnTo>
                        <a:pt x="220" y="1020"/>
                      </a:lnTo>
                      <a:lnTo>
                        <a:pt x="220" y="1021"/>
                      </a:lnTo>
                      <a:lnTo>
                        <a:pt x="221" y="1022"/>
                      </a:lnTo>
                      <a:lnTo>
                        <a:pt x="220" y="1022"/>
                      </a:lnTo>
                      <a:lnTo>
                        <a:pt x="219" y="1021"/>
                      </a:lnTo>
                      <a:lnTo>
                        <a:pt x="219" y="1020"/>
                      </a:lnTo>
                      <a:lnTo>
                        <a:pt x="218" y="1020"/>
                      </a:lnTo>
                      <a:lnTo>
                        <a:pt x="218" y="1019"/>
                      </a:lnTo>
                      <a:lnTo>
                        <a:pt x="217" y="1018"/>
                      </a:lnTo>
                      <a:lnTo>
                        <a:pt x="217" y="1017"/>
                      </a:lnTo>
                      <a:lnTo>
                        <a:pt x="216" y="1017"/>
                      </a:lnTo>
                      <a:lnTo>
                        <a:pt x="216" y="1016"/>
                      </a:lnTo>
                      <a:lnTo>
                        <a:pt x="217" y="1014"/>
                      </a:lnTo>
                      <a:lnTo>
                        <a:pt x="219" y="1014"/>
                      </a:lnTo>
                      <a:lnTo>
                        <a:pt x="220" y="1014"/>
                      </a:lnTo>
                      <a:lnTo>
                        <a:pt x="221" y="1014"/>
                      </a:lnTo>
                      <a:lnTo>
                        <a:pt x="222" y="1014"/>
                      </a:lnTo>
                      <a:lnTo>
                        <a:pt x="224" y="1014"/>
                      </a:lnTo>
                      <a:lnTo>
                        <a:pt x="225" y="1014"/>
                      </a:lnTo>
                      <a:lnTo>
                        <a:pt x="226" y="1014"/>
                      </a:lnTo>
                      <a:lnTo>
                        <a:pt x="227" y="1013"/>
                      </a:lnTo>
                      <a:lnTo>
                        <a:pt x="228" y="1013"/>
                      </a:lnTo>
                      <a:lnTo>
                        <a:pt x="228" y="1012"/>
                      </a:lnTo>
                      <a:lnTo>
                        <a:pt x="228" y="1011"/>
                      </a:lnTo>
                      <a:lnTo>
                        <a:pt x="228" y="1009"/>
                      </a:lnTo>
                      <a:lnTo>
                        <a:pt x="227" y="1009"/>
                      </a:lnTo>
                      <a:lnTo>
                        <a:pt x="226" y="1009"/>
                      </a:lnTo>
                      <a:lnTo>
                        <a:pt x="224" y="1007"/>
                      </a:lnTo>
                      <a:lnTo>
                        <a:pt x="222" y="1007"/>
                      </a:lnTo>
                      <a:lnTo>
                        <a:pt x="221" y="1006"/>
                      </a:lnTo>
                      <a:lnTo>
                        <a:pt x="222" y="1005"/>
                      </a:lnTo>
                      <a:lnTo>
                        <a:pt x="225" y="1003"/>
                      </a:lnTo>
                      <a:lnTo>
                        <a:pt x="225" y="1002"/>
                      </a:lnTo>
                      <a:lnTo>
                        <a:pt x="224" y="1002"/>
                      </a:lnTo>
                      <a:lnTo>
                        <a:pt x="224" y="1001"/>
                      </a:lnTo>
                      <a:lnTo>
                        <a:pt x="225" y="1001"/>
                      </a:lnTo>
                      <a:lnTo>
                        <a:pt x="225" y="1000"/>
                      </a:lnTo>
                      <a:lnTo>
                        <a:pt x="225" y="999"/>
                      </a:lnTo>
                      <a:lnTo>
                        <a:pt x="225" y="998"/>
                      </a:lnTo>
                      <a:lnTo>
                        <a:pt x="224" y="995"/>
                      </a:lnTo>
                      <a:lnTo>
                        <a:pt x="224" y="993"/>
                      </a:lnTo>
                      <a:lnTo>
                        <a:pt x="224" y="991"/>
                      </a:lnTo>
                      <a:lnTo>
                        <a:pt x="222" y="990"/>
                      </a:lnTo>
                      <a:lnTo>
                        <a:pt x="221" y="989"/>
                      </a:lnTo>
                      <a:lnTo>
                        <a:pt x="220" y="989"/>
                      </a:lnTo>
                      <a:lnTo>
                        <a:pt x="220" y="988"/>
                      </a:lnTo>
                      <a:lnTo>
                        <a:pt x="221" y="986"/>
                      </a:lnTo>
                      <a:lnTo>
                        <a:pt x="221" y="983"/>
                      </a:lnTo>
                      <a:lnTo>
                        <a:pt x="220" y="981"/>
                      </a:lnTo>
                      <a:lnTo>
                        <a:pt x="220" y="980"/>
                      </a:lnTo>
                      <a:lnTo>
                        <a:pt x="219" y="979"/>
                      </a:lnTo>
                      <a:lnTo>
                        <a:pt x="219" y="978"/>
                      </a:lnTo>
                      <a:lnTo>
                        <a:pt x="218" y="977"/>
                      </a:lnTo>
                      <a:lnTo>
                        <a:pt x="217" y="976"/>
                      </a:lnTo>
                      <a:lnTo>
                        <a:pt x="216" y="975"/>
                      </a:lnTo>
                      <a:lnTo>
                        <a:pt x="215" y="974"/>
                      </a:lnTo>
                      <a:lnTo>
                        <a:pt x="213" y="974"/>
                      </a:lnTo>
                      <a:lnTo>
                        <a:pt x="211" y="973"/>
                      </a:lnTo>
                      <a:lnTo>
                        <a:pt x="209" y="973"/>
                      </a:lnTo>
                      <a:lnTo>
                        <a:pt x="208" y="973"/>
                      </a:lnTo>
                      <a:lnTo>
                        <a:pt x="206" y="973"/>
                      </a:lnTo>
                      <a:lnTo>
                        <a:pt x="205" y="971"/>
                      </a:lnTo>
                      <a:lnTo>
                        <a:pt x="205" y="969"/>
                      </a:lnTo>
                      <a:lnTo>
                        <a:pt x="205" y="968"/>
                      </a:lnTo>
                      <a:lnTo>
                        <a:pt x="204" y="968"/>
                      </a:lnTo>
                      <a:lnTo>
                        <a:pt x="204" y="967"/>
                      </a:lnTo>
                      <a:lnTo>
                        <a:pt x="205" y="967"/>
                      </a:lnTo>
                      <a:lnTo>
                        <a:pt x="206" y="967"/>
                      </a:lnTo>
                      <a:lnTo>
                        <a:pt x="207" y="967"/>
                      </a:lnTo>
                      <a:lnTo>
                        <a:pt x="208" y="967"/>
                      </a:lnTo>
                      <a:lnTo>
                        <a:pt x="208" y="968"/>
                      </a:lnTo>
                      <a:lnTo>
                        <a:pt x="209" y="968"/>
                      </a:lnTo>
                      <a:lnTo>
                        <a:pt x="209" y="969"/>
                      </a:lnTo>
                      <a:lnTo>
                        <a:pt x="211" y="970"/>
                      </a:lnTo>
                      <a:lnTo>
                        <a:pt x="211" y="969"/>
                      </a:lnTo>
                      <a:lnTo>
                        <a:pt x="209" y="969"/>
                      </a:lnTo>
                      <a:lnTo>
                        <a:pt x="209" y="968"/>
                      </a:lnTo>
                      <a:lnTo>
                        <a:pt x="209" y="967"/>
                      </a:lnTo>
                      <a:lnTo>
                        <a:pt x="208" y="967"/>
                      </a:lnTo>
                      <a:lnTo>
                        <a:pt x="206" y="966"/>
                      </a:lnTo>
                      <a:lnTo>
                        <a:pt x="205" y="966"/>
                      </a:lnTo>
                      <a:lnTo>
                        <a:pt x="204" y="965"/>
                      </a:lnTo>
                      <a:lnTo>
                        <a:pt x="204" y="964"/>
                      </a:lnTo>
                      <a:lnTo>
                        <a:pt x="203" y="964"/>
                      </a:lnTo>
                      <a:lnTo>
                        <a:pt x="203" y="963"/>
                      </a:lnTo>
                      <a:lnTo>
                        <a:pt x="202" y="963"/>
                      </a:lnTo>
                      <a:lnTo>
                        <a:pt x="201" y="962"/>
                      </a:lnTo>
                      <a:lnTo>
                        <a:pt x="200" y="961"/>
                      </a:lnTo>
                      <a:lnTo>
                        <a:pt x="199" y="961"/>
                      </a:lnTo>
                      <a:lnTo>
                        <a:pt x="198" y="960"/>
                      </a:lnTo>
                      <a:lnTo>
                        <a:pt x="196" y="961"/>
                      </a:lnTo>
                      <a:lnTo>
                        <a:pt x="196" y="960"/>
                      </a:lnTo>
                      <a:lnTo>
                        <a:pt x="195" y="960"/>
                      </a:lnTo>
                      <a:lnTo>
                        <a:pt x="194" y="960"/>
                      </a:lnTo>
                      <a:lnTo>
                        <a:pt x="193" y="960"/>
                      </a:lnTo>
                      <a:lnTo>
                        <a:pt x="192" y="960"/>
                      </a:lnTo>
                      <a:lnTo>
                        <a:pt x="191" y="958"/>
                      </a:lnTo>
                      <a:lnTo>
                        <a:pt x="191" y="960"/>
                      </a:lnTo>
                      <a:lnTo>
                        <a:pt x="190" y="960"/>
                      </a:lnTo>
                      <a:lnTo>
                        <a:pt x="189" y="960"/>
                      </a:lnTo>
                      <a:lnTo>
                        <a:pt x="189" y="957"/>
                      </a:lnTo>
                      <a:lnTo>
                        <a:pt x="189" y="956"/>
                      </a:lnTo>
                      <a:lnTo>
                        <a:pt x="185" y="955"/>
                      </a:lnTo>
                      <a:lnTo>
                        <a:pt x="182" y="954"/>
                      </a:lnTo>
                      <a:lnTo>
                        <a:pt x="179" y="954"/>
                      </a:lnTo>
                      <a:lnTo>
                        <a:pt x="178" y="952"/>
                      </a:lnTo>
                      <a:lnTo>
                        <a:pt x="178" y="951"/>
                      </a:lnTo>
                      <a:lnTo>
                        <a:pt x="177" y="951"/>
                      </a:lnTo>
                      <a:lnTo>
                        <a:pt x="176" y="951"/>
                      </a:lnTo>
                      <a:lnTo>
                        <a:pt x="176" y="950"/>
                      </a:lnTo>
                      <a:lnTo>
                        <a:pt x="177" y="948"/>
                      </a:lnTo>
                      <a:lnTo>
                        <a:pt x="177" y="945"/>
                      </a:lnTo>
                      <a:lnTo>
                        <a:pt x="176" y="944"/>
                      </a:lnTo>
                      <a:lnTo>
                        <a:pt x="176" y="943"/>
                      </a:lnTo>
                      <a:lnTo>
                        <a:pt x="176" y="942"/>
                      </a:lnTo>
                      <a:lnTo>
                        <a:pt x="175" y="942"/>
                      </a:lnTo>
                      <a:lnTo>
                        <a:pt x="175" y="940"/>
                      </a:lnTo>
                      <a:lnTo>
                        <a:pt x="174" y="940"/>
                      </a:lnTo>
                      <a:lnTo>
                        <a:pt x="173" y="939"/>
                      </a:lnTo>
                      <a:lnTo>
                        <a:pt x="173" y="938"/>
                      </a:lnTo>
                      <a:lnTo>
                        <a:pt x="172" y="937"/>
                      </a:lnTo>
                      <a:lnTo>
                        <a:pt x="169" y="937"/>
                      </a:lnTo>
                      <a:lnTo>
                        <a:pt x="168" y="937"/>
                      </a:lnTo>
                      <a:lnTo>
                        <a:pt x="167" y="936"/>
                      </a:lnTo>
                      <a:lnTo>
                        <a:pt x="166" y="936"/>
                      </a:lnTo>
                      <a:lnTo>
                        <a:pt x="164" y="936"/>
                      </a:lnTo>
                      <a:lnTo>
                        <a:pt x="163" y="936"/>
                      </a:lnTo>
                      <a:lnTo>
                        <a:pt x="163" y="935"/>
                      </a:lnTo>
                      <a:lnTo>
                        <a:pt x="163" y="934"/>
                      </a:lnTo>
                      <a:lnTo>
                        <a:pt x="163" y="930"/>
                      </a:lnTo>
                      <a:lnTo>
                        <a:pt x="164" y="929"/>
                      </a:lnTo>
                      <a:lnTo>
                        <a:pt x="164" y="928"/>
                      </a:lnTo>
                      <a:lnTo>
                        <a:pt x="165" y="928"/>
                      </a:lnTo>
                      <a:lnTo>
                        <a:pt x="166" y="928"/>
                      </a:lnTo>
                      <a:lnTo>
                        <a:pt x="167" y="929"/>
                      </a:lnTo>
                      <a:lnTo>
                        <a:pt x="167" y="928"/>
                      </a:lnTo>
                      <a:lnTo>
                        <a:pt x="167" y="926"/>
                      </a:lnTo>
                      <a:lnTo>
                        <a:pt x="166" y="925"/>
                      </a:lnTo>
                      <a:lnTo>
                        <a:pt x="166" y="924"/>
                      </a:lnTo>
                      <a:lnTo>
                        <a:pt x="166" y="923"/>
                      </a:lnTo>
                      <a:lnTo>
                        <a:pt x="168" y="923"/>
                      </a:lnTo>
                      <a:lnTo>
                        <a:pt x="168" y="922"/>
                      </a:lnTo>
                      <a:lnTo>
                        <a:pt x="169" y="922"/>
                      </a:lnTo>
                      <a:lnTo>
                        <a:pt x="169" y="921"/>
                      </a:lnTo>
                      <a:lnTo>
                        <a:pt x="168" y="921"/>
                      </a:lnTo>
                      <a:lnTo>
                        <a:pt x="168" y="919"/>
                      </a:lnTo>
                      <a:lnTo>
                        <a:pt x="168" y="918"/>
                      </a:lnTo>
                      <a:lnTo>
                        <a:pt x="168" y="917"/>
                      </a:lnTo>
                      <a:lnTo>
                        <a:pt x="167" y="916"/>
                      </a:lnTo>
                      <a:lnTo>
                        <a:pt x="166" y="914"/>
                      </a:lnTo>
                      <a:lnTo>
                        <a:pt x="166" y="913"/>
                      </a:lnTo>
                      <a:lnTo>
                        <a:pt x="165" y="913"/>
                      </a:lnTo>
                      <a:lnTo>
                        <a:pt x="165" y="912"/>
                      </a:lnTo>
                      <a:lnTo>
                        <a:pt x="165" y="911"/>
                      </a:lnTo>
                      <a:lnTo>
                        <a:pt x="165" y="910"/>
                      </a:lnTo>
                      <a:lnTo>
                        <a:pt x="165" y="909"/>
                      </a:lnTo>
                      <a:lnTo>
                        <a:pt x="164" y="909"/>
                      </a:lnTo>
                      <a:lnTo>
                        <a:pt x="163" y="907"/>
                      </a:lnTo>
                      <a:lnTo>
                        <a:pt x="162" y="907"/>
                      </a:lnTo>
                      <a:lnTo>
                        <a:pt x="161" y="907"/>
                      </a:lnTo>
                      <a:lnTo>
                        <a:pt x="160" y="907"/>
                      </a:lnTo>
                      <a:lnTo>
                        <a:pt x="158" y="907"/>
                      </a:lnTo>
                      <a:lnTo>
                        <a:pt x="157" y="907"/>
                      </a:lnTo>
                      <a:lnTo>
                        <a:pt x="156" y="907"/>
                      </a:lnTo>
                      <a:lnTo>
                        <a:pt x="155" y="907"/>
                      </a:lnTo>
                      <a:lnTo>
                        <a:pt x="154" y="907"/>
                      </a:lnTo>
                      <a:lnTo>
                        <a:pt x="153" y="906"/>
                      </a:lnTo>
                      <a:lnTo>
                        <a:pt x="152" y="906"/>
                      </a:lnTo>
                      <a:lnTo>
                        <a:pt x="152" y="905"/>
                      </a:lnTo>
                      <a:lnTo>
                        <a:pt x="151" y="905"/>
                      </a:lnTo>
                      <a:lnTo>
                        <a:pt x="149" y="904"/>
                      </a:lnTo>
                      <a:lnTo>
                        <a:pt x="148" y="903"/>
                      </a:lnTo>
                      <a:lnTo>
                        <a:pt x="145" y="902"/>
                      </a:lnTo>
                      <a:lnTo>
                        <a:pt x="144" y="902"/>
                      </a:lnTo>
                      <a:lnTo>
                        <a:pt x="143" y="902"/>
                      </a:lnTo>
                      <a:lnTo>
                        <a:pt x="142" y="902"/>
                      </a:lnTo>
                      <a:lnTo>
                        <a:pt x="141" y="902"/>
                      </a:lnTo>
                      <a:lnTo>
                        <a:pt x="140" y="902"/>
                      </a:lnTo>
                      <a:lnTo>
                        <a:pt x="140" y="901"/>
                      </a:lnTo>
                      <a:lnTo>
                        <a:pt x="140" y="900"/>
                      </a:lnTo>
                      <a:lnTo>
                        <a:pt x="140" y="898"/>
                      </a:lnTo>
                      <a:lnTo>
                        <a:pt x="140" y="896"/>
                      </a:lnTo>
                      <a:lnTo>
                        <a:pt x="140" y="893"/>
                      </a:lnTo>
                      <a:lnTo>
                        <a:pt x="140" y="891"/>
                      </a:lnTo>
                      <a:lnTo>
                        <a:pt x="139" y="889"/>
                      </a:lnTo>
                      <a:lnTo>
                        <a:pt x="139" y="888"/>
                      </a:lnTo>
                      <a:lnTo>
                        <a:pt x="138" y="887"/>
                      </a:lnTo>
                      <a:lnTo>
                        <a:pt x="136" y="885"/>
                      </a:lnTo>
                      <a:lnTo>
                        <a:pt x="136" y="884"/>
                      </a:lnTo>
                      <a:lnTo>
                        <a:pt x="137" y="883"/>
                      </a:lnTo>
                      <a:lnTo>
                        <a:pt x="137" y="881"/>
                      </a:lnTo>
                      <a:lnTo>
                        <a:pt x="137" y="880"/>
                      </a:lnTo>
                      <a:lnTo>
                        <a:pt x="136" y="880"/>
                      </a:lnTo>
                      <a:lnTo>
                        <a:pt x="136" y="878"/>
                      </a:lnTo>
                      <a:lnTo>
                        <a:pt x="136" y="877"/>
                      </a:lnTo>
                      <a:lnTo>
                        <a:pt x="135" y="876"/>
                      </a:lnTo>
                      <a:lnTo>
                        <a:pt x="136" y="876"/>
                      </a:lnTo>
                      <a:lnTo>
                        <a:pt x="136" y="875"/>
                      </a:lnTo>
                      <a:lnTo>
                        <a:pt x="137" y="875"/>
                      </a:lnTo>
                      <a:lnTo>
                        <a:pt x="137" y="874"/>
                      </a:lnTo>
                      <a:lnTo>
                        <a:pt x="137" y="873"/>
                      </a:lnTo>
                      <a:lnTo>
                        <a:pt x="137" y="872"/>
                      </a:lnTo>
                      <a:lnTo>
                        <a:pt x="137" y="871"/>
                      </a:lnTo>
                      <a:lnTo>
                        <a:pt x="137" y="870"/>
                      </a:lnTo>
                      <a:lnTo>
                        <a:pt x="136" y="870"/>
                      </a:lnTo>
                      <a:lnTo>
                        <a:pt x="136" y="868"/>
                      </a:lnTo>
                      <a:lnTo>
                        <a:pt x="136" y="867"/>
                      </a:lnTo>
                      <a:lnTo>
                        <a:pt x="136" y="866"/>
                      </a:lnTo>
                      <a:lnTo>
                        <a:pt x="136" y="865"/>
                      </a:lnTo>
                      <a:lnTo>
                        <a:pt x="137" y="865"/>
                      </a:lnTo>
                      <a:lnTo>
                        <a:pt x="137" y="864"/>
                      </a:lnTo>
                      <a:lnTo>
                        <a:pt x="138" y="863"/>
                      </a:lnTo>
                      <a:lnTo>
                        <a:pt x="137" y="863"/>
                      </a:lnTo>
                      <a:lnTo>
                        <a:pt x="136" y="863"/>
                      </a:lnTo>
                      <a:lnTo>
                        <a:pt x="136" y="862"/>
                      </a:lnTo>
                      <a:lnTo>
                        <a:pt x="136" y="861"/>
                      </a:lnTo>
                      <a:lnTo>
                        <a:pt x="135" y="860"/>
                      </a:lnTo>
                      <a:lnTo>
                        <a:pt x="134" y="860"/>
                      </a:lnTo>
                      <a:lnTo>
                        <a:pt x="135" y="859"/>
                      </a:lnTo>
                      <a:lnTo>
                        <a:pt x="135" y="858"/>
                      </a:lnTo>
                      <a:lnTo>
                        <a:pt x="136" y="857"/>
                      </a:lnTo>
                      <a:lnTo>
                        <a:pt x="136" y="855"/>
                      </a:lnTo>
                      <a:lnTo>
                        <a:pt x="136" y="854"/>
                      </a:lnTo>
                      <a:lnTo>
                        <a:pt x="136" y="853"/>
                      </a:lnTo>
                      <a:lnTo>
                        <a:pt x="135" y="853"/>
                      </a:lnTo>
                      <a:lnTo>
                        <a:pt x="135" y="851"/>
                      </a:lnTo>
                      <a:lnTo>
                        <a:pt x="134" y="851"/>
                      </a:lnTo>
                      <a:lnTo>
                        <a:pt x="134" y="849"/>
                      </a:lnTo>
                      <a:lnTo>
                        <a:pt x="132" y="849"/>
                      </a:lnTo>
                      <a:lnTo>
                        <a:pt x="132" y="848"/>
                      </a:lnTo>
                      <a:lnTo>
                        <a:pt x="131" y="847"/>
                      </a:lnTo>
                      <a:lnTo>
                        <a:pt x="131" y="846"/>
                      </a:lnTo>
                      <a:lnTo>
                        <a:pt x="131" y="844"/>
                      </a:lnTo>
                      <a:lnTo>
                        <a:pt x="131" y="842"/>
                      </a:lnTo>
                      <a:lnTo>
                        <a:pt x="131" y="841"/>
                      </a:lnTo>
                      <a:lnTo>
                        <a:pt x="131" y="840"/>
                      </a:lnTo>
                      <a:lnTo>
                        <a:pt x="131" y="838"/>
                      </a:lnTo>
                      <a:lnTo>
                        <a:pt x="132" y="837"/>
                      </a:lnTo>
                      <a:lnTo>
                        <a:pt x="132" y="836"/>
                      </a:lnTo>
                      <a:lnTo>
                        <a:pt x="134" y="835"/>
                      </a:lnTo>
                      <a:lnTo>
                        <a:pt x="135" y="834"/>
                      </a:lnTo>
                      <a:lnTo>
                        <a:pt x="135" y="833"/>
                      </a:lnTo>
                      <a:lnTo>
                        <a:pt x="136" y="833"/>
                      </a:lnTo>
                      <a:lnTo>
                        <a:pt x="137" y="832"/>
                      </a:lnTo>
                      <a:lnTo>
                        <a:pt x="138" y="832"/>
                      </a:lnTo>
                      <a:lnTo>
                        <a:pt x="141" y="832"/>
                      </a:lnTo>
                      <a:lnTo>
                        <a:pt x="143" y="832"/>
                      </a:lnTo>
                      <a:lnTo>
                        <a:pt x="144" y="831"/>
                      </a:lnTo>
                      <a:lnTo>
                        <a:pt x="147" y="831"/>
                      </a:lnTo>
                      <a:lnTo>
                        <a:pt x="148" y="831"/>
                      </a:lnTo>
                      <a:lnTo>
                        <a:pt x="149" y="829"/>
                      </a:lnTo>
                      <a:lnTo>
                        <a:pt x="150" y="829"/>
                      </a:lnTo>
                      <a:lnTo>
                        <a:pt x="151" y="829"/>
                      </a:lnTo>
                      <a:lnTo>
                        <a:pt x="153" y="827"/>
                      </a:lnTo>
                      <a:lnTo>
                        <a:pt x="154" y="827"/>
                      </a:lnTo>
                      <a:lnTo>
                        <a:pt x="154" y="826"/>
                      </a:lnTo>
                      <a:lnTo>
                        <a:pt x="156" y="824"/>
                      </a:lnTo>
                      <a:lnTo>
                        <a:pt x="158" y="823"/>
                      </a:lnTo>
                      <a:lnTo>
                        <a:pt x="158" y="822"/>
                      </a:lnTo>
                      <a:lnTo>
                        <a:pt x="160" y="821"/>
                      </a:lnTo>
                      <a:lnTo>
                        <a:pt x="161" y="821"/>
                      </a:lnTo>
                      <a:lnTo>
                        <a:pt x="161" y="820"/>
                      </a:lnTo>
                      <a:lnTo>
                        <a:pt x="161" y="819"/>
                      </a:lnTo>
                      <a:lnTo>
                        <a:pt x="161" y="817"/>
                      </a:lnTo>
                      <a:lnTo>
                        <a:pt x="160" y="814"/>
                      </a:lnTo>
                      <a:lnTo>
                        <a:pt x="160" y="812"/>
                      </a:lnTo>
                      <a:lnTo>
                        <a:pt x="160" y="811"/>
                      </a:lnTo>
                      <a:lnTo>
                        <a:pt x="160" y="809"/>
                      </a:lnTo>
                      <a:lnTo>
                        <a:pt x="161" y="809"/>
                      </a:lnTo>
                      <a:lnTo>
                        <a:pt x="161" y="808"/>
                      </a:lnTo>
                      <a:lnTo>
                        <a:pt x="162" y="807"/>
                      </a:lnTo>
                      <a:lnTo>
                        <a:pt x="163" y="806"/>
                      </a:lnTo>
                      <a:lnTo>
                        <a:pt x="164" y="803"/>
                      </a:lnTo>
                      <a:lnTo>
                        <a:pt x="165" y="802"/>
                      </a:lnTo>
                      <a:lnTo>
                        <a:pt x="167" y="800"/>
                      </a:lnTo>
                      <a:lnTo>
                        <a:pt x="168" y="799"/>
                      </a:lnTo>
                      <a:lnTo>
                        <a:pt x="170" y="798"/>
                      </a:lnTo>
                      <a:lnTo>
                        <a:pt x="173" y="796"/>
                      </a:lnTo>
                      <a:lnTo>
                        <a:pt x="174" y="795"/>
                      </a:lnTo>
                      <a:lnTo>
                        <a:pt x="175" y="794"/>
                      </a:lnTo>
                      <a:lnTo>
                        <a:pt x="176" y="793"/>
                      </a:lnTo>
                      <a:lnTo>
                        <a:pt x="177" y="793"/>
                      </a:lnTo>
                      <a:lnTo>
                        <a:pt x="179" y="791"/>
                      </a:lnTo>
                      <a:lnTo>
                        <a:pt x="180" y="791"/>
                      </a:lnTo>
                      <a:lnTo>
                        <a:pt x="181" y="790"/>
                      </a:lnTo>
                      <a:lnTo>
                        <a:pt x="182" y="790"/>
                      </a:lnTo>
                      <a:lnTo>
                        <a:pt x="183" y="789"/>
                      </a:lnTo>
                      <a:lnTo>
                        <a:pt x="183" y="788"/>
                      </a:lnTo>
                      <a:lnTo>
                        <a:pt x="185" y="787"/>
                      </a:lnTo>
                      <a:lnTo>
                        <a:pt x="186" y="787"/>
                      </a:lnTo>
                      <a:lnTo>
                        <a:pt x="187" y="786"/>
                      </a:lnTo>
                      <a:lnTo>
                        <a:pt x="188" y="786"/>
                      </a:lnTo>
                      <a:lnTo>
                        <a:pt x="189" y="786"/>
                      </a:lnTo>
                      <a:lnTo>
                        <a:pt x="190" y="786"/>
                      </a:lnTo>
                      <a:lnTo>
                        <a:pt x="191" y="787"/>
                      </a:lnTo>
                      <a:lnTo>
                        <a:pt x="191" y="788"/>
                      </a:lnTo>
                      <a:lnTo>
                        <a:pt x="191" y="789"/>
                      </a:lnTo>
                      <a:lnTo>
                        <a:pt x="191" y="790"/>
                      </a:lnTo>
                      <a:lnTo>
                        <a:pt x="191" y="791"/>
                      </a:lnTo>
                      <a:lnTo>
                        <a:pt x="191" y="794"/>
                      </a:lnTo>
                      <a:lnTo>
                        <a:pt x="192" y="795"/>
                      </a:lnTo>
                      <a:lnTo>
                        <a:pt x="193" y="796"/>
                      </a:lnTo>
                      <a:lnTo>
                        <a:pt x="194" y="797"/>
                      </a:lnTo>
                      <a:lnTo>
                        <a:pt x="195" y="797"/>
                      </a:lnTo>
                      <a:lnTo>
                        <a:pt x="196" y="797"/>
                      </a:lnTo>
                      <a:lnTo>
                        <a:pt x="198" y="798"/>
                      </a:lnTo>
                      <a:lnTo>
                        <a:pt x="199" y="798"/>
                      </a:lnTo>
                      <a:lnTo>
                        <a:pt x="200" y="797"/>
                      </a:lnTo>
                      <a:lnTo>
                        <a:pt x="201" y="796"/>
                      </a:lnTo>
                      <a:lnTo>
                        <a:pt x="202" y="796"/>
                      </a:lnTo>
                      <a:lnTo>
                        <a:pt x="202" y="795"/>
                      </a:lnTo>
                      <a:lnTo>
                        <a:pt x="203" y="794"/>
                      </a:lnTo>
                      <a:lnTo>
                        <a:pt x="203" y="793"/>
                      </a:lnTo>
                      <a:lnTo>
                        <a:pt x="203" y="791"/>
                      </a:lnTo>
                      <a:lnTo>
                        <a:pt x="204" y="790"/>
                      </a:lnTo>
                      <a:lnTo>
                        <a:pt x="205" y="790"/>
                      </a:lnTo>
                      <a:lnTo>
                        <a:pt x="206" y="790"/>
                      </a:lnTo>
                      <a:lnTo>
                        <a:pt x="207" y="790"/>
                      </a:lnTo>
                      <a:lnTo>
                        <a:pt x="209" y="791"/>
                      </a:lnTo>
                      <a:lnTo>
                        <a:pt x="211" y="791"/>
                      </a:lnTo>
                      <a:lnTo>
                        <a:pt x="212" y="791"/>
                      </a:lnTo>
                      <a:lnTo>
                        <a:pt x="213" y="790"/>
                      </a:lnTo>
                      <a:lnTo>
                        <a:pt x="213" y="789"/>
                      </a:lnTo>
                      <a:lnTo>
                        <a:pt x="212" y="787"/>
                      </a:lnTo>
                      <a:lnTo>
                        <a:pt x="213" y="787"/>
                      </a:lnTo>
                      <a:lnTo>
                        <a:pt x="213" y="786"/>
                      </a:lnTo>
                      <a:lnTo>
                        <a:pt x="214" y="786"/>
                      </a:lnTo>
                      <a:lnTo>
                        <a:pt x="216" y="786"/>
                      </a:lnTo>
                      <a:lnTo>
                        <a:pt x="217" y="786"/>
                      </a:lnTo>
                      <a:lnTo>
                        <a:pt x="218" y="787"/>
                      </a:lnTo>
                      <a:lnTo>
                        <a:pt x="219" y="787"/>
                      </a:lnTo>
                      <a:lnTo>
                        <a:pt x="222" y="787"/>
                      </a:lnTo>
                      <a:lnTo>
                        <a:pt x="224" y="787"/>
                      </a:lnTo>
                      <a:lnTo>
                        <a:pt x="225" y="786"/>
                      </a:lnTo>
                      <a:lnTo>
                        <a:pt x="225" y="785"/>
                      </a:lnTo>
                      <a:lnTo>
                        <a:pt x="226" y="783"/>
                      </a:lnTo>
                      <a:lnTo>
                        <a:pt x="226" y="782"/>
                      </a:lnTo>
                      <a:lnTo>
                        <a:pt x="226" y="781"/>
                      </a:lnTo>
                      <a:lnTo>
                        <a:pt x="227" y="780"/>
                      </a:lnTo>
                      <a:lnTo>
                        <a:pt x="228" y="780"/>
                      </a:lnTo>
                      <a:lnTo>
                        <a:pt x="229" y="780"/>
                      </a:lnTo>
                      <a:lnTo>
                        <a:pt x="231" y="780"/>
                      </a:lnTo>
                      <a:lnTo>
                        <a:pt x="232" y="780"/>
                      </a:lnTo>
                      <a:lnTo>
                        <a:pt x="233" y="780"/>
                      </a:lnTo>
                      <a:lnTo>
                        <a:pt x="234" y="780"/>
                      </a:lnTo>
                      <a:lnTo>
                        <a:pt x="235" y="780"/>
                      </a:lnTo>
                      <a:lnTo>
                        <a:pt x="237" y="777"/>
                      </a:lnTo>
                      <a:lnTo>
                        <a:pt x="238" y="776"/>
                      </a:lnTo>
                      <a:lnTo>
                        <a:pt x="239" y="776"/>
                      </a:lnTo>
                      <a:lnTo>
                        <a:pt x="240" y="776"/>
                      </a:lnTo>
                      <a:lnTo>
                        <a:pt x="242" y="777"/>
                      </a:lnTo>
                      <a:lnTo>
                        <a:pt x="243" y="777"/>
                      </a:lnTo>
                      <a:lnTo>
                        <a:pt x="244" y="776"/>
                      </a:lnTo>
                      <a:lnTo>
                        <a:pt x="245" y="776"/>
                      </a:lnTo>
                      <a:lnTo>
                        <a:pt x="246" y="775"/>
                      </a:lnTo>
                      <a:lnTo>
                        <a:pt x="247" y="774"/>
                      </a:lnTo>
                      <a:lnTo>
                        <a:pt x="247" y="773"/>
                      </a:lnTo>
                      <a:lnTo>
                        <a:pt x="261" y="756"/>
                      </a:lnTo>
                      <a:lnTo>
                        <a:pt x="268" y="747"/>
                      </a:lnTo>
                      <a:lnTo>
                        <a:pt x="269" y="745"/>
                      </a:lnTo>
                      <a:lnTo>
                        <a:pt x="270" y="744"/>
                      </a:lnTo>
                      <a:lnTo>
                        <a:pt x="273" y="738"/>
                      </a:lnTo>
                      <a:lnTo>
                        <a:pt x="290" y="717"/>
                      </a:lnTo>
                      <a:lnTo>
                        <a:pt x="294" y="711"/>
                      </a:lnTo>
                      <a:lnTo>
                        <a:pt x="309" y="691"/>
                      </a:lnTo>
                      <a:lnTo>
                        <a:pt x="316" y="681"/>
                      </a:lnTo>
                      <a:lnTo>
                        <a:pt x="330" y="657"/>
                      </a:lnTo>
                      <a:lnTo>
                        <a:pt x="334" y="648"/>
                      </a:lnTo>
                      <a:lnTo>
                        <a:pt x="344" y="631"/>
                      </a:lnTo>
                      <a:lnTo>
                        <a:pt x="344" y="630"/>
                      </a:lnTo>
                      <a:lnTo>
                        <a:pt x="344" y="628"/>
                      </a:lnTo>
                      <a:lnTo>
                        <a:pt x="348" y="613"/>
                      </a:lnTo>
                      <a:lnTo>
                        <a:pt x="353" y="597"/>
                      </a:lnTo>
                      <a:lnTo>
                        <a:pt x="368" y="596"/>
                      </a:lnTo>
                      <a:lnTo>
                        <a:pt x="368" y="577"/>
                      </a:lnTo>
                      <a:lnTo>
                        <a:pt x="368" y="574"/>
                      </a:lnTo>
                      <a:lnTo>
                        <a:pt x="368" y="564"/>
                      </a:lnTo>
                      <a:lnTo>
                        <a:pt x="368" y="556"/>
                      </a:lnTo>
                      <a:lnTo>
                        <a:pt x="367" y="556"/>
                      </a:lnTo>
                      <a:lnTo>
                        <a:pt x="362" y="556"/>
                      </a:lnTo>
                      <a:lnTo>
                        <a:pt x="351" y="556"/>
                      </a:lnTo>
                      <a:lnTo>
                        <a:pt x="343" y="556"/>
                      </a:lnTo>
                      <a:lnTo>
                        <a:pt x="343" y="541"/>
                      </a:lnTo>
                      <a:lnTo>
                        <a:pt x="343" y="537"/>
                      </a:lnTo>
                      <a:lnTo>
                        <a:pt x="343" y="526"/>
                      </a:lnTo>
                      <a:lnTo>
                        <a:pt x="334" y="526"/>
                      </a:lnTo>
                      <a:lnTo>
                        <a:pt x="330" y="526"/>
                      </a:lnTo>
                      <a:lnTo>
                        <a:pt x="322" y="526"/>
                      </a:lnTo>
                      <a:lnTo>
                        <a:pt x="322" y="505"/>
                      </a:lnTo>
                      <a:lnTo>
                        <a:pt x="322" y="485"/>
                      </a:lnTo>
                      <a:lnTo>
                        <a:pt x="320" y="485"/>
                      </a:lnTo>
                      <a:lnTo>
                        <a:pt x="320" y="475"/>
                      </a:lnTo>
                      <a:lnTo>
                        <a:pt x="320" y="469"/>
                      </a:lnTo>
                      <a:lnTo>
                        <a:pt x="320" y="467"/>
                      </a:lnTo>
                      <a:lnTo>
                        <a:pt x="320" y="463"/>
                      </a:lnTo>
                      <a:lnTo>
                        <a:pt x="319" y="464"/>
                      </a:lnTo>
                      <a:lnTo>
                        <a:pt x="315" y="464"/>
                      </a:lnTo>
                      <a:lnTo>
                        <a:pt x="309" y="464"/>
                      </a:lnTo>
                      <a:lnTo>
                        <a:pt x="307" y="464"/>
                      </a:lnTo>
                      <a:lnTo>
                        <a:pt x="304" y="462"/>
                      </a:lnTo>
                      <a:lnTo>
                        <a:pt x="298" y="459"/>
                      </a:lnTo>
                      <a:lnTo>
                        <a:pt x="297" y="457"/>
                      </a:lnTo>
                      <a:lnTo>
                        <a:pt x="294" y="454"/>
                      </a:lnTo>
                      <a:lnTo>
                        <a:pt x="282" y="457"/>
                      </a:lnTo>
                      <a:lnTo>
                        <a:pt x="282" y="456"/>
                      </a:lnTo>
                      <a:lnTo>
                        <a:pt x="281" y="456"/>
                      </a:lnTo>
                      <a:lnTo>
                        <a:pt x="270" y="459"/>
                      </a:lnTo>
                      <a:lnTo>
                        <a:pt x="267" y="460"/>
                      </a:lnTo>
                      <a:lnTo>
                        <a:pt x="266" y="459"/>
                      </a:lnTo>
                      <a:lnTo>
                        <a:pt x="264" y="461"/>
                      </a:lnTo>
                      <a:lnTo>
                        <a:pt x="260" y="459"/>
                      </a:lnTo>
                      <a:lnTo>
                        <a:pt x="257" y="456"/>
                      </a:lnTo>
                      <a:lnTo>
                        <a:pt x="255" y="454"/>
                      </a:lnTo>
                      <a:lnTo>
                        <a:pt x="254" y="454"/>
                      </a:lnTo>
                      <a:lnTo>
                        <a:pt x="252" y="452"/>
                      </a:lnTo>
                      <a:lnTo>
                        <a:pt x="250" y="455"/>
                      </a:lnTo>
                      <a:lnTo>
                        <a:pt x="243" y="456"/>
                      </a:lnTo>
                      <a:lnTo>
                        <a:pt x="243" y="466"/>
                      </a:lnTo>
                      <a:lnTo>
                        <a:pt x="233" y="466"/>
                      </a:lnTo>
                      <a:lnTo>
                        <a:pt x="232" y="453"/>
                      </a:lnTo>
                      <a:lnTo>
                        <a:pt x="232" y="443"/>
                      </a:lnTo>
                      <a:lnTo>
                        <a:pt x="232" y="434"/>
                      </a:lnTo>
                      <a:lnTo>
                        <a:pt x="243" y="434"/>
                      </a:lnTo>
                      <a:lnTo>
                        <a:pt x="243" y="433"/>
                      </a:lnTo>
                      <a:lnTo>
                        <a:pt x="243" y="430"/>
                      </a:lnTo>
                      <a:lnTo>
                        <a:pt x="243" y="427"/>
                      </a:lnTo>
                      <a:lnTo>
                        <a:pt x="243" y="415"/>
                      </a:lnTo>
                      <a:lnTo>
                        <a:pt x="243" y="414"/>
                      </a:lnTo>
                      <a:lnTo>
                        <a:pt x="243" y="401"/>
                      </a:lnTo>
                      <a:lnTo>
                        <a:pt x="250" y="397"/>
                      </a:lnTo>
                      <a:lnTo>
                        <a:pt x="251" y="396"/>
                      </a:lnTo>
                      <a:lnTo>
                        <a:pt x="253" y="397"/>
                      </a:lnTo>
                      <a:lnTo>
                        <a:pt x="255" y="382"/>
                      </a:lnTo>
                      <a:lnTo>
                        <a:pt x="259" y="367"/>
                      </a:lnTo>
                      <a:lnTo>
                        <a:pt x="261" y="362"/>
                      </a:lnTo>
                      <a:lnTo>
                        <a:pt x="261" y="360"/>
                      </a:lnTo>
                      <a:lnTo>
                        <a:pt x="263" y="357"/>
                      </a:lnTo>
                      <a:lnTo>
                        <a:pt x="268" y="339"/>
                      </a:lnTo>
                      <a:lnTo>
                        <a:pt x="270" y="333"/>
                      </a:lnTo>
                      <a:lnTo>
                        <a:pt x="270" y="332"/>
                      </a:lnTo>
                      <a:lnTo>
                        <a:pt x="272" y="325"/>
                      </a:lnTo>
                      <a:lnTo>
                        <a:pt x="273" y="321"/>
                      </a:lnTo>
                      <a:lnTo>
                        <a:pt x="279" y="307"/>
                      </a:lnTo>
                      <a:lnTo>
                        <a:pt x="284" y="288"/>
                      </a:lnTo>
                      <a:lnTo>
                        <a:pt x="286" y="285"/>
                      </a:lnTo>
                      <a:lnTo>
                        <a:pt x="285" y="284"/>
                      </a:lnTo>
                      <a:lnTo>
                        <a:pt x="285" y="283"/>
                      </a:lnTo>
                      <a:lnTo>
                        <a:pt x="284" y="283"/>
                      </a:lnTo>
                      <a:lnTo>
                        <a:pt x="283" y="284"/>
                      </a:lnTo>
                      <a:lnTo>
                        <a:pt x="282" y="285"/>
                      </a:lnTo>
                      <a:lnTo>
                        <a:pt x="281" y="285"/>
                      </a:lnTo>
                      <a:lnTo>
                        <a:pt x="281" y="286"/>
                      </a:lnTo>
                      <a:lnTo>
                        <a:pt x="280" y="286"/>
                      </a:lnTo>
                      <a:lnTo>
                        <a:pt x="278" y="287"/>
                      </a:lnTo>
                      <a:lnTo>
                        <a:pt x="276" y="287"/>
                      </a:lnTo>
                      <a:lnTo>
                        <a:pt x="274" y="287"/>
                      </a:lnTo>
                      <a:lnTo>
                        <a:pt x="273" y="287"/>
                      </a:lnTo>
                      <a:lnTo>
                        <a:pt x="272" y="287"/>
                      </a:lnTo>
                      <a:lnTo>
                        <a:pt x="271" y="287"/>
                      </a:lnTo>
                      <a:lnTo>
                        <a:pt x="270" y="287"/>
                      </a:lnTo>
                      <a:lnTo>
                        <a:pt x="269" y="286"/>
                      </a:lnTo>
                      <a:lnTo>
                        <a:pt x="268" y="286"/>
                      </a:lnTo>
                      <a:lnTo>
                        <a:pt x="267" y="286"/>
                      </a:lnTo>
                      <a:lnTo>
                        <a:pt x="266" y="286"/>
                      </a:lnTo>
                      <a:lnTo>
                        <a:pt x="265" y="287"/>
                      </a:lnTo>
                      <a:lnTo>
                        <a:pt x="265" y="286"/>
                      </a:lnTo>
                      <a:lnTo>
                        <a:pt x="265" y="285"/>
                      </a:lnTo>
                      <a:lnTo>
                        <a:pt x="264" y="285"/>
                      </a:lnTo>
                      <a:lnTo>
                        <a:pt x="263" y="285"/>
                      </a:lnTo>
                      <a:lnTo>
                        <a:pt x="261" y="286"/>
                      </a:lnTo>
                      <a:lnTo>
                        <a:pt x="261" y="285"/>
                      </a:lnTo>
                      <a:lnTo>
                        <a:pt x="260" y="285"/>
                      </a:lnTo>
                      <a:lnTo>
                        <a:pt x="259" y="285"/>
                      </a:lnTo>
                      <a:lnTo>
                        <a:pt x="259" y="284"/>
                      </a:lnTo>
                      <a:lnTo>
                        <a:pt x="258" y="285"/>
                      </a:lnTo>
                      <a:lnTo>
                        <a:pt x="257" y="284"/>
                      </a:lnTo>
                      <a:lnTo>
                        <a:pt x="256" y="284"/>
                      </a:lnTo>
                      <a:lnTo>
                        <a:pt x="255" y="284"/>
                      </a:lnTo>
                      <a:lnTo>
                        <a:pt x="254" y="284"/>
                      </a:lnTo>
                      <a:lnTo>
                        <a:pt x="252" y="284"/>
                      </a:lnTo>
                      <a:lnTo>
                        <a:pt x="251" y="284"/>
                      </a:lnTo>
                      <a:lnTo>
                        <a:pt x="250" y="284"/>
                      </a:lnTo>
                      <a:lnTo>
                        <a:pt x="248" y="284"/>
                      </a:lnTo>
                      <a:lnTo>
                        <a:pt x="247" y="284"/>
                      </a:lnTo>
                      <a:lnTo>
                        <a:pt x="246" y="284"/>
                      </a:lnTo>
                      <a:lnTo>
                        <a:pt x="245" y="284"/>
                      </a:lnTo>
                      <a:lnTo>
                        <a:pt x="243" y="284"/>
                      </a:lnTo>
                      <a:lnTo>
                        <a:pt x="242" y="284"/>
                      </a:lnTo>
                      <a:lnTo>
                        <a:pt x="241" y="283"/>
                      </a:lnTo>
                      <a:lnTo>
                        <a:pt x="240" y="283"/>
                      </a:lnTo>
                      <a:lnTo>
                        <a:pt x="240" y="284"/>
                      </a:lnTo>
                      <a:lnTo>
                        <a:pt x="239" y="284"/>
                      </a:lnTo>
                      <a:lnTo>
                        <a:pt x="238" y="284"/>
                      </a:lnTo>
                      <a:lnTo>
                        <a:pt x="237" y="284"/>
                      </a:lnTo>
                      <a:lnTo>
                        <a:pt x="235" y="284"/>
                      </a:lnTo>
                      <a:lnTo>
                        <a:pt x="235" y="285"/>
                      </a:lnTo>
                      <a:lnTo>
                        <a:pt x="234" y="285"/>
                      </a:lnTo>
                      <a:lnTo>
                        <a:pt x="233" y="285"/>
                      </a:lnTo>
                      <a:lnTo>
                        <a:pt x="232" y="286"/>
                      </a:lnTo>
                      <a:lnTo>
                        <a:pt x="231" y="286"/>
                      </a:lnTo>
                      <a:lnTo>
                        <a:pt x="231" y="287"/>
                      </a:lnTo>
                      <a:lnTo>
                        <a:pt x="231" y="286"/>
                      </a:lnTo>
                      <a:lnTo>
                        <a:pt x="230" y="287"/>
                      </a:lnTo>
                      <a:lnTo>
                        <a:pt x="229" y="287"/>
                      </a:lnTo>
                      <a:lnTo>
                        <a:pt x="228" y="287"/>
                      </a:lnTo>
                      <a:lnTo>
                        <a:pt x="228" y="288"/>
                      </a:lnTo>
                      <a:lnTo>
                        <a:pt x="227" y="288"/>
                      </a:lnTo>
                      <a:lnTo>
                        <a:pt x="226" y="289"/>
                      </a:lnTo>
                      <a:lnTo>
                        <a:pt x="225" y="288"/>
                      </a:lnTo>
                      <a:lnTo>
                        <a:pt x="224" y="288"/>
                      </a:lnTo>
                      <a:lnTo>
                        <a:pt x="222" y="288"/>
                      </a:lnTo>
                      <a:lnTo>
                        <a:pt x="221" y="288"/>
                      </a:lnTo>
                      <a:lnTo>
                        <a:pt x="220" y="288"/>
                      </a:lnTo>
                      <a:lnTo>
                        <a:pt x="219" y="288"/>
                      </a:lnTo>
                      <a:lnTo>
                        <a:pt x="219" y="287"/>
                      </a:lnTo>
                      <a:lnTo>
                        <a:pt x="218" y="288"/>
                      </a:lnTo>
                      <a:lnTo>
                        <a:pt x="217" y="288"/>
                      </a:lnTo>
                      <a:lnTo>
                        <a:pt x="216" y="288"/>
                      </a:lnTo>
                      <a:lnTo>
                        <a:pt x="215" y="287"/>
                      </a:lnTo>
                      <a:lnTo>
                        <a:pt x="214" y="287"/>
                      </a:lnTo>
                      <a:lnTo>
                        <a:pt x="214" y="286"/>
                      </a:lnTo>
                      <a:lnTo>
                        <a:pt x="214" y="285"/>
                      </a:lnTo>
                      <a:lnTo>
                        <a:pt x="213" y="285"/>
                      </a:lnTo>
                      <a:lnTo>
                        <a:pt x="212" y="284"/>
                      </a:lnTo>
                      <a:lnTo>
                        <a:pt x="211" y="284"/>
                      </a:lnTo>
                      <a:lnTo>
                        <a:pt x="211" y="283"/>
                      </a:lnTo>
                      <a:lnTo>
                        <a:pt x="211" y="282"/>
                      </a:lnTo>
                      <a:lnTo>
                        <a:pt x="211" y="281"/>
                      </a:lnTo>
                      <a:close/>
                      <a:moveTo>
                        <a:pt x="576" y="1150"/>
                      </a:moveTo>
                      <a:lnTo>
                        <a:pt x="576" y="1151"/>
                      </a:lnTo>
                      <a:lnTo>
                        <a:pt x="577" y="1151"/>
                      </a:lnTo>
                      <a:lnTo>
                        <a:pt x="578" y="1151"/>
                      </a:lnTo>
                      <a:lnTo>
                        <a:pt x="579" y="1153"/>
                      </a:lnTo>
                      <a:lnTo>
                        <a:pt x="580" y="1154"/>
                      </a:lnTo>
                      <a:lnTo>
                        <a:pt x="581" y="1154"/>
                      </a:lnTo>
                      <a:lnTo>
                        <a:pt x="579" y="1153"/>
                      </a:lnTo>
                      <a:lnTo>
                        <a:pt x="579" y="1151"/>
                      </a:lnTo>
                      <a:lnTo>
                        <a:pt x="580" y="1153"/>
                      </a:lnTo>
                      <a:lnTo>
                        <a:pt x="581" y="1153"/>
                      </a:lnTo>
                      <a:lnTo>
                        <a:pt x="581" y="1154"/>
                      </a:lnTo>
                      <a:lnTo>
                        <a:pt x="581" y="1153"/>
                      </a:lnTo>
                      <a:lnTo>
                        <a:pt x="581" y="1154"/>
                      </a:lnTo>
                      <a:lnTo>
                        <a:pt x="582" y="1154"/>
                      </a:lnTo>
                      <a:lnTo>
                        <a:pt x="582" y="1155"/>
                      </a:lnTo>
                      <a:lnTo>
                        <a:pt x="583" y="1155"/>
                      </a:lnTo>
                      <a:lnTo>
                        <a:pt x="585" y="1155"/>
                      </a:lnTo>
                      <a:lnTo>
                        <a:pt x="585" y="1156"/>
                      </a:lnTo>
                      <a:lnTo>
                        <a:pt x="586" y="1156"/>
                      </a:lnTo>
                      <a:lnTo>
                        <a:pt x="586" y="1157"/>
                      </a:lnTo>
                      <a:lnTo>
                        <a:pt x="586" y="1156"/>
                      </a:lnTo>
                      <a:lnTo>
                        <a:pt x="587" y="1156"/>
                      </a:lnTo>
                      <a:lnTo>
                        <a:pt x="588" y="1157"/>
                      </a:lnTo>
                      <a:lnTo>
                        <a:pt x="589" y="1158"/>
                      </a:lnTo>
                      <a:lnTo>
                        <a:pt x="590" y="1158"/>
                      </a:lnTo>
                      <a:lnTo>
                        <a:pt x="590" y="1157"/>
                      </a:lnTo>
                      <a:lnTo>
                        <a:pt x="591" y="1158"/>
                      </a:lnTo>
                      <a:lnTo>
                        <a:pt x="591" y="1159"/>
                      </a:lnTo>
                      <a:lnTo>
                        <a:pt x="592" y="1159"/>
                      </a:lnTo>
                      <a:lnTo>
                        <a:pt x="594" y="1159"/>
                      </a:lnTo>
                      <a:lnTo>
                        <a:pt x="595" y="1160"/>
                      </a:lnTo>
                      <a:lnTo>
                        <a:pt x="595" y="1159"/>
                      </a:lnTo>
                      <a:lnTo>
                        <a:pt x="595" y="1160"/>
                      </a:lnTo>
                      <a:lnTo>
                        <a:pt x="596" y="1160"/>
                      </a:lnTo>
                      <a:lnTo>
                        <a:pt x="596" y="1159"/>
                      </a:lnTo>
                      <a:lnTo>
                        <a:pt x="598" y="1159"/>
                      </a:lnTo>
                      <a:lnTo>
                        <a:pt x="599" y="1160"/>
                      </a:lnTo>
                      <a:lnTo>
                        <a:pt x="600" y="1160"/>
                      </a:lnTo>
                      <a:lnTo>
                        <a:pt x="600" y="1161"/>
                      </a:lnTo>
                      <a:lnTo>
                        <a:pt x="602" y="1161"/>
                      </a:lnTo>
                      <a:lnTo>
                        <a:pt x="602" y="1162"/>
                      </a:lnTo>
                      <a:lnTo>
                        <a:pt x="603" y="1161"/>
                      </a:lnTo>
                      <a:lnTo>
                        <a:pt x="604" y="1161"/>
                      </a:lnTo>
                      <a:lnTo>
                        <a:pt x="604" y="1162"/>
                      </a:lnTo>
                      <a:lnTo>
                        <a:pt x="605" y="1164"/>
                      </a:lnTo>
                      <a:lnTo>
                        <a:pt x="605" y="1163"/>
                      </a:lnTo>
                      <a:lnTo>
                        <a:pt x="606" y="1163"/>
                      </a:lnTo>
                      <a:lnTo>
                        <a:pt x="606" y="1164"/>
                      </a:lnTo>
                      <a:lnTo>
                        <a:pt x="608" y="1166"/>
                      </a:lnTo>
                      <a:lnTo>
                        <a:pt x="612" y="1167"/>
                      </a:lnTo>
                      <a:lnTo>
                        <a:pt x="614" y="1167"/>
                      </a:lnTo>
                      <a:lnTo>
                        <a:pt x="615" y="1166"/>
                      </a:lnTo>
                      <a:lnTo>
                        <a:pt x="616" y="1166"/>
                      </a:lnTo>
                      <a:lnTo>
                        <a:pt x="618" y="1166"/>
                      </a:lnTo>
                      <a:lnTo>
                        <a:pt x="618" y="1167"/>
                      </a:lnTo>
                      <a:lnTo>
                        <a:pt x="617" y="1167"/>
                      </a:lnTo>
                      <a:lnTo>
                        <a:pt x="617" y="1168"/>
                      </a:lnTo>
                      <a:lnTo>
                        <a:pt x="615" y="1168"/>
                      </a:lnTo>
                      <a:lnTo>
                        <a:pt x="616" y="1168"/>
                      </a:lnTo>
                      <a:lnTo>
                        <a:pt x="617" y="1168"/>
                      </a:lnTo>
                      <a:lnTo>
                        <a:pt x="618" y="1168"/>
                      </a:lnTo>
                      <a:lnTo>
                        <a:pt x="620" y="1168"/>
                      </a:lnTo>
                      <a:lnTo>
                        <a:pt x="620" y="1169"/>
                      </a:lnTo>
                      <a:lnTo>
                        <a:pt x="620" y="1170"/>
                      </a:lnTo>
                      <a:lnTo>
                        <a:pt x="620" y="1169"/>
                      </a:lnTo>
                      <a:lnTo>
                        <a:pt x="621" y="1168"/>
                      </a:lnTo>
                      <a:lnTo>
                        <a:pt x="621" y="1167"/>
                      </a:lnTo>
                      <a:lnTo>
                        <a:pt x="622" y="1167"/>
                      </a:lnTo>
                      <a:lnTo>
                        <a:pt x="624" y="1167"/>
                      </a:lnTo>
                      <a:lnTo>
                        <a:pt x="626" y="1167"/>
                      </a:lnTo>
                      <a:lnTo>
                        <a:pt x="626" y="1168"/>
                      </a:lnTo>
                      <a:lnTo>
                        <a:pt x="625" y="1168"/>
                      </a:lnTo>
                      <a:lnTo>
                        <a:pt x="622" y="1168"/>
                      </a:lnTo>
                      <a:lnTo>
                        <a:pt x="622" y="1169"/>
                      </a:lnTo>
                      <a:lnTo>
                        <a:pt x="621" y="1170"/>
                      </a:lnTo>
                      <a:lnTo>
                        <a:pt x="621" y="1172"/>
                      </a:lnTo>
                      <a:lnTo>
                        <a:pt x="627" y="1173"/>
                      </a:lnTo>
                      <a:lnTo>
                        <a:pt x="628" y="1172"/>
                      </a:lnTo>
                      <a:lnTo>
                        <a:pt x="628" y="1173"/>
                      </a:lnTo>
                      <a:lnTo>
                        <a:pt x="629" y="1173"/>
                      </a:lnTo>
                      <a:lnTo>
                        <a:pt x="631" y="1173"/>
                      </a:lnTo>
                      <a:lnTo>
                        <a:pt x="633" y="1174"/>
                      </a:lnTo>
                      <a:lnTo>
                        <a:pt x="633" y="1173"/>
                      </a:lnTo>
                      <a:lnTo>
                        <a:pt x="632" y="1172"/>
                      </a:lnTo>
                      <a:lnTo>
                        <a:pt x="633" y="1172"/>
                      </a:lnTo>
                      <a:lnTo>
                        <a:pt x="633" y="1171"/>
                      </a:lnTo>
                      <a:lnTo>
                        <a:pt x="633" y="1170"/>
                      </a:lnTo>
                      <a:lnTo>
                        <a:pt x="632" y="1169"/>
                      </a:lnTo>
                      <a:lnTo>
                        <a:pt x="632" y="1168"/>
                      </a:lnTo>
                      <a:lnTo>
                        <a:pt x="631" y="1167"/>
                      </a:lnTo>
                      <a:lnTo>
                        <a:pt x="632" y="1166"/>
                      </a:lnTo>
                      <a:lnTo>
                        <a:pt x="633" y="1166"/>
                      </a:lnTo>
                      <a:lnTo>
                        <a:pt x="633" y="1167"/>
                      </a:lnTo>
                      <a:lnTo>
                        <a:pt x="634" y="1168"/>
                      </a:lnTo>
                      <a:lnTo>
                        <a:pt x="635" y="1168"/>
                      </a:lnTo>
                      <a:lnTo>
                        <a:pt x="635" y="1170"/>
                      </a:lnTo>
                      <a:lnTo>
                        <a:pt x="637" y="1170"/>
                      </a:lnTo>
                      <a:lnTo>
                        <a:pt x="638" y="1170"/>
                      </a:lnTo>
                      <a:lnTo>
                        <a:pt x="638" y="1171"/>
                      </a:lnTo>
                      <a:lnTo>
                        <a:pt x="639" y="1172"/>
                      </a:lnTo>
                      <a:lnTo>
                        <a:pt x="637" y="1172"/>
                      </a:lnTo>
                      <a:lnTo>
                        <a:pt x="637" y="1173"/>
                      </a:lnTo>
                      <a:lnTo>
                        <a:pt x="635" y="1173"/>
                      </a:lnTo>
                      <a:lnTo>
                        <a:pt x="635" y="1174"/>
                      </a:lnTo>
                      <a:lnTo>
                        <a:pt x="634" y="1174"/>
                      </a:lnTo>
                      <a:lnTo>
                        <a:pt x="638" y="1175"/>
                      </a:lnTo>
                      <a:lnTo>
                        <a:pt x="640" y="1175"/>
                      </a:lnTo>
                      <a:lnTo>
                        <a:pt x="641" y="1175"/>
                      </a:lnTo>
                      <a:lnTo>
                        <a:pt x="642" y="1176"/>
                      </a:lnTo>
                      <a:lnTo>
                        <a:pt x="642" y="1175"/>
                      </a:lnTo>
                      <a:lnTo>
                        <a:pt x="642" y="1174"/>
                      </a:lnTo>
                      <a:lnTo>
                        <a:pt x="643" y="1174"/>
                      </a:lnTo>
                      <a:lnTo>
                        <a:pt x="643" y="1175"/>
                      </a:lnTo>
                      <a:lnTo>
                        <a:pt x="644" y="1175"/>
                      </a:lnTo>
                      <a:lnTo>
                        <a:pt x="644" y="1174"/>
                      </a:lnTo>
                      <a:lnTo>
                        <a:pt x="645" y="1175"/>
                      </a:lnTo>
                      <a:lnTo>
                        <a:pt x="646" y="1175"/>
                      </a:lnTo>
                      <a:lnTo>
                        <a:pt x="647" y="1174"/>
                      </a:lnTo>
                      <a:lnTo>
                        <a:pt x="648" y="1173"/>
                      </a:lnTo>
                      <a:lnTo>
                        <a:pt x="647" y="1173"/>
                      </a:lnTo>
                      <a:lnTo>
                        <a:pt x="647" y="1172"/>
                      </a:lnTo>
                      <a:lnTo>
                        <a:pt x="648" y="1172"/>
                      </a:lnTo>
                      <a:lnTo>
                        <a:pt x="648" y="1171"/>
                      </a:lnTo>
                      <a:lnTo>
                        <a:pt x="650" y="1172"/>
                      </a:lnTo>
                      <a:lnTo>
                        <a:pt x="651" y="1173"/>
                      </a:lnTo>
                      <a:lnTo>
                        <a:pt x="650" y="1174"/>
                      </a:lnTo>
                      <a:lnTo>
                        <a:pt x="648" y="1176"/>
                      </a:lnTo>
                      <a:lnTo>
                        <a:pt x="646" y="1176"/>
                      </a:lnTo>
                      <a:lnTo>
                        <a:pt x="642" y="1176"/>
                      </a:lnTo>
                      <a:lnTo>
                        <a:pt x="639" y="1176"/>
                      </a:lnTo>
                      <a:lnTo>
                        <a:pt x="635" y="1175"/>
                      </a:lnTo>
                      <a:lnTo>
                        <a:pt x="632" y="1175"/>
                      </a:lnTo>
                      <a:lnTo>
                        <a:pt x="630" y="1174"/>
                      </a:lnTo>
                      <a:lnTo>
                        <a:pt x="628" y="1174"/>
                      </a:lnTo>
                      <a:lnTo>
                        <a:pt x="624" y="1173"/>
                      </a:lnTo>
                      <a:lnTo>
                        <a:pt x="620" y="1172"/>
                      </a:lnTo>
                      <a:lnTo>
                        <a:pt x="618" y="1172"/>
                      </a:lnTo>
                      <a:lnTo>
                        <a:pt x="617" y="1171"/>
                      </a:lnTo>
                      <a:lnTo>
                        <a:pt x="614" y="1170"/>
                      </a:lnTo>
                      <a:lnTo>
                        <a:pt x="611" y="1169"/>
                      </a:lnTo>
                      <a:lnTo>
                        <a:pt x="605" y="1167"/>
                      </a:lnTo>
                      <a:lnTo>
                        <a:pt x="604" y="1167"/>
                      </a:lnTo>
                      <a:lnTo>
                        <a:pt x="601" y="1166"/>
                      </a:lnTo>
                      <a:lnTo>
                        <a:pt x="598" y="1164"/>
                      </a:lnTo>
                      <a:lnTo>
                        <a:pt x="593" y="1162"/>
                      </a:lnTo>
                      <a:lnTo>
                        <a:pt x="592" y="1161"/>
                      </a:lnTo>
                      <a:lnTo>
                        <a:pt x="589" y="1160"/>
                      </a:lnTo>
                      <a:lnTo>
                        <a:pt x="582" y="1156"/>
                      </a:lnTo>
                      <a:lnTo>
                        <a:pt x="579" y="1155"/>
                      </a:lnTo>
                      <a:lnTo>
                        <a:pt x="577" y="1153"/>
                      </a:lnTo>
                      <a:lnTo>
                        <a:pt x="575" y="1151"/>
                      </a:lnTo>
                      <a:lnTo>
                        <a:pt x="573" y="1149"/>
                      </a:lnTo>
                      <a:lnTo>
                        <a:pt x="573" y="1148"/>
                      </a:lnTo>
                      <a:lnTo>
                        <a:pt x="574" y="1148"/>
                      </a:lnTo>
                      <a:lnTo>
                        <a:pt x="574" y="1149"/>
                      </a:lnTo>
                      <a:lnTo>
                        <a:pt x="576" y="1150"/>
                      </a:lnTo>
                      <a:close/>
                      <a:moveTo>
                        <a:pt x="834" y="962"/>
                      </a:moveTo>
                      <a:lnTo>
                        <a:pt x="835" y="962"/>
                      </a:lnTo>
                      <a:lnTo>
                        <a:pt x="835" y="963"/>
                      </a:lnTo>
                      <a:lnTo>
                        <a:pt x="836" y="963"/>
                      </a:lnTo>
                      <a:lnTo>
                        <a:pt x="836" y="964"/>
                      </a:lnTo>
                      <a:lnTo>
                        <a:pt x="837" y="965"/>
                      </a:lnTo>
                      <a:lnTo>
                        <a:pt x="838" y="965"/>
                      </a:lnTo>
                      <a:lnTo>
                        <a:pt x="839" y="966"/>
                      </a:lnTo>
                      <a:lnTo>
                        <a:pt x="840" y="968"/>
                      </a:lnTo>
                      <a:lnTo>
                        <a:pt x="841" y="969"/>
                      </a:lnTo>
                      <a:lnTo>
                        <a:pt x="841" y="970"/>
                      </a:lnTo>
                      <a:lnTo>
                        <a:pt x="840" y="970"/>
                      </a:lnTo>
                      <a:lnTo>
                        <a:pt x="839" y="969"/>
                      </a:lnTo>
                      <a:lnTo>
                        <a:pt x="838" y="968"/>
                      </a:lnTo>
                      <a:lnTo>
                        <a:pt x="838" y="967"/>
                      </a:lnTo>
                      <a:lnTo>
                        <a:pt x="838" y="968"/>
                      </a:lnTo>
                      <a:lnTo>
                        <a:pt x="837" y="968"/>
                      </a:lnTo>
                      <a:lnTo>
                        <a:pt x="838" y="969"/>
                      </a:lnTo>
                      <a:lnTo>
                        <a:pt x="838" y="970"/>
                      </a:lnTo>
                      <a:lnTo>
                        <a:pt x="838" y="971"/>
                      </a:lnTo>
                      <a:lnTo>
                        <a:pt x="839" y="971"/>
                      </a:lnTo>
                      <a:lnTo>
                        <a:pt x="840" y="971"/>
                      </a:lnTo>
                      <a:lnTo>
                        <a:pt x="840" y="973"/>
                      </a:lnTo>
                      <a:lnTo>
                        <a:pt x="839" y="973"/>
                      </a:lnTo>
                      <a:lnTo>
                        <a:pt x="839" y="974"/>
                      </a:lnTo>
                      <a:lnTo>
                        <a:pt x="838" y="975"/>
                      </a:lnTo>
                      <a:lnTo>
                        <a:pt x="838" y="976"/>
                      </a:lnTo>
                      <a:lnTo>
                        <a:pt x="839" y="977"/>
                      </a:lnTo>
                      <a:lnTo>
                        <a:pt x="839" y="978"/>
                      </a:lnTo>
                      <a:lnTo>
                        <a:pt x="839" y="979"/>
                      </a:lnTo>
                      <a:lnTo>
                        <a:pt x="838" y="979"/>
                      </a:lnTo>
                      <a:lnTo>
                        <a:pt x="838" y="978"/>
                      </a:lnTo>
                      <a:lnTo>
                        <a:pt x="837" y="978"/>
                      </a:lnTo>
                      <a:lnTo>
                        <a:pt x="837" y="977"/>
                      </a:lnTo>
                      <a:lnTo>
                        <a:pt x="836" y="977"/>
                      </a:lnTo>
                      <a:lnTo>
                        <a:pt x="835" y="977"/>
                      </a:lnTo>
                      <a:lnTo>
                        <a:pt x="834" y="977"/>
                      </a:lnTo>
                      <a:lnTo>
                        <a:pt x="833" y="977"/>
                      </a:lnTo>
                      <a:lnTo>
                        <a:pt x="833" y="976"/>
                      </a:lnTo>
                      <a:lnTo>
                        <a:pt x="832" y="976"/>
                      </a:lnTo>
                      <a:lnTo>
                        <a:pt x="832" y="975"/>
                      </a:lnTo>
                      <a:lnTo>
                        <a:pt x="833" y="975"/>
                      </a:lnTo>
                      <a:lnTo>
                        <a:pt x="833" y="974"/>
                      </a:lnTo>
                      <a:lnTo>
                        <a:pt x="834" y="974"/>
                      </a:lnTo>
                      <a:lnTo>
                        <a:pt x="834" y="973"/>
                      </a:lnTo>
                      <a:lnTo>
                        <a:pt x="834" y="971"/>
                      </a:lnTo>
                      <a:lnTo>
                        <a:pt x="834" y="970"/>
                      </a:lnTo>
                      <a:lnTo>
                        <a:pt x="833" y="970"/>
                      </a:lnTo>
                      <a:lnTo>
                        <a:pt x="834" y="970"/>
                      </a:lnTo>
                      <a:lnTo>
                        <a:pt x="833" y="970"/>
                      </a:lnTo>
                      <a:lnTo>
                        <a:pt x="833" y="969"/>
                      </a:lnTo>
                      <a:lnTo>
                        <a:pt x="833" y="970"/>
                      </a:lnTo>
                      <a:lnTo>
                        <a:pt x="833" y="969"/>
                      </a:lnTo>
                      <a:lnTo>
                        <a:pt x="832" y="969"/>
                      </a:lnTo>
                      <a:lnTo>
                        <a:pt x="832" y="968"/>
                      </a:lnTo>
                      <a:lnTo>
                        <a:pt x="831" y="968"/>
                      </a:lnTo>
                      <a:lnTo>
                        <a:pt x="829" y="968"/>
                      </a:lnTo>
                      <a:lnTo>
                        <a:pt x="828" y="967"/>
                      </a:lnTo>
                      <a:lnTo>
                        <a:pt x="828" y="968"/>
                      </a:lnTo>
                      <a:lnTo>
                        <a:pt x="827" y="967"/>
                      </a:lnTo>
                      <a:lnTo>
                        <a:pt x="826" y="967"/>
                      </a:lnTo>
                      <a:lnTo>
                        <a:pt x="825" y="967"/>
                      </a:lnTo>
                      <a:lnTo>
                        <a:pt x="825" y="966"/>
                      </a:lnTo>
                      <a:lnTo>
                        <a:pt x="825" y="965"/>
                      </a:lnTo>
                      <a:lnTo>
                        <a:pt x="826" y="965"/>
                      </a:lnTo>
                      <a:lnTo>
                        <a:pt x="827" y="966"/>
                      </a:lnTo>
                      <a:lnTo>
                        <a:pt x="828" y="966"/>
                      </a:lnTo>
                      <a:lnTo>
                        <a:pt x="828" y="967"/>
                      </a:lnTo>
                      <a:lnTo>
                        <a:pt x="829" y="967"/>
                      </a:lnTo>
                      <a:lnTo>
                        <a:pt x="829" y="966"/>
                      </a:lnTo>
                      <a:lnTo>
                        <a:pt x="828" y="966"/>
                      </a:lnTo>
                      <a:lnTo>
                        <a:pt x="827" y="966"/>
                      </a:lnTo>
                      <a:lnTo>
                        <a:pt x="827" y="965"/>
                      </a:lnTo>
                      <a:lnTo>
                        <a:pt x="826" y="965"/>
                      </a:lnTo>
                      <a:lnTo>
                        <a:pt x="825" y="964"/>
                      </a:lnTo>
                      <a:lnTo>
                        <a:pt x="825" y="963"/>
                      </a:lnTo>
                      <a:lnTo>
                        <a:pt x="826" y="963"/>
                      </a:lnTo>
                      <a:lnTo>
                        <a:pt x="827" y="963"/>
                      </a:lnTo>
                      <a:lnTo>
                        <a:pt x="826" y="963"/>
                      </a:lnTo>
                      <a:lnTo>
                        <a:pt x="827" y="964"/>
                      </a:lnTo>
                      <a:lnTo>
                        <a:pt x="827" y="963"/>
                      </a:lnTo>
                      <a:lnTo>
                        <a:pt x="827" y="964"/>
                      </a:lnTo>
                      <a:lnTo>
                        <a:pt x="828" y="964"/>
                      </a:lnTo>
                      <a:lnTo>
                        <a:pt x="828" y="963"/>
                      </a:lnTo>
                      <a:lnTo>
                        <a:pt x="829" y="963"/>
                      </a:lnTo>
                      <a:lnTo>
                        <a:pt x="829" y="964"/>
                      </a:lnTo>
                      <a:lnTo>
                        <a:pt x="829" y="965"/>
                      </a:lnTo>
                      <a:lnTo>
                        <a:pt x="828" y="965"/>
                      </a:lnTo>
                      <a:lnTo>
                        <a:pt x="829" y="965"/>
                      </a:lnTo>
                      <a:lnTo>
                        <a:pt x="831" y="964"/>
                      </a:lnTo>
                      <a:lnTo>
                        <a:pt x="831" y="965"/>
                      </a:lnTo>
                      <a:lnTo>
                        <a:pt x="832" y="965"/>
                      </a:lnTo>
                      <a:lnTo>
                        <a:pt x="832" y="966"/>
                      </a:lnTo>
                      <a:lnTo>
                        <a:pt x="832" y="967"/>
                      </a:lnTo>
                      <a:lnTo>
                        <a:pt x="833" y="967"/>
                      </a:lnTo>
                      <a:lnTo>
                        <a:pt x="832" y="967"/>
                      </a:lnTo>
                      <a:lnTo>
                        <a:pt x="832" y="968"/>
                      </a:lnTo>
                      <a:lnTo>
                        <a:pt x="832" y="967"/>
                      </a:lnTo>
                      <a:lnTo>
                        <a:pt x="831" y="967"/>
                      </a:lnTo>
                      <a:lnTo>
                        <a:pt x="831" y="966"/>
                      </a:lnTo>
                      <a:lnTo>
                        <a:pt x="831" y="967"/>
                      </a:lnTo>
                      <a:lnTo>
                        <a:pt x="832" y="967"/>
                      </a:lnTo>
                      <a:lnTo>
                        <a:pt x="831" y="967"/>
                      </a:lnTo>
                      <a:lnTo>
                        <a:pt x="832" y="967"/>
                      </a:lnTo>
                      <a:lnTo>
                        <a:pt x="832" y="968"/>
                      </a:lnTo>
                      <a:lnTo>
                        <a:pt x="833" y="968"/>
                      </a:lnTo>
                      <a:lnTo>
                        <a:pt x="832" y="968"/>
                      </a:lnTo>
                      <a:lnTo>
                        <a:pt x="833" y="967"/>
                      </a:lnTo>
                      <a:lnTo>
                        <a:pt x="833" y="966"/>
                      </a:lnTo>
                      <a:lnTo>
                        <a:pt x="833" y="965"/>
                      </a:lnTo>
                      <a:lnTo>
                        <a:pt x="832" y="965"/>
                      </a:lnTo>
                      <a:lnTo>
                        <a:pt x="832" y="964"/>
                      </a:lnTo>
                      <a:lnTo>
                        <a:pt x="831" y="964"/>
                      </a:lnTo>
                      <a:lnTo>
                        <a:pt x="832" y="963"/>
                      </a:lnTo>
                      <a:lnTo>
                        <a:pt x="832" y="962"/>
                      </a:lnTo>
                      <a:lnTo>
                        <a:pt x="832" y="961"/>
                      </a:lnTo>
                      <a:lnTo>
                        <a:pt x="833" y="961"/>
                      </a:lnTo>
                      <a:lnTo>
                        <a:pt x="834" y="962"/>
                      </a:lnTo>
                      <a:close/>
                      <a:moveTo>
                        <a:pt x="697" y="1125"/>
                      </a:moveTo>
                      <a:lnTo>
                        <a:pt x="697" y="1127"/>
                      </a:lnTo>
                      <a:lnTo>
                        <a:pt x="696" y="1127"/>
                      </a:lnTo>
                      <a:lnTo>
                        <a:pt x="696" y="1125"/>
                      </a:lnTo>
                      <a:lnTo>
                        <a:pt x="696" y="1127"/>
                      </a:lnTo>
                      <a:lnTo>
                        <a:pt x="695" y="1128"/>
                      </a:lnTo>
                      <a:lnTo>
                        <a:pt x="696" y="1128"/>
                      </a:lnTo>
                      <a:lnTo>
                        <a:pt x="695" y="1129"/>
                      </a:lnTo>
                      <a:lnTo>
                        <a:pt x="695" y="1130"/>
                      </a:lnTo>
                      <a:lnTo>
                        <a:pt x="696" y="1131"/>
                      </a:lnTo>
                      <a:lnTo>
                        <a:pt x="697" y="1131"/>
                      </a:lnTo>
                      <a:lnTo>
                        <a:pt x="697" y="1130"/>
                      </a:lnTo>
                      <a:lnTo>
                        <a:pt x="698" y="1130"/>
                      </a:lnTo>
                      <a:lnTo>
                        <a:pt x="698" y="1129"/>
                      </a:lnTo>
                      <a:lnTo>
                        <a:pt x="697" y="1129"/>
                      </a:lnTo>
                      <a:lnTo>
                        <a:pt x="697" y="1128"/>
                      </a:lnTo>
                      <a:lnTo>
                        <a:pt x="696" y="1128"/>
                      </a:lnTo>
                      <a:lnTo>
                        <a:pt x="696" y="1127"/>
                      </a:lnTo>
                      <a:lnTo>
                        <a:pt x="697" y="1127"/>
                      </a:lnTo>
                      <a:lnTo>
                        <a:pt x="698" y="1127"/>
                      </a:lnTo>
                      <a:lnTo>
                        <a:pt x="698" y="1125"/>
                      </a:lnTo>
                      <a:lnTo>
                        <a:pt x="697" y="1125"/>
                      </a:lnTo>
                      <a:lnTo>
                        <a:pt x="697" y="1124"/>
                      </a:lnTo>
                      <a:lnTo>
                        <a:pt x="698" y="1123"/>
                      </a:lnTo>
                      <a:lnTo>
                        <a:pt x="697" y="1123"/>
                      </a:lnTo>
                      <a:lnTo>
                        <a:pt x="697" y="1124"/>
                      </a:lnTo>
                      <a:lnTo>
                        <a:pt x="697" y="1125"/>
                      </a:lnTo>
                      <a:lnTo>
                        <a:pt x="697" y="1124"/>
                      </a:lnTo>
                      <a:lnTo>
                        <a:pt x="697" y="1123"/>
                      </a:lnTo>
                      <a:lnTo>
                        <a:pt x="698" y="1123"/>
                      </a:lnTo>
                      <a:lnTo>
                        <a:pt x="700" y="1124"/>
                      </a:lnTo>
                      <a:lnTo>
                        <a:pt x="702" y="1125"/>
                      </a:lnTo>
                      <a:lnTo>
                        <a:pt x="702" y="1127"/>
                      </a:lnTo>
                      <a:lnTo>
                        <a:pt x="702" y="1128"/>
                      </a:lnTo>
                      <a:lnTo>
                        <a:pt x="703" y="1128"/>
                      </a:lnTo>
                      <a:lnTo>
                        <a:pt x="702" y="1129"/>
                      </a:lnTo>
                      <a:lnTo>
                        <a:pt x="700" y="1130"/>
                      </a:lnTo>
                      <a:lnTo>
                        <a:pt x="699" y="1131"/>
                      </a:lnTo>
                      <a:lnTo>
                        <a:pt x="698" y="1131"/>
                      </a:lnTo>
                      <a:lnTo>
                        <a:pt x="698" y="1132"/>
                      </a:lnTo>
                      <a:lnTo>
                        <a:pt x="696" y="1132"/>
                      </a:lnTo>
                      <a:lnTo>
                        <a:pt x="696" y="1133"/>
                      </a:lnTo>
                      <a:lnTo>
                        <a:pt x="695" y="1133"/>
                      </a:lnTo>
                      <a:lnTo>
                        <a:pt x="694" y="1133"/>
                      </a:lnTo>
                      <a:lnTo>
                        <a:pt x="692" y="1134"/>
                      </a:lnTo>
                      <a:lnTo>
                        <a:pt x="691" y="1134"/>
                      </a:lnTo>
                      <a:lnTo>
                        <a:pt x="690" y="1134"/>
                      </a:lnTo>
                      <a:lnTo>
                        <a:pt x="689" y="1135"/>
                      </a:lnTo>
                      <a:lnTo>
                        <a:pt x="687" y="1135"/>
                      </a:lnTo>
                      <a:lnTo>
                        <a:pt x="686" y="1136"/>
                      </a:lnTo>
                      <a:lnTo>
                        <a:pt x="684" y="1136"/>
                      </a:lnTo>
                      <a:lnTo>
                        <a:pt x="683" y="1136"/>
                      </a:lnTo>
                      <a:lnTo>
                        <a:pt x="681" y="1137"/>
                      </a:lnTo>
                      <a:lnTo>
                        <a:pt x="680" y="1137"/>
                      </a:lnTo>
                      <a:lnTo>
                        <a:pt x="680" y="1136"/>
                      </a:lnTo>
                      <a:lnTo>
                        <a:pt x="681" y="1136"/>
                      </a:lnTo>
                      <a:lnTo>
                        <a:pt x="682" y="1136"/>
                      </a:lnTo>
                      <a:lnTo>
                        <a:pt x="683" y="1135"/>
                      </a:lnTo>
                      <a:lnTo>
                        <a:pt x="684" y="1135"/>
                      </a:lnTo>
                      <a:lnTo>
                        <a:pt x="685" y="1134"/>
                      </a:lnTo>
                      <a:lnTo>
                        <a:pt x="687" y="1134"/>
                      </a:lnTo>
                      <a:lnTo>
                        <a:pt x="689" y="1134"/>
                      </a:lnTo>
                      <a:lnTo>
                        <a:pt x="690" y="1133"/>
                      </a:lnTo>
                      <a:lnTo>
                        <a:pt x="692" y="1133"/>
                      </a:lnTo>
                      <a:lnTo>
                        <a:pt x="693" y="1133"/>
                      </a:lnTo>
                      <a:lnTo>
                        <a:pt x="693" y="1132"/>
                      </a:lnTo>
                      <a:lnTo>
                        <a:pt x="693" y="1131"/>
                      </a:lnTo>
                      <a:lnTo>
                        <a:pt x="694" y="1131"/>
                      </a:lnTo>
                      <a:lnTo>
                        <a:pt x="694" y="1130"/>
                      </a:lnTo>
                      <a:lnTo>
                        <a:pt x="695" y="1129"/>
                      </a:lnTo>
                      <a:lnTo>
                        <a:pt x="695" y="1128"/>
                      </a:lnTo>
                      <a:lnTo>
                        <a:pt x="695" y="1127"/>
                      </a:lnTo>
                      <a:lnTo>
                        <a:pt x="695" y="1125"/>
                      </a:lnTo>
                      <a:lnTo>
                        <a:pt x="694" y="1125"/>
                      </a:lnTo>
                      <a:lnTo>
                        <a:pt x="694" y="1124"/>
                      </a:lnTo>
                      <a:lnTo>
                        <a:pt x="694" y="1123"/>
                      </a:lnTo>
                      <a:lnTo>
                        <a:pt x="695" y="1122"/>
                      </a:lnTo>
                      <a:lnTo>
                        <a:pt x="696" y="1123"/>
                      </a:lnTo>
                      <a:lnTo>
                        <a:pt x="696" y="1124"/>
                      </a:lnTo>
                      <a:lnTo>
                        <a:pt x="695" y="1124"/>
                      </a:lnTo>
                      <a:lnTo>
                        <a:pt x="695" y="1125"/>
                      </a:lnTo>
                      <a:lnTo>
                        <a:pt x="696" y="1125"/>
                      </a:lnTo>
                      <a:lnTo>
                        <a:pt x="697" y="1125"/>
                      </a:lnTo>
                      <a:close/>
                      <a:moveTo>
                        <a:pt x="721" y="1166"/>
                      </a:moveTo>
                      <a:lnTo>
                        <a:pt x="720" y="1166"/>
                      </a:lnTo>
                      <a:lnTo>
                        <a:pt x="719" y="1167"/>
                      </a:lnTo>
                      <a:lnTo>
                        <a:pt x="718" y="1167"/>
                      </a:lnTo>
                      <a:lnTo>
                        <a:pt x="717" y="1167"/>
                      </a:lnTo>
                      <a:lnTo>
                        <a:pt x="716" y="1168"/>
                      </a:lnTo>
                      <a:lnTo>
                        <a:pt x="713" y="1168"/>
                      </a:lnTo>
                      <a:lnTo>
                        <a:pt x="713" y="1169"/>
                      </a:lnTo>
                      <a:lnTo>
                        <a:pt x="711" y="1169"/>
                      </a:lnTo>
                      <a:lnTo>
                        <a:pt x="710" y="1169"/>
                      </a:lnTo>
                      <a:lnTo>
                        <a:pt x="710" y="1170"/>
                      </a:lnTo>
                      <a:lnTo>
                        <a:pt x="709" y="1170"/>
                      </a:lnTo>
                      <a:lnTo>
                        <a:pt x="708" y="1170"/>
                      </a:lnTo>
                      <a:lnTo>
                        <a:pt x="708" y="1171"/>
                      </a:lnTo>
                      <a:lnTo>
                        <a:pt x="707" y="1171"/>
                      </a:lnTo>
                      <a:lnTo>
                        <a:pt x="705" y="1171"/>
                      </a:lnTo>
                      <a:lnTo>
                        <a:pt x="704" y="1171"/>
                      </a:lnTo>
                      <a:lnTo>
                        <a:pt x="704" y="1170"/>
                      </a:lnTo>
                      <a:lnTo>
                        <a:pt x="703" y="1169"/>
                      </a:lnTo>
                      <a:lnTo>
                        <a:pt x="704" y="1169"/>
                      </a:lnTo>
                      <a:lnTo>
                        <a:pt x="705" y="1169"/>
                      </a:lnTo>
                      <a:lnTo>
                        <a:pt x="706" y="1169"/>
                      </a:lnTo>
                      <a:lnTo>
                        <a:pt x="707" y="1168"/>
                      </a:lnTo>
                      <a:lnTo>
                        <a:pt x="708" y="1167"/>
                      </a:lnTo>
                      <a:lnTo>
                        <a:pt x="709" y="1166"/>
                      </a:lnTo>
                      <a:lnTo>
                        <a:pt x="710" y="1166"/>
                      </a:lnTo>
                      <a:lnTo>
                        <a:pt x="711" y="1166"/>
                      </a:lnTo>
                      <a:lnTo>
                        <a:pt x="712" y="1166"/>
                      </a:lnTo>
                      <a:lnTo>
                        <a:pt x="715" y="1166"/>
                      </a:lnTo>
                      <a:lnTo>
                        <a:pt x="716" y="1166"/>
                      </a:lnTo>
                      <a:lnTo>
                        <a:pt x="717" y="1164"/>
                      </a:lnTo>
                      <a:lnTo>
                        <a:pt x="718" y="1164"/>
                      </a:lnTo>
                      <a:lnTo>
                        <a:pt x="718" y="1163"/>
                      </a:lnTo>
                      <a:lnTo>
                        <a:pt x="719" y="1163"/>
                      </a:lnTo>
                      <a:lnTo>
                        <a:pt x="720" y="1163"/>
                      </a:lnTo>
                      <a:lnTo>
                        <a:pt x="721" y="1163"/>
                      </a:lnTo>
                      <a:lnTo>
                        <a:pt x="721" y="1164"/>
                      </a:lnTo>
                      <a:lnTo>
                        <a:pt x="721" y="1166"/>
                      </a:lnTo>
                      <a:close/>
                      <a:moveTo>
                        <a:pt x="887" y="911"/>
                      </a:moveTo>
                      <a:lnTo>
                        <a:pt x="888" y="911"/>
                      </a:lnTo>
                      <a:lnTo>
                        <a:pt x="889" y="911"/>
                      </a:lnTo>
                      <a:lnTo>
                        <a:pt x="889" y="912"/>
                      </a:lnTo>
                      <a:lnTo>
                        <a:pt x="890" y="912"/>
                      </a:lnTo>
                      <a:lnTo>
                        <a:pt x="890" y="913"/>
                      </a:lnTo>
                      <a:lnTo>
                        <a:pt x="890" y="912"/>
                      </a:lnTo>
                      <a:lnTo>
                        <a:pt x="890" y="913"/>
                      </a:lnTo>
                      <a:lnTo>
                        <a:pt x="891" y="913"/>
                      </a:lnTo>
                      <a:lnTo>
                        <a:pt x="891" y="914"/>
                      </a:lnTo>
                      <a:lnTo>
                        <a:pt x="892" y="914"/>
                      </a:lnTo>
                      <a:lnTo>
                        <a:pt x="892" y="913"/>
                      </a:lnTo>
                      <a:lnTo>
                        <a:pt x="893" y="913"/>
                      </a:lnTo>
                      <a:lnTo>
                        <a:pt x="893" y="914"/>
                      </a:lnTo>
                      <a:lnTo>
                        <a:pt x="892" y="914"/>
                      </a:lnTo>
                      <a:lnTo>
                        <a:pt x="891" y="914"/>
                      </a:lnTo>
                      <a:lnTo>
                        <a:pt x="891" y="915"/>
                      </a:lnTo>
                      <a:lnTo>
                        <a:pt x="891" y="914"/>
                      </a:lnTo>
                      <a:lnTo>
                        <a:pt x="890" y="914"/>
                      </a:lnTo>
                      <a:lnTo>
                        <a:pt x="891" y="914"/>
                      </a:lnTo>
                      <a:lnTo>
                        <a:pt x="890" y="914"/>
                      </a:lnTo>
                      <a:lnTo>
                        <a:pt x="890" y="915"/>
                      </a:lnTo>
                      <a:lnTo>
                        <a:pt x="889" y="915"/>
                      </a:lnTo>
                      <a:lnTo>
                        <a:pt x="889" y="916"/>
                      </a:lnTo>
                      <a:lnTo>
                        <a:pt x="887" y="918"/>
                      </a:lnTo>
                      <a:lnTo>
                        <a:pt x="886" y="918"/>
                      </a:lnTo>
                      <a:lnTo>
                        <a:pt x="886" y="919"/>
                      </a:lnTo>
                      <a:lnTo>
                        <a:pt x="887" y="921"/>
                      </a:lnTo>
                      <a:lnTo>
                        <a:pt x="887" y="922"/>
                      </a:lnTo>
                      <a:lnTo>
                        <a:pt x="886" y="922"/>
                      </a:lnTo>
                      <a:lnTo>
                        <a:pt x="885" y="922"/>
                      </a:lnTo>
                      <a:lnTo>
                        <a:pt x="884" y="922"/>
                      </a:lnTo>
                      <a:lnTo>
                        <a:pt x="884" y="921"/>
                      </a:lnTo>
                      <a:lnTo>
                        <a:pt x="884" y="919"/>
                      </a:lnTo>
                      <a:lnTo>
                        <a:pt x="885" y="919"/>
                      </a:lnTo>
                      <a:lnTo>
                        <a:pt x="885" y="918"/>
                      </a:lnTo>
                      <a:lnTo>
                        <a:pt x="884" y="918"/>
                      </a:lnTo>
                      <a:lnTo>
                        <a:pt x="885" y="917"/>
                      </a:lnTo>
                      <a:lnTo>
                        <a:pt x="885" y="916"/>
                      </a:lnTo>
                      <a:lnTo>
                        <a:pt x="886" y="916"/>
                      </a:lnTo>
                      <a:lnTo>
                        <a:pt x="886" y="914"/>
                      </a:lnTo>
                      <a:lnTo>
                        <a:pt x="887" y="914"/>
                      </a:lnTo>
                      <a:lnTo>
                        <a:pt x="886" y="913"/>
                      </a:lnTo>
                      <a:lnTo>
                        <a:pt x="886" y="914"/>
                      </a:lnTo>
                      <a:lnTo>
                        <a:pt x="883" y="912"/>
                      </a:lnTo>
                      <a:lnTo>
                        <a:pt x="884" y="912"/>
                      </a:lnTo>
                      <a:lnTo>
                        <a:pt x="884" y="911"/>
                      </a:lnTo>
                      <a:lnTo>
                        <a:pt x="885" y="911"/>
                      </a:lnTo>
                      <a:lnTo>
                        <a:pt x="885" y="910"/>
                      </a:lnTo>
                      <a:lnTo>
                        <a:pt x="886" y="910"/>
                      </a:lnTo>
                      <a:lnTo>
                        <a:pt x="887" y="910"/>
                      </a:lnTo>
                      <a:lnTo>
                        <a:pt x="887" y="911"/>
                      </a:lnTo>
                      <a:close/>
                      <a:moveTo>
                        <a:pt x="844" y="988"/>
                      </a:moveTo>
                      <a:lnTo>
                        <a:pt x="846" y="988"/>
                      </a:lnTo>
                      <a:lnTo>
                        <a:pt x="847" y="988"/>
                      </a:lnTo>
                      <a:lnTo>
                        <a:pt x="845" y="989"/>
                      </a:lnTo>
                      <a:lnTo>
                        <a:pt x="844" y="991"/>
                      </a:lnTo>
                      <a:lnTo>
                        <a:pt x="842" y="991"/>
                      </a:lnTo>
                      <a:lnTo>
                        <a:pt x="842" y="992"/>
                      </a:lnTo>
                      <a:lnTo>
                        <a:pt x="841" y="992"/>
                      </a:lnTo>
                      <a:lnTo>
                        <a:pt x="841" y="993"/>
                      </a:lnTo>
                      <a:lnTo>
                        <a:pt x="841" y="994"/>
                      </a:lnTo>
                      <a:lnTo>
                        <a:pt x="840" y="994"/>
                      </a:lnTo>
                      <a:lnTo>
                        <a:pt x="841" y="994"/>
                      </a:lnTo>
                      <a:lnTo>
                        <a:pt x="842" y="994"/>
                      </a:lnTo>
                      <a:lnTo>
                        <a:pt x="842" y="993"/>
                      </a:lnTo>
                      <a:lnTo>
                        <a:pt x="842" y="992"/>
                      </a:lnTo>
                      <a:lnTo>
                        <a:pt x="844" y="992"/>
                      </a:lnTo>
                      <a:lnTo>
                        <a:pt x="842" y="992"/>
                      </a:lnTo>
                      <a:lnTo>
                        <a:pt x="842" y="991"/>
                      </a:lnTo>
                      <a:lnTo>
                        <a:pt x="844" y="991"/>
                      </a:lnTo>
                      <a:lnTo>
                        <a:pt x="844" y="992"/>
                      </a:lnTo>
                      <a:lnTo>
                        <a:pt x="844" y="993"/>
                      </a:lnTo>
                      <a:lnTo>
                        <a:pt x="844" y="994"/>
                      </a:lnTo>
                      <a:lnTo>
                        <a:pt x="844" y="995"/>
                      </a:lnTo>
                      <a:lnTo>
                        <a:pt x="844" y="996"/>
                      </a:lnTo>
                      <a:lnTo>
                        <a:pt x="844" y="998"/>
                      </a:lnTo>
                      <a:lnTo>
                        <a:pt x="845" y="998"/>
                      </a:lnTo>
                      <a:lnTo>
                        <a:pt x="845" y="996"/>
                      </a:lnTo>
                      <a:lnTo>
                        <a:pt x="846" y="998"/>
                      </a:lnTo>
                      <a:lnTo>
                        <a:pt x="846" y="999"/>
                      </a:lnTo>
                      <a:lnTo>
                        <a:pt x="847" y="999"/>
                      </a:lnTo>
                      <a:lnTo>
                        <a:pt x="848" y="999"/>
                      </a:lnTo>
                      <a:lnTo>
                        <a:pt x="849" y="999"/>
                      </a:lnTo>
                      <a:lnTo>
                        <a:pt x="848" y="999"/>
                      </a:lnTo>
                      <a:lnTo>
                        <a:pt x="848" y="1000"/>
                      </a:lnTo>
                      <a:lnTo>
                        <a:pt x="849" y="1000"/>
                      </a:lnTo>
                      <a:lnTo>
                        <a:pt x="849" y="1001"/>
                      </a:lnTo>
                      <a:lnTo>
                        <a:pt x="848" y="1001"/>
                      </a:lnTo>
                      <a:lnTo>
                        <a:pt x="848" y="1000"/>
                      </a:lnTo>
                      <a:lnTo>
                        <a:pt x="847" y="1000"/>
                      </a:lnTo>
                      <a:lnTo>
                        <a:pt x="846" y="1000"/>
                      </a:lnTo>
                      <a:lnTo>
                        <a:pt x="847" y="1000"/>
                      </a:lnTo>
                      <a:lnTo>
                        <a:pt x="847" y="1001"/>
                      </a:lnTo>
                      <a:lnTo>
                        <a:pt x="848" y="1001"/>
                      </a:lnTo>
                      <a:lnTo>
                        <a:pt x="848" y="1000"/>
                      </a:lnTo>
                      <a:lnTo>
                        <a:pt x="848" y="1001"/>
                      </a:lnTo>
                      <a:lnTo>
                        <a:pt x="847" y="1002"/>
                      </a:lnTo>
                      <a:lnTo>
                        <a:pt x="848" y="1003"/>
                      </a:lnTo>
                      <a:lnTo>
                        <a:pt x="848" y="1004"/>
                      </a:lnTo>
                      <a:lnTo>
                        <a:pt x="847" y="1003"/>
                      </a:lnTo>
                      <a:lnTo>
                        <a:pt x="846" y="1003"/>
                      </a:lnTo>
                      <a:lnTo>
                        <a:pt x="846" y="1002"/>
                      </a:lnTo>
                      <a:lnTo>
                        <a:pt x="846" y="1001"/>
                      </a:lnTo>
                      <a:lnTo>
                        <a:pt x="846" y="1002"/>
                      </a:lnTo>
                      <a:lnTo>
                        <a:pt x="847" y="1001"/>
                      </a:lnTo>
                      <a:lnTo>
                        <a:pt x="846" y="1001"/>
                      </a:lnTo>
                      <a:lnTo>
                        <a:pt x="845" y="1001"/>
                      </a:lnTo>
                      <a:lnTo>
                        <a:pt x="845" y="1000"/>
                      </a:lnTo>
                      <a:lnTo>
                        <a:pt x="844" y="1000"/>
                      </a:lnTo>
                      <a:lnTo>
                        <a:pt x="844" y="999"/>
                      </a:lnTo>
                      <a:lnTo>
                        <a:pt x="845" y="999"/>
                      </a:lnTo>
                      <a:lnTo>
                        <a:pt x="844" y="998"/>
                      </a:lnTo>
                      <a:lnTo>
                        <a:pt x="842" y="998"/>
                      </a:lnTo>
                      <a:lnTo>
                        <a:pt x="841" y="998"/>
                      </a:lnTo>
                      <a:lnTo>
                        <a:pt x="841" y="996"/>
                      </a:lnTo>
                      <a:lnTo>
                        <a:pt x="841" y="995"/>
                      </a:lnTo>
                      <a:lnTo>
                        <a:pt x="840" y="995"/>
                      </a:lnTo>
                      <a:lnTo>
                        <a:pt x="841" y="995"/>
                      </a:lnTo>
                      <a:lnTo>
                        <a:pt x="840" y="995"/>
                      </a:lnTo>
                      <a:lnTo>
                        <a:pt x="840" y="994"/>
                      </a:lnTo>
                      <a:lnTo>
                        <a:pt x="840" y="993"/>
                      </a:lnTo>
                      <a:lnTo>
                        <a:pt x="839" y="993"/>
                      </a:lnTo>
                      <a:lnTo>
                        <a:pt x="839" y="992"/>
                      </a:lnTo>
                      <a:lnTo>
                        <a:pt x="839" y="993"/>
                      </a:lnTo>
                      <a:lnTo>
                        <a:pt x="839" y="992"/>
                      </a:lnTo>
                      <a:lnTo>
                        <a:pt x="839" y="991"/>
                      </a:lnTo>
                      <a:lnTo>
                        <a:pt x="838" y="990"/>
                      </a:lnTo>
                      <a:lnTo>
                        <a:pt x="838" y="989"/>
                      </a:lnTo>
                      <a:lnTo>
                        <a:pt x="837" y="989"/>
                      </a:lnTo>
                      <a:lnTo>
                        <a:pt x="838" y="989"/>
                      </a:lnTo>
                      <a:lnTo>
                        <a:pt x="838" y="990"/>
                      </a:lnTo>
                      <a:lnTo>
                        <a:pt x="839" y="990"/>
                      </a:lnTo>
                      <a:lnTo>
                        <a:pt x="839" y="991"/>
                      </a:lnTo>
                      <a:lnTo>
                        <a:pt x="840" y="991"/>
                      </a:lnTo>
                      <a:lnTo>
                        <a:pt x="840" y="990"/>
                      </a:lnTo>
                      <a:lnTo>
                        <a:pt x="841" y="990"/>
                      </a:lnTo>
                      <a:lnTo>
                        <a:pt x="841" y="989"/>
                      </a:lnTo>
                      <a:lnTo>
                        <a:pt x="842" y="989"/>
                      </a:lnTo>
                      <a:lnTo>
                        <a:pt x="841" y="989"/>
                      </a:lnTo>
                      <a:lnTo>
                        <a:pt x="842" y="989"/>
                      </a:lnTo>
                      <a:lnTo>
                        <a:pt x="842" y="988"/>
                      </a:lnTo>
                      <a:lnTo>
                        <a:pt x="841" y="989"/>
                      </a:lnTo>
                      <a:lnTo>
                        <a:pt x="841" y="988"/>
                      </a:lnTo>
                      <a:lnTo>
                        <a:pt x="841" y="989"/>
                      </a:lnTo>
                      <a:lnTo>
                        <a:pt x="840" y="989"/>
                      </a:lnTo>
                      <a:lnTo>
                        <a:pt x="840" y="988"/>
                      </a:lnTo>
                      <a:lnTo>
                        <a:pt x="839" y="988"/>
                      </a:lnTo>
                      <a:lnTo>
                        <a:pt x="839" y="989"/>
                      </a:lnTo>
                      <a:lnTo>
                        <a:pt x="839" y="988"/>
                      </a:lnTo>
                      <a:lnTo>
                        <a:pt x="844" y="988"/>
                      </a:lnTo>
                      <a:close/>
                      <a:moveTo>
                        <a:pt x="876" y="897"/>
                      </a:moveTo>
                      <a:lnTo>
                        <a:pt x="877" y="898"/>
                      </a:lnTo>
                      <a:lnTo>
                        <a:pt x="878" y="898"/>
                      </a:lnTo>
                      <a:lnTo>
                        <a:pt x="878" y="899"/>
                      </a:lnTo>
                      <a:lnTo>
                        <a:pt x="879" y="899"/>
                      </a:lnTo>
                      <a:lnTo>
                        <a:pt x="880" y="899"/>
                      </a:lnTo>
                      <a:lnTo>
                        <a:pt x="882" y="899"/>
                      </a:lnTo>
                      <a:lnTo>
                        <a:pt x="882" y="900"/>
                      </a:lnTo>
                      <a:lnTo>
                        <a:pt x="882" y="899"/>
                      </a:lnTo>
                      <a:lnTo>
                        <a:pt x="882" y="898"/>
                      </a:lnTo>
                      <a:lnTo>
                        <a:pt x="883" y="898"/>
                      </a:lnTo>
                      <a:lnTo>
                        <a:pt x="883" y="899"/>
                      </a:lnTo>
                      <a:lnTo>
                        <a:pt x="883" y="900"/>
                      </a:lnTo>
                      <a:lnTo>
                        <a:pt x="884" y="900"/>
                      </a:lnTo>
                      <a:lnTo>
                        <a:pt x="883" y="900"/>
                      </a:lnTo>
                      <a:lnTo>
                        <a:pt x="883" y="901"/>
                      </a:lnTo>
                      <a:lnTo>
                        <a:pt x="883" y="902"/>
                      </a:lnTo>
                      <a:lnTo>
                        <a:pt x="883" y="903"/>
                      </a:lnTo>
                      <a:lnTo>
                        <a:pt x="883" y="904"/>
                      </a:lnTo>
                      <a:lnTo>
                        <a:pt x="882" y="904"/>
                      </a:lnTo>
                      <a:lnTo>
                        <a:pt x="882" y="905"/>
                      </a:lnTo>
                      <a:lnTo>
                        <a:pt x="880" y="904"/>
                      </a:lnTo>
                      <a:lnTo>
                        <a:pt x="880" y="903"/>
                      </a:lnTo>
                      <a:lnTo>
                        <a:pt x="879" y="903"/>
                      </a:lnTo>
                      <a:lnTo>
                        <a:pt x="878" y="904"/>
                      </a:lnTo>
                      <a:lnTo>
                        <a:pt x="878" y="903"/>
                      </a:lnTo>
                      <a:lnTo>
                        <a:pt x="877" y="902"/>
                      </a:lnTo>
                      <a:lnTo>
                        <a:pt x="878" y="901"/>
                      </a:lnTo>
                      <a:lnTo>
                        <a:pt x="879" y="901"/>
                      </a:lnTo>
                      <a:lnTo>
                        <a:pt x="879" y="902"/>
                      </a:lnTo>
                      <a:lnTo>
                        <a:pt x="880" y="902"/>
                      </a:lnTo>
                      <a:lnTo>
                        <a:pt x="880" y="903"/>
                      </a:lnTo>
                      <a:lnTo>
                        <a:pt x="880" y="902"/>
                      </a:lnTo>
                      <a:lnTo>
                        <a:pt x="879" y="902"/>
                      </a:lnTo>
                      <a:lnTo>
                        <a:pt x="880" y="902"/>
                      </a:lnTo>
                      <a:lnTo>
                        <a:pt x="879" y="901"/>
                      </a:lnTo>
                      <a:lnTo>
                        <a:pt x="880" y="901"/>
                      </a:lnTo>
                      <a:lnTo>
                        <a:pt x="880" y="900"/>
                      </a:lnTo>
                      <a:lnTo>
                        <a:pt x="880" y="899"/>
                      </a:lnTo>
                      <a:lnTo>
                        <a:pt x="880" y="900"/>
                      </a:lnTo>
                      <a:lnTo>
                        <a:pt x="879" y="900"/>
                      </a:lnTo>
                      <a:lnTo>
                        <a:pt x="880" y="900"/>
                      </a:lnTo>
                      <a:lnTo>
                        <a:pt x="879" y="901"/>
                      </a:lnTo>
                      <a:lnTo>
                        <a:pt x="879" y="900"/>
                      </a:lnTo>
                      <a:lnTo>
                        <a:pt x="879" y="901"/>
                      </a:lnTo>
                      <a:lnTo>
                        <a:pt x="878" y="901"/>
                      </a:lnTo>
                      <a:lnTo>
                        <a:pt x="878" y="900"/>
                      </a:lnTo>
                      <a:lnTo>
                        <a:pt x="878" y="901"/>
                      </a:lnTo>
                      <a:lnTo>
                        <a:pt x="877" y="900"/>
                      </a:lnTo>
                      <a:lnTo>
                        <a:pt x="877" y="901"/>
                      </a:lnTo>
                      <a:lnTo>
                        <a:pt x="877" y="902"/>
                      </a:lnTo>
                      <a:lnTo>
                        <a:pt x="876" y="902"/>
                      </a:lnTo>
                      <a:lnTo>
                        <a:pt x="875" y="902"/>
                      </a:lnTo>
                      <a:lnTo>
                        <a:pt x="875" y="901"/>
                      </a:lnTo>
                      <a:lnTo>
                        <a:pt x="875" y="900"/>
                      </a:lnTo>
                      <a:lnTo>
                        <a:pt x="875" y="899"/>
                      </a:lnTo>
                      <a:lnTo>
                        <a:pt x="876" y="899"/>
                      </a:lnTo>
                      <a:lnTo>
                        <a:pt x="876" y="898"/>
                      </a:lnTo>
                      <a:lnTo>
                        <a:pt x="875" y="898"/>
                      </a:lnTo>
                      <a:lnTo>
                        <a:pt x="874" y="898"/>
                      </a:lnTo>
                      <a:lnTo>
                        <a:pt x="874" y="899"/>
                      </a:lnTo>
                      <a:lnTo>
                        <a:pt x="874" y="898"/>
                      </a:lnTo>
                      <a:lnTo>
                        <a:pt x="874" y="897"/>
                      </a:lnTo>
                      <a:lnTo>
                        <a:pt x="875" y="897"/>
                      </a:lnTo>
                      <a:lnTo>
                        <a:pt x="876" y="897"/>
                      </a:lnTo>
                      <a:lnTo>
                        <a:pt x="876" y="896"/>
                      </a:lnTo>
                      <a:lnTo>
                        <a:pt x="876" y="897"/>
                      </a:lnTo>
                      <a:close/>
                      <a:moveTo>
                        <a:pt x="814" y="955"/>
                      </a:moveTo>
                      <a:lnTo>
                        <a:pt x="815" y="955"/>
                      </a:lnTo>
                      <a:lnTo>
                        <a:pt x="816" y="955"/>
                      </a:lnTo>
                      <a:lnTo>
                        <a:pt x="816" y="956"/>
                      </a:lnTo>
                      <a:lnTo>
                        <a:pt x="818" y="956"/>
                      </a:lnTo>
                      <a:lnTo>
                        <a:pt x="819" y="958"/>
                      </a:lnTo>
                      <a:lnTo>
                        <a:pt x="820" y="961"/>
                      </a:lnTo>
                      <a:lnTo>
                        <a:pt x="820" y="962"/>
                      </a:lnTo>
                      <a:lnTo>
                        <a:pt x="819" y="962"/>
                      </a:lnTo>
                      <a:lnTo>
                        <a:pt x="820" y="962"/>
                      </a:lnTo>
                      <a:lnTo>
                        <a:pt x="819" y="961"/>
                      </a:lnTo>
                      <a:lnTo>
                        <a:pt x="819" y="960"/>
                      </a:lnTo>
                      <a:lnTo>
                        <a:pt x="819" y="958"/>
                      </a:lnTo>
                      <a:lnTo>
                        <a:pt x="818" y="958"/>
                      </a:lnTo>
                      <a:lnTo>
                        <a:pt x="818" y="957"/>
                      </a:lnTo>
                      <a:lnTo>
                        <a:pt x="816" y="957"/>
                      </a:lnTo>
                      <a:lnTo>
                        <a:pt x="816" y="958"/>
                      </a:lnTo>
                      <a:lnTo>
                        <a:pt x="816" y="960"/>
                      </a:lnTo>
                      <a:lnTo>
                        <a:pt x="818" y="960"/>
                      </a:lnTo>
                      <a:lnTo>
                        <a:pt x="818" y="961"/>
                      </a:lnTo>
                      <a:lnTo>
                        <a:pt x="819" y="961"/>
                      </a:lnTo>
                      <a:lnTo>
                        <a:pt x="819" y="962"/>
                      </a:lnTo>
                      <a:lnTo>
                        <a:pt x="820" y="962"/>
                      </a:lnTo>
                      <a:lnTo>
                        <a:pt x="820" y="963"/>
                      </a:lnTo>
                      <a:lnTo>
                        <a:pt x="821" y="964"/>
                      </a:lnTo>
                      <a:lnTo>
                        <a:pt x="822" y="964"/>
                      </a:lnTo>
                      <a:lnTo>
                        <a:pt x="820" y="963"/>
                      </a:lnTo>
                      <a:lnTo>
                        <a:pt x="820" y="962"/>
                      </a:lnTo>
                      <a:lnTo>
                        <a:pt x="820" y="963"/>
                      </a:lnTo>
                      <a:lnTo>
                        <a:pt x="821" y="963"/>
                      </a:lnTo>
                      <a:lnTo>
                        <a:pt x="822" y="963"/>
                      </a:lnTo>
                      <a:lnTo>
                        <a:pt x="822" y="964"/>
                      </a:lnTo>
                      <a:lnTo>
                        <a:pt x="822" y="965"/>
                      </a:lnTo>
                      <a:lnTo>
                        <a:pt x="823" y="965"/>
                      </a:lnTo>
                      <a:lnTo>
                        <a:pt x="823" y="966"/>
                      </a:lnTo>
                      <a:lnTo>
                        <a:pt x="823" y="965"/>
                      </a:lnTo>
                      <a:lnTo>
                        <a:pt x="822" y="965"/>
                      </a:lnTo>
                      <a:lnTo>
                        <a:pt x="821" y="965"/>
                      </a:lnTo>
                      <a:lnTo>
                        <a:pt x="820" y="965"/>
                      </a:lnTo>
                      <a:lnTo>
                        <a:pt x="820" y="964"/>
                      </a:lnTo>
                      <a:lnTo>
                        <a:pt x="819" y="964"/>
                      </a:lnTo>
                      <a:lnTo>
                        <a:pt x="819" y="963"/>
                      </a:lnTo>
                      <a:lnTo>
                        <a:pt x="818" y="963"/>
                      </a:lnTo>
                      <a:lnTo>
                        <a:pt x="818" y="962"/>
                      </a:lnTo>
                      <a:lnTo>
                        <a:pt x="816" y="962"/>
                      </a:lnTo>
                      <a:lnTo>
                        <a:pt x="816" y="961"/>
                      </a:lnTo>
                      <a:lnTo>
                        <a:pt x="815" y="961"/>
                      </a:lnTo>
                      <a:lnTo>
                        <a:pt x="815" y="960"/>
                      </a:lnTo>
                      <a:lnTo>
                        <a:pt x="815" y="958"/>
                      </a:lnTo>
                      <a:lnTo>
                        <a:pt x="814" y="958"/>
                      </a:lnTo>
                      <a:lnTo>
                        <a:pt x="814" y="957"/>
                      </a:lnTo>
                      <a:lnTo>
                        <a:pt x="813" y="956"/>
                      </a:lnTo>
                      <a:lnTo>
                        <a:pt x="812" y="956"/>
                      </a:lnTo>
                      <a:lnTo>
                        <a:pt x="811" y="955"/>
                      </a:lnTo>
                      <a:lnTo>
                        <a:pt x="812" y="953"/>
                      </a:lnTo>
                      <a:lnTo>
                        <a:pt x="814" y="954"/>
                      </a:lnTo>
                      <a:lnTo>
                        <a:pt x="814" y="955"/>
                      </a:lnTo>
                      <a:close/>
                      <a:moveTo>
                        <a:pt x="877" y="995"/>
                      </a:moveTo>
                      <a:lnTo>
                        <a:pt x="878" y="996"/>
                      </a:lnTo>
                      <a:lnTo>
                        <a:pt x="879" y="996"/>
                      </a:lnTo>
                      <a:lnTo>
                        <a:pt x="879" y="995"/>
                      </a:lnTo>
                      <a:lnTo>
                        <a:pt x="879" y="996"/>
                      </a:lnTo>
                      <a:lnTo>
                        <a:pt x="880" y="996"/>
                      </a:lnTo>
                      <a:lnTo>
                        <a:pt x="880" y="998"/>
                      </a:lnTo>
                      <a:lnTo>
                        <a:pt x="882" y="998"/>
                      </a:lnTo>
                      <a:lnTo>
                        <a:pt x="883" y="998"/>
                      </a:lnTo>
                      <a:lnTo>
                        <a:pt x="883" y="996"/>
                      </a:lnTo>
                      <a:lnTo>
                        <a:pt x="882" y="996"/>
                      </a:lnTo>
                      <a:lnTo>
                        <a:pt x="883" y="996"/>
                      </a:lnTo>
                      <a:lnTo>
                        <a:pt x="884" y="998"/>
                      </a:lnTo>
                      <a:lnTo>
                        <a:pt x="885" y="998"/>
                      </a:lnTo>
                      <a:lnTo>
                        <a:pt x="884" y="998"/>
                      </a:lnTo>
                      <a:lnTo>
                        <a:pt x="885" y="998"/>
                      </a:lnTo>
                      <a:lnTo>
                        <a:pt x="886" y="998"/>
                      </a:lnTo>
                      <a:lnTo>
                        <a:pt x="887" y="998"/>
                      </a:lnTo>
                      <a:lnTo>
                        <a:pt x="887" y="999"/>
                      </a:lnTo>
                      <a:lnTo>
                        <a:pt x="887" y="1000"/>
                      </a:lnTo>
                      <a:lnTo>
                        <a:pt x="886" y="999"/>
                      </a:lnTo>
                      <a:lnTo>
                        <a:pt x="887" y="1000"/>
                      </a:lnTo>
                      <a:lnTo>
                        <a:pt x="887" y="1001"/>
                      </a:lnTo>
                      <a:lnTo>
                        <a:pt x="888" y="1001"/>
                      </a:lnTo>
                      <a:lnTo>
                        <a:pt x="888" y="1002"/>
                      </a:lnTo>
                      <a:lnTo>
                        <a:pt x="887" y="1002"/>
                      </a:lnTo>
                      <a:lnTo>
                        <a:pt x="887" y="1003"/>
                      </a:lnTo>
                      <a:lnTo>
                        <a:pt x="886" y="1004"/>
                      </a:lnTo>
                      <a:lnTo>
                        <a:pt x="885" y="1004"/>
                      </a:lnTo>
                      <a:lnTo>
                        <a:pt x="884" y="1004"/>
                      </a:lnTo>
                      <a:lnTo>
                        <a:pt x="884" y="1003"/>
                      </a:lnTo>
                      <a:lnTo>
                        <a:pt x="885" y="1003"/>
                      </a:lnTo>
                      <a:lnTo>
                        <a:pt x="886" y="1003"/>
                      </a:lnTo>
                      <a:lnTo>
                        <a:pt x="887" y="1002"/>
                      </a:lnTo>
                      <a:lnTo>
                        <a:pt x="886" y="1002"/>
                      </a:lnTo>
                      <a:lnTo>
                        <a:pt x="886" y="1003"/>
                      </a:lnTo>
                      <a:lnTo>
                        <a:pt x="886" y="1002"/>
                      </a:lnTo>
                      <a:lnTo>
                        <a:pt x="886" y="1003"/>
                      </a:lnTo>
                      <a:lnTo>
                        <a:pt x="886" y="1002"/>
                      </a:lnTo>
                      <a:lnTo>
                        <a:pt x="885" y="1002"/>
                      </a:lnTo>
                      <a:lnTo>
                        <a:pt x="886" y="1001"/>
                      </a:lnTo>
                      <a:lnTo>
                        <a:pt x="887" y="1002"/>
                      </a:lnTo>
                      <a:lnTo>
                        <a:pt x="887" y="1001"/>
                      </a:lnTo>
                      <a:lnTo>
                        <a:pt x="886" y="1001"/>
                      </a:lnTo>
                      <a:lnTo>
                        <a:pt x="885" y="1002"/>
                      </a:lnTo>
                      <a:lnTo>
                        <a:pt x="885" y="1001"/>
                      </a:lnTo>
                      <a:lnTo>
                        <a:pt x="885" y="1000"/>
                      </a:lnTo>
                      <a:lnTo>
                        <a:pt x="884" y="1000"/>
                      </a:lnTo>
                      <a:lnTo>
                        <a:pt x="883" y="1000"/>
                      </a:lnTo>
                      <a:lnTo>
                        <a:pt x="883" y="999"/>
                      </a:lnTo>
                      <a:lnTo>
                        <a:pt x="883" y="1000"/>
                      </a:lnTo>
                      <a:lnTo>
                        <a:pt x="882" y="999"/>
                      </a:lnTo>
                      <a:lnTo>
                        <a:pt x="880" y="999"/>
                      </a:lnTo>
                      <a:lnTo>
                        <a:pt x="879" y="999"/>
                      </a:lnTo>
                      <a:lnTo>
                        <a:pt x="878" y="999"/>
                      </a:lnTo>
                      <a:lnTo>
                        <a:pt x="878" y="998"/>
                      </a:lnTo>
                      <a:lnTo>
                        <a:pt x="878" y="999"/>
                      </a:lnTo>
                      <a:lnTo>
                        <a:pt x="877" y="999"/>
                      </a:lnTo>
                      <a:lnTo>
                        <a:pt x="876" y="999"/>
                      </a:lnTo>
                      <a:lnTo>
                        <a:pt x="876" y="998"/>
                      </a:lnTo>
                      <a:lnTo>
                        <a:pt x="876" y="996"/>
                      </a:lnTo>
                      <a:lnTo>
                        <a:pt x="875" y="996"/>
                      </a:lnTo>
                      <a:lnTo>
                        <a:pt x="876" y="995"/>
                      </a:lnTo>
                      <a:lnTo>
                        <a:pt x="877" y="995"/>
                      </a:lnTo>
                      <a:close/>
                      <a:moveTo>
                        <a:pt x="674" y="1031"/>
                      </a:moveTo>
                      <a:lnTo>
                        <a:pt x="673" y="1031"/>
                      </a:lnTo>
                      <a:lnTo>
                        <a:pt x="673" y="1032"/>
                      </a:lnTo>
                      <a:lnTo>
                        <a:pt x="673" y="1033"/>
                      </a:lnTo>
                      <a:lnTo>
                        <a:pt x="672" y="1033"/>
                      </a:lnTo>
                      <a:lnTo>
                        <a:pt x="672" y="1034"/>
                      </a:lnTo>
                      <a:lnTo>
                        <a:pt x="672" y="1035"/>
                      </a:lnTo>
                      <a:lnTo>
                        <a:pt x="671" y="1037"/>
                      </a:lnTo>
                      <a:lnTo>
                        <a:pt x="671" y="1039"/>
                      </a:lnTo>
                      <a:lnTo>
                        <a:pt x="671" y="1040"/>
                      </a:lnTo>
                      <a:lnTo>
                        <a:pt x="671" y="1041"/>
                      </a:lnTo>
                      <a:lnTo>
                        <a:pt x="671" y="1042"/>
                      </a:lnTo>
                      <a:lnTo>
                        <a:pt x="671" y="1043"/>
                      </a:lnTo>
                      <a:lnTo>
                        <a:pt x="670" y="1044"/>
                      </a:lnTo>
                      <a:lnTo>
                        <a:pt x="669" y="1045"/>
                      </a:lnTo>
                      <a:lnTo>
                        <a:pt x="669" y="1044"/>
                      </a:lnTo>
                      <a:lnTo>
                        <a:pt x="670" y="1044"/>
                      </a:lnTo>
                      <a:lnTo>
                        <a:pt x="670" y="1043"/>
                      </a:lnTo>
                      <a:lnTo>
                        <a:pt x="669" y="1043"/>
                      </a:lnTo>
                      <a:lnTo>
                        <a:pt x="669" y="1042"/>
                      </a:lnTo>
                      <a:lnTo>
                        <a:pt x="670" y="1042"/>
                      </a:lnTo>
                      <a:lnTo>
                        <a:pt x="669" y="1042"/>
                      </a:lnTo>
                      <a:lnTo>
                        <a:pt x="669" y="1041"/>
                      </a:lnTo>
                      <a:lnTo>
                        <a:pt x="670" y="1041"/>
                      </a:lnTo>
                      <a:lnTo>
                        <a:pt x="670" y="1040"/>
                      </a:lnTo>
                      <a:lnTo>
                        <a:pt x="670" y="1039"/>
                      </a:lnTo>
                      <a:lnTo>
                        <a:pt x="670" y="1038"/>
                      </a:lnTo>
                      <a:lnTo>
                        <a:pt x="670" y="1037"/>
                      </a:lnTo>
                      <a:lnTo>
                        <a:pt x="670" y="1035"/>
                      </a:lnTo>
                      <a:lnTo>
                        <a:pt x="669" y="1035"/>
                      </a:lnTo>
                      <a:lnTo>
                        <a:pt x="669" y="1034"/>
                      </a:lnTo>
                      <a:lnTo>
                        <a:pt x="668" y="1034"/>
                      </a:lnTo>
                      <a:lnTo>
                        <a:pt x="668" y="1033"/>
                      </a:lnTo>
                      <a:lnTo>
                        <a:pt x="668" y="1032"/>
                      </a:lnTo>
                      <a:lnTo>
                        <a:pt x="668" y="1031"/>
                      </a:lnTo>
                      <a:lnTo>
                        <a:pt x="669" y="1031"/>
                      </a:lnTo>
                      <a:lnTo>
                        <a:pt x="670" y="1031"/>
                      </a:lnTo>
                      <a:lnTo>
                        <a:pt x="670" y="1032"/>
                      </a:lnTo>
                      <a:lnTo>
                        <a:pt x="670" y="1033"/>
                      </a:lnTo>
                      <a:lnTo>
                        <a:pt x="671" y="1033"/>
                      </a:lnTo>
                      <a:lnTo>
                        <a:pt x="671" y="1032"/>
                      </a:lnTo>
                      <a:lnTo>
                        <a:pt x="672" y="1032"/>
                      </a:lnTo>
                      <a:lnTo>
                        <a:pt x="673" y="1032"/>
                      </a:lnTo>
                      <a:lnTo>
                        <a:pt x="673" y="1031"/>
                      </a:lnTo>
                      <a:lnTo>
                        <a:pt x="674" y="1031"/>
                      </a:lnTo>
                      <a:close/>
                      <a:moveTo>
                        <a:pt x="877" y="902"/>
                      </a:moveTo>
                      <a:lnTo>
                        <a:pt x="878" y="903"/>
                      </a:lnTo>
                      <a:lnTo>
                        <a:pt x="878" y="904"/>
                      </a:lnTo>
                      <a:lnTo>
                        <a:pt x="879" y="904"/>
                      </a:lnTo>
                      <a:lnTo>
                        <a:pt x="878" y="905"/>
                      </a:lnTo>
                      <a:lnTo>
                        <a:pt x="879" y="905"/>
                      </a:lnTo>
                      <a:lnTo>
                        <a:pt x="879" y="906"/>
                      </a:lnTo>
                      <a:lnTo>
                        <a:pt x="880" y="906"/>
                      </a:lnTo>
                      <a:lnTo>
                        <a:pt x="880" y="905"/>
                      </a:lnTo>
                      <a:lnTo>
                        <a:pt x="879" y="905"/>
                      </a:lnTo>
                      <a:lnTo>
                        <a:pt x="879" y="904"/>
                      </a:lnTo>
                      <a:lnTo>
                        <a:pt x="879" y="903"/>
                      </a:lnTo>
                      <a:lnTo>
                        <a:pt x="880" y="904"/>
                      </a:lnTo>
                      <a:lnTo>
                        <a:pt x="880" y="905"/>
                      </a:lnTo>
                      <a:lnTo>
                        <a:pt x="882" y="905"/>
                      </a:lnTo>
                      <a:lnTo>
                        <a:pt x="882" y="904"/>
                      </a:lnTo>
                      <a:lnTo>
                        <a:pt x="883" y="904"/>
                      </a:lnTo>
                      <a:lnTo>
                        <a:pt x="883" y="905"/>
                      </a:lnTo>
                      <a:lnTo>
                        <a:pt x="883" y="906"/>
                      </a:lnTo>
                      <a:lnTo>
                        <a:pt x="884" y="906"/>
                      </a:lnTo>
                      <a:lnTo>
                        <a:pt x="885" y="906"/>
                      </a:lnTo>
                      <a:lnTo>
                        <a:pt x="885" y="907"/>
                      </a:lnTo>
                      <a:lnTo>
                        <a:pt x="884" y="907"/>
                      </a:lnTo>
                      <a:lnTo>
                        <a:pt x="883" y="907"/>
                      </a:lnTo>
                      <a:lnTo>
                        <a:pt x="883" y="909"/>
                      </a:lnTo>
                      <a:lnTo>
                        <a:pt x="882" y="910"/>
                      </a:lnTo>
                      <a:lnTo>
                        <a:pt x="882" y="911"/>
                      </a:lnTo>
                      <a:lnTo>
                        <a:pt x="880" y="911"/>
                      </a:lnTo>
                      <a:lnTo>
                        <a:pt x="880" y="912"/>
                      </a:lnTo>
                      <a:lnTo>
                        <a:pt x="882" y="913"/>
                      </a:lnTo>
                      <a:lnTo>
                        <a:pt x="880" y="913"/>
                      </a:lnTo>
                      <a:lnTo>
                        <a:pt x="880" y="912"/>
                      </a:lnTo>
                      <a:lnTo>
                        <a:pt x="880" y="911"/>
                      </a:lnTo>
                      <a:lnTo>
                        <a:pt x="880" y="910"/>
                      </a:lnTo>
                      <a:lnTo>
                        <a:pt x="880" y="909"/>
                      </a:lnTo>
                      <a:lnTo>
                        <a:pt x="880" y="907"/>
                      </a:lnTo>
                      <a:lnTo>
                        <a:pt x="880" y="909"/>
                      </a:lnTo>
                      <a:lnTo>
                        <a:pt x="879" y="907"/>
                      </a:lnTo>
                      <a:lnTo>
                        <a:pt x="879" y="906"/>
                      </a:lnTo>
                      <a:lnTo>
                        <a:pt x="878" y="906"/>
                      </a:lnTo>
                      <a:lnTo>
                        <a:pt x="877" y="906"/>
                      </a:lnTo>
                      <a:lnTo>
                        <a:pt x="878" y="906"/>
                      </a:lnTo>
                      <a:lnTo>
                        <a:pt x="877" y="904"/>
                      </a:lnTo>
                      <a:lnTo>
                        <a:pt x="877" y="903"/>
                      </a:lnTo>
                      <a:lnTo>
                        <a:pt x="876" y="903"/>
                      </a:lnTo>
                      <a:lnTo>
                        <a:pt x="876" y="902"/>
                      </a:lnTo>
                      <a:lnTo>
                        <a:pt x="875" y="902"/>
                      </a:lnTo>
                      <a:lnTo>
                        <a:pt x="876" y="902"/>
                      </a:lnTo>
                      <a:lnTo>
                        <a:pt x="877" y="902"/>
                      </a:lnTo>
                      <a:lnTo>
                        <a:pt x="877" y="901"/>
                      </a:lnTo>
                      <a:lnTo>
                        <a:pt x="878" y="901"/>
                      </a:lnTo>
                      <a:lnTo>
                        <a:pt x="877" y="902"/>
                      </a:lnTo>
                      <a:close/>
                      <a:moveTo>
                        <a:pt x="697" y="1140"/>
                      </a:moveTo>
                      <a:lnTo>
                        <a:pt x="698" y="1140"/>
                      </a:lnTo>
                      <a:lnTo>
                        <a:pt x="699" y="1140"/>
                      </a:lnTo>
                      <a:lnTo>
                        <a:pt x="700" y="1140"/>
                      </a:lnTo>
                      <a:lnTo>
                        <a:pt x="699" y="1141"/>
                      </a:lnTo>
                      <a:lnTo>
                        <a:pt x="698" y="1141"/>
                      </a:lnTo>
                      <a:lnTo>
                        <a:pt x="697" y="1142"/>
                      </a:lnTo>
                      <a:lnTo>
                        <a:pt x="696" y="1142"/>
                      </a:lnTo>
                      <a:lnTo>
                        <a:pt x="695" y="1142"/>
                      </a:lnTo>
                      <a:lnTo>
                        <a:pt x="694" y="1142"/>
                      </a:lnTo>
                      <a:lnTo>
                        <a:pt x="692" y="1142"/>
                      </a:lnTo>
                      <a:lnTo>
                        <a:pt x="690" y="1142"/>
                      </a:lnTo>
                      <a:lnTo>
                        <a:pt x="689" y="1142"/>
                      </a:lnTo>
                      <a:lnTo>
                        <a:pt x="689" y="1141"/>
                      </a:lnTo>
                      <a:lnTo>
                        <a:pt x="690" y="1141"/>
                      </a:lnTo>
                      <a:lnTo>
                        <a:pt x="691" y="1141"/>
                      </a:lnTo>
                      <a:lnTo>
                        <a:pt x="691" y="1140"/>
                      </a:lnTo>
                      <a:lnTo>
                        <a:pt x="692" y="1140"/>
                      </a:lnTo>
                      <a:lnTo>
                        <a:pt x="694" y="1140"/>
                      </a:lnTo>
                      <a:lnTo>
                        <a:pt x="695" y="1140"/>
                      </a:lnTo>
                      <a:lnTo>
                        <a:pt x="696" y="1140"/>
                      </a:lnTo>
                      <a:lnTo>
                        <a:pt x="696" y="1138"/>
                      </a:lnTo>
                      <a:lnTo>
                        <a:pt x="697" y="1138"/>
                      </a:lnTo>
                      <a:lnTo>
                        <a:pt x="697" y="1140"/>
                      </a:lnTo>
                      <a:close/>
                      <a:moveTo>
                        <a:pt x="787" y="863"/>
                      </a:moveTo>
                      <a:lnTo>
                        <a:pt x="787" y="864"/>
                      </a:lnTo>
                      <a:lnTo>
                        <a:pt x="787" y="865"/>
                      </a:lnTo>
                      <a:lnTo>
                        <a:pt x="787" y="866"/>
                      </a:lnTo>
                      <a:lnTo>
                        <a:pt x="787" y="867"/>
                      </a:lnTo>
                      <a:lnTo>
                        <a:pt x="788" y="867"/>
                      </a:lnTo>
                      <a:lnTo>
                        <a:pt x="789" y="867"/>
                      </a:lnTo>
                      <a:lnTo>
                        <a:pt x="789" y="868"/>
                      </a:lnTo>
                      <a:lnTo>
                        <a:pt x="788" y="868"/>
                      </a:lnTo>
                      <a:lnTo>
                        <a:pt x="787" y="868"/>
                      </a:lnTo>
                      <a:lnTo>
                        <a:pt x="787" y="867"/>
                      </a:lnTo>
                      <a:lnTo>
                        <a:pt x="786" y="867"/>
                      </a:lnTo>
                      <a:lnTo>
                        <a:pt x="785" y="867"/>
                      </a:lnTo>
                      <a:lnTo>
                        <a:pt x="785" y="866"/>
                      </a:lnTo>
                      <a:lnTo>
                        <a:pt x="784" y="866"/>
                      </a:lnTo>
                      <a:lnTo>
                        <a:pt x="783" y="866"/>
                      </a:lnTo>
                      <a:lnTo>
                        <a:pt x="782" y="865"/>
                      </a:lnTo>
                      <a:lnTo>
                        <a:pt x="781" y="865"/>
                      </a:lnTo>
                      <a:lnTo>
                        <a:pt x="780" y="865"/>
                      </a:lnTo>
                      <a:lnTo>
                        <a:pt x="780" y="864"/>
                      </a:lnTo>
                      <a:lnTo>
                        <a:pt x="781" y="864"/>
                      </a:lnTo>
                      <a:lnTo>
                        <a:pt x="782" y="864"/>
                      </a:lnTo>
                      <a:lnTo>
                        <a:pt x="782" y="863"/>
                      </a:lnTo>
                      <a:lnTo>
                        <a:pt x="783" y="863"/>
                      </a:lnTo>
                      <a:lnTo>
                        <a:pt x="783" y="864"/>
                      </a:lnTo>
                      <a:lnTo>
                        <a:pt x="784" y="864"/>
                      </a:lnTo>
                      <a:lnTo>
                        <a:pt x="785" y="864"/>
                      </a:lnTo>
                      <a:lnTo>
                        <a:pt x="785" y="863"/>
                      </a:lnTo>
                      <a:lnTo>
                        <a:pt x="786" y="863"/>
                      </a:lnTo>
                      <a:lnTo>
                        <a:pt x="787" y="863"/>
                      </a:lnTo>
                      <a:close/>
                      <a:moveTo>
                        <a:pt x="871" y="989"/>
                      </a:moveTo>
                      <a:lnTo>
                        <a:pt x="872" y="989"/>
                      </a:lnTo>
                      <a:lnTo>
                        <a:pt x="872" y="990"/>
                      </a:lnTo>
                      <a:lnTo>
                        <a:pt x="873" y="992"/>
                      </a:lnTo>
                      <a:lnTo>
                        <a:pt x="874" y="993"/>
                      </a:lnTo>
                      <a:lnTo>
                        <a:pt x="875" y="993"/>
                      </a:lnTo>
                      <a:lnTo>
                        <a:pt x="876" y="994"/>
                      </a:lnTo>
                      <a:lnTo>
                        <a:pt x="875" y="994"/>
                      </a:lnTo>
                      <a:lnTo>
                        <a:pt x="875" y="995"/>
                      </a:lnTo>
                      <a:lnTo>
                        <a:pt x="876" y="995"/>
                      </a:lnTo>
                      <a:lnTo>
                        <a:pt x="875" y="996"/>
                      </a:lnTo>
                      <a:lnTo>
                        <a:pt x="874" y="995"/>
                      </a:lnTo>
                      <a:lnTo>
                        <a:pt x="873" y="996"/>
                      </a:lnTo>
                      <a:lnTo>
                        <a:pt x="873" y="998"/>
                      </a:lnTo>
                      <a:lnTo>
                        <a:pt x="874" y="998"/>
                      </a:lnTo>
                      <a:lnTo>
                        <a:pt x="873" y="998"/>
                      </a:lnTo>
                      <a:lnTo>
                        <a:pt x="873" y="996"/>
                      </a:lnTo>
                      <a:lnTo>
                        <a:pt x="872" y="996"/>
                      </a:lnTo>
                      <a:lnTo>
                        <a:pt x="871" y="996"/>
                      </a:lnTo>
                      <a:lnTo>
                        <a:pt x="870" y="996"/>
                      </a:lnTo>
                      <a:lnTo>
                        <a:pt x="870" y="995"/>
                      </a:lnTo>
                      <a:lnTo>
                        <a:pt x="871" y="995"/>
                      </a:lnTo>
                      <a:lnTo>
                        <a:pt x="870" y="995"/>
                      </a:lnTo>
                      <a:lnTo>
                        <a:pt x="870" y="994"/>
                      </a:lnTo>
                      <a:lnTo>
                        <a:pt x="871" y="994"/>
                      </a:lnTo>
                      <a:lnTo>
                        <a:pt x="872" y="994"/>
                      </a:lnTo>
                      <a:lnTo>
                        <a:pt x="872" y="993"/>
                      </a:lnTo>
                      <a:lnTo>
                        <a:pt x="871" y="993"/>
                      </a:lnTo>
                      <a:lnTo>
                        <a:pt x="872" y="993"/>
                      </a:lnTo>
                      <a:lnTo>
                        <a:pt x="872" y="994"/>
                      </a:lnTo>
                      <a:lnTo>
                        <a:pt x="873" y="994"/>
                      </a:lnTo>
                      <a:lnTo>
                        <a:pt x="873" y="993"/>
                      </a:lnTo>
                      <a:lnTo>
                        <a:pt x="873" y="992"/>
                      </a:lnTo>
                      <a:lnTo>
                        <a:pt x="872" y="992"/>
                      </a:lnTo>
                      <a:lnTo>
                        <a:pt x="872" y="991"/>
                      </a:lnTo>
                      <a:lnTo>
                        <a:pt x="871" y="991"/>
                      </a:lnTo>
                      <a:lnTo>
                        <a:pt x="871" y="990"/>
                      </a:lnTo>
                      <a:lnTo>
                        <a:pt x="870" y="989"/>
                      </a:lnTo>
                      <a:lnTo>
                        <a:pt x="869" y="989"/>
                      </a:lnTo>
                      <a:lnTo>
                        <a:pt x="870" y="989"/>
                      </a:lnTo>
                      <a:lnTo>
                        <a:pt x="871" y="989"/>
                      </a:lnTo>
                      <a:close/>
                      <a:moveTo>
                        <a:pt x="743" y="1063"/>
                      </a:moveTo>
                      <a:lnTo>
                        <a:pt x="744" y="1063"/>
                      </a:lnTo>
                      <a:lnTo>
                        <a:pt x="744" y="1060"/>
                      </a:lnTo>
                      <a:lnTo>
                        <a:pt x="745" y="1060"/>
                      </a:lnTo>
                      <a:lnTo>
                        <a:pt x="745" y="1059"/>
                      </a:lnTo>
                      <a:lnTo>
                        <a:pt x="746" y="1059"/>
                      </a:lnTo>
                      <a:lnTo>
                        <a:pt x="746" y="1058"/>
                      </a:lnTo>
                      <a:lnTo>
                        <a:pt x="747" y="1059"/>
                      </a:lnTo>
                      <a:lnTo>
                        <a:pt x="747" y="1060"/>
                      </a:lnTo>
                      <a:lnTo>
                        <a:pt x="746" y="1061"/>
                      </a:lnTo>
                      <a:lnTo>
                        <a:pt x="746" y="1063"/>
                      </a:lnTo>
                      <a:lnTo>
                        <a:pt x="746" y="1064"/>
                      </a:lnTo>
                      <a:lnTo>
                        <a:pt x="745" y="1065"/>
                      </a:lnTo>
                      <a:lnTo>
                        <a:pt x="744" y="1064"/>
                      </a:lnTo>
                      <a:lnTo>
                        <a:pt x="743" y="1063"/>
                      </a:lnTo>
                      <a:lnTo>
                        <a:pt x="741" y="1063"/>
                      </a:lnTo>
                      <a:lnTo>
                        <a:pt x="741" y="1061"/>
                      </a:lnTo>
                      <a:lnTo>
                        <a:pt x="740" y="1060"/>
                      </a:lnTo>
                      <a:lnTo>
                        <a:pt x="738" y="1060"/>
                      </a:lnTo>
                      <a:lnTo>
                        <a:pt x="738" y="1059"/>
                      </a:lnTo>
                      <a:lnTo>
                        <a:pt x="738" y="1058"/>
                      </a:lnTo>
                      <a:lnTo>
                        <a:pt x="740" y="1058"/>
                      </a:lnTo>
                      <a:lnTo>
                        <a:pt x="740" y="1059"/>
                      </a:lnTo>
                      <a:lnTo>
                        <a:pt x="741" y="1060"/>
                      </a:lnTo>
                      <a:lnTo>
                        <a:pt x="742" y="1060"/>
                      </a:lnTo>
                      <a:lnTo>
                        <a:pt x="742" y="1061"/>
                      </a:lnTo>
                      <a:lnTo>
                        <a:pt x="743" y="1061"/>
                      </a:lnTo>
                      <a:lnTo>
                        <a:pt x="743" y="1063"/>
                      </a:lnTo>
                      <a:close/>
                      <a:moveTo>
                        <a:pt x="740" y="1090"/>
                      </a:moveTo>
                      <a:lnTo>
                        <a:pt x="738" y="1090"/>
                      </a:lnTo>
                      <a:lnTo>
                        <a:pt x="737" y="1090"/>
                      </a:lnTo>
                      <a:lnTo>
                        <a:pt x="736" y="1090"/>
                      </a:lnTo>
                      <a:lnTo>
                        <a:pt x="735" y="1091"/>
                      </a:lnTo>
                      <a:lnTo>
                        <a:pt x="734" y="1090"/>
                      </a:lnTo>
                      <a:lnTo>
                        <a:pt x="735" y="1089"/>
                      </a:lnTo>
                      <a:lnTo>
                        <a:pt x="736" y="1088"/>
                      </a:lnTo>
                      <a:lnTo>
                        <a:pt x="737" y="1088"/>
                      </a:lnTo>
                      <a:lnTo>
                        <a:pt x="736" y="1088"/>
                      </a:lnTo>
                      <a:lnTo>
                        <a:pt x="737" y="1088"/>
                      </a:lnTo>
                      <a:lnTo>
                        <a:pt x="737" y="1086"/>
                      </a:lnTo>
                      <a:lnTo>
                        <a:pt x="737" y="1085"/>
                      </a:lnTo>
                      <a:lnTo>
                        <a:pt x="737" y="1084"/>
                      </a:lnTo>
                      <a:lnTo>
                        <a:pt x="738" y="1084"/>
                      </a:lnTo>
                      <a:lnTo>
                        <a:pt x="738" y="1085"/>
                      </a:lnTo>
                      <a:lnTo>
                        <a:pt x="740" y="1086"/>
                      </a:lnTo>
                      <a:lnTo>
                        <a:pt x="741" y="1086"/>
                      </a:lnTo>
                      <a:lnTo>
                        <a:pt x="742" y="1086"/>
                      </a:lnTo>
                      <a:lnTo>
                        <a:pt x="742" y="1088"/>
                      </a:lnTo>
                      <a:lnTo>
                        <a:pt x="741" y="1089"/>
                      </a:lnTo>
                      <a:lnTo>
                        <a:pt x="740" y="1089"/>
                      </a:lnTo>
                      <a:lnTo>
                        <a:pt x="740" y="1090"/>
                      </a:lnTo>
                      <a:close/>
                      <a:moveTo>
                        <a:pt x="891" y="1003"/>
                      </a:moveTo>
                      <a:lnTo>
                        <a:pt x="892" y="1004"/>
                      </a:lnTo>
                      <a:lnTo>
                        <a:pt x="893" y="1004"/>
                      </a:lnTo>
                      <a:lnTo>
                        <a:pt x="893" y="1003"/>
                      </a:lnTo>
                      <a:lnTo>
                        <a:pt x="895" y="1003"/>
                      </a:lnTo>
                      <a:lnTo>
                        <a:pt x="893" y="1004"/>
                      </a:lnTo>
                      <a:lnTo>
                        <a:pt x="892" y="1004"/>
                      </a:lnTo>
                      <a:lnTo>
                        <a:pt x="892" y="1006"/>
                      </a:lnTo>
                      <a:lnTo>
                        <a:pt x="893" y="1006"/>
                      </a:lnTo>
                      <a:lnTo>
                        <a:pt x="893" y="1007"/>
                      </a:lnTo>
                      <a:lnTo>
                        <a:pt x="893" y="1008"/>
                      </a:lnTo>
                      <a:lnTo>
                        <a:pt x="895" y="1008"/>
                      </a:lnTo>
                      <a:lnTo>
                        <a:pt x="893" y="1009"/>
                      </a:lnTo>
                      <a:lnTo>
                        <a:pt x="893" y="1011"/>
                      </a:lnTo>
                      <a:lnTo>
                        <a:pt x="893" y="1012"/>
                      </a:lnTo>
                      <a:lnTo>
                        <a:pt x="892" y="1012"/>
                      </a:lnTo>
                      <a:lnTo>
                        <a:pt x="892" y="1011"/>
                      </a:lnTo>
                      <a:lnTo>
                        <a:pt x="892" y="1009"/>
                      </a:lnTo>
                      <a:lnTo>
                        <a:pt x="891" y="1009"/>
                      </a:lnTo>
                      <a:lnTo>
                        <a:pt x="891" y="1008"/>
                      </a:lnTo>
                      <a:lnTo>
                        <a:pt x="890" y="1008"/>
                      </a:lnTo>
                      <a:lnTo>
                        <a:pt x="891" y="1007"/>
                      </a:lnTo>
                      <a:lnTo>
                        <a:pt x="891" y="1006"/>
                      </a:lnTo>
                      <a:lnTo>
                        <a:pt x="892" y="1006"/>
                      </a:lnTo>
                      <a:lnTo>
                        <a:pt x="891" y="1005"/>
                      </a:lnTo>
                      <a:lnTo>
                        <a:pt x="891" y="1006"/>
                      </a:lnTo>
                      <a:lnTo>
                        <a:pt x="890" y="1006"/>
                      </a:lnTo>
                      <a:lnTo>
                        <a:pt x="891" y="1005"/>
                      </a:lnTo>
                      <a:lnTo>
                        <a:pt x="890" y="1005"/>
                      </a:lnTo>
                      <a:lnTo>
                        <a:pt x="891" y="1005"/>
                      </a:lnTo>
                      <a:lnTo>
                        <a:pt x="890" y="1005"/>
                      </a:lnTo>
                      <a:lnTo>
                        <a:pt x="890" y="1004"/>
                      </a:lnTo>
                      <a:lnTo>
                        <a:pt x="890" y="1003"/>
                      </a:lnTo>
                      <a:lnTo>
                        <a:pt x="890" y="1004"/>
                      </a:lnTo>
                      <a:lnTo>
                        <a:pt x="891" y="1004"/>
                      </a:lnTo>
                      <a:lnTo>
                        <a:pt x="890" y="1003"/>
                      </a:lnTo>
                      <a:lnTo>
                        <a:pt x="891" y="1003"/>
                      </a:lnTo>
                      <a:lnTo>
                        <a:pt x="891" y="1002"/>
                      </a:lnTo>
                      <a:lnTo>
                        <a:pt x="892" y="1002"/>
                      </a:lnTo>
                      <a:lnTo>
                        <a:pt x="892" y="1003"/>
                      </a:lnTo>
                      <a:lnTo>
                        <a:pt x="891" y="1003"/>
                      </a:lnTo>
                      <a:close/>
                      <a:moveTo>
                        <a:pt x="899" y="1003"/>
                      </a:moveTo>
                      <a:lnTo>
                        <a:pt x="899" y="1004"/>
                      </a:lnTo>
                      <a:lnTo>
                        <a:pt x="900" y="1004"/>
                      </a:lnTo>
                      <a:lnTo>
                        <a:pt x="901" y="1005"/>
                      </a:lnTo>
                      <a:lnTo>
                        <a:pt x="900" y="1005"/>
                      </a:lnTo>
                      <a:lnTo>
                        <a:pt x="900" y="1006"/>
                      </a:lnTo>
                      <a:lnTo>
                        <a:pt x="901" y="1007"/>
                      </a:lnTo>
                      <a:lnTo>
                        <a:pt x="901" y="1008"/>
                      </a:lnTo>
                      <a:lnTo>
                        <a:pt x="900" y="1009"/>
                      </a:lnTo>
                      <a:lnTo>
                        <a:pt x="900" y="1011"/>
                      </a:lnTo>
                      <a:lnTo>
                        <a:pt x="899" y="1011"/>
                      </a:lnTo>
                      <a:lnTo>
                        <a:pt x="899" y="1012"/>
                      </a:lnTo>
                      <a:lnTo>
                        <a:pt x="898" y="1013"/>
                      </a:lnTo>
                      <a:lnTo>
                        <a:pt x="898" y="1012"/>
                      </a:lnTo>
                      <a:lnTo>
                        <a:pt x="899" y="1011"/>
                      </a:lnTo>
                      <a:lnTo>
                        <a:pt x="899" y="1009"/>
                      </a:lnTo>
                      <a:lnTo>
                        <a:pt x="899" y="1008"/>
                      </a:lnTo>
                      <a:lnTo>
                        <a:pt x="899" y="1007"/>
                      </a:lnTo>
                      <a:lnTo>
                        <a:pt x="898" y="1007"/>
                      </a:lnTo>
                      <a:lnTo>
                        <a:pt x="898" y="1006"/>
                      </a:lnTo>
                      <a:lnTo>
                        <a:pt x="897" y="1006"/>
                      </a:lnTo>
                      <a:lnTo>
                        <a:pt x="898" y="1006"/>
                      </a:lnTo>
                      <a:lnTo>
                        <a:pt x="898" y="1005"/>
                      </a:lnTo>
                      <a:lnTo>
                        <a:pt x="899" y="1005"/>
                      </a:lnTo>
                      <a:lnTo>
                        <a:pt x="898" y="1005"/>
                      </a:lnTo>
                      <a:lnTo>
                        <a:pt x="898" y="1004"/>
                      </a:lnTo>
                      <a:lnTo>
                        <a:pt x="897" y="1004"/>
                      </a:lnTo>
                      <a:lnTo>
                        <a:pt x="898" y="1003"/>
                      </a:lnTo>
                      <a:lnTo>
                        <a:pt x="899" y="1003"/>
                      </a:lnTo>
                      <a:close/>
                      <a:moveTo>
                        <a:pt x="665" y="1039"/>
                      </a:moveTo>
                      <a:lnTo>
                        <a:pt x="664" y="1039"/>
                      </a:lnTo>
                      <a:lnTo>
                        <a:pt x="664" y="1040"/>
                      </a:lnTo>
                      <a:lnTo>
                        <a:pt x="665" y="1040"/>
                      </a:lnTo>
                      <a:lnTo>
                        <a:pt x="665" y="1041"/>
                      </a:lnTo>
                      <a:lnTo>
                        <a:pt x="665" y="1042"/>
                      </a:lnTo>
                      <a:lnTo>
                        <a:pt x="666" y="1042"/>
                      </a:lnTo>
                      <a:lnTo>
                        <a:pt x="666" y="1043"/>
                      </a:lnTo>
                      <a:lnTo>
                        <a:pt x="666" y="1044"/>
                      </a:lnTo>
                      <a:lnTo>
                        <a:pt x="667" y="1044"/>
                      </a:lnTo>
                      <a:lnTo>
                        <a:pt x="667" y="1045"/>
                      </a:lnTo>
                      <a:lnTo>
                        <a:pt x="666" y="1045"/>
                      </a:lnTo>
                      <a:lnTo>
                        <a:pt x="666" y="1046"/>
                      </a:lnTo>
                      <a:lnTo>
                        <a:pt x="665" y="1046"/>
                      </a:lnTo>
                      <a:lnTo>
                        <a:pt x="665" y="1047"/>
                      </a:lnTo>
                      <a:lnTo>
                        <a:pt x="664" y="1047"/>
                      </a:lnTo>
                      <a:lnTo>
                        <a:pt x="664" y="1048"/>
                      </a:lnTo>
                      <a:lnTo>
                        <a:pt x="664" y="1050"/>
                      </a:lnTo>
                      <a:lnTo>
                        <a:pt x="665" y="1050"/>
                      </a:lnTo>
                      <a:lnTo>
                        <a:pt x="664" y="1050"/>
                      </a:lnTo>
                      <a:lnTo>
                        <a:pt x="664" y="1051"/>
                      </a:lnTo>
                      <a:lnTo>
                        <a:pt x="663" y="1051"/>
                      </a:lnTo>
                      <a:lnTo>
                        <a:pt x="663" y="1050"/>
                      </a:lnTo>
                      <a:lnTo>
                        <a:pt x="664" y="1048"/>
                      </a:lnTo>
                      <a:lnTo>
                        <a:pt x="664" y="1047"/>
                      </a:lnTo>
                      <a:lnTo>
                        <a:pt x="663" y="1047"/>
                      </a:lnTo>
                      <a:lnTo>
                        <a:pt x="663" y="1046"/>
                      </a:lnTo>
                      <a:lnTo>
                        <a:pt x="664" y="1046"/>
                      </a:lnTo>
                      <a:lnTo>
                        <a:pt x="665" y="1046"/>
                      </a:lnTo>
                      <a:lnTo>
                        <a:pt x="665" y="1045"/>
                      </a:lnTo>
                      <a:lnTo>
                        <a:pt x="665" y="1044"/>
                      </a:lnTo>
                      <a:lnTo>
                        <a:pt x="665" y="1043"/>
                      </a:lnTo>
                      <a:lnTo>
                        <a:pt x="665" y="1042"/>
                      </a:lnTo>
                      <a:lnTo>
                        <a:pt x="664" y="1042"/>
                      </a:lnTo>
                      <a:lnTo>
                        <a:pt x="664" y="1041"/>
                      </a:lnTo>
                      <a:lnTo>
                        <a:pt x="664" y="1040"/>
                      </a:lnTo>
                      <a:lnTo>
                        <a:pt x="663" y="1039"/>
                      </a:lnTo>
                      <a:lnTo>
                        <a:pt x="664" y="1039"/>
                      </a:lnTo>
                      <a:lnTo>
                        <a:pt x="664" y="1038"/>
                      </a:lnTo>
                      <a:lnTo>
                        <a:pt x="665" y="1038"/>
                      </a:lnTo>
                      <a:lnTo>
                        <a:pt x="665" y="1039"/>
                      </a:lnTo>
                      <a:close/>
                      <a:moveTo>
                        <a:pt x="859" y="983"/>
                      </a:moveTo>
                      <a:lnTo>
                        <a:pt x="859" y="986"/>
                      </a:lnTo>
                      <a:lnTo>
                        <a:pt x="859" y="987"/>
                      </a:lnTo>
                      <a:lnTo>
                        <a:pt x="859" y="988"/>
                      </a:lnTo>
                      <a:lnTo>
                        <a:pt x="858" y="988"/>
                      </a:lnTo>
                      <a:lnTo>
                        <a:pt x="857" y="988"/>
                      </a:lnTo>
                      <a:lnTo>
                        <a:pt x="854" y="988"/>
                      </a:lnTo>
                      <a:lnTo>
                        <a:pt x="853" y="988"/>
                      </a:lnTo>
                      <a:lnTo>
                        <a:pt x="853" y="987"/>
                      </a:lnTo>
                      <a:lnTo>
                        <a:pt x="852" y="987"/>
                      </a:lnTo>
                      <a:lnTo>
                        <a:pt x="853" y="987"/>
                      </a:lnTo>
                      <a:lnTo>
                        <a:pt x="852" y="987"/>
                      </a:lnTo>
                      <a:lnTo>
                        <a:pt x="852" y="986"/>
                      </a:lnTo>
                      <a:lnTo>
                        <a:pt x="853" y="986"/>
                      </a:lnTo>
                      <a:lnTo>
                        <a:pt x="854" y="986"/>
                      </a:lnTo>
                      <a:lnTo>
                        <a:pt x="853" y="986"/>
                      </a:lnTo>
                      <a:lnTo>
                        <a:pt x="852" y="986"/>
                      </a:lnTo>
                      <a:lnTo>
                        <a:pt x="853" y="986"/>
                      </a:lnTo>
                      <a:lnTo>
                        <a:pt x="853" y="987"/>
                      </a:lnTo>
                      <a:lnTo>
                        <a:pt x="854" y="987"/>
                      </a:lnTo>
                      <a:lnTo>
                        <a:pt x="855" y="987"/>
                      </a:lnTo>
                      <a:lnTo>
                        <a:pt x="857" y="987"/>
                      </a:lnTo>
                      <a:lnTo>
                        <a:pt x="855" y="986"/>
                      </a:lnTo>
                      <a:lnTo>
                        <a:pt x="857" y="986"/>
                      </a:lnTo>
                      <a:lnTo>
                        <a:pt x="855" y="984"/>
                      </a:lnTo>
                      <a:lnTo>
                        <a:pt x="857" y="984"/>
                      </a:lnTo>
                      <a:lnTo>
                        <a:pt x="858" y="984"/>
                      </a:lnTo>
                      <a:lnTo>
                        <a:pt x="857" y="984"/>
                      </a:lnTo>
                      <a:lnTo>
                        <a:pt x="857" y="986"/>
                      </a:lnTo>
                      <a:lnTo>
                        <a:pt x="858" y="986"/>
                      </a:lnTo>
                      <a:lnTo>
                        <a:pt x="858" y="984"/>
                      </a:lnTo>
                      <a:lnTo>
                        <a:pt x="858" y="983"/>
                      </a:lnTo>
                      <a:lnTo>
                        <a:pt x="859" y="983"/>
                      </a:lnTo>
                      <a:close/>
                      <a:moveTo>
                        <a:pt x="809" y="810"/>
                      </a:moveTo>
                      <a:lnTo>
                        <a:pt x="809" y="811"/>
                      </a:lnTo>
                      <a:lnTo>
                        <a:pt x="810" y="811"/>
                      </a:lnTo>
                      <a:lnTo>
                        <a:pt x="809" y="811"/>
                      </a:lnTo>
                      <a:lnTo>
                        <a:pt x="808" y="811"/>
                      </a:lnTo>
                      <a:lnTo>
                        <a:pt x="809" y="811"/>
                      </a:lnTo>
                      <a:lnTo>
                        <a:pt x="810" y="811"/>
                      </a:lnTo>
                      <a:lnTo>
                        <a:pt x="811" y="811"/>
                      </a:lnTo>
                      <a:lnTo>
                        <a:pt x="811" y="812"/>
                      </a:lnTo>
                      <a:lnTo>
                        <a:pt x="811" y="813"/>
                      </a:lnTo>
                      <a:lnTo>
                        <a:pt x="810" y="813"/>
                      </a:lnTo>
                      <a:lnTo>
                        <a:pt x="809" y="813"/>
                      </a:lnTo>
                      <a:lnTo>
                        <a:pt x="808" y="813"/>
                      </a:lnTo>
                      <a:lnTo>
                        <a:pt x="808" y="814"/>
                      </a:lnTo>
                      <a:lnTo>
                        <a:pt x="807" y="814"/>
                      </a:lnTo>
                      <a:lnTo>
                        <a:pt x="806" y="814"/>
                      </a:lnTo>
                      <a:lnTo>
                        <a:pt x="806" y="813"/>
                      </a:lnTo>
                      <a:lnTo>
                        <a:pt x="807" y="813"/>
                      </a:lnTo>
                      <a:lnTo>
                        <a:pt x="806" y="813"/>
                      </a:lnTo>
                      <a:lnTo>
                        <a:pt x="805" y="813"/>
                      </a:lnTo>
                      <a:lnTo>
                        <a:pt x="805" y="812"/>
                      </a:lnTo>
                      <a:lnTo>
                        <a:pt x="806" y="811"/>
                      </a:lnTo>
                      <a:lnTo>
                        <a:pt x="807" y="811"/>
                      </a:lnTo>
                      <a:lnTo>
                        <a:pt x="808" y="810"/>
                      </a:lnTo>
                      <a:lnTo>
                        <a:pt x="809" y="810"/>
                      </a:lnTo>
                      <a:close/>
                      <a:moveTo>
                        <a:pt x="703" y="1083"/>
                      </a:moveTo>
                      <a:lnTo>
                        <a:pt x="700" y="1083"/>
                      </a:lnTo>
                      <a:lnTo>
                        <a:pt x="700" y="1084"/>
                      </a:lnTo>
                      <a:lnTo>
                        <a:pt x="699" y="1084"/>
                      </a:lnTo>
                      <a:lnTo>
                        <a:pt x="698" y="1085"/>
                      </a:lnTo>
                      <a:lnTo>
                        <a:pt x="698" y="1086"/>
                      </a:lnTo>
                      <a:lnTo>
                        <a:pt x="697" y="1088"/>
                      </a:lnTo>
                      <a:lnTo>
                        <a:pt x="697" y="1089"/>
                      </a:lnTo>
                      <a:lnTo>
                        <a:pt x="696" y="1089"/>
                      </a:lnTo>
                      <a:lnTo>
                        <a:pt x="696" y="1088"/>
                      </a:lnTo>
                      <a:lnTo>
                        <a:pt x="695" y="1088"/>
                      </a:lnTo>
                      <a:lnTo>
                        <a:pt x="696" y="1086"/>
                      </a:lnTo>
                      <a:lnTo>
                        <a:pt x="697" y="1085"/>
                      </a:lnTo>
                      <a:lnTo>
                        <a:pt x="697" y="1084"/>
                      </a:lnTo>
                      <a:lnTo>
                        <a:pt x="697" y="1083"/>
                      </a:lnTo>
                      <a:lnTo>
                        <a:pt x="698" y="1083"/>
                      </a:lnTo>
                      <a:lnTo>
                        <a:pt x="699" y="1082"/>
                      </a:lnTo>
                      <a:lnTo>
                        <a:pt x="699" y="1083"/>
                      </a:lnTo>
                      <a:lnTo>
                        <a:pt x="702" y="1083"/>
                      </a:lnTo>
                      <a:lnTo>
                        <a:pt x="702" y="1082"/>
                      </a:lnTo>
                      <a:lnTo>
                        <a:pt x="703" y="1081"/>
                      </a:lnTo>
                      <a:lnTo>
                        <a:pt x="704" y="1081"/>
                      </a:lnTo>
                      <a:lnTo>
                        <a:pt x="703" y="1082"/>
                      </a:lnTo>
                      <a:lnTo>
                        <a:pt x="703" y="1083"/>
                      </a:lnTo>
                      <a:close/>
                      <a:moveTo>
                        <a:pt x="838" y="984"/>
                      </a:moveTo>
                      <a:lnTo>
                        <a:pt x="839" y="984"/>
                      </a:lnTo>
                      <a:lnTo>
                        <a:pt x="839" y="986"/>
                      </a:lnTo>
                      <a:lnTo>
                        <a:pt x="839" y="987"/>
                      </a:lnTo>
                      <a:lnTo>
                        <a:pt x="840" y="987"/>
                      </a:lnTo>
                      <a:lnTo>
                        <a:pt x="841" y="987"/>
                      </a:lnTo>
                      <a:lnTo>
                        <a:pt x="842" y="986"/>
                      </a:lnTo>
                      <a:lnTo>
                        <a:pt x="844" y="986"/>
                      </a:lnTo>
                      <a:lnTo>
                        <a:pt x="846" y="986"/>
                      </a:lnTo>
                      <a:lnTo>
                        <a:pt x="846" y="987"/>
                      </a:lnTo>
                      <a:lnTo>
                        <a:pt x="847" y="987"/>
                      </a:lnTo>
                      <a:lnTo>
                        <a:pt x="848" y="987"/>
                      </a:lnTo>
                      <a:lnTo>
                        <a:pt x="848" y="988"/>
                      </a:lnTo>
                      <a:lnTo>
                        <a:pt x="847" y="988"/>
                      </a:lnTo>
                      <a:lnTo>
                        <a:pt x="838" y="987"/>
                      </a:lnTo>
                      <a:lnTo>
                        <a:pt x="839" y="986"/>
                      </a:lnTo>
                      <a:lnTo>
                        <a:pt x="838" y="986"/>
                      </a:lnTo>
                      <a:lnTo>
                        <a:pt x="839" y="986"/>
                      </a:lnTo>
                      <a:lnTo>
                        <a:pt x="838" y="986"/>
                      </a:lnTo>
                      <a:lnTo>
                        <a:pt x="838" y="984"/>
                      </a:lnTo>
                      <a:lnTo>
                        <a:pt x="838" y="983"/>
                      </a:lnTo>
                      <a:lnTo>
                        <a:pt x="838" y="982"/>
                      </a:lnTo>
                      <a:lnTo>
                        <a:pt x="838" y="983"/>
                      </a:lnTo>
                      <a:lnTo>
                        <a:pt x="838" y="984"/>
                      </a:lnTo>
                      <a:close/>
                      <a:moveTo>
                        <a:pt x="883" y="984"/>
                      </a:moveTo>
                      <a:lnTo>
                        <a:pt x="884" y="984"/>
                      </a:lnTo>
                      <a:lnTo>
                        <a:pt x="885" y="984"/>
                      </a:lnTo>
                      <a:lnTo>
                        <a:pt x="885" y="986"/>
                      </a:lnTo>
                      <a:lnTo>
                        <a:pt x="884" y="986"/>
                      </a:lnTo>
                      <a:lnTo>
                        <a:pt x="884" y="987"/>
                      </a:lnTo>
                      <a:lnTo>
                        <a:pt x="884" y="988"/>
                      </a:lnTo>
                      <a:lnTo>
                        <a:pt x="883" y="988"/>
                      </a:lnTo>
                      <a:lnTo>
                        <a:pt x="883" y="987"/>
                      </a:lnTo>
                      <a:lnTo>
                        <a:pt x="882" y="987"/>
                      </a:lnTo>
                      <a:lnTo>
                        <a:pt x="882" y="986"/>
                      </a:lnTo>
                      <a:lnTo>
                        <a:pt x="880" y="986"/>
                      </a:lnTo>
                      <a:lnTo>
                        <a:pt x="879" y="986"/>
                      </a:lnTo>
                      <a:lnTo>
                        <a:pt x="878" y="986"/>
                      </a:lnTo>
                      <a:lnTo>
                        <a:pt x="878" y="984"/>
                      </a:lnTo>
                      <a:lnTo>
                        <a:pt x="879" y="984"/>
                      </a:lnTo>
                      <a:lnTo>
                        <a:pt x="879" y="983"/>
                      </a:lnTo>
                      <a:lnTo>
                        <a:pt x="880" y="983"/>
                      </a:lnTo>
                      <a:lnTo>
                        <a:pt x="880" y="984"/>
                      </a:lnTo>
                      <a:lnTo>
                        <a:pt x="882" y="984"/>
                      </a:lnTo>
                      <a:lnTo>
                        <a:pt x="882" y="983"/>
                      </a:lnTo>
                      <a:lnTo>
                        <a:pt x="883" y="983"/>
                      </a:lnTo>
                      <a:lnTo>
                        <a:pt x="883" y="984"/>
                      </a:lnTo>
                      <a:close/>
                      <a:moveTo>
                        <a:pt x="878" y="912"/>
                      </a:moveTo>
                      <a:lnTo>
                        <a:pt x="878" y="913"/>
                      </a:lnTo>
                      <a:lnTo>
                        <a:pt x="879" y="913"/>
                      </a:lnTo>
                      <a:lnTo>
                        <a:pt x="878" y="914"/>
                      </a:lnTo>
                      <a:lnTo>
                        <a:pt x="879" y="914"/>
                      </a:lnTo>
                      <a:lnTo>
                        <a:pt x="879" y="913"/>
                      </a:lnTo>
                      <a:lnTo>
                        <a:pt x="880" y="914"/>
                      </a:lnTo>
                      <a:lnTo>
                        <a:pt x="879" y="915"/>
                      </a:lnTo>
                      <a:lnTo>
                        <a:pt x="879" y="916"/>
                      </a:lnTo>
                      <a:lnTo>
                        <a:pt x="878" y="916"/>
                      </a:lnTo>
                      <a:lnTo>
                        <a:pt x="877" y="916"/>
                      </a:lnTo>
                      <a:lnTo>
                        <a:pt x="877" y="915"/>
                      </a:lnTo>
                      <a:lnTo>
                        <a:pt x="877" y="916"/>
                      </a:lnTo>
                      <a:lnTo>
                        <a:pt x="878" y="916"/>
                      </a:lnTo>
                      <a:lnTo>
                        <a:pt x="878" y="917"/>
                      </a:lnTo>
                      <a:lnTo>
                        <a:pt x="879" y="916"/>
                      </a:lnTo>
                      <a:lnTo>
                        <a:pt x="879" y="917"/>
                      </a:lnTo>
                      <a:lnTo>
                        <a:pt x="878" y="917"/>
                      </a:lnTo>
                      <a:lnTo>
                        <a:pt x="879" y="917"/>
                      </a:lnTo>
                      <a:lnTo>
                        <a:pt x="878" y="917"/>
                      </a:lnTo>
                      <a:lnTo>
                        <a:pt x="877" y="917"/>
                      </a:lnTo>
                      <a:lnTo>
                        <a:pt x="877" y="916"/>
                      </a:lnTo>
                      <a:lnTo>
                        <a:pt x="877" y="915"/>
                      </a:lnTo>
                      <a:lnTo>
                        <a:pt x="876" y="914"/>
                      </a:lnTo>
                      <a:lnTo>
                        <a:pt x="876" y="913"/>
                      </a:lnTo>
                      <a:lnTo>
                        <a:pt x="875" y="913"/>
                      </a:lnTo>
                      <a:lnTo>
                        <a:pt x="876" y="913"/>
                      </a:lnTo>
                      <a:lnTo>
                        <a:pt x="876" y="912"/>
                      </a:lnTo>
                      <a:lnTo>
                        <a:pt x="877" y="912"/>
                      </a:lnTo>
                      <a:lnTo>
                        <a:pt x="877" y="913"/>
                      </a:lnTo>
                      <a:lnTo>
                        <a:pt x="877" y="912"/>
                      </a:lnTo>
                      <a:lnTo>
                        <a:pt x="878" y="912"/>
                      </a:lnTo>
                      <a:close/>
                      <a:moveTo>
                        <a:pt x="885" y="914"/>
                      </a:moveTo>
                      <a:lnTo>
                        <a:pt x="886" y="914"/>
                      </a:lnTo>
                      <a:lnTo>
                        <a:pt x="886" y="915"/>
                      </a:lnTo>
                      <a:lnTo>
                        <a:pt x="885" y="915"/>
                      </a:lnTo>
                      <a:lnTo>
                        <a:pt x="885" y="916"/>
                      </a:lnTo>
                      <a:lnTo>
                        <a:pt x="885" y="917"/>
                      </a:lnTo>
                      <a:lnTo>
                        <a:pt x="884" y="917"/>
                      </a:lnTo>
                      <a:lnTo>
                        <a:pt x="884" y="916"/>
                      </a:lnTo>
                      <a:lnTo>
                        <a:pt x="883" y="916"/>
                      </a:lnTo>
                      <a:lnTo>
                        <a:pt x="883" y="915"/>
                      </a:lnTo>
                      <a:lnTo>
                        <a:pt x="882" y="915"/>
                      </a:lnTo>
                      <a:lnTo>
                        <a:pt x="883" y="915"/>
                      </a:lnTo>
                      <a:lnTo>
                        <a:pt x="883" y="914"/>
                      </a:lnTo>
                      <a:lnTo>
                        <a:pt x="882" y="915"/>
                      </a:lnTo>
                      <a:lnTo>
                        <a:pt x="879" y="913"/>
                      </a:lnTo>
                      <a:lnTo>
                        <a:pt x="880" y="913"/>
                      </a:lnTo>
                      <a:lnTo>
                        <a:pt x="880" y="914"/>
                      </a:lnTo>
                      <a:lnTo>
                        <a:pt x="882" y="914"/>
                      </a:lnTo>
                      <a:lnTo>
                        <a:pt x="882" y="913"/>
                      </a:lnTo>
                      <a:lnTo>
                        <a:pt x="882" y="912"/>
                      </a:lnTo>
                      <a:lnTo>
                        <a:pt x="883" y="912"/>
                      </a:lnTo>
                      <a:lnTo>
                        <a:pt x="884" y="913"/>
                      </a:lnTo>
                      <a:lnTo>
                        <a:pt x="885" y="914"/>
                      </a:lnTo>
                      <a:close/>
                      <a:moveTo>
                        <a:pt x="738" y="1158"/>
                      </a:moveTo>
                      <a:lnTo>
                        <a:pt x="738" y="1159"/>
                      </a:lnTo>
                      <a:lnTo>
                        <a:pt x="737" y="1159"/>
                      </a:lnTo>
                      <a:lnTo>
                        <a:pt x="736" y="1160"/>
                      </a:lnTo>
                      <a:lnTo>
                        <a:pt x="735" y="1160"/>
                      </a:lnTo>
                      <a:lnTo>
                        <a:pt x="734" y="1160"/>
                      </a:lnTo>
                      <a:lnTo>
                        <a:pt x="733" y="1160"/>
                      </a:lnTo>
                      <a:lnTo>
                        <a:pt x="732" y="1159"/>
                      </a:lnTo>
                      <a:lnTo>
                        <a:pt x="731" y="1158"/>
                      </a:lnTo>
                      <a:lnTo>
                        <a:pt x="732" y="1158"/>
                      </a:lnTo>
                      <a:lnTo>
                        <a:pt x="732" y="1159"/>
                      </a:lnTo>
                      <a:lnTo>
                        <a:pt x="733" y="1159"/>
                      </a:lnTo>
                      <a:lnTo>
                        <a:pt x="734" y="1159"/>
                      </a:lnTo>
                      <a:lnTo>
                        <a:pt x="734" y="1158"/>
                      </a:lnTo>
                      <a:lnTo>
                        <a:pt x="735" y="1158"/>
                      </a:lnTo>
                      <a:lnTo>
                        <a:pt x="736" y="1158"/>
                      </a:lnTo>
                      <a:lnTo>
                        <a:pt x="737" y="1158"/>
                      </a:lnTo>
                      <a:lnTo>
                        <a:pt x="737" y="1157"/>
                      </a:lnTo>
                      <a:lnTo>
                        <a:pt x="738" y="1157"/>
                      </a:lnTo>
                      <a:lnTo>
                        <a:pt x="738" y="1158"/>
                      </a:lnTo>
                      <a:close/>
                      <a:moveTo>
                        <a:pt x="833" y="983"/>
                      </a:moveTo>
                      <a:lnTo>
                        <a:pt x="833" y="984"/>
                      </a:lnTo>
                      <a:lnTo>
                        <a:pt x="833" y="986"/>
                      </a:lnTo>
                      <a:lnTo>
                        <a:pt x="833" y="984"/>
                      </a:lnTo>
                      <a:lnTo>
                        <a:pt x="833" y="986"/>
                      </a:lnTo>
                      <a:lnTo>
                        <a:pt x="832" y="986"/>
                      </a:lnTo>
                      <a:lnTo>
                        <a:pt x="833" y="986"/>
                      </a:lnTo>
                      <a:lnTo>
                        <a:pt x="833" y="987"/>
                      </a:lnTo>
                      <a:lnTo>
                        <a:pt x="828" y="987"/>
                      </a:lnTo>
                      <a:lnTo>
                        <a:pt x="828" y="986"/>
                      </a:lnTo>
                      <a:lnTo>
                        <a:pt x="828" y="987"/>
                      </a:lnTo>
                      <a:lnTo>
                        <a:pt x="828" y="986"/>
                      </a:lnTo>
                      <a:lnTo>
                        <a:pt x="829" y="986"/>
                      </a:lnTo>
                      <a:lnTo>
                        <a:pt x="829" y="984"/>
                      </a:lnTo>
                      <a:lnTo>
                        <a:pt x="831" y="984"/>
                      </a:lnTo>
                      <a:lnTo>
                        <a:pt x="829" y="984"/>
                      </a:lnTo>
                      <a:lnTo>
                        <a:pt x="829" y="983"/>
                      </a:lnTo>
                      <a:lnTo>
                        <a:pt x="831" y="983"/>
                      </a:lnTo>
                      <a:lnTo>
                        <a:pt x="832" y="983"/>
                      </a:lnTo>
                      <a:lnTo>
                        <a:pt x="832" y="982"/>
                      </a:lnTo>
                      <a:lnTo>
                        <a:pt x="832" y="983"/>
                      </a:lnTo>
                      <a:lnTo>
                        <a:pt x="832" y="982"/>
                      </a:lnTo>
                      <a:lnTo>
                        <a:pt x="833" y="983"/>
                      </a:lnTo>
                      <a:close/>
                      <a:moveTo>
                        <a:pt x="673" y="1166"/>
                      </a:moveTo>
                      <a:lnTo>
                        <a:pt x="674" y="1166"/>
                      </a:lnTo>
                      <a:lnTo>
                        <a:pt x="676" y="1166"/>
                      </a:lnTo>
                      <a:lnTo>
                        <a:pt x="677" y="1166"/>
                      </a:lnTo>
                      <a:lnTo>
                        <a:pt x="678" y="1167"/>
                      </a:lnTo>
                      <a:lnTo>
                        <a:pt x="679" y="1167"/>
                      </a:lnTo>
                      <a:lnTo>
                        <a:pt x="679" y="1168"/>
                      </a:lnTo>
                      <a:lnTo>
                        <a:pt x="678" y="1167"/>
                      </a:lnTo>
                      <a:lnTo>
                        <a:pt x="672" y="1166"/>
                      </a:lnTo>
                      <a:lnTo>
                        <a:pt x="671" y="1166"/>
                      </a:lnTo>
                      <a:lnTo>
                        <a:pt x="670" y="1166"/>
                      </a:lnTo>
                      <a:lnTo>
                        <a:pt x="669" y="1164"/>
                      </a:lnTo>
                      <a:lnTo>
                        <a:pt x="668" y="1163"/>
                      </a:lnTo>
                      <a:lnTo>
                        <a:pt x="669" y="1163"/>
                      </a:lnTo>
                      <a:lnTo>
                        <a:pt x="670" y="1164"/>
                      </a:lnTo>
                      <a:lnTo>
                        <a:pt x="672" y="1164"/>
                      </a:lnTo>
                      <a:lnTo>
                        <a:pt x="673" y="1166"/>
                      </a:lnTo>
                      <a:close/>
                      <a:moveTo>
                        <a:pt x="886" y="976"/>
                      </a:moveTo>
                      <a:lnTo>
                        <a:pt x="887" y="977"/>
                      </a:lnTo>
                      <a:lnTo>
                        <a:pt x="888" y="977"/>
                      </a:lnTo>
                      <a:lnTo>
                        <a:pt x="887" y="978"/>
                      </a:lnTo>
                      <a:lnTo>
                        <a:pt x="887" y="979"/>
                      </a:lnTo>
                      <a:lnTo>
                        <a:pt x="886" y="979"/>
                      </a:lnTo>
                      <a:lnTo>
                        <a:pt x="886" y="980"/>
                      </a:lnTo>
                      <a:lnTo>
                        <a:pt x="886" y="981"/>
                      </a:lnTo>
                      <a:lnTo>
                        <a:pt x="885" y="980"/>
                      </a:lnTo>
                      <a:lnTo>
                        <a:pt x="885" y="981"/>
                      </a:lnTo>
                      <a:lnTo>
                        <a:pt x="884" y="981"/>
                      </a:lnTo>
                      <a:lnTo>
                        <a:pt x="884" y="980"/>
                      </a:lnTo>
                      <a:lnTo>
                        <a:pt x="885" y="979"/>
                      </a:lnTo>
                      <a:lnTo>
                        <a:pt x="885" y="978"/>
                      </a:lnTo>
                      <a:lnTo>
                        <a:pt x="884" y="978"/>
                      </a:lnTo>
                      <a:lnTo>
                        <a:pt x="884" y="977"/>
                      </a:lnTo>
                      <a:lnTo>
                        <a:pt x="885" y="977"/>
                      </a:lnTo>
                      <a:lnTo>
                        <a:pt x="885" y="976"/>
                      </a:lnTo>
                      <a:lnTo>
                        <a:pt x="886" y="976"/>
                      </a:lnTo>
                      <a:close/>
                      <a:moveTo>
                        <a:pt x="889" y="1006"/>
                      </a:moveTo>
                      <a:lnTo>
                        <a:pt x="889" y="1007"/>
                      </a:lnTo>
                      <a:lnTo>
                        <a:pt x="889" y="1008"/>
                      </a:lnTo>
                      <a:lnTo>
                        <a:pt x="888" y="1008"/>
                      </a:lnTo>
                      <a:lnTo>
                        <a:pt x="887" y="1007"/>
                      </a:lnTo>
                      <a:lnTo>
                        <a:pt x="886" y="1007"/>
                      </a:lnTo>
                      <a:lnTo>
                        <a:pt x="885" y="1008"/>
                      </a:lnTo>
                      <a:lnTo>
                        <a:pt x="885" y="1007"/>
                      </a:lnTo>
                      <a:lnTo>
                        <a:pt x="884" y="1006"/>
                      </a:lnTo>
                      <a:lnTo>
                        <a:pt x="885" y="1005"/>
                      </a:lnTo>
                      <a:lnTo>
                        <a:pt x="885" y="1006"/>
                      </a:lnTo>
                      <a:lnTo>
                        <a:pt x="886" y="1006"/>
                      </a:lnTo>
                      <a:lnTo>
                        <a:pt x="886" y="1007"/>
                      </a:lnTo>
                      <a:lnTo>
                        <a:pt x="887" y="1007"/>
                      </a:lnTo>
                      <a:lnTo>
                        <a:pt x="887" y="1006"/>
                      </a:lnTo>
                      <a:lnTo>
                        <a:pt x="888" y="1006"/>
                      </a:lnTo>
                      <a:lnTo>
                        <a:pt x="888" y="1005"/>
                      </a:lnTo>
                      <a:lnTo>
                        <a:pt x="887" y="1004"/>
                      </a:lnTo>
                      <a:lnTo>
                        <a:pt x="887" y="1003"/>
                      </a:lnTo>
                      <a:lnTo>
                        <a:pt x="888" y="1004"/>
                      </a:lnTo>
                      <a:lnTo>
                        <a:pt x="888" y="1005"/>
                      </a:lnTo>
                      <a:lnTo>
                        <a:pt x="889" y="1006"/>
                      </a:lnTo>
                      <a:close/>
                      <a:moveTo>
                        <a:pt x="862" y="980"/>
                      </a:moveTo>
                      <a:lnTo>
                        <a:pt x="863" y="980"/>
                      </a:lnTo>
                      <a:lnTo>
                        <a:pt x="863" y="981"/>
                      </a:lnTo>
                      <a:lnTo>
                        <a:pt x="864" y="982"/>
                      </a:lnTo>
                      <a:lnTo>
                        <a:pt x="865" y="982"/>
                      </a:lnTo>
                      <a:lnTo>
                        <a:pt x="865" y="983"/>
                      </a:lnTo>
                      <a:lnTo>
                        <a:pt x="865" y="984"/>
                      </a:lnTo>
                      <a:lnTo>
                        <a:pt x="865" y="983"/>
                      </a:lnTo>
                      <a:lnTo>
                        <a:pt x="864" y="983"/>
                      </a:lnTo>
                      <a:lnTo>
                        <a:pt x="863" y="983"/>
                      </a:lnTo>
                      <a:lnTo>
                        <a:pt x="862" y="983"/>
                      </a:lnTo>
                      <a:lnTo>
                        <a:pt x="861" y="983"/>
                      </a:lnTo>
                      <a:lnTo>
                        <a:pt x="860" y="983"/>
                      </a:lnTo>
                      <a:lnTo>
                        <a:pt x="860" y="982"/>
                      </a:lnTo>
                      <a:lnTo>
                        <a:pt x="861" y="982"/>
                      </a:lnTo>
                      <a:lnTo>
                        <a:pt x="862" y="982"/>
                      </a:lnTo>
                      <a:lnTo>
                        <a:pt x="862" y="981"/>
                      </a:lnTo>
                      <a:lnTo>
                        <a:pt x="862" y="980"/>
                      </a:lnTo>
                      <a:lnTo>
                        <a:pt x="861" y="980"/>
                      </a:lnTo>
                      <a:lnTo>
                        <a:pt x="862" y="980"/>
                      </a:lnTo>
                      <a:close/>
                      <a:moveTo>
                        <a:pt x="819" y="957"/>
                      </a:moveTo>
                      <a:lnTo>
                        <a:pt x="819" y="958"/>
                      </a:lnTo>
                      <a:lnTo>
                        <a:pt x="820" y="958"/>
                      </a:lnTo>
                      <a:lnTo>
                        <a:pt x="820" y="957"/>
                      </a:lnTo>
                      <a:lnTo>
                        <a:pt x="821" y="957"/>
                      </a:lnTo>
                      <a:lnTo>
                        <a:pt x="821" y="958"/>
                      </a:lnTo>
                      <a:lnTo>
                        <a:pt x="822" y="960"/>
                      </a:lnTo>
                      <a:lnTo>
                        <a:pt x="823" y="960"/>
                      </a:lnTo>
                      <a:lnTo>
                        <a:pt x="822" y="960"/>
                      </a:lnTo>
                      <a:lnTo>
                        <a:pt x="822" y="961"/>
                      </a:lnTo>
                      <a:lnTo>
                        <a:pt x="822" y="962"/>
                      </a:lnTo>
                      <a:lnTo>
                        <a:pt x="822" y="963"/>
                      </a:lnTo>
                      <a:lnTo>
                        <a:pt x="821" y="963"/>
                      </a:lnTo>
                      <a:lnTo>
                        <a:pt x="822" y="962"/>
                      </a:lnTo>
                      <a:lnTo>
                        <a:pt x="821" y="962"/>
                      </a:lnTo>
                      <a:lnTo>
                        <a:pt x="820" y="962"/>
                      </a:lnTo>
                      <a:lnTo>
                        <a:pt x="820" y="961"/>
                      </a:lnTo>
                      <a:lnTo>
                        <a:pt x="821" y="961"/>
                      </a:lnTo>
                      <a:lnTo>
                        <a:pt x="821" y="962"/>
                      </a:lnTo>
                      <a:lnTo>
                        <a:pt x="822" y="962"/>
                      </a:lnTo>
                      <a:lnTo>
                        <a:pt x="821" y="961"/>
                      </a:lnTo>
                      <a:lnTo>
                        <a:pt x="820" y="961"/>
                      </a:lnTo>
                      <a:lnTo>
                        <a:pt x="820" y="960"/>
                      </a:lnTo>
                      <a:lnTo>
                        <a:pt x="819" y="958"/>
                      </a:lnTo>
                      <a:lnTo>
                        <a:pt x="818" y="956"/>
                      </a:lnTo>
                      <a:lnTo>
                        <a:pt x="819" y="957"/>
                      </a:lnTo>
                      <a:close/>
                      <a:moveTo>
                        <a:pt x="891" y="915"/>
                      </a:moveTo>
                      <a:lnTo>
                        <a:pt x="891" y="916"/>
                      </a:lnTo>
                      <a:lnTo>
                        <a:pt x="890" y="916"/>
                      </a:lnTo>
                      <a:lnTo>
                        <a:pt x="890" y="917"/>
                      </a:lnTo>
                      <a:lnTo>
                        <a:pt x="889" y="917"/>
                      </a:lnTo>
                      <a:lnTo>
                        <a:pt x="889" y="918"/>
                      </a:lnTo>
                      <a:lnTo>
                        <a:pt x="889" y="917"/>
                      </a:lnTo>
                      <a:lnTo>
                        <a:pt x="889" y="918"/>
                      </a:lnTo>
                      <a:lnTo>
                        <a:pt x="889" y="919"/>
                      </a:lnTo>
                      <a:lnTo>
                        <a:pt x="888" y="919"/>
                      </a:lnTo>
                      <a:lnTo>
                        <a:pt x="888" y="921"/>
                      </a:lnTo>
                      <a:lnTo>
                        <a:pt x="889" y="921"/>
                      </a:lnTo>
                      <a:lnTo>
                        <a:pt x="889" y="922"/>
                      </a:lnTo>
                      <a:lnTo>
                        <a:pt x="888" y="922"/>
                      </a:lnTo>
                      <a:lnTo>
                        <a:pt x="888" y="921"/>
                      </a:lnTo>
                      <a:lnTo>
                        <a:pt x="887" y="921"/>
                      </a:lnTo>
                      <a:lnTo>
                        <a:pt x="887" y="919"/>
                      </a:lnTo>
                      <a:lnTo>
                        <a:pt x="887" y="918"/>
                      </a:lnTo>
                      <a:lnTo>
                        <a:pt x="889" y="916"/>
                      </a:lnTo>
                      <a:lnTo>
                        <a:pt x="890" y="916"/>
                      </a:lnTo>
                      <a:lnTo>
                        <a:pt x="890" y="915"/>
                      </a:lnTo>
                      <a:lnTo>
                        <a:pt x="890" y="916"/>
                      </a:lnTo>
                      <a:lnTo>
                        <a:pt x="890" y="915"/>
                      </a:lnTo>
                      <a:lnTo>
                        <a:pt x="891" y="915"/>
                      </a:lnTo>
                      <a:close/>
                      <a:moveTo>
                        <a:pt x="858" y="1053"/>
                      </a:moveTo>
                      <a:lnTo>
                        <a:pt x="859" y="1053"/>
                      </a:lnTo>
                      <a:lnTo>
                        <a:pt x="859" y="1054"/>
                      </a:lnTo>
                      <a:lnTo>
                        <a:pt x="860" y="1054"/>
                      </a:lnTo>
                      <a:lnTo>
                        <a:pt x="860" y="1055"/>
                      </a:lnTo>
                      <a:lnTo>
                        <a:pt x="860" y="1056"/>
                      </a:lnTo>
                      <a:lnTo>
                        <a:pt x="860" y="1057"/>
                      </a:lnTo>
                      <a:lnTo>
                        <a:pt x="859" y="1057"/>
                      </a:lnTo>
                      <a:lnTo>
                        <a:pt x="859" y="1056"/>
                      </a:lnTo>
                      <a:lnTo>
                        <a:pt x="859" y="1055"/>
                      </a:lnTo>
                      <a:lnTo>
                        <a:pt x="858" y="1055"/>
                      </a:lnTo>
                      <a:lnTo>
                        <a:pt x="857" y="1055"/>
                      </a:lnTo>
                      <a:lnTo>
                        <a:pt x="858" y="1055"/>
                      </a:lnTo>
                      <a:lnTo>
                        <a:pt x="857" y="1054"/>
                      </a:lnTo>
                      <a:lnTo>
                        <a:pt x="857" y="1053"/>
                      </a:lnTo>
                      <a:lnTo>
                        <a:pt x="857" y="1052"/>
                      </a:lnTo>
                      <a:lnTo>
                        <a:pt x="858" y="1053"/>
                      </a:lnTo>
                      <a:close/>
                      <a:moveTo>
                        <a:pt x="875" y="899"/>
                      </a:moveTo>
                      <a:lnTo>
                        <a:pt x="874" y="899"/>
                      </a:lnTo>
                      <a:lnTo>
                        <a:pt x="874" y="900"/>
                      </a:lnTo>
                      <a:lnTo>
                        <a:pt x="875" y="901"/>
                      </a:lnTo>
                      <a:lnTo>
                        <a:pt x="874" y="901"/>
                      </a:lnTo>
                      <a:lnTo>
                        <a:pt x="873" y="901"/>
                      </a:lnTo>
                      <a:lnTo>
                        <a:pt x="872" y="901"/>
                      </a:lnTo>
                      <a:lnTo>
                        <a:pt x="872" y="900"/>
                      </a:lnTo>
                      <a:lnTo>
                        <a:pt x="871" y="900"/>
                      </a:lnTo>
                      <a:lnTo>
                        <a:pt x="871" y="899"/>
                      </a:lnTo>
                      <a:lnTo>
                        <a:pt x="872" y="899"/>
                      </a:lnTo>
                      <a:lnTo>
                        <a:pt x="873" y="899"/>
                      </a:lnTo>
                      <a:lnTo>
                        <a:pt x="874" y="899"/>
                      </a:lnTo>
                      <a:lnTo>
                        <a:pt x="874" y="898"/>
                      </a:lnTo>
                      <a:lnTo>
                        <a:pt x="875" y="898"/>
                      </a:lnTo>
                      <a:lnTo>
                        <a:pt x="875" y="899"/>
                      </a:lnTo>
                      <a:lnTo>
                        <a:pt x="876" y="899"/>
                      </a:lnTo>
                      <a:lnTo>
                        <a:pt x="875" y="899"/>
                      </a:lnTo>
                      <a:close/>
                      <a:moveTo>
                        <a:pt x="849" y="1016"/>
                      </a:moveTo>
                      <a:lnTo>
                        <a:pt x="849" y="1017"/>
                      </a:lnTo>
                      <a:lnTo>
                        <a:pt x="848" y="1017"/>
                      </a:lnTo>
                      <a:lnTo>
                        <a:pt x="848" y="1018"/>
                      </a:lnTo>
                      <a:lnTo>
                        <a:pt x="849" y="1019"/>
                      </a:lnTo>
                      <a:lnTo>
                        <a:pt x="850" y="1018"/>
                      </a:lnTo>
                      <a:lnTo>
                        <a:pt x="850" y="1017"/>
                      </a:lnTo>
                      <a:lnTo>
                        <a:pt x="850" y="1016"/>
                      </a:lnTo>
                      <a:lnTo>
                        <a:pt x="850" y="1017"/>
                      </a:lnTo>
                      <a:lnTo>
                        <a:pt x="850" y="1018"/>
                      </a:lnTo>
                      <a:lnTo>
                        <a:pt x="850" y="1019"/>
                      </a:lnTo>
                      <a:lnTo>
                        <a:pt x="850" y="1020"/>
                      </a:lnTo>
                      <a:lnTo>
                        <a:pt x="850" y="1021"/>
                      </a:lnTo>
                      <a:lnTo>
                        <a:pt x="850" y="1020"/>
                      </a:lnTo>
                      <a:lnTo>
                        <a:pt x="849" y="1020"/>
                      </a:lnTo>
                      <a:lnTo>
                        <a:pt x="848" y="1020"/>
                      </a:lnTo>
                      <a:lnTo>
                        <a:pt x="847" y="1020"/>
                      </a:lnTo>
                      <a:lnTo>
                        <a:pt x="847" y="1019"/>
                      </a:lnTo>
                      <a:lnTo>
                        <a:pt x="846" y="1019"/>
                      </a:lnTo>
                      <a:lnTo>
                        <a:pt x="846" y="1018"/>
                      </a:lnTo>
                      <a:lnTo>
                        <a:pt x="846" y="1019"/>
                      </a:lnTo>
                      <a:lnTo>
                        <a:pt x="847" y="1019"/>
                      </a:lnTo>
                      <a:lnTo>
                        <a:pt x="847" y="1020"/>
                      </a:lnTo>
                      <a:lnTo>
                        <a:pt x="848" y="1020"/>
                      </a:lnTo>
                      <a:lnTo>
                        <a:pt x="848" y="1019"/>
                      </a:lnTo>
                      <a:lnTo>
                        <a:pt x="848" y="1018"/>
                      </a:lnTo>
                      <a:lnTo>
                        <a:pt x="848" y="1017"/>
                      </a:lnTo>
                      <a:lnTo>
                        <a:pt x="849" y="1016"/>
                      </a:lnTo>
                      <a:close/>
                      <a:moveTo>
                        <a:pt x="861" y="983"/>
                      </a:moveTo>
                      <a:lnTo>
                        <a:pt x="861" y="984"/>
                      </a:lnTo>
                      <a:lnTo>
                        <a:pt x="860" y="984"/>
                      </a:lnTo>
                      <a:lnTo>
                        <a:pt x="860" y="986"/>
                      </a:lnTo>
                      <a:lnTo>
                        <a:pt x="860" y="984"/>
                      </a:lnTo>
                      <a:lnTo>
                        <a:pt x="861" y="984"/>
                      </a:lnTo>
                      <a:lnTo>
                        <a:pt x="862" y="984"/>
                      </a:lnTo>
                      <a:lnTo>
                        <a:pt x="863" y="986"/>
                      </a:lnTo>
                      <a:lnTo>
                        <a:pt x="862" y="987"/>
                      </a:lnTo>
                      <a:lnTo>
                        <a:pt x="862" y="986"/>
                      </a:lnTo>
                      <a:lnTo>
                        <a:pt x="861" y="986"/>
                      </a:lnTo>
                      <a:lnTo>
                        <a:pt x="861" y="987"/>
                      </a:lnTo>
                      <a:lnTo>
                        <a:pt x="861" y="988"/>
                      </a:lnTo>
                      <a:lnTo>
                        <a:pt x="860" y="988"/>
                      </a:lnTo>
                      <a:lnTo>
                        <a:pt x="860" y="986"/>
                      </a:lnTo>
                      <a:lnTo>
                        <a:pt x="860" y="984"/>
                      </a:lnTo>
                      <a:lnTo>
                        <a:pt x="860" y="983"/>
                      </a:lnTo>
                      <a:lnTo>
                        <a:pt x="861" y="983"/>
                      </a:lnTo>
                      <a:close/>
                      <a:moveTo>
                        <a:pt x="866" y="984"/>
                      </a:moveTo>
                      <a:lnTo>
                        <a:pt x="867" y="984"/>
                      </a:lnTo>
                      <a:lnTo>
                        <a:pt x="867" y="986"/>
                      </a:lnTo>
                      <a:lnTo>
                        <a:pt x="869" y="986"/>
                      </a:lnTo>
                      <a:lnTo>
                        <a:pt x="870" y="987"/>
                      </a:lnTo>
                      <a:lnTo>
                        <a:pt x="869" y="987"/>
                      </a:lnTo>
                      <a:lnTo>
                        <a:pt x="869" y="988"/>
                      </a:lnTo>
                      <a:lnTo>
                        <a:pt x="867" y="988"/>
                      </a:lnTo>
                      <a:lnTo>
                        <a:pt x="866" y="987"/>
                      </a:lnTo>
                      <a:lnTo>
                        <a:pt x="867" y="987"/>
                      </a:lnTo>
                      <a:lnTo>
                        <a:pt x="866" y="987"/>
                      </a:lnTo>
                      <a:lnTo>
                        <a:pt x="866" y="986"/>
                      </a:lnTo>
                      <a:lnTo>
                        <a:pt x="865" y="984"/>
                      </a:lnTo>
                      <a:lnTo>
                        <a:pt x="866" y="984"/>
                      </a:lnTo>
                      <a:close/>
                      <a:moveTo>
                        <a:pt x="866" y="1005"/>
                      </a:moveTo>
                      <a:lnTo>
                        <a:pt x="866" y="1004"/>
                      </a:lnTo>
                      <a:lnTo>
                        <a:pt x="867" y="1005"/>
                      </a:lnTo>
                      <a:lnTo>
                        <a:pt x="867" y="1004"/>
                      </a:lnTo>
                      <a:lnTo>
                        <a:pt x="869" y="1004"/>
                      </a:lnTo>
                      <a:lnTo>
                        <a:pt x="869" y="1005"/>
                      </a:lnTo>
                      <a:lnTo>
                        <a:pt x="869" y="1006"/>
                      </a:lnTo>
                      <a:lnTo>
                        <a:pt x="867" y="1006"/>
                      </a:lnTo>
                      <a:lnTo>
                        <a:pt x="866" y="1006"/>
                      </a:lnTo>
                      <a:lnTo>
                        <a:pt x="864" y="1006"/>
                      </a:lnTo>
                      <a:lnTo>
                        <a:pt x="864" y="1005"/>
                      </a:lnTo>
                      <a:lnTo>
                        <a:pt x="863" y="1005"/>
                      </a:lnTo>
                      <a:lnTo>
                        <a:pt x="863" y="1004"/>
                      </a:lnTo>
                      <a:lnTo>
                        <a:pt x="864" y="1005"/>
                      </a:lnTo>
                      <a:lnTo>
                        <a:pt x="865" y="1005"/>
                      </a:lnTo>
                      <a:lnTo>
                        <a:pt x="865" y="1004"/>
                      </a:lnTo>
                      <a:lnTo>
                        <a:pt x="865" y="1003"/>
                      </a:lnTo>
                      <a:lnTo>
                        <a:pt x="866" y="1003"/>
                      </a:lnTo>
                      <a:lnTo>
                        <a:pt x="866" y="1004"/>
                      </a:lnTo>
                      <a:lnTo>
                        <a:pt x="865" y="1004"/>
                      </a:lnTo>
                      <a:lnTo>
                        <a:pt x="866" y="1005"/>
                      </a:lnTo>
                      <a:close/>
                      <a:moveTo>
                        <a:pt x="870" y="996"/>
                      </a:moveTo>
                      <a:lnTo>
                        <a:pt x="870" y="998"/>
                      </a:lnTo>
                      <a:lnTo>
                        <a:pt x="869" y="998"/>
                      </a:lnTo>
                      <a:lnTo>
                        <a:pt x="870" y="998"/>
                      </a:lnTo>
                      <a:lnTo>
                        <a:pt x="869" y="999"/>
                      </a:lnTo>
                      <a:lnTo>
                        <a:pt x="870" y="1000"/>
                      </a:lnTo>
                      <a:lnTo>
                        <a:pt x="869" y="1000"/>
                      </a:lnTo>
                      <a:lnTo>
                        <a:pt x="870" y="1000"/>
                      </a:lnTo>
                      <a:lnTo>
                        <a:pt x="869" y="1001"/>
                      </a:lnTo>
                      <a:lnTo>
                        <a:pt x="869" y="1000"/>
                      </a:lnTo>
                      <a:lnTo>
                        <a:pt x="867" y="999"/>
                      </a:lnTo>
                      <a:lnTo>
                        <a:pt x="866" y="998"/>
                      </a:lnTo>
                      <a:lnTo>
                        <a:pt x="866" y="996"/>
                      </a:lnTo>
                      <a:lnTo>
                        <a:pt x="866" y="998"/>
                      </a:lnTo>
                      <a:lnTo>
                        <a:pt x="867" y="998"/>
                      </a:lnTo>
                      <a:lnTo>
                        <a:pt x="869" y="998"/>
                      </a:lnTo>
                      <a:lnTo>
                        <a:pt x="869" y="996"/>
                      </a:lnTo>
                      <a:lnTo>
                        <a:pt x="870" y="996"/>
                      </a:lnTo>
                      <a:close/>
                      <a:moveTo>
                        <a:pt x="850" y="1004"/>
                      </a:moveTo>
                      <a:lnTo>
                        <a:pt x="850" y="1005"/>
                      </a:lnTo>
                      <a:lnTo>
                        <a:pt x="850" y="1006"/>
                      </a:lnTo>
                      <a:lnTo>
                        <a:pt x="849" y="1006"/>
                      </a:lnTo>
                      <a:lnTo>
                        <a:pt x="850" y="1006"/>
                      </a:lnTo>
                      <a:lnTo>
                        <a:pt x="850" y="1007"/>
                      </a:lnTo>
                      <a:lnTo>
                        <a:pt x="850" y="1008"/>
                      </a:lnTo>
                      <a:lnTo>
                        <a:pt x="851" y="1008"/>
                      </a:lnTo>
                      <a:lnTo>
                        <a:pt x="851" y="1009"/>
                      </a:lnTo>
                      <a:lnTo>
                        <a:pt x="850" y="1009"/>
                      </a:lnTo>
                      <a:lnTo>
                        <a:pt x="850" y="1008"/>
                      </a:lnTo>
                      <a:lnTo>
                        <a:pt x="849" y="1008"/>
                      </a:lnTo>
                      <a:lnTo>
                        <a:pt x="850" y="1008"/>
                      </a:lnTo>
                      <a:lnTo>
                        <a:pt x="849" y="1008"/>
                      </a:lnTo>
                      <a:lnTo>
                        <a:pt x="849" y="1007"/>
                      </a:lnTo>
                      <a:lnTo>
                        <a:pt x="850" y="1007"/>
                      </a:lnTo>
                      <a:lnTo>
                        <a:pt x="849" y="1007"/>
                      </a:lnTo>
                      <a:lnTo>
                        <a:pt x="849" y="1006"/>
                      </a:lnTo>
                      <a:lnTo>
                        <a:pt x="849" y="1005"/>
                      </a:lnTo>
                      <a:lnTo>
                        <a:pt x="849" y="1004"/>
                      </a:lnTo>
                      <a:lnTo>
                        <a:pt x="850" y="1004"/>
                      </a:lnTo>
                      <a:close/>
                      <a:moveTo>
                        <a:pt x="891" y="947"/>
                      </a:moveTo>
                      <a:lnTo>
                        <a:pt x="891" y="948"/>
                      </a:lnTo>
                      <a:lnTo>
                        <a:pt x="890" y="948"/>
                      </a:lnTo>
                      <a:lnTo>
                        <a:pt x="888" y="948"/>
                      </a:lnTo>
                      <a:lnTo>
                        <a:pt x="887" y="948"/>
                      </a:lnTo>
                      <a:lnTo>
                        <a:pt x="887" y="947"/>
                      </a:lnTo>
                      <a:lnTo>
                        <a:pt x="889" y="947"/>
                      </a:lnTo>
                      <a:lnTo>
                        <a:pt x="889" y="945"/>
                      </a:lnTo>
                      <a:lnTo>
                        <a:pt x="890" y="945"/>
                      </a:lnTo>
                      <a:lnTo>
                        <a:pt x="891" y="947"/>
                      </a:lnTo>
                      <a:close/>
                      <a:moveTo>
                        <a:pt x="841" y="1004"/>
                      </a:moveTo>
                      <a:lnTo>
                        <a:pt x="842" y="1004"/>
                      </a:lnTo>
                      <a:lnTo>
                        <a:pt x="844" y="1004"/>
                      </a:lnTo>
                      <a:lnTo>
                        <a:pt x="844" y="1005"/>
                      </a:lnTo>
                      <a:lnTo>
                        <a:pt x="842" y="1005"/>
                      </a:lnTo>
                      <a:lnTo>
                        <a:pt x="842" y="1006"/>
                      </a:lnTo>
                      <a:lnTo>
                        <a:pt x="844" y="1006"/>
                      </a:lnTo>
                      <a:lnTo>
                        <a:pt x="844" y="1005"/>
                      </a:lnTo>
                      <a:lnTo>
                        <a:pt x="844" y="1006"/>
                      </a:lnTo>
                      <a:lnTo>
                        <a:pt x="845" y="1006"/>
                      </a:lnTo>
                      <a:lnTo>
                        <a:pt x="845" y="1007"/>
                      </a:lnTo>
                      <a:lnTo>
                        <a:pt x="846" y="1007"/>
                      </a:lnTo>
                      <a:lnTo>
                        <a:pt x="846" y="1008"/>
                      </a:lnTo>
                      <a:lnTo>
                        <a:pt x="845" y="1008"/>
                      </a:lnTo>
                      <a:lnTo>
                        <a:pt x="845" y="1007"/>
                      </a:lnTo>
                      <a:lnTo>
                        <a:pt x="845" y="1006"/>
                      </a:lnTo>
                      <a:lnTo>
                        <a:pt x="844" y="1006"/>
                      </a:lnTo>
                      <a:lnTo>
                        <a:pt x="842" y="1006"/>
                      </a:lnTo>
                      <a:lnTo>
                        <a:pt x="844" y="1007"/>
                      </a:lnTo>
                      <a:lnTo>
                        <a:pt x="844" y="1008"/>
                      </a:lnTo>
                      <a:lnTo>
                        <a:pt x="845" y="1008"/>
                      </a:lnTo>
                      <a:lnTo>
                        <a:pt x="844" y="1008"/>
                      </a:lnTo>
                      <a:lnTo>
                        <a:pt x="844" y="1007"/>
                      </a:lnTo>
                      <a:lnTo>
                        <a:pt x="842" y="1006"/>
                      </a:lnTo>
                      <a:lnTo>
                        <a:pt x="842" y="1007"/>
                      </a:lnTo>
                      <a:lnTo>
                        <a:pt x="842" y="1008"/>
                      </a:lnTo>
                      <a:lnTo>
                        <a:pt x="841" y="1008"/>
                      </a:lnTo>
                      <a:lnTo>
                        <a:pt x="842" y="1008"/>
                      </a:lnTo>
                      <a:lnTo>
                        <a:pt x="842" y="1009"/>
                      </a:lnTo>
                      <a:lnTo>
                        <a:pt x="844" y="1009"/>
                      </a:lnTo>
                      <a:lnTo>
                        <a:pt x="841" y="1009"/>
                      </a:lnTo>
                      <a:lnTo>
                        <a:pt x="841" y="1008"/>
                      </a:lnTo>
                      <a:lnTo>
                        <a:pt x="842" y="1008"/>
                      </a:lnTo>
                      <a:lnTo>
                        <a:pt x="841" y="1008"/>
                      </a:lnTo>
                      <a:lnTo>
                        <a:pt x="842" y="1007"/>
                      </a:lnTo>
                      <a:lnTo>
                        <a:pt x="842" y="1006"/>
                      </a:lnTo>
                      <a:lnTo>
                        <a:pt x="842" y="1005"/>
                      </a:lnTo>
                      <a:lnTo>
                        <a:pt x="841" y="1004"/>
                      </a:lnTo>
                      <a:lnTo>
                        <a:pt x="842" y="1004"/>
                      </a:lnTo>
                      <a:lnTo>
                        <a:pt x="841" y="1004"/>
                      </a:lnTo>
                      <a:close/>
                      <a:moveTo>
                        <a:pt x="888" y="950"/>
                      </a:moveTo>
                      <a:lnTo>
                        <a:pt x="888" y="949"/>
                      </a:lnTo>
                      <a:lnTo>
                        <a:pt x="888" y="950"/>
                      </a:lnTo>
                      <a:lnTo>
                        <a:pt x="889" y="950"/>
                      </a:lnTo>
                      <a:lnTo>
                        <a:pt x="889" y="949"/>
                      </a:lnTo>
                      <a:lnTo>
                        <a:pt x="889" y="950"/>
                      </a:lnTo>
                      <a:lnTo>
                        <a:pt x="889" y="951"/>
                      </a:lnTo>
                      <a:lnTo>
                        <a:pt x="888" y="951"/>
                      </a:lnTo>
                      <a:lnTo>
                        <a:pt x="887" y="951"/>
                      </a:lnTo>
                      <a:lnTo>
                        <a:pt x="887" y="950"/>
                      </a:lnTo>
                      <a:lnTo>
                        <a:pt x="886" y="950"/>
                      </a:lnTo>
                      <a:lnTo>
                        <a:pt x="887" y="949"/>
                      </a:lnTo>
                      <a:lnTo>
                        <a:pt x="887" y="948"/>
                      </a:lnTo>
                      <a:lnTo>
                        <a:pt x="888" y="948"/>
                      </a:lnTo>
                      <a:lnTo>
                        <a:pt x="888" y="949"/>
                      </a:lnTo>
                      <a:lnTo>
                        <a:pt x="888" y="950"/>
                      </a:lnTo>
                      <a:close/>
                      <a:moveTo>
                        <a:pt x="841" y="980"/>
                      </a:moveTo>
                      <a:lnTo>
                        <a:pt x="842" y="980"/>
                      </a:lnTo>
                      <a:lnTo>
                        <a:pt x="842" y="981"/>
                      </a:lnTo>
                      <a:lnTo>
                        <a:pt x="844" y="981"/>
                      </a:lnTo>
                      <a:lnTo>
                        <a:pt x="844" y="982"/>
                      </a:lnTo>
                      <a:lnTo>
                        <a:pt x="844" y="983"/>
                      </a:lnTo>
                      <a:lnTo>
                        <a:pt x="842" y="983"/>
                      </a:lnTo>
                      <a:lnTo>
                        <a:pt x="842" y="984"/>
                      </a:lnTo>
                      <a:lnTo>
                        <a:pt x="842" y="983"/>
                      </a:lnTo>
                      <a:lnTo>
                        <a:pt x="841" y="983"/>
                      </a:lnTo>
                      <a:lnTo>
                        <a:pt x="842" y="982"/>
                      </a:lnTo>
                      <a:lnTo>
                        <a:pt x="842" y="983"/>
                      </a:lnTo>
                      <a:lnTo>
                        <a:pt x="844" y="982"/>
                      </a:lnTo>
                      <a:lnTo>
                        <a:pt x="842" y="982"/>
                      </a:lnTo>
                      <a:lnTo>
                        <a:pt x="841" y="982"/>
                      </a:lnTo>
                      <a:lnTo>
                        <a:pt x="841" y="981"/>
                      </a:lnTo>
                      <a:lnTo>
                        <a:pt x="840" y="981"/>
                      </a:lnTo>
                      <a:lnTo>
                        <a:pt x="840" y="982"/>
                      </a:lnTo>
                      <a:lnTo>
                        <a:pt x="841" y="982"/>
                      </a:lnTo>
                      <a:lnTo>
                        <a:pt x="841" y="983"/>
                      </a:lnTo>
                      <a:lnTo>
                        <a:pt x="841" y="982"/>
                      </a:lnTo>
                      <a:lnTo>
                        <a:pt x="841" y="983"/>
                      </a:lnTo>
                      <a:lnTo>
                        <a:pt x="841" y="982"/>
                      </a:lnTo>
                      <a:lnTo>
                        <a:pt x="840" y="982"/>
                      </a:lnTo>
                      <a:lnTo>
                        <a:pt x="840" y="981"/>
                      </a:lnTo>
                      <a:lnTo>
                        <a:pt x="841" y="981"/>
                      </a:lnTo>
                      <a:lnTo>
                        <a:pt x="841" y="980"/>
                      </a:lnTo>
                      <a:close/>
                      <a:moveTo>
                        <a:pt x="863" y="1058"/>
                      </a:moveTo>
                      <a:lnTo>
                        <a:pt x="863" y="1059"/>
                      </a:lnTo>
                      <a:lnTo>
                        <a:pt x="864" y="1059"/>
                      </a:lnTo>
                      <a:lnTo>
                        <a:pt x="864" y="1060"/>
                      </a:lnTo>
                      <a:lnTo>
                        <a:pt x="864" y="1061"/>
                      </a:lnTo>
                      <a:lnTo>
                        <a:pt x="863" y="1060"/>
                      </a:lnTo>
                      <a:lnTo>
                        <a:pt x="862" y="1060"/>
                      </a:lnTo>
                      <a:lnTo>
                        <a:pt x="862" y="1059"/>
                      </a:lnTo>
                      <a:lnTo>
                        <a:pt x="861" y="1059"/>
                      </a:lnTo>
                      <a:lnTo>
                        <a:pt x="861" y="1058"/>
                      </a:lnTo>
                      <a:lnTo>
                        <a:pt x="861" y="1059"/>
                      </a:lnTo>
                      <a:lnTo>
                        <a:pt x="861" y="1058"/>
                      </a:lnTo>
                      <a:lnTo>
                        <a:pt x="862" y="1057"/>
                      </a:lnTo>
                      <a:lnTo>
                        <a:pt x="863" y="1057"/>
                      </a:lnTo>
                      <a:lnTo>
                        <a:pt x="863" y="1058"/>
                      </a:lnTo>
                      <a:close/>
                      <a:moveTo>
                        <a:pt x="885" y="1012"/>
                      </a:moveTo>
                      <a:lnTo>
                        <a:pt x="884" y="1012"/>
                      </a:lnTo>
                      <a:lnTo>
                        <a:pt x="884" y="1013"/>
                      </a:lnTo>
                      <a:lnTo>
                        <a:pt x="883" y="1013"/>
                      </a:lnTo>
                      <a:lnTo>
                        <a:pt x="882" y="1013"/>
                      </a:lnTo>
                      <a:lnTo>
                        <a:pt x="882" y="1014"/>
                      </a:lnTo>
                      <a:lnTo>
                        <a:pt x="882" y="1013"/>
                      </a:lnTo>
                      <a:lnTo>
                        <a:pt x="880" y="1012"/>
                      </a:lnTo>
                      <a:lnTo>
                        <a:pt x="882" y="1012"/>
                      </a:lnTo>
                      <a:lnTo>
                        <a:pt x="883" y="1012"/>
                      </a:lnTo>
                      <a:lnTo>
                        <a:pt x="884" y="1012"/>
                      </a:lnTo>
                      <a:lnTo>
                        <a:pt x="884" y="1011"/>
                      </a:lnTo>
                      <a:lnTo>
                        <a:pt x="885" y="1011"/>
                      </a:lnTo>
                      <a:lnTo>
                        <a:pt x="885" y="1009"/>
                      </a:lnTo>
                      <a:lnTo>
                        <a:pt x="885" y="1011"/>
                      </a:lnTo>
                      <a:lnTo>
                        <a:pt x="885" y="1012"/>
                      </a:lnTo>
                      <a:close/>
                      <a:moveTo>
                        <a:pt x="855" y="982"/>
                      </a:moveTo>
                      <a:lnTo>
                        <a:pt x="857" y="982"/>
                      </a:lnTo>
                      <a:lnTo>
                        <a:pt x="857" y="983"/>
                      </a:lnTo>
                      <a:lnTo>
                        <a:pt x="857" y="984"/>
                      </a:lnTo>
                      <a:lnTo>
                        <a:pt x="855" y="984"/>
                      </a:lnTo>
                      <a:lnTo>
                        <a:pt x="854" y="984"/>
                      </a:lnTo>
                      <a:lnTo>
                        <a:pt x="853" y="984"/>
                      </a:lnTo>
                      <a:lnTo>
                        <a:pt x="852" y="984"/>
                      </a:lnTo>
                      <a:lnTo>
                        <a:pt x="852" y="983"/>
                      </a:lnTo>
                      <a:lnTo>
                        <a:pt x="853" y="983"/>
                      </a:lnTo>
                      <a:lnTo>
                        <a:pt x="853" y="984"/>
                      </a:lnTo>
                      <a:lnTo>
                        <a:pt x="854" y="984"/>
                      </a:lnTo>
                      <a:lnTo>
                        <a:pt x="855" y="984"/>
                      </a:lnTo>
                      <a:lnTo>
                        <a:pt x="854" y="983"/>
                      </a:lnTo>
                      <a:lnTo>
                        <a:pt x="853" y="983"/>
                      </a:lnTo>
                      <a:lnTo>
                        <a:pt x="854" y="983"/>
                      </a:lnTo>
                      <a:lnTo>
                        <a:pt x="855" y="983"/>
                      </a:lnTo>
                      <a:lnTo>
                        <a:pt x="855" y="982"/>
                      </a:lnTo>
                      <a:close/>
                      <a:moveTo>
                        <a:pt x="866" y="999"/>
                      </a:moveTo>
                      <a:lnTo>
                        <a:pt x="866" y="1000"/>
                      </a:lnTo>
                      <a:lnTo>
                        <a:pt x="867" y="1000"/>
                      </a:lnTo>
                      <a:lnTo>
                        <a:pt x="867" y="1001"/>
                      </a:lnTo>
                      <a:lnTo>
                        <a:pt x="867" y="1002"/>
                      </a:lnTo>
                      <a:lnTo>
                        <a:pt x="866" y="1002"/>
                      </a:lnTo>
                      <a:lnTo>
                        <a:pt x="866" y="1001"/>
                      </a:lnTo>
                      <a:lnTo>
                        <a:pt x="866" y="1002"/>
                      </a:lnTo>
                      <a:lnTo>
                        <a:pt x="865" y="1002"/>
                      </a:lnTo>
                      <a:lnTo>
                        <a:pt x="864" y="1002"/>
                      </a:lnTo>
                      <a:lnTo>
                        <a:pt x="865" y="1002"/>
                      </a:lnTo>
                      <a:lnTo>
                        <a:pt x="865" y="1001"/>
                      </a:lnTo>
                      <a:lnTo>
                        <a:pt x="864" y="1001"/>
                      </a:lnTo>
                      <a:lnTo>
                        <a:pt x="865" y="1001"/>
                      </a:lnTo>
                      <a:lnTo>
                        <a:pt x="864" y="1001"/>
                      </a:lnTo>
                      <a:lnTo>
                        <a:pt x="864" y="1000"/>
                      </a:lnTo>
                      <a:lnTo>
                        <a:pt x="865" y="1000"/>
                      </a:lnTo>
                      <a:lnTo>
                        <a:pt x="865" y="1001"/>
                      </a:lnTo>
                      <a:lnTo>
                        <a:pt x="866" y="1001"/>
                      </a:lnTo>
                      <a:lnTo>
                        <a:pt x="866" y="1000"/>
                      </a:lnTo>
                      <a:lnTo>
                        <a:pt x="865" y="1000"/>
                      </a:lnTo>
                      <a:lnTo>
                        <a:pt x="865" y="999"/>
                      </a:lnTo>
                      <a:lnTo>
                        <a:pt x="866" y="1000"/>
                      </a:lnTo>
                      <a:lnTo>
                        <a:pt x="866" y="999"/>
                      </a:lnTo>
                      <a:close/>
                      <a:moveTo>
                        <a:pt x="789" y="873"/>
                      </a:moveTo>
                      <a:lnTo>
                        <a:pt x="789" y="872"/>
                      </a:lnTo>
                      <a:lnTo>
                        <a:pt x="788" y="872"/>
                      </a:lnTo>
                      <a:lnTo>
                        <a:pt x="789" y="872"/>
                      </a:lnTo>
                      <a:lnTo>
                        <a:pt x="789" y="871"/>
                      </a:lnTo>
                      <a:lnTo>
                        <a:pt x="789" y="870"/>
                      </a:lnTo>
                      <a:lnTo>
                        <a:pt x="790" y="871"/>
                      </a:lnTo>
                      <a:lnTo>
                        <a:pt x="790" y="872"/>
                      </a:lnTo>
                      <a:lnTo>
                        <a:pt x="790" y="873"/>
                      </a:lnTo>
                      <a:lnTo>
                        <a:pt x="789" y="873"/>
                      </a:lnTo>
                      <a:close/>
                      <a:moveTo>
                        <a:pt x="842" y="1009"/>
                      </a:moveTo>
                      <a:lnTo>
                        <a:pt x="846" y="1009"/>
                      </a:lnTo>
                      <a:lnTo>
                        <a:pt x="846" y="1011"/>
                      </a:lnTo>
                      <a:lnTo>
                        <a:pt x="846" y="1012"/>
                      </a:lnTo>
                      <a:lnTo>
                        <a:pt x="846" y="1011"/>
                      </a:lnTo>
                      <a:lnTo>
                        <a:pt x="846" y="1012"/>
                      </a:lnTo>
                      <a:lnTo>
                        <a:pt x="845" y="1011"/>
                      </a:lnTo>
                      <a:lnTo>
                        <a:pt x="846" y="1012"/>
                      </a:lnTo>
                      <a:lnTo>
                        <a:pt x="847" y="1012"/>
                      </a:lnTo>
                      <a:lnTo>
                        <a:pt x="847" y="1013"/>
                      </a:lnTo>
                      <a:lnTo>
                        <a:pt x="847" y="1012"/>
                      </a:lnTo>
                      <a:lnTo>
                        <a:pt x="846" y="1012"/>
                      </a:lnTo>
                      <a:lnTo>
                        <a:pt x="845" y="1012"/>
                      </a:lnTo>
                      <a:lnTo>
                        <a:pt x="845" y="1011"/>
                      </a:lnTo>
                      <a:lnTo>
                        <a:pt x="845" y="1012"/>
                      </a:lnTo>
                      <a:lnTo>
                        <a:pt x="844" y="1012"/>
                      </a:lnTo>
                      <a:lnTo>
                        <a:pt x="844" y="1011"/>
                      </a:lnTo>
                      <a:lnTo>
                        <a:pt x="842" y="1011"/>
                      </a:lnTo>
                      <a:lnTo>
                        <a:pt x="842" y="1009"/>
                      </a:lnTo>
                      <a:lnTo>
                        <a:pt x="842" y="1011"/>
                      </a:lnTo>
                      <a:lnTo>
                        <a:pt x="841" y="1011"/>
                      </a:lnTo>
                      <a:lnTo>
                        <a:pt x="841" y="1009"/>
                      </a:lnTo>
                      <a:lnTo>
                        <a:pt x="842" y="1009"/>
                      </a:lnTo>
                      <a:close/>
                      <a:moveTo>
                        <a:pt x="895" y="1013"/>
                      </a:moveTo>
                      <a:lnTo>
                        <a:pt x="896" y="1013"/>
                      </a:lnTo>
                      <a:lnTo>
                        <a:pt x="897" y="1013"/>
                      </a:lnTo>
                      <a:lnTo>
                        <a:pt x="897" y="1014"/>
                      </a:lnTo>
                      <a:lnTo>
                        <a:pt x="896" y="1014"/>
                      </a:lnTo>
                      <a:lnTo>
                        <a:pt x="896" y="1015"/>
                      </a:lnTo>
                      <a:lnTo>
                        <a:pt x="895" y="1015"/>
                      </a:lnTo>
                      <a:lnTo>
                        <a:pt x="893" y="1015"/>
                      </a:lnTo>
                      <a:lnTo>
                        <a:pt x="893" y="1014"/>
                      </a:lnTo>
                      <a:lnTo>
                        <a:pt x="895" y="1014"/>
                      </a:lnTo>
                      <a:lnTo>
                        <a:pt x="895" y="1013"/>
                      </a:lnTo>
                      <a:close/>
                      <a:moveTo>
                        <a:pt x="886" y="981"/>
                      </a:moveTo>
                      <a:lnTo>
                        <a:pt x="886" y="982"/>
                      </a:lnTo>
                      <a:lnTo>
                        <a:pt x="886" y="983"/>
                      </a:lnTo>
                      <a:lnTo>
                        <a:pt x="885" y="982"/>
                      </a:lnTo>
                      <a:lnTo>
                        <a:pt x="885" y="983"/>
                      </a:lnTo>
                      <a:lnTo>
                        <a:pt x="884" y="983"/>
                      </a:lnTo>
                      <a:lnTo>
                        <a:pt x="884" y="982"/>
                      </a:lnTo>
                      <a:lnTo>
                        <a:pt x="884" y="981"/>
                      </a:lnTo>
                      <a:lnTo>
                        <a:pt x="885" y="981"/>
                      </a:lnTo>
                      <a:lnTo>
                        <a:pt x="886" y="981"/>
                      </a:lnTo>
                      <a:close/>
                      <a:moveTo>
                        <a:pt x="844" y="973"/>
                      </a:moveTo>
                      <a:lnTo>
                        <a:pt x="844" y="974"/>
                      </a:lnTo>
                      <a:lnTo>
                        <a:pt x="844" y="973"/>
                      </a:lnTo>
                      <a:lnTo>
                        <a:pt x="842" y="973"/>
                      </a:lnTo>
                      <a:lnTo>
                        <a:pt x="841" y="973"/>
                      </a:lnTo>
                      <a:lnTo>
                        <a:pt x="841" y="971"/>
                      </a:lnTo>
                      <a:lnTo>
                        <a:pt x="841" y="970"/>
                      </a:lnTo>
                      <a:lnTo>
                        <a:pt x="841" y="969"/>
                      </a:lnTo>
                      <a:lnTo>
                        <a:pt x="842" y="969"/>
                      </a:lnTo>
                      <a:lnTo>
                        <a:pt x="842" y="970"/>
                      </a:lnTo>
                      <a:lnTo>
                        <a:pt x="842" y="971"/>
                      </a:lnTo>
                      <a:lnTo>
                        <a:pt x="844" y="971"/>
                      </a:lnTo>
                      <a:lnTo>
                        <a:pt x="844" y="973"/>
                      </a:lnTo>
                      <a:close/>
                      <a:moveTo>
                        <a:pt x="803" y="767"/>
                      </a:moveTo>
                      <a:lnTo>
                        <a:pt x="802" y="767"/>
                      </a:lnTo>
                      <a:lnTo>
                        <a:pt x="801" y="767"/>
                      </a:lnTo>
                      <a:lnTo>
                        <a:pt x="801" y="765"/>
                      </a:lnTo>
                      <a:lnTo>
                        <a:pt x="800" y="764"/>
                      </a:lnTo>
                      <a:lnTo>
                        <a:pt x="801" y="764"/>
                      </a:lnTo>
                      <a:lnTo>
                        <a:pt x="801" y="765"/>
                      </a:lnTo>
                      <a:lnTo>
                        <a:pt x="802" y="765"/>
                      </a:lnTo>
                      <a:lnTo>
                        <a:pt x="803" y="767"/>
                      </a:lnTo>
                      <a:close/>
                      <a:moveTo>
                        <a:pt x="825" y="961"/>
                      </a:moveTo>
                      <a:lnTo>
                        <a:pt x="825" y="962"/>
                      </a:lnTo>
                      <a:lnTo>
                        <a:pt x="825" y="963"/>
                      </a:lnTo>
                      <a:lnTo>
                        <a:pt x="824" y="962"/>
                      </a:lnTo>
                      <a:lnTo>
                        <a:pt x="823" y="962"/>
                      </a:lnTo>
                      <a:lnTo>
                        <a:pt x="823" y="961"/>
                      </a:lnTo>
                      <a:lnTo>
                        <a:pt x="824" y="961"/>
                      </a:lnTo>
                      <a:lnTo>
                        <a:pt x="824" y="960"/>
                      </a:lnTo>
                      <a:lnTo>
                        <a:pt x="825" y="960"/>
                      </a:lnTo>
                      <a:lnTo>
                        <a:pt x="825" y="961"/>
                      </a:lnTo>
                      <a:close/>
                      <a:moveTo>
                        <a:pt x="840" y="1016"/>
                      </a:moveTo>
                      <a:lnTo>
                        <a:pt x="841" y="1016"/>
                      </a:lnTo>
                      <a:lnTo>
                        <a:pt x="841" y="1017"/>
                      </a:lnTo>
                      <a:lnTo>
                        <a:pt x="842" y="1017"/>
                      </a:lnTo>
                      <a:lnTo>
                        <a:pt x="844" y="1017"/>
                      </a:lnTo>
                      <a:lnTo>
                        <a:pt x="845" y="1017"/>
                      </a:lnTo>
                      <a:lnTo>
                        <a:pt x="845" y="1018"/>
                      </a:lnTo>
                      <a:lnTo>
                        <a:pt x="844" y="1018"/>
                      </a:lnTo>
                      <a:lnTo>
                        <a:pt x="844" y="1017"/>
                      </a:lnTo>
                      <a:lnTo>
                        <a:pt x="842" y="1017"/>
                      </a:lnTo>
                      <a:lnTo>
                        <a:pt x="841" y="1017"/>
                      </a:lnTo>
                      <a:lnTo>
                        <a:pt x="840" y="1017"/>
                      </a:lnTo>
                      <a:lnTo>
                        <a:pt x="840" y="1016"/>
                      </a:lnTo>
                      <a:close/>
                      <a:moveTo>
                        <a:pt x="880" y="915"/>
                      </a:moveTo>
                      <a:lnTo>
                        <a:pt x="883" y="916"/>
                      </a:lnTo>
                      <a:lnTo>
                        <a:pt x="884" y="917"/>
                      </a:lnTo>
                      <a:lnTo>
                        <a:pt x="884" y="918"/>
                      </a:lnTo>
                      <a:lnTo>
                        <a:pt x="884" y="917"/>
                      </a:lnTo>
                      <a:lnTo>
                        <a:pt x="883" y="917"/>
                      </a:lnTo>
                      <a:lnTo>
                        <a:pt x="883" y="916"/>
                      </a:lnTo>
                      <a:lnTo>
                        <a:pt x="882" y="916"/>
                      </a:lnTo>
                      <a:lnTo>
                        <a:pt x="880" y="916"/>
                      </a:lnTo>
                      <a:lnTo>
                        <a:pt x="879" y="916"/>
                      </a:lnTo>
                      <a:lnTo>
                        <a:pt x="880" y="915"/>
                      </a:lnTo>
                      <a:close/>
                      <a:moveTo>
                        <a:pt x="883" y="923"/>
                      </a:moveTo>
                      <a:lnTo>
                        <a:pt x="882" y="923"/>
                      </a:lnTo>
                      <a:lnTo>
                        <a:pt x="882" y="922"/>
                      </a:lnTo>
                      <a:lnTo>
                        <a:pt x="883" y="922"/>
                      </a:lnTo>
                      <a:lnTo>
                        <a:pt x="883" y="921"/>
                      </a:lnTo>
                      <a:lnTo>
                        <a:pt x="883" y="922"/>
                      </a:lnTo>
                      <a:lnTo>
                        <a:pt x="884" y="922"/>
                      </a:lnTo>
                      <a:lnTo>
                        <a:pt x="883" y="922"/>
                      </a:lnTo>
                      <a:lnTo>
                        <a:pt x="884" y="923"/>
                      </a:lnTo>
                      <a:lnTo>
                        <a:pt x="883" y="923"/>
                      </a:lnTo>
                      <a:close/>
                      <a:moveTo>
                        <a:pt x="846" y="1021"/>
                      </a:moveTo>
                      <a:lnTo>
                        <a:pt x="847" y="1020"/>
                      </a:lnTo>
                      <a:lnTo>
                        <a:pt x="847" y="1021"/>
                      </a:lnTo>
                      <a:lnTo>
                        <a:pt x="847" y="1022"/>
                      </a:lnTo>
                      <a:lnTo>
                        <a:pt x="846" y="1022"/>
                      </a:lnTo>
                      <a:lnTo>
                        <a:pt x="846" y="1021"/>
                      </a:lnTo>
                      <a:lnTo>
                        <a:pt x="846" y="1022"/>
                      </a:lnTo>
                      <a:lnTo>
                        <a:pt x="845" y="1022"/>
                      </a:lnTo>
                      <a:lnTo>
                        <a:pt x="845" y="1021"/>
                      </a:lnTo>
                      <a:lnTo>
                        <a:pt x="846" y="1021"/>
                      </a:lnTo>
                      <a:lnTo>
                        <a:pt x="845" y="1021"/>
                      </a:lnTo>
                      <a:lnTo>
                        <a:pt x="846" y="1021"/>
                      </a:lnTo>
                      <a:lnTo>
                        <a:pt x="846" y="1020"/>
                      </a:lnTo>
                      <a:lnTo>
                        <a:pt x="847" y="1020"/>
                      </a:lnTo>
                      <a:lnTo>
                        <a:pt x="846" y="1020"/>
                      </a:lnTo>
                      <a:lnTo>
                        <a:pt x="846" y="1021"/>
                      </a:lnTo>
                      <a:close/>
                      <a:moveTo>
                        <a:pt x="862" y="1004"/>
                      </a:moveTo>
                      <a:lnTo>
                        <a:pt x="863" y="1004"/>
                      </a:lnTo>
                      <a:lnTo>
                        <a:pt x="863" y="1005"/>
                      </a:lnTo>
                      <a:lnTo>
                        <a:pt x="861" y="1006"/>
                      </a:lnTo>
                      <a:lnTo>
                        <a:pt x="860" y="1005"/>
                      </a:lnTo>
                      <a:lnTo>
                        <a:pt x="859" y="1005"/>
                      </a:lnTo>
                      <a:lnTo>
                        <a:pt x="860" y="1005"/>
                      </a:lnTo>
                      <a:lnTo>
                        <a:pt x="860" y="1004"/>
                      </a:lnTo>
                      <a:lnTo>
                        <a:pt x="860" y="1005"/>
                      </a:lnTo>
                      <a:lnTo>
                        <a:pt x="861" y="1005"/>
                      </a:lnTo>
                      <a:lnTo>
                        <a:pt x="862" y="1004"/>
                      </a:lnTo>
                      <a:close/>
                      <a:moveTo>
                        <a:pt x="859" y="982"/>
                      </a:moveTo>
                      <a:lnTo>
                        <a:pt x="859" y="983"/>
                      </a:lnTo>
                      <a:lnTo>
                        <a:pt x="857" y="983"/>
                      </a:lnTo>
                      <a:lnTo>
                        <a:pt x="858" y="983"/>
                      </a:lnTo>
                      <a:lnTo>
                        <a:pt x="858" y="982"/>
                      </a:lnTo>
                      <a:lnTo>
                        <a:pt x="858" y="981"/>
                      </a:lnTo>
                      <a:lnTo>
                        <a:pt x="859" y="982"/>
                      </a:lnTo>
                      <a:close/>
                      <a:moveTo>
                        <a:pt x="855" y="1014"/>
                      </a:moveTo>
                      <a:lnTo>
                        <a:pt x="857" y="1014"/>
                      </a:lnTo>
                      <a:lnTo>
                        <a:pt x="858" y="1014"/>
                      </a:lnTo>
                      <a:lnTo>
                        <a:pt x="857" y="1015"/>
                      </a:lnTo>
                      <a:lnTo>
                        <a:pt x="855" y="1015"/>
                      </a:lnTo>
                      <a:lnTo>
                        <a:pt x="854" y="1015"/>
                      </a:lnTo>
                      <a:lnTo>
                        <a:pt x="853" y="1014"/>
                      </a:lnTo>
                      <a:lnTo>
                        <a:pt x="854" y="1014"/>
                      </a:lnTo>
                      <a:lnTo>
                        <a:pt x="854" y="1013"/>
                      </a:lnTo>
                      <a:lnTo>
                        <a:pt x="854" y="1014"/>
                      </a:lnTo>
                      <a:lnTo>
                        <a:pt x="855" y="1014"/>
                      </a:lnTo>
                      <a:close/>
                      <a:moveTo>
                        <a:pt x="872" y="893"/>
                      </a:moveTo>
                      <a:lnTo>
                        <a:pt x="873" y="893"/>
                      </a:lnTo>
                      <a:lnTo>
                        <a:pt x="873" y="896"/>
                      </a:lnTo>
                      <a:lnTo>
                        <a:pt x="872" y="896"/>
                      </a:lnTo>
                      <a:lnTo>
                        <a:pt x="872" y="893"/>
                      </a:lnTo>
                      <a:close/>
                      <a:moveTo>
                        <a:pt x="892" y="1013"/>
                      </a:moveTo>
                      <a:lnTo>
                        <a:pt x="892" y="1014"/>
                      </a:lnTo>
                      <a:lnTo>
                        <a:pt x="893" y="1014"/>
                      </a:lnTo>
                      <a:lnTo>
                        <a:pt x="892" y="1014"/>
                      </a:lnTo>
                      <a:lnTo>
                        <a:pt x="892" y="1015"/>
                      </a:lnTo>
                      <a:lnTo>
                        <a:pt x="891" y="1015"/>
                      </a:lnTo>
                      <a:lnTo>
                        <a:pt x="891" y="1014"/>
                      </a:lnTo>
                      <a:lnTo>
                        <a:pt x="892" y="1014"/>
                      </a:lnTo>
                      <a:lnTo>
                        <a:pt x="892" y="1013"/>
                      </a:lnTo>
                      <a:close/>
                      <a:moveTo>
                        <a:pt x="866" y="893"/>
                      </a:moveTo>
                      <a:lnTo>
                        <a:pt x="867" y="893"/>
                      </a:lnTo>
                      <a:lnTo>
                        <a:pt x="867" y="894"/>
                      </a:lnTo>
                      <a:lnTo>
                        <a:pt x="866" y="894"/>
                      </a:lnTo>
                      <a:lnTo>
                        <a:pt x="866" y="893"/>
                      </a:lnTo>
                      <a:lnTo>
                        <a:pt x="865" y="893"/>
                      </a:lnTo>
                      <a:lnTo>
                        <a:pt x="864" y="893"/>
                      </a:lnTo>
                      <a:lnTo>
                        <a:pt x="865" y="893"/>
                      </a:lnTo>
                      <a:lnTo>
                        <a:pt x="866" y="892"/>
                      </a:lnTo>
                      <a:lnTo>
                        <a:pt x="866" y="893"/>
                      </a:lnTo>
                      <a:close/>
                      <a:moveTo>
                        <a:pt x="846" y="1008"/>
                      </a:moveTo>
                      <a:lnTo>
                        <a:pt x="846" y="1009"/>
                      </a:lnTo>
                      <a:lnTo>
                        <a:pt x="844" y="1009"/>
                      </a:lnTo>
                      <a:lnTo>
                        <a:pt x="845" y="1009"/>
                      </a:lnTo>
                      <a:lnTo>
                        <a:pt x="845" y="1008"/>
                      </a:lnTo>
                      <a:lnTo>
                        <a:pt x="845" y="1009"/>
                      </a:lnTo>
                      <a:lnTo>
                        <a:pt x="844" y="1009"/>
                      </a:lnTo>
                      <a:lnTo>
                        <a:pt x="844" y="1008"/>
                      </a:lnTo>
                      <a:lnTo>
                        <a:pt x="845" y="1008"/>
                      </a:lnTo>
                      <a:lnTo>
                        <a:pt x="846" y="1008"/>
                      </a:lnTo>
                      <a:close/>
                      <a:moveTo>
                        <a:pt x="689" y="1002"/>
                      </a:moveTo>
                      <a:lnTo>
                        <a:pt x="691" y="1002"/>
                      </a:lnTo>
                      <a:lnTo>
                        <a:pt x="691" y="1003"/>
                      </a:lnTo>
                      <a:lnTo>
                        <a:pt x="689" y="1003"/>
                      </a:lnTo>
                      <a:lnTo>
                        <a:pt x="689" y="1002"/>
                      </a:lnTo>
                      <a:close/>
                      <a:moveTo>
                        <a:pt x="871" y="988"/>
                      </a:moveTo>
                      <a:lnTo>
                        <a:pt x="871" y="989"/>
                      </a:lnTo>
                      <a:lnTo>
                        <a:pt x="869" y="989"/>
                      </a:lnTo>
                      <a:lnTo>
                        <a:pt x="867" y="989"/>
                      </a:lnTo>
                      <a:lnTo>
                        <a:pt x="869" y="988"/>
                      </a:lnTo>
                      <a:lnTo>
                        <a:pt x="867" y="988"/>
                      </a:lnTo>
                      <a:lnTo>
                        <a:pt x="867" y="989"/>
                      </a:lnTo>
                      <a:lnTo>
                        <a:pt x="867" y="988"/>
                      </a:lnTo>
                      <a:lnTo>
                        <a:pt x="871" y="988"/>
                      </a:lnTo>
                      <a:close/>
                      <a:moveTo>
                        <a:pt x="850" y="1068"/>
                      </a:moveTo>
                      <a:lnTo>
                        <a:pt x="851" y="1068"/>
                      </a:lnTo>
                      <a:lnTo>
                        <a:pt x="851" y="1070"/>
                      </a:lnTo>
                      <a:lnTo>
                        <a:pt x="850" y="1070"/>
                      </a:lnTo>
                      <a:lnTo>
                        <a:pt x="850" y="1068"/>
                      </a:lnTo>
                      <a:close/>
                      <a:moveTo>
                        <a:pt x="885" y="994"/>
                      </a:moveTo>
                      <a:lnTo>
                        <a:pt x="887" y="994"/>
                      </a:lnTo>
                      <a:lnTo>
                        <a:pt x="887" y="995"/>
                      </a:lnTo>
                      <a:lnTo>
                        <a:pt x="885" y="995"/>
                      </a:lnTo>
                      <a:lnTo>
                        <a:pt x="885" y="994"/>
                      </a:lnTo>
                      <a:close/>
                      <a:moveTo>
                        <a:pt x="667" y="1041"/>
                      </a:moveTo>
                      <a:lnTo>
                        <a:pt x="668" y="1041"/>
                      </a:lnTo>
                      <a:lnTo>
                        <a:pt x="669" y="1042"/>
                      </a:lnTo>
                      <a:lnTo>
                        <a:pt x="668" y="1042"/>
                      </a:lnTo>
                      <a:lnTo>
                        <a:pt x="667" y="1042"/>
                      </a:lnTo>
                      <a:lnTo>
                        <a:pt x="666" y="1041"/>
                      </a:lnTo>
                      <a:lnTo>
                        <a:pt x="666" y="1040"/>
                      </a:lnTo>
                      <a:lnTo>
                        <a:pt x="667" y="1040"/>
                      </a:lnTo>
                      <a:lnTo>
                        <a:pt x="667" y="1041"/>
                      </a:lnTo>
                      <a:close/>
                      <a:moveTo>
                        <a:pt x="852" y="1011"/>
                      </a:moveTo>
                      <a:lnTo>
                        <a:pt x="853" y="1011"/>
                      </a:lnTo>
                      <a:lnTo>
                        <a:pt x="854" y="1011"/>
                      </a:lnTo>
                      <a:lnTo>
                        <a:pt x="853" y="1011"/>
                      </a:lnTo>
                      <a:lnTo>
                        <a:pt x="853" y="1012"/>
                      </a:lnTo>
                      <a:lnTo>
                        <a:pt x="852" y="1012"/>
                      </a:lnTo>
                      <a:lnTo>
                        <a:pt x="852" y="1011"/>
                      </a:lnTo>
                      <a:lnTo>
                        <a:pt x="851" y="1011"/>
                      </a:lnTo>
                      <a:lnTo>
                        <a:pt x="852" y="1011"/>
                      </a:lnTo>
                      <a:lnTo>
                        <a:pt x="851" y="1011"/>
                      </a:lnTo>
                      <a:lnTo>
                        <a:pt x="852" y="1011"/>
                      </a:lnTo>
                      <a:close/>
                      <a:moveTo>
                        <a:pt x="865" y="1057"/>
                      </a:moveTo>
                      <a:lnTo>
                        <a:pt x="866" y="1057"/>
                      </a:lnTo>
                      <a:lnTo>
                        <a:pt x="865" y="1057"/>
                      </a:lnTo>
                      <a:lnTo>
                        <a:pt x="865" y="1058"/>
                      </a:lnTo>
                      <a:lnTo>
                        <a:pt x="864" y="1058"/>
                      </a:lnTo>
                      <a:lnTo>
                        <a:pt x="864" y="1057"/>
                      </a:lnTo>
                      <a:lnTo>
                        <a:pt x="865" y="1057"/>
                      </a:lnTo>
                      <a:close/>
                      <a:moveTo>
                        <a:pt x="699" y="998"/>
                      </a:moveTo>
                      <a:lnTo>
                        <a:pt x="702" y="998"/>
                      </a:lnTo>
                      <a:lnTo>
                        <a:pt x="702" y="1000"/>
                      </a:lnTo>
                      <a:lnTo>
                        <a:pt x="699" y="1000"/>
                      </a:lnTo>
                      <a:lnTo>
                        <a:pt x="699" y="998"/>
                      </a:lnTo>
                      <a:close/>
                      <a:moveTo>
                        <a:pt x="872" y="897"/>
                      </a:moveTo>
                      <a:lnTo>
                        <a:pt x="873" y="897"/>
                      </a:lnTo>
                      <a:lnTo>
                        <a:pt x="873" y="899"/>
                      </a:lnTo>
                      <a:lnTo>
                        <a:pt x="872" y="899"/>
                      </a:lnTo>
                      <a:lnTo>
                        <a:pt x="872" y="897"/>
                      </a:lnTo>
                      <a:close/>
                      <a:moveTo>
                        <a:pt x="858" y="1060"/>
                      </a:moveTo>
                      <a:lnTo>
                        <a:pt x="859" y="1060"/>
                      </a:lnTo>
                      <a:lnTo>
                        <a:pt x="859" y="1061"/>
                      </a:lnTo>
                      <a:lnTo>
                        <a:pt x="860" y="1063"/>
                      </a:lnTo>
                      <a:lnTo>
                        <a:pt x="859" y="1063"/>
                      </a:lnTo>
                      <a:lnTo>
                        <a:pt x="859" y="1061"/>
                      </a:lnTo>
                      <a:lnTo>
                        <a:pt x="858" y="1061"/>
                      </a:lnTo>
                      <a:lnTo>
                        <a:pt x="858" y="1060"/>
                      </a:lnTo>
                      <a:lnTo>
                        <a:pt x="858" y="1059"/>
                      </a:lnTo>
                      <a:lnTo>
                        <a:pt x="858" y="1060"/>
                      </a:lnTo>
                      <a:close/>
                      <a:moveTo>
                        <a:pt x="846" y="988"/>
                      </a:moveTo>
                      <a:lnTo>
                        <a:pt x="840" y="988"/>
                      </a:lnTo>
                      <a:lnTo>
                        <a:pt x="838" y="988"/>
                      </a:lnTo>
                      <a:lnTo>
                        <a:pt x="838" y="987"/>
                      </a:lnTo>
                      <a:lnTo>
                        <a:pt x="846" y="988"/>
                      </a:lnTo>
                      <a:close/>
                      <a:moveTo>
                        <a:pt x="859" y="993"/>
                      </a:moveTo>
                      <a:lnTo>
                        <a:pt x="858" y="993"/>
                      </a:lnTo>
                      <a:lnTo>
                        <a:pt x="857" y="993"/>
                      </a:lnTo>
                      <a:lnTo>
                        <a:pt x="855" y="993"/>
                      </a:lnTo>
                      <a:lnTo>
                        <a:pt x="857" y="993"/>
                      </a:lnTo>
                      <a:lnTo>
                        <a:pt x="858" y="993"/>
                      </a:lnTo>
                      <a:lnTo>
                        <a:pt x="859" y="993"/>
                      </a:lnTo>
                      <a:lnTo>
                        <a:pt x="859" y="992"/>
                      </a:lnTo>
                      <a:lnTo>
                        <a:pt x="859" y="993"/>
                      </a:lnTo>
                      <a:close/>
                      <a:moveTo>
                        <a:pt x="685" y="1015"/>
                      </a:moveTo>
                      <a:lnTo>
                        <a:pt x="687" y="1015"/>
                      </a:lnTo>
                      <a:lnTo>
                        <a:pt x="687" y="1017"/>
                      </a:lnTo>
                      <a:lnTo>
                        <a:pt x="685" y="1017"/>
                      </a:lnTo>
                      <a:lnTo>
                        <a:pt x="685" y="1015"/>
                      </a:lnTo>
                      <a:close/>
                      <a:moveTo>
                        <a:pt x="863" y="1006"/>
                      </a:moveTo>
                      <a:lnTo>
                        <a:pt x="862" y="1006"/>
                      </a:lnTo>
                      <a:lnTo>
                        <a:pt x="861" y="1006"/>
                      </a:lnTo>
                      <a:lnTo>
                        <a:pt x="863" y="1005"/>
                      </a:lnTo>
                      <a:lnTo>
                        <a:pt x="863" y="1006"/>
                      </a:lnTo>
                      <a:close/>
                      <a:moveTo>
                        <a:pt x="814" y="953"/>
                      </a:moveTo>
                      <a:lnTo>
                        <a:pt x="815" y="953"/>
                      </a:lnTo>
                      <a:lnTo>
                        <a:pt x="815" y="954"/>
                      </a:lnTo>
                      <a:lnTo>
                        <a:pt x="814" y="954"/>
                      </a:lnTo>
                      <a:lnTo>
                        <a:pt x="814" y="953"/>
                      </a:lnTo>
                      <a:close/>
                      <a:moveTo>
                        <a:pt x="869" y="1001"/>
                      </a:moveTo>
                      <a:lnTo>
                        <a:pt x="871" y="1001"/>
                      </a:lnTo>
                      <a:lnTo>
                        <a:pt x="871" y="1003"/>
                      </a:lnTo>
                      <a:lnTo>
                        <a:pt x="869" y="1003"/>
                      </a:lnTo>
                      <a:lnTo>
                        <a:pt x="869" y="1001"/>
                      </a:lnTo>
                      <a:close/>
                      <a:moveTo>
                        <a:pt x="845" y="1019"/>
                      </a:moveTo>
                      <a:lnTo>
                        <a:pt x="846" y="1020"/>
                      </a:lnTo>
                      <a:lnTo>
                        <a:pt x="845" y="1020"/>
                      </a:lnTo>
                      <a:lnTo>
                        <a:pt x="845" y="1019"/>
                      </a:lnTo>
                      <a:lnTo>
                        <a:pt x="845" y="1020"/>
                      </a:lnTo>
                      <a:lnTo>
                        <a:pt x="845" y="1019"/>
                      </a:lnTo>
                      <a:lnTo>
                        <a:pt x="844" y="1018"/>
                      </a:lnTo>
                      <a:lnTo>
                        <a:pt x="845" y="1018"/>
                      </a:lnTo>
                      <a:lnTo>
                        <a:pt x="845" y="1019"/>
                      </a:lnTo>
                      <a:close/>
                      <a:moveTo>
                        <a:pt x="893" y="914"/>
                      </a:moveTo>
                      <a:lnTo>
                        <a:pt x="893" y="915"/>
                      </a:lnTo>
                      <a:lnTo>
                        <a:pt x="892" y="915"/>
                      </a:lnTo>
                      <a:lnTo>
                        <a:pt x="891" y="915"/>
                      </a:lnTo>
                      <a:lnTo>
                        <a:pt x="891" y="914"/>
                      </a:lnTo>
                      <a:lnTo>
                        <a:pt x="892" y="915"/>
                      </a:lnTo>
                      <a:lnTo>
                        <a:pt x="892" y="914"/>
                      </a:lnTo>
                      <a:lnTo>
                        <a:pt x="893" y="914"/>
                      </a:lnTo>
                      <a:close/>
                      <a:moveTo>
                        <a:pt x="682" y="1017"/>
                      </a:moveTo>
                      <a:lnTo>
                        <a:pt x="681" y="1017"/>
                      </a:lnTo>
                      <a:lnTo>
                        <a:pt x="682" y="1016"/>
                      </a:lnTo>
                      <a:lnTo>
                        <a:pt x="683" y="1017"/>
                      </a:lnTo>
                      <a:lnTo>
                        <a:pt x="682" y="1017"/>
                      </a:lnTo>
                      <a:close/>
                      <a:moveTo>
                        <a:pt x="888" y="948"/>
                      </a:moveTo>
                      <a:lnTo>
                        <a:pt x="889" y="948"/>
                      </a:lnTo>
                      <a:lnTo>
                        <a:pt x="889" y="949"/>
                      </a:lnTo>
                      <a:lnTo>
                        <a:pt x="888" y="949"/>
                      </a:lnTo>
                      <a:lnTo>
                        <a:pt x="888" y="948"/>
                      </a:lnTo>
                      <a:close/>
                      <a:moveTo>
                        <a:pt x="888" y="971"/>
                      </a:moveTo>
                      <a:lnTo>
                        <a:pt x="889" y="971"/>
                      </a:lnTo>
                      <a:lnTo>
                        <a:pt x="889" y="970"/>
                      </a:lnTo>
                      <a:lnTo>
                        <a:pt x="889" y="971"/>
                      </a:lnTo>
                      <a:lnTo>
                        <a:pt x="888" y="971"/>
                      </a:lnTo>
                      <a:lnTo>
                        <a:pt x="887" y="971"/>
                      </a:lnTo>
                      <a:lnTo>
                        <a:pt x="888" y="971"/>
                      </a:lnTo>
                      <a:lnTo>
                        <a:pt x="888" y="970"/>
                      </a:lnTo>
                      <a:lnTo>
                        <a:pt x="888" y="971"/>
                      </a:lnTo>
                      <a:close/>
                      <a:moveTo>
                        <a:pt x="845" y="982"/>
                      </a:moveTo>
                      <a:lnTo>
                        <a:pt x="847" y="982"/>
                      </a:lnTo>
                      <a:lnTo>
                        <a:pt x="847" y="984"/>
                      </a:lnTo>
                      <a:lnTo>
                        <a:pt x="845" y="984"/>
                      </a:lnTo>
                      <a:lnTo>
                        <a:pt x="845" y="982"/>
                      </a:lnTo>
                      <a:close/>
                      <a:moveTo>
                        <a:pt x="862" y="983"/>
                      </a:moveTo>
                      <a:lnTo>
                        <a:pt x="863" y="983"/>
                      </a:lnTo>
                      <a:lnTo>
                        <a:pt x="863" y="986"/>
                      </a:lnTo>
                      <a:lnTo>
                        <a:pt x="862" y="986"/>
                      </a:lnTo>
                      <a:lnTo>
                        <a:pt x="862" y="983"/>
                      </a:lnTo>
                      <a:close/>
                      <a:moveTo>
                        <a:pt x="886" y="986"/>
                      </a:moveTo>
                      <a:lnTo>
                        <a:pt x="887" y="986"/>
                      </a:lnTo>
                      <a:lnTo>
                        <a:pt x="886" y="986"/>
                      </a:lnTo>
                      <a:lnTo>
                        <a:pt x="887" y="986"/>
                      </a:lnTo>
                      <a:lnTo>
                        <a:pt x="887" y="987"/>
                      </a:lnTo>
                      <a:lnTo>
                        <a:pt x="886" y="986"/>
                      </a:lnTo>
                      <a:lnTo>
                        <a:pt x="886" y="987"/>
                      </a:lnTo>
                      <a:lnTo>
                        <a:pt x="885" y="987"/>
                      </a:lnTo>
                      <a:lnTo>
                        <a:pt x="886" y="986"/>
                      </a:lnTo>
                      <a:close/>
                      <a:moveTo>
                        <a:pt x="887" y="922"/>
                      </a:moveTo>
                      <a:lnTo>
                        <a:pt x="886" y="922"/>
                      </a:lnTo>
                      <a:lnTo>
                        <a:pt x="885" y="922"/>
                      </a:lnTo>
                      <a:lnTo>
                        <a:pt x="884" y="923"/>
                      </a:lnTo>
                      <a:lnTo>
                        <a:pt x="884" y="922"/>
                      </a:lnTo>
                      <a:lnTo>
                        <a:pt x="886" y="922"/>
                      </a:lnTo>
                      <a:lnTo>
                        <a:pt x="887" y="922"/>
                      </a:lnTo>
                      <a:close/>
                      <a:moveTo>
                        <a:pt x="876" y="994"/>
                      </a:moveTo>
                      <a:lnTo>
                        <a:pt x="877" y="994"/>
                      </a:lnTo>
                      <a:lnTo>
                        <a:pt x="877" y="995"/>
                      </a:lnTo>
                      <a:lnTo>
                        <a:pt x="876" y="995"/>
                      </a:lnTo>
                      <a:lnTo>
                        <a:pt x="876" y="994"/>
                      </a:lnTo>
                      <a:close/>
                      <a:moveTo>
                        <a:pt x="872" y="1000"/>
                      </a:moveTo>
                      <a:lnTo>
                        <a:pt x="873" y="1000"/>
                      </a:lnTo>
                      <a:lnTo>
                        <a:pt x="873" y="1001"/>
                      </a:lnTo>
                      <a:lnTo>
                        <a:pt x="872" y="1001"/>
                      </a:lnTo>
                      <a:lnTo>
                        <a:pt x="872" y="1000"/>
                      </a:lnTo>
                      <a:close/>
                      <a:moveTo>
                        <a:pt x="880" y="968"/>
                      </a:moveTo>
                      <a:lnTo>
                        <a:pt x="883" y="968"/>
                      </a:lnTo>
                      <a:lnTo>
                        <a:pt x="880" y="968"/>
                      </a:lnTo>
                      <a:close/>
                      <a:moveTo>
                        <a:pt x="836" y="988"/>
                      </a:moveTo>
                      <a:lnTo>
                        <a:pt x="837" y="988"/>
                      </a:lnTo>
                      <a:lnTo>
                        <a:pt x="837" y="989"/>
                      </a:lnTo>
                      <a:lnTo>
                        <a:pt x="836" y="989"/>
                      </a:lnTo>
                      <a:lnTo>
                        <a:pt x="836" y="988"/>
                      </a:lnTo>
                      <a:close/>
                      <a:moveTo>
                        <a:pt x="869" y="987"/>
                      </a:moveTo>
                      <a:lnTo>
                        <a:pt x="871" y="987"/>
                      </a:lnTo>
                      <a:lnTo>
                        <a:pt x="871" y="988"/>
                      </a:lnTo>
                      <a:lnTo>
                        <a:pt x="869" y="988"/>
                      </a:lnTo>
                      <a:lnTo>
                        <a:pt x="869" y="987"/>
                      </a:lnTo>
                      <a:close/>
                      <a:moveTo>
                        <a:pt x="878" y="891"/>
                      </a:moveTo>
                      <a:lnTo>
                        <a:pt x="879" y="891"/>
                      </a:lnTo>
                      <a:lnTo>
                        <a:pt x="879" y="892"/>
                      </a:lnTo>
                      <a:lnTo>
                        <a:pt x="878" y="892"/>
                      </a:lnTo>
                      <a:lnTo>
                        <a:pt x="878" y="891"/>
                      </a:lnTo>
                      <a:close/>
                      <a:moveTo>
                        <a:pt x="864" y="1064"/>
                      </a:moveTo>
                      <a:lnTo>
                        <a:pt x="864" y="1065"/>
                      </a:lnTo>
                      <a:lnTo>
                        <a:pt x="864" y="1064"/>
                      </a:lnTo>
                      <a:lnTo>
                        <a:pt x="863" y="1064"/>
                      </a:lnTo>
                      <a:lnTo>
                        <a:pt x="863" y="1063"/>
                      </a:lnTo>
                      <a:lnTo>
                        <a:pt x="864" y="1063"/>
                      </a:lnTo>
                      <a:lnTo>
                        <a:pt x="864" y="1064"/>
                      </a:lnTo>
                      <a:close/>
                      <a:moveTo>
                        <a:pt x="849" y="988"/>
                      </a:moveTo>
                      <a:lnTo>
                        <a:pt x="850" y="988"/>
                      </a:lnTo>
                      <a:lnTo>
                        <a:pt x="850" y="989"/>
                      </a:lnTo>
                      <a:lnTo>
                        <a:pt x="849" y="989"/>
                      </a:lnTo>
                      <a:lnTo>
                        <a:pt x="849" y="988"/>
                      </a:lnTo>
                      <a:close/>
                      <a:moveTo>
                        <a:pt x="859" y="1003"/>
                      </a:moveTo>
                      <a:lnTo>
                        <a:pt x="860" y="1003"/>
                      </a:lnTo>
                      <a:lnTo>
                        <a:pt x="859" y="1003"/>
                      </a:lnTo>
                      <a:close/>
                      <a:moveTo>
                        <a:pt x="857" y="988"/>
                      </a:moveTo>
                      <a:lnTo>
                        <a:pt x="854" y="988"/>
                      </a:lnTo>
                      <a:lnTo>
                        <a:pt x="854" y="989"/>
                      </a:lnTo>
                      <a:lnTo>
                        <a:pt x="853" y="989"/>
                      </a:lnTo>
                      <a:lnTo>
                        <a:pt x="853" y="988"/>
                      </a:lnTo>
                      <a:lnTo>
                        <a:pt x="854" y="988"/>
                      </a:lnTo>
                      <a:lnTo>
                        <a:pt x="857" y="988"/>
                      </a:lnTo>
                      <a:close/>
                      <a:moveTo>
                        <a:pt x="862" y="1064"/>
                      </a:moveTo>
                      <a:lnTo>
                        <a:pt x="863" y="1064"/>
                      </a:lnTo>
                      <a:lnTo>
                        <a:pt x="863" y="1065"/>
                      </a:lnTo>
                      <a:lnTo>
                        <a:pt x="862" y="1065"/>
                      </a:lnTo>
                      <a:lnTo>
                        <a:pt x="862" y="1064"/>
                      </a:lnTo>
                      <a:close/>
                      <a:moveTo>
                        <a:pt x="845" y="1016"/>
                      </a:moveTo>
                      <a:lnTo>
                        <a:pt x="846" y="1016"/>
                      </a:lnTo>
                      <a:lnTo>
                        <a:pt x="846" y="1017"/>
                      </a:lnTo>
                      <a:lnTo>
                        <a:pt x="845" y="1017"/>
                      </a:lnTo>
                      <a:lnTo>
                        <a:pt x="845" y="1016"/>
                      </a:lnTo>
                      <a:close/>
                      <a:moveTo>
                        <a:pt x="668" y="1043"/>
                      </a:moveTo>
                      <a:lnTo>
                        <a:pt x="669" y="1043"/>
                      </a:lnTo>
                      <a:lnTo>
                        <a:pt x="669" y="1044"/>
                      </a:lnTo>
                      <a:lnTo>
                        <a:pt x="668" y="1044"/>
                      </a:lnTo>
                      <a:lnTo>
                        <a:pt x="668" y="1043"/>
                      </a:lnTo>
                      <a:close/>
                      <a:moveTo>
                        <a:pt x="882" y="1002"/>
                      </a:moveTo>
                      <a:lnTo>
                        <a:pt x="883" y="1002"/>
                      </a:lnTo>
                      <a:lnTo>
                        <a:pt x="883" y="1003"/>
                      </a:lnTo>
                      <a:lnTo>
                        <a:pt x="882" y="1003"/>
                      </a:lnTo>
                      <a:lnTo>
                        <a:pt x="882" y="1002"/>
                      </a:lnTo>
                      <a:close/>
                      <a:moveTo>
                        <a:pt x="883" y="1004"/>
                      </a:moveTo>
                      <a:lnTo>
                        <a:pt x="884" y="1004"/>
                      </a:lnTo>
                      <a:lnTo>
                        <a:pt x="884" y="1005"/>
                      </a:lnTo>
                      <a:lnTo>
                        <a:pt x="883" y="1005"/>
                      </a:lnTo>
                      <a:lnTo>
                        <a:pt x="883" y="1004"/>
                      </a:lnTo>
                      <a:close/>
                      <a:moveTo>
                        <a:pt x="667" y="1047"/>
                      </a:moveTo>
                      <a:lnTo>
                        <a:pt x="668" y="1047"/>
                      </a:lnTo>
                      <a:lnTo>
                        <a:pt x="668" y="1048"/>
                      </a:lnTo>
                      <a:lnTo>
                        <a:pt x="667" y="1048"/>
                      </a:lnTo>
                      <a:lnTo>
                        <a:pt x="667" y="1047"/>
                      </a:lnTo>
                      <a:close/>
                      <a:moveTo>
                        <a:pt x="851" y="1014"/>
                      </a:moveTo>
                      <a:lnTo>
                        <a:pt x="852" y="1014"/>
                      </a:lnTo>
                      <a:lnTo>
                        <a:pt x="852" y="1015"/>
                      </a:lnTo>
                      <a:lnTo>
                        <a:pt x="851" y="1015"/>
                      </a:lnTo>
                      <a:lnTo>
                        <a:pt x="851" y="1014"/>
                      </a:lnTo>
                      <a:close/>
                      <a:moveTo>
                        <a:pt x="882" y="897"/>
                      </a:moveTo>
                      <a:lnTo>
                        <a:pt x="882" y="898"/>
                      </a:lnTo>
                      <a:lnTo>
                        <a:pt x="882" y="897"/>
                      </a:lnTo>
                      <a:close/>
                      <a:moveTo>
                        <a:pt x="874" y="999"/>
                      </a:moveTo>
                      <a:lnTo>
                        <a:pt x="874" y="1000"/>
                      </a:lnTo>
                      <a:lnTo>
                        <a:pt x="874" y="999"/>
                      </a:lnTo>
                      <a:close/>
                      <a:moveTo>
                        <a:pt x="858" y="988"/>
                      </a:moveTo>
                      <a:lnTo>
                        <a:pt x="859" y="988"/>
                      </a:lnTo>
                      <a:lnTo>
                        <a:pt x="859" y="989"/>
                      </a:lnTo>
                      <a:lnTo>
                        <a:pt x="858" y="989"/>
                      </a:lnTo>
                      <a:lnTo>
                        <a:pt x="858" y="988"/>
                      </a:lnTo>
                      <a:close/>
                      <a:moveTo>
                        <a:pt x="887" y="992"/>
                      </a:moveTo>
                      <a:lnTo>
                        <a:pt x="888" y="992"/>
                      </a:lnTo>
                      <a:lnTo>
                        <a:pt x="888" y="993"/>
                      </a:lnTo>
                      <a:lnTo>
                        <a:pt x="887" y="993"/>
                      </a:lnTo>
                      <a:lnTo>
                        <a:pt x="887" y="992"/>
                      </a:lnTo>
                      <a:close/>
                      <a:moveTo>
                        <a:pt x="875" y="921"/>
                      </a:moveTo>
                      <a:lnTo>
                        <a:pt x="876" y="921"/>
                      </a:lnTo>
                      <a:lnTo>
                        <a:pt x="875" y="921"/>
                      </a:lnTo>
                      <a:close/>
                      <a:moveTo>
                        <a:pt x="869" y="994"/>
                      </a:moveTo>
                      <a:lnTo>
                        <a:pt x="870" y="994"/>
                      </a:lnTo>
                      <a:lnTo>
                        <a:pt x="870" y="995"/>
                      </a:lnTo>
                      <a:lnTo>
                        <a:pt x="869" y="995"/>
                      </a:lnTo>
                      <a:lnTo>
                        <a:pt x="869" y="994"/>
                      </a:lnTo>
                      <a:close/>
                      <a:moveTo>
                        <a:pt x="858" y="1069"/>
                      </a:moveTo>
                      <a:lnTo>
                        <a:pt x="858" y="1070"/>
                      </a:lnTo>
                      <a:lnTo>
                        <a:pt x="858" y="1069"/>
                      </a:lnTo>
                      <a:close/>
                      <a:moveTo>
                        <a:pt x="860" y="1064"/>
                      </a:moveTo>
                      <a:lnTo>
                        <a:pt x="861" y="1064"/>
                      </a:lnTo>
                      <a:lnTo>
                        <a:pt x="861" y="1065"/>
                      </a:lnTo>
                      <a:lnTo>
                        <a:pt x="860" y="1065"/>
                      </a:lnTo>
                      <a:lnTo>
                        <a:pt x="860" y="1064"/>
                      </a:lnTo>
                      <a:close/>
                      <a:moveTo>
                        <a:pt x="883" y="1003"/>
                      </a:moveTo>
                      <a:lnTo>
                        <a:pt x="883" y="1004"/>
                      </a:lnTo>
                      <a:lnTo>
                        <a:pt x="883" y="1003"/>
                      </a:lnTo>
                      <a:close/>
                      <a:moveTo>
                        <a:pt x="865" y="1002"/>
                      </a:moveTo>
                      <a:lnTo>
                        <a:pt x="866" y="1002"/>
                      </a:lnTo>
                      <a:lnTo>
                        <a:pt x="866" y="1003"/>
                      </a:lnTo>
                      <a:lnTo>
                        <a:pt x="865" y="1003"/>
                      </a:lnTo>
                      <a:lnTo>
                        <a:pt x="865" y="1002"/>
                      </a:lnTo>
                      <a:close/>
                      <a:moveTo>
                        <a:pt x="877" y="897"/>
                      </a:moveTo>
                      <a:lnTo>
                        <a:pt x="877" y="898"/>
                      </a:lnTo>
                      <a:lnTo>
                        <a:pt x="877" y="897"/>
                      </a:lnTo>
                      <a:close/>
                      <a:moveTo>
                        <a:pt x="841" y="992"/>
                      </a:moveTo>
                      <a:lnTo>
                        <a:pt x="842" y="992"/>
                      </a:lnTo>
                      <a:lnTo>
                        <a:pt x="841" y="992"/>
                      </a:lnTo>
                      <a:close/>
                      <a:moveTo>
                        <a:pt x="853" y="1012"/>
                      </a:moveTo>
                      <a:lnTo>
                        <a:pt x="854" y="1012"/>
                      </a:lnTo>
                      <a:lnTo>
                        <a:pt x="854" y="1013"/>
                      </a:lnTo>
                      <a:lnTo>
                        <a:pt x="853" y="1013"/>
                      </a:lnTo>
                      <a:lnTo>
                        <a:pt x="853" y="1012"/>
                      </a:lnTo>
                      <a:close/>
                      <a:moveTo>
                        <a:pt x="841" y="992"/>
                      </a:moveTo>
                      <a:lnTo>
                        <a:pt x="841" y="993"/>
                      </a:lnTo>
                      <a:lnTo>
                        <a:pt x="841" y="992"/>
                      </a:lnTo>
                      <a:close/>
                      <a:moveTo>
                        <a:pt x="873" y="896"/>
                      </a:moveTo>
                      <a:lnTo>
                        <a:pt x="873" y="897"/>
                      </a:lnTo>
                      <a:lnTo>
                        <a:pt x="873" y="896"/>
                      </a:lnTo>
                      <a:close/>
                      <a:moveTo>
                        <a:pt x="852" y="1068"/>
                      </a:moveTo>
                      <a:lnTo>
                        <a:pt x="852" y="1069"/>
                      </a:lnTo>
                      <a:lnTo>
                        <a:pt x="852" y="1068"/>
                      </a:lnTo>
                      <a:close/>
                      <a:moveTo>
                        <a:pt x="860" y="983"/>
                      </a:moveTo>
                      <a:lnTo>
                        <a:pt x="860" y="984"/>
                      </a:lnTo>
                      <a:lnTo>
                        <a:pt x="860" y="983"/>
                      </a:lnTo>
                      <a:close/>
                      <a:moveTo>
                        <a:pt x="882" y="924"/>
                      </a:moveTo>
                      <a:lnTo>
                        <a:pt x="883" y="924"/>
                      </a:lnTo>
                      <a:lnTo>
                        <a:pt x="882" y="924"/>
                      </a:lnTo>
                      <a:close/>
                      <a:moveTo>
                        <a:pt x="696" y="1130"/>
                      </a:moveTo>
                      <a:lnTo>
                        <a:pt x="697" y="1130"/>
                      </a:lnTo>
                      <a:lnTo>
                        <a:pt x="696" y="1130"/>
                      </a:lnTo>
                      <a:close/>
                      <a:moveTo>
                        <a:pt x="859" y="988"/>
                      </a:moveTo>
                      <a:lnTo>
                        <a:pt x="860" y="988"/>
                      </a:lnTo>
                      <a:lnTo>
                        <a:pt x="860" y="989"/>
                      </a:lnTo>
                      <a:lnTo>
                        <a:pt x="859" y="989"/>
                      </a:lnTo>
                      <a:lnTo>
                        <a:pt x="859" y="988"/>
                      </a:lnTo>
                      <a:close/>
                      <a:moveTo>
                        <a:pt x="831" y="992"/>
                      </a:moveTo>
                      <a:lnTo>
                        <a:pt x="832" y="992"/>
                      </a:lnTo>
                      <a:lnTo>
                        <a:pt x="831" y="992"/>
                      </a:lnTo>
                      <a:close/>
                      <a:moveTo>
                        <a:pt x="859" y="1059"/>
                      </a:moveTo>
                      <a:lnTo>
                        <a:pt x="860" y="1059"/>
                      </a:lnTo>
                      <a:lnTo>
                        <a:pt x="859" y="1059"/>
                      </a:lnTo>
                      <a:close/>
                      <a:moveTo>
                        <a:pt x="515" y="1168"/>
                      </a:moveTo>
                      <a:lnTo>
                        <a:pt x="514" y="1168"/>
                      </a:lnTo>
                      <a:lnTo>
                        <a:pt x="512" y="1169"/>
                      </a:lnTo>
                      <a:lnTo>
                        <a:pt x="511" y="1170"/>
                      </a:lnTo>
                      <a:lnTo>
                        <a:pt x="509" y="1170"/>
                      </a:lnTo>
                      <a:lnTo>
                        <a:pt x="508" y="1171"/>
                      </a:lnTo>
                      <a:lnTo>
                        <a:pt x="506" y="1171"/>
                      </a:lnTo>
                      <a:lnTo>
                        <a:pt x="505" y="1171"/>
                      </a:lnTo>
                      <a:lnTo>
                        <a:pt x="504" y="1171"/>
                      </a:lnTo>
                      <a:lnTo>
                        <a:pt x="503" y="1172"/>
                      </a:lnTo>
                      <a:lnTo>
                        <a:pt x="502" y="1172"/>
                      </a:lnTo>
                      <a:lnTo>
                        <a:pt x="501" y="1172"/>
                      </a:lnTo>
                      <a:lnTo>
                        <a:pt x="500" y="1172"/>
                      </a:lnTo>
                      <a:lnTo>
                        <a:pt x="498" y="1172"/>
                      </a:lnTo>
                      <a:lnTo>
                        <a:pt x="497" y="1172"/>
                      </a:lnTo>
                      <a:lnTo>
                        <a:pt x="495" y="1173"/>
                      </a:lnTo>
                      <a:lnTo>
                        <a:pt x="493" y="1173"/>
                      </a:lnTo>
                      <a:lnTo>
                        <a:pt x="491" y="1173"/>
                      </a:lnTo>
                      <a:lnTo>
                        <a:pt x="490" y="1173"/>
                      </a:lnTo>
                      <a:lnTo>
                        <a:pt x="489" y="1173"/>
                      </a:lnTo>
                      <a:lnTo>
                        <a:pt x="486" y="1174"/>
                      </a:lnTo>
                      <a:lnTo>
                        <a:pt x="484" y="1174"/>
                      </a:lnTo>
                      <a:lnTo>
                        <a:pt x="482" y="1175"/>
                      </a:lnTo>
                      <a:lnTo>
                        <a:pt x="480" y="1175"/>
                      </a:lnTo>
                      <a:lnTo>
                        <a:pt x="478" y="1176"/>
                      </a:lnTo>
                      <a:lnTo>
                        <a:pt x="477" y="1176"/>
                      </a:lnTo>
                      <a:lnTo>
                        <a:pt x="476" y="1178"/>
                      </a:lnTo>
                      <a:lnTo>
                        <a:pt x="475" y="1178"/>
                      </a:lnTo>
                      <a:lnTo>
                        <a:pt x="474" y="1178"/>
                      </a:lnTo>
                      <a:lnTo>
                        <a:pt x="473" y="1179"/>
                      </a:lnTo>
                      <a:lnTo>
                        <a:pt x="472" y="1179"/>
                      </a:lnTo>
                      <a:lnTo>
                        <a:pt x="471" y="1179"/>
                      </a:lnTo>
                      <a:lnTo>
                        <a:pt x="467" y="1180"/>
                      </a:lnTo>
                      <a:lnTo>
                        <a:pt x="466" y="1180"/>
                      </a:lnTo>
                      <a:lnTo>
                        <a:pt x="465" y="1180"/>
                      </a:lnTo>
                      <a:lnTo>
                        <a:pt x="464" y="1180"/>
                      </a:lnTo>
                      <a:lnTo>
                        <a:pt x="463" y="1181"/>
                      </a:lnTo>
                      <a:lnTo>
                        <a:pt x="462" y="1181"/>
                      </a:lnTo>
                      <a:lnTo>
                        <a:pt x="461" y="1181"/>
                      </a:lnTo>
                      <a:lnTo>
                        <a:pt x="460" y="1181"/>
                      </a:lnTo>
                      <a:lnTo>
                        <a:pt x="459" y="1181"/>
                      </a:lnTo>
                      <a:lnTo>
                        <a:pt x="458" y="1182"/>
                      </a:lnTo>
                      <a:lnTo>
                        <a:pt x="457" y="1182"/>
                      </a:lnTo>
                      <a:lnTo>
                        <a:pt x="454" y="1182"/>
                      </a:lnTo>
                      <a:lnTo>
                        <a:pt x="453" y="1182"/>
                      </a:lnTo>
                      <a:lnTo>
                        <a:pt x="452" y="1182"/>
                      </a:lnTo>
                      <a:lnTo>
                        <a:pt x="451" y="1182"/>
                      </a:lnTo>
                      <a:lnTo>
                        <a:pt x="448" y="1182"/>
                      </a:lnTo>
                      <a:lnTo>
                        <a:pt x="447" y="1182"/>
                      </a:lnTo>
                      <a:lnTo>
                        <a:pt x="446" y="1182"/>
                      </a:lnTo>
                      <a:lnTo>
                        <a:pt x="443" y="1182"/>
                      </a:lnTo>
                      <a:lnTo>
                        <a:pt x="441" y="1182"/>
                      </a:lnTo>
                      <a:lnTo>
                        <a:pt x="440" y="1181"/>
                      </a:lnTo>
                      <a:lnTo>
                        <a:pt x="441" y="1181"/>
                      </a:lnTo>
                      <a:lnTo>
                        <a:pt x="443" y="1181"/>
                      </a:lnTo>
                      <a:lnTo>
                        <a:pt x="444" y="1181"/>
                      </a:lnTo>
                      <a:lnTo>
                        <a:pt x="446" y="1181"/>
                      </a:lnTo>
                      <a:lnTo>
                        <a:pt x="447" y="1180"/>
                      </a:lnTo>
                      <a:lnTo>
                        <a:pt x="448" y="1180"/>
                      </a:lnTo>
                      <a:lnTo>
                        <a:pt x="449" y="1179"/>
                      </a:lnTo>
                      <a:lnTo>
                        <a:pt x="449" y="1180"/>
                      </a:lnTo>
                      <a:lnTo>
                        <a:pt x="450" y="1180"/>
                      </a:lnTo>
                      <a:lnTo>
                        <a:pt x="452" y="1180"/>
                      </a:lnTo>
                      <a:lnTo>
                        <a:pt x="453" y="1180"/>
                      </a:lnTo>
                      <a:lnTo>
                        <a:pt x="456" y="1180"/>
                      </a:lnTo>
                      <a:lnTo>
                        <a:pt x="458" y="1180"/>
                      </a:lnTo>
                      <a:lnTo>
                        <a:pt x="458" y="1179"/>
                      </a:lnTo>
                      <a:lnTo>
                        <a:pt x="459" y="1179"/>
                      </a:lnTo>
                      <a:lnTo>
                        <a:pt x="460" y="1178"/>
                      </a:lnTo>
                      <a:lnTo>
                        <a:pt x="460" y="1176"/>
                      </a:lnTo>
                      <a:lnTo>
                        <a:pt x="461" y="1176"/>
                      </a:lnTo>
                      <a:lnTo>
                        <a:pt x="463" y="1176"/>
                      </a:lnTo>
                      <a:lnTo>
                        <a:pt x="464" y="1176"/>
                      </a:lnTo>
                      <a:lnTo>
                        <a:pt x="464" y="1175"/>
                      </a:lnTo>
                      <a:lnTo>
                        <a:pt x="465" y="1175"/>
                      </a:lnTo>
                      <a:lnTo>
                        <a:pt x="466" y="1175"/>
                      </a:lnTo>
                      <a:lnTo>
                        <a:pt x="467" y="1175"/>
                      </a:lnTo>
                      <a:lnTo>
                        <a:pt x="470" y="1175"/>
                      </a:lnTo>
                      <a:lnTo>
                        <a:pt x="470" y="1174"/>
                      </a:lnTo>
                      <a:lnTo>
                        <a:pt x="471" y="1174"/>
                      </a:lnTo>
                      <a:lnTo>
                        <a:pt x="472" y="1174"/>
                      </a:lnTo>
                      <a:lnTo>
                        <a:pt x="473" y="1174"/>
                      </a:lnTo>
                      <a:lnTo>
                        <a:pt x="473" y="1173"/>
                      </a:lnTo>
                      <a:lnTo>
                        <a:pt x="472" y="1172"/>
                      </a:lnTo>
                      <a:lnTo>
                        <a:pt x="472" y="1171"/>
                      </a:lnTo>
                      <a:lnTo>
                        <a:pt x="473" y="1172"/>
                      </a:lnTo>
                      <a:lnTo>
                        <a:pt x="473" y="1171"/>
                      </a:lnTo>
                      <a:lnTo>
                        <a:pt x="474" y="1170"/>
                      </a:lnTo>
                      <a:lnTo>
                        <a:pt x="474" y="1171"/>
                      </a:lnTo>
                      <a:lnTo>
                        <a:pt x="475" y="1171"/>
                      </a:lnTo>
                      <a:lnTo>
                        <a:pt x="475" y="1172"/>
                      </a:lnTo>
                      <a:lnTo>
                        <a:pt x="474" y="1172"/>
                      </a:lnTo>
                      <a:lnTo>
                        <a:pt x="473" y="1173"/>
                      </a:lnTo>
                      <a:lnTo>
                        <a:pt x="473" y="1174"/>
                      </a:lnTo>
                      <a:lnTo>
                        <a:pt x="474" y="1174"/>
                      </a:lnTo>
                      <a:lnTo>
                        <a:pt x="475" y="1174"/>
                      </a:lnTo>
                      <a:lnTo>
                        <a:pt x="477" y="1174"/>
                      </a:lnTo>
                      <a:lnTo>
                        <a:pt x="477" y="1173"/>
                      </a:lnTo>
                      <a:lnTo>
                        <a:pt x="478" y="1174"/>
                      </a:lnTo>
                      <a:lnTo>
                        <a:pt x="479" y="1173"/>
                      </a:lnTo>
                      <a:lnTo>
                        <a:pt x="480" y="1173"/>
                      </a:lnTo>
                      <a:lnTo>
                        <a:pt x="482" y="1172"/>
                      </a:lnTo>
                      <a:lnTo>
                        <a:pt x="482" y="1171"/>
                      </a:lnTo>
                      <a:lnTo>
                        <a:pt x="483" y="1171"/>
                      </a:lnTo>
                      <a:lnTo>
                        <a:pt x="484" y="1171"/>
                      </a:lnTo>
                      <a:lnTo>
                        <a:pt x="487" y="1171"/>
                      </a:lnTo>
                      <a:lnTo>
                        <a:pt x="488" y="1170"/>
                      </a:lnTo>
                      <a:lnTo>
                        <a:pt x="489" y="1170"/>
                      </a:lnTo>
                      <a:lnTo>
                        <a:pt x="491" y="1170"/>
                      </a:lnTo>
                      <a:lnTo>
                        <a:pt x="492" y="1170"/>
                      </a:lnTo>
                      <a:lnTo>
                        <a:pt x="493" y="1170"/>
                      </a:lnTo>
                      <a:lnTo>
                        <a:pt x="499" y="1170"/>
                      </a:lnTo>
                      <a:lnTo>
                        <a:pt x="500" y="1170"/>
                      </a:lnTo>
                      <a:lnTo>
                        <a:pt x="500" y="1169"/>
                      </a:lnTo>
                      <a:lnTo>
                        <a:pt x="499" y="1169"/>
                      </a:lnTo>
                      <a:lnTo>
                        <a:pt x="499" y="1168"/>
                      </a:lnTo>
                      <a:lnTo>
                        <a:pt x="500" y="1168"/>
                      </a:lnTo>
                      <a:lnTo>
                        <a:pt x="500" y="1169"/>
                      </a:lnTo>
                      <a:lnTo>
                        <a:pt x="501" y="1169"/>
                      </a:lnTo>
                      <a:lnTo>
                        <a:pt x="502" y="1169"/>
                      </a:lnTo>
                      <a:lnTo>
                        <a:pt x="503" y="1170"/>
                      </a:lnTo>
                      <a:lnTo>
                        <a:pt x="504" y="1169"/>
                      </a:lnTo>
                      <a:lnTo>
                        <a:pt x="505" y="1169"/>
                      </a:lnTo>
                      <a:lnTo>
                        <a:pt x="506" y="1169"/>
                      </a:lnTo>
                      <a:lnTo>
                        <a:pt x="508" y="1169"/>
                      </a:lnTo>
                      <a:lnTo>
                        <a:pt x="509" y="1169"/>
                      </a:lnTo>
                      <a:lnTo>
                        <a:pt x="509" y="1168"/>
                      </a:lnTo>
                      <a:lnTo>
                        <a:pt x="511" y="1168"/>
                      </a:lnTo>
                      <a:lnTo>
                        <a:pt x="512" y="1168"/>
                      </a:lnTo>
                      <a:lnTo>
                        <a:pt x="513" y="1168"/>
                      </a:lnTo>
                      <a:lnTo>
                        <a:pt x="514" y="1166"/>
                      </a:lnTo>
                      <a:lnTo>
                        <a:pt x="515" y="1166"/>
                      </a:lnTo>
                      <a:lnTo>
                        <a:pt x="515" y="1164"/>
                      </a:lnTo>
                      <a:lnTo>
                        <a:pt x="516" y="1164"/>
                      </a:lnTo>
                      <a:lnTo>
                        <a:pt x="517" y="1163"/>
                      </a:lnTo>
                      <a:lnTo>
                        <a:pt x="518" y="1163"/>
                      </a:lnTo>
                      <a:lnTo>
                        <a:pt x="517" y="1164"/>
                      </a:lnTo>
                      <a:lnTo>
                        <a:pt x="516" y="1166"/>
                      </a:lnTo>
                      <a:lnTo>
                        <a:pt x="515" y="1167"/>
                      </a:lnTo>
                      <a:lnTo>
                        <a:pt x="515" y="1168"/>
                      </a:lnTo>
                      <a:close/>
                      <a:moveTo>
                        <a:pt x="400" y="1153"/>
                      </a:moveTo>
                      <a:lnTo>
                        <a:pt x="401" y="1153"/>
                      </a:lnTo>
                      <a:lnTo>
                        <a:pt x="402" y="1154"/>
                      </a:lnTo>
                      <a:lnTo>
                        <a:pt x="403" y="1154"/>
                      </a:lnTo>
                      <a:lnTo>
                        <a:pt x="405" y="1154"/>
                      </a:lnTo>
                      <a:lnTo>
                        <a:pt x="406" y="1154"/>
                      </a:lnTo>
                      <a:lnTo>
                        <a:pt x="406" y="1153"/>
                      </a:lnTo>
                      <a:lnTo>
                        <a:pt x="407" y="1153"/>
                      </a:lnTo>
                      <a:lnTo>
                        <a:pt x="407" y="1154"/>
                      </a:lnTo>
                      <a:lnTo>
                        <a:pt x="408" y="1154"/>
                      </a:lnTo>
                      <a:lnTo>
                        <a:pt x="408" y="1155"/>
                      </a:lnTo>
                      <a:lnTo>
                        <a:pt x="407" y="1155"/>
                      </a:lnTo>
                      <a:lnTo>
                        <a:pt x="406" y="1155"/>
                      </a:lnTo>
                      <a:lnTo>
                        <a:pt x="406" y="1156"/>
                      </a:lnTo>
                      <a:lnTo>
                        <a:pt x="406" y="1157"/>
                      </a:lnTo>
                      <a:lnTo>
                        <a:pt x="406" y="1158"/>
                      </a:lnTo>
                      <a:lnTo>
                        <a:pt x="405" y="1158"/>
                      </a:lnTo>
                      <a:lnTo>
                        <a:pt x="403" y="1159"/>
                      </a:lnTo>
                      <a:lnTo>
                        <a:pt x="402" y="1159"/>
                      </a:lnTo>
                      <a:lnTo>
                        <a:pt x="401" y="1159"/>
                      </a:lnTo>
                      <a:lnTo>
                        <a:pt x="401" y="1160"/>
                      </a:lnTo>
                      <a:lnTo>
                        <a:pt x="401" y="1159"/>
                      </a:lnTo>
                      <a:lnTo>
                        <a:pt x="400" y="1159"/>
                      </a:lnTo>
                      <a:lnTo>
                        <a:pt x="400" y="1158"/>
                      </a:lnTo>
                      <a:lnTo>
                        <a:pt x="399" y="1158"/>
                      </a:lnTo>
                      <a:lnTo>
                        <a:pt x="398" y="1158"/>
                      </a:lnTo>
                      <a:lnTo>
                        <a:pt x="398" y="1159"/>
                      </a:lnTo>
                      <a:lnTo>
                        <a:pt x="397" y="1159"/>
                      </a:lnTo>
                      <a:lnTo>
                        <a:pt x="397" y="1161"/>
                      </a:lnTo>
                      <a:lnTo>
                        <a:pt x="397" y="1162"/>
                      </a:lnTo>
                      <a:lnTo>
                        <a:pt x="398" y="1162"/>
                      </a:lnTo>
                      <a:lnTo>
                        <a:pt x="398" y="1161"/>
                      </a:lnTo>
                      <a:lnTo>
                        <a:pt x="398" y="1160"/>
                      </a:lnTo>
                      <a:lnTo>
                        <a:pt x="398" y="1159"/>
                      </a:lnTo>
                      <a:lnTo>
                        <a:pt x="399" y="1159"/>
                      </a:lnTo>
                      <a:lnTo>
                        <a:pt x="399" y="1160"/>
                      </a:lnTo>
                      <a:lnTo>
                        <a:pt x="399" y="1161"/>
                      </a:lnTo>
                      <a:lnTo>
                        <a:pt x="399" y="1162"/>
                      </a:lnTo>
                      <a:lnTo>
                        <a:pt x="398" y="1162"/>
                      </a:lnTo>
                      <a:lnTo>
                        <a:pt x="398" y="1163"/>
                      </a:lnTo>
                      <a:lnTo>
                        <a:pt x="399" y="1163"/>
                      </a:lnTo>
                      <a:lnTo>
                        <a:pt x="400" y="1163"/>
                      </a:lnTo>
                      <a:lnTo>
                        <a:pt x="401" y="1163"/>
                      </a:lnTo>
                      <a:lnTo>
                        <a:pt x="401" y="1164"/>
                      </a:lnTo>
                      <a:lnTo>
                        <a:pt x="400" y="1164"/>
                      </a:lnTo>
                      <a:lnTo>
                        <a:pt x="399" y="1166"/>
                      </a:lnTo>
                      <a:lnTo>
                        <a:pt x="399" y="1167"/>
                      </a:lnTo>
                      <a:lnTo>
                        <a:pt x="398" y="1167"/>
                      </a:lnTo>
                      <a:lnTo>
                        <a:pt x="398" y="1168"/>
                      </a:lnTo>
                      <a:lnTo>
                        <a:pt x="397" y="1167"/>
                      </a:lnTo>
                      <a:lnTo>
                        <a:pt x="396" y="1167"/>
                      </a:lnTo>
                      <a:lnTo>
                        <a:pt x="396" y="1166"/>
                      </a:lnTo>
                      <a:lnTo>
                        <a:pt x="395" y="1166"/>
                      </a:lnTo>
                      <a:lnTo>
                        <a:pt x="394" y="1166"/>
                      </a:lnTo>
                      <a:lnTo>
                        <a:pt x="393" y="1164"/>
                      </a:lnTo>
                      <a:lnTo>
                        <a:pt x="392" y="1164"/>
                      </a:lnTo>
                      <a:lnTo>
                        <a:pt x="393" y="1164"/>
                      </a:lnTo>
                      <a:lnTo>
                        <a:pt x="393" y="1163"/>
                      </a:lnTo>
                      <a:lnTo>
                        <a:pt x="392" y="1163"/>
                      </a:lnTo>
                      <a:lnTo>
                        <a:pt x="390" y="1162"/>
                      </a:lnTo>
                      <a:lnTo>
                        <a:pt x="389" y="1162"/>
                      </a:lnTo>
                      <a:lnTo>
                        <a:pt x="388" y="1162"/>
                      </a:lnTo>
                      <a:lnTo>
                        <a:pt x="388" y="1161"/>
                      </a:lnTo>
                      <a:lnTo>
                        <a:pt x="388" y="1160"/>
                      </a:lnTo>
                      <a:lnTo>
                        <a:pt x="389" y="1160"/>
                      </a:lnTo>
                      <a:lnTo>
                        <a:pt x="390" y="1160"/>
                      </a:lnTo>
                      <a:lnTo>
                        <a:pt x="390" y="1159"/>
                      </a:lnTo>
                      <a:lnTo>
                        <a:pt x="390" y="1158"/>
                      </a:lnTo>
                      <a:lnTo>
                        <a:pt x="392" y="1157"/>
                      </a:lnTo>
                      <a:lnTo>
                        <a:pt x="393" y="1157"/>
                      </a:lnTo>
                      <a:lnTo>
                        <a:pt x="393" y="1158"/>
                      </a:lnTo>
                      <a:lnTo>
                        <a:pt x="393" y="1159"/>
                      </a:lnTo>
                      <a:lnTo>
                        <a:pt x="395" y="1159"/>
                      </a:lnTo>
                      <a:lnTo>
                        <a:pt x="395" y="1158"/>
                      </a:lnTo>
                      <a:lnTo>
                        <a:pt x="396" y="1158"/>
                      </a:lnTo>
                      <a:lnTo>
                        <a:pt x="397" y="1157"/>
                      </a:lnTo>
                      <a:lnTo>
                        <a:pt x="398" y="1157"/>
                      </a:lnTo>
                      <a:lnTo>
                        <a:pt x="399" y="1157"/>
                      </a:lnTo>
                      <a:lnTo>
                        <a:pt x="400" y="1157"/>
                      </a:lnTo>
                      <a:lnTo>
                        <a:pt x="399" y="1156"/>
                      </a:lnTo>
                      <a:lnTo>
                        <a:pt x="398" y="1155"/>
                      </a:lnTo>
                      <a:lnTo>
                        <a:pt x="399" y="1155"/>
                      </a:lnTo>
                      <a:lnTo>
                        <a:pt x="398" y="1154"/>
                      </a:lnTo>
                      <a:lnTo>
                        <a:pt x="397" y="1154"/>
                      </a:lnTo>
                      <a:lnTo>
                        <a:pt x="397" y="1153"/>
                      </a:lnTo>
                      <a:lnTo>
                        <a:pt x="396" y="1153"/>
                      </a:lnTo>
                      <a:lnTo>
                        <a:pt x="397" y="1153"/>
                      </a:lnTo>
                      <a:lnTo>
                        <a:pt x="398" y="1153"/>
                      </a:lnTo>
                      <a:lnTo>
                        <a:pt x="399" y="1153"/>
                      </a:lnTo>
                      <a:lnTo>
                        <a:pt x="400" y="1151"/>
                      </a:lnTo>
                      <a:lnTo>
                        <a:pt x="400" y="1153"/>
                      </a:lnTo>
                      <a:close/>
                      <a:moveTo>
                        <a:pt x="414" y="1175"/>
                      </a:moveTo>
                      <a:lnTo>
                        <a:pt x="415" y="1175"/>
                      </a:lnTo>
                      <a:lnTo>
                        <a:pt x="416" y="1175"/>
                      </a:lnTo>
                      <a:lnTo>
                        <a:pt x="418" y="1176"/>
                      </a:lnTo>
                      <a:lnTo>
                        <a:pt x="416" y="1176"/>
                      </a:lnTo>
                      <a:lnTo>
                        <a:pt x="416" y="1178"/>
                      </a:lnTo>
                      <a:lnTo>
                        <a:pt x="415" y="1179"/>
                      </a:lnTo>
                      <a:lnTo>
                        <a:pt x="414" y="1180"/>
                      </a:lnTo>
                      <a:lnTo>
                        <a:pt x="413" y="1180"/>
                      </a:lnTo>
                      <a:lnTo>
                        <a:pt x="412" y="1181"/>
                      </a:lnTo>
                      <a:lnTo>
                        <a:pt x="411" y="1182"/>
                      </a:lnTo>
                      <a:lnTo>
                        <a:pt x="410" y="1182"/>
                      </a:lnTo>
                      <a:lnTo>
                        <a:pt x="409" y="1182"/>
                      </a:lnTo>
                      <a:lnTo>
                        <a:pt x="409" y="1183"/>
                      </a:lnTo>
                      <a:lnTo>
                        <a:pt x="408" y="1183"/>
                      </a:lnTo>
                      <a:lnTo>
                        <a:pt x="407" y="1183"/>
                      </a:lnTo>
                      <a:lnTo>
                        <a:pt x="406" y="1183"/>
                      </a:lnTo>
                      <a:lnTo>
                        <a:pt x="399" y="1183"/>
                      </a:lnTo>
                      <a:lnTo>
                        <a:pt x="398" y="1183"/>
                      </a:lnTo>
                      <a:lnTo>
                        <a:pt x="397" y="1182"/>
                      </a:lnTo>
                      <a:lnTo>
                        <a:pt x="395" y="1182"/>
                      </a:lnTo>
                      <a:lnTo>
                        <a:pt x="394" y="1182"/>
                      </a:lnTo>
                      <a:lnTo>
                        <a:pt x="393" y="1181"/>
                      </a:lnTo>
                      <a:lnTo>
                        <a:pt x="392" y="1179"/>
                      </a:lnTo>
                      <a:lnTo>
                        <a:pt x="390" y="1179"/>
                      </a:lnTo>
                      <a:lnTo>
                        <a:pt x="389" y="1179"/>
                      </a:lnTo>
                      <a:lnTo>
                        <a:pt x="388" y="1179"/>
                      </a:lnTo>
                      <a:lnTo>
                        <a:pt x="387" y="1178"/>
                      </a:lnTo>
                      <a:lnTo>
                        <a:pt x="386" y="1178"/>
                      </a:lnTo>
                      <a:lnTo>
                        <a:pt x="385" y="1176"/>
                      </a:lnTo>
                      <a:lnTo>
                        <a:pt x="384" y="1176"/>
                      </a:lnTo>
                      <a:lnTo>
                        <a:pt x="383" y="1176"/>
                      </a:lnTo>
                      <a:lnTo>
                        <a:pt x="382" y="1176"/>
                      </a:lnTo>
                      <a:lnTo>
                        <a:pt x="382" y="1175"/>
                      </a:lnTo>
                      <a:lnTo>
                        <a:pt x="382" y="1174"/>
                      </a:lnTo>
                      <a:lnTo>
                        <a:pt x="383" y="1175"/>
                      </a:lnTo>
                      <a:lnTo>
                        <a:pt x="384" y="1175"/>
                      </a:lnTo>
                      <a:lnTo>
                        <a:pt x="385" y="1175"/>
                      </a:lnTo>
                      <a:lnTo>
                        <a:pt x="386" y="1175"/>
                      </a:lnTo>
                      <a:lnTo>
                        <a:pt x="387" y="1175"/>
                      </a:lnTo>
                      <a:lnTo>
                        <a:pt x="388" y="1176"/>
                      </a:lnTo>
                      <a:lnTo>
                        <a:pt x="390" y="1178"/>
                      </a:lnTo>
                      <a:lnTo>
                        <a:pt x="392" y="1178"/>
                      </a:lnTo>
                      <a:lnTo>
                        <a:pt x="392" y="1179"/>
                      </a:lnTo>
                      <a:lnTo>
                        <a:pt x="393" y="1179"/>
                      </a:lnTo>
                      <a:lnTo>
                        <a:pt x="394" y="1179"/>
                      </a:lnTo>
                      <a:lnTo>
                        <a:pt x="395" y="1178"/>
                      </a:lnTo>
                      <a:lnTo>
                        <a:pt x="396" y="1178"/>
                      </a:lnTo>
                      <a:lnTo>
                        <a:pt x="397" y="1178"/>
                      </a:lnTo>
                      <a:lnTo>
                        <a:pt x="398" y="1179"/>
                      </a:lnTo>
                      <a:lnTo>
                        <a:pt x="398" y="1180"/>
                      </a:lnTo>
                      <a:lnTo>
                        <a:pt x="398" y="1181"/>
                      </a:lnTo>
                      <a:lnTo>
                        <a:pt x="400" y="1181"/>
                      </a:lnTo>
                      <a:lnTo>
                        <a:pt x="401" y="1180"/>
                      </a:lnTo>
                      <a:lnTo>
                        <a:pt x="403" y="1181"/>
                      </a:lnTo>
                      <a:lnTo>
                        <a:pt x="403" y="1180"/>
                      </a:lnTo>
                      <a:lnTo>
                        <a:pt x="405" y="1180"/>
                      </a:lnTo>
                      <a:lnTo>
                        <a:pt x="406" y="1180"/>
                      </a:lnTo>
                      <a:lnTo>
                        <a:pt x="407" y="1180"/>
                      </a:lnTo>
                      <a:lnTo>
                        <a:pt x="408" y="1180"/>
                      </a:lnTo>
                      <a:lnTo>
                        <a:pt x="409" y="1180"/>
                      </a:lnTo>
                      <a:lnTo>
                        <a:pt x="410" y="1180"/>
                      </a:lnTo>
                      <a:lnTo>
                        <a:pt x="410" y="1179"/>
                      </a:lnTo>
                      <a:lnTo>
                        <a:pt x="410" y="1178"/>
                      </a:lnTo>
                      <a:lnTo>
                        <a:pt x="409" y="1178"/>
                      </a:lnTo>
                      <a:lnTo>
                        <a:pt x="409" y="1176"/>
                      </a:lnTo>
                      <a:lnTo>
                        <a:pt x="410" y="1175"/>
                      </a:lnTo>
                      <a:lnTo>
                        <a:pt x="409" y="1175"/>
                      </a:lnTo>
                      <a:lnTo>
                        <a:pt x="408" y="1175"/>
                      </a:lnTo>
                      <a:lnTo>
                        <a:pt x="407" y="1175"/>
                      </a:lnTo>
                      <a:lnTo>
                        <a:pt x="407" y="1174"/>
                      </a:lnTo>
                      <a:lnTo>
                        <a:pt x="408" y="1174"/>
                      </a:lnTo>
                      <a:lnTo>
                        <a:pt x="409" y="1174"/>
                      </a:lnTo>
                      <a:lnTo>
                        <a:pt x="410" y="1174"/>
                      </a:lnTo>
                      <a:lnTo>
                        <a:pt x="411" y="1174"/>
                      </a:lnTo>
                      <a:lnTo>
                        <a:pt x="412" y="1175"/>
                      </a:lnTo>
                      <a:lnTo>
                        <a:pt x="414" y="1175"/>
                      </a:lnTo>
                      <a:close/>
                      <a:moveTo>
                        <a:pt x="422" y="1136"/>
                      </a:moveTo>
                      <a:lnTo>
                        <a:pt x="423" y="1136"/>
                      </a:lnTo>
                      <a:lnTo>
                        <a:pt x="424" y="1135"/>
                      </a:lnTo>
                      <a:lnTo>
                        <a:pt x="424" y="1136"/>
                      </a:lnTo>
                      <a:lnTo>
                        <a:pt x="423" y="1136"/>
                      </a:lnTo>
                      <a:lnTo>
                        <a:pt x="424" y="1136"/>
                      </a:lnTo>
                      <a:lnTo>
                        <a:pt x="424" y="1137"/>
                      </a:lnTo>
                      <a:lnTo>
                        <a:pt x="423" y="1138"/>
                      </a:lnTo>
                      <a:lnTo>
                        <a:pt x="424" y="1138"/>
                      </a:lnTo>
                      <a:lnTo>
                        <a:pt x="424" y="1140"/>
                      </a:lnTo>
                      <a:lnTo>
                        <a:pt x="424" y="1141"/>
                      </a:lnTo>
                      <a:lnTo>
                        <a:pt x="425" y="1140"/>
                      </a:lnTo>
                      <a:lnTo>
                        <a:pt x="426" y="1140"/>
                      </a:lnTo>
                      <a:lnTo>
                        <a:pt x="426" y="1138"/>
                      </a:lnTo>
                      <a:lnTo>
                        <a:pt x="427" y="1138"/>
                      </a:lnTo>
                      <a:lnTo>
                        <a:pt x="427" y="1140"/>
                      </a:lnTo>
                      <a:lnTo>
                        <a:pt x="426" y="1140"/>
                      </a:lnTo>
                      <a:lnTo>
                        <a:pt x="426" y="1141"/>
                      </a:lnTo>
                      <a:lnTo>
                        <a:pt x="426" y="1142"/>
                      </a:lnTo>
                      <a:lnTo>
                        <a:pt x="425" y="1143"/>
                      </a:lnTo>
                      <a:lnTo>
                        <a:pt x="425" y="1144"/>
                      </a:lnTo>
                      <a:lnTo>
                        <a:pt x="425" y="1145"/>
                      </a:lnTo>
                      <a:lnTo>
                        <a:pt x="425" y="1146"/>
                      </a:lnTo>
                      <a:lnTo>
                        <a:pt x="424" y="1146"/>
                      </a:lnTo>
                      <a:lnTo>
                        <a:pt x="424" y="1147"/>
                      </a:lnTo>
                      <a:lnTo>
                        <a:pt x="424" y="1148"/>
                      </a:lnTo>
                      <a:lnTo>
                        <a:pt x="423" y="1148"/>
                      </a:lnTo>
                      <a:lnTo>
                        <a:pt x="423" y="1147"/>
                      </a:lnTo>
                      <a:lnTo>
                        <a:pt x="422" y="1147"/>
                      </a:lnTo>
                      <a:lnTo>
                        <a:pt x="421" y="1147"/>
                      </a:lnTo>
                      <a:lnTo>
                        <a:pt x="420" y="1147"/>
                      </a:lnTo>
                      <a:lnTo>
                        <a:pt x="420" y="1148"/>
                      </a:lnTo>
                      <a:lnTo>
                        <a:pt x="419" y="1149"/>
                      </a:lnTo>
                      <a:lnTo>
                        <a:pt x="419" y="1150"/>
                      </a:lnTo>
                      <a:lnTo>
                        <a:pt x="419" y="1151"/>
                      </a:lnTo>
                      <a:lnTo>
                        <a:pt x="418" y="1151"/>
                      </a:lnTo>
                      <a:lnTo>
                        <a:pt x="418" y="1150"/>
                      </a:lnTo>
                      <a:lnTo>
                        <a:pt x="418" y="1149"/>
                      </a:lnTo>
                      <a:lnTo>
                        <a:pt x="418" y="1148"/>
                      </a:lnTo>
                      <a:lnTo>
                        <a:pt x="419" y="1147"/>
                      </a:lnTo>
                      <a:lnTo>
                        <a:pt x="420" y="1147"/>
                      </a:lnTo>
                      <a:lnTo>
                        <a:pt x="421" y="1146"/>
                      </a:lnTo>
                      <a:lnTo>
                        <a:pt x="422" y="1146"/>
                      </a:lnTo>
                      <a:lnTo>
                        <a:pt x="424" y="1146"/>
                      </a:lnTo>
                      <a:lnTo>
                        <a:pt x="424" y="1145"/>
                      </a:lnTo>
                      <a:lnTo>
                        <a:pt x="423" y="1145"/>
                      </a:lnTo>
                      <a:lnTo>
                        <a:pt x="422" y="1145"/>
                      </a:lnTo>
                      <a:lnTo>
                        <a:pt x="421" y="1145"/>
                      </a:lnTo>
                      <a:lnTo>
                        <a:pt x="420" y="1146"/>
                      </a:lnTo>
                      <a:lnTo>
                        <a:pt x="420" y="1145"/>
                      </a:lnTo>
                      <a:lnTo>
                        <a:pt x="421" y="1145"/>
                      </a:lnTo>
                      <a:lnTo>
                        <a:pt x="421" y="1144"/>
                      </a:lnTo>
                      <a:lnTo>
                        <a:pt x="421" y="1143"/>
                      </a:lnTo>
                      <a:lnTo>
                        <a:pt x="420" y="1143"/>
                      </a:lnTo>
                      <a:lnTo>
                        <a:pt x="419" y="1143"/>
                      </a:lnTo>
                      <a:lnTo>
                        <a:pt x="419" y="1142"/>
                      </a:lnTo>
                      <a:lnTo>
                        <a:pt x="419" y="1141"/>
                      </a:lnTo>
                      <a:lnTo>
                        <a:pt x="419" y="1142"/>
                      </a:lnTo>
                      <a:lnTo>
                        <a:pt x="420" y="1142"/>
                      </a:lnTo>
                      <a:lnTo>
                        <a:pt x="421" y="1142"/>
                      </a:lnTo>
                      <a:lnTo>
                        <a:pt x="421" y="1141"/>
                      </a:lnTo>
                      <a:lnTo>
                        <a:pt x="422" y="1141"/>
                      </a:lnTo>
                      <a:lnTo>
                        <a:pt x="423" y="1141"/>
                      </a:lnTo>
                      <a:lnTo>
                        <a:pt x="423" y="1140"/>
                      </a:lnTo>
                      <a:lnTo>
                        <a:pt x="423" y="1138"/>
                      </a:lnTo>
                      <a:lnTo>
                        <a:pt x="422" y="1137"/>
                      </a:lnTo>
                      <a:lnTo>
                        <a:pt x="421" y="1137"/>
                      </a:lnTo>
                      <a:lnTo>
                        <a:pt x="420" y="1137"/>
                      </a:lnTo>
                      <a:lnTo>
                        <a:pt x="419" y="1137"/>
                      </a:lnTo>
                      <a:lnTo>
                        <a:pt x="418" y="1137"/>
                      </a:lnTo>
                      <a:lnTo>
                        <a:pt x="418" y="1138"/>
                      </a:lnTo>
                      <a:lnTo>
                        <a:pt x="418" y="1137"/>
                      </a:lnTo>
                      <a:lnTo>
                        <a:pt x="418" y="1136"/>
                      </a:lnTo>
                      <a:lnTo>
                        <a:pt x="419" y="1136"/>
                      </a:lnTo>
                      <a:lnTo>
                        <a:pt x="419" y="1135"/>
                      </a:lnTo>
                      <a:lnTo>
                        <a:pt x="420" y="1135"/>
                      </a:lnTo>
                      <a:lnTo>
                        <a:pt x="420" y="1134"/>
                      </a:lnTo>
                      <a:lnTo>
                        <a:pt x="421" y="1134"/>
                      </a:lnTo>
                      <a:lnTo>
                        <a:pt x="421" y="1135"/>
                      </a:lnTo>
                      <a:lnTo>
                        <a:pt x="422" y="1135"/>
                      </a:lnTo>
                      <a:lnTo>
                        <a:pt x="422" y="1136"/>
                      </a:lnTo>
                      <a:close/>
                      <a:moveTo>
                        <a:pt x="505" y="1067"/>
                      </a:moveTo>
                      <a:lnTo>
                        <a:pt x="506" y="1068"/>
                      </a:lnTo>
                      <a:lnTo>
                        <a:pt x="508" y="1068"/>
                      </a:lnTo>
                      <a:lnTo>
                        <a:pt x="508" y="1071"/>
                      </a:lnTo>
                      <a:lnTo>
                        <a:pt x="506" y="1071"/>
                      </a:lnTo>
                      <a:lnTo>
                        <a:pt x="505" y="1072"/>
                      </a:lnTo>
                      <a:lnTo>
                        <a:pt x="506" y="1073"/>
                      </a:lnTo>
                      <a:lnTo>
                        <a:pt x="506" y="1074"/>
                      </a:lnTo>
                      <a:lnTo>
                        <a:pt x="508" y="1074"/>
                      </a:lnTo>
                      <a:lnTo>
                        <a:pt x="509" y="1076"/>
                      </a:lnTo>
                      <a:lnTo>
                        <a:pt x="509" y="1077"/>
                      </a:lnTo>
                      <a:lnTo>
                        <a:pt x="510" y="1077"/>
                      </a:lnTo>
                      <a:lnTo>
                        <a:pt x="510" y="1078"/>
                      </a:lnTo>
                      <a:lnTo>
                        <a:pt x="509" y="1078"/>
                      </a:lnTo>
                      <a:lnTo>
                        <a:pt x="508" y="1078"/>
                      </a:lnTo>
                      <a:lnTo>
                        <a:pt x="509" y="1079"/>
                      </a:lnTo>
                      <a:lnTo>
                        <a:pt x="510" y="1079"/>
                      </a:lnTo>
                      <a:lnTo>
                        <a:pt x="511" y="1079"/>
                      </a:lnTo>
                      <a:lnTo>
                        <a:pt x="511" y="1078"/>
                      </a:lnTo>
                      <a:lnTo>
                        <a:pt x="512" y="1078"/>
                      </a:lnTo>
                      <a:lnTo>
                        <a:pt x="512" y="1077"/>
                      </a:lnTo>
                      <a:lnTo>
                        <a:pt x="512" y="1076"/>
                      </a:lnTo>
                      <a:lnTo>
                        <a:pt x="513" y="1076"/>
                      </a:lnTo>
                      <a:lnTo>
                        <a:pt x="513" y="1079"/>
                      </a:lnTo>
                      <a:lnTo>
                        <a:pt x="512" y="1080"/>
                      </a:lnTo>
                      <a:lnTo>
                        <a:pt x="513" y="1080"/>
                      </a:lnTo>
                      <a:lnTo>
                        <a:pt x="513" y="1081"/>
                      </a:lnTo>
                      <a:lnTo>
                        <a:pt x="514" y="1081"/>
                      </a:lnTo>
                      <a:lnTo>
                        <a:pt x="514" y="1082"/>
                      </a:lnTo>
                      <a:lnTo>
                        <a:pt x="514" y="1083"/>
                      </a:lnTo>
                      <a:lnTo>
                        <a:pt x="515" y="1084"/>
                      </a:lnTo>
                      <a:lnTo>
                        <a:pt x="514" y="1085"/>
                      </a:lnTo>
                      <a:lnTo>
                        <a:pt x="515" y="1085"/>
                      </a:lnTo>
                      <a:lnTo>
                        <a:pt x="515" y="1086"/>
                      </a:lnTo>
                      <a:lnTo>
                        <a:pt x="514" y="1088"/>
                      </a:lnTo>
                      <a:lnTo>
                        <a:pt x="513" y="1089"/>
                      </a:lnTo>
                      <a:lnTo>
                        <a:pt x="512" y="1089"/>
                      </a:lnTo>
                      <a:lnTo>
                        <a:pt x="512" y="1088"/>
                      </a:lnTo>
                      <a:lnTo>
                        <a:pt x="513" y="1088"/>
                      </a:lnTo>
                      <a:lnTo>
                        <a:pt x="513" y="1086"/>
                      </a:lnTo>
                      <a:lnTo>
                        <a:pt x="513" y="1085"/>
                      </a:lnTo>
                      <a:lnTo>
                        <a:pt x="513" y="1084"/>
                      </a:lnTo>
                      <a:lnTo>
                        <a:pt x="513" y="1083"/>
                      </a:lnTo>
                      <a:lnTo>
                        <a:pt x="512" y="1082"/>
                      </a:lnTo>
                      <a:lnTo>
                        <a:pt x="512" y="1083"/>
                      </a:lnTo>
                      <a:lnTo>
                        <a:pt x="511" y="1082"/>
                      </a:lnTo>
                      <a:lnTo>
                        <a:pt x="510" y="1082"/>
                      </a:lnTo>
                      <a:lnTo>
                        <a:pt x="509" y="1082"/>
                      </a:lnTo>
                      <a:lnTo>
                        <a:pt x="509" y="1081"/>
                      </a:lnTo>
                      <a:lnTo>
                        <a:pt x="508" y="1081"/>
                      </a:lnTo>
                      <a:lnTo>
                        <a:pt x="508" y="1080"/>
                      </a:lnTo>
                      <a:lnTo>
                        <a:pt x="506" y="1079"/>
                      </a:lnTo>
                      <a:lnTo>
                        <a:pt x="506" y="1078"/>
                      </a:lnTo>
                      <a:lnTo>
                        <a:pt x="506" y="1077"/>
                      </a:lnTo>
                      <a:lnTo>
                        <a:pt x="506" y="1076"/>
                      </a:lnTo>
                      <a:lnTo>
                        <a:pt x="506" y="1074"/>
                      </a:lnTo>
                      <a:lnTo>
                        <a:pt x="505" y="1074"/>
                      </a:lnTo>
                      <a:lnTo>
                        <a:pt x="505" y="1073"/>
                      </a:lnTo>
                      <a:lnTo>
                        <a:pt x="504" y="1073"/>
                      </a:lnTo>
                      <a:lnTo>
                        <a:pt x="504" y="1072"/>
                      </a:lnTo>
                      <a:lnTo>
                        <a:pt x="504" y="1071"/>
                      </a:lnTo>
                      <a:lnTo>
                        <a:pt x="504" y="1070"/>
                      </a:lnTo>
                      <a:lnTo>
                        <a:pt x="504" y="1069"/>
                      </a:lnTo>
                      <a:lnTo>
                        <a:pt x="504" y="1068"/>
                      </a:lnTo>
                      <a:lnTo>
                        <a:pt x="505" y="1068"/>
                      </a:lnTo>
                      <a:lnTo>
                        <a:pt x="505" y="1067"/>
                      </a:lnTo>
                      <a:close/>
                      <a:moveTo>
                        <a:pt x="287" y="1079"/>
                      </a:moveTo>
                      <a:lnTo>
                        <a:pt x="289" y="1079"/>
                      </a:lnTo>
                      <a:lnTo>
                        <a:pt x="289" y="1078"/>
                      </a:lnTo>
                      <a:lnTo>
                        <a:pt x="290" y="1079"/>
                      </a:lnTo>
                      <a:lnTo>
                        <a:pt x="291" y="1079"/>
                      </a:lnTo>
                      <a:lnTo>
                        <a:pt x="292" y="1079"/>
                      </a:lnTo>
                      <a:lnTo>
                        <a:pt x="292" y="1080"/>
                      </a:lnTo>
                      <a:lnTo>
                        <a:pt x="292" y="1082"/>
                      </a:lnTo>
                      <a:lnTo>
                        <a:pt x="293" y="1083"/>
                      </a:lnTo>
                      <a:lnTo>
                        <a:pt x="293" y="1084"/>
                      </a:lnTo>
                      <a:lnTo>
                        <a:pt x="292" y="1084"/>
                      </a:lnTo>
                      <a:lnTo>
                        <a:pt x="292" y="1083"/>
                      </a:lnTo>
                      <a:lnTo>
                        <a:pt x="291" y="1084"/>
                      </a:lnTo>
                      <a:lnTo>
                        <a:pt x="291" y="1083"/>
                      </a:lnTo>
                      <a:lnTo>
                        <a:pt x="290" y="1083"/>
                      </a:lnTo>
                      <a:lnTo>
                        <a:pt x="290" y="1084"/>
                      </a:lnTo>
                      <a:lnTo>
                        <a:pt x="289" y="1085"/>
                      </a:lnTo>
                      <a:lnTo>
                        <a:pt x="289" y="1086"/>
                      </a:lnTo>
                      <a:lnTo>
                        <a:pt x="290" y="1088"/>
                      </a:lnTo>
                      <a:lnTo>
                        <a:pt x="289" y="1088"/>
                      </a:lnTo>
                      <a:lnTo>
                        <a:pt x="289" y="1086"/>
                      </a:lnTo>
                      <a:lnTo>
                        <a:pt x="287" y="1086"/>
                      </a:lnTo>
                      <a:lnTo>
                        <a:pt x="286" y="1088"/>
                      </a:lnTo>
                      <a:lnTo>
                        <a:pt x="286" y="1089"/>
                      </a:lnTo>
                      <a:lnTo>
                        <a:pt x="285" y="1089"/>
                      </a:lnTo>
                      <a:lnTo>
                        <a:pt x="285" y="1088"/>
                      </a:lnTo>
                      <a:lnTo>
                        <a:pt x="285" y="1086"/>
                      </a:lnTo>
                      <a:lnTo>
                        <a:pt x="285" y="1085"/>
                      </a:lnTo>
                      <a:lnTo>
                        <a:pt x="284" y="1084"/>
                      </a:lnTo>
                      <a:lnTo>
                        <a:pt x="285" y="1084"/>
                      </a:lnTo>
                      <a:lnTo>
                        <a:pt x="285" y="1083"/>
                      </a:lnTo>
                      <a:lnTo>
                        <a:pt x="285" y="1082"/>
                      </a:lnTo>
                      <a:lnTo>
                        <a:pt x="285" y="1081"/>
                      </a:lnTo>
                      <a:lnTo>
                        <a:pt x="286" y="1081"/>
                      </a:lnTo>
                      <a:lnTo>
                        <a:pt x="286" y="1080"/>
                      </a:lnTo>
                      <a:lnTo>
                        <a:pt x="285" y="1080"/>
                      </a:lnTo>
                      <a:lnTo>
                        <a:pt x="285" y="1079"/>
                      </a:lnTo>
                      <a:lnTo>
                        <a:pt x="286" y="1078"/>
                      </a:lnTo>
                      <a:lnTo>
                        <a:pt x="286" y="1079"/>
                      </a:lnTo>
                      <a:lnTo>
                        <a:pt x="287" y="1079"/>
                      </a:lnTo>
                      <a:close/>
                      <a:moveTo>
                        <a:pt x="343" y="1179"/>
                      </a:moveTo>
                      <a:lnTo>
                        <a:pt x="346" y="1179"/>
                      </a:lnTo>
                      <a:lnTo>
                        <a:pt x="348" y="1179"/>
                      </a:lnTo>
                      <a:lnTo>
                        <a:pt x="348" y="1180"/>
                      </a:lnTo>
                      <a:lnTo>
                        <a:pt x="347" y="1180"/>
                      </a:lnTo>
                      <a:lnTo>
                        <a:pt x="346" y="1180"/>
                      </a:lnTo>
                      <a:lnTo>
                        <a:pt x="345" y="1180"/>
                      </a:lnTo>
                      <a:lnTo>
                        <a:pt x="343" y="1180"/>
                      </a:lnTo>
                      <a:lnTo>
                        <a:pt x="341" y="1179"/>
                      </a:lnTo>
                      <a:lnTo>
                        <a:pt x="340" y="1178"/>
                      </a:lnTo>
                      <a:lnTo>
                        <a:pt x="338" y="1178"/>
                      </a:lnTo>
                      <a:lnTo>
                        <a:pt x="337" y="1176"/>
                      </a:lnTo>
                      <a:lnTo>
                        <a:pt x="336" y="1175"/>
                      </a:lnTo>
                      <a:lnTo>
                        <a:pt x="335" y="1175"/>
                      </a:lnTo>
                      <a:lnTo>
                        <a:pt x="334" y="1174"/>
                      </a:lnTo>
                      <a:lnTo>
                        <a:pt x="333" y="1174"/>
                      </a:lnTo>
                      <a:lnTo>
                        <a:pt x="332" y="1173"/>
                      </a:lnTo>
                      <a:lnTo>
                        <a:pt x="331" y="1172"/>
                      </a:lnTo>
                      <a:lnTo>
                        <a:pt x="330" y="1172"/>
                      </a:lnTo>
                      <a:lnTo>
                        <a:pt x="329" y="1171"/>
                      </a:lnTo>
                      <a:lnTo>
                        <a:pt x="325" y="1169"/>
                      </a:lnTo>
                      <a:lnTo>
                        <a:pt x="324" y="1168"/>
                      </a:lnTo>
                      <a:lnTo>
                        <a:pt x="323" y="1167"/>
                      </a:lnTo>
                      <a:lnTo>
                        <a:pt x="324" y="1167"/>
                      </a:lnTo>
                      <a:lnTo>
                        <a:pt x="325" y="1167"/>
                      </a:lnTo>
                      <a:lnTo>
                        <a:pt x="327" y="1167"/>
                      </a:lnTo>
                      <a:lnTo>
                        <a:pt x="328" y="1168"/>
                      </a:lnTo>
                      <a:lnTo>
                        <a:pt x="329" y="1169"/>
                      </a:lnTo>
                      <a:lnTo>
                        <a:pt x="334" y="1173"/>
                      </a:lnTo>
                      <a:lnTo>
                        <a:pt x="335" y="1173"/>
                      </a:lnTo>
                      <a:lnTo>
                        <a:pt x="336" y="1174"/>
                      </a:lnTo>
                      <a:lnTo>
                        <a:pt x="338" y="1175"/>
                      </a:lnTo>
                      <a:lnTo>
                        <a:pt x="338" y="1176"/>
                      </a:lnTo>
                      <a:lnTo>
                        <a:pt x="340" y="1176"/>
                      </a:lnTo>
                      <a:lnTo>
                        <a:pt x="341" y="1178"/>
                      </a:lnTo>
                      <a:lnTo>
                        <a:pt x="342" y="1178"/>
                      </a:lnTo>
                      <a:lnTo>
                        <a:pt x="343" y="1179"/>
                      </a:lnTo>
                      <a:close/>
                      <a:moveTo>
                        <a:pt x="508" y="1066"/>
                      </a:moveTo>
                      <a:lnTo>
                        <a:pt x="505" y="1066"/>
                      </a:lnTo>
                      <a:lnTo>
                        <a:pt x="505" y="1065"/>
                      </a:lnTo>
                      <a:lnTo>
                        <a:pt x="504" y="1064"/>
                      </a:lnTo>
                      <a:lnTo>
                        <a:pt x="504" y="1063"/>
                      </a:lnTo>
                      <a:lnTo>
                        <a:pt x="504" y="1061"/>
                      </a:lnTo>
                      <a:lnTo>
                        <a:pt x="504" y="1059"/>
                      </a:lnTo>
                      <a:lnTo>
                        <a:pt x="504" y="1058"/>
                      </a:lnTo>
                      <a:lnTo>
                        <a:pt x="504" y="1057"/>
                      </a:lnTo>
                      <a:lnTo>
                        <a:pt x="505" y="1057"/>
                      </a:lnTo>
                      <a:lnTo>
                        <a:pt x="505" y="1058"/>
                      </a:lnTo>
                      <a:lnTo>
                        <a:pt x="506" y="1058"/>
                      </a:lnTo>
                      <a:lnTo>
                        <a:pt x="506" y="1059"/>
                      </a:lnTo>
                      <a:lnTo>
                        <a:pt x="508" y="1059"/>
                      </a:lnTo>
                      <a:lnTo>
                        <a:pt x="508" y="1060"/>
                      </a:lnTo>
                      <a:lnTo>
                        <a:pt x="509" y="1060"/>
                      </a:lnTo>
                      <a:lnTo>
                        <a:pt x="509" y="1061"/>
                      </a:lnTo>
                      <a:lnTo>
                        <a:pt x="510" y="1061"/>
                      </a:lnTo>
                      <a:lnTo>
                        <a:pt x="510" y="1063"/>
                      </a:lnTo>
                      <a:lnTo>
                        <a:pt x="510" y="1064"/>
                      </a:lnTo>
                      <a:lnTo>
                        <a:pt x="509" y="1065"/>
                      </a:lnTo>
                      <a:lnTo>
                        <a:pt x="508" y="1066"/>
                      </a:lnTo>
                      <a:close/>
                      <a:moveTo>
                        <a:pt x="471" y="1121"/>
                      </a:moveTo>
                      <a:lnTo>
                        <a:pt x="472" y="1121"/>
                      </a:lnTo>
                      <a:lnTo>
                        <a:pt x="472" y="1122"/>
                      </a:lnTo>
                      <a:lnTo>
                        <a:pt x="473" y="1122"/>
                      </a:lnTo>
                      <a:lnTo>
                        <a:pt x="474" y="1122"/>
                      </a:lnTo>
                      <a:lnTo>
                        <a:pt x="475" y="1122"/>
                      </a:lnTo>
                      <a:lnTo>
                        <a:pt x="474" y="1123"/>
                      </a:lnTo>
                      <a:lnTo>
                        <a:pt x="474" y="1122"/>
                      </a:lnTo>
                      <a:lnTo>
                        <a:pt x="473" y="1123"/>
                      </a:lnTo>
                      <a:lnTo>
                        <a:pt x="473" y="1124"/>
                      </a:lnTo>
                      <a:lnTo>
                        <a:pt x="473" y="1125"/>
                      </a:lnTo>
                      <a:lnTo>
                        <a:pt x="473" y="1127"/>
                      </a:lnTo>
                      <a:lnTo>
                        <a:pt x="473" y="1128"/>
                      </a:lnTo>
                      <a:lnTo>
                        <a:pt x="474" y="1128"/>
                      </a:lnTo>
                      <a:lnTo>
                        <a:pt x="474" y="1129"/>
                      </a:lnTo>
                      <a:lnTo>
                        <a:pt x="474" y="1130"/>
                      </a:lnTo>
                      <a:lnTo>
                        <a:pt x="474" y="1131"/>
                      </a:lnTo>
                      <a:lnTo>
                        <a:pt x="475" y="1131"/>
                      </a:lnTo>
                      <a:lnTo>
                        <a:pt x="475" y="1130"/>
                      </a:lnTo>
                      <a:lnTo>
                        <a:pt x="476" y="1130"/>
                      </a:lnTo>
                      <a:lnTo>
                        <a:pt x="476" y="1129"/>
                      </a:lnTo>
                      <a:lnTo>
                        <a:pt x="476" y="1130"/>
                      </a:lnTo>
                      <a:lnTo>
                        <a:pt x="475" y="1131"/>
                      </a:lnTo>
                      <a:lnTo>
                        <a:pt x="475" y="1132"/>
                      </a:lnTo>
                      <a:lnTo>
                        <a:pt x="474" y="1132"/>
                      </a:lnTo>
                      <a:lnTo>
                        <a:pt x="473" y="1132"/>
                      </a:lnTo>
                      <a:lnTo>
                        <a:pt x="473" y="1131"/>
                      </a:lnTo>
                      <a:lnTo>
                        <a:pt x="474" y="1131"/>
                      </a:lnTo>
                      <a:lnTo>
                        <a:pt x="473" y="1131"/>
                      </a:lnTo>
                      <a:lnTo>
                        <a:pt x="473" y="1130"/>
                      </a:lnTo>
                      <a:lnTo>
                        <a:pt x="473" y="1129"/>
                      </a:lnTo>
                      <a:lnTo>
                        <a:pt x="473" y="1128"/>
                      </a:lnTo>
                      <a:lnTo>
                        <a:pt x="472" y="1127"/>
                      </a:lnTo>
                      <a:lnTo>
                        <a:pt x="472" y="1125"/>
                      </a:lnTo>
                      <a:lnTo>
                        <a:pt x="471" y="1125"/>
                      </a:lnTo>
                      <a:lnTo>
                        <a:pt x="471" y="1124"/>
                      </a:lnTo>
                      <a:lnTo>
                        <a:pt x="470" y="1124"/>
                      </a:lnTo>
                      <a:lnTo>
                        <a:pt x="470" y="1123"/>
                      </a:lnTo>
                      <a:lnTo>
                        <a:pt x="470" y="1122"/>
                      </a:lnTo>
                      <a:lnTo>
                        <a:pt x="471" y="1122"/>
                      </a:lnTo>
                      <a:lnTo>
                        <a:pt x="471" y="1121"/>
                      </a:lnTo>
                      <a:close/>
                      <a:moveTo>
                        <a:pt x="642" y="1034"/>
                      </a:moveTo>
                      <a:lnTo>
                        <a:pt x="643" y="1034"/>
                      </a:lnTo>
                      <a:lnTo>
                        <a:pt x="643" y="1035"/>
                      </a:lnTo>
                      <a:lnTo>
                        <a:pt x="644" y="1035"/>
                      </a:lnTo>
                      <a:lnTo>
                        <a:pt x="643" y="1037"/>
                      </a:lnTo>
                      <a:lnTo>
                        <a:pt x="642" y="1037"/>
                      </a:lnTo>
                      <a:lnTo>
                        <a:pt x="642" y="1038"/>
                      </a:lnTo>
                      <a:lnTo>
                        <a:pt x="641" y="1038"/>
                      </a:lnTo>
                      <a:lnTo>
                        <a:pt x="640" y="1038"/>
                      </a:lnTo>
                      <a:lnTo>
                        <a:pt x="639" y="1038"/>
                      </a:lnTo>
                      <a:lnTo>
                        <a:pt x="639" y="1037"/>
                      </a:lnTo>
                      <a:lnTo>
                        <a:pt x="639" y="1035"/>
                      </a:lnTo>
                      <a:lnTo>
                        <a:pt x="639" y="1034"/>
                      </a:lnTo>
                      <a:lnTo>
                        <a:pt x="639" y="1033"/>
                      </a:lnTo>
                      <a:lnTo>
                        <a:pt x="639" y="1032"/>
                      </a:lnTo>
                      <a:lnTo>
                        <a:pt x="638" y="1031"/>
                      </a:lnTo>
                      <a:lnTo>
                        <a:pt x="638" y="1030"/>
                      </a:lnTo>
                      <a:lnTo>
                        <a:pt x="638" y="1029"/>
                      </a:lnTo>
                      <a:lnTo>
                        <a:pt x="638" y="1030"/>
                      </a:lnTo>
                      <a:lnTo>
                        <a:pt x="639" y="1031"/>
                      </a:lnTo>
                      <a:lnTo>
                        <a:pt x="639" y="1032"/>
                      </a:lnTo>
                      <a:lnTo>
                        <a:pt x="640" y="1032"/>
                      </a:lnTo>
                      <a:lnTo>
                        <a:pt x="640" y="1033"/>
                      </a:lnTo>
                      <a:lnTo>
                        <a:pt x="641" y="1033"/>
                      </a:lnTo>
                      <a:lnTo>
                        <a:pt x="642" y="1034"/>
                      </a:lnTo>
                      <a:close/>
                      <a:moveTo>
                        <a:pt x="553" y="1045"/>
                      </a:moveTo>
                      <a:lnTo>
                        <a:pt x="554" y="1045"/>
                      </a:lnTo>
                      <a:lnTo>
                        <a:pt x="554" y="1044"/>
                      </a:lnTo>
                      <a:lnTo>
                        <a:pt x="555" y="1044"/>
                      </a:lnTo>
                      <a:lnTo>
                        <a:pt x="554" y="1045"/>
                      </a:lnTo>
                      <a:lnTo>
                        <a:pt x="554" y="1046"/>
                      </a:lnTo>
                      <a:lnTo>
                        <a:pt x="553" y="1046"/>
                      </a:lnTo>
                      <a:lnTo>
                        <a:pt x="553" y="1047"/>
                      </a:lnTo>
                      <a:lnTo>
                        <a:pt x="553" y="1048"/>
                      </a:lnTo>
                      <a:lnTo>
                        <a:pt x="554" y="1048"/>
                      </a:lnTo>
                      <a:lnTo>
                        <a:pt x="556" y="1051"/>
                      </a:lnTo>
                      <a:lnTo>
                        <a:pt x="557" y="1052"/>
                      </a:lnTo>
                      <a:lnTo>
                        <a:pt x="558" y="1052"/>
                      </a:lnTo>
                      <a:lnTo>
                        <a:pt x="558" y="1053"/>
                      </a:lnTo>
                      <a:lnTo>
                        <a:pt x="557" y="1053"/>
                      </a:lnTo>
                      <a:lnTo>
                        <a:pt x="556" y="1052"/>
                      </a:lnTo>
                      <a:lnTo>
                        <a:pt x="556" y="1051"/>
                      </a:lnTo>
                      <a:lnTo>
                        <a:pt x="555" y="1051"/>
                      </a:lnTo>
                      <a:lnTo>
                        <a:pt x="555" y="1050"/>
                      </a:lnTo>
                      <a:lnTo>
                        <a:pt x="554" y="1050"/>
                      </a:lnTo>
                      <a:lnTo>
                        <a:pt x="553" y="1050"/>
                      </a:lnTo>
                      <a:lnTo>
                        <a:pt x="553" y="1048"/>
                      </a:lnTo>
                      <a:lnTo>
                        <a:pt x="552" y="1048"/>
                      </a:lnTo>
                      <a:lnTo>
                        <a:pt x="552" y="1047"/>
                      </a:lnTo>
                      <a:lnTo>
                        <a:pt x="551" y="1047"/>
                      </a:lnTo>
                      <a:lnTo>
                        <a:pt x="551" y="1046"/>
                      </a:lnTo>
                      <a:lnTo>
                        <a:pt x="550" y="1046"/>
                      </a:lnTo>
                      <a:lnTo>
                        <a:pt x="550" y="1045"/>
                      </a:lnTo>
                      <a:lnTo>
                        <a:pt x="550" y="1044"/>
                      </a:lnTo>
                      <a:lnTo>
                        <a:pt x="551" y="1044"/>
                      </a:lnTo>
                      <a:lnTo>
                        <a:pt x="552" y="1045"/>
                      </a:lnTo>
                      <a:lnTo>
                        <a:pt x="553" y="1045"/>
                      </a:lnTo>
                      <a:close/>
                      <a:moveTo>
                        <a:pt x="542" y="1009"/>
                      </a:moveTo>
                      <a:lnTo>
                        <a:pt x="542" y="1011"/>
                      </a:lnTo>
                      <a:lnTo>
                        <a:pt x="542" y="1012"/>
                      </a:lnTo>
                      <a:lnTo>
                        <a:pt x="543" y="1013"/>
                      </a:lnTo>
                      <a:lnTo>
                        <a:pt x="542" y="1013"/>
                      </a:lnTo>
                      <a:lnTo>
                        <a:pt x="542" y="1014"/>
                      </a:lnTo>
                      <a:lnTo>
                        <a:pt x="541" y="1014"/>
                      </a:lnTo>
                      <a:lnTo>
                        <a:pt x="541" y="1015"/>
                      </a:lnTo>
                      <a:lnTo>
                        <a:pt x="540" y="1014"/>
                      </a:lnTo>
                      <a:lnTo>
                        <a:pt x="540" y="1013"/>
                      </a:lnTo>
                      <a:lnTo>
                        <a:pt x="541" y="1013"/>
                      </a:lnTo>
                      <a:lnTo>
                        <a:pt x="541" y="1012"/>
                      </a:lnTo>
                      <a:lnTo>
                        <a:pt x="541" y="1011"/>
                      </a:lnTo>
                      <a:lnTo>
                        <a:pt x="541" y="1009"/>
                      </a:lnTo>
                      <a:lnTo>
                        <a:pt x="541" y="1011"/>
                      </a:lnTo>
                      <a:lnTo>
                        <a:pt x="540" y="1011"/>
                      </a:lnTo>
                      <a:lnTo>
                        <a:pt x="540" y="1009"/>
                      </a:lnTo>
                      <a:lnTo>
                        <a:pt x="540" y="1008"/>
                      </a:lnTo>
                      <a:lnTo>
                        <a:pt x="539" y="1008"/>
                      </a:lnTo>
                      <a:lnTo>
                        <a:pt x="539" y="1007"/>
                      </a:lnTo>
                      <a:lnTo>
                        <a:pt x="540" y="1007"/>
                      </a:lnTo>
                      <a:lnTo>
                        <a:pt x="539" y="1007"/>
                      </a:lnTo>
                      <a:lnTo>
                        <a:pt x="539" y="1006"/>
                      </a:lnTo>
                      <a:lnTo>
                        <a:pt x="540" y="1006"/>
                      </a:lnTo>
                      <a:lnTo>
                        <a:pt x="541" y="1006"/>
                      </a:lnTo>
                      <a:lnTo>
                        <a:pt x="541" y="1007"/>
                      </a:lnTo>
                      <a:lnTo>
                        <a:pt x="541" y="1008"/>
                      </a:lnTo>
                      <a:lnTo>
                        <a:pt x="542" y="1008"/>
                      </a:lnTo>
                      <a:lnTo>
                        <a:pt x="542" y="1009"/>
                      </a:lnTo>
                      <a:close/>
                      <a:moveTo>
                        <a:pt x="407" y="1167"/>
                      </a:moveTo>
                      <a:lnTo>
                        <a:pt x="406" y="1167"/>
                      </a:lnTo>
                      <a:lnTo>
                        <a:pt x="405" y="1167"/>
                      </a:lnTo>
                      <a:lnTo>
                        <a:pt x="405" y="1168"/>
                      </a:lnTo>
                      <a:lnTo>
                        <a:pt x="403" y="1168"/>
                      </a:lnTo>
                      <a:lnTo>
                        <a:pt x="403" y="1167"/>
                      </a:lnTo>
                      <a:lnTo>
                        <a:pt x="405" y="1166"/>
                      </a:lnTo>
                      <a:lnTo>
                        <a:pt x="403" y="1166"/>
                      </a:lnTo>
                      <a:lnTo>
                        <a:pt x="405" y="1163"/>
                      </a:lnTo>
                      <a:lnTo>
                        <a:pt x="405" y="1162"/>
                      </a:lnTo>
                      <a:lnTo>
                        <a:pt x="405" y="1161"/>
                      </a:lnTo>
                      <a:lnTo>
                        <a:pt x="406" y="1161"/>
                      </a:lnTo>
                      <a:lnTo>
                        <a:pt x="406" y="1162"/>
                      </a:lnTo>
                      <a:lnTo>
                        <a:pt x="406" y="1163"/>
                      </a:lnTo>
                      <a:lnTo>
                        <a:pt x="407" y="1163"/>
                      </a:lnTo>
                      <a:lnTo>
                        <a:pt x="407" y="1164"/>
                      </a:lnTo>
                      <a:lnTo>
                        <a:pt x="407" y="1166"/>
                      </a:lnTo>
                      <a:lnTo>
                        <a:pt x="407" y="1167"/>
                      </a:lnTo>
                      <a:close/>
                      <a:moveTo>
                        <a:pt x="392" y="1151"/>
                      </a:moveTo>
                      <a:lnTo>
                        <a:pt x="392" y="1150"/>
                      </a:lnTo>
                      <a:lnTo>
                        <a:pt x="393" y="1150"/>
                      </a:lnTo>
                      <a:lnTo>
                        <a:pt x="393" y="1151"/>
                      </a:lnTo>
                      <a:lnTo>
                        <a:pt x="394" y="1151"/>
                      </a:lnTo>
                      <a:lnTo>
                        <a:pt x="395" y="1151"/>
                      </a:lnTo>
                      <a:lnTo>
                        <a:pt x="394" y="1153"/>
                      </a:lnTo>
                      <a:lnTo>
                        <a:pt x="393" y="1153"/>
                      </a:lnTo>
                      <a:lnTo>
                        <a:pt x="392" y="1153"/>
                      </a:lnTo>
                      <a:lnTo>
                        <a:pt x="390" y="1154"/>
                      </a:lnTo>
                      <a:lnTo>
                        <a:pt x="390" y="1153"/>
                      </a:lnTo>
                      <a:lnTo>
                        <a:pt x="389" y="1153"/>
                      </a:lnTo>
                      <a:lnTo>
                        <a:pt x="389" y="1151"/>
                      </a:lnTo>
                      <a:lnTo>
                        <a:pt x="389" y="1150"/>
                      </a:lnTo>
                      <a:lnTo>
                        <a:pt x="389" y="1149"/>
                      </a:lnTo>
                      <a:lnTo>
                        <a:pt x="389" y="1150"/>
                      </a:lnTo>
                      <a:lnTo>
                        <a:pt x="390" y="1150"/>
                      </a:lnTo>
                      <a:lnTo>
                        <a:pt x="392" y="1151"/>
                      </a:lnTo>
                      <a:close/>
                      <a:moveTo>
                        <a:pt x="276" y="1082"/>
                      </a:moveTo>
                      <a:lnTo>
                        <a:pt x="276" y="1083"/>
                      </a:lnTo>
                      <a:lnTo>
                        <a:pt x="274" y="1082"/>
                      </a:lnTo>
                      <a:lnTo>
                        <a:pt x="273" y="1082"/>
                      </a:lnTo>
                      <a:lnTo>
                        <a:pt x="273" y="1081"/>
                      </a:lnTo>
                      <a:lnTo>
                        <a:pt x="272" y="1081"/>
                      </a:lnTo>
                      <a:lnTo>
                        <a:pt x="272" y="1080"/>
                      </a:lnTo>
                      <a:lnTo>
                        <a:pt x="272" y="1079"/>
                      </a:lnTo>
                      <a:lnTo>
                        <a:pt x="273" y="1079"/>
                      </a:lnTo>
                      <a:lnTo>
                        <a:pt x="273" y="1080"/>
                      </a:lnTo>
                      <a:lnTo>
                        <a:pt x="274" y="1080"/>
                      </a:lnTo>
                      <a:lnTo>
                        <a:pt x="276" y="1081"/>
                      </a:lnTo>
                      <a:lnTo>
                        <a:pt x="276" y="1082"/>
                      </a:lnTo>
                      <a:close/>
                      <a:moveTo>
                        <a:pt x="485" y="1120"/>
                      </a:moveTo>
                      <a:lnTo>
                        <a:pt x="485" y="1121"/>
                      </a:lnTo>
                      <a:lnTo>
                        <a:pt x="484" y="1121"/>
                      </a:lnTo>
                      <a:lnTo>
                        <a:pt x="485" y="1121"/>
                      </a:lnTo>
                      <a:lnTo>
                        <a:pt x="486" y="1121"/>
                      </a:lnTo>
                      <a:lnTo>
                        <a:pt x="486" y="1122"/>
                      </a:lnTo>
                      <a:lnTo>
                        <a:pt x="485" y="1122"/>
                      </a:lnTo>
                      <a:lnTo>
                        <a:pt x="485" y="1123"/>
                      </a:lnTo>
                      <a:lnTo>
                        <a:pt x="485" y="1124"/>
                      </a:lnTo>
                      <a:lnTo>
                        <a:pt x="485" y="1125"/>
                      </a:lnTo>
                      <a:lnTo>
                        <a:pt x="485" y="1127"/>
                      </a:lnTo>
                      <a:lnTo>
                        <a:pt x="485" y="1125"/>
                      </a:lnTo>
                      <a:lnTo>
                        <a:pt x="485" y="1124"/>
                      </a:lnTo>
                      <a:lnTo>
                        <a:pt x="484" y="1124"/>
                      </a:lnTo>
                      <a:lnTo>
                        <a:pt x="484" y="1123"/>
                      </a:lnTo>
                      <a:lnTo>
                        <a:pt x="484" y="1122"/>
                      </a:lnTo>
                      <a:lnTo>
                        <a:pt x="483" y="1122"/>
                      </a:lnTo>
                      <a:lnTo>
                        <a:pt x="483" y="1123"/>
                      </a:lnTo>
                      <a:lnTo>
                        <a:pt x="483" y="1122"/>
                      </a:lnTo>
                      <a:lnTo>
                        <a:pt x="483" y="1121"/>
                      </a:lnTo>
                      <a:lnTo>
                        <a:pt x="483" y="1120"/>
                      </a:lnTo>
                      <a:lnTo>
                        <a:pt x="484" y="1120"/>
                      </a:lnTo>
                      <a:lnTo>
                        <a:pt x="485" y="1120"/>
                      </a:lnTo>
                      <a:close/>
                      <a:moveTo>
                        <a:pt x="574" y="1006"/>
                      </a:moveTo>
                      <a:lnTo>
                        <a:pt x="574" y="1007"/>
                      </a:lnTo>
                      <a:lnTo>
                        <a:pt x="575" y="1007"/>
                      </a:lnTo>
                      <a:lnTo>
                        <a:pt x="575" y="1006"/>
                      </a:lnTo>
                      <a:lnTo>
                        <a:pt x="576" y="1006"/>
                      </a:lnTo>
                      <a:lnTo>
                        <a:pt x="577" y="1006"/>
                      </a:lnTo>
                      <a:lnTo>
                        <a:pt x="577" y="1007"/>
                      </a:lnTo>
                      <a:lnTo>
                        <a:pt x="576" y="1007"/>
                      </a:lnTo>
                      <a:lnTo>
                        <a:pt x="576" y="1006"/>
                      </a:lnTo>
                      <a:lnTo>
                        <a:pt x="575" y="1007"/>
                      </a:lnTo>
                      <a:lnTo>
                        <a:pt x="575" y="1008"/>
                      </a:lnTo>
                      <a:lnTo>
                        <a:pt x="574" y="1008"/>
                      </a:lnTo>
                      <a:lnTo>
                        <a:pt x="574" y="1007"/>
                      </a:lnTo>
                      <a:lnTo>
                        <a:pt x="573" y="1007"/>
                      </a:lnTo>
                      <a:lnTo>
                        <a:pt x="571" y="1007"/>
                      </a:lnTo>
                      <a:lnTo>
                        <a:pt x="570" y="1007"/>
                      </a:lnTo>
                      <a:lnTo>
                        <a:pt x="570" y="1006"/>
                      </a:lnTo>
                      <a:lnTo>
                        <a:pt x="571" y="1006"/>
                      </a:lnTo>
                      <a:lnTo>
                        <a:pt x="571" y="1005"/>
                      </a:lnTo>
                      <a:lnTo>
                        <a:pt x="573" y="1005"/>
                      </a:lnTo>
                      <a:lnTo>
                        <a:pt x="573" y="1004"/>
                      </a:lnTo>
                      <a:lnTo>
                        <a:pt x="573" y="1005"/>
                      </a:lnTo>
                      <a:lnTo>
                        <a:pt x="574" y="1005"/>
                      </a:lnTo>
                      <a:lnTo>
                        <a:pt x="574" y="1006"/>
                      </a:lnTo>
                      <a:close/>
                      <a:moveTo>
                        <a:pt x="563" y="1067"/>
                      </a:moveTo>
                      <a:lnTo>
                        <a:pt x="564" y="1067"/>
                      </a:lnTo>
                      <a:lnTo>
                        <a:pt x="564" y="1068"/>
                      </a:lnTo>
                      <a:lnTo>
                        <a:pt x="565" y="1068"/>
                      </a:lnTo>
                      <a:lnTo>
                        <a:pt x="566" y="1068"/>
                      </a:lnTo>
                      <a:lnTo>
                        <a:pt x="566" y="1069"/>
                      </a:lnTo>
                      <a:lnTo>
                        <a:pt x="565" y="1069"/>
                      </a:lnTo>
                      <a:lnTo>
                        <a:pt x="565" y="1068"/>
                      </a:lnTo>
                      <a:lnTo>
                        <a:pt x="564" y="1068"/>
                      </a:lnTo>
                      <a:lnTo>
                        <a:pt x="563" y="1068"/>
                      </a:lnTo>
                      <a:lnTo>
                        <a:pt x="562" y="1068"/>
                      </a:lnTo>
                      <a:lnTo>
                        <a:pt x="562" y="1067"/>
                      </a:lnTo>
                      <a:lnTo>
                        <a:pt x="561" y="1068"/>
                      </a:lnTo>
                      <a:lnTo>
                        <a:pt x="560" y="1067"/>
                      </a:lnTo>
                      <a:lnTo>
                        <a:pt x="558" y="1067"/>
                      </a:lnTo>
                      <a:lnTo>
                        <a:pt x="557" y="1067"/>
                      </a:lnTo>
                      <a:lnTo>
                        <a:pt x="557" y="1066"/>
                      </a:lnTo>
                      <a:lnTo>
                        <a:pt x="558" y="1066"/>
                      </a:lnTo>
                      <a:lnTo>
                        <a:pt x="558" y="1067"/>
                      </a:lnTo>
                      <a:lnTo>
                        <a:pt x="560" y="1067"/>
                      </a:lnTo>
                      <a:lnTo>
                        <a:pt x="561" y="1067"/>
                      </a:lnTo>
                      <a:lnTo>
                        <a:pt x="561" y="1066"/>
                      </a:lnTo>
                      <a:lnTo>
                        <a:pt x="562" y="1066"/>
                      </a:lnTo>
                      <a:lnTo>
                        <a:pt x="562" y="1067"/>
                      </a:lnTo>
                      <a:lnTo>
                        <a:pt x="563" y="1067"/>
                      </a:lnTo>
                      <a:close/>
                      <a:moveTo>
                        <a:pt x="516" y="1079"/>
                      </a:moveTo>
                      <a:lnTo>
                        <a:pt x="515" y="1079"/>
                      </a:lnTo>
                      <a:lnTo>
                        <a:pt x="515" y="1078"/>
                      </a:lnTo>
                      <a:lnTo>
                        <a:pt x="514" y="1078"/>
                      </a:lnTo>
                      <a:lnTo>
                        <a:pt x="514" y="1077"/>
                      </a:lnTo>
                      <a:lnTo>
                        <a:pt x="514" y="1074"/>
                      </a:lnTo>
                      <a:lnTo>
                        <a:pt x="515" y="1074"/>
                      </a:lnTo>
                      <a:lnTo>
                        <a:pt x="515" y="1076"/>
                      </a:lnTo>
                      <a:lnTo>
                        <a:pt x="516" y="1077"/>
                      </a:lnTo>
                      <a:lnTo>
                        <a:pt x="516" y="1078"/>
                      </a:lnTo>
                      <a:lnTo>
                        <a:pt x="516" y="1079"/>
                      </a:lnTo>
                      <a:close/>
                      <a:moveTo>
                        <a:pt x="535" y="1079"/>
                      </a:moveTo>
                      <a:lnTo>
                        <a:pt x="534" y="1079"/>
                      </a:lnTo>
                      <a:lnTo>
                        <a:pt x="531" y="1077"/>
                      </a:lnTo>
                      <a:lnTo>
                        <a:pt x="531" y="1076"/>
                      </a:lnTo>
                      <a:lnTo>
                        <a:pt x="532" y="1076"/>
                      </a:lnTo>
                      <a:lnTo>
                        <a:pt x="534" y="1076"/>
                      </a:lnTo>
                      <a:lnTo>
                        <a:pt x="534" y="1077"/>
                      </a:lnTo>
                      <a:lnTo>
                        <a:pt x="535" y="1077"/>
                      </a:lnTo>
                      <a:lnTo>
                        <a:pt x="535" y="1078"/>
                      </a:lnTo>
                      <a:lnTo>
                        <a:pt x="535" y="1079"/>
                      </a:lnTo>
                      <a:close/>
                      <a:moveTo>
                        <a:pt x="221" y="1013"/>
                      </a:moveTo>
                      <a:lnTo>
                        <a:pt x="220" y="1013"/>
                      </a:lnTo>
                      <a:lnTo>
                        <a:pt x="219" y="1012"/>
                      </a:lnTo>
                      <a:lnTo>
                        <a:pt x="220" y="1011"/>
                      </a:lnTo>
                      <a:lnTo>
                        <a:pt x="221" y="1009"/>
                      </a:lnTo>
                      <a:lnTo>
                        <a:pt x="221" y="1011"/>
                      </a:lnTo>
                      <a:lnTo>
                        <a:pt x="222" y="1011"/>
                      </a:lnTo>
                      <a:lnTo>
                        <a:pt x="222" y="1012"/>
                      </a:lnTo>
                      <a:lnTo>
                        <a:pt x="221" y="1013"/>
                      </a:lnTo>
                      <a:close/>
                      <a:moveTo>
                        <a:pt x="514" y="1096"/>
                      </a:moveTo>
                      <a:lnTo>
                        <a:pt x="513" y="1096"/>
                      </a:lnTo>
                      <a:lnTo>
                        <a:pt x="513" y="1095"/>
                      </a:lnTo>
                      <a:lnTo>
                        <a:pt x="513" y="1094"/>
                      </a:lnTo>
                      <a:lnTo>
                        <a:pt x="512" y="1093"/>
                      </a:lnTo>
                      <a:lnTo>
                        <a:pt x="512" y="1092"/>
                      </a:lnTo>
                      <a:lnTo>
                        <a:pt x="513" y="1092"/>
                      </a:lnTo>
                      <a:lnTo>
                        <a:pt x="513" y="1093"/>
                      </a:lnTo>
                      <a:lnTo>
                        <a:pt x="514" y="1094"/>
                      </a:lnTo>
                      <a:lnTo>
                        <a:pt x="514" y="1096"/>
                      </a:lnTo>
                      <a:close/>
                      <a:moveTo>
                        <a:pt x="543" y="1005"/>
                      </a:moveTo>
                      <a:lnTo>
                        <a:pt x="543" y="1006"/>
                      </a:lnTo>
                      <a:lnTo>
                        <a:pt x="544" y="1007"/>
                      </a:lnTo>
                      <a:lnTo>
                        <a:pt x="543" y="1007"/>
                      </a:lnTo>
                      <a:lnTo>
                        <a:pt x="542" y="1006"/>
                      </a:lnTo>
                      <a:lnTo>
                        <a:pt x="541" y="1005"/>
                      </a:lnTo>
                      <a:lnTo>
                        <a:pt x="540" y="1005"/>
                      </a:lnTo>
                      <a:lnTo>
                        <a:pt x="539" y="1005"/>
                      </a:lnTo>
                      <a:lnTo>
                        <a:pt x="539" y="1006"/>
                      </a:lnTo>
                      <a:lnTo>
                        <a:pt x="539" y="1005"/>
                      </a:lnTo>
                      <a:lnTo>
                        <a:pt x="539" y="1004"/>
                      </a:lnTo>
                      <a:lnTo>
                        <a:pt x="540" y="1004"/>
                      </a:lnTo>
                      <a:lnTo>
                        <a:pt x="541" y="1004"/>
                      </a:lnTo>
                      <a:lnTo>
                        <a:pt x="542" y="1005"/>
                      </a:lnTo>
                      <a:lnTo>
                        <a:pt x="543" y="1005"/>
                      </a:lnTo>
                      <a:close/>
                      <a:moveTo>
                        <a:pt x="524" y="1064"/>
                      </a:moveTo>
                      <a:lnTo>
                        <a:pt x="523" y="1064"/>
                      </a:lnTo>
                      <a:lnTo>
                        <a:pt x="522" y="1064"/>
                      </a:lnTo>
                      <a:lnTo>
                        <a:pt x="522" y="1065"/>
                      </a:lnTo>
                      <a:lnTo>
                        <a:pt x="522" y="1064"/>
                      </a:lnTo>
                      <a:lnTo>
                        <a:pt x="521" y="1064"/>
                      </a:lnTo>
                      <a:lnTo>
                        <a:pt x="521" y="1063"/>
                      </a:lnTo>
                      <a:lnTo>
                        <a:pt x="519" y="1063"/>
                      </a:lnTo>
                      <a:lnTo>
                        <a:pt x="519" y="1061"/>
                      </a:lnTo>
                      <a:lnTo>
                        <a:pt x="519" y="1060"/>
                      </a:lnTo>
                      <a:lnTo>
                        <a:pt x="518" y="1060"/>
                      </a:lnTo>
                      <a:lnTo>
                        <a:pt x="519" y="1060"/>
                      </a:lnTo>
                      <a:lnTo>
                        <a:pt x="521" y="1061"/>
                      </a:lnTo>
                      <a:lnTo>
                        <a:pt x="521" y="1063"/>
                      </a:lnTo>
                      <a:lnTo>
                        <a:pt x="522" y="1063"/>
                      </a:lnTo>
                      <a:lnTo>
                        <a:pt x="523" y="1063"/>
                      </a:lnTo>
                      <a:lnTo>
                        <a:pt x="524" y="1063"/>
                      </a:lnTo>
                      <a:lnTo>
                        <a:pt x="524" y="1064"/>
                      </a:lnTo>
                      <a:close/>
                      <a:moveTo>
                        <a:pt x="84" y="986"/>
                      </a:moveTo>
                      <a:lnTo>
                        <a:pt x="83" y="987"/>
                      </a:lnTo>
                      <a:lnTo>
                        <a:pt x="83" y="984"/>
                      </a:lnTo>
                      <a:lnTo>
                        <a:pt x="83" y="983"/>
                      </a:lnTo>
                      <a:lnTo>
                        <a:pt x="83" y="982"/>
                      </a:lnTo>
                      <a:lnTo>
                        <a:pt x="83" y="981"/>
                      </a:lnTo>
                      <a:lnTo>
                        <a:pt x="83" y="982"/>
                      </a:lnTo>
                      <a:lnTo>
                        <a:pt x="84" y="982"/>
                      </a:lnTo>
                      <a:lnTo>
                        <a:pt x="84" y="983"/>
                      </a:lnTo>
                      <a:lnTo>
                        <a:pt x="84" y="984"/>
                      </a:lnTo>
                      <a:lnTo>
                        <a:pt x="84" y="986"/>
                      </a:lnTo>
                      <a:close/>
                      <a:moveTo>
                        <a:pt x="537" y="1149"/>
                      </a:moveTo>
                      <a:lnTo>
                        <a:pt x="536" y="1149"/>
                      </a:lnTo>
                      <a:lnTo>
                        <a:pt x="535" y="1149"/>
                      </a:lnTo>
                      <a:lnTo>
                        <a:pt x="535" y="1148"/>
                      </a:lnTo>
                      <a:lnTo>
                        <a:pt x="535" y="1147"/>
                      </a:lnTo>
                      <a:lnTo>
                        <a:pt x="536" y="1147"/>
                      </a:lnTo>
                      <a:lnTo>
                        <a:pt x="537" y="1147"/>
                      </a:lnTo>
                      <a:lnTo>
                        <a:pt x="538" y="1147"/>
                      </a:lnTo>
                      <a:lnTo>
                        <a:pt x="538" y="1148"/>
                      </a:lnTo>
                      <a:lnTo>
                        <a:pt x="537" y="1148"/>
                      </a:lnTo>
                      <a:lnTo>
                        <a:pt x="537" y="1149"/>
                      </a:lnTo>
                      <a:close/>
                      <a:moveTo>
                        <a:pt x="426" y="1133"/>
                      </a:moveTo>
                      <a:lnTo>
                        <a:pt x="425" y="1133"/>
                      </a:lnTo>
                      <a:lnTo>
                        <a:pt x="426" y="1133"/>
                      </a:lnTo>
                      <a:lnTo>
                        <a:pt x="426" y="1132"/>
                      </a:lnTo>
                      <a:lnTo>
                        <a:pt x="426" y="1131"/>
                      </a:lnTo>
                      <a:lnTo>
                        <a:pt x="427" y="1131"/>
                      </a:lnTo>
                      <a:lnTo>
                        <a:pt x="428" y="1131"/>
                      </a:lnTo>
                      <a:lnTo>
                        <a:pt x="428" y="1132"/>
                      </a:lnTo>
                      <a:lnTo>
                        <a:pt x="427" y="1132"/>
                      </a:lnTo>
                      <a:lnTo>
                        <a:pt x="427" y="1133"/>
                      </a:lnTo>
                      <a:lnTo>
                        <a:pt x="426" y="1133"/>
                      </a:lnTo>
                      <a:close/>
                      <a:moveTo>
                        <a:pt x="563" y="999"/>
                      </a:moveTo>
                      <a:lnTo>
                        <a:pt x="564" y="1000"/>
                      </a:lnTo>
                      <a:lnTo>
                        <a:pt x="564" y="999"/>
                      </a:lnTo>
                      <a:lnTo>
                        <a:pt x="565" y="999"/>
                      </a:lnTo>
                      <a:lnTo>
                        <a:pt x="565" y="1000"/>
                      </a:lnTo>
                      <a:lnTo>
                        <a:pt x="565" y="1001"/>
                      </a:lnTo>
                      <a:lnTo>
                        <a:pt x="565" y="1000"/>
                      </a:lnTo>
                      <a:lnTo>
                        <a:pt x="564" y="1001"/>
                      </a:lnTo>
                      <a:lnTo>
                        <a:pt x="563" y="1001"/>
                      </a:lnTo>
                      <a:lnTo>
                        <a:pt x="563" y="1000"/>
                      </a:lnTo>
                      <a:lnTo>
                        <a:pt x="562" y="1000"/>
                      </a:lnTo>
                      <a:lnTo>
                        <a:pt x="562" y="999"/>
                      </a:lnTo>
                      <a:lnTo>
                        <a:pt x="562" y="998"/>
                      </a:lnTo>
                      <a:lnTo>
                        <a:pt x="561" y="998"/>
                      </a:lnTo>
                      <a:lnTo>
                        <a:pt x="562" y="998"/>
                      </a:lnTo>
                      <a:lnTo>
                        <a:pt x="562" y="999"/>
                      </a:lnTo>
                      <a:lnTo>
                        <a:pt x="563" y="999"/>
                      </a:lnTo>
                      <a:close/>
                      <a:moveTo>
                        <a:pt x="413" y="1168"/>
                      </a:moveTo>
                      <a:lnTo>
                        <a:pt x="414" y="1168"/>
                      </a:lnTo>
                      <a:lnTo>
                        <a:pt x="414" y="1169"/>
                      </a:lnTo>
                      <a:lnTo>
                        <a:pt x="413" y="1169"/>
                      </a:lnTo>
                      <a:lnTo>
                        <a:pt x="412" y="1168"/>
                      </a:lnTo>
                      <a:lnTo>
                        <a:pt x="411" y="1168"/>
                      </a:lnTo>
                      <a:lnTo>
                        <a:pt x="411" y="1167"/>
                      </a:lnTo>
                      <a:lnTo>
                        <a:pt x="412" y="1167"/>
                      </a:lnTo>
                      <a:lnTo>
                        <a:pt x="412" y="1168"/>
                      </a:lnTo>
                      <a:lnTo>
                        <a:pt x="413" y="1168"/>
                      </a:lnTo>
                      <a:close/>
                      <a:moveTo>
                        <a:pt x="562" y="1047"/>
                      </a:moveTo>
                      <a:lnTo>
                        <a:pt x="563" y="1047"/>
                      </a:lnTo>
                      <a:lnTo>
                        <a:pt x="564" y="1048"/>
                      </a:lnTo>
                      <a:lnTo>
                        <a:pt x="565" y="1048"/>
                      </a:lnTo>
                      <a:lnTo>
                        <a:pt x="566" y="1050"/>
                      </a:lnTo>
                      <a:lnTo>
                        <a:pt x="565" y="1050"/>
                      </a:lnTo>
                      <a:lnTo>
                        <a:pt x="564" y="1050"/>
                      </a:lnTo>
                      <a:lnTo>
                        <a:pt x="564" y="1048"/>
                      </a:lnTo>
                      <a:lnTo>
                        <a:pt x="563" y="1048"/>
                      </a:lnTo>
                      <a:lnTo>
                        <a:pt x="562" y="1048"/>
                      </a:lnTo>
                      <a:lnTo>
                        <a:pt x="561" y="1047"/>
                      </a:lnTo>
                      <a:lnTo>
                        <a:pt x="561" y="1046"/>
                      </a:lnTo>
                      <a:lnTo>
                        <a:pt x="562" y="1046"/>
                      </a:lnTo>
                      <a:lnTo>
                        <a:pt x="562" y="1047"/>
                      </a:lnTo>
                      <a:close/>
                      <a:moveTo>
                        <a:pt x="381" y="1146"/>
                      </a:moveTo>
                      <a:lnTo>
                        <a:pt x="380" y="1146"/>
                      </a:lnTo>
                      <a:lnTo>
                        <a:pt x="379" y="1146"/>
                      </a:lnTo>
                      <a:lnTo>
                        <a:pt x="377" y="1146"/>
                      </a:lnTo>
                      <a:lnTo>
                        <a:pt x="377" y="1145"/>
                      </a:lnTo>
                      <a:lnTo>
                        <a:pt x="377" y="1143"/>
                      </a:lnTo>
                      <a:lnTo>
                        <a:pt x="377" y="1144"/>
                      </a:lnTo>
                      <a:lnTo>
                        <a:pt x="377" y="1145"/>
                      </a:lnTo>
                      <a:lnTo>
                        <a:pt x="379" y="1145"/>
                      </a:lnTo>
                      <a:lnTo>
                        <a:pt x="380" y="1145"/>
                      </a:lnTo>
                      <a:lnTo>
                        <a:pt x="381" y="1145"/>
                      </a:lnTo>
                      <a:lnTo>
                        <a:pt x="381" y="1146"/>
                      </a:lnTo>
                      <a:close/>
                      <a:moveTo>
                        <a:pt x="281" y="1082"/>
                      </a:moveTo>
                      <a:lnTo>
                        <a:pt x="281" y="1081"/>
                      </a:lnTo>
                      <a:lnTo>
                        <a:pt x="281" y="1080"/>
                      </a:lnTo>
                      <a:lnTo>
                        <a:pt x="282" y="1078"/>
                      </a:lnTo>
                      <a:lnTo>
                        <a:pt x="281" y="1078"/>
                      </a:lnTo>
                      <a:lnTo>
                        <a:pt x="282" y="1078"/>
                      </a:lnTo>
                      <a:lnTo>
                        <a:pt x="282" y="1079"/>
                      </a:lnTo>
                      <a:lnTo>
                        <a:pt x="283" y="1079"/>
                      </a:lnTo>
                      <a:lnTo>
                        <a:pt x="283" y="1080"/>
                      </a:lnTo>
                      <a:lnTo>
                        <a:pt x="282" y="1081"/>
                      </a:lnTo>
                      <a:lnTo>
                        <a:pt x="281" y="1082"/>
                      </a:lnTo>
                      <a:close/>
                      <a:moveTo>
                        <a:pt x="500" y="1086"/>
                      </a:moveTo>
                      <a:lnTo>
                        <a:pt x="499" y="1086"/>
                      </a:lnTo>
                      <a:lnTo>
                        <a:pt x="499" y="1085"/>
                      </a:lnTo>
                      <a:lnTo>
                        <a:pt x="500" y="1084"/>
                      </a:lnTo>
                      <a:lnTo>
                        <a:pt x="500" y="1083"/>
                      </a:lnTo>
                      <a:lnTo>
                        <a:pt x="501" y="1082"/>
                      </a:lnTo>
                      <a:lnTo>
                        <a:pt x="501" y="1083"/>
                      </a:lnTo>
                      <a:lnTo>
                        <a:pt x="500" y="1084"/>
                      </a:lnTo>
                      <a:lnTo>
                        <a:pt x="500" y="1085"/>
                      </a:lnTo>
                      <a:lnTo>
                        <a:pt x="500" y="1086"/>
                      </a:lnTo>
                      <a:close/>
                      <a:moveTo>
                        <a:pt x="513" y="1054"/>
                      </a:moveTo>
                      <a:lnTo>
                        <a:pt x="514" y="1054"/>
                      </a:lnTo>
                      <a:lnTo>
                        <a:pt x="514" y="1055"/>
                      </a:lnTo>
                      <a:lnTo>
                        <a:pt x="513" y="1056"/>
                      </a:lnTo>
                      <a:lnTo>
                        <a:pt x="513" y="1055"/>
                      </a:lnTo>
                      <a:lnTo>
                        <a:pt x="512" y="1054"/>
                      </a:lnTo>
                      <a:lnTo>
                        <a:pt x="511" y="1054"/>
                      </a:lnTo>
                      <a:lnTo>
                        <a:pt x="511" y="1053"/>
                      </a:lnTo>
                      <a:lnTo>
                        <a:pt x="512" y="1053"/>
                      </a:lnTo>
                      <a:lnTo>
                        <a:pt x="513" y="1053"/>
                      </a:lnTo>
                      <a:lnTo>
                        <a:pt x="513" y="1054"/>
                      </a:lnTo>
                      <a:close/>
                      <a:moveTo>
                        <a:pt x="579" y="1005"/>
                      </a:moveTo>
                      <a:lnTo>
                        <a:pt x="580" y="1005"/>
                      </a:lnTo>
                      <a:lnTo>
                        <a:pt x="581" y="1005"/>
                      </a:lnTo>
                      <a:lnTo>
                        <a:pt x="581" y="1006"/>
                      </a:lnTo>
                      <a:lnTo>
                        <a:pt x="580" y="1006"/>
                      </a:lnTo>
                      <a:lnTo>
                        <a:pt x="579" y="1006"/>
                      </a:lnTo>
                      <a:lnTo>
                        <a:pt x="578" y="1006"/>
                      </a:lnTo>
                      <a:lnTo>
                        <a:pt x="578" y="1005"/>
                      </a:lnTo>
                      <a:lnTo>
                        <a:pt x="577" y="1005"/>
                      </a:lnTo>
                      <a:lnTo>
                        <a:pt x="578" y="1005"/>
                      </a:lnTo>
                      <a:lnTo>
                        <a:pt x="579" y="1005"/>
                      </a:lnTo>
                      <a:close/>
                      <a:moveTo>
                        <a:pt x="475" y="1115"/>
                      </a:moveTo>
                      <a:lnTo>
                        <a:pt x="476" y="1115"/>
                      </a:lnTo>
                      <a:lnTo>
                        <a:pt x="477" y="1115"/>
                      </a:lnTo>
                      <a:lnTo>
                        <a:pt x="476" y="1116"/>
                      </a:lnTo>
                      <a:lnTo>
                        <a:pt x="476" y="1117"/>
                      </a:lnTo>
                      <a:lnTo>
                        <a:pt x="476" y="1118"/>
                      </a:lnTo>
                      <a:lnTo>
                        <a:pt x="476" y="1119"/>
                      </a:lnTo>
                      <a:lnTo>
                        <a:pt x="475" y="1118"/>
                      </a:lnTo>
                      <a:lnTo>
                        <a:pt x="476" y="1118"/>
                      </a:lnTo>
                      <a:lnTo>
                        <a:pt x="476" y="1117"/>
                      </a:lnTo>
                      <a:lnTo>
                        <a:pt x="476" y="1116"/>
                      </a:lnTo>
                      <a:lnTo>
                        <a:pt x="475" y="1116"/>
                      </a:lnTo>
                      <a:lnTo>
                        <a:pt x="474" y="1116"/>
                      </a:lnTo>
                      <a:lnTo>
                        <a:pt x="474" y="1115"/>
                      </a:lnTo>
                      <a:lnTo>
                        <a:pt x="473" y="1115"/>
                      </a:lnTo>
                      <a:lnTo>
                        <a:pt x="473" y="1114"/>
                      </a:lnTo>
                      <a:lnTo>
                        <a:pt x="474" y="1114"/>
                      </a:lnTo>
                      <a:lnTo>
                        <a:pt x="474" y="1115"/>
                      </a:lnTo>
                      <a:lnTo>
                        <a:pt x="475" y="1115"/>
                      </a:lnTo>
                      <a:close/>
                      <a:moveTo>
                        <a:pt x="478" y="1120"/>
                      </a:moveTo>
                      <a:lnTo>
                        <a:pt x="478" y="1121"/>
                      </a:lnTo>
                      <a:lnTo>
                        <a:pt x="478" y="1120"/>
                      </a:lnTo>
                      <a:lnTo>
                        <a:pt x="479" y="1120"/>
                      </a:lnTo>
                      <a:lnTo>
                        <a:pt x="479" y="1121"/>
                      </a:lnTo>
                      <a:lnTo>
                        <a:pt x="480" y="1121"/>
                      </a:lnTo>
                      <a:lnTo>
                        <a:pt x="479" y="1121"/>
                      </a:lnTo>
                      <a:lnTo>
                        <a:pt x="478" y="1121"/>
                      </a:lnTo>
                      <a:lnTo>
                        <a:pt x="477" y="1121"/>
                      </a:lnTo>
                      <a:lnTo>
                        <a:pt x="477" y="1122"/>
                      </a:lnTo>
                      <a:lnTo>
                        <a:pt x="476" y="1122"/>
                      </a:lnTo>
                      <a:lnTo>
                        <a:pt x="476" y="1121"/>
                      </a:lnTo>
                      <a:lnTo>
                        <a:pt x="477" y="1121"/>
                      </a:lnTo>
                      <a:lnTo>
                        <a:pt x="477" y="1120"/>
                      </a:lnTo>
                      <a:lnTo>
                        <a:pt x="478" y="1120"/>
                      </a:lnTo>
                      <a:close/>
                      <a:moveTo>
                        <a:pt x="290" y="1073"/>
                      </a:moveTo>
                      <a:lnTo>
                        <a:pt x="289" y="1073"/>
                      </a:lnTo>
                      <a:lnTo>
                        <a:pt x="289" y="1074"/>
                      </a:lnTo>
                      <a:lnTo>
                        <a:pt x="287" y="1074"/>
                      </a:lnTo>
                      <a:lnTo>
                        <a:pt x="287" y="1076"/>
                      </a:lnTo>
                      <a:lnTo>
                        <a:pt x="287" y="1077"/>
                      </a:lnTo>
                      <a:lnTo>
                        <a:pt x="286" y="1077"/>
                      </a:lnTo>
                      <a:lnTo>
                        <a:pt x="286" y="1076"/>
                      </a:lnTo>
                      <a:lnTo>
                        <a:pt x="287" y="1076"/>
                      </a:lnTo>
                      <a:lnTo>
                        <a:pt x="287" y="1074"/>
                      </a:lnTo>
                      <a:lnTo>
                        <a:pt x="287" y="1073"/>
                      </a:lnTo>
                      <a:lnTo>
                        <a:pt x="287" y="1072"/>
                      </a:lnTo>
                      <a:lnTo>
                        <a:pt x="287" y="1073"/>
                      </a:lnTo>
                      <a:lnTo>
                        <a:pt x="289" y="1073"/>
                      </a:lnTo>
                      <a:lnTo>
                        <a:pt x="290" y="1073"/>
                      </a:lnTo>
                      <a:close/>
                      <a:moveTo>
                        <a:pt x="530" y="1043"/>
                      </a:moveTo>
                      <a:lnTo>
                        <a:pt x="530" y="1044"/>
                      </a:lnTo>
                      <a:lnTo>
                        <a:pt x="529" y="1044"/>
                      </a:lnTo>
                      <a:lnTo>
                        <a:pt x="528" y="1044"/>
                      </a:lnTo>
                      <a:lnTo>
                        <a:pt x="528" y="1043"/>
                      </a:lnTo>
                      <a:lnTo>
                        <a:pt x="529" y="1043"/>
                      </a:lnTo>
                      <a:lnTo>
                        <a:pt x="529" y="1042"/>
                      </a:lnTo>
                      <a:lnTo>
                        <a:pt x="529" y="1043"/>
                      </a:lnTo>
                      <a:lnTo>
                        <a:pt x="530" y="1043"/>
                      </a:lnTo>
                      <a:close/>
                      <a:moveTo>
                        <a:pt x="416" y="1169"/>
                      </a:moveTo>
                      <a:lnTo>
                        <a:pt x="415" y="1169"/>
                      </a:lnTo>
                      <a:lnTo>
                        <a:pt x="415" y="1168"/>
                      </a:lnTo>
                      <a:lnTo>
                        <a:pt x="416" y="1168"/>
                      </a:lnTo>
                      <a:lnTo>
                        <a:pt x="416" y="1167"/>
                      </a:lnTo>
                      <a:lnTo>
                        <a:pt x="418" y="1166"/>
                      </a:lnTo>
                      <a:lnTo>
                        <a:pt x="418" y="1167"/>
                      </a:lnTo>
                      <a:lnTo>
                        <a:pt x="416" y="1168"/>
                      </a:lnTo>
                      <a:lnTo>
                        <a:pt x="416" y="1169"/>
                      </a:lnTo>
                      <a:close/>
                      <a:moveTo>
                        <a:pt x="319" y="1086"/>
                      </a:moveTo>
                      <a:lnTo>
                        <a:pt x="318" y="1086"/>
                      </a:lnTo>
                      <a:lnTo>
                        <a:pt x="318" y="1085"/>
                      </a:lnTo>
                      <a:lnTo>
                        <a:pt x="319" y="1085"/>
                      </a:lnTo>
                      <a:lnTo>
                        <a:pt x="320" y="1085"/>
                      </a:lnTo>
                      <a:lnTo>
                        <a:pt x="320" y="1086"/>
                      </a:lnTo>
                      <a:lnTo>
                        <a:pt x="319" y="1086"/>
                      </a:lnTo>
                      <a:close/>
                      <a:moveTo>
                        <a:pt x="537" y="1019"/>
                      </a:moveTo>
                      <a:lnTo>
                        <a:pt x="538" y="1019"/>
                      </a:lnTo>
                      <a:lnTo>
                        <a:pt x="537" y="1020"/>
                      </a:lnTo>
                      <a:lnTo>
                        <a:pt x="536" y="1020"/>
                      </a:lnTo>
                      <a:lnTo>
                        <a:pt x="535" y="1020"/>
                      </a:lnTo>
                      <a:lnTo>
                        <a:pt x="535" y="1019"/>
                      </a:lnTo>
                      <a:lnTo>
                        <a:pt x="536" y="1019"/>
                      </a:lnTo>
                      <a:lnTo>
                        <a:pt x="537" y="1019"/>
                      </a:lnTo>
                      <a:close/>
                      <a:moveTo>
                        <a:pt x="473" y="1116"/>
                      </a:moveTo>
                      <a:lnTo>
                        <a:pt x="472" y="1116"/>
                      </a:lnTo>
                      <a:lnTo>
                        <a:pt x="471" y="1116"/>
                      </a:lnTo>
                      <a:lnTo>
                        <a:pt x="471" y="1115"/>
                      </a:lnTo>
                      <a:lnTo>
                        <a:pt x="470" y="1114"/>
                      </a:lnTo>
                      <a:lnTo>
                        <a:pt x="471" y="1114"/>
                      </a:lnTo>
                      <a:lnTo>
                        <a:pt x="471" y="1115"/>
                      </a:lnTo>
                      <a:lnTo>
                        <a:pt x="472" y="1115"/>
                      </a:lnTo>
                      <a:lnTo>
                        <a:pt x="473" y="1116"/>
                      </a:lnTo>
                      <a:close/>
                      <a:moveTo>
                        <a:pt x="503" y="1096"/>
                      </a:moveTo>
                      <a:lnTo>
                        <a:pt x="504" y="1097"/>
                      </a:lnTo>
                      <a:lnTo>
                        <a:pt x="504" y="1098"/>
                      </a:lnTo>
                      <a:lnTo>
                        <a:pt x="503" y="1097"/>
                      </a:lnTo>
                      <a:lnTo>
                        <a:pt x="502" y="1097"/>
                      </a:lnTo>
                      <a:lnTo>
                        <a:pt x="503" y="1097"/>
                      </a:lnTo>
                      <a:lnTo>
                        <a:pt x="502" y="1096"/>
                      </a:lnTo>
                      <a:lnTo>
                        <a:pt x="503" y="1096"/>
                      </a:lnTo>
                      <a:close/>
                      <a:moveTo>
                        <a:pt x="84" y="981"/>
                      </a:moveTo>
                      <a:lnTo>
                        <a:pt x="86" y="981"/>
                      </a:lnTo>
                      <a:lnTo>
                        <a:pt x="86" y="982"/>
                      </a:lnTo>
                      <a:lnTo>
                        <a:pt x="84" y="982"/>
                      </a:lnTo>
                      <a:lnTo>
                        <a:pt x="84" y="981"/>
                      </a:lnTo>
                      <a:close/>
                      <a:moveTo>
                        <a:pt x="512" y="1059"/>
                      </a:moveTo>
                      <a:lnTo>
                        <a:pt x="513" y="1059"/>
                      </a:lnTo>
                      <a:lnTo>
                        <a:pt x="513" y="1061"/>
                      </a:lnTo>
                      <a:lnTo>
                        <a:pt x="512" y="1061"/>
                      </a:lnTo>
                      <a:lnTo>
                        <a:pt x="512" y="1059"/>
                      </a:lnTo>
                      <a:close/>
                      <a:moveTo>
                        <a:pt x="573" y="1013"/>
                      </a:moveTo>
                      <a:lnTo>
                        <a:pt x="573" y="1014"/>
                      </a:lnTo>
                      <a:lnTo>
                        <a:pt x="571" y="1014"/>
                      </a:lnTo>
                      <a:lnTo>
                        <a:pt x="570" y="1014"/>
                      </a:lnTo>
                      <a:lnTo>
                        <a:pt x="570" y="1013"/>
                      </a:lnTo>
                      <a:lnTo>
                        <a:pt x="571" y="1013"/>
                      </a:lnTo>
                      <a:lnTo>
                        <a:pt x="573" y="1013"/>
                      </a:lnTo>
                      <a:close/>
                      <a:moveTo>
                        <a:pt x="495" y="1121"/>
                      </a:moveTo>
                      <a:lnTo>
                        <a:pt x="495" y="1120"/>
                      </a:lnTo>
                      <a:lnTo>
                        <a:pt x="495" y="1119"/>
                      </a:lnTo>
                      <a:lnTo>
                        <a:pt x="495" y="1118"/>
                      </a:lnTo>
                      <a:lnTo>
                        <a:pt x="495" y="1119"/>
                      </a:lnTo>
                      <a:lnTo>
                        <a:pt x="495" y="1120"/>
                      </a:lnTo>
                      <a:lnTo>
                        <a:pt x="495" y="1121"/>
                      </a:lnTo>
                      <a:close/>
                      <a:moveTo>
                        <a:pt x="658" y="1053"/>
                      </a:moveTo>
                      <a:lnTo>
                        <a:pt x="659" y="1053"/>
                      </a:lnTo>
                      <a:lnTo>
                        <a:pt x="659" y="1054"/>
                      </a:lnTo>
                      <a:lnTo>
                        <a:pt x="658" y="1054"/>
                      </a:lnTo>
                      <a:lnTo>
                        <a:pt x="658" y="1053"/>
                      </a:lnTo>
                      <a:close/>
                      <a:moveTo>
                        <a:pt x="477" y="1128"/>
                      </a:moveTo>
                      <a:lnTo>
                        <a:pt x="477" y="1130"/>
                      </a:lnTo>
                      <a:lnTo>
                        <a:pt x="477" y="1128"/>
                      </a:lnTo>
                      <a:close/>
                      <a:moveTo>
                        <a:pt x="477" y="1118"/>
                      </a:moveTo>
                      <a:lnTo>
                        <a:pt x="478" y="1118"/>
                      </a:lnTo>
                      <a:lnTo>
                        <a:pt x="478" y="1120"/>
                      </a:lnTo>
                      <a:lnTo>
                        <a:pt x="477" y="1120"/>
                      </a:lnTo>
                      <a:lnTo>
                        <a:pt x="477" y="1118"/>
                      </a:lnTo>
                      <a:close/>
                      <a:moveTo>
                        <a:pt x="87" y="993"/>
                      </a:moveTo>
                      <a:lnTo>
                        <a:pt x="88" y="993"/>
                      </a:lnTo>
                      <a:lnTo>
                        <a:pt x="88" y="994"/>
                      </a:lnTo>
                      <a:lnTo>
                        <a:pt x="87" y="994"/>
                      </a:lnTo>
                      <a:lnTo>
                        <a:pt x="87" y="993"/>
                      </a:lnTo>
                      <a:close/>
                      <a:moveTo>
                        <a:pt x="286" y="1077"/>
                      </a:moveTo>
                      <a:lnTo>
                        <a:pt x="287" y="1077"/>
                      </a:lnTo>
                      <a:lnTo>
                        <a:pt x="287" y="1078"/>
                      </a:lnTo>
                      <a:lnTo>
                        <a:pt x="286" y="1078"/>
                      </a:lnTo>
                      <a:lnTo>
                        <a:pt x="286" y="1077"/>
                      </a:lnTo>
                      <a:close/>
                      <a:moveTo>
                        <a:pt x="317" y="1086"/>
                      </a:moveTo>
                      <a:lnTo>
                        <a:pt x="319" y="1086"/>
                      </a:lnTo>
                      <a:lnTo>
                        <a:pt x="319" y="1088"/>
                      </a:lnTo>
                      <a:lnTo>
                        <a:pt x="317" y="1088"/>
                      </a:lnTo>
                      <a:lnTo>
                        <a:pt x="317" y="1086"/>
                      </a:lnTo>
                      <a:close/>
                      <a:moveTo>
                        <a:pt x="475" y="1120"/>
                      </a:moveTo>
                      <a:lnTo>
                        <a:pt x="476" y="1120"/>
                      </a:lnTo>
                      <a:lnTo>
                        <a:pt x="476" y="1122"/>
                      </a:lnTo>
                      <a:lnTo>
                        <a:pt x="475" y="1122"/>
                      </a:lnTo>
                      <a:lnTo>
                        <a:pt x="475" y="1120"/>
                      </a:lnTo>
                      <a:close/>
                      <a:moveTo>
                        <a:pt x="513" y="1090"/>
                      </a:moveTo>
                      <a:lnTo>
                        <a:pt x="513" y="1091"/>
                      </a:lnTo>
                      <a:lnTo>
                        <a:pt x="513" y="1090"/>
                      </a:lnTo>
                      <a:close/>
                      <a:moveTo>
                        <a:pt x="476" y="1114"/>
                      </a:moveTo>
                      <a:lnTo>
                        <a:pt x="478" y="1114"/>
                      </a:lnTo>
                      <a:lnTo>
                        <a:pt x="476" y="1114"/>
                      </a:lnTo>
                      <a:close/>
                      <a:moveTo>
                        <a:pt x="194" y="983"/>
                      </a:moveTo>
                      <a:lnTo>
                        <a:pt x="195" y="983"/>
                      </a:lnTo>
                      <a:lnTo>
                        <a:pt x="194" y="983"/>
                      </a:lnTo>
                      <a:close/>
                      <a:moveTo>
                        <a:pt x="196" y="983"/>
                      </a:moveTo>
                      <a:lnTo>
                        <a:pt x="198" y="983"/>
                      </a:lnTo>
                      <a:lnTo>
                        <a:pt x="196" y="983"/>
                      </a:lnTo>
                      <a:close/>
                      <a:moveTo>
                        <a:pt x="1443" y="1065"/>
                      </a:moveTo>
                      <a:lnTo>
                        <a:pt x="1443" y="1066"/>
                      </a:lnTo>
                      <a:lnTo>
                        <a:pt x="1442" y="1066"/>
                      </a:lnTo>
                      <a:lnTo>
                        <a:pt x="1442" y="1067"/>
                      </a:lnTo>
                      <a:lnTo>
                        <a:pt x="1442" y="1068"/>
                      </a:lnTo>
                      <a:lnTo>
                        <a:pt x="1440" y="1069"/>
                      </a:lnTo>
                      <a:lnTo>
                        <a:pt x="1437" y="1071"/>
                      </a:lnTo>
                      <a:lnTo>
                        <a:pt x="1437" y="1072"/>
                      </a:lnTo>
                      <a:lnTo>
                        <a:pt x="1435" y="1072"/>
                      </a:lnTo>
                      <a:lnTo>
                        <a:pt x="1434" y="1073"/>
                      </a:lnTo>
                      <a:lnTo>
                        <a:pt x="1433" y="1073"/>
                      </a:lnTo>
                      <a:lnTo>
                        <a:pt x="1433" y="1074"/>
                      </a:lnTo>
                      <a:lnTo>
                        <a:pt x="1432" y="1074"/>
                      </a:lnTo>
                      <a:lnTo>
                        <a:pt x="1431" y="1076"/>
                      </a:lnTo>
                      <a:lnTo>
                        <a:pt x="1430" y="1077"/>
                      </a:lnTo>
                      <a:lnTo>
                        <a:pt x="1430" y="1079"/>
                      </a:lnTo>
                      <a:lnTo>
                        <a:pt x="1429" y="1079"/>
                      </a:lnTo>
                      <a:lnTo>
                        <a:pt x="1429" y="1080"/>
                      </a:lnTo>
                      <a:lnTo>
                        <a:pt x="1429" y="1081"/>
                      </a:lnTo>
                      <a:lnTo>
                        <a:pt x="1428" y="1081"/>
                      </a:lnTo>
                      <a:lnTo>
                        <a:pt x="1428" y="1082"/>
                      </a:lnTo>
                      <a:lnTo>
                        <a:pt x="1427" y="1082"/>
                      </a:lnTo>
                      <a:lnTo>
                        <a:pt x="1428" y="1082"/>
                      </a:lnTo>
                      <a:lnTo>
                        <a:pt x="1428" y="1081"/>
                      </a:lnTo>
                      <a:lnTo>
                        <a:pt x="1429" y="1081"/>
                      </a:lnTo>
                      <a:lnTo>
                        <a:pt x="1429" y="1080"/>
                      </a:lnTo>
                      <a:lnTo>
                        <a:pt x="1430" y="1079"/>
                      </a:lnTo>
                      <a:lnTo>
                        <a:pt x="1430" y="1078"/>
                      </a:lnTo>
                      <a:lnTo>
                        <a:pt x="1430" y="1077"/>
                      </a:lnTo>
                      <a:lnTo>
                        <a:pt x="1431" y="1077"/>
                      </a:lnTo>
                      <a:lnTo>
                        <a:pt x="1431" y="1076"/>
                      </a:lnTo>
                      <a:lnTo>
                        <a:pt x="1432" y="1076"/>
                      </a:lnTo>
                      <a:lnTo>
                        <a:pt x="1432" y="1074"/>
                      </a:lnTo>
                      <a:lnTo>
                        <a:pt x="1433" y="1074"/>
                      </a:lnTo>
                      <a:lnTo>
                        <a:pt x="1434" y="1073"/>
                      </a:lnTo>
                      <a:lnTo>
                        <a:pt x="1435" y="1073"/>
                      </a:lnTo>
                      <a:lnTo>
                        <a:pt x="1434" y="1076"/>
                      </a:lnTo>
                      <a:lnTo>
                        <a:pt x="1433" y="1076"/>
                      </a:lnTo>
                      <a:lnTo>
                        <a:pt x="1433" y="1077"/>
                      </a:lnTo>
                      <a:lnTo>
                        <a:pt x="1433" y="1078"/>
                      </a:lnTo>
                      <a:lnTo>
                        <a:pt x="1433" y="1080"/>
                      </a:lnTo>
                      <a:lnTo>
                        <a:pt x="1433" y="1081"/>
                      </a:lnTo>
                      <a:lnTo>
                        <a:pt x="1432" y="1082"/>
                      </a:lnTo>
                      <a:lnTo>
                        <a:pt x="1432" y="1083"/>
                      </a:lnTo>
                      <a:lnTo>
                        <a:pt x="1431" y="1084"/>
                      </a:lnTo>
                      <a:lnTo>
                        <a:pt x="1428" y="1086"/>
                      </a:lnTo>
                      <a:lnTo>
                        <a:pt x="1426" y="1089"/>
                      </a:lnTo>
                      <a:lnTo>
                        <a:pt x="1425" y="1089"/>
                      </a:lnTo>
                      <a:lnTo>
                        <a:pt x="1425" y="1090"/>
                      </a:lnTo>
                      <a:lnTo>
                        <a:pt x="1424" y="1091"/>
                      </a:lnTo>
                      <a:lnTo>
                        <a:pt x="1424" y="1092"/>
                      </a:lnTo>
                      <a:lnTo>
                        <a:pt x="1422" y="1092"/>
                      </a:lnTo>
                      <a:lnTo>
                        <a:pt x="1421" y="1092"/>
                      </a:lnTo>
                      <a:lnTo>
                        <a:pt x="1420" y="1092"/>
                      </a:lnTo>
                      <a:lnTo>
                        <a:pt x="1419" y="1091"/>
                      </a:lnTo>
                      <a:lnTo>
                        <a:pt x="1418" y="1090"/>
                      </a:lnTo>
                      <a:lnTo>
                        <a:pt x="1417" y="1090"/>
                      </a:lnTo>
                      <a:lnTo>
                        <a:pt x="1416" y="1090"/>
                      </a:lnTo>
                      <a:lnTo>
                        <a:pt x="1414" y="1090"/>
                      </a:lnTo>
                      <a:lnTo>
                        <a:pt x="1414" y="1089"/>
                      </a:lnTo>
                      <a:lnTo>
                        <a:pt x="1414" y="1090"/>
                      </a:lnTo>
                      <a:lnTo>
                        <a:pt x="1413" y="1090"/>
                      </a:lnTo>
                      <a:lnTo>
                        <a:pt x="1413" y="1089"/>
                      </a:lnTo>
                      <a:lnTo>
                        <a:pt x="1412" y="1089"/>
                      </a:lnTo>
                      <a:lnTo>
                        <a:pt x="1410" y="1089"/>
                      </a:lnTo>
                      <a:lnTo>
                        <a:pt x="1409" y="1089"/>
                      </a:lnTo>
                      <a:lnTo>
                        <a:pt x="1408" y="1089"/>
                      </a:lnTo>
                      <a:lnTo>
                        <a:pt x="1407" y="1089"/>
                      </a:lnTo>
                      <a:lnTo>
                        <a:pt x="1407" y="1088"/>
                      </a:lnTo>
                      <a:lnTo>
                        <a:pt x="1406" y="1088"/>
                      </a:lnTo>
                      <a:lnTo>
                        <a:pt x="1406" y="1086"/>
                      </a:lnTo>
                      <a:lnTo>
                        <a:pt x="1405" y="1086"/>
                      </a:lnTo>
                      <a:lnTo>
                        <a:pt x="1406" y="1086"/>
                      </a:lnTo>
                      <a:lnTo>
                        <a:pt x="1407" y="1085"/>
                      </a:lnTo>
                      <a:lnTo>
                        <a:pt x="1408" y="1085"/>
                      </a:lnTo>
                      <a:lnTo>
                        <a:pt x="1410" y="1084"/>
                      </a:lnTo>
                      <a:lnTo>
                        <a:pt x="1412" y="1084"/>
                      </a:lnTo>
                      <a:lnTo>
                        <a:pt x="1413" y="1083"/>
                      </a:lnTo>
                      <a:lnTo>
                        <a:pt x="1415" y="1083"/>
                      </a:lnTo>
                      <a:lnTo>
                        <a:pt x="1414" y="1083"/>
                      </a:lnTo>
                      <a:lnTo>
                        <a:pt x="1413" y="1083"/>
                      </a:lnTo>
                      <a:lnTo>
                        <a:pt x="1412" y="1084"/>
                      </a:lnTo>
                      <a:lnTo>
                        <a:pt x="1410" y="1084"/>
                      </a:lnTo>
                      <a:lnTo>
                        <a:pt x="1409" y="1085"/>
                      </a:lnTo>
                      <a:lnTo>
                        <a:pt x="1408" y="1085"/>
                      </a:lnTo>
                      <a:lnTo>
                        <a:pt x="1406" y="1085"/>
                      </a:lnTo>
                      <a:lnTo>
                        <a:pt x="1405" y="1086"/>
                      </a:lnTo>
                      <a:lnTo>
                        <a:pt x="1405" y="1085"/>
                      </a:lnTo>
                      <a:lnTo>
                        <a:pt x="1404" y="1085"/>
                      </a:lnTo>
                      <a:lnTo>
                        <a:pt x="1402" y="1085"/>
                      </a:lnTo>
                      <a:lnTo>
                        <a:pt x="1400" y="1086"/>
                      </a:lnTo>
                      <a:lnTo>
                        <a:pt x="1397" y="1086"/>
                      </a:lnTo>
                      <a:lnTo>
                        <a:pt x="1396" y="1088"/>
                      </a:lnTo>
                      <a:lnTo>
                        <a:pt x="1395" y="1088"/>
                      </a:lnTo>
                      <a:lnTo>
                        <a:pt x="1396" y="1088"/>
                      </a:lnTo>
                      <a:lnTo>
                        <a:pt x="1395" y="1088"/>
                      </a:lnTo>
                      <a:lnTo>
                        <a:pt x="1394" y="1088"/>
                      </a:lnTo>
                      <a:lnTo>
                        <a:pt x="1393" y="1088"/>
                      </a:lnTo>
                      <a:lnTo>
                        <a:pt x="1392" y="1088"/>
                      </a:lnTo>
                      <a:lnTo>
                        <a:pt x="1389" y="1088"/>
                      </a:lnTo>
                      <a:lnTo>
                        <a:pt x="1389" y="1086"/>
                      </a:lnTo>
                      <a:lnTo>
                        <a:pt x="1387" y="1086"/>
                      </a:lnTo>
                      <a:lnTo>
                        <a:pt x="1386" y="1086"/>
                      </a:lnTo>
                      <a:lnTo>
                        <a:pt x="1382" y="1085"/>
                      </a:lnTo>
                      <a:lnTo>
                        <a:pt x="1380" y="1085"/>
                      </a:lnTo>
                      <a:lnTo>
                        <a:pt x="1379" y="1085"/>
                      </a:lnTo>
                      <a:lnTo>
                        <a:pt x="1378" y="1085"/>
                      </a:lnTo>
                      <a:lnTo>
                        <a:pt x="1376" y="1085"/>
                      </a:lnTo>
                      <a:lnTo>
                        <a:pt x="1375" y="1085"/>
                      </a:lnTo>
                      <a:lnTo>
                        <a:pt x="1374" y="1084"/>
                      </a:lnTo>
                      <a:lnTo>
                        <a:pt x="1371" y="1084"/>
                      </a:lnTo>
                      <a:lnTo>
                        <a:pt x="1370" y="1083"/>
                      </a:lnTo>
                      <a:lnTo>
                        <a:pt x="1369" y="1082"/>
                      </a:lnTo>
                      <a:lnTo>
                        <a:pt x="1368" y="1082"/>
                      </a:lnTo>
                      <a:lnTo>
                        <a:pt x="1367" y="1081"/>
                      </a:lnTo>
                      <a:lnTo>
                        <a:pt x="1366" y="1081"/>
                      </a:lnTo>
                      <a:lnTo>
                        <a:pt x="1366" y="1080"/>
                      </a:lnTo>
                      <a:lnTo>
                        <a:pt x="1366" y="1079"/>
                      </a:lnTo>
                      <a:lnTo>
                        <a:pt x="1367" y="1079"/>
                      </a:lnTo>
                      <a:lnTo>
                        <a:pt x="1369" y="1078"/>
                      </a:lnTo>
                      <a:lnTo>
                        <a:pt x="1370" y="1078"/>
                      </a:lnTo>
                      <a:lnTo>
                        <a:pt x="1371" y="1078"/>
                      </a:lnTo>
                      <a:lnTo>
                        <a:pt x="1374" y="1077"/>
                      </a:lnTo>
                      <a:lnTo>
                        <a:pt x="1375" y="1077"/>
                      </a:lnTo>
                      <a:lnTo>
                        <a:pt x="1376" y="1077"/>
                      </a:lnTo>
                      <a:lnTo>
                        <a:pt x="1377" y="1077"/>
                      </a:lnTo>
                      <a:lnTo>
                        <a:pt x="1378" y="1077"/>
                      </a:lnTo>
                      <a:lnTo>
                        <a:pt x="1379" y="1077"/>
                      </a:lnTo>
                      <a:lnTo>
                        <a:pt x="1380" y="1076"/>
                      </a:lnTo>
                      <a:lnTo>
                        <a:pt x="1381" y="1076"/>
                      </a:lnTo>
                      <a:lnTo>
                        <a:pt x="1382" y="1074"/>
                      </a:lnTo>
                      <a:lnTo>
                        <a:pt x="1382" y="1073"/>
                      </a:lnTo>
                      <a:lnTo>
                        <a:pt x="1383" y="1073"/>
                      </a:lnTo>
                      <a:lnTo>
                        <a:pt x="1383" y="1072"/>
                      </a:lnTo>
                      <a:lnTo>
                        <a:pt x="1384" y="1070"/>
                      </a:lnTo>
                      <a:lnTo>
                        <a:pt x="1384" y="1069"/>
                      </a:lnTo>
                      <a:lnTo>
                        <a:pt x="1386" y="1069"/>
                      </a:lnTo>
                      <a:lnTo>
                        <a:pt x="1386" y="1068"/>
                      </a:lnTo>
                      <a:lnTo>
                        <a:pt x="1387" y="1068"/>
                      </a:lnTo>
                      <a:lnTo>
                        <a:pt x="1388" y="1068"/>
                      </a:lnTo>
                      <a:lnTo>
                        <a:pt x="1388" y="1067"/>
                      </a:lnTo>
                      <a:lnTo>
                        <a:pt x="1389" y="1067"/>
                      </a:lnTo>
                      <a:lnTo>
                        <a:pt x="1390" y="1066"/>
                      </a:lnTo>
                      <a:lnTo>
                        <a:pt x="1391" y="1066"/>
                      </a:lnTo>
                      <a:lnTo>
                        <a:pt x="1392" y="1066"/>
                      </a:lnTo>
                      <a:lnTo>
                        <a:pt x="1392" y="1065"/>
                      </a:lnTo>
                      <a:lnTo>
                        <a:pt x="1394" y="1065"/>
                      </a:lnTo>
                      <a:lnTo>
                        <a:pt x="1395" y="1065"/>
                      </a:lnTo>
                      <a:lnTo>
                        <a:pt x="1395" y="1064"/>
                      </a:lnTo>
                      <a:lnTo>
                        <a:pt x="1396" y="1063"/>
                      </a:lnTo>
                      <a:lnTo>
                        <a:pt x="1397" y="1063"/>
                      </a:lnTo>
                      <a:lnTo>
                        <a:pt x="1399" y="1061"/>
                      </a:lnTo>
                      <a:lnTo>
                        <a:pt x="1400" y="1063"/>
                      </a:lnTo>
                      <a:lnTo>
                        <a:pt x="1399" y="1063"/>
                      </a:lnTo>
                      <a:lnTo>
                        <a:pt x="1397" y="1063"/>
                      </a:lnTo>
                      <a:lnTo>
                        <a:pt x="1397" y="1064"/>
                      </a:lnTo>
                      <a:lnTo>
                        <a:pt x="1397" y="1063"/>
                      </a:lnTo>
                      <a:lnTo>
                        <a:pt x="1399" y="1063"/>
                      </a:lnTo>
                      <a:lnTo>
                        <a:pt x="1400" y="1063"/>
                      </a:lnTo>
                      <a:lnTo>
                        <a:pt x="1401" y="1063"/>
                      </a:lnTo>
                      <a:lnTo>
                        <a:pt x="1402" y="1063"/>
                      </a:lnTo>
                      <a:lnTo>
                        <a:pt x="1403" y="1063"/>
                      </a:lnTo>
                      <a:lnTo>
                        <a:pt x="1404" y="1064"/>
                      </a:lnTo>
                      <a:lnTo>
                        <a:pt x="1405" y="1064"/>
                      </a:lnTo>
                      <a:lnTo>
                        <a:pt x="1405" y="1063"/>
                      </a:lnTo>
                      <a:lnTo>
                        <a:pt x="1406" y="1063"/>
                      </a:lnTo>
                      <a:lnTo>
                        <a:pt x="1406" y="1064"/>
                      </a:lnTo>
                      <a:lnTo>
                        <a:pt x="1406" y="1063"/>
                      </a:lnTo>
                      <a:lnTo>
                        <a:pt x="1407" y="1063"/>
                      </a:lnTo>
                      <a:lnTo>
                        <a:pt x="1408" y="1063"/>
                      </a:lnTo>
                      <a:lnTo>
                        <a:pt x="1409" y="1064"/>
                      </a:lnTo>
                      <a:lnTo>
                        <a:pt x="1412" y="1065"/>
                      </a:lnTo>
                      <a:lnTo>
                        <a:pt x="1413" y="1065"/>
                      </a:lnTo>
                      <a:lnTo>
                        <a:pt x="1414" y="1065"/>
                      </a:lnTo>
                      <a:lnTo>
                        <a:pt x="1415" y="1065"/>
                      </a:lnTo>
                      <a:lnTo>
                        <a:pt x="1416" y="1065"/>
                      </a:lnTo>
                      <a:lnTo>
                        <a:pt x="1417" y="1065"/>
                      </a:lnTo>
                      <a:lnTo>
                        <a:pt x="1418" y="1064"/>
                      </a:lnTo>
                      <a:lnTo>
                        <a:pt x="1420" y="1063"/>
                      </a:lnTo>
                      <a:lnTo>
                        <a:pt x="1421" y="1063"/>
                      </a:lnTo>
                      <a:lnTo>
                        <a:pt x="1422" y="1063"/>
                      </a:lnTo>
                      <a:lnTo>
                        <a:pt x="1424" y="1061"/>
                      </a:lnTo>
                      <a:lnTo>
                        <a:pt x="1424" y="1060"/>
                      </a:lnTo>
                      <a:lnTo>
                        <a:pt x="1425" y="1060"/>
                      </a:lnTo>
                      <a:lnTo>
                        <a:pt x="1427" y="1060"/>
                      </a:lnTo>
                      <a:lnTo>
                        <a:pt x="1428" y="1059"/>
                      </a:lnTo>
                      <a:lnTo>
                        <a:pt x="1429" y="1058"/>
                      </a:lnTo>
                      <a:lnTo>
                        <a:pt x="1429" y="1057"/>
                      </a:lnTo>
                      <a:lnTo>
                        <a:pt x="1430" y="1056"/>
                      </a:lnTo>
                      <a:lnTo>
                        <a:pt x="1431" y="1055"/>
                      </a:lnTo>
                      <a:lnTo>
                        <a:pt x="1432" y="1054"/>
                      </a:lnTo>
                      <a:lnTo>
                        <a:pt x="1432" y="1055"/>
                      </a:lnTo>
                      <a:lnTo>
                        <a:pt x="1433" y="1055"/>
                      </a:lnTo>
                      <a:lnTo>
                        <a:pt x="1434" y="1057"/>
                      </a:lnTo>
                      <a:lnTo>
                        <a:pt x="1435" y="1057"/>
                      </a:lnTo>
                      <a:lnTo>
                        <a:pt x="1437" y="1057"/>
                      </a:lnTo>
                      <a:lnTo>
                        <a:pt x="1437" y="1058"/>
                      </a:lnTo>
                      <a:lnTo>
                        <a:pt x="1437" y="1060"/>
                      </a:lnTo>
                      <a:lnTo>
                        <a:pt x="1438" y="1061"/>
                      </a:lnTo>
                      <a:lnTo>
                        <a:pt x="1439" y="1061"/>
                      </a:lnTo>
                      <a:lnTo>
                        <a:pt x="1440" y="1061"/>
                      </a:lnTo>
                      <a:lnTo>
                        <a:pt x="1441" y="1063"/>
                      </a:lnTo>
                      <a:lnTo>
                        <a:pt x="1442" y="1063"/>
                      </a:lnTo>
                      <a:lnTo>
                        <a:pt x="1442" y="1064"/>
                      </a:lnTo>
                      <a:lnTo>
                        <a:pt x="1443" y="1064"/>
                      </a:lnTo>
                      <a:lnTo>
                        <a:pt x="1443" y="1065"/>
                      </a:lnTo>
                      <a:close/>
                      <a:moveTo>
                        <a:pt x="864" y="860"/>
                      </a:moveTo>
                      <a:lnTo>
                        <a:pt x="865" y="861"/>
                      </a:lnTo>
                      <a:lnTo>
                        <a:pt x="865" y="862"/>
                      </a:lnTo>
                      <a:lnTo>
                        <a:pt x="866" y="862"/>
                      </a:lnTo>
                      <a:lnTo>
                        <a:pt x="867" y="862"/>
                      </a:lnTo>
                      <a:lnTo>
                        <a:pt x="869" y="863"/>
                      </a:lnTo>
                      <a:lnTo>
                        <a:pt x="870" y="863"/>
                      </a:lnTo>
                      <a:lnTo>
                        <a:pt x="871" y="863"/>
                      </a:lnTo>
                      <a:lnTo>
                        <a:pt x="872" y="862"/>
                      </a:lnTo>
                      <a:lnTo>
                        <a:pt x="872" y="863"/>
                      </a:lnTo>
                      <a:lnTo>
                        <a:pt x="872" y="862"/>
                      </a:lnTo>
                      <a:lnTo>
                        <a:pt x="872" y="861"/>
                      </a:lnTo>
                      <a:lnTo>
                        <a:pt x="873" y="861"/>
                      </a:lnTo>
                      <a:lnTo>
                        <a:pt x="872" y="860"/>
                      </a:lnTo>
                      <a:lnTo>
                        <a:pt x="873" y="860"/>
                      </a:lnTo>
                      <a:lnTo>
                        <a:pt x="874" y="860"/>
                      </a:lnTo>
                      <a:lnTo>
                        <a:pt x="874" y="861"/>
                      </a:lnTo>
                      <a:lnTo>
                        <a:pt x="874" y="862"/>
                      </a:lnTo>
                      <a:lnTo>
                        <a:pt x="875" y="862"/>
                      </a:lnTo>
                      <a:lnTo>
                        <a:pt x="875" y="861"/>
                      </a:lnTo>
                      <a:lnTo>
                        <a:pt x="876" y="861"/>
                      </a:lnTo>
                      <a:lnTo>
                        <a:pt x="876" y="862"/>
                      </a:lnTo>
                      <a:lnTo>
                        <a:pt x="875" y="862"/>
                      </a:lnTo>
                      <a:lnTo>
                        <a:pt x="876" y="862"/>
                      </a:lnTo>
                      <a:lnTo>
                        <a:pt x="876" y="863"/>
                      </a:lnTo>
                      <a:lnTo>
                        <a:pt x="876" y="864"/>
                      </a:lnTo>
                      <a:lnTo>
                        <a:pt x="877" y="864"/>
                      </a:lnTo>
                      <a:lnTo>
                        <a:pt x="877" y="865"/>
                      </a:lnTo>
                      <a:lnTo>
                        <a:pt x="876" y="865"/>
                      </a:lnTo>
                      <a:lnTo>
                        <a:pt x="875" y="865"/>
                      </a:lnTo>
                      <a:lnTo>
                        <a:pt x="875" y="866"/>
                      </a:lnTo>
                      <a:lnTo>
                        <a:pt x="875" y="867"/>
                      </a:lnTo>
                      <a:lnTo>
                        <a:pt x="876" y="867"/>
                      </a:lnTo>
                      <a:lnTo>
                        <a:pt x="876" y="868"/>
                      </a:lnTo>
                      <a:lnTo>
                        <a:pt x="875" y="868"/>
                      </a:lnTo>
                      <a:lnTo>
                        <a:pt x="874" y="871"/>
                      </a:lnTo>
                      <a:lnTo>
                        <a:pt x="873" y="872"/>
                      </a:lnTo>
                      <a:lnTo>
                        <a:pt x="874" y="873"/>
                      </a:lnTo>
                      <a:lnTo>
                        <a:pt x="874" y="874"/>
                      </a:lnTo>
                      <a:lnTo>
                        <a:pt x="875" y="875"/>
                      </a:lnTo>
                      <a:lnTo>
                        <a:pt x="876" y="875"/>
                      </a:lnTo>
                      <a:lnTo>
                        <a:pt x="876" y="876"/>
                      </a:lnTo>
                      <a:lnTo>
                        <a:pt x="877" y="876"/>
                      </a:lnTo>
                      <a:lnTo>
                        <a:pt x="878" y="877"/>
                      </a:lnTo>
                      <a:lnTo>
                        <a:pt x="879" y="877"/>
                      </a:lnTo>
                      <a:lnTo>
                        <a:pt x="880" y="877"/>
                      </a:lnTo>
                      <a:lnTo>
                        <a:pt x="880" y="878"/>
                      </a:lnTo>
                      <a:lnTo>
                        <a:pt x="882" y="879"/>
                      </a:lnTo>
                      <a:lnTo>
                        <a:pt x="879" y="880"/>
                      </a:lnTo>
                      <a:lnTo>
                        <a:pt x="876" y="880"/>
                      </a:lnTo>
                      <a:lnTo>
                        <a:pt x="876" y="879"/>
                      </a:lnTo>
                      <a:lnTo>
                        <a:pt x="876" y="878"/>
                      </a:lnTo>
                      <a:lnTo>
                        <a:pt x="876" y="877"/>
                      </a:lnTo>
                      <a:lnTo>
                        <a:pt x="875" y="877"/>
                      </a:lnTo>
                      <a:lnTo>
                        <a:pt x="875" y="876"/>
                      </a:lnTo>
                      <a:lnTo>
                        <a:pt x="874" y="876"/>
                      </a:lnTo>
                      <a:lnTo>
                        <a:pt x="874" y="875"/>
                      </a:lnTo>
                      <a:lnTo>
                        <a:pt x="873" y="875"/>
                      </a:lnTo>
                      <a:lnTo>
                        <a:pt x="873" y="874"/>
                      </a:lnTo>
                      <a:lnTo>
                        <a:pt x="873" y="873"/>
                      </a:lnTo>
                      <a:lnTo>
                        <a:pt x="873" y="872"/>
                      </a:lnTo>
                      <a:lnTo>
                        <a:pt x="872" y="872"/>
                      </a:lnTo>
                      <a:lnTo>
                        <a:pt x="871" y="872"/>
                      </a:lnTo>
                      <a:lnTo>
                        <a:pt x="871" y="871"/>
                      </a:lnTo>
                      <a:lnTo>
                        <a:pt x="870" y="871"/>
                      </a:lnTo>
                      <a:lnTo>
                        <a:pt x="869" y="870"/>
                      </a:lnTo>
                      <a:lnTo>
                        <a:pt x="867" y="870"/>
                      </a:lnTo>
                      <a:lnTo>
                        <a:pt x="866" y="871"/>
                      </a:lnTo>
                      <a:lnTo>
                        <a:pt x="865" y="870"/>
                      </a:lnTo>
                      <a:lnTo>
                        <a:pt x="864" y="868"/>
                      </a:lnTo>
                      <a:lnTo>
                        <a:pt x="863" y="868"/>
                      </a:lnTo>
                      <a:lnTo>
                        <a:pt x="863" y="867"/>
                      </a:lnTo>
                      <a:lnTo>
                        <a:pt x="861" y="867"/>
                      </a:lnTo>
                      <a:lnTo>
                        <a:pt x="859" y="867"/>
                      </a:lnTo>
                      <a:lnTo>
                        <a:pt x="857" y="867"/>
                      </a:lnTo>
                      <a:lnTo>
                        <a:pt x="855" y="867"/>
                      </a:lnTo>
                      <a:lnTo>
                        <a:pt x="855" y="868"/>
                      </a:lnTo>
                      <a:lnTo>
                        <a:pt x="854" y="870"/>
                      </a:lnTo>
                      <a:lnTo>
                        <a:pt x="854" y="871"/>
                      </a:lnTo>
                      <a:lnTo>
                        <a:pt x="855" y="871"/>
                      </a:lnTo>
                      <a:lnTo>
                        <a:pt x="855" y="872"/>
                      </a:lnTo>
                      <a:lnTo>
                        <a:pt x="857" y="872"/>
                      </a:lnTo>
                      <a:lnTo>
                        <a:pt x="857" y="873"/>
                      </a:lnTo>
                      <a:lnTo>
                        <a:pt x="858" y="873"/>
                      </a:lnTo>
                      <a:lnTo>
                        <a:pt x="858" y="874"/>
                      </a:lnTo>
                      <a:lnTo>
                        <a:pt x="859" y="874"/>
                      </a:lnTo>
                      <a:lnTo>
                        <a:pt x="859" y="875"/>
                      </a:lnTo>
                      <a:lnTo>
                        <a:pt x="859" y="876"/>
                      </a:lnTo>
                      <a:lnTo>
                        <a:pt x="859" y="877"/>
                      </a:lnTo>
                      <a:lnTo>
                        <a:pt x="860" y="877"/>
                      </a:lnTo>
                      <a:lnTo>
                        <a:pt x="860" y="878"/>
                      </a:lnTo>
                      <a:lnTo>
                        <a:pt x="860" y="879"/>
                      </a:lnTo>
                      <a:lnTo>
                        <a:pt x="859" y="879"/>
                      </a:lnTo>
                      <a:lnTo>
                        <a:pt x="858" y="880"/>
                      </a:lnTo>
                      <a:lnTo>
                        <a:pt x="857" y="880"/>
                      </a:lnTo>
                      <a:lnTo>
                        <a:pt x="857" y="881"/>
                      </a:lnTo>
                      <a:lnTo>
                        <a:pt x="855" y="881"/>
                      </a:lnTo>
                      <a:lnTo>
                        <a:pt x="855" y="883"/>
                      </a:lnTo>
                      <a:lnTo>
                        <a:pt x="854" y="883"/>
                      </a:lnTo>
                      <a:lnTo>
                        <a:pt x="854" y="884"/>
                      </a:lnTo>
                      <a:lnTo>
                        <a:pt x="854" y="885"/>
                      </a:lnTo>
                      <a:lnTo>
                        <a:pt x="853" y="885"/>
                      </a:lnTo>
                      <a:lnTo>
                        <a:pt x="852" y="885"/>
                      </a:lnTo>
                      <a:lnTo>
                        <a:pt x="851" y="886"/>
                      </a:lnTo>
                      <a:lnTo>
                        <a:pt x="850" y="886"/>
                      </a:lnTo>
                      <a:lnTo>
                        <a:pt x="850" y="885"/>
                      </a:lnTo>
                      <a:lnTo>
                        <a:pt x="851" y="885"/>
                      </a:lnTo>
                      <a:lnTo>
                        <a:pt x="851" y="884"/>
                      </a:lnTo>
                      <a:lnTo>
                        <a:pt x="852" y="881"/>
                      </a:lnTo>
                      <a:lnTo>
                        <a:pt x="851" y="880"/>
                      </a:lnTo>
                      <a:lnTo>
                        <a:pt x="851" y="879"/>
                      </a:lnTo>
                      <a:lnTo>
                        <a:pt x="851" y="878"/>
                      </a:lnTo>
                      <a:lnTo>
                        <a:pt x="851" y="877"/>
                      </a:lnTo>
                      <a:lnTo>
                        <a:pt x="851" y="876"/>
                      </a:lnTo>
                      <a:lnTo>
                        <a:pt x="851" y="875"/>
                      </a:lnTo>
                      <a:lnTo>
                        <a:pt x="851" y="874"/>
                      </a:lnTo>
                      <a:lnTo>
                        <a:pt x="850" y="874"/>
                      </a:lnTo>
                      <a:lnTo>
                        <a:pt x="849" y="874"/>
                      </a:lnTo>
                      <a:lnTo>
                        <a:pt x="849" y="873"/>
                      </a:lnTo>
                      <a:lnTo>
                        <a:pt x="849" y="870"/>
                      </a:lnTo>
                      <a:lnTo>
                        <a:pt x="848" y="870"/>
                      </a:lnTo>
                      <a:lnTo>
                        <a:pt x="848" y="868"/>
                      </a:lnTo>
                      <a:lnTo>
                        <a:pt x="847" y="868"/>
                      </a:lnTo>
                      <a:lnTo>
                        <a:pt x="846" y="868"/>
                      </a:lnTo>
                      <a:lnTo>
                        <a:pt x="842" y="867"/>
                      </a:lnTo>
                      <a:lnTo>
                        <a:pt x="839" y="867"/>
                      </a:lnTo>
                      <a:lnTo>
                        <a:pt x="839" y="868"/>
                      </a:lnTo>
                      <a:lnTo>
                        <a:pt x="838" y="868"/>
                      </a:lnTo>
                      <a:lnTo>
                        <a:pt x="838" y="867"/>
                      </a:lnTo>
                      <a:lnTo>
                        <a:pt x="837" y="867"/>
                      </a:lnTo>
                      <a:lnTo>
                        <a:pt x="838" y="867"/>
                      </a:lnTo>
                      <a:lnTo>
                        <a:pt x="838" y="866"/>
                      </a:lnTo>
                      <a:lnTo>
                        <a:pt x="838" y="865"/>
                      </a:lnTo>
                      <a:lnTo>
                        <a:pt x="839" y="865"/>
                      </a:lnTo>
                      <a:lnTo>
                        <a:pt x="839" y="864"/>
                      </a:lnTo>
                      <a:lnTo>
                        <a:pt x="839" y="863"/>
                      </a:lnTo>
                      <a:lnTo>
                        <a:pt x="840" y="863"/>
                      </a:lnTo>
                      <a:lnTo>
                        <a:pt x="841" y="863"/>
                      </a:lnTo>
                      <a:lnTo>
                        <a:pt x="841" y="862"/>
                      </a:lnTo>
                      <a:lnTo>
                        <a:pt x="842" y="861"/>
                      </a:lnTo>
                      <a:lnTo>
                        <a:pt x="844" y="861"/>
                      </a:lnTo>
                      <a:lnTo>
                        <a:pt x="845" y="861"/>
                      </a:lnTo>
                      <a:lnTo>
                        <a:pt x="846" y="861"/>
                      </a:lnTo>
                      <a:lnTo>
                        <a:pt x="847" y="861"/>
                      </a:lnTo>
                      <a:lnTo>
                        <a:pt x="847" y="860"/>
                      </a:lnTo>
                      <a:lnTo>
                        <a:pt x="848" y="860"/>
                      </a:lnTo>
                      <a:lnTo>
                        <a:pt x="848" y="859"/>
                      </a:lnTo>
                      <a:lnTo>
                        <a:pt x="850" y="860"/>
                      </a:lnTo>
                      <a:lnTo>
                        <a:pt x="851" y="860"/>
                      </a:lnTo>
                      <a:lnTo>
                        <a:pt x="851" y="859"/>
                      </a:lnTo>
                      <a:lnTo>
                        <a:pt x="852" y="859"/>
                      </a:lnTo>
                      <a:lnTo>
                        <a:pt x="853" y="860"/>
                      </a:lnTo>
                      <a:lnTo>
                        <a:pt x="855" y="861"/>
                      </a:lnTo>
                      <a:lnTo>
                        <a:pt x="857" y="861"/>
                      </a:lnTo>
                      <a:lnTo>
                        <a:pt x="858" y="861"/>
                      </a:lnTo>
                      <a:lnTo>
                        <a:pt x="859" y="860"/>
                      </a:lnTo>
                      <a:lnTo>
                        <a:pt x="860" y="860"/>
                      </a:lnTo>
                      <a:lnTo>
                        <a:pt x="860" y="859"/>
                      </a:lnTo>
                      <a:lnTo>
                        <a:pt x="860" y="858"/>
                      </a:lnTo>
                      <a:lnTo>
                        <a:pt x="861" y="858"/>
                      </a:lnTo>
                      <a:lnTo>
                        <a:pt x="861" y="857"/>
                      </a:lnTo>
                      <a:lnTo>
                        <a:pt x="861" y="855"/>
                      </a:lnTo>
                      <a:lnTo>
                        <a:pt x="861" y="854"/>
                      </a:lnTo>
                      <a:lnTo>
                        <a:pt x="862" y="854"/>
                      </a:lnTo>
                      <a:lnTo>
                        <a:pt x="862" y="853"/>
                      </a:lnTo>
                      <a:lnTo>
                        <a:pt x="863" y="854"/>
                      </a:lnTo>
                      <a:lnTo>
                        <a:pt x="863" y="855"/>
                      </a:lnTo>
                      <a:lnTo>
                        <a:pt x="864" y="857"/>
                      </a:lnTo>
                      <a:lnTo>
                        <a:pt x="864" y="858"/>
                      </a:lnTo>
                      <a:lnTo>
                        <a:pt x="864" y="859"/>
                      </a:lnTo>
                      <a:lnTo>
                        <a:pt x="864" y="860"/>
                      </a:lnTo>
                      <a:close/>
                      <a:moveTo>
                        <a:pt x="821" y="809"/>
                      </a:moveTo>
                      <a:lnTo>
                        <a:pt x="821" y="810"/>
                      </a:lnTo>
                      <a:lnTo>
                        <a:pt x="822" y="810"/>
                      </a:lnTo>
                      <a:lnTo>
                        <a:pt x="822" y="809"/>
                      </a:lnTo>
                      <a:lnTo>
                        <a:pt x="822" y="810"/>
                      </a:lnTo>
                      <a:lnTo>
                        <a:pt x="823" y="811"/>
                      </a:lnTo>
                      <a:lnTo>
                        <a:pt x="824" y="811"/>
                      </a:lnTo>
                      <a:lnTo>
                        <a:pt x="825" y="812"/>
                      </a:lnTo>
                      <a:lnTo>
                        <a:pt x="826" y="812"/>
                      </a:lnTo>
                      <a:lnTo>
                        <a:pt x="826" y="813"/>
                      </a:lnTo>
                      <a:lnTo>
                        <a:pt x="826" y="814"/>
                      </a:lnTo>
                      <a:lnTo>
                        <a:pt x="826" y="815"/>
                      </a:lnTo>
                      <a:lnTo>
                        <a:pt x="826" y="816"/>
                      </a:lnTo>
                      <a:lnTo>
                        <a:pt x="826" y="817"/>
                      </a:lnTo>
                      <a:lnTo>
                        <a:pt x="827" y="819"/>
                      </a:lnTo>
                      <a:lnTo>
                        <a:pt x="827" y="820"/>
                      </a:lnTo>
                      <a:lnTo>
                        <a:pt x="827" y="821"/>
                      </a:lnTo>
                      <a:lnTo>
                        <a:pt x="827" y="822"/>
                      </a:lnTo>
                      <a:lnTo>
                        <a:pt x="827" y="823"/>
                      </a:lnTo>
                      <a:lnTo>
                        <a:pt x="827" y="825"/>
                      </a:lnTo>
                      <a:lnTo>
                        <a:pt x="828" y="825"/>
                      </a:lnTo>
                      <a:lnTo>
                        <a:pt x="827" y="826"/>
                      </a:lnTo>
                      <a:lnTo>
                        <a:pt x="827" y="827"/>
                      </a:lnTo>
                      <a:lnTo>
                        <a:pt x="826" y="827"/>
                      </a:lnTo>
                      <a:lnTo>
                        <a:pt x="825" y="829"/>
                      </a:lnTo>
                      <a:lnTo>
                        <a:pt x="824" y="831"/>
                      </a:lnTo>
                      <a:lnTo>
                        <a:pt x="824" y="832"/>
                      </a:lnTo>
                      <a:lnTo>
                        <a:pt x="823" y="833"/>
                      </a:lnTo>
                      <a:lnTo>
                        <a:pt x="823" y="834"/>
                      </a:lnTo>
                      <a:lnTo>
                        <a:pt x="822" y="834"/>
                      </a:lnTo>
                      <a:lnTo>
                        <a:pt x="822" y="835"/>
                      </a:lnTo>
                      <a:lnTo>
                        <a:pt x="821" y="836"/>
                      </a:lnTo>
                      <a:lnTo>
                        <a:pt x="821" y="837"/>
                      </a:lnTo>
                      <a:lnTo>
                        <a:pt x="820" y="837"/>
                      </a:lnTo>
                      <a:lnTo>
                        <a:pt x="820" y="838"/>
                      </a:lnTo>
                      <a:lnTo>
                        <a:pt x="819" y="839"/>
                      </a:lnTo>
                      <a:lnTo>
                        <a:pt x="819" y="838"/>
                      </a:lnTo>
                      <a:lnTo>
                        <a:pt x="819" y="837"/>
                      </a:lnTo>
                      <a:lnTo>
                        <a:pt x="818" y="837"/>
                      </a:lnTo>
                      <a:lnTo>
                        <a:pt x="816" y="837"/>
                      </a:lnTo>
                      <a:lnTo>
                        <a:pt x="815" y="837"/>
                      </a:lnTo>
                      <a:lnTo>
                        <a:pt x="814" y="837"/>
                      </a:lnTo>
                      <a:lnTo>
                        <a:pt x="814" y="836"/>
                      </a:lnTo>
                      <a:lnTo>
                        <a:pt x="815" y="836"/>
                      </a:lnTo>
                      <a:lnTo>
                        <a:pt x="816" y="836"/>
                      </a:lnTo>
                      <a:lnTo>
                        <a:pt x="816" y="835"/>
                      </a:lnTo>
                      <a:lnTo>
                        <a:pt x="815" y="835"/>
                      </a:lnTo>
                      <a:lnTo>
                        <a:pt x="815" y="836"/>
                      </a:lnTo>
                      <a:lnTo>
                        <a:pt x="814" y="836"/>
                      </a:lnTo>
                      <a:lnTo>
                        <a:pt x="814" y="835"/>
                      </a:lnTo>
                      <a:lnTo>
                        <a:pt x="814" y="833"/>
                      </a:lnTo>
                      <a:lnTo>
                        <a:pt x="815" y="833"/>
                      </a:lnTo>
                      <a:lnTo>
                        <a:pt x="815" y="832"/>
                      </a:lnTo>
                      <a:lnTo>
                        <a:pt x="815" y="831"/>
                      </a:lnTo>
                      <a:lnTo>
                        <a:pt x="815" y="829"/>
                      </a:lnTo>
                      <a:lnTo>
                        <a:pt x="815" y="828"/>
                      </a:lnTo>
                      <a:lnTo>
                        <a:pt x="815" y="829"/>
                      </a:lnTo>
                      <a:lnTo>
                        <a:pt x="814" y="829"/>
                      </a:lnTo>
                      <a:lnTo>
                        <a:pt x="814" y="828"/>
                      </a:lnTo>
                      <a:lnTo>
                        <a:pt x="814" y="827"/>
                      </a:lnTo>
                      <a:lnTo>
                        <a:pt x="813" y="827"/>
                      </a:lnTo>
                      <a:lnTo>
                        <a:pt x="814" y="829"/>
                      </a:lnTo>
                      <a:lnTo>
                        <a:pt x="813" y="829"/>
                      </a:lnTo>
                      <a:lnTo>
                        <a:pt x="813" y="828"/>
                      </a:lnTo>
                      <a:lnTo>
                        <a:pt x="813" y="827"/>
                      </a:lnTo>
                      <a:lnTo>
                        <a:pt x="813" y="826"/>
                      </a:lnTo>
                      <a:lnTo>
                        <a:pt x="812" y="826"/>
                      </a:lnTo>
                      <a:lnTo>
                        <a:pt x="812" y="825"/>
                      </a:lnTo>
                      <a:lnTo>
                        <a:pt x="811" y="825"/>
                      </a:lnTo>
                      <a:lnTo>
                        <a:pt x="810" y="825"/>
                      </a:lnTo>
                      <a:lnTo>
                        <a:pt x="810" y="824"/>
                      </a:lnTo>
                      <a:lnTo>
                        <a:pt x="809" y="824"/>
                      </a:lnTo>
                      <a:lnTo>
                        <a:pt x="808" y="824"/>
                      </a:lnTo>
                      <a:lnTo>
                        <a:pt x="807" y="823"/>
                      </a:lnTo>
                      <a:lnTo>
                        <a:pt x="807" y="822"/>
                      </a:lnTo>
                      <a:lnTo>
                        <a:pt x="807" y="821"/>
                      </a:lnTo>
                      <a:lnTo>
                        <a:pt x="806" y="821"/>
                      </a:lnTo>
                      <a:lnTo>
                        <a:pt x="805" y="821"/>
                      </a:lnTo>
                      <a:lnTo>
                        <a:pt x="803" y="821"/>
                      </a:lnTo>
                      <a:lnTo>
                        <a:pt x="802" y="821"/>
                      </a:lnTo>
                      <a:lnTo>
                        <a:pt x="803" y="821"/>
                      </a:lnTo>
                      <a:lnTo>
                        <a:pt x="803" y="820"/>
                      </a:lnTo>
                      <a:lnTo>
                        <a:pt x="803" y="819"/>
                      </a:lnTo>
                      <a:lnTo>
                        <a:pt x="805" y="817"/>
                      </a:lnTo>
                      <a:lnTo>
                        <a:pt x="805" y="816"/>
                      </a:lnTo>
                      <a:lnTo>
                        <a:pt x="806" y="816"/>
                      </a:lnTo>
                      <a:lnTo>
                        <a:pt x="807" y="817"/>
                      </a:lnTo>
                      <a:lnTo>
                        <a:pt x="808" y="817"/>
                      </a:lnTo>
                      <a:lnTo>
                        <a:pt x="809" y="817"/>
                      </a:lnTo>
                      <a:lnTo>
                        <a:pt x="809" y="816"/>
                      </a:lnTo>
                      <a:lnTo>
                        <a:pt x="810" y="817"/>
                      </a:lnTo>
                      <a:lnTo>
                        <a:pt x="810" y="816"/>
                      </a:lnTo>
                      <a:lnTo>
                        <a:pt x="811" y="816"/>
                      </a:lnTo>
                      <a:lnTo>
                        <a:pt x="811" y="817"/>
                      </a:lnTo>
                      <a:lnTo>
                        <a:pt x="812" y="817"/>
                      </a:lnTo>
                      <a:lnTo>
                        <a:pt x="813" y="817"/>
                      </a:lnTo>
                      <a:lnTo>
                        <a:pt x="813" y="816"/>
                      </a:lnTo>
                      <a:lnTo>
                        <a:pt x="814" y="816"/>
                      </a:lnTo>
                      <a:lnTo>
                        <a:pt x="814" y="815"/>
                      </a:lnTo>
                      <a:lnTo>
                        <a:pt x="815" y="815"/>
                      </a:lnTo>
                      <a:lnTo>
                        <a:pt x="815" y="814"/>
                      </a:lnTo>
                      <a:lnTo>
                        <a:pt x="814" y="813"/>
                      </a:lnTo>
                      <a:lnTo>
                        <a:pt x="814" y="812"/>
                      </a:lnTo>
                      <a:lnTo>
                        <a:pt x="814" y="811"/>
                      </a:lnTo>
                      <a:lnTo>
                        <a:pt x="814" y="810"/>
                      </a:lnTo>
                      <a:lnTo>
                        <a:pt x="814" y="809"/>
                      </a:lnTo>
                      <a:lnTo>
                        <a:pt x="814" y="808"/>
                      </a:lnTo>
                      <a:lnTo>
                        <a:pt x="815" y="808"/>
                      </a:lnTo>
                      <a:lnTo>
                        <a:pt x="816" y="808"/>
                      </a:lnTo>
                      <a:lnTo>
                        <a:pt x="815" y="808"/>
                      </a:lnTo>
                      <a:lnTo>
                        <a:pt x="816" y="809"/>
                      </a:lnTo>
                      <a:lnTo>
                        <a:pt x="816" y="808"/>
                      </a:lnTo>
                      <a:lnTo>
                        <a:pt x="818" y="808"/>
                      </a:lnTo>
                      <a:lnTo>
                        <a:pt x="819" y="808"/>
                      </a:lnTo>
                      <a:lnTo>
                        <a:pt x="819" y="807"/>
                      </a:lnTo>
                      <a:lnTo>
                        <a:pt x="820" y="807"/>
                      </a:lnTo>
                      <a:lnTo>
                        <a:pt x="821" y="806"/>
                      </a:lnTo>
                      <a:lnTo>
                        <a:pt x="821" y="807"/>
                      </a:lnTo>
                      <a:lnTo>
                        <a:pt x="821" y="808"/>
                      </a:lnTo>
                      <a:lnTo>
                        <a:pt x="821" y="809"/>
                      </a:lnTo>
                      <a:close/>
                      <a:moveTo>
                        <a:pt x="939" y="1025"/>
                      </a:moveTo>
                      <a:lnTo>
                        <a:pt x="940" y="1026"/>
                      </a:lnTo>
                      <a:lnTo>
                        <a:pt x="941" y="1027"/>
                      </a:lnTo>
                      <a:lnTo>
                        <a:pt x="941" y="1028"/>
                      </a:lnTo>
                      <a:lnTo>
                        <a:pt x="941" y="1029"/>
                      </a:lnTo>
                      <a:lnTo>
                        <a:pt x="941" y="1030"/>
                      </a:lnTo>
                      <a:lnTo>
                        <a:pt x="941" y="1031"/>
                      </a:lnTo>
                      <a:lnTo>
                        <a:pt x="940" y="1032"/>
                      </a:lnTo>
                      <a:lnTo>
                        <a:pt x="939" y="1033"/>
                      </a:lnTo>
                      <a:lnTo>
                        <a:pt x="939" y="1034"/>
                      </a:lnTo>
                      <a:lnTo>
                        <a:pt x="939" y="1035"/>
                      </a:lnTo>
                      <a:lnTo>
                        <a:pt x="938" y="1035"/>
                      </a:lnTo>
                      <a:lnTo>
                        <a:pt x="938" y="1037"/>
                      </a:lnTo>
                      <a:lnTo>
                        <a:pt x="937" y="1037"/>
                      </a:lnTo>
                      <a:lnTo>
                        <a:pt x="936" y="1038"/>
                      </a:lnTo>
                      <a:lnTo>
                        <a:pt x="934" y="1039"/>
                      </a:lnTo>
                      <a:lnTo>
                        <a:pt x="931" y="1040"/>
                      </a:lnTo>
                      <a:lnTo>
                        <a:pt x="930" y="1041"/>
                      </a:lnTo>
                      <a:lnTo>
                        <a:pt x="929" y="1042"/>
                      </a:lnTo>
                      <a:lnTo>
                        <a:pt x="928" y="1042"/>
                      </a:lnTo>
                      <a:lnTo>
                        <a:pt x="927" y="1042"/>
                      </a:lnTo>
                      <a:lnTo>
                        <a:pt x="926" y="1043"/>
                      </a:lnTo>
                      <a:lnTo>
                        <a:pt x="925" y="1044"/>
                      </a:lnTo>
                      <a:lnTo>
                        <a:pt x="923" y="1045"/>
                      </a:lnTo>
                      <a:lnTo>
                        <a:pt x="922" y="1046"/>
                      </a:lnTo>
                      <a:lnTo>
                        <a:pt x="921" y="1046"/>
                      </a:lnTo>
                      <a:lnTo>
                        <a:pt x="919" y="1047"/>
                      </a:lnTo>
                      <a:lnTo>
                        <a:pt x="917" y="1048"/>
                      </a:lnTo>
                      <a:lnTo>
                        <a:pt x="917" y="1050"/>
                      </a:lnTo>
                      <a:lnTo>
                        <a:pt x="916" y="1050"/>
                      </a:lnTo>
                      <a:lnTo>
                        <a:pt x="916" y="1051"/>
                      </a:lnTo>
                      <a:lnTo>
                        <a:pt x="914" y="1052"/>
                      </a:lnTo>
                      <a:lnTo>
                        <a:pt x="913" y="1052"/>
                      </a:lnTo>
                      <a:lnTo>
                        <a:pt x="912" y="1053"/>
                      </a:lnTo>
                      <a:lnTo>
                        <a:pt x="911" y="1054"/>
                      </a:lnTo>
                      <a:lnTo>
                        <a:pt x="909" y="1055"/>
                      </a:lnTo>
                      <a:lnTo>
                        <a:pt x="906" y="1056"/>
                      </a:lnTo>
                      <a:lnTo>
                        <a:pt x="903" y="1058"/>
                      </a:lnTo>
                      <a:lnTo>
                        <a:pt x="898" y="1063"/>
                      </a:lnTo>
                      <a:lnTo>
                        <a:pt x="893" y="1066"/>
                      </a:lnTo>
                      <a:lnTo>
                        <a:pt x="890" y="1068"/>
                      </a:lnTo>
                      <a:lnTo>
                        <a:pt x="889" y="1070"/>
                      </a:lnTo>
                      <a:lnTo>
                        <a:pt x="885" y="1074"/>
                      </a:lnTo>
                      <a:lnTo>
                        <a:pt x="884" y="1074"/>
                      </a:lnTo>
                      <a:lnTo>
                        <a:pt x="884" y="1073"/>
                      </a:lnTo>
                      <a:lnTo>
                        <a:pt x="883" y="1073"/>
                      </a:lnTo>
                      <a:lnTo>
                        <a:pt x="883" y="1072"/>
                      </a:lnTo>
                      <a:lnTo>
                        <a:pt x="884" y="1071"/>
                      </a:lnTo>
                      <a:lnTo>
                        <a:pt x="885" y="1071"/>
                      </a:lnTo>
                      <a:lnTo>
                        <a:pt x="886" y="1070"/>
                      </a:lnTo>
                      <a:lnTo>
                        <a:pt x="887" y="1070"/>
                      </a:lnTo>
                      <a:lnTo>
                        <a:pt x="887" y="1069"/>
                      </a:lnTo>
                      <a:lnTo>
                        <a:pt x="887" y="1068"/>
                      </a:lnTo>
                      <a:lnTo>
                        <a:pt x="888" y="1069"/>
                      </a:lnTo>
                      <a:lnTo>
                        <a:pt x="888" y="1068"/>
                      </a:lnTo>
                      <a:lnTo>
                        <a:pt x="889" y="1068"/>
                      </a:lnTo>
                      <a:lnTo>
                        <a:pt x="888" y="1068"/>
                      </a:lnTo>
                      <a:lnTo>
                        <a:pt x="888" y="1067"/>
                      </a:lnTo>
                      <a:lnTo>
                        <a:pt x="889" y="1068"/>
                      </a:lnTo>
                      <a:lnTo>
                        <a:pt x="888" y="1067"/>
                      </a:lnTo>
                      <a:lnTo>
                        <a:pt x="889" y="1068"/>
                      </a:lnTo>
                      <a:lnTo>
                        <a:pt x="889" y="1067"/>
                      </a:lnTo>
                      <a:lnTo>
                        <a:pt x="888" y="1067"/>
                      </a:lnTo>
                      <a:lnTo>
                        <a:pt x="889" y="1067"/>
                      </a:lnTo>
                      <a:lnTo>
                        <a:pt x="889" y="1066"/>
                      </a:lnTo>
                      <a:lnTo>
                        <a:pt x="890" y="1066"/>
                      </a:lnTo>
                      <a:lnTo>
                        <a:pt x="890" y="1065"/>
                      </a:lnTo>
                      <a:lnTo>
                        <a:pt x="890" y="1066"/>
                      </a:lnTo>
                      <a:lnTo>
                        <a:pt x="891" y="1065"/>
                      </a:lnTo>
                      <a:lnTo>
                        <a:pt x="892" y="1064"/>
                      </a:lnTo>
                      <a:lnTo>
                        <a:pt x="891" y="1064"/>
                      </a:lnTo>
                      <a:lnTo>
                        <a:pt x="892" y="1064"/>
                      </a:lnTo>
                      <a:lnTo>
                        <a:pt x="892" y="1063"/>
                      </a:lnTo>
                      <a:lnTo>
                        <a:pt x="893" y="1063"/>
                      </a:lnTo>
                      <a:lnTo>
                        <a:pt x="893" y="1061"/>
                      </a:lnTo>
                      <a:lnTo>
                        <a:pt x="895" y="1061"/>
                      </a:lnTo>
                      <a:lnTo>
                        <a:pt x="893" y="1061"/>
                      </a:lnTo>
                      <a:lnTo>
                        <a:pt x="895" y="1061"/>
                      </a:lnTo>
                      <a:lnTo>
                        <a:pt x="895" y="1060"/>
                      </a:lnTo>
                      <a:lnTo>
                        <a:pt x="896" y="1060"/>
                      </a:lnTo>
                      <a:lnTo>
                        <a:pt x="896" y="1059"/>
                      </a:lnTo>
                      <a:lnTo>
                        <a:pt x="897" y="1059"/>
                      </a:lnTo>
                      <a:lnTo>
                        <a:pt x="897" y="1058"/>
                      </a:lnTo>
                      <a:lnTo>
                        <a:pt x="897" y="1057"/>
                      </a:lnTo>
                      <a:lnTo>
                        <a:pt x="898" y="1057"/>
                      </a:lnTo>
                      <a:lnTo>
                        <a:pt x="897" y="1057"/>
                      </a:lnTo>
                      <a:lnTo>
                        <a:pt x="897" y="1056"/>
                      </a:lnTo>
                      <a:lnTo>
                        <a:pt x="898" y="1057"/>
                      </a:lnTo>
                      <a:lnTo>
                        <a:pt x="897" y="1057"/>
                      </a:lnTo>
                      <a:lnTo>
                        <a:pt x="898" y="1057"/>
                      </a:lnTo>
                      <a:lnTo>
                        <a:pt x="898" y="1056"/>
                      </a:lnTo>
                      <a:lnTo>
                        <a:pt x="898" y="1057"/>
                      </a:lnTo>
                      <a:lnTo>
                        <a:pt x="898" y="1056"/>
                      </a:lnTo>
                      <a:lnTo>
                        <a:pt x="898" y="1055"/>
                      </a:lnTo>
                      <a:lnTo>
                        <a:pt x="898" y="1056"/>
                      </a:lnTo>
                      <a:lnTo>
                        <a:pt x="899" y="1055"/>
                      </a:lnTo>
                      <a:lnTo>
                        <a:pt x="900" y="1055"/>
                      </a:lnTo>
                      <a:lnTo>
                        <a:pt x="900" y="1054"/>
                      </a:lnTo>
                      <a:lnTo>
                        <a:pt x="899" y="1054"/>
                      </a:lnTo>
                      <a:lnTo>
                        <a:pt x="900" y="1054"/>
                      </a:lnTo>
                      <a:lnTo>
                        <a:pt x="899" y="1054"/>
                      </a:lnTo>
                      <a:lnTo>
                        <a:pt x="900" y="1054"/>
                      </a:lnTo>
                      <a:lnTo>
                        <a:pt x="901" y="1055"/>
                      </a:lnTo>
                      <a:lnTo>
                        <a:pt x="900" y="1054"/>
                      </a:lnTo>
                      <a:lnTo>
                        <a:pt x="900" y="1053"/>
                      </a:lnTo>
                      <a:lnTo>
                        <a:pt x="900" y="1052"/>
                      </a:lnTo>
                      <a:lnTo>
                        <a:pt x="900" y="1053"/>
                      </a:lnTo>
                      <a:lnTo>
                        <a:pt x="901" y="1052"/>
                      </a:lnTo>
                      <a:lnTo>
                        <a:pt x="902" y="1052"/>
                      </a:lnTo>
                      <a:lnTo>
                        <a:pt x="902" y="1053"/>
                      </a:lnTo>
                      <a:lnTo>
                        <a:pt x="902" y="1054"/>
                      </a:lnTo>
                      <a:lnTo>
                        <a:pt x="902" y="1053"/>
                      </a:lnTo>
                      <a:lnTo>
                        <a:pt x="902" y="1052"/>
                      </a:lnTo>
                      <a:lnTo>
                        <a:pt x="903" y="1052"/>
                      </a:lnTo>
                      <a:lnTo>
                        <a:pt x="902" y="1052"/>
                      </a:lnTo>
                      <a:lnTo>
                        <a:pt x="903" y="1052"/>
                      </a:lnTo>
                      <a:lnTo>
                        <a:pt x="903" y="1051"/>
                      </a:lnTo>
                      <a:lnTo>
                        <a:pt x="904" y="1051"/>
                      </a:lnTo>
                      <a:lnTo>
                        <a:pt x="905" y="1051"/>
                      </a:lnTo>
                      <a:lnTo>
                        <a:pt x="905" y="1050"/>
                      </a:lnTo>
                      <a:lnTo>
                        <a:pt x="906" y="1050"/>
                      </a:lnTo>
                      <a:lnTo>
                        <a:pt x="906" y="1051"/>
                      </a:lnTo>
                      <a:lnTo>
                        <a:pt x="908" y="1051"/>
                      </a:lnTo>
                      <a:lnTo>
                        <a:pt x="906" y="1051"/>
                      </a:lnTo>
                      <a:lnTo>
                        <a:pt x="906" y="1050"/>
                      </a:lnTo>
                      <a:lnTo>
                        <a:pt x="906" y="1051"/>
                      </a:lnTo>
                      <a:lnTo>
                        <a:pt x="906" y="1050"/>
                      </a:lnTo>
                      <a:lnTo>
                        <a:pt x="908" y="1050"/>
                      </a:lnTo>
                      <a:lnTo>
                        <a:pt x="906" y="1050"/>
                      </a:lnTo>
                      <a:lnTo>
                        <a:pt x="906" y="1048"/>
                      </a:lnTo>
                      <a:lnTo>
                        <a:pt x="906" y="1050"/>
                      </a:lnTo>
                      <a:lnTo>
                        <a:pt x="906" y="1048"/>
                      </a:lnTo>
                      <a:lnTo>
                        <a:pt x="906" y="1047"/>
                      </a:lnTo>
                      <a:lnTo>
                        <a:pt x="908" y="1047"/>
                      </a:lnTo>
                      <a:lnTo>
                        <a:pt x="908" y="1046"/>
                      </a:lnTo>
                      <a:lnTo>
                        <a:pt x="909" y="1046"/>
                      </a:lnTo>
                      <a:lnTo>
                        <a:pt x="910" y="1046"/>
                      </a:lnTo>
                      <a:lnTo>
                        <a:pt x="911" y="1046"/>
                      </a:lnTo>
                      <a:lnTo>
                        <a:pt x="911" y="1045"/>
                      </a:lnTo>
                      <a:lnTo>
                        <a:pt x="911" y="1046"/>
                      </a:lnTo>
                      <a:lnTo>
                        <a:pt x="911" y="1045"/>
                      </a:lnTo>
                      <a:lnTo>
                        <a:pt x="912" y="1046"/>
                      </a:lnTo>
                      <a:lnTo>
                        <a:pt x="912" y="1045"/>
                      </a:lnTo>
                      <a:lnTo>
                        <a:pt x="913" y="1045"/>
                      </a:lnTo>
                      <a:lnTo>
                        <a:pt x="914" y="1045"/>
                      </a:lnTo>
                      <a:lnTo>
                        <a:pt x="914" y="1044"/>
                      </a:lnTo>
                      <a:lnTo>
                        <a:pt x="915" y="1044"/>
                      </a:lnTo>
                      <a:lnTo>
                        <a:pt x="916" y="1044"/>
                      </a:lnTo>
                      <a:lnTo>
                        <a:pt x="915" y="1043"/>
                      </a:lnTo>
                      <a:lnTo>
                        <a:pt x="916" y="1043"/>
                      </a:lnTo>
                      <a:lnTo>
                        <a:pt x="916" y="1044"/>
                      </a:lnTo>
                      <a:lnTo>
                        <a:pt x="916" y="1043"/>
                      </a:lnTo>
                      <a:lnTo>
                        <a:pt x="917" y="1043"/>
                      </a:lnTo>
                      <a:lnTo>
                        <a:pt x="917" y="1042"/>
                      </a:lnTo>
                      <a:lnTo>
                        <a:pt x="918" y="1042"/>
                      </a:lnTo>
                      <a:lnTo>
                        <a:pt x="918" y="1041"/>
                      </a:lnTo>
                      <a:lnTo>
                        <a:pt x="919" y="1041"/>
                      </a:lnTo>
                      <a:lnTo>
                        <a:pt x="921" y="1041"/>
                      </a:lnTo>
                      <a:lnTo>
                        <a:pt x="921" y="1040"/>
                      </a:lnTo>
                      <a:lnTo>
                        <a:pt x="922" y="1040"/>
                      </a:lnTo>
                      <a:lnTo>
                        <a:pt x="922" y="1039"/>
                      </a:lnTo>
                      <a:lnTo>
                        <a:pt x="923" y="1039"/>
                      </a:lnTo>
                      <a:lnTo>
                        <a:pt x="924" y="1038"/>
                      </a:lnTo>
                      <a:lnTo>
                        <a:pt x="924" y="1037"/>
                      </a:lnTo>
                      <a:lnTo>
                        <a:pt x="925" y="1037"/>
                      </a:lnTo>
                      <a:lnTo>
                        <a:pt x="925" y="1038"/>
                      </a:lnTo>
                      <a:lnTo>
                        <a:pt x="925" y="1037"/>
                      </a:lnTo>
                      <a:lnTo>
                        <a:pt x="928" y="1035"/>
                      </a:lnTo>
                      <a:lnTo>
                        <a:pt x="929" y="1037"/>
                      </a:lnTo>
                      <a:lnTo>
                        <a:pt x="930" y="1035"/>
                      </a:lnTo>
                      <a:lnTo>
                        <a:pt x="929" y="1035"/>
                      </a:lnTo>
                      <a:lnTo>
                        <a:pt x="930" y="1033"/>
                      </a:lnTo>
                      <a:lnTo>
                        <a:pt x="931" y="1033"/>
                      </a:lnTo>
                      <a:lnTo>
                        <a:pt x="931" y="1032"/>
                      </a:lnTo>
                      <a:lnTo>
                        <a:pt x="931" y="1033"/>
                      </a:lnTo>
                      <a:lnTo>
                        <a:pt x="931" y="1032"/>
                      </a:lnTo>
                      <a:lnTo>
                        <a:pt x="932" y="1031"/>
                      </a:lnTo>
                      <a:lnTo>
                        <a:pt x="932" y="1030"/>
                      </a:lnTo>
                      <a:lnTo>
                        <a:pt x="934" y="1030"/>
                      </a:lnTo>
                      <a:lnTo>
                        <a:pt x="932" y="1030"/>
                      </a:lnTo>
                      <a:lnTo>
                        <a:pt x="934" y="1030"/>
                      </a:lnTo>
                      <a:lnTo>
                        <a:pt x="935" y="1029"/>
                      </a:lnTo>
                      <a:lnTo>
                        <a:pt x="936" y="1029"/>
                      </a:lnTo>
                      <a:lnTo>
                        <a:pt x="935" y="1029"/>
                      </a:lnTo>
                      <a:lnTo>
                        <a:pt x="936" y="1029"/>
                      </a:lnTo>
                      <a:lnTo>
                        <a:pt x="936" y="1030"/>
                      </a:lnTo>
                      <a:lnTo>
                        <a:pt x="936" y="1031"/>
                      </a:lnTo>
                      <a:lnTo>
                        <a:pt x="936" y="1030"/>
                      </a:lnTo>
                      <a:lnTo>
                        <a:pt x="937" y="1030"/>
                      </a:lnTo>
                      <a:lnTo>
                        <a:pt x="936" y="1031"/>
                      </a:lnTo>
                      <a:lnTo>
                        <a:pt x="937" y="1030"/>
                      </a:lnTo>
                      <a:lnTo>
                        <a:pt x="936" y="1030"/>
                      </a:lnTo>
                      <a:lnTo>
                        <a:pt x="936" y="1029"/>
                      </a:lnTo>
                      <a:lnTo>
                        <a:pt x="937" y="1029"/>
                      </a:lnTo>
                      <a:lnTo>
                        <a:pt x="936" y="1029"/>
                      </a:lnTo>
                      <a:lnTo>
                        <a:pt x="936" y="1028"/>
                      </a:lnTo>
                      <a:lnTo>
                        <a:pt x="936" y="1027"/>
                      </a:lnTo>
                      <a:lnTo>
                        <a:pt x="937" y="1027"/>
                      </a:lnTo>
                      <a:lnTo>
                        <a:pt x="938" y="1027"/>
                      </a:lnTo>
                      <a:lnTo>
                        <a:pt x="938" y="1028"/>
                      </a:lnTo>
                      <a:lnTo>
                        <a:pt x="939" y="1027"/>
                      </a:lnTo>
                      <a:lnTo>
                        <a:pt x="940" y="1028"/>
                      </a:lnTo>
                      <a:lnTo>
                        <a:pt x="940" y="1027"/>
                      </a:lnTo>
                      <a:lnTo>
                        <a:pt x="940" y="1026"/>
                      </a:lnTo>
                      <a:lnTo>
                        <a:pt x="939" y="1026"/>
                      </a:lnTo>
                      <a:lnTo>
                        <a:pt x="938" y="1026"/>
                      </a:lnTo>
                      <a:lnTo>
                        <a:pt x="937" y="1026"/>
                      </a:lnTo>
                      <a:lnTo>
                        <a:pt x="937" y="1025"/>
                      </a:lnTo>
                      <a:lnTo>
                        <a:pt x="938" y="1025"/>
                      </a:lnTo>
                      <a:lnTo>
                        <a:pt x="939" y="1025"/>
                      </a:lnTo>
                      <a:close/>
                      <a:moveTo>
                        <a:pt x="874" y="880"/>
                      </a:moveTo>
                      <a:lnTo>
                        <a:pt x="875" y="881"/>
                      </a:lnTo>
                      <a:lnTo>
                        <a:pt x="876" y="881"/>
                      </a:lnTo>
                      <a:lnTo>
                        <a:pt x="876" y="883"/>
                      </a:lnTo>
                      <a:lnTo>
                        <a:pt x="876" y="881"/>
                      </a:lnTo>
                      <a:lnTo>
                        <a:pt x="877" y="881"/>
                      </a:lnTo>
                      <a:lnTo>
                        <a:pt x="878" y="883"/>
                      </a:lnTo>
                      <a:lnTo>
                        <a:pt x="879" y="883"/>
                      </a:lnTo>
                      <a:lnTo>
                        <a:pt x="880" y="883"/>
                      </a:lnTo>
                      <a:lnTo>
                        <a:pt x="880" y="881"/>
                      </a:lnTo>
                      <a:lnTo>
                        <a:pt x="882" y="881"/>
                      </a:lnTo>
                      <a:lnTo>
                        <a:pt x="883" y="881"/>
                      </a:lnTo>
                      <a:lnTo>
                        <a:pt x="884" y="881"/>
                      </a:lnTo>
                      <a:lnTo>
                        <a:pt x="885" y="881"/>
                      </a:lnTo>
                      <a:lnTo>
                        <a:pt x="886" y="881"/>
                      </a:lnTo>
                      <a:lnTo>
                        <a:pt x="887" y="880"/>
                      </a:lnTo>
                      <a:lnTo>
                        <a:pt x="887" y="881"/>
                      </a:lnTo>
                      <a:lnTo>
                        <a:pt x="888" y="881"/>
                      </a:lnTo>
                      <a:lnTo>
                        <a:pt x="888" y="883"/>
                      </a:lnTo>
                      <a:lnTo>
                        <a:pt x="889" y="883"/>
                      </a:lnTo>
                      <a:lnTo>
                        <a:pt x="890" y="883"/>
                      </a:lnTo>
                      <a:lnTo>
                        <a:pt x="890" y="884"/>
                      </a:lnTo>
                      <a:lnTo>
                        <a:pt x="892" y="885"/>
                      </a:lnTo>
                      <a:lnTo>
                        <a:pt x="893" y="885"/>
                      </a:lnTo>
                      <a:lnTo>
                        <a:pt x="895" y="884"/>
                      </a:lnTo>
                      <a:lnTo>
                        <a:pt x="893" y="884"/>
                      </a:lnTo>
                      <a:lnTo>
                        <a:pt x="895" y="884"/>
                      </a:lnTo>
                      <a:lnTo>
                        <a:pt x="895" y="883"/>
                      </a:lnTo>
                      <a:lnTo>
                        <a:pt x="896" y="883"/>
                      </a:lnTo>
                      <a:lnTo>
                        <a:pt x="896" y="884"/>
                      </a:lnTo>
                      <a:lnTo>
                        <a:pt x="895" y="884"/>
                      </a:lnTo>
                      <a:lnTo>
                        <a:pt x="896" y="884"/>
                      </a:lnTo>
                      <a:lnTo>
                        <a:pt x="896" y="885"/>
                      </a:lnTo>
                      <a:lnTo>
                        <a:pt x="896" y="886"/>
                      </a:lnTo>
                      <a:lnTo>
                        <a:pt x="896" y="887"/>
                      </a:lnTo>
                      <a:lnTo>
                        <a:pt x="895" y="887"/>
                      </a:lnTo>
                      <a:lnTo>
                        <a:pt x="896" y="887"/>
                      </a:lnTo>
                      <a:lnTo>
                        <a:pt x="896" y="888"/>
                      </a:lnTo>
                      <a:lnTo>
                        <a:pt x="897" y="888"/>
                      </a:lnTo>
                      <a:lnTo>
                        <a:pt x="898" y="889"/>
                      </a:lnTo>
                      <a:lnTo>
                        <a:pt x="899" y="889"/>
                      </a:lnTo>
                      <a:lnTo>
                        <a:pt x="899" y="890"/>
                      </a:lnTo>
                      <a:lnTo>
                        <a:pt x="900" y="890"/>
                      </a:lnTo>
                      <a:lnTo>
                        <a:pt x="900" y="891"/>
                      </a:lnTo>
                      <a:lnTo>
                        <a:pt x="900" y="892"/>
                      </a:lnTo>
                      <a:lnTo>
                        <a:pt x="901" y="893"/>
                      </a:lnTo>
                      <a:lnTo>
                        <a:pt x="901" y="894"/>
                      </a:lnTo>
                      <a:lnTo>
                        <a:pt x="901" y="896"/>
                      </a:lnTo>
                      <a:lnTo>
                        <a:pt x="902" y="896"/>
                      </a:lnTo>
                      <a:lnTo>
                        <a:pt x="902" y="897"/>
                      </a:lnTo>
                      <a:lnTo>
                        <a:pt x="902" y="898"/>
                      </a:lnTo>
                      <a:lnTo>
                        <a:pt x="903" y="898"/>
                      </a:lnTo>
                      <a:lnTo>
                        <a:pt x="904" y="898"/>
                      </a:lnTo>
                      <a:lnTo>
                        <a:pt x="904" y="897"/>
                      </a:lnTo>
                      <a:lnTo>
                        <a:pt x="904" y="896"/>
                      </a:lnTo>
                      <a:lnTo>
                        <a:pt x="903" y="894"/>
                      </a:lnTo>
                      <a:lnTo>
                        <a:pt x="905" y="894"/>
                      </a:lnTo>
                      <a:lnTo>
                        <a:pt x="906" y="894"/>
                      </a:lnTo>
                      <a:lnTo>
                        <a:pt x="908" y="893"/>
                      </a:lnTo>
                      <a:lnTo>
                        <a:pt x="909" y="892"/>
                      </a:lnTo>
                      <a:lnTo>
                        <a:pt x="910" y="892"/>
                      </a:lnTo>
                      <a:lnTo>
                        <a:pt x="910" y="891"/>
                      </a:lnTo>
                      <a:lnTo>
                        <a:pt x="910" y="890"/>
                      </a:lnTo>
                      <a:lnTo>
                        <a:pt x="911" y="891"/>
                      </a:lnTo>
                      <a:lnTo>
                        <a:pt x="911" y="892"/>
                      </a:lnTo>
                      <a:lnTo>
                        <a:pt x="910" y="893"/>
                      </a:lnTo>
                      <a:lnTo>
                        <a:pt x="910" y="894"/>
                      </a:lnTo>
                      <a:lnTo>
                        <a:pt x="909" y="896"/>
                      </a:lnTo>
                      <a:lnTo>
                        <a:pt x="908" y="897"/>
                      </a:lnTo>
                      <a:lnTo>
                        <a:pt x="908" y="898"/>
                      </a:lnTo>
                      <a:lnTo>
                        <a:pt x="908" y="899"/>
                      </a:lnTo>
                      <a:lnTo>
                        <a:pt x="909" y="899"/>
                      </a:lnTo>
                      <a:lnTo>
                        <a:pt x="909" y="900"/>
                      </a:lnTo>
                      <a:lnTo>
                        <a:pt x="909" y="901"/>
                      </a:lnTo>
                      <a:lnTo>
                        <a:pt x="910" y="903"/>
                      </a:lnTo>
                      <a:lnTo>
                        <a:pt x="909" y="903"/>
                      </a:lnTo>
                      <a:lnTo>
                        <a:pt x="909" y="904"/>
                      </a:lnTo>
                      <a:lnTo>
                        <a:pt x="910" y="904"/>
                      </a:lnTo>
                      <a:lnTo>
                        <a:pt x="910" y="905"/>
                      </a:lnTo>
                      <a:lnTo>
                        <a:pt x="911" y="906"/>
                      </a:lnTo>
                      <a:lnTo>
                        <a:pt x="912" y="906"/>
                      </a:lnTo>
                      <a:lnTo>
                        <a:pt x="912" y="905"/>
                      </a:lnTo>
                      <a:lnTo>
                        <a:pt x="912" y="904"/>
                      </a:lnTo>
                      <a:lnTo>
                        <a:pt x="911" y="904"/>
                      </a:lnTo>
                      <a:lnTo>
                        <a:pt x="911" y="903"/>
                      </a:lnTo>
                      <a:lnTo>
                        <a:pt x="912" y="902"/>
                      </a:lnTo>
                      <a:lnTo>
                        <a:pt x="911" y="900"/>
                      </a:lnTo>
                      <a:lnTo>
                        <a:pt x="911" y="899"/>
                      </a:lnTo>
                      <a:lnTo>
                        <a:pt x="910" y="898"/>
                      </a:lnTo>
                      <a:lnTo>
                        <a:pt x="909" y="897"/>
                      </a:lnTo>
                      <a:lnTo>
                        <a:pt x="910" y="897"/>
                      </a:lnTo>
                      <a:lnTo>
                        <a:pt x="911" y="897"/>
                      </a:lnTo>
                      <a:lnTo>
                        <a:pt x="911" y="894"/>
                      </a:lnTo>
                      <a:lnTo>
                        <a:pt x="911" y="896"/>
                      </a:lnTo>
                      <a:lnTo>
                        <a:pt x="911" y="897"/>
                      </a:lnTo>
                      <a:lnTo>
                        <a:pt x="911" y="898"/>
                      </a:lnTo>
                      <a:lnTo>
                        <a:pt x="912" y="901"/>
                      </a:lnTo>
                      <a:lnTo>
                        <a:pt x="912" y="902"/>
                      </a:lnTo>
                      <a:lnTo>
                        <a:pt x="912" y="903"/>
                      </a:lnTo>
                      <a:lnTo>
                        <a:pt x="913" y="904"/>
                      </a:lnTo>
                      <a:lnTo>
                        <a:pt x="913" y="905"/>
                      </a:lnTo>
                      <a:lnTo>
                        <a:pt x="913" y="906"/>
                      </a:lnTo>
                      <a:lnTo>
                        <a:pt x="913" y="909"/>
                      </a:lnTo>
                      <a:lnTo>
                        <a:pt x="913" y="910"/>
                      </a:lnTo>
                      <a:lnTo>
                        <a:pt x="913" y="911"/>
                      </a:lnTo>
                      <a:lnTo>
                        <a:pt x="913" y="912"/>
                      </a:lnTo>
                      <a:lnTo>
                        <a:pt x="914" y="914"/>
                      </a:lnTo>
                      <a:lnTo>
                        <a:pt x="914" y="915"/>
                      </a:lnTo>
                      <a:lnTo>
                        <a:pt x="914" y="916"/>
                      </a:lnTo>
                      <a:lnTo>
                        <a:pt x="913" y="916"/>
                      </a:lnTo>
                      <a:lnTo>
                        <a:pt x="913" y="915"/>
                      </a:lnTo>
                      <a:lnTo>
                        <a:pt x="912" y="915"/>
                      </a:lnTo>
                      <a:lnTo>
                        <a:pt x="912" y="916"/>
                      </a:lnTo>
                      <a:lnTo>
                        <a:pt x="911" y="916"/>
                      </a:lnTo>
                      <a:lnTo>
                        <a:pt x="911" y="917"/>
                      </a:lnTo>
                      <a:lnTo>
                        <a:pt x="911" y="918"/>
                      </a:lnTo>
                      <a:lnTo>
                        <a:pt x="910" y="919"/>
                      </a:lnTo>
                      <a:lnTo>
                        <a:pt x="910" y="918"/>
                      </a:lnTo>
                      <a:lnTo>
                        <a:pt x="909" y="918"/>
                      </a:lnTo>
                      <a:lnTo>
                        <a:pt x="909" y="917"/>
                      </a:lnTo>
                      <a:lnTo>
                        <a:pt x="909" y="916"/>
                      </a:lnTo>
                      <a:lnTo>
                        <a:pt x="910" y="916"/>
                      </a:lnTo>
                      <a:lnTo>
                        <a:pt x="911" y="916"/>
                      </a:lnTo>
                      <a:lnTo>
                        <a:pt x="911" y="915"/>
                      </a:lnTo>
                      <a:lnTo>
                        <a:pt x="912" y="915"/>
                      </a:lnTo>
                      <a:lnTo>
                        <a:pt x="912" y="914"/>
                      </a:lnTo>
                      <a:lnTo>
                        <a:pt x="912" y="915"/>
                      </a:lnTo>
                      <a:lnTo>
                        <a:pt x="911" y="915"/>
                      </a:lnTo>
                      <a:lnTo>
                        <a:pt x="911" y="914"/>
                      </a:lnTo>
                      <a:lnTo>
                        <a:pt x="911" y="915"/>
                      </a:lnTo>
                      <a:lnTo>
                        <a:pt x="910" y="915"/>
                      </a:lnTo>
                      <a:lnTo>
                        <a:pt x="910" y="914"/>
                      </a:lnTo>
                      <a:lnTo>
                        <a:pt x="910" y="913"/>
                      </a:lnTo>
                      <a:lnTo>
                        <a:pt x="911" y="913"/>
                      </a:lnTo>
                      <a:lnTo>
                        <a:pt x="912" y="913"/>
                      </a:lnTo>
                      <a:lnTo>
                        <a:pt x="913" y="913"/>
                      </a:lnTo>
                      <a:lnTo>
                        <a:pt x="913" y="912"/>
                      </a:lnTo>
                      <a:lnTo>
                        <a:pt x="913" y="910"/>
                      </a:lnTo>
                      <a:lnTo>
                        <a:pt x="912" y="909"/>
                      </a:lnTo>
                      <a:lnTo>
                        <a:pt x="912" y="907"/>
                      </a:lnTo>
                      <a:lnTo>
                        <a:pt x="911" y="907"/>
                      </a:lnTo>
                      <a:lnTo>
                        <a:pt x="910" y="909"/>
                      </a:lnTo>
                      <a:lnTo>
                        <a:pt x="910" y="910"/>
                      </a:lnTo>
                      <a:lnTo>
                        <a:pt x="909" y="910"/>
                      </a:lnTo>
                      <a:lnTo>
                        <a:pt x="909" y="911"/>
                      </a:lnTo>
                      <a:lnTo>
                        <a:pt x="910" y="911"/>
                      </a:lnTo>
                      <a:lnTo>
                        <a:pt x="910" y="912"/>
                      </a:lnTo>
                      <a:lnTo>
                        <a:pt x="909" y="912"/>
                      </a:lnTo>
                      <a:lnTo>
                        <a:pt x="908" y="912"/>
                      </a:lnTo>
                      <a:lnTo>
                        <a:pt x="908" y="911"/>
                      </a:lnTo>
                      <a:lnTo>
                        <a:pt x="908" y="910"/>
                      </a:lnTo>
                      <a:lnTo>
                        <a:pt x="908" y="909"/>
                      </a:lnTo>
                      <a:lnTo>
                        <a:pt x="908" y="910"/>
                      </a:lnTo>
                      <a:lnTo>
                        <a:pt x="908" y="911"/>
                      </a:lnTo>
                      <a:lnTo>
                        <a:pt x="906" y="910"/>
                      </a:lnTo>
                      <a:lnTo>
                        <a:pt x="906" y="911"/>
                      </a:lnTo>
                      <a:lnTo>
                        <a:pt x="906" y="910"/>
                      </a:lnTo>
                      <a:lnTo>
                        <a:pt x="905" y="910"/>
                      </a:lnTo>
                      <a:lnTo>
                        <a:pt x="905" y="909"/>
                      </a:lnTo>
                      <a:lnTo>
                        <a:pt x="906" y="909"/>
                      </a:lnTo>
                      <a:lnTo>
                        <a:pt x="906" y="910"/>
                      </a:lnTo>
                      <a:lnTo>
                        <a:pt x="906" y="909"/>
                      </a:lnTo>
                      <a:lnTo>
                        <a:pt x="908" y="909"/>
                      </a:lnTo>
                      <a:lnTo>
                        <a:pt x="909" y="907"/>
                      </a:lnTo>
                      <a:lnTo>
                        <a:pt x="909" y="909"/>
                      </a:lnTo>
                      <a:lnTo>
                        <a:pt x="910" y="909"/>
                      </a:lnTo>
                      <a:lnTo>
                        <a:pt x="909" y="909"/>
                      </a:lnTo>
                      <a:lnTo>
                        <a:pt x="910" y="907"/>
                      </a:lnTo>
                      <a:lnTo>
                        <a:pt x="911" y="907"/>
                      </a:lnTo>
                      <a:lnTo>
                        <a:pt x="910" y="907"/>
                      </a:lnTo>
                      <a:lnTo>
                        <a:pt x="910" y="906"/>
                      </a:lnTo>
                      <a:lnTo>
                        <a:pt x="910" y="907"/>
                      </a:lnTo>
                      <a:lnTo>
                        <a:pt x="909" y="907"/>
                      </a:lnTo>
                      <a:lnTo>
                        <a:pt x="909" y="906"/>
                      </a:lnTo>
                      <a:lnTo>
                        <a:pt x="908" y="906"/>
                      </a:lnTo>
                      <a:lnTo>
                        <a:pt x="909" y="906"/>
                      </a:lnTo>
                      <a:lnTo>
                        <a:pt x="910" y="906"/>
                      </a:lnTo>
                      <a:lnTo>
                        <a:pt x="910" y="905"/>
                      </a:lnTo>
                      <a:lnTo>
                        <a:pt x="909" y="905"/>
                      </a:lnTo>
                      <a:lnTo>
                        <a:pt x="908" y="905"/>
                      </a:lnTo>
                      <a:lnTo>
                        <a:pt x="906" y="905"/>
                      </a:lnTo>
                      <a:lnTo>
                        <a:pt x="908" y="905"/>
                      </a:lnTo>
                      <a:lnTo>
                        <a:pt x="908" y="904"/>
                      </a:lnTo>
                      <a:lnTo>
                        <a:pt x="909" y="904"/>
                      </a:lnTo>
                      <a:lnTo>
                        <a:pt x="909" y="905"/>
                      </a:lnTo>
                      <a:lnTo>
                        <a:pt x="909" y="904"/>
                      </a:lnTo>
                      <a:lnTo>
                        <a:pt x="909" y="903"/>
                      </a:lnTo>
                      <a:lnTo>
                        <a:pt x="909" y="902"/>
                      </a:lnTo>
                      <a:lnTo>
                        <a:pt x="908" y="902"/>
                      </a:lnTo>
                      <a:lnTo>
                        <a:pt x="909" y="902"/>
                      </a:lnTo>
                      <a:lnTo>
                        <a:pt x="909" y="903"/>
                      </a:lnTo>
                      <a:lnTo>
                        <a:pt x="908" y="903"/>
                      </a:lnTo>
                      <a:lnTo>
                        <a:pt x="906" y="904"/>
                      </a:lnTo>
                      <a:lnTo>
                        <a:pt x="905" y="904"/>
                      </a:lnTo>
                      <a:lnTo>
                        <a:pt x="905" y="903"/>
                      </a:lnTo>
                      <a:lnTo>
                        <a:pt x="906" y="903"/>
                      </a:lnTo>
                      <a:lnTo>
                        <a:pt x="908" y="903"/>
                      </a:lnTo>
                      <a:lnTo>
                        <a:pt x="906" y="902"/>
                      </a:lnTo>
                      <a:lnTo>
                        <a:pt x="906" y="903"/>
                      </a:lnTo>
                      <a:lnTo>
                        <a:pt x="905" y="902"/>
                      </a:lnTo>
                      <a:lnTo>
                        <a:pt x="904" y="902"/>
                      </a:lnTo>
                      <a:lnTo>
                        <a:pt x="904" y="901"/>
                      </a:lnTo>
                      <a:lnTo>
                        <a:pt x="904" y="902"/>
                      </a:lnTo>
                      <a:lnTo>
                        <a:pt x="903" y="902"/>
                      </a:lnTo>
                      <a:lnTo>
                        <a:pt x="902" y="902"/>
                      </a:lnTo>
                      <a:lnTo>
                        <a:pt x="903" y="903"/>
                      </a:lnTo>
                      <a:lnTo>
                        <a:pt x="902" y="903"/>
                      </a:lnTo>
                      <a:lnTo>
                        <a:pt x="902" y="904"/>
                      </a:lnTo>
                      <a:lnTo>
                        <a:pt x="902" y="903"/>
                      </a:lnTo>
                      <a:lnTo>
                        <a:pt x="901" y="903"/>
                      </a:lnTo>
                      <a:lnTo>
                        <a:pt x="900" y="902"/>
                      </a:lnTo>
                      <a:lnTo>
                        <a:pt x="900" y="903"/>
                      </a:lnTo>
                      <a:lnTo>
                        <a:pt x="899" y="903"/>
                      </a:lnTo>
                      <a:lnTo>
                        <a:pt x="899" y="902"/>
                      </a:lnTo>
                      <a:lnTo>
                        <a:pt x="898" y="902"/>
                      </a:lnTo>
                      <a:lnTo>
                        <a:pt x="898" y="903"/>
                      </a:lnTo>
                      <a:lnTo>
                        <a:pt x="897" y="903"/>
                      </a:lnTo>
                      <a:lnTo>
                        <a:pt x="897" y="902"/>
                      </a:lnTo>
                      <a:lnTo>
                        <a:pt x="898" y="902"/>
                      </a:lnTo>
                      <a:lnTo>
                        <a:pt x="899" y="902"/>
                      </a:lnTo>
                      <a:lnTo>
                        <a:pt x="900" y="902"/>
                      </a:lnTo>
                      <a:lnTo>
                        <a:pt x="900" y="901"/>
                      </a:lnTo>
                      <a:lnTo>
                        <a:pt x="900" y="902"/>
                      </a:lnTo>
                      <a:lnTo>
                        <a:pt x="901" y="902"/>
                      </a:lnTo>
                      <a:lnTo>
                        <a:pt x="901" y="901"/>
                      </a:lnTo>
                      <a:lnTo>
                        <a:pt x="900" y="901"/>
                      </a:lnTo>
                      <a:lnTo>
                        <a:pt x="900" y="900"/>
                      </a:lnTo>
                      <a:lnTo>
                        <a:pt x="900" y="901"/>
                      </a:lnTo>
                      <a:lnTo>
                        <a:pt x="900" y="900"/>
                      </a:lnTo>
                      <a:lnTo>
                        <a:pt x="900" y="899"/>
                      </a:lnTo>
                      <a:lnTo>
                        <a:pt x="898" y="897"/>
                      </a:lnTo>
                      <a:lnTo>
                        <a:pt x="898" y="896"/>
                      </a:lnTo>
                      <a:lnTo>
                        <a:pt x="898" y="894"/>
                      </a:lnTo>
                      <a:lnTo>
                        <a:pt x="898" y="893"/>
                      </a:lnTo>
                      <a:lnTo>
                        <a:pt x="898" y="892"/>
                      </a:lnTo>
                      <a:lnTo>
                        <a:pt x="897" y="892"/>
                      </a:lnTo>
                      <a:lnTo>
                        <a:pt x="896" y="890"/>
                      </a:lnTo>
                      <a:lnTo>
                        <a:pt x="893" y="889"/>
                      </a:lnTo>
                      <a:lnTo>
                        <a:pt x="892" y="888"/>
                      </a:lnTo>
                      <a:lnTo>
                        <a:pt x="891" y="888"/>
                      </a:lnTo>
                      <a:lnTo>
                        <a:pt x="890" y="888"/>
                      </a:lnTo>
                      <a:lnTo>
                        <a:pt x="889" y="887"/>
                      </a:lnTo>
                      <a:lnTo>
                        <a:pt x="888" y="887"/>
                      </a:lnTo>
                      <a:lnTo>
                        <a:pt x="888" y="888"/>
                      </a:lnTo>
                      <a:lnTo>
                        <a:pt x="888" y="887"/>
                      </a:lnTo>
                      <a:lnTo>
                        <a:pt x="888" y="888"/>
                      </a:lnTo>
                      <a:lnTo>
                        <a:pt x="887" y="888"/>
                      </a:lnTo>
                      <a:lnTo>
                        <a:pt x="887" y="887"/>
                      </a:lnTo>
                      <a:lnTo>
                        <a:pt x="886" y="887"/>
                      </a:lnTo>
                      <a:lnTo>
                        <a:pt x="887" y="887"/>
                      </a:lnTo>
                      <a:lnTo>
                        <a:pt x="887" y="888"/>
                      </a:lnTo>
                      <a:lnTo>
                        <a:pt x="887" y="887"/>
                      </a:lnTo>
                      <a:lnTo>
                        <a:pt x="886" y="887"/>
                      </a:lnTo>
                      <a:lnTo>
                        <a:pt x="885" y="887"/>
                      </a:lnTo>
                      <a:lnTo>
                        <a:pt x="884" y="887"/>
                      </a:lnTo>
                      <a:lnTo>
                        <a:pt x="883" y="887"/>
                      </a:lnTo>
                      <a:lnTo>
                        <a:pt x="883" y="888"/>
                      </a:lnTo>
                      <a:lnTo>
                        <a:pt x="882" y="888"/>
                      </a:lnTo>
                      <a:lnTo>
                        <a:pt x="882" y="889"/>
                      </a:lnTo>
                      <a:lnTo>
                        <a:pt x="880" y="889"/>
                      </a:lnTo>
                      <a:lnTo>
                        <a:pt x="879" y="889"/>
                      </a:lnTo>
                      <a:lnTo>
                        <a:pt x="878" y="889"/>
                      </a:lnTo>
                      <a:lnTo>
                        <a:pt x="877" y="889"/>
                      </a:lnTo>
                      <a:lnTo>
                        <a:pt x="876" y="889"/>
                      </a:lnTo>
                      <a:lnTo>
                        <a:pt x="875" y="889"/>
                      </a:lnTo>
                      <a:lnTo>
                        <a:pt x="875" y="888"/>
                      </a:lnTo>
                      <a:lnTo>
                        <a:pt x="875" y="887"/>
                      </a:lnTo>
                      <a:lnTo>
                        <a:pt x="874" y="887"/>
                      </a:lnTo>
                      <a:lnTo>
                        <a:pt x="874" y="886"/>
                      </a:lnTo>
                      <a:lnTo>
                        <a:pt x="873" y="886"/>
                      </a:lnTo>
                      <a:lnTo>
                        <a:pt x="872" y="886"/>
                      </a:lnTo>
                      <a:lnTo>
                        <a:pt x="872" y="885"/>
                      </a:lnTo>
                      <a:lnTo>
                        <a:pt x="872" y="884"/>
                      </a:lnTo>
                      <a:lnTo>
                        <a:pt x="872" y="885"/>
                      </a:lnTo>
                      <a:lnTo>
                        <a:pt x="871" y="885"/>
                      </a:lnTo>
                      <a:lnTo>
                        <a:pt x="871" y="884"/>
                      </a:lnTo>
                      <a:lnTo>
                        <a:pt x="871" y="883"/>
                      </a:lnTo>
                      <a:lnTo>
                        <a:pt x="871" y="881"/>
                      </a:lnTo>
                      <a:lnTo>
                        <a:pt x="872" y="881"/>
                      </a:lnTo>
                      <a:lnTo>
                        <a:pt x="873" y="881"/>
                      </a:lnTo>
                      <a:lnTo>
                        <a:pt x="872" y="881"/>
                      </a:lnTo>
                      <a:lnTo>
                        <a:pt x="873" y="881"/>
                      </a:lnTo>
                      <a:lnTo>
                        <a:pt x="873" y="880"/>
                      </a:lnTo>
                      <a:lnTo>
                        <a:pt x="874" y="880"/>
                      </a:lnTo>
                      <a:close/>
                      <a:moveTo>
                        <a:pt x="825" y="754"/>
                      </a:moveTo>
                      <a:lnTo>
                        <a:pt x="825" y="755"/>
                      </a:lnTo>
                      <a:lnTo>
                        <a:pt x="826" y="755"/>
                      </a:lnTo>
                      <a:lnTo>
                        <a:pt x="827" y="755"/>
                      </a:lnTo>
                      <a:lnTo>
                        <a:pt x="828" y="756"/>
                      </a:lnTo>
                      <a:lnTo>
                        <a:pt x="828" y="757"/>
                      </a:lnTo>
                      <a:lnTo>
                        <a:pt x="829" y="757"/>
                      </a:lnTo>
                      <a:lnTo>
                        <a:pt x="829" y="758"/>
                      </a:lnTo>
                      <a:lnTo>
                        <a:pt x="831" y="758"/>
                      </a:lnTo>
                      <a:lnTo>
                        <a:pt x="831" y="759"/>
                      </a:lnTo>
                      <a:lnTo>
                        <a:pt x="829" y="759"/>
                      </a:lnTo>
                      <a:lnTo>
                        <a:pt x="829" y="760"/>
                      </a:lnTo>
                      <a:lnTo>
                        <a:pt x="829" y="761"/>
                      </a:lnTo>
                      <a:lnTo>
                        <a:pt x="829" y="762"/>
                      </a:lnTo>
                      <a:lnTo>
                        <a:pt x="828" y="762"/>
                      </a:lnTo>
                      <a:lnTo>
                        <a:pt x="828" y="763"/>
                      </a:lnTo>
                      <a:lnTo>
                        <a:pt x="828" y="764"/>
                      </a:lnTo>
                      <a:lnTo>
                        <a:pt x="828" y="765"/>
                      </a:lnTo>
                      <a:lnTo>
                        <a:pt x="829" y="767"/>
                      </a:lnTo>
                      <a:lnTo>
                        <a:pt x="829" y="768"/>
                      </a:lnTo>
                      <a:lnTo>
                        <a:pt x="828" y="769"/>
                      </a:lnTo>
                      <a:lnTo>
                        <a:pt x="827" y="769"/>
                      </a:lnTo>
                      <a:lnTo>
                        <a:pt x="827" y="770"/>
                      </a:lnTo>
                      <a:lnTo>
                        <a:pt x="827" y="771"/>
                      </a:lnTo>
                      <a:lnTo>
                        <a:pt x="826" y="772"/>
                      </a:lnTo>
                      <a:lnTo>
                        <a:pt x="826" y="771"/>
                      </a:lnTo>
                      <a:lnTo>
                        <a:pt x="825" y="771"/>
                      </a:lnTo>
                      <a:lnTo>
                        <a:pt x="825" y="772"/>
                      </a:lnTo>
                      <a:lnTo>
                        <a:pt x="824" y="772"/>
                      </a:lnTo>
                      <a:lnTo>
                        <a:pt x="823" y="773"/>
                      </a:lnTo>
                      <a:lnTo>
                        <a:pt x="822" y="774"/>
                      </a:lnTo>
                      <a:lnTo>
                        <a:pt x="822" y="776"/>
                      </a:lnTo>
                      <a:lnTo>
                        <a:pt x="823" y="776"/>
                      </a:lnTo>
                      <a:lnTo>
                        <a:pt x="823" y="777"/>
                      </a:lnTo>
                      <a:lnTo>
                        <a:pt x="822" y="778"/>
                      </a:lnTo>
                      <a:lnTo>
                        <a:pt x="822" y="780"/>
                      </a:lnTo>
                      <a:lnTo>
                        <a:pt x="822" y="781"/>
                      </a:lnTo>
                      <a:lnTo>
                        <a:pt x="823" y="783"/>
                      </a:lnTo>
                      <a:lnTo>
                        <a:pt x="824" y="785"/>
                      </a:lnTo>
                      <a:lnTo>
                        <a:pt x="825" y="785"/>
                      </a:lnTo>
                      <a:lnTo>
                        <a:pt x="825" y="786"/>
                      </a:lnTo>
                      <a:lnTo>
                        <a:pt x="826" y="786"/>
                      </a:lnTo>
                      <a:lnTo>
                        <a:pt x="826" y="785"/>
                      </a:lnTo>
                      <a:lnTo>
                        <a:pt x="826" y="784"/>
                      </a:lnTo>
                      <a:lnTo>
                        <a:pt x="827" y="784"/>
                      </a:lnTo>
                      <a:lnTo>
                        <a:pt x="828" y="784"/>
                      </a:lnTo>
                      <a:lnTo>
                        <a:pt x="828" y="785"/>
                      </a:lnTo>
                      <a:lnTo>
                        <a:pt x="828" y="786"/>
                      </a:lnTo>
                      <a:lnTo>
                        <a:pt x="828" y="787"/>
                      </a:lnTo>
                      <a:lnTo>
                        <a:pt x="828" y="788"/>
                      </a:lnTo>
                      <a:lnTo>
                        <a:pt x="828" y="789"/>
                      </a:lnTo>
                      <a:lnTo>
                        <a:pt x="826" y="790"/>
                      </a:lnTo>
                      <a:lnTo>
                        <a:pt x="825" y="791"/>
                      </a:lnTo>
                      <a:lnTo>
                        <a:pt x="825" y="793"/>
                      </a:lnTo>
                      <a:lnTo>
                        <a:pt x="824" y="794"/>
                      </a:lnTo>
                      <a:lnTo>
                        <a:pt x="824" y="795"/>
                      </a:lnTo>
                      <a:lnTo>
                        <a:pt x="824" y="796"/>
                      </a:lnTo>
                      <a:lnTo>
                        <a:pt x="824" y="797"/>
                      </a:lnTo>
                      <a:lnTo>
                        <a:pt x="823" y="800"/>
                      </a:lnTo>
                      <a:lnTo>
                        <a:pt x="822" y="802"/>
                      </a:lnTo>
                      <a:lnTo>
                        <a:pt x="821" y="802"/>
                      </a:lnTo>
                      <a:lnTo>
                        <a:pt x="821" y="801"/>
                      </a:lnTo>
                      <a:lnTo>
                        <a:pt x="822" y="798"/>
                      </a:lnTo>
                      <a:lnTo>
                        <a:pt x="823" y="797"/>
                      </a:lnTo>
                      <a:lnTo>
                        <a:pt x="823" y="796"/>
                      </a:lnTo>
                      <a:lnTo>
                        <a:pt x="823" y="795"/>
                      </a:lnTo>
                      <a:lnTo>
                        <a:pt x="823" y="794"/>
                      </a:lnTo>
                      <a:lnTo>
                        <a:pt x="822" y="794"/>
                      </a:lnTo>
                      <a:lnTo>
                        <a:pt x="822" y="793"/>
                      </a:lnTo>
                      <a:lnTo>
                        <a:pt x="821" y="793"/>
                      </a:lnTo>
                      <a:lnTo>
                        <a:pt x="821" y="791"/>
                      </a:lnTo>
                      <a:lnTo>
                        <a:pt x="821" y="790"/>
                      </a:lnTo>
                      <a:lnTo>
                        <a:pt x="821" y="789"/>
                      </a:lnTo>
                      <a:lnTo>
                        <a:pt x="822" y="788"/>
                      </a:lnTo>
                      <a:lnTo>
                        <a:pt x="822" y="787"/>
                      </a:lnTo>
                      <a:lnTo>
                        <a:pt x="822" y="786"/>
                      </a:lnTo>
                      <a:lnTo>
                        <a:pt x="821" y="786"/>
                      </a:lnTo>
                      <a:lnTo>
                        <a:pt x="821" y="785"/>
                      </a:lnTo>
                      <a:lnTo>
                        <a:pt x="820" y="785"/>
                      </a:lnTo>
                      <a:lnTo>
                        <a:pt x="819" y="785"/>
                      </a:lnTo>
                      <a:lnTo>
                        <a:pt x="819" y="784"/>
                      </a:lnTo>
                      <a:lnTo>
                        <a:pt x="820" y="783"/>
                      </a:lnTo>
                      <a:lnTo>
                        <a:pt x="819" y="782"/>
                      </a:lnTo>
                      <a:lnTo>
                        <a:pt x="818" y="781"/>
                      </a:lnTo>
                      <a:lnTo>
                        <a:pt x="818" y="780"/>
                      </a:lnTo>
                      <a:lnTo>
                        <a:pt x="819" y="778"/>
                      </a:lnTo>
                      <a:lnTo>
                        <a:pt x="819" y="777"/>
                      </a:lnTo>
                      <a:lnTo>
                        <a:pt x="819" y="776"/>
                      </a:lnTo>
                      <a:lnTo>
                        <a:pt x="819" y="775"/>
                      </a:lnTo>
                      <a:lnTo>
                        <a:pt x="819" y="773"/>
                      </a:lnTo>
                      <a:lnTo>
                        <a:pt x="820" y="773"/>
                      </a:lnTo>
                      <a:lnTo>
                        <a:pt x="820" y="772"/>
                      </a:lnTo>
                      <a:lnTo>
                        <a:pt x="819" y="771"/>
                      </a:lnTo>
                      <a:lnTo>
                        <a:pt x="819" y="770"/>
                      </a:lnTo>
                      <a:lnTo>
                        <a:pt x="819" y="769"/>
                      </a:lnTo>
                      <a:lnTo>
                        <a:pt x="820" y="767"/>
                      </a:lnTo>
                      <a:lnTo>
                        <a:pt x="821" y="765"/>
                      </a:lnTo>
                      <a:lnTo>
                        <a:pt x="821" y="764"/>
                      </a:lnTo>
                      <a:lnTo>
                        <a:pt x="820" y="763"/>
                      </a:lnTo>
                      <a:lnTo>
                        <a:pt x="820" y="762"/>
                      </a:lnTo>
                      <a:lnTo>
                        <a:pt x="820" y="761"/>
                      </a:lnTo>
                      <a:lnTo>
                        <a:pt x="820" y="760"/>
                      </a:lnTo>
                      <a:lnTo>
                        <a:pt x="820" y="759"/>
                      </a:lnTo>
                      <a:lnTo>
                        <a:pt x="820" y="758"/>
                      </a:lnTo>
                      <a:lnTo>
                        <a:pt x="820" y="757"/>
                      </a:lnTo>
                      <a:lnTo>
                        <a:pt x="821" y="757"/>
                      </a:lnTo>
                      <a:lnTo>
                        <a:pt x="821" y="756"/>
                      </a:lnTo>
                      <a:lnTo>
                        <a:pt x="821" y="755"/>
                      </a:lnTo>
                      <a:lnTo>
                        <a:pt x="821" y="754"/>
                      </a:lnTo>
                      <a:lnTo>
                        <a:pt x="822" y="754"/>
                      </a:lnTo>
                      <a:lnTo>
                        <a:pt x="823" y="754"/>
                      </a:lnTo>
                      <a:lnTo>
                        <a:pt x="824" y="754"/>
                      </a:lnTo>
                      <a:lnTo>
                        <a:pt x="825" y="754"/>
                      </a:lnTo>
                      <a:close/>
                      <a:moveTo>
                        <a:pt x="879" y="867"/>
                      </a:moveTo>
                      <a:lnTo>
                        <a:pt x="879" y="868"/>
                      </a:lnTo>
                      <a:lnTo>
                        <a:pt x="880" y="867"/>
                      </a:lnTo>
                      <a:lnTo>
                        <a:pt x="880" y="868"/>
                      </a:lnTo>
                      <a:lnTo>
                        <a:pt x="882" y="868"/>
                      </a:lnTo>
                      <a:lnTo>
                        <a:pt x="883" y="870"/>
                      </a:lnTo>
                      <a:lnTo>
                        <a:pt x="884" y="871"/>
                      </a:lnTo>
                      <a:lnTo>
                        <a:pt x="885" y="871"/>
                      </a:lnTo>
                      <a:lnTo>
                        <a:pt x="885" y="872"/>
                      </a:lnTo>
                      <a:lnTo>
                        <a:pt x="886" y="872"/>
                      </a:lnTo>
                      <a:lnTo>
                        <a:pt x="886" y="873"/>
                      </a:lnTo>
                      <a:lnTo>
                        <a:pt x="888" y="873"/>
                      </a:lnTo>
                      <a:lnTo>
                        <a:pt x="889" y="873"/>
                      </a:lnTo>
                      <a:lnTo>
                        <a:pt x="890" y="872"/>
                      </a:lnTo>
                      <a:lnTo>
                        <a:pt x="891" y="872"/>
                      </a:lnTo>
                      <a:lnTo>
                        <a:pt x="891" y="871"/>
                      </a:lnTo>
                      <a:lnTo>
                        <a:pt x="892" y="871"/>
                      </a:lnTo>
                      <a:lnTo>
                        <a:pt x="893" y="871"/>
                      </a:lnTo>
                      <a:lnTo>
                        <a:pt x="893" y="872"/>
                      </a:lnTo>
                      <a:lnTo>
                        <a:pt x="895" y="872"/>
                      </a:lnTo>
                      <a:lnTo>
                        <a:pt x="896" y="872"/>
                      </a:lnTo>
                      <a:lnTo>
                        <a:pt x="897" y="872"/>
                      </a:lnTo>
                      <a:lnTo>
                        <a:pt x="898" y="872"/>
                      </a:lnTo>
                      <a:lnTo>
                        <a:pt x="898" y="873"/>
                      </a:lnTo>
                      <a:lnTo>
                        <a:pt x="899" y="873"/>
                      </a:lnTo>
                      <a:lnTo>
                        <a:pt x="899" y="874"/>
                      </a:lnTo>
                      <a:lnTo>
                        <a:pt x="899" y="875"/>
                      </a:lnTo>
                      <a:lnTo>
                        <a:pt x="900" y="876"/>
                      </a:lnTo>
                      <a:lnTo>
                        <a:pt x="900" y="877"/>
                      </a:lnTo>
                      <a:lnTo>
                        <a:pt x="901" y="877"/>
                      </a:lnTo>
                      <a:lnTo>
                        <a:pt x="901" y="878"/>
                      </a:lnTo>
                      <a:lnTo>
                        <a:pt x="900" y="877"/>
                      </a:lnTo>
                      <a:lnTo>
                        <a:pt x="900" y="878"/>
                      </a:lnTo>
                      <a:lnTo>
                        <a:pt x="899" y="878"/>
                      </a:lnTo>
                      <a:lnTo>
                        <a:pt x="899" y="877"/>
                      </a:lnTo>
                      <a:lnTo>
                        <a:pt x="898" y="877"/>
                      </a:lnTo>
                      <a:lnTo>
                        <a:pt x="898" y="878"/>
                      </a:lnTo>
                      <a:lnTo>
                        <a:pt x="899" y="878"/>
                      </a:lnTo>
                      <a:lnTo>
                        <a:pt x="898" y="878"/>
                      </a:lnTo>
                      <a:lnTo>
                        <a:pt x="898" y="879"/>
                      </a:lnTo>
                      <a:lnTo>
                        <a:pt x="899" y="879"/>
                      </a:lnTo>
                      <a:lnTo>
                        <a:pt x="900" y="879"/>
                      </a:lnTo>
                      <a:lnTo>
                        <a:pt x="900" y="880"/>
                      </a:lnTo>
                      <a:lnTo>
                        <a:pt x="899" y="880"/>
                      </a:lnTo>
                      <a:lnTo>
                        <a:pt x="898" y="880"/>
                      </a:lnTo>
                      <a:lnTo>
                        <a:pt x="897" y="880"/>
                      </a:lnTo>
                      <a:lnTo>
                        <a:pt x="896" y="879"/>
                      </a:lnTo>
                      <a:lnTo>
                        <a:pt x="895" y="880"/>
                      </a:lnTo>
                      <a:lnTo>
                        <a:pt x="895" y="879"/>
                      </a:lnTo>
                      <a:lnTo>
                        <a:pt x="893" y="879"/>
                      </a:lnTo>
                      <a:lnTo>
                        <a:pt x="892" y="879"/>
                      </a:lnTo>
                      <a:lnTo>
                        <a:pt x="892" y="880"/>
                      </a:lnTo>
                      <a:lnTo>
                        <a:pt x="891" y="880"/>
                      </a:lnTo>
                      <a:lnTo>
                        <a:pt x="891" y="879"/>
                      </a:lnTo>
                      <a:lnTo>
                        <a:pt x="890" y="879"/>
                      </a:lnTo>
                      <a:lnTo>
                        <a:pt x="889" y="879"/>
                      </a:lnTo>
                      <a:lnTo>
                        <a:pt x="888" y="879"/>
                      </a:lnTo>
                      <a:lnTo>
                        <a:pt x="887" y="879"/>
                      </a:lnTo>
                      <a:lnTo>
                        <a:pt x="886" y="879"/>
                      </a:lnTo>
                      <a:lnTo>
                        <a:pt x="885" y="879"/>
                      </a:lnTo>
                      <a:lnTo>
                        <a:pt x="884" y="879"/>
                      </a:lnTo>
                      <a:lnTo>
                        <a:pt x="883" y="879"/>
                      </a:lnTo>
                      <a:lnTo>
                        <a:pt x="882" y="878"/>
                      </a:lnTo>
                      <a:lnTo>
                        <a:pt x="883" y="878"/>
                      </a:lnTo>
                      <a:lnTo>
                        <a:pt x="884" y="878"/>
                      </a:lnTo>
                      <a:lnTo>
                        <a:pt x="883" y="877"/>
                      </a:lnTo>
                      <a:lnTo>
                        <a:pt x="883" y="878"/>
                      </a:lnTo>
                      <a:lnTo>
                        <a:pt x="883" y="877"/>
                      </a:lnTo>
                      <a:lnTo>
                        <a:pt x="883" y="876"/>
                      </a:lnTo>
                      <a:lnTo>
                        <a:pt x="884" y="876"/>
                      </a:lnTo>
                      <a:lnTo>
                        <a:pt x="884" y="875"/>
                      </a:lnTo>
                      <a:lnTo>
                        <a:pt x="885" y="875"/>
                      </a:lnTo>
                      <a:lnTo>
                        <a:pt x="885" y="876"/>
                      </a:lnTo>
                      <a:lnTo>
                        <a:pt x="885" y="875"/>
                      </a:lnTo>
                      <a:lnTo>
                        <a:pt x="884" y="874"/>
                      </a:lnTo>
                      <a:lnTo>
                        <a:pt x="884" y="873"/>
                      </a:lnTo>
                      <a:lnTo>
                        <a:pt x="883" y="873"/>
                      </a:lnTo>
                      <a:lnTo>
                        <a:pt x="882" y="873"/>
                      </a:lnTo>
                      <a:lnTo>
                        <a:pt x="882" y="872"/>
                      </a:lnTo>
                      <a:lnTo>
                        <a:pt x="880" y="872"/>
                      </a:lnTo>
                      <a:lnTo>
                        <a:pt x="880" y="871"/>
                      </a:lnTo>
                      <a:lnTo>
                        <a:pt x="879" y="871"/>
                      </a:lnTo>
                      <a:lnTo>
                        <a:pt x="879" y="870"/>
                      </a:lnTo>
                      <a:lnTo>
                        <a:pt x="879" y="868"/>
                      </a:lnTo>
                      <a:lnTo>
                        <a:pt x="878" y="867"/>
                      </a:lnTo>
                      <a:lnTo>
                        <a:pt x="878" y="866"/>
                      </a:lnTo>
                      <a:lnTo>
                        <a:pt x="879" y="867"/>
                      </a:lnTo>
                      <a:close/>
                      <a:moveTo>
                        <a:pt x="967" y="1006"/>
                      </a:moveTo>
                      <a:lnTo>
                        <a:pt x="968" y="1006"/>
                      </a:lnTo>
                      <a:lnTo>
                        <a:pt x="968" y="1007"/>
                      </a:lnTo>
                      <a:lnTo>
                        <a:pt x="967" y="1008"/>
                      </a:lnTo>
                      <a:lnTo>
                        <a:pt x="966" y="1009"/>
                      </a:lnTo>
                      <a:lnTo>
                        <a:pt x="965" y="1011"/>
                      </a:lnTo>
                      <a:lnTo>
                        <a:pt x="964" y="1011"/>
                      </a:lnTo>
                      <a:lnTo>
                        <a:pt x="963" y="1012"/>
                      </a:lnTo>
                      <a:lnTo>
                        <a:pt x="962" y="1013"/>
                      </a:lnTo>
                      <a:lnTo>
                        <a:pt x="961" y="1014"/>
                      </a:lnTo>
                      <a:lnTo>
                        <a:pt x="960" y="1014"/>
                      </a:lnTo>
                      <a:lnTo>
                        <a:pt x="956" y="1016"/>
                      </a:lnTo>
                      <a:lnTo>
                        <a:pt x="953" y="1018"/>
                      </a:lnTo>
                      <a:lnTo>
                        <a:pt x="952" y="1018"/>
                      </a:lnTo>
                      <a:lnTo>
                        <a:pt x="950" y="1019"/>
                      </a:lnTo>
                      <a:lnTo>
                        <a:pt x="949" y="1020"/>
                      </a:lnTo>
                      <a:lnTo>
                        <a:pt x="947" y="1022"/>
                      </a:lnTo>
                      <a:lnTo>
                        <a:pt x="945" y="1024"/>
                      </a:lnTo>
                      <a:lnTo>
                        <a:pt x="944" y="1024"/>
                      </a:lnTo>
                      <a:lnTo>
                        <a:pt x="943" y="1024"/>
                      </a:lnTo>
                      <a:lnTo>
                        <a:pt x="943" y="1022"/>
                      </a:lnTo>
                      <a:lnTo>
                        <a:pt x="942" y="1022"/>
                      </a:lnTo>
                      <a:lnTo>
                        <a:pt x="942" y="1021"/>
                      </a:lnTo>
                      <a:lnTo>
                        <a:pt x="942" y="1020"/>
                      </a:lnTo>
                      <a:lnTo>
                        <a:pt x="941" y="1020"/>
                      </a:lnTo>
                      <a:lnTo>
                        <a:pt x="941" y="1019"/>
                      </a:lnTo>
                      <a:lnTo>
                        <a:pt x="942" y="1020"/>
                      </a:lnTo>
                      <a:lnTo>
                        <a:pt x="943" y="1020"/>
                      </a:lnTo>
                      <a:lnTo>
                        <a:pt x="943" y="1021"/>
                      </a:lnTo>
                      <a:lnTo>
                        <a:pt x="944" y="1020"/>
                      </a:lnTo>
                      <a:lnTo>
                        <a:pt x="944" y="1019"/>
                      </a:lnTo>
                      <a:lnTo>
                        <a:pt x="944" y="1018"/>
                      </a:lnTo>
                      <a:lnTo>
                        <a:pt x="945" y="1019"/>
                      </a:lnTo>
                      <a:lnTo>
                        <a:pt x="945" y="1021"/>
                      </a:lnTo>
                      <a:lnTo>
                        <a:pt x="945" y="1020"/>
                      </a:lnTo>
                      <a:lnTo>
                        <a:pt x="945" y="1019"/>
                      </a:lnTo>
                      <a:lnTo>
                        <a:pt x="945" y="1020"/>
                      </a:lnTo>
                      <a:lnTo>
                        <a:pt x="945" y="1019"/>
                      </a:lnTo>
                      <a:lnTo>
                        <a:pt x="945" y="1018"/>
                      </a:lnTo>
                      <a:lnTo>
                        <a:pt x="944" y="1017"/>
                      </a:lnTo>
                      <a:lnTo>
                        <a:pt x="945" y="1018"/>
                      </a:lnTo>
                      <a:lnTo>
                        <a:pt x="947" y="1018"/>
                      </a:lnTo>
                      <a:lnTo>
                        <a:pt x="948" y="1017"/>
                      </a:lnTo>
                      <a:lnTo>
                        <a:pt x="949" y="1017"/>
                      </a:lnTo>
                      <a:lnTo>
                        <a:pt x="948" y="1017"/>
                      </a:lnTo>
                      <a:lnTo>
                        <a:pt x="949" y="1016"/>
                      </a:lnTo>
                      <a:lnTo>
                        <a:pt x="950" y="1016"/>
                      </a:lnTo>
                      <a:lnTo>
                        <a:pt x="951" y="1016"/>
                      </a:lnTo>
                      <a:lnTo>
                        <a:pt x="952" y="1016"/>
                      </a:lnTo>
                      <a:lnTo>
                        <a:pt x="952" y="1015"/>
                      </a:lnTo>
                      <a:lnTo>
                        <a:pt x="953" y="1015"/>
                      </a:lnTo>
                      <a:lnTo>
                        <a:pt x="954" y="1015"/>
                      </a:lnTo>
                      <a:lnTo>
                        <a:pt x="954" y="1014"/>
                      </a:lnTo>
                      <a:lnTo>
                        <a:pt x="955" y="1014"/>
                      </a:lnTo>
                      <a:lnTo>
                        <a:pt x="954" y="1014"/>
                      </a:lnTo>
                      <a:lnTo>
                        <a:pt x="953" y="1015"/>
                      </a:lnTo>
                      <a:lnTo>
                        <a:pt x="952" y="1015"/>
                      </a:lnTo>
                      <a:lnTo>
                        <a:pt x="950" y="1016"/>
                      </a:lnTo>
                      <a:lnTo>
                        <a:pt x="949" y="1016"/>
                      </a:lnTo>
                      <a:lnTo>
                        <a:pt x="948" y="1016"/>
                      </a:lnTo>
                      <a:lnTo>
                        <a:pt x="949" y="1016"/>
                      </a:lnTo>
                      <a:lnTo>
                        <a:pt x="949" y="1015"/>
                      </a:lnTo>
                      <a:lnTo>
                        <a:pt x="950" y="1015"/>
                      </a:lnTo>
                      <a:lnTo>
                        <a:pt x="950" y="1014"/>
                      </a:lnTo>
                      <a:lnTo>
                        <a:pt x="950" y="1013"/>
                      </a:lnTo>
                      <a:lnTo>
                        <a:pt x="951" y="1013"/>
                      </a:lnTo>
                      <a:lnTo>
                        <a:pt x="952" y="1013"/>
                      </a:lnTo>
                      <a:lnTo>
                        <a:pt x="953" y="1013"/>
                      </a:lnTo>
                      <a:lnTo>
                        <a:pt x="954" y="1013"/>
                      </a:lnTo>
                      <a:lnTo>
                        <a:pt x="955" y="1013"/>
                      </a:lnTo>
                      <a:lnTo>
                        <a:pt x="955" y="1012"/>
                      </a:lnTo>
                      <a:lnTo>
                        <a:pt x="956" y="1012"/>
                      </a:lnTo>
                      <a:lnTo>
                        <a:pt x="957" y="1011"/>
                      </a:lnTo>
                      <a:lnTo>
                        <a:pt x="958" y="1011"/>
                      </a:lnTo>
                      <a:lnTo>
                        <a:pt x="960" y="1009"/>
                      </a:lnTo>
                      <a:lnTo>
                        <a:pt x="961" y="1009"/>
                      </a:lnTo>
                      <a:lnTo>
                        <a:pt x="962" y="1008"/>
                      </a:lnTo>
                      <a:lnTo>
                        <a:pt x="965" y="1007"/>
                      </a:lnTo>
                      <a:lnTo>
                        <a:pt x="965" y="1006"/>
                      </a:lnTo>
                      <a:lnTo>
                        <a:pt x="966" y="1006"/>
                      </a:lnTo>
                      <a:lnTo>
                        <a:pt x="967" y="1006"/>
                      </a:lnTo>
                      <a:close/>
                      <a:moveTo>
                        <a:pt x="906" y="958"/>
                      </a:moveTo>
                      <a:lnTo>
                        <a:pt x="906" y="960"/>
                      </a:lnTo>
                      <a:lnTo>
                        <a:pt x="905" y="960"/>
                      </a:lnTo>
                      <a:lnTo>
                        <a:pt x="904" y="961"/>
                      </a:lnTo>
                      <a:lnTo>
                        <a:pt x="904" y="962"/>
                      </a:lnTo>
                      <a:lnTo>
                        <a:pt x="904" y="964"/>
                      </a:lnTo>
                      <a:lnTo>
                        <a:pt x="904" y="965"/>
                      </a:lnTo>
                      <a:lnTo>
                        <a:pt x="905" y="967"/>
                      </a:lnTo>
                      <a:lnTo>
                        <a:pt x="906" y="968"/>
                      </a:lnTo>
                      <a:lnTo>
                        <a:pt x="908" y="968"/>
                      </a:lnTo>
                      <a:lnTo>
                        <a:pt x="909" y="969"/>
                      </a:lnTo>
                      <a:lnTo>
                        <a:pt x="910" y="969"/>
                      </a:lnTo>
                      <a:lnTo>
                        <a:pt x="909" y="969"/>
                      </a:lnTo>
                      <a:lnTo>
                        <a:pt x="910" y="969"/>
                      </a:lnTo>
                      <a:lnTo>
                        <a:pt x="911" y="969"/>
                      </a:lnTo>
                      <a:lnTo>
                        <a:pt x="911" y="970"/>
                      </a:lnTo>
                      <a:lnTo>
                        <a:pt x="910" y="970"/>
                      </a:lnTo>
                      <a:lnTo>
                        <a:pt x="911" y="971"/>
                      </a:lnTo>
                      <a:lnTo>
                        <a:pt x="911" y="970"/>
                      </a:lnTo>
                      <a:lnTo>
                        <a:pt x="911" y="971"/>
                      </a:lnTo>
                      <a:lnTo>
                        <a:pt x="911" y="970"/>
                      </a:lnTo>
                      <a:lnTo>
                        <a:pt x="912" y="970"/>
                      </a:lnTo>
                      <a:lnTo>
                        <a:pt x="912" y="969"/>
                      </a:lnTo>
                      <a:lnTo>
                        <a:pt x="913" y="969"/>
                      </a:lnTo>
                      <a:lnTo>
                        <a:pt x="914" y="969"/>
                      </a:lnTo>
                      <a:lnTo>
                        <a:pt x="914" y="968"/>
                      </a:lnTo>
                      <a:lnTo>
                        <a:pt x="915" y="968"/>
                      </a:lnTo>
                      <a:lnTo>
                        <a:pt x="915" y="967"/>
                      </a:lnTo>
                      <a:lnTo>
                        <a:pt x="916" y="967"/>
                      </a:lnTo>
                      <a:lnTo>
                        <a:pt x="910" y="971"/>
                      </a:lnTo>
                      <a:lnTo>
                        <a:pt x="909" y="973"/>
                      </a:lnTo>
                      <a:lnTo>
                        <a:pt x="908" y="973"/>
                      </a:lnTo>
                      <a:lnTo>
                        <a:pt x="906" y="974"/>
                      </a:lnTo>
                      <a:lnTo>
                        <a:pt x="905" y="974"/>
                      </a:lnTo>
                      <a:lnTo>
                        <a:pt x="905" y="973"/>
                      </a:lnTo>
                      <a:lnTo>
                        <a:pt x="904" y="973"/>
                      </a:lnTo>
                      <a:lnTo>
                        <a:pt x="904" y="971"/>
                      </a:lnTo>
                      <a:lnTo>
                        <a:pt x="903" y="971"/>
                      </a:lnTo>
                      <a:lnTo>
                        <a:pt x="903" y="970"/>
                      </a:lnTo>
                      <a:lnTo>
                        <a:pt x="903" y="969"/>
                      </a:lnTo>
                      <a:lnTo>
                        <a:pt x="902" y="969"/>
                      </a:lnTo>
                      <a:lnTo>
                        <a:pt x="902" y="968"/>
                      </a:lnTo>
                      <a:lnTo>
                        <a:pt x="903" y="968"/>
                      </a:lnTo>
                      <a:lnTo>
                        <a:pt x="903" y="969"/>
                      </a:lnTo>
                      <a:lnTo>
                        <a:pt x="904" y="969"/>
                      </a:lnTo>
                      <a:lnTo>
                        <a:pt x="904" y="968"/>
                      </a:lnTo>
                      <a:lnTo>
                        <a:pt x="904" y="967"/>
                      </a:lnTo>
                      <a:lnTo>
                        <a:pt x="904" y="966"/>
                      </a:lnTo>
                      <a:lnTo>
                        <a:pt x="904" y="967"/>
                      </a:lnTo>
                      <a:lnTo>
                        <a:pt x="904" y="966"/>
                      </a:lnTo>
                      <a:lnTo>
                        <a:pt x="904" y="965"/>
                      </a:lnTo>
                      <a:lnTo>
                        <a:pt x="903" y="964"/>
                      </a:lnTo>
                      <a:lnTo>
                        <a:pt x="903" y="963"/>
                      </a:lnTo>
                      <a:lnTo>
                        <a:pt x="903" y="962"/>
                      </a:lnTo>
                      <a:lnTo>
                        <a:pt x="903" y="961"/>
                      </a:lnTo>
                      <a:lnTo>
                        <a:pt x="904" y="961"/>
                      </a:lnTo>
                      <a:lnTo>
                        <a:pt x="904" y="960"/>
                      </a:lnTo>
                      <a:lnTo>
                        <a:pt x="904" y="958"/>
                      </a:lnTo>
                      <a:lnTo>
                        <a:pt x="905" y="958"/>
                      </a:lnTo>
                      <a:lnTo>
                        <a:pt x="905" y="957"/>
                      </a:lnTo>
                      <a:lnTo>
                        <a:pt x="905" y="956"/>
                      </a:lnTo>
                      <a:lnTo>
                        <a:pt x="906" y="955"/>
                      </a:lnTo>
                      <a:lnTo>
                        <a:pt x="908" y="955"/>
                      </a:lnTo>
                      <a:lnTo>
                        <a:pt x="906" y="955"/>
                      </a:lnTo>
                      <a:lnTo>
                        <a:pt x="905" y="956"/>
                      </a:lnTo>
                      <a:lnTo>
                        <a:pt x="905" y="957"/>
                      </a:lnTo>
                      <a:lnTo>
                        <a:pt x="905" y="958"/>
                      </a:lnTo>
                      <a:lnTo>
                        <a:pt x="906" y="958"/>
                      </a:lnTo>
                      <a:close/>
                      <a:moveTo>
                        <a:pt x="929" y="1029"/>
                      </a:moveTo>
                      <a:lnTo>
                        <a:pt x="930" y="1029"/>
                      </a:lnTo>
                      <a:lnTo>
                        <a:pt x="931" y="1029"/>
                      </a:lnTo>
                      <a:lnTo>
                        <a:pt x="931" y="1030"/>
                      </a:lnTo>
                      <a:lnTo>
                        <a:pt x="932" y="1030"/>
                      </a:lnTo>
                      <a:lnTo>
                        <a:pt x="931" y="1030"/>
                      </a:lnTo>
                      <a:lnTo>
                        <a:pt x="931" y="1031"/>
                      </a:lnTo>
                      <a:lnTo>
                        <a:pt x="930" y="1032"/>
                      </a:lnTo>
                      <a:lnTo>
                        <a:pt x="929" y="1033"/>
                      </a:lnTo>
                      <a:lnTo>
                        <a:pt x="928" y="1034"/>
                      </a:lnTo>
                      <a:lnTo>
                        <a:pt x="927" y="1034"/>
                      </a:lnTo>
                      <a:lnTo>
                        <a:pt x="925" y="1034"/>
                      </a:lnTo>
                      <a:lnTo>
                        <a:pt x="924" y="1034"/>
                      </a:lnTo>
                      <a:lnTo>
                        <a:pt x="924" y="1035"/>
                      </a:lnTo>
                      <a:lnTo>
                        <a:pt x="923" y="1035"/>
                      </a:lnTo>
                      <a:lnTo>
                        <a:pt x="922" y="1037"/>
                      </a:lnTo>
                      <a:lnTo>
                        <a:pt x="921" y="1037"/>
                      </a:lnTo>
                      <a:lnTo>
                        <a:pt x="922" y="1035"/>
                      </a:lnTo>
                      <a:lnTo>
                        <a:pt x="922" y="1034"/>
                      </a:lnTo>
                      <a:lnTo>
                        <a:pt x="921" y="1034"/>
                      </a:lnTo>
                      <a:lnTo>
                        <a:pt x="921" y="1033"/>
                      </a:lnTo>
                      <a:lnTo>
                        <a:pt x="922" y="1033"/>
                      </a:lnTo>
                      <a:lnTo>
                        <a:pt x="921" y="1033"/>
                      </a:lnTo>
                      <a:lnTo>
                        <a:pt x="919" y="1033"/>
                      </a:lnTo>
                      <a:lnTo>
                        <a:pt x="919" y="1032"/>
                      </a:lnTo>
                      <a:lnTo>
                        <a:pt x="921" y="1032"/>
                      </a:lnTo>
                      <a:lnTo>
                        <a:pt x="921" y="1033"/>
                      </a:lnTo>
                      <a:lnTo>
                        <a:pt x="922" y="1033"/>
                      </a:lnTo>
                      <a:lnTo>
                        <a:pt x="922" y="1032"/>
                      </a:lnTo>
                      <a:lnTo>
                        <a:pt x="921" y="1032"/>
                      </a:lnTo>
                      <a:lnTo>
                        <a:pt x="922" y="1032"/>
                      </a:lnTo>
                      <a:lnTo>
                        <a:pt x="921" y="1032"/>
                      </a:lnTo>
                      <a:lnTo>
                        <a:pt x="922" y="1032"/>
                      </a:lnTo>
                      <a:lnTo>
                        <a:pt x="923" y="1032"/>
                      </a:lnTo>
                      <a:lnTo>
                        <a:pt x="924" y="1033"/>
                      </a:lnTo>
                      <a:lnTo>
                        <a:pt x="925" y="1033"/>
                      </a:lnTo>
                      <a:lnTo>
                        <a:pt x="925" y="1034"/>
                      </a:lnTo>
                      <a:lnTo>
                        <a:pt x="925" y="1033"/>
                      </a:lnTo>
                      <a:lnTo>
                        <a:pt x="926" y="1033"/>
                      </a:lnTo>
                      <a:lnTo>
                        <a:pt x="927" y="1033"/>
                      </a:lnTo>
                      <a:lnTo>
                        <a:pt x="927" y="1032"/>
                      </a:lnTo>
                      <a:lnTo>
                        <a:pt x="927" y="1031"/>
                      </a:lnTo>
                      <a:lnTo>
                        <a:pt x="927" y="1030"/>
                      </a:lnTo>
                      <a:lnTo>
                        <a:pt x="927" y="1029"/>
                      </a:lnTo>
                      <a:lnTo>
                        <a:pt x="927" y="1030"/>
                      </a:lnTo>
                      <a:lnTo>
                        <a:pt x="927" y="1031"/>
                      </a:lnTo>
                      <a:lnTo>
                        <a:pt x="928" y="1031"/>
                      </a:lnTo>
                      <a:lnTo>
                        <a:pt x="928" y="1030"/>
                      </a:lnTo>
                      <a:lnTo>
                        <a:pt x="928" y="1031"/>
                      </a:lnTo>
                      <a:lnTo>
                        <a:pt x="928" y="1030"/>
                      </a:lnTo>
                      <a:lnTo>
                        <a:pt x="928" y="1029"/>
                      </a:lnTo>
                      <a:lnTo>
                        <a:pt x="929" y="1029"/>
                      </a:lnTo>
                      <a:close/>
                      <a:moveTo>
                        <a:pt x="892" y="897"/>
                      </a:moveTo>
                      <a:lnTo>
                        <a:pt x="893" y="897"/>
                      </a:lnTo>
                      <a:lnTo>
                        <a:pt x="893" y="898"/>
                      </a:lnTo>
                      <a:lnTo>
                        <a:pt x="895" y="898"/>
                      </a:lnTo>
                      <a:lnTo>
                        <a:pt x="895" y="899"/>
                      </a:lnTo>
                      <a:lnTo>
                        <a:pt x="895" y="898"/>
                      </a:lnTo>
                      <a:lnTo>
                        <a:pt x="893" y="898"/>
                      </a:lnTo>
                      <a:lnTo>
                        <a:pt x="892" y="898"/>
                      </a:lnTo>
                      <a:lnTo>
                        <a:pt x="891" y="898"/>
                      </a:lnTo>
                      <a:lnTo>
                        <a:pt x="891" y="899"/>
                      </a:lnTo>
                      <a:lnTo>
                        <a:pt x="891" y="900"/>
                      </a:lnTo>
                      <a:lnTo>
                        <a:pt x="891" y="901"/>
                      </a:lnTo>
                      <a:lnTo>
                        <a:pt x="890" y="901"/>
                      </a:lnTo>
                      <a:lnTo>
                        <a:pt x="890" y="900"/>
                      </a:lnTo>
                      <a:lnTo>
                        <a:pt x="890" y="901"/>
                      </a:lnTo>
                      <a:lnTo>
                        <a:pt x="890" y="902"/>
                      </a:lnTo>
                      <a:lnTo>
                        <a:pt x="890" y="901"/>
                      </a:lnTo>
                      <a:lnTo>
                        <a:pt x="890" y="902"/>
                      </a:lnTo>
                      <a:lnTo>
                        <a:pt x="889" y="902"/>
                      </a:lnTo>
                      <a:lnTo>
                        <a:pt x="888" y="902"/>
                      </a:lnTo>
                      <a:lnTo>
                        <a:pt x="889" y="903"/>
                      </a:lnTo>
                      <a:lnTo>
                        <a:pt x="888" y="903"/>
                      </a:lnTo>
                      <a:lnTo>
                        <a:pt x="888" y="904"/>
                      </a:lnTo>
                      <a:lnTo>
                        <a:pt x="887" y="904"/>
                      </a:lnTo>
                      <a:lnTo>
                        <a:pt x="888" y="904"/>
                      </a:lnTo>
                      <a:lnTo>
                        <a:pt x="889" y="904"/>
                      </a:lnTo>
                      <a:lnTo>
                        <a:pt x="890" y="904"/>
                      </a:lnTo>
                      <a:lnTo>
                        <a:pt x="890" y="903"/>
                      </a:lnTo>
                      <a:lnTo>
                        <a:pt x="890" y="904"/>
                      </a:lnTo>
                      <a:lnTo>
                        <a:pt x="890" y="903"/>
                      </a:lnTo>
                      <a:lnTo>
                        <a:pt x="889" y="903"/>
                      </a:lnTo>
                      <a:lnTo>
                        <a:pt x="890" y="903"/>
                      </a:lnTo>
                      <a:lnTo>
                        <a:pt x="890" y="902"/>
                      </a:lnTo>
                      <a:lnTo>
                        <a:pt x="890" y="903"/>
                      </a:lnTo>
                      <a:lnTo>
                        <a:pt x="891" y="903"/>
                      </a:lnTo>
                      <a:lnTo>
                        <a:pt x="891" y="902"/>
                      </a:lnTo>
                      <a:lnTo>
                        <a:pt x="891" y="903"/>
                      </a:lnTo>
                      <a:lnTo>
                        <a:pt x="892" y="903"/>
                      </a:lnTo>
                      <a:lnTo>
                        <a:pt x="893" y="903"/>
                      </a:lnTo>
                      <a:lnTo>
                        <a:pt x="893" y="904"/>
                      </a:lnTo>
                      <a:lnTo>
                        <a:pt x="892" y="904"/>
                      </a:lnTo>
                      <a:lnTo>
                        <a:pt x="891" y="905"/>
                      </a:lnTo>
                      <a:lnTo>
                        <a:pt x="891" y="906"/>
                      </a:lnTo>
                      <a:lnTo>
                        <a:pt x="890" y="906"/>
                      </a:lnTo>
                      <a:lnTo>
                        <a:pt x="891" y="907"/>
                      </a:lnTo>
                      <a:lnTo>
                        <a:pt x="891" y="909"/>
                      </a:lnTo>
                      <a:lnTo>
                        <a:pt x="892" y="909"/>
                      </a:lnTo>
                      <a:lnTo>
                        <a:pt x="892" y="910"/>
                      </a:lnTo>
                      <a:lnTo>
                        <a:pt x="891" y="910"/>
                      </a:lnTo>
                      <a:lnTo>
                        <a:pt x="891" y="909"/>
                      </a:lnTo>
                      <a:lnTo>
                        <a:pt x="890" y="909"/>
                      </a:lnTo>
                      <a:lnTo>
                        <a:pt x="890" y="907"/>
                      </a:lnTo>
                      <a:lnTo>
                        <a:pt x="889" y="907"/>
                      </a:lnTo>
                      <a:lnTo>
                        <a:pt x="888" y="907"/>
                      </a:lnTo>
                      <a:lnTo>
                        <a:pt x="887" y="906"/>
                      </a:lnTo>
                      <a:lnTo>
                        <a:pt x="887" y="905"/>
                      </a:lnTo>
                      <a:lnTo>
                        <a:pt x="887" y="904"/>
                      </a:lnTo>
                      <a:lnTo>
                        <a:pt x="887" y="903"/>
                      </a:lnTo>
                      <a:lnTo>
                        <a:pt x="887" y="902"/>
                      </a:lnTo>
                      <a:lnTo>
                        <a:pt x="888" y="902"/>
                      </a:lnTo>
                      <a:lnTo>
                        <a:pt x="888" y="901"/>
                      </a:lnTo>
                      <a:lnTo>
                        <a:pt x="889" y="901"/>
                      </a:lnTo>
                      <a:lnTo>
                        <a:pt x="889" y="900"/>
                      </a:lnTo>
                      <a:lnTo>
                        <a:pt x="890" y="900"/>
                      </a:lnTo>
                      <a:lnTo>
                        <a:pt x="890" y="899"/>
                      </a:lnTo>
                      <a:lnTo>
                        <a:pt x="890" y="898"/>
                      </a:lnTo>
                      <a:lnTo>
                        <a:pt x="889" y="898"/>
                      </a:lnTo>
                      <a:lnTo>
                        <a:pt x="890" y="898"/>
                      </a:lnTo>
                      <a:lnTo>
                        <a:pt x="889" y="898"/>
                      </a:lnTo>
                      <a:lnTo>
                        <a:pt x="889" y="897"/>
                      </a:lnTo>
                      <a:lnTo>
                        <a:pt x="890" y="897"/>
                      </a:lnTo>
                      <a:lnTo>
                        <a:pt x="891" y="897"/>
                      </a:lnTo>
                      <a:lnTo>
                        <a:pt x="891" y="898"/>
                      </a:lnTo>
                      <a:lnTo>
                        <a:pt x="892" y="897"/>
                      </a:lnTo>
                      <a:close/>
                      <a:moveTo>
                        <a:pt x="917" y="896"/>
                      </a:moveTo>
                      <a:lnTo>
                        <a:pt x="917" y="897"/>
                      </a:lnTo>
                      <a:lnTo>
                        <a:pt x="916" y="897"/>
                      </a:lnTo>
                      <a:lnTo>
                        <a:pt x="915" y="898"/>
                      </a:lnTo>
                      <a:lnTo>
                        <a:pt x="915" y="899"/>
                      </a:lnTo>
                      <a:lnTo>
                        <a:pt x="915" y="900"/>
                      </a:lnTo>
                      <a:lnTo>
                        <a:pt x="915" y="901"/>
                      </a:lnTo>
                      <a:lnTo>
                        <a:pt x="914" y="902"/>
                      </a:lnTo>
                      <a:lnTo>
                        <a:pt x="913" y="903"/>
                      </a:lnTo>
                      <a:lnTo>
                        <a:pt x="913" y="904"/>
                      </a:lnTo>
                      <a:lnTo>
                        <a:pt x="913" y="903"/>
                      </a:lnTo>
                      <a:lnTo>
                        <a:pt x="913" y="902"/>
                      </a:lnTo>
                      <a:lnTo>
                        <a:pt x="913" y="900"/>
                      </a:lnTo>
                      <a:lnTo>
                        <a:pt x="913" y="899"/>
                      </a:lnTo>
                      <a:lnTo>
                        <a:pt x="912" y="899"/>
                      </a:lnTo>
                      <a:lnTo>
                        <a:pt x="912" y="898"/>
                      </a:lnTo>
                      <a:lnTo>
                        <a:pt x="912" y="897"/>
                      </a:lnTo>
                      <a:lnTo>
                        <a:pt x="912" y="896"/>
                      </a:lnTo>
                      <a:lnTo>
                        <a:pt x="912" y="893"/>
                      </a:lnTo>
                      <a:lnTo>
                        <a:pt x="912" y="892"/>
                      </a:lnTo>
                      <a:lnTo>
                        <a:pt x="911" y="892"/>
                      </a:lnTo>
                      <a:lnTo>
                        <a:pt x="911" y="891"/>
                      </a:lnTo>
                      <a:lnTo>
                        <a:pt x="912" y="891"/>
                      </a:lnTo>
                      <a:lnTo>
                        <a:pt x="912" y="892"/>
                      </a:lnTo>
                      <a:lnTo>
                        <a:pt x="913" y="891"/>
                      </a:lnTo>
                      <a:lnTo>
                        <a:pt x="913" y="892"/>
                      </a:lnTo>
                      <a:lnTo>
                        <a:pt x="913" y="893"/>
                      </a:lnTo>
                      <a:lnTo>
                        <a:pt x="913" y="894"/>
                      </a:lnTo>
                      <a:lnTo>
                        <a:pt x="912" y="894"/>
                      </a:lnTo>
                      <a:lnTo>
                        <a:pt x="912" y="893"/>
                      </a:lnTo>
                      <a:lnTo>
                        <a:pt x="912" y="894"/>
                      </a:lnTo>
                      <a:lnTo>
                        <a:pt x="912" y="896"/>
                      </a:lnTo>
                      <a:lnTo>
                        <a:pt x="915" y="894"/>
                      </a:lnTo>
                      <a:lnTo>
                        <a:pt x="915" y="893"/>
                      </a:lnTo>
                      <a:lnTo>
                        <a:pt x="915" y="892"/>
                      </a:lnTo>
                      <a:lnTo>
                        <a:pt x="914" y="891"/>
                      </a:lnTo>
                      <a:lnTo>
                        <a:pt x="915" y="891"/>
                      </a:lnTo>
                      <a:lnTo>
                        <a:pt x="916" y="892"/>
                      </a:lnTo>
                      <a:lnTo>
                        <a:pt x="916" y="893"/>
                      </a:lnTo>
                      <a:lnTo>
                        <a:pt x="917" y="893"/>
                      </a:lnTo>
                      <a:lnTo>
                        <a:pt x="917" y="894"/>
                      </a:lnTo>
                      <a:lnTo>
                        <a:pt x="917" y="896"/>
                      </a:lnTo>
                      <a:close/>
                      <a:moveTo>
                        <a:pt x="916" y="917"/>
                      </a:moveTo>
                      <a:lnTo>
                        <a:pt x="916" y="918"/>
                      </a:lnTo>
                      <a:lnTo>
                        <a:pt x="917" y="918"/>
                      </a:lnTo>
                      <a:lnTo>
                        <a:pt x="918" y="918"/>
                      </a:lnTo>
                      <a:lnTo>
                        <a:pt x="918" y="919"/>
                      </a:lnTo>
                      <a:lnTo>
                        <a:pt x="919" y="919"/>
                      </a:lnTo>
                      <a:lnTo>
                        <a:pt x="921" y="919"/>
                      </a:lnTo>
                      <a:lnTo>
                        <a:pt x="921" y="918"/>
                      </a:lnTo>
                      <a:lnTo>
                        <a:pt x="921" y="919"/>
                      </a:lnTo>
                      <a:lnTo>
                        <a:pt x="922" y="919"/>
                      </a:lnTo>
                      <a:lnTo>
                        <a:pt x="923" y="919"/>
                      </a:lnTo>
                      <a:lnTo>
                        <a:pt x="922" y="919"/>
                      </a:lnTo>
                      <a:lnTo>
                        <a:pt x="922" y="921"/>
                      </a:lnTo>
                      <a:lnTo>
                        <a:pt x="921" y="921"/>
                      </a:lnTo>
                      <a:lnTo>
                        <a:pt x="921" y="922"/>
                      </a:lnTo>
                      <a:lnTo>
                        <a:pt x="921" y="923"/>
                      </a:lnTo>
                      <a:lnTo>
                        <a:pt x="919" y="923"/>
                      </a:lnTo>
                      <a:lnTo>
                        <a:pt x="919" y="924"/>
                      </a:lnTo>
                      <a:lnTo>
                        <a:pt x="918" y="925"/>
                      </a:lnTo>
                      <a:lnTo>
                        <a:pt x="918" y="926"/>
                      </a:lnTo>
                      <a:lnTo>
                        <a:pt x="918" y="927"/>
                      </a:lnTo>
                      <a:lnTo>
                        <a:pt x="918" y="928"/>
                      </a:lnTo>
                      <a:lnTo>
                        <a:pt x="917" y="928"/>
                      </a:lnTo>
                      <a:lnTo>
                        <a:pt x="917" y="929"/>
                      </a:lnTo>
                      <a:lnTo>
                        <a:pt x="917" y="928"/>
                      </a:lnTo>
                      <a:lnTo>
                        <a:pt x="916" y="928"/>
                      </a:lnTo>
                      <a:lnTo>
                        <a:pt x="916" y="927"/>
                      </a:lnTo>
                      <a:lnTo>
                        <a:pt x="916" y="926"/>
                      </a:lnTo>
                      <a:lnTo>
                        <a:pt x="916" y="925"/>
                      </a:lnTo>
                      <a:lnTo>
                        <a:pt x="916" y="924"/>
                      </a:lnTo>
                      <a:lnTo>
                        <a:pt x="916" y="923"/>
                      </a:lnTo>
                      <a:lnTo>
                        <a:pt x="916" y="922"/>
                      </a:lnTo>
                      <a:lnTo>
                        <a:pt x="916" y="921"/>
                      </a:lnTo>
                      <a:lnTo>
                        <a:pt x="916" y="919"/>
                      </a:lnTo>
                      <a:lnTo>
                        <a:pt x="915" y="918"/>
                      </a:lnTo>
                      <a:lnTo>
                        <a:pt x="915" y="917"/>
                      </a:lnTo>
                      <a:lnTo>
                        <a:pt x="916" y="917"/>
                      </a:lnTo>
                      <a:close/>
                      <a:moveTo>
                        <a:pt x="928" y="993"/>
                      </a:moveTo>
                      <a:lnTo>
                        <a:pt x="928" y="994"/>
                      </a:lnTo>
                      <a:lnTo>
                        <a:pt x="928" y="995"/>
                      </a:lnTo>
                      <a:lnTo>
                        <a:pt x="929" y="995"/>
                      </a:lnTo>
                      <a:lnTo>
                        <a:pt x="929" y="996"/>
                      </a:lnTo>
                      <a:lnTo>
                        <a:pt x="929" y="998"/>
                      </a:lnTo>
                      <a:lnTo>
                        <a:pt x="928" y="998"/>
                      </a:lnTo>
                      <a:lnTo>
                        <a:pt x="928" y="999"/>
                      </a:lnTo>
                      <a:lnTo>
                        <a:pt x="928" y="998"/>
                      </a:lnTo>
                      <a:lnTo>
                        <a:pt x="927" y="998"/>
                      </a:lnTo>
                      <a:lnTo>
                        <a:pt x="927" y="999"/>
                      </a:lnTo>
                      <a:lnTo>
                        <a:pt x="928" y="1000"/>
                      </a:lnTo>
                      <a:lnTo>
                        <a:pt x="927" y="1000"/>
                      </a:lnTo>
                      <a:lnTo>
                        <a:pt x="927" y="999"/>
                      </a:lnTo>
                      <a:lnTo>
                        <a:pt x="927" y="1000"/>
                      </a:lnTo>
                      <a:lnTo>
                        <a:pt x="926" y="1000"/>
                      </a:lnTo>
                      <a:lnTo>
                        <a:pt x="926" y="1001"/>
                      </a:lnTo>
                      <a:lnTo>
                        <a:pt x="927" y="1001"/>
                      </a:lnTo>
                      <a:lnTo>
                        <a:pt x="927" y="1000"/>
                      </a:lnTo>
                      <a:lnTo>
                        <a:pt x="928" y="1000"/>
                      </a:lnTo>
                      <a:lnTo>
                        <a:pt x="928" y="1001"/>
                      </a:lnTo>
                      <a:lnTo>
                        <a:pt x="928" y="1002"/>
                      </a:lnTo>
                      <a:lnTo>
                        <a:pt x="927" y="1002"/>
                      </a:lnTo>
                      <a:lnTo>
                        <a:pt x="927" y="1003"/>
                      </a:lnTo>
                      <a:lnTo>
                        <a:pt x="926" y="1003"/>
                      </a:lnTo>
                      <a:lnTo>
                        <a:pt x="925" y="1002"/>
                      </a:lnTo>
                      <a:lnTo>
                        <a:pt x="925" y="1003"/>
                      </a:lnTo>
                      <a:lnTo>
                        <a:pt x="925" y="1002"/>
                      </a:lnTo>
                      <a:lnTo>
                        <a:pt x="924" y="1002"/>
                      </a:lnTo>
                      <a:lnTo>
                        <a:pt x="924" y="1001"/>
                      </a:lnTo>
                      <a:lnTo>
                        <a:pt x="925" y="1001"/>
                      </a:lnTo>
                      <a:lnTo>
                        <a:pt x="924" y="1001"/>
                      </a:lnTo>
                      <a:lnTo>
                        <a:pt x="924" y="1000"/>
                      </a:lnTo>
                      <a:lnTo>
                        <a:pt x="923" y="1000"/>
                      </a:lnTo>
                      <a:lnTo>
                        <a:pt x="924" y="1000"/>
                      </a:lnTo>
                      <a:lnTo>
                        <a:pt x="924" y="999"/>
                      </a:lnTo>
                      <a:lnTo>
                        <a:pt x="924" y="998"/>
                      </a:lnTo>
                      <a:lnTo>
                        <a:pt x="924" y="999"/>
                      </a:lnTo>
                      <a:lnTo>
                        <a:pt x="925" y="999"/>
                      </a:lnTo>
                      <a:lnTo>
                        <a:pt x="926" y="998"/>
                      </a:lnTo>
                      <a:lnTo>
                        <a:pt x="926" y="999"/>
                      </a:lnTo>
                      <a:lnTo>
                        <a:pt x="925" y="999"/>
                      </a:lnTo>
                      <a:lnTo>
                        <a:pt x="926" y="999"/>
                      </a:lnTo>
                      <a:lnTo>
                        <a:pt x="926" y="998"/>
                      </a:lnTo>
                      <a:lnTo>
                        <a:pt x="926" y="996"/>
                      </a:lnTo>
                      <a:lnTo>
                        <a:pt x="925" y="996"/>
                      </a:lnTo>
                      <a:lnTo>
                        <a:pt x="926" y="996"/>
                      </a:lnTo>
                      <a:lnTo>
                        <a:pt x="926" y="995"/>
                      </a:lnTo>
                      <a:lnTo>
                        <a:pt x="925" y="995"/>
                      </a:lnTo>
                      <a:lnTo>
                        <a:pt x="925" y="994"/>
                      </a:lnTo>
                      <a:lnTo>
                        <a:pt x="926" y="995"/>
                      </a:lnTo>
                      <a:lnTo>
                        <a:pt x="926" y="994"/>
                      </a:lnTo>
                      <a:lnTo>
                        <a:pt x="926" y="995"/>
                      </a:lnTo>
                      <a:lnTo>
                        <a:pt x="926" y="996"/>
                      </a:lnTo>
                      <a:lnTo>
                        <a:pt x="926" y="995"/>
                      </a:lnTo>
                      <a:lnTo>
                        <a:pt x="926" y="994"/>
                      </a:lnTo>
                      <a:lnTo>
                        <a:pt x="927" y="994"/>
                      </a:lnTo>
                      <a:lnTo>
                        <a:pt x="926" y="1001"/>
                      </a:lnTo>
                      <a:lnTo>
                        <a:pt x="927" y="994"/>
                      </a:lnTo>
                      <a:lnTo>
                        <a:pt x="928" y="994"/>
                      </a:lnTo>
                      <a:lnTo>
                        <a:pt x="927" y="994"/>
                      </a:lnTo>
                      <a:lnTo>
                        <a:pt x="927" y="993"/>
                      </a:lnTo>
                      <a:lnTo>
                        <a:pt x="928" y="993"/>
                      </a:lnTo>
                      <a:lnTo>
                        <a:pt x="927" y="993"/>
                      </a:lnTo>
                      <a:lnTo>
                        <a:pt x="927" y="992"/>
                      </a:lnTo>
                      <a:lnTo>
                        <a:pt x="927" y="991"/>
                      </a:lnTo>
                      <a:lnTo>
                        <a:pt x="928" y="991"/>
                      </a:lnTo>
                      <a:lnTo>
                        <a:pt x="928" y="993"/>
                      </a:lnTo>
                      <a:close/>
                      <a:moveTo>
                        <a:pt x="917" y="904"/>
                      </a:moveTo>
                      <a:lnTo>
                        <a:pt x="917" y="905"/>
                      </a:lnTo>
                      <a:lnTo>
                        <a:pt x="917" y="906"/>
                      </a:lnTo>
                      <a:lnTo>
                        <a:pt x="918" y="906"/>
                      </a:lnTo>
                      <a:lnTo>
                        <a:pt x="919" y="906"/>
                      </a:lnTo>
                      <a:lnTo>
                        <a:pt x="918" y="907"/>
                      </a:lnTo>
                      <a:lnTo>
                        <a:pt x="917" y="907"/>
                      </a:lnTo>
                      <a:lnTo>
                        <a:pt x="917" y="909"/>
                      </a:lnTo>
                      <a:lnTo>
                        <a:pt x="916" y="909"/>
                      </a:lnTo>
                      <a:lnTo>
                        <a:pt x="916" y="910"/>
                      </a:lnTo>
                      <a:lnTo>
                        <a:pt x="916" y="911"/>
                      </a:lnTo>
                      <a:lnTo>
                        <a:pt x="916" y="912"/>
                      </a:lnTo>
                      <a:lnTo>
                        <a:pt x="916" y="913"/>
                      </a:lnTo>
                      <a:lnTo>
                        <a:pt x="916" y="914"/>
                      </a:lnTo>
                      <a:lnTo>
                        <a:pt x="916" y="913"/>
                      </a:lnTo>
                      <a:lnTo>
                        <a:pt x="915" y="913"/>
                      </a:lnTo>
                      <a:lnTo>
                        <a:pt x="915" y="914"/>
                      </a:lnTo>
                      <a:lnTo>
                        <a:pt x="916" y="914"/>
                      </a:lnTo>
                      <a:lnTo>
                        <a:pt x="916" y="915"/>
                      </a:lnTo>
                      <a:lnTo>
                        <a:pt x="915" y="915"/>
                      </a:lnTo>
                      <a:lnTo>
                        <a:pt x="915" y="914"/>
                      </a:lnTo>
                      <a:lnTo>
                        <a:pt x="914" y="914"/>
                      </a:lnTo>
                      <a:lnTo>
                        <a:pt x="914" y="913"/>
                      </a:lnTo>
                      <a:lnTo>
                        <a:pt x="914" y="912"/>
                      </a:lnTo>
                      <a:lnTo>
                        <a:pt x="914" y="911"/>
                      </a:lnTo>
                      <a:lnTo>
                        <a:pt x="914" y="910"/>
                      </a:lnTo>
                      <a:lnTo>
                        <a:pt x="914" y="907"/>
                      </a:lnTo>
                      <a:lnTo>
                        <a:pt x="913" y="907"/>
                      </a:lnTo>
                      <a:lnTo>
                        <a:pt x="914" y="906"/>
                      </a:lnTo>
                      <a:lnTo>
                        <a:pt x="913" y="906"/>
                      </a:lnTo>
                      <a:lnTo>
                        <a:pt x="913" y="905"/>
                      </a:lnTo>
                      <a:lnTo>
                        <a:pt x="914" y="906"/>
                      </a:lnTo>
                      <a:lnTo>
                        <a:pt x="915" y="906"/>
                      </a:lnTo>
                      <a:lnTo>
                        <a:pt x="916" y="905"/>
                      </a:lnTo>
                      <a:lnTo>
                        <a:pt x="915" y="905"/>
                      </a:lnTo>
                      <a:lnTo>
                        <a:pt x="915" y="906"/>
                      </a:lnTo>
                      <a:lnTo>
                        <a:pt x="915" y="905"/>
                      </a:lnTo>
                      <a:lnTo>
                        <a:pt x="915" y="904"/>
                      </a:lnTo>
                      <a:lnTo>
                        <a:pt x="916" y="904"/>
                      </a:lnTo>
                      <a:lnTo>
                        <a:pt x="916" y="903"/>
                      </a:lnTo>
                      <a:lnTo>
                        <a:pt x="917" y="903"/>
                      </a:lnTo>
                      <a:lnTo>
                        <a:pt x="917" y="904"/>
                      </a:lnTo>
                      <a:close/>
                      <a:moveTo>
                        <a:pt x="901" y="1039"/>
                      </a:moveTo>
                      <a:lnTo>
                        <a:pt x="902" y="1039"/>
                      </a:lnTo>
                      <a:lnTo>
                        <a:pt x="902" y="1040"/>
                      </a:lnTo>
                      <a:lnTo>
                        <a:pt x="903" y="1040"/>
                      </a:lnTo>
                      <a:lnTo>
                        <a:pt x="902" y="1040"/>
                      </a:lnTo>
                      <a:lnTo>
                        <a:pt x="903" y="1041"/>
                      </a:lnTo>
                      <a:lnTo>
                        <a:pt x="903" y="1042"/>
                      </a:lnTo>
                      <a:lnTo>
                        <a:pt x="903" y="1043"/>
                      </a:lnTo>
                      <a:lnTo>
                        <a:pt x="903" y="1044"/>
                      </a:lnTo>
                      <a:lnTo>
                        <a:pt x="904" y="1044"/>
                      </a:lnTo>
                      <a:lnTo>
                        <a:pt x="904" y="1045"/>
                      </a:lnTo>
                      <a:lnTo>
                        <a:pt x="905" y="1045"/>
                      </a:lnTo>
                      <a:lnTo>
                        <a:pt x="904" y="1045"/>
                      </a:lnTo>
                      <a:lnTo>
                        <a:pt x="903" y="1045"/>
                      </a:lnTo>
                      <a:lnTo>
                        <a:pt x="903" y="1046"/>
                      </a:lnTo>
                      <a:lnTo>
                        <a:pt x="903" y="1045"/>
                      </a:lnTo>
                      <a:lnTo>
                        <a:pt x="902" y="1045"/>
                      </a:lnTo>
                      <a:lnTo>
                        <a:pt x="903" y="1045"/>
                      </a:lnTo>
                      <a:lnTo>
                        <a:pt x="902" y="1044"/>
                      </a:lnTo>
                      <a:lnTo>
                        <a:pt x="903" y="1044"/>
                      </a:lnTo>
                      <a:lnTo>
                        <a:pt x="902" y="1044"/>
                      </a:lnTo>
                      <a:lnTo>
                        <a:pt x="901" y="1045"/>
                      </a:lnTo>
                      <a:lnTo>
                        <a:pt x="900" y="1045"/>
                      </a:lnTo>
                      <a:lnTo>
                        <a:pt x="900" y="1044"/>
                      </a:lnTo>
                      <a:lnTo>
                        <a:pt x="901" y="1044"/>
                      </a:lnTo>
                      <a:lnTo>
                        <a:pt x="900" y="1044"/>
                      </a:lnTo>
                      <a:lnTo>
                        <a:pt x="901" y="1044"/>
                      </a:lnTo>
                      <a:lnTo>
                        <a:pt x="901" y="1043"/>
                      </a:lnTo>
                      <a:lnTo>
                        <a:pt x="900" y="1043"/>
                      </a:lnTo>
                      <a:lnTo>
                        <a:pt x="900" y="1044"/>
                      </a:lnTo>
                      <a:lnTo>
                        <a:pt x="899" y="1044"/>
                      </a:lnTo>
                      <a:lnTo>
                        <a:pt x="898" y="1045"/>
                      </a:lnTo>
                      <a:lnTo>
                        <a:pt x="898" y="1046"/>
                      </a:lnTo>
                      <a:lnTo>
                        <a:pt x="897" y="1046"/>
                      </a:lnTo>
                      <a:lnTo>
                        <a:pt x="896" y="1046"/>
                      </a:lnTo>
                      <a:lnTo>
                        <a:pt x="896" y="1045"/>
                      </a:lnTo>
                      <a:lnTo>
                        <a:pt x="895" y="1045"/>
                      </a:lnTo>
                      <a:lnTo>
                        <a:pt x="896" y="1045"/>
                      </a:lnTo>
                      <a:lnTo>
                        <a:pt x="897" y="1045"/>
                      </a:lnTo>
                      <a:lnTo>
                        <a:pt x="896" y="1045"/>
                      </a:lnTo>
                      <a:lnTo>
                        <a:pt x="897" y="1045"/>
                      </a:lnTo>
                      <a:lnTo>
                        <a:pt x="897" y="1044"/>
                      </a:lnTo>
                      <a:lnTo>
                        <a:pt x="898" y="1044"/>
                      </a:lnTo>
                      <a:lnTo>
                        <a:pt x="897" y="1044"/>
                      </a:lnTo>
                      <a:lnTo>
                        <a:pt x="898" y="1043"/>
                      </a:lnTo>
                      <a:lnTo>
                        <a:pt x="897" y="1043"/>
                      </a:lnTo>
                      <a:lnTo>
                        <a:pt x="898" y="1043"/>
                      </a:lnTo>
                      <a:lnTo>
                        <a:pt x="898" y="1044"/>
                      </a:lnTo>
                      <a:lnTo>
                        <a:pt x="898" y="1043"/>
                      </a:lnTo>
                      <a:lnTo>
                        <a:pt x="899" y="1042"/>
                      </a:lnTo>
                      <a:lnTo>
                        <a:pt x="899" y="1041"/>
                      </a:lnTo>
                      <a:lnTo>
                        <a:pt x="900" y="1041"/>
                      </a:lnTo>
                      <a:lnTo>
                        <a:pt x="900" y="1040"/>
                      </a:lnTo>
                      <a:lnTo>
                        <a:pt x="901" y="1040"/>
                      </a:lnTo>
                      <a:lnTo>
                        <a:pt x="901" y="1041"/>
                      </a:lnTo>
                      <a:lnTo>
                        <a:pt x="902" y="1041"/>
                      </a:lnTo>
                      <a:lnTo>
                        <a:pt x="902" y="1040"/>
                      </a:lnTo>
                      <a:lnTo>
                        <a:pt x="902" y="1039"/>
                      </a:lnTo>
                      <a:lnTo>
                        <a:pt x="901" y="1039"/>
                      </a:lnTo>
                      <a:lnTo>
                        <a:pt x="900" y="1039"/>
                      </a:lnTo>
                      <a:lnTo>
                        <a:pt x="901" y="1039"/>
                      </a:lnTo>
                      <a:close/>
                      <a:moveTo>
                        <a:pt x="872" y="876"/>
                      </a:moveTo>
                      <a:lnTo>
                        <a:pt x="873" y="877"/>
                      </a:lnTo>
                      <a:lnTo>
                        <a:pt x="872" y="877"/>
                      </a:lnTo>
                      <a:lnTo>
                        <a:pt x="872" y="878"/>
                      </a:lnTo>
                      <a:lnTo>
                        <a:pt x="872" y="877"/>
                      </a:lnTo>
                      <a:lnTo>
                        <a:pt x="871" y="877"/>
                      </a:lnTo>
                      <a:lnTo>
                        <a:pt x="871" y="876"/>
                      </a:lnTo>
                      <a:lnTo>
                        <a:pt x="870" y="876"/>
                      </a:lnTo>
                      <a:lnTo>
                        <a:pt x="867" y="877"/>
                      </a:lnTo>
                      <a:lnTo>
                        <a:pt x="866" y="877"/>
                      </a:lnTo>
                      <a:lnTo>
                        <a:pt x="866" y="878"/>
                      </a:lnTo>
                      <a:lnTo>
                        <a:pt x="866" y="879"/>
                      </a:lnTo>
                      <a:lnTo>
                        <a:pt x="866" y="880"/>
                      </a:lnTo>
                      <a:lnTo>
                        <a:pt x="865" y="880"/>
                      </a:lnTo>
                      <a:lnTo>
                        <a:pt x="863" y="880"/>
                      </a:lnTo>
                      <a:lnTo>
                        <a:pt x="863" y="879"/>
                      </a:lnTo>
                      <a:lnTo>
                        <a:pt x="862" y="879"/>
                      </a:lnTo>
                      <a:lnTo>
                        <a:pt x="863" y="879"/>
                      </a:lnTo>
                      <a:lnTo>
                        <a:pt x="863" y="878"/>
                      </a:lnTo>
                      <a:lnTo>
                        <a:pt x="864" y="878"/>
                      </a:lnTo>
                      <a:lnTo>
                        <a:pt x="865" y="878"/>
                      </a:lnTo>
                      <a:lnTo>
                        <a:pt x="866" y="877"/>
                      </a:lnTo>
                      <a:lnTo>
                        <a:pt x="866" y="876"/>
                      </a:lnTo>
                      <a:lnTo>
                        <a:pt x="866" y="875"/>
                      </a:lnTo>
                      <a:lnTo>
                        <a:pt x="867" y="875"/>
                      </a:lnTo>
                      <a:lnTo>
                        <a:pt x="869" y="874"/>
                      </a:lnTo>
                      <a:lnTo>
                        <a:pt x="869" y="873"/>
                      </a:lnTo>
                      <a:lnTo>
                        <a:pt x="869" y="872"/>
                      </a:lnTo>
                      <a:lnTo>
                        <a:pt x="870" y="872"/>
                      </a:lnTo>
                      <a:lnTo>
                        <a:pt x="871" y="872"/>
                      </a:lnTo>
                      <a:lnTo>
                        <a:pt x="871" y="873"/>
                      </a:lnTo>
                      <a:lnTo>
                        <a:pt x="872" y="873"/>
                      </a:lnTo>
                      <a:lnTo>
                        <a:pt x="871" y="873"/>
                      </a:lnTo>
                      <a:lnTo>
                        <a:pt x="871" y="874"/>
                      </a:lnTo>
                      <a:lnTo>
                        <a:pt x="871" y="875"/>
                      </a:lnTo>
                      <a:lnTo>
                        <a:pt x="872" y="875"/>
                      </a:lnTo>
                      <a:lnTo>
                        <a:pt x="872" y="876"/>
                      </a:lnTo>
                      <a:close/>
                      <a:moveTo>
                        <a:pt x="857" y="839"/>
                      </a:moveTo>
                      <a:lnTo>
                        <a:pt x="855" y="840"/>
                      </a:lnTo>
                      <a:lnTo>
                        <a:pt x="855" y="841"/>
                      </a:lnTo>
                      <a:lnTo>
                        <a:pt x="855" y="842"/>
                      </a:lnTo>
                      <a:lnTo>
                        <a:pt x="857" y="842"/>
                      </a:lnTo>
                      <a:lnTo>
                        <a:pt x="858" y="842"/>
                      </a:lnTo>
                      <a:lnTo>
                        <a:pt x="859" y="842"/>
                      </a:lnTo>
                      <a:lnTo>
                        <a:pt x="859" y="844"/>
                      </a:lnTo>
                      <a:lnTo>
                        <a:pt x="858" y="844"/>
                      </a:lnTo>
                      <a:lnTo>
                        <a:pt x="859" y="844"/>
                      </a:lnTo>
                      <a:lnTo>
                        <a:pt x="858" y="845"/>
                      </a:lnTo>
                      <a:lnTo>
                        <a:pt x="857" y="845"/>
                      </a:lnTo>
                      <a:lnTo>
                        <a:pt x="857" y="846"/>
                      </a:lnTo>
                      <a:lnTo>
                        <a:pt x="855" y="846"/>
                      </a:lnTo>
                      <a:lnTo>
                        <a:pt x="854" y="846"/>
                      </a:lnTo>
                      <a:lnTo>
                        <a:pt x="854" y="845"/>
                      </a:lnTo>
                      <a:lnTo>
                        <a:pt x="854" y="844"/>
                      </a:lnTo>
                      <a:lnTo>
                        <a:pt x="854" y="842"/>
                      </a:lnTo>
                      <a:lnTo>
                        <a:pt x="853" y="842"/>
                      </a:lnTo>
                      <a:lnTo>
                        <a:pt x="852" y="842"/>
                      </a:lnTo>
                      <a:lnTo>
                        <a:pt x="852" y="841"/>
                      </a:lnTo>
                      <a:lnTo>
                        <a:pt x="852" y="840"/>
                      </a:lnTo>
                      <a:lnTo>
                        <a:pt x="853" y="840"/>
                      </a:lnTo>
                      <a:lnTo>
                        <a:pt x="853" y="839"/>
                      </a:lnTo>
                      <a:lnTo>
                        <a:pt x="854" y="839"/>
                      </a:lnTo>
                      <a:lnTo>
                        <a:pt x="855" y="838"/>
                      </a:lnTo>
                      <a:lnTo>
                        <a:pt x="855" y="839"/>
                      </a:lnTo>
                      <a:lnTo>
                        <a:pt x="857" y="839"/>
                      </a:lnTo>
                      <a:close/>
                      <a:moveTo>
                        <a:pt x="878" y="1072"/>
                      </a:moveTo>
                      <a:lnTo>
                        <a:pt x="878" y="1074"/>
                      </a:lnTo>
                      <a:lnTo>
                        <a:pt x="879" y="1076"/>
                      </a:lnTo>
                      <a:lnTo>
                        <a:pt x="879" y="1077"/>
                      </a:lnTo>
                      <a:lnTo>
                        <a:pt x="880" y="1077"/>
                      </a:lnTo>
                      <a:lnTo>
                        <a:pt x="880" y="1078"/>
                      </a:lnTo>
                      <a:lnTo>
                        <a:pt x="880" y="1079"/>
                      </a:lnTo>
                      <a:lnTo>
                        <a:pt x="880" y="1080"/>
                      </a:lnTo>
                      <a:lnTo>
                        <a:pt x="879" y="1081"/>
                      </a:lnTo>
                      <a:lnTo>
                        <a:pt x="878" y="1081"/>
                      </a:lnTo>
                      <a:lnTo>
                        <a:pt x="878" y="1082"/>
                      </a:lnTo>
                      <a:lnTo>
                        <a:pt x="877" y="1082"/>
                      </a:lnTo>
                      <a:lnTo>
                        <a:pt x="875" y="1084"/>
                      </a:lnTo>
                      <a:lnTo>
                        <a:pt x="874" y="1085"/>
                      </a:lnTo>
                      <a:lnTo>
                        <a:pt x="871" y="1086"/>
                      </a:lnTo>
                      <a:lnTo>
                        <a:pt x="872" y="1086"/>
                      </a:lnTo>
                      <a:lnTo>
                        <a:pt x="872" y="1085"/>
                      </a:lnTo>
                      <a:lnTo>
                        <a:pt x="873" y="1085"/>
                      </a:lnTo>
                      <a:lnTo>
                        <a:pt x="873" y="1084"/>
                      </a:lnTo>
                      <a:lnTo>
                        <a:pt x="873" y="1083"/>
                      </a:lnTo>
                      <a:lnTo>
                        <a:pt x="874" y="1083"/>
                      </a:lnTo>
                      <a:lnTo>
                        <a:pt x="874" y="1084"/>
                      </a:lnTo>
                      <a:lnTo>
                        <a:pt x="874" y="1083"/>
                      </a:lnTo>
                      <a:lnTo>
                        <a:pt x="875" y="1083"/>
                      </a:lnTo>
                      <a:lnTo>
                        <a:pt x="875" y="1082"/>
                      </a:lnTo>
                      <a:lnTo>
                        <a:pt x="876" y="1081"/>
                      </a:lnTo>
                      <a:lnTo>
                        <a:pt x="876" y="1082"/>
                      </a:lnTo>
                      <a:lnTo>
                        <a:pt x="876" y="1081"/>
                      </a:lnTo>
                      <a:lnTo>
                        <a:pt x="877" y="1081"/>
                      </a:lnTo>
                      <a:lnTo>
                        <a:pt x="877" y="1082"/>
                      </a:lnTo>
                      <a:lnTo>
                        <a:pt x="877" y="1081"/>
                      </a:lnTo>
                      <a:lnTo>
                        <a:pt x="877" y="1082"/>
                      </a:lnTo>
                      <a:lnTo>
                        <a:pt x="878" y="1081"/>
                      </a:lnTo>
                      <a:lnTo>
                        <a:pt x="879" y="1081"/>
                      </a:lnTo>
                      <a:lnTo>
                        <a:pt x="879" y="1080"/>
                      </a:lnTo>
                      <a:lnTo>
                        <a:pt x="879" y="1079"/>
                      </a:lnTo>
                      <a:lnTo>
                        <a:pt x="880" y="1079"/>
                      </a:lnTo>
                      <a:lnTo>
                        <a:pt x="880" y="1078"/>
                      </a:lnTo>
                      <a:lnTo>
                        <a:pt x="879" y="1078"/>
                      </a:lnTo>
                      <a:lnTo>
                        <a:pt x="879" y="1077"/>
                      </a:lnTo>
                      <a:lnTo>
                        <a:pt x="879" y="1076"/>
                      </a:lnTo>
                      <a:lnTo>
                        <a:pt x="878" y="1076"/>
                      </a:lnTo>
                      <a:lnTo>
                        <a:pt x="878" y="1074"/>
                      </a:lnTo>
                      <a:lnTo>
                        <a:pt x="877" y="1074"/>
                      </a:lnTo>
                      <a:lnTo>
                        <a:pt x="876" y="1074"/>
                      </a:lnTo>
                      <a:lnTo>
                        <a:pt x="876" y="1073"/>
                      </a:lnTo>
                      <a:lnTo>
                        <a:pt x="876" y="1072"/>
                      </a:lnTo>
                      <a:lnTo>
                        <a:pt x="876" y="1073"/>
                      </a:lnTo>
                      <a:lnTo>
                        <a:pt x="876" y="1072"/>
                      </a:lnTo>
                      <a:lnTo>
                        <a:pt x="877" y="1072"/>
                      </a:lnTo>
                      <a:lnTo>
                        <a:pt x="877" y="1071"/>
                      </a:lnTo>
                      <a:lnTo>
                        <a:pt x="878" y="1071"/>
                      </a:lnTo>
                      <a:lnTo>
                        <a:pt x="878" y="1072"/>
                      </a:lnTo>
                      <a:close/>
                      <a:moveTo>
                        <a:pt x="931" y="1019"/>
                      </a:moveTo>
                      <a:lnTo>
                        <a:pt x="930" y="1020"/>
                      </a:lnTo>
                      <a:lnTo>
                        <a:pt x="931" y="1020"/>
                      </a:lnTo>
                      <a:lnTo>
                        <a:pt x="931" y="1021"/>
                      </a:lnTo>
                      <a:lnTo>
                        <a:pt x="930" y="1022"/>
                      </a:lnTo>
                      <a:lnTo>
                        <a:pt x="930" y="1024"/>
                      </a:lnTo>
                      <a:lnTo>
                        <a:pt x="929" y="1024"/>
                      </a:lnTo>
                      <a:lnTo>
                        <a:pt x="929" y="1022"/>
                      </a:lnTo>
                      <a:lnTo>
                        <a:pt x="928" y="1022"/>
                      </a:lnTo>
                      <a:lnTo>
                        <a:pt x="928" y="1021"/>
                      </a:lnTo>
                      <a:lnTo>
                        <a:pt x="929" y="1021"/>
                      </a:lnTo>
                      <a:lnTo>
                        <a:pt x="929" y="1020"/>
                      </a:lnTo>
                      <a:lnTo>
                        <a:pt x="928" y="1020"/>
                      </a:lnTo>
                      <a:lnTo>
                        <a:pt x="927" y="1019"/>
                      </a:lnTo>
                      <a:lnTo>
                        <a:pt x="926" y="1019"/>
                      </a:lnTo>
                      <a:lnTo>
                        <a:pt x="927" y="1019"/>
                      </a:lnTo>
                      <a:lnTo>
                        <a:pt x="927" y="1020"/>
                      </a:lnTo>
                      <a:lnTo>
                        <a:pt x="926" y="1020"/>
                      </a:lnTo>
                      <a:lnTo>
                        <a:pt x="925" y="1020"/>
                      </a:lnTo>
                      <a:lnTo>
                        <a:pt x="924" y="1020"/>
                      </a:lnTo>
                      <a:lnTo>
                        <a:pt x="924" y="1019"/>
                      </a:lnTo>
                      <a:lnTo>
                        <a:pt x="923" y="1019"/>
                      </a:lnTo>
                      <a:lnTo>
                        <a:pt x="924" y="1019"/>
                      </a:lnTo>
                      <a:lnTo>
                        <a:pt x="925" y="1019"/>
                      </a:lnTo>
                      <a:lnTo>
                        <a:pt x="926" y="1019"/>
                      </a:lnTo>
                      <a:lnTo>
                        <a:pt x="927" y="1019"/>
                      </a:lnTo>
                      <a:lnTo>
                        <a:pt x="927" y="1018"/>
                      </a:lnTo>
                      <a:lnTo>
                        <a:pt x="928" y="1018"/>
                      </a:lnTo>
                      <a:lnTo>
                        <a:pt x="928" y="1017"/>
                      </a:lnTo>
                      <a:lnTo>
                        <a:pt x="929" y="1017"/>
                      </a:lnTo>
                      <a:lnTo>
                        <a:pt x="929" y="1018"/>
                      </a:lnTo>
                      <a:lnTo>
                        <a:pt x="930" y="1018"/>
                      </a:lnTo>
                      <a:lnTo>
                        <a:pt x="930" y="1019"/>
                      </a:lnTo>
                      <a:lnTo>
                        <a:pt x="931" y="1019"/>
                      </a:lnTo>
                      <a:close/>
                      <a:moveTo>
                        <a:pt x="919" y="967"/>
                      </a:moveTo>
                      <a:lnTo>
                        <a:pt x="919" y="968"/>
                      </a:lnTo>
                      <a:lnTo>
                        <a:pt x="919" y="969"/>
                      </a:lnTo>
                      <a:lnTo>
                        <a:pt x="919" y="970"/>
                      </a:lnTo>
                      <a:lnTo>
                        <a:pt x="918" y="970"/>
                      </a:lnTo>
                      <a:lnTo>
                        <a:pt x="918" y="969"/>
                      </a:lnTo>
                      <a:lnTo>
                        <a:pt x="918" y="968"/>
                      </a:lnTo>
                      <a:lnTo>
                        <a:pt x="917" y="968"/>
                      </a:lnTo>
                      <a:lnTo>
                        <a:pt x="916" y="968"/>
                      </a:lnTo>
                      <a:lnTo>
                        <a:pt x="915" y="969"/>
                      </a:lnTo>
                      <a:lnTo>
                        <a:pt x="915" y="970"/>
                      </a:lnTo>
                      <a:lnTo>
                        <a:pt x="915" y="971"/>
                      </a:lnTo>
                      <a:lnTo>
                        <a:pt x="916" y="971"/>
                      </a:lnTo>
                      <a:lnTo>
                        <a:pt x="916" y="973"/>
                      </a:lnTo>
                      <a:lnTo>
                        <a:pt x="917" y="973"/>
                      </a:lnTo>
                      <a:lnTo>
                        <a:pt x="917" y="974"/>
                      </a:lnTo>
                      <a:lnTo>
                        <a:pt x="916" y="973"/>
                      </a:lnTo>
                      <a:lnTo>
                        <a:pt x="915" y="973"/>
                      </a:lnTo>
                      <a:lnTo>
                        <a:pt x="914" y="973"/>
                      </a:lnTo>
                      <a:lnTo>
                        <a:pt x="914" y="974"/>
                      </a:lnTo>
                      <a:lnTo>
                        <a:pt x="913" y="974"/>
                      </a:lnTo>
                      <a:lnTo>
                        <a:pt x="913" y="975"/>
                      </a:lnTo>
                      <a:lnTo>
                        <a:pt x="913" y="974"/>
                      </a:lnTo>
                      <a:lnTo>
                        <a:pt x="912" y="974"/>
                      </a:lnTo>
                      <a:lnTo>
                        <a:pt x="912" y="973"/>
                      </a:lnTo>
                      <a:lnTo>
                        <a:pt x="913" y="971"/>
                      </a:lnTo>
                      <a:lnTo>
                        <a:pt x="914" y="970"/>
                      </a:lnTo>
                      <a:lnTo>
                        <a:pt x="914" y="969"/>
                      </a:lnTo>
                      <a:lnTo>
                        <a:pt x="918" y="966"/>
                      </a:lnTo>
                      <a:lnTo>
                        <a:pt x="919" y="967"/>
                      </a:lnTo>
                      <a:close/>
                      <a:moveTo>
                        <a:pt x="892" y="963"/>
                      </a:moveTo>
                      <a:lnTo>
                        <a:pt x="892" y="964"/>
                      </a:lnTo>
                      <a:lnTo>
                        <a:pt x="893" y="964"/>
                      </a:lnTo>
                      <a:lnTo>
                        <a:pt x="895" y="964"/>
                      </a:lnTo>
                      <a:lnTo>
                        <a:pt x="895" y="965"/>
                      </a:lnTo>
                      <a:lnTo>
                        <a:pt x="895" y="966"/>
                      </a:lnTo>
                      <a:lnTo>
                        <a:pt x="896" y="966"/>
                      </a:lnTo>
                      <a:lnTo>
                        <a:pt x="896" y="967"/>
                      </a:lnTo>
                      <a:lnTo>
                        <a:pt x="895" y="967"/>
                      </a:lnTo>
                      <a:lnTo>
                        <a:pt x="895" y="966"/>
                      </a:lnTo>
                      <a:lnTo>
                        <a:pt x="895" y="965"/>
                      </a:lnTo>
                      <a:lnTo>
                        <a:pt x="895" y="966"/>
                      </a:lnTo>
                      <a:lnTo>
                        <a:pt x="895" y="967"/>
                      </a:lnTo>
                      <a:lnTo>
                        <a:pt x="893" y="967"/>
                      </a:lnTo>
                      <a:lnTo>
                        <a:pt x="893" y="968"/>
                      </a:lnTo>
                      <a:lnTo>
                        <a:pt x="892" y="968"/>
                      </a:lnTo>
                      <a:lnTo>
                        <a:pt x="892" y="967"/>
                      </a:lnTo>
                      <a:lnTo>
                        <a:pt x="891" y="967"/>
                      </a:lnTo>
                      <a:lnTo>
                        <a:pt x="891" y="966"/>
                      </a:lnTo>
                      <a:lnTo>
                        <a:pt x="891" y="965"/>
                      </a:lnTo>
                      <a:lnTo>
                        <a:pt x="890" y="965"/>
                      </a:lnTo>
                      <a:lnTo>
                        <a:pt x="890" y="964"/>
                      </a:lnTo>
                      <a:lnTo>
                        <a:pt x="891" y="964"/>
                      </a:lnTo>
                      <a:lnTo>
                        <a:pt x="891" y="963"/>
                      </a:lnTo>
                      <a:lnTo>
                        <a:pt x="892" y="963"/>
                      </a:lnTo>
                      <a:lnTo>
                        <a:pt x="891" y="963"/>
                      </a:lnTo>
                      <a:lnTo>
                        <a:pt x="892" y="963"/>
                      </a:lnTo>
                      <a:lnTo>
                        <a:pt x="892" y="962"/>
                      </a:lnTo>
                      <a:lnTo>
                        <a:pt x="892" y="963"/>
                      </a:lnTo>
                      <a:close/>
                      <a:moveTo>
                        <a:pt x="921" y="966"/>
                      </a:moveTo>
                      <a:lnTo>
                        <a:pt x="922" y="966"/>
                      </a:lnTo>
                      <a:lnTo>
                        <a:pt x="923" y="966"/>
                      </a:lnTo>
                      <a:lnTo>
                        <a:pt x="924" y="966"/>
                      </a:lnTo>
                      <a:lnTo>
                        <a:pt x="925" y="966"/>
                      </a:lnTo>
                      <a:lnTo>
                        <a:pt x="925" y="967"/>
                      </a:lnTo>
                      <a:lnTo>
                        <a:pt x="924" y="967"/>
                      </a:lnTo>
                      <a:lnTo>
                        <a:pt x="923" y="967"/>
                      </a:lnTo>
                      <a:lnTo>
                        <a:pt x="923" y="968"/>
                      </a:lnTo>
                      <a:lnTo>
                        <a:pt x="923" y="969"/>
                      </a:lnTo>
                      <a:lnTo>
                        <a:pt x="923" y="970"/>
                      </a:lnTo>
                      <a:lnTo>
                        <a:pt x="923" y="971"/>
                      </a:lnTo>
                      <a:lnTo>
                        <a:pt x="922" y="971"/>
                      </a:lnTo>
                      <a:lnTo>
                        <a:pt x="922" y="970"/>
                      </a:lnTo>
                      <a:lnTo>
                        <a:pt x="922" y="971"/>
                      </a:lnTo>
                      <a:lnTo>
                        <a:pt x="923" y="971"/>
                      </a:lnTo>
                      <a:lnTo>
                        <a:pt x="923" y="970"/>
                      </a:lnTo>
                      <a:lnTo>
                        <a:pt x="922" y="970"/>
                      </a:lnTo>
                      <a:lnTo>
                        <a:pt x="921" y="970"/>
                      </a:lnTo>
                      <a:lnTo>
                        <a:pt x="921" y="969"/>
                      </a:lnTo>
                      <a:lnTo>
                        <a:pt x="921" y="970"/>
                      </a:lnTo>
                      <a:lnTo>
                        <a:pt x="921" y="971"/>
                      </a:lnTo>
                      <a:lnTo>
                        <a:pt x="919" y="971"/>
                      </a:lnTo>
                      <a:lnTo>
                        <a:pt x="919" y="970"/>
                      </a:lnTo>
                      <a:lnTo>
                        <a:pt x="919" y="969"/>
                      </a:lnTo>
                      <a:lnTo>
                        <a:pt x="921" y="969"/>
                      </a:lnTo>
                      <a:lnTo>
                        <a:pt x="919" y="968"/>
                      </a:lnTo>
                      <a:lnTo>
                        <a:pt x="921" y="968"/>
                      </a:lnTo>
                      <a:lnTo>
                        <a:pt x="921" y="967"/>
                      </a:lnTo>
                      <a:lnTo>
                        <a:pt x="919" y="967"/>
                      </a:lnTo>
                      <a:lnTo>
                        <a:pt x="921" y="966"/>
                      </a:lnTo>
                      <a:close/>
                      <a:moveTo>
                        <a:pt x="896" y="1027"/>
                      </a:moveTo>
                      <a:lnTo>
                        <a:pt x="897" y="1027"/>
                      </a:lnTo>
                      <a:lnTo>
                        <a:pt x="897" y="1028"/>
                      </a:lnTo>
                      <a:lnTo>
                        <a:pt x="898" y="1028"/>
                      </a:lnTo>
                      <a:lnTo>
                        <a:pt x="897" y="1028"/>
                      </a:lnTo>
                      <a:lnTo>
                        <a:pt x="897" y="1029"/>
                      </a:lnTo>
                      <a:lnTo>
                        <a:pt x="898" y="1029"/>
                      </a:lnTo>
                      <a:lnTo>
                        <a:pt x="897" y="1029"/>
                      </a:lnTo>
                      <a:lnTo>
                        <a:pt x="897" y="1030"/>
                      </a:lnTo>
                      <a:lnTo>
                        <a:pt x="896" y="1031"/>
                      </a:lnTo>
                      <a:lnTo>
                        <a:pt x="896" y="1030"/>
                      </a:lnTo>
                      <a:lnTo>
                        <a:pt x="895" y="1030"/>
                      </a:lnTo>
                      <a:lnTo>
                        <a:pt x="895" y="1031"/>
                      </a:lnTo>
                      <a:lnTo>
                        <a:pt x="893" y="1032"/>
                      </a:lnTo>
                      <a:lnTo>
                        <a:pt x="893" y="1031"/>
                      </a:lnTo>
                      <a:lnTo>
                        <a:pt x="893" y="1030"/>
                      </a:lnTo>
                      <a:lnTo>
                        <a:pt x="892" y="1030"/>
                      </a:lnTo>
                      <a:lnTo>
                        <a:pt x="893" y="1030"/>
                      </a:lnTo>
                      <a:lnTo>
                        <a:pt x="893" y="1029"/>
                      </a:lnTo>
                      <a:lnTo>
                        <a:pt x="895" y="1029"/>
                      </a:lnTo>
                      <a:lnTo>
                        <a:pt x="896" y="1029"/>
                      </a:lnTo>
                      <a:lnTo>
                        <a:pt x="895" y="1028"/>
                      </a:lnTo>
                      <a:lnTo>
                        <a:pt x="895" y="1029"/>
                      </a:lnTo>
                      <a:lnTo>
                        <a:pt x="893" y="1029"/>
                      </a:lnTo>
                      <a:lnTo>
                        <a:pt x="892" y="1029"/>
                      </a:lnTo>
                      <a:lnTo>
                        <a:pt x="893" y="1028"/>
                      </a:lnTo>
                      <a:lnTo>
                        <a:pt x="895" y="1028"/>
                      </a:lnTo>
                      <a:lnTo>
                        <a:pt x="895" y="1027"/>
                      </a:lnTo>
                      <a:lnTo>
                        <a:pt x="896" y="1028"/>
                      </a:lnTo>
                      <a:lnTo>
                        <a:pt x="896" y="1027"/>
                      </a:lnTo>
                      <a:close/>
                      <a:moveTo>
                        <a:pt x="923" y="992"/>
                      </a:moveTo>
                      <a:lnTo>
                        <a:pt x="924" y="992"/>
                      </a:lnTo>
                      <a:lnTo>
                        <a:pt x="924" y="993"/>
                      </a:lnTo>
                      <a:lnTo>
                        <a:pt x="924" y="994"/>
                      </a:lnTo>
                      <a:lnTo>
                        <a:pt x="924" y="995"/>
                      </a:lnTo>
                      <a:lnTo>
                        <a:pt x="924" y="996"/>
                      </a:lnTo>
                      <a:lnTo>
                        <a:pt x="923" y="996"/>
                      </a:lnTo>
                      <a:lnTo>
                        <a:pt x="923" y="998"/>
                      </a:lnTo>
                      <a:lnTo>
                        <a:pt x="924" y="998"/>
                      </a:lnTo>
                      <a:lnTo>
                        <a:pt x="924" y="999"/>
                      </a:lnTo>
                      <a:lnTo>
                        <a:pt x="923" y="1000"/>
                      </a:lnTo>
                      <a:lnTo>
                        <a:pt x="923" y="999"/>
                      </a:lnTo>
                      <a:lnTo>
                        <a:pt x="923" y="1000"/>
                      </a:lnTo>
                      <a:lnTo>
                        <a:pt x="922" y="999"/>
                      </a:lnTo>
                      <a:lnTo>
                        <a:pt x="922" y="998"/>
                      </a:lnTo>
                      <a:lnTo>
                        <a:pt x="921" y="996"/>
                      </a:lnTo>
                      <a:lnTo>
                        <a:pt x="921" y="995"/>
                      </a:lnTo>
                      <a:lnTo>
                        <a:pt x="921" y="994"/>
                      </a:lnTo>
                      <a:lnTo>
                        <a:pt x="922" y="994"/>
                      </a:lnTo>
                      <a:lnTo>
                        <a:pt x="922" y="995"/>
                      </a:lnTo>
                      <a:lnTo>
                        <a:pt x="923" y="995"/>
                      </a:lnTo>
                      <a:lnTo>
                        <a:pt x="923" y="996"/>
                      </a:lnTo>
                      <a:lnTo>
                        <a:pt x="923" y="995"/>
                      </a:lnTo>
                      <a:lnTo>
                        <a:pt x="923" y="994"/>
                      </a:lnTo>
                      <a:lnTo>
                        <a:pt x="924" y="994"/>
                      </a:lnTo>
                      <a:lnTo>
                        <a:pt x="923" y="994"/>
                      </a:lnTo>
                      <a:lnTo>
                        <a:pt x="924" y="994"/>
                      </a:lnTo>
                      <a:lnTo>
                        <a:pt x="923" y="994"/>
                      </a:lnTo>
                      <a:lnTo>
                        <a:pt x="924" y="994"/>
                      </a:lnTo>
                      <a:lnTo>
                        <a:pt x="923" y="993"/>
                      </a:lnTo>
                      <a:lnTo>
                        <a:pt x="924" y="993"/>
                      </a:lnTo>
                      <a:lnTo>
                        <a:pt x="923" y="993"/>
                      </a:lnTo>
                      <a:lnTo>
                        <a:pt x="922" y="992"/>
                      </a:lnTo>
                      <a:lnTo>
                        <a:pt x="922" y="991"/>
                      </a:lnTo>
                      <a:lnTo>
                        <a:pt x="923" y="991"/>
                      </a:lnTo>
                      <a:lnTo>
                        <a:pt x="922" y="992"/>
                      </a:lnTo>
                      <a:lnTo>
                        <a:pt x="923" y="992"/>
                      </a:lnTo>
                      <a:close/>
                      <a:moveTo>
                        <a:pt x="822" y="848"/>
                      </a:moveTo>
                      <a:lnTo>
                        <a:pt x="823" y="848"/>
                      </a:lnTo>
                      <a:lnTo>
                        <a:pt x="825" y="847"/>
                      </a:lnTo>
                      <a:lnTo>
                        <a:pt x="825" y="848"/>
                      </a:lnTo>
                      <a:lnTo>
                        <a:pt x="825" y="849"/>
                      </a:lnTo>
                      <a:lnTo>
                        <a:pt x="824" y="849"/>
                      </a:lnTo>
                      <a:lnTo>
                        <a:pt x="824" y="848"/>
                      </a:lnTo>
                      <a:lnTo>
                        <a:pt x="823" y="849"/>
                      </a:lnTo>
                      <a:lnTo>
                        <a:pt x="822" y="849"/>
                      </a:lnTo>
                      <a:lnTo>
                        <a:pt x="821" y="849"/>
                      </a:lnTo>
                      <a:lnTo>
                        <a:pt x="821" y="850"/>
                      </a:lnTo>
                      <a:lnTo>
                        <a:pt x="820" y="850"/>
                      </a:lnTo>
                      <a:lnTo>
                        <a:pt x="819" y="850"/>
                      </a:lnTo>
                      <a:lnTo>
                        <a:pt x="819" y="849"/>
                      </a:lnTo>
                      <a:lnTo>
                        <a:pt x="819" y="848"/>
                      </a:lnTo>
                      <a:lnTo>
                        <a:pt x="820" y="847"/>
                      </a:lnTo>
                      <a:lnTo>
                        <a:pt x="820" y="846"/>
                      </a:lnTo>
                      <a:lnTo>
                        <a:pt x="821" y="846"/>
                      </a:lnTo>
                      <a:lnTo>
                        <a:pt x="821" y="847"/>
                      </a:lnTo>
                      <a:lnTo>
                        <a:pt x="822" y="847"/>
                      </a:lnTo>
                      <a:lnTo>
                        <a:pt x="822" y="848"/>
                      </a:lnTo>
                      <a:close/>
                      <a:moveTo>
                        <a:pt x="902" y="938"/>
                      </a:moveTo>
                      <a:lnTo>
                        <a:pt x="902" y="939"/>
                      </a:lnTo>
                      <a:lnTo>
                        <a:pt x="903" y="939"/>
                      </a:lnTo>
                      <a:lnTo>
                        <a:pt x="903" y="940"/>
                      </a:lnTo>
                      <a:lnTo>
                        <a:pt x="904" y="940"/>
                      </a:lnTo>
                      <a:lnTo>
                        <a:pt x="904" y="941"/>
                      </a:lnTo>
                      <a:lnTo>
                        <a:pt x="905" y="941"/>
                      </a:lnTo>
                      <a:lnTo>
                        <a:pt x="905" y="940"/>
                      </a:lnTo>
                      <a:lnTo>
                        <a:pt x="906" y="940"/>
                      </a:lnTo>
                      <a:lnTo>
                        <a:pt x="905" y="941"/>
                      </a:lnTo>
                      <a:lnTo>
                        <a:pt x="906" y="941"/>
                      </a:lnTo>
                      <a:lnTo>
                        <a:pt x="906" y="942"/>
                      </a:lnTo>
                      <a:lnTo>
                        <a:pt x="905" y="942"/>
                      </a:lnTo>
                      <a:lnTo>
                        <a:pt x="904" y="942"/>
                      </a:lnTo>
                      <a:lnTo>
                        <a:pt x="904" y="943"/>
                      </a:lnTo>
                      <a:lnTo>
                        <a:pt x="904" y="944"/>
                      </a:lnTo>
                      <a:lnTo>
                        <a:pt x="903" y="944"/>
                      </a:lnTo>
                      <a:lnTo>
                        <a:pt x="903" y="943"/>
                      </a:lnTo>
                      <a:lnTo>
                        <a:pt x="903" y="942"/>
                      </a:lnTo>
                      <a:lnTo>
                        <a:pt x="903" y="941"/>
                      </a:lnTo>
                      <a:lnTo>
                        <a:pt x="902" y="940"/>
                      </a:lnTo>
                      <a:lnTo>
                        <a:pt x="901" y="940"/>
                      </a:lnTo>
                      <a:lnTo>
                        <a:pt x="900" y="939"/>
                      </a:lnTo>
                      <a:lnTo>
                        <a:pt x="901" y="939"/>
                      </a:lnTo>
                      <a:lnTo>
                        <a:pt x="902" y="938"/>
                      </a:lnTo>
                      <a:lnTo>
                        <a:pt x="902" y="939"/>
                      </a:lnTo>
                      <a:lnTo>
                        <a:pt x="902" y="938"/>
                      </a:lnTo>
                      <a:close/>
                      <a:moveTo>
                        <a:pt x="904" y="934"/>
                      </a:moveTo>
                      <a:lnTo>
                        <a:pt x="904" y="935"/>
                      </a:lnTo>
                      <a:lnTo>
                        <a:pt x="903" y="935"/>
                      </a:lnTo>
                      <a:lnTo>
                        <a:pt x="904" y="935"/>
                      </a:lnTo>
                      <a:lnTo>
                        <a:pt x="904" y="936"/>
                      </a:lnTo>
                      <a:lnTo>
                        <a:pt x="904" y="935"/>
                      </a:lnTo>
                      <a:lnTo>
                        <a:pt x="904" y="936"/>
                      </a:lnTo>
                      <a:lnTo>
                        <a:pt x="905" y="936"/>
                      </a:lnTo>
                      <a:lnTo>
                        <a:pt x="905" y="937"/>
                      </a:lnTo>
                      <a:lnTo>
                        <a:pt x="904" y="937"/>
                      </a:lnTo>
                      <a:lnTo>
                        <a:pt x="903" y="936"/>
                      </a:lnTo>
                      <a:lnTo>
                        <a:pt x="902" y="936"/>
                      </a:lnTo>
                      <a:lnTo>
                        <a:pt x="901" y="936"/>
                      </a:lnTo>
                      <a:lnTo>
                        <a:pt x="901" y="937"/>
                      </a:lnTo>
                      <a:lnTo>
                        <a:pt x="901" y="936"/>
                      </a:lnTo>
                      <a:lnTo>
                        <a:pt x="900" y="936"/>
                      </a:lnTo>
                      <a:lnTo>
                        <a:pt x="899" y="936"/>
                      </a:lnTo>
                      <a:lnTo>
                        <a:pt x="898" y="936"/>
                      </a:lnTo>
                      <a:lnTo>
                        <a:pt x="899" y="936"/>
                      </a:lnTo>
                      <a:lnTo>
                        <a:pt x="900" y="936"/>
                      </a:lnTo>
                      <a:lnTo>
                        <a:pt x="900" y="935"/>
                      </a:lnTo>
                      <a:lnTo>
                        <a:pt x="901" y="935"/>
                      </a:lnTo>
                      <a:lnTo>
                        <a:pt x="901" y="934"/>
                      </a:lnTo>
                      <a:lnTo>
                        <a:pt x="902" y="935"/>
                      </a:lnTo>
                      <a:lnTo>
                        <a:pt x="903" y="935"/>
                      </a:lnTo>
                      <a:lnTo>
                        <a:pt x="903" y="934"/>
                      </a:lnTo>
                      <a:lnTo>
                        <a:pt x="903" y="932"/>
                      </a:lnTo>
                      <a:lnTo>
                        <a:pt x="904" y="932"/>
                      </a:lnTo>
                      <a:lnTo>
                        <a:pt x="904" y="931"/>
                      </a:lnTo>
                      <a:lnTo>
                        <a:pt x="904" y="930"/>
                      </a:lnTo>
                      <a:lnTo>
                        <a:pt x="905" y="930"/>
                      </a:lnTo>
                      <a:lnTo>
                        <a:pt x="905" y="931"/>
                      </a:lnTo>
                      <a:lnTo>
                        <a:pt x="904" y="931"/>
                      </a:lnTo>
                      <a:lnTo>
                        <a:pt x="904" y="932"/>
                      </a:lnTo>
                      <a:lnTo>
                        <a:pt x="905" y="932"/>
                      </a:lnTo>
                      <a:lnTo>
                        <a:pt x="904" y="932"/>
                      </a:lnTo>
                      <a:lnTo>
                        <a:pt x="905" y="934"/>
                      </a:lnTo>
                      <a:lnTo>
                        <a:pt x="904" y="934"/>
                      </a:lnTo>
                      <a:close/>
                      <a:moveTo>
                        <a:pt x="903" y="912"/>
                      </a:moveTo>
                      <a:lnTo>
                        <a:pt x="904" y="912"/>
                      </a:lnTo>
                      <a:lnTo>
                        <a:pt x="904" y="913"/>
                      </a:lnTo>
                      <a:lnTo>
                        <a:pt x="905" y="913"/>
                      </a:lnTo>
                      <a:lnTo>
                        <a:pt x="904" y="913"/>
                      </a:lnTo>
                      <a:lnTo>
                        <a:pt x="904" y="912"/>
                      </a:lnTo>
                      <a:lnTo>
                        <a:pt x="905" y="913"/>
                      </a:lnTo>
                      <a:lnTo>
                        <a:pt x="905" y="914"/>
                      </a:lnTo>
                      <a:lnTo>
                        <a:pt x="906" y="914"/>
                      </a:lnTo>
                      <a:lnTo>
                        <a:pt x="906" y="915"/>
                      </a:lnTo>
                      <a:lnTo>
                        <a:pt x="905" y="915"/>
                      </a:lnTo>
                      <a:lnTo>
                        <a:pt x="905" y="916"/>
                      </a:lnTo>
                      <a:lnTo>
                        <a:pt x="904" y="916"/>
                      </a:lnTo>
                      <a:lnTo>
                        <a:pt x="904" y="915"/>
                      </a:lnTo>
                      <a:lnTo>
                        <a:pt x="903" y="915"/>
                      </a:lnTo>
                      <a:lnTo>
                        <a:pt x="904" y="915"/>
                      </a:lnTo>
                      <a:lnTo>
                        <a:pt x="903" y="915"/>
                      </a:lnTo>
                      <a:lnTo>
                        <a:pt x="902" y="915"/>
                      </a:lnTo>
                      <a:lnTo>
                        <a:pt x="902" y="914"/>
                      </a:lnTo>
                      <a:lnTo>
                        <a:pt x="902" y="913"/>
                      </a:lnTo>
                      <a:lnTo>
                        <a:pt x="902" y="914"/>
                      </a:lnTo>
                      <a:lnTo>
                        <a:pt x="903" y="913"/>
                      </a:lnTo>
                      <a:lnTo>
                        <a:pt x="903" y="914"/>
                      </a:lnTo>
                      <a:lnTo>
                        <a:pt x="903" y="913"/>
                      </a:lnTo>
                      <a:lnTo>
                        <a:pt x="903" y="912"/>
                      </a:lnTo>
                      <a:close/>
                      <a:moveTo>
                        <a:pt x="928" y="1015"/>
                      </a:moveTo>
                      <a:lnTo>
                        <a:pt x="927" y="1015"/>
                      </a:lnTo>
                      <a:lnTo>
                        <a:pt x="928" y="1016"/>
                      </a:lnTo>
                      <a:lnTo>
                        <a:pt x="929" y="1016"/>
                      </a:lnTo>
                      <a:lnTo>
                        <a:pt x="928" y="1016"/>
                      </a:lnTo>
                      <a:lnTo>
                        <a:pt x="928" y="1017"/>
                      </a:lnTo>
                      <a:lnTo>
                        <a:pt x="927" y="1017"/>
                      </a:lnTo>
                      <a:lnTo>
                        <a:pt x="927" y="1018"/>
                      </a:lnTo>
                      <a:lnTo>
                        <a:pt x="926" y="1018"/>
                      </a:lnTo>
                      <a:lnTo>
                        <a:pt x="925" y="1018"/>
                      </a:lnTo>
                      <a:lnTo>
                        <a:pt x="925" y="1019"/>
                      </a:lnTo>
                      <a:lnTo>
                        <a:pt x="924" y="1019"/>
                      </a:lnTo>
                      <a:lnTo>
                        <a:pt x="924" y="1018"/>
                      </a:lnTo>
                      <a:lnTo>
                        <a:pt x="924" y="1017"/>
                      </a:lnTo>
                      <a:lnTo>
                        <a:pt x="925" y="1017"/>
                      </a:lnTo>
                      <a:lnTo>
                        <a:pt x="926" y="1017"/>
                      </a:lnTo>
                      <a:lnTo>
                        <a:pt x="925" y="1017"/>
                      </a:lnTo>
                      <a:lnTo>
                        <a:pt x="925" y="1016"/>
                      </a:lnTo>
                      <a:lnTo>
                        <a:pt x="926" y="1016"/>
                      </a:lnTo>
                      <a:lnTo>
                        <a:pt x="926" y="1015"/>
                      </a:lnTo>
                      <a:lnTo>
                        <a:pt x="927" y="1015"/>
                      </a:lnTo>
                      <a:lnTo>
                        <a:pt x="928" y="1014"/>
                      </a:lnTo>
                      <a:lnTo>
                        <a:pt x="928" y="1015"/>
                      </a:lnTo>
                      <a:close/>
                      <a:moveTo>
                        <a:pt x="901" y="967"/>
                      </a:moveTo>
                      <a:lnTo>
                        <a:pt x="901" y="968"/>
                      </a:lnTo>
                      <a:lnTo>
                        <a:pt x="902" y="968"/>
                      </a:lnTo>
                      <a:lnTo>
                        <a:pt x="901" y="968"/>
                      </a:lnTo>
                      <a:lnTo>
                        <a:pt x="900" y="968"/>
                      </a:lnTo>
                      <a:lnTo>
                        <a:pt x="899" y="968"/>
                      </a:lnTo>
                      <a:lnTo>
                        <a:pt x="898" y="968"/>
                      </a:lnTo>
                      <a:lnTo>
                        <a:pt x="898" y="969"/>
                      </a:lnTo>
                      <a:lnTo>
                        <a:pt x="898" y="970"/>
                      </a:lnTo>
                      <a:lnTo>
                        <a:pt x="898" y="969"/>
                      </a:lnTo>
                      <a:lnTo>
                        <a:pt x="897" y="969"/>
                      </a:lnTo>
                      <a:lnTo>
                        <a:pt x="896" y="969"/>
                      </a:lnTo>
                      <a:lnTo>
                        <a:pt x="895" y="969"/>
                      </a:lnTo>
                      <a:lnTo>
                        <a:pt x="895" y="968"/>
                      </a:lnTo>
                      <a:lnTo>
                        <a:pt x="895" y="967"/>
                      </a:lnTo>
                      <a:lnTo>
                        <a:pt x="896" y="967"/>
                      </a:lnTo>
                      <a:lnTo>
                        <a:pt x="896" y="968"/>
                      </a:lnTo>
                      <a:lnTo>
                        <a:pt x="896" y="967"/>
                      </a:lnTo>
                      <a:lnTo>
                        <a:pt x="896" y="968"/>
                      </a:lnTo>
                      <a:lnTo>
                        <a:pt x="897" y="968"/>
                      </a:lnTo>
                      <a:lnTo>
                        <a:pt x="898" y="968"/>
                      </a:lnTo>
                      <a:lnTo>
                        <a:pt x="898" y="967"/>
                      </a:lnTo>
                      <a:lnTo>
                        <a:pt x="899" y="967"/>
                      </a:lnTo>
                      <a:lnTo>
                        <a:pt x="899" y="966"/>
                      </a:lnTo>
                      <a:lnTo>
                        <a:pt x="900" y="966"/>
                      </a:lnTo>
                      <a:lnTo>
                        <a:pt x="901" y="966"/>
                      </a:lnTo>
                      <a:lnTo>
                        <a:pt x="901" y="967"/>
                      </a:lnTo>
                      <a:close/>
                      <a:moveTo>
                        <a:pt x="919" y="1032"/>
                      </a:moveTo>
                      <a:lnTo>
                        <a:pt x="918" y="1032"/>
                      </a:lnTo>
                      <a:lnTo>
                        <a:pt x="918" y="1033"/>
                      </a:lnTo>
                      <a:lnTo>
                        <a:pt x="917" y="1033"/>
                      </a:lnTo>
                      <a:lnTo>
                        <a:pt x="917" y="1034"/>
                      </a:lnTo>
                      <a:lnTo>
                        <a:pt x="916" y="1035"/>
                      </a:lnTo>
                      <a:lnTo>
                        <a:pt x="915" y="1037"/>
                      </a:lnTo>
                      <a:lnTo>
                        <a:pt x="915" y="1038"/>
                      </a:lnTo>
                      <a:lnTo>
                        <a:pt x="914" y="1038"/>
                      </a:lnTo>
                      <a:lnTo>
                        <a:pt x="915" y="1037"/>
                      </a:lnTo>
                      <a:lnTo>
                        <a:pt x="914" y="1037"/>
                      </a:lnTo>
                      <a:lnTo>
                        <a:pt x="915" y="1037"/>
                      </a:lnTo>
                      <a:lnTo>
                        <a:pt x="915" y="1035"/>
                      </a:lnTo>
                      <a:lnTo>
                        <a:pt x="915" y="1037"/>
                      </a:lnTo>
                      <a:lnTo>
                        <a:pt x="915" y="1035"/>
                      </a:lnTo>
                      <a:lnTo>
                        <a:pt x="916" y="1035"/>
                      </a:lnTo>
                      <a:lnTo>
                        <a:pt x="916" y="1034"/>
                      </a:lnTo>
                      <a:lnTo>
                        <a:pt x="915" y="1035"/>
                      </a:lnTo>
                      <a:lnTo>
                        <a:pt x="915" y="1034"/>
                      </a:lnTo>
                      <a:lnTo>
                        <a:pt x="916" y="1033"/>
                      </a:lnTo>
                      <a:lnTo>
                        <a:pt x="916" y="1032"/>
                      </a:lnTo>
                      <a:lnTo>
                        <a:pt x="917" y="1032"/>
                      </a:lnTo>
                      <a:lnTo>
                        <a:pt x="917" y="1031"/>
                      </a:lnTo>
                      <a:lnTo>
                        <a:pt x="917" y="1032"/>
                      </a:lnTo>
                      <a:lnTo>
                        <a:pt x="918" y="1032"/>
                      </a:lnTo>
                      <a:lnTo>
                        <a:pt x="918" y="1031"/>
                      </a:lnTo>
                      <a:lnTo>
                        <a:pt x="919" y="1031"/>
                      </a:lnTo>
                      <a:lnTo>
                        <a:pt x="919" y="1032"/>
                      </a:lnTo>
                      <a:close/>
                      <a:moveTo>
                        <a:pt x="895" y="947"/>
                      </a:moveTo>
                      <a:lnTo>
                        <a:pt x="897" y="947"/>
                      </a:lnTo>
                      <a:lnTo>
                        <a:pt x="898" y="947"/>
                      </a:lnTo>
                      <a:lnTo>
                        <a:pt x="898" y="948"/>
                      </a:lnTo>
                      <a:lnTo>
                        <a:pt x="899" y="948"/>
                      </a:lnTo>
                      <a:lnTo>
                        <a:pt x="900" y="948"/>
                      </a:lnTo>
                      <a:lnTo>
                        <a:pt x="900" y="949"/>
                      </a:lnTo>
                      <a:lnTo>
                        <a:pt x="901" y="949"/>
                      </a:lnTo>
                      <a:lnTo>
                        <a:pt x="901" y="950"/>
                      </a:lnTo>
                      <a:lnTo>
                        <a:pt x="900" y="950"/>
                      </a:lnTo>
                      <a:lnTo>
                        <a:pt x="899" y="950"/>
                      </a:lnTo>
                      <a:lnTo>
                        <a:pt x="899" y="949"/>
                      </a:lnTo>
                      <a:lnTo>
                        <a:pt x="898" y="948"/>
                      </a:lnTo>
                      <a:lnTo>
                        <a:pt x="897" y="948"/>
                      </a:lnTo>
                      <a:lnTo>
                        <a:pt x="896" y="948"/>
                      </a:lnTo>
                      <a:lnTo>
                        <a:pt x="895" y="948"/>
                      </a:lnTo>
                      <a:lnTo>
                        <a:pt x="893" y="948"/>
                      </a:lnTo>
                      <a:lnTo>
                        <a:pt x="893" y="947"/>
                      </a:lnTo>
                      <a:lnTo>
                        <a:pt x="893" y="948"/>
                      </a:lnTo>
                      <a:lnTo>
                        <a:pt x="895" y="948"/>
                      </a:lnTo>
                      <a:lnTo>
                        <a:pt x="896" y="948"/>
                      </a:lnTo>
                      <a:lnTo>
                        <a:pt x="895" y="948"/>
                      </a:lnTo>
                      <a:lnTo>
                        <a:pt x="897" y="947"/>
                      </a:lnTo>
                      <a:lnTo>
                        <a:pt x="896" y="947"/>
                      </a:lnTo>
                      <a:lnTo>
                        <a:pt x="895" y="947"/>
                      </a:lnTo>
                      <a:lnTo>
                        <a:pt x="895" y="948"/>
                      </a:lnTo>
                      <a:lnTo>
                        <a:pt x="895" y="947"/>
                      </a:lnTo>
                      <a:lnTo>
                        <a:pt x="893" y="947"/>
                      </a:lnTo>
                      <a:lnTo>
                        <a:pt x="895" y="947"/>
                      </a:lnTo>
                      <a:close/>
                      <a:moveTo>
                        <a:pt x="912" y="973"/>
                      </a:moveTo>
                      <a:lnTo>
                        <a:pt x="912" y="974"/>
                      </a:lnTo>
                      <a:lnTo>
                        <a:pt x="912" y="975"/>
                      </a:lnTo>
                      <a:lnTo>
                        <a:pt x="913" y="975"/>
                      </a:lnTo>
                      <a:lnTo>
                        <a:pt x="912" y="975"/>
                      </a:lnTo>
                      <a:lnTo>
                        <a:pt x="911" y="975"/>
                      </a:lnTo>
                      <a:lnTo>
                        <a:pt x="911" y="974"/>
                      </a:lnTo>
                      <a:lnTo>
                        <a:pt x="910" y="974"/>
                      </a:lnTo>
                      <a:lnTo>
                        <a:pt x="909" y="973"/>
                      </a:lnTo>
                      <a:lnTo>
                        <a:pt x="910" y="973"/>
                      </a:lnTo>
                      <a:lnTo>
                        <a:pt x="914" y="969"/>
                      </a:lnTo>
                      <a:lnTo>
                        <a:pt x="914" y="970"/>
                      </a:lnTo>
                      <a:lnTo>
                        <a:pt x="913" y="970"/>
                      </a:lnTo>
                      <a:lnTo>
                        <a:pt x="913" y="971"/>
                      </a:lnTo>
                      <a:lnTo>
                        <a:pt x="912" y="971"/>
                      </a:lnTo>
                      <a:lnTo>
                        <a:pt x="912" y="973"/>
                      </a:lnTo>
                      <a:close/>
                      <a:moveTo>
                        <a:pt x="927" y="990"/>
                      </a:moveTo>
                      <a:lnTo>
                        <a:pt x="927" y="991"/>
                      </a:lnTo>
                      <a:lnTo>
                        <a:pt x="927" y="993"/>
                      </a:lnTo>
                      <a:lnTo>
                        <a:pt x="926" y="993"/>
                      </a:lnTo>
                      <a:lnTo>
                        <a:pt x="926" y="992"/>
                      </a:lnTo>
                      <a:lnTo>
                        <a:pt x="925" y="992"/>
                      </a:lnTo>
                      <a:lnTo>
                        <a:pt x="925" y="991"/>
                      </a:lnTo>
                      <a:lnTo>
                        <a:pt x="924" y="991"/>
                      </a:lnTo>
                      <a:lnTo>
                        <a:pt x="924" y="990"/>
                      </a:lnTo>
                      <a:lnTo>
                        <a:pt x="924" y="989"/>
                      </a:lnTo>
                      <a:lnTo>
                        <a:pt x="927" y="990"/>
                      </a:lnTo>
                      <a:close/>
                      <a:moveTo>
                        <a:pt x="914" y="956"/>
                      </a:moveTo>
                      <a:lnTo>
                        <a:pt x="914" y="957"/>
                      </a:lnTo>
                      <a:lnTo>
                        <a:pt x="913" y="957"/>
                      </a:lnTo>
                      <a:lnTo>
                        <a:pt x="912" y="957"/>
                      </a:lnTo>
                      <a:lnTo>
                        <a:pt x="911" y="956"/>
                      </a:lnTo>
                      <a:lnTo>
                        <a:pt x="911" y="955"/>
                      </a:lnTo>
                      <a:lnTo>
                        <a:pt x="911" y="954"/>
                      </a:lnTo>
                      <a:lnTo>
                        <a:pt x="912" y="954"/>
                      </a:lnTo>
                      <a:lnTo>
                        <a:pt x="913" y="954"/>
                      </a:lnTo>
                      <a:lnTo>
                        <a:pt x="913" y="955"/>
                      </a:lnTo>
                      <a:lnTo>
                        <a:pt x="914" y="956"/>
                      </a:lnTo>
                      <a:close/>
                      <a:moveTo>
                        <a:pt x="813" y="835"/>
                      </a:moveTo>
                      <a:lnTo>
                        <a:pt x="813" y="836"/>
                      </a:lnTo>
                      <a:lnTo>
                        <a:pt x="812" y="836"/>
                      </a:lnTo>
                      <a:lnTo>
                        <a:pt x="812" y="837"/>
                      </a:lnTo>
                      <a:lnTo>
                        <a:pt x="811" y="837"/>
                      </a:lnTo>
                      <a:lnTo>
                        <a:pt x="810" y="837"/>
                      </a:lnTo>
                      <a:lnTo>
                        <a:pt x="810" y="836"/>
                      </a:lnTo>
                      <a:lnTo>
                        <a:pt x="811" y="836"/>
                      </a:lnTo>
                      <a:lnTo>
                        <a:pt x="811" y="835"/>
                      </a:lnTo>
                      <a:lnTo>
                        <a:pt x="812" y="835"/>
                      </a:lnTo>
                      <a:lnTo>
                        <a:pt x="813" y="835"/>
                      </a:lnTo>
                      <a:lnTo>
                        <a:pt x="813" y="834"/>
                      </a:lnTo>
                      <a:lnTo>
                        <a:pt x="813" y="833"/>
                      </a:lnTo>
                      <a:lnTo>
                        <a:pt x="814" y="833"/>
                      </a:lnTo>
                      <a:lnTo>
                        <a:pt x="814" y="834"/>
                      </a:lnTo>
                      <a:lnTo>
                        <a:pt x="813" y="835"/>
                      </a:lnTo>
                      <a:close/>
                      <a:moveTo>
                        <a:pt x="908" y="930"/>
                      </a:moveTo>
                      <a:lnTo>
                        <a:pt x="909" y="930"/>
                      </a:lnTo>
                      <a:lnTo>
                        <a:pt x="909" y="931"/>
                      </a:lnTo>
                      <a:lnTo>
                        <a:pt x="908" y="931"/>
                      </a:lnTo>
                      <a:lnTo>
                        <a:pt x="908" y="932"/>
                      </a:lnTo>
                      <a:lnTo>
                        <a:pt x="908" y="934"/>
                      </a:lnTo>
                      <a:lnTo>
                        <a:pt x="908" y="935"/>
                      </a:lnTo>
                      <a:lnTo>
                        <a:pt x="906" y="935"/>
                      </a:lnTo>
                      <a:lnTo>
                        <a:pt x="906" y="936"/>
                      </a:lnTo>
                      <a:lnTo>
                        <a:pt x="906" y="937"/>
                      </a:lnTo>
                      <a:lnTo>
                        <a:pt x="906" y="936"/>
                      </a:lnTo>
                      <a:lnTo>
                        <a:pt x="905" y="935"/>
                      </a:lnTo>
                      <a:lnTo>
                        <a:pt x="906" y="935"/>
                      </a:lnTo>
                      <a:lnTo>
                        <a:pt x="906" y="934"/>
                      </a:lnTo>
                      <a:lnTo>
                        <a:pt x="908" y="934"/>
                      </a:lnTo>
                      <a:lnTo>
                        <a:pt x="906" y="934"/>
                      </a:lnTo>
                      <a:lnTo>
                        <a:pt x="908" y="932"/>
                      </a:lnTo>
                      <a:lnTo>
                        <a:pt x="906" y="932"/>
                      </a:lnTo>
                      <a:lnTo>
                        <a:pt x="906" y="931"/>
                      </a:lnTo>
                      <a:lnTo>
                        <a:pt x="908" y="931"/>
                      </a:lnTo>
                      <a:lnTo>
                        <a:pt x="908" y="930"/>
                      </a:lnTo>
                      <a:close/>
                      <a:moveTo>
                        <a:pt x="936" y="1000"/>
                      </a:moveTo>
                      <a:lnTo>
                        <a:pt x="936" y="1001"/>
                      </a:lnTo>
                      <a:lnTo>
                        <a:pt x="937" y="1001"/>
                      </a:lnTo>
                      <a:lnTo>
                        <a:pt x="937" y="1002"/>
                      </a:lnTo>
                      <a:lnTo>
                        <a:pt x="936" y="1002"/>
                      </a:lnTo>
                      <a:lnTo>
                        <a:pt x="934" y="1002"/>
                      </a:lnTo>
                      <a:lnTo>
                        <a:pt x="934" y="1001"/>
                      </a:lnTo>
                      <a:lnTo>
                        <a:pt x="934" y="1000"/>
                      </a:lnTo>
                      <a:lnTo>
                        <a:pt x="935" y="1000"/>
                      </a:lnTo>
                      <a:lnTo>
                        <a:pt x="935" y="999"/>
                      </a:lnTo>
                      <a:lnTo>
                        <a:pt x="935" y="1000"/>
                      </a:lnTo>
                      <a:lnTo>
                        <a:pt x="936" y="1000"/>
                      </a:lnTo>
                      <a:close/>
                      <a:moveTo>
                        <a:pt x="884" y="1057"/>
                      </a:moveTo>
                      <a:lnTo>
                        <a:pt x="884" y="1058"/>
                      </a:lnTo>
                      <a:lnTo>
                        <a:pt x="884" y="1059"/>
                      </a:lnTo>
                      <a:lnTo>
                        <a:pt x="883" y="1059"/>
                      </a:lnTo>
                      <a:lnTo>
                        <a:pt x="883" y="1060"/>
                      </a:lnTo>
                      <a:lnTo>
                        <a:pt x="882" y="1060"/>
                      </a:lnTo>
                      <a:lnTo>
                        <a:pt x="882" y="1061"/>
                      </a:lnTo>
                      <a:lnTo>
                        <a:pt x="880" y="1061"/>
                      </a:lnTo>
                      <a:lnTo>
                        <a:pt x="880" y="1060"/>
                      </a:lnTo>
                      <a:lnTo>
                        <a:pt x="882" y="1060"/>
                      </a:lnTo>
                      <a:lnTo>
                        <a:pt x="880" y="1060"/>
                      </a:lnTo>
                      <a:lnTo>
                        <a:pt x="882" y="1060"/>
                      </a:lnTo>
                      <a:lnTo>
                        <a:pt x="882" y="1059"/>
                      </a:lnTo>
                      <a:lnTo>
                        <a:pt x="882" y="1058"/>
                      </a:lnTo>
                      <a:lnTo>
                        <a:pt x="883" y="1058"/>
                      </a:lnTo>
                      <a:lnTo>
                        <a:pt x="882" y="1058"/>
                      </a:lnTo>
                      <a:lnTo>
                        <a:pt x="883" y="1058"/>
                      </a:lnTo>
                      <a:lnTo>
                        <a:pt x="883" y="1057"/>
                      </a:lnTo>
                      <a:lnTo>
                        <a:pt x="883" y="1058"/>
                      </a:lnTo>
                      <a:lnTo>
                        <a:pt x="884" y="1058"/>
                      </a:lnTo>
                      <a:lnTo>
                        <a:pt x="884" y="1057"/>
                      </a:lnTo>
                      <a:lnTo>
                        <a:pt x="883" y="1057"/>
                      </a:lnTo>
                      <a:lnTo>
                        <a:pt x="883" y="1058"/>
                      </a:lnTo>
                      <a:lnTo>
                        <a:pt x="882" y="1058"/>
                      </a:lnTo>
                      <a:lnTo>
                        <a:pt x="882" y="1057"/>
                      </a:lnTo>
                      <a:lnTo>
                        <a:pt x="883" y="1057"/>
                      </a:lnTo>
                      <a:lnTo>
                        <a:pt x="884" y="1057"/>
                      </a:lnTo>
                      <a:lnTo>
                        <a:pt x="884" y="1056"/>
                      </a:lnTo>
                      <a:lnTo>
                        <a:pt x="884" y="1057"/>
                      </a:lnTo>
                      <a:close/>
                      <a:moveTo>
                        <a:pt x="826" y="741"/>
                      </a:moveTo>
                      <a:lnTo>
                        <a:pt x="825" y="742"/>
                      </a:lnTo>
                      <a:lnTo>
                        <a:pt x="825" y="743"/>
                      </a:lnTo>
                      <a:lnTo>
                        <a:pt x="824" y="743"/>
                      </a:lnTo>
                      <a:lnTo>
                        <a:pt x="824" y="744"/>
                      </a:lnTo>
                      <a:lnTo>
                        <a:pt x="824" y="743"/>
                      </a:lnTo>
                      <a:lnTo>
                        <a:pt x="824" y="742"/>
                      </a:lnTo>
                      <a:lnTo>
                        <a:pt x="823" y="742"/>
                      </a:lnTo>
                      <a:lnTo>
                        <a:pt x="822" y="742"/>
                      </a:lnTo>
                      <a:lnTo>
                        <a:pt x="823" y="742"/>
                      </a:lnTo>
                      <a:lnTo>
                        <a:pt x="823" y="741"/>
                      </a:lnTo>
                      <a:lnTo>
                        <a:pt x="824" y="742"/>
                      </a:lnTo>
                      <a:lnTo>
                        <a:pt x="824" y="741"/>
                      </a:lnTo>
                      <a:lnTo>
                        <a:pt x="825" y="741"/>
                      </a:lnTo>
                      <a:lnTo>
                        <a:pt x="826" y="741"/>
                      </a:lnTo>
                      <a:lnTo>
                        <a:pt x="826" y="739"/>
                      </a:lnTo>
                      <a:lnTo>
                        <a:pt x="827" y="739"/>
                      </a:lnTo>
                      <a:lnTo>
                        <a:pt x="827" y="741"/>
                      </a:lnTo>
                      <a:lnTo>
                        <a:pt x="826" y="741"/>
                      </a:lnTo>
                      <a:close/>
                      <a:moveTo>
                        <a:pt x="883" y="891"/>
                      </a:moveTo>
                      <a:lnTo>
                        <a:pt x="884" y="891"/>
                      </a:lnTo>
                      <a:lnTo>
                        <a:pt x="884" y="892"/>
                      </a:lnTo>
                      <a:lnTo>
                        <a:pt x="884" y="893"/>
                      </a:lnTo>
                      <a:lnTo>
                        <a:pt x="884" y="894"/>
                      </a:lnTo>
                      <a:lnTo>
                        <a:pt x="884" y="893"/>
                      </a:lnTo>
                      <a:lnTo>
                        <a:pt x="883" y="893"/>
                      </a:lnTo>
                      <a:lnTo>
                        <a:pt x="883" y="892"/>
                      </a:lnTo>
                      <a:lnTo>
                        <a:pt x="882" y="893"/>
                      </a:lnTo>
                      <a:lnTo>
                        <a:pt x="882" y="892"/>
                      </a:lnTo>
                      <a:lnTo>
                        <a:pt x="883" y="892"/>
                      </a:lnTo>
                      <a:lnTo>
                        <a:pt x="882" y="892"/>
                      </a:lnTo>
                      <a:lnTo>
                        <a:pt x="883" y="891"/>
                      </a:lnTo>
                      <a:lnTo>
                        <a:pt x="882" y="891"/>
                      </a:lnTo>
                      <a:lnTo>
                        <a:pt x="883" y="891"/>
                      </a:lnTo>
                      <a:lnTo>
                        <a:pt x="882" y="890"/>
                      </a:lnTo>
                      <a:lnTo>
                        <a:pt x="883" y="890"/>
                      </a:lnTo>
                      <a:lnTo>
                        <a:pt x="883" y="889"/>
                      </a:lnTo>
                      <a:lnTo>
                        <a:pt x="883" y="890"/>
                      </a:lnTo>
                      <a:lnTo>
                        <a:pt x="883" y="891"/>
                      </a:lnTo>
                      <a:close/>
                      <a:moveTo>
                        <a:pt x="926" y="993"/>
                      </a:moveTo>
                      <a:lnTo>
                        <a:pt x="926" y="994"/>
                      </a:lnTo>
                      <a:lnTo>
                        <a:pt x="925" y="994"/>
                      </a:lnTo>
                      <a:lnTo>
                        <a:pt x="925" y="995"/>
                      </a:lnTo>
                      <a:lnTo>
                        <a:pt x="924" y="995"/>
                      </a:lnTo>
                      <a:lnTo>
                        <a:pt x="924" y="992"/>
                      </a:lnTo>
                      <a:lnTo>
                        <a:pt x="925" y="992"/>
                      </a:lnTo>
                      <a:lnTo>
                        <a:pt x="925" y="993"/>
                      </a:lnTo>
                      <a:lnTo>
                        <a:pt x="926" y="993"/>
                      </a:lnTo>
                      <a:close/>
                      <a:moveTo>
                        <a:pt x="901" y="927"/>
                      </a:moveTo>
                      <a:lnTo>
                        <a:pt x="901" y="928"/>
                      </a:lnTo>
                      <a:lnTo>
                        <a:pt x="902" y="928"/>
                      </a:lnTo>
                      <a:lnTo>
                        <a:pt x="902" y="929"/>
                      </a:lnTo>
                      <a:lnTo>
                        <a:pt x="902" y="928"/>
                      </a:lnTo>
                      <a:lnTo>
                        <a:pt x="903" y="928"/>
                      </a:lnTo>
                      <a:lnTo>
                        <a:pt x="903" y="929"/>
                      </a:lnTo>
                      <a:lnTo>
                        <a:pt x="902" y="930"/>
                      </a:lnTo>
                      <a:lnTo>
                        <a:pt x="902" y="929"/>
                      </a:lnTo>
                      <a:lnTo>
                        <a:pt x="901" y="929"/>
                      </a:lnTo>
                      <a:lnTo>
                        <a:pt x="901" y="928"/>
                      </a:lnTo>
                      <a:lnTo>
                        <a:pt x="900" y="928"/>
                      </a:lnTo>
                      <a:lnTo>
                        <a:pt x="899" y="928"/>
                      </a:lnTo>
                      <a:lnTo>
                        <a:pt x="898" y="928"/>
                      </a:lnTo>
                      <a:lnTo>
                        <a:pt x="899" y="928"/>
                      </a:lnTo>
                      <a:lnTo>
                        <a:pt x="900" y="928"/>
                      </a:lnTo>
                      <a:lnTo>
                        <a:pt x="900" y="927"/>
                      </a:lnTo>
                      <a:lnTo>
                        <a:pt x="901" y="927"/>
                      </a:lnTo>
                      <a:close/>
                      <a:moveTo>
                        <a:pt x="891" y="967"/>
                      </a:moveTo>
                      <a:lnTo>
                        <a:pt x="891" y="968"/>
                      </a:lnTo>
                      <a:lnTo>
                        <a:pt x="890" y="968"/>
                      </a:lnTo>
                      <a:lnTo>
                        <a:pt x="890" y="967"/>
                      </a:lnTo>
                      <a:lnTo>
                        <a:pt x="889" y="967"/>
                      </a:lnTo>
                      <a:lnTo>
                        <a:pt x="889" y="968"/>
                      </a:lnTo>
                      <a:lnTo>
                        <a:pt x="889" y="967"/>
                      </a:lnTo>
                      <a:lnTo>
                        <a:pt x="890" y="967"/>
                      </a:lnTo>
                      <a:lnTo>
                        <a:pt x="890" y="966"/>
                      </a:lnTo>
                      <a:lnTo>
                        <a:pt x="890" y="965"/>
                      </a:lnTo>
                      <a:lnTo>
                        <a:pt x="891" y="966"/>
                      </a:lnTo>
                      <a:lnTo>
                        <a:pt x="891" y="967"/>
                      </a:lnTo>
                      <a:close/>
                      <a:moveTo>
                        <a:pt x="915" y="926"/>
                      </a:moveTo>
                      <a:lnTo>
                        <a:pt x="915" y="927"/>
                      </a:lnTo>
                      <a:lnTo>
                        <a:pt x="915" y="928"/>
                      </a:lnTo>
                      <a:lnTo>
                        <a:pt x="915" y="929"/>
                      </a:lnTo>
                      <a:lnTo>
                        <a:pt x="914" y="929"/>
                      </a:lnTo>
                      <a:lnTo>
                        <a:pt x="914" y="928"/>
                      </a:lnTo>
                      <a:lnTo>
                        <a:pt x="915" y="928"/>
                      </a:lnTo>
                      <a:lnTo>
                        <a:pt x="915" y="927"/>
                      </a:lnTo>
                      <a:lnTo>
                        <a:pt x="915" y="928"/>
                      </a:lnTo>
                      <a:lnTo>
                        <a:pt x="915" y="927"/>
                      </a:lnTo>
                      <a:lnTo>
                        <a:pt x="914" y="927"/>
                      </a:lnTo>
                      <a:lnTo>
                        <a:pt x="915" y="926"/>
                      </a:lnTo>
                      <a:close/>
                      <a:moveTo>
                        <a:pt x="825" y="748"/>
                      </a:moveTo>
                      <a:lnTo>
                        <a:pt x="824" y="748"/>
                      </a:lnTo>
                      <a:lnTo>
                        <a:pt x="823" y="748"/>
                      </a:lnTo>
                      <a:lnTo>
                        <a:pt x="823" y="747"/>
                      </a:lnTo>
                      <a:lnTo>
                        <a:pt x="824" y="747"/>
                      </a:lnTo>
                      <a:lnTo>
                        <a:pt x="825" y="747"/>
                      </a:lnTo>
                      <a:lnTo>
                        <a:pt x="825" y="748"/>
                      </a:lnTo>
                      <a:close/>
                      <a:moveTo>
                        <a:pt x="814" y="831"/>
                      </a:moveTo>
                      <a:lnTo>
                        <a:pt x="814" y="832"/>
                      </a:lnTo>
                      <a:lnTo>
                        <a:pt x="814" y="833"/>
                      </a:lnTo>
                      <a:lnTo>
                        <a:pt x="813" y="832"/>
                      </a:lnTo>
                      <a:lnTo>
                        <a:pt x="812" y="832"/>
                      </a:lnTo>
                      <a:lnTo>
                        <a:pt x="813" y="832"/>
                      </a:lnTo>
                      <a:lnTo>
                        <a:pt x="813" y="831"/>
                      </a:lnTo>
                      <a:lnTo>
                        <a:pt x="814" y="831"/>
                      </a:lnTo>
                      <a:close/>
                      <a:moveTo>
                        <a:pt x="904" y="948"/>
                      </a:moveTo>
                      <a:lnTo>
                        <a:pt x="903" y="949"/>
                      </a:lnTo>
                      <a:lnTo>
                        <a:pt x="902" y="949"/>
                      </a:lnTo>
                      <a:lnTo>
                        <a:pt x="902" y="948"/>
                      </a:lnTo>
                      <a:lnTo>
                        <a:pt x="901" y="948"/>
                      </a:lnTo>
                      <a:lnTo>
                        <a:pt x="902" y="948"/>
                      </a:lnTo>
                      <a:lnTo>
                        <a:pt x="903" y="948"/>
                      </a:lnTo>
                      <a:lnTo>
                        <a:pt x="903" y="947"/>
                      </a:lnTo>
                      <a:lnTo>
                        <a:pt x="904" y="947"/>
                      </a:lnTo>
                      <a:lnTo>
                        <a:pt x="903" y="947"/>
                      </a:lnTo>
                      <a:lnTo>
                        <a:pt x="904" y="948"/>
                      </a:lnTo>
                      <a:close/>
                      <a:moveTo>
                        <a:pt x="826" y="754"/>
                      </a:moveTo>
                      <a:lnTo>
                        <a:pt x="826" y="752"/>
                      </a:lnTo>
                      <a:lnTo>
                        <a:pt x="825" y="751"/>
                      </a:lnTo>
                      <a:lnTo>
                        <a:pt x="826" y="751"/>
                      </a:lnTo>
                      <a:lnTo>
                        <a:pt x="827" y="751"/>
                      </a:lnTo>
                      <a:lnTo>
                        <a:pt x="826" y="752"/>
                      </a:lnTo>
                      <a:lnTo>
                        <a:pt x="826" y="754"/>
                      </a:lnTo>
                      <a:close/>
                      <a:moveTo>
                        <a:pt x="867" y="1090"/>
                      </a:moveTo>
                      <a:lnTo>
                        <a:pt x="866" y="1089"/>
                      </a:lnTo>
                      <a:lnTo>
                        <a:pt x="867" y="1089"/>
                      </a:lnTo>
                      <a:lnTo>
                        <a:pt x="867" y="1088"/>
                      </a:lnTo>
                      <a:lnTo>
                        <a:pt x="867" y="1086"/>
                      </a:lnTo>
                      <a:lnTo>
                        <a:pt x="869" y="1085"/>
                      </a:lnTo>
                      <a:lnTo>
                        <a:pt x="869" y="1086"/>
                      </a:lnTo>
                      <a:lnTo>
                        <a:pt x="869" y="1088"/>
                      </a:lnTo>
                      <a:lnTo>
                        <a:pt x="867" y="1088"/>
                      </a:lnTo>
                      <a:lnTo>
                        <a:pt x="869" y="1088"/>
                      </a:lnTo>
                      <a:lnTo>
                        <a:pt x="869" y="1089"/>
                      </a:lnTo>
                      <a:lnTo>
                        <a:pt x="867" y="1090"/>
                      </a:lnTo>
                      <a:close/>
                      <a:moveTo>
                        <a:pt x="922" y="993"/>
                      </a:moveTo>
                      <a:lnTo>
                        <a:pt x="921" y="993"/>
                      </a:lnTo>
                      <a:lnTo>
                        <a:pt x="921" y="992"/>
                      </a:lnTo>
                      <a:lnTo>
                        <a:pt x="921" y="991"/>
                      </a:lnTo>
                      <a:lnTo>
                        <a:pt x="922" y="991"/>
                      </a:lnTo>
                      <a:lnTo>
                        <a:pt x="922" y="992"/>
                      </a:lnTo>
                      <a:lnTo>
                        <a:pt x="922" y="993"/>
                      </a:lnTo>
                      <a:close/>
                      <a:moveTo>
                        <a:pt x="821" y="744"/>
                      </a:moveTo>
                      <a:lnTo>
                        <a:pt x="820" y="744"/>
                      </a:lnTo>
                      <a:lnTo>
                        <a:pt x="819" y="744"/>
                      </a:lnTo>
                      <a:lnTo>
                        <a:pt x="820" y="744"/>
                      </a:lnTo>
                      <a:lnTo>
                        <a:pt x="820" y="743"/>
                      </a:lnTo>
                      <a:lnTo>
                        <a:pt x="821" y="742"/>
                      </a:lnTo>
                      <a:lnTo>
                        <a:pt x="821" y="743"/>
                      </a:lnTo>
                      <a:lnTo>
                        <a:pt x="820" y="743"/>
                      </a:lnTo>
                      <a:lnTo>
                        <a:pt x="821" y="743"/>
                      </a:lnTo>
                      <a:lnTo>
                        <a:pt x="821" y="744"/>
                      </a:lnTo>
                      <a:close/>
                      <a:moveTo>
                        <a:pt x="895" y="937"/>
                      </a:moveTo>
                      <a:lnTo>
                        <a:pt x="896" y="937"/>
                      </a:lnTo>
                      <a:lnTo>
                        <a:pt x="896" y="938"/>
                      </a:lnTo>
                      <a:lnTo>
                        <a:pt x="895" y="938"/>
                      </a:lnTo>
                      <a:lnTo>
                        <a:pt x="895" y="937"/>
                      </a:lnTo>
                      <a:close/>
                      <a:moveTo>
                        <a:pt x="913" y="1040"/>
                      </a:moveTo>
                      <a:lnTo>
                        <a:pt x="913" y="1039"/>
                      </a:lnTo>
                      <a:lnTo>
                        <a:pt x="914" y="1039"/>
                      </a:lnTo>
                      <a:lnTo>
                        <a:pt x="915" y="1038"/>
                      </a:lnTo>
                      <a:lnTo>
                        <a:pt x="914" y="1039"/>
                      </a:lnTo>
                      <a:lnTo>
                        <a:pt x="914" y="1040"/>
                      </a:lnTo>
                      <a:lnTo>
                        <a:pt x="913" y="1040"/>
                      </a:lnTo>
                      <a:close/>
                      <a:moveTo>
                        <a:pt x="899" y="865"/>
                      </a:moveTo>
                      <a:lnTo>
                        <a:pt x="900" y="865"/>
                      </a:lnTo>
                      <a:lnTo>
                        <a:pt x="899" y="865"/>
                      </a:lnTo>
                      <a:lnTo>
                        <a:pt x="900" y="865"/>
                      </a:lnTo>
                      <a:lnTo>
                        <a:pt x="900" y="866"/>
                      </a:lnTo>
                      <a:lnTo>
                        <a:pt x="899" y="866"/>
                      </a:lnTo>
                      <a:lnTo>
                        <a:pt x="899" y="867"/>
                      </a:lnTo>
                      <a:lnTo>
                        <a:pt x="900" y="867"/>
                      </a:lnTo>
                      <a:lnTo>
                        <a:pt x="899" y="866"/>
                      </a:lnTo>
                      <a:lnTo>
                        <a:pt x="899" y="865"/>
                      </a:lnTo>
                      <a:lnTo>
                        <a:pt x="898" y="865"/>
                      </a:lnTo>
                      <a:lnTo>
                        <a:pt x="899" y="865"/>
                      </a:lnTo>
                      <a:close/>
                      <a:moveTo>
                        <a:pt x="927" y="911"/>
                      </a:moveTo>
                      <a:lnTo>
                        <a:pt x="927" y="912"/>
                      </a:lnTo>
                      <a:lnTo>
                        <a:pt x="926" y="912"/>
                      </a:lnTo>
                      <a:lnTo>
                        <a:pt x="925" y="912"/>
                      </a:lnTo>
                      <a:lnTo>
                        <a:pt x="925" y="911"/>
                      </a:lnTo>
                      <a:lnTo>
                        <a:pt x="926" y="912"/>
                      </a:lnTo>
                      <a:lnTo>
                        <a:pt x="926" y="911"/>
                      </a:lnTo>
                      <a:lnTo>
                        <a:pt x="927" y="911"/>
                      </a:lnTo>
                      <a:close/>
                      <a:moveTo>
                        <a:pt x="886" y="902"/>
                      </a:moveTo>
                      <a:lnTo>
                        <a:pt x="887" y="902"/>
                      </a:lnTo>
                      <a:lnTo>
                        <a:pt x="887" y="904"/>
                      </a:lnTo>
                      <a:lnTo>
                        <a:pt x="886" y="904"/>
                      </a:lnTo>
                      <a:lnTo>
                        <a:pt x="886" y="902"/>
                      </a:lnTo>
                      <a:close/>
                      <a:moveTo>
                        <a:pt x="866" y="884"/>
                      </a:moveTo>
                      <a:lnTo>
                        <a:pt x="866" y="885"/>
                      </a:lnTo>
                      <a:lnTo>
                        <a:pt x="866" y="886"/>
                      </a:lnTo>
                      <a:lnTo>
                        <a:pt x="865" y="886"/>
                      </a:lnTo>
                      <a:lnTo>
                        <a:pt x="866" y="886"/>
                      </a:lnTo>
                      <a:lnTo>
                        <a:pt x="866" y="885"/>
                      </a:lnTo>
                      <a:lnTo>
                        <a:pt x="865" y="885"/>
                      </a:lnTo>
                      <a:lnTo>
                        <a:pt x="866" y="885"/>
                      </a:lnTo>
                      <a:lnTo>
                        <a:pt x="866" y="884"/>
                      </a:lnTo>
                      <a:close/>
                      <a:moveTo>
                        <a:pt x="919" y="989"/>
                      </a:moveTo>
                      <a:lnTo>
                        <a:pt x="921" y="989"/>
                      </a:lnTo>
                      <a:lnTo>
                        <a:pt x="921" y="991"/>
                      </a:lnTo>
                      <a:lnTo>
                        <a:pt x="919" y="991"/>
                      </a:lnTo>
                      <a:lnTo>
                        <a:pt x="919" y="989"/>
                      </a:lnTo>
                      <a:close/>
                      <a:moveTo>
                        <a:pt x="911" y="874"/>
                      </a:moveTo>
                      <a:lnTo>
                        <a:pt x="911" y="875"/>
                      </a:lnTo>
                      <a:lnTo>
                        <a:pt x="910" y="875"/>
                      </a:lnTo>
                      <a:lnTo>
                        <a:pt x="909" y="875"/>
                      </a:lnTo>
                      <a:lnTo>
                        <a:pt x="910" y="874"/>
                      </a:lnTo>
                      <a:lnTo>
                        <a:pt x="911" y="874"/>
                      </a:lnTo>
                      <a:close/>
                      <a:moveTo>
                        <a:pt x="918" y="973"/>
                      </a:moveTo>
                      <a:lnTo>
                        <a:pt x="918" y="974"/>
                      </a:lnTo>
                      <a:lnTo>
                        <a:pt x="918" y="973"/>
                      </a:lnTo>
                      <a:lnTo>
                        <a:pt x="918" y="971"/>
                      </a:lnTo>
                      <a:lnTo>
                        <a:pt x="918" y="973"/>
                      </a:lnTo>
                      <a:close/>
                      <a:moveTo>
                        <a:pt x="921" y="973"/>
                      </a:moveTo>
                      <a:lnTo>
                        <a:pt x="921" y="974"/>
                      </a:lnTo>
                      <a:lnTo>
                        <a:pt x="921" y="975"/>
                      </a:lnTo>
                      <a:lnTo>
                        <a:pt x="919" y="975"/>
                      </a:lnTo>
                      <a:lnTo>
                        <a:pt x="919" y="974"/>
                      </a:lnTo>
                      <a:lnTo>
                        <a:pt x="919" y="973"/>
                      </a:lnTo>
                      <a:lnTo>
                        <a:pt x="921" y="973"/>
                      </a:lnTo>
                      <a:lnTo>
                        <a:pt x="919" y="973"/>
                      </a:lnTo>
                      <a:lnTo>
                        <a:pt x="921" y="973"/>
                      </a:lnTo>
                      <a:close/>
                      <a:moveTo>
                        <a:pt x="818" y="838"/>
                      </a:moveTo>
                      <a:lnTo>
                        <a:pt x="818" y="839"/>
                      </a:lnTo>
                      <a:lnTo>
                        <a:pt x="816" y="838"/>
                      </a:lnTo>
                      <a:lnTo>
                        <a:pt x="815" y="838"/>
                      </a:lnTo>
                      <a:lnTo>
                        <a:pt x="816" y="838"/>
                      </a:lnTo>
                      <a:lnTo>
                        <a:pt x="818" y="838"/>
                      </a:lnTo>
                      <a:close/>
                      <a:moveTo>
                        <a:pt x="910" y="955"/>
                      </a:moveTo>
                      <a:lnTo>
                        <a:pt x="910" y="956"/>
                      </a:lnTo>
                      <a:lnTo>
                        <a:pt x="911" y="956"/>
                      </a:lnTo>
                      <a:lnTo>
                        <a:pt x="910" y="956"/>
                      </a:lnTo>
                      <a:lnTo>
                        <a:pt x="910" y="955"/>
                      </a:lnTo>
                      <a:lnTo>
                        <a:pt x="910" y="954"/>
                      </a:lnTo>
                      <a:lnTo>
                        <a:pt x="910" y="955"/>
                      </a:lnTo>
                      <a:lnTo>
                        <a:pt x="910" y="954"/>
                      </a:lnTo>
                      <a:lnTo>
                        <a:pt x="911" y="954"/>
                      </a:lnTo>
                      <a:lnTo>
                        <a:pt x="911" y="955"/>
                      </a:lnTo>
                      <a:lnTo>
                        <a:pt x="910" y="955"/>
                      </a:lnTo>
                      <a:close/>
                      <a:moveTo>
                        <a:pt x="903" y="1045"/>
                      </a:moveTo>
                      <a:lnTo>
                        <a:pt x="905" y="1045"/>
                      </a:lnTo>
                      <a:lnTo>
                        <a:pt x="905" y="1047"/>
                      </a:lnTo>
                      <a:lnTo>
                        <a:pt x="903" y="1047"/>
                      </a:lnTo>
                      <a:lnTo>
                        <a:pt x="903" y="1045"/>
                      </a:lnTo>
                      <a:close/>
                      <a:moveTo>
                        <a:pt x="902" y="910"/>
                      </a:moveTo>
                      <a:lnTo>
                        <a:pt x="902" y="911"/>
                      </a:lnTo>
                      <a:lnTo>
                        <a:pt x="901" y="911"/>
                      </a:lnTo>
                      <a:lnTo>
                        <a:pt x="900" y="911"/>
                      </a:lnTo>
                      <a:lnTo>
                        <a:pt x="900" y="912"/>
                      </a:lnTo>
                      <a:lnTo>
                        <a:pt x="899" y="912"/>
                      </a:lnTo>
                      <a:lnTo>
                        <a:pt x="900" y="912"/>
                      </a:lnTo>
                      <a:lnTo>
                        <a:pt x="900" y="911"/>
                      </a:lnTo>
                      <a:lnTo>
                        <a:pt x="901" y="911"/>
                      </a:lnTo>
                      <a:lnTo>
                        <a:pt x="901" y="910"/>
                      </a:lnTo>
                      <a:lnTo>
                        <a:pt x="902" y="910"/>
                      </a:lnTo>
                      <a:close/>
                      <a:moveTo>
                        <a:pt x="911" y="1041"/>
                      </a:moveTo>
                      <a:lnTo>
                        <a:pt x="912" y="1040"/>
                      </a:lnTo>
                      <a:lnTo>
                        <a:pt x="912" y="1041"/>
                      </a:lnTo>
                      <a:lnTo>
                        <a:pt x="911" y="1041"/>
                      </a:lnTo>
                      <a:lnTo>
                        <a:pt x="910" y="1041"/>
                      </a:lnTo>
                      <a:lnTo>
                        <a:pt x="910" y="1042"/>
                      </a:lnTo>
                      <a:lnTo>
                        <a:pt x="910" y="1041"/>
                      </a:lnTo>
                      <a:lnTo>
                        <a:pt x="910" y="1040"/>
                      </a:lnTo>
                      <a:lnTo>
                        <a:pt x="911" y="1040"/>
                      </a:lnTo>
                      <a:lnTo>
                        <a:pt x="911" y="1041"/>
                      </a:lnTo>
                      <a:close/>
                      <a:moveTo>
                        <a:pt x="893" y="1039"/>
                      </a:moveTo>
                      <a:lnTo>
                        <a:pt x="895" y="1039"/>
                      </a:lnTo>
                      <a:lnTo>
                        <a:pt x="895" y="1040"/>
                      </a:lnTo>
                      <a:lnTo>
                        <a:pt x="893" y="1040"/>
                      </a:lnTo>
                      <a:lnTo>
                        <a:pt x="893" y="1039"/>
                      </a:lnTo>
                      <a:lnTo>
                        <a:pt x="893" y="1038"/>
                      </a:lnTo>
                      <a:lnTo>
                        <a:pt x="893" y="1037"/>
                      </a:lnTo>
                      <a:lnTo>
                        <a:pt x="895" y="1037"/>
                      </a:lnTo>
                      <a:lnTo>
                        <a:pt x="895" y="1038"/>
                      </a:lnTo>
                      <a:lnTo>
                        <a:pt x="893" y="1039"/>
                      </a:lnTo>
                      <a:close/>
                      <a:moveTo>
                        <a:pt x="919" y="902"/>
                      </a:moveTo>
                      <a:lnTo>
                        <a:pt x="921" y="902"/>
                      </a:lnTo>
                      <a:lnTo>
                        <a:pt x="921" y="904"/>
                      </a:lnTo>
                      <a:lnTo>
                        <a:pt x="919" y="904"/>
                      </a:lnTo>
                      <a:lnTo>
                        <a:pt x="919" y="902"/>
                      </a:lnTo>
                      <a:close/>
                      <a:moveTo>
                        <a:pt x="896" y="936"/>
                      </a:moveTo>
                      <a:lnTo>
                        <a:pt x="897" y="936"/>
                      </a:lnTo>
                      <a:lnTo>
                        <a:pt x="897" y="938"/>
                      </a:lnTo>
                      <a:lnTo>
                        <a:pt x="896" y="938"/>
                      </a:lnTo>
                      <a:lnTo>
                        <a:pt x="896" y="936"/>
                      </a:lnTo>
                      <a:close/>
                      <a:moveTo>
                        <a:pt x="872" y="889"/>
                      </a:moveTo>
                      <a:lnTo>
                        <a:pt x="873" y="889"/>
                      </a:lnTo>
                      <a:lnTo>
                        <a:pt x="873" y="890"/>
                      </a:lnTo>
                      <a:lnTo>
                        <a:pt x="872" y="890"/>
                      </a:lnTo>
                      <a:lnTo>
                        <a:pt x="872" y="889"/>
                      </a:lnTo>
                      <a:close/>
                      <a:moveTo>
                        <a:pt x="923" y="1016"/>
                      </a:moveTo>
                      <a:lnTo>
                        <a:pt x="924" y="1016"/>
                      </a:lnTo>
                      <a:lnTo>
                        <a:pt x="924" y="1017"/>
                      </a:lnTo>
                      <a:lnTo>
                        <a:pt x="923" y="1017"/>
                      </a:lnTo>
                      <a:lnTo>
                        <a:pt x="923" y="1016"/>
                      </a:lnTo>
                      <a:close/>
                      <a:moveTo>
                        <a:pt x="867" y="888"/>
                      </a:moveTo>
                      <a:lnTo>
                        <a:pt x="869" y="888"/>
                      </a:lnTo>
                      <a:lnTo>
                        <a:pt x="870" y="888"/>
                      </a:lnTo>
                      <a:lnTo>
                        <a:pt x="870" y="889"/>
                      </a:lnTo>
                      <a:lnTo>
                        <a:pt x="869" y="889"/>
                      </a:lnTo>
                      <a:lnTo>
                        <a:pt x="869" y="888"/>
                      </a:lnTo>
                      <a:lnTo>
                        <a:pt x="867" y="888"/>
                      </a:lnTo>
                      <a:close/>
                      <a:moveTo>
                        <a:pt x="934" y="1028"/>
                      </a:moveTo>
                      <a:lnTo>
                        <a:pt x="935" y="1028"/>
                      </a:lnTo>
                      <a:lnTo>
                        <a:pt x="935" y="1029"/>
                      </a:lnTo>
                      <a:lnTo>
                        <a:pt x="934" y="1029"/>
                      </a:lnTo>
                      <a:lnTo>
                        <a:pt x="934" y="1028"/>
                      </a:lnTo>
                      <a:close/>
                      <a:moveTo>
                        <a:pt x="902" y="927"/>
                      </a:moveTo>
                      <a:lnTo>
                        <a:pt x="903" y="927"/>
                      </a:lnTo>
                      <a:lnTo>
                        <a:pt x="903" y="928"/>
                      </a:lnTo>
                      <a:lnTo>
                        <a:pt x="902" y="928"/>
                      </a:lnTo>
                      <a:lnTo>
                        <a:pt x="902" y="927"/>
                      </a:lnTo>
                      <a:close/>
                      <a:moveTo>
                        <a:pt x="876" y="865"/>
                      </a:moveTo>
                      <a:lnTo>
                        <a:pt x="878" y="865"/>
                      </a:lnTo>
                      <a:lnTo>
                        <a:pt x="878" y="867"/>
                      </a:lnTo>
                      <a:lnTo>
                        <a:pt x="876" y="867"/>
                      </a:lnTo>
                      <a:lnTo>
                        <a:pt x="876" y="865"/>
                      </a:lnTo>
                      <a:close/>
                      <a:moveTo>
                        <a:pt x="918" y="963"/>
                      </a:moveTo>
                      <a:lnTo>
                        <a:pt x="918" y="965"/>
                      </a:lnTo>
                      <a:lnTo>
                        <a:pt x="918" y="963"/>
                      </a:lnTo>
                      <a:close/>
                      <a:moveTo>
                        <a:pt x="919" y="998"/>
                      </a:moveTo>
                      <a:lnTo>
                        <a:pt x="921" y="998"/>
                      </a:lnTo>
                      <a:lnTo>
                        <a:pt x="921" y="999"/>
                      </a:lnTo>
                      <a:lnTo>
                        <a:pt x="919" y="999"/>
                      </a:lnTo>
                      <a:lnTo>
                        <a:pt x="919" y="998"/>
                      </a:lnTo>
                      <a:close/>
                      <a:moveTo>
                        <a:pt x="871" y="888"/>
                      </a:moveTo>
                      <a:lnTo>
                        <a:pt x="872" y="888"/>
                      </a:lnTo>
                      <a:lnTo>
                        <a:pt x="872" y="889"/>
                      </a:lnTo>
                      <a:lnTo>
                        <a:pt x="871" y="889"/>
                      </a:lnTo>
                      <a:lnTo>
                        <a:pt x="871" y="888"/>
                      </a:lnTo>
                      <a:close/>
                      <a:moveTo>
                        <a:pt x="893" y="948"/>
                      </a:moveTo>
                      <a:lnTo>
                        <a:pt x="895" y="948"/>
                      </a:lnTo>
                      <a:lnTo>
                        <a:pt x="895" y="950"/>
                      </a:lnTo>
                      <a:lnTo>
                        <a:pt x="893" y="950"/>
                      </a:lnTo>
                      <a:lnTo>
                        <a:pt x="893" y="948"/>
                      </a:lnTo>
                      <a:close/>
                      <a:moveTo>
                        <a:pt x="908" y="954"/>
                      </a:moveTo>
                      <a:lnTo>
                        <a:pt x="909" y="954"/>
                      </a:lnTo>
                      <a:lnTo>
                        <a:pt x="909" y="955"/>
                      </a:lnTo>
                      <a:lnTo>
                        <a:pt x="908" y="955"/>
                      </a:lnTo>
                      <a:lnTo>
                        <a:pt x="908" y="954"/>
                      </a:lnTo>
                      <a:close/>
                      <a:moveTo>
                        <a:pt x="889" y="966"/>
                      </a:moveTo>
                      <a:lnTo>
                        <a:pt x="890" y="966"/>
                      </a:lnTo>
                      <a:lnTo>
                        <a:pt x="890" y="967"/>
                      </a:lnTo>
                      <a:lnTo>
                        <a:pt x="889" y="967"/>
                      </a:lnTo>
                      <a:lnTo>
                        <a:pt x="889" y="966"/>
                      </a:lnTo>
                      <a:close/>
                      <a:moveTo>
                        <a:pt x="929" y="1016"/>
                      </a:moveTo>
                      <a:lnTo>
                        <a:pt x="930" y="1016"/>
                      </a:lnTo>
                      <a:lnTo>
                        <a:pt x="930" y="1017"/>
                      </a:lnTo>
                      <a:lnTo>
                        <a:pt x="929" y="1017"/>
                      </a:lnTo>
                      <a:lnTo>
                        <a:pt x="929" y="1016"/>
                      </a:lnTo>
                      <a:close/>
                      <a:moveTo>
                        <a:pt x="895" y="936"/>
                      </a:moveTo>
                      <a:lnTo>
                        <a:pt x="896" y="936"/>
                      </a:lnTo>
                      <a:lnTo>
                        <a:pt x="895" y="936"/>
                      </a:lnTo>
                      <a:close/>
                      <a:moveTo>
                        <a:pt x="909" y="952"/>
                      </a:moveTo>
                      <a:lnTo>
                        <a:pt x="910" y="952"/>
                      </a:lnTo>
                      <a:lnTo>
                        <a:pt x="910" y="953"/>
                      </a:lnTo>
                      <a:lnTo>
                        <a:pt x="909" y="953"/>
                      </a:lnTo>
                      <a:lnTo>
                        <a:pt x="909" y="952"/>
                      </a:lnTo>
                      <a:close/>
                      <a:moveTo>
                        <a:pt x="903" y="906"/>
                      </a:moveTo>
                      <a:lnTo>
                        <a:pt x="904" y="906"/>
                      </a:lnTo>
                      <a:lnTo>
                        <a:pt x="904" y="907"/>
                      </a:lnTo>
                      <a:lnTo>
                        <a:pt x="903" y="907"/>
                      </a:lnTo>
                      <a:lnTo>
                        <a:pt x="903" y="906"/>
                      </a:lnTo>
                      <a:close/>
                      <a:moveTo>
                        <a:pt x="897" y="1041"/>
                      </a:moveTo>
                      <a:lnTo>
                        <a:pt x="898" y="1041"/>
                      </a:lnTo>
                      <a:lnTo>
                        <a:pt x="897" y="1041"/>
                      </a:lnTo>
                      <a:close/>
                      <a:moveTo>
                        <a:pt x="885" y="1055"/>
                      </a:moveTo>
                      <a:lnTo>
                        <a:pt x="886" y="1055"/>
                      </a:lnTo>
                      <a:lnTo>
                        <a:pt x="885" y="1055"/>
                      </a:lnTo>
                      <a:close/>
                      <a:moveTo>
                        <a:pt x="926" y="989"/>
                      </a:moveTo>
                      <a:lnTo>
                        <a:pt x="926" y="990"/>
                      </a:lnTo>
                      <a:lnTo>
                        <a:pt x="926" y="989"/>
                      </a:lnTo>
                      <a:close/>
                      <a:moveTo>
                        <a:pt x="917" y="966"/>
                      </a:moveTo>
                      <a:lnTo>
                        <a:pt x="918" y="966"/>
                      </a:lnTo>
                      <a:lnTo>
                        <a:pt x="918" y="967"/>
                      </a:lnTo>
                      <a:lnTo>
                        <a:pt x="917" y="967"/>
                      </a:lnTo>
                      <a:lnTo>
                        <a:pt x="917" y="966"/>
                      </a:lnTo>
                      <a:close/>
                      <a:moveTo>
                        <a:pt x="927" y="999"/>
                      </a:moveTo>
                      <a:lnTo>
                        <a:pt x="928" y="999"/>
                      </a:lnTo>
                      <a:lnTo>
                        <a:pt x="928" y="1000"/>
                      </a:lnTo>
                      <a:lnTo>
                        <a:pt x="927" y="1000"/>
                      </a:lnTo>
                      <a:lnTo>
                        <a:pt x="927" y="999"/>
                      </a:lnTo>
                      <a:close/>
                      <a:moveTo>
                        <a:pt x="895" y="1040"/>
                      </a:moveTo>
                      <a:lnTo>
                        <a:pt x="895" y="1041"/>
                      </a:lnTo>
                      <a:lnTo>
                        <a:pt x="895" y="1040"/>
                      </a:lnTo>
                      <a:close/>
                      <a:moveTo>
                        <a:pt x="922" y="1016"/>
                      </a:moveTo>
                      <a:lnTo>
                        <a:pt x="923" y="1016"/>
                      </a:lnTo>
                      <a:lnTo>
                        <a:pt x="923" y="1017"/>
                      </a:lnTo>
                      <a:lnTo>
                        <a:pt x="922" y="1017"/>
                      </a:lnTo>
                      <a:lnTo>
                        <a:pt x="922" y="1016"/>
                      </a:lnTo>
                      <a:close/>
                      <a:moveTo>
                        <a:pt x="905" y="927"/>
                      </a:moveTo>
                      <a:lnTo>
                        <a:pt x="905" y="928"/>
                      </a:lnTo>
                      <a:lnTo>
                        <a:pt x="905" y="927"/>
                      </a:lnTo>
                      <a:close/>
                      <a:moveTo>
                        <a:pt x="896" y="899"/>
                      </a:moveTo>
                      <a:lnTo>
                        <a:pt x="897" y="899"/>
                      </a:lnTo>
                      <a:lnTo>
                        <a:pt x="897" y="900"/>
                      </a:lnTo>
                      <a:lnTo>
                        <a:pt x="896" y="900"/>
                      </a:lnTo>
                      <a:lnTo>
                        <a:pt x="896" y="899"/>
                      </a:lnTo>
                      <a:close/>
                      <a:moveTo>
                        <a:pt x="904" y="906"/>
                      </a:moveTo>
                      <a:lnTo>
                        <a:pt x="905" y="906"/>
                      </a:lnTo>
                      <a:lnTo>
                        <a:pt x="904" y="906"/>
                      </a:lnTo>
                      <a:close/>
                      <a:moveTo>
                        <a:pt x="924" y="988"/>
                      </a:moveTo>
                      <a:lnTo>
                        <a:pt x="925" y="988"/>
                      </a:lnTo>
                      <a:lnTo>
                        <a:pt x="925" y="989"/>
                      </a:lnTo>
                      <a:lnTo>
                        <a:pt x="924" y="989"/>
                      </a:lnTo>
                      <a:lnTo>
                        <a:pt x="924" y="988"/>
                      </a:lnTo>
                      <a:close/>
                      <a:moveTo>
                        <a:pt x="871" y="1069"/>
                      </a:moveTo>
                      <a:lnTo>
                        <a:pt x="872" y="1069"/>
                      </a:lnTo>
                      <a:lnTo>
                        <a:pt x="872" y="1070"/>
                      </a:lnTo>
                      <a:lnTo>
                        <a:pt x="871" y="1070"/>
                      </a:lnTo>
                      <a:lnTo>
                        <a:pt x="871" y="1069"/>
                      </a:lnTo>
                      <a:close/>
                      <a:moveTo>
                        <a:pt x="897" y="929"/>
                      </a:moveTo>
                      <a:lnTo>
                        <a:pt x="897" y="930"/>
                      </a:lnTo>
                      <a:lnTo>
                        <a:pt x="897" y="929"/>
                      </a:lnTo>
                      <a:close/>
                      <a:moveTo>
                        <a:pt x="913" y="976"/>
                      </a:moveTo>
                      <a:lnTo>
                        <a:pt x="914" y="976"/>
                      </a:lnTo>
                      <a:lnTo>
                        <a:pt x="914" y="977"/>
                      </a:lnTo>
                      <a:lnTo>
                        <a:pt x="913" y="977"/>
                      </a:lnTo>
                      <a:lnTo>
                        <a:pt x="913" y="976"/>
                      </a:lnTo>
                      <a:close/>
                      <a:moveTo>
                        <a:pt x="872" y="1068"/>
                      </a:moveTo>
                      <a:lnTo>
                        <a:pt x="872" y="1069"/>
                      </a:lnTo>
                      <a:lnTo>
                        <a:pt x="872" y="1068"/>
                      </a:lnTo>
                      <a:close/>
                      <a:moveTo>
                        <a:pt x="910" y="915"/>
                      </a:moveTo>
                      <a:lnTo>
                        <a:pt x="910" y="916"/>
                      </a:lnTo>
                      <a:lnTo>
                        <a:pt x="910" y="915"/>
                      </a:lnTo>
                      <a:close/>
                      <a:moveTo>
                        <a:pt x="1099" y="184"/>
                      </a:moveTo>
                      <a:lnTo>
                        <a:pt x="1099" y="185"/>
                      </a:lnTo>
                      <a:lnTo>
                        <a:pt x="1099" y="186"/>
                      </a:lnTo>
                      <a:lnTo>
                        <a:pt x="1100" y="186"/>
                      </a:lnTo>
                      <a:lnTo>
                        <a:pt x="1100" y="187"/>
                      </a:lnTo>
                      <a:lnTo>
                        <a:pt x="1099" y="189"/>
                      </a:lnTo>
                      <a:lnTo>
                        <a:pt x="1100" y="190"/>
                      </a:lnTo>
                      <a:lnTo>
                        <a:pt x="1100" y="189"/>
                      </a:lnTo>
                      <a:lnTo>
                        <a:pt x="1102" y="189"/>
                      </a:lnTo>
                      <a:lnTo>
                        <a:pt x="1102" y="187"/>
                      </a:lnTo>
                      <a:lnTo>
                        <a:pt x="1103" y="187"/>
                      </a:lnTo>
                      <a:lnTo>
                        <a:pt x="1103" y="189"/>
                      </a:lnTo>
                      <a:lnTo>
                        <a:pt x="1103" y="190"/>
                      </a:lnTo>
                      <a:lnTo>
                        <a:pt x="1104" y="190"/>
                      </a:lnTo>
                      <a:lnTo>
                        <a:pt x="1104" y="191"/>
                      </a:lnTo>
                      <a:lnTo>
                        <a:pt x="1104" y="192"/>
                      </a:lnTo>
                      <a:lnTo>
                        <a:pt x="1104" y="193"/>
                      </a:lnTo>
                      <a:lnTo>
                        <a:pt x="1103" y="194"/>
                      </a:lnTo>
                      <a:lnTo>
                        <a:pt x="1104" y="194"/>
                      </a:lnTo>
                      <a:lnTo>
                        <a:pt x="1105" y="194"/>
                      </a:lnTo>
                      <a:lnTo>
                        <a:pt x="1105" y="195"/>
                      </a:lnTo>
                      <a:lnTo>
                        <a:pt x="1104" y="195"/>
                      </a:lnTo>
                      <a:lnTo>
                        <a:pt x="1105" y="196"/>
                      </a:lnTo>
                      <a:lnTo>
                        <a:pt x="1104" y="197"/>
                      </a:lnTo>
                      <a:lnTo>
                        <a:pt x="1103" y="197"/>
                      </a:lnTo>
                      <a:lnTo>
                        <a:pt x="1103" y="198"/>
                      </a:lnTo>
                      <a:lnTo>
                        <a:pt x="1103" y="199"/>
                      </a:lnTo>
                      <a:lnTo>
                        <a:pt x="1104" y="200"/>
                      </a:lnTo>
                      <a:lnTo>
                        <a:pt x="1104" y="202"/>
                      </a:lnTo>
                      <a:lnTo>
                        <a:pt x="1104" y="203"/>
                      </a:lnTo>
                      <a:lnTo>
                        <a:pt x="1105" y="203"/>
                      </a:lnTo>
                      <a:lnTo>
                        <a:pt x="1106" y="203"/>
                      </a:lnTo>
                      <a:lnTo>
                        <a:pt x="1106" y="204"/>
                      </a:lnTo>
                      <a:lnTo>
                        <a:pt x="1106" y="205"/>
                      </a:lnTo>
                      <a:lnTo>
                        <a:pt x="1106" y="206"/>
                      </a:lnTo>
                      <a:lnTo>
                        <a:pt x="1105" y="207"/>
                      </a:lnTo>
                      <a:lnTo>
                        <a:pt x="1106" y="207"/>
                      </a:lnTo>
                      <a:lnTo>
                        <a:pt x="1106" y="208"/>
                      </a:lnTo>
                      <a:lnTo>
                        <a:pt x="1107" y="208"/>
                      </a:lnTo>
                      <a:lnTo>
                        <a:pt x="1106" y="209"/>
                      </a:lnTo>
                      <a:lnTo>
                        <a:pt x="1105" y="209"/>
                      </a:lnTo>
                      <a:lnTo>
                        <a:pt x="1105" y="210"/>
                      </a:lnTo>
                      <a:lnTo>
                        <a:pt x="1106" y="210"/>
                      </a:lnTo>
                      <a:lnTo>
                        <a:pt x="1106" y="211"/>
                      </a:lnTo>
                      <a:lnTo>
                        <a:pt x="1106" y="212"/>
                      </a:lnTo>
                      <a:lnTo>
                        <a:pt x="1106" y="213"/>
                      </a:lnTo>
                      <a:lnTo>
                        <a:pt x="1107" y="213"/>
                      </a:lnTo>
                      <a:lnTo>
                        <a:pt x="1107" y="215"/>
                      </a:lnTo>
                      <a:lnTo>
                        <a:pt x="1106" y="215"/>
                      </a:lnTo>
                      <a:lnTo>
                        <a:pt x="1106" y="216"/>
                      </a:lnTo>
                      <a:lnTo>
                        <a:pt x="1107" y="217"/>
                      </a:lnTo>
                      <a:lnTo>
                        <a:pt x="1107" y="218"/>
                      </a:lnTo>
                      <a:lnTo>
                        <a:pt x="1106" y="218"/>
                      </a:lnTo>
                      <a:lnTo>
                        <a:pt x="1106" y="219"/>
                      </a:lnTo>
                      <a:lnTo>
                        <a:pt x="1105" y="219"/>
                      </a:lnTo>
                      <a:lnTo>
                        <a:pt x="1105" y="218"/>
                      </a:lnTo>
                      <a:lnTo>
                        <a:pt x="1104" y="218"/>
                      </a:lnTo>
                      <a:lnTo>
                        <a:pt x="1103" y="218"/>
                      </a:lnTo>
                      <a:lnTo>
                        <a:pt x="1104" y="218"/>
                      </a:lnTo>
                      <a:lnTo>
                        <a:pt x="1104" y="219"/>
                      </a:lnTo>
                      <a:lnTo>
                        <a:pt x="1104" y="220"/>
                      </a:lnTo>
                      <a:lnTo>
                        <a:pt x="1104" y="221"/>
                      </a:lnTo>
                      <a:lnTo>
                        <a:pt x="1104" y="222"/>
                      </a:lnTo>
                      <a:lnTo>
                        <a:pt x="1104" y="223"/>
                      </a:lnTo>
                      <a:lnTo>
                        <a:pt x="1105" y="223"/>
                      </a:lnTo>
                      <a:lnTo>
                        <a:pt x="1105" y="224"/>
                      </a:lnTo>
                      <a:lnTo>
                        <a:pt x="1105" y="225"/>
                      </a:lnTo>
                      <a:lnTo>
                        <a:pt x="1106" y="225"/>
                      </a:lnTo>
                      <a:lnTo>
                        <a:pt x="1107" y="225"/>
                      </a:lnTo>
                      <a:lnTo>
                        <a:pt x="1106" y="226"/>
                      </a:lnTo>
                      <a:lnTo>
                        <a:pt x="1107" y="228"/>
                      </a:lnTo>
                      <a:lnTo>
                        <a:pt x="1107" y="229"/>
                      </a:lnTo>
                      <a:lnTo>
                        <a:pt x="1108" y="229"/>
                      </a:lnTo>
                      <a:lnTo>
                        <a:pt x="1107" y="230"/>
                      </a:lnTo>
                      <a:lnTo>
                        <a:pt x="1108" y="231"/>
                      </a:lnTo>
                      <a:lnTo>
                        <a:pt x="1108" y="232"/>
                      </a:lnTo>
                      <a:lnTo>
                        <a:pt x="1109" y="232"/>
                      </a:lnTo>
                      <a:lnTo>
                        <a:pt x="1110" y="232"/>
                      </a:lnTo>
                      <a:lnTo>
                        <a:pt x="1110" y="233"/>
                      </a:lnTo>
                      <a:lnTo>
                        <a:pt x="1110" y="234"/>
                      </a:lnTo>
                      <a:lnTo>
                        <a:pt x="1111" y="235"/>
                      </a:lnTo>
                      <a:lnTo>
                        <a:pt x="1111" y="236"/>
                      </a:lnTo>
                      <a:lnTo>
                        <a:pt x="1111" y="237"/>
                      </a:lnTo>
                      <a:lnTo>
                        <a:pt x="1111" y="238"/>
                      </a:lnTo>
                      <a:lnTo>
                        <a:pt x="1111" y="240"/>
                      </a:lnTo>
                      <a:lnTo>
                        <a:pt x="1112" y="240"/>
                      </a:lnTo>
                      <a:lnTo>
                        <a:pt x="1112" y="241"/>
                      </a:lnTo>
                      <a:lnTo>
                        <a:pt x="1113" y="241"/>
                      </a:lnTo>
                      <a:lnTo>
                        <a:pt x="1116" y="242"/>
                      </a:lnTo>
                      <a:lnTo>
                        <a:pt x="1115" y="243"/>
                      </a:lnTo>
                      <a:lnTo>
                        <a:pt x="1116" y="243"/>
                      </a:lnTo>
                      <a:lnTo>
                        <a:pt x="1116" y="244"/>
                      </a:lnTo>
                      <a:lnTo>
                        <a:pt x="1116" y="245"/>
                      </a:lnTo>
                      <a:lnTo>
                        <a:pt x="1117" y="245"/>
                      </a:lnTo>
                      <a:lnTo>
                        <a:pt x="1118" y="245"/>
                      </a:lnTo>
                      <a:lnTo>
                        <a:pt x="1118" y="246"/>
                      </a:lnTo>
                      <a:lnTo>
                        <a:pt x="1117" y="246"/>
                      </a:lnTo>
                      <a:lnTo>
                        <a:pt x="1117" y="247"/>
                      </a:lnTo>
                      <a:lnTo>
                        <a:pt x="1118" y="247"/>
                      </a:lnTo>
                      <a:lnTo>
                        <a:pt x="1118" y="248"/>
                      </a:lnTo>
                      <a:lnTo>
                        <a:pt x="1119" y="248"/>
                      </a:lnTo>
                      <a:lnTo>
                        <a:pt x="1119" y="249"/>
                      </a:lnTo>
                      <a:lnTo>
                        <a:pt x="1119" y="250"/>
                      </a:lnTo>
                      <a:lnTo>
                        <a:pt x="1118" y="251"/>
                      </a:lnTo>
                      <a:lnTo>
                        <a:pt x="1118" y="253"/>
                      </a:lnTo>
                      <a:lnTo>
                        <a:pt x="1119" y="253"/>
                      </a:lnTo>
                      <a:lnTo>
                        <a:pt x="1119" y="254"/>
                      </a:lnTo>
                      <a:lnTo>
                        <a:pt x="1119" y="255"/>
                      </a:lnTo>
                      <a:lnTo>
                        <a:pt x="1119" y="256"/>
                      </a:lnTo>
                      <a:lnTo>
                        <a:pt x="1120" y="256"/>
                      </a:lnTo>
                      <a:lnTo>
                        <a:pt x="1120" y="257"/>
                      </a:lnTo>
                      <a:lnTo>
                        <a:pt x="1120" y="258"/>
                      </a:lnTo>
                      <a:lnTo>
                        <a:pt x="1121" y="258"/>
                      </a:lnTo>
                      <a:lnTo>
                        <a:pt x="1122" y="259"/>
                      </a:lnTo>
                      <a:lnTo>
                        <a:pt x="1123" y="259"/>
                      </a:lnTo>
                      <a:lnTo>
                        <a:pt x="1122" y="258"/>
                      </a:lnTo>
                      <a:lnTo>
                        <a:pt x="1123" y="258"/>
                      </a:lnTo>
                      <a:lnTo>
                        <a:pt x="1123" y="259"/>
                      </a:lnTo>
                      <a:lnTo>
                        <a:pt x="1124" y="259"/>
                      </a:lnTo>
                      <a:lnTo>
                        <a:pt x="1125" y="260"/>
                      </a:lnTo>
                      <a:lnTo>
                        <a:pt x="1126" y="260"/>
                      </a:lnTo>
                      <a:lnTo>
                        <a:pt x="1126" y="261"/>
                      </a:lnTo>
                      <a:lnTo>
                        <a:pt x="1128" y="262"/>
                      </a:lnTo>
                      <a:lnTo>
                        <a:pt x="1126" y="262"/>
                      </a:lnTo>
                      <a:lnTo>
                        <a:pt x="1126" y="263"/>
                      </a:lnTo>
                      <a:lnTo>
                        <a:pt x="1128" y="263"/>
                      </a:lnTo>
                      <a:lnTo>
                        <a:pt x="1129" y="263"/>
                      </a:lnTo>
                      <a:lnTo>
                        <a:pt x="1130" y="263"/>
                      </a:lnTo>
                      <a:lnTo>
                        <a:pt x="1129" y="264"/>
                      </a:lnTo>
                      <a:lnTo>
                        <a:pt x="1130" y="264"/>
                      </a:lnTo>
                      <a:lnTo>
                        <a:pt x="1130" y="266"/>
                      </a:lnTo>
                      <a:lnTo>
                        <a:pt x="1131" y="264"/>
                      </a:lnTo>
                      <a:lnTo>
                        <a:pt x="1132" y="264"/>
                      </a:lnTo>
                      <a:lnTo>
                        <a:pt x="1133" y="264"/>
                      </a:lnTo>
                      <a:lnTo>
                        <a:pt x="1133" y="266"/>
                      </a:lnTo>
                      <a:lnTo>
                        <a:pt x="1133" y="267"/>
                      </a:lnTo>
                      <a:lnTo>
                        <a:pt x="1134" y="268"/>
                      </a:lnTo>
                      <a:lnTo>
                        <a:pt x="1134" y="269"/>
                      </a:lnTo>
                      <a:lnTo>
                        <a:pt x="1135" y="270"/>
                      </a:lnTo>
                      <a:lnTo>
                        <a:pt x="1136" y="270"/>
                      </a:lnTo>
                      <a:lnTo>
                        <a:pt x="1136" y="271"/>
                      </a:lnTo>
                      <a:lnTo>
                        <a:pt x="1136" y="272"/>
                      </a:lnTo>
                      <a:lnTo>
                        <a:pt x="1136" y="273"/>
                      </a:lnTo>
                      <a:lnTo>
                        <a:pt x="1136" y="274"/>
                      </a:lnTo>
                      <a:lnTo>
                        <a:pt x="1136" y="275"/>
                      </a:lnTo>
                      <a:lnTo>
                        <a:pt x="1135" y="276"/>
                      </a:lnTo>
                      <a:lnTo>
                        <a:pt x="1135" y="277"/>
                      </a:lnTo>
                      <a:lnTo>
                        <a:pt x="1135" y="279"/>
                      </a:lnTo>
                      <a:lnTo>
                        <a:pt x="1136" y="279"/>
                      </a:lnTo>
                      <a:lnTo>
                        <a:pt x="1137" y="279"/>
                      </a:lnTo>
                      <a:lnTo>
                        <a:pt x="1137" y="280"/>
                      </a:lnTo>
                      <a:lnTo>
                        <a:pt x="1136" y="280"/>
                      </a:lnTo>
                      <a:lnTo>
                        <a:pt x="1136" y="281"/>
                      </a:lnTo>
                      <a:lnTo>
                        <a:pt x="1136" y="282"/>
                      </a:lnTo>
                      <a:lnTo>
                        <a:pt x="1136" y="283"/>
                      </a:lnTo>
                      <a:lnTo>
                        <a:pt x="1135" y="282"/>
                      </a:lnTo>
                      <a:lnTo>
                        <a:pt x="1134" y="282"/>
                      </a:lnTo>
                      <a:lnTo>
                        <a:pt x="1134" y="283"/>
                      </a:lnTo>
                      <a:lnTo>
                        <a:pt x="1135" y="283"/>
                      </a:lnTo>
                      <a:lnTo>
                        <a:pt x="1135" y="284"/>
                      </a:lnTo>
                      <a:lnTo>
                        <a:pt x="1136" y="284"/>
                      </a:lnTo>
                      <a:lnTo>
                        <a:pt x="1136" y="285"/>
                      </a:lnTo>
                      <a:lnTo>
                        <a:pt x="1137" y="285"/>
                      </a:lnTo>
                      <a:lnTo>
                        <a:pt x="1138" y="287"/>
                      </a:lnTo>
                      <a:lnTo>
                        <a:pt x="1138" y="288"/>
                      </a:lnTo>
                      <a:lnTo>
                        <a:pt x="1137" y="288"/>
                      </a:lnTo>
                      <a:lnTo>
                        <a:pt x="1137" y="289"/>
                      </a:lnTo>
                      <a:lnTo>
                        <a:pt x="1136" y="290"/>
                      </a:lnTo>
                      <a:lnTo>
                        <a:pt x="1135" y="292"/>
                      </a:lnTo>
                      <a:lnTo>
                        <a:pt x="1134" y="290"/>
                      </a:lnTo>
                      <a:lnTo>
                        <a:pt x="1134" y="292"/>
                      </a:lnTo>
                      <a:lnTo>
                        <a:pt x="1131" y="293"/>
                      </a:lnTo>
                      <a:lnTo>
                        <a:pt x="1130" y="293"/>
                      </a:lnTo>
                      <a:lnTo>
                        <a:pt x="1130" y="294"/>
                      </a:lnTo>
                      <a:lnTo>
                        <a:pt x="1130" y="295"/>
                      </a:lnTo>
                      <a:lnTo>
                        <a:pt x="1130" y="296"/>
                      </a:lnTo>
                      <a:lnTo>
                        <a:pt x="1130" y="297"/>
                      </a:lnTo>
                      <a:lnTo>
                        <a:pt x="1130" y="298"/>
                      </a:lnTo>
                      <a:lnTo>
                        <a:pt x="1130" y="299"/>
                      </a:lnTo>
                      <a:lnTo>
                        <a:pt x="1130" y="301"/>
                      </a:lnTo>
                      <a:lnTo>
                        <a:pt x="1129" y="302"/>
                      </a:lnTo>
                      <a:lnTo>
                        <a:pt x="1128" y="303"/>
                      </a:lnTo>
                      <a:lnTo>
                        <a:pt x="1126" y="303"/>
                      </a:lnTo>
                      <a:lnTo>
                        <a:pt x="1125" y="303"/>
                      </a:lnTo>
                      <a:lnTo>
                        <a:pt x="1125" y="305"/>
                      </a:lnTo>
                      <a:lnTo>
                        <a:pt x="1126" y="306"/>
                      </a:lnTo>
                      <a:lnTo>
                        <a:pt x="1129" y="307"/>
                      </a:lnTo>
                      <a:lnTo>
                        <a:pt x="1131" y="306"/>
                      </a:lnTo>
                      <a:lnTo>
                        <a:pt x="1132" y="307"/>
                      </a:lnTo>
                      <a:lnTo>
                        <a:pt x="1132" y="308"/>
                      </a:lnTo>
                      <a:lnTo>
                        <a:pt x="1134" y="310"/>
                      </a:lnTo>
                      <a:lnTo>
                        <a:pt x="1135" y="311"/>
                      </a:lnTo>
                      <a:lnTo>
                        <a:pt x="1136" y="312"/>
                      </a:lnTo>
                      <a:lnTo>
                        <a:pt x="1136" y="314"/>
                      </a:lnTo>
                      <a:lnTo>
                        <a:pt x="1135" y="317"/>
                      </a:lnTo>
                      <a:lnTo>
                        <a:pt x="1135" y="318"/>
                      </a:lnTo>
                      <a:lnTo>
                        <a:pt x="1135" y="320"/>
                      </a:lnTo>
                      <a:lnTo>
                        <a:pt x="1136" y="321"/>
                      </a:lnTo>
                      <a:lnTo>
                        <a:pt x="1140" y="322"/>
                      </a:lnTo>
                      <a:lnTo>
                        <a:pt x="1140" y="323"/>
                      </a:lnTo>
                      <a:lnTo>
                        <a:pt x="1140" y="324"/>
                      </a:lnTo>
                      <a:lnTo>
                        <a:pt x="1138" y="324"/>
                      </a:lnTo>
                      <a:lnTo>
                        <a:pt x="1137" y="324"/>
                      </a:lnTo>
                      <a:lnTo>
                        <a:pt x="1136" y="324"/>
                      </a:lnTo>
                      <a:lnTo>
                        <a:pt x="1136" y="325"/>
                      </a:lnTo>
                      <a:lnTo>
                        <a:pt x="1135" y="326"/>
                      </a:lnTo>
                      <a:lnTo>
                        <a:pt x="1135" y="327"/>
                      </a:lnTo>
                      <a:lnTo>
                        <a:pt x="1135" y="328"/>
                      </a:lnTo>
                      <a:lnTo>
                        <a:pt x="1136" y="330"/>
                      </a:lnTo>
                      <a:lnTo>
                        <a:pt x="1137" y="331"/>
                      </a:lnTo>
                      <a:lnTo>
                        <a:pt x="1138" y="332"/>
                      </a:lnTo>
                      <a:lnTo>
                        <a:pt x="1141" y="333"/>
                      </a:lnTo>
                      <a:lnTo>
                        <a:pt x="1141" y="334"/>
                      </a:lnTo>
                      <a:lnTo>
                        <a:pt x="1142" y="334"/>
                      </a:lnTo>
                      <a:lnTo>
                        <a:pt x="1144" y="334"/>
                      </a:lnTo>
                      <a:lnTo>
                        <a:pt x="1145" y="335"/>
                      </a:lnTo>
                      <a:lnTo>
                        <a:pt x="1146" y="335"/>
                      </a:lnTo>
                      <a:lnTo>
                        <a:pt x="1146" y="337"/>
                      </a:lnTo>
                      <a:lnTo>
                        <a:pt x="1146" y="338"/>
                      </a:lnTo>
                      <a:lnTo>
                        <a:pt x="1146" y="339"/>
                      </a:lnTo>
                      <a:lnTo>
                        <a:pt x="1146" y="341"/>
                      </a:lnTo>
                      <a:lnTo>
                        <a:pt x="1145" y="344"/>
                      </a:lnTo>
                      <a:lnTo>
                        <a:pt x="1145" y="347"/>
                      </a:lnTo>
                      <a:lnTo>
                        <a:pt x="1145" y="349"/>
                      </a:lnTo>
                      <a:lnTo>
                        <a:pt x="1145" y="350"/>
                      </a:lnTo>
                      <a:lnTo>
                        <a:pt x="1145" y="352"/>
                      </a:lnTo>
                      <a:lnTo>
                        <a:pt x="1146" y="353"/>
                      </a:lnTo>
                      <a:lnTo>
                        <a:pt x="1147" y="354"/>
                      </a:lnTo>
                      <a:lnTo>
                        <a:pt x="1148" y="356"/>
                      </a:lnTo>
                      <a:lnTo>
                        <a:pt x="1150" y="357"/>
                      </a:lnTo>
                      <a:lnTo>
                        <a:pt x="1151" y="357"/>
                      </a:lnTo>
                      <a:lnTo>
                        <a:pt x="1153" y="357"/>
                      </a:lnTo>
                      <a:lnTo>
                        <a:pt x="1154" y="357"/>
                      </a:lnTo>
                      <a:lnTo>
                        <a:pt x="1155" y="357"/>
                      </a:lnTo>
                      <a:lnTo>
                        <a:pt x="1155" y="358"/>
                      </a:lnTo>
                      <a:lnTo>
                        <a:pt x="1156" y="358"/>
                      </a:lnTo>
                      <a:lnTo>
                        <a:pt x="1157" y="360"/>
                      </a:lnTo>
                      <a:lnTo>
                        <a:pt x="1158" y="361"/>
                      </a:lnTo>
                      <a:lnTo>
                        <a:pt x="1158" y="362"/>
                      </a:lnTo>
                      <a:lnTo>
                        <a:pt x="1159" y="364"/>
                      </a:lnTo>
                      <a:lnTo>
                        <a:pt x="1161" y="367"/>
                      </a:lnTo>
                      <a:lnTo>
                        <a:pt x="1162" y="369"/>
                      </a:lnTo>
                      <a:lnTo>
                        <a:pt x="1162" y="372"/>
                      </a:lnTo>
                      <a:lnTo>
                        <a:pt x="1163" y="373"/>
                      </a:lnTo>
                      <a:lnTo>
                        <a:pt x="1163" y="374"/>
                      </a:lnTo>
                      <a:lnTo>
                        <a:pt x="1164" y="375"/>
                      </a:lnTo>
                      <a:lnTo>
                        <a:pt x="1166" y="376"/>
                      </a:lnTo>
                      <a:lnTo>
                        <a:pt x="1167" y="378"/>
                      </a:lnTo>
                      <a:lnTo>
                        <a:pt x="1168" y="378"/>
                      </a:lnTo>
                      <a:lnTo>
                        <a:pt x="1167" y="379"/>
                      </a:lnTo>
                      <a:lnTo>
                        <a:pt x="1166" y="379"/>
                      </a:lnTo>
                      <a:lnTo>
                        <a:pt x="1164" y="379"/>
                      </a:lnTo>
                      <a:lnTo>
                        <a:pt x="1163" y="380"/>
                      </a:lnTo>
                      <a:lnTo>
                        <a:pt x="1160" y="382"/>
                      </a:lnTo>
                      <a:lnTo>
                        <a:pt x="1159" y="380"/>
                      </a:lnTo>
                      <a:lnTo>
                        <a:pt x="1158" y="380"/>
                      </a:lnTo>
                      <a:lnTo>
                        <a:pt x="1157" y="380"/>
                      </a:lnTo>
                      <a:lnTo>
                        <a:pt x="1157" y="382"/>
                      </a:lnTo>
                      <a:lnTo>
                        <a:pt x="1156" y="380"/>
                      </a:lnTo>
                      <a:lnTo>
                        <a:pt x="1155" y="380"/>
                      </a:lnTo>
                      <a:lnTo>
                        <a:pt x="1154" y="382"/>
                      </a:lnTo>
                      <a:lnTo>
                        <a:pt x="1153" y="382"/>
                      </a:lnTo>
                      <a:lnTo>
                        <a:pt x="1151" y="382"/>
                      </a:lnTo>
                      <a:lnTo>
                        <a:pt x="1148" y="382"/>
                      </a:lnTo>
                      <a:lnTo>
                        <a:pt x="1147" y="382"/>
                      </a:lnTo>
                      <a:lnTo>
                        <a:pt x="1146" y="383"/>
                      </a:lnTo>
                      <a:lnTo>
                        <a:pt x="1145" y="383"/>
                      </a:lnTo>
                      <a:lnTo>
                        <a:pt x="1145" y="384"/>
                      </a:lnTo>
                      <a:lnTo>
                        <a:pt x="1144" y="385"/>
                      </a:lnTo>
                      <a:lnTo>
                        <a:pt x="1143" y="385"/>
                      </a:lnTo>
                      <a:lnTo>
                        <a:pt x="1143" y="388"/>
                      </a:lnTo>
                      <a:lnTo>
                        <a:pt x="1144" y="387"/>
                      </a:lnTo>
                      <a:lnTo>
                        <a:pt x="1145" y="386"/>
                      </a:lnTo>
                      <a:lnTo>
                        <a:pt x="1145" y="385"/>
                      </a:lnTo>
                      <a:lnTo>
                        <a:pt x="1146" y="385"/>
                      </a:lnTo>
                      <a:lnTo>
                        <a:pt x="1147" y="385"/>
                      </a:lnTo>
                      <a:lnTo>
                        <a:pt x="1148" y="386"/>
                      </a:lnTo>
                      <a:lnTo>
                        <a:pt x="1149" y="386"/>
                      </a:lnTo>
                      <a:lnTo>
                        <a:pt x="1149" y="387"/>
                      </a:lnTo>
                      <a:lnTo>
                        <a:pt x="1148" y="387"/>
                      </a:lnTo>
                      <a:lnTo>
                        <a:pt x="1148" y="388"/>
                      </a:lnTo>
                      <a:lnTo>
                        <a:pt x="1147" y="388"/>
                      </a:lnTo>
                      <a:lnTo>
                        <a:pt x="1147" y="389"/>
                      </a:lnTo>
                      <a:lnTo>
                        <a:pt x="1146" y="389"/>
                      </a:lnTo>
                      <a:lnTo>
                        <a:pt x="1145" y="389"/>
                      </a:lnTo>
                      <a:lnTo>
                        <a:pt x="1144" y="389"/>
                      </a:lnTo>
                      <a:lnTo>
                        <a:pt x="1143" y="390"/>
                      </a:lnTo>
                      <a:lnTo>
                        <a:pt x="1142" y="390"/>
                      </a:lnTo>
                      <a:lnTo>
                        <a:pt x="1142" y="391"/>
                      </a:lnTo>
                      <a:lnTo>
                        <a:pt x="1141" y="392"/>
                      </a:lnTo>
                      <a:lnTo>
                        <a:pt x="1140" y="392"/>
                      </a:lnTo>
                      <a:lnTo>
                        <a:pt x="1140" y="393"/>
                      </a:lnTo>
                      <a:lnTo>
                        <a:pt x="1140" y="395"/>
                      </a:lnTo>
                      <a:lnTo>
                        <a:pt x="1138" y="395"/>
                      </a:lnTo>
                      <a:lnTo>
                        <a:pt x="1137" y="395"/>
                      </a:lnTo>
                      <a:lnTo>
                        <a:pt x="1137" y="396"/>
                      </a:lnTo>
                      <a:lnTo>
                        <a:pt x="1137" y="397"/>
                      </a:lnTo>
                      <a:lnTo>
                        <a:pt x="1136" y="397"/>
                      </a:lnTo>
                      <a:lnTo>
                        <a:pt x="1135" y="397"/>
                      </a:lnTo>
                      <a:lnTo>
                        <a:pt x="1134" y="397"/>
                      </a:lnTo>
                      <a:lnTo>
                        <a:pt x="1134" y="396"/>
                      </a:lnTo>
                      <a:lnTo>
                        <a:pt x="1133" y="396"/>
                      </a:lnTo>
                      <a:lnTo>
                        <a:pt x="1132" y="396"/>
                      </a:lnTo>
                      <a:lnTo>
                        <a:pt x="1130" y="396"/>
                      </a:lnTo>
                      <a:lnTo>
                        <a:pt x="1129" y="396"/>
                      </a:lnTo>
                      <a:lnTo>
                        <a:pt x="1128" y="396"/>
                      </a:lnTo>
                      <a:lnTo>
                        <a:pt x="1125" y="396"/>
                      </a:lnTo>
                      <a:lnTo>
                        <a:pt x="1124" y="395"/>
                      </a:lnTo>
                      <a:lnTo>
                        <a:pt x="1123" y="396"/>
                      </a:lnTo>
                      <a:lnTo>
                        <a:pt x="1122" y="396"/>
                      </a:lnTo>
                      <a:lnTo>
                        <a:pt x="1122" y="395"/>
                      </a:lnTo>
                      <a:lnTo>
                        <a:pt x="1121" y="395"/>
                      </a:lnTo>
                      <a:lnTo>
                        <a:pt x="1121" y="393"/>
                      </a:lnTo>
                      <a:lnTo>
                        <a:pt x="1120" y="393"/>
                      </a:lnTo>
                      <a:lnTo>
                        <a:pt x="1120" y="392"/>
                      </a:lnTo>
                      <a:lnTo>
                        <a:pt x="1119" y="392"/>
                      </a:lnTo>
                      <a:lnTo>
                        <a:pt x="1119" y="391"/>
                      </a:lnTo>
                      <a:lnTo>
                        <a:pt x="1118" y="391"/>
                      </a:lnTo>
                      <a:lnTo>
                        <a:pt x="1118" y="390"/>
                      </a:lnTo>
                      <a:lnTo>
                        <a:pt x="1117" y="390"/>
                      </a:lnTo>
                      <a:lnTo>
                        <a:pt x="1116" y="390"/>
                      </a:lnTo>
                      <a:lnTo>
                        <a:pt x="1116" y="389"/>
                      </a:lnTo>
                      <a:lnTo>
                        <a:pt x="1116" y="390"/>
                      </a:lnTo>
                      <a:lnTo>
                        <a:pt x="1116" y="389"/>
                      </a:lnTo>
                      <a:lnTo>
                        <a:pt x="1115" y="389"/>
                      </a:lnTo>
                      <a:lnTo>
                        <a:pt x="1111" y="388"/>
                      </a:lnTo>
                      <a:lnTo>
                        <a:pt x="1110" y="388"/>
                      </a:lnTo>
                      <a:lnTo>
                        <a:pt x="1111" y="388"/>
                      </a:lnTo>
                      <a:lnTo>
                        <a:pt x="1111" y="387"/>
                      </a:lnTo>
                      <a:lnTo>
                        <a:pt x="1110" y="387"/>
                      </a:lnTo>
                      <a:lnTo>
                        <a:pt x="1110" y="388"/>
                      </a:lnTo>
                      <a:lnTo>
                        <a:pt x="1109" y="387"/>
                      </a:lnTo>
                      <a:lnTo>
                        <a:pt x="1108" y="386"/>
                      </a:lnTo>
                      <a:lnTo>
                        <a:pt x="1107" y="386"/>
                      </a:lnTo>
                      <a:lnTo>
                        <a:pt x="1106" y="385"/>
                      </a:lnTo>
                      <a:lnTo>
                        <a:pt x="1105" y="385"/>
                      </a:lnTo>
                      <a:lnTo>
                        <a:pt x="1103" y="384"/>
                      </a:lnTo>
                      <a:lnTo>
                        <a:pt x="1103" y="383"/>
                      </a:lnTo>
                      <a:lnTo>
                        <a:pt x="1102" y="383"/>
                      </a:lnTo>
                      <a:lnTo>
                        <a:pt x="1102" y="384"/>
                      </a:lnTo>
                      <a:lnTo>
                        <a:pt x="1100" y="385"/>
                      </a:lnTo>
                      <a:lnTo>
                        <a:pt x="1097" y="385"/>
                      </a:lnTo>
                      <a:lnTo>
                        <a:pt x="1095" y="386"/>
                      </a:lnTo>
                      <a:lnTo>
                        <a:pt x="1094" y="387"/>
                      </a:lnTo>
                      <a:lnTo>
                        <a:pt x="1093" y="387"/>
                      </a:lnTo>
                      <a:lnTo>
                        <a:pt x="1093" y="388"/>
                      </a:lnTo>
                      <a:lnTo>
                        <a:pt x="1092" y="388"/>
                      </a:lnTo>
                      <a:lnTo>
                        <a:pt x="1091" y="389"/>
                      </a:lnTo>
                      <a:lnTo>
                        <a:pt x="1090" y="389"/>
                      </a:lnTo>
                      <a:lnTo>
                        <a:pt x="1090" y="390"/>
                      </a:lnTo>
                      <a:lnTo>
                        <a:pt x="1089" y="390"/>
                      </a:lnTo>
                      <a:lnTo>
                        <a:pt x="1086" y="391"/>
                      </a:lnTo>
                      <a:lnTo>
                        <a:pt x="1084" y="391"/>
                      </a:lnTo>
                      <a:lnTo>
                        <a:pt x="1084" y="392"/>
                      </a:lnTo>
                      <a:lnTo>
                        <a:pt x="1083" y="392"/>
                      </a:lnTo>
                      <a:lnTo>
                        <a:pt x="1083" y="391"/>
                      </a:lnTo>
                      <a:lnTo>
                        <a:pt x="1082" y="391"/>
                      </a:lnTo>
                      <a:lnTo>
                        <a:pt x="1082" y="390"/>
                      </a:lnTo>
                      <a:lnTo>
                        <a:pt x="1081" y="390"/>
                      </a:lnTo>
                      <a:lnTo>
                        <a:pt x="1080" y="390"/>
                      </a:lnTo>
                      <a:lnTo>
                        <a:pt x="1080" y="389"/>
                      </a:lnTo>
                      <a:lnTo>
                        <a:pt x="1079" y="389"/>
                      </a:lnTo>
                      <a:lnTo>
                        <a:pt x="1079" y="388"/>
                      </a:lnTo>
                      <a:lnTo>
                        <a:pt x="1078" y="388"/>
                      </a:lnTo>
                      <a:lnTo>
                        <a:pt x="1078" y="387"/>
                      </a:lnTo>
                      <a:lnTo>
                        <a:pt x="1078" y="388"/>
                      </a:lnTo>
                      <a:lnTo>
                        <a:pt x="1078" y="387"/>
                      </a:lnTo>
                      <a:lnTo>
                        <a:pt x="1077" y="387"/>
                      </a:lnTo>
                      <a:lnTo>
                        <a:pt x="1076" y="387"/>
                      </a:lnTo>
                      <a:lnTo>
                        <a:pt x="1076" y="386"/>
                      </a:lnTo>
                      <a:lnTo>
                        <a:pt x="1074" y="386"/>
                      </a:lnTo>
                      <a:lnTo>
                        <a:pt x="1074" y="385"/>
                      </a:lnTo>
                      <a:lnTo>
                        <a:pt x="1073" y="385"/>
                      </a:lnTo>
                      <a:lnTo>
                        <a:pt x="1073" y="384"/>
                      </a:lnTo>
                      <a:lnTo>
                        <a:pt x="1072" y="384"/>
                      </a:lnTo>
                      <a:lnTo>
                        <a:pt x="1071" y="384"/>
                      </a:lnTo>
                      <a:lnTo>
                        <a:pt x="1070" y="384"/>
                      </a:lnTo>
                      <a:lnTo>
                        <a:pt x="1070" y="383"/>
                      </a:lnTo>
                      <a:lnTo>
                        <a:pt x="1069" y="383"/>
                      </a:lnTo>
                      <a:lnTo>
                        <a:pt x="1068" y="383"/>
                      </a:lnTo>
                      <a:lnTo>
                        <a:pt x="1067" y="382"/>
                      </a:lnTo>
                      <a:lnTo>
                        <a:pt x="1066" y="382"/>
                      </a:lnTo>
                      <a:lnTo>
                        <a:pt x="1065" y="382"/>
                      </a:lnTo>
                      <a:lnTo>
                        <a:pt x="1065" y="383"/>
                      </a:lnTo>
                      <a:lnTo>
                        <a:pt x="1064" y="382"/>
                      </a:lnTo>
                      <a:lnTo>
                        <a:pt x="1063" y="383"/>
                      </a:lnTo>
                      <a:lnTo>
                        <a:pt x="1061" y="383"/>
                      </a:lnTo>
                      <a:lnTo>
                        <a:pt x="1061" y="384"/>
                      </a:lnTo>
                      <a:lnTo>
                        <a:pt x="1061" y="385"/>
                      </a:lnTo>
                      <a:lnTo>
                        <a:pt x="1060" y="384"/>
                      </a:lnTo>
                      <a:lnTo>
                        <a:pt x="1059" y="380"/>
                      </a:lnTo>
                      <a:lnTo>
                        <a:pt x="1058" y="379"/>
                      </a:lnTo>
                      <a:lnTo>
                        <a:pt x="1058" y="378"/>
                      </a:lnTo>
                      <a:lnTo>
                        <a:pt x="1057" y="377"/>
                      </a:lnTo>
                      <a:lnTo>
                        <a:pt x="1057" y="376"/>
                      </a:lnTo>
                      <a:lnTo>
                        <a:pt x="1056" y="376"/>
                      </a:lnTo>
                      <a:lnTo>
                        <a:pt x="1056" y="375"/>
                      </a:lnTo>
                      <a:lnTo>
                        <a:pt x="1056" y="374"/>
                      </a:lnTo>
                      <a:lnTo>
                        <a:pt x="1055" y="373"/>
                      </a:lnTo>
                      <a:lnTo>
                        <a:pt x="1054" y="371"/>
                      </a:lnTo>
                      <a:lnTo>
                        <a:pt x="1053" y="371"/>
                      </a:lnTo>
                      <a:lnTo>
                        <a:pt x="1052" y="370"/>
                      </a:lnTo>
                      <a:lnTo>
                        <a:pt x="1051" y="370"/>
                      </a:lnTo>
                      <a:lnTo>
                        <a:pt x="1051" y="369"/>
                      </a:lnTo>
                      <a:lnTo>
                        <a:pt x="1050" y="369"/>
                      </a:lnTo>
                      <a:lnTo>
                        <a:pt x="1048" y="367"/>
                      </a:lnTo>
                      <a:lnTo>
                        <a:pt x="1046" y="366"/>
                      </a:lnTo>
                      <a:lnTo>
                        <a:pt x="1045" y="365"/>
                      </a:lnTo>
                      <a:lnTo>
                        <a:pt x="1044" y="364"/>
                      </a:lnTo>
                      <a:lnTo>
                        <a:pt x="1043" y="364"/>
                      </a:lnTo>
                      <a:lnTo>
                        <a:pt x="1042" y="363"/>
                      </a:lnTo>
                      <a:lnTo>
                        <a:pt x="1040" y="362"/>
                      </a:lnTo>
                      <a:lnTo>
                        <a:pt x="1039" y="362"/>
                      </a:lnTo>
                      <a:lnTo>
                        <a:pt x="1040" y="362"/>
                      </a:lnTo>
                      <a:lnTo>
                        <a:pt x="1039" y="361"/>
                      </a:lnTo>
                      <a:lnTo>
                        <a:pt x="1038" y="362"/>
                      </a:lnTo>
                      <a:lnTo>
                        <a:pt x="1037" y="361"/>
                      </a:lnTo>
                      <a:lnTo>
                        <a:pt x="1035" y="361"/>
                      </a:lnTo>
                      <a:lnTo>
                        <a:pt x="1033" y="359"/>
                      </a:lnTo>
                      <a:lnTo>
                        <a:pt x="1032" y="359"/>
                      </a:lnTo>
                      <a:lnTo>
                        <a:pt x="1031" y="359"/>
                      </a:lnTo>
                      <a:lnTo>
                        <a:pt x="1030" y="359"/>
                      </a:lnTo>
                      <a:lnTo>
                        <a:pt x="1030" y="358"/>
                      </a:lnTo>
                      <a:lnTo>
                        <a:pt x="1029" y="358"/>
                      </a:lnTo>
                      <a:lnTo>
                        <a:pt x="1028" y="358"/>
                      </a:lnTo>
                      <a:lnTo>
                        <a:pt x="1028" y="357"/>
                      </a:lnTo>
                      <a:lnTo>
                        <a:pt x="1027" y="357"/>
                      </a:lnTo>
                      <a:lnTo>
                        <a:pt x="1026" y="357"/>
                      </a:lnTo>
                      <a:lnTo>
                        <a:pt x="1025" y="357"/>
                      </a:lnTo>
                      <a:lnTo>
                        <a:pt x="1024" y="357"/>
                      </a:lnTo>
                      <a:lnTo>
                        <a:pt x="1022" y="357"/>
                      </a:lnTo>
                      <a:lnTo>
                        <a:pt x="1021" y="357"/>
                      </a:lnTo>
                      <a:lnTo>
                        <a:pt x="1020" y="357"/>
                      </a:lnTo>
                      <a:lnTo>
                        <a:pt x="1019" y="357"/>
                      </a:lnTo>
                      <a:lnTo>
                        <a:pt x="1019" y="356"/>
                      </a:lnTo>
                      <a:lnTo>
                        <a:pt x="1018" y="356"/>
                      </a:lnTo>
                      <a:lnTo>
                        <a:pt x="1019" y="357"/>
                      </a:lnTo>
                      <a:lnTo>
                        <a:pt x="1018" y="357"/>
                      </a:lnTo>
                      <a:lnTo>
                        <a:pt x="1017" y="357"/>
                      </a:lnTo>
                      <a:lnTo>
                        <a:pt x="1017" y="356"/>
                      </a:lnTo>
                      <a:lnTo>
                        <a:pt x="1018" y="356"/>
                      </a:lnTo>
                      <a:lnTo>
                        <a:pt x="1017" y="356"/>
                      </a:lnTo>
                      <a:lnTo>
                        <a:pt x="1017" y="354"/>
                      </a:lnTo>
                      <a:lnTo>
                        <a:pt x="1016" y="353"/>
                      </a:lnTo>
                      <a:lnTo>
                        <a:pt x="1015" y="353"/>
                      </a:lnTo>
                      <a:lnTo>
                        <a:pt x="1015" y="352"/>
                      </a:lnTo>
                      <a:lnTo>
                        <a:pt x="1014" y="352"/>
                      </a:lnTo>
                      <a:lnTo>
                        <a:pt x="1009" y="352"/>
                      </a:lnTo>
                      <a:lnTo>
                        <a:pt x="1004" y="351"/>
                      </a:lnTo>
                      <a:lnTo>
                        <a:pt x="1003" y="351"/>
                      </a:lnTo>
                      <a:lnTo>
                        <a:pt x="1002" y="351"/>
                      </a:lnTo>
                      <a:lnTo>
                        <a:pt x="1002" y="350"/>
                      </a:lnTo>
                      <a:lnTo>
                        <a:pt x="1001" y="350"/>
                      </a:lnTo>
                      <a:lnTo>
                        <a:pt x="1001" y="349"/>
                      </a:lnTo>
                      <a:lnTo>
                        <a:pt x="1001" y="348"/>
                      </a:lnTo>
                      <a:lnTo>
                        <a:pt x="1000" y="348"/>
                      </a:lnTo>
                      <a:lnTo>
                        <a:pt x="1000" y="347"/>
                      </a:lnTo>
                      <a:lnTo>
                        <a:pt x="1000" y="346"/>
                      </a:lnTo>
                      <a:lnTo>
                        <a:pt x="999" y="346"/>
                      </a:lnTo>
                      <a:lnTo>
                        <a:pt x="999" y="345"/>
                      </a:lnTo>
                      <a:lnTo>
                        <a:pt x="999" y="344"/>
                      </a:lnTo>
                      <a:lnTo>
                        <a:pt x="997" y="344"/>
                      </a:lnTo>
                      <a:lnTo>
                        <a:pt x="996" y="341"/>
                      </a:lnTo>
                      <a:lnTo>
                        <a:pt x="996" y="340"/>
                      </a:lnTo>
                      <a:lnTo>
                        <a:pt x="995" y="339"/>
                      </a:lnTo>
                      <a:lnTo>
                        <a:pt x="995" y="338"/>
                      </a:lnTo>
                      <a:lnTo>
                        <a:pt x="994" y="336"/>
                      </a:lnTo>
                      <a:lnTo>
                        <a:pt x="993" y="335"/>
                      </a:lnTo>
                      <a:lnTo>
                        <a:pt x="993" y="334"/>
                      </a:lnTo>
                      <a:lnTo>
                        <a:pt x="992" y="334"/>
                      </a:lnTo>
                      <a:lnTo>
                        <a:pt x="991" y="333"/>
                      </a:lnTo>
                      <a:lnTo>
                        <a:pt x="990" y="333"/>
                      </a:lnTo>
                      <a:lnTo>
                        <a:pt x="989" y="333"/>
                      </a:lnTo>
                      <a:lnTo>
                        <a:pt x="988" y="333"/>
                      </a:lnTo>
                      <a:lnTo>
                        <a:pt x="987" y="333"/>
                      </a:lnTo>
                      <a:lnTo>
                        <a:pt x="986" y="333"/>
                      </a:lnTo>
                      <a:lnTo>
                        <a:pt x="984" y="333"/>
                      </a:lnTo>
                      <a:lnTo>
                        <a:pt x="983" y="333"/>
                      </a:lnTo>
                      <a:lnTo>
                        <a:pt x="983" y="332"/>
                      </a:lnTo>
                      <a:lnTo>
                        <a:pt x="982" y="332"/>
                      </a:lnTo>
                      <a:lnTo>
                        <a:pt x="982" y="331"/>
                      </a:lnTo>
                      <a:lnTo>
                        <a:pt x="981" y="331"/>
                      </a:lnTo>
                      <a:lnTo>
                        <a:pt x="980" y="331"/>
                      </a:lnTo>
                      <a:lnTo>
                        <a:pt x="979" y="330"/>
                      </a:lnTo>
                      <a:lnTo>
                        <a:pt x="978" y="330"/>
                      </a:lnTo>
                      <a:lnTo>
                        <a:pt x="977" y="328"/>
                      </a:lnTo>
                      <a:lnTo>
                        <a:pt x="976" y="328"/>
                      </a:lnTo>
                      <a:lnTo>
                        <a:pt x="975" y="328"/>
                      </a:lnTo>
                      <a:lnTo>
                        <a:pt x="974" y="328"/>
                      </a:lnTo>
                      <a:lnTo>
                        <a:pt x="973" y="328"/>
                      </a:lnTo>
                      <a:lnTo>
                        <a:pt x="971" y="328"/>
                      </a:lnTo>
                      <a:lnTo>
                        <a:pt x="970" y="328"/>
                      </a:lnTo>
                      <a:lnTo>
                        <a:pt x="969" y="330"/>
                      </a:lnTo>
                      <a:lnTo>
                        <a:pt x="968" y="330"/>
                      </a:lnTo>
                      <a:lnTo>
                        <a:pt x="967" y="331"/>
                      </a:lnTo>
                      <a:lnTo>
                        <a:pt x="968" y="330"/>
                      </a:lnTo>
                      <a:lnTo>
                        <a:pt x="967" y="330"/>
                      </a:lnTo>
                      <a:lnTo>
                        <a:pt x="966" y="330"/>
                      </a:lnTo>
                      <a:lnTo>
                        <a:pt x="965" y="330"/>
                      </a:lnTo>
                      <a:lnTo>
                        <a:pt x="964" y="330"/>
                      </a:lnTo>
                      <a:lnTo>
                        <a:pt x="965" y="330"/>
                      </a:lnTo>
                      <a:lnTo>
                        <a:pt x="965" y="331"/>
                      </a:lnTo>
                      <a:lnTo>
                        <a:pt x="964" y="332"/>
                      </a:lnTo>
                      <a:lnTo>
                        <a:pt x="963" y="332"/>
                      </a:lnTo>
                      <a:lnTo>
                        <a:pt x="962" y="332"/>
                      </a:lnTo>
                      <a:lnTo>
                        <a:pt x="961" y="333"/>
                      </a:lnTo>
                      <a:lnTo>
                        <a:pt x="960" y="333"/>
                      </a:lnTo>
                      <a:lnTo>
                        <a:pt x="958" y="333"/>
                      </a:lnTo>
                      <a:lnTo>
                        <a:pt x="957" y="333"/>
                      </a:lnTo>
                      <a:lnTo>
                        <a:pt x="956" y="333"/>
                      </a:lnTo>
                      <a:lnTo>
                        <a:pt x="955" y="333"/>
                      </a:lnTo>
                      <a:lnTo>
                        <a:pt x="954" y="334"/>
                      </a:lnTo>
                      <a:lnTo>
                        <a:pt x="954" y="333"/>
                      </a:lnTo>
                      <a:lnTo>
                        <a:pt x="953" y="334"/>
                      </a:lnTo>
                      <a:lnTo>
                        <a:pt x="952" y="334"/>
                      </a:lnTo>
                      <a:lnTo>
                        <a:pt x="952" y="333"/>
                      </a:lnTo>
                      <a:lnTo>
                        <a:pt x="951" y="333"/>
                      </a:lnTo>
                      <a:lnTo>
                        <a:pt x="951" y="332"/>
                      </a:lnTo>
                      <a:lnTo>
                        <a:pt x="950" y="332"/>
                      </a:lnTo>
                      <a:lnTo>
                        <a:pt x="950" y="331"/>
                      </a:lnTo>
                      <a:lnTo>
                        <a:pt x="949" y="331"/>
                      </a:lnTo>
                      <a:lnTo>
                        <a:pt x="948" y="330"/>
                      </a:lnTo>
                      <a:lnTo>
                        <a:pt x="948" y="328"/>
                      </a:lnTo>
                      <a:lnTo>
                        <a:pt x="947" y="328"/>
                      </a:lnTo>
                      <a:lnTo>
                        <a:pt x="945" y="328"/>
                      </a:lnTo>
                      <a:lnTo>
                        <a:pt x="944" y="327"/>
                      </a:lnTo>
                      <a:lnTo>
                        <a:pt x="943" y="327"/>
                      </a:lnTo>
                      <a:lnTo>
                        <a:pt x="942" y="327"/>
                      </a:lnTo>
                      <a:lnTo>
                        <a:pt x="941" y="326"/>
                      </a:lnTo>
                      <a:lnTo>
                        <a:pt x="940" y="326"/>
                      </a:lnTo>
                      <a:lnTo>
                        <a:pt x="939" y="326"/>
                      </a:lnTo>
                      <a:lnTo>
                        <a:pt x="939" y="325"/>
                      </a:lnTo>
                      <a:lnTo>
                        <a:pt x="938" y="325"/>
                      </a:lnTo>
                      <a:lnTo>
                        <a:pt x="937" y="325"/>
                      </a:lnTo>
                      <a:lnTo>
                        <a:pt x="936" y="325"/>
                      </a:lnTo>
                      <a:lnTo>
                        <a:pt x="935" y="325"/>
                      </a:lnTo>
                      <a:lnTo>
                        <a:pt x="934" y="325"/>
                      </a:lnTo>
                      <a:lnTo>
                        <a:pt x="932" y="325"/>
                      </a:lnTo>
                      <a:lnTo>
                        <a:pt x="929" y="326"/>
                      </a:lnTo>
                      <a:lnTo>
                        <a:pt x="928" y="326"/>
                      </a:lnTo>
                      <a:lnTo>
                        <a:pt x="927" y="326"/>
                      </a:lnTo>
                      <a:lnTo>
                        <a:pt x="926" y="326"/>
                      </a:lnTo>
                      <a:lnTo>
                        <a:pt x="926" y="327"/>
                      </a:lnTo>
                      <a:lnTo>
                        <a:pt x="925" y="327"/>
                      </a:lnTo>
                      <a:lnTo>
                        <a:pt x="924" y="327"/>
                      </a:lnTo>
                      <a:lnTo>
                        <a:pt x="923" y="327"/>
                      </a:lnTo>
                      <a:lnTo>
                        <a:pt x="922" y="327"/>
                      </a:lnTo>
                      <a:lnTo>
                        <a:pt x="921" y="326"/>
                      </a:lnTo>
                      <a:lnTo>
                        <a:pt x="919" y="325"/>
                      </a:lnTo>
                      <a:lnTo>
                        <a:pt x="919" y="324"/>
                      </a:lnTo>
                      <a:lnTo>
                        <a:pt x="918" y="324"/>
                      </a:lnTo>
                      <a:lnTo>
                        <a:pt x="919" y="325"/>
                      </a:lnTo>
                      <a:lnTo>
                        <a:pt x="918" y="325"/>
                      </a:lnTo>
                      <a:lnTo>
                        <a:pt x="918" y="324"/>
                      </a:lnTo>
                      <a:lnTo>
                        <a:pt x="917" y="323"/>
                      </a:lnTo>
                      <a:lnTo>
                        <a:pt x="917" y="322"/>
                      </a:lnTo>
                      <a:lnTo>
                        <a:pt x="918" y="320"/>
                      </a:lnTo>
                      <a:lnTo>
                        <a:pt x="918" y="319"/>
                      </a:lnTo>
                      <a:lnTo>
                        <a:pt x="918" y="318"/>
                      </a:lnTo>
                      <a:lnTo>
                        <a:pt x="918" y="317"/>
                      </a:lnTo>
                      <a:lnTo>
                        <a:pt x="918" y="315"/>
                      </a:lnTo>
                      <a:lnTo>
                        <a:pt x="918" y="314"/>
                      </a:lnTo>
                      <a:lnTo>
                        <a:pt x="919" y="313"/>
                      </a:lnTo>
                      <a:lnTo>
                        <a:pt x="919" y="312"/>
                      </a:lnTo>
                      <a:lnTo>
                        <a:pt x="919" y="311"/>
                      </a:lnTo>
                      <a:lnTo>
                        <a:pt x="919" y="310"/>
                      </a:lnTo>
                      <a:lnTo>
                        <a:pt x="918" y="308"/>
                      </a:lnTo>
                      <a:lnTo>
                        <a:pt x="918" y="306"/>
                      </a:lnTo>
                      <a:lnTo>
                        <a:pt x="918" y="305"/>
                      </a:lnTo>
                      <a:lnTo>
                        <a:pt x="917" y="303"/>
                      </a:lnTo>
                      <a:lnTo>
                        <a:pt x="917" y="302"/>
                      </a:lnTo>
                      <a:lnTo>
                        <a:pt x="917" y="301"/>
                      </a:lnTo>
                      <a:lnTo>
                        <a:pt x="916" y="300"/>
                      </a:lnTo>
                      <a:lnTo>
                        <a:pt x="916" y="299"/>
                      </a:lnTo>
                      <a:lnTo>
                        <a:pt x="915" y="298"/>
                      </a:lnTo>
                      <a:lnTo>
                        <a:pt x="915" y="297"/>
                      </a:lnTo>
                      <a:lnTo>
                        <a:pt x="914" y="296"/>
                      </a:lnTo>
                      <a:lnTo>
                        <a:pt x="914" y="295"/>
                      </a:lnTo>
                      <a:lnTo>
                        <a:pt x="913" y="294"/>
                      </a:lnTo>
                      <a:lnTo>
                        <a:pt x="912" y="293"/>
                      </a:lnTo>
                      <a:lnTo>
                        <a:pt x="912" y="292"/>
                      </a:lnTo>
                      <a:lnTo>
                        <a:pt x="910" y="290"/>
                      </a:lnTo>
                      <a:lnTo>
                        <a:pt x="910" y="289"/>
                      </a:lnTo>
                      <a:lnTo>
                        <a:pt x="909" y="289"/>
                      </a:lnTo>
                      <a:lnTo>
                        <a:pt x="908" y="288"/>
                      </a:lnTo>
                      <a:lnTo>
                        <a:pt x="906" y="288"/>
                      </a:lnTo>
                      <a:lnTo>
                        <a:pt x="906" y="287"/>
                      </a:lnTo>
                      <a:lnTo>
                        <a:pt x="905" y="287"/>
                      </a:lnTo>
                      <a:lnTo>
                        <a:pt x="905" y="286"/>
                      </a:lnTo>
                      <a:lnTo>
                        <a:pt x="904" y="286"/>
                      </a:lnTo>
                      <a:lnTo>
                        <a:pt x="903" y="286"/>
                      </a:lnTo>
                      <a:lnTo>
                        <a:pt x="902" y="285"/>
                      </a:lnTo>
                      <a:lnTo>
                        <a:pt x="901" y="284"/>
                      </a:lnTo>
                      <a:lnTo>
                        <a:pt x="900" y="284"/>
                      </a:lnTo>
                      <a:lnTo>
                        <a:pt x="899" y="284"/>
                      </a:lnTo>
                      <a:lnTo>
                        <a:pt x="899" y="283"/>
                      </a:lnTo>
                      <a:lnTo>
                        <a:pt x="898" y="283"/>
                      </a:lnTo>
                      <a:lnTo>
                        <a:pt x="897" y="283"/>
                      </a:lnTo>
                      <a:lnTo>
                        <a:pt x="892" y="282"/>
                      </a:lnTo>
                      <a:lnTo>
                        <a:pt x="891" y="281"/>
                      </a:lnTo>
                      <a:lnTo>
                        <a:pt x="890" y="281"/>
                      </a:lnTo>
                      <a:lnTo>
                        <a:pt x="889" y="281"/>
                      </a:lnTo>
                      <a:lnTo>
                        <a:pt x="888" y="281"/>
                      </a:lnTo>
                      <a:lnTo>
                        <a:pt x="887" y="281"/>
                      </a:lnTo>
                      <a:lnTo>
                        <a:pt x="886" y="281"/>
                      </a:lnTo>
                      <a:lnTo>
                        <a:pt x="886" y="280"/>
                      </a:lnTo>
                      <a:lnTo>
                        <a:pt x="885" y="280"/>
                      </a:lnTo>
                      <a:lnTo>
                        <a:pt x="885" y="279"/>
                      </a:lnTo>
                      <a:lnTo>
                        <a:pt x="885" y="277"/>
                      </a:lnTo>
                      <a:lnTo>
                        <a:pt x="884" y="277"/>
                      </a:lnTo>
                      <a:lnTo>
                        <a:pt x="884" y="276"/>
                      </a:lnTo>
                      <a:lnTo>
                        <a:pt x="884" y="275"/>
                      </a:lnTo>
                      <a:lnTo>
                        <a:pt x="884" y="274"/>
                      </a:lnTo>
                      <a:lnTo>
                        <a:pt x="883" y="274"/>
                      </a:lnTo>
                      <a:lnTo>
                        <a:pt x="883" y="273"/>
                      </a:lnTo>
                      <a:lnTo>
                        <a:pt x="882" y="272"/>
                      </a:lnTo>
                      <a:lnTo>
                        <a:pt x="882" y="271"/>
                      </a:lnTo>
                      <a:lnTo>
                        <a:pt x="880" y="271"/>
                      </a:lnTo>
                      <a:lnTo>
                        <a:pt x="880" y="270"/>
                      </a:lnTo>
                      <a:lnTo>
                        <a:pt x="879" y="270"/>
                      </a:lnTo>
                      <a:lnTo>
                        <a:pt x="879" y="269"/>
                      </a:lnTo>
                      <a:lnTo>
                        <a:pt x="878" y="269"/>
                      </a:lnTo>
                      <a:lnTo>
                        <a:pt x="878" y="268"/>
                      </a:lnTo>
                      <a:lnTo>
                        <a:pt x="878" y="267"/>
                      </a:lnTo>
                      <a:lnTo>
                        <a:pt x="877" y="267"/>
                      </a:lnTo>
                      <a:lnTo>
                        <a:pt x="877" y="266"/>
                      </a:lnTo>
                      <a:lnTo>
                        <a:pt x="876" y="266"/>
                      </a:lnTo>
                      <a:lnTo>
                        <a:pt x="875" y="266"/>
                      </a:lnTo>
                      <a:lnTo>
                        <a:pt x="875" y="264"/>
                      </a:lnTo>
                      <a:lnTo>
                        <a:pt x="874" y="264"/>
                      </a:lnTo>
                      <a:lnTo>
                        <a:pt x="874" y="263"/>
                      </a:lnTo>
                      <a:lnTo>
                        <a:pt x="874" y="262"/>
                      </a:lnTo>
                      <a:lnTo>
                        <a:pt x="874" y="263"/>
                      </a:lnTo>
                      <a:lnTo>
                        <a:pt x="873" y="263"/>
                      </a:lnTo>
                      <a:lnTo>
                        <a:pt x="872" y="263"/>
                      </a:lnTo>
                      <a:lnTo>
                        <a:pt x="872" y="262"/>
                      </a:lnTo>
                      <a:lnTo>
                        <a:pt x="871" y="262"/>
                      </a:lnTo>
                      <a:lnTo>
                        <a:pt x="866" y="260"/>
                      </a:lnTo>
                      <a:lnTo>
                        <a:pt x="865" y="259"/>
                      </a:lnTo>
                      <a:lnTo>
                        <a:pt x="863" y="258"/>
                      </a:lnTo>
                      <a:lnTo>
                        <a:pt x="862" y="257"/>
                      </a:lnTo>
                      <a:lnTo>
                        <a:pt x="861" y="257"/>
                      </a:lnTo>
                      <a:lnTo>
                        <a:pt x="861" y="256"/>
                      </a:lnTo>
                      <a:lnTo>
                        <a:pt x="860" y="256"/>
                      </a:lnTo>
                      <a:lnTo>
                        <a:pt x="859" y="256"/>
                      </a:lnTo>
                      <a:lnTo>
                        <a:pt x="860" y="255"/>
                      </a:lnTo>
                      <a:lnTo>
                        <a:pt x="859" y="255"/>
                      </a:lnTo>
                      <a:lnTo>
                        <a:pt x="859" y="254"/>
                      </a:lnTo>
                      <a:lnTo>
                        <a:pt x="858" y="254"/>
                      </a:lnTo>
                      <a:lnTo>
                        <a:pt x="858" y="255"/>
                      </a:lnTo>
                      <a:lnTo>
                        <a:pt x="857" y="255"/>
                      </a:lnTo>
                      <a:lnTo>
                        <a:pt x="855" y="255"/>
                      </a:lnTo>
                      <a:lnTo>
                        <a:pt x="855" y="254"/>
                      </a:lnTo>
                      <a:lnTo>
                        <a:pt x="858" y="255"/>
                      </a:lnTo>
                      <a:lnTo>
                        <a:pt x="858" y="254"/>
                      </a:lnTo>
                      <a:lnTo>
                        <a:pt x="857" y="254"/>
                      </a:lnTo>
                      <a:lnTo>
                        <a:pt x="858" y="253"/>
                      </a:lnTo>
                      <a:lnTo>
                        <a:pt x="858" y="254"/>
                      </a:lnTo>
                      <a:lnTo>
                        <a:pt x="859" y="253"/>
                      </a:lnTo>
                      <a:lnTo>
                        <a:pt x="858" y="253"/>
                      </a:lnTo>
                      <a:lnTo>
                        <a:pt x="857" y="254"/>
                      </a:lnTo>
                      <a:lnTo>
                        <a:pt x="857" y="253"/>
                      </a:lnTo>
                      <a:lnTo>
                        <a:pt x="857" y="254"/>
                      </a:lnTo>
                      <a:lnTo>
                        <a:pt x="855" y="254"/>
                      </a:lnTo>
                      <a:lnTo>
                        <a:pt x="855" y="253"/>
                      </a:lnTo>
                      <a:lnTo>
                        <a:pt x="854" y="253"/>
                      </a:lnTo>
                      <a:lnTo>
                        <a:pt x="854" y="251"/>
                      </a:lnTo>
                      <a:lnTo>
                        <a:pt x="854" y="250"/>
                      </a:lnTo>
                      <a:lnTo>
                        <a:pt x="853" y="250"/>
                      </a:lnTo>
                      <a:lnTo>
                        <a:pt x="853" y="251"/>
                      </a:lnTo>
                      <a:lnTo>
                        <a:pt x="853" y="253"/>
                      </a:lnTo>
                      <a:lnTo>
                        <a:pt x="852" y="253"/>
                      </a:lnTo>
                      <a:lnTo>
                        <a:pt x="852" y="251"/>
                      </a:lnTo>
                      <a:lnTo>
                        <a:pt x="851" y="251"/>
                      </a:lnTo>
                      <a:lnTo>
                        <a:pt x="850" y="251"/>
                      </a:lnTo>
                      <a:lnTo>
                        <a:pt x="849" y="251"/>
                      </a:lnTo>
                      <a:lnTo>
                        <a:pt x="848" y="251"/>
                      </a:lnTo>
                      <a:lnTo>
                        <a:pt x="847" y="251"/>
                      </a:lnTo>
                      <a:lnTo>
                        <a:pt x="846" y="251"/>
                      </a:lnTo>
                      <a:lnTo>
                        <a:pt x="845" y="251"/>
                      </a:lnTo>
                      <a:lnTo>
                        <a:pt x="844" y="251"/>
                      </a:lnTo>
                      <a:lnTo>
                        <a:pt x="844" y="250"/>
                      </a:lnTo>
                      <a:lnTo>
                        <a:pt x="842" y="250"/>
                      </a:lnTo>
                      <a:lnTo>
                        <a:pt x="841" y="250"/>
                      </a:lnTo>
                      <a:lnTo>
                        <a:pt x="840" y="250"/>
                      </a:lnTo>
                      <a:lnTo>
                        <a:pt x="839" y="250"/>
                      </a:lnTo>
                      <a:lnTo>
                        <a:pt x="838" y="250"/>
                      </a:lnTo>
                      <a:lnTo>
                        <a:pt x="837" y="250"/>
                      </a:lnTo>
                      <a:lnTo>
                        <a:pt x="837" y="249"/>
                      </a:lnTo>
                      <a:lnTo>
                        <a:pt x="836" y="249"/>
                      </a:lnTo>
                      <a:lnTo>
                        <a:pt x="835" y="249"/>
                      </a:lnTo>
                      <a:lnTo>
                        <a:pt x="835" y="250"/>
                      </a:lnTo>
                      <a:lnTo>
                        <a:pt x="834" y="249"/>
                      </a:lnTo>
                      <a:lnTo>
                        <a:pt x="834" y="248"/>
                      </a:lnTo>
                      <a:lnTo>
                        <a:pt x="833" y="248"/>
                      </a:lnTo>
                      <a:lnTo>
                        <a:pt x="833" y="249"/>
                      </a:lnTo>
                      <a:lnTo>
                        <a:pt x="833" y="248"/>
                      </a:lnTo>
                      <a:lnTo>
                        <a:pt x="833" y="249"/>
                      </a:lnTo>
                      <a:lnTo>
                        <a:pt x="832" y="249"/>
                      </a:lnTo>
                      <a:lnTo>
                        <a:pt x="832" y="248"/>
                      </a:lnTo>
                      <a:lnTo>
                        <a:pt x="831" y="248"/>
                      </a:lnTo>
                      <a:lnTo>
                        <a:pt x="829" y="248"/>
                      </a:lnTo>
                      <a:lnTo>
                        <a:pt x="828" y="248"/>
                      </a:lnTo>
                      <a:lnTo>
                        <a:pt x="828" y="247"/>
                      </a:lnTo>
                      <a:lnTo>
                        <a:pt x="827" y="247"/>
                      </a:lnTo>
                      <a:lnTo>
                        <a:pt x="827" y="246"/>
                      </a:lnTo>
                      <a:lnTo>
                        <a:pt x="826" y="246"/>
                      </a:lnTo>
                      <a:lnTo>
                        <a:pt x="825" y="246"/>
                      </a:lnTo>
                      <a:lnTo>
                        <a:pt x="824" y="246"/>
                      </a:lnTo>
                      <a:lnTo>
                        <a:pt x="824" y="245"/>
                      </a:lnTo>
                      <a:lnTo>
                        <a:pt x="823" y="245"/>
                      </a:lnTo>
                      <a:lnTo>
                        <a:pt x="822" y="245"/>
                      </a:lnTo>
                      <a:lnTo>
                        <a:pt x="821" y="245"/>
                      </a:lnTo>
                      <a:lnTo>
                        <a:pt x="820" y="245"/>
                      </a:lnTo>
                      <a:lnTo>
                        <a:pt x="819" y="245"/>
                      </a:lnTo>
                      <a:lnTo>
                        <a:pt x="818" y="245"/>
                      </a:lnTo>
                      <a:lnTo>
                        <a:pt x="818" y="244"/>
                      </a:lnTo>
                      <a:lnTo>
                        <a:pt x="818" y="245"/>
                      </a:lnTo>
                      <a:lnTo>
                        <a:pt x="816" y="244"/>
                      </a:lnTo>
                      <a:lnTo>
                        <a:pt x="816" y="245"/>
                      </a:lnTo>
                      <a:lnTo>
                        <a:pt x="816" y="244"/>
                      </a:lnTo>
                      <a:lnTo>
                        <a:pt x="815" y="244"/>
                      </a:lnTo>
                      <a:lnTo>
                        <a:pt x="814" y="244"/>
                      </a:lnTo>
                      <a:lnTo>
                        <a:pt x="813" y="244"/>
                      </a:lnTo>
                      <a:lnTo>
                        <a:pt x="812" y="244"/>
                      </a:lnTo>
                      <a:lnTo>
                        <a:pt x="812" y="243"/>
                      </a:lnTo>
                      <a:lnTo>
                        <a:pt x="813" y="243"/>
                      </a:lnTo>
                      <a:lnTo>
                        <a:pt x="813" y="242"/>
                      </a:lnTo>
                      <a:lnTo>
                        <a:pt x="814" y="242"/>
                      </a:lnTo>
                      <a:lnTo>
                        <a:pt x="814" y="241"/>
                      </a:lnTo>
                      <a:lnTo>
                        <a:pt x="814" y="240"/>
                      </a:lnTo>
                      <a:lnTo>
                        <a:pt x="813" y="240"/>
                      </a:lnTo>
                      <a:lnTo>
                        <a:pt x="812" y="240"/>
                      </a:lnTo>
                      <a:lnTo>
                        <a:pt x="812" y="241"/>
                      </a:lnTo>
                      <a:lnTo>
                        <a:pt x="812" y="242"/>
                      </a:lnTo>
                      <a:lnTo>
                        <a:pt x="811" y="243"/>
                      </a:lnTo>
                      <a:lnTo>
                        <a:pt x="810" y="243"/>
                      </a:lnTo>
                      <a:lnTo>
                        <a:pt x="810" y="242"/>
                      </a:lnTo>
                      <a:lnTo>
                        <a:pt x="810" y="241"/>
                      </a:lnTo>
                      <a:lnTo>
                        <a:pt x="809" y="241"/>
                      </a:lnTo>
                      <a:lnTo>
                        <a:pt x="809" y="240"/>
                      </a:lnTo>
                      <a:lnTo>
                        <a:pt x="808" y="240"/>
                      </a:lnTo>
                      <a:lnTo>
                        <a:pt x="807" y="240"/>
                      </a:lnTo>
                      <a:lnTo>
                        <a:pt x="807" y="241"/>
                      </a:lnTo>
                      <a:lnTo>
                        <a:pt x="807" y="242"/>
                      </a:lnTo>
                      <a:lnTo>
                        <a:pt x="807" y="241"/>
                      </a:lnTo>
                      <a:lnTo>
                        <a:pt x="807" y="240"/>
                      </a:lnTo>
                      <a:lnTo>
                        <a:pt x="806" y="240"/>
                      </a:lnTo>
                      <a:lnTo>
                        <a:pt x="805" y="240"/>
                      </a:lnTo>
                      <a:lnTo>
                        <a:pt x="803" y="240"/>
                      </a:lnTo>
                      <a:lnTo>
                        <a:pt x="802" y="240"/>
                      </a:lnTo>
                      <a:lnTo>
                        <a:pt x="801" y="240"/>
                      </a:lnTo>
                      <a:lnTo>
                        <a:pt x="800" y="240"/>
                      </a:lnTo>
                      <a:lnTo>
                        <a:pt x="799" y="240"/>
                      </a:lnTo>
                      <a:lnTo>
                        <a:pt x="799" y="241"/>
                      </a:lnTo>
                      <a:lnTo>
                        <a:pt x="799" y="240"/>
                      </a:lnTo>
                      <a:lnTo>
                        <a:pt x="799" y="241"/>
                      </a:lnTo>
                      <a:lnTo>
                        <a:pt x="799" y="240"/>
                      </a:lnTo>
                      <a:lnTo>
                        <a:pt x="798" y="240"/>
                      </a:lnTo>
                      <a:lnTo>
                        <a:pt x="797" y="240"/>
                      </a:lnTo>
                      <a:lnTo>
                        <a:pt x="797" y="238"/>
                      </a:lnTo>
                      <a:lnTo>
                        <a:pt x="797" y="237"/>
                      </a:lnTo>
                      <a:lnTo>
                        <a:pt x="796" y="237"/>
                      </a:lnTo>
                      <a:lnTo>
                        <a:pt x="796" y="236"/>
                      </a:lnTo>
                      <a:lnTo>
                        <a:pt x="795" y="236"/>
                      </a:lnTo>
                      <a:lnTo>
                        <a:pt x="794" y="235"/>
                      </a:lnTo>
                      <a:lnTo>
                        <a:pt x="793" y="235"/>
                      </a:lnTo>
                      <a:lnTo>
                        <a:pt x="792" y="235"/>
                      </a:lnTo>
                      <a:lnTo>
                        <a:pt x="790" y="235"/>
                      </a:lnTo>
                      <a:lnTo>
                        <a:pt x="787" y="235"/>
                      </a:lnTo>
                      <a:lnTo>
                        <a:pt x="784" y="236"/>
                      </a:lnTo>
                      <a:lnTo>
                        <a:pt x="783" y="236"/>
                      </a:lnTo>
                      <a:lnTo>
                        <a:pt x="782" y="236"/>
                      </a:lnTo>
                      <a:lnTo>
                        <a:pt x="781" y="236"/>
                      </a:lnTo>
                      <a:lnTo>
                        <a:pt x="781" y="237"/>
                      </a:lnTo>
                      <a:lnTo>
                        <a:pt x="780" y="237"/>
                      </a:lnTo>
                      <a:lnTo>
                        <a:pt x="780" y="238"/>
                      </a:lnTo>
                      <a:lnTo>
                        <a:pt x="779" y="238"/>
                      </a:lnTo>
                      <a:lnTo>
                        <a:pt x="777" y="238"/>
                      </a:lnTo>
                      <a:lnTo>
                        <a:pt x="777" y="240"/>
                      </a:lnTo>
                      <a:lnTo>
                        <a:pt x="776" y="240"/>
                      </a:lnTo>
                      <a:lnTo>
                        <a:pt x="776" y="241"/>
                      </a:lnTo>
                      <a:lnTo>
                        <a:pt x="775" y="241"/>
                      </a:lnTo>
                      <a:lnTo>
                        <a:pt x="774" y="242"/>
                      </a:lnTo>
                      <a:lnTo>
                        <a:pt x="773" y="243"/>
                      </a:lnTo>
                      <a:lnTo>
                        <a:pt x="772" y="243"/>
                      </a:lnTo>
                      <a:lnTo>
                        <a:pt x="772" y="244"/>
                      </a:lnTo>
                      <a:lnTo>
                        <a:pt x="771" y="244"/>
                      </a:lnTo>
                      <a:lnTo>
                        <a:pt x="770" y="245"/>
                      </a:lnTo>
                      <a:lnTo>
                        <a:pt x="769" y="246"/>
                      </a:lnTo>
                      <a:lnTo>
                        <a:pt x="768" y="247"/>
                      </a:lnTo>
                      <a:lnTo>
                        <a:pt x="767" y="248"/>
                      </a:lnTo>
                      <a:lnTo>
                        <a:pt x="766" y="248"/>
                      </a:lnTo>
                      <a:lnTo>
                        <a:pt x="764" y="248"/>
                      </a:lnTo>
                      <a:lnTo>
                        <a:pt x="764" y="249"/>
                      </a:lnTo>
                      <a:lnTo>
                        <a:pt x="763" y="250"/>
                      </a:lnTo>
                      <a:lnTo>
                        <a:pt x="762" y="250"/>
                      </a:lnTo>
                      <a:lnTo>
                        <a:pt x="762" y="251"/>
                      </a:lnTo>
                      <a:lnTo>
                        <a:pt x="761" y="251"/>
                      </a:lnTo>
                      <a:lnTo>
                        <a:pt x="761" y="253"/>
                      </a:lnTo>
                      <a:lnTo>
                        <a:pt x="761" y="244"/>
                      </a:lnTo>
                      <a:lnTo>
                        <a:pt x="761" y="231"/>
                      </a:lnTo>
                      <a:lnTo>
                        <a:pt x="761" y="230"/>
                      </a:lnTo>
                      <a:lnTo>
                        <a:pt x="760" y="230"/>
                      </a:lnTo>
                      <a:lnTo>
                        <a:pt x="761" y="230"/>
                      </a:lnTo>
                      <a:lnTo>
                        <a:pt x="761" y="229"/>
                      </a:lnTo>
                      <a:lnTo>
                        <a:pt x="760" y="221"/>
                      </a:lnTo>
                      <a:lnTo>
                        <a:pt x="760" y="216"/>
                      </a:lnTo>
                      <a:lnTo>
                        <a:pt x="760" y="202"/>
                      </a:lnTo>
                      <a:lnTo>
                        <a:pt x="760" y="200"/>
                      </a:lnTo>
                      <a:lnTo>
                        <a:pt x="760" y="196"/>
                      </a:lnTo>
                      <a:lnTo>
                        <a:pt x="760" y="185"/>
                      </a:lnTo>
                      <a:lnTo>
                        <a:pt x="760" y="179"/>
                      </a:lnTo>
                      <a:lnTo>
                        <a:pt x="760" y="174"/>
                      </a:lnTo>
                      <a:lnTo>
                        <a:pt x="760" y="170"/>
                      </a:lnTo>
                      <a:lnTo>
                        <a:pt x="760" y="166"/>
                      </a:lnTo>
                      <a:lnTo>
                        <a:pt x="760" y="163"/>
                      </a:lnTo>
                      <a:lnTo>
                        <a:pt x="760" y="158"/>
                      </a:lnTo>
                      <a:lnTo>
                        <a:pt x="760" y="157"/>
                      </a:lnTo>
                      <a:lnTo>
                        <a:pt x="760" y="156"/>
                      </a:lnTo>
                      <a:lnTo>
                        <a:pt x="760" y="153"/>
                      </a:lnTo>
                      <a:lnTo>
                        <a:pt x="760" y="152"/>
                      </a:lnTo>
                      <a:lnTo>
                        <a:pt x="760" y="151"/>
                      </a:lnTo>
                      <a:lnTo>
                        <a:pt x="761" y="151"/>
                      </a:lnTo>
                      <a:lnTo>
                        <a:pt x="760" y="150"/>
                      </a:lnTo>
                      <a:lnTo>
                        <a:pt x="760" y="148"/>
                      </a:lnTo>
                      <a:lnTo>
                        <a:pt x="760" y="135"/>
                      </a:lnTo>
                      <a:lnTo>
                        <a:pt x="760" y="134"/>
                      </a:lnTo>
                      <a:lnTo>
                        <a:pt x="760" y="128"/>
                      </a:lnTo>
                      <a:lnTo>
                        <a:pt x="760" y="121"/>
                      </a:lnTo>
                      <a:lnTo>
                        <a:pt x="760" y="117"/>
                      </a:lnTo>
                      <a:lnTo>
                        <a:pt x="761" y="112"/>
                      </a:lnTo>
                      <a:lnTo>
                        <a:pt x="760" y="110"/>
                      </a:lnTo>
                      <a:lnTo>
                        <a:pt x="760" y="109"/>
                      </a:lnTo>
                      <a:lnTo>
                        <a:pt x="760" y="108"/>
                      </a:lnTo>
                      <a:lnTo>
                        <a:pt x="760" y="107"/>
                      </a:lnTo>
                      <a:lnTo>
                        <a:pt x="760" y="105"/>
                      </a:lnTo>
                      <a:lnTo>
                        <a:pt x="760" y="102"/>
                      </a:lnTo>
                      <a:lnTo>
                        <a:pt x="760" y="99"/>
                      </a:lnTo>
                      <a:lnTo>
                        <a:pt x="759" y="97"/>
                      </a:lnTo>
                      <a:lnTo>
                        <a:pt x="759" y="96"/>
                      </a:lnTo>
                      <a:lnTo>
                        <a:pt x="759" y="95"/>
                      </a:lnTo>
                      <a:lnTo>
                        <a:pt x="758" y="95"/>
                      </a:lnTo>
                      <a:lnTo>
                        <a:pt x="759" y="95"/>
                      </a:lnTo>
                      <a:lnTo>
                        <a:pt x="759" y="94"/>
                      </a:lnTo>
                      <a:lnTo>
                        <a:pt x="758" y="94"/>
                      </a:lnTo>
                      <a:lnTo>
                        <a:pt x="758" y="93"/>
                      </a:lnTo>
                      <a:lnTo>
                        <a:pt x="759" y="93"/>
                      </a:lnTo>
                      <a:lnTo>
                        <a:pt x="758" y="93"/>
                      </a:lnTo>
                      <a:lnTo>
                        <a:pt x="759" y="93"/>
                      </a:lnTo>
                      <a:lnTo>
                        <a:pt x="759" y="92"/>
                      </a:lnTo>
                      <a:lnTo>
                        <a:pt x="760" y="92"/>
                      </a:lnTo>
                      <a:lnTo>
                        <a:pt x="760" y="91"/>
                      </a:lnTo>
                      <a:lnTo>
                        <a:pt x="760" y="90"/>
                      </a:lnTo>
                      <a:lnTo>
                        <a:pt x="760" y="91"/>
                      </a:lnTo>
                      <a:lnTo>
                        <a:pt x="760" y="90"/>
                      </a:lnTo>
                      <a:lnTo>
                        <a:pt x="761" y="90"/>
                      </a:lnTo>
                      <a:lnTo>
                        <a:pt x="761" y="89"/>
                      </a:lnTo>
                      <a:lnTo>
                        <a:pt x="761" y="88"/>
                      </a:lnTo>
                      <a:lnTo>
                        <a:pt x="761" y="87"/>
                      </a:lnTo>
                      <a:lnTo>
                        <a:pt x="760" y="87"/>
                      </a:lnTo>
                      <a:lnTo>
                        <a:pt x="760" y="86"/>
                      </a:lnTo>
                      <a:lnTo>
                        <a:pt x="760" y="84"/>
                      </a:lnTo>
                      <a:lnTo>
                        <a:pt x="759" y="84"/>
                      </a:lnTo>
                      <a:lnTo>
                        <a:pt x="759" y="83"/>
                      </a:lnTo>
                      <a:lnTo>
                        <a:pt x="758" y="83"/>
                      </a:lnTo>
                      <a:lnTo>
                        <a:pt x="758" y="82"/>
                      </a:lnTo>
                      <a:lnTo>
                        <a:pt x="758" y="81"/>
                      </a:lnTo>
                      <a:lnTo>
                        <a:pt x="758" y="80"/>
                      </a:lnTo>
                      <a:lnTo>
                        <a:pt x="758" y="81"/>
                      </a:lnTo>
                      <a:lnTo>
                        <a:pt x="758" y="80"/>
                      </a:lnTo>
                      <a:lnTo>
                        <a:pt x="759" y="80"/>
                      </a:lnTo>
                      <a:lnTo>
                        <a:pt x="758" y="79"/>
                      </a:lnTo>
                      <a:lnTo>
                        <a:pt x="759" y="79"/>
                      </a:lnTo>
                      <a:lnTo>
                        <a:pt x="758" y="79"/>
                      </a:lnTo>
                      <a:lnTo>
                        <a:pt x="758" y="78"/>
                      </a:lnTo>
                      <a:lnTo>
                        <a:pt x="759" y="78"/>
                      </a:lnTo>
                      <a:lnTo>
                        <a:pt x="758" y="78"/>
                      </a:lnTo>
                      <a:lnTo>
                        <a:pt x="759" y="78"/>
                      </a:lnTo>
                      <a:lnTo>
                        <a:pt x="758" y="78"/>
                      </a:lnTo>
                      <a:lnTo>
                        <a:pt x="759" y="78"/>
                      </a:lnTo>
                      <a:lnTo>
                        <a:pt x="759" y="77"/>
                      </a:lnTo>
                      <a:lnTo>
                        <a:pt x="758" y="77"/>
                      </a:lnTo>
                      <a:lnTo>
                        <a:pt x="759" y="77"/>
                      </a:lnTo>
                      <a:lnTo>
                        <a:pt x="758" y="77"/>
                      </a:lnTo>
                      <a:lnTo>
                        <a:pt x="758" y="76"/>
                      </a:lnTo>
                      <a:lnTo>
                        <a:pt x="759" y="76"/>
                      </a:lnTo>
                      <a:lnTo>
                        <a:pt x="758" y="76"/>
                      </a:lnTo>
                      <a:lnTo>
                        <a:pt x="759" y="76"/>
                      </a:lnTo>
                      <a:lnTo>
                        <a:pt x="758" y="76"/>
                      </a:lnTo>
                      <a:lnTo>
                        <a:pt x="757" y="76"/>
                      </a:lnTo>
                      <a:lnTo>
                        <a:pt x="757" y="75"/>
                      </a:lnTo>
                      <a:lnTo>
                        <a:pt x="757" y="74"/>
                      </a:lnTo>
                      <a:lnTo>
                        <a:pt x="758" y="74"/>
                      </a:lnTo>
                      <a:lnTo>
                        <a:pt x="758" y="73"/>
                      </a:lnTo>
                      <a:lnTo>
                        <a:pt x="757" y="73"/>
                      </a:lnTo>
                      <a:lnTo>
                        <a:pt x="758" y="73"/>
                      </a:lnTo>
                      <a:lnTo>
                        <a:pt x="757" y="73"/>
                      </a:lnTo>
                      <a:lnTo>
                        <a:pt x="757" y="71"/>
                      </a:lnTo>
                      <a:lnTo>
                        <a:pt x="758" y="70"/>
                      </a:lnTo>
                      <a:lnTo>
                        <a:pt x="757" y="70"/>
                      </a:lnTo>
                      <a:lnTo>
                        <a:pt x="758" y="70"/>
                      </a:lnTo>
                      <a:lnTo>
                        <a:pt x="757" y="70"/>
                      </a:lnTo>
                      <a:lnTo>
                        <a:pt x="758" y="69"/>
                      </a:lnTo>
                      <a:lnTo>
                        <a:pt x="757" y="69"/>
                      </a:lnTo>
                      <a:lnTo>
                        <a:pt x="757" y="68"/>
                      </a:lnTo>
                      <a:lnTo>
                        <a:pt x="756" y="68"/>
                      </a:lnTo>
                      <a:lnTo>
                        <a:pt x="757" y="67"/>
                      </a:lnTo>
                      <a:lnTo>
                        <a:pt x="757" y="66"/>
                      </a:lnTo>
                      <a:lnTo>
                        <a:pt x="756" y="66"/>
                      </a:lnTo>
                      <a:lnTo>
                        <a:pt x="757" y="66"/>
                      </a:lnTo>
                      <a:lnTo>
                        <a:pt x="758" y="66"/>
                      </a:lnTo>
                      <a:lnTo>
                        <a:pt x="758" y="65"/>
                      </a:lnTo>
                      <a:lnTo>
                        <a:pt x="759" y="65"/>
                      </a:lnTo>
                      <a:lnTo>
                        <a:pt x="758" y="65"/>
                      </a:lnTo>
                      <a:lnTo>
                        <a:pt x="758" y="64"/>
                      </a:lnTo>
                      <a:lnTo>
                        <a:pt x="759" y="64"/>
                      </a:lnTo>
                      <a:lnTo>
                        <a:pt x="759" y="63"/>
                      </a:lnTo>
                      <a:lnTo>
                        <a:pt x="760" y="63"/>
                      </a:lnTo>
                      <a:lnTo>
                        <a:pt x="759" y="63"/>
                      </a:lnTo>
                      <a:lnTo>
                        <a:pt x="759" y="62"/>
                      </a:lnTo>
                      <a:lnTo>
                        <a:pt x="759" y="61"/>
                      </a:lnTo>
                      <a:lnTo>
                        <a:pt x="759" y="60"/>
                      </a:lnTo>
                      <a:lnTo>
                        <a:pt x="759" y="58"/>
                      </a:lnTo>
                      <a:lnTo>
                        <a:pt x="760" y="58"/>
                      </a:lnTo>
                      <a:lnTo>
                        <a:pt x="759" y="58"/>
                      </a:lnTo>
                      <a:lnTo>
                        <a:pt x="759" y="57"/>
                      </a:lnTo>
                      <a:lnTo>
                        <a:pt x="760" y="57"/>
                      </a:lnTo>
                      <a:lnTo>
                        <a:pt x="759" y="57"/>
                      </a:lnTo>
                      <a:lnTo>
                        <a:pt x="760" y="57"/>
                      </a:lnTo>
                      <a:lnTo>
                        <a:pt x="760" y="56"/>
                      </a:lnTo>
                      <a:lnTo>
                        <a:pt x="760" y="55"/>
                      </a:lnTo>
                      <a:lnTo>
                        <a:pt x="760" y="54"/>
                      </a:lnTo>
                      <a:lnTo>
                        <a:pt x="759" y="54"/>
                      </a:lnTo>
                      <a:lnTo>
                        <a:pt x="760" y="54"/>
                      </a:lnTo>
                      <a:lnTo>
                        <a:pt x="760" y="53"/>
                      </a:lnTo>
                      <a:lnTo>
                        <a:pt x="761" y="53"/>
                      </a:lnTo>
                      <a:lnTo>
                        <a:pt x="761" y="52"/>
                      </a:lnTo>
                      <a:lnTo>
                        <a:pt x="760" y="53"/>
                      </a:lnTo>
                      <a:lnTo>
                        <a:pt x="760" y="52"/>
                      </a:lnTo>
                      <a:lnTo>
                        <a:pt x="761" y="52"/>
                      </a:lnTo>
                      <a:lnTo>
                        <a:pt x="760" y="52"/>
                      </a:lnTo>
                      <a:lnTo>
                        <a:pt x="761" y="51"/>
                      </a:lnTo>
                      <a:lnTo>
                        <a:pt x="760" y="51"/>
                      </a:lnTo>
                      <a:lnTo>
                        <a:pt x="759" y="50"/>
                      </a:lnTo>
                      <a:lnTo>
                        <a:pt x="758" y="50"/>
                      </a:lnTo>
                      <a:lnTo>
                        <a:pt x="759" y="50"/>
                      </a:lnTo>
                      <a:lnTo>
                        <a:pt x="759" y="49"/>
                      </a:lnTo>
                      <a:lnTo>
                        <a:pt x="758" y="49"/>
                      </a:lnTo>
                      <a:lnTo>
                        <a:pt x="758" y="48"/>
                      </a:lnTo>
                      <a:lnTo>
                        <a:pt x="757" y="48"/>
                      </a:lnTo>
                      <a:lnTo>
                        <a:pt x="757" y="49"/>
                      </a:lnTo>
                      <a:lnTo>
                        <a:pt x="757" y="48"/>
                      </a:lnTo>
                      <a:lnTo>
                        <a:pt x="757" y="46"/>
                      </a:lnTo>
                      <a:lnTo>
                        <a:pt x="757" y="48"/>
                      </a:lnTo>
                      <a:lnTo>
                        <a:pt x="757" y="46"/>
                      </a:lnTo>
                      <a:lnTo>
                        <a:pt x="757" y="45"/>
                      </a:lnTo>
                      <a:lnTo>
                        <a:pt x="758" y="45"/>
                      </a:lnTo>
                      <a:lnTo>
                        <a:pt x="757" y="45"/>
                      </a:lnTo>
                      <a:lnTo>
                        <a:pt x="758" y="44"/>
                      </a:lnTo>
                      <a:lnTo>
                        <a:pt x="757" y="43"/>
                      </a:lnTo>
                      <a:lnTo>
                        <a:pt x="757" y="42"/>
                      </a:lnTo>
                      <a:lnTo>
                        <a:pt x="758" y="42"/>
                      </a:lnTo>
                      <a:lnTo>
                        <a:pt x="758" y="41"/>
                      </a:lnTo>
                      <a:lnTo>
                        <a:pt x="757" y="41"/>
                      </a:lnTo>
                      <a:lnTo>
                        <a:pt x="757" y="40"/>
                      </a:lnTo>
                      <a:lnTo>
                        <a:pt x="756" y="40"/>
                      </a:lnTo>
                      <a:lnTo>
                        <a:pt x="756" y="39"/>
                      </a:lnTo>
                      <a:lnTo>
                        <a:pt x="756" y="38"/>
                      </a:lnTo>
                      <a:lnTo>
                        <a:pt x="757" y="36"/>
                      </a:lnTo>
                      <a:lnTo>
                        <a:pt x="757" y="35"/>
                      </a:lnTo>
                      <a:lnTo>
                        <a:pt x="757" y="33"/>
                      </a:lnTo>
                      <a:lnTo>
                        <a:pt x="757" y="32"/>
                      </a:lnTo>
                      <a:lnTo>
                        <a:pt x="756" y="32"/>
                      </a:lnTo>
                      <a:lnTo>
                        <a:pt x="757" y="32"/>
                      </a:lnTo>
                      <a:lnTo>
                        <a:pt x="757" y="31"/>
                      </a:lnTo>
                      <a:lnTo>
                        <a:pt x="756" y="31"/>
                      </a:lnTo>
                      <a:lnTo>
                        <a:pt x="757" y="31"/>
                      </a:lnTo>
                      <a:lnTo>
                        <a:pt x="757" y="30"/>
                      </a:lnTo>
                      <a:lnTo>
                        <a:pt x="757" y="29"/>
                      </a:lnTo>
                      <a:lnTo>
                        <a:pt x="758" y="29"/>
                      </a:lnTo>
                      <a:lnTo>
                        <a:pt x="759" y="29"/>
                      </a:lnTo>
                      <a:lnTo>
                        <a:pt x="759" y="28"/>
                      </a:lnTo>
                      <a:lnTo>
                        <a:pt x="759" y="27"/>
                      </a:lnTo>
                      <a:lnTo>
                        <a:pt x="759" y="26"/>
                      </a:lnTo>
                      <a:lnTo>
                        <a:pt x="758" y="26"/>
                      </a:lnTo>
                      <a:lnTo>
                        <a:pt x="758" y="25"/>
                      </a:lnTo>
                      <a:lnTo>
                        <a:pt x="757" y="25"/>
                      </a:lnTo>
                      <a:lnTo>
                        <a:pt x="757" y="24"/>
                      </a:lnTo>
                      <a:lnTo>
                        <a:pt x="757" y="23"/>
                      </a:lnTo>
                      <a:lnTo>
                        <a:pt x="757" y="24"/>
                      </a:lnTo>
                      <a:lnTo>
                        <a:pt x="757" y="23"/>
                      </a:lnTo>
                      <a:lnTo>
                        <a:pt x="756" y="23"/>
                      </a:lnTo>
                      <a:lnTo>
                        <a:pt x="756" y="22"/>
                      </a:lnTo>
                      <a:lnTo>
                        <a:pt x="756" y="20"/>
                      </a:lnTo>
                      <a:lnTo>
                        <a:pt x="756" y="19"/>
                      </a:lnTo>
                      <a:lnTo>
                        <a:pt x="757" y="19"/>
                      </a:lnTo>
                      <a:lnTo>
                        <a:pt x="756" y="19"/>
                      </a:lnTo>
                      <a:lnTo>
                        <a:pt x="757" y="18"/>
                      </a:lnTo>
                      <a:lnTo>
                        <a:pt x="756" y="18"/>
                      </a:lnTo>
                      <a:lnTo>
                        <a:pt x="757" y="17"/>
                      </a:lnTo>
                      <a:lnTo>
                        <a:pt x="757" y="16"/>
                      </a:lnTo>
                      <a:lnTo>
                        <a:pt x="756" y="16"/>
                      </a:lnTo>
                      <a:lnTo>
                        <a:pt x="756" y="15"/>
                      </a:lnTo>
                      <a:lnTo>
                        <a:pt x="755" y="15"/>
                      </a:lnTo>
                      <a:lnTo>
                        <a:pt x="756" y="15"/>
                      </a:lnTo>
                      <a:lnTo>
                        <a:pt x="756" y="14"/>
                      </a:lnTo>
                      <a:lnTo>
                        <a:pt x="756" y="13"/>
                      </a:lnTo>
                      <a:lnTo>
                        <a:pt x="755" y="13"/>
                      </a:lnTo>
                      <a:lnTo>
                        <a:pt x="755" y="12"/>
                      </a:lnTo>
                      <a:lnTo>
                        <a:pt x="754" y="12"/>
                      </a:lnTo>
                      <a:lnTo>
                        <a:pt x="754" y="13"/>
                      </a:lnTo>
                      <a:lnTo>
                        <a:pt x="754" y="12"/>
                      </a:lnTo>
                      <a:lnTo>
                        <a:pt x="754" y="11"/>
                      </a:lnTo>
                      <a:lnTo>
                        <a:pt x="755" y="10"/>
                      </a:lnTo>
                      <a:lnTo>
                        <a:pt x="754" y="9"/>
                      </a:lnTo>
                      <a:lnTo>
                        <a:pt x="754" y="7"/>
                      </a:lnTo>
                      <a:lnTo>
                        <a:pt x="754" y="6"/>
                      </a:lnTo>
                      <a:lnTo>
                        <a:pt x="754" y="5"/>
                      </a:lnTo>
                      <a:lnTo>
                        <a:pt x="761" y="6"/>
                      </a:lnTo>
                      <a:lnTo>
                        <a:pt x="772" y="9"/>
                      </a:lnTo>
                      <a:lnTo>
                        <a:pt x="774" y="9"/>
                      </a:lnTo>
                      <a:lnTo>
                        <a:pt x="777" y="10"/>
                      </a:lnTo>
                      <a:lnTo>
                        <a:pt x="779" y="10"/>
                      </a:lnTo>
                      <a:lnTo>
                        <a:pt x="786" y="12"/>
                      </a:lnTo>
                      <a:lnTo>
                        <a:pt x="798" y="14"/>
                      </a:lnTo>
                      <a:lnTo>
                        <a:pt x="803" y="15"/>
                      </a:lnTo>
                      <a:lnTo>
                        <a:pt x="807" y="15"/>
                      </a:lnTo>
                      <a:lnTo>
                        <a:pt x="807" y="16"/>
                      </a:lnTo>
                      <a:lnTo>
                        <a:pt x="809" y="16"/>
                      </a:lnTo>
                      <a:lnTo>
                        <a:pt x="810" y="16"/>
                      </a:lnTo>
                      <a:lnTo>
                        <a:pt x="811" y="16"/>
                      </a:lnTo>
                      <a:lnTo>
                        <a:pt x="825" y="19"/>
                      </a:lnTo>
                      <a:lnTo>
                        <a:pt x="826" y="19"/>
                      </a:lnTo>
                      <a:lnTo>
                        <a:pt x="831" y="20"/>
                      </a:lnTo>
                      <a:lnTo>
                        <a:pt x="835" y="22"/>
                      </a:lnTo>
                      <a:lnTo>
                        <a:pt x="837" y="23"/>
                      </a:lnTo>
                      <a:lnTo>
                        <a:pt x="838" y="23"/>
                      </a:lnTo>
                      <a:lnTo>
                        <a:pt x="841" y="24"/>
                      </a:lnTo>
                      <a:lnTo>
                        <a:pt x="851" y="25"/>
                      </a:lnTo>
                      <a:lnTo>
                        <a:pt x="861" y="27"/>
                      </a:lnTo>
                      <a:lnTo>
                        <a:pt x="869" y="29"/>
                      </a:lnTo>
                      <a:lnTo>
                        <a:pt x="871" y="29"/>
                      </a:lnTo>
                      <a:lnTo>
                        <a:pt x="877" y="30"/>
                      </a:lnTo>
                      <a:lnTo>
                        <a:pt x="883" y="31"/>
                      </a:lnTo>
                      <a:lnTo>
                        <a:pt x="885" y="32"/>
                      </a:lnTo>
                      <a:lnTo>
                        <a:pt x="897" y="35"/>
                      </a:lnTo>
                      <a:lnTo>
                        <a:pt x="904" y="36"/>
                      </a:lnTo>
                      <a:lnTo>
                        <a:pt x="909" y="37"/>
                      </a:lnTo>
                      <a:lnTo>
                        <a:pt x="910" y="37"/>
                      </a:lnTo>
                      <a:lnTo>
                        <a:pt x="912" y="38"/>
                      </a:lnTo>
                      <a:lnTo>
                        <a:pt x="913" y="38"/>
                      </a:lnTo>
                      <a:lnTo>
                        <a:pt x="914" y="38"/>
                      </a:lnTo>
                      <a:lnTo>
                        <a:pt x="915" y="38"/>
                      </a:lnTo>
                      <a:lnTo>
                        <a:pt x="917" y="38"/>
                      </a:lnTo>
                      <a:lnTo>
                        <a:pt x="918" y="38"/>
                      </a:lnTo>
                      <a:lnTo>
                        <a:pt x="921" y="38"/>
                      </a:lnTo>
                      <a:lnTo>
                        <a:pt x="922" y="38"/>
                      </a:lnTo>
                      <a:lnTo>
                        <a:pt x="924" y="38"/>
                      </a:lnTo>
                      <a:lnTo>
                        <a:pt x="932" y="38"/>
                      </a:lnTo>
                      <a:lnTo>
                        <a:pt x="935" y="38"/>
                      </a:lnTo>
                      <a:lnTo>
                        <a:pt x="942" y="38"/>
                      </a:lnTo>
                      <a:lnTo>
                        <a:pt x="943" y="38"/>
                      </a:lnTo>
                      <a:lnTo>
                        <a:pt x="948" y="38"/>
                      </a:lnTo>
                      <a:lnTo>
                        <a:pt x="951" y="38"/>
                      </a:lnTo>
                      <a:lnTo>
                        <a:pt x="956" y="38"/>
                      </a:lnTo>
                      <a:lnTo>
                        <a:pt x="966" y="38"/>
                      </a:lnTo>
                      <a:lnTo>
                        <a:pt x="969" y="38"/>
                      </a:lnTo>
                      <a:lnTo>
                        <a:pt x="973" y="38"/>
                      </a:lnTo>
                      <a:lnTo>
                        <a:pt x="987" y="38"/>
                      </a:lnTo>
                      <a:lnTo>
                        <a:pt x="989" y="38"/>
                      </a:lnTo>
                      <a:lnTo>
                        <a:pt x="990" y="38"/>
                      </a:lnTo>
                      <a:lnTo>
                        <a:pt x="993" y="38"/>
                      </a:lnTo>
                      <a:lnTo>
                        <a:pt x="994" y="38"/>
                      </a:lnTo>
                      <a:lnTo>
                        <a:pt x="995" y="38"/>
                      </a:lnTo>
                      <a:lnTo>
                        <a:pt x="1006" y="38"/>
                      </a:lnTo>
                      <a:lnTo>
                        <a:pt x="1006" y="39"/>
                      </a:lnTo>
                      <a:lnTo>
                        <a:pt x="1006" y="40"/>
                      </a:lnTo>
                      <a:lnTo>
                        <a:pt x="1005" y="40"/>
                      </a:lnTo>
                      <a:lnTo>
                        <a:pt x="1004" y="40"/>
                      </a:lnTo>
                      <a:lnTo>
                        <a:pt x="1003" y="39"/>
                      </a:lnTo>
                      <a:lnTo>
                        <a:pt x="1003" y="38"/>
                      </a:lnTo>
                      <a:lnTo>
                        <a:pt x="1002" y="38"/>
                      </a:lnTo>
                      <a:lnTo>
                        <a:pt x="1001" y="39"/>
                      </a:lnTo>
                      <a:lnTo>
                        <a:pt x="1001" y="40"/>
                      </a:lnTo>
                      <a:lnTo>
                        <a:pt x="1001" y="41"/>
                      </a:lnTo>
                      <a:lnTo>
                        <a:pt x="1002" y="41"/>
                      </a:lnTo>
                      <a:lnTo>
                        <a:pt x="1003" y="41"/>
                      </a:lnTo>
                      <a:lnTo>
                        <a:pt x="1003" y="42"/>
                      </a:lnTo>
                      <a:lnTo>
                        <a:pt x="1004" y="42"/>
                      </a:lnTo>
                      <a:lnTo>
                        <a:pt x="1005" y="42"/>
                      </a:lnTo>
                      <a:lnTo>
                        <a:pt x="1006" y="41"/>
                      </a:lnTo>
                      <a:lnTo>
                        <a:pt x="1007" y="41"/>
                      </a:lnTo>
                      <a:lnTo>
                        <a:pt x="1007" y="42"/>
                      </a:lnTo>
                      <a:lnTo>
                        <a:pt x="1007" y="43"/>
                      </a:lnTo>
                      <a:lnTo>
                        <a:pt x="1007" y="44"/>
                      </a:lnTo>
                      <a:lnTo>
                        <a:pt x="1007" y="45"/>
                      </a:lnTo>
                      <a:lnTo>
                        <a:pt x="1007" y="46"/>
                      </a:lnTo>
                      <a:lnTo>
                        <a:pt x="1007" y="48"/>
                      </a:lnTo>
                      <a:lnTo>
                        <a:pt x="1008" y="48"/>
                      </a:lnTo>
                      <a:lnTo>
                        <a:pt x="1009" y="46"/>
                      </a:lnTo>
                      <a:lnTo>
                        <a:pt x="1009" y="45"/>
                      </a:lnTo>
                      <a:lnTo>
                        <a:pt x="1009" y="44"/>
                      </a:lnTo>
                      <a:lnTo>
                        <a:pt x="1011" y="44"/>
                      </a:lnTo>
                      <a:lnTo>
                        <a:pt x="1011" y="43"/>
                      </a:lnTo>
                      <a:lnTo>
                        <a:pt x="1012" y="43"/>
                      </a:lnTo>
                      <a:lnTo>
                        <a:pt x="1013" y="44"/>
                      </a:lnTo>
                      <a:lnTo>
                        <a:pt x="1013" y="45"/>
                      </a:lnTo>
                      <a:lnTo>
                        <a:pt x="1014" y="46"/>
                      </a:lnTo>
                      <a:lnTo>
                        <a:pt x="1014" y="48"/>
                      </a:lnTo>
                      <a:lnTo>
                        <a:pt x="1014" y="49"/>
                      </a:lnTo>
                      <a:lnTo>
                        <a:pt x="1015" y="49"/>
                      </a:lnTo>
                      <a:lnTo>
                        <a:pt x="1016" y="49"/>
                      </a:lnTo>
                      <a:lnTo>
                        <a:pt x="1017" y="49"/>
                      </a:lnTo>
                      <a:lnTo>
                        <a:pt x="1017" y="50"/>
                      </a:lnTo>
                      <a:lnTo>
                        <a:pt x="1017" y="51"/>
                      </a:lnTo>
                      <a:lnTo>
                        <a:pt x="1017" y="52"/>
                      </a:lnTo>
                      <a:lnTo>
                        <a:pt x="1017" y="53"/>
                      </a:lnTo>
                      <a:lnTo>
                        <a:pt x="1018" y="52"/>
                      </a:lnTo>
                      <a:lnTo>
                        <a:pt x="1019" y="52"/>
                      </a:lnTo>
                      <a:lnTo>
                        <a:pt x="1020" y="52"/>
                      </a:lnTo>
                      <a:lnTo>
                        <a:pt x="1020" y="53"/>
                      </a:lnTo>
                      <a:lnTo>
                        <a:pt x="1019" y="53"/>
                      </a:lnTo>
                      <a:lnTo>
                        <a:pt x="1018" y="54"/>
                      </a:lnTo>
                      <a:lnTo>
                        <a:pt x="1018" y="55"/>
                      </a:lnTo>
                      <a:lnTo>
                        <a:pt x="1018" y="56"/>
                      </a:lnTo>
                      <a:lnTo>
                        <a:pt x="1019" y="57"/>
                      </a:lnTo>
                      <a:lnTo>
                        <a:pt x="1020" y="57"/>
                      </a:lnTo>
                      <a:lnTo>
                        <a:pt x="1021" y="57"/>
                      </a:lnTo>
                      <a:lnTo>
                        <a:pt x="1022" y="56"/>
                      </a:lnTo>
                      <a:lnTo>
                        <a:pt x="1024" y="57"/>
                      </a:lnTo>
                      <a:lnTo>
                        <a:pt x="1024" y="58"/>
                      </a:lnTo>
                      <a:lnTo>
                        <a:pt x="1022" y="60"/>
                      </a:lnTo>
                      <a:lnTo>
                        <a:pt x="1020" y="61"/>
                      </a:lnTo>
                      <a:lnTo>
                        <a:pt x="1020" y="62"/>
                      </a:lnTo>
                      <a:lnTo>
                        <a:pt x="1020" y="63"/>
                      </a:lnTo>
                      <a:lnTo>
                        <a:pt x="1020" y="64"/>
                      </a:lnTo>
                      <a:lnTo>
                        <a:pt x="1020" y="65"/>
                      </a:lnTo>
                      <a:lnTo>
                        <a:pt x="1019" y="65"/>
                      </a:lnTo>
                      <a:lnTo>
                        <a:pt x="1019" y="66"/>
                      </a:lnTo>
                      <a:lnTo>
                        <a:pt x="1018" y="67"/>
                      </a:lnTo>
                      <a:lnTo>
                        <a:pt x="1018" y="68"/>
                      </a:lnTo>
                      <a:lnTo>
                        <a:pt x="1018" y="69"/>
                      </a:lnTo>
                      <a:lnTo>
                        <a:pt x="1017" y="69"/>
                      </a:lnTo>
                      <a:lnTo>
                        <a:pt x="1016" y="69"/>
                      </a:lnTo>
                      <a:lnTo>
                        <a:pt x="1015" y="69"/>
                      </a:lnTo>
                      <a:lnTo>
                        <a:pt x="1015" y="68"/>
                      </a:lnTo>
                      <a:lnTo>
                        <a:pt x="1014" y="69"/>
                      </a:lnTo>
                      <a:lnTo>
                        <a:pt x="1014" y="70"/>
                      </a:lnTo>
                      <a:lnTo>
                        <a:pt x="1014" y="71"/>
                      </a:lnTo>
                      <a:lnTo>
                        <a:pt x="1014" y="73"/>
                      </a:lnTo>
                      <a:lnTo>
                        <a:pt x="1015" y="73"/>
                      </a:lnTo>
                      <a:lnTo>
                        <a:pt x="1015" y="71"/>
                      </a:lnTo>
                      <a:lnTo>
                        <a:pt x="1016" y="71"/>
                      </a:lnTo>
                      <a:lnTo>
                        <a:pt x="1017" y="71"/>
                      </a:lnTo>
                      <a:lnTo>
                        <a:pt x="1018" y="71"/>
                      </a:lnTo>
                      <a:lnTo>
                        <a:pt x="1019" y="70"/>
                      </a:lnTo>
                      <a:lnTo>
                        <a:pt x="1019" y="71"/>
                      </a:lnTo>
                      <a:lnTo>
                        <a:pt x="1019" y="73"/>
                      </a:lnTo>
                      <a:lnTo>
                        <a:pt x="1019" y="74"/>
                      </a:lnTo>
                      <a:lnTo>
                        <a:pt x="1019" y="75"/>
                      </a:lnTo>
                      <a:lnTo>
                        <a:pt x="1019" y="76"/>
                      </a:lnTo>
                      <a:lnTo>
                        <a:pt x="1019" y="77"/>
                      </a:lnTo>
                      <a:lnTo>
                        <a:pt x="1018" y="78"/>
                      </a:lnTo>
                      <a:lnTo>
                        <a:pt x="1018" y="79"/>
                      </a:lnTo>
                      <a:lnTo>
                        <a:pt x="1019" y="79"/>
                      </a:lnTo>
                      <a:lnTo>
                        <a:pt x="1019" y="80"/>
                      </a:lnTo>
                      <a:lnTo>
                        <a:pt x="1019" y="79"/>
                      </a:lnTo>
                      <a:lnTo>
                        <a:pt x="1020" y="79"/>
                      </a:lnTo>
                      <a:lnTo>
                        <a:pt x="1022" y="78"/>
                      </a:lnTo>
                      <a:lnTo>
                        <a:pt x="1024" y="79"/>
                      </a:lnTo>
                      <a:lnTo>
                        <a:pt x="1024" y="80"/>
                      </a:lnTo>
                      <a:lnTo>
                        <a:pt x="1022" y="80"/>
                      </a:lnTo>
                      <a:lnTo>
                        <a:pt x="1022" y="81"/>
                      </a:lnTo>
                      <a:lnTo>
                        <a:pt x="1021" y="81"/>
                      </a:lnTo>
                      <a:lnTo>
                        <a:pt x="1020" y="81"/>
                      </a:lnTo>
                      <a:lnTo>
                        <a:pt x="1020" y="80"/>
                      </a:lnTo>
                      <a:lnTo>
                        <a:pt x="1019" y="80"/>
                      </a:lnTo>
                      <a:lnTo>
                        <a:pt x="1018" y="81"/>
                      </a:lnTo>
                      <a:lnTo>
                        <a:pt x="1019" y="81"/>
                      </a:lnTo>
                      <a:lnTo>
                        <a:pt x="1019" y="82"/>
                      </a:lnTo>
                      <a:lnTo>
                        <a:pt x="1020" y="82"/>
                      </a:lnTo>
                      <a:lnTo>
                        <a:pt x="1020" y="83"/>
                      </a:lnTo>
                      <a:lnTo>
                        <a:pt x="1022" y="84"/>
                      </a:lnTo>
                      <a:lnTo>
                        <a:pt x="1024" y="86"/>
                      </a:lnTo>
                      <a:lnTo>
                        <a:pt x="1024" y="87"/>
                      </a:lnTo>
                      <a:lnTo>
                        <a:pt x="1024" y="88"/>
                      </a:lnTo>
                      <a:lnTo>
                        <a:pt x="1022" y="87"/>
                      </a:lnTo>
                      <a:lnTo>
                        <a:pt x="1021" y="87"/>
                      </a:lnTo>
                      <a:lnTo>
                        <a:pt x="1020" y="87"/>
                      </a:lnTo>
                      <a:lnTo>
                        <a:pt x="1020" y="88"/>
                      </a:lnTo>
                      <a:lnTo>
                        <a:pt x="1020" y="89"/>
                      </a:lnTo>
                      <a:lnTo>
                        <a:pt x="1021" y="90"/>
                      </a:lnTo>
                      <a:lnTo>
                        <a:pt x="1022" y="91"/>
                      </a:lnTo>
                      <a:lnTo>
                        <a:pt x="1024" y="91"/>
                      </a:lnTo>
                      <a:lnTo>
                        <a:pt x="1025" y="90"/>
                      </a:lnTo>
                      <a:lnTo>
                        <a:pt x="1025" y="91"/>
                      </a:lnTo>
                      <a:lnTo>
                        <a:pt x="1026" y="92"/>
                      </a:lnTo>
                      <a:lnTo>
                        <a:pt x="1026" y="93"/>
                      </a:lnTo>
                      <a:lnTo>
                        <a:pt x="1026" y="94"/>
                      </a:lnTo>
                      <a:lnTo>
                        <a:pt x="1027" y="93"/>
                      </a:lnTo>
                      <a:lnTo>
                        <a:pt x="1028" y="93"/>
                      </a:lnTo>
                      <a:lnTo>
                        <a:pt x="1028" y="94"/>
                      </a:lnTo>
                      <a:lnTo>
                        <a:pt x="1028" y="95"/>
                      </a:lnTo>
                      <a:lnTo>
                        <a:pt x="1027" y="95"/>
                      </a:lnTo>
                      <a:lnTo>
                        <a:pt x="1026" y="95"/>
                      </a:lnTo>
                      <a:lnTo>
                        <a:pt x="1025" y="95"/>
                      </a:lnTo>
                      <a:lnTo>
                        <a:pt x="1025" y="94"/>
                      </a:lnTo>
                      <a:lnTo>
                        <a:pt x="1024" y="94"/>
                      </a:lnTo>
                      <a:lnTo>
                        <a:pt x="1022" y="94"/>
                      </a:lnTo>
                      <a:lnTo>
                        <a:pt x="1022" y="95"/>
                      </a:lnTo>
                      <a:lnTo>
                        <a:pt x="1024" y="95"/>
                      </a:lnTo>
                      <a:lnTo>
                        <a:pt x="1024" y="96"/>
                      </a:lnTo>
                      <a:lnTo>
                        <a:pt x="1025" y="97"/>
                      </a:lnTo>
                      <a:lnTo>
                        <a:pt x="1025" y="99"/>
                      </a:lnTo>
                      <a:lnTo>
                        <a:pt x="1026" y="99"/>
                      </a:lnTo>
                      <a:lnTo>
                        <a:pt x="1027" y="99"/>
                      </a:lnTo>
                      <a:lnTo>
                        <a:pt x="1027" y="100"/>
                      </a:lnTo>
                      <a:lnTo>
                        <a:pt x="1027" y="101"/>
                      </a:lnTo>
                      <a:lnTo>
                        <a:pt x="1027" y="102"/>
                      </a:lnTo>
                      <a:lnTo>
                        <a:pt x="1028" y="103"/>
                      </a:lnTo>
                      <a:lnTo>
                        <a:pt x="1028" y="104"/>
                      </a:lnTo>
                      <a:lnTo>
                        <a:pt x="1028" y="105"/>
                      </a:lnTo>
                      <a:lnTo>
                        <a:pt x="1028" y="106"/>
                      </a:lnTo>
                      <a:lnTo>
                        <a:pt x="1028" y="107"/>
                      </a:lnTo>
                      <a:lnTo>
                        <a:pt x="1028" y="108"/>
                      </a:lnTo>
                      <a:lnTo>
                        <a:pt x="1029" y="108"/>
                      </a:lnTo>
                      <a:lnTo>
                        <a:pt x="1029" y="107"/>
                      </a:lnTo>
                      <a:lnTo>
                        <a:pt x="1030" y="107"/>
                      </a:lnTo>
                      <a:lnTo>
                        <a:pt x="1032" y="106"/>
                      </a:lnTo>
                      <a:lnTo>
                        <a:pt x="1033" y="106"/>
                      </a:lnTo>
                      <a:lnTo>
                        <a:pt x="1034" y="106"/>
                      </a:lnTo>
                      <a:lnTo>
                        <a:pt x="1035" y="106"/>
                      </a:lnTo>
                      <a:lnTo>
                        <a:pt x="1037" y="106"/>
                      </a:lnTo>
                      <a:lnTo>
                        <a:pt x="1037" y="107"/>
                      </a:lnTo>
                      <a:lnTo>
                        <a:pt x="1037" y="108"/>
                      </a:lnTo>
                      <a:lnTo>
                        <a:pt x="1035" y="108"/>
                      </a:lnTo>
                      <a:lnTo>
                        <a:pt x="1035" y="109"/>
                      </a:lnTo>
                      <a:lnTo>
                        <a:pt x="1037" y="110"/>
                      </a:lnTo>
                      <a:lnTo>
                        <a:pt x="1038" y="109"/>
                      </a:lnTo>
                      <a:lnTo>
                        <a:pt x="1038" y="108"/>
                      </a:lnTo>
                      <a:lnTo>
                        <a:pt x="1038" y="107"/>
                      </a:lnTo>
                      <a:lnTo>
                        <a:pt x="1038" y="106"/>
                      </a:lnTo>
                      <a:lnTo>
                        <a:pt x="1039" y="106"/>
                      </a:lnTo>
                      <a:lnTo>
                        <a:pt x="1040" y="106"/>
                      </a:lnTo>
                      <a:lnTo>
                        <a:pt x="1041" y="106"/>
                      </a:lnTo>
                      <a:lnTo>
                        <a:pt x="1041" y="107"/>
                      </a:lnTo>
                      <a:lnTo>
                        <a:pt x="1041" y="108"/>
                      </a:lnTo>
                      <a:lnTo>
                        <a:pt x="1040" y="108"/>
                      </a:lnTo>
                      <a:lnTo>
                        <a:pt x="1040" y="109"/>
                      </a:lnTo>
                      <a:lnTo>
                        <a:pt x="1039" y="109"/>
                      </a:lnTo>
                      <a:lnTo>
                        <a:pt x="1039" y="110"/>
                      </a:lnTo>
                      <a:lnTo>
                        <a:pt x="1038" y="112"/>
                      </a:lnTo>
                      <a:lnTo>
                        <a:pt x="1037" y="112"/>
                      </a:lnTo>
                      <a:lnTo>
                        <a:pt x="1035" y="112"/>
                      </a:lnTo>
                      <a:lnTo>
                        <a:pt x="1034" y="112"/>
                      </a:lnTo>
                      <a:lnTo>
                        <a:pt x="1033" y="112"/>
                      </a:lnTo>
                      <a:lnTo>
                        <a:pt x="1032" y="110"/>
                      </a:lnTo>
                      <a:lnTo>
                        <a:pt x="1031" y="110"/>
                      </a:lnTo>
                      <a:lnTo>
                        <a:pt x="1030" y="112"/>
                      </a:lnTo>
                      <a:lnTo>
                        <a:pt x="1030" y="113"/>
                      </a:lnTo>
                      <a:lnTo>
                        <a:pt x="1030" y="114"/>
                      </a:lnTo>
                      <a:lnTo>
                        <a:pt x="1030" y="115"/>
                      </a:lnTo>
                      <a:lnTo>
                        <a:pt x="1031" y="115"/>
                      </a:lnTo>
                      <a:lnTo>
                        <a:pt x="1032" y="115"/>
                      </a:lnTo>
                      <a:lnTo>
                        <a:pt x="1033" y="115"/>
                      </a:lnTo>
                      <a:lnTo>
                        <a:pt x="1034" y="115"/>
                      </a:lnTo>
                      <a:lnTo>
                        <a:pt x="1035" y="115"/>
                      </a:lnTo>
                      <a:lnTo>
                        <a:pt x="1035" y="116"/>
                      </a:lnTo>
                      <a:lnTo>
                        <a:pt x="1037" y="117"/>
                      </a:lnTo>
                      <a:lnTo>
                        <a:pt x="1038" y="118"/>
                      </a:lnTo>
                      <a:lnTo>
                        <a:pt x="1038" y="119"/>
                      </a:lnTo>
                      <a:lnTo>
                        <a:pt x="1038" y="120"/>
                      </a:lnTo>
                      <a:lnTo>
                        <a:pt x="1038" y="121"/>
                      </a:lnTo>
                      <a:lnTo>
                        <a:pt x="1037" y="121"/>
                      </a:lnTo>
                      <a:lnTo>
                        <a:pt x="1035" y="121"/>
                      </a:lnTo>
                      <a:lnTo>
                        <a:pt x="1034" y="120"/>
                      </a:lnTo>
                      <a:lnTo>
                        <a:pt x="1033" y="121"/>
                      </a:lnTo>
                      <a:lnTo>
                        <a:pt x="1032" y="121"/>
                      </a:lnTo>
                      <a:lnTo>
                        <a:pt x="1032" y="120"/>
                      </a:lnTo>
                      <a:lnTo>
                        <a:pt x="1031" y="119"/>
                      </a:lnTo>
                      <a:lnTo>
                        <a:pt x="1030" y="119"/>
                      </a:lnTo>
                      <a:lnTo>
                        <a:pt x="1030" y="120"/>
                      </a:lnTo>
                      <a:lnTo>
                        <a:pt x="1031" y="121"/>
                      </a:lnTo>
                      <a:lnTo>
                        <a:pt x="1032" y="121"/>
                      </a:lnTo>
                      <a:lnTo>
                        <a:pt x="1032" y="122"/>
                      </a:lnTo>
                      <a:lnTo>
                        <a:pt x="1033" y="122"/>
                      </a:lnTo>
                      <a:lnTo>
                        <a:pt x="1034" y="122"/>
                      </a:lnTo>
                      <a:lnTo>
                        <a:pt x="1037" y="123"/>
                      </a:lnTo>
                      <a:lnTo>
                        <a:pt x="1038" y="123"/>
                      </a:lnTo>
                      <a:lnTo>
                        <a:pt x="1039" y="123"/>
                      </a:lnTo>
                      <a:lnTo>
                        <a:pt x="1040" y="125"/>
                      </a:lnTo>
                      <a:lnTo>
                        <a:pt x="1041" y="125"/>
                      </a:lnTo>
                      <a:lnTo>
                        <a:pt x="1042" y="125"/>
                      </a:lnTo>
                      <a:lnTo>
                        <a:pt x="1043" y="125"/>
                      </a:lnTo>
                      <a:lnTo>
                        <a:pt x="1044" y="123"/>
                      </a:lnTo>
                      <a:lnTo>
                        <a:pt x="1045" y="125"/>
                      </a:lnTo>
                      <a:lnTo>
                        <a:pt x="1045" y="126"/>
                      </a:lnTo>
                      <a:lnTo>
                        <a:pt x="1046" y="126"/>
                      </a:lnTo>
                      <a:lnTo>
                        <a:pt x="1046" y="127"/>
                      </a:lnTo>
                      <a:lnTo>
                        <a:pt x="1046" y="128"/>
                      </a:lnTo>
                      <a:lnTo>
                        <a:pt x="1047" y="128"/>
                      </a:lnTo>
                      <a:lnTo>
                        <a:pt x="1048" y="128"/>
                      </a:lnTo>
                      <a:lnTo>
                        <a:pt x="1048" y="129"/>
                      </a:lnTo>
                      <a:lnTo>
                        <a:pt x="1048" y="130"/>
                      </a:lnTo>
                      <a:lnTo>
                        <a:pt x="1047" y="130"/>
                      </a:lnTo>
                      <a:lnTo>
                        <a:pt x="1046" y="131"/>
                      </a:lnTo>
                      <a:lnTo>
                        <a:pt x="1046" y="132"/>
                      </a:lnTo>
                      <a:lnTo>
                        <a:pt x="1047" y="132"/>
                      </a:lnTo>
                      <a:lnTo>
                        <a:pt x="1048" y="132"/>
                      </a:lnTo>
                      <a:lnTo>
                        <a:pt x="1048" y="133"/>
                      </a:lnTo>
                      <a:lnTo>
                        <a:pt x="1048" y="134"/>
                      </a:lnTo>
                      <a:lnTo>
                        <a:pt x="1050" y="134"/>
                      </a:lnTo>
                      <a:lnTo>
                        <a:pt x="1051" y="134"/>
                      </a:lnTo>
                      <a:lnTo>
                        <a:pt x="1052" y="134"/>
                      </a:lnTo>
                      <a:lnTo>
                        <a:pt x="1052" y="135"/>
                      </a:lnTo>
                      <a:lnTo>
                        <a:pt x="1051" y="135"/>
                      </a:lnTo>
                      <a:lnTo>
                        <a:pt x="1051" y="136"/>
                      </a:lnTo>
                      <a:lnTo>
                        <a:pt x="1050" y="136"/>
                      </a:lnTo>
                      <a:lnTo>
                        <a:pt x="1050" y="138"/>
                      </a:lnTo>
                      <a:lnTo>
                        <a:pt x="1051" y="138"/>
                      </a:lnTo>
                      <a:lnTo>
                        <a:pt x="1051" y="139"/>
                      </a:lnTo>
                      <a:lnTo>
                        <a:pt x="1051" y="140"/>
                      </a:lnTo>
                      <a:lnTo>
                        <a:pt x="1051" y="141"/>
                      </a:lnTo>
                      <a:lnTo>
                        <a:pt x="1050" y="141"/>
                      </a:lnTo>
                      <a:lnTo>
                        <a:pt x="1048" y="141"/>
                      </a:lnTo>
                      <a:lnTo>
                        <a:pt x="1050" y="141"/>
                      </a:lnTo>
                      <a:lnTo>
                        <a:pt x="1050" y="142"/>
                      </a:lnTo>
                      <a:lnTo>
                        <a:pt x="1051" y="142"/>
                      </a:lnTo>
                      <a:lnTo>
                        <a:pt x="1052" y="142"/>
                      </a:lnTo>
                      <a:lnTo>
                        <a:pt x="1052" y="143"/>
                      </a:lnTo>
                      <a:lnTo>
                        <a:pt x="1052" y="144"/>
                      </a:lnTo>
                      <a:lnTo>
                        <a:pt x="1052" y="145"/>
                      </a:lnTo>
                      <a:lnTo>
                        <a:pt x="1052" y="146"/>
                      </a:lnTo>
                      <a:lnTo>
                        <a:pt x="1053" y="146"/>
                      </a:lnTo>
                      <a:lnTo>
                        <a:pt x="1054" y="145"/>
                      </a:lnTo>
                      <a:lnTo>
                        <a:pt x="1055" y="144"/>
                      </a:lnTo>
                      <a:lnTo>
                        <a:pt x="1056" y="144"/>
                      </a:lnTo>
                      <a:lnTo>
                        <a:pt x="1056" y="145"/>
                      </a:lnTo>
                      <a:lnTo>
                        <a:pt x="1057" y="145"/>
                      </a:lnTo>
                      <a:lnTo>
                        <a:pt x="1057" y="144"/>
                      </a:lnTo>
                      <a:lnTo>
                        <a:pt x="1057" y="143"/>
                      </a:lnTo>
                      <a:lnTo>
                        <a:pt x="1058" y="142"/>
                      </a:lnTo>
                      <a:lnTo>
                        <a:pt x="1058" y="143"/>
                      </a:lnTo>
                      <a:lnTo>
                        <a:pt x="1058" y="144"/>
                      </a:lnTo>
                      <a:lnTo>
                        <a:pt x="1057" y="145"/>
                      </a:lnTo>
                      <a:lnTo>
                        <a:pt x="1058" y="145"/>
                      </a:lnTo>
                      <a:lnTo>
                        <a:pt x="1058" y="146"/>
                      </a:lnTo>
                      <a:lnTo>
                        <a:pt x="1057" y="146"/>
                      </a:lnTo>
                      <a:lnTo>
                        <a:pt x="1057" y="147"/>
                      </a:lnTo>
                      <a:lnTo>
                        <a:pt x="1056" y="147"/>
                      </a:lnTo>
                      <a:lnTo>
                        <a:pt x="1057" y="147"/>
                      </a:lnTo>
                      <a:lnTo>
                        <a:pt x="1057" y="148"/>
                      </a:lnTo>
                      <a:lnTo>
                        <a:pt x="1058" y="148"/>
                      </a:lnTo>
                      <a:lnTo>
                        <a:pt x="1058" y="150"/>
                      </a:lnTo>
                      <a:lnTo>
                        <a:pt x="1059" y="150"/>
                      </a:lnTo>
                      <a:lnTo>
                        <a:pt x="1059" y="148"/>
                      </a:lnTo>
                      <a:lnTo>
                        <a:pt x="1060" y="148"/>
                      </a:lnTo>
                      <a:lnTo>
                        <a:pt x="1060" y="150"/>
                      </a:lnTo>
                      <a:lnTo>
                        <a:pt x="1059" y="151"/>
                      </a:lnTo>
                      <a:lnTo>
                        <a:pt x="1058" y="151"/>
                      </a:lnTo>
                      <a:lnTo>
                        <a:pt x="1058" y="152"/>
                      </a:lnTo>
                      <a:lnTo>
                        <a:pt x="1059" y="152"/>
                      </a:lnTo>
                      <a:lnTo>
                        <a:pt x="1060" y="152"/>
                      </a:lnTo>
                      <a:lnTo>
                        <a:pt x="1060" y="151"/>
                      </a:lnTo>
                      <a:lnTo>
                        <a:pt x="1061" y="151"/>
                      </a:lnTo>
                      <a:lnTo>
                        <a:pt x="1061" y="152"/>
                      </a:lnTo>
                      <a:lnTo>
                        <a:pt x="1060" y="153"/>
                      </a:lnTo>
                      <a:lnTo>
                        <a:pt x="1061" y="154"/>
                      </a:lnTo>
                      <a:lnTo>
                        <a:pt x="1061" y="155"/>
                      </a:lnTo>
                      <a:lnTo>
                        <a:pt x="1060" y="155"/>
                      </a:lnTo>
                      <a:lnTo>
                        <a:pt x="1059" y="154"/>
                      </a:lnTo>
                      <a:lnTo>
                        <a:pt x="1058" y="155"/>
                      </a:lnTo>
                      <a:lnTo>
                        <a:pt x="1058" y="156"/>
                      </a:lnTo>
                      <a:lnTo>
                        <a:pt x="1059" y="156"/>
                      </a:lnTo>
                      <a:lnTo>
                        <a:pt x="1060" y="156"/>
                      </a:lnTo>
                      <a:lnTo>
                        <a:pt x="1061" y="156"/>
                      </a:lnTo>
                      <a:lnTo>
                        <a:pt x="1061" y="155"/>
                      </a:lnTo>
                      <a:lnTo>
                        <a:pt x="1063" y="155"/>
                      </a:lnTo>
                      <a:lnTo>
                        <a:pt x="1063" y="154"/>
                      </a:lnTo>
                      <a:lnTo>
                        <a:pt x="1064" y="154"/>
                      </a:lnTo>
                      <a:lnTo>
                        <a:pt x="1064" y="155"/>
                      </a:lnTo>
                      <a:lnTo>
                        <a:pt x="1065" y="155"/>
                      </a:lnTo>
                      <a:lnTo>
                        <a:pt x="1065" y="154"/>
                      </a:lnTo>
                      <a:lnTo>
                        <a:pt x="1066" y="154"/>
                      </a:lnTo>
                      <a:lnTo>
                        <a:pt x="1065" y="155"/>
                      </a:lnTo>
                      <a:lnTo>
                        <a:pt x="1065" y="156"/>
                      </a:lnTo>
                      <a:lnTo>
                        <a:pt x="1066" y="156"/>
                      </a:lnTo>
                      <a:lnTo>
                        <a:pt x="1066" y="157"/>
                      </a:lnTo>
                      <a:lnTo>
                        <a:pt x="1067" y="157"/>
                      </a:lnTo>
                      <a:lnTo>
                        <a:pt x="1067" y="156"/>
                      </a:lnTo>
                      <a:lnTo>
                        <a:pt x="1068" y="157"/>
                      </a:lnTo>
                      <a:lnTo>
                        <a:pt x="1067" y="157"/>
                      </a:lnTo>
                      <a:lnTo>
                        <a:pt x="1068" y="157"/>
                      </a:lnTo>
                      <a:lnTo>
                        <a:pt x="1068" y="158"/>
                      </a:lnTo>
                      <a:lnTo>
                        <a:pt x="1067" y="158"/>
                      </a:lnTo>
                      <a:lnTo>
                        <a:pt x="1068" y="158"/>
                      </a:lnTo>
                      <a:lnTo>
                        <a:pt x="1068" y="159"/>
                      </a:lnTo>
                      <a:lnTo>
                        <a:pt x="1067" y="159"/>
                      </a:lnTo>
                      <a:lnTo>
                        <a:pt x="1066" y="159"/>
                      </a:lnTo>
                      <a:lnTo>
                        <a:pt x="1065" y="159"/>
                      </a:lnTo>
                      <a:lnTo>
                        <a:pt x="1065" y="160"/>
                      </a:lnTo>
                      <a:lnTo>
                        <a:pt x="1066" y="161"/>
                      </a:lnTo>
                      <a:lnTo>
                        <a:pt x="1067" y="161"/>
                      </a:lnTo>
                      <a:lnTo>
                        <a:pt x="1067" y="160"/>
                      </a:lnTo>
                      <a:lnTo>
                        <a:pt x="1068" y="160"/>
                      </a:lnTo>
                      <a:lnTo>
                        <a:pt x="1068" y="159"/>
                      </a:lnTo>
                      <a:lnTo>
                        <a:pt x="1069" y="159"/>
                      </a:lnTo>
                      <a:lnTo>
                        <a:pt x="1070" y="158"/>
                      </a:lnTo>
                      <a:lnTo>
                        <a:pt x="1070" y="159"/>
                      </a:lnTo>
                      <a:lnTo>
                        <a:pt x="1070" y="158"/>
                      </a:lnTo>
                      <a:lnTo>
                        <a:pt x="1070" y="159"/>
                      </a:lnTo>
                      <a:lnTo>
                        <a:pt x="1071" y="159"/>
                      </a:lnTo>
                      <a:lnTo>
                        <a:pt x="1072" y="159"/>
                      </a:lnTo>
                      <a:lnTo>
                        <a:pt x="1073" y="159"/>
                      </a:lnTo>
                      <a:lnTo>
                        <a:pt x="1073" y="158"/>
                      </a:lnTo>
                      <a:lnTo>
                        <a:pt x="1073" y="159"/>
                      </a:lnTo>
                      <a:lnTo>
                        <a:pt x="1073" y="160"/>
                      </a:lnTo>
                      <a:lnTo>
                        <a:pt x="1073" y="161"/>
                      </a:lnTo>
                      <a:lnTo>
                        <a:pt x="1073" y="160"/>
                      </a:lnTo>
                      <a:lnTo>
                        <a:pt x="1074" y="161"/>
                      </a:lnTo>
                      <a:lnTo>
                        <a:pt x="1076" y="161"/>
                      </a:lnTo>
                      <a:lnTo>
                        <a:pt x="1076" y="163"/>
                      </a:lnTo>
                      <a:lnTo>
                        <a:pt x="1077" y="163"/>
                      </a:lnTo>
                      <a:lnTo>
                        <a:pt x="1077" y="161"/>
                      </a:lnTo>
                      <a:lnTo>
                        <a:pt x="1078" y="161"/>
                      </a:lnTo>
                      <a:lnTo>
                        <a:pt x="1078" y="160"/>
                      </a:lnTo>
                      <a:lnTo>
                        <a:pt x="1079" y="161"/>
                      </a:lnTo>
                      <a:lnTo>
                        <a:pt x="1079" y="163"/>
                      </a:lnTo>
                      <a:lnTo>
                        <a:pt x="1080" y="163"/>
                      </a:lnTo>
                      <a:lnTo>
                        <a:pt x="1080" y="164"/>
                      </a:lnTo>
                      <a:lnTo>
                        <a:pt x="1081" y="164"/>
                      </a:lnTo>
                      <a:lnTo>
                        <a:pt x="1081" y="165"/>
                      </a:lnTo>
                      <a:lnTo>
                        <a:pt x="1080" y="167"/>
                      </a:lnTo>
                      <a:lnTo>
                        <a:pt x="1079" y="168"/>
                      </a:lnTo>
                      <a:lnTo>
                        <a:pt x="1080" y="169"/>
                      </a:lnTo>
                      <a:lnTo>
                        <a:pt x="1081" y="168"/>
                      </a:lnTo>
                      <a:lnTo>
                        <a:pt x="1082" y="168"/>
                      </a:lnTo>
                      <a:lnTo>
                        <a:pt x="1082" y="169"/>
                      </a:lnTo>
                      <a:lnTo>
                        <a:pt x="1083" y="169"/>
                      </a:lnTo>
                      <a:lnTo>
                        <a:pt x="1083" y="170"/>
                      </a:lnTo>
                      <a:lnTo>
                        <a:pt x="1084" y="171"/>
                      </a:lnTo>
                      <a:lnTo>
                        <a:pt x="1085" y="171"/>
                      </a:lnTo>
                      <a:lnTo>
                        <a:pt x="1086" y="171"/>
                      </a:lnTo>
                      <a:lnTo>
                        <a:pt x="1087" y="171"/>
                      </a:lnTo>
                      <a:lnTo>
                        <a:pt x="1087" y="172"/>
                      </a:lnTo>
                      <a:lnTo>
                        <a:pt x="1089" y="172"/>
                      </a:lnTo>
                      <a:lnTo>
                        <a:pt x="1089" y="173"/>
                      </a:lnTo>
                      <a:lnTo>
                        <a:pt x="1089" y="174"/>
                      </a:lnTo>
                      <a:lnTo>
                        <a:pt x="1089" y="176"/>
                      </a:lnTo>
                      <a:lnTo>
                        <a:pt x="1090" y="174"/>
                      </a:lnTo>
                      <a:lnTo>
                        <a:pt x="1090" y="176"/>
                      </a:lnTo>
                      <a:lnTo>
                        <a:pt x="1091" y="176"/>
                      </a:lnTo>
                      <a:lnTo>
                        <a:pt x="1091" y="177"/>
                      </a:lnTo>
                      <a:lnTo>
                        <a:pt x="1091" y="179"/>
                      </a:lnTo>
                      <a:lnTo>
                        <a:pt x="1091" y="180"/>
                      </a:lnTo>
                      <a:lnTo>
                        <a:pt x="1090" y="180"/>
                      </a:lnTo>
                      <a:lnTo>
                        <a:pt x="1090" y="181"/>
                      </a:lnTo>
                      <a:lnTo>
                        <a:pt x="1091" y="181"/>
                      </a:lnTo>
                      <a:lnTo>
                        <a:pt x="1092" y="181"/>
                      </a:lnTo>
                      <a:lnTo>
                        <a:pt x="1093" y="181"/>
                      </a:lnTo>
                      <a:lnTo>
                        <a:pt x="1093" y="180"/>
                      </a:lnTo>
                      <a:lnTo>
                        <a:pt x="1094" y="181"/>
                      </a:lnTo>
                      <a:lnTo>
                        <a:pt x="1095" y="182"/>
                      </a:lnTo>
                      <a:lnTo>
                        <a:pt x="1096" y="182"/>
                      </a:lnTo>
                      <a:lnTo>
                        <a:pt x="1097" y="182"/>
                      </a:lnTo>
                      <a:lnTo>
                        <a:pt x="1097" y="183"/>
                      </a:lnTo>
                      <a:lnTo>
                        <a:pt x="1098" y="184"/>
                      </a:lnTo>
                      <a:lnTo>
                        <a:pt x="1099" y="184"/>
                      </a:lnTo>
                      <a:close/>
                      <a:moveTo>
                        <a:pt x="1197" y="380"/>
                      </a:moveTo>
                      <a:lnTo>
                        <a:pt x="1197" y="382"/>
                      </a:lnTo>
                      <a:lnTo>
                        <a:pt x="1197" y="385"/>
                      </a:lnTo>
                      <a:lnTo>
                        <a:pt x="1194" y="383"/>
                      </a:lnTo>
                      <a:lnTo>
                        <a:pt x="1194" y="382"/>
                      </a:lnTo>
                      <a:lnTo>
                        <a:pt x="1193" y="382"/>
                      </a:lnTo>
                      <a:lnTo>
                        <a:pt x="1190" y="382"/>
                      </a:lnTo>
                      <a:lnTo>
                        <a:pt x="1182" y="383"/>
                      </a:lnTo>
                      <a:lnTo>
                        <a:pt x="1180" y="384"/>
                      </a:lnTo>
                      <a:lnTo>
                        <a:pt x="1174" y="387"/>
                      </a:lnTo>
                      <a:lnTo>
                        <a:pt x="1172" y="389"/>
                      </a:lnTo>
                      <a:lnTo>
                        <a:pt x="1171" y="391"/>
                      </a:lnTo>
                      <a:lnTo>
                        <a:pt x="1171" y="392"/>
                      </a:lnTo>
                      <a:lnTo>
                        <a:pt x="1171" y="395"/>
                      </a:lnTo>
                      <a:lnTo>
                        <a:pt x="1171" y="396"/>
                      </a:lnTo>
                      <a:lnTo>
                        <a:pt x="1172" y="397"/>
                      </a:lnTo>
                      <a:lnTo>
                        <a:pt x="1171" y="398"/>
                      </a:lnTo>
                      <a:lnTo>
                        <a:pt x="1170" y="399"/>
                      </a:lnTo>
                      <a:lnTo>
                        <a:pt x="1168" y="400"/>
                      </a:lnTo>
                      <a:lnTo>
                        <a:pt x="1166" y="402"/>
                      </a:lnTo>
                      <a:lnTo>
                        <a:pt x="1164" y="402"/>
                      </a:lnTo>
                      <a:lnTo>
                        <a:pt x="1163" y="403"/>
                      </a:lnTo>
                      <a:lnTo>
                        <a:pt x="1162" y="403"/>
                      </a:lnTo>
                      <a:lnTo>
                        <a:pt x="1161" y="403"/>
                      </a:lnTo>
                      <a:lnTo>
                        <a:pt x="1160" y="403"/>
                      </a:lnTo>
                      <a:lnTo>
                        <a:pt x="1158" y="404"/>
                      </a:lnTo>
                      <a:lnTo>
                        <a:pt x="1156" y="402"/>
                      </a:lnTo>
                      <a:lnTo>
                        <a:pt x="1155" y="401"/>
                      </a:lnTo>
                      <a:lnTo>
                        <a:pt x="1154" y="401"/>
                      </a:lnTo>
                      <a:lnTo>
                        <a:pt x="1151" y="401"/>
                      </a:lnTo>
                      <a:lnTo>
                        <a:pt x="1148" y="400"/>
                      </a:lnTo>
                      <a:lnTo>
                        <a:pt x="1147" y="400"/>
                      </a:lnTo>
                      <a:lnTo>
                        <a:pt x="1146" y="400"/>
                      </a:lnTo>
                      <a:lnTo>
                        <a:pt x="1146" y="399"/>
                      </a:lnTo>
                      <a:lnTo>
                        <a:pt x="1141" y="399"/>
                      </a:lnTo>
                      <a:lnTo>
                        <a:pt x="1141" y="398"/>
                      </a:lnTo>
                      <a:lnTo>
                        <a:pt x="1141" y="397"/>
                      </a:lnTo>
                      <a:lnTo>
                        <a:pt x="1141" y="396"/>
                      </a:lnTo>
                      <a:lnTo>
                        <a:pt x="1142" y="395"/>
                      </a:lnTo>
                      <a:lnTo>
                        <a:pt x="1142" y="396"/>
                      </a:lnTo>
                      <a:lnTo>
                        <a:pt x="1143" y="396"/>
                      </a:lnTo>
                      <a:lnTo>
                        <a:pt x="1144" y="396"/>
                      </a:lnTo>
                      <a:lnTo>
                        <a:pt x="1145" y="396"/>
                      </a:lnTo>
                      <a:lnTo>
                        <a:pt x="1146" y="396"/>
                      </a:lnTo>
                      <a:lnTo>
                        <a:pt x="1147" y="397"/>
                      </a:lnTo>
                      <a:lnTo>
                        <a:pt x="1148" y="398"/>
                      </a:lnTo>
                      <a:lnTo>
                        <a:pt x="1149" y="398"/>
                      </a:lnTo>
                      <a:lnTo>
                        <a:pt x="1151" y="398"/>
                      </a:lnTo>
                      <a:lnTo>
                        <a:pt x="1153" y="398"/>
                      </a:lnTo>
                      <a:lnTo>
                        <a:pt x="1153" y="397"/>
                      </a:lnTo>
                      <a:lnTo>
                        <a:pt x="1154" y="396"/>
                      </a:lnTo>
                      <a:lnTo>
                        <a:pt x="1154" y="397"/>
                      </a:lnTo>
                      <a:lnTo>
                        <a:pt x="1155" y="397"/>
                      </a:lnTo>
                      <a:lnTo>
                        <a:pt x="1155" y="398"/>
                      </a:lnTo>
                      <a:lnTo>
                        <a:pt x="1156" y="398"/>
                      </a:lnTo>
                      <a:lnTo>
                        <a:pt x="1156" y="397"/>
                      </a:lnTo>
                      <a:lnTo>
                        <a:pt x="1157" y="397"/>
                      </a:lnTo>
                      <a:lnTo>
                        <a:pt x="1158" y="396"/>
                      </a:lnTo>
                      <a:lnTo>
                        <a:pt x="1159" y="395"/>
                      </a:lnTo>
                      <a:lnTo>
                        <a:pt x="1159" y="393"/>
                      </a:lnTo>
                      <a:lnTo>
                        <a:pt x="1160" y="393"/>
                      </a:lnTo>
                      <a:lnTo>
                        <a:pt x="1161" y="393"/>
                      </a:lnTo>
                      <a:lnTo>
                        <a:pt x="1162" y="393"/>
                      </a:lnTo>
                      <a:lnTo>
                        <a:pt x="1162" y="392"/>
                      </a:lnTo>
                      <a:lnTo>
                        <a:pt x="1163" y="392"/>
                      </a:lnTo>
                      <a:lnTo>
                        <a:pt x="1164" y="391"/>
                      </a:lnTo>
                      <a:lnTo>
                        <a:pt x="1166" y="391"/>
                      </a:lnTo>
                      <a:lnTo>
                        <a:pt x="1167" y="390"/>
                      </a:lnTo>
                      <a:lnTo>
                        <a:pt x="1167" y="389"/>
                      </a:lnTo>
                      <a:lnTo>
                        <a:pt x="1167" y="388"/>
                      </a:lnTo>
                      <a:lnTo>
                        <a:pt x="1167" y="387"/>
                      </a:lnTo>
                      <a:lnTo>
                        <a:pt x="1166" y="386"/>
                      </a:lnTo>
                      <a:lnTo>
                        <a:pt x="1164" y="385"/>
                      </a:lnTo>
                      <a:lnTo>
                        <a:pt x="1163" y="384"/>
                      </a:lnTo>
                      <a:lnTo>
                        <a:pt x="1162" y="384"/>
                      </a:lnTo>
                      <a:lnTo>
                        <a:pt x="1161" y="384"/>
                      </a:lnTo>
                      <a:lnTo>
                        <a:pt x="1160" y="385"/>
                      </a:lnTo>
                      <a:lnTo>
                        <a:pt x="1160" y="384"/>
                      </a:lnTo>
                      <a:lnTo>
                        <a:pt x="1161" y="383"/>
                      </a:lnTo>
                      <a:lnTo>
                        <a:pt x="1163" y="383"/>
                      </a:lnTo>
                      <a:lnTo>
                        <a:pt x="1164" y="382"/>
                      </a:lnTo>
                      <a:lnTo>
                        <a:pt x="1167" y="383"/>
                      </a:lnTo>
                      <a:lnTo>
                        <a:pt x="1170" y="384"/>
                      </a:lnTo>
                      <a:lnTo>
                        <a:pt x="1171" y="384"/>
                      </a:lnTo>
                      <a:lnTo>
                        <a:pt x="1173" y="384"/>
                      </a:lnTo>
                      <a:lnTo>
                        <a:pt x="1174" y="384"/>
                      </a:lnTo>
                      <a:lnTo>
                        <a:pt x="1176" y="383"/>
                      </a:lnTo>
                      <a:lnTo>
                        <a:pt x="1180" y="382"/>
                      </a:lnTo>
                      <a:lnTo>
                        <a:pt x="1181" y="380"/>
                      </a:lnTo>
                      <a:lnTo>
                        <a:pt x="1182" y="380"/>
                      </a:lnTo>
                      <a:lnTo>
                        <a:pt x="1183" y="379"/>
                      </a:lnTo>
                      <a:lnTo>
                        <a:pt x="1184" y="378"/>
                      </a:lnTo>
                      <a:lnTo>
                        <a:pt x="1186" y="377"/>
                      </a:lnTo>
                      <a:lnTo>
                        <a:pt x="1188" y="374"/>
                      </a:lnTo>
                      <a:lnTo>
                        <a:pt x="1189" y="373"/>
                      </a:lnTo>
                      <a:lnTo>
                        <a:pt x="1192" y="373"/>
                      </a:lnTo>
                      <a:lnTo>
                        <a:pt x="1193" y="373"/>
                      </a:lnTo>
                      <a:lnTo>
                        <a:pt x="1194" y="373"/>
                      </a:lnTo>
                      <a:lnTo>
                        <a:pt x="1196" y="374"/>
                      </a:lnTo>
                      <a:lnTo>
                        <a:pt x="1198" y="377"/>
                      </a:lnTo>
                      <a:lnTo>
                        <a:pt x="1198" y="378"/>
                      </a:lnTo>
                      <a:lnTo>
                        <a:pt x="1197" y="380"/>
                      </a:lnTo>
                      <a:close/>
                      <a:moveTo>
                        <a:pt x="1413" y="1006"/>
                      </a:moveTo>
                      <a:lnTo>
                        <a:pt x="1414" y="1006"/>
                      </a:lnTo>
                      <a:lnTo>
                        <a:pt x="1415" y="1006"/>
                      </a:lnTo>
                      <a:lnTo>
                        <a:pt x="1416" y="1006"/>
                      </a:lnTo>
                      <a:lnTo>
                        <a:pt x="1417" y="1006"/>
                      </a:lnTo>
                      <a:lnTo>
                        <a:pt x="1417" y="1007"/>
                      </a:lnTo>
                      <a:lnTo>
                        <a:pt x="1418" y="1007"/>
                      </a:lnTo>
                      <a:lnTo>
                        <a:pt x="1419" y="1008"/>
                      </a:lnTo>
                      <a:lnTo>
                        <a:pt x="1418" y="1008"/>
                      </a:lnTo>
                      <a:lnTo>
                        <a:pt x="1418" y="1007"/>
                      </a:lnTo>
                      <a:lnTo>
                        <a:pt x="1418" y="1008"/>
                      </a:lnTo>
                      <a:lnTo>
                        <a:pt x="1419" y="1008"/>
                      </a:lnTo>
                      <a:lnTo>
                        <a:pt x="1418" y="1008"/>
                      </a:lnTo>
                      <a:lnTo>
                        <a:pt x="1419" y="1008"/>
                      </a:lnTo>
                      <a:lnTo>
                        <a:pt x="1420" y="1008"/>
                      </a:lnTo>
                      <a:lnTo>
                        <a:pt x="1421" y="1009"/>
                      </a:lnTo>
                      <a:lnTo>
                        <a:pt x="1422" y="1009"/>
                      </a:lnTo>
                      <a:lnTo>
                        <a:pt x="1421" y="1011"/>
                      </a:lnTo>
                      <a:lnTo>
                        <a:pt x="1419" y="1013"/>
                      </a:lnTo>
                      <a:lnTo>
                        <a:pt x="1419" y="1014"/>
                      </a:lnTo>
                      <a:lnTo>
                        <a:pt x="1418" y="1014"/>
                      </a:lnTo>
                      <a:lnTo>
                        <a:pt x="1417" y="1015"/>
                      </a:lnTo>
                      <a:lnTo>
                        <a:pt x="1416" y="1014"/>
                      </a:lnTo>
                      <a:lnTo>
                        <a:pt x="1416" y="1013"/>
                      </a:lnTo>
                      <a:lnTo>
                        <a:pt x="1415" y="1013"/>
                      </a:lnTo>
                      <a:lnTo>
                        <a:pt x="1415" y="1012"/>
                      </a:lnTo>
                      <a:lnTo>
                        <a:pt x="1415" y="1013"/>
                      </a:lnTo>
                      <a:lnTo>
                        <a:pt x="1416" y="1014"/>
                      </a:lnTo>
                      <a:lnTo>
                        <a:pt x="1417" y="1015"/>
                      </a:lnTo>
                      <a:lnTo>
                        <a:pt x="1416" y="1015"/>
                      </a:lnTo>
                      <a:lnTo>
                        <a:pt x="1416" y="1016"/>
                      </a:lnTo>
                      <a:lnTo>
                        <a:pt x="1416" y="1017"/>
                      </a:lnTo>
                      <a:lnTo>
                        <a:pt x="1416" y="1016"/>
                      </a:lnTo>
                      <a:lnTo>
                        <a:pt x="1417" y="1016"/>
                      </a:lnTo>
                      <a:lnTo>
                        <a:pt x="1417" y="1017"/>
                      </a:lnTo>
                      <a:lnTo>
                        <a:pt x="1417" y="1018"/>
                      </a:lnTo>
                      <a:lnTo>
                        <a:pt x="1416" y="1019"/>
                      </a:lnTo>
                      <a:lnTo>
                        <a:pt x="1416" y="1020"/>
                      </a:lnTo>
                      <a:lnTo>
                        <a:pt x="1416" y="1021"/>
                      </a:lnTo>
                      <a:lnTo>
                        <a:pt x="1416" y="1022"/>
                      </a:lnTo>
                      <a:lnTo>
                        <a:pt x="1416" y="1024"/>
                      </a:lnTo>
                      <a:lnTo>
                        <a:pt x="1416" y="1025"/>
                      </a:lnTo>
                      <a:lnTo>
                        <a:pt x="1416" y="1026"/>
                      </a:lnTo>
                      <a:lnTo>
                        <a:pt x="1416" y="1027"/>
                      </a:lnTo>
                      <a:lnTo>
                        <a:pt x="1416" y="1028"/>
                      </a:lnTo>
                      <a:lnTo>
                        <a:pt x="1416" y="1029"/>
                      </a:lnTo>
                      <a:lnTo>
                        <a:pt x="1416" y="1030"/>
                      </a:lnTo>
                      <a:lnTo>
                        <a:pt x="1416" y="1031"/>
                      </a:lnTo>
                      <a:lnTo>
                        <a:pt x="1417" y="1031"/>
                      </a:lnTo>
                      <a:lnTo>
                        <a:pt x="1417" y="1032"/>
                      </a:lnTo>
                      <a:lnTo>
                        <a:pt x="1417" y="1033"/>
                      </a:lnTo>
                      <a:lnTo>
                        <a:pt x="1417" y="1034"/>
                      </a:lnTo>
                      <a:lnTo>
                        <a:pt x="1416" y="1034"/>
                      </a:lnTo>
                      <a:lnTo>
                        <a:pt x="1416" y="1035"/>
                      </a:lnTo>
                      <a:lnTo>
                        <a:pt x="1415" y="1037"/>
                      </a:lnTo>
                      <a:lnTo>
                        <a:pt x="1415" y="1038"/>
                      </a:lnTo>
                      <a:lnTo>
                        <a:pt x="1414" y="1039"/>
                      </a:lnTo>
                      <a:lnTo>
                        <a:pt x="1414" y="1038"/>
                      </a:lnTo>
                      <a:lnTo>
                        <a:pt x="1414" y="1039"/>
                      </a:lnTo>
                      <a:lnTo>
                        <a:pt x="1414" y="1038"/>
                      </a:lnTo>
                      <a:lnTo>
                        <a:pt x="1414" y="1039"/>
                      </a:lnTo>
                      <a:lnTo>
                        <a:pt x="1413" y="1039"/>
                      </a:lnTo>
                      <a:lnTo>
                        <a:pt x="1413" y="1040"/>
                      </a:lnTo>
                      <a:lnTo>
                        <a:pt x="1412" y="1040"/>
                      </a:lnTo>
                      <a:lnTo>
                        <a:pt x="1412" y="1041"/>
                      </a:lnTo>
                      <a:lnTo>
                        <a:pt x="1412" y="1042"/>
                      </a:lnTo>
                      <a:lnTo>
                        <a:pt x="1410" y="1043"/>
                      </a:lnTo>
                      <a:lnTo>
                        <a:pt x="1410" y="1044"/>
                      </a:lnTo>
                      <a:lnTo>
                        <a:pt x="1410" y="1045"/>
                      </a:lnTo>
                      <a:lnTo>
                        <a:pt x="1410" y="1046"/>
                      </a:lnTo>
                      <a:lnTo>
                        <a:pt x="1409" y="1047"/>
                      </a:lnTo>
                      <a:lnTo>
                        <a:pt x="1409" y="1046"/>
                      </a:lnTo>
                      <a:lnTo>
                        <a:pt x="1409" y="1047"/>
                      </a:lnTo>
                      <a:lnTo>
                        <a:pt x="1409" y="1048"/>
                      </a:lnTo>
                      <a:lnTo>
                        <a:pt x="1408" y="1048"/>
                      </a:lnTo>
                      <a:lnTo>
                        <a:pt x="1409" y="1048"/>
                      </a:lnTo>
                      <a:lnTo>
                        <a:pt x="1408" y="1048"/>
                      </a:lnTo>
                      <a:lnTo>
                        <a:pt x="1408" y="1050"/>
                      </a:lnTo>
                      <a:lnTo>
                        <a:pt x="1407" y="1050"/>
                      </a:lnTo>
                      <a:lnTo>
                        <a:pt x="1407" y="1051"/>
                      </a:lnTo>
                      <a:lnTo>
                        <a:pt x="1406" y="1052"/>
                      </a:lnTo>
                      <a:lnTo>
                        <a:pt x="1405" y="1052"/>
                      </a:lnTo>
                      <a:lnTo>
                        <a:pt x="1405" y="1053"/>
                      </a:lnTo>
                      <a:lnTo>
                        <a:pt x="1404" y="1053"/>
                      </a:lnTo>
                      <a:lnTo>
                        <a:pt x="1403" y="1053"/>
                      </a:lnTo>
                      <a:lnTo>
                        <a:pt x="1403" y="1054"/>
                      </a:lnTo>
                      <a:lnTo>
                        <a:pt x="1402" y="1054"/>
                      </a:lnTo>
                      <a:lnTo>
                        <a:pt x="1402" y="1055"/>
                      </a:lnTo>
                      <a:lnTo>
                        <a:pt x="1401" y="1055"/>
                      </a:lnTo>
                      <a:lnTo>
                        <a:pt x="1401" y="1056"/>
                      </a:lnTo>
                      <a:lnTo>
                        <a:pt x="1400" y="1056"/>
                      </a:lnTo>
                      <a:lnTo>
                        <a:pt x="1400" y="1057"/>
                      </a:lnTo>
                      <a:lnTo>
                        <a:pt x="1400" y="1058"/>
                      </a:lnTo>
                      <a:lnTo>
                        <a:pt x="1399" y="1058"/>
                      </a:lnTo>
                      <a:lnTo>
                        <a:pt x="1399" y="1059"/>
                      </a:lnTo>
                      <a:lnTo>
                        <a:pt x="1397" y="1060"/>
                      </a:lnTo>
                      <a:lnTo>
                        <a:pt x="1397" y="1061"/>
                      </a:lnTo>
                      <a:lnTo>
                        <a:pt x="1396" y="1061"/>
                      </a:lnTo>
                      <a:lnTo>
                        <a:pt x="1394" y="1063"/>
                      </a:lnTo>
                      <a:lnTo>
                        <a:pt x="1393" y="1063"/>
                      </a:lnTo>
                      <a:lnTo>
                        <a:pt x="1393" y="1064"/>
                      </a:lnTo>
                      <a:lnTo>
                        <a:pt x="1392" y="1064"/>
                      </a:lnTo>
                      <a:lnTo>
                        <a:pt x="1391" y="1065"/>
                      </a:lnTo>
                      <a:lnTo>
                        <a:pt x="1389" y="1065"/>
                      </a:lnTo>
                      <a:lnTo>
                        <a:pt x="1389" y="1066"/>
                      </a:lnTo>
                      <a:lnTo>
                        <a:pt x="1388" y="1066"/>
                      </a:lnTo>
                      <a:lnTo>
                        <a:pt x="1387" y="1066"/>
                      </a:lnTo>
                      <a:lnTo>
                        <a:pt x="1387" y="1067"/>
                      </a:lnTo>
                      <a:lnTo>
                        <a:pt x="1386" y="1067"/>
                      </a:lnTo>
                      <a:lnTo>
                        <a:pt x="1384" y="1067"/>
                      </a:lnTo>
                      <a:lnTo>
                        <a:pt x="1383" y="1067"/>
                      </a:lnTo>
                      <a:lnTo>
                        <a:pt x="1382" y="1068"/>
                      </a:lnTo>
                      <a:lnTo>
                        <a:pt x="1380" y="1069"/>
                      </a:lnTo>
                      <a:lnTo>
                        <a:pt x="1377" y="1070"/>
                      </a:lnTo>
                      <a:lnTo>
                        <a:pt x="1377" y="1071"/>
                      </a:lnTo>
                      <a:lnTo>
                        <a:pt x="1376" y="1071"/>
                      </a:lnTo>
                      <a:lnTo>
                        <a:pt x="1375" y="1072"/>
                      </a:lnTo>
                      <a:lnTo>
                        <a:pt x="1374" y="1072"/>
                      </a:lnTo>
                      <a:lnTo>
                        <a:pt x="1371" y="1072"/>
                      </a:lnTo>
                      <a:lnTo>
                        <a:pt x="1370" y="1073"/>
                      </a:lnTo>
                      <a:lnTo>
                        <a:pt x="1369" y="1073"/>
                      </a:lnTo>
                      <a:lnTo>
                        <a:pt x="1367" y="1073"/>
                      </a:lnTo>
                      <a:lnTo>
                        <a:pt x="1366" y="1073"/>
                      </a:lnTo>
                      <a:lnTo>
                        <a:pt x="1364" y="1073"/>
                      </a:lnTo>
                      <a:lnTo>
                        <a:pt x="1365" y="1072"/>
                      </a:lnTo>
                      <a:lnTo>
                        <a:pt x="1365" y="1071"/>
                      </a:lnTo>
                      <a:lnTo>
                        <a:pt x="1365" y="1070"/>
                      </a:lnTo>
                      <a:lnTo>
                        <a:pt x="1366" y="1069"/>
                      </a:lnTo>
                      <a:lnTo>
                        <a:pt x="1366" y="1068"/>
                      </a:lnTo>
                      <a:lnTo>
                        <a:pt x="1366" y="1067"/>
                      </a:lnTo>
                      <a:lnTo>
                        <a:pt x="1366" y="1066"/>
                      </a:lnTo>
                      <a:lnTo>
                        <a:pt x="1367" y="1065"/>
                      </a:lnTo>
                      <a:lnTo>
                        <a:pt x="1367" y="1064"/>
                      </a:lnTo>
                      <a:lnTo>
                        <a:pt x="1368" y="1061"/>
                      </a:lnTo>
                      <a:lnTo>
                        <a:pt x="1369" y="1060"/>
                      </a:lnTo>
                      <a:lnTo>
                        <a:pt x="1369" y="1061"/>
                      </a:lnTo>
                      <a:lnTo>
                        <a:pt x="1369" y="1060"/>
                      </a:lnTo>
                      <a:lnTo>
                        <a:pt x="1369" y="1059"/>
                      </a:lnTo>
                      <a:lnTo>
                        <a:pt x="1370" y="1059"/>
                      </a:lnTo>
                      <a:lnTo>
                        <a:pt x="1370" y="1057"/>
                      </a:lnTo>
                      <a:lnTo>
                        <a:pt x="1371" y="1055"/>
                      </a:lnTo>
                      <a:lnTo>
                        <a:pt x="1373" y="1054"/>
                      </a:lnTo>
                      <a:lnTo>
                        <a:pt x="1373" y="1053"/>
                      </a:lnTo>
                      <a:lnTo>
                        <a:pt x="1373" y="1052"/>
                      </a:lnTo>
                      <a:lnTo>
                        <a:pt x="1374" y="1052"/>
                      </a:lnTo>
                      <a:lnTo>
                        <a:pt x="1374" y="1051"/>
                      </a:lnTo>
                      <a:lnTo>
                        <a:pt x="1374" y="1048"/>
                      </a:lnTo>
                      <a:lnTo>
                        <a:pt x="1375" y="1046"/>
                      </a:lnTo>
                      <a:lnTo>
                        <a:pt x="1375" y="1045"/>
                      </a:lnTo>
                      <a:lnTo>
                        <a:pt x="1376" y="1045"/>
                      </a:lnTo>
                      <a:lnTo>
                        <a:pt x="1376" y="1044"/>
                      </a:lnTo>
                      <a:lnTo>
                        <a:pt x="1376" y="1043"/>
                      </a:lnTo>
                      <a:lnTo>
                        <a:pt x="1377" y="1043"/>
                      </a:lnTo>
                      <a:lnTo>
                        <a:pt x="1377" y="1042"/>
                      </a:lnTo>
                      <a:lnTo>
                        <a:pt x="1377" y="1041"/>
                      </a:lnTo>
                      <a:lnTo>
                        <a:pt x="1378" y="1041"/>
                      </a:lnTo>
                      <a:lnTo>
                        <a:pt x="1378" y="1040"/>
                      </a:lnTo>
                      <a:lnTo>
                        <a:pt x="1379" y="1039"/>
                      </a:lnTo>
                      <a:lnTo>
                        <a:pt x="1379" y="1038"/>
                      </a:lnTo>
                      <a:lnTo>
                        <a:pt x="1380" y="1038"/>
                      </a:lnTo>
                      <a:lnTo>
                        <a:pt x="1380" y="1037"/>
                      </a:lnTo>
                      <a:lnTo>
                        <a:pt x="1381" y="1037"/>
                      </a:lnTo>
                      <a:lnTo>
                        <a:pt x="1381" y="1035"/>
                      </a:lnTo>
                      <a:lnTo>
                        <a:pt x="1381" y="1034"/>
                      </a:lnTo>
                      <a:lnTo>
                        <a:pt x="1382" y="1034"/>
                      </a:lnTo>
                      <a:lnTo>
                        <a:pt x="1382" y="1033"/>
                      </a:lnTo>
                      <a:lnTo>
                        <a:pt x="1383" y="1033"/>
                      </a:lnTo>
                      <a:lnTo>
                        <a:pt x="1383" y="1032"/>
                      </a:lnTo>
                      <a:lnTo>
                        <a:pt x="1384" y="1031"/>
                      </a:lnTo>
                      <a:lnTo>
                        <a:pt x="1384" y="1030"/>
                      </a:lnTo>
                      <a:lnTo>
                        <a:pt x="1386" y="1030"/>
                      </a:lnTo>
                      <a:lnTo>
                        <a:pt x="1386" y="1031"/>
                      </a:lnTo>
                      <a:lnTo>
                        <a:pt x="1386" y="1032"/>
                      </a:lnTo>
                      <a:lnTo>
                        <a:pt x="1387" y="1032"/>
                      </a:lnTo>
                      <a:lnTo>
                        <a:pt x="1387" y="1033"/>
                      </a:lnTo>
                      <a:lnTo>
                        <a:pt x="1387" y="1034"/>
                      </a:lnTo>
                      <a:lnTo>
                        <a:pt x="1388" y="1034"/>
                      </a:lnTo>
                      <a:lnTo>
                        <a:pt x="1387" y="1034"/>
                      </a:lnTo>
                      <a:lnTo>
                        <a:pt x="1387" y="1033"/>
                      </a:lnTo>
                      <a:lnTo>
                        <a:pt x="1387" y="1032"/>
                      </a:lnTo>
                      <a:lnTo>
                        <a:pt x="1388" y="1032"/>
                      </a:lnTo>
                      <a:lnTo>
                        <a:pt x="1387" y="1032"/>
                      </a:lnTo>
                      <a:lnTo>
                        <a:pt x="1386" y="1031"/>
                      </a:lnTo>
                      <a:lnTo>
                        <a:pt x="1386" y="1030"/>
                      </a:lnTo>
                      <a:lnTo>
                        <a:pt x="1386" y="1029"/>
                      </a:lnTo>
                      <a:lnTo>
                        <a:pt x="1387" y="1029"/>
                      </a:lnTo>
                      <a:lnTo>
                        <a:pt x="1388" y="1029"/>
                      </a:lnTo>
                      <a:lnTo>
                        <a:pt x="1387" y="1029"/>
                      </a:lnTo>
                      <a:lnTo>
                        <a:pt x="1387" y="1028"/>
                      </a:lnTo>
                      <a:lnTo>
                        <a:pt x="1388" y="1027"/>
                      </a:lnTo>
                      <a:lnTo>
                        <a:pt x="1388" y="1026"/>
                      </a:lnTo>
                      <a:lnTo>
                        <a:pt x="1389" y="1026"/>
                      </a:lnTo>
                      <a:lnTo>
                        <a:pt x="1388" y="1026"/>
                      </a:lnTo>
                      <a:lnTo>
                        <a:pt x="1388" y="1025"/>
                      </a:lnTo>
                      <a:lnTo>
                        <a:pt x="1389" y="1025"/>
                      </a:lnTo>
                      <a:lnTo>
                        <a:pt x="1389" y="1024"/>
                      </a:lnTo>
                      <a:lnTo>
                        <a:pt x="1390" y="1024"/>
                      </a:lnTo>
                      <a:lnTo>
                        <a:pt x="1390" y="1022"/>
                      </a:lnTo>
                      <a:lnTo>
                        <a:pt x="1391" y="1021"/>
                      </a:lnTo>
                      <a:lnTo>
                        <a:pt x="1392" y="1020"/>
                      </a:lnTo>
                      <a:lnTo>
                        <a:pt x="1393" y="1021"/>
                      </a:lnTo>
                      <a:lnTo>
                        <a:pt x="1394" y="1022"/>
                      </a:lnTo>
                      <a:lnTo>
                        <a:pt x="1394" y="1021"/>
                      </a:lnTo>
                      <a:lnTo>
                        <a:pt x="1393" y="1021"/>
                      </a:lnTo>
                      <a:lnTo>
                        <a:pt x="1393" y="1020"/>
                      </a:lnTo>
                      <a:lnTo>
                        <a:pt x="1392" y="1020"/>
                      </a:lnTo>
                      <a:lnTo>
                        <a:pt x="1393" y="1019"/>
                      </a:lnTo>
                      <a:lnTo>
                        <a:pt x="1393" y="1018"/>
                      </a:lnTo>
                      <a:lnTo>
                        <a:pt x="1394" y="1018"/>
                      </a:lnTo>
                      <a:lnTo>
                        <a:pt x="1394" y="1017"/>
                      </a:lnTo>
                      <a:lnTo>
                        <a:pt x="1395" y="1017"/>
                      </a:lnTo>
                      <a:lnTo>
                        <a:pt x="1395" y="1016"/>
                      </a:lnTo>
                      <a:lnTo>
                        <a:pt x="1395" y="1017"/>
                      </a:lnTo>
                      <a:lnTo>
                        <a:pt x="1395" y="1016"/>
                      </a:lnTo>
                      <a:lnTo>
                        <a:pt x="1396" y="1016"/>
                      </a:lnTo>
                      <a:lnTo>
                        <a:pt x="1396" y="1015"/>
                      </a:lnTo>
                      <a:lnTo>
                        <a:pt x="1397" y="1015"/>
                      </a:lnTo>
                      <a:lnTo>
                        <a:pt x="1399" y="1014"/>
                      </a:lnTo>
                      <a:lnTo>
                        <a:pt x="1400" y="1013"/>
                      </a:lnTo>
                      <a:lnTo>
                        <a:pt x="1401" y="1012"/>
                      </a:lnTo>
                      <a:lnTo>
                        <a:pt x="1401" y="1011"/>
                      </a:lnTo>
                      <a:lnTo>
                        <a:pt x="1402" y="1011"/>
                      </a:lnTo>
                      <a:lnTo>
                        <a:pt x="1402" y="1009"/>
                      </a:lnTo>
                      <a:lnTo>
                        <a:pt x="1403" y="1009"/>
                      </a:lnTo>
                      <a:lnTo>
                        <a:pt x="1403" y="1008"/>
                      </a:lnTo>
                      <a:lnTo>
                        <a:pt x="1403" y="1007"/>
                      </a:lnTo>
                      <a:lnTo>
                        <a:pt x="1404" y="1008"/>
                      </a:lnTo>
                      <a:lnTo>
                        <a:pt x="1404" y="1007"/>
                      </a:lnTo>
                      <a:lnTo>
                        <a:pt x="1403" y="1007"/>
                      </a:lnTo>
                      <a:lnTo>
                        <a:pt x="1404" y="1007"/>
                      </a:lnTo>
                      <a:lnTo>
                        <a:pt x="1405" y="1008"/>
                      </a:lnTo>
                      <a:lnTo>
                        <a:pt x="1406" y="1008"/>
                      </a:lnTo>
                      <a:lnTo>
                        <a:pt x="1407" y="1009"/>
                      </a:lnTo>
                      <a:lnTo>
                        <a:pt x="1408" y="1009"/>
                      </a:lnTo>
                      <a:lnTo>
                        <a:pt x="1409" y="1009"/>
                      </a:lnTo>
                      <a:lnTo>
                        <a:pt x="1408" y="1009"/>
                      </a:lnTo>
                      <a:lnTo>
                        <a:pt x="1407" y="1009"/>
                      </a:lnTo>
                      <a:lnTo>
                        <a:pt x="1407" y="1008"/>
                      </a:lnTo>
                      <a:lnTo>
                        <a:pt x="1406" y="1008"/>
                      </a:lnTo>
                      <a:lnTo>
                        <a:pt x="1405" y="1008"/>
                      </a:lnTo>
                      <a:lnTo>
                        <a:pt x="1404" y="1007"/>
                      </a:lnTo>
                      <a:lnTo>
                        <a:pt x="1404" y="1006"/>
                      </a:lnTo>
                      <a:lnTo>
                        <a:pt x="1405" y="1005"/>
                      </a:lnTo>
                      <a:lnTo>
                        <a:pt x="1405" y="1004"/>
                      </a:lnTo>
                      <a:lnTo>
                        <a:pt x="1406" y="1004"/>
                      </a:lnTo>
                      <a:lnTo>
                        <a:pt x="1407" y="1004"/>
                      </a:lnTo>
                      <a:lnTo>
                        <a:pt x="1408" y="1004"/>
                      </a:lnTo>
                      <a:lnTo>
                        <a:pt x="1409" y="1005"/>
                      </a:lnTo>
                      <a:lnTo>
                        <a:pt x="1412" y="1005"/>
                      </a:lnTo>
                      <a:lnTo>
                        <a:pt x="1413" y="1006"/>
                      </a:lnTo>
                      <a:close/>
                      <a:moveTo>
                        <a:pt x="1071" y="395"/>
                      </a:moveTo>
                      <a:lnTo>
                        <a:pt x="1072" y="395"/>
                      </a:lnTo>
                      <a:lnTo>
                        <a:pt x="1072" y="396"/>
                      </a:lnTo>
                      <a:lnTo>
                        <a:pt x="1073" y="396"/>
                      </a:lnTo>
                      <a:lnTo>
                        <a:pt x="1073" y="397"/>
                      </a:lnTo>
                      <a:lnTo>
                        <a:pt x="1073" y="398"/>
                      </a:lnTo>
                      <a:lnTo>
                        <a:pt x="1074" y="398"/>
                      </a:lnTo>
                      <a:lnTo>
                        <a:pt x="1073" y="398"/>
                      </a:lnTo>
                      <a:lnTo>
                        <a:pt x="1074" y="399"/>
                      </a:lnTo>
                      <a:lnTo>
                        <a:pt x="1073" y="400"/>
                      </a:lnTo>
                      <a:lnTo>
                        <a:pt x="1074" y="400"/>
                      </a:lnTo>
                      <a:lnTo>
                        <a:pt x="1073" y="400"/>
                      </a:lnTo>
                      <a:lnTo>
                        <a:pt x="1074" y="400"/>
                      </a:lnTo>
                      <a:lnTo>
                        <a:pt x="1074" y="401"/>
                      </a:lnTo>
                      <a:lnTo>
                        <a:pt x="1074" y="402"/>
                      </a:lnTo>
                      <a:lnTo>
                        <a:pt x="1073" y="402"/>
                      </a:lnTo>
                      <a:lnTo>
                        <a:pt x="1073" y="403"/>
                      </a:lnTo>
                      <a:lnTo>
                        <a:pt x="1072" y="403"/>
                      </a:lnTo>
                      <a:lnTo>
                        <a:pt x="1073" y="403"/>
                      </a:lnTo>
                      <a:lnTo>
                        <a:pt x="1072" y="403"/>
                      </a:lnTo>
                      <a:lnTo>
                        <a:pt x="1072" y="404"/>
                      </a:lnTo>
                      <a:lnTo>
                        <a:pt x="1072" y="405"/>
                      </a:lnTo>
                      <a:lnTo>
                        <a:pt x="1071" y="405"/>
                      </a:lnTo>
                      <a:lnTo>
                        <a:pt x="1070" y="405"/>
                      </a:lnTo>
                      <a:lnTo>
                        <a:pt x="1070" y="407"/>
                      </a:lnTo>
                      <a:lnTo>
                        <a:pt x="1070" y="405"/>
                      </a:lnTo>
                      <a:lnTo>
                        <a:pt x="1070" y="407"/>
                      </a:lnTo>
                      <a:lnTo>
                        <a:pt x="1069" y="407"/>
                      </a:lnTo>
                      <a:lnTo>
                        <a:pt x="1068" y="407"/>
                      </a:lnTo>
                      <a:lnTo>
                        <a:pt x="1068" y="408"/>
                      </a:lnTo>
                      <a:lnTo>
                        <a:pt x="1068" y="407"/>
                      </a:lnTo>
                      <a:lnTo>
                        <a:pt x="1069" y="405"/>
                      </a:lnTo>
                      <a:lnTo>
                        <a:pt x="1070" y="404"/>
                      </a:lnTo>
                      <a:lnTo>
                        <a:pt x="1071" y="403"/>
                      </a:lnTo>
                      <a:lnTo>
                        <a:pt x="1071" y="402"/>
                      </a:lnTo>
                      <a:lnTo>
                        <a:pt x="1072" y="402"/>
                      </a:lnTo>
                      <a:lnTo>
                        <a:pt x="1072" y="401"/>
                      </a:lnTo>
                      <a:lnTo>
                        <a:pt x="1072" y="400"/>
                      </a:lnTo>
                      <a:lnTo>
                        <a:pt x="1071" y="399"/>
                      </a:lnTo>
                      <a:lnTo>
                        <a:pt x="1071" y="398"/>
                      </a:lnTo>
                      <a:lnTo>
                        <a:pt x="1072" y="398"/>
                      </a:lnTo>
                      <a:lnTo>
                        <a:pt x="1072" y="397"/>
                      </a:lnTo>
                      <a:lnTo>
                        <a:pt x="1071" y="398"/>
                      </a:lnTo>
                      <a:lnTo>
                        <a:pt x="1071" y="397"/>
                      </a:lnTo>
                      <a:lnTo>
                        <a:pt x="1071" y="396"/>
                      </a:lnTo>
                      <a:lnTo>
                        <a:pt x="1071" y="395"/>
                      </a:lnTo>
                      <a:close/>
                      <a:moveTo>
                        <a:pt x="1069" y="391"/>
                      </a:moveTo>
                      <a:lnTo>
                        <a:pt x="1069" y="392"/>
                      </a:lnTo>
                      <a:lnTo>
                        <a:pt x="1069" y="391"/>
                      </a:lnTo>
                      <a:lnTo>
                        <a:pt x="1068" y="389"/>
                      </a:lnTo>
                      <a:lnTo>
                        <a:pt x="1068" y="388"/>
                      </a:lnTo>
                      <a:lnTo>
                        <a:pt x="1069" y="388"/>
                      </a:lnTo>
                      <a:lnTo>
                        <a:pt x="1069" y="389"/>
                      </a:lnTo>
                      <a:lnTo>
                        <a:pt x="1069" y="390"/>
                      </a:lnTo>
                      <a:lnTo>
                        <a:pt x="1070" y="390"/>
                      </a:lnTo>
                      <a:lnTo>
                        <a:pt x="1070" y="391"/>
                      </a:lnTo>
                      <a:lnTo>
                        <a:pt x="1069" y="391"/>
                      </a:lnTo>
                      <a:close/>
                      <a:moveTo>
                        <a:pt x="1039" y="435"/>
                      </a:moveTo>
                      <a:lnTo>
                        <a:pt x="1039" y="436"/>
                      </a:lnTo>
                      <a:lnTo>
                        <a:pt x="1039" y="435"/>
                      </a:lnTo>
                      <a:close/>
                      <a:moveTo>
                        <a:pt x="1169" y="966"/>
                      </a:moveTo>
                      <a:lnTo>
                        <a:pt x="1168" y="967"/>
                      </a:lnTo>
                      <a:lnTo>
                        <a:pt x="1169" y="967"/>
                      </a:lnTo>
                      <a:lnTo>
                        <a:pt x="1168" y="967"/>
                      </a:lnTo>
                      <a:lnTo>
                        <a:pt x="1168" y="968"/>
                      </a:lnTo>
                      <a:lnTo>
                        <a:pt x="1169" y="968"/>
                      </a:lnTo>
                      <a:lnTo>
                        <a:pt x="1169" y="969"/>
                      </a:lnTo>
                      <a:lnTo>
                        <a:pt x="1169" y="970"/>
                      </a:lnTo>
                      <a:lnTo>
                        <a:pt x="1168" y="970"/>
                      </a:lnTo>
                      <a:lnTo>
                        <a:pt x="1167" y="970"/>
                      </a:lnTo>
                      <a:lnTo>
                        <a:pt x="1167" y="969"/>
                      </a:lnTo>
                      <a:lnTo>
                        <a:pt x="1167" y="968"/>
                      </a:lnTo>
                      <a:lnTo>
                        <a:pt x="1166" y="968"/>
                      </a:lnTo>
                      <a:lnTo>
                        <a:pt x="1167" y="967"/>
                      </a:lnTo>
                      <a:lnTo>
                        <a:pt x="1167" y="966"/>
                      </a:lnTo>
                      <a:lnTo>
                        <a:pt x="1166" y="967"/>
                      </a:lnTo>
                      <a:lnTo>
                        <a:pt x="1167" y="967"/>
                      </a:lnTo>
                      <a:lnTo>
                        <a:pt x="1166" y="967"/>
                      </a:lnTo>
                      <a:lnTo>
                        <a:pt x="1166" y="968"/>
                      </a:lnTo>
                      <a:lnTo>
                        <a:pt x="1166" y="967"/>
                      </a:lnTo>
                      <a:lnTo>
                        <a:pt x="1166" y="966"/>
                      </a:lnTo>
                      <a:lnTo>
                        <a:pt x="1164" y="966"/>
                      </a:lnTo>
                      <a:lnTo>
                        <a:pt x="1166" y="966"/>
                      </a:lnTo>
                      <a:lnTo>
                        <a:pt x="1169" y="961"/>
                      </a:lnTo>
                      <a:lnTo>
                        <a:pt x="1170" y="961"/>
                      </a:lnTo>
                      <a:lnTo>
                        <a:pt x="1169" y="962"/>
                      </a:lnTo>
                      <a:lnTo>
                        <a:pt x="1169" y="963"/>
                      </a:lnTo>
                      <a:lnTo>
                        <a:pt x="1169" y="965"/>
                      </a:lnTo>
                      <a:lnTo>
                        <a:pt x="1169" y="966"/>
                      </a:lnTo>
                      <a:close/>
                      <a:moveTo>
                        <a:pt x="1373" y="428"/>
                      </a:moveTo>
                      <a:lnTo>
                        <a:pt x="1371" y="428"/>
                      </a:lnTo>
                      <a:lnTo>
                        <a:pt x="1371" y="429"/>
                      </a:lnTo>
                      <a:lnTo>
                        <a:pt x="1371" y="430"/>
                      </a:lnTo>
                      <a:lnTo>
                        <a:pt x="1371" y="431"/>
                      </a:lnTo>
                      <a:lnTo>
                        <a:pt x="1370" y="431"/>
                      </a:lnTo>
                      <a:lnTo>
                        <a:pt x="1370" y="433"/>
                      </a:lnTo>
                      <a:lnTo>
                        <a:pt x="1370" y="434"/>
                      </a:lnTo>
                      <a:lnTo>
                        <a:pt x="1369" y="435"/>
                      </a:lnTo>
                      <a:lnTo>
                        <a:pt x="1369" y="437"/>
                      </a:lnTo>
                      <a:lnTo>
                        <a:pt x="1370" y="437"/>
                      </a:lnTo>
                      <a:lnTo>
                        <a:pt x="1370" y="438"/>
                      </a:lnTo>
                      <a:lnTo>
                        <a:pt x="1371" y="438"/>
                      </a:lnTo>
                      <a:lnTo>
                        <a:pt x="1371" y="439"/>
                      </a:lnTo>
                      <a:lnTo>
                        <a:pt x="1371" y="440"/>
                      </a:lnTo>
                      <a:lnTo>
                        <a:pt x="1370" y="439"/>
                      </a:lnTo>
                      <a:lnTo>
                        <a:pt x="1369" y="439"/>
                      </a:lnTo>
                      <a:lnTo>
                        <a:pt x="1368" y="440"/>
                      </a:lnTo>
                      <a:lnTo>
                        <a:pt x="1368" y="441"/>
                      </a:lnTo>
                      <a:lnTo>
                        <a:pt x="1367" y="441"/>
                      </a:lnTo>
                      <a:lnTo>
                        <a:pt x="1367" y="442"/>
                      </a:lnTo>
                      <a:lnTo>
                        <a:pt x="1367" y="443"/>
                      </a:lnTo>
                      <a:lnTo>
                        <a:pt x="1368" y="443"/>
                      </a:lnTo>
                      <a:lnTo>
                        <a:pt x="1368" y="444"/>
                      </a:lnTo>
                      <a:lnTo>
                        <a:pt x="1368" y="446"/>
                      </a:lnTo>
                      <a:lnTo>
                        <a:pt x="1367" y="446"/>
                      </a:lnTo>
                      <a:lnTo>
                        <a:pt x="1366" y="446"/>
                      </a:lnTo>
                      <a:lnTo>
                        <a:pt x="1365" y="446"/>
                      </a:lnTo>
                      <a:lnTo>
                        <a:pt x="1364" y="446"/>
                      </a:lnTo>
                      <a:lnTo>
                        <a:pt x="1363" y="447"/>
                      </a:lnTo>
                      <a:lnTo>
                        <a:pt x="1362" y="448"/>
                      </a:lnTo>
                      <a:lnTo>
                        <a:pt x="1362" y="449"/>
                      </a:lnTo>
                      <a:lnTo>
                        <a:pt x="1361" y="449"/>
                      </a:lnTo>
                      <a:lnTo>
                        <a:pt x="1361" y="450"/>
                      </a:lnTo>
                      <a:lnTo>
                        <a:pt x="1362" y="451"/>
                      </a:lnTo>
                      <a:lnTo>
                        <a:pt x="1363" y="451"/>
                      </a:lnTo>
                      <a:lnTo>
                        <a:pt x="1363" y="452"/>
                      </a:lnTo>
                      <a:lnTo>
                        <a:pt x="1363" y="453"/>
                      </a:lnTo>
                      <a:lnTo>
                        <a:pt x="1362" y="452"/>
                      </a:lnTo>
                      <a:lnTo>
                        <a:pt x="1361" y="452"/>
                      </a:lnTo>
                      <a:lnTo>
                        <a:pt x="1361" y="453"/>
                      </a:lnTo>
                      <a:lnTo>
                        <a:pt x="1360" y="453"/>
                      </a:lnTo>
                      <a:lnTo>
                        <a:pt x="1360" y="455"/>
                      </a:lnTo>
                      <a:lnTo>
                        <a:pt x="1358" y="456"/>
                      </a:lnTo>
                      <a:lnTo>
                        <a:pt x="1358" y="457"/>
                      </a:lnTo>
                      <a:lnTo>
                        <a:pt x="1358" y="459"/>
                      </a:lnTo>
                      <a:lnTo>
                        <a:pt x="1357" y="459"/>
                      </a:lnTo>
                      <a:lnTo>
                        <a:pt x="1357" y="461"/>
                      </a:lnTo>
                      <a:lnTo>
                        <a:pt x="1357" y="462"/>
                      </a:lnTo>
                      <a:lnTo>
                        <a:pt x="1358" y="463"/>
                      </a:lnTo>
                      <a:lnTo>
                        <a:pt x="1358" y="464"/>
                      </a:lnTo>
                      <a:lnTo>
                        <a:pt x="1358" y="465"/>
                      </a:lnTo>
                      <a:lnTo>
                        <a:pt x="1360" y="465"/>
                      </a:lnTo>
                      <a:lnTo>
                        <a:pt x="1360" y="466"/>
                      </a:lnTo>
                      <a:lnTo>
                        <a:pt x="1360" y="467"/>
                      </a:lnTo>
                      <a:lnTo>
                        <a:pt x="1358" y="467"/>
                      </a:lnTo>
                      <a:lnTo>
                        <a:pt x="1358" y="466"/>
                      </a:lnTo>
                      <a:lnTo>
                        <a:pt x="1357" y="465"/>
                      </a:lnTo>
                      <a:lnTo>
                        <a:pt x="1357" y="464"/>
                      </a:lnTo>
                      <a:lnTo>
                        <a:pt x="1356" y="464"/>
                      </a:lnTo>
                      <a:lnTo>
                        <a:pt x="1355" y="464"/>
                      </a:lnTo>
                      <a:lnTo>
                        <a:pt x="1355" y="463"/>
                      </a:lnTo>
                      <a:lnTo>
                        <a:pt x="1354" y="464"/>
                      </a:lnTo>
                      <a:lnTo>
                        <a:pt x="1354" y="465"/>
                      </a:lnTo>
                      <a:lnTo>
                        <a:pt x="1353" y="465"/>
                      </a:lnTo>
                      <a:lnTo>
                        <a:pt x="1351" y="466"/>
                      </a:lnTo>
                      <a:lnTo>
                        <a:pt x="1351" y="467"/>
                      </a:lnTo>
                      <a:lnTo>
                        <a:pt x="1351" y="466"/>
                      </a:lnTo>
                      <a:lnTo>
                        <a:pt x="1350" y="466"/>
                      </a:lnTo>
                      <a:lnTo>
                        <a:pt x="1350" y="467"/>
                      </a:lnTo>
                      <a:lnTo>
                        <a:pt x="1349" y="467"/>
                      </a:lnTo>
                      <a:lnTo>
                        <a:pt x="1349" y="468"/>
                      </a:lnTo>
                      <a:lnTo>
                        <a:pt x="1348" y="468"/>
                      </a:lnTo>
                      <a:lnTo>
                        <a:pt x="1348" y="469"/>
                      </a:lnTo>
                      <a:lnTo>
                        <a:pt x="1347" y="470"/>
                      </a:lnTo>
                      <a:lnTo>
                        <a:pt x="1347" y="472"/>
                      </a:lnTo>
                      <a:lnTo>
                        <a:pt x="1345" y="472"/>
                      </a:lnTo>
                      <a:lnTo>
                        <a:pt x="1345" y="470"/>
                      </a:lnTo>
                      <a:lnTo>
                        <a:pt x="1345" y="469"/>
                      </a:lnTo>
                      <a:lnTo>
                        <a:pt x="1347" y="469"/>
                      </a:lnTo>
                      <a:lnTo>
                        <a:pt x="1347" y="468"/>
                      </a:lnTo>
                      <a:lnTo>
                        <a:pt x="1348" y="468"/>
                      </a:lnTo>
                      <a:lnTo>
                        <a:pt x="1348" y="467"/>
                      </a:lnTo>
                      <a:lnTo>
                        <a:pt x="1347" y="466"/>
                      </a:lnTo>
                      <a:lnTo>
                        <a:pt x="1347" y="465"/>
                      </a:lnTo>
                      <a:lnTo>
                        <a:pt x="1348" y="465"/>
                      </a:lnTo>
                      <a:lnTo>
                        <a:pt x="1349" y="465"/>
                      </a:lnTo>
                      <a:lnTo>
                        <a:pt x="1349" y="464"/>
                      </a:lnTo>
                      <a:lnTo>
                        <a:pt x="1348" y="464"/>
                      </a:lnTo>
                      <a:lnTo>
                        <a:pt x="1348" y="465"/>
                      </a:lnTo>
                      <a:lnTo>
                        <a:pt x="1348" y="464"/>
                      </a:lnTo>
                      <a:lnTo>
                        <a:pt x="1347" y="465"/>
                      </a:lnTo>
                      <a:lnTo>
                        <a:pt x="1347" y="466"/>
                      </a:lnTo>
                      <a:lnTo>
                        <a:pt x="1345" y="466"/>
                      </a:lnTo>
                      <a:lnTo>
                        <a:pt x="1345" y="465"/>
                      </a:lnTo>
                      <a:lnTo>
                        <a:pt x="1344" y="465"/>
                      </a:lnTo>
                      <a:lnTo>
                        <a:pt x="1343" y="465"/>
                      </a:lnTo>
                      <a:lnTo>
                        <a:pt x="1342" y="465"/>
                      </a:lnTo>
                      <a:lnTo>
                        <a:pt x="1341" y="465"/>
                      </a:lnTo>
                      <a:lnTo>
                        <a:pt x="1340" y="465"/>
                      </a:lnTo>
                      <a:lnTo>
                        <a:pt x="1339" y="466"/>
                      </a:lnTo>
                      <a:lnTo>
                        <a:pt x="1338" y="467"/>
                      </a:lnTo>
                      <a:lnTo>
                        <a:pt x="1338" y="468"/>
                      </a:lnTo>
                      <a:lnTo>
                        <a:pt x="1337" y="469"/>
                      </a:lnTo>
                      <a:lnTo>
                        <a:pt x="1337" y="470"/>
                      </a:lnTo>
                      <a:lnTo>
                        <a:pt x="1336" y="470"/>
                      </a:lnTo>
                      <a:lnTo>
                        <a:pt x="1336" y="469"/>
                      </a:lnTo>
                      <a:lnTo>
                        <a:pt x="1336" y="468"/>
                      </a:lnTo>
                      <a:lnTo>
                        <a:pt x="1336" y="467"/>
                      </a:lnTo>
                      <a:lnTo>
                        <a:pt x="1336" y="466"/>
                      </a:lnTo>
                      <a:lnTo>
                        <a:pt x="1335" y="466"/>
                      </a:lnTo>
                      <a:lnTo>
                        <a:pt x="1335" y="465"/>
                      </a:lnTo>
                      <a:lnTo>
                        <a:pt x="1334" y="464"/>
                      </a:lnTo>
                      <a:lnTo>
                        <a:pt x="1332" y="464"/>
                      </a:lnTo>
                      <a:lnTo>
                        <a:pt x="1331" y="464"/>
                      </a:lnTo>
                      <a:lnTo>
                        <a:pt x="1331" y="465"/>
                      </a:lnTo>
                      <a:lnTo>
                        <a:pt x="1330" y="466"/>
                      </a:lnTo>
                      <a:lnTo>
                        <a:pt x="1330" y="467"/>
                      </a:lnTo>
                      <a:lnTo>
                        <a:pt x="1330" y="468"/>
                      </a:lnTo>
                      <a:lnTo>
                        <a:pt x="1329" y="468"/>
                      </a:lnTo>
                      <a:lnTo>
                        <a:pt x="1328" y="468"/>
                      </a:lnTo>
                      <a:lnTo>
                        <a:pt x="1328" y="467"/>
                      </a:lnTo>
                      <a:lnTo>
                        <a:pt x="1327" y="467"/>
                      </a:lnTo>
                      <a:lnTo>
                        <a:pt x="1327" y="466"/>
                      </a:lnTo>
                      <a:lnTo>
                        <a:pt x="1326" y="466"/>
                      </a:lnTo>
                      <a:lnTo>
                        <a:pt x="1326" y="465"/>
                      </a:lnTo>
                      <a:lnTo>
                        <a:pt x="1327" y="464"/>
                      </a:lnTo>
                      <a:lnTo>
                        <a:pt x="1328" y="464"/>
                      </a:lnTo>
                      <a:lnTo>
                        <a:pt x="1328" y="463"/>
                      </a:lnTo>
                      <a:lnTo>
                        <a:pt x="1329" y="463"/>
                      </a:lnTo>
                      <a:lnTo>
                        <a:pt x="1329" y="462"/>
                      </a:lnTo>
                      <a:lnTo>
                        <a:pt x="1329" y="461"/>
                      </a:lnTo>
                      <a:lnTo>
                        <a:pt x="1330" y="461"/>
                      </a:lnTo>
                      <a:lnTo>
                        <a:pt x="1330" y="460"/>
                      </a:lnTo>
                      <a:lnTo>
                        <a:pt x="1331" y="460"/>
                      </a:lnTo>
                      <a:lnTo>
                        <a:pt x="1331" y="459"/>
                      </a:lnTo>
                      <a:lnTo>
                        <a:pt x="1332" y="460"/>
                      </a:lnTo>
                      <a:lnTo>
                        <a:pt x="1334" y="460"/>
                      </a:lnTo>
                      <a:lnTo>
                        <a:pt x="1335" y="460"/>
                      </a:lnTo>
                      <a:lnTo>
                        <a:pt x="1335" y="459"/>
                      </a:lnTo>
                      <a:lnTo>
                        <a:pt x="1336" y="459"/>
                      </a:lnTo>
                      <a:lnTo>
                        <a:pt x="1336" y="457"/>
                      </a:lnTo>
                      <a:lnTo>
                        <a:pt x="1336" y="456"/>
                      </a:lnTo>
                      <a:lnTo>
                        <a:pt x="1336" y="455"/>
                      </a:lnTo>
                      <a:lnTo>
                        <a:pt x="1336" y="454"/>
                      </a:lnTo>
                      <a:lnTo>
                        <a:pt x="1336" y="453"/>
                      </a:lnTo>
                      <a:lnTo>
                        <a:pt x="1336" y="452"/>
                      </a:lnTo>
                      <a:lnTo>
                        <a:pt x="1337" y="452"/>
                      </a:lnTo>
                      <a:lnTo>
                        <a:pt x="1337" y="451"/>
                      </a:lnTo>
                      <a:lnTo>
                        <a:pt x="1337" y="450"/>
                      </a:lnTo>
                      <a:lnTo>
                        <a:pt x="1338" y="450"/>
                      </a:lnTo>
                      <a:lnTo>
                        <a:pt x="1337" y="451"/>
                      </a:lnTo>
                      <a:lnTo>
                        <a:pt x="1337" y="452"/>
                      </a:lnTo>
                      <a:lnTo>
                        <a:pt x="1338" y="452"/>
                      </a:lnTo>
                      <a:lnTo>
                        <a:pt x="1338" y="453"/>
                      </a:lnTo>
                      <a:lnTo>
                        <a:pt x="1338" y="454"/>
                      </a:lnTo>
                      <a:lnTo>
                        <a:pt x="1338" y="455"/>
                      </a:lnTo>
                      <a:lnTo>
                        <a:pt x="1337" y="455"/>
                      </a:lnTo>
                      <a:lnTo>
                        <a:pt x="1337" y="456"/>
                      </a:lnTo>
                      <a:lnTo>
                        <a:pt x="1338" y="457"/>
                      </a:lnTo>
                      <a:lnTo>
                        <a:pt x="1338" y="459"/>
                      </a:lnTo>
                      <a:lnTo>
                        <a:pt x="1338" y="460"/>
                      </a:lnTo>
                      <a:lnTo>
                        <a:pt x="1339" y="460"/>
                      </a:lnTo>
                      <a:lnTo>
                        <a:pt x="1338" y="461"/>
                      </a:lnTo>
                      <a:lnTo>
                        <a:pt x="1339" y="461"/>
                      </a:lnTo>
                      <a:lnTo>
                        <a:pt x="1340" y="461"/>
                      </a:lnTo>
                      <a:lnTo>
                        <a:pt x="1340" y="460"/>
                      </a:lnTo>
                      <a:lnTo>
                        <a:pt x="1339" y="460"/>
                      </a:lnTo>
                      <a:lnTo>
                        <a:pt x="1340" y="460"/>
                      </a:lnTo>
                      <a:lnTo>
                        <a:pt x="1340" y="459"/>
                      </a:lnTo>
                      <a:lnTo>
                        <a:pt x="1339" y="457"/>
                      </a:lnTo>
                      <a:lnTo>
                        <a:pt x="1338" y="457"/>
                      </a:lnTo>
                      <a:lnTo>
                        <a:pt x="1338" y="456"/>
                      </a:lnTo>
                      <a:lnTo>
                        <a:pt x="1338" y="455"/>
                      </a:lnTo>
                      <a:lnTo>
                        <a:pt x="1339" y="456"/>
                      </a:lnTo>
                      <a:lnTo>
                        <a:pt x="1339" y="455"/>
                      </a:lnTo>
                      <a:lnTo>
                        <a:pt x="1339" y="456"/>
                      </a:lnTo>
                      <a:lnTo>
                        <a:pt x="1340" y="456"/>
                      </a:lnTo>
                      <a:lnTo>
                        <a:pt x="1340" y="457"/>
                      </a:lnTo>
                      <a:lnTo>
                        <a:pt x="1341" y="457"/>
                      </a:lnTo>
                      <a:lnTo>
                        <a:pt x="1342" y="457"/>
                      </a:lnTo>
                      <a:lnTo>
                        <a:pt x="1343" y="457"/>
                      </a:lnTo>
                      <a:lnTo>
                        <a:pt x="1343" y="459"/>
                      </a:lnTo>
                      <a:lnTo>
                        <a:pt x="1342" y="459"/>
                      </a:lnTo>
                      <a:lnTo>
                        <a:pt x="1342" y="457"/>
                      </a:lnTo>
                      <a:lnTo>
                        <a:pt x="1342" y="459"/>
                      </a:lnTo>
                      <a:lnTo>
                        <a:pt x="1341" y="459"/>
                      </a:lnTo>
                      <a:lnTo>
                        <a:pt x="1341" y="460"/>
                      </a:lnTo>
                      <a:lnTo>
                        <a:pt x="1341" y="461"/>
                      </a:lnTo>
                      <a:lnTo>
                        <a:pt x="1342" y="461"/>
                      </a:lnTo>
                      <a:lnTo>
                        <a:pt x="1343" y="461"/>
                      </a:lnTo>
                      <a:lnTo>
                        <a:pt x="1343" y="460"/>
                      </a:lnTo>
                      <a:lnTo>
                        <a:pt x="1343" y="459"/>
                      </a:lnTo>
                      <a:lnTo>
                        <a:pt x="1344" y="459"/>
                      </a:lnTo>
                      <a:lnTo>
                        <a:pt x="1344" y="457"/>
                      </a:lnTo>
                      <a:lnTo>
                        <a:pt x="1345" y="459"/>
                      </a:lnTo>
                      <a:lnTo>
                        <a:pt x="1347" y="459"/>
                      </a:lnTo>
                      <a:lnTo>
                        <a:pt x="1347" y="460"/>
                      </a:lnTo>
                      <a:lnTo>
                        <a:pt x="1345" y="460"/>
                      </a:lnTo>
                      <a:lnTo>
                        <a:pt x="1345" y="459"/>
                      </a:lnTo>
                      <a:lnTo>
                        <a:pt x="1344" y="459"/>
                      </a:lnTo>
                      <a:lnTo>
                        <a:pt x="1345" y="460"/>
                      </a:lnTo>
                      <a:lnTo>
                        <a:pt x="1345" y="461"/>
                      </a:lnTo>
                      <a:lnTo>
                        <a:pt x="1347" y="461"/>
                      </a:lnTo>
                      <a:lnTo>
                        <a:pt x="1348" y="462"/>
                      </a:lnTo>
                      <a:lnTo>
                        <a:pt x="1348" y="463"/>
                      </a:lnTo>
                      <a:lnTo>
                        <a:pt x="1347" y="463"/>
                      </a:lnTo>
                      <a:lnTo>
                        <a:pt x="1347" y="462"/>
                      </a:lnTo>
                      <a:lnTo>
                        <a:pt x="1345" y="462"/>
                      </a:lnTo>
                      <a:lnTo>
                        <a:pt x="1344" y="462"/>
                      </a:lnTo>
                      <a:lnTo>
                        <a:pt x="1343" y="462"/>
                      </a:lnTo>
                      <a:lnTo>
                        <a:pt x="1342" y="463"/>
                      </a:lnTo>
                      <a:lnTo>
                        <a:pt x="1341" y="463"/>
                      </a:lnTo>
                      <a:lnTo>
                        <a:pt x="1342" y="463"/>
                      </a:lnTo>
                      <a:lnTo>
                        <a:pt x="1343" y="463"/>
                      </a:lnTo>
                      <a:lnTo>
                        <a:pt x="1344" y="463"/>
                      </a:lnTo>
                      <a:lnTo>
                        <a:pt x="1343" y="464"/>
                      </a:lnTo>
                      <a:lnTo>
                        <a:pt x="1344" y="464"/>
                      </a:lnTo>
                      <a:lnTo>
                        <a:pt x="1344" y="463"/>
                      </a:lnTo>
                      <a:lnTo>
                        <a:pt x="1345" y="463"/>
                      </a:lnTo>
                      <a:lnTo>
                        <a:pt x="1347" y="463"/>
                      </a:lnTo>
                      <a:lnTo>
                        <a:pt x="1348" y="463"/>
                      </a:lnTo>
                      <a:lnTo>
                        <a:pt x="1349" y="463"/>
                      </a:lnTo>
                      <a:lnTo>
                        <a:pt x="1350" y="464"/>
                      </a:lnTo>
                      <a:lnTo>
                        <a:pt x="1351" y="464"/>
                      </a:lnTo>
                      <a:lnTo>
                        <a:pt x="1351" y="463"/>
                      </a:lnTo>
                      <a:lnTo>
                        <a:pt x="1352" y="463"/>
                      </a:lnTo>
                      <a:lnTo>
                        <a:pt x="1352" y="462"/>
                      </a:lnTo>
                      <a:lnTo>
                        <a:pt x="1351" y="462"/>
                      </a:lnTo>
                      <a:lnTo>
                        <a:pt x="1351" y="461"/>
                      </a:lnTo>
                      <a:lnTo>
                        <a:pt x="1350" y="461"/>
                      </a:lnTo>
                      <a:lnTo>
                        <a:pt x="1349" y="461"/>
                      </a:lnTo>
                      <a:lnTo>
                        <a:pt x="1348" y="461"/>
                      </a:lnTo>
                      <a:lnTo>
                        <a:pt x="1347" y="461"/>
                      </a:lnTo>
                      <a:lnTo>
                        <a:pt x="1347" y="460"/>
                      </a:lnTo>
                      <a:lnTo>
                        <a:pt x="1348" y="460"/>
                      </a:lnTo>
                      <a:lnTo>
                        <a:pt x="1348" y="459"/>
                      </a:lnTo>
                      <a:lnTo>
                        <a:pt x="1349" y="459"/>
                      </a:lnTo>
                      <a:lnTo>
                        <a:pt x="1348" y="459"/>
                      </a:lnTo>
                      <a:lnTo>
                        <a:pt x="1348" y="457"/>
                      </a:lnTo>
                      <a:lnTo>
                        <a:pt x="1348" y="456"/>
                      </a:lnTo>
                      <a:lnTo>
                        <a:pt x="1349" y="456"/>
                      </a:lnTo>
                      <a:lnTo>
                        <a:pt x="1349" y="455"/>
                      </a:lnTo>
                      <a:lnTo>
                        <a:pt x="1348" y="455"/>
                      </a:lnTo>
                      <a:lnTo>
                        <a:pt x="1349" y="455"/>
                      </a:lnTo>
                      <a:lnTo>
                        <a:pt x="1349" y="454"/>
                      </a:lnTo>
                      <a:lnTo>
                        <a:pt x="1349" y="453"/>
                      </a:lnTo>
                      <a:lnTo>
                        <a:pt x="1348" y="453"/>
                      </a:lnTo>
                      <a:lnTo>
                        <a:pt x="1349" y="453"/>
                      </a:lnTo>
                      <a:lnTo>
                        <a:pt x="1348" y="453"/>
                      </a:lnTo>
                      <a:lnTo>
                        <a:pt x="1347" y="453"/>
                      </a:lnTo>
                      <a:lnTo>
                        <a:pt x="1347" y="452"/>
                      </a:lnTo>
                      <a:lnTo>
                        <a:pt x="1345" y="452"/>
                      </a:lnTo>
                      <a:lnTo>
                        <a:pt x="1345" y="451"/>
                      </a:lnTo>
                      <a:lnTo>
                        <a:pt x="1345" y="450"/>
                      </a:lnTo>
                      <a:lnTo>
                        <a:pt x="1345" y="451"/>
                      </a:lnTo>
                      <a:lnTo>
                        <a:pt x="1345" y="450"/>
                      </a:lnTo>
                      <a:lnTo>
                        <a:pt x="1344" y="450"/>
                      </a:lnTo>
                      <a:lnTo>
                        <a:pt x="1344" y="451"/>
                      </a:lnTo>
                      <a:lnTo>
                        <a:pt x="1345" y="451"/>
                      </a:lnTo>
                      <a:lnTo>
                        <a:pt x="1344" y="451"/>
                      </a:lnTo>
                      <a:lnTo>
                        <a:pt x="1344" y="452"/>
                      </a:lnTo>
                      <a:lnTo>
                        <a:pt x="1345" y="452"/>
                      </a:lnTo>
                      <a:lnTo>
                        <a:pt x="1344" y="452"/>
                      </a:lnTo>
                      <a:lnTo>
                        <a:pt x="1343" y="452"/>
                      </a:lnTo>
                      <a:lnTo>
                        <a:pt x="1344" y="452"/>
                      </a:lnTo>
                      <a:lnTo>
                        <a:pt x="1344" y="451"/>
                      </a:lnTo>
                      <a:lnTo>
                        <a:pt x="1343" y="451"/>
                      </a:lnTo>
                      <a:lnTo>
                        <a:pt x="1343" y="450"/>
                      </a:lnTo>
                      <a:lnTo>
                        <a:pt x="1344" y="449"/>
                      </a:lnTo>
                      <a:lnTo>
                        <a:pt x="1344" y="448"/>
                      </a:lnTo>
                      <a:lnTo>
                        <a:pt x="1345" y="449"/>
                      </a:lnTo>
                      <a:lnTo>
                        <a:pt x="1347" y="449"/>
                      </a:lnTo>
                      <a:lnTo>
                        <a:pt x="1347" y="450"/>
                      </a:lnTo>
                      <a:lnTo>
                        <a:pt x="1348" y="450"/>
                      </a:lnTo>
                      <a:lnTo>
                        <a:pt x="1348" y="451"/>
                      </a:lnTo>
                      <a:lnTo>
                        <a:pt x="1348" y="450"/>
                      </a:lnTo>
                      <a:lnTo>
                        <a:pt x="1347" y="450"/>
                      </a:lnTo>
                      <a:lnTo>
                        <a:pt x="1347" y="451"/>
                      </a:lnTo>
                      <a:lnTo>
                        <a:pt x="1348" y="451"/>
                      </a:lnTo>
                      <a:lnTo>
                        <a:pt x="1349" y="451"/>
                      </a:lnTo>
                      <a:lnTo>
                        <a:pt x="1348" y="451"/>
                      </a:lnTo>
                      <a:lnTo>
                        <a:pt x="1348" y="452"/>
                      </a:lnTo>
                      <a:lnTo>
                        <a:pt x="1349" y="452"/>
                      </a:lnTo>
                      <a:lnTo>
                        <a:pt x="1349" y="451"/>
                      </a:lnTo>
                      <a:lnTo>
                        <a:pt x="1349" y="452"/>
                      </a:lnTo>
                      <a:lnTo>
                        <a:pt x="1350" y="452"/>
                      </a:lnTo>
                      <a:lnTo>
                        <a:pt x="1350" y="453"/>
                      </a:lnTo>
                      <a:lnTo>
                        <a:pt x="1351" y="453"/>
                      </a:lnTo>
                      <a:lnTo>
                        <a:pt x="1351" y="454"/>
                      </a:lnTo>
                      <a:lnTo>
                        <a:pt x="1351" y="455"/>
                      </a:lnTo>
                      <a:lnTo>
                        <a:pt x="1352" y="455"/>
                      </a:lnTo>
                      <a:lnTo>
                        <a:pt x="1351" y="455"/>
                      </a:lnTo>
                      <a:lnTo>
                        <a:pt x="1352" y="455"/>
                      </a:lnTo>
                      <a:lnTo>
                        <a:pt x="1352" y="454"/>
                      </a:lnTo>
                      <a:lnTo>
                        <a:pt x="1352" y="455"/>
                      </a:lnTo>
                      <a:lnTo>
                        <a:pt x="1352" y="454"/>
                      </a:lnTo>
                      <a:lnTo>
                        <a:pt x="1353" y="454"/>
                      </a:lnTo>
                      <a:lnTo>
                        <a:pt x="1353" y="453"/>
                      </a:lnTo>
                      <a:lnTo>
                        <a:pt x="1353" y="452"/>
                      </a:lnTo>
                      <a:lnTo>
                        <a:pt x="1353" y="451"/>
                      </a:lnTo>
                      <a:lnTo>
                        <a:pt x="1352" y="450"/>
                      </a:lnTo>
                      <a:lnTo>
                        <a:pt x="1353" y="450"/>
                      </a:lnTo>
                      <a:lnTo>
                        <a:pt x="1353" y="451"/>
                      </a:lnTo>
                      <a:lnTo>
                        <a:pt x="1353" y="452"/>
                      </a:lnTo>
                      <a:lnTo>
                        <a:pt x="1354" y="452"/>
                      </a:lnTo>
                      <a:lnTo>
                        <a:pt x="1353" y="452"/>
                      </a:lnTo>
                      <a:lnTo>
                        <a:pt x="1354" y="452"/>
                      </a:lnTo>
                      <a:lnTo>
                        <a:pt x="1354" y="451"/>
                      </a:lnTo>
                      <a:lnTo>
                        <a:pt x="1353" y="451"/>
                      </a:lnTo>
                      <a:lnTo>
                        <a:pt x="1354" y="451"/>
                      </a:lnTo>
                      <a:lnTo>
                        <a:pt x="1353" y="451"/>
                      </a:lnTo>
                      <a:lnTo>
                        <a:pt x="1354" y="451"/>
                      </a:lnTo>
                      <a:lnTo>
                        <a:pt x="1354" y="450"/>
                      </a:lnTo>
                      <a:lnTo>
                        <a:pt x="1354" y="451"/>
                      </a:lnTo>
                      <a:lnTo>
                        <a:pt x="1355" y="451"/>
                      </a:lnTo>
                      <a:lnTo>
                        <a:pt x="1354" y="451"/>
                      </a:lnTo>
                      <a:lnTo>
                        <a:pt x="1355" y="451"/>
                      </a:lnTo>
                      <a:lnTo>
                        <a:pt x="1355" y="450"/>
                      </a:lnTo>
                      <a:lnTo>
                        <a:pt x="1354" y="450"/>
                      </a:lnTo>
                      <a:lnTo>
                        <a:pt x="1355" y="450"/>
                      </a:lnTo>
                      <a:lnTo>
                        <a:pt x="1354" y="450"/>
                      </a:lnTo>
                      <a:lnTo>
                        <a:pt x="1355" y="450"/>
                      </a:lnTo>
                      <a:lnTo>
                        <a:pt x="1354" y="450"/>
                      </a:lnTo>
                      <a:lnTo>
                        <a:pt x="1354" y="449"/>
                      </a:lnTo>
                      <a:lnTo>
                        <a:pt x="1353" y="449"/>
                      </a:lnTo>
                      <a:lnTo>
                        <a:pt x="1353" y="448"/>
                      </a:lnTo>
                      <a:lnTo>
                        <a:pt x="1352" y="447"/>
                      </a:lnTo>
                      <a:lnTo>
                        <a:pt x="1351" y="447"/>
                      </a:lnTo>
                      <a:lnTo>
                        <a:pt x="1351" y="446"/>
                      </a:lnTo>
                      <a:lnTo>
                        <a:pt x="1350" y="447"/>
                      </a:lnTo>
                      <a:lnTo>
                        <a:pt x="1349" y="447"/>
                      </a:lnTo>
                      <a:lnTo>
                        <a:pt x="1349" y="446"/>
                      </a:lnTo>
                      <a:lnTo>
                        <a:pt x="1348" y="446"/>
                      </a:lnTo>
                      <a:lnTo>
                        <a:pt x="1347" y="444"/>
                      </a:lnTo>
                      <a:lnTo>
                        <a:pt x="1347" y="443"/>
                      </a:lnTo>
                      <a:lnTo>
                        <a:pt x="1345" y="443"/>
                      </a:lnTo>
                      <a:lnTo>
                        <a:pt x="1344" y="443"/>
                      </a:lnTo>
                      <a:lnTo>
                        <a:pt x="1343" y="442"/>
                      </a:lnTo>
                      <a:lnTo>
                        <a:pt x="1344" y="442"/>
                      </a:lnTo>
                      <a:lnTo>
                        <a:pt x="1345" y="442"/>
                      </a:lnTo>
                      <a:lnTo>
                        <a:pt x="1347" y="442"/>
                      </a:lnTo>
                      <a:lnTo>
                        <a:pt x="1347" y="441"/>
                      </a:lnTo>
                      <a:lnTo>
                        <a:pt x="1347" y="440"/>
                      </a:lnTo>
                      <a:lnTo>
                        <a:pt x="1348" y="440"/>
                      </a:lnTo>
                      <a:lnTo>
                        <a:pt x="1349" y="441"/>
                      </a:lnTo>
                      <a:lnTo>
                        <a:pt x="1350" y="441"/>
                      </a:lnTo>
                      <a:lnTo>
                        <a:pt x="1349" y="440"/>
                      </a:lnTo>
                      <a:lnTo>
                        <a:pt x="1349" y="439"/>
                      </a:lnTo>
                      <a:lnTo>
                        <a:pt x="1349" y="438"/>
                      </a:lnTo>
                      <a:lnTo>
                        <a:pt x="1350" y="438"/>
                      </a:lnTo>
                      <a:lnTo>
                        <a:pt x="1350" y="439"/>
                      </a:lnTo>
                      <a:lnTo>
                        <a:pt x="1350" y="438"/>
                      </a:lnTo>
                      <a:lnTo>
                        <a:pt x="1351" y="438"/>
                      </a:lnTo>
                      <a:lnTo>
                        <a:pt x="1351" y="439"/>
                      </a:lnTo>
                      <a:lnTo>
                        <a:pt x="1351" y="440"/>
                      </a:lnTo>
                      <a:lnTo>
                        <a:pt x="1351" y="441"/>
                      </a:lnTo>
                      <a:lnTo>
                        <a:pt x="1352" y="441"/>
                      </a:lnTo>
                      <a:lnTo>
                        <a:pt x="1352" y="442"/>
                      </a:lnTo>
                      <a:lnTo>
                        <a:pt x="1353" y="442"/>
                      </a:lnTo>
                      <a:lnTo>
                        <a:pt x="1354" y="442"/>
                      </a:lnTo>
                      <a:lnTo>
                        <a:pt x="1353" y="442"/>
                      </a:lnTo>
                      <a:lnTo>
                        <a:pt x="1354" y="442"/>
                      </a:lnTo>
                      <a:lnTo>
                        <a:pt x="1354" y="441"/>
                      </a:lnTo>
                      <a:lnTo>
                        <a:pt x="1355" y="441"/>
                      </a:lnTo>
                      <a:lnTo>
                        <a:pt x="1355" y="440"/>
                      </a:lnTo>
                      <a:lnTo>
                        <a:pt x="1355" y="441"/>
                      </a:lnTo>
                      <a:lnTo>
                        <a:pt x="1355" y="440"/>
                      </a:lnTo>
                      <a:lnTo>
                        <a:pt x="1354" y="440"/>
                      </a:lnTo>
                      <a:lnTo>
                        <a:pt x="1355" y="440"/>
                      </a:lnTo>
                      <a:lnTo>
                        <a:pt x="1354" y="440"/>
                      </a:lnTo>
                      <a:lnTo>
                        <a:pt x="1355" y="440"/>
                      </a:lnTo>
                      <a:lnTo>
                        <a:pt x="1355" y="439"/>
                      </a:lnTo>
                      <a:lnTo>
                        <a:pt x="1354" y="439"/>
                      </a:lnTo>
                      <a:lnTo>
                        <a:pt x="1354" y="438"/>
                      </a:lnTo>
                      <a:lnTo>
                        <a:pt x="1353" y="438"/>
                      </a:lnTo>
                      <a:lnTo>
                        <a:pt x="1353" y="437"/>
                      </a:lnTo>
                      <a:lnTo>
                        <a:pt x="1354" y="437"/>
                      </a:lnTo>
                      <a:lnTo>
                        <a:pt x="1354" y="438"/>
                      </a:lnTo>
                      <a:lnTo>
                        <a:pt x="1355" y="438"/>
                      </a:lnTo>
                      <a:lnTo>
                        <a:pt x="1355" y="437"/>
                      </a:lnTo>
                      <a:lnTo>
                        <a:pt x="1355" y="436"/>
                      </a:lnTo>
                      <a:lnTo>
                        <a:pt x="1356" y="436"/>
                      </a:lnTo>
                      <a:lnTo>
                        <a:pt x="1356" y="437"/>
                      </a:lnTo>
                      <a:lnTo>
                        <a:pt x="1356" y="438"/>
                      </a:lnTo>
                      <a:lnTo>
                        <a:pt x="1356" y="439"/>
                      </a:lnTo>
                      <a:lnTo>
                        <a:pt x="1356" y="438"/>
                      </a:lnTo>
                      <a:lnTo>
                        <a:pt x="1357" y="438"/>
                      </a:lnTo>
                      <a:lnTo>
                        <a:pt x="1358" y="438"/>
                      </a:lnTo>
                      <a:lnTo>
                        <a:pt x="1358" y="439"/>
                      </a:lnTo>
                      <a:lnTo>
                        <a:pt x="1358" y="438"/>
                      </a:lnTo>
                      <a:lnTo>
                        <a:pt x="1360" y="438"/>
                      </a:lnTo>
                      <a:lnTo>
                        <a:pt x="1360" y="439"/>
                      </a:lnTo>
                      <a:lnTo>
                        <a:pt x="1361" y="439"/>
                      </a:lnTo>
                      <a:lnTo>
                        <a:pt x="1361" y="438"/>
                      </a:lnTo>
                      <a:lnTo>
                        <a:pt x="1361" y="437"/>
                      </a:lnTo>
                      <a:lnTo>
                        <a:pt x="1361" y="436"/>
                      </a:lnTo>
                      <a:lnTo>
                        <a:pt x="1360" y="436"/>
                      </a:lnTo>
                      <a:lnTo>
                        <a:pt x="1360" y="435"/>
                      </a:lnTo>
                      <a:lnTo>
                        <a:pt x="1361" y="435"/>
                      </a:lnTo>
                      <a:lnTo>
                        <a:pt x="1362" y="435"/>
                      </a:lnTo>
                      <a:lnTo>
                        <a:pt x="1361" y="434"/>
                      </a:lnTo>
                      <a:lnTo>
                        <a:pt x="1361" y="433"/>
                      </a:lnTo>
                      <a:lnTo>
                        <a:pt x="1362" y="433"/>
                      </a:lnTo>
                      <a:lnTo>
                        <a:pt x="1362" y="431"/>
                      </a:lnTo>
                      <a:lnTo>
                        <a:pt x="1363" y="431"/>
                      </a:lnTo>
                      <a:lnTo>
                        <a:pt x="1364" y="431"/>
                      </a:lnTo>
                      <a:lnTo>
                        <a:pt x="1364" y="430"/>
                      </a:lnTo>
                      <a:lnTo>
                        <a:pt x="1365" y="430"/>
                      </a:lnTo>
                      <a:lnTo>
                        <a:pt x="1365" y="429"/>
                      </a:lnTo>
                      <a:lnTo>
                        <a:pt x="1366" y="429"/>
                      </a:lnTo>
                      <a:lnTo>
                        <a:pt x="1367" y="429"/>
                      </a:lnTo>
                      <a:lnTo>
                        <a:pt x="1367" y="428"/>
                      </a:lnTo>
                      <a:lnTo>
                        <a:pt x="1368" y="428"/>
                      </a:lnTo>
                      <a:lnTo>
                        <a:pt x="1369" y="428"/>
                      </a:lnTo>
                      <a:lnTo>
                        <a:pt x="1369" y="427"/>
                      </a:lnTo>
                      <a:lnTo>
                        <a:pt x="1370" y="427"/>
                      </a:lnTo>
                      <a:lnTo>
                        <a:pt x="1370" y="426"/>
                      </a:lnTo>
                      <a:lnTo>
                        <a:pt x="1371" y="426"/>
                      </a:lnTo>
                      <a:lnTo>
                        <a:pt x="1371" y="425"/>
                      </a:lnTo>
                      <a:lnTo>
                        <a:pt x="1373" y="425"/>
                      </a:lnTo>
                      <a:lnTo>
                        <a:pt x="1371" y="426"/>
                      </a:lnTo>
                      <a:lnTo>
                        <a:pt x="1371" y="427"/>
                      </a:lnTo>
                      <a:lnTo>
                        <a:pt x="1373" y="427"/>
                      </a:lnTo>
                      <a:lnTo>
                        <a:pt x="1373" y="428"/>
                      </a:lnTo>
                      <a:close/>
                      <a:moveTo>
                        <a:pt x="1391" y="469"/>
                      </a:moveTo>
                      <a:lnTo>
                        <a:pt x="1391" y="470"/>
                      </a:lnTo>
                      <a:lnTo>
                        <a:pt x="1392" y="470"/>
                      </a:lnTo>
                      <a:lnTo>
                        <a:pt x="1392" y="472"/>
                      </a:lnTo>
                      <a:lnTo>
                        <a:pt x="1393" y="472"/>
                      </a:lnTo>
                      <a:lnTo>
                        <a:pt x="1393" y="470"/>
                      </a:lnTo>
                      <a:lnTo>
                        <a:pt x="1393" y="472"/>
                      </a:lnTo>
                      <a:lnTo>
                        <a:pt x="1393" y="473"/>
                      </a:lnTo>
                      <a:lnTo>
                        <a:pt x="1392" y="473"/>
                      </a:lnTo>
                      <a:lnTo>
                        <a:pt x="1391" y="473"/>
                      </a:lnTo>
                      <a:lnTo>
                        <a:pt x="1391" y="474"/>
                      </a:lnTo>
                      <a:lnTo>
                        <a:pt x="1391" y="475"/>
                      </a:lnTo>
                      <a:lnTo>
                        <a:pt x="1392" y="475"/>
                      </a:lnTo>
                      <a:lnTo>
                        <a:pt x="1393" y="475"/>
                      </a:lnTo>
                      <a:lnTo>
                        <a:pt x="1394" y="475"/>
                      </a:lnTo>
                      <a:lnTo>
                        <a:pt x="1394" y="476"/>
                      </a:lnTo>
                      <a:lnTo>
                        <a:pt x="1395" y="476"/>
                      </a:lnTo>
                      <a:lnTo>
                        <a:pt x="1396" y="476"/>
                      </a:lnTo>
                      <a:lnTo>
                        <a:pt x="1396" y="475"/>
                      </a:lnTo>
                      <a:lnTo>
                        <a:pt x="1395" y="474"/>
                      </a:lnTo>
                      <a:lnTo>
                        <a:pt x="1394" y="474"/>
                      </a:lnTo>
                      <a:lnTo>
                        <a:pt x="1394" y="473"/>
                      </a:lnTo>
                      <a:lnTo>
                        <a:pt x="1395" y="473"/>
                      </a:lnTo>
                      <a:lnTo>
                        <a:pt x="1395" y="472"/>
                      </a:lnTo>
                      <a:lnTo>
                        <a:pt x="1395" y="470"/>
                      </a:lnTo>
                      <a:lnTo>
                        <a:pt x="1394" y="470"/>
                      </a:lnTo>
                      <a:lnTo>
                        <a:pt x="1394" y="469"/>
                      </a:lnTo>
                      <a:lnTo>
                        <a:pt x="1393" y="469"/>
                      </a:lnTo>
                      <a:lnTo>
                        <a:pt x="1393" y="470"/>
                      </a:lnTo>
                      <a:lnTo>
                        <a:pt x="1392" y="470"/>
                      </a:lnTo>
                      <a:lnTo>
                        <a:pt x="1391" y="470"/>
                      </a:lnTo>
                      <a:lnTo>
                        <a:pt x="1391" y="469"/>
                      </a:lnTo>
                      <a:lnTo>
                        <a:pt x="1391" y="468"/>
                      </a:lnTo>
                      <a:lnTo>
                        <a:pt x="1392" y="468"/>
                      </a:lnTo>
                      <a:lnTo>
                        <a:pt x="1393" y="468"/>
                      </a:lnTo>
                      <a:lnTo>
                        <a:pt x="1394" y="468"/>
                      </a:lnTo>
                      <a:lnTo>
                        <a:pt x="1394" y="467"/>
                      </a:lnTo>
                      <a:lnTo>
                        <a:pt x="1394" y="466"/>
                      </a:lnTo>
                      <a:lnTo>
                        <a:pt x="1394" y="467"/>
                      </a:lnTo>
                      <a:lnTo>
                        <a:pt x="1395" y="467"/>
                      </a:lnTo>
                      <a:lnTo>
                        <a:pt x="1395" y="468"/>
                      </a:lnTo>
                      <a:lnTo>
                        <a:pt x="1395" y="469"/>
                      </a:lnTo>
                      <a:lnTo>
                        <a:pt x="1396" y="469"/>
                      </a:lnTo>
                      <a:lnTo>
                        <a:pt x="1396" y="470"/>
                      </a:lnTo>
                      <a:lnTo>
                        <a:pt x="1397" y="470"/>
                      </a:lnTo>
                      <a:lnTo>
                        <a:pt x="1397" y="469"/>
                      </a:lnTo>
                      <a:lnTo>
                        <a:pt x="1397" y="468"/>
                      </a:lnTo>
                      <a:lnTo>
                        <a:pt x="1397" y="467"/>
                      </a:lnTo>
                      <a:lnTo>
                        <a:pt x="1399" y="467"/>
                      </a:lnTo>
                      <a:lnTo>
                        <a:pt x="1400" y="468"/>
                      </a:lnTo>
                      <a:lnTo>
                        <a:pt x="1401" y="468"/>
                      </a:lnTo>
                      <a:lnTo>
                        <a:pt x="1400" y="468"/>
                      </a:lnTo>
                      <a:lnTo>
                        <a:pt x="1401" y="468"/>
                      </a:lnTo>
                      <a:lnTo>
                        <a:pt x="1401" y="469"/>
                      </a:lnTo>
                      <a:lnTo>
                        <a:pt x="1401" y="470"/>
                      </a:lnTo>
                      <a:lnTo>
                        <a:pt x="1402" y="472"/>
                      </a:lnTo>
                      <a:lnTo>
                        <a:pt x="1403" y="473"/>
                      </a:lnTo>
                      <a:lnTo>
                        <a:pt x="1403" y="472"/>
                      </a:lnTo>
                      <a:lnTo>
                        <a:pt x="1403" y="473"/>
                      </a:lnTo>
                      <a:lnTo>
                        <a:pt x="1404" y="473"/>
                      </a:lnTo>
                      <a:lnTo>
                        <a:pt x="1405" y="473"/>
                      </a:lnTo>
                      <a:lnTo>
                        <a:pt x="1404" y="474"/>
                      </a:lnTo>
                      <a:lnTo>
                        <a:pt x="1404" y="475"/>
                      </a:lnTo>
                      <a:lnTo>
                        <a:pt x="1403" y="475"/>
                      </a:lnTo>
                      <a:lnTo>
                        <a:pt x="1403" y="476"/>
                      </a:lnTo>
                      <a:lnTo>
                        <a:pt x="1402" y="476"/>
                      </a:lnTo>
                      <a:lnTo>
                        <a:pt x="1402" y="477"/>
                      </a:lnTo>
                      <a:lnTo>
                        <a:pt x="1402" y="478"/>
                      </a:lnTo>
                      <a:lnTo>
                        <a:pt x="1402" y="479"/>
                      </a:lnTo>
                      <a:lnTo>
                        <a:pt x="1402" y="480"/>
                      </a:lnTo>
                      <a:lnTo>
                        <a:pt x="1401" y="480"/>
                      </a:lnTo>
                      <a:lnTo>
                        <a:pt x="1401" y="481"/>
                      </a:lnTo>
                      <a:lnTo>
                        <a:pt x="1400" y="481"/>
                      </a:lnTo>
                      <a:lnTo>
                        <a:pt x="1400" y="482"/>
                      </a:lnTo>
                      <a:lnTo>
                        <a:pt x="1399" y="482"/>
                      </a:lnTo>
                      <a:lnTo>
                        <a:pt x="1399" y="484"/>
                      </a:lnTo>
                      <a:lnTo>
                        <a:pt x="1399" y="485"/>
                      </a:lnTo>
                      <a:lnTo>
                        <a:pt x="1399" y="486"/>
                      </a:lnTo>
                      <a:lnTo>
                        <a:pt x="1397" y="486"/>
                      </a:lnTo>
                      <a:lnTo>
                        <a:pt x="1396" y="486"/>
                      </a:lnTo>
                      <a:lnTo>
                        <a:pt x="1396" y="487"/>
                      </a:lnTo>
                      <a:lnTo>
                        <a:pt x="1395" y="487"/>
                      </a:lnTo>
                      <a:lnTo>
                        <a:pt x="1394" y="488"/>
                      </a:lnTo>
                      <a:lnTo>
                        <a:pt x="1393" y="488"/>
                      </a:lnTo>
                      <a:lnTo>
                        <a:pt x="1394" y="488"/>
                      </a:lnTo>
                      <a:lnTo>
                        <a:pt x="1394" y="487"/>
                      </a:lnTo>
                      <a:lnTo>
                        <a:pt x="1395" y="487"/>
                      </a:lnTo>
                      <a:lnTo>
                        <a:pt x="1395" y="486"/>
                      </a:lnTo>
                      <a:lnTo>
                        <a:pt x="1396" y="485"/>
                      </a:lnTo>
                      <a:lnTo>
                        <a:pt x="1396" y="484"/>
                      </a:lnTo>
                      <a:lnTo>
                        <a:pt x="1395" y="484"/>
                      </a:lnTo>
                      <a:lnTo>
                        <a:pt x="1394" y="484"/>
                      </a:lnTo>
                      <a:lnTo>
                        <a:pt x="1394" y="485"/>
                      </a:lnTo>
                      <a:lnTo>
                        <a:pt x="1393" y="485"/>
                      </a:lnTo>
                      <a:lnTo>
                        <a:pt x="1393" y="486"/>
                      </a:lnTo>
                      <a:lnTo>
                        <a:pt x="1392" y="486"/>
                      </a:lnTo>
                      <a:lnTo>
                        <a:pt x="1393" y="486"/>
                      </a:lnTo>
                      <a:lnTo>
                        <a:pt x="1393" y="485"/>
                      </a:lnTo>
                      <a:lnTo>
                        <a:pt x="1393" y="484"/>
                      </a:lnTo>
                      <a:lnTo>
                        <a:pt x="1394" y="484"/>
                      </a:lnTo>
                      <a:lnTo>
                        <a:pt x="1395" y="484"/>
                      </a:lnTo>
                      <a:lnTo>
                        <a:pt x="1395" y="482"/>
                      </a:lnTo>
                      <a:lnTo>
                        <a:pt x="1395" y="481"/>
                      </a:lnTo>
                      <a:lnTo>
                        <a:pt x="1395" y="482"/>
                      </a:lnTo>
                      <a:lnTo>
                        <a:pt x="1394" y="482"/>
                      </a:lnTo>
                      <a:lnTo>
                        <a:pt x="1393" y="484"/>
                      </a:lnTo>
                      <a:lnTo>
                        <a:pt x="1392" y="484"/>
                      </a:lnTo>
                      <a:lnTo>
                        <a:pt x="1391" y="484"/>
                      </a:lnTo>
                      <a:lnTo>
                        <a:pt x="1392" y="484"/>
                      </a:lnTo>
                      <a:lnTo>
                        <a:pt x="1393" y="484"/>
                      </a:lnTo>
                      <a:lnTo>
                        <a:pt x="1393" y="482"/>
                      </a:lnTo>
                      <a:lnTo>
                        <a:pt x="1393" y="481"/>
                      </a:lnTo>
                      <a:lnTo>
                        <a:pt x="1393" y="480"/>
                      </a:lnTo>
                      <a:lnTo>
                        <a:pt x="1393" y="479"/>
                      </a:lnTo>
                      <a:lnTo>
                        <a:pt x="1392" y="479"/>
                      </a:lnTo>
                      <a:lnTo>
                        <a:pt x="1391" y="478"/>
                      </a:lnTo>
                      <a:lnTo>
                        <a:pt x="1391" y="477"/>
                      </a:lnTo>
                      <a:lnTo>
                        <a:pt x="1391" y="476"/>
                      </a:lnTo>
                      <a:lnTo>
                        <a:pt x="1390" y="476"/>
                      </a:lnTo>
                      <a:lnTo>
                        <a:pt x="1390" y="477"/>
                      </a:lnTo>
                      <a:lnTo>
                        <a:pt x="1390" y="478"/>
                      </a:lnTo>
                      <a:lnTo>
                        <a:pt x="1390" y="479"/>
                      </a:lnTo>
                      <a:lnTo>
                        <a:pt x="1389" y="479"/>
                      </a:lnTo>
                      <a:lnTo>
                        <a:pt x="1389" y="480"/>
                      </a:lnTo>
                      <a:lnTo>
                        <a:pt x="1389" y="481"/>
                      </a:lnTo>
                      <a:lnTo>
                        <a:pt x="1388" y="481"/>
                      </a:lnTo>
                      <a:lnTo>
                        <a:pt x="1387" y="481"/>
                      </a:lnTo>
                      <a:lnTo>
                        <a:pt x="1387" y="482"/>
                      </a:lnTo>
                      <a:lnTo>
                        <a:pt x="1387" y="481"/>
                      </a:lnTo>
                      <a:lnTo>
                        <a:pt x="1386" y="480"/>
                      </a:lnTo>
                      <a:lnTo>
                        <a:pt x="1384" y="480"/>
                      </a:lnTo>
                      <a:lnTo>
                        <a:pt x="1384" y="479"/>
                      </a:lnTo>
                      <a:lnTo>
                        <a:pt x="1384" y="478"/>
                      </a:lnTo>
                      <a:lnTo>
                        <a:pt x="1386" y="478"/>
                      </a:lnTo>
                      <a:lnTo>
                        <a:pt x="1386" y="477"/>
                      </a:lnTo>
                      <a:lnTo>
                        <a:pt x="1386" y="476"/>
                      </a:lnTo>
                      <a:lnTo>
                        <a:pt x="1386" y="475"/>
                      </a:lnTo>
                      <a:lnTo>
                        <a:pt x="1386" y="476"/>
                      </a:lnTo>
                      <a:lnTo>
                        <a:pt x="1387" y="476"/>
                      </a:lnTo>
                      <a:lnTo>
                        <a:pt x="1387" y="475"/>
                      </a:lnTo>
                      <a:lnTo>
                        <a:pt x="1388" y="475"/>
                      </a:lnTo>
                      <a:lnTo>
                        <a:pt x="1387" y="475"/>
                      </a:lnTo>
                      <a:lnTo>
                        <a:pt x="1387" y="474"/>
                      </a:lnTo>
                      <a:lnTo>
                        <a:pt x="1387" y="473"/>
                      </a:lnTo>
                      <a:lnTo>
                        <a:pt x="1388" y="473"/>
                      </a:lnTo>
                      <a:lnTo>
                        <a:pt x="1388" y="472"/>
                      </a:lnTo>
                      <a:lnTo>
                        <a:pt x="1388" y="473"/>
                      </a:lnTo>
                      <a:lnTo>
                        <a:pt x="1389" y="473"/>
                      </a:lnTo>
                      <a:lnTo>
                        <a:pt x="1390" y="473"/>
                      </a:lnTo>
                      <a:lnTo>
                        <a:pt x="1390" y="472"/>
                      </a:lnTo>
                      <a:lnTo>
                        <a:pt x="1391" y="472"/>
                      </a:lnTo>
                      <a:lnTo>
                        <a:pt x="1390" y="472"/>
                      </a:lnTo>
                      <a:lnTo>
                        <a:pt x="1390" y="470"/>
                      </a:lnTo>
                      <a:lnTo>
                        <a:pt x="1389" y="472"/>
                      </a:lnTo>
                      <a:lnTo>
                        <a:pt x="1389" y="470"/>
                      </a:lnTo>
                      <a:lnTo>
                        <a:pt x="1390" y="470"/>
                      </a:lnTo>
                      <a:lnTo>
                        <a:pt x="1390" y="469"/>
                      </a:lnTo>
                      <a:lnTo>
                        <a:pt x="1390" y="468"/>
                      </a:lnTo>
                      <a:lnTo>
                        <a:pt x="1390" y="467"/>
                      </a:lnTo>
                      <a:lnTo>
                        <a:pt x="1391" y="466"/>
                      </a:lnTo>
                      <a:lnTo>
                        <a:pt x="1391" y="465"/>
                      </a:lnTo>
                      <a:lnTo>
                        <a:pt x="1392" y="465"/>
                      </a:lnTo>
                      <a:lnTo>
                        <a:pt x="1392" y="466"/>
                      </a:lnTo>
                      <a:lnTo>
                        <a:pt x="1391" y="466"/>
                      </a:lnTo>
                      <a:lnTo>
                        <a:pt x="1391" y="467"/>
                      </a:lnTo>
                      <a:lnTo>
                        <a:pt x="1390" y="467"/>
                      </a:lnTo>
                      <a:lnTo>
                        <a:pt x="1391" y="468"/>
                      </a:lnTo>
                      <a:lnTo>
                        <a:pt x="1390" y="469"/>
                      </a:lnTo>
                      <a:lnTo>
                        <a:pt x="1391" y="469"/>
                      </a:lnTo>
                      <a:close/>
                      <a:moveTo>
                        <a:pt x="1370" y="546"/>
                      </a:moveTo>
                      <a:lnTo>
                        <a:pt x="1371" y="547"/>
                      </a:lnTo>
                      <a:lnTo>
                        <a:pt x="1373" y="547"/>
                      </a:lnTo>
                      <a:lnTo>
                        <a:pt x="1373" y="549"/>
                      </a:lnTo>
                      <a:lnTo>
                        <a:pt x="1374" y="549"/>
                      </a:lnTo>
                      <a:lnTo>
                        <a:pt x="1374" y="547"/>
                      </a:lnTo>
                      <a:lnTo>
                        <a:pt x="1375" y="547"/>
                      </a:lnTo>
                      <a:lnTo>
                        <a:pt x="1375" y="549"/>
                      </a:lnTo>
                      <a:lnTo>
                        <a:pt x="1376" y="549"/>
                      </a:lnTo>
                      <a:lnTo>
                        <a:pt x="1377" y="549"/>
                      </a:lnTo>
                      <a:lnTo>
                        <a:pt x="1376" y="549"/>
                      </a:lnTo>
                      <a:lnTo>
                        <a:pt x="1376" y="547"/>
                      </a:lnTo>
                      <a:lnTo>
                        <a:pt x="1375" y="547"/>
                      </a:lnTo>
                      <a:lnTo>
                        <a:pt x="1376" y="547"/>
                      </a:lnTo>
                      <a:lnTo>
                        <a:pt x="1377" y="547"/>
                      </a:lnTo>
                      <a:lnTo>
                        <a:pt x="1378" y="547"/>
                      </a:lnTo>
                      <a:lnTo>
                        <a:pt x="1378" y="549"/>
                      </a:lnTo>
                      <a:lnTo>
                        <a:pt x="1377" y="549"/>
                      </a:lnTo>
                      <a:lnTo>
                        <a:pt x="1376" y="550"/>
                      </a:lnTo>
                      <a:lnTo>
                        <a:pt x="1376" y="551"/>
                      </a:lnTo>
                      <a:lnTo>
                        <a:pt x="1376" y="552"/>
                      </a:lnTo>
                      <a:lnTo>
                        <a:pt x="1376" y="553"/>
                      </a:lnTo>
                      <a:lnTo>
                        <a:pt x="1376" y="554"/>
                      </a:lnTo>
                      <a:lnTo>
                        <a:pt x="1376" y="555"/>
                      </a:lnTo>
                      <a:lnTo>
                        <a:pt x="1377" y="555"/>
                      </a:lnTo>
                      <a:lnTo>
                        <a:pt x="1376" y="556"/>
                      </a:lnTo>
                      <a:lnTo>
                        <a:pt x="1376" y="557"/>
                      </a:lnTo>
                      <a:lnTo>
                        <a:pt x="1375" y="557"/>
                      </a:lnTo>
                      <a:lnTo>
                        <a:pt x="1376" y="557"/>
                      </a:lnTo>
                      <a:lnTo>
                        <a:pt x="1377" y="557"/>
                      </a:lnTo>
                      <a:lnTo>
                        <a:pt x="1377" y="556"/>
                      </a:lnTo>
                      <a:lnTo>
                        <a:pt x="1377" y="557"/>
                      </a:lnTo>
                      <a:lnTo>
                        <a:pt x="1378" y="557"/>
                      </a:lnTo>
                      <a:lnTo>
                        <a:pt x="1378" y="558"/>
                      </a:lnTo>
                      <a:lnTo>
                        <a:pt x="1379" y="558"/>
                      </a:lnTo>
                      <a:lnTo>
                        <a:pt x="1380" y="558"/>
                      </a:lnTo>
                      <a:lnTo>
                        <a:pt x="1380" y="559"/>
                      </a:lnTo>
                      <a:lnTo>
                        <a:pt x="1379" y="558"/>
                      </a:lnTo>
                      <a:lnTo>
                        <a:pt x="1378" y="558"/>
                      </a:lnTo>
                      <a:lnTo>
                        <a:pt x="1377" y="558"/>
                      </a:lnTo>
                      <a:lnTo>
                        <a:pt x="1376" y="558"/>
                      </a:lnTo>
                      <a:lnTo>
                        <a:pt x="1375" y="558"/>
                      </a:lnTo>
                      <a:lnTo>
                        <a:pt x="1374" y="559"/>
                      </a:lnTo>
                      <a:lnTo>
                        <a:pt x="1374" y="558"/>
                      </a:lnTo>
                      <a:lnTo>
                        <a:pt x="1373" y="558"/>
                      </a:lnTo>
                      <a:lnTo>
                        <a:pt x="1371" y="558"/>
                      </a:lnTo>
                      <a:lnTo>
                        <a:pt x="1370" y="558"/>
                      </a:lnTo>
                      <a:lnTo>
                        <a:pt x="1369" y="558"/>
                      </a:lnTo>
                      <a:lnTo>
                        <a:pt x="1368" y="558"/>
                      </a:lnTo>
                      <a:lnTo>
                        <a:pt x="1367" y="558"/>
                      </a:lnTo>
                      <a:lnTo>
                        <a:pt x="1366" y="558"/>
                      </a:lnTo>
                      <a:lnTo>
                        <a:pt x="1366" y="559"/>
                      </a:lnTo>
                      <a:lnTo>
                        <a:pt x="1365" y="559"/>
                      </a:lnTo>
                      <a:lnTo>
                        <a:pt x="1363" y="559"/>
                      </a:lnTo>
                      <a:lnTo>
                        <a:pt x="1362" y="559"/>
                      </a:lnTo>
                      <a:lnTo>
                        <a:pt x="1361" y="559"/>
                      </a:lnTo>
                      <a:lnTo>
                        <a:pt x="1360" y="558"/>
                      </a:lnTo>
                      <a:lnTo>
                        <a:pt x="1358" y="558"/>
                      </a:lnTo>
                      <a:lnTo>
                        <a:pt x="1357" y="558"/>
                      </a:lnTo>
                      <a:lnTo>
                        <a:pt x="1356" y="558"/>
                      </a:lnTo>
                      <a:lnTo>
                        <a:pt x="1356" y="557"/>
                      </a:lnTo>
                      <a:lnTo>
                        <a:pt x="1355" y="556"/>
                      </a:lnTo>
                      <a:lnTo>
                        <a:pt x="1355" y="557"/>
                      </a:lnTo>
                      <a:lnTo>
                        <a:pt x="1355" y="558"/>
                      </a:lnTo>
                      <a:lnTo>
                        <a:pt x="1354" y="558"/>
                      </a:lnTo>
                      <a:lnTo>
                        <a:pt x="1354" y="559"/>
                      </a:lnTo>
                      <a:lnTo>
                        <a:pt x="1353" y="559"/>
                      </a:lnTo>
                      <a:lnTo>
                        <a:pt x="1352" y="560"/>
                      </a:lnTo>
                      <a:lnTo>
                        <a:pt x="1351" y="560"/>
                      </a:lnTo>
                      <a:lnTo>
                        <a:pt x="1350" y="562"/>
                      </a:lnTo>
                      <a:lnTo>
                        <a:pt x="1349" y="563"/>
                      </a:lnTo>
                      <a:lnTo>
                        <a:pt x="1348" y="563"/>
                      </a:lnTo>
                      <a:lnTo>
                        <a:pt x="1348" y="564"/>
                      </a:lnTo>
                      <a:lnTo>
                        <a:pt x="1347" y="564"/>
                      </a:lnTo>
                      <a:lnTo>
                        <a:pt x="1348" y="564"/>
                      </a:lnTo>
                      <a:lnTo>
                        <a:pt x="1348" y="565"/>
                      </a:lnTo>
                      <a:lnTo>
                        <a:pt x="1347" y="565"/>
                      </a:lnTo>
                      <a:lnTo>
                        <a:pt x="1347" y="566"/>
                      </a:lnTo>
                      <a:lnTo>
                        <a:pt x="1347" y="565"/>
                      </a:lnTo>
                      <a:lnTo>
                        <a:pt x="1345" y="565"/>
                      </a:lnTo>
                      <a:lnTo>
                        <a:pt x="1344" y="566"/>
                      </a:lnTo>
                      <a:lnTo>
                        <a:pt x="1343" y="566"/>
                      </a:lnTo>
                      <a:lnTo>
                        <a:pt x="1342" y="567"/>
                      </a:lnTo>
                      <a:lnTo>
                        <a:pt x="1341" y="567"/>
                      </a:lnTo>
                      <a:lnTo>
                        <a:pt x="1341" y="568"/>
                      </a:lnTo>
                      <a:lnTo>
                        <a:pt x="1340" y="568"/>
                      </a:lnTo>
                      <a:lnTo>
                        <a:pt x="1339" y="569"/>
                      </a:lnTo>
                      <a:lnTo>
                        <a:pt x="1338" y="570"/>
                      </a:lnTo>
                      <a:lnTo>
                        <a:pt x="1338" y="571"/>
                      </a:lnTo>
                      <a:lnTo>
                        <a:pt x="1337" y="571"/>
                      </a:lnTo>
                      <a:lnTo>
                        <a:pt x="1336" y="570"/>
                      </a:lnTo>
                      <a:lnTo>
                        <a:pt x="1337" y="570"/>
                      </a:lnTo>
                      <a:lnTo>
                        <a:pt x="1337" y="569"/>
                      </a:lnTo>
                      <a:lnTo>
                        <a:pt x="1337" y="568"/>
                      </a:lnTo>
                      <a:lnTo>
                        <a:pt x="1338" y="568"/>
                      </a:lnTo>
                      <a:lnTo>
                        <a:pt x="1339" y="568"/>
                      </a:lnTo>
                      <a:lnTo>
                        <a:pt x="1340" y="567"/>
                      </a:lnTo>
                      <a:lnTo>
                        <a:pt x="1340" y="566"/>
                      </a:lnTo>
                      <a:lnTo>
                        <a:pt x="1341" y="566"/>
                      </a:lnTo>
                      <a:lnTo>
                        <a:pt x="1341" y="565"/>
                      </a:lnTo>
                      <a:lnTo>
                        <a:pt x="1342" y="565"/>
                      </a:lnTo>
                      <a:lnTo>
                        <a:pt x="1343" y="565"/>
                      </a:lnTo>
                      <a:lnTo>
                        <a:pt x="1344" y="565"/>
                      </a:lnTo>
                      <a:lnTo>
                        <a:pt x="1344" y="564"/>
                      </a:lnTo>
                      <a:lnTo>
                        <a:pt x="1345" y="564"/>
                      </a:lnTo>
                      <a:lnTo>
                        <a:pt x="1345" y="563"/>
                      </a:lnTo>
                      <a:lnTo>
                        <a:pt x="1347" y="563"/>
                      </a:lnTo>
                      <a:lnTo>
                        <a:pt x="1347" y="562"/>
                      </a:lnTo>
                      <a:lnTo>
                        <a:pt x="1347" y="560"/>
                      </a:lnTo>
                      <a:lnTo>
                        <a:pt x="1347" y="562"/>
                      </a:lnTo>
                      <a:lnTo>
                        <a:pt x="1347" y="560"/>
                      </a:lnTo>
                      <a:lnTo>
                        <a:pt x="1347" y="559"/>
                      </a:lnTo>
                      <a:lnTo>
                        <a:pt x="1347" y="558"/>
                      </a:lnTo>
                      <a:lnTo>
                        <a:pt x="1348" y="558"/>
                      </a:lnTo>
                      <a:lnTo>
                        <a:pt x="1349" y="558"/>
                      </a:lnTo>
                      <a:lnTo>
                        <a:pt x="1349" y="557"/>
                      </a:lnTo>
                      <a:lnTo>
                        <a:pt x="1350" y="557"/>
                      </a:lnTo>
                      <a:lnTo>
                        <a:pt x="1350" y="556"/>
                      </a:lnTo>
                      <a:lnTo>
                        <a:pt x="1351" y="556"/>
                      </a:lnTo>
                      <a:lnTo>
                        <a:pt x="1351" y="557"/>
                      </a:lnTo>
                      <a:lnTo>
                        <a:pt x="1351" y="558"/>
                      </a:lnTo>
                      <a:lnTo>
                        <a:pt x="1352" y="558"/>
                      </a:lnTo>
                      <a:lnTo>
                        <a:pt x="1353" y="558"/>
                      </a:lnTo>
                      <a:lnTo>
                        <a:pt x="1353" y="557"/>
                      </a:lnTo>
                      <a:lnTo>
                        <a:pt x="1353" y="556"/>
                      </a:lnTo>
                      <a:lnTo>
                        <a:pt x="1354" y="556"/>
                      </a:lnTo>
                      <a:lnTo>
                        <a:pt x="1353" y="555"/>
                      </a:lnTo>
                      <a:lnTo>
                        <a:pt x="1353" y="554"/>
                      </a:lnTo>
                      <a:lnTo>
                        <a:pt x="1354" y="554"/>
                      </a:lnTo>
                      <a:lnTo>
                        <a:pt x="1354" y="553"/>
                      </a:lnTo>
                      <a:lnTo>
                        <a:pt x="1355" y="553"/>
                      </a:lnTo>
                      <a:lnTo>
                        <a:pt x="1355" y="552"/>
                      </a:lnTo>
                      <a:lnTo>
                        <a:pt x="1356" y="552"/>
                      </a:lnTo>
                      <a:lnTo>
                        <a:pt x="1356" y="551"/>
                      </a:lnTo>
                      <a:lnTo>
                        <a:pt x="1357" y="551"/>
                      </a:lnTo>
                      <a:lnTo>
                        <a:pt x="1357" y="552"/>
                      </a:lnTo>
                      <a:lnTo>
                        <a:pt x="1356" y="553"/>
                      </a:lnTo>
                      <a:lnTo>
                        <a:pt x="1356" y="554"/>
                      </a:lnTo>
                      <a:lnTo>
                        <a:pt x="1357" y="554"/>
                      </a:lnTo>
                      <a:lnTo>
                        <a:pt x="1356" y="554"/>
                      </a:lnTo>
                      <a:lnTo>
                        <a:pt x="1356" y="555"/>
                      </a:lnTo>
                      <a:lnTo>
                        <a:pt x="1357" y="555"/>
                      </a:lnTo>
                      <a:lnTo>
                        <a:pt x="1358" y="554"/>
                      </a:lnTo>
                      <a:lnTo>
                        <a:pt x="1357" y="554"/>
                      </a:lnTo>
                      <a:lnTo>
                        <a:pt x="1358" y="554"/>
                      </a:lnTo>
                      <a:lnTo>
                        <a:pt x="1360" y="554"/>
                      </a:lnTo>
                      <a:lnTo>
                        <a:pt x="1360" y="555"/>
                      </a:lnTo>
                      <a:lnTo>
                        <a:pt x="1360" y="554"/>
                      </a:lnTo>
                      <a:lnTo>
                        <a:pt x="1360" y="555"/>
                      </a:lnTo>
                      <a:lnTo>
                        <a:pt x="1361" y="555"/>
                      </a:lnTo>
                      <a:lnTo>
                        <a:pt x="1361" y="556"/>
                      </a:lnTo>
                      <a:lnTo>
                        <a:pt x="1362" y="556"/>
                      </a:lnTo>
                      <a:lnTo>
                        <a:pt x="1363" y="556"/>
                      </a:lnTo>
                      <a:lnTo>
                        <a:pt x="1363" y="557"/>
                      </a:lnTo>
                      <a:lnTo>
                        <a:pt x="1364" y="557"/>
                      </a:lnTo>
                      <a:lnTo>
                        <a:pt x="1365" y="557"/>
                      </a:lnTo>
                      <a:lnTo>
                        <a:pt x="1366" y="558"/>
                      </a:lnTo>
                      <a:lnTo>
                        <a:pt x="1366" y="557"/>
                      </a:lnTo>
                      <a:lnTo>
                        <a:pt x="1367" y="557"/>
                      </a:lnTo>
                      <a:lnTo>
                        <a:pt x="1367" y="558"/>
                      </a:lnTo>
                      <a:lnTo>
                        <a:pt x="1368" y="558"/>
                      </a:lnTo>
                      <a:lnTo>
                        <a:pt x="1368" y="557"/>
                      </a:lnTo>
                      <a:lnTo>
                        <a:pt x="1369" y="557"/>
                      </a:lnTo>
                      <a:lnTo>
                        <a:pt x="1369" y="556"/>
                      </a:lnTo>
                      <a:lnTo>
                        <a:pt x="1370" y="556"/>
                      </a:lnTo>
                      <a:lnTo>
                        <a:pt x="1369" y="557"/>
                      </a:lnTo>
                      <a:lnTo>
                        <a:pt x="1368" y="557"/>
                      </a:lnTo>
                      <a:lnTo>
                        <a:pt x="1369" y="557"/>
                      </a:lnTo>
                      <a:lnTo>
                        <a:pt x="1370" y="557"/>
                      </a:lnTo>
                      <a:lnTo>
                        <a:pt x="1370" y="556"/>
                      </a:lnTo>
                      <a:lnTo>
                        <a:pt x="1369" y="556"/>
                      </a:lnTo>
                      <a:lnTo>
                        <a:pt x="1370" y="556"/>
                      </a:lnTo>
                      <a:lnTo>
                        <a:pt x="1370" y="555"/>
                      </a:lnTo>
                      <a:lnTo>
                        <a:pt x="1371" y="555"/>
                      </a:lnTo>
                      <a:lnTo>
                        <a:pt x="1371" y="554"/>
                      </a:lnTo>
                      <a:lnTo>
                        <a:pt x="1371" y="553"/>
                      </a:lnTo>
                      <a:lnTo>
                        <a:pt x="1370" y="553"/>
                      </a:lnTo>
                      <a:lnTo>
                        <a:pt x="1370" y="552"/>
                      </a:lnTo>
                      <a:lnTo>
                        <a:pt x="1370" y="551"/>
                      </a:lnTo>
                      <a:lnTo>
                        <a:pt x="1370" y="552"/>
                      </a:lnTo>
                      <a:lnTo>
                        <a:pt x="1371" y="552"/>
                      </a:lnTo>
                      <a:lnTo>
                        <a:pt x="1371" y="553"/>
                      </a:lnTo>
                      <a:lnTo>
                        <a:pt x="1373" y="553"/>
                      </a:lnTo>
                      <a:lnTo>
                        <a:pt x="1373" y="552"/>
                      </a:lnTo>
                      <a:lnTo>
                        <a:pt x="1374" y="552"/>
                      </a:lnTo>
                      <a:lnTo>
                        <a:pt x="1374" y="551"/>
                      </a:lnTo>
                      <a:lnTo>
                        <a:pt x="1375" y="551"/>
                      </a:lnTo>
                      <a:lnTo>
                        <a:pt x="1375" y="550"/>
                      </a:lnTo>
                      <a:lnTo>
                        <a:pt x="1375" y="549"/>
                      </a:lnTo>
                      <a:lnTo>
                        <a:pt x="1374" y="550"/>
                      </a:lnTo>
                      <a:lnTo>
                        <a:pt x="1374" y="549"/>
                      </a:lnTo>
                      <a:lnTo>
                        <a:pt x="1373" y="549"/>
                      </a:lnTo>
                      <a:lnTo>
                        <a:pt x="1373" y="547"/>
                      </a:lnTo>
                      <a:lnTo>
                        <a:pt x="1371" y="547"/>
                      </a:lnTo>
                      <a:lnTo>
                        <a:pt x="1370" y="547"/>
                      </a:lnTo>
                      <a:lnTo>
                        <a:pt x="1370" y="546"/>
                      </a:lnTo>
                      <a:lnTo>
                        <a:pt x="1369" y="546"/>
                      </a:lnTo>
                      <a:lnTo>
                        <a:pt x="1370" y="546"/>
                      </a:lnTo>
                      <a:close/>
                      <a:moveTo>
                        <a:pt x="1299" y="633"/>
                      </a:moveTo>
                      <a:lnTo>
                        <a:pt x="1300" y="633"/>
                      </a:lnTo>
                      <a:lnTo>
                        <a:pt x="1301" y="633"/>
                      </a:lnTo>
                      <a:lnTo>
                        <a:pt x="1300" y="633"/>
                      </a:lnTo>
                      <a:lnTo>
                        <a:pt x="1301" y="634"/>
                      </a:lnTo>
                      <a:lnTo>
                        <a:pt x="1301" y="635"/>
                      </a:lnTo>
                      <a:lnTo>
                        <a:pt x="1302" y="636"/>
                      </a:lnTo>
                      <a:lnTo>
                        <a:pt x="1303" y="637"/>
                      </a:lnTo>
                      <a:lnTo>
                        <a:pt x="1304" y="637"/>
                      </a:lnTo>
                      <a:lnTo>
                        <a:pt x="1305" y="637"/>
                      </a:lnTo>
                      <a:lnTo>
                        <a:pt x="1306" y="637"/>
                      </a:lnTo>
                      <a:lnTo>
                        <a:pt x="1308" y="637"/>
                      </a:lnTo>
                      <a:lnTo>
                        <a:pt x="1309" y="637"/>
                      </a:lnTo>
                      <a:lnTo>
                        <a:pt x="1309" y="639"/>
                      </a:lnTo>
                      <a:lnTo>
                        <a:pt x="1310" y="639"/>
                      </a:lnTo>
                      <a:lnTo>
                        <a:pt x="1310" y="640"/>
                      </a:lnTo>
                      <a:lnTo>
                        <a:pt x="1311" y="640"/>
                      </a:lnTo>
                      <a:lnTo>
                        <a:pt x="1311" y="641"/>
                      </a:lnTo>
                      <a:lnTo>
                        <a:pt x="1311" y="642"/>
                      </a:lnTo>
                      <a:lnTo>
                        <a:pt x="1310" y="642"/>
                      </a:lnTo>
                      <a:lnTo>
                        <a:pt x="1311" y="641"/>
                      </a:lnTo>
                      <a:lnTo>
                        <a:pt x="1310" y="641"/>
                      </a:lnTo>
                      <a:lnTo>
                        <a:pt x="1310" y="640"/>
                      </a:lnTo>
                      <a:lnTo>
                        <a:pt x="1309" y="640"/>
                      </a:lnTo>
                      <a:lnTo>
                        <a:pt x="1308" y="641"/>
                      </a:lnTo>
                      <a:lnTo>
                        <a:pt x="1306" y="641"/>
                      </a:lnTo>
                      <a:lnTo>
                        <a:pt x="1305" y="642"/>
                      </a:lnTo>
                      <a:lnTo>
                        <a:pt x="1304" y="642"/>
                      </a:lnTo>
                      <a:lnTo>
                        <a:pt x="1304" y="643"/>
                      </a:lnTo>
                      <a:lnTo>
                        <a:pt x="1304" y="644"/>
                      </a:lnTo>
                      <a:lnTo>
                        <a:pt x="1303" y="644"/>
                      </a:lnTo>
                      <a:lnTo>
                        <a:pt x="1302" y="645"/>
                      </a:lnTo>
                      <a:lnTo>
                        <a:pt x="1302" y="644"/>
                      </a:lnTo>
                      <a:lnTo>
                        <a:pt x="1301" y="643"/>
                      </a:lnTo>
                      <a:lnTo>
                        <a:pt x="1300" y="643"/>
                      </a:lnTo>
                      <a:lnTo>
                        <a:pt x="1298" y="643"/>
                      </a:lnTo>
                      <a:lnTo>
                        <a:pt x="1297" y="643"/>
                      </a:lnTo>
                      <a:lnTo>
                        <a:pt x="1296" y="643"/>
                      </a:lnTo>
                      <a:lnTo>
                        <a:pt x="1295" y="644"/>
                      </a:lnTo>
                      <a:lnTo>
                        <a:pt x="1293" y="644"/>
                      </a:lnTo>
                      <a:lnTo>
                        <a:pt x="1293" y="643"/>
                      </a:lnTo>
                      <a:lnTo>
                        <a:pt x="1292" y="643"/>
                      </a:lnTo>
                      <a:lnTo>
                        <a:pt x="1291" y="642"/>
                      </a:lnTo>
                      <a:lnTo>
                        <a:pt x="1291" y="643"/>
                      </a:lnTo>
                      <a:lnTo>
                        <a:pt x="1291" y="642"/>
                      </a:lnTo>
                      <a:lnTo>
                        <a:pt x="1290" y="642"/>
                      </a:lnTo>
                      <a:lnTo>
                        <a:pt x="1285" y="637"/>
                      </a:lnTo>
                      <a:lnTo>
                        <a:pt x="1284" y="637"/>
                      </a:lnTo>
                      <a:lnTo>
                        <a:pt x="1290" y="642"/>
                      </a:lnTo>
                      <a:lnTo>
                        <a:pt x="1290" y="643"/>
                      </a:lnTo>
                      <a:lnTo>
                        <a:pt x="1291" y="643"/>
                      </a:lnTo>
                      <a:lnTo>
                        <a:pt x="1292" y="644"/>
                      </a:lnTo>
                      <a:lnTo>
                        <a:pt x="1293" y="644"/>
                      </a:lnTo>
                      <a:lnTo>
                        <a:pt x="1295" y="644"/>
                      </a:lnTo>
                      <a:lnTo>
                        <a:pt x="1293" y="644"/>
                      </a:lnTo>
                      <a:lnTo>
                        <a:pt x="1295" y="645"/>
                      </a:lnTo>
                      <a:lnTo>
                        <a:pt x="1293" y="644"/>
                      </a:lnTo>
                      <a:lnTo>
                        <a:pt x="1292" y="645"/>
                      </a:lnTo>
                      <a:lnTo>
                        <a:pt x="1292" y="644"/>
                      </a:lnTo>
                      <a:lnTo>
                        <a:pt x="1291" y="644"/>
                      </a:lnTo>
                      <a:lnTo>
                        <a:pt x="1290" y="644"/>
                      </a:lnTo>
                      <a:lnTo>
                        <a:pt x="1289" y="644"/>
                      </a:lnTo>
                      <a:lnTo>
                        <a:pt x="1290" y="644"/>
                      </a:lnTo>
                      <a:lnTo>
                        <a:pt x="1290" y="643"/>
                      </a:lnTo>
                      <a:lnTo>
                        <a:pt x="1290" y="642"/>
                      </a:lnTo>
                      <a:lnTo>
                        <a:pt x="1289" y="642"/>
                      </a:lnTo>
                      <a:lnTo>
                        <a:pt x="1288" y="642"/>
                      </a:lnTo>
                      <a:lnTo>
                        <a:pt x="1289" y="642"/>
                      </a:lnTo>
                      <a:lnTo>
                        <a:pt x="1288" y="642"/>
                      </a:lnTo>
                      <a:lnTo>
                        <a:pt x="1288" y="641"/>
                      </a:lnTo>
                      <a:lnTo>
                        <a:pt x="1287" y="641"/>
                      </a:lnTo>
                      <a:lnTo>
                        <a:pt x="1287" y="642"/>
                      </a:lnTo>
                      <a:lnTo>
                        <a:pt x="1286" y="641"/>
                      </a:lnTo>
                      <a:lnTo>
                        <a:pt x="1285" y="641"/>
                      </a:lnTo>
                      <a:lnTo>
                        <a:pt x="1284" y="641"/>
                      </a:lnTo>
                      <a:lnTo>
                        <a:pt x="1283" y="640"/>
                      </a:lnTo>
                      <a:lnTo>
                        <a:pt x="1283" y="639"/>
                      </a:lnTo>
                      <a:lnTo>
                        <a:pt x="1284" y="640"/>
                      </a:lnTo>
                      <a:lnTo>
                        <a:pt x="1284" y="639"/>
                      </a:lnTo>
                      <a:lnTo>
                        <a:pt x="1283" y="639"/>
                      </a:lnTo>
                      <a:lnTo>
                        <a:pt x="1284" y="639"/>
                      </a:lnTo>
                      <a:lnTo>
                        <a:pt x="1283" y="639"/>
                      </a:lnTo>
                      <a:lnTo>
                        <a:pt x="1283" y="637"/>
                      </a:lnTo>
                      <a:lnTo>
                        <a:pt x="1282" y="637"/>
                      </a:lnTo>
                      <a:lnTo>
                        <a:pt x="1280" y="637"/>
                      </a:lnTo>
                      <a:lnTo>
                        <a:pt x="1279" y="637"/>
                      </a:lnTo>
                      <a:lnTo>
                        <a:pt x="1278" y="639"/>
                      </a:lnTo>
                      <a:lnTo>
                        <a:pt x="1277" y="639"/>
                      </a:lnTo>
                      <a:lnTo>
                        <a:pt x="1277" y="637"/>
                      </a:lnTo>
                      <a:lnTo>
                        <a:pt x="1278" y="637"/>
                      </a:lnTo>
                      <a:lnTo>
                        <a:pt x="1279" y="637"/>
                      </a:lnTo>
                      <a:lnTo>
                        <a:pt x="1280" y="637"/>
                      </a:lnTo>
                      <a:lnTo>
                        <a:pt x="1282" y="637"/>
                      </a:lnTo>
                      <a:lnTo>
                        <a:pt x="1283" y="636"/>
                      </a:lnTo>
                      <a:lnTo>
                        <a:pt x="1284" y="636"/>
                      </a:lnTo>
                      <a:lnTo>
                        <a:pt x="1285" y="636"/>
                      </a:lnTo>
                      <a:lnTo>
                        <a:pt x="1286" y="636"/>
                      </a:lnTo>
                      <a:lnTo>
                        <a:pt x="1287" y="637"/>
                      </a:lnTo>
                      <a:lnTo>
                        <a:pt x="1287" y="639"/>
                      </a:lnTo>
                      <a:lnTo>
                        <a:pt x="1288" y="637"/>
                      </a:lnTo>
                      <a:lnTo>
                        <a:pt x="1288" y="639"/>
                      </a:lnTo>
                      <a:lnTo>
                        <a:pt x="1288" y="640"/>
                      </a:lnTo>
                      <a:lnTo>
                        <a:pt x="1289" y="641"/>
                      </a:lnTo>
                      <a:lnTo>
                        <a:pt x="1290" y="641"/>
                      </a:lnTo>
                      <a:lnTo>
                        <a:pt x="1291" y="641"/>
                      </a:lnTo>
                      <a:lnTo>
                        <a:pt x="1292" y="641"/>
                      </a:lnTo>
                      <a:lnTo>
                        <a:pt x="1293" y="641"/>
                      </a:lnTo>
                      <a:lnTo>
                        <a:pt x="1293" y="642"/>
                      </a:lnTo>
                      <a:lnTo>
                        <a:pt x="1295" y="642"/>
                      </a:lnTo>
                      <a:lnTo>
                        <a:pt x="1295" y="641"/>
                      </a:lnTo>
                      <a:lnTo>
                        <a:pt x="1296" y="641"/>
                      </a:lnTo>
                      <a:lnTo>
                        <a:pt x="1296" y="640"/>
                      </a:lnTo>
                      <a:lnTo>
                        <a:pt x="1297" y="640"/>
                      </a:lnTo>
                      <a:lnTo>
                        <a:pt x="1297" y="641"/>
                      </a:lnTo>
                      <a:lnTo>
                        <a:pt x="1297" y="642"/>
                      </a:lnTo>
                      <a:lnTo>
                        <a:pt x="1298" y="642"/>
                      </a:lnTo>
                      <a:lnTo>
                        <a:pt x="1299" y="641"/>
                      </a:lnTo>
                      <a:lnTo>
                        <a:pt x="1299" y="640"/>
                      </a:lnTo>
                      <a:lnTo>
                        <a:pt x="1300" y="640"/>
                      </a:lnTo>
                      <a:lnTo>
                        <a:pt x="1300" y="639"/>
                      </a:lnTo>
                      <a:lnTo>
                        <a:pt x="1301" y="639"/>
                      </a:lnTo>
                      <a:lnTo>
                        <a:pt x="1300" y="639"/>
                      </a:lnTo>
                      <a:lnTo>
                        <a:pt x="1300" y="640"/>
                      </a:lnTo>
                      <a:lnTo>
                        <a:pt x="1300" y="641"/>
                      </a:lnTo>
                      <a:lnTo>
                        <a:pt x="1301" y="641"/>
                      </a:lnTo>
                      <a:lnTo>
                        <a:pt x="1302" y="641"/>
                      </a:lnTo>
                      <a:lnTo>
                        <a:pt x="1302" y="640"/>
                      </a:lnTo>
                      <a:lnTo>
                        <a:pt x="1302" y="639"/>
                      </a:lnTo>
                      <a:lnTo>
                        <a:pt x="1301" y="639"/>
                      </a:lnTo>
                      <a:lnTo>
                        <a:pt x="1301" y="637"/>
                      </a:lnTo>
                      <a:lnTo>
                        <a:pt x="1300" y="637"/>
                      </a:lnTo>
                      <a:lnTo>
                        <a:pt x="1300" y="639"/>
                      </a:lnTo>
                      <a:lnTo>
                        <a:pt x="1300" y="637"/>
                      </a:lnTo>
                      <a:lnTo>
                        <a:pt x="1299" y="637"/>
                      </a:lnTo>
                      <a:lnTo>
                        <a:pt x="1299" y="639"/>
                      </a:lnTo>
                      <a:lnTo>
                        <a:pt x="1298" y="637"/>
                      </a:lnTo>
                      <a:lnTo>
                        <a:pt x="1297" y="636"/>
                      </a:lnTo>
                      <a:lnTo>
                        <a:pt x="1297" y="637"/>
                      </a:lnTo>
                      <a:lnTo>
                        <a:pt x="1297" y="636"/>
                      </a:lnTo>
                      <a:lnTo>
                        <a:pt x="1296" y="635"/>
                      </a:lnTo>
                      <a:lnTo>
                        <a:pt x="1297" y="635"/>
                      </a:lnTo>
                      <a:lnTo>
                        <a:pt x="1297" y="634"/>
                      </a:lnTo>
                      <a:lnTo>
                        <a:pt x="1296" y="635"/>
                      </a:lnTo>
                      <a:lnTo>
                        <a:pt x="1296" y="636"/>
                      </a:lnTo>
                      <a:lnTo>
                        <a:pt x="1295" y="637"/>
                      </a:lnTo>
                      <a:lnTo>
                        <a:pt x="1295" y="636"/>
                      </a:lnTo>
                      <a:lnTo>
                        <a:pt x="1295" y="635"/>
                      </a:lnTo>
                      <a:lnTo>
                        <a:pt x="1293" y="635"/>
                      </a:lnTo>
                      <a:lnTo>
                        <a:pt x="1293" y="636"/>
                      </a:lnTo>
                      <a:lnTo>
                        <a:pt x="1295" y="637"/>
                      </a:lnTo>
                      <a:lnTo>
                        <a:pt x="1296" y="637"/>
                      </a:lnTo>
                      <a:lnTo>
                        <a:pt x="1297" y="637"/>
                      </a:lnTo>
                      <a:lnTo>
                        <a:pt x="1298" y="637"/>
                      </a:lnTo>
                      <a:lnTo>
                        <a:pt x="1298" y="639"/>
                      </a:lnTo>
                      <a:lnTo>
                        <a:pt x="1298" y="640"/>
                      </a:lnTo>
                      <a:lnTo>
                        <a:pt x="1298" y="641"/>
                      </a:lnTo>
                      <a:lnTo>
                        <a:pt x="1298" y="640"/>
                      </a:lnTo>
                      <a:lnTo>
                        <a:pt x="1297" y="640"/>
                      </a:lnTo>
                      <a:lnTo>
                        <a:pt x="1297" y="639"/>
                      </a:lnTo>
                      <a:lnTo>
                        <a:pt x="1296" y="639"/>
                      </a:lnTo>
                      <a:lnTo>
                        <a:pt x="1295" y="639"/>
                      </a:lnTo>
                      <a:lnTo>
                        <a:pt x="1295" y="640"/>
                      </a:lnTo>
                      <a:lnTo>
                        <a:pt x="1295" y="639"/>
                      </a:lnTo>
                      <a:lnTo>
                        <a:pt x="1293" y="639"/>
                      </a:lnTo>
                      <a:lnTo>
                        <a:pt x="1292" y="639"/>
                      </a:lnTo>
                      <a:lnTo>
                        <a:pt x="1291" y="637"/>
                      </a:lnTo>
                      <a:lnTo>
                        <a:pt x="1292" y="637"/>
                      </a:lnTo>
                      <a:lnTo>
                        <a:pt x="1292" y="636"/>
                      </a:lnTo>
                      <a:lnTo>
                        <a:pt x="1291" y="636"/>
                      </a:lnTo>
                      <a:lnTo>
                        <a:pt x="1292" y="637"/>
                      </a:lnTo>
                      <a:lnTo>
                        <a:pt x="1291" y="637"/>
                      </a:lnTo>
                      <a:lnTo>
                        <a:pt x="1290" y="637"/>
                      </a:lnTo>
                      <a:lnTo>
                        <a:pt x="1290" y="636"/>
                      </a:lnTo>
                      <a:lnTo>
                        <a:pt x="1289" y="636"/>
                      </a:lnTo>
                      <a:lnTo>
                        <a:pt x="1290" y="636"/>
                      </a:lnTo>
                      <a:lnTo>
                        <a:pt x="1291" y="636"/>
                      </a:lnTo>
                      <a:lnTo>
                        <a:pt x="1291" y="635"/>
                      </a:lnTo>
                      <a:lnTo>
                        <a:pt x="1292" y="635"/>
                      </a:lnTo>
                      <a:lnTo>
                        <a:pt x="1293" y="635"/>
                      </a:lnTo>
                      <a:lnTo>
                        <a:pt x="1295" y="635"/>
                      </a:lnTo>
                      <a:lnTo>
                        <a:pt x="1295" y="634"/>
                      </a:lnTo>
                      <a:lnTo>
                        <a:pt x="1297" y="633"/>
                      </a:lnTo>
                      <a:lnTo>
                        <a:pt x="1298" y="633"/>
                      </a:lnTo>
                      <a:lnTo>
                        <a:pt x="1299" y="633"/>
                      </a:lnTo>
                      <a:close/>
                      <a:moveTo>
                        <a:pt x="1260" y="405"/>
                      </a:moveTo>
                      <a:lnTo>
                        <a:pt x="1261" y="405"/>
                      </a:lnTo>
                      <a:lnTo>
                        <a:pt x="1262" y="405"/>
                      </a:lnTo>
                      <a:lnTo>
                        <a:pt x="1262" y="407"/>
                      </a:lnTo>
                      <a:lnTo>
                        <a:pt x="1263" y="407"/>
                      </a:lnTo>
                      <a:lnTo>
                        <a:pt x="1263" y="408"/>
                      </a:lnTo>
                      <a:lnTo>
                        <a:pt x="1264" y="408"/>
                      </a:lnTo>
                      <a:lnTo>
                        <a:pt x="1265" y="409"/>
                      </a:lnTo>
                      <a:lnTo>
                        <a:pt x="1265" y="410"/>
                      </a:lnTo>
                      <a:lnTo>
                        <a:pt x="1265" y="411"/>
                      </a:lnTo>
                      <a:lnTo>
                        <a:pt x="1264" y="412"/>
                      </a:lnTo>
                      <a:lnTo>
                        <a:pt x="1264" y="413"/>
                      </a:lnTo>
                      <a:lnTo>
                        <a:pt x="1263" y="415"/>
                      </a:lnTo>
                      <a:lnTo>
                        <a:pt x="1263" y="416"/>
                      </a:lnTo>
                      <a:lnTo>
                        <a:pt x="1262" y="417"/>
                      </a:lnTo>
                      <a:lnTo>
                        <a:pt x="1261" y="417"/>
                      </a:lnTo>
                      <a:lnTo>
                        <a:pt x="1261" y="418"/>
                      </a:lnTo>
                      <a:lnTo>
                        <a:pt x="1260" y="418"/>
                      </a:lnTo>
                      <a:lnTo>
                        <a:pt x="1259" y="418"/>
                      </a:lnTo>
                      <a:lnTo>
                        <a:pt x="1258" y="420"/>
                      </a:lnTo>
                      <a:lnTo>
                        <a:pt x="1257" y="420"/>
                      </a:lnTo>
                      <a:lnTo>
                        <a:pt x="1255" y="420"/>
                      </a:lnTo>
                      <a:lnTo>
                        <a:pt x="1254" y="420"/>
                      </a:lnTo>
                      <a:lnTo>
                        <a:pt x="1253" y="420"/>
                      </a:lnTo>
                      <a:lnTo>
                        <a:pt x="1252" y="420"/>
                      </a:lnTo>
                      <a:lnTo>
                        <a:pt x="1251" y="418"/>
                      </a:lnTo>
                      <a:lnTo>
                        <a:pt x="1250" y="418"/>
                      </a:lnTo>
                      <a:lnTo>
                        <a:pt x="1249" y="417"/>
                      </a:lnTo>
                      <a:lnTo>
                        <a:pt x="1250" y="417"/>
                      </a:lnTo>
                      <a:lnTo>
                        <a:pt x="1251" y="416"/>
                      </a:lnTo>
                      <a:lnTo>
                        <a:pt x="1252" y="416"/>
                      </a:lnTo>
                      <a:lnTo>
                        <a:pt x="1252" y="415"/>
                      </a:lnTo>
                      <a:lnTo>
                        <a:pt x="1252" y="416"/>
                      </a:lnTo>
                      <a:lnTo>
                        <a:pt x="1253" y="415"/>
                      </a:lnTo>
                      <a:lnTo>
                        <a:pt x="1252" y="416"/>
                      </a:lnTo>
                      <a:lnTo>
                        <a:pt x="1252" y="415"/>
                      </a:lnTo>
                      <a:lnTo>
                        <a:pt x="1252" y="414"/>
                      </a:lnTo>
                      <a:lnTo>
                        <a:pt x="1252" y="413"/>
                      </a:lnTo>
                      <a:lnTo>
                        <a:pt x="1252" y="412"/>
                      </a:lnTo>
                      <a:lnTo>
                        <a:pt x="1252" y="410"/>
                      </a:lnTo>
                      <a:lnTo>
                        <a:pt x="1252" y="409"/>
                      </a:lnTo>
                      <a:lnTo>
                        <a:pt x="1252" y="408"/>
                      </a:lnTo>
                      <a:lnTo>
                        <a:pt x="1253" y="408"/>
                      </a:lnTo>
                      <a:lnTo>
                        <a:pt x="1254" y="409"/>
                      </a:lnTo>
                      <a:lnTo>
                        <a:pt x="1255" y="409"/>
                      </a:lnTo>
                      <a:lnTo>
                        <a:pt x="1255" y="410"/>
                      </a:lnTo>
                      <a:lnTo>
                        <a:pt x="1257" y="410"/>
                      </a:lnTo>
                      <a:lnTo>
                        <a:pt x="1257" y="411"/>
                      </a:lnTo>
                      <a:lnTo>
                        <a:pt x="1258" y="411"/>
                      </a:lnTo>
                      <a:lnTo>
                        <a:pt x="1258" y="412"/>
                      </a:lnTo>
                      <a:lnTo>
                        <a:pt x="1258" y="413"/>
                      </a:lnTo>
                      <a:lnTo>
                        <a:pt x="1258" y="412"/>
                      </a:lnTo>
                      <a:lnTo>
                        <a:pt x="1259" y="412"/>
                      </a:lnTo>
                      <a:lnTo>
                        <a:pt x="1259" y="413"/>
                      </a:lnTo>
                      <a:lnTo>
                        <a:pt x="1260" y="413"/>
                      </a:lnTo>
                      <a:lnTo>
                        <a:pt x="1261" y="412"/>
                      </a:lnTo>
                      <a:lnTo>
                        <a:pt x="1261" y="413"/>
                      </a:lnTo>
                      <a:lnTo>
                        <a:pt x="1261" y="414"/>
                      </a:lnTo>
                      <a:lnTo>
                        <a:pt x="1262" y="414"/>
                      </a:lnTo>
                      <a:lnTo>
                        <a:pt x="1262" y="413"/>
                      </a:lnTo>
                      <a:lnTo>
                        <a:pt x="1261" y="413"/>
                      </a:lnTo>
                      <a:lnTo>
                        <a:pt x="1261" y="412"/>
                      </a:lnTo>
                      <a:lnTo>
                        <a:pt x="1260" y="412"/>
                      </a:lnTo>
                      <a:lnTo>
                        <a:pt x="1259" y="412"/>
                      </a:lnTo>
                      <a:lnTo>
                        <a:pt x="1259" y="411"/>
                      </a:lnTo>
                      <a:lnTo>
                        <a:pt x="1259" y="410"/>
                      </a:lnTo>
                      <a:lnTo>
                        <a:pt x="1259" y="409"/>
                      </a:lnTo>
                      <a:lnTo>
                        <a:pt x="1259" y="408"/>
                      </a:lnTo>
                      <a:lnTo>
                        <a:pt x="1260" y="408"/>
                      </a:lnTo>
                      <a:lnTo>
                        <a:pt x="1260" y="407"/>
                      </a:lnTo>
                      <a:lnTo>
                        <a:pt x="1260" y="405"/>
                      </a:lnTo>
                      <a:close/>
                      <a:moveTo>
                        <a:pt x="1375" y="440"/>
                      </a:moveTo>
                      <a:lnTo>
                        <a:pt x="1375" y="441"/>
                      </a:lnTo>
                      <a:lnTo>
                        <a:pt x="1376" y="442"/>
                      </a:lnTo>
                      <a:lnTo>
                        <a:pt x="1376" y="443"/>
                      </a:lnTo>
                      <a:lnTo>
                        <a:pt x="1377" y="443"/>
                      </a:lnTo>
                      <a:lnTo>
                        <a:pt x="1378" y="443"/>
                      </a:lnTo>
                      <a:lnTo>
                        <a:pt x="1378" y="444"/>
                      </a:lnTo>
                      <a:lnTo>
                        <a:pt x="1377" y="444"/>
                      </a:lnTo>
                      <a:lnTo>
                        <a:pt x="1377" y="446"/>
                      </a:lnTo>
                      <a:lnTo>
                        <a:pt x="1377" y="444"/>
                      </a:lnTo>
                      <a:lnTo>
                        <a:pt x="1377" y="446"/>
                      </a:lnTo>
                      <a:lnTo>
                        <a:pt x="1378" y="446"/>
                      </a:lnTo>
                      <a:lnTo>
                        <a:pt x="1377" y="446"/>
                      </a:lnTo>
                      <a:lnTo>
                        <a:pt x="1377" y="444"/>
                      </a:lnTo>
                      <a:lnTo>
                        <a:pt x="1378" y="446"/>
                      </a:lnTo>
                      <a:lnTo>
                        <a:pt x="1378" y="444"/>
                      </a:lnTo>
                      <a:lnTo>
                        <a:pt x="1378" y="446"/>
                      </a:lnTo>
                      <a:lnTo>
                        <a:pt x="1378" y="447"/>
                      </a:lnTo>
                      <a:lnTo>
                        <a:pt x="1378" y="446"/>
                      </a:lnTo>
                      <a:lnTo>
                        <a:pt x="1378" y="447"/>
                      </a:lnTo>
                      <a:lnTo>
                        <a:pt x="1378" y="446"/>
                      </a:lnTo>
                      <a:lnTo>
                        <a:pt x="1379" y="446"/>
                      </a:lnTo>
                      <a:lnTo>
                        <a:pt x="1378" y="446"/>
                      </a:lnTo>
                      <a:lnTo>
                        <a:pt x="1378" y="444"/>
                      </a:lnTo>
                      <a:lnTo>
                        <a:pt x="1379" y="444"/>
                      </a:lnTo>
                      <a:lnTo>
                        <a:pt x="1379" y="443"/>
                      </a:lnTo>
                      <a:lnTo>
                        <a:pt x="1378" y="443"/>
                      </a:lnTo>
                      <a:lnTo>
                        <a:pt x="1378" y="442"/>
                      </a:lnTo>
                      <a:lnTo>
                        <a:pt x="1379" y="442"/>
                      </a:lnTo>
                      <a:lnTo>
                        <a:pt x="1380" y="442"/>
                      </a:lnTo>
                      <a:lnTo>
                        <a:pt x="1380" y="441"/>
                      </a:lnTo>
                      <a:lnTo>
                        <a:pt x="1381" y="441"/>
                      </a:lnTo>
                      <a:lnTo>
                        <a:pt x="1381" y="440"/>
                      </a:lnTo>
                      <a:lnTo>
                        <a:pt x="1381" y="441"/>
                      </a:lnTo>
                      <a:lnTo>
                        <a:pt x="1382" y="442"/>
                      </a:lnTo>
                      <a:lnTo>
                        <a:pt x="1382" y="443"/>
                      </a:lnTo>
                      <a:lnTo>
                        <a:pt x="1382" y="444"/>
                      </a:lnTo>
                      <a:lnTo>
                        <a:pt x="1382" y="446"/>
                      </a:lnTo>
                      <a:lnTo>
                        <a:pt x="1382" y="447"/>
                      </a:lnTo>
                      <a:lnTo>
                        <a:pt x="1382" y="448"/>
                      </a:lnTo>
                      <a:lnTo>
                        <a:pt x="1381" y="449"/>
                      </a:lnTo>
                      <a:lnTo>
                        <a:pt x="1381" y="448"/>
                      </a:lnTo>
                      <a:lnTo>
                        <a:pt x="1380" y="448"/>
                      </a:lnTo>
                      <a:lnTo>
                        <a:pt x="1380" y="449"/>
                      </a:lnTo>
                      <a:lnTo>
                        <a:pt x="1379" y="449"/>
                      </a:lnTo>
                      <a:lnTo>
                        <a:pt x="1379" y="448"/>
                      </a:lnTo>
                      <a:lnTo>
                        <a:pt x="1379" y="449"/>
                      </a:lnTo>
                      <a:lnTo>
                        <a:pt x="1378" y="449"/>
                      </a:lnTo>
                      <a:lnTo>
                        <a:pt x="1378" y="448"/>
                      </a:lnTo>
                      <a:lnTo>
                        <a:pt x="1377" y="447"/>
                      </a:lnTo>
                      <a:lnTo>
                        <a:pt x="1378" y="447"/>
                      </a:lnTo>
                      <a:lnTo>
                        <a:pt x="1377" y="447"/>
                      </a:lnTo>
                      <a:lnTo>
                        <a:pt x="1376" y="448"/>
                      </a:lnTo>
                      <a:lnTo>
                        <a:pt x="1375" y="448"/>
                      </a:lnTo>
                      <a:lnTo>
                        <a:pt x="1375" y="449"/>
                      </a:lnTo>
                      <a:lnTo>
                        <a:pt x="1375" y="450"/>
                      </a:lnTo>
                      <a:lnTo>
                        <a:pt x="1376" y="450"/>
                      </a:lnTo>
                      <a:lnTo>
                        <a:pt x="1376" y="451"/>
                      </a:lnTo>
                      <a:lnTo>
                        <a:pt x="1376" y="452"/>
                      </a:lnTo>
                      <a:lnTo>
                        <a:pt x="1377" y="453"/>
                      </a:lnTo>
                      <a:lnTo>
                        <a:pt x="1378" y="453"/>
                      </a:lnTo>
                      <a:lnTo>
                        <a:pt x="1378" y="452"/>
                      </a:lnTo>
                      <a:lnTo>
                        <a:pt x="1379" y="453"/>
                      </a:lnTo>
                      <a:lnTo>
                        <a:pt x="1380" y="453"/>
                      </a:lnTo>
                      <a:lnTo>
                        <a:pt x="1379" y="453"/>
                      </a:lnTo>
                      <a:lnTo>
                        <a:pt x="1379" y="454"/>
                      </a:lnTo>
                      <a:lnTo>
                        <a:pt x="1379" y="455"/>
                      </a:lnTo>
                      <a:lnTo>
                        <a:pt x="1379" y="456"/>
                      </a:lnTo>
                      <a:lnTo>
                        <a:pt x="1379" y="457"/>
                      </a:lnTo>
                      <a:lnTo>
                        <a:pt x="1379" y="456"/>
                      </a:lnTo>
                      <a:lnTo>
                        <a:pt x="1378" y="456"/>
                      </a:lnTo>
                      <a:lnTo>
                        <a:pt x="1378" y="455"/>
                      </a:lnTo>
                      <a:lnTo>
                        <a:pt x="1377" y="454"/>
                      </a:lnTo>
                      <a:lnTo>
                        <a:pt x="1376" y="454"/>
                      </a:lnTo>
                      <a:lnTo>
                        <a:pt x="1376" y="455"/>
                      </a:lnTo>
                      <a:lnTo>
                        <a:pt x="1376" y="456"/>
                      </a:lnTo>
                      <a:lnTo>
                        <a:pt x="1375" y="456"/>
                      </a:lnTo>
                      <a:lnTo>
                        <a:pt x="1375" y="457"/>
                      </a:lnTo>
                      <a:lnTo>
                        <a:pt x="1374" y="457"/>
                      </a:lnTo>
                      <a:lnTo>
                        <a:pt x="1374" y="459"/>
                      </a:lnTo>
                      <a:lnTo>
                        <a:pt x="1373" y="459"/>
                      </a:lnTo>
                      <a:lnTo>
                        <a:pt x="1371" y="460"/>
                      </a:lnTo>
                      <a:lnTo>
                        <a:pt x="1371" y="459"/>
                      </a:lnTo>
                      <a:lnTo>
                        <a:pt x="1371" y="457"/>
                      </a:lnTo>
                      <a:lnTo>
                        <a:pt x="1373" y="457"/>
                      </a:lnTo>
                      <a:lnTo>
                        <a:pt x="1374" y="457"/>
                      </a:lnTo>
                      <a:lnTo>
                        <a:pt x="1374" y="456"/>
                      </a:lnTo>
                      <a:lnTo>
                        <a:pt x="1373" y="456"/>
                      </a:lnTo>
                      <a:lnTo>
                        <a:pt x="1374" y="456"/>
                      </a:lnTo>
                      <a:lnTo>
                        <a:pt x="1373" y="455"/>
                      </a:lnTo>
                      <a:lnTo>
                        <a:pt x="1371" y="455"/>
                      </a:lnTo>
                      <a:lnTo>
                        <a:pt x="1370" y="455"/>
                      </a:lnTo>
                      <a:lnTo>
                        <a:pt x="1369" y="455"/>
                      </a:lnTo>
                      <a:lnTo>
                        <a:pt x="1369" y="454"/>
                      </a:lnTo>
                      <a:lnTo>
                        <a:pt x="1369" y="453"/>
                      </a:lnTo>
                      <a:lnTo>
                        <a:pt x="1369" y="452"/>
                      </a:lnTo>
                      <a:lnTo>
                        <a:pt x="1369" y="451"/>
                      </a:lnTo>
                      <a:lnTo>
                        <a:pt x="1369" y="450"/>
                      </a:lnTo>
                      <a:lnTo>
                        <a:pt x="1369" y="449"/>
                      </a:lnTo>
                      <a:lnTo>
                        <a:pt x="1370" y="449"/>
                      </a:lnTo>
                      <a:lnTo>
                        <a:pt x="1370" y="448"/>
                      </a:lnTo>
                      <a:lnTo>
                        <a:pt x="1371" y="449"/>
                      </a:lnTo>
                      <a:lnTo>
                        <a:pt x="1370" y="449"/>
                      </a:lnTo>
                      <a:lnTo>
                        <a:pt x="1371" y="450"/>
                      </a:lnTo>
                      <a:lnTo>
                        <a:pt x="1371" y="451"/>
                      </a:lnTo>
                      <a:lnTo>
                        <a:pt x="1371" y="452"/>
                      </a:lnTo>
                      <a:lnTo>
                        <a:pt x="1373" y="452"/>
                      </a:lnTo>
                      <a:lnTo>
                        <a:pt x="1373" y="451"/>
                      </a:lnTo>
                      <a:lnTo>
                        <a:pt x="1373" y="450"/>
                      </a:lnTo>
                      <a:lnTo>
                        <a:pt x="1371" y="450"/>
                      </a:lnTo>
                      <a:lnTo>
                        <a:pt x="1371" y="449"/>
                      </a:lnTo>
                      <a:lnTo>
                        <a:pt x="1371" y="448"/>
                      </a:lnTo>
                      <a:lnTo>
                        <a:pt x="1371" y="447"/>
                      </a:lnTo>
                      <a:lnTo>
                        <a:pt x="1370" y="447"/>
                      </a:lnTo>
                      <a:lnTo>
                        <a:pt x="1370" y="446"/>
                      </a:lnTo>
                      <a:lnTo>
                        <a:pt x="1370" y="447"/>
                      </a:lnTo>
                      <a:lnTo>
                        <a:pt x="1369" y="447"/>
                      </a:lnTo>
                      <a:lnTo>
                        <a:pt x="1370" y="447"/>
                      </a:lnTo>
                      <a:lnTo>
                        <a:pt x="1371" y="448"/>
                      </a:lnTo>
                      <a:lnTo>
                        <a:pt x="1370" y="448"/>
                      </a:lnTo>
                      <a:lnTo>
                        <a:pt x="1369" y="449"/>
                      </a:lnTo>
                      <a:lnTo>
                        <a:pt x="1369" y="448"/>
                      </a:lnTo>
                      <a:lnTo>
                        <a:pt x="1368" y="448"/>
                      </a:lnTo>
                      <a:lnTo>
                        <a:pt x="1368" y="447"/>
                      </a:lnTo>
                      <a:lnTo>
                        <a:pt x="1369" y="447"/>
                      </a:lnTo>
                      <a:lnTo>
                        <a:pt x="1369" y="446"/>
                      </a:lnTo>
                      <a:lnTo>
                        <a:pt x="1370" y="446"/>
                      </a:lnTo>
                      <a:lnTo>
                        <a:pt x="1370" y="444"/>
                      </a:lnTo>
                      <a:lnTo>
                        <a:pt x="1369" y="444"/>
                      </a:lnTo>
                      <a:lnTo>
                        <a:pt x="1369" y="446"/>
                      </a:lnTo>
                      <a:lnTo>
                        <a:pt x="1369" y="444"/>
                      </a:lnTo>
                      <a:lnTo>
                        <a:pt x="1370" y="444"/>
                      </a:lnTo>
                      <a:lnTo>
                        <a:pt x="1371" y="444"/>
                      </a:lnTo>
                      <a:lnTo>
                        <a:pt x="1373" y="443"/>
                      </a:lnTo>
                      <a:lnTo>
                        <a:pt x="1373" y="442"/>
                      </a:lnTo>
                      <a:lnTo>
                        <a:pt x="1373" y="441"/>
                      </a:lnTo>
                      <a:lnTo>
                        <a:pt x="1371" y="441"/>
                      </a:lnTo>
                      <a:lnTo>
                        <a:pt x="1371" y="440"/>
                      </a:lnTo>
                      <a:lnTo>
                        <a:pt x="1373" y="440"/>
                      </a:lnTo>
                      <a:lnTo>
                        <a:pt x="1373" y="441"/>
                      </a:lnTo>
                      <a:lnTo>
                        <a:pt x="1374" y="441"/>
                      </a:lnTo>
                      <a:lnTo>
                        <a:pt x="1374" y="440"/>
                      </a:lnTo>
                      <a:lnTo>
                        <a:pt x="1373" y="440"/>
                      </a:lnTo>
                      <a:lnTo>
                        <a:pt x="1374" y="440"/>
                      </a:lnTo>
                      <a:lnTo>
                        <a:pt x="1374" y="439"/>
                      </a:lnTo>
                      <a:lnTo>
                        <a:pt x="1374" y="440"/>
                      </a:lnTo>
                      <a:lnTo>
                        <a:pt x="1375" y="440"/>
                      </a:lnTo>
                      <a:close/>
                      <a:moveTo>
                        <a:pt x="1201" y="714"/>
                      </a:moveTo>
                      <a:lnTo>
                        <a:pt x="1202" y="716"/>
                      </a:lnTo>
                      <a:lnTo>
                        <a:pt x="1202" y="714"/>
                      </a:lnTo>
                      <a:lnTo>
                        <a:pt x="1202" y="716"/>
                      </a:lnTo>
                      <a:lnTo>
                        <a:pt x="1202" y="717"/>
                      </a:lnTo>
                      <a:lnTo>
                        <a:pt x="1203" y="717"/>
                      </a:lnTo>
                      <a:lnTo>
                        <a:pt x="1203" y="718"/>
                      </a:lnTo>
                      <a:lnTo>
                        <a:pt x="1203" y="719"/>
                      </a:lnTo>
                      <a:lnTo>
                        <a:pt x="1203" y="720"/>
                      </a:lnTo>
                      <a:lnTo>
                        <a:pt x="1205" y="721"/>
                      </a:lnTo>
                      <a:lnTo>
                        <a:pt x="1205" y="722"/>
                      </a:lnTo>
                      <a:lnTo>
                        <a:pt x="1205" y="723"/>
                      </a:lnTo>
                      <a:lnTo>
                        <a:pt x="1205" y="724"/>
                      </a:lnTo>
                      <a:lnTo>
                        <a:pt x="1206" y="723"/>
                      </a:lnTo>
                      <a:lnTo>
                        <a:pt x="1207" y="724"/>
                      </a:lnTo>
                      <a:lnTo>
                        <a:pt x="1208" y="724"/>
                      </a:lnTo>
                      <a:lnTo>
                        <a:pt x="1208" y="725"/>
                      </a:lnTo>
                      <a:lnTo>
                        <a:pt x="1207" y="725"/>
                      </a:lnTo>
                      <a:lnTo>
                        <a:pt x="1207" y="726"/>
                      </a:lnTo>
                      <a:lnTo>
                        <a:pt x="1208" y="726"/>
                      </a:lnTo>
                      <a:lnTo>
                        <a:pt x="1209" y="725"/>
                      </a:lnTo>
                      <a:lnTo>
                        <a:pt x="1208" y="725"/>
                      </a:lnTo>
                      <a:lnTo>
                        <a:pt x="1208" y="724"/>
                      </a:lnTo>
                      <a:lnTo>
                        <a:pt x="1209" y="724"/>
                      </a:lnTo>
                      <a:lnTo>
                        <a:pt x="1209" y="723"/>
                      </a:lnTo>
                      <a:lnTo>
                        <a:pt x="1209" y="724"/>
                      </a:lnTo>
                      <a:lnTo>
                        <a:pt x="1210" y="725"/>
                      </a:lnTo>
                      <a:lnTo>
                        <a:pt x="1210" y="726"/>
                      </a:lnTo>
                      <a:lnTo>
                        <a:pt x="1211" y="726"/>
                      </a:lnTo>
                      <a:lnTo>
                        <a:pt x="1210" y="727"/>
                      </a:lnTo>
                      <a:lnTo>
                        <a:pt x="1209" y="726"/>
                      </a:lnTo>
                      <a:lnTo>
                        <a:pt x="1209" y="727"/>
                      </a:lnTo>
                      <a:lnTo>
                        <a:pt x="1208" y="727"/>
                      </a:lnTo>
                      <a:lnTo>
                        <a:pt x="1207" y="729"/>
                      </a:lnTo>
                      <a:lnTo>
                        <a:pt x="1206" y="729"/>
                      </a:lnTo>
                      <a:lnTo>
                        <a:pt x="1205" y="729"/>
                      </a:lnTo>
                      <a:lnTo>
                        <a:pt x="1203" y="727"/>
                      </a:lnTo>
                      <a:lnTo>
                        <a:pt x="1203" y="726"/>
                      </a:lnTo>
                      <a:lnTo>
                        <a:pt x="1202" y="726"/>
                      </a:lnTo>
                      <a:lnTo>
                        <a:pt x="1201" y="726"/>
                      </a:lnTo>
                      <a:lnTo>
                        <a:pt x="1201" y="727"/>
                      </a:lnTo>
                      <a:lnTo>
                        <a:pt x="1201" y="729"/>
                      </a:lnTo>
                      <a:lnTo>
                        <a:pt x="1201" y="730"/>
                      </a:lnTo>
                      <a:lnTo>
                        <a:pt x="1202" y="730"/>
                      </a:lnTo>
                      <a:lnTo>
                        <a:pt x="1202" y="731"/>
                      </a:lnTo>
                      <a:lnTo>
                        <a:pt x="1201" y="731"/>
                      </a:lnTo>
                      <a:lnTo>
                        <a:pt x="1200" y="731"/>
                      </a:lnTo>
                      <a:lnTo>
                        <a:pt x="1200" y="732"/>
                      </a:lnTo>
                      <a:lnTo>
                        <a:pt x="1199" y="732"/>
                      </a:lnTo>
                      <a:lnTo>
                        <a:pt x="1197" y="732"/>
                      </a:lnTo>
                      <a:lnTo>
                        <a:pt x="1197" y="731"/>
                      </a:lnTo>
                      <a:lnTo>
                        <a:pt x="1198" y="731"/>
                      </a:lnTo>
                      <a:lnTo>
                        <a:pt x="1199" y="731"/>
                      </a:lnTo>
                      <a:lnTo>
                        <a:pt x="1199" y="730"/>
                      </a:lnTo>
                      <a:lnTo>
                        <a:pt x="1199" y="729"/>
                      </a:lnTo>
                      <a:lnTo>
                        <a:pt x="1199" y="727"/>
                      </a:lnTo>
                      <a:lnTo>
                        <a:pt x="1199" y="726"/>
                      </a:lnTo>
                      <a:lnTo>
                        <a:pt x="1198" y="726"/>
                      </a:lnTo>
                      <a:lnTo>
                        <a:pt x="1197" y="726"/>
                      </a:lnTo>
                      <a:lnTo>
                        <a:pt x="1196" y="726"/>
                      </a:lnTo>
                      <a:lnTo>
                        <a:pt x="1196" y="725"/>
                      </a:lnTo>
                      <a:lnTo>
                        <a:pt x="1195" y="725"/>
                      </a:lnTo>
                      <a:lnTo>
                        <a:pt x="1196" y="724"/>
                      </a:lnTo>
                      <a:lnTo>
                        <a:pt x="1195" y="725"/>
                      </a:lnTo>
                      <a:lnTo>
                        <a:pt x="1196" y="725"/>
                      </a:lnTo>
                      <a:lnTo>
                        <a:pt x="1196" y="724"/>
                      </a:lnTo>
                      <a:lnTo>
                        <a:pt x="1196" y="725"/>
                      </a:lnTo>
                      <a:lnTo>
                        <a:pt x="1197" y="725"/>
                      </a:lnTo>
                      <a:lnTo>
                        <a:pt x="1198" y="725"/>
                      </a:lnTo>
                      <a:lnTo>
                        <a:pt x="1198" y="724"/>
                      </a:lnTo>
                      <a:lnTo>
                        <a:pt x="1198" y="723"/>
                      </a:lnTo>
                      <a:lnTo>
                        <a:pt x="1199" y="723"/>
                      </a:lnTo>
                      <a:lnTo>
                        <a:pt x="1199" y="724"/>
                      </a:lnTo>
                      <a:lnTo>
                        <a:pt x="1200" y="724"/>
                      </a:lnTo>
                      <a:lnTo>
                        <a:pt x="1200" y="723"/>
                      </a:lnTo>
                      <a:lnTo>
                        <a:pt x="1200" y="724"/>
                      </a:lnTo>
                      <a:lnTo>
                        <a:pt x="1199" y="724"/>
                      </a:lnTo>
                      <a:lnTo>
                        <a:pt x="1200" y="723"/>
                      </a:lnTo>
                      <a:lnTo>
                        <a:pt x="1199" y="723"/>
                      </a:lnTo>
                      <a:lnTo>
                        <a:pt x="1198" y="723"/>
                      </a:lnTo>
                      <a:lnTo>
                        <a:pt x="1197" y="723"/>
                      </a:lnTo>
                      <a:lnTo>
                        <a:pt x="1198" y="723"/>
                      </a:lnTo>
                      <a:lnTo>
                        <a:pt x="1197" y="722"/>
                      </a:lnTo>
                      <a:lnTo>
                        <a:pt x="1197" y="723"/>
                      </a:lnTo>
                      <a:lnTo>
                        <a:pt x="1196" y="723"/>
                      </a:lnTo>
                      <a:lnTo>
                        <a:pt x="1196" y="722"/>
                      </a:lnTo>
                      <a:lnTo>
                        <a:pt x="1196" y="721"/>
                      </a:lnTo>
                      <a:lnTo>
                        <a:pt x="1195" y="721"/>
                      </a:lnTo>
                      <a:lnTo>
                        <a:pt x="1194" y="720"/>
                      </a:lnTo>
                      <a:lnTo>
                        <a:pt x="1195" y="720"/>
                      </a:lnTo>
                      <a:lnTo>
                        <a:pt x="1195" y="719"/>
                      </a:lnTo>
                      <a:lnTo>
                        <a:pt x="1194" y="719"/>
                      </a:lnTo>
                      <a:lnTo>
                        <a:pt x="1194" y="720"/>
                      </a:lnTo>
                      <a:lnTo>
                        <a:pt x="1194" y="719"/>
                      </a:lnTo>
                      <a:lnTo>
                        <a:pt x="1195" y="719"/>
                      </a:lnTo>
                      <a:lnTo>
                        <a:pt x="1195" y="718"/>
                      </a:lnTo>
                      <a:lnTo>
                        <a:pt x="1196" y="718"/>
                      </a:lnTo>
                      <a:lnTo>
                        <a:pt x="1197" y="718"/>
                      </a:lnTo>
                      <a:lnTo>
                        <a:pt x="1197" y="717"/>
                      </a:lnTo>
                      <a:lnTo>
                        <a:pt x="1198" y="717"/>
                      </a:lnTo>
                      <a:lnTo>
                        <a:pt x="1198" y="718"/>
                      </a:lnTo>
                      <a:lnTo>
                        <a:pt x="1199" y="718"/>
                      </a:lnTo>
                      <a:lnTo>
                        <a:pt x="1199" y="717"/>
                      </a:lnTo>
                      <a:lnTo>
                        <a:pt x="1199" y="718"/>
                      </a:lnTo>
                      <a:lnTo>
                        <a:pt x="1199" y="717"/>
                      </a:lnTo>
                      <a:lnTo>
                        <a:pt x="1199" y="716"/>
                      </a:lnTo>
                      <a:lnTo>
                        <a:pt x="1199" y="714"/>
                      </a:lnTo>
                      <a:lnTo>
                        <a:pt x="1200" y="714"/>
                      </a:lnTo>
                      <a:lnTo>
                        <a:pt x="1201" y="714"/>
                      </a:lnTo>
                      <a:close/>
                      <a:moveTo>
                        <a:pt x="1289" y="473"/>
                      </a:moveTo>
                      <a:lnTo>
                        <a:pt x="1289" y="474"/>
                      </a:lnTo>
                      <a:lnTo>
                        <a:pt x="1289" y="475"/>
                      </a:lnTo>
                      <a:lnTo>
                        <a:pt x="1290" y="475"/>
                      </a:lnTo>
                      <a:lnTo>
                        <a:pt x="1291" y="475"/>
                      </a:lnTo>
                      <a:lnTo>
                        <a:pt x="1292" y="475"/>
                      </a:lnTo>
                      <a:lnTo>
                        <a:pt x="1293" y="475"/>
                      </a:lnTo>
                      <a:lnTo>
                        <a:pt x="1295" y="475"/>
                      </a:lnTo>
                      <a:lnTo>
                        <a:pt x="1293" y="475"/>
                      </a:lnTo>
                      <a:lnTo>
                        <a:pt x="1292" y="476"/>
                      </a:lnTo>
                      <a:lnTo>
                        <a:pt x="1291" y="476"/>
                      </a:lnTo>
                      <a:lnTo>
                        <a:pt x="1291" y="477"/>
                      </a:lnTo>
                      <a:lnTo>
                        <a:pt x="1290" y="478"/>
                      </a:lnTo>
                      <a:lnTo>
                        <a:pt x="1289" y="479"/>
                      </a:lnTo>
                      <a:lnTo>
                        <a:pt x="1289" y="480"/>
                      </a:lnTo>
                      <a:lnTo>
                        <a:pt x="1289" y="481"/>
                      </a:lnTo>
                      <a:lnTo>
                        <a:pt x="1289" y="482"/>
                      </a:lnTo>
                      <a:lnTo>
                        <a:pt x="1290" y="482"/>
                      </a:lnTo>
                      <a:lnTo>
                        <a:pt x="1291" y="482"/>
                      </a:lnTo>
                      <a:lnTo>
                        <a:pt x="1292" y="484"/>
                      </a:lnTo>
                      <a:lnTo>
                        <a:pt x="1293" y="485"/>
                      </a:lnTo>
                      <a:lnTo>
                        <a:pt x="1293" y="486"/>
                      </a:lnTo>
                      <a:lnTo>
                        <a:pt x="1293" y="487"/>
                      </a:lnTo>
                      <a:lnTo>
                        <a:pt x="1292" y="487"/>
                      </a:lnTo>
                      <a:lnTo>
                        <a:pt x="1291" y="487"/>
                      </a:lnTo>
                      <a:lnTo>
                        <a:pt x="1291" y="486"/>
                      </a:lnTo>
                      <a:lnTo>
                        <a:pt x="1289" y="486"/>
                      </a:lnTo>
                      <a:lnTo>
                        <a:pt x="1288" y="486"/>
                      </a:lnTo>
                      <a:lnTo>
                        <a:pt x="1287" y="486"/>
                      </a:lnTo>
                      <a:lnTo>
                        <a:pt x="1286" y="486"/>
                      </a:lnTo>
                      <a:lnTo>
                        <a:pt x="1285" y="486"/>
                      </a:lnTo>
                      <a:lnTo>
                        <a:pt x="1284" y="487"/>
                      </a:lnTo>
                      <a:lnTo>
                        <a:pt x="1284" y="486"/>
                      </a:lnTo>
                      <a:lnTo>
                        <a:pt x="1284" y="485"/>
                      </a:lnTo>
                      <a:lnTo>
                        <a:pt x="1284" y="484"/>
                      </a:lnTo>
                      <a:lnTo>
                        <a:pt x="1284" y="482"/>
                      </a:lnTo>
                      <a:lnTo>
                        <a:pt x="1283" y="482"/>
                      </a:lnTo>
                      <a:lnTo>
                        <a:pt x="1284" y="482"/>
                      </a:lnTo>
                      <a:lnTo>
                        <a:pt x="1284" y="481"/>
                      </a:lnTo>
                      <a:lnTo>
                        <a:pt x="1284" y="480"/>
                      </a:lnTo>
                      <a:lnTo>
                        <a:pt x="1285" y="480"/>
                      </a:lnTo>
                      <a:lnTo>
                        <a:pt x="1285" y="479"/>
                      </a:lnTo>
                      <a:lnTo>
                        <a:pt x="1285" y="480"/>
                      </a:lnTo>
                      <a:lnTo>
                        <a:pt x="1284" y="479"/>
                      </a:lnTo>
                      <a:lnTo>
                        <a:pt x="1284" y="478"/>
                      </a:lnTo>
                      <a:lnTo>
                        <a:pt x="1283" y="478"/>
                      </a:lnTo>
                      <a:lnTo>
                        <a:pt x="1283" y="477"/>
                      </a:lnTo>
                      <a:lnTo>
                        <a:pt x="1283" y="476"/>
                      </a:lnTo>
                      <a:lnTo>
                        <a:pt x="1283" y="475"/>
                      </a:lnTo>
                      <a:lnTo>
                        <a:pt x="1282" y="475"/>
                      </a:lnTo>
                      <a:lnTo>
                        <a:pt x="1283" y="476"/>
                      </a:lnTo>
                      <a:lnTo>
                        <a:pt x="1282" y="476"/>
                      </a:lnTo>
                      <a:lnTo>
                        <a:pt x="1283" y="476"/>
                      </a:lnTo>
                      <a:lnTo>
                        <a:pt x="1283" y="477"/>
                      </a:lnTo>
                      <a:lnTo>
                        <a:pt x="1283" y="476"/>
                      </a:lnTo>
                      <a:lnTo>
                        <a:pt x="1282" y="477"/>
                      </a:lnTo>
                      <a:lnTo>
                        <a:pt x="1282" y="478"/>
                      </a:lnTo>
                      <a:lnTo>
                        <a:pt x="1280" y="478"/>
                      </a:lnTo>
                      <a:lnTo>
                        <a:pt x="1280" y="479"/>
                      </a:lnTo>
                      <a:lnTo>
                        <a:pt x="1280" y="478"/>
                      </a:lnTo>
                      <a:lnTo>
                        <a:pt x="1279" y="478"/>
                      </a:lnTo>
                      <a:lnTo>
                        <a:pt x="1279" y="479"/>
                      </a:lnTo>
                      <a:lnTo>
                        <a:pt x="1278" y="479"/>
                      </a:lnTo>
                      <a:lnTo>
                        <a:pt x="1277" y="479"/>
                      </a:lnTo>
                      <a:lnTo>
                        <a:pt x="1277" y="480"/>
                      </a:lnTo>
                      <a:lnTo>
                        <a:pt x="1276" y="480"/>
                      </a:lnTo>
                      <a:lnTo>
                        <a:pt x="1276" y="479"/>
                      </a:lnTo>
                      <a:lnTo>
                        <a:pt x="1275" y="479"/>
                      </a:lnTo>
                      <a:lnTo>
                        <a:pt x="1274" y="479"/>
                      </a:lnTo>
                      <a:lnTo>
                        <a:pt x="1274" y="478"/>
                      </a:lnTo>
                      <a:lnTo>
                        <a:pt x="1273" y="477"/>
                      </a:lnTo>
                      <a:lnTo>
                        <a:pt x="1274" y="477"/>
                      </a:lnTo>
                      <a:lnTo>
                        <a:pt x="1274" y="476"/>
                      </a:lnTo>
                      <a:lnTo>
                        <a:pt x="1275" y="476"/>
                      </a:lnTo>
                      <a:lnTo>
                        <a:pt x="1276" y="476"/>
                      </a:lnTo>
                      <a:lnTo>
                        <a:pt x="1277" y="476"/>
                      </a:lnTo>
                      <a:lnTo>
                        <a:pt x="1278" y="476"/>
                      </a:lnTo>
                      <a:lnTo>
                        <a:pt x="1279" y="476"/>
                      </a:lnTo>
                      <a:lnTo>
                        <a:pt x="1280" y="476"/>
                      </a:lnTo>
                      <a:lnTo>
                        <a:pt x="1282" y="476"/>
                      </a:lnTo>
                      <a:lnTo>
                        <a:pt x="1282" y="475"/>
                      </a:lnTo>
                      <a:lnTo>
                        <a:pt x="1282" y="474"/>
                      </a:lnTo>
                      <a:lnTo>
                        <a:pt x="1283" y="474"/>
                      </a:lnTo>
                      <a:lnTo>
                        <a:pt x="1284" y="474"/>
                      </a:lnTo>
                      <a:lnTo>
                        <a:pt x="1283" y="475"/>
                      </a:lnTo>
                      <a:lnTo>
                        <a:pt x="1284" y="476"/>
                      </a:lnTo>
                      <a:lnTo>
                        <a:pt x="1285" y="477"/>
                      </a:lnTo>
                      <a:lnTo>
                        <a:pt x="1284" y="476"/>
                      </a:lnTo>
                      <a:lnTo>
                        <a:pt x="1283" y="475"/>
                      </a:lnTo>
                      <a:lnTo>
                        <a:pt x="1284" y="474"/>
                      </a:lnTo>
                      <a:lnTo>
                        <a:pt x="1285" y="474"/>
                      </a:lnTo>
                      <a:lnTo>
                        <a:pt x="1285" y="475"/>
                      </a:lnTo>
                      <a:lnTo>
                        <a:pt x="1285" y="476"/>
                      </a:lnTo>
                      <a:lnTo>
                        <a:pt x="1286" y="476"/>
                      </a:lnTo>
                      <a:lnTo>
                        <a:pt x="1286" y="477"/>
                      </a:lnTo>
                      <a:lnTo>
                        <a:pt x="1286" y="476"/>
                      </a:lnTo>
                      <a:lnTo>
                        <a:pt x="1286" y="475"/>
                      </a:lnTo>
                      <a:lnTo>
                        <a:pt x="1287" y="475"/>
                      </a:lnTo>
                      <a:lnTo>
                        <a:pt x="1287" y="474"/>
                      </a:lnTo>
                      <a:lnTo>
                        <a:pt x="1286" y="474"/>
                      </a:lnTo>
                      <a:lnTo>
                        <a:pt x="1287" y="474"/>
                      </a:lnTo>
                      <a:lnTo>
                        <a:pt x="1288" y="474"/>
                      </a:lnTo>
                      <a:lnTo>
                        <a:pt x="1288" y="473"/>
                      </a:lnTo>
                      <a:lnTo>
                        <a:pt x="1289" y="473"/>
                      </a:lnTo>
                      <a:close/>
                      <a:moveTo>
                        <a:pt x="1344" y="604"/>
                      </a:moveTo>
                      <a:lnTo>
                        <a:pt x="1347" y="604"/>
                      </a:lnTo>
                      <a:lnTo>
                        <a:pt x="1347" y="605"/>
                      </a:lnTo>
                      <a:lnTo>
                        <a:pt x="1347" y="606"/>
                      </a:lnTo>
                      <a:lnTo>
                        <a:pt x="1347" y="605"/>
                      </a:lnTo>
                      <a:lnTo>
                        <a:pt x="1348" y="605"/>
                      </a:lnTo>
                      <a:lnTo>
                        <a:pt x="1348" y="604"/>
                      </a:lnTo>
                      <a:lnTo>
                        <a:pt x="1348" y="605"/>
                      </a:lnTo>
                      <a:lnTo>
                        <a:pt x="1349" y="605"/>
                      </a:lnTo>
                      <a:lnTo>
                        <a:pt x="1349" y="604"/>
                      </a:lnTo>
                      <a:lnTo>
                        <a:pt x="1349" y="605"/>
                      </a:lnTo>
                      <a:lnTo>
                        <a:pt x="1350" y="605"/>
                      </a:lnTo>
                      <a:lnTo>
                        <a:pt x="1350" y="603"/>
                      </a:lnTo>
                      <a:lnTo>
                        <a:pt x="1351" y="602"/>
                      </a:lnTo>
                      <a:lnTo>
                        <a:pt x="1352" y="602"/>
                      </a:lnTo>
                      <a:lnTo>
                        <a:pt x="1353" y="602"/>
                      </a:lnTo>
                      <a:lnTo>
                        <a:pt x="1354" y="602"/>
                      </a:lnTo>
                      <a:lnTo>
                        <a:pt x="1355" y="603"/>
                      </a:lnTo>
                      <a:lnTo>
                        <a:pt x="1355" y="602"/>
                      </a:lnTo>
                      <a:lnTo>
                        <a:pt x="1355" y="603"/>
                      </a:lnTo>
                      <a:lnTo>
                        <a:pt x="1355" y="604"/>
                      </a:lnTo>
                      <a:lnTo>
                        <a:pt x="1355" y="605"/>
                      </a:lnTo>
                      <a:lnTo>
                        <a:pt x="1355" y="606"/>
                      </a:lnTo>
                      <a:lnTo>
                        <a:pt x="1355" y="607"/>
                      </a:lnTo>
                      <a:lnTo>
                        <a:pt x="1355" y="608"/>
                      </a:lnTo>
                      <a:lnTo>
                        <a:pt x="1355" y="607"/>
                      </a:lnTo>
                      <a:lnTo>
                        <a:pt x="1355" y="606"/>
                      </a:lnTo>
                      <a:lnTo>
                        <a:pt x="1354" y="606"/>
                      </a:lnTo>
                      <a:lnTo>
                        <a:pt x="1353" y="606"/>
                      </a:lnTo>
                      <a:lnTo>
                        <a:pt x="1352" y="606"/>
                      </a:lnTo>
                      <a:lnTo>
                        <a:pt x="1351" y="607"/>
                      </a:lnTo>
                      <a:lnTo>
                        <a:pt x="1350" y="607"/>
                      </a:lnTo>
                      <a:lnTo>
                        <a:pt x="1350" y="608"/>
                      </a:lnTo>
                      <a:lnTo>
                        <a:pt x="1351" y="608"/>
                      </a:lnTo>
                      <a:lnTo>
                        <a:pt x="1352" y="608"/>
                      </a:lnTo>
                      <a:lnTo>
                        <a:pt x="1352" y="607"/>
                      </a:lnTo>
                      <a:lnTo>
                        <a:pt x="1351" y="607"/>
                      </a:lnTo>
                      <a:lnTo>
                        <a:pt x="1352" y="607"/>
                      </a:lnTo>
                      <a:lnTo>
                        <a:pt x="1352" y="606"/>
                      </a:lnTo>
                      <a:lnTo>
                        <a:pt x="1353" y="606"/>
                      </a:lnTo>
                      <a:lnTo>
                        <a:pt x="1354" y="606"/>
                      </a:lnTo>
                      <a:lnTo>
                        <a:pt x="1354" y="607"/>
                      </a:lnTo>
                      <a:lnTo>
                        <a:pt x="1354" y="606"/>
                      </a:lnTo>
                      <a:lnTo>
                        <a:pt x="1354" y="607"/>
                      </a:lnTo>
                      <a:lnTo>
                        <a:pt x="1355" y="607"/>
                      </a:lnTo>
                      <a:lnTo>
                        <a:pt x="1354" y="607"/>
                      </a:lnTo>
                      <a:lnTo>
                        <a:pt x="1355" y="608"/>
                      </a:lnTo>
                      <a:lnTo>
                        <a:pt x="1355" y="609"/>
                      </a:lnTo>
                      <a:lnTo>
                        <a:pt x="1355" y="610"/>
                      </a:lnTo>
                      <a:lnTo>
                        <a:pt x="1356" y="610"/>
                      </a:lnTo>
                      <a:lnTo>
                        <a:pt x="1356" y="611"/>
                      </a:lnTo>
                      <a:lnTo>
                        <a:pt x="1356" y="613"/>
                      </a:lnTo>
                      <a:lnTo>
                        <a:pt x="1356" y="614"/>
                      </a:lnTo>
                      <a:lnTo>
                        <a:pt x="1356" y="615"/>
                      </a:lnTo>
                      <a:lnTo>
                        <a:pt x="1355" y="616"/>
                      </a:lnTo>
                      <a:lnTo>
                        <a:pt x="1354" y="617"/>
                      </a:lnTo>
                      <a:lnTo>
                        <a:pt x="1353" y="617"/>
                      </a:lnTo>
                      <a:lnTo>
                        <a:pt x="1352" y="616"/>
                      </a:lnTo>
                      <a:lnTo>
                        <a:pt x="1351" y="615"/>
                      </a:lnTo>
                      <a:lnTo>
                        <a:pt x="1351" y="616"/>
                      </a:lnTo>
                      <a:lnTo>
                        <a:pt x="1351" y="615"/>
                      </a:lnTo>
                      <a:lnTo>
                        <a:pt x="1350" y="615"/>
                      </a:lnTo>
                      <a:lnTo>
                        <a:pt x="1349" y="615"/>
                      </a:lnTo>
                      <a:lnTo>
                        <a:pt x="1348" y="616"/>
                      </a:lnTo>
                      <a:lnTo>
                        <a:pt x="1347" y="616"/>
                      </a:lnTo>
                      <a:lnTo>
                        <a:pt x="1347" y="615"/>
                      </a:lnTo>
                      <a:lnTo>
                        <a:pt x="1348" y="615"/>
                      </a:lnTo>
                      <a:lnTo>
                        <a:pt x="1348" y="614"/>
                      </a:lnTo>
                      <a:lnTo>
                        <a:pt x="1348" y="615"/>
                      </a:lnTo>
                      <a:lnTo>
                        <a:pt x="1349" y="615"/>
                      </a:lnTo>
                      <a:lnTo>
                        <a:pt x="1350" y="615"/>
                      </a:lnTo>
                      <a:lnTo>
                        <a:pt x="1351" y="615"/>
                      </a:lnTo>
                      <a:lnTo>
                        <a:pt x="1351" y="614"/>
                      </a:lnTo>
                      <a:lnTo>
                        <a:pt x="1350" y="614"/>
                      </a:lnTo>
                      <a:lnTo>
                        <a:pt x="1351" y="613"/>
                      </a:lnTo>
                      <a:lnTo>
                        <a:pt x="1352" y="614"/>
                      </a:lnTo>
                      <a:lnTo>
                        <a:pt x="1352" y="615"/>
                      </a:lnTo>
                      <a:lnTo>
                        <a:pt x="1352" y="616"/>
                      </a:lnTo>
                      <a:lnTo>
                        <a:pt x="1353" y="616"/>
                      </a:lnTo>
                      <a:lnTo>
                        <a:pt x="1353" y="617"/>
                      </a:lnTo>
                      <a:lnTo>
                        <a:pt x="1354" y="617"/>
                      </a:lnTo>
                      <a:lnTo>
                        <a:pt x="1355" y="616"/>
                      </a:lnTo>
                      <a:lnTo>
                        <a:pt x="1355" y="615"/>
                      </a:lnTo>
                      <a:lnTo>
                        <a:pt x="1355" y="614"/>
                      </a:lnTo>
                      <a:lnTo>
                        <a:pt x="1354" y="614"/>
                      </a:lnTo>
                      <a:lnTo>
                        <a:pt x="1353" y="614"/>
                      </a:lnTo>
                      <a:lnTo>
                        <a:pt x="1352" y="613"/>
                      </a:lnTo>
                      <a:lnTo>
                        <a:pt x="1352" y="611"/>
                      </a:lnTo>
                      <a:lnTo>
                        <a:pt x="1351" y="611"/>
                      </a:lnTo>
                      <a:lnTo>
                        <a:pt x="1350" y="611"/>
                      </a:lnTo>
                      <a:lnTo>
                        <a:pt x="1349" y="611"/>
                      </a:lnTo>
                      <a:lnTo>
                        <a:pt x="1349" y="610"/>
                      </a:lnTo>
                      <a:lnTo>
                        <a:pt x="1348" y="610"/>
                      </a:lnTo>
                      <a:lnTo>
                        <a:pt x="1347" y="610"/>
                      </a:lnTo>
                      <a:lnTo>
                        <a:pt x="1345" y="610"/>
                      </a:lnTo>
                      <a:lnTo>
                        <a:pt x="1345" y="609"/>
                      </a:lnTo>
                      <a:lnTo>
                        <a:pt x="1344" y="609"/>
                      </a:lnTo>
                      <a:lnTo>
                        <a:pt x="1343" y="609"/>
                      </a:lnTo>
                      <a:lnTo>
                        <a:pt x="1344" y="609"/>
                      </a:lnTo>
                      <a:lnTo>
                        <a:pt x="1344" y="608"/>
                      </a:lnTo>
                      <a:lnTo>
                        <a:pt x="1345" y="609"/>
                      </a:lnTo>
                      <a:lnTo>
                        <a:pt x="1345" y="608"/>
                      </a:lnTo>
                      <a:lnTo>
                        <a:pt x="1347" y="608"/>
                      </a:lnTo>
                      <a:lnTo>
                        <a:pt x="1348" y="608"/>
                      </a:lnTo>
                      <a:lnTo>
                        <a:pt x="1348" y="607"/>
                      </a:lnTo>
                      <a:lnTo>
                        <a:pt x="1347" y="606"/>
                      </a:lnTo>
                      <a:lnTo>
                        <a:pt x="1345" y="606"/>
                      </a:lnTo>
                      <a:lnTo>
                        <a:pt x="1344" y="607"/>
                      </a:lnTo>
                      <a:lnTo>
                        <a:pt x="1344" y="606"/>
                      </a:lnTo>
                      <a:lnTo>
                        <a:pt x="1344" y="607"/>
                      </a:lnTo>
                      <a:lnTo>
                        <a:pt x="1343" y="607"/>
                      </a:lnTo>
                      <a:lnTo>
                        <a:pt x="1342" y="606"/>
                      </a:lnTo>
                      <a:lnTo>
                        <a:pt x="1343" y="606"/>
                      </a:lnTo>
                      <a:lnTo>
                        <a:pt x="1344" y="606"/>
                      </a:lnTo>
                      <a:lnTo>
                        <a:pt x="1344" y="605"/>
                      </a:lnTo>
                      <a:lnTo>
                        <a:pt x="1343" y="604"/>
                      </a:lnTo>
                      <a:lnTo>
                        <a:pt x="1342" y="604"/>
                      </a:lnTo>
                      <a:lnTo>
                        <a:pt x="1341" y="605"/>
                      </a:lnTo>
                      <a:lnTo>
                        <a:pt x="1340" y="605"/>
                      </a:lnTo>
                      <a:lnTo>
                        <a:pt x="1339" y="605"/>
                      </a:lnTo>
                      <a:lnTo>
                        <a:pt x="1338" y="605"/>
                      </a:lnTo>
                      <a:lnTo>
                        <a:pt x="1337" y="605"/>
                      </a:lnTo>
                      <a:lnTo>
                        <a:pt x="1336" y="604"/>
                      </a:lnTo>
                      <a:lnTo>
                        <a:pt x="1335" y="604"/>
                      </a:lnTo>
                      <a:lnTo>
                        <a:pt x="1335" y="605"/>
                      </a:lnTo>
                      <a:lnTo>
                        <a:pt x="1335" y="604"/>
                      </a:lnTo>
                      <a:lnTo>
                        <a:pt x="1334" y="603"/>
                      </a:lnTo>
                      <a:lnTo>
                        <a:pt x="1335" y="603"/>
                      </a:lnTo>
                      <a:lnTo>
                        <a:pt x="1335" y="604"/>
                      </a:lnTo>
                      <a:lnTo>
                        <a:pt x="1336" y="604"/>
                      </a:lnTo>
                      <a:lnTo>
                        <a:pt x="1337" y="604"/>
                      </a:lnTo>
                      <a:lnTo>
                        <a:pt x="1338" y="604"/>
                      </a:lnTo>
                      <a:lnTo>
                        <a:pt x="1339" y="605"/>
                      </a:lnTo>
                      <a:lnTo>
                        <a:pt x="1339" y="604"/>
                      </a:lnTo>
                      <a:lnTo>
                        <a:pt x="1339" y="603"/>
                      </a:lnTo>
                      <a:lnTo>
                        <a:pt x="1340" y="603"/>
                      </a:lnTo>
                      <a:lnTo>
                        <a:pt x="1340" y="602"/>
                      </a:lnTo>
                      <a:lnTo>
                        <a:pt x="1339" y="602"/>
                      </a:lnTo>
                      <a:lnTo>
                        <a:pt x="1339" y="601"/>
                      </a:lnTo>
                      <a:lnTo>
                        <a:pt x="1340" y="601"/>
                      </a:lnTo>
                      <a:lnTo>
                        <a:pt x="1341" y="601"/>
                      </a:lnTo>
                      <a:lnTo>
                        <a:pt x="1342" y="602"/>
                      </a:lnTo>
                      <a:lnTo>
                        <a:pt x="1343" y="603"/>
                      </a:lnTo>
                      <a:lnTo>
                        <a:pt x="1344" y="604"/>
                      </a:lnTo>
                      <a:close/>
                      <a:moveTo>
                        <a:pt x="1326" y="467"/>
                      </a:moveTo>
                      <a:lnTo>
                        <a:pt x="1327" y="468"/>
                      </a:lnTo>
                      <a:lnTo>
                        <a:pt x="1328" y="468"/>
                      </a:lnTo>
                      <a:lnTo>
                        <a:pt x="1328" y="469"/>
                      </a:lnTo>
                      <a:lnTo>
                        <a:pt x="1329" y="469"/>
                      </a:lnTo>
                      <a:lnTo>
                        <a:pt x="1330" y="469"/>
                      </a:lnTo>
                      <a:lnTo>
                        <a:pt x="1331" y="469"/>
                      </a:lnTo>
                      <a:lnTo>
                        <a:pt x="1331" y="468"/>
                      </a:lnTo>
                      <a:lnTo>
                        <a:pt x="1332" y="468"/>
                      </a:lnTo>
                      <a:lnTo>
                        <a:pt x="1332" y="467"/>
                      </a:lnTo>
                      <a:lnTo>
                        <a:pt x="1332" y="466"/>
                      </a:lnTo>
                      <a:lnTo>
                        <a:pt x="1334" y="466"/>
                      </a:lnTo>
                      <a:lnTo>
                        <a:pt x="1334" y="467"/>
                      </a:lnTo>
                      <a:lnTo>
                        <a:pt x="1334" y="468"/>
                      </a:lnTo>
                      <a:lnTo>
                        <a:pt x="1335" y="469"/>
                      </a:lnTo>
                      <a:lnTo>
                        <a:pt x="1335" y="470"/>
                      </a:lnTo>
                      <a:lnTo>
                        <a:pt x="1334" y="470"/>
                      </a:lnTo>
                      <a:lnTo>
                        <a:pt x="1334" y="472"/>
                      </a:lnTo>
                      <a:lnTo>
                        <a:pt x="1332" y="472"/>
                      </a:lnTo>
                      <a:lnTo>
                        <a:pt x="1331" y="473"/>
                      </a:lnTo>
                      <a:lnTo>
                        <a:pt x="1331" y="474"/>
                      </a:lnTo>
                      <a:lnTo>
                        <a:pt x="1331" y="473"/>
                      </a:lnTo>
                      <a:lnTo>
                        <a:pt x="1331" y="472"/>
                      </a:lnTo>
                      <a:lnTo>
                        <a:pt x="1331" y="470"/>
                      </a:lnTo>
                      <a:lnTo>
                        <a:pt x="1331" y="469"/>
                      </a:lnTo>
                      <a:lnTo>
                        <a:pt x="1330" y="469"/>
                      </a:lnTo>
                      <a:lnTo>
                        <a:pt x="1329" y="469"/>
                      </a:lnTo>
                      <a:lnTo>
                        <a:pt x="1329" y="470"/>
                      </a:lnTo>
                      <a:lnTo>
                        <a:pt x="1328" y="470"/>
                      </a:lnTo>
                      <a:lnTo>
                        <a:pt x="1327" y="470"/>
                      </a:lnTo>
                      <a:lnTo>
                        <a:pt x="1327" y="469"/>
                      </a:lnTo>
                      <a:lnTo>
                        <a:pt x="1328" y="469"/>
                      </a:lnTo>
                      <a:lnTo>
                        <a:pt x="1327" y="469"/>
                      </a:lnTo>
                      <a:lnTo>
                        <a:pt x="1326" y="470"/>
                      </a:lnTo>
                      <a:lnTo>
                        <a:pt x="1326" y="472"/>
                      </a:lnTo>
                      <a:lnTo>
                        <a:pt x="1325" y="470"/>
                      </a:lnTo>
                      <a:lnTo>
                        <a:pt x="1324" y="470"/>
                      </a:lnTo>
                      <a:lnTo>
                        <a:pt x="1324" y="472"/>
                      </a:lnTo>
                      <a:lnTo>
                        <a:pt x="1323" y="472"/>
                      </a:lnTo>
                      <a:lnTo>
                        <a:pt x="1322" y="472"/>
                      </a:lnTo>
                      <a:lnTo>
                        <a:pt x="1322" y="473"/>
                      </a:lnTo>
                      <a:lnTo>
                        <a:pt x="1321" y="473"/>
                      </a:lnTo>
                      <a:lnTo>
                        <a:pt x="1321" y="474"/>
                      </a:lnTo>
                      <a:lnTo>
                        <a:pt x="1321" y="475"/>
                      </a:lnTo>
                      <a:lnTo>
                        <a:pt x="1321" y="476"/>
                      </a:lnTo>
                      <a:lnTo>
                        <a:pt x="1319" y="476"/>
                      </a:lnTo>
                      <a:lnTo>
                        <a:pt x="1319" y="477"/>
                      </a:lnTo>
                      <a:lnTo>
                        <a:pt x="1319" y="478"/>
                      </a:lnTo>
                      <a:lnTo>
                        <a:pt x="1319" y="479"/>
                      </a:lnTo>
                      <a:lnTo>
                        <a:pt x="1321" y="480"/>
                      </a:lnTo>
                      <a:lnTo>
                        <a:pt x="1319" y="480"/>
                      </a:lnTo>
                      <a:lnTo>
                        <a:pt x="1319" y="481"/>
                      </a:lnTo>
                      <a:lnTo>
                        <a:pt x="1319" y="482"/>
                      </a:lnTo>
                      <a:lnTo>
                        <a:pt x="1321" y="482"/>
                      </a:lnTo>
                      <a:lnTo>
                        <a:pt x="1321" y="484"/>
                      </a:lnTo>
                      <a:lnTo>
                        <a:pt x="1322" y="484"/>
                      </a:lnTo>
                      <a:lnTo>
                        <a:pt x="1321" y="484"/>
                      </a:lnTo>
                      <a:lnTo>
                        <a:pt x="1319" y="484"/>
                      </a:lnTo>
                      <a:lnTo>
                        <a:pt x="1319" y="485"/>
                      </a:lnTo>
                      <a:lnTo>
                        <a:pt x="1318" y="485"/>
                      </a:lnTo>
                      <a:lnTo>
                        <a:pt x="1318" y="484"/>
                      </a:lnTo>
                      <a:lnTo>
                        <a:pt x="1317" y="484"/>
                      </a:lnTo>
                      <a:lnTo>
                        <a:pt x="1317" y="482"/>
                      </a:lnTo>
                      <a:lnTo>
                        <a:pt x="1318" y="482"/>
                      </a:lnTo>
                      <a:lnTo>
                        <a:pt x="1317" y="482"/>
                      </a:lnTo>
                      <a:lnTo>
                        <a:pt x="1317" y="481"/>
                      </a:lnTo>
                      <a:lnTo>
                        <a:pt x="1316" y="481"/>
                      </a:lnTo>
                      <a:lnTo>
                        <a:pt x="1316" y="480"/>
                      </a:lnTo>
                      <a:lnTo>
                        <a:pt x="1315" y="480"/>
                      </a:lnTo>
                      <a:lnTo>
                        <a:pt x="1315" y="479"/>
                      </a:lnTo>
                      <a:lnTo>
                        <a:pt x="1314" y="478"/>
                      </a:lnTo>
                      <a:lnTo>
                        <a:pt x="1315" y="478"/>
                      </a:lnTo>
                      <a:lnTo>
                        <a:pt x="1316" y="478"/>
                      </a:lnTo>
                      <a:lnTo>
                        <a:pt x="1316" y="479"/>
                      </a:lnTo>
                      <a:lnTo>
                        <a:pt x="1317" y="479"/>
                      </a:lnTo>
                      <a:lnTo>
                        <a:pt x="1317" y="478"/>
                      </a:lnTo>
                      <a:lnTo>
                        <a:pt x="1317" y="477"/>
                      </a:lnTo>
                      <a:lnTo>
                        <a:pt x="1316" y="477"/>
                      </a:lnTo>
                      <a:lnTo>
                        <a:pt x="1317" y="477"/>
                      </a:lnTo>
                      <a:lnTo>
                        <a:pt x="1316" y="477"/>
                      </a:lnTo>
                      <a:lnTo>
                        <a:pt x="1316" y="476"/>
                      </a:lnTo>
                      <a:lnTo>
                        <a:pt x="1316" y="475"/>
                      </a:lnTo>
                      <a:lnTo>
                        <a:pt x="1316" y="474"/>
                      </a:lnTo>
                      <a:lnTo>
                        <a:pt x="1317" y="474"/>
                      </a:lnTo>
                      <a:lnTo>
                        <a:pt x="1317" y="473"/>
                      </a:lnTo>
                      <a:lnTo>
                        <a:pt x="1317" y="472"/>
                      </a:lnTo>
                      <a:lnTo>
                        <a:pt x="1318" y="472"/>
                      </a:lnTo>
                      <a:lnTo>
                        <a:pt x="1317" y="470"/>
                      </a:lnTo>
                      <a:lnTo>
                        <a:pt x="1318" y="469"/>
                      </a:lnTo>
                      <a:lnTo>
                        <a:pt x="1317" y="469"/>
                      </a:lnTo>
                      <a:lnTo>
                        <a:pt x="1317" y="468"/>
                      </a:lnTo>
                      <a:lnTo>
                        <a:pt x="1318" y="467"/>
                      </a:lnTo>
                      <a:lnTo>
                        <a:pt x="1319" y="467"/>
                      </a:lnTo>
                      <a:lnTo>
                        <a:pt x="1321" y="467"/>
                      </a:lnTo>
                      <a:lnTo>
                        <a:pt x="1322" y="467"/>
                      </a:lnTo>
                      <a:lnTo>
                        <a:pt x="1322" y="466"/>
                      </a:lnTo>
                      <a:lnTo>
                        <a:pt x="1323" y="466"/>
                      </a:lnTo>
                      <a:lnTo>
                        <a:pt x="1323" y="465"/>
                      </a:lnTo>
                      <a:lnTo>
                        <a:pt x="1324" y="465"/>
                      </a:lnTo>
                      <a:lnTo>
                        <a:pt x="1324" y="464"/>
                      </a:lnTo>
                      <a:lnTo>
                        <a:pt x="1324" y="465"/>
                      </a:lnTo>
                      <a:lnTo>
                        <a:pt x="1325" y="465"/>
                      </a:lnTo>
                      <a:lnTo>
                        <a:pt x="1325" y="466"/>
                      </a:lnTo>
                      <a:lnTo>
                        <a:pt x="1326" y="467"/>
                      </a:lnTo>
                      <a:close/>
                      <a:moveTo>
                        <a:pt x="1271" y="482"/>
                      </a:moveTo>
                      <a:lnTo>
                        <a:pt x="1271" y="484"/>
                      </a:lnTo>
                      <a:lnTo>
                        <a:pt x="1271" y="482"/>
                      </a:lnTo>
                      <a:lnTo>
                        <a:pt x="1271" y="484"/>
                      </a:lnTo>
                      <a:lnTo>
                        <a:pt x="1272" y="484"/>
                      </a:lnTo>
                      <a:lnTo>
                        <a:pt x="1272" y="485"/>
                      </a:lnTo>
                      <a:lnTo>
                        <a:pt x="1273" y="485"/>
                      </a:lnTo>
                      <a:lnTo>
                        <a:pt x="1274" y="485"/>
                      </a:lnTo>
                      <a:lnTo>
                        <a:pt x="1275" y="485"/>
                      </a:lnTo>
                      <a:lnTo>
                        <a:pt x="1276" y="485"/>
                      </a:lnTo>
                      <a:lnTo>
                        <a:pt x="1277" y="485"/>
                      </a:lnTo>
                      <a:lnTo>
                        <a:pt x="1278" y="485"/>
                      </a:lnTo>
                      <a:lnTo>
                        <a:pt x="1279" y="486"/>
                      </a:lnTo>
                      <a:lnTo>
                        <a:pt x="1280" y="486"/>
                      </a:lnTo>
                      <a:lnTo>
                        <a:pt x="1280" y="485"/>
                      </a:lnTo>
                      <a:lnTo>
                        <a:pt x="1282" y="485"/>
                      </a:lnTo>
                      <a:lnTo>
                        <a:pt x="1282" y="486"/>
                      </a:lnTo>
                      <a:lnTo>
                        <a:pt x="1282" y="487"/>
                      </a:lnTo>
                      <a:lnTo>
                        <a:pt x="1282" y="486"/>
                      </a:lnTo>
                      <a:lnTo>
                        <a:pt x="1283" y="487"/>
                      </a:lnTo>
                      <a:lnTo>
                        <a:pt x="1284" y="487"/>
                      </a:lnTo>
                      <a:lnTo>
                        <a:pt x="1285" y="487"/>
                      </a:lnTo>
                      <a:lnTo>
                        <a:pt x="1285" y="488"/>
                      </a:lnTo>
                      <a:lnTo>
                        <a:pt x="1284" y="488"/>
                      </a:lnTo>
                      <a:lnTo>
                        <a:pt x="1285" y="488"/>
                      </a:lnTo>
                      <a:lnTo>
                        <a:pt x="1285" y="487"/>
                      </a:lnTo>
                      <a:lnTo>
                        <a:pt x="1286" y="487"/>
                      </a:lnTo>
                      <a:lnTo>
                        <a:pt x="1285" y="488"/>
                      </a:lnTo>
                      <a:lnTo>
                        <a:pt x="1284" y="489"/>
                      </a:lnTo>
                      <a:lnTo>
                        <a:pt x="1283" y="489"/>
                      </a:lnTo>
                      <a:lnTo>
                        <a:pt x="1282" y="488"/>
                      </a:lnTo>
                      <a:lnTo>
                        <a:pt x="1280" y="489"/>
                      </a:lnTo>
                      <a:lnTo>
                        <a:pt x="1279" y="489"/>
                      </a:lnTo>
                      <a:lnTo>
                        <a:pt x="1277" y="489"/>
                      </a:lnTo>
                      <a:lnTo>
                        <a:pt x="1276" y="489"/>
                      </a:lnTo>
                      <a:lnTo>
                        <a:pt x="1274" y="490"/>
                      </a:lnTo>
                      <a:lnTo>
                        <a:pt x="1274" y="491"/>
                      </a:lnTo>
                      <a:lnTo>
                        <a:pt x="1273" y="491"/>
                      </a:lnTo>
                      <a:lnTo>
                        <a:pt x="1273" y="492"/>
                      </a:lnTo>
                      <a:lnTo>
                        <a:pt x="1272" y="492"/>
                      </a:lnTo>
                      <a:lnTo>
                        <a:pt x="1272" y="493"/>
                      </a:lnTo>
                      <a:lnTo>
                        <a:pt x="1271" y="492"/>
                      </a:lnTo>
                      <a:lnTo>
                        <a:pt x="1271" y="491"/>
                      </a:lnTo>
                      <a:lnTo>
                        <a:pt x="1272" y="490"/>
                      </a:lnTo>
                      <a:lnTo>
                        <a:pt x="1272" y="489"/>
                      </a:lnTo>
                      <a:lnTo>
                        <a:pt x="1271" y="488"/>
                      </a:lnTo>
                      <a:lnTo>
                        <a:pt x="1272" y="488"/>
                      </a:lnTo>
                      <a:lnTo>
                        <a:pt x="1272" y="487"/>
                      </a:lnTo>
                      <a:lnTo>
                        <a:pt x="1272" y="488"/>
                      </a:lnTo>
                      <a:lnTo>
                        <a:pt x="1271" y="488"/>
                      </a:lnTo>
                      <a:lnTo>
                        <a:pt x="1270" y="488"/>
                      </a:lnTo>
                      <a:lnTo>
                        <a:pt x="1268" y="488"/>
                      </a:lnTo>
                      <a:lnTo>
                        <a:pt x="1268" y="489"/>
                      </a:lnTo>
                      <a:lnTo>
                        <a:pt x="1268" y="488"/>
                      </a:lnTo>
                      <a:lnTo>
                        <a:pt x="1268" y="487"/>
                      </a:lnTo>
                      <a:lnTo>
                        <a:pt x="1267" y="487"/>
                      </a:lnTo>
                      <a:lnTo>
                        <a:pt x="1267" y="486"/>
                      </a:lnTo>
                      <a:lnTo>
                        <a:pt x="1266" y="486"/>
                      </a:lnTo>
                      <a:lnTo>
                        <a:pt x="1266" y="485"/>
                      </a:lnTo>
                      <a:lnTo>
                        <a:pt x="1265" y="485"/>
                      </a:lnTo>
                      <a:lnTo>
                        <a:pt x="1265" y="484"/>
                      </a:lnTo>
                      <a:lnTo>
                        <a:pt x="1265" y="482"/>
                      </a:lnTo>
                      <a:lnTo>
                        <a:pt x="1266" y="482"/>
                      </a:lnTo>
                      <a:lnTo>
                        <a:pt x="1266" y="481"/>
                      </a:lnTo>
                      <a:lnTo>
                        <a:pt x="1266" y="480"/>
                      </a:lnTo>
                      <a:lnTo>
                        <a:pt x="1267" y="480"/>
                      </a:lnTo>
                      <a:lnTo>
                        <a:pt x="1267" y="479"/>
                      </a:lnTo>
                      <a:lnTo>
                        <a:pt x="1267" y="480"/>
                      </a:lnTo>
                      <a:lnTo>
                        <a:pt x="1268" y="480"/>
                      </a:lnTo>
                      <a:lnTo>
                        <a:pt x="1268" y="481"/>
                      </a:lnTo>
                      <a:lnTo>
                        <a:pt x="1270" y="482"/>
                      </a:lnTo>
                      <a:lnTo>
                        <a:pt x="1271" y="482"/>
                      </a:lnTo>
                      <a:close/>
                      <a:moveTo>
                        <a:pt x="1384" y="477"/>
                      </a:moveTo>
                      <a:lnTo>
                        <a:pt x="1386" y="477"/>
                      </a:lnTo>
                      <a:lnTo>
                        <a:pt x="1386" y="478"/>
                      </a:lnTo>
                      <a:lnTo>
                        <a:pt x="1384" y="478"/>
                      </a:lnTo>
                      <a:lnTo>
                        <a:pt x="1384" y="479"/>
                      </a:lnTo>
                      <a:lnTo>
                        <a:pt x="1384" y="480"/>
                      </a:lnTo>
                      <a:lnTo>
                        <a:pt x="1384" y="481"/>
                      </a:lnTo>
                      <a:lnTo>
                        <a:pt x="1383" y="482"/>
                      </a:lnTo>
                      <a:lnTo>
                        <a:pt x="1382" y="482"/>
                      </a:lnTo>
                      <a:lnTo>
                        <a:pt x="1381" y="482"/>
                      </a:lnTo>
                      <a:lnTo>
                        <a:pt x="1381" y="484"/>
                      </a:lnTo>
                      <a:lnTo>
                        <a:pt x="1381" y="485"/>
                      </a:lnTo>
                      <a:lnTo>
                        <a:pt x="1381" y="486"/>
                      </a:lnTo>
                      <a:lnTo>
                        <a:pt x="1380" y="486"/>
                      </a:lnTo>
                      <a:lnTo>
                        <a:pt x="1380" y="488"/>
                      </a:lnTo>
                      <a:lnTo>
                        <a:pt x="1380" y="489"/>
                      </a:lnTo>
                      <a:lnTo>
                        <a:pt x="1380" y="490"/>
                      </a:lnTo>
                      <a:lnTo>
                        <a:pt x="1381" y="490"/>
                      </a:lnTo>
                      <a:lnTo>
                        <a:pt x="1382" y="490"/>
                      </a:lnTo>
                      <a:lnTo>
                        <a:pt x="1382" y="491"/>
                      </a:lnTo>
                      <a:lnTo>
                        <a:pt x="1383" y="491"/>
                      </a:lnTo>
                      <a:lnTo>
                        <a:pt x="1384" y="491"/>
                      </a:lnTo>
                      <a:lnTo>
                        <a:pt x="1383" y="491"/>
                      </a:lnTo>
                      <a:lnTo>
                        <a:pt x="1383" y="492"/>
                      </a:lnTo>
                      <a:lnTo>
                        <a:pt x="1383" y="493"/>
                      </a:lnTo>
                      <a:lnTo>
                        <a:pt x="1383" y="494"/>
                      </a:lnTo>
                      <a:lnTo>
                        <a:pt x="1383" y="493"/>
                      </a:lnTo>
                      <a:lnTo>
                        <a:pt x="1382" y="492"/>
                      </a:lnTo>
                      <a:lnTo>
                        <a:pt x="1381" y="491"/>
                      </a:lnTo>
                      <a:lnTo>
                        <a:pt x="1381" y="490"/>
                      </a:lnTo>
                      <a:lnTo>
                        <a:pt x="1380" y="490"/>
                      </a:lnTo>
                      <a:lnTo>
                        <a:pt x="1380" y="489"/>
                      </a:lnTo>
                      <a:lnTo>
                        <a:pt x="1379" y="489"/>
                      </a:lnTo>
                      <a:lnTo>
                        <a:pt x="1378" y="488"/>
                      </a:lnTo>
                      <a:lnTo>
                        <a:pt x="1378" y="487"/>
                      </a:lnTo>
                      <a:lnTo>
                        <a:pt x="1379" y="487"/>
                      </a:lnTo>
                      <a:lnTo>
                        <a:pt x="1379" y="486"/>
                      </a:lnTo>
                      <a:lnTo>
                        <a:pt x="1380" y="485"/>
                      </a:lnTo>
                      <a:lnTo>
                        <a:pt x="1380" y="484"/>
                      </a:lnTo>
                      <a:lnTo>
                        <a:pt x="1380" y="482"/>
                      </a:lnTo>
                      <a:lnTo>
                        <a:pt x="1380" y="484"/>
                      </a:lnTo>
                      <a:lnTo>
                        <a:pt x="1379" y="485"/>
                      </a:lnTo>
                      <a:lnTo>
                        <a:pt x="1379" y="486"/>
                      </a:lnTo>
                      <a:lnTo>
                        <a:pt x="1378" y="487"/>
                      </a:lnTo>
                      <a:lnTo>
                        <a:pt x="1377" y="487"/>
                      </a:lnTo>
                      <a:lnTo>
                        <a:pt x="1378" y="488"/>
                      </a:lnTo>
                      <a:lnTo>
                        <a:pt x="1377" y="488"/>
                      </a:lnTo>
                      <a:lnTo>
                        <a:pt x="1377" y="487"/>
                      </a:lnTo>
                      <a:lnTo>
                        <a:pt x="1377" y="486"/>
                      </a:lnTo>
                      <a:lnTo>
                        <a:pt x="1378" y="486"/>
                      </a:lnTo>
                      <a:lnTo>
                        <a:pt x="1378" y="485"/>
                      </a:lnTo>
                      <a:lnTo>
                        <a:pt x="1378" y="484"/>
                      </a:lnTo>
                      <a:lnTo>
                        <a:pt x="1378" y="482"/>
                      </a:lnTo>
                      <a:lnTo>
                        <a:pt x="1378" y="481"/>
                      </a:lnTo>
                      <a:lnTo>
                        <a:pt x="1378" y="480"/>
                      </a:lnTo>
                      <a:lnTo>
                        <a:pt x="1377" y="479"/>
                      </a:lnTo>
                      <a:lnTo>
                        <a:pt x="1376" y="479"/>
                      </a:lnTo>
                      <a:lnTo>
                        <a:pt x="1377" y="479"/>
                      </a:lnTo>
                      <a:lnTo>
                        <a:pt x="1377" y="478"/>
                      </a:lnTo>
                      <a:lnTo>
                        <a:pt x="1377" y="477"/>
                      </a:lnTo>
                      <a:lnTo>
                        <a:pt x="1376" y="477"/>
                      </a:lnTo>
                      <a:lnTo>
                        <a:pt x="1375" y="478"/>
                      </a:lnTo>
                      <a:lnTo>
                        <a:pt x="1375" y="477"/>
                      </a:lnTo>
                      <a:lnTo>
                        <a:pt x="1376" y="477"/>
                      </a:lnTo>
                      <a:lnTo>
                        <a:pt x="1377" y="477"/>
                      </a:lnTo>
                      <a:lnTo>
                        <a:pt x="1377" y="476"/>
                      </a:lnTo>
                      <a:lnTo>
                        <a:pt x="1377" y="475"/>
                      </a:lnTo>
                      <a:lnTo>
                        <a:pt x="1377" y="474"/>
                      </a:lnTo>
                      <a:lnTo>
                        <a:pt x="1376" y="474"/>
                      </a:lnTo>
                      <a:lnTo>
                        <a:pt x="1377" y="474"/>
                      </a:lnTo>
                      <a:lnTo>
                        <a:pt x="1378" y="474"/>
                      </a:lnTo>
                      <a:lnTo>
                        <a:pt x="1379" y="475"/>
                      </a:lnTo>
                      <a:lnTo>
                        <a:pt x="1378" y="475"/>
                      </a:lnTo>
                      <a:lnTo>
                        <a:pt x="1378" y="476"/>
                      </a:lnTo>
                      <a:lnTo>
                        <a:pt x="1378" y="477"/>
                      </a:lnTo>
                      <a:lnTo>
                        <a:pt x="1379" y="477"/>
                      </a:lnTo>
                      <a:lnTo>
                        <a:pt x="1380" y="477"/>
                      </a:lnTo>
                      <a:lnTo>
                        <a:pt x="1381" y="477"/>
                      </a:lnTo>
                      <a:lnTo>
                        <a:pt x="1381" y="476"/>
                      </a:lnTo>
                      <a:lnTo>
                        <a:pt x="1381" y="475"/>
                      </a:lnTo>
                      <a:lnTo>
                        <a:pt x="1380" y="474"/>
                      </a:lnTo>
                      <a:lnTo>
                        <a:pt x="1380" y="473"/>
                      </a:lnTo>
                      <a:lnTo>
                        <a:pt x="1381" y="473"/>
                      </a:lnTo>
                      <a:lnTo>
                        <a:pt x="1382" y="474"/>
                      </a:lnTo>
                      <a:lnTo>
                        <a:pt x="1383" y="474"/>
                      </a:lnTo>
                      <a:lnTo>
                        <a:pt x="1384" y="474"/>
                      </a:lnTo>
                      <a:lnTo>
                        <a:pt x="1384" y="475"/>
                      </a:lnTo>
                      <a:lnTo>
                        <a:pt x="1386" y="475"/>
                      </a:lnTo>
                      <a:lnTo>
                        <a:pt x="1386" y="476"/>
                      </a:lnTo>
                      <a:lnTo>
                        <a:pt x="1386" y="477"/>
                      </a:lnTo>
                      <a:lnTo>
                        <a:pt x="1384" y="477"/>
                      </a:lnTo>
                      <a:close/>
                      <a:moveTo>
                        <a:pt x="1323" y="602"/>
                      </a:moveTo>
                      <a:lnTo>
                        <a:pt x="1323" y="603"/>
                      </a:lnTo>
                      <a:lnTo>
                        <a:pt x="1322" y="603"/>
                      </a:lnTo>
                      <a:lnTo>
                        <a:pt x="1322" y="604"/>
                      </a:lnTo>
                      <a:lnTo>
                        <a:pt x="1321" y="604"/>
                      </a:lnTo>
                      <a:lnTo>
                        <a:pt x="1321" y="605"/>
                      </a:lnTo>
                      <a:lnTo>
                        <a:pt x="1319" y="606"/>
                      </a:lnTo>
                      <a:lnTo>
                        <a:pt x="1319" y="607"/>
                      </a:lnTo>
                      <a:lnTo>
                        <a:pt x="1319" y="608"/>
                      </a:lnTo>
                      <a:lnTo>
                        <a:pt x="1321" y="608"/>
                      </a:lnTo>
                      <a:lnTo>
                        <a:pt x="1322" y="608"/>
                      </a:lnTo>
                      <a:lnTo>
                        <a:pt x="1323" y="608"/>
                      </a:lnTo>
                      <a:lnTo>
                        <a:pt x="1323" y="607"/>
                      </a:lnTo>
                      <a:lnTo>
                        <a:pt x="1324" y="606"/>
                      </a:lnTo>
                      <a:lnTo>
                        <a:pt x="1325" y="606"/>
                      </a:lnTo>
                      <a:lnTo>
                        <a:pt x="1326" y="606"/>
                      </a:lnTo>
                      <a:lnTo>
                        <a:pt x="1327" y="606"/>
                      </a:lnTo>
                      <a:lnTo>
                        <a:pt x="1327" y="605"/>
                      </a:lnTo>
                      <a:lnTo>
                        <a:pt x="1328" y="605"/>
                      </a:lnTo>
                      <a:lnTo>
                        <a:pt x="1329" y="605"/>
                      </a:lnTo>
                      <a:lnTo>
                        <a:pt x="1328" y="606"/>
                      </a:lnTo>
                      <a:lnTo>
                        <a:pt x="1327" y="606"/>
                      </a:lnTo>
                      <a:lnTo>
                        <a:pt x="1327" y="607"/>
                      </a:lnTo>
                      <a:lnTo>
                        <a:pt x="1326" y="607"/>
                      </a:lnTo>
                      <a:lnTo>
                        <a:pt x="1326" y="608"/>
                      </a:lnTo>
                      <a:lnTo>
                        <a:pt x="1326" y="609"/>
                      </a:lnTo>
                      <a:lnTo>
                        <a:pt x="1327" y="609"/>
                      </a:lnTo>
                      <a:lnTo>
                        <a:pt x="1328" y="609"/>
                      </a:lnTo>
                      <a:lnTo>
                        <a:pt x="1329" y="609"/>
                      </a:lnTo>
                      <a:lnTo>
                        <a:pt x="1329" y="608"/>
                      </a:lnTo>
                      <a:lnTo>
                        <a:pt x="1328" y="608"/>
                      </a:lnTo>
                      <a:lnTo>
                        <a:pt x="1328" y="607"/>
                      </a:lnTo>
                      <a:lnTo>
                        <a:pt x="1329" y="607"/>
                      </a:lnTo>
                      <a:lnTo>
                        <a:pt x="1330" y="607"/>
                      </a:lnTo>
                      <a:lnTo>
                        <a:pt x="1330" y="606"/>
                      </a:lnTo>
                      <a:lnTo>
                        <a:pt x="1331" y="606"/>
                      </a:lnTo>
                      <a:lnTo>
                        <a:pt x="1331" y="607"/>
                      </a:lnTo>
                      <a:lnTo>
                        <a:pt x="1330" y="607"/>
                      </a:lnTo>
                      <a:lnTo>
                        <a:pt x="1330" y="608"/>
                      </a:lnTo>
                      <a:lnTo>
                        <a:pt x="1331" y="608"/>
                      </a:lnTo>
                      <a:lnTo>
                        <a:pt x="1331" y="607"/>
                      </a:lnTo>
                      <a:lnTo>
                        <a:pt x="1332" y="607"/>
                      </a:lnTo>
                      <a:lnTo>
                        <a:pt x="1332" y="608"/>
                      </a:lnTo>
                      <a:lnTo>
                        <a:pt x="1334" y="608"/>
                      </a:lnTo>
                      <a:lnTo>
                        <a:pt x="1335" y="608"/>
                      </a:lnTo>
                      <a:lnTo>
                        <a:pt x="1334" y="608"/>
                      </a:lnTo>
                      <a:lnTo>
                        <a:pt x="1334" y="609"/>
                      </a:lnTo>
                      <a:lnTo>
                        <a:pt x="1334" y="610"/>
                      </a:lnTo>
                      <a:lnTo>
                        <a:pt x="1335" y="610"/>
                      </a:lnTo>
                      <a:lnTo>
                        <a:pt x="1334" y="610"/>
                      </a:lnTo>
                      <a:lnTo>
                        <a:pt x="1332" y="610"/>
                      </a:lnTo>
                      <a:lnTo>
                        <a:pt x="1331" y="610"/>
                      </a:lnTo>
                      <a:lnTo>
                        <a:pt x="1330" y="610"/>
                      </a:lnTo>
                      <a:lnTo>
                        <a:pt x="1330" y="611"/>
                      </a:lnTo>
                      <a:lnTo>
                        <a:pt x="1331" y="611"/>
                      </a:lnTo>
                      <a:lnTo>
                        <a:pt x="1330" y="613"/>
                      </a:lnTo>
                      <a:lnTo>
                        <a:pt x="1329" y="613"/>
                      </a:lnTo>
                      <a:lnTo>
                        <a:pt x="1330" y="613"/>
                      </a:lnTo>
                      <a:lnTo>
                        <a:pt x="1329" y="614"/>
                      </a:lnTo>
                      <a:lnTo>
                        <a:pt x="1329" y="615"/>
                      </a:lnTo>
                      <a:lnTo>
                        <a:pt x="1328" y="614"/>
                      </a:lnTo>
                      <a:lnTo>
                        <a:pt x="1327" y="614"/>
                      </a:lnTo>
                      <a:lnTo>
                        <a:pt x="1327" y="613"/>
                      </a:lnTo>
                      <a:lnTo>
                        <a:pt x="1327" y="611"/>
                      </a:lnTo>
                      <a:lnTo>
                        <a:pt x="1327" y="613"/>
                      </a:lnTo>
                      <a:lnTo>
                        <a:pt x="1328" y="613"/>
                      </a:lnTo>
                      <a:lnTo>
                        <a:pt x="1327" y="611"/>
                      </a:lnTo>
                      <a:lnTo>
                        <a:pt x="1328" y="611"/>
                      </a:lnTo>
                      <a:lnTo>
                        <a:pt x="1328" y="610"/>
                      </a:lnTo>
                      <a:lnTo>
                        <a:pt x="1327" y="611"/>
                      </a:lnTo>
                      <a:lnTo>
                        <a:pt x="1327" y="610"/>
                      </a:lnTo>
                      <a:lnTo>
                        <a:pt x="1326" y="609"/>
                      </a:lnTo>
                      <a:lnTo>
                        <a:pt x="1325" y="609"/>
                      </a:lnTo>
                      <a:lnTo>
                        <a:pt x="1324" y="608"/>
                      </a:lnTo>
                      <a:lnTo>
                        <a:pt x="1324" y="609"/>
                      </a:lnTo>
                      <a:lnTo>
                        <a:pt x="1323" y="609"/>
                      </a:lnTo>
                      <a:lnTo>
                        <a:pt x="1322" y="609"/>
                      </a:lnTo>
                      <a:lnTo>
                        <a:pt x="1322" y="610"/>
                      </a:lnTo>
                      <a:lnTo>
                        <a:pt x="1321" y="610"/>
                      </a:lnTo>
                      <a:lnTo>
                        <a:pt x="1321" y="609"/>
                      </a:lnTo>
                      <a:lnTo>
                        <a:pt x="1319" y="609"/>
                      </a:lnTo>
                      <a:lnTo>
                        <a:pt x="1318" y="609"/>
                      </a:lnTo>
                      <a:lnTo>
                        <a:pt x="1317" y="609"/>
                      </a:lnTo>
                      <a:lnTo>
                        <a:pt x="1317" y="608"/>
                      </a:lnTo>
                      <a:lnTo>
                        <a:pt x="1316" y="608"/>
                      </a:lnTo>
                      <a:lnTo>
                        <a:pt x="1316" y="607"/>
                      </a:lnTo>
                      <a:lnTo>
                        <a:pt x="1315" y="607"/>
                      </a:lnTo>
                      <a:lnTo>
                        <a:pt x="1314" y="607"/>
                      </a:lnTo>
                      <a:lnTo>
                        <a:pt x="1314" y="606"/>
                      </a:lnTo>
                      <a:lnTo>
                        <a:pt x="1314" y="605"/>
                      </a:lnTo>
                      <a:lnTo>
                        <a:pt x="1313" y="604"/>
                      </a:lnTo>
                      <a:lnTo>
                        <a:pt x="1314" y="604"/>
                      </a:lnTo>
                      <a:lnTo>
                        <a:pt x="1315" y="604"/>
                      </a:lnTo>
                      <a:lnTo>
                        <a:pt x="1316" y="604"/>
                      </a:lnTo>
                      <a:lnTo>
                        <a:pt x="1318" y="603"/>
                      </a:lnTo>
                      <a:lnTo>
                        <a:pt x="1319" y="603"/>
                      </a:lnTo>
                      <a:lnTo>
                        <a:pt x="1321" y="603"/>
                      </a:lnTo>
                      <a:lnTo>
                        <a:pt x="1322" y="603"/>
                      </a:lnTo>
                      <a:lnTo>
                        <a:pt x="1321" y="603"/>
                      </a:lnTo>
                      <a:lnTo>
                        <a:pt x="1322" y="603"/>
                      </a:lnTo>
                      <a:lnTo>
                        <a:pt x="1323" y="603"/>
                      </a:lnTo>
                      <a:lnTo>
                        <a:pt x="1323" y="602"/>
                      </a:lnTo>
                      <a:lnTo>
                        <a:pt x="1324" y="602"/>
                      </a:lnTo>
                      <a:lnTo>
                        <a:pt x="1323" y="602"/>
                      </a:lnTo>
                      <a:close/>
                      <a:moveTo>
                        <a:pt x="1311" y="575"/>
                      </a:moveTo>
                      <a:lnTo>
                        <a:pt x="1312" y="575"/>
                      </a:lnTo>
                      <a:lnTo>
                        <a:pt x="1312" y="576"/>
                      </a:lnTo>
                      <a:lnTo>
                        <a:pt x="1312" y="577"/>
                      </a:lnTo>
                      <a:lnTo>
                        <a:pt x="1311" y="577"/>
                      </a:lnTo>
                      <a:lnTo>
                        <a:pt x="1311" y="578"/>
                      </a:lnTo>
                      <a:lnTo>
                        <a:pt x="1311" y="579"/>
                      </a:lnTo>
                      <a:lnTo>
                        <a:pt x="1310" y="580"/>
                      </a:lnTo>
                      <a:lnTo>
                        <a:pt x="1309" y="580"/>
                      </a:lnTo>
                      <a:lnTo>
                        <a:pt x="1308" y="581"/>
                      </a:lnTo>
                      <a:lnTo>
                        <a:pt x="1306" y="582"/>
                      </a:lnTo>
                      <a:lnTo>
                        <a:pt x="1306" y="584"/>
                      </a:lnTo>
                      <a:lnTo>
                        <a:pt x="1306" y="585"/>
                      </a:lnTo>
                      <a:lnTo>
                        <a:pt x="1306" y="584"/>
                      </a:lnTo>
                      <a:lnTo>
                        <a:pt x="1308" y="584"/>
                      </a:lnTo>
                      <a:lnTo>
                        <a:pt x="1308" y="585"/>
                      </a:lnTo>
                      <a:lnTo>
                        <a:pt x="1308" y="587"/>
                      </a:lnTo>
                      <a:lnTo>
                        <a:pt x="1306" y="587"/>
                      </a:lnTo>
                      <a:lnTo>
                        <a:pt x="1305" y="588"/>
                      </a:lnTo>
                      <a:lnTo>
                        <a:pt x="1305" y="587"/>
                      </a:lnTo>
                      <a:lnTo>
                        <a:pt x="1305" y="588"/>
                      </a:lnTo>
                      <a:lnTo>
                        <a:pt x="1306" y="587"/>
                      </a:lnTo>
                      <a:lnTo>
                        <a:pt x="1308" y="587"/>
                      </a:lnTo>
                      <a:lnTo>
                        <a:pt x="1308" y="585"/>
                      </a:lnTo>
                      <a:lnTo>
                        <a:pt x="1308" y="584"/>
                      </a:lnTo>
                      <a:lnTo>
                        <a:pt x="1309" y="584"/>
                      </a:lnTo>
                      <a:lnTo>
                        <a:pt x="1309" y="585"/>
                      </a:lnTo>
                      <a:lnTo>
                        <a:pt x="1310" y="585"/>
                      </a:lnTo>
                      <a:lnTo>
                        <a:pt x="1310" y="587"/>
                      </a:lnTo>
                      <a:lnTo>
                        <a:pt x="1311" y="587"/>
                      </a:lnTo>
                      <a:lnTo>
                        <a:pt x="1312" y="587"/>
                      </a:lnTo>
                      <a:lnTo>
                        <a:pt x="1312" y="588"/>
                      </a:lnTo>
                      <a:lnTo>
                        <a:pt x="1312" y="589"/>
                      </a:lnTo>
                      <a:lnTo>
                        <a:pt x="1311" y="589"/>
                      </a:lnTo>
                      <a:lnTo>
                        <a:pt x="1310" y="589"/>
                      </a:lnTo>
                      <a:lnTo>
                        <a:pt x="1310" y="590"/>
                      </a:lnTo>
                      <a:lnTo>
                        <a:pt x="1309" y="590"/>
                      </a:lnTo>
                      <a:lnTo>
                        <a:pt x="1308" y="590"/>
                      </a:lnTo>
                      <a:lnTo>
                        <a:pt x="1306" y="590"/>
                      </a:lnTo>
                      <a:lnTo>
                        <a:pt x="1306" y="591"/>
                      </a:lnTo>
                      <a:lnTo>
                        <a:pt x="1306" y="592"/>
                      </a:lnTo>
                      <a:lnTo>
                        <a:pt x="1305" y="592"/>
                      </a:lnTo>
                      <a:lnTo>
                        <a:pt x="1305" y="593"/>
                      </a:lnTo>
                      <a:lnTo>
                        <a:pt x="1305" y="594"/>
                      </a:lnTo>
                      <a:lnTo>
                        <a:pt x="1306" y="595"/>
                      </a:lnTo>
                      <a:lnTo>
                        <a:pt x="1306" y="596"/>
                      </a:lnTo>
                      <a:lnTo>
                        <a:pt x="1305" y="595"/>
                      </a:lnTo>
                      <a:lnTo>
                        <a:pt x="1304" y="595"/>
                      </a:lnTo>
                      <a:lnTo>
                        <a:pt x="1303" y="595"/>
                      </a:lnTo>
                      <a:lnTo>
                        <a:pt x="1303" y="594"/>
                      </a:lnTo>
                      <a:lnTo>
                        <a:pt x="1302" y="594"/>
                      </a:lnTo>
                      <a:lnTo>
                        <a:pt x="1302" y="595"/>
                      </a:lnTo>
                      <a:lnTo>
                        <a:pt x="1301" y="595"/>
                      </a:lnTo>
                      <a:lnTo>
                        <a:pt x="1300" y="595"/>
                      </a:lnTo>
                      <a:lnTo>
                        <a:pt x="1300" y="594"/>
                      </a:lnTo>
                      <a:lnTo>
                        <a:pt x="1300" y="593"/>
                      </a:lnTo>
                      <a:lnTo>
                        <a:pt x="1301" y="593"/>
                      </a:lnTo>
                      <a:lnTo>
                        <a:pt x="1302" y="593"/>
                      </a:lnTo>
                      <a:lnTo>
                        <a:pt x="1302" y="592"/>
                      </a:lnTo>
                      <a:lnTo>
                        <a:pt x="1302" y="591"/>
                      </a:lnTo>
                      <a:lnTo>
                        <a:pt x="1303" y="591"/>
                      </a:lnTo>
                      <a:lnTo>
                        <a:pt x="1303" y="590"/>
                      </a:lnTo>
                      <a:lnTo>
                        <a:pt x="1304" y="590"/>
                      </a:lnTo>
                      <a:lnTo>
                        <a:pt x="1304" y="589"/>
                      </a:lnTo>
                      <a:lnTo>
                        <a:pt x="1303" y="590"/>
                      </a:lnTo>
                      <a:lnTo>
                        <a:pt x="1304" y="590"/>
                      </a:lnTo>
                      <a:lnTo>
                        <a:pt x="1303" y="590"/>
                      </a:lnTo>
                      <a:lnTo>
                        <a:pt x="1303" y="591"/>
                      </a:lnTo>
                      <a:lnTo>
                        <a:pt x="1302" y="591"/>
                      </a:lnTo>
                      <a:lnTo>
                        <a:pt x="1302" y="590"/>
                      </a:lnTo>
                      <a:lnTo>
                        <a:pt x="1302" y="589"/>
                      </a:lnTo>
                      <a:lnTo>
                        <a:pt x="1303" y="589"/>
                      </a:lnTo>
                      <a:lnTo>
                        <a:pt x="1304" y="589"/>
                      </a:lnTo>
                      <a:lnTo>
                        <a:pt x="1304" y="588"/>
                      </a:lnTo>
                      <a:lnTo>
                        <a:pt x="1304" y="587"/>
                      </a:lnTo>
                      <a:lnTo>
                        <a:pt x="1304" y="585"/>
                      </a:lnTo>
                      <a:lnTo>
                        <a:pt x="1304" y="584"/>
                      </a:lnTo>
                      <a:lnTo>
                        <a:pt x="1304" y="583"/>
                      </a:lnTo>
                      <a:lnTo>
                        <a:pt x="1305" y="583"/>
                      </a:lnTo>
                      <a:lnTo>
                        <a:pt x="1305" y="582"/>
                      </a:lnTo>
                      <a:lnTo>
                        <a:pt x="1305" y="581"/>
                      </a:lnTo>
                      <a:lnTo>
                        <a:pt x="1306" y="581"/>
                      </a:lnTo>
                      <a:lnTo>
                        <a:pt x="1306" y="580"/>
                      </a:lnTo>
                      <a:lnTo>
                        <a:pt x="1308" y="580"/>
                      </a:lnTo>
                      <a:lnTo>
                        <a:pt x="1308" y="579"/>
                      </a:lnTo>
                      <a:lnTo>
                        <a:pt x="1308" y="578"/>
                      </a:lnTo>
                      <a:lnTo>
                        <a:pt x="1306" y="578"/>
                      </a:lnTo>
                      <a:lnTo>
                        <a:pt x="1306" y="577"/>
                      </a:lnTo>
                      <a:lnTo>
                        <a:pt x="1308" y="577"/>
                      </a:lnTo>
                      <a:lnTo>
                        <a:pt x="1309" y="577"/>
                      </a:lnTo>
                      <a:lnTo>
                        <a:pt x="1310" y="577"/>
                      </a:lnTo>
                      <a:lnTo>
                        <a:pt x="1311" y="577"/>
                      </a:lnTo>
                      <a:lnTo>
                        <a:pt x="1311" y="576"/>
                      </a:lnTo>
                      <a:lnTo>
                        <a:pt x="1311" y="575"/>
                      </a:lnTo>
                      <a:close/>
                      <a:moveTo>
                        <a:pt x="1210" y="664"/>
                      </a:moveTo>
                      <a:lnTo>
                        <a:pt x="1211" y="665"/>
                      </a:lnTo>
                      <a:lnTo>
                        <a:pt x="1211" y="666"/>
                      </a:lnTo>
                      <a:lnTo>
                        <a:pt x="1210" y="666"/>
                      </a:lnTo>
                      <a:lnTo>
                        <a:pt x="1210" y="667"/>
                      </a:lnTo>
                      <a:lnTo>
                        <a:pt x="1210" y="668"/>
                      </a:lnTo>
                      <a:lnTo>
                        <a:pt x="1211" y="668"/>
                      </a:lnTo>
                      <a:lnTo>
                        <a:pt x="1211" y="669"/>
                      </a:lnTo>
                      <a:lnTo>
                        <a:pt x="1211" y="670"/>
                      </a:lnTo>
                      <a:lnTo>
                        <a:pt x="1212" y="670"/>
                      </a:lnTo>
                      <a:lnTo>
                        <a:pt x="1211" y="670"/>
                      </a:lnTo>
                      <a:lnTo>
                        <a:pt x="1210" y="670"/>
                      </a:lnTo>
                      <a:lnTo>
                        <a:pt x="1210" y="671"/>
                      </a:lnTo>
                      <a:lnTo>
                        <a:pt x="1210" y="672"/>
                      </a:lnTo>
                      <a:lnTo>
                        <a:pt x="1210" y="673"/>
                      </a:lnTo>
                      <a:lnTo>
                        <a:pt x="1211" y="673"/>
                      </a:lnTo>
                      <a:lnTo>
                        <a:pt x="1210" y="674"/>
                      </a:lnTo>
                      <a:lnTo>
                        <a:pt x="1210" y="673"/>
                      </a:lnTo>
                      <a:lnTo>
                        <a:pt x="1209" y="673"/>
                      </a:lnTo>
                      <a:lnTo>
                        <a:pt x="1209" y="674"/>
                      </a:lnTo>
                      <a:lnTo>
                        <a:pt x="1210" y="674"/>
                      </a:lnTo>
                      <a:lnTo>
                        <a:pt x="1209" y="674"/>
                      </a:lnTo>
                      <a:lnTo>
                        <a:pt x="1208" y="674"/>
                      </a:lnTo>
                      <a:lnTo>
                        <a:pt x="1208" y="673"/>
                      </a:lnTo>
                      <a:lnTo>
                        <a:pt x="1207" y="673"/>
                      </a:lnTo>
                      <a:lnTo>
                        <a:pt x="1207" y="672"/>
                      </a:lnTo>
                      <a:lnTo>
                        <a:pt x="1206" y="672"/>
                      </a:lnTo>
                      <a:lnTo>
                        <a:pt x="1205" y="671"/>
                      </a:lnTo>
                      <a:lnTo>
                        <a:pt x="1203" y="670"/>
                      </a:lnTo>
                      <a:lnTo>
                        <a:pt x="1203" y="669"/>
                      </a:lnTo>
                      <a:lnTo>
                        <a:pt x="1202" y="669"/>
                      </a:lnTo>
                      <a:lnTo>
                        <a:pt x="1202" y="670"/>
                      </a:lnTo>
                      <a:lnTo>
                        <a:pt x="1202" y="669"/>
                      </a:lnTo>
                      <a:lnTo>
                        <a:pt x="1202" y="668"/>
                      </a:lnTo>
                      <a:lnTo>
                        <a:pt x="1201" y="668"/>
                      </a:lnTo>
                      <a:lnTo>
                        <a:pt x="1201" y="667"/>
                      </a:lnTo>
                      <a:lnTo>
                        <a:pt x="1201" y="666"/>
                      </a:lnTo>
                      <a:lnTo>
                        <a:pt x="1200" y="666"/>
                      </a:lnTo>
                      <a:lnTo>
                        <a:pt x="1200" y="665"/>
                      </a:lnTo>
                      <a:lnTo>
                        <a:pt x="1201" y="664"/>
                      </a:lnTo>
                      <a:lnTo>
                        <a:pt x="1202" y="664"/>
                      </a:lnTo>
                      <a:lnTo>
                        <a:pt x="1203" y="665"/>
                      </a:lnTo>
                      <a:lnTo>
                        <a:pt x="1205" y="665"/>
                      </a:lnTo>
                      <a:lnTo>
                        <a:pt x="1205" y="664"/>
                      </a:lnTo>
                      <a:lnTo>
                        <a:pt x="1205" y="662"/>
                      </a:lnTo>
                      <a:lnTo>
                        <a:pt x="1205" y="664"/>
                      </a:lnTo>
                      <a:lnTo>
                        <a:pt x="1206" y="664"/>
                      </a:lnTo>
                      <a:lnTo>
                        <a:pt x="1206" y="665"/>
                      </a:lnTo>
                      <a:lnTo>
                        <a:pt x="1207" y="665"/>
                      </a:lnTo>
                      <a:lnTo>
                        <a:pt x="1207" y="664"/>
                      </a:lnTo>
                      <a:lnTo>
                        <a:pt x="1208" y="664"/>
                      </a:lnTo>
                      <a:lnTo>
                        <a:pt x="1208" y="665"/>
                      </a:lnTo>
                      <a:lnTo>
                        <a:pt x="1208" y="664"/>
                      </a:lnTo>
                      <a:lnTo>
                        <a:pt x="1209" y="662"/>
                      </a:lnTo>
                      <a:lnTo>
                        <a:pt x="1209" y="664"/>
                      </a:lnTo>
                      <a:lnTo>
                        <a:pt x="1210" y="664"/>
                      </a:lnTo>
                      <a:close/>
                      <a:moveTo>
                        <a:pt x="1300" y="525"/>
                      </a:moveTo>
                      <a:lnTo>
                        <a:pt x="1301" y="525"/>
                      </a:lnTo>
                      <a:lnTo>
                        <a:pt x="1302" y="525"/>
                      </a:lnTo>
                      <a:lnTo>
                        <a:pt x="1302" y="526"/>
                      </a:lnTo>
                      <a:lnTo>
                        <a:pt x="1302" y="527"/>
                      </a:lnTo>
                      <a:lnTo>
                        <a:pt x="1303" y="527"/>
                      </a:lnTo>
                      <a:lnTo>
                        <a:pt x="1304" y="528"/>
                      </a:lnTo>
                      <a:lnTo>
                        <a:pt x="1305" y="528"/>
                      </a:lnTo>
                      <a:lnTo>
                        <a:pt x="1305" y="529"/>
                      </a:lnTo>
                      <a:lnTo>
                        <a:pt x="1306" y="529"/>
                      </a:lnTo>
                      <a:lnTo>
                        <a:pt x="1308" y="529"/>
                      </a:lnTo>
                      <a:lnTo>
                        <a:pt x="1308" y="530"/>
                      </a:lnTo>
                      <a:lnTo>
                        <a:pt x="1306" y="530"/>
                      </a:lnTo>
                      <a:lnTo>
                        <a:pt x="1306" y="529"/>
                      </a:lnTo>
                      <a:lnTo>
                        <a:pt x="1305" y="529"/>
                      </a:lnTo>
                      <a:lnTo>
                        <a:pt x="1304" y="529"/>
                      </a:lnTo>
                      <a:lnTo>
                        <a:pt x="1303" y="529"/>
                      </a:lnTo>
                      <a:lnTo>
                        <a:pt x="1302" y="529"/>
                      </a:lnTo>
                      <a:lnTo>
                        <a:pt x="1301" y="529"/>
                      </a:lnTo>
                      <a:lnTo>
                        <a:pt x="1300" y="529"/>
                      </a:lnTo>
                      <a:lnTo>
                        <a:pt x="1299" y="530"/>
                      </a:lnTo>
                      <a:lnTo>
                        <a:pt x="1300" y="530"/>
                      </a:lnTo>
                      <a:lnTo>
                        <a:pt x="1299" y="530"/>
                      </a:lnTo>
                      <a:lnTo>
                        <a:pt x="1300" y="530"/>
                      </a:lnTo>
                      <a:lnTo>
                        <a:pt x="1300" y="531"/>
                      </a:lnTo>
                      <a:lnTo>
                        <a:pt x="1300" y="532"/>
                      </a:lnTo>
                      <a:lnTo>
                        <a:pt x="1301" y="532"/>
                      </a:lnTo>
                      <a:lnTo>
                        <a:pt x="1301" y="533"/>
                      </a:lnTo>
                      <a:lnTo>
                        <a:pt x="1301" y="534"/>
                      </a:lnTo>
                      <a:lnTo>
                        <a:pt x="1302" y="536"/>
                      </a:lnTo>
                      <a:lnTo>
                        <a:pt x="1303" y="536"/>
                      </a:lnTo>
                      <a:lnTo>
                        <a:pt x="1303" y="537"/>
                      </a:lnTo>
                      <a:lnTo>
                        <a:pt x="1304" y="537"/>
                      </a:lnTo>
                      <a:lnTo>
                        <a:pt x="1305" y="537"/>
                      </a:lnTo>
                      <a:lnTo>
                        <a:pt x="1306" y="537"/>
                      </a:lnTo>
                      <a:lnTo>
                        <a:pt x="1306" y="538"/>
                      </a:lnTo>
                      <a:lnTo>
                        <a:pt x="1306" y="539"/>
                      </a:lnTo>
                      <a:lnTo>
                        <a:pt x="1305" y="539"/>
                      </a:lnTo>
                      <a:lnTo>
                        <a:pt x="1305" y="540"/>
                      </a:lnTo>
                      <a:lnTo>
                        <a:pt x="1305" y="541"/>
                      </a:lnTo>
                      <a:lnTo>
                        <a:pt x="1304" y="541"/>
                      </a:lnTo>
                      <a:lnTo>
                        <a:pt x="1303" y="541"/>
                      </a:lnTo>
                      <a:lnTo>
                        <a:pt x="1303" y="540"/>
                      </a:lnTo>
                      <a:lnTo>
                        <a:pt x="1302" y="540"/>
                      </a:lnTo>
                      <a:lnTo>
                        <a:pt x="1302" y="541"/>
                      </a:lnTo>
                      <a:lnTo>
                        <a:pt x="1303" y="542"/>
                      </a:lnTo>
                      <a:lnTo>
                        <a:pt x="1302" y="542"/>
                      </a:lnTo>
                      <a:lnTo>
                        <a:pt x="1302" y="543"/>
                      </a:lnTo>
                      <a:lnTo>
                        <a:pt x="1301" y="543"/>
                      </a:lnTo>
                      <a:lnTo>
                        <a:pt x="1301" y="542"/>
                      </a:lnTo>
                      <a:lnTo>
                        <a:pt x="1300" y="542"/>
                      </a:lnTo>
                      <a:lnTo>
                        <a:pt x="1300" y="543"/>
                      </a:lnTo>
                      <a:lnTo>
                        <a:pt x="1301" y="544"/>
                      </a:lnTo>
                      <a:lnTo>
                        <a:pt x="1300" y="544"/>
                      </a:lnTo>
                      <a:lnTo>
                        <a:pt x="1299" y="545"/>
                      </a:lnTo>
                      <a:lnTo>
                        <a:pt x="1298" y="545"/>
                      </a:lnTo>
                      <a:lnTo>
                        <a:pt x="1298" y="544"/>
                      </a:lnTo>
                      <a:lnTo>
                        <a:pt x="1297" y="544"/>
                      </a:lnTo>
                      <a:lnTo>
                        <a:pt x="1297" y="543"/>
                      </a:lnTo>
                      <a:lnTo>
                        <a:pt x="1298" y="543"/>
                      </a:lnTo>
                      <a:lnTo>
                        <a:pt x="1299" y="542"/>
                      </a:lnTo>
                      <a:lnTo>
                        <a:pt x="1300" y="542"/>
                      </a:lnTo>
                      <a:lnTo>
                        <a:pt x="1300" y="541"/>
                      </a:lnTo>
                      <a:lnTo>
                        <a:pt x="1300" y="540"/>
                      </a:lnTo>
                      <a:lnTo>
                        <a:pt x="1300" y="539"/>
                      </a:lnTo>
                      <a:lnTo>
                        <a:pt x="1301" y="539"/>
                      </a:lnTo>
                      <a:lnTo>
                        <a:pt x="1301" y="538"/>
                      </a:lnTo>
                      <a:lnTo>
                        <a:pt x="1301" y="537"/>
                      </a:lnTo>
                      <a:lnTo>
                        <a:pt x="1301" y="538"/>
                      </a:lnTo>
                      <a:lnTo>
                        <a:pt x="1302" y="538"/>
                      </a:lnTo>
                      <a:lnTo>
                        <a:pt x="1302" y="537"/>
                      </a:lnTo>
                      <a:lnTo>
                        <a:pt x="1301" y="537"/>
                      </a:lnTo>
                      <a:lnTo>
                        <a:pt x="1301" y="536"/>
                      </a:lnTo>
                      <a:lnTo>
                        <a:pt x="1300" y="534"/>
                      </a:lnTo>
                      <a:lnTo>
                        <a:pt x="1300" y="533"/>
                      </a:lnTo>
                      <a:lnTo>
                        <a:pt x="1299" y="533"/>
                      </a:lnTo>
                      <a:lnTo>
                        <a:pt x="1299" y="532"/>
                      </a:lnTo>
                      <a:lnTo>
                        <a:pt x="1299" y="531"/>
                      </a:lnTo>
                      <a:lnTo>
                        <a:pt x="1298" y="530"/>
                      </a:lnTo>
                      <a:lnTo>
                        <a:pt x="1299" y="530"/>
                      </a:lnTo>
                      <a:lnTo>
                        <a:pt x="1299" y="529"/>
                      </a:lnTo>
                      <a:lnTo>
                        <a:pt x="1299" y="528"/>
                      </a:lnTo>
                      <a:lnTo>
                        <a:pt x="1298" y="527"/>
                      </a:lnTo>
                      <a:lnTo>
                        <a:pt x="1298" y="526"/>
                      </a:lnTo>
                      <a:lnTo>
                        <a:pt x="1299" y="526"/>
                      </a:lnTo>
                      <a:lnTo>
                        <a:pt x="1299" y="525"/>
                      </a:lnTo>
                      <a:lnTo>
                        <a:pt x="1300" y="525"/>
                      </a:lnTo>
                      <a:close/>
                      <a:moveTo>
                        <a:pt x="1323" y="618"/>
                      </a:moveTo>
                      <a:lnTo>
                        <a:pt x="1323" y="619"/>
                      </a:lnTo>
                      <a:lnTo>
                        <a:pt x="1324" y="619"/>
                      </a:lnTo>
                      <a:lnTo>
                        <a:pt x="1325" y="618"/>
                      </a:lnTo>
                      <a:lnTo>
                        <a:pt x="1325" y="619"/>
                      </a:lnTo>
                      <a:lnTo>
                        <a:pt x="1324" y="619"/>
                      </a:lnTo>
                      <a:lnTo>
                        <a:pt x="1324" y="620"/>
                      </a:lnTo>
                      <a:lnTo>
                        <a:pt x="1324" y="621"/>
                      </a:lnTo>
                      <a:lnTo>
                        <a:pt x="1324" y="622"/>
                      </a:lnTo>
                      <a:lnTo>
                        <a:pt x="1324" y="623"/>
                      </a:lnTo>
                      <a:lnTo>
                        <a:pt x="1323" y="623"/>
                      </a:lnTo>
                      <a:lnTo>
                        <a:pt x="1323" y="624"/>
                      </a:lnTo>
                      <a:lnTo>
                        <a:pt x="1323" y="626"/>
                      </a:lnTo>
                      <a:lnTo>
                        <a:pt x="1323" y="624"/>
                      </a:lnTo>
                      <a:lnTo>
                        <a:pt x="1322" y="626"/>
                      </a:lnTo>
                      <a:lnTo>
                        <a:pt x="1322" y="627"/>
                      </a:lnTo>
                      <a:lnTo>
                        <a:pt x="1323" y="627"/>
                      </a:lnTo>
                      <a:lnTo>
                        <a:pt x="1323" y="628"/>
                      </a:lnTo>
                      <a:lnTo>
                        <a:pt x="1324" y="628"/>
                      </a:lnTo>
                      <a:lnTo>
                        <a:pt x="1324" y="629"/>
                      </a:lnTo>
                      <a:lnTo>
                        <a:pt x="1323" y="629"/>
                      </a:lnTo>
                      <a:lnTo>
                        <a:pt x="1323" y="630"/>
                      </a:lnTo>
                      <a:lnTo>
                        <a:pt x="1323" y="631"/>
                      </a:lnTo>
                      <a:lnTo>
                        <a:pt x="1324" y="631"/>
                      </a:lnTo>
                      <a:lnTo>
                        <a:pt x="1324" y="632"/>
                      </a:lnTo>
                      <a:lnTo>
                        <a:pt x="1324" y="633"/>
                      </a:lnTo>
                      <a:lnTo>
                        <a:pt x="1323" y="634"/>
                      </a:lnTo>
                      <a:lnTo>
                        <a:pt x="1322" y="634"/>
                      </a:lnTo>
                      <a:lnTo>
                        <a:pt x="1322" y="633"/>
                      </a:lnTo>
                      <a:lnTo>
                        <a:pt x="1321" y="632"/>
                      </a:lnTo>
                      <a:lnTo>
                        <a:pt x="1319" y="632"/>
                      </a:lnTo>
                      <a:lnTo>
                        <a:pt x="1319" y="631"/>
                      </a:lnTo>
                      <a:lnTo>
                        <a:pt x="1318" y="631"/>
                      </a:lnTo>
                      <a:lnTo>
                        <a:pt x="1318" y="630"/>
                      </a:lnTo>
                      <a:lnTo>
                        <a:pt x="1318" y="629"/>
                      </a:lnTo>
                      <a:lnTo>
                        <a:pt x="1317" y="629"/>
                      </a:lnTo>
                      <a:lnTo>
                        <a:pt x="1317" y="628"/>
                      </a:lnTo>
                      <a:lnTo>
                        <a:pt x="1317" y="627"/>
                      </a:lnTo>
                      <a:lnTo>
                        <a:pt x="1317" y="626"/>
                      </a:lnTo>
                      <a:lnTo>
                        <a:pt x="1316" y="626"/>
                      </a:lnTo>
                      <a:lnTo>
                        <a:pt x="1315" y="626"/>
                      </a:lnTo>
                      <a:lnTo>
                        <a:pt x="1314" y="626"/>
                      </a:lnTo>
                      <a:lnTo>
                        <a:pt x="1313" y="624"/>
                      </a:lnTo>
                      <a:lnTo>
                        <a:pt x="1314" y="624"/>
                      </a:lnTo>
                      <a:lnTo>
                        <a:pt x="1315" y="624"/>
                      </a:lnTo>
                      <a:lnTo>
                        <a:pt x="1316" y="624"/>
                      </a:lnTo>
                      <a:lnTo>
                        <a:pt x="1317" y="624"/>
                      </a:lnTo>
                      <a:lnTo>
                        <a:pt x="1318" y="624"/>
                      </a:lnTo>
                      <a:lnTo>
                        <a:pt x="1319" y="623"/>
                      </a:lnTo>
                      <a:lnTo>
                        <a:pt x="1321" y="623"/>
                      </a:lnTo>
                      <a:lnTo>
                        <a:pt x="1321" y="622"/>
                      </a:lnTo>
                      <a:lnTo>
                        <a:pt x="1321" y="621"/>
                      </a:lnTo>
                      <a:lnTo>
                        <a:pt x="1321" y="620"/>
                      </a:lnTo>
                      <a:lnTo>
                        <a:pt x="1319" y="620"/>
                      </a:lnTo>
                      <a:lnTo>
                        <a:pt x="1319" y="619"/>
                      </a:lnTo>
                      <a:lnTo>
                        <a:pt x="1321" y="619"/>
                      </a:lnTo>
                      <a:lnTo>
                        <a:pt x="1322" y="619"/>
                      </a:lnTo>
                      <a:lnTo>
                        <a:pt x="1322" y="618"/>
                      </a:lnTo>
                      <a:lnTo>
                        <a:pt x="1323" y="618"/>
                      </a:lnTo>
                      <a:close/>
                      <a:moveTo>
                        <a:pt x="1239" y="733"/>
                      </a:moveTo>
                      <a:lnTo>
                        <a:pt x="1240" y="733"/>
                      </a:lnTo>
                      <a:lnTo>
                        <a:pt x="1240" y="734"/>
                      </a:lnTo>
                      <a:lnTo>
                        <a:pt x="1241" y="734"/>
                      </a:lnTo>
                      <a:lnTo>
                        <a:pt x="1244" y="734"/>
                      </a:lnTo>
                      <a:lnTo>
                        <a:pt x="1244" y="735"/>
                      </a:lnTo>
                      <a:lnTo>
                        <a:pt x="1245" y="735"/>
                      </a:lnTo>
                      <a:lnTo>
                        <a:pt x="1245" y="736"/>
                      </a:lnTo>
                      <a:lnTo>
                        <a:pt x="1244" y="736"/>
                      </a:lnTo>
                      <a:lnTo>
                        <a:pt x="1245" y="736"/>
                      </a:lnTo>
                      <a:lnTo>
                        <a:pt x="1245" y="737"/>
                      </a:lnTo>
                      <a:lnTo>
                        <a:pt x="1244" y="737"/>
                      </a:lnTo>
                      <a:lnTo>
                        <a:pt x="1244" y="738"/>
                      </a:lnTo>
                      <a:lnTo>
                        <a:pt x="1245" y="739"/>
                      </a:lnTo>
                      <a:lnTo>
                        <a:pt x="1245" y="741"/>
                      </a:lnTo>
                      <a:lnTo>
                        <a:pt x="1246" y="741"/>
                      </a:lnTo>
                      <a:lnTo>
                        <a:pt x="1245" y="741"/>
                      </a:lnTo>
                      <a:lnTo>
                        <a:pt x="1244" y="741"/>
                      </a:lnTo>
                      <a:lnTo>
                        <a:pt x="1244" y="742"/>
                      </a:lnTo>
                      <a:lnTo>
                        <a:pt x="1244" y="743"/>
                      </a:lnTo>
                      <a:lnTo>
                        <a:pt x="1244" y="744"/>
                      </a:lnTo>
                      <a:lnTo>
                        <a:pt x="1244" y="745"/>
                      </a:lnTo>
                      <a:lnTo>
                        <a:pt x="1244" y="746"/>
                      </a:lnTo>
                      <a:lnTo>
                        <a:pt x="1245" y="746"/>
                      </a:lnTo>
                      <a:lnTo>
                        <a:pt x="1244" y="746"/>
                      </a:lnTo>
                      <a:lnTo>
                        <a:pt x="1244" y="747"/>
                      </a:lnTo>
                      <a:lnTo>
                        <a:pt x="1242" y="747"/>
                      </a:lnTo>
                      <a:lnTo>
                        <a:pt x="1242" y="748"/>
                      </a:lnTo>
                      <a:lnTo>
                        <a:pt x="1241" y="748"/>
                      </a:lnTo>
                      <a:lnTo>
                        <a:pt x="1241" y="747"/>
                      </a:lnTo>
                      <a:lnTo>
                        <a:pt x="1240" y="747"/>
                      </a:lnTo>
                      <a:lnTo>
                        <a:pt x="1240" y="746"/>
                      </a:lnTo>
                      <a:lnTo>
                        <a:pt x="1239" y="746"/>
                      </a:lnTo>
                      <a:lnTo>
                        <a:pt x="1239" y="747"/>
                      </a:lnTo>
                      <a:lnTo>
                        <a:pt x="1238" y="747"/>
                      </a:lnTo>
                      <a:lnTo>
                        <a:pt x="1238" y="748"/>
                      </a:lnTo>
                      <a:lnTo>
                        <a:pt x="1239" y="748"/>
                      </a:lnTo>
                      <a:lnTo>
                        <a:pt x="1239" y="749"/>
                      </a:lnTo>
                      <a:lnTo>
                        <a:pt x="1238" y="749"/>
                      </a:lnTo>
                      <a:lnTo>
                        <a:pt x="1238" y="748"/>
                      </a:lnTo>
                      <a:lnTo>
                        <a:pt x="1238" y="747"/>
                      </a:lnTo>
                      <a:lnTo>
                        <a:pt x="1239" y="746"/>
                      </a:lnTo>
                      <a:lnTo>
                        <a:pt x="1238" y="746"/>
                      </a:lnTo>
                      <a:lnTo>
                        <a:pt x="1238" y="745"/>
                      </a:lnTo>
                      <a:lnTo>
                        <a:pt x="1238" y="744"/>
                      </a:lnTo>
                      <a:lnTo>
                        <a:pt x="1239" y="744"/>
                      </a:lnTo>
                      <a:lnTo>
                        <a:pt x="1239" y="743"/>
                      </a:lnTo>
                      <a:lnTo>
                        <a:pt x="1239" y="742"/>
                      </a:lnTo>
                      <a:lnTo>
                        <a:pt x="1239" y="741"/>
                      </a:lnTo>
                      <a:lnTo>
                        <a:pt x="1240" y="741"/>
                      </a:lnTo>
                      <a:lnTo>
                        <a:pt x="1240" y="739"/>
                      </a:lnTo>
                      <a:lnTo>
                        <a:pt x="1240" y="738"/>
                      </a:lnTo>
                      <a:lnTo>
                        <a:pt x="1240" y="737"/>
                      </a:lnTo>
                      <a:lnTo>
                        <a:pt x="1239" y="736"/>
                      </a:lnTo>
                      <a:lnTo>
                        <a:pt x="1239" y="735"/>
                      </a:lnTo>
                      <a:lnTo>
                        <a:pt x="1239" y="734"/>
                      </a:lnTo>
                      <a:lnTo>
                        <a:pt x="1238" y="734"/>
                      </a:lnTo>
                      <a:lnTo>
                        <a:pt x="1238" y="733"/>
                      </a:lnTo>
                      <a:lnTo>
                        <a:pt x="1239" y="733"/>
                      </a:lnTo>
                      <a:close/>
                      <a:moveTo>
                        <a:pt x="1384" y="451"/>
                      </a:moveTo>
                      <a:lnTo>
                        <a:pt x="1384" y="452"/>
                      </a:lnTo>
                      <a:lnTo>
                        <a:pt x="1384" y="453"/>
                      </a:lnTo>
                      <a:lnTo>
                        <a:pt x="1386" y="453"/>
                      </a:lnTo>
                      <a:lnTo>
                        <a:pt x="1386" y="454"/>
                      </a:lnTo>
                      <a:lnTo>
                        <a:pt x="1386" y="455"/>
                      </a:lnTo>
                      <a:lnTo>
                        <a:pt x="1386" y="456"/>
                      </a:lnTo>
                      <a:lnTo>
                        <a:pt x="1386" y="457"/>
                      </a:lnTo>
                      <a:lnTo>
                        <a:pt x="1387" y="457"/>
                      </a:lnTo>
                      <a:lnTo>
                        <a:pt x="1386" y="457"/>
                      </a:lnTo>
                      <a:lnTo>
                        <a:pt x="1386" y="459"/>
                      </a:lnTo>
                      <a:lnTo>
                        <a:pt x="1387" y="459"/>
                      </a:lnTo>
                      <a:lnTo>
                        <a:pt x="1387" y="460"/>
                      </a:lnTo>
                      <a:lnTo>
                        <a:pt x="1386" y="460"/>
                      </a:lnTo>
                      <a:lnTo>
                        <a:pt x="1386" y="461"/>
                      </a:lnTo>
                      <a:lnTo>
                        <a:pt x="1384" y="461"/>
                      </a:lnTo>
                      <a:lnTo>
                        <a:pt x="1384" y="462"/>
                      </a:lnTo>
                      <a:lnTo>
                        <a:pt x="1384" y="463"/>
                      </a:lnTo>
                      <a:lnTo>
                        <a:pt x="1383" y="463"/>
                      </a:lnTo>
                      <a:lnTo>
                        <a:pt x="1384" y="463"/>
                      </a:lnTo>
                      <a:lnTo>
                        <a:pt x="1383" y="464"/>
                      </a:lnTo>
                      <a:lnTo>
                        <a:pt x="1384" y="464"/>
                      </a:lnTo>
                      <a:lnTo>
                        <a:pt x="1383" y="464"/>
                      </a:lnTo>
                      <a:lnTo>
                        <a:pt x="1384" y="465"/>
                      </a:lnTo>
                      <a:lnTo>
                        <a:pt x="1383" y="465"/>
                      </a:lnTo>
                      <a:lnTo>
                        <a:pt x="1383" y="466"/>
                      </a:lnTo>
                      <a:lnTo>
                        <a:pt x="1383" y="467"/>
                      </a:lnTo>
                      <a:lnTo>
                        <a:pt x="1383" y="468"/>
                      </a:lnTo>
                      <a:lnTo>
                        <a:pt x="1384" y="468"/>
                      </a:lnTo>
                      <a:lnTo>
                        <a:pt x="1384" y="467"/>
                      </a:lnTo>
                      <a:lnTo>
                        <a:pt x="1386" y="466"/>
                      </a:lnTo>
                      <a:lnTo>
                        <a:pt x="1386" y="467"/>
                      </a:lnTo>
                      <a:lnTo>
                        <a:pt x="1384" y="467"/>
                      </a:lnTo>
                      <a:lnTo>
                        <a:pt x="1384" y="468"/>
                      </a:lnTo>
                      <a:lnTo>
                        <a:pt x="1384" y="469"/>
                      </a:lnTo>
                      <a:lnTo>
                        <a:pt x="1384" y="470"/>
                      </a:lnTo>
                      <a:lnTo>
                        <a:pt x="1384" y="472"/>
                      </a:lnTo>
                      <a:lnTo>
                        <a:pt x="1383" y="472"/>
                      </a:lnTo>
                      <a:lnTo>
                        <a:pt x="1384" y="472"/>
                      </a:lnTo>
                      <a:lnTo>
                        <a:pt x="1384" y="473"/>
                      </a:lnTo>
                      <a:lnTo>
                        <a:pt x="1383" y="473"/>
                      </a:lnTo>
                      <a:lnTo>
                        <a:pt x="1382" y="473"/>
                      </a:lnTo>
                      <a:lnTo>
                        <a:pt x="1381" y="473"/>
                      </a:lnTo>
                      <a:lnTo>
                        <a:pt x="1381" y="472"/>
                      </a:lnTo>
                      <a:lnTo>
                        <a:pt x="1382" y="472"/>
                      </a:lnTo>
                      <a:lnTo>
                        <a:pt x="1381" y="470"/>
                      </a:lnTo>
                      <a:lnTo>
                        <a:pt x="1380" y="469"/>
                      </a:lnTo>
                      <a:lnTo>
                        <a:pt x="1380" y="468"/>
                      </a:lnTo>
                      <a:lnTo>
                        <a:pt x="1380" y="466"/>
                      </a:lnTo>
                      <a:lnTo>
                        <a:pt x="1381" y="465"/>
                      </a:lnTo>
                      <a:lnTo>
                        <a:pt x="1382" y="465"/>
                      </a:lnTo>
                      <a:lnTo>
                        <a:pt x="1382" y="464"/>
                      </a:lnTo>
                      <a:lnTo>
                        <a:pt x="1382" y="463"/>
                      </a:lnTo>
                      <a:lnTo>
                        <a:pt x="1381" y="461"/>
                      </a:lnTo>
                      <a:lnTo>
                        <a:pt x="1381" y="460"/>
                      </a:lnTo>
                      <a:lnTo>
                        <a:pt x="1382" y="459"/>
                      </a:lnTo>
                      <a:lnTo>
                        <a:pt x="1383" y="459"/>
                      </a:lnTo>
                      <a:lnTo>
                        <a:pt x="1384" y="459"/>
                      </a:lnTo>
                      <a:lnTo>
                        <a:pt x="1386" y="459"/>
                      </a:lnTo>
                      <a:lnTo>
                        <a:pt x="1386" y="457"/>
                      </a:lnTo>
                      <a:lnTo>
                        <a:pt x="1384" y="457"/>
                      </a:lnTo>
                      <a:lnTo>
                        <a:pt x="1384" y="459"/>
                      </a:lnTo>
                      <a:lnTo>
                        <a:pt x="1383" y="459"/>
                      </a:lnTo>
                      <a:lnTo>
                        <a:pt x="1383" y="457"/>
                      </a:lnTo>
                      <a:lnTo>
                        <a:pt x="1383" y="456"/>
                      </a:lnTo>
                      <a:lnTo>
                        <a:pt x="1383" y="455"/>
                      </a:lnTo>
                      <a:lnTo>
                        <a:pt x="1383" y="454"/>
                      </a:lnTo>
                      <a:lnTo>
                        <a:pt x="1382" y="454"/>
                      </a:lnTo>
                      <a:lnTo>
                        <a:pt x="1382" y="453"/>
                      </a:lnTo>
                      <a:lnTo>
                        <a:pt x="1381" y="453"/>
                      </a:lnTo>
                      <a:lnTo>
                        <a:pt x="1382" y="453"/>
                      </a:lnTo>
                      <a:lnTo>
                        <a:pt x="1383" y="453"/>
                      </a:lnTo>
                      <a:lnTo>
                        <a:pt x="1382" y="453"/>
                      </a:lnTo>
                      <a:lnTo>
                        <a:pt x="1382" y="452"/>
                      </a:lnTo>
                      <a:lnTo>
                        <a:pt x="1382" y="451"/>
                      </a:lnTo>
                      <a:lnTo>
                        <a:pt x="1383" y="452"/>
                      </a:lnTo>
                      <a:lnTo>
                        <a:pt x="1383" y="451"/>
                      </a:lnTo>
                      <a:lnTo>
                        <a:pt x="1384" y="451"/>
                      </a:lnTo>
                      <a:close/>
                      <a:moveTo>
                        <a:pt x="1369" y="515"/>
                      </a:moveTo>
                      <a:lnTo>
                        <a:pt x="1370" y="515"/>
                      </a:lnTo>
                      <a:lnTo>
                        <a:pt x="1371" y="515"/>
                      </a:lnTo>
                      <a:lnTo>
                        <a:pt x="1370" y="516"/>
                      </a:lnTo>
                      <a:lnTo>
                        <a:pt x="1371" y="516"/>
                      </a:lnTo>
                      <a:lnTo>
                        <a:pt x="1370" y="516"/>
                      </a:lnTo>
                      <a:lnTo>
                        <a:pt x="1370" y="517"/>
                      </a:lnTo>
                      <a:lnTo>
                        <a:pt x="1369" y="517"/>
                      </a:lnTo>
                      <a:lnTo>
                        <a:pt x="1369" y="518"/>
                      </a:lnTo>
                      <a:lnTo>
                        <a:pt x="1369" y="519"/>
                      </a:lnTo>
                      <a:lnTo>
                        <a:pt x="1369" y="520"/>
                      </a:lnTo>
                      <a:lnTo>
                        <a:pt x="1369" y="521"/>
                      </a:lnTo>
                      <a:lnTo>
                        <a:pt x="1368" y="523"/>
                      </a:lnTo>
                      <a:lnTo>
                        <a:pt x="1368" y="524"/>
                      </a:lnTo>
                      <a:lnTo>
                        <a:pt x="1368" y="525"/>
                      </a:lnTo>
                      <a:lnTo>
                        <a:pt x="1368" y="526"/>
                      </a:lnTo>
                      <a:lnTo>
                        <a:pt x="1367" y="526"/>
                      </a:lnTo>
                      <a:lnTo>
                        <a:pt x="1367" y="527"/>
                      </a:lnTo>
                      <a:lnTo>
                        <a:pt x="1367" y="528"/>
                      </a:lnTo>
                      <a:lnTo>
                        <a:pt x="1367" y="529"/>
                      </a:lnTo>
                      <a:lnTo>
                        <a:pt x="1366" y="530"/>
                      </a:lnTo>
                      <a:lnTo>
                        <a:pt x="1365" y="531"/>
                      </a:lnTo>
                      <a:lnTo>
                        <a:pt x="1364" y="531"/>
                      </a:lnTo>
                      <a:lnTo>
                        <a:pt x="1364" y="530"/>
                      </a:lnTo>
                      <a:lnTo>
                        <a:pt x="1364" y="531"/>
                      </a:lnTo>
                      <a:lnTo>
                        <a:pt x="1364" y="530"/>
                      </a:lnTo>
                      <a:lnTo>
                        <a:pt x="1364" y="529"/>
                      </a:lnTo>
                      <a:lnTo>
                        <a:pt x="1365" y="528"/>
                      </a:lnTo>
                      <a:lnTo>
                        <a:pt x="1365" y="527"/>
                      </a:lnTo>
                      <a:lnTo>
                        <a:pt x="1365" y="528"/>
                      </a:lnTo>
                      <a:lnTo>
                        <a:pt x="1365" y="527"/>
                      </a:lnTo>
                      <a:lnTo>
                        <a:pt x="1366" y="527"/>
                      </a:lnTo>
                      <a:lnTo>
                        <a:pt x="1366" y="526"/>
                      </a:lnTo>
                      <a:lnTo>
                        <a:pt x="1365" y="526"/>
                      </a:lnTo>
                      <a:lnTo>
                        <a:pt x="1365" y="527"/>
                      </a:lnTo>
                      <a:lnTo>
                        <a:pt x="1365" y="526"/>
                      </a:lnTo>
                      <a:lnTo>
                        <a:pt x="1364" y="526"/>
                      </a:lnTo>
                      <a:lnTo>
                        <a:pt x="1363" y="526"/>
                      </a:lnTo>
                      <a:lnTo>
                        <a:pt x="1363" y="525"/>
                      </a:lnTo>
                      <a:lnTo>
                        <a:pt x="1362" y="525"/>
                      </a:lnTo>
                      <a:lnTo>
                        <a:pt x="1361" y="525"/>
                      </a:lnTo>
                      <a:lnTo>
                        <a:pt x="1362" y="525"/>
                      </a:lnTo>
                      <a:lnTo>
                        <a:pt x="1361" y="525"/>
                      </a:lnTo>
                      <a:lnTo>
                        <a:pt x="1361" y="524"/>
                      </a:lnTo>
                      <a:lnTo>
                        <a:pt x="1360" y="525"/>
                      </a:lnTo>
                      <a:lnTo>
                        <a:pt x="1361" y="525"/>
                      </a:lnTo>
                      <a:lnTo>
                        <a:pt x="1360" y="525"/>
                      </a:lnTo>
                      <a:lnTo>
                        <a:pt x="1358" y="525"/>
                      </a:lnTo>
                      <a:lnTo>
                        <a:pt x="1360" y="524"/>
                      </a:lnTo>
                      <a:lnTo>
                        <a:pt x="1361" y="524"/>
                      </a:lnTo>
                      <a:lnTo>
                        <a:pt x="1362" y="524"/>
                      </a:lnTo>
                      <a:lnTo>
                        <a:pt x="1362" y="523"/>
                      </a:lnTo>
                      <a:lnTo>
                        <a:pt x="1362" y="521"/>
                      </a:lnTo>
                      <a:lnTo>
                        <a:pt x="1363" y="521"/>
                      </a:lnTo>
                      <a:lnTo>
                        <a:pt x="1364" y="520"/>
                      </a:lnTo>
                      <a:lnTo>
                        <a:pt x="1364" y="521"/>
                      </a:lnTo>
                      <a:lnTo>
                        <a:pt x="1363" y="521"/>
                      </a:lnTo>
                      <a:lnTo>
                        <a:pt x="1363" y="523"/>
                      </a:lnTo>
                      <a:lnTo>
                        <a:pt x="1362" y="523"/>
                      </a:lnTo>
                      <a:lnTo>
                        <a:pt x="1362" y="524"/>
                      </a:lnTo>
                      <a:lnTo>
                        <a:pt x="1363" y="524"/>
                      </a:lnTo>
                      <a:lnTo>
                        <a:pt x="1363" y="525"/>
                      </a:lnTo>
                      <a:lnTo>
                        <a:pt x="1363" y="524"/>
                      </a:lnTo>
                      <a:lnTo>
                        <a:pt x="1363" y="525"/>
                      </a:lnTo>
                      <a:lnTo>
                        <a:pt x="1364" y="525"/>
                      </a:lnTo>
                      <a:lnTo>
                        <a:pt x="1364" y="524"/>
                      </a:lnTo>
                      <a:lnTo>
                        <a:pt x="1365" y="524"/>
                      </a:lnTo>
                      <a:lnTo>
                        <a:pt x="1366" y="524"/>
                      </a:lnTo>
                      <a:lnTo>
                        <a:pt x="1365" y="524"/>
                      </a:lnTo>
                      <a:lnTo>
                        <a:pt x="1365" y="523"/>
                      </a:lnTo>
                      <a:lnTo>
                        <a:pt x="1366" y="523"/>
                      </a:lnTo>
                      <a:lnTo>
                        <a:pt x="1366" y="524"/>
                      </a:lnTo>
                      <a:lnTo>
                        <a:pt x="1366" y="523"/>
                      </a:lnTo>
                      <a:lnTo>
                        <a:pt x="1366" y="521"/>
                      </a:lnTo>
                      <a:lnTo>
                        <a:pt x="1366" y="523"/>
                      </a:lnTo>
                      <a:lnTo>
                        <a:pt x="1365" y="523"/>
                      </a:lnTo>
                      <a:lnTo>
                        <a:pt x="1365" y="524"/>
                      </a:lnTo>
                      <a:lnTo>
                        <a:pt x="1364" y="524"/>
                      </a:lnTo>
                      <a:lnTo>
                        <a:pt x="1364" y="523"/>
                      </a:lnTo>
                      <a:lnTo>
                        <a:pt x="1365" y="523"/>
                      </a:lnTo>
                      <a:lnTo>
                        <a:pt x="1365" y="521"/>
                      </a:lnTo>
                      <a:lnTo>
                        <a:pt x="1364" y="521"/>
                      </a:lnTo>
                      <a:lnTo>
                        <a:pt x="1365" y="521"/>
                      </a:lnTo>
                      <a:lnTo>
                        <a:pt x="1365" y="520"/>
                      </a:lnTo>
                      <a:lnTo>
                        <a:pt x="1366" y="520"/>
                      </a:lnTo>
                      <a:lnTo>
                        <a:pt x="1366" y="519"/>
                      </a:lnTo>
                      <a:lnTo>
                        <a:pt x="1366" y="518"/>
                      </a:lnTo>
                      <a:lnTo>
                        <a:pt x="1365" y="518"/>
                      </a:lnTo>
                      <a:lnTo>
                        <a:pt x="1365" y="517"/>
                      </a:lnTo>
                      <a:lnTo>
                        <a:pt x="1366" y="517"/>
                      </a:lnTo>
                      <a:lnTo>
                        <a:pt x="1366" y="516"/>
                      </a:lnTo>
                      <a:lnTo>
                        <a:pt x="1367" y="516"/>
                      </a:lnTo>
                      <a:lnTo>
                        <a:pt x="1367" y="515"/>
                      </a:lnTo>
                      <a:lnTo>
                        <a:pt x="1368" y="515"/>
                      </a:lnTo>
                      <a:lnTo>
                        <a:pt x="1369" y="514"/>
                      </a:lnTo>
                      <a:lnTo>
                        <a:pt x="1368" y="514"/>
                      </a:lnTo>
                      <a:lnTo>
                        <a:pt x="1368" y="513"/>
                      </a:lnTo>
                      <a:lnTo>
                        <a:pt x="1369" y="514"/>
                      </a:lnTo>
                      <a:lnTo>
                        <a:pt x="1369" y="515"/>
                      </a:lnTo>
                      <a:close/>
                      <a:moveTo>
                        <a:pt x="1153" y="703"/>
                      </a:moveTo>
                      <a:lnTo>
                        <a:pt x="1154" y="703"/>
                      </a:lnTo>
                      <a:lnTo>
                        <a:pt x="1154" y="704"/>
                      </a:lnTo>
                      <a:lnTo>
                        <a:pt x="1154" y="705"/>
                      </a:lnTo>
                      <a:lnTo>
                        <a:pt x="1155" y="705"/>
                      </a:lnTo>
                      <a:lnTo>
                        <a:pt x="1155" y="706"/>
                      </a:lnTo>
                      <a:lnTo>
                        <a:pt x="1156" y="706"/>
                      </a:lnTo>
                      <a:lnTo>
                        <a:pt x="1157" y="706"/>
                      </a:lnTo>
                      <a:lnTo>
                        <a:pt x="1156" y="705"/>
                      </a:lnTo>
                      <a:lnTo>
                        <a:pt x="1157" y="705"/>
                      </a:lnTo>
                      <a:lnTo>
                        <a:pt x="1158" y="706"/>
                      </a:lnTo>
                      <a:lnTo>
                        <a:pt x="1158" y="707"/>
                      </a:lnTo>
                      <a:lnTo>
                        <a:pt x="1157" y="707"/>
                      </a:lnTo>
                      <a:lnTo>
                        <a:pt x="1156" y="707"/>
                      </a:lnTo>
                      <a:lnTo>
                        <a:pt x="1155" y="707"/>
                      </a:lnTo>
                      <a:lnTo>
                        <a:pt x="1154" y="707"/>
                      </a:lnTo>
                      <a:lnTo>
                        <a:pt x="1154" y="708"/>
                      </a:lnTo>
                      <a:lnTo>
                        <a:pt x="1153" y="707"/>
                      </a:lnTo>
                      <a:lnTo>
                        <a:pt x="1153" y="708"/>
                      </a:lnTo>
                      <a:lnTo>
                        <a:pt x="1151" y="708"/>
                      </a:lnTo>
                      <a:lnTo>
                        <a:pt x="1151" y="709"/>
                      </a:lnTo>
                      <a:lnTo>
                        <a:pt x="1151" y="710"/>
                      </a:lnTo>
                      <a:lnTo>
                        <a:pt x="1151" y="711"/>
                      </a:lnTo>
                      <a:lnTo>
                        <a:pt x="1151" y="712"/>
                      </a:lnTo>
                      <a:lnTo>
                        <a:pt x="1151" y="711"/>
                      </a:lnTo>
                      <a:lnTo>
                        <a:pt x="1150" y="711"/>
                      </a:lnTo>
                      <a:lnTo>
                        <a:pt x="1149" y="711"/>
                      </a:lnTo>
                      <a:lnTo>
                        <a:pt x="1149" y="712"/>
                      </a:lnTo>
                      <a:lnTo>
                        <a:pt x="1149" y="713"/>
                      </a:lnTo>
                      <a:lnTo>
                        <a:pt x="1148" y="713"/>
                      </a:lnTo>
                      <a:lnTo>
                        <a:pt x="1149" y="713"/>
                      </a:lnTo>
                      <a:lnTo>
                        <a:pt x="1148" y="713"/>
                      </a:lnTo>
                      <a:lnTo>
                        <a:pt x="1148" y="714"/>
                      </a:lnTo>
                      <a:lnTo>
                        <a:pt x="1147" y="714"/>
                      </a:lnTo>
                      <a:lnTo>
                        <a:pt x="1147" y="713"/>
                      </a:lnTo>
                      <a:lnTo>
                        <a:pt x="1147" y="712"/>
                      </a:lnTo>
                      <a:lnTo>
                        <a:pt x="1147" y="710"/>
                      </a:lnTo>
                      <a:lnTo>
                        <a:pt x="1147" y="709"/>
                      </a:lnTo>
                      <a:lnTo>
                        <a:pt x="1146" y="709"/>
                      </a:lnTo>
                      <a:lnTo>
                        <a:pt x="1146" y="710"/>
                      </a:lnTo>
                      <a:lnTo>
                        <a:pt x="1146" y="711"/>
                      </a:lnTo>
                      <a:lnTo>
                        <a:pt x="1145" y="710"/>
                      </a:lnTo>
                      <a:lnTo>
                        <a:pt x="1144" y="710"/>
                      </a:lnTo>
                      <a:lnTo>
                        <a:pt x="1144" y="709"/>
                      </a:lnTo>
                      <a:lnTo>
                        <a:pt x="1145" y="709"/>
                      </a:lnTo>
                      <a:lnTo>
                        <a:pt x="1146" y="708"/>
                      </a:lnTo>
                      <a:lnTo>
                        <a:pt x="1147" y="708"/>
                      </a:lnTo>
                      <a:lnTo>
                        <a:pt x="1147" y="709"/>
                      </a:lnTo>
                      <a:lnTo>
                        <a:pt x="1148" y="709"/>
                      </a:lnTo>
                      <a:lnTo>
                        <a:pt x="1149" y="708"/>
                      </a:lnTo>
                      <a:lnTo>
                        <a:pt x="1149" y="707"/>
                      </a:lnTo>
                      <a:lnTo>
                        <a:pt x="1148" y="707"/>
                      </a:lnTo>
                      <a:lnTo>
                        <a:pt x="1148" y="706"/>
                      </a:lnTo>
                      <a:lnTo>
                        <a:pt x="1149" y="706"/>
                      </a:lnTo>
                      <a:lnTo>
                        <a:pt x="1150" y="706"/>
                      </a:lnTo>
                      <a:lnTo>
                        <a:pt x="1151" y="705"/>
                      </a:lnTo>
                      <a:lnTo>
                        <a:pt x="1149" y="705"/>
                      </a:lnTo>
                      <a:lnTo>
                        <a:pt x="1149" y="704"/>
                      </a:lnTo>
                      <a:lnTo>
                        <a:pt x="1150" y="704"/>
                      </a:lnTo>
                      <a:lnTo>
                        <a:pt x="1150" y="703"/>
                      </a:lnTo>
                      <a:lnTo>
                        <a:pt x="1150" y="701"/>
                      </a:lnTo>
                      <a:lnTo>
                        <a:pt x="1151" y="703"/>
                      </a:lnTo>
                      <a:lnTo>
                        <a:pt x="1153" y="703"/>
                      </a:lnTo>
                      <a:close/>
                      <a:moveTo>
                        <a:pt x="1355" y="529"/>
                      </a:moveTo>
                      <a:lnTo>
                        <a:pt x="1355" y="528"/>
                      </a:lnTo>
                      <a:lnTo>
                        <a:pt x="1356" y="528"/>
                      </a:lnTo>
                      <a:lnTo>
                        <a:pt x="1356" y="529"/>
                      </a:lnTo>
                      <a:lnTo>
                        <a:pt x="1356" y="530"/>
                      </a:lnTo>
                      <a:lnTo>
                        <a:pt x="1356" y="531"/>
                      </a:lnTo>
                      <a:lnTo>
                        <a:pt x="1355" y="531"/>
                      </a:lnTo>
                      <a:lnTo>
                        <a:pt x="1353" y="532"/>
                      </a:lnTo>
                      <a:lnTo>
                        <a:pt x="1352" y="532"/>
                      </a:lnTo>
                      <a:lnTo>
                        <a:pt x="1350" y="532"/>
                      </a:lnTo>
                      <a:lnTo>
                        <a:pt x="1348" y="536"/>
                      </a:lnTo>
                      <a:lnTo>
                        <a:pt x="1345" y="538"/>
                      </a:lnTo>
                      <a:lnTo>
                        <a:pt x="1343" y="541"/>
                      </a:lnTo>
                      <a:lnTo>
                        <a:pt x="1341" y="545"/>
                      </a:lnTo>
                      <a:lnTo>
                        <a:pt x="1340" y="549"/>
                      </a:lnTo>
                      <a:lnTo>
                        <a:pt x="1340" y="547"/>
                      </a:lnTo>
                      <a:lnTo>
                        <a:pt x="1340" y="546"/>
                      </a:lnTo>
                      <a:lnTo>
                        <a:pt x="1339" y="546"/>
                      </a:lnTo>
                      <a:lnTo>
                        <a:pt x="1339" y="545"/>
                      </a:lnTo>
                      <a:lnTo>
                        <a:pt x="1339" y="544"/>
                      </a:lnTo>
                      <a:lnTo>
                        <a:pt x="1340" y="544"/>
                      </a:lnTo>
                      <a:lnTo>
                        <a:pt x="1341" y="544"/>
                      </a:lnTo>
                      <a:lnTo>
                        <a:pt x="1341" y="543"/>
                      </a:lnTo>
                      <a:lnTo>
                        <a:pt x="1342" y="543"/>
                      </a:lnTo>
                      <a:lnTo>
                        <a:pt x="1342" y="542"/>
                      </a:lnTo>
                      <a:lnTo>
                        <a:pt x="1343" y="542"/>
                      </a:lnTo>
                      <a:lnTo>
                        <a:pt x="1343" y="541"/>
                      </a:lnTo>
                      <a:lnTo>
                        <a:pt x="1343" y="540"/>
                      </a:lnTo>
                      <a:lnTo>
                        <a:pt x="1344" y="540"/>
                      </a:lnTo>
                      <a:lnTo>
                        <a:pt x="1344" y="539"/>
                      </a:lnTo>
                      <a:lnTo>
                        <a:pt x="1344" y="538"/>
                      </a:lnTo>
                      <a:lnTo>
                        <a:pt x="1345" y="538"/>
                      </a:lnTo>
                      <a:lnTo>
                        <a:pt x="1345" y="537"/>
                      </a:lnTo>
                      <a:lnTo>
                        <a:pt x="1347" y="537"/>
                      </a:lnTo>
                      <a:lnTo>
                        <a:pt x="1347" y="536"/>
                      </a:lnTo>
                      <a:lnTo>
                        <a:pt x="1347" y="534"/>
                      </a:lnTo>
                      <a:lnTo>
                        <a:pt x="1348" y="534"/>
                      </a:lnTo>
                      <a:lnTo>
                        <a:pt x="1348" y="533"/>
                      </a:lnTo>
                      <a:lnTo>
                        <a:pt x="1347" y="533"/>
                      </a:lnTo>
                      <a:lnTo>
                        <a:pt x="1347" y="534"/>
                      </a:lnTo>
                      <a:lnTo>
                        <a:pt x="1345" y="534"/>
                      </a:lnTo>
                      <a:lnTo>
                        <a:pt x="1345" y="533"/>
                      </a:lnTo>
                      <a:lnTo>
                        <a:pt x="1347" y="533"/>
                      </a:lnTo>
                      <a:lnTo>
                        <a:pt x="1347" y="532"/>
                      </a:lnTo>
                      <a:lnTo>
                        <a:pt x="1348" y="532"/>
                      </a:lnTo>
                      <a:lnTo>
                        <a:pt x="1348" y="531"/>
                      </a:lnTo>
                      <a:lnTo>
                        <a:pt x="1349" y="531"/>
                      </a:lnTo>
                      <a:lnTo>
                        <a:pt x="1349" y="530"/>
                      </a:lnTo>
                      <a:lnTo>
                        <a:pt x="1349" y="529"/>
                      </a:lnTo>
                      <a:lnTo>
                        <a:pt x="1351" y="529"/>
                      </a:lnTo>
                      <a:lnTo>
                        <a:pt x="1353" y="528"/>
                      </a:lnTo>
                      <a:lnTo>
                        <a:pt x="1353" y="527"/>
                      </a:lnTo>
                      <a:lnTo>
                        <a:pt x="1354" y="526"/>
                      </a:lnTo>
                      <a:lnTo>
                        <a:pt x="1354" y="527"/>
                      </a:lnTo>
                      <a:lnTo>
                        <a:pt x="1354" y="528"/>
                      </a:lnTo>
                      <a:lnTo>
                        <a:pt x="1355" y="529"/>
                      </a:lnTo>
                      <a:close/>
                      <a:moveTo>
                        <a:pt x="1212" y="632"/>
                      </a:moveTo>
                      <a:lnTo>
                        <a:pt x="1213" y="633"/>
                      </a:lnTo>
                      <a:lnTo>
                        <a:pt x="1214" y="633"/>
                      </a:lnTo>
                      <a:lnTo>
                        <a:pt x="1214" y="634"/>
                      </a:lnTo>
                      <a:lnTo>
                        <a:pt x="1214" y="635"/>
                      </a:lnTo>
                      <a:lnTo>
                        <a:pt x="1215" y="635"/>
                      </a:lnTo>
                      <a:lnTo>
                        <a:pt x="1214" y="635"/>
                      </a:lnTo>
                      <a:lnTo>
                        <a:pt x="1213" y="635"/>
                      </a:lnTo>
                      <a:lnTo>
                        <a:pt x="1213" y="636"/>
                      </a:lnTo>
                      <a:lnTo>
                        <a:pt x="1214" y="636"/>
                      </a:lnTo>
                      <a:lnTo>
                        <a:pt x="1214" y="635"/>
                      </a:lnTo>
                      <a:lnTo>
                        <a:pt x="1215" y="636"/>
                      </a:lnTo>
                      <a:lnTo>
                        <a:pt x="1215" y="637"/>
                      </a:lnTo>
                      <a:lnTo>
                        <a:pt x="1214" y="637"/>
                      </a:lnTo>
                      <a:lnTo>
                        <a:pt x="1213" y="637"/>
                      </a:lnTo>
                      <a:lnTo>
                        <a:pt x="1213" y="636"/>
                      </a:lnTo>
                      <a:lnTo>
                        <a:pt x="1213" y="637"/>
                      </a:lnTo>
                      <a:lnTo>
                        <a:pt x="1212" y="636"/>
                      </a:lnTo>
                      <a:lnTo>
                        <a:pt x="1212" y="637"/>
                      </a:lnTo>
                      <a:lnTo>
                        <a:pt x="1213" y="637"/>
                      </a:lnTo>
                      <a:lnTo>
                        <a:pt x="1213" y="639"/>
                      </a:lnTo>
                      <a:lnTo>
                        <a:pt x="1213" y="640"/>
                      </a:lnTo>
                      <a:lnTo>
                        <a:pt x="1214" y="640"/>
                      </a:lnTo>
                      <a:lnTo>
                        <a:pt x="1213" y="641"/>
                      </a:lnTo>
                      <a:lnTo>
                        <a:pt x="1213" y="640"/>
                      </a:lnTo>
                      <a:lnTo>
                        <a:pt x="1212" y="640"/>
                      </a:lnTo>
                      <a:lnTo>
                        <a:pt x="1213" y="640"/>
                      </a:lnTo>
                      <a:lnTo>
                        <a:pt x="1212" y="640"/>
                      </a:lnTo>
                      <a:lnTo>
                        <a:pt x="1212" y="639"/>
                      </a:lnTo>
                      <a:lnTo>
                        <a:pt x="1211" y="639"/>
                      </a:lnTo>
                      <a:lnTo>
                        <a:pt x="1212" y="640"/>
                      </a:lnTo>
                      <a:lnTo>
                        <a:pt x="1211" y="641"/>
                      </a:lnTo>
                      <a:lnTo>
                        <a:pt x="1210" y="640"/>
                      </a:lnTo>
                      <a:lnTo>
                        <a:pt x="1209" y="640"/>
                      </a:lnTo>
                      <a:lnTo>
                        <a:pt x="1208" y="640"/>
                      </a:lnTo>
                      <a:lnTo>
                        <a:pt x="1209" y="640"/>
                      </a:lnTo>
                      <a:lnTo>
                        <a:pt x="1208" y="640"/>
                      </a:lnTo>
                      <a:lnTo>
                        <a:pt x="1208" y="641"/>
                      </a:lnTo>
                      <a:lnTo>
                        <a:pt x="1208" y="642"/>
                      </a:lnTo>
                      <a:lnTo>
                        <a:pt x="1208" y="643"/>
                      </a:lnTo>
                      <a:lnTo>
                        <a:pt x="1209" y="643"/>
                      </a:lnTo>
                      <a:lnTo>
                        <a:pt x="1209" y="644"/>
                      </a:lnTo>
                      <a:lnTo>
                        <a:pt x="1210" y="644"/>
                      </a:lnTo>
                      <a:lnTo>
                        <a:pt x="1210" y="645"/>
                      </a:lnTo>
                      <a:lnTo>
                        <a:pt x="1209" y="645"/>
                      </a:lnTo>
                      <a:lnTo>
                        <a:pt x="1208" y="645"/>
                      </a:lnTo>
                      <a:lnTo>
                        <a:pt x="1207" y="645"/>
                      </a:lnTo>
                      <a:lnTo>
                        <a:pt x="1207" y="646"/>
                      </a:lnTo>
                      <a:lnTo>
                        <a:pt x="1206" y="646"/>
                      </a:lnTo>
                      <a:lnTo>
                        <a:pt x="1206" y="645"/>
                      </a:lnTo>
                      <a:lnTo>
                        <a:pt x="1205" y="645"/>
                      </a:lnTo>
                      <a:lnTo>
                        <a:pt x="1203" y="644"/>
                      </a:lnTo>
                      <a:lnTo>
                        <a:pt x="1202" y="644"/>
                      </a:lnTo>
                      <a:lnTo>
                        <a:pt x="1203" y="644"/>
                      </a:lnTo>
                      <a:lnTo>
                        <a:pt x="1203" y="643"/>
                      </a:lnTo>
                      <a:lnTo>
                        <a:pt x="1205" y="644"/>
                      </a:lnTo>
                      <a:lnTo>
                        <a:pt x="1206" y="644"/>
                      </a:lnTo>
                      <a:lnTo>
                        <a:pt x="1207" y="643"/>
                      </a:lnTo>
                      <a:lnTo>
                        <a:pt x="1207" y="642"/>
                      </a:lnTo>
                      <a:lnTo>
                        <a:pt x="1207" y="641"/>
                      </a:lnTo>
                      <a:lnTo>
                        <a:pt x="1207" y="640"/>
                      </a:lnTo>
                      <a:lnTo>
                        <a:pt x="1207" y="639"/>
                      </a:lnTo>
                      <a:lnTo>
                        <a:pt x="1207" y="637"/>
                      </a:lnTo>
                      <a:lnTo>
                        <a:pt x="1207" y="636"/>
                      </a:lnTo>
                      <a:lnTo>
                        <a:pt x="1208" y="636"/>
                      </a:lnTo>
                      <a:lnTo>
                        <a:pt x="1208" y="637"/>
                      </a:lnTo>
                      <a:lnTo>
                        <a:pt x="1209" y="637"/>
                      </a:lnTo>
                      <a:lnTo>
                        <a:pt x="1210" y="637"/>
                      </a:lnTo>
                      <a:lnTo>
                        <a:pt x="1211" y="637"/>
                      </a:lnTo>
                      <a:lnTo>
                        <a:pt x="1211" y="636"/>
                      </a:lnTo>
                      <a:lnTo>
                        <a:pt x="1211" y="637"/>
                      </a:lnTo>
                      <a:lnTo>
                        <a:pt x="1212" y="637"/>
                      </a:lnTo>
                      <a:lnTo>
                        <a:pt x="1211" y="636"/>
                      </a:lnTo>
                      <a:lnTo>
                        <a:pt x="1212" y="636"/>
                      </a:lnTo>
                      <a:lnTo>
                        <a:pt x="1211" y="636"/>
                      </a:lnTo>
                      <a:lnTo>
                        <a:pt x="1212" y="637"/>
                      </a:lnTo>
                      <a:lnTo>
                        <a:pt x="1211" y="637"/>
                      </a:lnTo>
                      <a:lnTo>
                        <a:pt x="1211" y="636"/>
                      </a:lnTo>
                      <a:lnTo>
                        <a:pt x="1210" y="636"/>
                      </a:lnTo>
                      <a:lnTo>
                        <a:pt x="1211" y="635"/>
                      </a:lnTo>
                      <a:lnTo>
                        <a:pt x="1210" y="635"/>
                      </a:lnTo>
                      <a:lnTo>
                        <a:pt x="1211" y="634"/>
                      </a:lnTo>
                      <a:lnTo>
                        <a:pt x="1211" y="633"/>
                      </a:lnTo>
                      <a:lnTo>
                        <a:pt x="1210" y="633"/>
                      </a:lnTo>
                      <a:lnTo>
                        <a:pt x="1210" y="632"/>
                      </a:lnTo>
                      <a:lnTo>
                        <a:pt x="1211" y="632"/>
                      </a:lnTo>
                      <a:lnTo>
                        <a:pt x="1212" y="632"/>
                      </a:lnTo>
                      <a:close/>
                      <a:moveTo>
                        <a:pt x="1361" y="456"/>
                      </a:moveTo>
                      <a:lnTo>
                        <a:pt x="1362" y="456"/>
                      </a:lnTo>
                      <a:lnTo>
                        <a:pt x="1362" y="457"/>
                      </a:lnTo>
                      <a:lnTo>
                        <a:pt x="1363" y="457"/>
                      </a:lnTo>
                      <a:lnTo>
                        <a:pt x="1363" y="456"/>
                      </a:lnTo>
                      <a:lnTo>
                        <a:pt x="1363" y="457"/>
                      </a:lnTo>
                      <a:lnTo>
                        <a:pt x="1363" y="459"/>
                      </a:lnTo>
                      <a:lnTo>
                        <a:pt x="1364" y="459"/>
                      </a:lnTo>
                      <a:lnTo>
                        <a:pt x="1365" y="459"/>
                      </a:lnTo>
                      <a:lnTo>
                        <a:pt x="1365" y="461"/>
                      </a:lnTo>
                      <a:lnTo>
                        <a:pt x="1365" y="462"/>
                      </a:lnTo>
                      <a:lnTo>
                        <a:pt x="1366" y="464"/>
                      </a:lnTo>
                      <a:lnTo>
                        <a:pt x="1367" y="464"/>
                      </a:lnTo>
                      <a:lnTo>
                        <a:pt x="1368" y="464"/>
                      </a:lnTo>
                      <a:lnTo>
                        <a:pt x="1369" y="464"/>
                      </a:lnTo>
                      <a:lnTo>
                        <a:pt x="1369" y="463"/>
                      </a:lnTo>
                      <a:lnTo>
                        <a:pt x="1369" y="464"/>
                      </a:lnTo>
                      <a:lnTo>
                        <a:pt x="1369" y="465"/>
                      </a:lnTo>
                      <a:lnTo>
                        <a:pt x="1369" y="466"/>
                      </a:lnTo>
                      <a:lnTo>
                        <a:pt x="1370" y="466"/>
                      </a:lnTo>
                      <a:lnTo>
                        <a:pt x="1370" y="467"/>
                      </a:lnTo>
                      <a:lnTo>
                        <a:pt x="1369" y="467"/>
                      </a:lnTo>
                      <a:lnTo>
                        <a:pt x="1369" y="468"/>
                      </a:lnTo>
                      <a:lnTo>
                        <a:pt x="1369" y="467"/>
                      </a:lnTo>
                      <a:lnTo>
                        <a:pt x="1368" y="467"/>
                      </a:lnTo>
                      <a:lnTo>
                        <a:pt x="1368" y="466"/>
                      </a:lnTo>
                      <a:lnTo>
                        <a:pt x="1368" y="467"/>
                      </a:lnTo>
                      <a:lnTo>
                        <a:pt x="1367" y="467"/>
                      </a:lnTo>
                      <a:lnTo>
                        <a:pt x="1367" y="466"/>
                      </a:lnTo>
                      <a:lnTo>
                        <a:pt x="1366" y="466"/>
                      </a:lnTo>
                      <a:lnTo>
                        <a:pt x="1366" y="465"/>
                      </a:lnTo>
                      <a:lnTo>
                        <a:pt x="1365" y="465"/>
                      </a:lnTo>
                      <a:lnTo>
                        <a:pt x="1364" y="465"/>
                      </a:lnTo>
                      <a:lnTo>
                        <a:pt x="1363" y="465"/>
                      </a:lnTo>
                      <a:lnTo>
                        <a:pt x="1363" y="466"/>
                      </a:lnTo>
                      <a:lnTo>
                        <a:pt x="1362" y="466"/>
                      </a:lnTo>
                      <a:lnTo>
                        <a:pt x="1361" y="467"/>
                      </a:lnTo>
                      <a:lnTo>
                        <a:pt x="1361" y="466"/>
                      </a:lnTo>
                      <a:lnTo>
                        <a:pt x="1360" y="466"/>
                      </a:lnTo>
                      <a:lnTo>
                        <a:pt x="1360" y="465"/>
                      </a:lnTo>
                      <a:lnTo>
                        <a:pt x="1358" y="464"/>
                      </a:lnTo>
                      <a:lnTo>
                        <a:pt x="1358" y="463"/>
                      </a:lnTo>
                      <a:lnTo>
                        <a:pt x="1358" y="462"/>
                      </a:lnTo>
                      <a:lnTo>
                        <a:pt x="1357" y="462"/>
                      </a:lnTo>
                      <a:lnTo>
                        <a:pt x="1357" y="461"/>
                      </a:lnTo>
                      <a:lnTo>
                        <a:pt x="1358" y="461"/>
                      </a:lnTo>
                      <a:lnTo>
                        <a:pt x="1360" y="461"/>
                      </a:lnTo>
                      <a:lnTo>
                        <a:pt x="1361" y="462"/>
                      </a:lnTo>
                      <a:lnTo>
                        <a:pt x="1362" y="462"/>
                      </a:lnTo>
                      <a:lnTo>
                        <a:pt x="1362" y="463"/>
                      </a:lnTo>
                      <a:lnTo>
                        <a:pt x="1363" y="463"/>
                      </a:lnTo>
                      <a:lnTo>
                        <a:pt x="1364" y="463"/>
                      </a:lnTo>
                      <a:lnTo>
                        <a:pt x="1364" y="464"/>
                      </a:lnTo>
                      <a:lnTo>
                        <a:pt x="1365" y="464"/>
                      </a:lnTo>
                      <a:lnTo>
                        <a:pt x="1366" y="464"/>
                      </a:lnTo>
                      <a:lnTo>
                        <a:pt x="1366" y="463"/>
                      </a:lnTo>
                      <a:lnTo>
                        <a:pt x="1365" y="463"/>
                      </a:lnTo>
                      <a:lnTo>
                        <a:pt x="1364" y="463"/>
                      </a:lnTo>
                      <a:lnTo>
                        <a:pt x="1364" y="462"/>
                      </a:lnTo>
                      <a:lnTo>
                        <a:pt x="1365" y="462"/>
                      </a:lnTo>
                      <a:lnTo>
                        <a:pt x="1364" y="462"/>
                      </a:lnTo>
                      <a:lnTo>
                        <a:pt x="1364" y="461"/>
                      </a:lnTo>
                      <a:lnTo>
                        <a:pt x="1364" y="460"/>
                      </a:lnTo>
                      <a:lnTo>
                        <a:pt x="1364" y="459"/>
                      </a:lnTo>
                      <a:lnTo>
                        <a:pt x="1363" y="459"/>
                      </a:lnTo>
                      <a:lnTo>
                        <a:pt x="1362" y="459"/>
                      </a:lnTo>
                      <a:lnTo>
                        <a:pt x="1361" y="459"/>
                      </a:lnTo>
                      <a:lnTo>
                        <a:pt x="1361" y="460"/>
                      </a:lnTo>
                      <a:lnTo>
                        <a:pt x="1360" y="460"/>
                      </a:lnTo>
                      <a:lnTo>
                        <a:pt x="1358" y="460"/>
                      </a:lnTo>
                      <a:lnTo>
                        <a:pt x="1358" y="459"/>
                      </a:lnTo>
                      <a:lnTo>
                        <a:pt x="1358" y="457"/>
                      </a:lnTo>
                      <a:lnTo>
                        <a:pt x="1358" y="456"/>
                      </a:lnTo>
                      <a:lnTo>
                        <a:pt x="1360" y="456"/>
                      </a:lnTo>
                      <a:lnTo>
                        <a:pt x="1360" y="455"/>
                      </a:lnTo>
                      <a:lnTo>
                        <a:pt x="1361" y="455"/>
                      </a:lnTo>
                      <a:lnTo>
                        <a:pt x="1361" y="456"/>
                      </a:lnTo>
                      <a:close/>
                      <a:moveTo>
                        <a:pt x="1373" y="591"/>
                      </a:moveTo>
                      <a:lnTo>
                        <a:pt x="1373" y="592"/>
                      </a:lnTo>
                      <a:lnTo>
                        <a:pt x="1374" y="592"/>
                      </a:lnTo>
                      <a:lnTo>
                        <a:pt x="1374" y="591"/>
                      </a:lnTo>
                      <a:lnTo>
                        <a:pt x="1375" y="591"/>
                      </a:lnTo>
                      <a:lnTo>
                        <a:pt x="1375" y="592"/>
                      </a:lnTo>
                      <a:lnTo>
                        <a:pt x="1374" y="593"/>
                      </a:lnTo>
                      <a:lnTo>
                        <a:pt x="1375" y="593"/>
                      </a:lnTo>
                      <a:lnTo>
                        <a:pt x="1374" y="594"/>
                      </a:lnTo>
                      <a:lnTo>
                        <a:pt x="1374" y="595"/>
                      </a:lnTo>
                      <a:lnTo>
                        <a:pt x="1375" y="595"/>
                      </a:lnTo>
                      <a:lnTo>
                        <a:pt x="1374" y="595"/>
                      </a:lnTo>
                      <a:lnTo>
                        <a:pt x="1374" y="596"/>
                      </a:lnTo>
                      <a:lnTo>
                        <a:pt x="1374" y="597"/>
                      </a:lnTo>
                      <a:lnTo>
                        <a:pt x="1373" y="597"/>
                      </a:lnTo>
                      <a:lnTo>
                        <a:pt x="1371" y="597"/>
                      </a:lnTo>
                      <a:lnTo>
                        <a:pt x="1370" y="597"/>
                      </a:lnTo>
                      <a:lnTo>
                        <a:pt x="1369" y="597"/>
                      </a:lnTo>
                      <a:lnTo>
                        <a:pt x="1368" y="597"/>
                      </a:lnTo>
                      <a:lnTo>
                        <a:pt x="1368" y="598"/>
                      </a:lnTo>
                      <a:lnTo>
                        <a:pt x="1367" y="598"/>
                      </a:lnTo>
                      <a:lnTo>
                        <a:pt x="1367" y="600"/>
                      </a:lnTo>
                      <a:lnTo>
                        <a:pt x="1366" y="600"/>
                      </a:lnTo>
                      <a:lnTo>
                        <a:pt x="1367" y="598"/>
                      </a:lnTo>
                      <a:lnTo>
                        <a:pt x="1367" y="597"/>
                      </a:lnTo>
                      <a:lnTo>
                        <a:pt x="1367" y="596"/>
                      </a:lnTo>
                      <a:lnTo>
                        <a:pt x="1366" y="596"/>
                      </a:lnTo>
                      <a:lnTo>
                        <a:pt x="1365" y="596"/>
                      </a:lnTo>
                      <a:lnTo>
                        <a:pt x="1365" y="595"/>
                      </a:lnTo>
                      <a:lnTo>
                        <a:pt x="1364" y="594"/>
                      </a:lnTo>
                      <a:lnTo>
                        <a:pt x="1364" y="593"/>
                      </a:lnTo>
                      <a:lnTo>
                        <a:pt x="1364" y="592"/>
                      </a:lnTo>
                      <a:lnTo>
                        <a:pt x="1363" y="592"/>
                      </a:lnTo>
                      <a:lnTo>
                        <a:pt x="1364" y="592"/>
                      </a:lnTo>
                      <a:lnTo>
                        <a:pt x="1365" y="593"/>
                      </a:lnTo>
                      <a:lnTo>
                        <a:pt x="1366" y="593"/>
                      </a:lnTo>
                      <a:lnTo>
                        <a:pt x="1366" y="592"/>
                      </a:lnTo>
                      <a:lnTo>
                        <a:pt x="1367" y="592"/>
                      </a:lnTo>
                      <a:lnTo>
                        <a:pt x="1368" y="592"/>
                      </a:lnTo>
                      <a:lnTo>
                        <a:pt x="1369" y="592"/>
                      </a:lnTo>
                      <a:lnTo>
                        <a:pt x="1370" y="592"/>
                      </a:lnTo>
                      <a:lnTo>
                        <a:pt x="1371" y="592"/>
                      </a:lnTo>
                      <a:lnTo>
                        <a:pt x="1373" y="592"/>
                      </a:lnTo>
                      <a:lnTo>
                        <a:pt x="1373" y="591"/>
                      </a:lnTo>
                      <a:close/>
                      <a:moveTo>
                        <a:pt x="1352" y="537"/>
                      </a:moveTo>
                      <a:lnTo>
                        <a:pt x="1351" y="537"/>
                      </a:lnTo>
                      <a:lnTo>
                        <a:pt x="1352" y="537"/>
                      </a:lnTo>
                      <a:lnTo>
                        <a:pt x="1351" y="537"/>
                      </a:lnTo>
                      <a:lnTo>
                        <a:pt x="1351" y="538"/>
                      </a:lnTo>
                      <a:lnTo>
                        <a:pt x="1350" y="538"/>
                      </a:lnTo>
                      <a:lnTo>
                        <a:pt x="1350" y="539"/>
                      </a:lnTo>
                      <a:lnTo>
                        <a:pt x="1350" y="540"/>
                      </a:lnTo>
                      <a:lnTo>
                        <a:pt x="1350" y="541"/>
                      </a:lnTo>
                      <a:lnTo>
                        <a:pt x="1349" y="540"/>
                      </a:lnTo>
                      <a:lnTo>
                        <a:pt x="1349" y="539"/>
                      </a:lnTo>
                      <a:lnTo>
                        <a:pt x="1348" y="539"/>
                      </a:lnTo>
                      <a:lnTo>
                        <a:pt x="1347" y="540"/>
                      </a:lnTo>
                      <a:lnTo>
                        <a:pt x="1345" y="541"/>
                      </a:lnTo>
                      <a:lnTo>
                        <a:pt x="1344" y="541"/>
                      </a:lnTo>
                      <a:lnTo>
                        <a:pt x="1344" y="542"/>
                      </a:lnTo>
                      <a:lnTo>
                        <a:pt x="1344" y="543"/>
                      </a:lnTo>
                      <a:lnTo>
                        <a:pt x="1343" y="544"/>
                      </a:lnTo>
                      <a:lnTo>
                        <a:pt x="1343" y="545"/>
                      </a:lnTo>
                      <a:lnTo>
                        <a:pt x="1342" y="546"/>
                      </a:lnTo>
                      <a:lnTo>
                        <a:pt x="1343" y="546"/>
                      </a:lnTo>
                      <a:lnTo>
                        <a:pt x="1344" y="545"/>
                      </a:lnTo>
                      <a:lnTo>
                        <a:pt x="1343" y="545"/>
                      </a:lnTo>
                      <a:lnTo>
                        <a:pt x="1344" y="545"/>
                      </a:lnTo>
                      <a:lnTo>
                        <a:pt x="1344" y="544"/>
                      </a:lnTo>
                      <a:lnTo>
                        <a:pt x="1345" y="544"/>
                      </a:lnTo>
                      <a:lnTo>
                        <a:pt x="1347" y="543"/>
                      </a:lnTo>
                      <a:lnTo>
                        <a:pt x="1347" y="544"/>
                      </a:lnTo>
                      <a:lnTo>
                        <a:pt x="1345" y="545"/>
                      </a:lnTo>
                      <a:lnTo>
                        <a:pt x="1345" y="544"/>
                      </a:lnTo>
                      <a:lnTo>
                        <a:pt x="1344" y="544"/>
                      </a:lnTo>
                      <a:lnTo>
                        <a:pt x="1344" y="545"/>
                      </a:lnTo>
                      <a:lnTo>
                        <a:pt x="1344" y="546"/>
                      </a:lnTo>
                      <a:lnTo>
                        <a:pt x="1345" y="546"/>
                      </a:lnTo>
                      <a:lnTo>
                        <a:pt x="1344" y="547"/>
                      </a:lnTo>
                      <a:lnTo>
                        <a:pt x="1345" y="549"/>
                      </a:lnTo>
                      <a:lnTo>
                        <a:pt x="1344" y="549"/>
                      </a:lnTo>
                      <a:lnTo>
                        <a:pt x="1344" y="550"/>
                      </a:lnTo>
                      <a:lnTo>
                        <a:pt x="1343" y="550"/>
                      </a:lnTo>
                      <a:lnTo>
                        <a:pt x="1343" y="551"/>
                      </a:lnTo>
                      <a:lnTo>
                        <a:pt x="1342" y="551"/>
                      </a:lnTo>
                      <a:lnTo>
                        <a:pt x="1343" y="552"/>
                      </a:lnTo>
                      <a:lnTo>
                        <a:pt x="1342" y="551"/>
                      </a:lnTo>
                      <a:lnTo>
                        <a:pt x="1341" y="551"/>
                      </a:lnTo>
                      <a:lnTo>
                        <a:pt x="1340" y="551"/>
                      </a:lnTo>
                      <a:lnTo>
                        <a:pt x="1339" y="551"/>
                      </a:lnTo>
                      <a:lnTo>
                        <a:pt x="1339" y="552"/>
                      </a:lnTo>
                      <a:lnTo>
                        <a:pt x="1338" y="553"/>
                      </a:lnTo>
                      <a:lnTo>
                        <a:pt x="1339" y="552"/>
                      </a:lnTo>
                      <a:lnTo>
                        <a:pt x="1339" y="551"/>
                      </a:lnTo>
                      <a:lnTo>
                        <a:pt x="1340" y="550"/>
                      </a:lnTo>
                      <a:lnTo>
                        <a:pt x="1340" y="551"/>
                      </a:lnTo>
                      <a:lnTo>
                        <a:pt x="1340" y="550"/>
                      </a:lnTo>
                      <a:lnTo>
                        <a:pt x="1341" y="549"/>
                      </a:lnTo>
                      <a:lnTo>
                        <a:pt x="1341" y="547"/>
                      </a:lnTo>
                      <a:lnTo>
                        <a:pt x="1341" y="546"/>
                      </a:lnTo>
                      <a:lnTo>
                        <a:pt x="1342" y="546"/>
                      </a:lnTo>
                      <a:lnTo>
                        <a:pt x="1342" y="545"/>
                      </a:lnTo>
                      <a:lnTo>
                        <a:pt x="1342" y="544"/>
                      </a:lnTo>
                      <a:lnTo>
                        <a:pt x="1343" y="544"/>
                      </a:lnTo>
                      <a:lnTo>
                        <a:pt x="1343" y="543"/>
                      </a:lnTo>
                      <a:lnTo>
                        <a:pt x="1343" y="542"/>
                      </a:lnTo>
                      <a:lnTo>
                        <a:pt x="1344" y="542"/>
                      </a:lnTo>
                      <a:lnTo>
                        <a:pt x="1344" y="541"/>
                      </a:lnTo>
                      <a:lnTo>
                        <a:pt x="1345" y="540"/>
                      </a:lnTo>
                      <a:lnTo>
                        <a:pt x="1345" y="539"/>
                      </a:lnTo>
                      <a:lnTo>
                        <a:pt x="1347" y="538"/>
                      </a:lnTo>
                      <a:lnTo>
                        <a:pt x="1347" y="537"/>
                      </a:lnTo>
                      <a:lnTo>
                        <a:pt x="1348" y="536"/>
                      </a:lnTo>
                      <a:lnTo>
                        <a:pt x="1350" y="534"/>
                      </a:lnTo>
                      <a:lnTo>
                        <a:pt x="1350" y="533"/>
                      </a:lnTo>
                      <a:lnTo>
                        <a:pt x="1351" y="533"/>
                      </a:lnTo>
                      <a:lnTo>
                        <a:pt x="1352" y="532"/>
                      </a:lnTo>
                      <a:lnTo>
                        <a:pt x="1352" y="534"/>
                      </a:lnTo>
                      <a:lnTo>
                        <a:pt x="1352" y="536"/>
                      </a:lnTo>
                      <a:lnTo>
                        <a:pt x="1352" y="537"/>
                      </a:lnTo>
                      <a:close/>
                      <a:moveTo>
                        <a:pt x="1271" y="493"/>
                      </a:moveTo>
                      <a:lnTo>
                        <a:pt x="1272" y="493"/>
                      </a:lnTo>
                      <a:lnTo>
                        <a:pt x="1272" y="494"/>
                      </a:lnTo>
                      <a:lnTo>
                        <a:pt x="1273" y="494"/>
                      </a:lnTo>
                      <a:lnTo>
                        <a:pt x="1274" y="494"/>
                      </a:lnTo>
                      <a:lnTo>
                        <a:pt x="1274" y="495"/>
                      </a:lnTo>
                      <a:lnTo>
                        <a:pt x="1275" y="495"/>
                      </a:lnTo>
                      <a:lnTo>
                        <a:pt x="1275" y="497"/>
                      </a:lnTo>
                      <a:lnTo>
                        <a:pt x="1276" y="497"/>
                      </a:lnTo>
                      <a:lnTo>
                        <a:pt x="1275" y="497"/>
                      </a:lnTo>
                      <a:lnTo>
                        <a:pt x="1275" y="498"/>
                      </a:lnTo>
                      <a:lnTo>
                        <a:pt x="1275" y="499"/>
                      </a:lnTo>
                      <a:lnTo>
                        <a:pt x="1274" y="499"/>
                      </a:lnTo>
                      <a:lnTo>
                        <a:pt x="1275" y="500"/>
                      </a:lnTo>
                      <a:lnTo>
                        <a:pt x="1275" y="501"/>
                      </a:lnTo>
                      <a:lnTo>
                        <a:pt x="1275" y="502"/>
                      </a:lnTo>
                      <a:lnTo>
                        <a:pt x="1275" y="503"/>
                      </a:lnTo>
                      <a:lnTo>
                        <a:pt x="1276" y="504"/>
                      </a:lnTo>
                      <a:lnTo>
                        <a:pt x="1277" y="504"/>
                      </a:lnTo>
                      <a:lnTo>
                        <a:pt x="1277" y="505"/>
                      </a:lnTo>
                      <a:lnTo>
                        <a:pt x="1278" y="505"/>
                      </a:lnTo>
                      <a:lnTo>
                        <a:pt x="1278" y="506"/>
                      </a:lnTo>
                      <a:lnTo>
                        <a:pt x="1278" y="507"/>
                      </a:lnTo>
                      <a:lnTo>
                        <a:pt x="1277" y="507"/>
                      </a:lnTo>
                      <a:lnTo>
                        <a:pt x="1277" y="508"/>
                      </a:lnTo>
                      <a:lnTo>
                        <a:pt x="1277" y="507"/>
                      </a:lnTo>
                      <a:lnTo>
                        <a:pt x="1276" y="507"/>
                      </a:lnTo>
                      <a:lnTo>
                        <a:pt x="1276" y="506"/>
                      </a:lnTo>
                      <a:lnTo>
                        <a:pt x="1275" y="506"/>
                      </a:lnTo>
                      <a:lnTo>
                        <a:pt x="1274" y="506"/>
                      </a:lnTo>
                      <a:lnTo>
                        <a:pt x="1274" y="505"/>
                      </a:lnTo>
                      <a:lnTo>
                        <a:pt x="1273" y="504"/>
                      </a:lnTo>
                      <a:lnTo>
                        <a:pt x="1272" y="504"/>
                      </a:lnTo>
                      <a:lnTo>
                        <a:pt x="1273" y="504"/>
                      </a:lnTo>
                      <a:lnTo>
                        <a:pt x="1272" y="504"/>
                      </a:lnTo>
                      <a:lnTo>
                        <a:pt x="1272" y="503"/>
                      </a:lnTo>
                      <a:lnTo>
                        <a:pt x="1272" y="502"/>
                      </a:lnTo>
                      <a:lnTo>
                        <a:pt x="1272" y="501"/>
                      </a:lnTo>
                      <a:lnTo>
                        <a:pt x="1273" y="500"/>
                      </a:lnTo>
                      <a:lnTo>
                        <a:pt x="1273" y="501"/>
                      </a:lnTo>
                      <a:lnTo>
                        <a:pt x="1273" y="502"/>
                      </a:lnTo>
                      <a:lnTo>
                        <a:pt x="1274" y="502"/>
                      </a:lnTo>
                      <a:lnTo>
                        <a:pt x="1273" y="502"/>
                      </a:lnTo>
                      <a:lnTo>
                        <a:pt x="1274" y="503"/>
                      </a:lnTo>
                      <a:lnTo>
                        <a:pt x="1273" y="503"/>
                      </a:lnTo>
                      <a:lnTo>
                        <a:pt x="1274" y="503"/>
                      </a:lnTo>
                      <a:lnTo>
                        <a:pt x="1274" y="502"/>
                      </a:lnTo>
                      <a:lnTo>
                        <a:pt x="1273" y="502"/>
                      </a:lnTo>
                      <a:lnTo>
                        <a:pt x="1274" y="501"/>
                      </a:lnTo>
                      <a:lnTo>
                        <a:pt x="1273" y="501"/>
                      </a:lnTo>
                      <a:lnTo>
                        <a:pt x="1273" y="500"/>
                      </a:lnTo>
                      <a:lnTo>
                        <a:pt x="1272" y="500"/>
                      </a:lnTo>
                      <a:lnTo>
                        <a:pt x="1273" y="499"/>
                      </a:lnTo>
                      <a:lnTo>
                        <a:pt x="1272" y="499"/>
                      </a:lnTo>
                      <a:lnTo>
                        <a:pt x="1272" y="498"/>
                      </a:lnTo>
                      <a:lnTo>
                        <a:pt x="1272" y="497"/>
                      </a:lnTo>
                      <a:lnTo>
                        <a:pt x="1272" y="495"/>
                      </a:lnTo>
                      <a:lnTo>
                        <a:pt x="1271" y="495"/>
                      </a:lnTo>
                      <a:lnTo>
                        <a:pt x="1271" y="494"/>
                      </a:lnTo>
                      <a:lnTo>
                        <a:pt x="1270" y="494"/>
                      </a:lnTo>
                      <a:lnTo>
                        <a:pt x="1268" y="493"/>
                      </a:lnTo>
                      <a:lnTo>
                        <a:pt x="1267" y="494"/>
                      </a:lnTo>
                      <a:lnTo>
                        <a:pt x="1266" y="494"/>
                      </a:lnTo>
                      <a:lnTo>
                        <a:pt x="1265" y="494"/>
                      </a:lnTo>
                      <a:lnTo>
                        <a:pt x="1265" y="493"/>
                      </a:lnTo>
                      <a:lnTo>
                        <a:pt x="1266" y="493"/>
                      </a:lnTo>
                      <a:lnTo>
                        <a:pt x="1267" y="493"/>
                      </a:lnTo>
                      <a:lnTo>
                        <a:pt x="1268" y="492"/>
                      </a:lnTo>
                      <a:lnTo>
                        <a:pt x="1270" y="491"/>
                      </a:lnTo>
                      <a:lnTo>
                        <a:pt x="1270" y="490"/>
                      </a:lnTo>
                      <a:lnTo>
                        <a:pt x="1270" y="491"/>
                      </a:lnTo>
                      <a:lnTo>
                        <a:pt x="1270" y="492"/>
                      </a:lnTo>
                      <a:lnTo>
                        <a:pt x="1271" y="493"/>
                      </a:lnTo>
                      <a:close/>
                      <a:moveTo>
                        <a:pt x="1361" y="474"/>
                      </a:moveTo>
                      <a:lnTo>
                        <a:pt x="1362" y="474"/>
                      </a:lnTo>
                      <a:lnTo>
                        <a:pt x="1363" y="474"/>
                      </a:lnTo>
                      <a:lnTo>
                        <a:pt x="1363" y="475"/>
                      </a:lnTo>
                      <a:lnTo>
                        <a:pt x="1364" y="475"/>
                      </a:lnTo>
                      <a:lnTo>
                        <a:pt x="1363" y="475"/>
                      </a:lnTo>
                      <a:lnTo>
                        <a:pt x="1362" y="475"/>
                      </a:lnTo>
                      <a:lnTo>
                        <a:pt x="1361" y="475"/>
                      </a:lnTo>
                      <a:lnTo>
                        <a:pt x="1360" y="476"/>
                      </a:lnTo>
                      <a:lnTo>
                        <a:pt x="1358" y="477"/>
                      </a:lnTo>
                      <a:lnTo>
                        <a:pt x="1358" y="478"/>
                      </a:lnTo>
                      <a:lnTo>
                        <a:pt x="1357" y="478"/>
                      </a:lnTo>
                      <a:lnTo>
                        <a:pt x="1357" y="479"/>
                      </a:lnTo>
                      <a:lnTo>
                        <a:pt x="1357" y="480"/>
                      </a:lnTo>
                      <a:lnTo>
                        <a:pt x="1356" y="480"/>
                      </a:lnTo>
                      <a:lnTo>
                        <a:pt x="1356" y="481"/>
                      </a:lnTo>
                      <a:lnTo>
                        <a:pt x="1355" y="482"/>
                      </a:lnTo>
                      <a:lnTo>
                        <a:pt x="1354" y="482"/>
                      </a:lnTo>
                      <a:lnTo>
                        <a:pt x="1354" y="484"/>
                      </a:lnTo>
                      <a:lnTo>
                        <a:pt x="1353" y="485"/>
                      </a:lnTo>
                      <a:lnTo>
                        <a:pt x="1353" y="486"/>
                      </a:lnTo>
                      <a:lnTo>
                        <a:pt x="1353" y="487"/>
                      </a:lnTo>
                      <a:lnTo>
                        <a:pt x="1353" y="488"/>
                      </a:lnTo>
                      <a:lnTo>
                        <a:pt x="1353" y="489"/>
                      </a:lnTo>
                      <a:lnTo>
                        <a:pt x="1352" y="489"/>
                      </a:lnTo>
                      <a:lnTo>
                        <a:pt x="1352" y="490"/>
                      </a:lnTo>
                      <a:lnTo>
                        <a:pt x="1353" y="491"/>
                      </a:lnTo>
                      <a:lnTo>
                        <a:pt x="1353" y="492"/>
                      </a:lnTo>
                      <a:lnTo>
                        <a:pt x="1353" y="493"/>
                      </a:lnTo>
                      <a:lnTo>
                        <a:pt x="1353" y="492"/>
                      </a:lnTo>
                      <a:lnTo>
                        <a:pt x="1352" y="492"/>
                      </a:lnTo>
                      <a:lnTo>
                        <a:pt x="1352" y="491"/>
                      </a:lnTo>
                      <a:lnTo>
                        <a:pt x="1352" y="490"/>
                      </a:lnTo>
                      <a:lnTo>
                        <a:pt x="1351" y="490"/>
                      </a:lnTo>
                      <a:lnTo>
                        <a:pt x="1351" y="489"/>
                      </a:lnTo>
                      <a:lnTo>
                        <a:pt x="1352" y="489"/>
                      </a:lnTo>
                      <a:lnTo>
                        <a:pt x="1352" y="488"/>
                      </a:lnTo>
                      <a:lnTo>
                        <a:pt x="1351" y="488"/>
                      </a:lnTo>
                      <a:lnTo>
                        <a:pt x="1351" y="487"/>
                      </a:lnTo>
                      <a:lnTo>
                        <a:pt x="1351" y="486"/>
                      </a:lnTo>
                      <a:lnTo>
                        <a:pt x="1351" y="485"/>
                      </a:lnTo>
                      <a:lnTo>
                        <a:pt x="1351" y="484"/>
                      </a:lnTo>
                      <a:lnTo>
                        <a:pt x="1351" y="482"/>
                      </a:lnTo>
                      <a:lnTo>
                        <a:pt x="1352" y="482"/>
                      </a:lnTo>
                      <a:lnTo>
                        <a:pt x="1353" y="482"/>
                      </a:lnTo>
                      <a:lnTo>
                        <a:pt x="1353" y="481"/>
                      </a:lnTo>
                      <a:lnTo>
                        <a:pt x="1353" y="480"/>
                      </a:lnTo>
                      <a:lnTo>
                        <a:pt x="1352" y="480"/>
                      </a:lnTo>
                      <a:lnTo>
                        <a:pt x="1352" y="479"/>
                      </a:lnTo>
                      <a:lnTo>
                        <a:pt x="1353" y="479"/>
                      </a:lnTo>
                      <a:lnTo>
                        <a:pt x="1354" y="479"/>
                      </a:lnTo>
                      <a:lnTo>
                        <a:pt x="1355" y="479"/>
                      </a:lnTo>
                      <a:lnTo>
                        <a:pt x="1355" y="478"/>
                      </a:lnTo>
                      <a:lnTo>
                        <a:pt x="1355" y="477"/>
                      </a:lnTo>
                      <a:lnTo>
                        <a:pt x="1356" y="477"/>
                      </a:lnTo>
                      <a:lnTo>
                        <a:pt x="1356" y="476"/>
                      </a:lnTo>
                      <a:lnTo>
                        <a:pt x="1357" y="476"/>
                      </a:lnTo>
                      <a:lnTo>
                        <a:pt x="1358" y="476"/>
                      </a:lnTo>
                      <a:lnTo>
                        <a:pt x="1358" y="475"/>
                      </a:lnTo>
                      <a:lnTo>
                        <a:pt x="1360" y="475"/>
                      </a:lnTo>
                      <a:lnTo>
                        <a:pt x="1360" y="474"/>
                      </a:lnTo>
                      <a:lnTo>
                        <a:pt x="1361" y="474"/>
                      </a:lnTo>
                      <a:lnTo>
                        <a:pt x="1361" y="473"/>
                      </a:lnTo>
                      <a:lnTo>
                        <a:pt x="1361" y="472"/>
                      </a:lnTo>
                      <a:lnTo>
                        <a:pt x="1361" y="470"/>
                      </a:lnTo>
                      <a:lnTo>
                        <a:pt x="1361" y="472"/>
                      </a:lnTo>
                      <a:lnTo>
                        <a:pt x="1361" y="473"/>
                      </a:lnTo>
                      <a:lnTo>
                        <a:pt x="1361" y="474"/>
                      </a:lnTo>
                      <a:close/>
                      <a:moveTo>
                        <a:pt x="1254" y="686"/>
                      </a:moveTo>
                      <a:lnTo>
                        <a:pt x="1255" y="686"/>
                      </a:lnTo>
                      <a:lnTo>
                        <a:pt x="1255" y="687"/>
                      </a:lnTo>
                      <a:lnTo>
                        <a:pt x="1254" y="687"/>
                      </a:lnTo>
                      <a:lnTo>
                        <a:pt x="1255" y="688"/>
                      </a:lnTo>
                      <a:lnTo>
                        <a:pt x="1255" y="690"/>
                      </a:lnTo>
                      <a:lnTo>
                        <a:pt x="1255" y="691"/>
                      </a:lnTo>
                      <a:lnTo>
                        <a:pt x="1257" y="691"/>
                      </a:lnTo>
                      <a:lnTo>
                        <a:pt x="1257" y="692"/>
                      </a:lnTo>
                      <a:lnTo>
                        <a:pt x="1258" y="692"/>
                      </a:lnTo>
                      <a:lnTo>
                        <a:pt x="1258" y="693"/>
                      </a:lnTo>
                      <a:lnTo>
                        <a:pt x="1258" y="694"/>
                      </a:lnTo>
                      <a:lnTo>
                        <a:pt x="1259" y="694"/>
                      </a:lnTo>
                      <a:lnTo>
                        <a:pt x="1259" y="695"/>
                      </a:lnTo>
                      <a:lnTo>
                        <a:pt x="1258" y="695"/>
                      </a:lnTo>
                      <a:lnTo>
                        <a:pt x="1259" y="696"/>
                      </a:lnTo>
                      <a:lnTo>
                        <a:pt x="1259" y="697"/>
                      </a:lnTo>
                      <a:lnTo>
                        <a:pt x="1259" y="698"/>
                      </a:lnTo>
                      <a:lnTo>
                        <a:pt x="1258" y="698"/>
                      </a:lnTo>
                      <a:lnTo>
                        <a:pt x="1259" y="698"/>
                      </a:lnTo>
                      <a:lnTo>
                        <a:pt x="1259" y="697"/>
                      </a:lnTo>
                      <a:lnTo>
                        <a:pt x="1258" y="697"/>
                      </a:lnTo>
                      <a:lnTo>
                        <a:pt x="1258" y="696"/>
                      </a:lnTo>
                      <a:lnTo>
                        <a:pt x="1258" y="695"/>
                      </a:lnTo>
                      <a:lnTo>
                        <a:pt x="1257" y="695"/>
                      </a:lnTo>
                      <a:lnTo>
                        <a:pt x="1257" y="696"/>
                      </a:lnTo>
                      <a:lnTo>
                        <a:pt x="1257" y="695"/>
                      </a:lnTo>
                      <a:lnTo>
                        <a:pt x="1255" y="695"/>
                      </a:lnTo>
                      <a:lnTo>
                        <a:pt x="1254" y="694"/>
                      </a:lnTo>
                      <a:lnTo>
                        <a:pt x="1254" y="693"/>
                      </a:lnTo>
                      <a:lnTo>
                        <a:pt x="1255" y="693"/>
                      </a:lnTo>
                      <a:lnTo>
                        <a:pt x="1254" y="692"/>
                      </a:lnTo>
                      <a:lnTo>
                        <a:pt x="1253" y="692"/>
                      </a:lnTo>
                      <a:lnTo>
                        <a:pt x="1253" y="693"/>
                      </a:lnTo>
                      <a:lnTo>
                        <a:pt x="1252" y="693"/>
                      </a:lnTo>
                      <a:lnTo>
                        <a:pt x="1252" y="694"/>
                      </a:lnTo>
                      <a:lnTo>
                        <a:pt x="1251" y="694"/>
                      </a:lnTo>
                      <a:lnTo>
                        <a:pt x="1251" y="693"/>
                      </a:lnTo>
                      <a:lnTo>
                        <a:pt x="1252" y="693"/>
                      </a:lnTo>
                      <a:lnTo>
                        <a:pt x="1251" y="692"/>
                      </a:lnTo>
                      <a:lnTo>
                        <a:pt x="1251" y="691"/>
                      </a:lnTo>
                      <a:lnTo>
                        <a:pt x="1251" y="690"/>
                      </a:lnTo>
                      <a:lnTo>
                        <a:pt x="1251" y="688"/>
                      </a:lnTo>
                      <a:lnTo>
                        <a:pt x="1250" y="688"/>
                      </a:lnTo>
                      <a:lnTo>
                        <a:pt x="1250" y="687"/>
                      </a:lnTo>
                      <a:lnTo>
                        <a:pt x="1250" y="686"/>
                      </a:lnTo>
                      <a:lnTo>
                        <a:pt x="1250" y="687"/>
                      </a:lnTo>
                      <a:lnTo>
                        <a:pt x="1251" y="687"/>
                      </a:lnTo>
                      <a:lnTo>
                        <a:pt x="1252" y="687"/>
                      </a:lnTo>
                      <a:lnTo>
                        <a:pt x="1251" y="687"/>
                      </a:lnTo>
                      <a:lnTo>
                        <a:pt x="1251" y="686"/>
                      </a:lnTo>
                      <a:lnTo>
                        <a:pt x="1250" y="686"/>
                      </a:lnTo>
                      <a:lnTo>
                        <a:pt x="1250" y="687"/>
                      </a:lnTo>
                      <a:lnTo>
                        <a:pt x="1249" y="686"/>
                      </a:lnTo>
                      <a:lnTo>
                        <a:pt x="1252" y="685"/>
                      </a:lnTo>
                      <a:lnTo>
                        <a:pt x="1253" y="685"/>
                      </a:lnTo>
                      <a:lnTo>
                        <a:pt x="1254" y="685"/>
                      </a:lnTo>
                      <a:lnTo>
                        <a:pt x="1254" y="686"/>
                      </a:lnTo>
                      <a:close/>
                      <a:moveTo>
                        <a:pt x="1350" y="595"/>
                      </a:moveTo>
                      <a:lnTo>
                        <a:pt x="1351" y="596"/>
                      </a:lnTo>
                      <a:lnTo>
                        <a:pt x="1350" y="596"/>
                      </a:lnTo>
                      <a:lnTo>
                        <a:pt x="1350" y="597"/>
                      </a:lnTo>
                      <a:lnTo>
                        <a:pt x="1351" y="597"/>
                      </a:lnTo>
                      <a:lnTo>
                        <a:pt x="1350" y="597"/>
                      </a:lnTo>
                      <a:lnTo>
                        <a:pt x="1350" y="596"/>
                      </a:lnTo>
                      <a:lnTo>
                        <a:pt x="1349" y="596"/>
                      </a:lnTo>
                      <a:lnTo>
                        <a:pt x="1349" y="597"/>
                      </a:lnTo>
                      <a:lnTo>
                        <a:pt x="1349" y="598"/>
                      </a:lnTo>
                      <a:lnTo>
                        <a:pt x="1350" y="598"/>
                      </a:lnTo>
                      <a:lnTo>
                        <a:pt x="1350" y="600"/>
                      </a:lnTo>
                      <a:lnTo>
                        <a:pt x="1351" y="600"/>
                      </a:lnTo>
                      <a:lnTo>
                        <a:pt x="1351" y="598"/>
                      </a:lnTo>
                      <a:lnTo>
                        <a:pt x="1352" y="598"/>
                      </a:lnTo>
                      <a:lnTo>
                        <a:pt x="1353" y="598"/>
                      </a:lnTo>
                      <a:lnTo>
                        <a:pt x="1353" y="600"/>
                      </a:lnTo>
                      <a:lnTo>
                        <a:pt x="1355" y="601"/>
                      </a:lnTo>
                      <a:lnTo>
                        <a:pt x="1354" y="601"/>
                      </a:lnTo>
                      <a:lnTo>
                        <a:pt x="1353" y="601"/>
                      </a:lnTo>
                      <a:lnTo>
                        <a:pt x="1352" y="601"/>
                      </a:lnTo>
                      <a:lnTo>
                        <a:pt x="1351" y="601"/>
                      </a:lnTo>
                      <a:lnTo>
                        <a:pt x="1350" y="601"/>
                      </a:lnTo>
                      <a:lnTo>
                        <a:pt x="1348" y="603"/>
                      </a:lnTo>
                      <a:lnTo>
                        <a:pt x="1347" y="603"/>
                      </a:lnTo>
                      <a:lnTo>
                        <a:pt x="1345" y="603"/>
                      </a:lnTo>
                      <a:lnTo>
                        <a:pt x="1344" y="603"/>
                      </a:lnTo>
                      <a:lnTo>
                        <a:pt x="1344" y="602"/>
                      </a:lnTo>
                      <a:lnTo>
                        <a:pt x="1344" y="600"/>
                      </a:lnTo>
                      <a:lnTo>
                        <a:pt x="1343" y="600"/>
                      </a:lnTo>
                      <a:lnTo>
                        <a:pt x="1344" y="598"/>
                      </a:lnTo>
                      <a:lnTo>
                        <a:pt x="1344" y="597"/>
                      </a:lnTo>
                      <a:lnTo>
                        <a:pt x="1344" y="596"/>
                      </a:lnTo>
                      <a:lnTo>
                        <a:pt x="1343" y="596"/>
                      </a:lnTo>
                      <a:lnTo>
                        <a:pt x="1344" y="595"/>
                      </a:lnTo>
                      <a:lnTo>
                        <a:pt x="1344" y="596"/>
                      </a:lnTo>
                      <a:lnTo>
                        <a:pt x="1344" y="597"/>
                      </a:lnTo>
                      <a:lnTo>
                        <a:pt x="1345" y="597"/>
                      </a:lnTo>
                      <a:lnTo>
                        <a:pt x="1345" y="596"/>
                      </a:lnTo>
                      <a:lnTo>
                        <a:pt x="1345" y="597"/>
                      </a:lnTo>
                      <a:lnTo>
                        <a:pt x="1347" y="597"/>
                      </a:lnTo>
                      <a:lnTo>
                        <a:pt x="1347" y="596"/>
                      </a:lnTo>
                      <a:lnTo>
                        <a:pt x="1347" y="597"/>
                      </a:lnTo>
                      <a:lnTo>
                        <a:pt x="1347" y="596"/>
                      </a:lnTo>
                      <a:lnTo>
                        <a:pt x="1345" y="596"/>
                      </a:lnTo>
                      <a:lnTo>
                        <a:pt x="1347" y="596"/>
                      </a:lnTo>
                      <a:lnTo>
                        <a:pt x="1347" y="595"/>
                      </a:lnTo>
                      <a:lnTo>
                        <a:pt x="1347" y="596"/>
                      </a:lnTo>
                      <a:lnTo>
                        <a:pt x="1348" y="596"/>
                      </a:lnTo>
                      <a:lnTo>
                        <a:pt x="1348" y="595"/>
                      </a:lnTo>
                      <a:lnTo>
                        <a:pt x="1348" y="596"/>
                      </a:lnTo>
                      <a:lnTo>
                        <a:pt x="1349" y="596"/>
                      </a:lnTo>
                      <a:lnTo>
                        <a:pt x="1349" y="595"/>
                      </a:lnTo>
                      <a:lnTo>
                        <a:pt x="1349" y="596"/>
                      </a:lnTo>
                      <a:lnTo>
                        <a:pt x="1349" y="595"/>
                      </a:lnTo>
                      <a:lnTo>
                        <a:pt x="1350" y="595"/>
                      </a:lnTo>
                      <a:lnTo>
                        <a:pt x="1350" y="594"/>
                      </a:lnTo>
                      <a:lnTo>
                        <a:pt x="1351" y="594"/>
                      </a:lnTo>
                      <a:lnTo>
                        <a:pt x="1350" y="595"/>
                      </a:lnTo>
                      <a:close/>
                      <a:moveTo>
                        <a:pt x="1381" y="464"/>
                      </a:moveTo>
                      <a:lnTo>
                        <a:pt x="1381" y="465"/>
                      </a:lnTo>
                      <a:lnTo>
                        <a:pt x="1380" y="466"/>
                      </a:lnTo>
                      <a:lnTo>
                        <a:pt x="1380" y="467"/>
                      </a:lnTo>
                      <a:lnTo>
                        <a:pt x="1379" y="468"/>
                      </a:lnTo>
                      <a:lnTo>
                        <a:pt x="1380" y="469"/>
                      </a:lnTo>
                      <a:lnTo>
                        <a:pt x="1381" y="470"/>
                      </a:lnTo>
                      <a:lnTo>
                        <a:pt x="1381" y="472"/>
                      </a:lnTo>
                      <a:lnTo>
                        <a:pt x="1380" y="472"/>
                      </a:lnTo>
                      <a:lnTo>
                        <a:pt x="1380" y="473"/>
                      </a:lnTo>
                      <a:lnTo>
                        <a:pt x="1380" y="474"/>
                      </a:lnTo>
                      <a:lnTo>
                        <a:pt x="1380" y="475"/>
                      </a:lnTo>
                      <a:lnTo>
                        <a:pt x="1380" y="476"/>
                      </a:lnTo>
                      <a:lnTo>
                        <a:pt x="1380" y="477"/>
                      </a:lnTo>
                      <a:lnTo>
                        <a:pt x="1379" y="477"/>
                      </a:lnTo>
                      <a:lnTo>
                        <a:pt x="1378" y="476"/>
                      </a:lnTo>
                      <a:lnTo>
                        <a:pt x="1379" y="475"/>
                      </a:lnTo>
                      <a:lnTo>
                        <a:pt x="1379" y="474"/>
                      </a:lnTo>
                      <a:lnTo>
                        <a:pt x="1377" y="473"/>
                      </a:lnTo>
                      <a:lnTo>
                        <a:pt x="1377" y="472"/>
                      </a:lnTo>
                      <a:lnTo>
                        <a:pt x="1377" y="470"/>
                      </a:lnTo>
                      <a:lnTo>
                        <a:pt x="1378" y="470"/>
                      </a:lnTo>
                      <a:lnTo>
                        <a:pt x="1378" y="472"/>
                      </a:lnTo>
                      <a:lnTo>
                        <a:pt x="1379" y="470"/>
                      </a:lnTo>
                      <a:lnTo>
                        <a:pt x="1378" y="469"/>
                      </a:lnTo>
                      <a:lnTo>
                        <a:pt x="1379" y="469"/>
                      </a:lnTo>
                      <a:lnTo>
                        <a:pt x="1379" y="468"/>
                      </a:lnTo>
                      <a:lnTo>
                        <a:pt x="1378" y="467"/>
                      </a:lnTo>
                      <a:lnTo>
                        <a:pt x="1377" y="467"/>
                      </a:lnTo>
                      <a:lnTo>
                        <a:pt x="1376" y="467"/>
                      </a:lnTo>
                      <a:lnTo>
                        <a:pt x="1377" y="467"/>
                      </a:lnTo>
                      <a:lnTo>
                        <a:pt x="1377" y="466"/>
                      </a:lnTo>
                      <a:lnTo>
                        <a:pt x="1378" y="466"/>
                      </a:lnTo>
                      <a:lnTo>
                        <a:pt x="1378" y="465"/>
                      </a:lnTo>
                      <a:lnTo>
                        <a:pt x="1377" y="465"/>
                      </a:lnTo>
                      <a:lnTo>
                        <a:pt x="1377" y="464"/>
                      </a:lnTo>
                      <a:lnTo>
                        <a:pt x="1378" y="464"/>
                      </a:lnTo>
                      <a:lnTo>
                        <a:pt x="1379" y="464"/>
                      </a:lnTo>
                      <a:lnTo>
                        <a:pt x="1379" y="463"/>
                      </a:lnTo>
                      <a:lnTo>
                        <a:pt x="1379" y="462"/>
                      </a:lnTo>
                      <a:lnTo>
                        <a:pt x="1379" y="461"/>
                      </a:lnTo>
                      <a:lnTo>
                        <a:pt x="1380" y="461"/>
                      </a:lnTo>
                      <a:lnTo>
                        <a:pt x="1381" y="459"/>
                      </a:lnTo>
                      <a:lnTo>
                        <a:pt x="1382" y="459"/>
                      </a:lnTo>
                      <a:lnTo>
                        <a:pt x="1381" y="460"/>
                      </a:lnTo>
                      <a:lnTo>
                        <a:pt x="1381" y="461"/>
                      </a:lnTo>
                      <a:lnTo>
                        <a:pt x="1382" y="463"/>
                      </a:lnTo>
                      <a:lnTo>
                        <a:pt x="1381" y="464"/>
                      </a:lnTo>
                      <a:close/>
                      <a:moveTo>
                        <a:pt x="1253" y="748"/>
                      </a:moveTo>
                      <a:lnTo>
                        <a:pt x="1253" y="749"/>
                      </a:lnTo>
                      <a:lnTo>
                        <a:pt x="1254" y="750"/>
                      </a:lnTo>
                      <a:lnTo>
                        <a:pt x="1254" y="751"/>
                      </a:lnTo>
                      <a:lnTo>
                        <a:pt x="1253" y="751"/>
                      </a:lnTo>
                      <a:lnTo>
                        <a:pt x="1252" y="751"/>
                      </a:lnTo>
                      <a:lnTo>
                        <a:pt x="1251" y="751"/>
                      </a:lnTo>
                      <a:lnTo>
                        <a:pt x="1252" y="752"/>
                      </a:lnTo>
                      <a:lnTo>
                        <a:pt x="1252" y="754"/>
                      </a:lnTo>
                      <a:lnTo>
                        <a:pt x="1253" y="754"/>
                      </a:lnTo>
                      <a:lnTo>
                        <a:pt x="1252" y="754"/>
                      </a:lnTo>
                      <a:lnTo>
                        <a:pt x="1251" y="754"/>
                      </a:lnTo>
                      <a:lnTo>
                        <a:pt x="1251" y="755"/>
                      </a:lnTo>
                      <a:lnTo>
                        <a:pt x="1250" y="755"/>
                      </a:lnTo>
                      <a:lnTo>
                        <a:pt x="1250" y="756"/>
                      </a:lnTo>
                      <a:lnTo>
                        <a:pt x="1249" y="756"/>
                      </a:lnTo>
                      <a:lnTo>
                        <a:pt x="1250" y="756"/>
                      </a:lnTo>
                      <a:lnTo>
                        <a:pt x="1249" y="757"/>
                      </a:lnTo>
                      <a:lnTo>
                        <a:pt x="1249" y="756"/>
                      </a:lnTo>
                      <a:lnTo>
                        <a:pt x="1248" y="755"/>
                      </a:lnTo>
                      <a:lnTo>
                        <a:pt x="1247" y="755"/>
                      </a:lnTo>
                      <a:lnTo>
                        <a:pt x="1246" y="754"/>
                      </a:lnTo>
                      <a:lnTo>
                        <a:pt x="1246" y="752"/>
                      </a:lnTo>
                      <a:lnTo>
                        <a:pt x="1245" y="752"/>
                      </a:lnTo>
                      <a:lnTo>
                        <a:pt x="1245" y="751"/>
                      </a:lnTo>
                      <a:lnTo>
                        <a:pt x="1245" y="752"/>
                      </a:lnTo>
                      <a:lnTo>
                        <a:pt x="1245" y="751"/>
                      </a:lnTo>
                      <a:lnTo>
                        <a:pt x="1246" y="751"/>
                      </a:lnTo>
                      <a:lnTo>
                        <a:pt x="1245" y="750"/>
                      </a:lnTo>
                      <a:lnTo>
                        <a:pt x="1246" y="750"/>
                      </a:lnTo>
                      <a:lnTo>
                        <a:pt x="1247" y="750"/>
                      </a:lnTo>
                      <a:lnTo>
                        <a:pt x="1248" y="750"/>
                      </a:lnTo>
                      <a:lnTo>
                        <a:pt x="1249" y="750"/>
                      </a:lnTo>
                      <a:lnTo>
                        <a:pt x="1250" y="750"/>
                      </a:lnTo>
                      <a:lnTo>
                        <a:pt x="1251" y="750"/>
                      </a:lnTo>
                      <a:lnTo>
                        <a:pt x="1251" y="749"/>
                      </a:lnTo>
                      <a:lnTo>
                        <a:pt x="1252" y="749"/>
                      </a:lnTo>
                      <a:lnTo>
                        <a:pt x="1252" y="750"/>
                      </a:lnTo>
                      <a:lnTo>
                        <a:pt x="1253" y="750"/>
                      </a:lnTo>
                      <a:lnTo>
                        <a:pt x="1252" y="750"/>
                      </a:lnTo>
                      <a:lnTo>
                        <a:pt x="1252" y="749"/>
                      </a:lnTo>
                      <a:lnTo>
                        <a:pt x="1251" y="749"/>
                      </a:lnTo>
                      <a:lnTo>
                        <a:pt x="1252" y="748"/>
                      </a:lnTo>
                      <a:lnTo>
                        <a:pt x="1253" y="748"/>
                      </a:lnTo>
                      <a:close/>
                      <a:moveTo>
                        <a:pt x="1390" y="502"/>
                      </a:moveTo>
                      <a:lnTo>
                        <a:pt x="1391" y="502"/>
                      </a:lnTo>
                      <a:lnTo>
                        <a:pt x="1391" y="503"/>
                      </a:lnTo>
                      <a:lnTo>
                        <a:pt x="1392" y="503"/>
                      </a:lnTo>
                      <a:lnTo>
                        <a:pt x="1392" y="504"/>
                      </a:lnTo>
                      <a:lnTo>
                        <a:pt x="1393" y="503"/>
                      </a:lnTo>
                      <a:lnTo>
                        <a:pt x="1393" y="504"/>
                      </a:lnTo>
                      <a:lnTo>
                        <a:pt x="1394" y="504"/>
                      </a:lnTo>
                      <a:lnTo>
                        <a:pt x="1394" y="505"/>
                      </a:lnTo>
                      <a:lnTo>
                        <a:pt x="1395" y="505"/>
                      </a:lnTo>
                      <a:lnTo>
                        <a:pt x="1395" y="506"/>
                      </a:lnTo>
                      <a:lnTo>
                        <a:pt x="1395" y="507"/>
                      </a:lnTo>
                      <a:lnTo>
                        <a:pt x="1396" y="507"/>
                      </a:lnTo>
                      <a:lnTo>
                        <a:pt x="1396" y="508"/>
                      </a:lnTo>
                      <a:lnTo>
                        <a:pt x="1396" y="507"/>
                      </a:lnTo>
                      <a:lnTo>
                        <a:pt x="1397" y="508"/>
                      </a:lnTo>
                      <a:lnTo>
                        <a:pt x="1396" y="508"/>
                      </a:lnTo>
                      <a:lnTo>
                        <a:pt x="1396" y="510"/>
                      </a:lnTo>
                      <a:lnTo>
                        <a:pt x="1396" y="508"/>
                      </a:lnTo>
                      <a:lnTo>
                        <a:pt x="1395" y="508"/>
                      </a:lnTo>
                      <a:lnTo>
                        <a:pt x="1395" y="507"/>
                      </a:lnTo>
                      <a:lnTo>
                        <a:pt x="1394" y="507"/>
                      </a:lnTo>
                      <a:lnTo>
                        <a:pt x="1394" y="506"/>
                      </a:lnTo>
                      <a:lnTo>
                        <a:pt x="1393" y="507"/>
                      </a:lnTo>
                      <a:lnTo>
                        <a:pt x="1393" y="506"/>
                      </a:lnTo>
                      <a:lnTo>
                        <a:pt x="1394" y="506"/>
                      </a:lnTo>
                      <a:lnTo>
                        <a:pt x="1393" y="506"/>
                      </a:lnTo>
                      <a:lnTo>
                        <a:pt x="1393" y="507"/>
                      </a:lnTo>
                      <a:lnTo>
                        <a:pt x="1393" y="508"/>
                      </a:lnTo>
                      <a:lnTo>
                        <a:pt x="1393" y="510"/>
                      </a:lnTo>
                      <a:lnTo>
                        <a:pt x="1392" y="510"/>
                      </a:lnTo>
                      <a:lnTo>
                        <a:pt x="1392" y="511"/>
                      </a:lnTo>
                      <a:lnTo>
                        <a:pt x="1392" y="512"/>
                      </a:lnTo>
                      <a:lnTo>
                        <a:pt x="1393" y="512"/>
                      </a:lnTo>
                      <a:lnTo>
                        <a:pt x="1392" y="513"/>
                      </a:lnTo>
                      <a:lnTo>
                        <a:pt x="1392" y="512"/>
                      </a:lnTo>
                      <a:lnTo>
                        <a:pt x="1391" y="512"/>
                      </a:lnTo>
                      <a:lnTo>
                        <a:pt x="1391" y="513"/>
                      </a:lnTo>
                      <a:lnTo>
                        <a:pt x="1390" y="513"/>
                      </a:lnTo>
                      <a:lnTo>
                        <a:pt x="1390" y="512"/>
                      </a:lnTo>
                      <a:lnTo>
                        <a:pt x="1390" y="511"/>
                      </a:lnTo>
                      <a:lnTo>
                        <a:pt x="1390" y="510"/>
                      </a:lnTo>
                      <a:lnTo>
                        <a:pt x="1389" y="510"/>
                      </a:lnTo>
                      <a:lnTo>
                        <a:pt x="1389" y="511"/>
                      </a:lnTo>
                      <a:lnTo>
                        <a:pt x="1389" y="510"/>
                      </a:lnTo>
                      <a:lnTo>
                        <a:pt x="1390" y="510"/>
                      </a:lnTo>
                      <a:lnTo>
                        <a:pt x="1389" y="510"/>
                      </a:lnTo>
                      <a:lnTo>
                        <a:pt x="1389" y="508"/>
                      </a:lnTo>
                      <a:lnTo>
                        <a:pt x="1388" y="508"/>
                      </a:lnTo>
                      <a:lnTo>
                        <a:pt x="1389" y="508"/>
                      </a:lnTo>
                      <a:lnTo>
                        <a:pt x="1389" y="507"/>
                      </a:lnTo>
                      <a:lnTo>
                        <a:pt x="1390" y="507"/>
                      </a:lnTo>
                      <a:lnTo>
                        <a:pt x="1390" y="506"/>
                      </a:lnTo>
                      <a:lnTo>
                        <a:pt x="1391" y="506"/>
                      </a:lnTo>
                      <a:lnTo>
                        <a:pt x="1390" y="506"/>
                      </a:lnTo>
                      <a:lnTo>
                        <a:pt x="1390" y="505"/>
                      </a:lnTo>
                      <a:lnTo>
                        <a:pt x="1390" y="504"/>
                      </a:lnTo>
                      <a:lnTo>
                        <a:pt x="1391" y="504"/>
                      </a:lnTo>
                      <a:lnTo>
                        <a:pt x="1391" y="503"/>
                      </a:lnTo>
                      <a:lnTo>
                        <a:pt x="1390" y="503"/>
                      </a:lnTo>
                      <a:lnTo>
                        <a:pt x="1390" y="502"/>
                      </a:lnTo>
                      <a:lnTo>
                        <a:pt x="1389" y="502"/>
                      </a:lnTo>
                      <a:lnTo>
                        <a:pt x="1390" y="502"/>
                      </a:lnTo>
                      <a:close/>
                      <a:moveTo>
                        <a:pt x="1335" y="678"/>
                      </a:moveTo>
                      <a:lnTo>
                        <a:pt x="1335" y="677"/>
                      </a:lnTo>
                      <a:lnTo>
                        <a:pt x="1336" y="677"/>
                      </a:lnTo>
                      <a:lnTo>
                        <a:pt x="1337" y="677"/>
                      </a:lnTo>
                      <a:lnTo>
                        <a:pt x="1338" y="677"/>
                      </a:lnTo>
                      <a:lnTo>
                        <a:pt x="1340" y="677"/>
                      </a:lnTo>
                      <a:lnTo>
                        <a:pt x="1340" y="678"/>
                      </a:lnTo>
                      <a:lnTo>
                        <a:pt x="1341" y="678"/>
                      </a:lnTo>
                      <a:lnTo>
                        <a:pt x="1341" y="679"/>
                      </a:lnTo>
                      <a:lnTo>
                        <a:pt x="1341" y="680"/>
                      </a:lnTo>
                      <a:lnTo>
                        <a:pt x="1340" y="680"/>
                      </a:lnTo>
                      <a:lnTo>
                        <a:pt x="1339" y="680"/>
                      </a:lnTo>
                      <a:lnTo>
                        <a:pt x="1338" y="680"/>
                      </a:lnTo>
                      <a:lnTo>
                        <a:pt x="1337" y="680"/>
                      </a:lnTo>
                      <a:lnTo>
                        <a:pt x="1336" y="680"/>
                      </a:lnTo>
                      <a:lnTo>
                        <a:pt x="1336" y="681"/>
                      </a:lnTo>
                      <a:lnTo>
                        <a:pt x="1335" y="680"/>
                      </a:lnTo>
                      <a:lnTo>
                        <a:pt x="1335" y="679"/>
                      </a:lnTo>
                      <a:lnTo>
                        <a:pt x="1334" y="678"/>
                      </a:lnTo>
                      <a:lnTo>
                        <a:pt x="1332" y="678"/>
                      </a:lnTo>
                      <a:lnTo>
                        <a:pt x="1331" y="678"/>
                      </a:lnTo>
                      <a:lnTo>
                        <a:pt x="1330" y="678"/>
                      </a:lnTo>
                      <a:lnTo>
                        <a:pt x="1329" y="678"/>
                      </a:lnTo>
                      <a:lnTo>
                        <a:pt x="1329" y="677"/>
                      </a:lnTo>
                      <a:lnTo>
                        <a:pt x="1329" y="675"/>
                      </a:lnTo>
                      <a:lnTo>
                        <a:pt x="1328" y="674"/>
                      </a:lnTo>
                      <a:lnTo>
                        <a:pt x="1328" y="673"/>
                      </a:lnTo>
                      <a:lnTo>
                        <a:pt x="1327" y="673"/>
                      </a:lnTo>
                      <a:lnTo>
                        <a:pt x="1328" y="673"/>
                      </a:lnTo>
                      <a:lnTo>
                        <a:pt x="1332" y="675"/>
                      </a:lnTo>
                      <a:lnTo>
                        <a:pt x="1335" y="677"/>
                      </a:lnTo>
                      <a:lnTo>
                        <a:pt x="1335" y="678"/>
                      </a:lnTo>
                      <a:close/>
                      <a:moveTo>
                        <a:pt x="1304" y="559"/>
                      </a:moveTo>
                      <a:lnTo>
                        <a:pt x="1305" y="559"/>
                      </a:lnTo>
                      <a:lnTo>
                        <a:pt x="1306" y="560"/>
                      </a:lnTo>
                      <a:lnTo>
                        <a:pt x="1306" y="562"/>
                      </a:lnTo>
                      <a:lnTo>
                        <a:pt x="1305" y="562"/>
                      </a:lnTo>
                      <a:lnTo>
                        <a:pt x="1306" y="562"/>
                      </a:lnTo>
                      <a:lnTo>
                        <a:pt x="1306" y="563"/>
                      </a:lnTo>
                      <a:lnTo>
                        <a:pt x="1306" y="564"/>
                      </a:lnTo>
                      <a:lnTo>
                        <a:pt x="1305" y="564"/>
                      </a:lnTo>
                      <a:lnTo>
                        <a:pt x="1305" y="565"/>
                      </a:lnTo>
                      <a:lnTo>
                        <a:pt x="1304" y="565"/>
                      </a:lnTo>
                      <a:lnTo>
                        <a:pt x="1304" y="566"/>
                      </a:lnTo>
                      <a:lnTo>
                        <a:pt x="1304" y="567"/>
                      </a:lnTo>
                      <a:lnTo>
                        <a:pt x="1303" y="567"/>
                      </a:lnTo>
                      <a:lnTo>
                        <a:pt x="1302" y="567"/>
                      </a:lnTo>
                      <a:lnTo>
                        <a:pt x="1301" y="567"/>
                      </a:lnTo>
                      <a:lnTo>
                        <a:pt x="1301" y="566"/>
                      </a:lnTo>
                      <a:lnTo>
                        <a:pt x="1300" y="565"/>
                      </a:lnTo>
                      <a:lnTo>
                        <a:pt x="1301" y="565"/>
                      </a:lnTo>
                      <a:lnTo>
                        <a:pt x="1301" y="564"/>
                      </a:lnTo>
                      <a:lnTo>
                        <a:pt x="1302" y="564"/>
                      </a:lnTo>
                      <a:lnTo>
                        <a:pt x="1302" y="563"/>
                      </a:lnTo>
                      <a:lnTo>
                        <a:pt x="1301" y="563"/>
                      </a:lnTo>
                      <a:lnTo>
                        <a:pt x="1301" y="562"/>
                      </a:lnTo>
                      <a:lnTo>
                        <a:pt x="1302" y="562"/>
                      </a:lnTo>
                      <a:lnTo>
                        <a:pt x="1302" y="560"/>
                      </a:lnTo>
                      <a:lnTo>
                        <a:pt x="1302" y="559"/>
                      </a:lnTo>
                      <a:lnTo>
                        <a:pt x="1303" y="559"/>
                      </a:lnTo>
                      <a:lnTo>
                        <a:pt x="1302" y="559"/>
                      </a:lnTo>
                      <a:lnTo>
                        <a:pt x="1303" y="559"/>
                      </a:lnTo>
                      <a:lnTo>
                        <a:pt x="1303" y="558"/>
                      </a:lnTo>
                      <a:lnTo>
                        <a:pt x="1303" y="557"/>
                      </a:lnTo>
                      <a:lnTo>
                        <a:pt x="1304" y="557"/>
                      </a:lnTo>
                      <a:lnTo>
                        <a:pt x="1304" y="558"/>
                      </a:lnTo>
                      <a:lnTo>
                        <a:pt x="1304" y="559"/>
                      </a:lnTo>
                      <a:close/>
                      <a:moveTo>
                        <a:pt x="1377" y="537"/>
                      </a:moveTo>
                      <a:lnTo>
                        <a:pt x="1377" y="538"/>
                      </a:lnTo>
                      <a:lnTo>
                        <a:pt x="1376" y="538"/>
                      </a:lnTo>
                      <a:lnTo>
                        <a:pt x="1376" y="539"/>
                      </a:lnTo>
                      <a:lnTo>
                        <a:pt x="1375" y="539"/>
                      </a:lnTo>
                      <a:lnTo>
                        <a:pt x="1374" y="539"/>
                      </a:lnTo>
                      <a:lnTo>
                        <a:pt x="1374" y="540"/>
                      </a:lnTo>
                      <a:lnTo>
                        <a:pt x="1373" y="540"/>
                      </a:lnTo>
                      <a:lnTo>
                        <a:pt x="1373" y="541"/>
                      </a:lnTo>
                      <a:lnTo>
                        <a:pt x="1373" y="542"/>
                      </a:lnTo>
                      <a:lnTo>
                        <a:pt x="1371" y="542"/>
                      </a:lnTo>
                      <a:lnTo>
                        <a:pt x="1371" y="543"/>
                      </a:lnTo>
                      <a:lnTo>
                        <a:pt x="1370" y="543"/>
                      </a:lnTo>
                      <a:lnTo>
                        <a:pt x="1370" y="544"/>
                      </a:lnTo>
                      <a:lnTo>
                        <a:pt x="1369" y="544"/>
                      </a:lnTo>
                      <a:lnTo>
                        <a:pt x="1368" y="545"/>
                      </a:lnTo>
                      <a:lnTo>
                        <a:pt x="1368" y="546"/>
                      </a:lnTo>
                      <a:lnTo>
                        <a:pt x="1368" y="547"/>
                      </a:lnTo>
                      <a:lnTo>
                        <a:pt x="1368" y="549"/>
                      </a:lnTo>
                      <a:lnTo>
                        <a:pt x="1367" y="549"/>
                      </a:lnTo>
                      <a:lnTo>
                        <a:pt x="1368" y="549"/>
                      </a:lnTo>
                      <a:lnTo>
                        <a:pt x="1368" y="547"/>
                      </a:lnTo>
                      <a:lnTo>
                        <a:pt x="1367" y="546"/>
                      </a:lnTo>
                      <a:lnTo>
                        <a:pt x="1366" y="546"/>
                      </a:lnTo>
                      <a:lnTo>
                        <a:pt x="1366" y="547"/>
                      </a:lnTo>
                      <a:lnTo>
                        <a:pt x="1366" y="549"/>
                      </a:lnTo>
                      <a:lnTo>
                        <a:pt x="1365" y="549"/>
                      </a:lnTo>
                      <a:lnTo>
                        <a:pt x="1366" y="549"/>
                      </a:lnTo>
                      <a:lnTo>
                        <a:pt x="1366" y="547"/>
                      </a:lnTo>
                      <a:lnTo>
                        <a:pt x="1365" y="547"/>
                      </a:lnTo>
                      <a:lnTo>
                        <a:pt x="1365" y="546"/>
                      </a:lnTo>
                      <a:lnTo>
                        <a:pt x="1365" y="547"/>
                      </a:lnTo>
                      <a:lnTo>
                        <a:pt x="1364" y="547"/>
                      </a:lnTo>
                      <a:lnTo>
                        <a:pt x="1363" y="549"/>
                      </a:lnTo>
                      <a:lnTo>
                        <a:pt x="1363" y="547"/>
                      </a:lnTo>
                      <a:lnTo>
                        <a:pt x="1364" y="547"/>
                      </a:lnTo>
                      <a:lnTo>
                        <a:pt x="1364" y="546"/>
                      </a:lnTo>
                      <a:lnTo>
                        <a:pt x="1364" y="547"/>
                      </a:lnTo>
                      <a:lnTo>
                        <a:pt x="1363" y="547"/>
                      </a:lnTo>
                      <a:lnTo>
                        <a:pt x="1362" y="547"/>
                      </a:lnTo>
                      <a:lnTo>
                        <a:pt x="1361" y="549"/>
                      </a:lnTo>
                      <a:lnTo>
                        <a:pt x="1360" y="549"/>
                      </a:lnTo>
                      <a:lnTo>
                        <a:pt x="1360" y="550"/>
                      </a:lnTo>
                      <a:lnTo>
                        <a:pt x="1361" y="550"/>
                      </a:lnTo>
                      <a:lnTo>
                        <a:pt x="1360" y="550"/>
                      </a:lnTo>
                      <a:lnTo>
                        <a:pt x="1360" y="551"/>
                      </a:lnTo>
                      <a:lnTo>
                        <a:pt x="1358" y="551"/>
                      </a:lnTo>
                      <a:lnTo>
                        <a:pt x="1358" y="550"/>
                      </a:lnTo>
                      <a:lnTo>
                        <a:pt x="1360" y="550"/>
                      </a:lnTo>
                      <a:lnTo>
                        <a:pt x="1360" y="549"/>
                      </a:lnTo>
                      <a:lnTo>
                        <a:pt x="1360" y="547"/>
                      </a:lnTo>
                      <a:lnTo>
                        <a:pt x="1361" y="547"/>
                      </a:lnTo>
                      <a:lnTo>
                        <a:pt x="1362" y="547"/>
                      </a:lnTo>
                      <a:lnTo>
                        <a:pt x="1362" y="546"/>
                      </a:lnTo>
                      <a:lnTo>
                        <a:pt x="1363" y="546"/>
                      </a:lnTo>
                      <a:lnTo>
                        <a:pt x="1364" y="546"/>
                      </a:lnTo>
                      <a:lnTo>
                        <a:pt x="1365" y="546"/>
                      </a:lnTo>
                      <a:lnTo>
                        <a:pt x="1365" y="545"/>
                      </a:lnTo>
                      <a:lnTo>
                        <a:pt x="1365" y="544"/>
                      </a:lnTo>
                      <a:lnTo>
                        <a:pt x="1366" y="544"/>
                      </a:lnTo>
                      <a:lnTo>
                        <a:pt x="1365" y="544"/>
                      </a:lnTo>
                      <a:lnTo>
                        <a:pt x="1366" y="543"/>
                      </a:lnTo>
                      <a:lnTo>
                        <a:pt x="1367" y="543"/>
                      </a:lnTo>
                      <a:lnTo>
                        <a:pt x="1367" y="542"/>
                      </a:lnTo>
                      <a:lnTo>
                        <a:pt x="1368" y="542"/>
                      </a:lnTo>
                      <a:lnTo>
                        <a:pt x="1368" y="543"/>
                      </a:lnTo>
                      <a:lnTo>
                        <a:pt x="1369" y="543"/>
                      </a:lnTo>
                      <a:lnTo>
                        <a:pt x="1369" y="542"/>
                      </a:lnTo>
                      <a:lnTo>
                        <a:pt x="1370" y="542"/>
                      </a:lnTo>
                      <a:lnTo>
                        <a:pt x="1371" y="541"/>
                      </a:lnTo>
                      <a:lnTo>
                        <a:pt x="1371" y="540"/>
                      </a:lnTo>
                      <a:lnTo>
                        <a:pt x="1371" y="541"/>
                      </a:lnTo>
                      <a:lnTo>
                        <a:pt x="1370" y="541"/>
                      </a:lnTo>
                      <a:lnTo>
                        <a:pt x="1370" y="540"/>
                      </a:lnTo>
                      <a:lnTo>
                        <a:pt x="1371" y="540"/>
                      </a:lnTo>
                      <a:lnTo>
                        <a:pt x="1373" y="540"/>
                      </a:lnTo>
                      <a:lnTo>
                        <a:pt x="1373" y="539"/>
                      </a:lnTo>
                      <a:lnTo>
                        <a:pt x="1374" y="539"/>
                      </a:lnTo>
                      <a:lnTo>
                        <a:pt x="1375" y="539"/>
                      </a:lnTo>
                      <a:lnTo>
                        <a:pt x="1375" y="538"/>
                      </a:lnTo>
                      <a:lnTo>
                        <a:pt x="1376" y="538"/>
                      </a:lnTo>
                      <a:lnTo>
                        <a:pt x="1376" y="537"/>
                      </a:lnTo>
                      <a:lnTo>
                        <a:pt x="1377" y="537"/>
                      </a:lnTo>
                      <a:close/>
                      <a:moveTo>
                        <a:pt x="1339" y="572"/>
                      </a:moveTo>
                      <a:lnTo>
                        <a:pt x="1339" y="574"/>
                      </a:lnTo>
                      <a:lnTo>
                        <a:pt x="1338" y="575"/>
                      </a:lnTo>
                      <a:lnTo>
                        <a:pt x="1338" y="574"/>
                      </a:lnTo>
                      <a:lnTo>
                        <a:pt x="1337" y="574"/>
                      </a:lnTo>
                      <a:lnTo>
                        <a:pt x="1336" y="574"/>
                      </a:lnTo>
                      <a:lnTo>
                        <a:pt x="1335" y="575"/>
                      </a:lnTo>
                      <a:lnTo>
                        <a:pt x="1334" y="575"/>
                      </a:lnTo>
                      <a:lnTo>
                        <a:pt x="1334" y="576"/>
                      </a:lnTo>
                      <a:lnTo>
                        <a:pt x="1332" y="576"/>
                      </a:lnTo>
                      <a:lnTo>
                        <a:pt x="1331" y="576"/>
                      </a:lnTo>
                      <a:lnTo>
                        <a:pt x="1330" y="577"/>
                      </a:lnTo>
                      <a:lnTo>
                        <a:pt x="1330" y="578"/>
                      </a:lnTo>
                      <a:lnTo>
                        <a:pt x="1329" y="578"/>
                      </a:lnTo>
                      <a:lnTo>
                        <a:pt x="1329" y="579"/>
                      </a:lnTo>
                      <a:lnTo>
                        <a:pt x="1328" y="579"/>
                      </a:lnTo>
                      <a:lnTo>
                        <a:pt x="1328" y="580"/>
                      </a:lnTo>
                      <a:lnTo>
                        <a:pt x="1327" y="580"/>
                      </a:lnTo>
                      <a:lnTo>
                        <a:pt x="1326" y="580"/>
                      </a:lnTo>
                      <a:lnTo>
                        <a:pt x="1327" y="579"/>
                      </a:lnTo>
                      <a:lnTo>
                        <a:pt x="1327" y="578"/>
                      </a:lnTo>
                      <a:lnTo>
                        <a:pt x="1327" y="577"/>
                      </a:lnTo>
                      <a:lnTo>
                        <a:pt x="1328" y="577"/>
                      </a:lnTo>
                      <a:lnTo>
                        <a:pt x="1329" y="576"/>
                      </a:lnTo>
                      <a:lnTo>
                        <a:pt x="1330" y="576"/>
                      </a:lnTo>
                      <a:lnTo>
                        <a:pt x="1330" y="575"/>
                      </a:lnTo>
                      <a:lnTo>
                        <a:pt x="1331" y="575"/>
                      </a:lnTo>
                      <a:lnTo>
                        <a:pt x="1332" y="574"/>
                      </a:lnTo>
                      <a:lnTo>
                        <a:pt x="1332" y="572"/>
                      </a:lnTo>
                      <a:lnTo>
                        <a:pt x="1334" y="572"/>
                      </a:lnTo>
                      <a:lnTo>
                        <a:pt x="1335" y="572"/>
                      </a:lnTo>
                      <a:lnTo>
                        <a:pt x="1335" y="571"/>
                      </a:lnTo>
                      <a:lnTo>
                        <a:pt x="1336" y="571"/>
                      </a:lnTo>
                      <a:lnTo>
                        <a:pt x="1336" y="572"/>
                      </a:lnTo>
                      <a:lnTo>
                        <a:pt x="1337" y="572"/>
                      </a:lnTo>
                      <a:lnTo>
                        <a:pt x="1338" y="572"/>
                      </a:lnTo>
                      <a:lnTo>
                        <a:pt x="1338" y="571"/>
                      </a:lnTo>
                      <a:lnTo>
                        <a:pt x="1339" y="570"/>
                      </a:lnTo>
                      <a:lnTo>
                        <a:pt x="1340" y="570"/>
                      </a:lnTo>
                      <a:lnTo>
                        <a:pt x="1339" y="570"/>
                      </a:lnTo>
                      <a:lnTo>
                        <a:pt x="1339" y="571"/>
                      </a:lnTo>
                      <a:lnTo>
                        <a:pt x="1339" y="572"/>
                      </a:lnTo>
                      <a:close/>
                      <a:moveTo>
                        <a:pt x="1239" y="649"/>
                      </a:moveTo>
                      <a:lnTo>
                        <a:pt x="1240" y="649"/>
                      </a:lnTo>
                      <a:lnTo>
                        <a:pt x="1240" y="650"/>
                      </a:lnTo>
                      <a:lnTo>
                        <a:pt x="1240" y="649"/>
                      </a:lnTo>
                      <a:lnTo>
                        <a:pt x="1240" y="650"/>
                      </a:lnTo>
                      <a:lnTo>
                        <a:pt x="1241" y="650"/>
                      </a:lnTo>
                      <a:lnTo>
                        <a:pt x="1241" y="652"/>
                      </a:lnTo>
                      <a:lnTo>
                        <a:pt x="1242" y="652"/>
                      </a:lnTo>
                      <a:lnTo>
                        <a:pt x="1242" y="653"/>
                      </a:lnTo>
                      <a:lnTo>
                        <a:pt x="1244" y="653"/>
                      </a:lnTo>
                      <a:lnTo>
                        <a:pt x="1245" y="653"/>
                      </a:lnTo>
                      <a:lnTo>
                        <a:pt x="1246" y="653"/>
                      </a:lnTo>
                      <a:lnTo>
                        <a:pt x="1247" y="653"/>
                      </a:lnTo>
                      <a:lnTo>
                        <a:pt x="1247" y="654"/>
                      </a:lnTo>
                      <a:lnTo>
                        <a:pt x="1248" y="654"/>
                      </a:lnTo>
                      <a:lnTo>
                        <a:pt x="1248" y="655"/>
                      </a:lnTo>
                      <a:lnTo>
                        <a:pt x="1249" y="656"/>
                      </a:lnTo>
                      <a:lnTo>
                        <a:pt x="1249" y="657"/>
                      </a:lnTo>
                      <a:lnTo>
                        <a:pt x="1248" y="656"/>
                      </a:lnTo>
                      <a:lnTo>
                        <a:pt x="1248" y="655"/>
                      </a:lnTo>
                      <a:lnTo>
                        <a:pt x="1247" y="655"/>
                      </a:lnTo>
                      <a:lnTo>
                        <a:pt x="1247" y="656"/>
                      </a:lnTo>
                      <a:lnTo>
                        <a:pt x="1246" y="655"/>
                      </a:lnTo>
                      <a:lnTo>
                        <a:pt x="1245" y="656"/>
                      </a:lnTo>
                      <a:lnTo>
                        <a:pt x="1245" y="655"/>
                      </a:lnTo>
                      <a:lnTo>
                        <a:pt x="1244" y="655"/>
                      </a:lnTo>
                      <a:lnTo>
                        <a:pt x="1242" y="655"/>
                      </a:lnTo>
                      <a:lnTo>
                        <a:pt x="1242" y="654"/>
                      </a:lnTo>
                      <a:lnTo>
                        <a:pt x="1242" y="655"/>
                      </a:lnTo>
                      <a:lnTo>
                        <a:pt x="1241" y="655"/>
                      </a:lnTo>
                      <a:lnTo>
                        <a:pt x="1241" y="654"/>
                      </a:lnTo>
                      <a:lnTo>
                        <a:pt x="1240" y="655"/>
                      </a:lnTo>
                      <a:lnTo>
                        <a:pt x="1240" y="654"/>
                      </a:lnTo>
                      <a:lnTo>
                        <a:pt x="1240" y="655"/>
                      </a:lnTo>
                      <a:lnTo>
                        <a:pt x="1239" y="654"/>
                      </a:lnTo>
                      <a:lnTo>
                        <a:pt x="1239" y="655"/>
                      </a:lnTo>
                      <a:lnTo>
                        <a:pt x="1239" y="654"/>
                      </a:lnTo>
                      <a:lnTo>
                        <a:pt x="1238" y="654"/>
                      </a:lnTo>
                      <a:lnTo>
                        <a:pt x="1239" y="654"/>
                      </a:lnTo>
                      <a:lnTo>
                        <a:pt x="1239" y="653"/>
                      </a:lnTo>
                      <a:lnTo>
                        <a:pt x="1239" y="652"/>
                      </a:lnTo>
                      <a:lnTo>
                        <a:pt x="1238" y="650"/>
                      </a:lnTo>
                      <a:lnTo>
                        <a:pt x="1239" y="650"/>
                      </a:lnTo>
                      <a:lnTo>
                        <a:pt x="1238" y="650"/>
                      </a:lnTo>
                      <a:lnTo>
                        <a:pt x="1238" y="649"/>
                      </a:lnTo>
                      <a:lnTo>
                        <a:pt x="1239" y="649"/>
                      </a:lnTo>
                      <a:close/>
                      <a:moveTo>
                        <a:pt x="1292" y="500"/>
                      </a:moveTo>
                      <a:lnTo>
                        <a:pt x="1291" y="501"/>
                      </a:lnTo>
                      <a:lnTo>
                        <a:pt x="1291" y="502"/>
                      </a:lnTo>
                      <a:lnTo>
                        <a:pt x="1292" y="502"/>
                      </a:lnTo>
                      <a:lnTo>
                        <a:pt x="1292" y="503"/>
                      </a:lnTo>
                      <a:lnTo>
                        <a:pt x="1293" y="503"/>
                      </a:lnTo>
                      <a:lnTo>
                        <a:pt x="1295" y="504"/>
                      </a:lnTo>
                      <a:lnTo>
                        <a:pt x="1296" y="504"/>
                      </a:lnTo>
                      <a:lnTo>
                        <a:pt x="1297" y="504"/>
                      </a:lnTo>
                      <a:lnTo>
                        <a:pt x="1297" y="503"/>
                      </a:lnTo>
                      <a:lnTo>
                        <a:pt x="1298" y="504"/>
                      </a:lnTo>
                      <a:lnTo>
                        <a:pt x="1299" y="504"/>
                      </a:lnTo>
                      <a:lnTo>
                        <a:pt x="1299" y="505"/>
                      </a:lnTo>
                      <a:lnTo>
                        <a:pt x="1298" y="505"/>
                      </a:lnTo>
                      <a:lnTo>
                        <a:pt x="1298" y="506"/>
                      </a:lnTo>
                      <a:lnTo>
                        <a:pt x="1297" y="506"/>
                      </a:lnTo>
                      <a:lnTo>
                        <a:pt x="1297" y="505"/>
                      </a:lnTo>
                      <a:lnTo>
                        <a:pt x="1297" y="506"/>
                      </a:lnTo>
                      <a:lnTo>
                        <a:pt x="1296" y="506"/>
                      </a:lnTo>
                      <a:lnTo>
                        <a:pt x="1296" y="505"/>
                      </a:lnTo>
                      <a:lnTo>
                        <a:pt x="1295" y="505"/>
                      </a:lnTo>
                      <a:lnTo>
                        <a:pt x="1293" y="505"/>
                      </a:lnTo>
                      <a:lnTo>
                        <a:pt x="1292" y="505"/>
                      </a:lnTo>
                      <a:lnTo>
                        <a:pt x="1292" y="506"/>
                      </a:lnTo>
                      <a:lnTo>
                        <a:pt x="1291" y="506"/>
                      </a:lnTo>
                      <a:lnTo>
                        <a:pt x="1291" y="507"/>
                      </a:lnTo>
                      <a:lnTo>
                        <a:pt x="1290" y="507"/>
                      </a:lnTo>
                      <a:lnTo>
                        <a:pt x="1290" y="506"/>
                      </a:lnTo>
                      <a:lnTo>
                        <a:pt x="1289" y="506"/>
                      </a:lnTo>
                      <a:lnTo>
                        <a:pt x="1289" y="505"/>
                      </a:lnTo>
                      <a:lnTo>
                        <a:pt x="1289" y="504"/>
                      </a:lnTo>
                      <a:lnTo>
                        <a:pt x="1289" y="503"/>
                      </a:lnTo>
                      <a:lnTo>
                        <a:pt x="1290" y="503"/>
                      </a:lnTo>
                      <a:lnTo>
                        <a:pt x="1291" y="503"/>
                      </a:lnTo>
                      <a:lnTo>
                        <a:pt x="1291" y="502"/>
                      </a:lnTo>
                      <a:lnTo>
                        <a:pt x="1291" y="501"/>
                      </a:lnTo>
                      <a:lnTo>
                        <a:pt x="1290" y="501"/>
                      </a:lnTo>
                      <a:lnTo>
                        <a:pt x="1289" y="501"/>
                      </a:lnTo>
                      <a:lnTo>
                        <a:pt x="1290" y="501"/>
                      </a:lnTo>
                      <a:lnTo>
                        <a:pt x="1290" y="500"/>
                      </a:lnTo>
                      <a:lnTo>
                        <a:pt x="1291" y="500"/>
                      </a:lnTo>
                      <a:lnTo>
                        <a:pt x="1292" y="500"/>
                      </a:lnTo>
                      <a:close/>
                      <a:moveTo>
                        <a:pt x="1246" y="734"/>
                      </a:moveTo>
                      <a:lnTo>
                        <a:pt x="1246" y="736"/>
                      </a:lnTo>
                      <a:lnTo>
                        <a:pt x="1247" y="737"/>
                      </a:lnTo>
                      <a:lnTo>
                        <a:pt x="1247" y="738"/>
                      </a:lnTo>
                      <a:lnTo>
                        <a:pt x="1248" y="738"/>
                      </a:lnTo>
                      <a:lnTo>
                        <a:pt x="1248" y="739"/>
                      </a:lnTo>
                      <a:lnTo>
                        <a:pt x="1249" y="739"/>
                      </a:lnTo>
                      <a:lnTo>
                        <a:pt x="1249" y="741"/>
                      </a:lnTo>
                      <a:lnTo>
                        <a:pt x="1250" y="741"/>
                      </a:lnTo>
                      <a:lnTo>
                        <a:pt x="1250" y="742"/>
                      </a:lnTo>
                      <a:lnTo>
                        <a:pt x="1250" y="743"/>
                      </a:lnTo>
                      <a:lnTo>
                        <a:pt x="1249" y="743"/>
                      </a:lnTo>
                      <a:lnTo>
                        <a:pt x="1248" y="743"/>
                      </a:lnTo>
                      <a:lnTo>
                        <a:pt x="1247" y="744"/>
                      </a:lnTo>
                      <a:lnTo>
                        <a:pt x="1247" y="745"/>
                      </a:lnTo>
                      <a:lnTo>
                        <a:pt x="1247" y="746"/>
                      </a:lnTo>
                      <a:lnTo>
                        <a:pt x="1247" y="747"/>
                      </a:lnTo>
                      <a:lnTo>
                        <a:pt x="1247" y="748"/>
                      </a:lnTo>
                      <a:lnTo>
                        <a:pt x="1247" y="747"/>
                      </a:lnTo>
                      <a:lnTo>
                        <a:pt x="1246" y="747"/>
                      </a:lnTo>
                      <a:lnTo>
                        <a:pt x="1247" y="747"/>
                      </a:lnTo>
                      <a:lnTo>
                        <a:pt x="1246" y="747"/>
                      </a:lnTo>
                      <a:lnTo>
                        <a:pt x="1246" y="746"/>
                      </a:lnTo>
                      <a:lnTo>
                        <a:pt x="1245" y="745"/>
                      </a:lnTo>
                      <a:lnTo>
                        <a:pt x="1245" y="744"/>
                      </a:lnTo>
                      <a:lnTo>
                        <a:pt x="1244" y="744"/>
                      </a:lnTo>
                      <a:lnTo>
                        <a:pt x="1244" y="743"/>
                      </a:lnTo>
                      <a:lnTo>
                        <a:pt x="1244" y="742"/>
                      </a:lnTo>
                      <a:lnTo>
                        <a:pt x="1245" y="742"/>
                      </a:lnTo>
                      <a:lnTo>
                        <a:pt x="1246" y="741"/>
                      </a:lnTo>
                      <a:lnTo>
                        <a:pt x="1247" y="741"/>
                      </a:lnTo>
                      <a:lnTo>
                        <a:pt x="1247" y="739"/>
                      </a:lnTo>
                      <a:lnTo>
                        <a:pt x="1247" y="741"/>
                      </a:lnTo>
                      <a:lnTo>
                        <a:pt x="1247" y="739"/>
                      </a:lnTo>
                      <a:lnTo>
                        <a:pt x="1247" y="738"/>
                      </a:lnTo>
                      <a:lnTo>
                        <a:pt x="1246" y="738"/>
                      </a:lnTo>
                      <a:lnTo>
                        <a:pt x="1246" y="737"/>
                      </a:lnTo>
                      <a:lnTo>
                        <a:pt x="1245" y="736"/>
                      </a:lnTo>
                      <a:lnTo>
                        <a:pt x="1245" y="735"/>
                      </a:lnTo>
                      <a:lnTo>
                        <a:pt x="1246" y="735"/>
                      </a:lnTo>
                      <a:lnTo>
                        <a:pt x="1246" y="734"/>
                      </a:lnTo>
                      <a:lnTo>
                        <a:pt x="1245" y="734"/>
                      </a:lnTo>
                      <a:lnTo>
                        <a:pt x="1244" y="734"/>
                      </a:lnTo>
                      <a:lnTo>
                        <a:pt x="1245" y="734"/>
                      </a:lnTo>
                      <a:lnTo>
                        <a:pt x="1246" y="734"/>
                      </a:lnTo>
                      <a:close/>
                      <a:moveTo>
                        <a:pt x="1317" y="613"/>
                      </a:moveTo>
                      <a:lnTo>
                        <a:pt x="1318" y="613"/>
                      </a:lnTo>
                      <a:lnTo>
                        <a:pt x="1319" y="613"/>
                      </a:lnTo>
                      <a:lnTo>
                        <a:pt x="1319" y="614"/>
                      </a:lnTo>
                      <a:lnTo>
                        <a:pt x="1321" y="614"/>
                      </a:lnTo>
                      <a:lnTo>
                        <a:pt x="1319" y="614"/>
                      </a:lnTo>
                      <a:lnTo>
                        <a:pt x="1319" y="615"/>
                      </a:lnTo>
                      <a:lnTo>
                        <a:pt x="1321" y="615"/>
                      </a:lnTo>
                      <a:lnTo>
                        <a:pt x="1319" y="615"/>
                      </a:lnTo>
                      <a:lnTo>
                        <a:pt x="1321" y="615"/>
                      </a:lnTo>
                      <a:lnTo>
                        <a:pt x="1321" y="616"/>
                      </a:lnTo>
                      <a:lnTo>
                        <a:pt x="1321" y="615"/>
                      </a:lnTo>
                      <a:lnTo>
                        <a:pt x="1321" y="614"/>
                      </a:lnTo>
                      <a:lnTo>
                        <a:pt x="1321" y="613"/>
                      </a:lnTo>
                      <a:lnTo>
                        <a:pt x="1321" y="614"/>
                      </a:lnTo>
                      <a:lnTo>
                        <a:pt x="1322" y="614"/>
                      </a:lnTo>
                      <a:lnTo>
                        <a:pt x="1323" y="615"/>
                      </a:lnTo>
                      <a:lnTo>
                        <a:pt x="1324" y="614"/>
                      </a:lnTo>
                      <a:lnTo>
                        <a:pt x="1325" y="614"/>
                      </a:lnTo>
                      <a:lnTo>
                        <a:pt x="1326" y="614"/>
                      </a:lnTo>
                      <a:lnTo>
                        <a:pt x="1326" y="615"/>
                      </a:lnTo>
                      <a:lnTo>
                        <a:pt x="1325" y="615"/>
                      </a:lnTo>
                      <a:lnTo>
                        <a:pt x="1325" y="616"/>
                      </a:lnTo>
                      <a:lnTo>
                        <a:pt x="1324" y="616"/>
                      </a:lnTo>
                      <a:lnTo>
                        <a:pt x="1324" y="615"/>
                      </a:lnTo>
                      <a:lnTo>
                        <a:pt x="1324" y="616"/>
                      </a:lnTo>
                      <a:lnTo>
                        <a:pt x="1323" y="616"/>
                      </a:lnTo>
                      <a:lnTo>
                        <a:pt x="1323" y="617"/>
                      </a:lnTo>
                      <a:lnTo>
                        <a:pt x="1322" y="617"/>
                      </a:lnTo>
                      <a:lnTo>
                        <a:pt x="1321" y="617"/>
                      </a:lnTo>
                      <a:lnTo>
                        <a:pt x="1321" y="616"/>
                      </a:lnTo>
                      <a:lnTo>
                        <a:pt x="1319" y="616"/>
                      </a:lnTo>
                      <a:lnTo>
                        <a:pt x="1319" y="615"/>
                      </a:lnTo>
                      <a:lnTo>
                        <a:pt x="1318" y="614"/>
                      </a:lnTo>
                      <a:lnTo>
                        <a:pt x="1318" y="615"/>
                      </a:lnTo>
                      <a:lnTo>
                        <a:pt x="1317" y="615"/>
                      </a:lnTo>
                      <a:lnTo>
                        <a:pt x="1317" y="614"/>
                      </a:lnTo>
                      <a:lnTo>
                        <a:pt x="1316" y="614"/>
                      </a:lnTo>
                      <a:lnTo>
                        <a:pt x="1315" y="614"/>
                      </a:lnTo>
                      <a:lnTo>
                        <a:pt x="1314" y="615"/>
                      </a:lnTo>
                      <a:lnTo>
                        <a:pt x="1313" y="615"/>
                      </a:lnTo>
                      <a:lnTo>
                        <a:pt x="1313" y="616"/>
                      </a:lnTo>
                      <a:lnTo>
                        <a:pt x="1312" y="616"/>
                      </a:lnTo>
                      <a:lnTo>
                        <a:pt x="1312" y="615"/>
                      </a:lnTo>
                      <a:lnTo>
                        <a:pt x="1311" y="615"/>
                      </a:lnTo>
                      <a:lnTo>
                        <a:pt x="1312" y="614"/>
                      </a:lnTo>
                      <a:lnTo>
                        <a:pt x="1313" y="614"/>
                      </a:lnTo>
                      <a:lnTo>
                        <a:pt x="1314" y="613"/>
                      </a:lnTo>
                      <a:lnTo>
                        <a:pt x="1315" y="613"/>
                      </a:lnTo>
                      <a:lnTo>
                        <a:pt x="1316" y="613"/>
                      </a:lnTo>
                      <a:lnTo>
                        <a:pt x="1316" y="611"/>
                      </a:lnTo>
                      <a:lnTo>
                        <a:pt x="1317" y="613"/>
                      </a:lnTo>
                      <a:close/>
                      <a:moveTo>
                        <a:pt x="1314" y="576"/>
                      </a:moveTo>
                      <a:lnTo>
                        <a:pt x="1315" y="576"/>
                      </a:lnTo>
                      <a:lnTo>
                        <a:pt x="1315" y="577"/>
                      </a:lnTo>
                      <a:lnTo>
                        <a:pt x="1316" y="577"/>
                      </a:lnTo>
                      <a:lnTo>
                        <a:pt x="1317" y="577"/>
                      </a:lnTo>
                      <a:lnTo>
                        <a:pt x="1318" y="577"/>
                      </a:lnTo>
                      <a:lnTo>
                        <a:pt x="1318" y="578"/>
                      </a:lnTo>
                      <a:lnTo>
                        <a:pt x="1317" y="578"/>
                      </a:lnTo>
                      <a:lnTo>
                        <a:pt x="1316" y="578"/>
                      </a:lnTo>
                      <a:lnTo>
                        <a:pt x="1316" y="579"/>
                      </a:lnTo>
                      <a:lnTo>
                        <a:pt x="1315" y="579"/>
                      </a:lnTo>
                      <a:lnTo>
                        <a:pt x="1316" y="579"/>
                      </a:lnTo>
                      <a:lnTo>
                        <a:pt x="1315" y="580"/>
                      </a:lnTo>
                      <a:lnTo>
                        <a:pt x="1315" y="579"/>
                      </a:lnTo>
                      <a:lnTo>
                        <a:pt x="1314" y="579"/>
                      </a:lnTo>
                      <a:lnTo>
                        <a:pt x="1314" y="580"/>
                      </a:lnTo>
                      <a:lnTo>
                        <a:pt x="1314" y="579"/>
                      </a:lnTo>
                      <a:lnTo>
                        <a:pt x="1313" y="579"/>
                      </a:lnTo>
                      <a:lnTo>
                        <a:pt x="1312" y="579"/>
                      </a:lnTo>
                      <a:lnTo>
                        <a:pt x="1312" y="580"/>
                      </a:lnTo>
                      <a:lnTo>
                        <a:pt x="1312" y="579"/>
                      </a:lnTo>
                      <a:lnTo>
                        <a:pt x="1311" y="579"/>
                      </a:lnTo>
                      <a:lnTo>
                        <a:pt x="1311" y="580"/>
                      </a:lnTo>
                      <a:lnTo>
                        <a:pt x="1310" y="580"/>
                      </a:lnTo>
                      <a:lnTo>
                        <a:pt x="1310" y="581"/>
                      </a:lnTo>
                      <a:lnTo>
                        <a:pt x="1311" y="581"/>
                      </a:lnTo>
                      <a:lnTo>
                        <a:pt x="1311" y="582"/>
                      </a:lnTo>
                      <a:lnTo>
                        <a:pt x="1311" y="583"/>
                      </a:lnTo>
                      <a:lnTo>
                        <a:pt x="1312" y="583"/>
                      </a:lnTo>
                      <a:lnTo>
                        <a:pt x="1312" y="584"/>
                      </a:lnTo>
                      <a:lnTo>
                        <a:pt x="1311" y="584"/>
                      </a:lnTo>
                      <a:lnTo>
                        <a:pt x="1312" y="584"/>
                      </a:lnTo>
                      <a:lnTo>
                        <a:pt x="1311" y="584"/>
                      </a:lnTo>
                      <a:lnTo>
                        <a:pt x="1310" y="584"/>
                      </a:lnTo>
                      <a:lnTo>
                        <a:pt x="1309" y="583"/>
                      </a:lnTo>
                      <a:lnTo>
                        <a:pt x="1309" y="584"/>
                      </a:lnTo>
                      <a:lnTo>
                        <a:pt x="1308" y="584"/>
                      </a:lnTo>
                      <a:lnTo>
                        <a:pt x="1308" y="583"/>
                      </a:lnTo>
                      <a:lnTo>
                        <a:pt x="1308" y="582"/>
                      </a:lnTo>
                      <a:lnTo>
                        <a:pt x="1309" y="581"/>
                      </a:lnTo>
                      <a:lnTo>
                        <a:pt x="1310" y="581"/>
                      </a:lnTo>
                      <a:lnTo>
                        <a:pt x="1310" y="580"/>
                      </a:lnTo>
                      <a:lnTo>
                        <a:pt x="1311" y="579"/>
                      </a:lnTo>
                      <a:lnTo>
                        <a:pt x="1311" y="578"/>
                      </a:lnTo>
                      <a:lnTo>
                        <a:pt x="1312" y="577"/>
                      </a:lnTo>
                      <a:lnTo>
                        <a:pt x="1312" y="576"/>
                      </a:lnTo>
                      <a:lnTo>
                        <a:pt x="1313" y="576"/>
                      </a:lnTo>
                      <a:lnTo>
                        <a:pt x="1314" y="576"/>
                      </a:lnTo>
                      <a:close/>
                      <a:moveTo>
                        <a:pt x="1629" y="547"/>
                      </a:moveTo>
                      <a:lnTo>
                        <a:pt x="1631" y="547"/>
                      </a:lnTo>
                      <a:lnTo>
                        <a:pt x="1629" y="547"/>
                      </a:lnTo>
                      <a:lnTo>
                        <a:pt x="1628" y="547"/>
                      </a:lnTo>
                      <a:lnTo>
                        <a:pt x="1628" y="549"/>
                      </a:lnTo>
                      <a:lnTo>
                        <a:pt x="1629" y="547"/>
                      </a:lnTo>
                      <a:lnTo>
                        <a:pt x="1629" y="549"/>
                      </a:lnTo>
                      <a:lnTo>
                        <a:pt x="1631" y="549"/>
                      </a:lnTo>
                      <a:lnTo>
                        <a:pt x="1631" y="550"/>
                      </a:lnTo>
                      <a:lnTo>
                        <a:pt x="1629" y="550"/>
                      </a:lnTo>
                      <a:lnTo>
                        <a:pt x="1628" y="551"/>
                      </a:lnTo>
                      <a:lnTo>
                        <a:pt x="1627" y="551"/>
                      </a:lnTo>
                      <a:lnTo>
                        <a:pt x="1626" y="551"/>
                      </a:lnTo>
                      <a:lnTo>
                        <a:pt x="1625" y="551"/>
                      </a:lnTo>
                      <a:lnTo>
                        <a:pt x="1624" y="551"/>
                      </a:lnTo>
                      <a:lnTo>
                        <a:pt x="1624" y="550"/>
                      </a:lnTo>
                      <a:lnTo>
                        <a:pt x="1625" y="550"/>
                      </a:lnTo>
                      <a:lnTo>
                        <a:pt x="1624" y="550"/>
                      </a:lnTo>
                      <a:lnTo>
                        <a:pt x="1623" y="550"/>
                      </a:lnTo>
                      <a:lnTo>
                        <a:pt x="1623" y="549"/>
                      </a:lnTo>
                      <a:lnTo>
                        <a:pt x="1623" y="547"/>
                      </a:lnTo>
                      <a:lnTo>
                        <a:pt x="1623" y="549"/>
                      </a:lnTo>
                      <a:lnTo>
                        <a:pt x="1623" y="547"/>
                      </a:lnTo>
                      <a:lnTo>
                        <a:pt x="1623" y="546"/>
                      </a:lnTo>
                      <a:lnTo>
                        <a:pt x="1624" y="546"/>
                      </a:lnTo>
                      <a:lnTo>
                        <a:pt x="1625" y="546"/>
                      </a:lnTo>
                      <a:lnTo>
                        <a:pt x="1626" y="546"/>
                      </a:lnTo>
                      <a:lnTo>
                        <a:pt x="1626" y="547"/>
                      </a:lnTo>
                      <a:lnTo>
                        <a:pt x="1627" y="547"/>
                      </a:lnTo>
                      <a:lnTo>
                        <a:pt x="1627" y="546"/>
                      </a:lnTo>
                      <a:lnTo>
                        <a:pt x="1626" y="546"/>
                      </a:lnTo>
                      <a:lnTo>
                        <a:pt x="1627" y="545"/>
                      </a:lnTo>
                      <a:lnTo>
                        <a:pt x="1628" y="545"/>
                      </a:lnTo>
                      <a:lnTo>
                        <a:pt x="1628" y="546"/>
                      </a:lnTo>
                      <a:lnTo>
                        <a:pt x="1629" y="547"/>
                      </a:lnTo>
                      <a:close/>
                      <a:moveTo>
                        <a:pt x="1337" y="477"/>
                      </a:moveTo>
                      <a:lnTo>
                        <a:pt x="1337" y="478"/>
                      </a:lnTo>
                      <a:lnTo>
                        <a:pt x="1338" y="478"/>
                      </a:lnTo>
                      <a:lnTo>
                        <a:pt x="1339" y="478"/>
                      </a:lnTo>
                      <a:lnTo>
                        <a:pt x="1339" y="477"/>
                      </a:lnTo>
                      <a:lnTo>
                        <a:pt x="1339" y="478"/>
                      </a:lnTo>
                      <a:lnTo>
                        <a:pt x="1340" y="478"/>
                      </a:lnTo>
                      <a:lnTo>
                        <a:pt x="1340" y="479"/>
                      </a:lnTo>
                      <a:lnTo>
                        <a:pt x="1339" y="479"/>
                      </a:lnTo>
                      <a:lnTo>
                        <a:pt x="1339" y="480"/>
                      </a:lnTo>
                      <a:lnTo>
                        <a:pt x="1339" y="481"/>
                      </a:lnTo>
                      <a:lnTo>
                        <a:pt x="1338" y="481"/>
                      </a:lnTo>
                      <a:lnTo>
                        <a:pt x="1337" y="481"/>
                      </a:lnTo>
                      <a:lnTo>
                        <a:pt x="1336" y="481"/>
                      </a:lnTo>
                      <a:lnTo>
                        <a:pt x="1334" y="481"/>
                      </a:lnTo>
                      <a:lnTo>
                        <a:pt x="1332" y="481"/>
                      </a:lnTo>
                      <a:lnTo>
                        <a:pt x="1332" y="480"/>
                      </a:lnTo>
                      <a:lnTo>
                        <a:pt x="1332" y="479"/>
                      </a:lnTo>
                      <a:lnTo>
                        <a:pt x="1332" y="480"/>
                      </a:lnTo>
                      <a:lnTo>
                        <a:pt x="1332" y="479"/>
                      </a:lnTo>
                      <a:lnTo>
                        <a:pt x="1331" y="479"/>
                      </a:lnTo>
                      <a:lnTo>
                        <a:pt x="1331" y="478"/>
                      </a:lnTo>
                      <a:lnTo>
                        <a:pt x="1332" y="478"/>
                      </a:lnTo>
                      <a:lnTo>
                        <a:pt x="1332" y="477"/>
                      </a:lnTo>
                      <a:lnTo>
                        <a:pt x="1332" y="478"/>
                      </a:lnTo>
                      <a:lnTo>
                        <a:pt x="1334" y="478"/>
                      </a:lnTo>
                      <a:lnTo>
                        <a:pt x="1334" y="479"/>
                      </a:lnTo>
                      <a:lnTo>
                        <a:pt x="1335" y="478"/>
                      </a:lnTo>
                      <a:lnTo>
                        <a:pt x="1335" y="477"/>
                      </a:lnTo>
                      <a:lnTo>
                        <a:pt x="1336" y="477"/>
                      </a:lnTo>
                      <a:lnTo>
                        <a:pt x="1337" y="477"/>
                      </a:lnTo>
                      <a:close/>
                      <a:moveTo>
                        <a:pt x="1384" y="420"/>
                      </a:moveTo>
                      <a:lnTo>
                        <a:pt x="1386" y="420"/>
                      </a:lnTo>
                      <a:lnTo>
                        <a:pt x="1386" y="421"/>
                      </a:lnTo>
                      <a:lnTo>
                        <a:pt x="1386" y="422"/>
                      </a:lnTo>
                      <a:lnTo>
                        <a:pt x="1386" y="423"/>
                      </a:lnTo>
                      <a:lnTo>
                        <a:pt x="1387" y="423"/>
                      </a:lnTo>
                      <a:lnTo>
                        <a:pt x="1386" y="423"/>
                      </a:lnTo>
                      <a:lnTo>
                        <a:pt x="1384" y="424"/>
                      </a:lnTo>
                      <a:lnTo>
                        <a:pt x="1383" y="424"/>
                      </a:lnTo>
                      <a:lnTo>
                        <a:pt x="1383" y="425"/>
                      </a:lnTo>
                      <a:lnTo>
                        <a:pt x="1382" y="425"/>
                      </a:lnTo>
                      <a:lnTo>
                        <a:pt x="1382" y="426"/>
                      </a:lnTo>
                      <a:lnTo>
                        <a:pt x="1381" y="425"/>
                      </a:lnTo>
                      <a:lnTo>
                        <a:pt x="1381" y="424"/>
                      </a:lnTo>
                      <a:lnTo>
                        <a:pt x="1380" y="424"/>
                      </a:lnTo>
                      <a:lnTo>
                        <a:pt x="1380" y="423"/>
                      </a:lnTo>
                      <a:lnTo>
                        <a:pt x="1381" y="422"/>
                      </a:lnTo>
                      <a:lnTo>
                        <a:pt x="1381" y="421"/>
                      </a:lnTo>
                      <a:lnTo>
                        <a:pt x="1380" y="421"/>
                      </a:lnTo>
                      <a:lnTo>
                        <a:pt x="1380" y="420"/>
                      </a:lnTo>
                      <a:lnTo>
                        <a:pt x="1381" y="420"/>
                      </a:lnTo>
                      <a:lnTo>
                        <a:pt x="1381" y="421"/>
                      </a:lnTo>
                      <a:lnTo>
                        <a:pt x="1382" y="420"/>
                      </a:lnTo>
                      <a:lnTo>
                        <a:pt x="1383" y="420"/>
                      </a:lnTo>
                      <a:lnTo>
                        <a:pt x="1384" y="420"/>
                      </a:lnTo>
                      <a:close/>
                      <a:moveTo>
                        <a:pt x="1324" y="624"/>
                      </a:moveTo>
                      <a:lnTo>
                        <a:pt x="1325" y="626"/>
                      </a:lnTo>
                      <a:lnTo>
                        <a:pt x="1325" y="624"/>
                      </a:lnTo>
                      <a:lnTo>
                        <a:pt x="1326" y="626"/>
                      </a:lnTo>
                      <a:lnTo>
                        <a:pt x="1326" y="627"/>
                      </a:lnTo>
                      <a:lnTo>
                        <a:pt x="1326" y="628"/>
                      </a:lnTo>
                      <a:lnTo>
                        <a:pt x="1327" y="629"/>
                      </a:lnTo>
                      <a:lnTo>
                        <a:pt x="1327" y="630"/>
                      </a:lnTo>
                      <a:lnTo>
                        <a:pt x="1328" y="630"/>
                      </a:lnTo>
                      <a:lnTo>
                        <a:pt x="1328" y="631"/>
                      </a:lnTo>
                      <a:lnTo>
                        <a:pt x="1329" y="631"/>
                      </a:lnTo>
                      <a:lnTo>
                        <a:pt x="1329" y="632"/>
                      </a:lnTo>
                      <a:lnTo>
                        <a:pt x="1330" y="632"/>
                      </a:lnTo>
                      <a:lnTo>
                        <a:pt x="1331" y="632"/>
                      </a:lnTo>
                      <a:lnTo>
                        <a:pt x="1331" y="633"/>
                      </a:lnTo>
                      <a:lnTo>
                        <a:pt x="1330" y="633"/>
                      </a:lnTo>
                      <a:lnTo>
                        <a:pt x="1329" y="633"/>
                      </a:lnTo>
                      <a:lnTo>
                        <a:pt x="1327" y="633"/>
                      </a:lnTo>
                      <a:lnTo>
                        <a:pt x="1327" y="632"/>
                      </a:lnTo>
                      <a:lnTo>
                        <a:pt x="1327" y="630"/>
                      </a:lnTo>
                      <a:lnTo>
                        <a:pt x="1326" y="630"/>
                      </a:lnTo>
                      <a:lnTo>
                        <a:pt x="1326" y="631"/>
                      </a:lnTo>
                      <a:lnTo>
                        <a:pt x="1327" y="631"/>
                      </a:lnTo>
                      <a:lnTo>
                        <a:pt x="1327" y="632"/>
                      </a:lnTo>
                      <a:lnTo>
                        <a:pt x="1327" y="633"/>
                      </a:lnTo>
                      <a:lnTo>
                        <a:pt x="1328" y="633"/>
                      </a:lnTo>
                      <a:lnTo>
                        <a:pt x="1329" y="633"/>
                      </a:lnTo>
                      <a:lnTo>
                        <a:pt x="1330" y="633"/>
                      </a:lnTo>
                      <a:lnTo>
                        <a:pt x="1330" y="634"/>
                      </a:lnTo>
                      <a:lnTo>
                        <a:pt x="1329" y="634"/>
                      </a:lnTo>
                      <a:lnTo>
                        <a:pt x="1328" y="634"/>
                      </a:lnTo>
                      <a:lnTo>
                        <a:pt x="1327" y="634"/>
                      </a:lnTo>
                      <a:lnTo>
                        <a:pt x="1327" y="635"/>
                      </a:lnTo>
                      <a:lnTo>
                        <a:pt x="1327" y="634"/>
                      </a:lnTo>
                      <a:lnTo>
                        <a:pt x="1326" y="634"/>
                      </a:lnTo>
                      <a:lnTo>
                        <a:pt x="1326" y="633"/>
                      </a:lnTo>
                      <a:lnTo>
                        <a:pt x="1326" y="632"/>
                      </a:lnTo>
                      <a:lnTo>
                        <a:pt x="1326" y="631"/>
                      </a:lnTo>
                      <a:lnTo>
                        <a:pt x="1325" y="630"/>
                      </a:lnTo>
                      <a:lnTo>
                        <a:pt x="1326" y="630"/>
                      </a:lnTo>
                      <a:lnTo>
                        <a:pt x="1326" y="629"/>
                      </a:lnTo>
                      <a:lnTo>
                        <a:pt x="1326" y="628"/>
                      </a:lnTo>
                      <a:lnTo>
                        <a:pt x="1325" y="628"/>
                      </a:lnTo>
                      <a:lnTo>
                        <a:pt x="1325" y="627"/>
                      </a:lnTo>
                      <a:lnTo>
                        <a:pt x="1324" y="627"/>
                      </a:lnTo>
                      <a:lnTo>
                        <a:pt x="1324" y="626"/>
                      </a:lnTo>
                      <a:lnTo>
                        <a:pt x="1323" y="626"/>
                      </a:lnTo>
                      <a:lnTo>
                        <a:pt x="1324" y="626"/>
                      </a:lnTo>
                      <a:lnTo>
                        <a:pt x="1324" y="624"/>
                      </a:lnTo>
                      <a:close/>
                      <a:moveTo>
                        <a:pt x="1366" y="632"/>
                      </a:moveTo>
                      <a:lnTo>
                        <a:pt x="1367" y="632"/>
                      </a:lnTo>
                      <a:lnTo>
                        <a:pt x="1368" y="632"/>
                      </a:lnTo>
                      <a:lnTo>
                        <a:pt x="1369" y="632"/>
                      </a:lnTo>
                      <a:lnTo>
                        <a:pt x="1368" y="632"/>
                      </a:lnTo>
                      <a:lnTo>
                        <a:pt x="1369" y="632"/>
                      </a:lnTo>
                      <a:lnTo>
                        <a:pt x="1370" y="632"/>
                      </a:lnTo>
                      <a:lnTo>
                        <a:pt x="1371" y="632"/>
                      </a:lnTo>
                      <a:lnTo>
                        <a:pt x="1371" y="633"/>
                      </a:lnTo>
                      <a:lnTo>
                        <a:pt x="1373" y="633"/>
                      </a:lnTo>
                      <a:lnTo>
                        <a:pt x="1371" y="633"/>
                      </a:lnTo>
                      <a:lnTo>
                        <a:pt x="1371" y="634"/>
                      </a:lnTo>
                      <a:lnTo>
                        <a:pt x="1370" y="635"/>
                      </a:lnTo>
                      <a:lnTo>
                        <a:pt x="1369" y="635"/>
                      </a:lnTo>
                      <a:lnTo>
                        <a:pt x="1368" y="635"/>
                      </a:lnTo>
                      <a:lnTo>
                        <a:pt x="1368" y="634"/>
                      </a:lnTo>
                      <a:lnTo>
                        <a:pt x="1367" y="635"/>
                      </a:lnTo>
                      <a:lnTo>
                        <a:pt x="1366" y="634"/>
                      </a:lnTo>
                      <a:lnTo>
                        <a:pt x="1365" y="634"/>
                      </a:lnTo>
                      <a:lnTo>
                        <a:pt x="1366" y="634"/>
                      </a:lnTo>
                      <a:lnTo>
                        <a:pt x="1365" y="634"/>
                      </a:lnTo>
                      <a:lnTo>
                        <a:pt x="1366" y="633"/>
                      </a:lnTo>
                      <a:lnTo>
                        <a:pt x="1365" y="633"/>
                      </a:lnTo>
                      <a:lnTo>
                        <a:pt x="1366" y="633"/>
                      </a:lnTo>
                      <a:lnTo>
                        <a:pt x="1365" y="633"/>
                      </a:lnTo>
                      <a:lnTo>
                        <a:pt x="1365" y="632"/>
                      </a:lnTo>
                      <a:lnTo>
                        <a:pt x="1365" y="633"/>
                      </a:lnTo>
                      <a:lnTo>
                        <a:pt x="1365" y="634"/>
                      </a:lnTo>
                      <a:lnTo>
                        <a:pt x="1364" y="634"/>
                      </a:lnTo>
                      <a:lnTo>
                        <a:pt x="1363" y="634"/>
                      </a:lnTo>
                      <a:lnTo>
                        <a:pt x="1362" y="634"/>
                      </a:lnTo>
                      <a:lnTo>
                        <a:pt x="1363" y="634"/>
                      </a:lnTo>
                      <a:lnTo>
                        <a:pt x="1362" y="635"/>
                      </a:lnTo>
                      <a:lnTo>
                        <a:pt x="1362" y="634"/>
                      </a:lnTo>
                      <a:lnTo>
                        <a:pt x="1362" y="635"/>
                      </a:lnTo>
                      <a:lnTo>
                        <a:pt x="1362" y="634"/>
                      </a:lnTo>
                      <a:lnTo>
                        <a:pt x="1362" y="633"/>
                      </a:lnTo>
                      <a:lnTo>
                        <a:pt x="1363" y="633"/>
                      </a:lnTo>
                      <a:lnTo>
                        <a:pt x="1363" y="634"/>
                      </a:lnTo>
                      <a:lnTo>
                        <a:pt x="1363" y="633"/>
                      </a:lnTo>
                      <a:lnTo>
                        <a:pt x="1363" y="632"/>
                      </a:lnTo>
                      <a:lnTo>
                        <a:pt x="1362" y="632"/>
                      </a:lnTo>
                      <a:lnTo>
                        <a:pt x="1362" y="633"/>
                      </a:lnTo>
                      <a:lnTo>
                        <a:pt x="1362" y="632"/>
                      </a:lnTo>
                      <a:lnTo>
                        <a:pt x="1363" y="632"/>
                      </a:lnTo>
                      <a:lnTo>
                        <a:pt x="1364" y="632"/>
                      </a:lnTo>
                      <a:lnTo>
                        <a:pt x="1365" y="632"/>
                      </a:lnTo>
                      <a:lnTo>
                        <a:pt x="1366" y="631"/>
                      </a:lnTo>
                      <a:lnTo>
                        <a:pt x="1366" y="632"/>
                      </a:lnTo>
                      <a:close/>
                      <a:moveTo>
                        <a:pt x="1257" y="705"/>
                      </a:moveTo>
                      <a:lnTo>
                        <a:pt x="1258" y="705"/>
                      </a:lnTo>
                      <a:lnTo>
                        <a:pt x="1259" y="705"/>
                      </a:lnTo>
                      <a:lnTo>
                        <a:pt x="1259" y="707"/>
                      </a:lnTo>
                      <a:lnTo>
                        <a:pt x="1259" y="706"/>
                      </a:lnTo>
                      <a:lnTo>
                        <a:pt x="1258" y="706"/>
                      </a:lnTo>
                      <a:lnTo>
                        <a:pt x="1258" y="707"/>
                      </a:lnTo>
                      <a:lnTo>
                        <a:pt x="1258" y="708"/>
                      </a:lnTo>
                      <a:lnTo>
                        <a:pt x="1259" y="708"/>
                      </a:lnTo>
                      <a:lnTo>
                        <a:pt x="1259" y="709"/>
                      </a:lnTo>
                      <a:lnTo>
                        <a:pt x="1259" y="710"/>
                      </a:lnTo>
                      <a:lnTo>
                        <a:pt x="1258" y="711"/>
                      </a:lnTo>
                      <a:lnTo>
                        <a:pt x="1258" y="710"/>
                      </a:lnTo>
                      <a:lnTo>
                        <a:pt x="1258" y="711"/>
                      </a:lnTo>
                      <a:lnTo>
                        <a:pt x="1257" y="710"/>
                      </a:lnTo>
                      <a:lnTo>
                        <a:pt x="1255" y="709"/>
                      </a:lnTo>
                      <a:lnTo>
                        <a:pt x="1254" y="709"/>
                      </a:lnTo>
                      <a:lnTo>
                        <a:pt x="1254" y="710"/>
                      </a:lnTo>
                      <a:lnTo>
                        <a:pt x="1253" y="711"/>
                      </a:lnTo>
                      <a:lnTo>
                        <a:pt x="1253" y="710"/>
                      </a:lnTo>
                      <a:lnTo>
                        <a:pt x="1254" y="710"/>
                      </a:lnTo>
                      <a:lnTo>
                        <a:pt x="1254" y="709"/>
                      </a:lnTo>
                      <a:lnTo>
                        <a:pt x="1254" y="708"/>
                      </a:lnTo>
                      <a:lnTo>
                        <a:pt x="1254" y="707"/>
                      </a:lnTo>
                      <a:lnTo>
                        <a:pt x="1253" y="706"/>
                      </a:lnTo>
                      <a:lnTo>
                        <a:pt x="1253" y="705"/>
                      </a:lnTo>
                      <a:lnTo>
                        <a:pt x="1254" y="705"/>
                      </a:lnTo>
                      <a:lnTo>
                        <a:pt x="1255" y="705"/>
                      </a:lnTo>
                      <a:lnTo>
                        <a:pt x="1255" y="704"/>
                      </a:lnTo>
                      <a:lnTo>
                        <a:pt x="1257" y="705"/>
                      </a:lnTo>
                      <a:close/>
                      <a:moveTo>
                        <a:pt x="1331" y="595"/>
                      </a:moveTo>
                      <a:lnTo>
                        <a:pt x="1332" y="595"/>
                      </a:lnTo>
                      <a:lnTo>
                        <a:pt x="1334" y="595"/>
                      </a:lnTo>
                      <a:lnTo>
                        <a:pt x="1335" y="595"/>
                      </a:lnTo>
                      <a:lnTo>
                        <a:pt x="1336" y="595"/>
                      </a:lnTo>
                      <a:lnTo>
                        <a:pt x="1336" y="596"/>
                      </a:lnTo>
                      <a:lnTo>
                        <a:pt x="1337" y="596"/>
                      </a:lnTo>
                      <a:lnTo>
                        <a:pt x="1338" y="596"/>
                      </a:lnTo>
                      <a:lnTo>
                        <a:pt x="1339" y="596"/>
                      </a:lnTo>
                      <a:lnTo>
                        <a:pt x="1340" y="596"/>
                      </a:lnTo>
                      <a:lnTo>
                        <a:pt x="1340" y="595"/>
                      </a:lnTo>
                      <a:lnTo>
                        <a:pt x="1341" y="595"/>
                      </a:lnTo>
                      <a:lnTo>
                        <a:pt x="1341" y="596"/>
                      </a:lnTo>
                      <a:lnTo>
                        <a:pt x="1340" y="596"/>
                      </a:lnTo>
                      <a:lnTo>
                        <a:pt x="1340" y="597"/>
                      </a:lnTo>
                      <a:lnTo>
                        <a:pt x="1340" y="596"/>
                      </a:lnTo>
                      <a:lnTo>
                        <a:pt x="1339" y="596"/>
                      </a:lnTo>
                      <a:lnTo>
                        <a:pt x="1339" y="597"/>
                      </a:lnTo>
                      <a:lnTo>
                        <a:pt x="1340" y="597"/>
                      </a:lnTo>
                      <a:lnTo>
                        <a:pt x="1339" y="597"/>
                      </a:lnTo>
                      <a:lnTo>
                        <a:pt x="1338" y="597"/>
                      </a:lnTo>
                      <a:lnTo>
                        <a:pt x="1338" y="598"/>
                      </a:lnTo>
                      <a:lnTo>
                        <a:pt x="1338" y="600"/>
                      </a:lnTo>
                      <a:lnTo>
                        <a:pt x="1338" y="598"/>
                      </a:lnTo>
                      <a:lnTo>
                        <a:pt x="1337" y="600"/>
                      </a:lnTo>
                      <a:lnTo>
                        <a:pt x="1336" y="600"/>
                      </a:lnTo>
                      <a:lnTo>
                        <a:pt x="1336" y="598"/>
                      </a:lnTo>
                      <a:lnTo>
                        <a:pt x="1335" y="598"/>
                      </a:lnTo>
                      <a:lnTo>
                        <a:pt x="1334" y="598"/>
                      </a:lnTo>
                      <a:lnTo>
                        <a:pt x="1332" y="598"/>
                      </a:lnTo>
                      <a:lnTo>
                        <a:pt x="1331" y="598"/>
                      </a:lnTo>
                      <a:lnTo>
                        <a:pt x="1330" y="598"/>
                      </a:lnTo>
                      <a:lnTo>
                        <a:pt x="1329" y="598"/>
                      </a:lnTo>
                      <a:lnTo>
                        <a:pt x="1328" y="600"/>
                      </a:lnTo>
                      <a:lnTo>
                        <a:pt x="1329" y="598"/>
                      </a:lnTo>
                      <a:lnTo>
                        <a:pt x="1330" y="598"/>
                      </a:lnTo>
                      <a:lnTo>
                        <a:pt x="1331" y="597"/>
                      </a:lnTo>
                      <a:lnTo>
                        <a:pt x="1332" y="597"/>
                      </a:lnTo>
                      <a:lnTo>
                        <a:pt x="1334" y="597"/>
                      </a:lnTo>
                      <a:lnTo>
                        <a:pt x="1335" y="596"/>
                      </a:lnTo>
                      <a:lnTo>
                        <a:pt x="1334" y="597"/>
                      </a:lnTo>
                      <a:lnTo>
                        <a:pt x="1332" y="597"/>
                      </a:lnTo>
                      <a:lnTo>
                        <a:pt x="1331" y="597"/>
                      </a:lnTo>
                      <a:lnTo>
                        <a:pt x="1330" y="598"/>
                      </a:lnTo>
                      <a:lnTo>
                        <a:pt x="1331" y="597"/>
                      </a:lnTo>
                      <a:lnTo>
                        <a:pt x="1332" y="597"/>
                      </a:lnTo>
                      <a:lnTo>
                        <a:pt x="1332" y="596"/>
                      </a:lnTo>
                      <a:lnTo>
                        <a:pt x="1332" y="595"/>
                      </a:lnTo>
                      <a:lnTo>
                        <a:pt x="1331" y="595"/>
                      </a:lnTo>
                      <a:lnTo>
                        <a:pt x="1330" y="595"/>
                      </a:lnTo>
                      <a:lnTo>
                        <a:pt x="1330" y="594"/>
                      </a:lnTo>
                      <a:lnTo>
                        <a:pt x="1331" y="594"/>
                      </a:lnTo>
                      <a:lnTo>
                        <a:pt x="1331" y="595"/>
                      </a:lnTo>
                      <a:close/>
                      <a:moveTo>
                        <a:pt x="1188" y="699"/>
                      </a:moveTo>
                      <a:lnTo>
                        <a:pt x="1188" y="700"/>
                      </a:lnTo>
                      <a:lnTo>
                        <a:pt x="1187" y="700"/>
                      </a:lnTo>
                      <a:lnTo>
                        <a:pt x="1187" y="701"/>
                      </a:lnTo>
                      <a:lnTo>
                        <a:pt x="1187" y="704"/>
                      </a:lnTo>
                      <a:lnTo>
                        <a:pt x="1188" y="704"/>
                      </a:lnTo>
                      <a:lnTo>
                        <a:pt x="1188" y="705"/>
                      </a:lnTo>
                      <a:lnTo>
                        <a:pt x="1187" y="705"/>
                      </a:lnTo>
                      <a:lnTo>
                        <a:pt x="1186" y="706"/>
                      </a:lnTo>
                      <a:lnTo>
                        <a:pt x="1186" y="708"/>
                      </a:lnTo>
                      <a:lnTo>
                        <a:pt x="1186" y="709"/>
                      </a:lnTo>
                      <a:lnTo>
                        <a:pt x="1187" y="709"/>
                      </a:lnTo>
                      <a:lnTo>
                        <a:pt x="1187" y="710"/>
                      </a:lnTo>
                      <a:lnTo>
                        <a:pt x="1188" y="710"/>
                      </a:lnTo>
                      <a:lnTo>
                        <a:pt x="1187" y="711"/>
                      </a:lnTo>
                      <a:lnTo>
                        <a:pt x="1186" y="711"/>
                      </a:lnTo>
                      <a:lnTo>
                        <a:pt x="1185" y="711"/>
                      </a:lnTo>
                      <a:lnTo>
                        <a:pt x="1185" y="710"/>
                      </a:lnTo>
                      <a:lnTo>
                        <a:pt x="1186" y="710"/>
                      </a:lnTo>
                      <a:lnTo>
                        <a:pt x="1185" y="710"/>
                      </a:lnTo>
                      <a:lnTo>
                        <a:pt x="1185" y="709"/>
                      </a:lnTo>
                      <a:lnTo>
                        <a:pt x="1185" y="708"/>
                      </a:lnTo>
                      <a:lnTo>
                        <a:pt x="1185" y="707"/>
                      </a:lnTo>
                      <a:lnTo>
                        <a:pt x="1185" y="706"/>
                      </a:lnTo>
                      <a:lnTo>
                        <a:pt x="1186" y="706"/>
                      </a:lnTo>
                      <a:lnTo>
                        <a:pt x="1185" y="706"/>
                      </a:lnTo>
                      <a:lnTo>
                        <a:pt x="1186" y="706"/>
                      </a:lnTo>
                      <a:lnTo>
                        <a:pt x="1186" y="705"/>
                      </a:lnTo>
                      <a:lnTo>
                        <a:pt x="1186" y="704"/>
                      </a:lnTo>
                      <a:lnTo>
                        <a:pt x="1186" y="703"/>
                      </a:lnTo>
                      <a:lnTo>
                        <a:pt x="1185" y="703"/>
                      </a:lnTo>
                      <a:lnTo>
                        <a:pt x="1184" y="703"/>
                      </a:lnTo>
                      <a:lnTo>
                        <a:pt x="1184" y="701"/>
                      </a:lnTo>
                      <a:lnTo>
                        <a:pt x="1183" y="701"/>
                      </a:lnTo>
                      <a:lnTo>
                        <a:pt x="1183" y="700"/>
                      </a:lnTo>
                      <a:lnTo>
                        <a:pt x="1184" y="701"/>
                      </a:lnTo>
                      <a:lnTo>
                        <a:pt x="1185" y="701"/>
                      </a:lnTo>
                      <a:lnTo>
                        <a:pt x="1185" y="700"/>
                      </a:lnTo>
                      <a:lnTo>
                        <a:pt x="1186" y="700"/>
                      </a:lnTo>
                      <a:lnTo>
                        <a:pt x="1187" y="700"/>
                      </a:lnTo>
                      <a:lnTo>
                        <a:pt x="1187" y="699"/>
                      </a:lnTo>
                      <a:lnTo>
                        <a:pt x="1188" y="699"/>
                      </a:lnTo>
                      <a:close/>
                      <a:moveTo>
                        <a:pt x="1322" y="584"/>
                      </a:moveTo>
                      <a:lnTo>
                        <a:pt x="1323" y="584"/>
                      </a:lnTo>
                      <a:lnTo>
                        <a:pt x="1322" y="584"/>
                      </a:lnTo>
                      <a:lnTo>
                        <a:pt x="1322" y="585"/>
                      </a:lnTo>
                      <a:lnTo>
                        <a:pt x="1323" y="584"/>
                      </a:lnTo>
                      <a:lnTo>
                        <a:pt x="1324" y="584"/>
                      </a:lnTo>
                      <a:lnTo>
                        <a:pt x="1324" y="585"/>
                      </a:lnTo>
                      <a:lnTo>
                        <a:pt x="1325" y="585"/>
                      </a:lnTo>
                      <a:lnTo>
                        <a:pt x="1325" y="587"/>
                      </a:lnTo>
                      <a:lnTo>
                        <a:pt x="1324" y="588"/>
                      </a:lnTo>
                      <a:lnTo>
                        <a:pt x="1324" y="589"/>
                      </a:lnTo>
                      <a:lnTo>
                        <a:pt x="1323" y="589"/>
                      </a:lnTo>
                      <a:lnTo>
                        <a:pt x="1322" y="589"/>
                      </a:lnTo>
                      <a:lnTo>
                        <a:pt x="1321" y="589"/>
                      </a:lnTo>
                      <a:lnTo>
                        <a:pt x="1319" y="589"/>
                      </a:lnTo>
                      <a:lnTo>
                        <a:pt x="1318" y="589"/>
                      </a:lnTo>
                      <a:lnTo>
                        <a:pt x="1318" y="590"/>
                      </a:lnTo>
                      <a:lnTo>
                        <a:pt x="1317" y="590"/>
                      </a:lnTo>
                      <a:lnTo>
                        <a:pt x="1317" y="591"/>
                      </a:lnTo>
                      <a:lnTo>
                        <a:pt x="1317" y="590"/>
                      </a:lnTo>
                      <a:lnTo>
                        <a:pt x="1317" y="589"/>
                      </a:lnTo>
                      <a:lnTo>
                        <a:pt x="1318" y="589"/>
                      </a:lnTo>
                      <a:lnTo>
                        <a:pt x="1318" y="588"/>
                      </a:lnTo>
                      <a:lnTo>
                        <a:pt x="1319" y="588"/>
                      </a:lnTo>
                      <a:lnTo>
                        <a:pt x="1319" y="587"/>
                      </a:lnTo>
                      <a:lnTo>
                        <a:pt x="1321" y="587"/>
                      </a:lnTo>
                      <a:lnTo>
                        <a:pt x="1321" y="585"/>
                      </a:lnTo>
                      <a:lnTo>
                        <a:pt x="1321" y="584"/>
                      </a:lnTo>
                      <a:lnTo>
                        <a:pt x="1322" y="584"/>
                      </a:lnTo>
                      <a:lnTo>
                        <a:pt x="1321" y="584"/>
                      </a:lnTo>
                      <a:lnTo>
                        <a:pt x="1322" y="584"/>
                      </a:lnTo>
                      <a:close/>
                      <a:moveTo>
                        <a:pt x="1163" y="696"/>
                      </a:moveTo>
                      <a:lnTo>
                        <a:pt x="1163" y="697"/>
                      </a:lnTo>
                      <a:lnTo>
                        <a:pt x="1163" y="698"/>
                      </a:lnTo>
                      <a:lnTo>
                        <a:pt x="1163" y="699"/>
                      </a:lnTo>
                      <a:lnTo>
                        <a:pt x="1162" y="701"/>
                      </a:lnTo>
                      <a:lnTo>
                        <a:pt x="1162" y="704"/>
                      </a:lnTo>
                      <a:lnTo>
                        <a:pt x="1163" y="704"/>
                      </a:lnTo>
                      <a:lnTo>
                        <a:pt x="1163" y="705"/>
                      </a:lnTo>
                      <a:lnTo>
                        <a:pt x="1162" y="705"/>
                      </a:lnTo>
                      <a:lnTo>
                        <a:pt x="1162" y="704"/>
                      </a:lnTo>
                      <a:lnTo>
                        <a:pt x="1161" y="704"/>
                      </a:lnTo>
                      <a:lnTo>
                        <a:pt x="1161" y="703"/>
                      </a:lnTo>
                      <a:lnTo>
                        <a:pt x="1160" y="703"/>
                      </a:lnTo>
                      <a:lnTo>
                        <a:pt x="1160" y="704"/>
                      </a:lnTo>
                      <a:lnTo>
                        <a:pt x="1160" y="705"/>
                      </a:lnTo>
                      <a:lnTo>
                        <a:pt x="1159" y="705"/>
                      </a:lnTo>
                      <a:lnTo>
                        <a:pt x="1159" y="706"/>
                      </a:lnTo>
                      <a:lnTo>
                        <a:pt x="1160" y="706"/>
                      </a:lnTo>
                      <a:lnTo>
                        <a:pt x="1160" y="705"/>
                      </a:lnTo>
                      <a:lnTo>
                        <a:pt x="1160" y="704"/>
                      </a:lnTo>
                      <a:lnTo>
                        <a:pt x="1161" y="705"/>
                      </a:lnTo>
                      <a:lnTo>
                        <a:pt x="1162" y="706"/>
                      </a:lnTo>
                      <a:lnTo>
                        <a:pt x="1162" y="707"/>
                      </a:lnTo>
                      <a:lnTo>
                        <a:pt x="1163" y="707"/>
                      </a:lnTo>
                      <a:lnTo>
                        <a:pt x="1163" y="708"/>
                      </a:lnTo>
                      <a:lnTo>
                        <a:pt x="1162" y="708"/>
                      </a:lnTo>
                      <a:lnTo>
                        <a:pt x="1162" y="707"/>
                      </a:lnTo>
                      <a:lnTo>
                        <a:pt x="1161" y="707"/>
                      </a:lnTo>
                      <a:lnTo>
                        <a:pt x="1160" y="707"/>
                      </a:lnTo>
                      <a:lnTo>
                        <a:pt x="1159" y="707"/>
                      </a:lnTo>
                      <a:lnTo>
                        <a:pt x="1159" y="706"/>
                      </a:lnTo>
                      <a:lnTo>
                        <a:pt x="1158" y="705"/>
                      </a:lnTo>
                      <a:lnTo>
                        <a:pt x="1159" y="705"/>
                      </a:lnTo>
                      <a:lnTo>
                        <a:pt x="1159" y="706"/>
                      </a:lnTo>
                      <a:lnTo>
                        <a:pt x="1159" y="705"/>
                      </a:lnTo>
                      <a:lnTo>
                        <a:pt x="1158" y="705"/>
                      </a:lnTo>
                      <a:lnTo>
                        <a:pt x="1159" y="705"/>
                      </a:lnTo>
                      <a:lnTo>
                        <a:pt x="1159" y="704"/>
                      </a:lnTo>
                      <a:lnTo>
                        <a:pt x="1159" y="705"/>
                      </a:lnTo>
                      <a:lnTo>
                        <a:pt x="1159" y="704"/>
                      </a:lnTo>
                      <a:lnTo>
                        <a:pt x="1158" y="704"/>
                      </a:lnTo>
                      <a:lnTo>
                        <a:pt x="1157" y="704"/>
                      </a:lnTo>
                      <a:lnTo>
                        <a:pt x="1156" y="704"/>
                      </a:lnTo>
                      <a:lnTo>
                        <a:pt x="1156" y="703"/>
                      </a:lnTo>
                      <a:lnTo>
                        <a:pt x="1157" y="704"/>
                      </a:lnTo>
                      <a:lnTo>
                        <a:pt x="1157" y="703"/>
                      </a:lnTo>
                      <a:lnTo>
                        <a:pt x="1158" y="703"/>
                      </a:lnTo>
                      <a:lnTo>
                        <a:pt x="1159" y="703"/>
                      </a:lnTo>
                      <a:lnTo>
                        <a:pt x="1160" y="703"/>
                      </a:lnTo>
                      <a:lnTo>
                        <a:pt x="1161" y="701"/>
                      </a:lnTo>
                      <a:lnTo>
                        <a:pt x="1162" y="700"/>
                      </a:lnTo>
                      <a:lnTo>
                        <a:pt x="1162" y="699"/>
                      </a:lnTo>
                      <a:lnTo>
                        <a:pt x="1162" y="698"/>
                      </a:lnTo>
                      <a:lnTo>
                        <a:pt x="1163" y="698"/>
                      </a:lnTo>
                      <a:lnTo>
                        <a:pt x="1163" y="697"/>
                      </a:lnTo>
                      <a:lnTo>
                        <a:pt x="1162" y="697"/>
                      </a:lnTo>
                      <a:lnTo>
                        <a:pt x="1163" y="697"/>
                      </a:lnTo>
                      <a:lnTo>
                        <a:pt x="1163" y="698"/>
                      </a:lnTo>
                      <a:lnTo>
                        <a:pt x="1162" y="697"/>
                      </a:lnTo>
                      <a:lnTo>
                        <a:pt x="1162" y="696"/>
                      </a:lnTo>
                      <a:lnTo>
                        <a:pt x="1162" y="695"/>
                      </a:lnTo>
                      <a:lnTo>
                        <a:pt x="1163" y="696"/>
                      </a:lnTo>
                      <a:close/>
                      <a:moveTo>
                        <a:pt x="1199" y="699"/>
                      </a:moveTo>
                      <a:lnTo>
                        <a:pt x="1200" y="699"/>
                      </a:lnTo>
                      <a:lnTo>
                        <a:pt x="1200" y="700"/>
                      </a:lnTo>
                      <a:lnTo>
                        <a:pt x="1200" y="699"/>
                      </a:lnTo>
                      <a:lnTo>
                        <a:pt x="1199" y="699"/>
                      </a:lnTo>
                      <a:lnTo>
                        <a:pt x="1199" y="700"/>
                      </a:lnTo>
                      <a:lnTo>
                        <a:pt x="1198" y="700"/>
                      </a:lnTo>
                      <a:lnTo>
                        <a:pt x="1197" y="700"/>
                      </a:lnTo>
                      <a:lnTo>
                        <a:pt x="1198" y="701"/>
                      </a:lnTo>
                      <a:lnTo>
                        <a:pt x="1199" y="701"/>
                      </a:lnTo>
                      <a:lnTo>
                        <a:pt x="1199" y="700"/>
                      </a:lnTo>
                      <a:lnTo>
                        <a:pt x="1199" y="701"/>
                      </a:lnTo>
                      <a:lnTo>
                        <a:pt x="1200" y="701"/>
                      </a:lnTo>
                      <a:lnTo>
                        <a:pt x="1200" y="700"/>
                      </a:lnTo>
                      <a:lnTo>
                        <a:pt x="1201" y="700"/>
                      </a:lnTo>
                      <a:lnTo>
                        <a:pt x="1202" y="700"/>
                      </a:lnTo>
                      <a:lnTo>
                        <a:pt x="1202" y="701"/>
                      </a:lnTo>
                      <a:lnTo>
                        <a:pt x="1201" y="701"/>
                      </a:lnTo>
                      <a:lnTo>
                        <a:pt x="1201" y="703"/>
                      </a:lnTo>
                      <a:lnTo>
                        <a:pt x="1201" y="704"/>
                      </a:lnTo>
                      <a:lnTo>
                        <a:pt x="1200" y="704"/>
                      </a:lnTo>
                      <a:lnTo>
                        <a:pt x="1200" y="705"/>
                      </a:lnTo>
                      <a:lnTo>
                        <a:pt x="1200" y="704"/>
                      </a:lnTo>
                      <a:lnTo>
                        <a:pt x="1199" y="703"/>
                      </a:lnTo>
                      <a:lnTo>
                        <a:pt x="1198" y="703"/>
                      </a:lnTo>
                      <a:lnTo>
                        <a:pt x="1198" y="701"/>
                      </a:lnTo>
                      <a:lnTo>
                        <a:pt x="1197" y="701"/>
                      </a:lnTo>
                      <a:lnTo>
                        <a:pt x="1196" y="701"/>
                      </a:lnTo>
                      <a:lnTo>
                        <a:pt x="1195" y="701"/>
                      </a:lnTo>
                      <a:lnTo>
                        <a:pt x="1194" y="703"/>
                      </a:lnTo>
                      <a:lnTo>
                        <a:pt x="1193" y="704"/>
                      </a:lnTo>
                      <a:lnTo>
                        <a:pt x="1192" y="704"/>
                      </a:lnTo>
                      <a:lnTo>
                        <a:pt x="1190" y="704"/>
                      </a:lnTo>
                      <a:lnTo>
                        <a:pt x="1189" y="705"/>
                      </a:lnTo>
                      <a:lnTo>
                        <a:pt x="1189" y="704"/>
                      </a:lnTo>
                      <a:lnTo>
                        <a:pt x="1189" y="703"/>
                      </a:lnTo>
                      <a:lnTo>
                        <a:pt x="1190" y="703"/>
                      </a:lnTo>
                      <a:lnTo>
                        <a:pt x="1193" y="703"/>
                      </a:lnTo>
                      <a:lnTo>
                        <a:pt x="1194" y="701"/>
                      </a:lnTo>
                      <a:lnTo>
                        <a:pt x="1195" y="701"/>
                      </a:lnTo>
                      <a:lnTo>
                        <a:pt x="1196" y="700"/>
                      </a:lnTo>
                      <a:lnTo>
                        <a:pt x="1197" y="700"/>
                      </a:lnTo>
                      <a:lnTo>
                        <a:pt x="1197" y="699"/>
                      </a:lnTo>
                      <a:lnTo>
                        <a:pt x="1198" y="699"/>
                      </a:lnTo>
                      <a:lnTo>
                        <a:pt x="1199" y="699"/>
                      </a:lnTo>
                      <a:close/>
                      <a:moveTo>
                        <a:pt x="1221" y="636"/>
                      </a:moveTo>
                      <a:lnTo>
                        <a:pt x="1222" y="637"/>
                      </a:lnTo>
                      <a:lnTo>
                        <a:pt x="1222" y="639"/>
                      </a:lnTo>
                      <a:lnTo>
                        <a:pt x="1223" y="639"/>
                      </a:lnTo>
                      <a:lnTo>
                        <a:pt x="1224" y="639"/>
                      </a:lnTo>
                      <a:lnTo>
                        <a:pt x="1225" y="639"/>
                      </a:lnTo>
                      <a:lnTo>
                        <a:pt x="1226" y="639"/>
                      </a:lnTo>
                      <a:lnTo>
                        <a:pt x="1227" y="639"/>
                      </a:lnTo>
                      <a:lnTo>
                        <a:pt x="1228" y="637"/>
                      </a:lnTo>
                      <a:lnTo>
                        <a:pt x="1229" y="637"/>
                      </a:lnTo>
                      <a:lnTo>
                        <a:pt x="1229" y="639"/>
                      </a:lnTo>
                      <a:lnTo>
                        <a:pt x="1229" y="640"/>
                      </a:lnTo>
                      <a:lnTo>
                        <a:pt x="1228" y="640"/>
                      </a:lnTo>
                      <a:lnTo>
                        <a:pt x="1227" y="640"/>
                      </a:lnTo>
                      <a:lnTo>
                        <a:pt x="1227" y="639"/>
                      </a:lnTo>
                      <a:lnTo>
                        <a:pt x="1226" y="640"/>
                      </a:lnTo>
                      <a:lnTo>
                        <a:pt x="1226" y="639"/>
                      </a:lnTo>
                      <a:lnTo>
                        <a:pt x="1227" y="639"/>
                      </a:lnTo>
                      <a:lnTo>
                        <a:pt x="1226" y="639"/>
                      </a:lnTo>
                      <a:lnTo>
                        <a:pt x="1226" y="640"/>
                      </a:lnTo>
                      <a:lnTo>
                        <a:pt x="1225" y="640"/>
                      </a:lnTo>
                      <a:lnTo>
                        <a:pt x="1225" y="641"/>
                      </a:lnTo>
                      <a:lnTo>
                        <a:pt x="1224" y="641"/>
                      </a:lnTo>
                      <a:lnTo>
                        <a:pt x="1223" y="641"/>
                      </a:lnTo>
                      <a:lnTo>
                        <a:pt x="1223" y="640"/>
                      </a:lnTo>
                      <a:lnTo>
                        <a:pt x="1224" y="640"/>
                      </a:lnTo>
                      <a:lnTo>
                        <a:pt x="1223" y="639"/>
                      </a:lnTo>
                      <a:lnTo>
                        <a:pt x="1222" y="639"/>
                      </a:lnTo>
                      <a:lnTo>
                        <a:pt x="1222" y="640"/>
                      </a:lnTo>
                      <a:lnTo>
                        <a:pt x="1222" y="639"/>
                      </a:lnTo>
                      <a:lnTo>
                        <a:pt x="1221" y="639"/>
                      </a:lnTo>
                      <a:lnTo>
                        <a:pt x="1220" y="637"/>
                      </a:lnTo>
                      <a:lnTo>
                        <a:pt x="1220" y="639"/>
                      </a:lnTo>
                      <a:lnTo>
                        <a:pt x="1219" y="639"/>
                      </a:lnTo>
                      <a:lnTo>
                        <a:pt x="1219" y="640"/>
                      </a:lnTo>
                      <a:lnTo>
                        <a:pt x="1218" y="639"/>
                      </a:lnTo>
                      <a:lnTo>
                        <a:pt x="1216" y="639"/>
                      </a:lnTo>
                      <a:lnTo>
                        <a:pt x="1218" y="639"/>
                      </a:lnTo>
                      <a:lnTo>
                        <a:pt x="1218" y="637"/>
                      </a:lnTo>
                      <a:lnTo>
                        <a:pt x="1216" y="637"/>
                      </a:lnTo>
                      <a:lnTo>
                        <a:pt x="1216" y="636"/>
                      </a:lnTo>
                      <a:lnTo>
                        <a:pt x="1218" y="636"/>
                      </a:lnTo>
                      <a:lnTo>
                        <a:pt x="1219" y="636"/>
                      </a:lnTo>
                      <a:lnTo>
                        <a:pt x="1220" y="636"/>
                      </a:lnTo>
                      <a:lnTo>
                        <a:pt x="1220" y="635"/>
                      </a:lnTo>
                      <a:lnTo>
                        <a:pt x="1220" y="636"/>
                      </a:lnTo>
                      <a:lnTo>
                        <a:pt x="1220" y="635"/>
                      </a:lnTo>
                      <a:lnTo>
                        <a:pt x="1221" y="635"/>
                      </a:lnTo>
                      <a:lnTo>
                        <a:pt x="1221" y="636"/>
                      </a:lnTo>
                      <a:close/>
                      <a:moveTo>
                        <a:pt x="1314" y="607"/>
                      </a:moveTo>
                      <a:lnTo>
                        <a:pt x="1315" y="608"/>
                      </a:lnTo>
                      <a:lnTo>
                        <a:pt x="1316" y="608"/>
                      </a:lnTo>
                      <a:lnTo>
                        <a:pt x="1315" y="608"/>
                      </a:lnTo>
                      <a:lnTo>
                        <a:pt x="1315" y="609"/>
                      </a:lnTo>
                      <a:lnTo>
                        <a:pt x="1314" y="609"/>
                      </a:lnTo>
                      <a:lnTo>
                        <a:pt x="1313" y="609"/>
                      </a:lnTo>
                      <a:lnTo>
                        <a:pt x="1312" y="609"/>
                      </a:lnTo>
                      <a:lnTo>
                        <a:pt x="1312" y="610"/>
                      </a:lnTo>
                      <a:lnTo>
                        <a:pt x="1312" y="609"/>
                      </a:lnTo>
                      <a:lnTo>
                        <a:pt x="1311" y="609"/>
                      </a:lnTo>
                      <a:lnTo>
                        <a:pt x="1311" y="608"/>
                      </a:lnTo>
                      <a:lnTo>
                        <a:pt x="1310" y="607"/>
                      </a:lnTo>
                      <a:lnTo>
                        <a:pt x="1309" y="607"/>
                      </a:lnTo>
                      <a:lnTo>
                        <a:pt x="1308" y="607"/>
                      </a:lnTo>
                      <a:lnTo>
                        <a:pt x="1310" y="606"/>
                      </a:lnTo>
                      <a:lnTo>
                        <a:pt x="1311" y="606"/>
                      </a:lnTo>
                      <a:lnTo>
                        <a:pt x="1312" y="606"/>
                      </a:lnTo>
                      <a:lnTo>
                        <a:pt x="1312" y="605"/>
                      </a:lnTo>
                      <a:lnTo>
                        <a:pt x="1313" y="605"/>
                      </a:lnTo>
                      <a:lnTo>
                        <a:pt x="1313" y="606"/>
                      </a:lnTo>
                      <a:lnTo>
                        <a:pt x="1314" y="607"/>
                      </a:lnTo>
                      <a:close/>
                      <a:moveTo>
                        <a:pt x="1325" y="543"/>
                      </a:moveTo>
                      <a:lnTo>
                        <a:pt x="1325" y="544"/>
                      </a:lnTo>
                      <a:lnTo>
                        <a:pt x="1325" y="545"/>
                      </a:lnTo>
                      <a:lnTo>
                        <a:pt x="1325" y="544"/>
                      </a:lnTo>
                      <a:lnTo>
                        <a:pt x="1326" y="544"/>
                      </a:lnTo>
                      <a:lnTo>
                        <a:pt x="1327" y="543"/>
                      </a:lnTo>
                      <a:lnTo>
                        <a:pt x="1327" y="544"/>
                      </a:lnTo>
                      <a:lnTo>
                        <a:pt x="1327" y="545"/>
                      </a:lnTo>
                      <a:lnTo>
                        <a:pt x="1327" y="546"/>
                      </a:lnTo>
                      <a:lnTo>
                        <a:pt x="1326" y="546"/>
                      </a:lnTo>
                      <a:lnTo>
                        <a:pt x="1325" y="547"/>
                      </a:lnTo>
                      <a:lnTo>
                        <a:pt x="1324" y="549"/>
                      </a:lnTo>
                      <a:lnTo>
                        <a:pt x="1324" y="547"/>
                      </a:lnTo>
                      <a:lnTo>
                        <a:pt x="1323" y="547"/>
                      </a:lnTo>
                      <a:lnTo>
                        <a:pt x="1322" y="547"/>
                      </a:lnTo>
                      <a:lnTo>
                        <a:pt x="1323" y="547"/>
                      </a:lnTo>
                      <a:lnTo>
                        <a:pt x="1323" y="546"/>
                      </a:lnTo>
                      <a:lnTo>
                        <a:pt x="1323" y="547"/>
                      </a:lnTo>
                      <a:lnTo>
                        <a:pt x="1323" y="546"/>
                      </a:lnTo>
                      <a:lnTo>
                        <a:pt x="1323" y="545"/>
                      </a:lnTo>
                      <a:lnTo>
                        <a:pt x="1323" y="544"/>
                      </a:lnTo>
                      <a:lnTo>
                        <a:pt x="1323" y="545"/>
                      </a:lnTo>
                      <a:lnTo>
                        <a:pt x="1322" y="545"/>
                      </a:lnTo>
                      <a:lnTo>
                        <a:pt x="1322" y="544"/>
                      </a:lnTo>
                      <a:lnTo>
                        <a:pt x="1322" y="543"/>
                      </a:lnTo>
                      <a:lnTo>
                        <a:pt x="1322" y="544"/>
                      </a:lnTo>
                      <a:lnTo>
                        <a:pt x="1323" y="543"/>
                      </a:lnTo>
                      <a:lnTo>
                        <a:pt x="1323" y="542"/>
                      </a:lnTo>
                      <a:lnTo>
                        <a:pt x="1323" y="541"/>
                      </a:lnTo>
                      <a:lnTo>
                        <a:pt x="1323" y="542"/>
                      </a:lnTo>
                      <a:lnTo>
                        <a:pt x="1324" y="542"/>
                      </a:lnTo>
                      <a:lnTo>
                        <a:pt x="1325" y="542"/>
                      </a:lnTo>
                      <a:lnTo>
                        <a:pt x="1325" y="543"/>
                      </a:lnTo>
                      <a:close/>
                      <a:moveTo>
                        <a:pt x="1629" y="542"/>
                      </a:moveTo>
                      <a:lnTo>
                        <a:pt x="1631" y="542"/>
                      </a:lnTo>
                      <a:lnTo>
                        <a:pt x="1629" y="542"/>
                      </a:lnTo>
                      <a:lnTo>
                        <a:pt x="1629" y="543"/>
                      </a:lnTo>
                      <a:lnTo>
                        <a:pt x="1631" y="543"/>
                      </a:lnTo>
                      <a:lnTo>
                        <a:pt x="1631" y="544"/>
                      </a:lnTo>
                      <a:lnTo>
                        <a:pt x="1629" y="544"/>
                      </a:lnTo>
                      <a:lnTo>
                        <a:pt x="1628" y="544"/>
                      </a:lnTo>
                      <a:lnTo>
                        <a:pt x="1627" y="544"/>
                      </a:lnTo>
                      <a:lnTo>
                        <a:pt x="1627" y="543"/>
                      </a:lnTo>
                      <a:lnTo>
                        <a:pt x="1628" y="543"/>
                      </a:lnTo>
                      <a:lnTo>
                        <a:pt x="1627" y="543"/>
                      </a:lnTo>
                      <a:lnTo>
                        <a:pt x="1626" y="544"/>
                      </a:lnTo>
                      <a:lnTo>
                        <a:pt x="1625" y="543"/>
                      </a:lnTo>
                      <a:lnTo>
                        <a:pt x="1625" y="542"/>
                      </a:lnTo>
                      <a:lnTo>
                        <a:pt x="1626" y="541"/>
                      </a:lnTo>
                      <a:lnTo>
                        <a:pt x="1627" y="540"/>
                      </a:lnTo>
                      <a:lnTo>
                        <a:pt x="1628" y="539"/>
                      </a:lnTo>
                      <a:lnTo>
                        <a:pt x="1629" y="539"/>
                      </a:lnTo>
                      <a:lnTo>
                        <a:pt x="1629" y="540"/>
                      </a:lnTo>
                      <a:lnTo>
                        <a:pt x="1629" y="541"/>
                      </a:lnTo>
                      <a:lnTo>
                        <a:pt x="1629" y="542"/>
                      </a:lnTo>
                      <a:close/>
                      <a:moveTo>
                        <a:pt x="1404" y="402"/>
                      </a:moveTo>
                      <a:lnTo>
                        <a:pt x="1404" y="403"/>
                      </a:lnTo>
                      <a:lnTo>
                        <a:pt x="1403" y="402"/>
                      </a:lnTo>
                      <a:lnTo>
                        <a:pt x="1402" y="403"/>
                      </a:lnTo>
                      <a:lnTo>
                        <a:pt x="1401" y="404"/>
                      </a:lnTo>
                      <a:lnTo>
                        <a:pt x="1401" y="405"/>
                      </a:lnTo>
                      <a:lnTo>
                        <a:pt x="1401" y="407"/>
                      </a:lnTo>
                      <a:lnTo>
                        <a:pt x="1400" y="408"/>
                      </a:lnTo>
                      <a:lnTo>
                        <a:pt x="1400" y="407"/>
                      </a:lnTo>
                      <a:lnTo>
                        <a:pt x="1399" y="407"/>
                      </a:lnTo>
                      <a:lnTo>
                        <a:pt x="1399" y="405"/>
                      </a:lnTo>
                      <a:lnTo>
                        <a:pt x="1400" y="405"/>
                      </a:lnTo>
                      <a:lnTo>
                        <a:pt x="1400" y="404"/>
                      </a:lnTo>
                      <a:lnTo>
                        <a:pt x="1401" y="403"/>
                      </a:lnTo>
                      <a:lnTo>
                        <a:pt x="1401" y="402"/>
                      </a:lnTo>
                      <a:lnTo>
                        <a:pt x="1401" y="401"/>
                      </a:lnTo>
                      <a:lnTo>
                        <a:pt x="1402" y="401"/>
                      </a:lnTo>
                      <a:lnTo>
                        <a:pt x="1402" y="400"/>
                      </a:lnTo>
                      <a:lnTo>
                        <a:pt x="1403" y="399"/>
                      </a:lnTo>
                      <a:lnTo>
                        <a:pt x="1404" y="398"/>
                      </a:lnTo>
                      <a:lnTo>
                        <a:pt x="1404" y="399"/>
                      </a:lnTo>
                      <a:lnTo>
                        <a:pt x="1404" y="400"/>
                      </a:lnTo>
                      <a:lnTo>
                        <a:pt x="1405" y="401"/>
                      </a:lnTo>
                      <a:lnTo>
                        <a:pt x="1404" y="401"/>
                      </a:lnTo>
                      <a:lnTo>
                        <a:pt x="1405" y="402"/>
                      </a:lnTo>
                      <a:lnTo>
                        <a:pt x="1404" y="402"/>
                      </a:lnTo>
                      <a:close/>
                      <a:moveTo>
                        <a:pt x="1388" y="417"/>
                      </a:moveTo>
                      <a:lnTo>
                        <a:pt x="1389" y="418"/>
                      </a:lnTo>
                      <a:lnTo>
                        <a:pt x="1388" y="418"/>
                      </a:lnTo>
                      <a:lnTo>
                        <a:pt x="1387" y="418"/>
                      </a:lnTo>
                      <a:lnTo>
                        <a:pt x="1387" y="420"/>
                      </a:lnTo>
                      <a:lnTo>
                        <a:pt x="1388" y="420"/>
                      </a:lnTo>
                      <a:lnTo>
                        <a:pt x="1389" y="421"/>
                      </a:lnTo>
                      <a:lnTo>
                        <a:pt x="1388" y="422"/>
                      </a:lnTo>
                      <a:lnTo>
                        <a:pt x="1387" y="423"/>
                      </a:lnTo>
                      <a:lnTo>
                        <a:pt x="1388" y="423"/>
                      </a:lnTo>
                      <a:lnTo>
                        <a:pt x="1387" y="423"/>
                      </a:lnTo>
                      <a:lnTo>
                        <a:pt x="1387" y="422"/>
                      </a:lnTo>
                      <a:lnTo>
                        <a:pt x="1386" y="422"/>
                      </a:lnTo>
                      <a:lnTo>
                        <a:pt x="1386" y="421"/>
                      </a:lnTo>
                      <a:lnTo>
                        <a:pt x="1387" y="421"/>
                      </a:lnTo>
                      <a:lnTo>
                        <a:pt x="1386" y="420"/>
                      </a:lnTo>
                      <a:lnTo>
                        <a:pt x="1386" y="418"/>
                      </a:lnTo>
                      <a:lnTo>
                        <a:pt x="1384" y="418"/>
                      </a:lnTo>
                      <a:lnTo>
                        <a:pt x="1384" y="417"/>
                      </a:lnTo>
                      <a:lnTo>
                        <a:pt x="1386" y="417"/>
                      </a:lnTo>
                      <a:lnTo>
                        <a:pt x="1386" y="416"/>
                      </a:lnTo>
                      <a:lnTo>
                        <a:pt x="1387" y="416"/>
                      </a:lnTo>
                      <a:lnTo>
                        <a:pt x="1387" y="415"/>
                      </a:lnTo>
                      <a:lnTo>
                        <a:pt x="1388" y="416"/>
                      </a:lnTo>
                      <a:lnTo>
                        <a:pt x="1388" y="417"/>
                      </a:lnTo>
                      <a:close/>
                      <a:moveTo>
                        <a:pt x="1362" y="600"/>
                      </a:moveTo>
                      <a:lnTo>
                        <a:pt x="1363" y="600"/>
                      </a:lnTo>
                      <a:lnTo>
                        <a:pt x="1364" y="600"/>
                      </a:lnTo>
                      <a:lnTo>
                        <a:pt x="1364" y="601"/>
                      </a:lnTo>
                      <a:lnTo>
                        <a:pt x="1364" y="602"/>
                      </a:lnTo>
                      <a:lnTo>
                        <a:pt x="1363" y="602"/>
                      </a:lnTo>
                      <a:lnTo>
                        <a:pt x="1363" y="603"/>
                      </a:lnTo>
                      <a:lnTo>
                        <a:pt x="1362" y="603"/>
                      </a:lnTo>
                      <a:lnTo>
                        <a:pt x="1363" y="604"/>
                      </a:lnTo>
                      <a:lnTo>
                        <a:pt x="1364" y="604"/>
                      </a:lnTo>
                      <a:lnTo>
                        <a:pt x="1363" y="604"/>
                      </a:lnTo>
                      <a:lnTo>
                        <a:pt x="1362" y="604"/>
                      </a:lnTo>
                      <a:lnTo>
                        <a:pt x="1362" y="605"/>
                      </a:lnTo>
                      <a:lnTo>
                        <a:pt x="1361" y="604"/>
                      </a:lnTo>
                      <a:lnTo>
                        <a:pt x="1360" y="604"/>
                      </a:lnTo>
                      <a:lnTo>
                        <a:pt x="1358" y="604"/>
                      </a:lnTo>
                      <a:lnTo>
                        <a:pt x="1358" y="603"/>
                      </a:lnTo>
                      <a:lnTo>
                        <a:pt x="1357" y="603"/>
                      </a:lnTo>
                      <a:lnTo>
                        <a:pt x="1357" y="602"/>
                      </a:lnTo>
                      <a:lnTo>
                        <a:pt x="1358" y="602"/>
                      </a:lnTo>
                      <a:lnTo>
                        <a:pt x="1360" y="602"/>
                      </a:lnTo>
                      <a:lnTo>
                        <a:pt x="1360" y="603"/>
                      </a:lnTo>
                      <a:lnTo>
                        <a:pt x="1361" y="603"/>
                      </a:lnTo>
                      <a:lnTo>
                        <a:pt x="1361" y="602"/>
                      </a:lnTo>
                      <a:lnTo>
                        <a:pt x="1362" y="602"/>
                      </a:lnTo>
                      <a:lnTo>
                        <a:pt x="1361" y="601"/>
                      </a:lnTo>
                      <a:lnTo>
                        <a:pt x="1361" y="600"/>
                      </a:lnTo>
                      <a:lnTo>
                        <a:pt x="1362" y="600"/>
                      </a:lnTo>
                      <a:close/>
                      <a:moveTo>
                        <a:pt x="1350" y="481"/>
                      </a:moveTo>
                      <a:lnTo>
                        <a:pt x="1349" y="481"/>
                      </a:lnTo>
                      <a:lnTo>
                        <a:pt x="1350" y="481"/>
                      </a:lnTo>
                      <a:lnTo>
                        <a:pt x="1349" y="481"/>
                      </a:lnTo>
                      <a:lnTo>
                        <a:pt x="1349" y="482"/>
                      </a:lnTo>
                      <a:lnTo>
                        <a:pt x="1349" y="481"/>
                      </a:lnTo>
                      <a:lnTo>
                        <a:pt x="1348" y="481"/>
                      </a:lnTo>
                      <a:lnTo>
                        <a:pt x="1348" y="482"/>
                      </a:lnTo>
                      <a:lnTo>
                        <a:pt x="1347" y="481"/>
                      </a:lnTo>
                      <a:lnTo>
                        <a:pt x="1345" y="481"/>
                      </a:lnTo>
                      <a:lnTo>
                        <a:pt x="1345" y="480"/>
                      </a:lnTo>
                      <a:lnTo>
                        <a:pt x="1347" y="480"/>
                      </a:lnTo>
                      <a:lnTo>
                        <a:pt x="1347" y="479"/>
                      </a:lnTo>
                      <a:lnTo>
                        <a:pt x="1347" y="478"/>
                      </a:lnTo>
                      <a:lnTo>
                        <a:pt x="1347" y="477"/>
                      </a:lnTo>
                      <a:lnTo>
                        <a:pt x="1345" y="477"/>
                      </a:lnTo>
                      <a:lnTo>
                        <a:pt x="1345" y="476"/>
                      </a:lnTo>
                      <a:lnTo>
                        <a:pt x="1345" y="475"/>
                      </a:lnTo>
                      <a:lnTo>
                        <a:pt x="1345" y="474"/>
                      </a:lnTo>
                      <a:lnTo>
                        <a:pt x="1345" y="473"/>
                      </a:lnTo>
                      <a:lnTo>
                        <a:pt x="1347" y="473"/>
                      </a:lnTo>
                      <a:lnTo>
                        <a:pt x="1347" y="474"/>
                      </a:lnTo>
                      <a:lnTo>
                        <a:pt x="1348" y="474"/>
                      </a:lnTo>
                      <a:lnTo>
                        <a:pt x="1348" y="475"/>
                      </a:lnTo>
                      <a:lnTo>
                        <a:pt x="1347" y="475"/>
                      </a:lnTo>
                      <a:lnTo>
                        <a:pt x="1347" y="476"/>
                      </a:lnTo>
                      <a:lnTo>
                        <a:pt x="1348" y="477"/>
                      </a:lnTo>
                      <a:lnTo>
                        <a:pt x="1348" y="478"/>
                      </a:lnTo>
                      <a:lnTo>
                        <a:pt x="1348" y="479"/>
                      </a:lnTo>
                      <a:lnTo>
                        <a:pt x="1349" y="479"/>
                      </a:lnTo>
                      <a:lnTo>
                        <a:pt x="1349" y="480"/>
                      </a:lnTo>
                      <a:lnTo>
                        <a:pt x="1350" y="480"/>
                      </a:lnTo>
                      <a:lnTo>
                        <a:pt x="1350" y="481"/>
                      </a:lnTo>
                      <a:close/>
                      <a:moveTo>
                        <a:pt x="1607" y="611"/>
                      </a:moveTo>
                      <a:lnTo>
                        <a:pt x="1607" y="613"/>
                      </a:lnTo>
                      <a:lnTo>
                        <a:pt x="1607" y="614"/>
                      </a:lnTo>
                      <a:lnTo>
                        <a:pt x="1607" y="615"/>
                      </a:lnTo>
                      <a:lnTo>
                        <a:pt x="1608" y="615"/>
                      </a:lnTo>
                      <a:lnTo>
                        <a:pt x="1608" y="616"/>
                      </a:lnTo>
                      <a:lnTo>
                        <a:pt x="1608" y="617"/>
                      </a:lnTo>
                      <a:lnTo>
                        <a:pt x="1608" y="618"/>
                      </a:lnTo>
                      <a:lnTo>
                        <a:pt x="1608" y="619"/>
                      </a:lnTo>
                      <a:lnTo>
                        <a:pt x="1607" y="619"/>
                      </a:lnTo>
                      <a:lnTo>
                        <a:pt x="1606" y="619"/>
                      </a:lnTo>
                      <a:lnTo>
                        <a:pt x="1605" y="619"/>
                      </a:lnTo>
                      <a:lnTo>
                        <a:pt x="1605" y="618"/>
                      </a:lnTo>
                      <a:lnTo>
                        <a:pt x="1606" y="618"/>
                      </a:lnTo>
                      <a:lnTo>
                        <a:pt x="1607" y="618"/>
                      </a:lnTo>
                      <a:lnTo>
                        <a:pt x="1606" y="618"/>
                      </a:lnTo>
                      <a:lnTo>
                        <a:pt x="1605" y="618"/>
                      </a:lnTo>
                      <a:lnTo>
                        <a:pt x="1605" y="617"/>
                      </a:lnTo>
                      <a:lnTo>
                        <a:pt x="1605" y="616"/>
                      </a:lnTo>
                      <a:lnTo>
                        <a:pt x="1606" y="616"/>
                      </a:lnTo>
                      <a:lnTo>
                        <a:pt x="1606" y="615"/>
                      </a:lnTo>
                      <a:lnTo>
                        <a:pt x="1605" y="615"/>
                      </a:lnTo>
                      <a:lnTo>
                        <a:pt x="1606" y="615"/>
                      </a:lnTo>
                      <a:lnTo>
                        <a:pt x="1606" y="614"/>
                      </a:lnTo>
                      <a:lnTo>
                        <a:pt x="1606" y="613"/>
                      </a:lnTo>
                      <a:lnTo>
                        <a:pt x="1607" y="613"/>
                      </a:lnTo>
                      <a:lnTo>
                        <a:pt x="1606" y="613"/>
                      </a:lnTo>
                      <a:lnTo>
                        <a:pt x="1605" y="611"/>
                      </a:lnTo>
                      <a:lnTo>
                        <a:pt x="1606" y="611"/>
                      </a:lnTo>
                      <a:lnTo>
                        <a:pt x="1605" y="611"/>
                      </a:lnTo>
                      <a:lnTo>
                        <a:pt x="1606" y="611"/>
                      </a:lnTo>
                      <a:lnTo>
                        <a:pt x="1606" y="610"/>
                      </a:lnTo>
                      <a:lnTo>
                        <a:pt x="1607" y="610"/>
                      </a:lnTo>
                      <a:lnTo>
                        <a:pt x="1607" y="611"/>
                      </a:lnTo>
                      <a:close/>
                      <a:moveTo>
                        <a:pt x="1355" y="516"/>
                      </a:moveTo>
                      <a:lnTo>
                        <a:pt x="1356" y="516"/>
                      </a:lnTo>
                      <a:lnTo>
                        <a:pt x="1355" y="516"/>
                      </a:lnTo>
                      <a:lnTo>
                        <a:pt x="1356" y="516"/>
                      </a:lnTo>
                      <a:lnTo>
                        <a:pt x="1357" y="516"/>
                      </a:lnTo>
                      <a:lnTo>
                        <a:pt x="1357" y="517"/>
                      </a:lnTo>
                      <a:lnTo>
                        <a:pt x="1357" y="516"/>
                      </a:lnTo>
                      <a:lnTo>
                        <a:pt x="1358" y="516"/>
                      </a:lnTo>
                      <a:lnTo>
                        <a:pt x="1358" y="517"/>
                      </a:lnTo>
                      <a:lnTo>
                        <a:pt x="1358" y="518"/>
                      </a:lnTo>
                      <a:lnTo>
                        <a:pt x="1357" y="518"/>
                      </a:lnTo>
                      <a:lnTo>
                        <a:pt x="1357" y="519"/>
                      </a:lnTo>
                      <a:lnTo>
                        <a:pt x="1356" y="519"/>
                      </a:lnTo>
                      <a:lnTo>
                        <a:pt x="1356" y="520"/>
                      </a:lnTo>
                      <a:lnTo>
                        <a:pt x="1356" y="521"/>
                      </a:lnTo>
                      <a:lnTo>
                        <a:pt x="1355" y="523"/>
                      </a:lnTo>
                      <a:lnTo>
                        <a:pt x="1355" y="521"/>
                      </a:lnTo>
                      <a:lnTo>
                        <a:pt x="1355" y="520"/>
                      </a:lnTo>
                      <a:lnTo>
                        <a:pt x="1355" y="519"/>
                      </a:lnTo>
                      <a:lnTo>
                        <a:pt x="1354" y="519"/>
                      </a:lnTo>
                      <a:lnTo>
                        <a:pt x="1354" y="518"/>
                      </a:lnTo>
                      <a:lnTo>
                        <a:pt x="1354" y="517"/>
                      </a:lnTo>
                      <a:lnTo>
                        <a:pt x="1354" y="516"/>
                      </a:lnTo>
                      <a:lnTo>
                        <a:pt x="1354" y="515"/>
                      </a:lnTo>
                      <a:lnTo>
                        <a:pt x="1355" y="515"/>
                      </a:lnTo>
                      <a:lnTo>
                        <a:pt x="1355" y="516"/>
                      </a:lnTo>
                      <a:close/>
                      <a:moveTo>
                        <a:pt x="1262" y="717"/>
                      </a:moveTo>
                      <a:lnTo>
                        <a:pt x="1263" y="717"/>
                      </a:lnTo>
                      <a:lnTo>
                        <a:pt x="1264" y="718"/>
                      </a:lnTo>
                      <a:lnTo>
                        <a:pt x="1265" y="718"/>
                      </a:lnTo>
                      <a:lnTo>
                        <a:pt x="1265" y="719"/>
                      </a:lnTo>
                      <a:lnTo>
                        <a:pt x="1266" y="719"/>
                      </a:lnTo>
                      <a:lnTo>
                        <a:pt x="1266" y="720"/>
                      </a:lnTo>
                      <a:lnTo>
                        <a:pt x="1267" y="721"/>
                      </a:lnTo>
                      <a:lnTo>
                        <a:pt x="1268" y="721"/>
                      </a:lnTo>
                      <a:lnTo>
                        <a:pt x="1268" y="722"/>
                      </a:lnTo>
                      <a:lnTo>
                        <a:pt x="1270" y="723"/>
                      </a:lnTo>
                      <a:lnTo>
                        <a:pt x="1270" y="724"/>
                      </a:lnTo>
                      <a:lnTo>
                        <a:pt x="1261" y="718"/>
                      </a:lnTo>
                      <a:lnTo>
                        <a:pt x="1261" y="717"/>
                      </a:lnTo>
                      <a:lnTo>
                        <a:pt x="1260" y="717"/>
                      </a:lnTo>
                      <a:lnTo>
                        <a:pt x="1260" y="716"/>
                      </a:lnTo>
                      <a:lnTo>
                        <a:pt x="1259" y="714"/>
                      </a:lnTo>
                      <a:lnTo>
                        <a:pt x="1259" y="713"/>
                      </a:lnTo>
                      <a:lnTo>
                        <a:pt x="1260" y="714"/>
                      </a:lnTo>
                      <a:lnTo>
                        <a:pt x="1261" y="716"/>
                      </a:lnTo>
                      <a:lnTo>
                        <a:pt x="1262" y="717"/>
                      </a:lnTo>
                      <a:close/>
                      <a:moveTo>
                        <a:pt x="1314" y="597"/>
                      </a:moveTo>
                      <a:lnTo>
                        <a:pt x="1315" y="597"/>
                      </a:lnTo>
                      <a:lnTo>
                        <a:pt x="1314" y="597"/>
                      </a:lnTo>
                      <a:lnTo>
                        <a:pt x="1314" y="598"/>
                      </a:lnTo>
                      <a:lnTo>
                        <a:pt x="1314" y="600"/>
                      </a:lnTo>
                      <a:lnTo>
                        <a:pt x="1315" y="601"/>
                      </a:lnTo>
                      <a:lnTo>
                        <a:pt x="1315" y="600"/>
                      </a:lnTo>
                      <a:lnTo>
                        <a:pt x="1316" y="601"/>
                      </a:lnTo>
                      <a:lnTo>
                        <a:pt x="1317" y="601"/>
                      </a:lnTo>
                      <a:lnTo>
                        <a:pt x="1318" y="601"/>
                      </a:lnTo>
                      <a:lnTo>
                        <a:pt x="1319" y="601"/>
                      </a:lnTo>
                      <a:lnTo>
                        <a:pt x="1321" y="601"/>
                      </a:lnTo>
                      <a:lnTo>
                        <a:pt x="1321" y="602"/>
                      </a:lnTo>
                      <a:lnTo>
                        <a:pt x="1319" y="602"/>
                      </a:lnTo>
                      <a:lnTo>
                        <a:pt x="1318" y="602"/>
                      </a:lnTo>
                      <a:lnTo>
                        <a:pt x="1317" y="602"/>
                      </a:lnTo>
                      <a:lnTo>
                        <a:pt x="1316" y="603"/>
                      </a:lnTo>
                      <a:lnTo>
                        <a:pt x="1314" y="604"/>
                      </a:lnTo>
                      <a:lnTo>
                        <a:pt x="1313" y="604"/>
                      </a:lnTo>
                      <a:lnTo>
                        <a:pt x="1313" y="603"/>
                      </a:lnTo>
                      <a:lnTo>
                        <a:pt x="1314" y="603"/>
                      </a:lnTo>
                      <a:lnTo>
                        <a:pt x="1315" y="602"/>
                      </a:lnTo>
                      <a:lnTo>
                        <a:pt x="1314" y="602"/>
                      </a:lnTo>
                      <a:lnTo>
                        <a:pt x="1315" y="602"/>
                      </a:lnTo>
                      <a:lnTo>
                        <a:pt x="1315" y="601"/>
                      </a:lnTo>
                      <a:lnTo>
                        <a:pt x="1314" y="601"/>
                      </a:lnTo>
                      <a:lnTo>
                        <a:pt x="1314" y="600"/>
                      </a:lnTo>
                      <a:lnTo>
                        <a:pt x="1314" y="601"/>
                      </a:lnTo>
                      <a:lnTo>
                        <a:pt x="1313" y="601"/>
                      </a:lnTo>
                      <a:lnTo>
                        <a:pt x="1313" y="602"/>
                      </a:lnTo>
                      <a:lnTo>
                        <a:pt x="1312" y="602"/>
                      </a:lnTo>
                      <a:lnTo>
                        <a:pt x="1312" y="601"/>
                      </a:lnTo>
                      <a:lnTo>
                        <a:pt x="1313" y="601"/>
                      </a:lnTo>
                      <a:lnTo>
                        <a:pt x="1313" y="600"/>
                      </a:lnTo>
                      <a:lnTo>
                        <a:pt x="1313" y="598"/>
                      </a:lnTo>
                      <a:lnTo>
                        <a:pt x="1313" y="597"/>
                      </a:lnTo>
                      <a:lnTo>
                        <a:pt x="1314" y="597"/>
                      </a:lnTo>
                      <a:close/>
                      <a:moveTo>
                        <a:pt x="1389" y="503"/>
                      </a:moveTo>
                      <a:lnTo>
                        <a:pt x="1388" y="504"/>
                      </a:lnTo>
                      <a:lnTo>
                        <a:pt x="1389" y="505"/>
                      </a:lnTo>
                      <a:lnTo>
                        <a:pt x="1389" y="504"/>
                      </a:lnTo>
                      <a:lnTo>
                        <a:pt x="1389" y="505"/>
                      </a:lnTo>
                      <a:lnTo>
                        <a:pt x="1390" y="505"/>
                      </a:lnTo>
                      <a:lnTo>
                        <a:pt x="1390" y="506"/>
                      </a:lnTo>
                      <a:lnTo>
                        <a:pt x="1390" y="507"/>
                      </a:lnTo>
                      <a:lnTo>
                        <a:pt x="1389" y="507"/>
                      </a:lnTo>
                      <a:lnTo>
                        <a:pt x="1388" y="507"/>
                      </a:lnTo>
                      <a:lnTo>
                        <a:pt x="1387" y="507"/>
                      </a:lnTo>
                      <a:lnTo>
                        <a:pt x="1387" y="506"/>
                      </a:lnTo>
                      <a:lnTo>
                        <a:pt x="1388" y="506"/>
                      </a:lnTo>
                      <a:lnTo>
                        <a:pt x="1389" y="506"/>
                      </a:lnTo>
                      <a:lnTo>
                        <a:pt x="1389" y="505"/>
                      </a:lnTo>
                      <a:lnTo>
                        <a:pt x="1388" y="505"/>
                      </a:lnTo>
                      <a:lnTo>
                        <a:pt x="1387" y="505"/>
                      </a:lnTo>
                      <a:lnTo>
                        <a:pt x="1387" y="506"/>
                      </a:lnTo>
                      <a:lnTo>
                        <a:pt x="1387" y="507"/>
                      </a:lnTo>
                      <a:lnTo>
                        <a:pt x="1386" y="508"/>
                      </a:lnTo>
                      <a:lnTo>
                        <a:pt x="1386" y="510"/>
                      </a:lnTo>
                      <a:lnTo>
                        <a:pt x="1384" y="510"/>
                      </a:lnTo>
                      <a:lnTo>
                        <a:pt x="1384" y="508"/>
                      </a:lnTo>
                      <a:lnTo>
                        <a:pt x="1386" y="508"/>
                      </a:lnTo>
                      <a:lnTo>
                        <a:pt x="1384" y="508"/>
                      </a:lnTo>
                      <a:lnTo>
                        <a:pt x="1386" y="508"/>
                      </a:lnTo>
                      <a:lnTo>
                        <a:pt x="1386" y="507"/>
                      </a:lnTo>
                      <a:lnTo>
                        <a:pt x="1386" y="506"/>
                      </a:lnTo>
                      <a:lnTo>
                        <a:pt x="1386" y="505"/>
                      </a:lnTo>
                      <a:lnTo>
                        <a:pt x="1386" y="506"/>
                      </a:lnTo>
                      <a:lnTo>
                        <a:pt x="1386" y="505"/>
                      </a:lnTo>
                      <a:lnTo>
                        <a:pt x="1387" y="505"/>
                      </a:lnTo>
                      <a:lnTo>
                        <a:pt x="1387" y="504"/>
                      </a:lnTo>
                      <a:lnTo>
                        <a:pt x="1387" y="503"/>
                      </a:lnTo>
                      <a:lnTo>
                        <a:pt x="1388" y="503"/>
                      </a:lnTo>
                      <a:lnTo>
                        <a:pt x="1389" y="503"/>
                      </a:lnTo>
                      <a:lnTo>
                        <a:pt x="1389" y="502"/>
                      </a:lnTo>
                      <a:lnTo>
                        <a:pt x="1389" y="503"/>
                      </a:lnTo>
                      <a:close/>
                      <a:moveTo>
                        <a:pt x="1274" y="726"/>
                      </a:moveTo>
                      <a:lnTo>
                        <a:pt x="1275" y="727"/>
                      </a:lnTo>
                      <a:lnTo>
                        <a:pt x="1276" y="727"/>
                      </a:lnTo>
                      <a:lnTo>
                        <a:pt x="1277" y="729"/>
                      </a:lnTo>
                      <a:lnTo>
                        <a:pt x="1278" y="729"/>
                      </a:lnTo>
                      <a:lnTo>
                        <a:pt x="1278" y="727"/>
                      </a:lnTo>
                      <a:lnTo>
                        <a:pt x="1279" y="727"/>
                      </a:lnTo>
                      <a:lnTo>
                        <a:pt x="1278" y="727"/>
                      </a:lnTo>
                      <a:lnTo>
                        <a:pt x="1279" y="726"/>
                      </a:lnTo>
                      <a:lnTo>
                        <a:pt x="1279" y="727"/>
                      </a:lnTo>
                      <a:lnTo>
                        <a:pt x="1279" y="729"/>
                      </a:lnTo>
                      <a:lnTo>
                        <a:pt x="1279" y="732"/>
                      </a:lnTo>
                      <a:lnTo>
                        <a:pt x="1279" y="731"/>
                      </a:lnTo>
                      <a:lnTo>
                        <a:pt x="1278" y="731"/>
                      </a:lnTo>
                      <a:lnTo>
                        <a:pt x="1277" y="730"/>
                      </a:lnTo>
                      <a:lnTo>
                        <a:pt x="1276" y="729"/>
                      </a:lnTo>
                      <a:lnTo>
                        <a:pt x="1275" y="727"/>
                      </a:lnTo>
                      <a:lnTo>
                        <a:pt x="1273" y="726"/>
                      </a:lnTo>
                      <a:lnTo>
                        <a:pt x="1274" y="726"/>
                      </a:lnTo>
                      <a:close/>
                      <a:moveTo>
                        <a:pt x="1596" y="604"/>
                      </a:moveTo>
                      <a:lnTo>
                        <a:pt x="1595" y="604"/>
                      </a:lnTo>
                      <a:lnTo>
                        <a:pt x="1595" y="603"/>
                      </a:lnTo>
                      <a:lnTo>
                        <a:pt x="1596" y="602"/>
                      </a:lnTo>
                      <a:lnTo>
                        <a:pt x="1596" y="601"/>
                      </a:lnTo>
                      <a:lnTo>
                        <a:pt x="1596" y="600"/>
                      </a:lnTo>
                      <a:lnTo>
                        <a:pt x="1596" y="598"/>
                      </a:lnTo>
                      <a:lnTo>
                        <a:pt x="1597" y="596"/>
                      </a:lnTo>
                      <a:lnTo>
                        <a:pt x="1598" y="594"/>
                      </a:lnTo>
                      <a:lnTo>
                        <a:pt x="1598" y="593"/>
                      </a:lnTo>
                      <a:lnTo>
                        <a:pt x="1599" y="592"/>
                      </a:lnTo>
                      <a:lnTo>
                        <a:pt x="1599" y="593"/>
                      </a:lnTo>
                      <a:lnTo>
                        <a:pt x="1599" y="594"/>
                      </a:lnTo>
                      <a:lnTo>
                        <a:pt x="1599" y="596"/>
                      </a:lnTo>
                      <a:lnTo>
                        <a:pt x="1598" y="597"/>
                      </a:lnTo>
                      <a:lnTo>
                        <a:pt x="1598" y="598"/>
                      </a:lnTo>
                      <a:lnTo>
                        <a:pt x="1598" y="600"/>
                      </a:lnTo>
                      <a:lnTo>
                        <a:pt x="1597" y="600"/>
                      </a:lnTo>
                      <a:lnTo>
                        <a:pt x="1597" y="601"/>
                      </a:lnTo>
                      <a:lnTo>
                        <a:pt x="1596" y="602"/>
                      </a:lnTo>
                      <a:lnTo>
                        <a:pt x="1596" y="603"/>
                      </a:lnTo>
                      <a:lnTo>
                        <a:pt x="1596" y="604"/>
                      </a:lnTo>
                      <a:close/>
                      <a:moveTo>
                        <a:pt x="1214" y="666"/>
                      </a:moveTo>
                      <a:lnTo>
                        <a:pt x="1215" y="667"/>
                      </a:lnTo>
                      <a:lnTo>
                        <a:pt x="1215" y="668"/>
                      </a:lnTo>
                      <a:lnTo>
                        <a:pt x="1215" y="669"/>
                      </a:lnTo>
                      <a:lnTo>
                        <a:pt x="1214" y="669"/>
                      </a:lnTo>
                      <a:lnTo>
                        <a:pt x="1214" y="670"/>
                      </a:lnTo>
                      <a:lnTo>
                        <a:pt x="1215" y="670"/>
                      </a:lnTo>
                      <a:lnTo>
                        <a:pt x="1215" y="671"/>
                      </a:lnTo>
                      <a:lnTo>
                        <a:pt x="1216" y="671"/>
                      </a:lnTo>
                      <a:lnTo>
                        <a:pt x="1215" y="671"/>
                      </a:lnTo>
                      <a:lnTo>
                        <a:pt x="1216" y="671"/>
                      </a:lnTo>
                      <a:lnTo>
                        <a:pt x="1216" y="672"/>
                      </a:lnTo>
                      <a:lnTo>
                        <a:pt x="1218" y="672"/>
                      </a:lnTo>
                      <a:lnTo>
                        <a:pt x="1218" y="671"/>
                      </a:lnTo>
                      <a:lnTo>
                        <a:pt x="1218" y="672"/>
                      </a:lnTo>
                      <a:lnTo>
                        <a:pt x="1218" y="673"/>
                      </a:lnTo>
                      <a:lnTo>
                        <a:pt x="1216" y="673"/>
                      </a:lnTo>
                      <a:lnTo>
                        <a:pt x="1216" y="672"/>
                      </a:lnTo>
                      <a:lnTo>
                        <a:pt x="1215" y="672"/>
                      </a:lnTo>
                      <a:lnTo>
                        <a:pt x="1214" y="671"/>
                      </a:lnTo>
                      <a:lnTo>
                        <a:pt x="1214" y="670"/>
                      </a:lnTo>
                      <a:lnTo>
                        <a:pt x="1214" y="671"/>
                      </a:lnTo>
                      <a:lnTo>
                        <a:pt x="1214" y="670"/>
                      </a:lnTo>
                      <a:lnTo>
                        <a:pt x="1214" y="669"/>
                      </a:lnTo>
                      <a:lnTo>
                        <a:pt x="1214" y="668"/>
                      </a:lnTo>
                      <a:lnTo>
                        <a:pt x="1214" y="669"/>
                      </a:lnTo>
                      <a:lnTo>
                        <a:pt x="1213" y="669"/>
                      </a:lnTo>
                      <a:lnTo>
                        <a:pt x="1213" y="668"/>
                      </a:lnTo>
                      <a:lnTo>
                        <a:pt x="1212" y="668"/>
                      </a:lnTo>
                      <a:lnTo>
                        <a:pt x="1211" y="668"/>
                      </a:lnTo>
                      <a:lnTo>
                        <a:pt x="1211" y="667"/>
                      </a:lnTo>
                      <a:lnTo>
                        <a:pt x="1211" y="666"/>
                      </a:lnTo>
                      <a:lnTo>
                        <a:pt x="1212" y="666"/>
                      </a:lnTo>
                      <a:lnTo>
                        <a:pt x="1212" y="667"/>
                      </a:lnTo>
                      <a:lnTo>
                        <a:pt x="1213" y="667"/>
                      </a:lnTo>
                      <a:lnTo>
                        <a:pt x="1213" y="666"/>
                      </a:lnTo>
                      <a:lnTo>
                        <a:pt x="1214" y="666"/>
                      </a:lnTo>
                      <a:close/>
                      <a:moveTo>
                        <a:pt x="1356" y="558"/>
                      </a:moveTo>
                      <a:lnTo>
                        <a:pt x="1357" y="558"/>
                      </a:lnTo>
                      <a:lnTo>
                        <a:pt x="1358" y="558"/>
                      </a:lnTo>
                      <a:lnTo>
                        <a:pt x="1360" y="558"/>
                      </a:lnTo>
                      <a:lnTo>
                        <a:pt x="1360" y="559"/>
                      </a:lnTo>
                      <a:lnTo>
                        <a:pt x="1360" y="558"/>
                      </a:lnTo>
                      <a:lnTo>
                        <a:pt x="1360" y="559"/>
                      </a:lnTo>
                      <a:lnTo>
                        <a:pt x="1360" y="558"/>
                      </a:lnTo>
                      <a:lnTo>
                        <a:pt x="1361" y="559"/>
                      </a:lnTo>
                      <a:lnTo>
                        <a:pt x="1362" y="559"/>
                      </a:lnTo>
                      <a:lnTo>
                        <a:pt x="1361" y="559"/>
                      </a:lnTo>
                      <a:lnTo>
                        <a:pt x="1360" y="559"/>
                      </a:lnTo>
                      <a:lnTo>
                        <a:pt x="1358" y="559"/>
                      </a:lnTo>
                      <a:lnTo>
                        <a:pt x="1358" y="558"/>
                      </a:lnTo>
                      <a:lnTo>
                        <a:pt x="1357" y="558"/>
                      </a:lnTo>
                      <a:lnTo>
                        <a:pt x="1357" y="559"/>
                      </a:lnTo>
                      <a:lnTo>
                        <a:pt x="1356" y="559"/>
                      </a:lnTo>
                      <a:lnTo>
                        <a:pt x="1355" y="559"/>
                      </a:lnTo>
                      <a:lnTo>
                        <a:pt x="1355" y="560"/>
                      </a:lnTo>
                      <a:lnTo>
                        <a:pt x="1354" y="560"/>
                      </a:lnTo>
                      <a:lnTo>
                        <a:pt x="1354" y="562"/>
                      </a:lnTo>
                      <a:lnTo>
                        <a:pt x="1353" y="562"/>
                      </a:lnTo>
                      <a:lnTo>
                        <a:pt x="1352" y="562"/>
                      </a:lnTo>
                      <a:lnTo>
                        <a:pt x="1351" y="562"/>
                      </a:lnTo>
                      <a:lnTo>
                        <a:pt x="1350" y="562"/>
                      </a:lnTo>
                      <a:lnTo>
                        <a:pt x="1350" y="563"/>
                      </a:lnTo>
                      <a:lnTo>
                        <a:pt x="1349" y="563"/>
                      </a:lnTo>
                      <a:lnTo>
                        <a:pt x="1349" y="564"/>
                      </a:lnTo>
                      <a:lnTo>
                        <a:pt x="1348" y="565"/>
                      </a:lnTo>
                      <a:lnTo>
                        <a:pt x="1348" y="564"/>
                      </a:lnTo>
                      <a:lnTo>
                        <a:pt x="1348" y="563"/>
                      </a:lnTo>
                      <a:lnTo>
                        <a:pt x="1349" y="563"/>
                      </a:lnTo>
                      <a:lnTo>
                        <a:pt x="1350" y="562"/>
                      </a:lnTo>
                      <a:lnTo>
                        <a:pt x="1351" y="562"/>
                      </a:lnTo>
                      <a:lnTo>
                        <a:pt x="1351" y="560"/>
                      </a:lnTo>
                      <a:lnTo>
                        <a:pt x="1352" y="560"/>
                      </a:lnTo>
                      <a:lnTo>
                        <a:pt x="1353" y="559"/>
                      </a:lnTo>
                      <a:lnTo>
                        <a:pt x="1354" y="559"/>
                      </a:lnTo>
                      <a:lnTo>
                        <a:pt x="1354" y="558"/>
                      </a:lnTo>
                      <a:lnTo>
                        <a:pt x="1355" y="558"/>
                      </a:lnTo>
                      <a:lnTo>
                        <a:pt x="1355" y="557"/>
                      </a:lnTo>
                      <a:lnTo>
                        <a:pt x="1356" y="558"/>
                      </a:lnTo>
                      <a:close/>
                      <a:moveTo>
                        <a:pt x="1407" y="465"/>
                      </a:moveTo>
                      <a:lnTo>
                        <a:pt x="1408" y="465"/>
                      </a:lnTo>
                      <a:lnTo>
                        <a:pt x="1408" y="466"/>
                      </a:lnTo>
                      <a:lnTo>
                        <a:pt x="1408" y="465"/>
                      </a:lnTo>
                      <a:lnTo>
                        <a:pt x="1409" y="465"/>
                      </a:lnTo>
                      <a:lnTo>
                        <a:pt x="1409" y="466"/>
                      </a:lnTo>
                      <a:lnTo>
                        <a:pt x="1410" y="466"/>
                      </a:lnTo>
                      <a:lnTo>
                        <a:pt x="1410" y="467"/>
                      </a:lnTo>
                      <a:lnTo>
                        <a:pt x="1412" y="467"/>
                      </a:lnTo>
                      <a:lnTo>
                        <a:pt x="1412" y="466"/>
                      </a:lnTo>
                      <a:lnTo>
                        <a:pt x="1413" y="466"/>
                      </a:lnTo>
                      <a:lnTo>
                        <a:pt x="1414" y="466"/>
                      </a:lnTo>
                      <a:lnTo>
                        <a:pt x="1413" y="467"/>
                      </a:lnTo>
                      <a:lnTo>
                        <a:pt x="1412" y="467"/>
                      </a:lnTo>
                      <a:lnTo>
                        <a:pt x="1412" y="468"/>
                      </a:lnTo>
                      <a:lnTo>
                        <a:pt x="1410" y="468"/>
                      </a:lnTo>
                      <a:lnTo>
                        <a:pt x="1409" y="468"/>
                      </a:lnTo>
                      <a:lnTo>
                        <a:pt x="1408" y="468"/>
                      </a:lnTo>
                      <a:lnTo>
                        <a:pt x="1408" y="469"/>
                      </a:lnTo>
                      <a:lnTo>
                        <a:pt x="1407" y="469"/>
                      </a:lnTo>
                      <a:lnTo>
                        <a:pt x="1408" y="468"/>
                      </a:lnTo>
                      <a:lnTo>
                        <a:pt x="1409" y="468"/>
                      </a:lnTo>
                      <a:lnTo>
                        <a:pt x="1408" y="468"/>
                      </a:lnTo>
                      <a:lnTo>
                        <a:pt x="1408" y="467"/>
                      </a:lnTo>
                      <a:lnTo>
                        <a:pt x="1407" y="467"/>
                      </a:lnTo>
                      <a:lnTo>
                        <a:pt x="1408" y="467"/>
                      </a:lnTo>
                      <a:lnTo>
                        <a:pt x="1408" y="466"/>
                      </a:lnTo>
                      <a:lnTo>
                        <a:pt x="1407" y="466"/>
                      </a:lnTo>
                      <a:lnTo>
                        <a:pt x="1407" y="467"/>
                      </a:lnTo>
                      <a:lnTo>
                        <a:pt x="1407" y="466"/>
                      </a:lnTo>
                      <a:lnTo>
                        <a:pt x="1407" y="465"/>
                      </a:lnTo>
                      <a:close/>
                      <a:moveTo>
                        <a:pt x="1353" y="542"/>
                      </a:moveTo>
                      <a:lnTo>
                        <a:pt x="1353" y="543"/>
                      </a:lnTo>
                      <a:lnTo>
                        <a:pt x="1352" y="543"/>
                      </a:lnTo>
                      <a:lnTo>
                        <a:pt x="1352" y="544"/>
                      </a:lnTo>
                      <a:lnTo>
                        <a:pt x="1352" y="545"/>
                      </a:lnTo>
                      <a:lnTo>
                        <a:pt x="1352" y="546"/>
                      </a:lnTo>
                      <a:lnTo>
                        <a:pt x="1351" y="546"/>
                      </a:lnTo>
                      <a:lnTo>
                        <a:pt x="1350" y="546"/>
                      </a:lnTo>
                      <a:lnTo>
                        <a:pt x="1351" y="546"/>
                      </a:lnTo>
                      <a:lnTo>
                        <a:pt x="1351" y="545"/>
                      </a:lnTo>
                      <a:lnTo>
                        <a:pt x="1351" y="544"/>
                      </a:lnTo>
                      <a:lnTo>
                        <a:pt x="1350" y="544"/>
                      </a:lnTo>
                      <a:lnTo>
                        <a:pt x="1349" y="544"/>
                      </a:lnTo>
                      <a:lnTo>
                        <a:pt x="1348" y="544"/>
                      </a:lnTo>
                      <a:lnTo>
                        <a:pt x="1348" y="545"/>
                      </a:lnTo>
                      <a:lnTo>
                        <a:pt x="1348" y="544"/>
                      </a:lnTo>
                      <a:lnTo>
                        <a:pt x="1347" y="543"/>
                      </a:lnTo>
                      <a:lnTo>
                        <a:pt x="1348" y="543"/>
                      </a:lnTo>
                      <a:lnTo>
                        <a:pt x="1349" y="543"/>
                      </a:lnTo>
                      <a:lnTo>
                        <a:pt x="1349" y="542"/>
                      </a:lnTo>
                      <a:lnTo>
                        <a:pt x="1350" y="542"/>
                      </a:lnTo>
                      <a:lnTo>
                        <a:pt x="1350" y="543"/>
                      </a:lnTo>
                      <a:lnTo>
                        <a:pt x="1351" y="543"/>
                      </a:lnTo>
                      <a:lnTo>
                        <a:pt x="1351" y="542"/>
                      </a:lnTo>
                      <a:lnTo>
                        <a:pt x="1352" y="542"/>
                      </a:lnTo>
                      <a:lnTo>
                        <a:pt x="1352" y="541"/>
                      </a:lnTo>
                      <a:lnTo>
                        <a:pt x="1353" y="542"/>
                      </a:lnTo>
                      <a:close/>
                      <a:moveTo>
                        <a:pt x="1313" y="527"/>
                      </a:moveTo>
                      <a:lnTo>
                        <a:pt x="1314" y="527"/>
                      </a:lnTo>
                      <a:lnTo>
                        <a:pt x="1313" y="528"/>
                      </a:lnTo>
                      <a:lnTo>
                        <a:pt x="1313" y="529"/>
                      </a:lnTo>
                      <a:lnTo>
                        <a:pt x="1312" y="529"/>
                      </a:lnTo>
                      <a:lnTo>
                        <a:pt x="1311" y="529"/>
                      </a:lnTo>
                      <a:lnTo>
                        <a:pt x="1310" y="529"/>
                      </a:lnTo>
                      <a:lnTo>
                        <a:pt x="1310" y="528"/>
                      </a:lnTo>
                      <a:lnTo>
                        <a:pt x="1310" y="527"/>
                      </a:lnTo>
                      <a:lnTo>
                        <a:pt x="1311" y="527"/>
                      </a:lnTo>
                      <a:lnTo>
                        <a:pt x="1311" y="526"/>
                      </a:lnTo>
                      <a:lnTo>
                        <a:pt x="1312" y="526"/>
                      </a:lnTo>
                      <a:lnTo>
                        <a:pt x="1312" y="525"/>
                      </a:lnTo>
                      <a:lnTo>
                        <a:pt x="1312" y="524"/>
                      </a:lnTo>
                      <a:lnTo>
                        <a:pt x="1313" y="525"/>
                      </a:lnTo>
                      <a:lnTo>
                        <a:pt x="1313" y="526"/>
                      </a:lnTo>
                      <a:lnTo>
                        <a:pt x="1313" y="527"/>
                      </a:lnTo>
                      <a:close/>
                      <a:moveTo>
                        <a:pt x="1308" y="574"/>
                      </a:moveTo>
                      <a:lnTo>
                        <a:pt x="1309" y="574"/>
                      </a:lnTo>
                      <a:lnTo>
                        <a:pt x="1310" y="574"/>
                      </a:lnTo>
                      <a:lnTo>
                        <a:pt x="1311" y="572"/>
                      </a:lnTo>
                      <a:lnTo>
                        <a:pt x="1311" y="574"/>
                      </a:lnTo>
                      <a:lnTo>
                        <a:pt x="1311" y="572"/>
                      </a:lnTo>
                      <a:lnTo>
                        <a:pt x="1312" y="574"/>
                      </a:lnTo>
                      <a:lnTo>
                        <a:pt x="1311" y="574"/>
                      </a:lnTo>
                      <a:lnTo>
                        <a:pt x="1311" y="575"/>
                      </a:lnTo>
                      <a:lnTo>
                        <a:pt x="1310" y="575"/>
                      </a:lnTo>
                      <a:lnTo>
                        <a:pt x="1310" y="576"/>
                      </a:lnTo>
                      <a:lnTo>
                        <a:pt x="1310" y="577"/>
                      </a:lnTo>
                      <a:lnTo>
                        <a:pt x="1309" y="577"/>
                      </a:lnTo>
                      <a:lnTo>
                        <a:pt x="1308" y="576"/>
                      </a:lnTo>
                      <a:lnTo>
                        <a:pt x="1306" y="576"/>
                      </a:lnTo>
                      <a:lnTo>
                        <a:pt x="1306" y="575"/>
                      </a:lnTo>
                      <a:lnTo>
                        <a:pt x="1308" y="575"/>
                      </a:lnTo>
                      <a:lnTo>
                        <a:pt x="1308" y="574"/>
                      </a:lnTo>
                      <a:lnTo>
                        <a:pt x="1306" y="574"/>
                      </a:lnTo>
                      <a:lnTo>
                        <a:pt x="1305" y="575"/>
                      </a:lnTo>
                      <a:lnTo>
                        <a:pt x="1305" y="574"/>
                      </a:lnTo>
                      <a:lnTo>
                        <a:pt x="1305" y="572"/>
                      </a:lnTo>
                      <a:lnTo>
                        <a:pt x="1306" y="574"/>
                      </a:lnTo>
                      <a:lnTo>
                        <a:pt x="1308" y="574"/>
                      </a:lnTo>
                      <a:close/>
                      <a:moveTo>
                        <a:pt x="1622" y="606"/>
                      </a:moveTo>
                      <a:lnTo>
                        <a:pt x="1621" y="606"/>
                      </a:lnTo>
                      <a:lnTo>
                        <a:pt x="1620" y="607"/>
                      </a:lnTo>
                      <a:lnTo>
                        <a:pt x="1619" y="607"/>
                      </a:lnTo>
                      <a:lnTo>
                        <a:pt x="1619" y="606"/>
                      </a:lnTo>
                      <a:lnTo>
                        <a:pt x="1620" y="605"/>
                      </a:lnTo>
                      <a:lnTo>
                        <a:pt x="1621" y="605"/>
                      </a:lnTo>
                      <a:lnTo>
                        <a:pt x="1621" y="604"/>
                      </a:lnTo>
                      <a:lnTo>
                        <a:pt x="1622" y="604"/>
                      </a:lnTo>
                      <a:lnTo>
                        <a:pt x="1623" y="604"/>
                      </a:lnTo>
                      <a:lnTo>
                        <a:pt x="1623" y="603"/>
                      </a:lnTo>
                      <a:lnTo>
                        <a:pt x="1624" y="603"/>
                      </a:lnTo>
                      <a:lnTo>
                        <a:pt x="1625" y="604"/>
                      </a:lnTo>
                      <a:lnTo>
                        <a:pt x="1624" y="604"/>
                      </a:lnTo>
                      <a:lnTo>
                        <a:pt x="1624" y="605"/>
                      </a:lnTo>
                      <a:lnTo>
                        <a:pt x="1623" y="605"/>
                      </a:lnTo>
                      <a:lnTo>
                        <a:pt x="1623" y="606"/>
                      </a:lnTo>
                      <a:lnTo>
                        <a:pt x="1622" y="606"/>
                      </a:lnTo>
                      <a:close/>
                      <a:moveTo>
                        <a:pt x="1335" y="562"/>
                      </a:moveTo>
                      <a:lnTo>
                        <a:pt x="1335" y="563"/>
                      </a:lnTo>
                      <a:lnTo>
                        <a:pt x="1334" y="563"/>
                      </a:lnTo>
                      <a:lnTo>
                        <a:pt x="1334" y="562"/>
                      </a:lnTo>
                      <a:lnTo>
                        <a:pt x="1332" y="562"/>
                      </a:lnTo>
                      <a:lnTo>
                        <a:pt x="1332" y="563"/>
                      </a:lnTo>
                      <a:lnTo>
                        <a:pt x="1331" y="564"/>
                      </a:lnTo>
                      <a:lnTo>
                        <a:pt x="1330" y="564"/>
                      </a:lnTo>
                      <a:lnTo>
                        <a:pt x="1329" y="565"/>
                      </a:lnTo>
                      <a:lnTo>
                        <a:pt x="1329" y="566"/>
                      </a:lnTo>
                      <a:lnTo>
                        <a:pt x="1328" y="566"/>
                      </a:lnTo>
                      <a:lnTo>
                        <a:pt x="1328" y="567"/>
                      </a:lnTo>
                      <a:lnTo>
                        <a:pt x="1328" y="566"/>
                      </a:lnTo>
                      <a:lnTo>
                        <a:pt x="1329" y="566"/>
                      </a:lnTo>
                      <a:lnTo>
                        <a:pt x="1329" y="565"/>
                      </a:lnTo>
                      <a:lnTo>
                        <a:pt x="1329" y="564"/>
                      </a:lnTo>
                      <a:lnTo>
                        <a:pt x="1330" y="564"/>
                      </a:lnTo>
                      <a:lnTo>
                        <a:pt x="1331" y="563"/>
                      </a:lnTo>
                      <a:lnTo>
                        <a:pt x="1332" y="562"/>
                      </a:lnTo>
                      <a:lnTo>
                        <a:pt x="1332" y="560"/>
                      </a:lnTo>
                      <a:lnTo>
                        <a:pt x="1332" y="559"/>
                      </a:lnTo>
                      <a:lnTo>
                        <a:pt x="1334" y="559"/>
                      </a:lnTo>
                      <a:lnTo>
                        <a:pt x="1334" y="558"/>
                      </a:lnTo>
                      <a:lnTo>
                        <a:pt x="1334" y="557"/>
                      </a:lnTo>
                      <a:lnTo>
                        <a:pt x="1335" y="556"/>
                      </a:lnTo>
                      <a:lnTo>
                        <a:pt x="1336" y="555"/>
                      </a:lnTo>
                      <a:lnTo>
                        <a:pt x="1335" y="556"/>
                      </a:lnTo>
                      <a:lnTo>
                        <a:pt x="1335" y="557"/>
                      </a:lnTo>
                      <a:lnTo>
                        <a:pt x="1335" y="558"/>
                      </a:lnTo>
                      <a:lnTo>
                        <a:pt x="1335" y="559"/>
                      </a:lnTo>
                      <a:lnTo>
                        <a:pt x="1335" y="560"/>
                      </a:lnTo>
                      <a:lnTo>
                        <a:pt x="1335" y="562"/>
                      </a:lnTo>
                      <a:close/>
                      <a:moveTo>
                        <a:pt x="1324" y="568"/>
                      </a:moveTo>
                      <a:lnTo>
                        <a:pt x="1324" y="569"/>
                      </a:lnTo>
                      <a:lnTo>
                        <a:pt x="1325" y="569"/>
                      </a:lnTo>
                      <a:lnTo>
                        <a:pt x="1325" y="570"/>
                      </a:lnTo>
                      <a:lnTo>
                        <a:pt x="1324" y="571"/>
                      </a:lnTo>
                      <a:lnTo>
                        <a:pt x="1324" y="572"/>
                      </a:lnTo>
                      <a:lnTo>
                        <a:pt x="1323" y="572"/>
                      </a:lnTo>
                      <a:lnTo>
                        <a:pt x="1322" y="572"/>
                      </a:lnTo>
                      <a:lnTo>
                        <a:pt x="1321" y="572"/>
                      </a:lnTo>
                      <a:lnTo>
                        <a:pt x="1321" y="571"/>
                      </a:lnTo>
                      <a:lnTo>
                        <a:pt x="1322" y="571"/>
                      </a:lnTo>
                      <a:lnTo>
                        <a:pt x="1322" y="570"/>
                      </a:lnTo>
                      <a:lnTo>
                        <a:pt x="1322" y="569"/>
                      </a:lnTo>
                      <a:lnTo>
                        <a:pt x="1322" y="570"/>
                      </a:lnTo>
                      <a:lnTo>
                        <a:pt x="1323" y="570"/>
                      </a:lnTo>
                      <a:lnTo>
                        <a:pt x="1323" y="569"/>
                      </a:lnTo>
                      <a:lnTo>
                        <a:pt x="1324" y="569"/>
                      </a:lnTo>
                      <a:lnTo>
                        <a:pt x="1323" y="569"/>
                      </a:lnTo>
                      <a:lnTo>
                        <a:pt x="1324" y="569"/>
                      </a:lnTo>
                      <a:lnTo>
                        <a:pt x="1323" y="569"/>
                      </a:lnTo>
                      <a:lnTo>
                        <a:pt x="1322" y="569"/>
                      </a:lnTo>
                      <a:lnTo>
                        <a:pt x="1323" y="568"/>
                      </a:lnTo>
                      <a:lnTo>
                        <a:pt x="1324" y="568"/>
                      </a:lnTo>
                      <a:close/>
                      <a:moveTo>
                        <a:pt x="1631" y="575"/>
                      </a:moveTo>
                      <a:lnTo>
                        <a:pt x="1631" y="576"/>
                      </a:lnTo>
                      <a:lnTo>
                        <a:pt x="1632" y="576"/>
                      </a:lnTo>
                      <a:lnTo>
                        <a:pt x="1633" y="576"/>
                      </a:lnTo>
                      <a:lnTo>
                        <a:pt x="1633" y="577"/>
                      </a:lnTo>
                      <a:lnTo>
                        <a:pt x="1632" y="576"/>
                      </a:lnTo>
                      <a:lnTo>
                        <a:pt x="1632" y="577"/>
                      </a:lnTo>
                      <a:lnTo>
                        <a:pt x="1632" y="578"/>
                      </a:lnTo>
                      <a:lnTo>
                        <a:pt x="1631" y="578"/>
                      </a:lnTo>
                      <a:lnTo>
                        <a:pt x="1632" y="578"/>
                      </a:lnTo>
                      <a:lnTo>
                        <a:pt x="1632" y="579"/>
                      </a:lnTo>
                      <a:lnTo>
                        <a:pt x="1631" y="579"/>
                      </a:lnTo>
                      <a:lnTo>
                        <a:pt x="1629" y="579"/>
                      </a:lnTo>
                      <a:lnTo>
                        <a:pt x="1629" y="578"/>
                      </a:lnTo>
                      <a:lnTo>
                        <a:pt x="1628" y="578"/>
                      </a:lnTo>
                      <a:lnTo>
                        <a:pt x="1628" y="577"/>
                      </a:lnTo>
                      <a:lnTo>
                        <a:pt x="1628" y="576"/>
                      </a:lnTo>
                      <a:lnTo>
                        <a:pt x="1629" y="575"/>
                      </a:lnTo>
                      <a:lnTo>
                        <a:pt x="1631" y="575"/>
                      </a:lnTo>
                      <a:close/>
                      <a:moveTo>
                        <a:pt x="1627" y="539"/>
                      </a:moveTo>
                      <a:lnTo>
                        <a:pt x="1626" y="539"/>
                      </a:lnTo>
                      <a:lnTo>
                        <a:pt x="1626" y="540"/>
                      </a:lnTo>
                      <a:lnTo>
                        <a:pt x="1626" y="539"/>
                      </a:lnTo>
                      <a:lnTo>
                        <a:pt x="1625" y="539"/>
                      </a:lnTo>
                      <a:lnTo>
                        <a:pt x="1625" y="540"/>
                      </a:lnTo>
                      <a:lnTo>
                        <a:pt x="1624" y="540"/>
                      </a:lnTo>
                      <a:lnTo>
                        <a:pt x="1623" y="540"/>
                      </a:lnTo>
                      <a:lnTo>
                        <a:pt x="1623" y="539"/>
                      </a:lnTo>
                      <a:lnTo>
                        <a:pt x="1624" y="539"/>
                      </a:lnTo>
                      <a:lnTo>
                        <a:pt x="1624" y="538"/>
                      </a:lnTo>
                      <a:lnTo>
                        <a:pt x="1625" y="538"/>
                      </a:lnTo>
                      <a:lnTo>
                        <a:pt x="1625" y="537"/>
                      </a:lnTo>
                      <a:lnTo>
                        <a:pt x="1626" y="537"/>
                      </a:lnTo>
                      <a:lnTo>
                        <a:pt x="1627" y="537"/>
                      </a:lnTo>
                      <a:lnTo>
                        <a:pt x="1627" y="536"/>
                      </a:lnTo>
                      <a:lnTo>
                        <a:pt x="1628" y="536"/>
                      </a:lnTo>
                      <a:lnTo>
                        <a:pt x="1628" y="537"/>
                      </a:lnTo>
                      <a:lnTo>
                        <a:pt x="1628" y="538"/>
                      </a:lnTo>
                      <a:lnTo>
                        <a:pt x="1627" y="539"/>
                      </a:lnTo>
                      <a:close/>
                      <a:moveTo>
                        <a:pt x="1274" y="637"/>
                      </a:moveTo>
                      <a:lnTo>
                        <a:pt x="1275" y="637"/>
                      </a:lnTo>
                      <a:lnTo>
                        <a:pt x="1276" y="639"/>
                      </a:lnTo>
                      <a:lnTo>
                        <a:pt x="1275" y="639"/>
                      </a:lnTo>
                      <a:lnTo>
                        <a:pt x="1275" y="640"/>
                      </a:lnTo>
                      <a:lnTo>
                        <a:pt x="1274" y="640"/>
                      </a:lnTo>
                      <a:lnTo>
                        <a:pt x="1273" y="640"/>
                      </a:lnTo>
                      <a:lnTo>
                        <a:pt x="1272" y="640"/>
                      </a:lnTo>
                      <a:lnTo>
                        <a:pt x="1272" y="641"/>
                      </a:lnTo>
                      <a:lnTo>
                        <a:pt x="1272" y="640"/>
                      </a:lnTo>
                      <a:lnTo>
                        <a:pt x="1271" y="640"/>
                      </a:lnTo>
                      <a:lnTo>
                        <a:pt x="1271" y="641"/>
                      </a:lnTo>
                      <a:lnTo>
                        <a:pt x="1270" y="642"/>
                      </a:lnTo>
                      <a:lnTo>
                        <a:pt x="1270" y="641"/>
                      </a:lnTo>
                      <a:lnTo>
                        <a:pt x="1268" y="641"/>
                      </a:lnTo>
                      <a:lnTo>
                        <a:pt x="1268" y="640"/>
                      </a:lnTo>
                      <a:lnTo>
                        <a:pt x="1270" y="640"/>
                      </a:lnTo>
                      <a:lnTo>
                        <a:pt x="1270" y="639"/>
                      </a:lnTo>
                      <a:lnTo>
                        <a:pt x="1271" y="639"/>
                      </a:lnTo>
                      <a:lnTo>
                        <a:pt x="1272" y="639"/>
                      </a:lnTo>
                      <a:lnTo>
                        <a:pt x="1272" y="637"/>
                      </a:lnTo>
                      <a:lnTo>
                        <a:pt x="1273" y="639"/>
                      </a:lnTo>
                      <a:lnTo>
                        <a:pt x="1273" y="637"/>
                      </a:lnTo>
                      <a:lnTo>
                        <a:pt x="1274" y="637"/>
                      </a:lnTo>
                      <a:close/>
                      <a:moveTo>
                        <a:pt x="1179" y="705"/>
                      </a:moveTo>
                      <a:lnTo>
                        <a:pt x="1180" y="705"/>
                      </a:lnTo>
                      <a:lnTo>
                        <a:pt x="1180" y="706"/>
                      </a:lnTo>
                      <a:lnTo>
                        <a:pt x="1181" y="706"/>
                      </a:lnTo>
                      <a:lnTo>
                        <a:pt x="1180" y="707"/>
                      </a:lnTo>
                      <a:lnTo>
                        <a:pt x="1179" y="707"/>
                      </a:lnTo>
                      <a:lnTo>
                        <a:pt x="1177" y="707"/>
                      </a:lnTo>
                      <a:lnTo>
                        <a:pt x="1179" y="708"/>
                      </a:lnTo>
                      <a:lnTo>
                        <a:pt x="1177" y="708"/>
                      </a:lnTo>
                      <a:lnTo>
                        <a:pt x="1177" y="707"/>
                      </a:lnTo>
                      <a:lnTo>
                        <a:pt x="1176" y="708"/>
                      </a:lnTo>
                      <a:lnTo>
                        <a:pt x="1175" y="708"/>
                      </a:lnTo>
                      <a:lnTo>
                        <a:pt x="1175" y="707"/>
                      </a:lnTo>
                      <a:lnTo>
                        <a:pt x="1175" y="706"/>
                      </a:lnTo>
                      <a:lnTo>
                        <a:pt x="1176" y="707"/>
                      </a:lnTo>
                      <a:lnTo>
                        <a:pt x="1176" y="706"/>
                      </a:lnTo>
                      <a:lnTo>
                        <a:pt x="1175" y="706"/>
                      </a:lnTo>
                      <a:lnTo>
                        <a:pt x="1176" y="706"/>
                      </a:lnTo>
                      <a:lnTo>
                        <a:pt x="1176" y="705"/>
                      </a:lnTo>
                      <a:lnTo>
                        <a:pt x="1177" y="705"/>
                      </a:lnTo>
                      <a:lnTo>
                        <a:pt x="1179" y="705"/>
                      </a:lnTo>
                      <a:close/>
                      <a:moveTo>
                        <a:pt x="1335" y="620"/>
                      </a:moveTo>
                      <a:lnTo>
                        <a:pt x="1336" y="620"/>
                      </a:lnTo>
                      <a:lnTo>
                        <a:pt x="1336" y="621"/>
                      </a:lnTo>
                      <a:lnTo>
                        <a:pt x="1337" y="621"/>
                      </a:lnTo>
                      <a:lnTo>
                        <a:pt x="1336" y="621"/>
                      </a:lnTo>
                      <a:lnTo>
                        <a:pt x="1336" y="622"/>
                      </a:lnTo>
                      <a:lnTo>
                        <a:pt x="1337" y="622"/>
                      </a:lnTo>
                      <a:lnTo>
                        <a:pt x="1337" y="623"/>
                      </a:lnTo>
                      <a:lnTo>
                        <a:pt x="1338" y="623"/>
                      </a:lnTo>
                      <a:lnTo>
                        <a:pt x="1338" y="624"/>
                      </a:lnTo>
                      <a:lnTo>
                        <a:pt x="1338" y="626"/>
                      </a:lnTo>
                      <a:lnTo>
                        <a:pt x="1337" y="626"/>
                      </a:lnTo>
                      <a:lnTo>
                        <a:pt x="1337" y="624"/>
                      </a:lnTo>
                      <a:lnTo>
                        <a:pt x="1337" y="623"/>
                      </a:lnTo>
                      <a:lnTo>
                        <a:pt x="1336" y="623"/>
                      </a:lnTo>
                      <a:lnTo>
                        <a:pt x="1335" y="622"/>
                      </a:lnTo>
                      <a:lnTo>
                        <a:pt x="1336" y="622"/>
                      </a:lnTo>
                      <a:lnTo>
                        <a:pt x="1335" y="622"/>
                      </a:lnTo>
                      <a:lnTo>
                        <a:pt x="1335" y="621"/>
                      </a:lnTo>
                      <a:lnTo>
                        <a:pt x="1335" y="622"/>
                      </a:lnTo>
                      <a:lnTo>
                        <a:pt x="1334" y="622"/>
                      </a:lnTo>
                      <a:lnTo>
                        <a:pt x="1332" y="622"/>
                      </a:lnTo>
                      <a:lnTo>
                        <a:pt x="1332" y="621"/>
                      </a:lnTo>
                      <a:lnTo>
                        <a:pt x="1334" y="622"/>
                      </a:lnTo>
                      <a:lnTo>
                        <a:pt x="1334" y="621"/>
                      </a:lnTo>
                      <a:lnTo>
                        <a:pt x="1335" y="621"/>
                      </a:lnTo>
                      <a:lnTo>
                        <a:pt x="1335" y="620"/>
                      </a:lnTo>
                      <a:lnTo>
                        <a:pt x="1334" y="620"/>
                      </a:lnTo>
                      <a:lnTo>
                        <a:pt x="1332" y="620"/>
                      </a:lnTo>
                      <a:lnTo>
                        <a:pt x="1332" y="621"/>
                      </a:lnTo>
                      <a:lnTo>
                        <a:pt x="1331" y="621"/>
                      </a:lnTo>
                      <a:lnTo>
                        <a:pt x="1331" y="620"/>
                      </a:lnTo>
                      <a:lnTo>
                        <a:pt x="1332" y="620"/>
                      </a:lnTo>
                      <a:lnTo>
                        <a:pt x="1334" y="620"/>
                      </a:lnTo>
                      <a:lnTo>
                        <a:pt x="1334" y="619"/>
                      </a:lnTo>
                      <a:lnTo>
                        <a:pt x="1335" y="620"/>
                      </a:lnTo>
                      <a:close/>
                      <a:moveTo>
                        <a:pt x="1632" y="555"/>
                      </a:moveTo>
                      <a:lnTo>
                        <a:pt x="1632" y="556"/>
                      </a:lnTo>
                      <a:lnTo>
                        <a:pt x="1631" y="556"/>
                      </a:lnTo>
                      <a:lnTo>
                        <a:pt x="1631" y="557"/>
                      </a:lnTo>
                      <a:lnTo>
                        <a:pt x="1629" y="557"/>
                      </a:lnTo>
                      <a:lnTo>
                        <a:pt x="1628" y="557"/>
                      </a:lnTo>
                      <a:lnTo>
                        <a:pt x="1628" y="558"/>
                      </a:lnTo>
                      <a:lnTo>
                        <a:pt x="1627" y="558"/>
                      </a:lnTo>
                      <a:lnTo>
                        <a:pt x="1626" y="557"/>
                      </a:lnTo>
                      <a:lnTo>
                        <a:pt x="1627" y="557"/>
                      </a:lnTo>
                      <a:lnTo>
                        <a:pt x="1626" y="556"/>
                      </a:lnTo>
                      <a:lnTo>
                        <a:pt x="1627" y="556"/>
                      </a:lnTo>
                      <a:lnTo>
                        <a:pt x="1628" y="555"/>
                      </a:lnTo>
                      <a:lnTo>
                        <a:pt x="1629" y="555"/>
                      </a:lnTo>
                      <a:lnTo>
                        <a:pt x="1631" y="555"/>
                      </a:lnTo>
                      <a:lnTo>
                        <a:pt x="1632" y="555"/>
                      </a:lnTo>
                      <a:close/>
                      <a:moveTo>
                        <a:pt x="1616" y="646"/>
                      </a:moveTo>
                      <a:lnTo>
                        <a:pt x="1615" y="647"/>
                      </a:lnTo>
                      <a:lnTo>
                        <a:pt x="1615" y="648"/>
                      </a:lnTo>
                      <a:lnTo>
                        <a:pt x="1614" y="648"/>
                      </a:lnTo>
                      <a:lnTo>
                        <a:pt x="1614" y="647"/>
                      </a:lnTo>
                      <a:lnTo>
                        <a:pt x="1613" y="647"/>
                      </a:lnTo>
                      <a:lnTo>
                        <a:pt x="1612" y="647"/>
                      </a:lnTo>
                      <a:lnTo>
                        <a:pt x="1613" y="647"/>
                      </a:lnTo>
                      <a:lnTo>
                        <a:pt x="1613" y="646"/>
                      </a:lnTo>
                      <a:lnTo>
                        <a:pt x="1612" y="647"/>
                      </a:lnTo>
                      <a:lnTo>
                        <a:pt x="1612" y="646"/>
                      </a:lnTo>
                      <a:lnTo>
                        <a:pt x="1612" y="645"/>
                      </a:lnTo>
                      <a:lnTo>
                        <a:pt x="1613" y="645"/>
                      </a:lnTo>
                      <a:lnTo>
                        <a:pt x="1613" y="644"/>
                      </a:lnTo>
                      <a:lnTo>
                        <a:pt x="1614" y="645"/>
                      </a:lnTo>
                      <a:lnTo>
                        <a:pt x="1615" y="645"/>
                      </a:lnTo>
                      <a:lnTo>
                        <a:pt x="1616" y="646"/>
                      </a:lnTo>
                      <a:close/>
                      <a:moveTo>
                        <a:pt x="1314" y="468"/>
                      </a:moveTo>
                      <a:lnTo>
                        <a:pt x="1315" y="468"/>
                      </a:lnTo>
                      <a:lnTo>
                        <a:pt x="1316" y="468"/>
                      </a:lnTo>
                      <a:lnTo>
                        <a:pt x="1315" y="468"/>
                      </a:lnTo>
                      <a:lnTo>
                        <a:pt x="1316" y="469"/>
                      </a:lnTo>
                      <a:lnTo>
                        <a:pt x="1317" y="469"/>
                      </a:lnTo>
                      <a:lnTo>
                        <a:pt x="1317" y="470"/>
                      </a:lnTo>
                      <a:lnTo>
                        <a:pt x="1317" y="472"/>
                      </a:lnTo>
                      <a:lnTo>
                        <a:pt x="1316" y="473"/>
                      </a:lnTo>
                      <a:lnTo>
                        <a:pt x="1315" y="473"/>
                      </a:lnTo>
                      <a:lnTo>
                        <a:pt x="1315" y="474"/>
                      </a:lnTo>
                      <a:lnTo>
                        <a:pt x="1315" y="473"/>
                      </a:lnTo>
                      <a:lnTo>
                        <a:pt x="1314" y="473"/>
                      </a:lnTo>
                      <a:lnTo>
                        <a:pt x="1314" y="472"/>
                      </a:lnTo>
                      <a:lnTo>
                        <a:pt x="1315" y="472"/>
                      </a:lnTo>
                      <a:lnTo>
                        <a:pt x="1315" y="470"/>
                      </a:lnTo>
                      <a:lnTo>
                        <a:pt x="1316" y="470"/>
                      </a:lnTo>
                      <a:lnTo>
                        <a:pt x="1315" y="470"/>
                      </a:lnTo>
                      <a:lnTo>
                        <a:pt x="1316" y="470"/>
                      </a:lnTo>
                      <a:lnTo>
                        <a:pt x="1315" y="469"/>
                      </a:lnTo>
                      <a:lnTo>
                        <a:pt x="1316" y="469"/>
                      </a:lnTo>
                      <a:lnTo>
                        <a:pt x="1315" y="469"/>
                      </a:lnTo>
                      <a:lnTo>
                        <a:pt x="1315" y="468"/>
                      </a:lnTo>
                      <a:lnTo>
                        <a:pt x="1315" y="469"/>
                      </a:lnTo>
                      <a:lnTo>
                        <a:pt x="1314" y="469"/>
                      </a:lnTo>
                      <a:lnTo>
                        <a:pt x="1313" y="469"/>
                      </a:lnTo>
                      <a:lnTo>
                        <a:pt x="1313" y="468"/>
                      </a:lnTo>
                      <a:lnTo>
                        <a:pt x="1314" y="468"/>
                      </a:lnTo>
                      <a:close/>
                      <a:moveTo>
                        <a:pt x="1627" y="598"/>
                      </a:moveTo>
                      <a:lnTo>
                        <a:pt x="1627" y="600"/>
                      </a:lnTo>
                      <a:lnTo>
                        <a:pt x="1628" y="600"/>
                      </a:lnTo>
                      <a:lnTo>
                        <a:pt x="1629" y="600"/>
                      </a:lnTo>
                      <a:lnTo>
                        <a:pt x="1628" y="600"/>
                      </a:lnTo>
                      <a:lnTo>
                        <a:pt x="1628" y="601"/>
                      </a:lnTo>
                      <a:lnTo>
                        <a:pt x="1628" y="602"/>
                      </a:lnTo>
                      <a:lnTo>
                        <a:pt x="1627" y="601"/>
                      </a:lnTo>
                      <a:lnTo>
                        <a:pt x="1626" y="601"/>
                      </a:lnTo>
                      <a:lnTo>
                        <a:pt x="1625" y="601"/>
                      </a:lnTo>
                      <a:lnTo>
                        <a:pt x="1625" y="600"/>
                      </a:lnTo>
                      <a:lnTo>
                        <a:pt x="1624" y="600"/>
                      </a:lnTo>
                      <a:lnTo>
                        <a:pt x="1624" y="598"/>
                      </a:lnTo>
                      <a:lnTo>
                        <a:pt x="1625" y="598"/>
                      </a:lnTo>
                      <a:lnTo>
                        <a:pt x="1626" y="598"/>
                      </a:lnTo>
                      <a:lnTo>
                        <a:pt x="1626" y="597"/>
                      </a:lnTo>
                      <a:lnTo>
                        <a:pt x="1627" y="598"/>
                      </a:lnTo>
                      <a:close/>
                      <a:moveTo>
                        <a:pt x="1302" y="506"/>
                      </a:moveTo>
                      <a:lnTo>
                        <a:pt x="1303" y="506"/>
                      </a:lnTo>
                      <a:lnTo>
                        <a:pt x="1304" y="506"/>
                      </a:lnTo>
                      <a:lnTo>
                        <a:pt x="1304" y="507"/>
                      </a:lnTo>
                      <a:lnTo>
                        <a:pt x="1303" y="507"/>
                      </a:lnTo>
                      <a:lnTo>
                        <a:pt x="1304" y="508"/>
                      </a:lnTo>
                      <a:lnTo>
                        <a:pt x="1305" y="508"/>
                      </a:lnTo>
                      <a:lnTo>
                        <a:pt x="1304" y="508"/>
                      </a:lnTo>
                      <a:lnTo>
                        <a:pt x="1303" y="508"/>
                      </a:lnTo>
                      <a:lnTo>
                        <a:pt x="1303" y="507"/>
                      </a:lnTo>
                      <a:lnTo>
                        <a:pt x="1302" y="507"/>
                      </a:lnTo>
                      <a:lnTo>
                        <a:pt x="1301" y="507"/>
                      </a:lnTo>
                      <a:lnTo>
                        <a:pt x="1300" y="507"/>
                      </a:lnTo>
                      <a:lnTo>
                        <a:pt x="1300" y="506"/>
                      </a:lnTo>
                      <a:lnTo>
                        <a:pt x="1300" y="505"/>
                      </a:lnTo>
                      <a:lnTo>
                        <a:pt x="1301" y="505"/>
                      </a:lnTo>
                      <a:lnTo>
                        <a:pt x="1302" y="505"/>
                      </a:lnTo>
                      <a:lnTo>
                        <a:pt x="1302" y="506"/>
                      </a:lnTo>
                      <a:close/>
                      <a:moveTo>
                        <a:pt x="1347" y="512"/>
                      </a:moveTo>
                      <a:lnTo>
                        <a:pt x="1345" y="512"/>
                      </a:lnTo>
                      <a:lnTo>
                        <a:pt x="1345" y="513"/>
                      </a:lnTo>
                      <a:lnTo>
                        <a:pt x="1345" y="514"/>
                      </a:lnTo>
                      <a:lnTo>
                        <a:pt x="1344" y="514"/>
                      </a:lnTo>
                      <a:lnTo>
                        <a:pt x="1344" y="513"/>
                      </a:lnTo>
                      <a:lnTo>
                        <a:pt x="1343" y="513"/>
                      </a:lnTo>
                      <a:lnTo>
                        <a:pt x="1342" y="514"/>
                      </a:lnTo>
                      <a:lnTo>
                        <a:pt x="1342" y="513"/>
                      </a:lnTo>
                      <a:lnTo>
                        <a:pt x="1342" y="512"/>
                      </a:lnTo>
                      <a:lnTo>
                        <a:pt x="1342" y="511"/>
                      </a:lnTo>
                      <a:lnTo>
                        <a:pt x="1342" y="510"/>
                      </a:lnTo>
                      <a:lnTo>
                        <a:pt x="1343" y="510"/>
                      </a:lnTo>
                      <a:lnTo>
                        <a:pt x="1343" y="511"/>
                      </a:lnTo>
                      <a:lnTo>
                        <a:pt x="1343" y="512"/>
                      </a:lnTo>
                      <a:lnTo>
                        <a:pt x="1344" y="512"/>
                      </a:lnTo>
                      <a:lnTo>
                        <a:pt x="1345" y="512"/>
                      </a:lnTo>
                      <a:lnTo>
                        <a:pt x="1345" y="511"/>
                      </a:lnTo>
                      <a:lnTo>
                        <a:pt x="1345" y="510"/>
                      </a:lnTo>
                      <a:lnTo>
                        <a:pt x="1347" y="510"/>
                      </a:lnTo>
                      <a:lnTo>
                        <a:pt x="1347" y="511"/>
                      </a:lnTo>
                      <a:lnTo>
                        <a:pt x="1347" y="512"/>
                      </a:lnTo>
                      <a:close/>
                      <a:moveTo>
                        <a:pt x="1233" y="636"/>
                      </a:moveTo>
                      <a:lnTo>
                        <a:pt x="1234" y="637"/>
                      </a:lnTo>
                      <a:lnTo>
                        <a:pt x="1235" y="637"/>
                      </a:lnTo>
                      <a:lnTo>
                        <a:pt x="1236" y="637"/>
                      </a:lnTo>
                      <a:lnTo>
                        <a:pt x="1236" y="636"/>
                      </a:lnTo>
                      <a:lnTo>
                        <a:pt x="1237" y="636"/>
                      </a:lnTo>
                      <a:lnTo>
                        <a:pt x="1237" y="637"/>
                      </a:lnTo>
                      <a:lnTo>
                        <a:pt x="1236" y="637"/>
                      </a:lnTo>
                      <a:lnTo>
                        <a:pt x="1236" y="639"/>
                      </a:lnTo>
                      <a:lnTo>
                        <a:pt x="1236" y="640"/>
                      </a:lnTo>
                      <a:lnTo>
                        <a:pt x="1237" y="640"/>
                      </a:lnTo>
                      <a:lnTo>
                        <a:pt x="1237" y="639"/>
                      </a:lnTo>
                      <a:lnTo>
                        <a:pt x="1238" y="639"/>
                      </a:lnTo>
                      <a:lnTo>
                        <a:pt x="1239" y="639"/>
                      </a:lnTo>
                      <a:lnTo>
                        <a:pt x="1238" y="640"/>
                      </a:lnTo>
                      <a:lnTo>
                        <a:pt x="1237" y="640"/>
                      </a:lnTo>
                      <a:lnTo>
                        <a:pt x="1237" y="641"/>
                      </a:lnTo>
                      <a:lnTo>
                        <a:pt x="1237" y="640"/>
                      </a:lnTo>
                      <a:lnTo>
                        <a:pt x="1236" y="640"/>
                      </a:lnTo>
                      <a:lnTo>
                        <a:pt x="1236" y="639"/>
                      </a:lnTo>
                      <a:lnTo>
                        <a:pt x="1235" y="639"/>
                      </a:lnTo>
                      <a:lnTo>
                        <a:pt x="1235" y="640"/>
                      </a:lnTo>
                      <a:lnTo>
                        <a:pt x="1234" y="640"/>
                      </a:lnTo>
                      <a:lnTo>
                        <a:pt x="1234" y="639"/>
                      </a:lnTo>
                      <a:lnTo>
                        <a:pt x="1234" y="637"/>
                      </a:lnTo>
                      <a:lnTo>
                        <a:pt x="1233" y="637"/>
                      </a:lnTo>
                      <a:lnTo>
                        <a:pt x="1233" y="636"/>
                      </a:lnTo>
                      <a:lnTo>
                        <a:pt x="1232" y="636"/>
                      </a:lnTo>
                      <a:lnTo>
                        <a:pt x="1232" y="637"/>
                      </a:lnTo>
                      <a:lnTo>
                        <a:pt x="1232" y="636"/>
                      </a:lnTo>
                      <a:lnTo>
                        <a:pt x="1233" y="636"/>
                      </a:lnTo>
                      <a:lnTo>
                        <a:pt x="1233" y="635"/>
                      </a:lnTo>
                      <a:lnTo>
                        <a:pt x="1233" y="636"/>
                      </a:lnTo>
                      <a:close/>
                      <a:moveTo>
                        <a:pt x="1631" y="582"/>
                      </a:moveTo>
                      <a:lnTo>
                        <a:pt x="1632" y="584"/>
                      </a:lnTo>
                      <a:lnTo>
                        <a:pt x="1631" y="584"/>
                      </a:lnTo>
                      <a:lnTo>
                        <a:pt x="1629" y="585"/>
                      </a:lnTo>
                      <a:lnTo>
                        <a:pt x="1629" y="584"/>
                      </a:lnTo>
                      <a:lnTo>
                        <a:pt x="1628" y="585"/>
                      </a:lnTo>
                      <a:lnTo>
                        <a:pt x="1627" y="585"/>
                      </a:lnTo>
                      <a:lnTo>
                        <a:pt x="1626" y="585"/>
                      </a:lnTo>
                      <a:lnTo>
                        <a:pt x="1626" y="584"/>
                      </a:lnTo>
                      <a:lnTo>
                        <a:pt x="1627" y="584"/>
                      </a:lnTo>
                      <a:lnTo>
                        <a:pt x="1627" y="585"/>
                      </a:lnTo>
                      <a:lnTo>
                        <a:pt x="1627" y="584"/>
                      </a:lnTo>
                      <a:lnTo>
                        <a:pt x="1627" y="583"/>
                      </a:lnTo>
                      <a:lnTo>
                        <a:pt x="1626" y="583"/>
                      </a:lnTo>
                      <a:lnTo>
                        <a:pt x="1627" y="583"/>
                      </a:lnTo>
                      <a:lnTo>
                        <a:pt x="1627" y="582"/>
                      </a:lnTo>
                      <a:lnTo>
                        <a:pt x="1627" y="583"/>
                      </a:lnTo>
                      <a:lnTo>
                        <a:pt x="1628" y="583"/>
                      </a:lnTo>
                      <a:lnTo>
                        <a:pt x="1629" y="583"/>
                      </a:lnTo>
                      <a:lnTo>
                        <a:pt x="1629" y="582"/>
                      </a:lnTo>
                      <a:lnTo>
                        <a:pt x="1631" y="582"/>
                      </a:lnTo>
                      <a:close/>
                      <a:moveTo>
                        <a:pt x="1607" y="656"/>
                      </a:moveTo>
                      <a:lnTo>
                        <a:pt x="1608" y="656"/>
                      </a:lnTo>
                      <a:lnTo>
                        <a:pt x="1609" y="656"/>
                      </a:lnTo>
                      <a:lnTo>
                        <a:pt x="1610" y="657"/>
                      </a:lnTo>
                      <a:lnTo>
                        <a:pt x="1611" y="657"/>
                      </a:lnTo>
                      <a:lnTo>
                        <a:pt x="1611" y="658"/>
                      </a:lnTo>
                      <a:lnTo>
                        <a:pt x="1610" y="658"/>
                      </a:lnTo>
                      <a:lnTo>
                        <a:pt x="1609" y="658"/>
                      </a:lnTo>
                      <a:lnTo>
                        <a:pt x="1608" y="658"/>
                      </a:lnTo>
                      <a:lnTo>
                        <a:pt x="1607" y="658"/>
                      </a:lnTo>
                      <a:lnTo>
                        <a:pt x="1607" y="657"/>
                      </a:lnTo>
                      <a:lnTo>
                        <a:pt x="1606" y="657"/>
                      </a:lnTo>
                      <a:lnTo>
                        <a:pt x="1606" y="656"/>
                      </a:lnTo>
                      <a:lnTo>
                        <a:pt x="1607" y="656"/>
                      </a:lnTo>
                      <a:close/>
                      <a:moveTo>
                        <a:pt x="1316" y="515"/>
                      </a:moveTo>
                      <a:lnTo>
                        <a:pt x="1316" y="516"/>
                      </a:lnTo>
                      <a:lnTo>
                        <a:pt x="1316" y="517"/>
                      </a:lnTo>
                      <a:lnTo>
                        <a:pt x="1316" y="518"/>
                      </a:lnTo>
                      <a:lnTo>
                        <a:pt x="1316" y="519"/>
                      </a:lnTo>
                      <a:lnTo>
                        <a:pt x="1316" y="520"/>
                      </a:lnTo>
                      <a:lnTo>
                        <a:pt x="1316" y="519"/>
                      </a:lnTo>
                      <a:lnTo>
                        <a:pt x="1315" y="519"/>
                      </a:lnTo>
                      <a:lnTo>
                        <a:pt x="1316" y="519"/>
                      </a:lnTo>
                      <a:lnTo>
                        <a:pt x="1316" y="518"/>
                      </a:lnTo>
                      <a:lnTo>
                        <a:pt x="1315" y="518"/>
                      </a:lnTo>
                      <a:lnTo>
                        <a:pt x="1315" y="519"/>
                      </a:lnTo>
                      <a:lnTo>
                        <a:pt x="1315" y="518"/>
                      </a:lnTo>
                      <a:lnTo>
                        <a:pt x="1314" y="518"/>
                      </a:lnTo>
                      <a:lnTo>
                        <a:pt x="1314" y="517"/>
                      </a:lnTo>
                      <a:lnTo>
                        <a:pt x="1314" y="516"/>
                      </a:lnTo>
                      <a:lnTo>
                        <a:pt x="1315" y="516"/>
                      </a:lnTo>
                      <a:lnTo>
                        <a:pt x="1314" y="516"/>
                      </a:lnTo>
                      <a:lnTo>
                        <a:pt x="1315" y="516"/>
                      </a:lnTo>
                      <a:lnTo>
                        <a:pt x="1314" y="515"/>
                      </a:lnTo>
                      <a:lnTo>
                        <a:pt x="1315" y="515"/>
                      </a:lnTo>
                      <a:lnTo>
                        <a:pt x="1316" y="515"/>
                      </a:lnTo>
                      <a:close/>
                      <a:moveTo>
                        <a:pt x="1198" y="707"/>
                      </a:moveTo>
                      <a:lnTo>
                        <a:pt x="1199" y="707"/>
                      </a:lnTo>
                      <a:lnTo>
                        <a:pt x="1200" y="707"/>
                      </a:lnTo>
                      <a:lnTo>
                        <a:pt x="1201" y="707"/>
                      </a:lnTo>
                      <a:lnTo>
                        <a:pt x="1201" y="708"/>
                      </a:lnTo>
                      <a:lnTo>
                        <a:pt x="1202" y="708"/>
                      </a:lnTo>
                      <a:lnTo>
                        <a:pt x="1202" y="709"/>
                      </a:lnTo>
                      <a:lnTo>
                        <a:pt x="1201" y="709"/>
                      </a:lnTo>
                      <a:lnTo>
                        <a:pt x="1201" y="710"/>
                      </a:lnTo>
                      <a:lnTo>
                        <a:pt x="1202" y="710"/>
                      </a:lnTo>
                      <a:lnTo>
                        <a:pt x="1202" y="711"/>
                      </a:lnTo>
                      <a:lnTo>
                        <a:pt x="1202" y="712"/>
                      </a:lnTo>
                      <a:lnTo>
                        <a:pt x="1201" y="712"/>
                      </a:lnTo>
                      <a:lnTo>
                        <a:pt x="1201" y="711"/>
                      </a:lnTo>
                      <a:lnTo>
                        <a:pt x="1201" y="712"/>
                      </a:lnTo>
                      <a:lnTo>
                        <a:pt x="1201" y="711"/>
                      </a:lnTo>
                      <a:lnTo>
                        <a:pt x="1200" y="711"/>
                      </a:lnTo>
                      <a:lnTo>
                        <a:pt x="1200" y="710"/>
                      </a:lnTo>
                      <a:lnTo>
                        <a:pt x="1199" y="709"/>
                      </a:lnTo>
                      <a:lnTo>
                        <a:pt x="1200" y="710"/>
                      </a:lnTo>
                      <a:lnTo>
                        <a:pt x="1200" y="709"/>
                      </a:lnTo>
                      <a:lnTo>
                        <a:pt x="1201" y="709"/>
                      </a:lnTo>
                      <a:lnTo>
                        <a:pt x="1201" y="708"/>
                      </a:lnTo>
                      <a:lnTo>
                        <a:pt x="1200" y="708"/>
                      </a:lnTo>
                      <a:lnTo>
                        <a:pt x="1199" y="708"/>
                      </a:lnTo>
                      <a:lnTo>
                        <a:pt x="1198" y="707"/>
                      </a:lnTo>
                      <a:lnTo>
                        <a:pt x="1197" y="707"/>
                      </a:lnTo>
                      <a:lnTo>
                        <a:pt x="1198" y="707"/>
                      </a:lnTo>
                      <a:close/>
                      <a:moveTo>
                        <a:pt x="1623" y="626"/>
                      </a:moveTo>
                      <a:lnTo>
                        <a:pt x="1624" y="626"/>
                      </a:lnTo>
                      <a:lnTo>
                        <a:pt x="1624" y="627"/>
                      </a:lnTo>
                      <a:lnTo>
                        <a:pt x="1623" y="628"/>
                      </a:lnTo>
                      <a:lnTo>
                        <a:pt x="1622" y="628"/>
                      </a:lnTo>
                      <a:lnTo>
                        <a:pt x="1621" y="628"/>
                      </a:lnTo>
                      <a:lnTo>
                        <a:pt x="1621" y="627"/>
                      </a:lnTo>
                      <a:lnTo>
                        <a:pt x="1622" y="627"/>
                      </a:lnTo>
                      <a:lnTo>
                        <a:pt x="1622" y="626"/>
                      </a:lnTo>
                      <a:lnTo>
                        <a:pt x="1621" y="627"/>
                      </a:lnTo>
                      <a:lnTo>
                        <a:pt x="1621" y="626"/>
                      </a:lnTo>
                      <a:lnTo>
                        <a:pt x="1620" y="626"/>
                      </a:lnTo>
                      <a:lnTo>
                        <a:pt x="1620" y="624"/>
                      </a:lnTo>
                      <a:lnTo>
                        <a:pt x="1621" y="624"/>
                      </a:lnTo>
                      <a:lnTo>
                        <a:pt x="1622" y="624"/>
                      </a:lnTo>
                      <a:lnTo>
                        <a:pt x="1623" y="624"/>
                      </a:lnTo>
                      <a:lnTo>
                        <a:pt x="1623" y="626"/>
                      </a:lnTo>
                      <a:close/>
                      <a:moveTo>
                        <a:pt x="1624" y="536"/>
                      </a:moveTo>
                      <a:lnTo>
                        <a:pt x="1625" y="536"/>
                      </a:lnTo>
                      <a:lnTo>
                        <a:pt x="1625" y="537"/>
                      </a:lnTo>
                      <a:lnTo>
                        <a:pt x="1625" y="538"/>
                      </a:lnTo>
                      <a:lnTo>
                        <a:pt x="1624" y="538"/>
                      </a:lnTo>
                      <a:lnTo>
                        <a:pt x="1623" y="539"/>
                      </a:lnTo>
                      <a:lnTo>
                        <a:pt x="1622" y="540"/>
                      </a:lnTo>
                      <a:lnTo>
                        <a:pt x="1622" y="539"/>
                      </a:lnTo>
                      <a:lnTo>
                        <a:pt x="1622" y="538"/>
                      </a:lnTo>
                      <a:lnTo>
                        <a:pt x="1622" y="537"/>
                      </a:lnTo>
                      <a:lnTo>
                        <a:pt x="1623" y="537"/>
                      </a:lnTo>
                      <a:lnTo>
                        <a:pt x="1623" y="536"/>
                      </a:lnTo>
                      <a:lnTo>
                        <a:pt x="1624" y="536"/>
                      </a:lnTo>
                      <a:close/>
                      <a:moveTo>
                        <a:pt x="1290" y="566"/>
                      </a:moveTo>
                      <a:lnTo>
                        <a:pt x="1289" y="567"/>
                      </a:lnTo>
                      <a:lnTo>
                        <a:pt x="1288" y="568"/>
                      </a:lnTo>
                      <a:lnTo>
                        <a:pt x="1288" y="567"/>
                      </a:lnTo>
                      <a:lnTo>
                        <a:pt x="1288" y="566"/>
                      </a:lnTo>
                      <a:lnTo>
                        <a:pt x="1287" y="566"/>
                      </a:lnTo>
                      <a:lnTo>
                        <a:pt x="1287" y="565"/>
                      </a:lnTo>
                      <a:lnTo>
                        <a:pt x="1288" y="566"/>
                      </a:lnTo>
                      <a:lnTo>
                        <a:pt x="1288" y="565"/>
                      </a:lnTo>
                      <a:lnTo>
                        <a:pt x="1289" y="564"/>
                      </a:lnTo>
                      <a:lnTo>
                        <a:pt x="1289" y="563"/>
                      </a:lnTo>
                      <a:lnTo>
                        <a:pt x="1289" y="564"/>
                      </a:lnTo>
                      <a:lnTo>
                        <a:pt x="1290" y="564"/>
                      </a:lnTo>
                      <a:lnTo>
                        <a:pt x="1290" y="565"/>
                      </a:lnTo>
                      <a:lnTo>
                        <a:pt x="1290" y="566"/>
                      </a:lnTo>
                      <a:close/>
                      <a:moveTo>
                        <a:pt x="1390" y="418"/>
                      </a:moveTo>
                      <a:lnTo>
                        <a:pt x="1390" y="420"/>
                      </a:lnTo>
                      <a:lnTo>
                        <a:pt x="1389" y="421"/>
                      </a:lnTo>
                      <a:lnTo>
                        <a:pt x="1388" y="420"/>
                      </a:lnTo>
                      <a:lnTo>
                        <a:pt x="1387" y="420"/>
                      </a:lnTo>
                      <a:lnTo>
                        <a:pt x="1387" y="418"/>
                      </a:lnTo>
                      <a:lnTo>
                        <a:pt x="1388" y="418"/>
                      </a:lnTo>
                      <a:lnTo>
                        <a:pt x="1388" y="420"/>
                      </a:lnTo>
                      <a:lnTo>
                        <a:pt x="1389" y="420"/>
                      </a:lnTo>
                      <a:lnTo>
                        <a:pt x="1389" y="418"/>
                      </a:lnTo>
                      <a:lnTo>
                        <a:pt x="1388" y="416"/>
                      </a:lnTo>
                      <a:lnTo>
                        <a:pt x="1388" y="415"/>
                      </a:lnTo>
                      <a:lnTo>
                        <a:pt x="1389" y="415"/>
                      </a:lnTo>
                      <a:lnTo>
                        <a:pt x="1389" y="416"/>
                      </a:lnTo>
                      <a:lnTo>
                        <a:pt x="1390" y="417"/>
                      </a:lnTo>
                      <a:lnTo>
                        <a:pt x="1390" y="418"/>
                      </a:lnTo>
                      <a:close/>
                      <a:moveTo>
                        <a:pt x="1369" y="528"/>
                      </a:moveTo>
                      <a:lnTo>
                        <a:pt x="1370" y="529"/>
                      </a:lnTo>
                      <a:lnTo>
                        <a:pt x="1371" y="529"/>
                      </a:lnTo>
                      <a:lnTo>
                        <a:pt x="1370" y="529"/>
                      </a:lnTo>
                      <a:lnTo>
                        <a:pt x="1369" y="529"/>
                      </a:lnTo>
                      <a:lnTo>
                        <a:pt x="1368" y="529"/>
                      </a:lnTo>
                      <a:lnTo>
                        <a:pt x="1368" y="530"/>
                      </a:lnTo>
                      <a:lnTo>
                        <a:pt x="1367" y="530"/>
                      </a:lnTo>
                      <a:lnTo>
                        <a:pt x="1368" y="531"/>
                      </a:lnTo>
                      <a:lnTo>
                        <a:pt x="1367" y="531"/>
                      </a:lnTo>
                      <a:lnTo>
                        <a:pt x="1367" y="532"/>
                      </a:lnTo>
                      <a:lnTo>
                        <a:pt x="1366" y="532"/>
                      </a:lnTo>
                      <a:lnTo>
                        <a:pt x="1365" y="532"/>
                      </a:lnTo>
                      <a:lnTo>
                        <a:pt x="1366" y="532"/>
                      </a:lnTo>
                      <a:lnTo>
                        <a:pt x="1367" y="531"/>
                      </a:lnTo>
                      <a:lnTo>
                        <a:pt x="1366" y="531"/>
                      </a:lnTo>
                      <a:lnTo>
                        <a:pt x="1365" y="532"/>
                      </a:lnTo>
                      <a:lnTo>
                        <a:pt x="1366" y="531"/>
                      </a:lnTo>
                      <a:lnTo>
                        <a:pt x="1366" y="530"/>
                      </a:lnTo>
                      <a:lnTo>
                        <a:pt x="1367" y="530"/>
                      </a:lnTo>
                      <a:lnTo>
                        <a:pt x="1367" y="529"/>
                      </a:lnTo>
                      <a:lnTo>
                        <a:pt x="1368" y="528"/>
                      </a:lnTo>
                      <a:lnTo>
                        <a:pt x="1369" y="528"/>
                      </a:lnTo>
                      <a:close/>
                      <a:moveTo>
                        <a:pt x="1318" y="537"/>
                      </a:moveTo>
                      <a:lnTo>
                        <a:pt x="1319" y="537"/>
                      </a:lnTo>
                      <a:lnTo>
                        <a:pt x="1319" y="538"/>
                      </a:lnTo>
                      <a:lnTo>
                        <a:pt x="1318" y="538"/>
                      </a:lnTo>
                      <a:lnTo>
                        <a:pt x="1318" y="539"/>
                      </a:lnTo>
                      <a:lnTo>
                        <a:pt x="1317" y="539"/>
                      </a:lnTo>
                      <a:lnTo>
                        <a:pt x="1316" y="539"/>
                      </a:lnTo>
                      <a:lnTo>
                        <a:pt x="1315" y="539"/>
                      </a:lnTo>
                      <a:lnTo>
                        <a:pt x="1315" y="538"/>
                      </a:lnTo>
                      <a:lnTo>
                        <a:pt x="1316" y="538"/>
                      </a:lnTo>
                      <a:lnTo>
                        <a:pt x="1316" y="537"/>
                      </a:lnTo>
                      <a:lnTo>
                        <a:pt x="1317" y="537"/>
                      </a:lnTo>
                      <a:lnTo>
                        <a:pt x="1318" y="537"/>
                      </a:lnTo>
                      <a:close/>
                      <a:moveTo>
                        <a:pt x="1626" y="613"/>
                      </a:moveTo>
                      <a:lnTo>
                        <a:pt x="1627" y="613"/>
                      </a:lnTo>
                      <a:lnTo>
                        <a:pt x="1627" y="614"/>
                      </a:lnTo>
                      <a:lnTo>
                        <a:pt x="1626" y="614"/>
                      </a:lnTo>
                      <a:lnTo>
                        <a:pt x="1626" y="615"/>
                      </a:lnTo>
                      <a:lnTo>
                        <a:pt x="1626" y="616"/>
                      </a:lnTo>
                      <a:lnTo>
                        <a:pt x="1625" y="616"/>
                      </a:lnTo>
                      <a:lnTo>
                        <a:pt x="1624" y="616"/>
                      </a:lnTo>
                      <a:lnTo>
                        <a:pt x="1623" y="616"/>
                      </a:lnTo>
                      <a:lnTo>
                        <a:pt x="1623" y="615"/>
                      </a:lnTo>
                      <a:lnTo>
                        <a:pt x="1624" y="615"/>
                      </a:lnTo>
                      <a:lnTo>
                        <a:pt x="1624" y="614"/>
                      </a:lnTo>
                      <a:lnTo>
                        <a:pt x="1625" y="614"/>
                      </a:lnTo>
                      <a:lnTo>
                        <a:pt x="1626" y="613"/>
                      </a:lnTo>
                      <a:close/>
                      <a:moveTo>
                        <a:pt x="1215" y="675"/>
                      </a:moveTo>
                      <a:lnTo>
                        <a:pt x="1214" y="675"/>
                      </a:lnTo>
                      <a:lnTo>
                        <a:pt x="1214" y="677"/>
                      </a:lnTo>
                      <a:lnTo>
                        <a:pt x="1213" y="677"/>
                      </a:lnTo>
                      <a:lnTo>
                        <a:pt x="1212" y="677"/>
                      </a:lnTo>
                      <a:lnTo>
                        <a:pt x="1212" y="678"/>
                      </a:lnTo>
                      <a:lnTo>
                        <a:pt x="1212" y="677"/>
                      </a:lnTo>
                      <a:lnTo>
                        <a:pt x="1212" y="675"/>
                      </a:lnTo>
                      <a:lnTo>
                        <a:pt x="1213" y="675"/>
                      </a:lnTo>
                      <a:lnTo>
                        <a:pt x="1214" y="674"/>
                      </a:lnTo>
                      <a:lnTo>
                        <a:pt x="1214" y="673"/>
                      </a:lnTo>
                      <a:lnTo>
                        <a:pt x="1213" y="673"/>
                      </a:lnTo>
                      <a:lnTo>
                        <a:pt x="1214" y="673"/>
                      </a:lnTo>
                      <a:lnTo>
                        <a:pt x="1214" y="672"/>
                      </a:lnTo>
                      <a:lnTo>
                        <a:pt x="1214" y="673"/>
                      </a:lnTo>
                      <a:lnTo>
                        <a:pt x="1215" y="673"/>
                      </a:lnTo>
                      <a:lnTo>
                        <a:pt x="1215" y="674"/>
                      </a:lnTo>
                      <a:lnTo>
                        <a:pt x="1215" y="675"/>
                      </a:lnTo>
                      <a:close/>
                      <a:moveTo>
                        <a:pt x="1593" y="611"/>
                      </a:moveTo>
                      <a:lnTo>
                        <a:pt x="1592" y="611"/>
                      </a:lnTo>
                      <a:lnTo>
                        <a:pt x="1592" y="610"/>
                      </a:lnTo>
                      <a:lnTo>
                        <a:pt x="1592" y="609"/>
                      </a:lnTo>
                      <a:lnTo>
                        <a:pt x="1593" y="608"/>
                      </a:lnTo>
                      <a:lnTo>
                        <a:pt x="1593" y="607"/>
                      </a:lnTo>
                      <a:lnTo>
                        <a:pt x="1594" y="606"/>
                      </a:lnTo>
                      <a:lnTo>
                        <a:pt x="1594" y="605"/>
                      </a:lnTo>
                      <a:lnTo>
                        <a:pt x="1594" y="606"/>
                      </a:lnTo>
                      <a:lnTo>
                        <a:pt x="1595" y="606"/>
                      </a:lnTo>
                      <a:lnTo>
                        <a:pt x="1594" y="607"/>
                      </a:lnTo>
                      <a:lnTo>
                        <a:pt x="1594" y="608"/>
                      </a:lnTo>
                      <a:lnTo>
                        <a:pt x="1594" y="609"/>
                      </a:lnTo>
                      <a:lnTo>
                        <a:pt x="1593" y="609"/>
                      </a:lnTo>
                      <a:lnTo>
                        <a:pt x="1593" y="610"/>
                      </a:lnTo>
                      <a:lnTo>
                        <a:pt x="1593" y="611"/>
                      </a:lnTo>
                      <a:close/>
                      <a:moveTo>
                        <a:pt x="1628" y="534"/>
                      </a:moveTo>
                      <a:lnTo>
                        <a:pt x="1627" y="536"/>
                      </a:lnTo>
                      <a:lnTo>
                        <a:pt x="1626" y="536"/>
                      </a:lnTo>
                      <a:lnTo>
                        <a:pt x="1625" y="536"/>
                      </a:lnTo>
                      <a:lnTo>
                        <a:pt x="1624" y="534"/>
                      </a:lnTo>
                      <a:lnTo>
                        <a:pt x="1625" y="534"/>
                      </a:lnTo>
                      <a:lnTo>
                        <a:pt x="1624" y="534"/>
                      </a:lnTo>
                      <a:lnTo>
                        <a:pt x="1625" y="534"/>
                      </a:lnTo>
                      <a:lnTo>
                        <a:pt x="1625" y="533"/>
                      </a:lnTo>
                      <a:lnTo>
                        <a:pt x="1626" y="533"/>
                      </a:lnTo>
                      <a:lnTo>
                        <a:pt x="1627" y="533"/>
                      </a:lnTo>
                      <a:lnTo>
                        <a:pt x="1628" y="533"/>
                      </a:lnTo>
                      <a:lnTo>
                        <a:pt x="1628" y="534"/>
                      </a:lnTo>
                      <a:close/>
                      <a:moveTo>
                        <a:pt x="1339" y="473"/>
                      </a:moveTo>
                      <a:lnTo>
                        <a:pt x="1340" y="473"/>
                      </a:lnTo>
                      <a:lnTo>
                        <a:pt x="1339" y="473"/>
                      </a:lnTo>
                      <a:lnTo>
                        <a:pt x="1339" y="474"/>
                      </a:lnTo>
                      <a:lnTo>
                        <a:pt x="1339" y="475"/>
                      </a:lnTo>
                      <a:lnTo>
                        <a:pt x="1338" y="476"/>
                      </a:lnTo>
                      <a:lnTo>
                        <a:pt x="1338" y="477"/>
                      </a:lnTo>
                      <a:lnTo>
                        <a:pt x="1337" y="477"/>
                      </a:lnTo>
                      <a:lnTo>
                        <a:pt x="1338" y="476"/>
                      </a:lnTo>
                      <a:lnTo>
                        <a:pt x="1338" y="475"/>
                      </a:lnTo>
                      <a:lnTo>
                        <a:pt x="1338" y="474"/>
                      </a:lnTo>
                      <a:lnTo>
                        <a:pt x="1337" y="474"/>
                      </a:lnTo>
                      <a:lnTo>
                        <a:pt x="1338" y="473"/>
                      </a:lnTo>
                      <a:lnTo>
                        <a:pt x="1338" y="472"/>
                      </a:lnTo>
                      <a:lnTo>
                        <a:pt x="1337" y="472"/>
                      </a:lnTo>
                      <a:lnTo>
                        <a:pt x="1338" y="472"/>
                      </a:lnTo>
                      <a:lnTo>
                        <a:pt x="1339" y="473"/>
                      </a:lnTo>
                      <a:close/>
                      <a:moveTo>
                        <a:pt x="1632" y="544"/>
                      </a:moveTo>
                      <a:lnTo>
                        <a:pt x="1632" y="545"/>
                      </a:lnTo>
                      <a:lnTo>
                        <a:pt x="1631" y="546"/>
                      </a:lnTo>
                      <a:lnTo>
                        <a:pt x="1632" y="547"/>
                      </a:lnTo>
                      <a:lnTo>
                        <a:pt x="1631" y="547"/>
                      </a:lnTo>
                      <a:lnTo>
                        <a:pt x="1629" y="547"/>
                      </a:lnTo>
                      <a:lnTo>
                        <a:pt x="1629" y="546"/>
                      </a:lnTo>
                      <a:lnTo>
                        <a:pt x="1628" y="545"/>
                      </a:lnTo>
                      <a:lnTo>
                        <a:pt x="1629" y="544"/>
                      </a:lnTo>
                      <a:lnTo>
                        <a:pt x="1631" y="544"/>
                      </a:lnTo>
                      <a:lnTo>
                        <a:pt x="1632" y="544"/>
                      </a:lnTo>
                      <a:close/>
                      <a:moveTo>
                        <a:pt x="1606" y="607"/>
                      </a:moveTo>
                      <a:lnTo>
                        <a:pt x="1606" y="608"/>
                      </a:lnTo>
                      <a:lnTo>
                        <a:pt x="1606" y="609"/>
                      </a:lnTo>
                      <a:lnTo>
                        <a:pt x="1606" y="610"/>
                      </a:lnTo>
                      <a:lnTo>
                        <a:pt x="1606" y="611"/>
                      </a:lnTo>
                      <a:lnTo>
                        <a:pt x="1606" y="610"/>
                      </a:lnTo>
                      <a:lnTo>
                        <a:pt x="1605" y="610"/>
                      </a:lnTo>
                      <a:lnTo>
                        <a:pt x="1606" y="610"/>
                      </a:lnTo>
                      <a:lnTo>
                        <a:pt x="1605" y="610"/>
                      </a:lnTo>
                      <a:lnTo>
                        <a:pt x="1605" y="609"/>
                      </a:lnTo>
                      <a:lnTo>
                        <a:pt x="1603" y="609"/>
                      </a:lnTo>
                      <a:lnTo>
                        <a:pt x="1603" y="608"/>
                      </a:lnTo>
                      <a:lnTo>
                        <a:pt x="1605" y="607"/>
                      </a:lnTo>
                      <a:lnTo>
                        <a:pt x="1606" y="607"/>
                      </a:lnTo>
                      <a:close/>
                      <a:moveTo>
                        <a:pt x="1631" y="557"/>
                      </a:moveTo>
                      <a:lnTo>
                        <a:pt x="1632" y="557"/>
                      </a:lnTo>
                      <a:lnTo>
                        <a:pt x="1633" y="557"/>
                      </a:lnTo>
                      <a:lnTo>
                        <a:pt x="1632" y="557"/>
                      </a:lnTo>
                      <a:lnTo>
                        <a:pt x="1633" y="558"/>
                      </a:lnTo>
                      <a:lnTo>
                        <a:pt x="1632" y="559"/>
                      </a:lnTo>
                      <a:lnTo>
                        <a:pt x="1632" y="558"/>
                      </a:lnTo>
                      <a:lnTo>
                        <a:pt x="1631" y="558"/>
                      </a:lnTo>
                      <a:lnTo>
                        <a:pt x="1629" y="558"/>
                      </a:lnTo>
                      <a:lnTo>
                        <a:pt x="1629" y="559"/>
                      </a:lnTo>
                      <a:lnTo>
                        <a:pt x="1631" y="559"/>
                      </a:lnTo>
                      <a:lnTo>
                        <a:pt x="1632" y="559"/>
                      </a:lnTo>
                      <a:lnTo>
                        <a:pt x="1633" y="559"/>
                      </a:lnTo>
                      <a:lnTo>
                        <a:pt x="1632" y="559"/>
                      </a:lnTo>
                      <a:lnTo>
                        <a:pt x="1631" y="559"/>
                      </a:lnTo>
                      <a:lnTo>
                        <a:pt x="1629" y="559"/>
                      </a:lnTo>
                      <a:lnTo>
                        <a:pt x="1627" y="559"/>
                      </a:lnTo>
                      <a:lnTo>
                        <a:pt x="1627" y="558"/>
                      </a:lnTo>
                      <a:lnTo>
                        <a:pt x="1627" y="559"/>
                      </a:lnTo>
                      <a:lnTo>
                        <a:pt x="1628" y="558"/>
                      </a:lnTo>
                      <a:lnTo>
                        <a:pt x="1629" y="558"/>
                      </a:lnTo>
                      <a:lnTo>
                        <a:pt x="1629" y="557"/>
                      </a:lnTo>
                      <a:lnTo>
                        <a:pt x="1631" y="557"/>
                      </a:lnTo>
                      <a:lnTo>
                        <a:pt x="1631" y="558"/>
                      </a:lnTo>
                      <a:lnTo>
                        <a:pt x="1631" y="557"/>
                      </a:lnTo>
                      <a:close/>
                      <a:moveTo>
                        <a:pt x="1214" y="703"/>
                      </a:moveTo>
                      <a:lnTo>
                        <a:pt x="1215" y="703"/>
                      </a:lnTo>
                      <a:lnTo>
                        <a:pt x="1215" y="704"/>
                      </a:lnTo>
                      <a:lnTo>
                        <a:pt x="1216" y="704"/>
                      </a:lnTo>
                      <a:lnTo>
                        <a:pt x="1216" y="703"/>
                      </a:lnTo>
                      <a:lnTo>
                        <a:pt x="1218" y="703"/>
                      </a:lnTo>
                      <a:lnTo>
                        <a:pt x="1219" y="703"/>
                      </a:lnTo>
                      <a:lnTo>
                        <a:pt x="1219" y="704"/>
                      </a:lnTo>
                      <a:lnTo>
                        <a:pt x="1220" y="704"/>
                      </a:lnTo>
                      <a:lnTo>
                        <a:pt x="1220" y="705"/>
                      </a:lnTo>
                      <a:lnTo>
                        <a:pt x="1219" y="705"/>
                      </a:lnTo>
                      <a:lnTo>
                        <a:pt x="1218" y="705"/>
                      </a:lnTo>
                      <a:lnTo>
                        <a:pt x="1216" y="704"/>
                      </a:lnTo>
                      <a:lnTo>
                        <a:pt x="1215" y="704"/>
                      </a:lnTo>
                      <a:lnTo>
                        <a:pt x="1214" y="703"/>
                      </a:lnTo>
                      <a:lnTo>
                        <a:pt x="1213" y="701"/>
                      </a:lnTo>
                      <a:lnTo>
                        <a:pt x="1212" y="701"/>
                      </a:lnTo>
                      <a:lnTo>
                        <a:pt x="1213" y="701"/>
                      </a:lnTo>
                      <a:lnTo>
                        <a:pt x="1214" y="701"/>
                      </a:lnTo>
                      <a:lnTo>
                        <a:pt x="1214" y="703"/>
                      </a:lnTo>
                      <a:close/>
                      <a:moveTo>
                        <a:pt x="1234" y="640"/>
                      </a:moveTo>
                      <a:lnTo>
                        <a:pt x="1235" y="640"/>
                      </a:lnTo>
                      <a:lnTo>
                        <a:pt x="1235" y="641"/>
                      </a:lnTo>
                      <a:lnTo>
                        <a:pt x="1236" y="641"/>
                      </a:lnTo>
                      <a:lnTo>
                        <a:pt x="1236" y="642"/>
                      </a:lnTo>
                      <a:lnTo>
                        <a:pt x="1237" y="642"/>
                      </a:lnTo>
                      <a:lnTo>
                        <a:pt x="1237" y="643"/>
                      </a:lnTo>
                      <a:lnTo>
                        <a:pt x="1236" y="643"/>
                      </a:lnTo>
                      <a:lnTo>
                        <a:pt x="1235" y="643"/>
                      </a:lnTo>
                      <a:lnTo>
                        <a:pt x="1235" y="642"/>
                      </a:lnTo>
                      <a:lnTo>
                        <a:pt x="1234" y="642"/>
                      </a:lnTo>
                      <a:lnTo>
                        <a:pt x="1233" y="641"/>
                      </a:lnTo>
                      <a:lnTo>
                        <a:pt x="1234" y="642"/>
                      </a:lnTo>
                      <a:lnTo>
                        <a:pt x="1234" y="641"/>
                      </a:lnTo>
                      <a:lnTo>
                        <a:pt x="1233" y="641"/>
                      </a:lnTo>
                      <a:lnTo>
                        <a:pt x="1232" y="640"/>
                      </a:lnTo>
                      <a:lnTo>
                        <a:pt x="1233" y="640"/>
                      </a:lnTo>
                      <a:lnTo>
                        <a:pt x="1234" y="640"/>
                      </a:lnTo>
                      <a:close/>
                      <a:moveTo>
                        <a:pt x="1608" y="659"/>
                      </a:moveTo>
                      <a:lnTo>
                        <a:pt x="1609" y="659"/>
                      </a:lnTo>
                      <a:lnTo>
                        <a:pt x="1610" y="659"/>
                      </a:lnTo>
                      <a:lnTo>
                        <a:pt x="1609" y="660"/>
                      </a:lnTo>
                      <a:lnTo>
                        <a:pt x="1609" y="661"/>
                      </a:lnTo>
                      <a:lnTo>
                        <a:pt x="1608" y="661"/>
                      </a:lnTo>
                      <a:lnTo>
                        <a:pt x="1608" y="662"/>
                      </a:lnTo>
                      <a:lnTo>
                        <a:pt x="1608" y="661"/>
                      </a:lnTo>
                      <a:lnTo>
                        <a:pt x="1607" y="661"/>
                      </a:lnTo>
                      <a:lnTo>
                        <a:pt x="1608" y="660"/>
                      </a:lnTo>
                      <a:lnTo>
                        <a:pt x="1607" y="660"/>
                      </a:lnTo>
                      <a:lnTo>
                        <a:pt x="1606" y="660"/>
                      </a:lnTo>
                      <a:lnTo>
                        <a:pt x="1606" y="659"/>
                      </a:lnTo>
                      <a:lnTo>
                        <a:pt x="1607" y="659"/>
                      </a:lnTo>
                      <a:lnTo>
                        <a:pt x="1608" y="659"/>
                      </a:lnTo>
                      <a:close/>
                      <a:moveTo>
                        <a:pt x="1631" y="587"/>
                      </a:moveTo>
                      <a:lnTo>
                        <a:pt x="1631" y="588"/>
                      </a:lnTo>
                      <a:lnTo>
                        <a:pt x="1631" y="589"/>
                      </a:lnTo>
                      <a:lnTo>
                        <a:pt x="1629" y="589"/>
                      </a:lnTo>
                      <a:lnTo>
                        <a:pt x="1628" y="589"/>
                      </a:lnTo>
                      <a:lnTo>
                        <a:pt x="1627" y="588"/>
                      </a:lnTo>
                      <a:lnTo>
                        <a:pt x="1628" y="588"/>
                      </a:lnTo>
                      <a:lnTo>
                        <a:pt x="1627" y="588"/>
                      </a:lnTo>
                      <a:lnTo>
                        <a:pt x="1627" y="587"/>
                      </a:lnTo>
                      <a:lnTo>
                        <a:pt x="1628" y="587"/>
                      </a:lnTo>
                      <a:lnTo>
                        <a:pt x="1629" y="587"/>
                      </a:lnTo>
                      <a:lnTo>
                        <a:pt x="1631" y="587"/>
                      </a:lnTo>
                      <a:close/>
                      <a:moveTo>
                        <a:pt x="1288" y="539"/>
                      </a:moveTo>
                      <a:lnTo>
                        <a:pt x="1288" y="540"/>
                      </a:lnTo>
                      <a:lnTo>
                        <a:pt x="1288" y="541"/>
                      </a:lnTo>
                      <a:lnTo>
                        <a:pt x="1287" y="541"/>
                      </a:lnTo>
                      <a:lnTo>
                        <a:pt x="1286" y="541"/>
                      </a:lnTo>
                      <a:lnTo>
                        <a:pt x="1285" y="540"/>
                      </a:lnTo>
                      <a:lnTo>
                        <a:pt x="1286" y="540"/>
                      </a:lnTo>
                      <a:lnTo>
                        <a:pt x="1287" y="540"/>
                      </a:lnTo>
                      <a:lnTo>
                        <a:pt x="1286" y="540"/>
                      </a:lnTo>
                      <a:lnTo>
                        <a:pt x="1286" y="539"/>
                      </a:lnTo>
                      <a:lnTo>
                        <a:pt x="1288" y="539"/>
                      </a:lnTo>
                      <a:close/>
                      <a:moveTo>
                        <a:pt x="1213" y="704"/>
                      </a:moveTo>
                      <a:lnTo>
                        <a:pt x="1212" y="704"/>
                      </a:lnTo>
                      <a:lnTo>
                        <a:pt x="1212" y="703"/>
                      </a:lnTo>
                      <a:lnTo>
                        <a:pt x="1211" y="703"/>
                      </a:lnTo>
                      <a:lnTo>
                        <a:pt x="1210" y="701"/>
                      </a:lnTo>
                      <a:lnTo>
                        <a:pt x="1209" y="701"/>
                      </a:lnTo>
                      <a:lnTo>
                        <a:pt x="1210" y="701"/>
                      </a:lnTo>
                      <a:lnTo>
                        <a:pt x="1210" y="700"/>
                      </a:lnTo>
                      <a:lnTo>
                        <a:pt x="1211" y="700"/>
                      </a:lnTo>
                      <a:lnTo>
                        <a:pt x="1212" y="701"/>
                      </a:lnTo>
                      <a:lnTo>
                        <a:pt x="1213" y="703"/>
                      </a:lnTo>
                      <a:lnTo>
                        <a:pt x="1212" y="703"/>
                      </a:lnTo>
                      <a:lnTo>
                        <a:pt x="1213" y="704"/>
                      </a:lnTo>
                      <a:close/>
                      <a:moveTo>
                        <a:pt x="1348" y="545"/>
                      </a:moveTo>
                      <a:lnTo>
                        <a:pt x="1349" y="545"/>
                      </a:lnTo>
                      <a:lnTo>
                        <a:pt x="1349" y="546"/>
                      </a:lnTo>
                      <a:lnTo>
                        <a:pt x="1350" y="546"/>
                      </a:lnTo>
                      <a:lnTo>
                        <a:pt x="1350" y="547"/>
                      </a:lnTo>
                      <a:lnTo>
                        <a:pt x="1349" y="547"/>
                      </a:lnTo>
                      <a:lnTo>
                        <a:pt x="1348" y="547"/>
                      </a:lnTo>
                      <a:lnTo>
                        <a:pt x="1347" y="547"/>
                      </a:lnTo>
                      <a:lnTo>
                        <a:pt x="1345" y="547"/>
                      </a:lnTo>
                      <a:lnTo>
                        <a:pt x="1345" y="546"/>
                      </a:lnTo>
                      <a:lnTo>
                        <a:pt x="1345" y="545"/>
                      </a:lnTo>
                      <a:lnTo>
                        <a:pt x="1345" y="546"/>
                      </a:lnTo>
                      <a:lnTo>
                        <a:pt x="1347" y="546"/>
                      </a:lnTo>
                      <a:lnTo>
                        <a:pt x="1347" y="545"/>
                      </a:lnTo>
                      <a:lnTo>
                        <a:pt x="1348" y="546"/>
                      </a:lnTo>
                      <a:lnTo>
                        <a:pt x="1348" y="545"/>
                      </a:lnTo>
                      <a:close/>
                      <a:moveTo>
                        <a:pt x="1627" y="559"/>
                      </a:moveTo>
                      <a:lnTo>
                        <a:pt x="1628" y="559"/>
                      </a:lnTo>
                      <a:lnTo>
                        <a:pt x="1629" y="559"/>
                      </a:lnTo>
                      <a:lnTo>
                        <a:pt x="1629" y="560"/>
                      </a:lnTo>
                      <a:lnTo>
                        <a:pt x="1631" y="560"/>
                      </a:lnTo>
                      <a:lnTo>
                        <a:pt x="1632" y="560"/>
                      </a:lnTo>
                      <a:lnTo>
                        <a:pt x="1633" y="560"/>
                      </a:lnTo>
                      <a:lnTo>
                        <a:pt x="1633" y="562"/>
                      </a:lnTo>
                      <a:lnTo>
                        <a:pt x="1632" y="562"/>
                      </a:lnTo>
                      <a:lnTo>
                        <a:pt x="1631" y="562"/>
                      </a:lnTo>
                      <a:lnTo>
                        <a:pt x="1629" y="562"/>
                      </a:lnTo>
                      <a:lnTo>
                        <a:pt x="1628" y="560"/>
                      </a:lnTo>
                      <a:lnTo>
                        <a:pt x="1627" y="560"/>
                      </a:lnTo>
                      <a:lnTo>
                        <a:pt x="1627" y="559"/>
                      </a:lnTo>
                      <a:close/>
                      <a:moveTo>
                        <a:pt x="1626" y="524"/>
                      </a:moveTo>
                      <a:lnTo>
                        <a:pt x="1626" y="525"/>
                      </a:lnTo>
                      <a:lnTo>
                        <a:pt x="1625" y="525"/>
                      </a:lnTo>
                      <a:lnTo>
                        <a:pt x="1624" y="525"/>
                      </a:lnTo>
                      <a:lnTo>
                        <a:pt x="1623" y="526"/>
                      </a:lnTo>
                      <a:lnTo>
                        <a:pt x="1622" y="526"/>
                      </a:lnTo>
                      <a:lnTo>
                        <a:pt x="1622" y="525"/>
                      </a:lnTo>
                      <a:lnTo>
                        <a:pt x="1623" y="524"/>
                      </a:lnTo>
                      <a:lnTo>
                        <a:pt x="1623" y="525"/>
                      </a:lnTo>
                      <a:lnTo>
                        <a:pt x="1623" y="524"/>
                      </a:lnTo>
                      <a:lnTo>
                        <a:pt x="1624" y="524"/>
                      </a:lnTo>
                      <a:lnTo>
                        <a:pt x="1625" y="524"/>
                      </a:lnTo>
                      <a:lnTo>
                        <a:pt x="1626" y="524"/>
                      </a:lnTo>
                      <a:close/>
                      <a:moveTo>
                        <a:pt x="1164" y="719"/>
                      </a:moveTo>
                      <a:lnTo>
                        <a:pt x="1166" y="719"/>
                      </a:lnTo>
                      <a:lnTo>
                        <a:pt x="1167" y="719"/>
                      </a:lnTo>
                      <a:lnTo>
                        <a:pt x="1167" y="720"/>
                      </a:lnTo>
                      <a:lnTo>
                        <a:pt x="1166" y="720"/>
                      </a:lnTo>
                      <a:lnTo>
                        <a:pt x="1164" y="720"/>
                      </a:lnTo>
                      <a:lnTo>
                        <a:pt x="1163" y="720"/>
                      </a:lnTo>
                      <a:lnTo>
                        <a:pt x="1163" y="719"/>
                      </a:lnTo>
                      <a:lnTo>
                        <a:pt x="1163" y="718"/>
                      </a:lnTo>
                      <a:lnTo>
                        <a:pt x="1164" y="718"/>
                      </a:lnTo>
                      <a:lnTo>
                        <a:pt x="1164" y="719"/>
                      </a:lnTo>
                      <a:close/>
                      <a:moveTo>
                        <a:pt x="1410" y="484"/>
                      </a:moveTo>
                      <a:lnTo>
                        <a:pt x="1412" y="484"/>
                      </a:lnTo>
                      <a:lnTo>
                        <a:pt x="1410" y="485"/>
                      </a:lnTo>
                      <a:lnTo>
                        <a:pt x="1408" y="488"/>
                      </a:lnTo>
                      <a:lnTo>
                        <a:pt x="1407" y="488"/>
                      </a:lnTo>
                      <a:lnTo>
                        <a:pt x="1407" y="487"/>
                      </a:lnTo>
                      <a:lnTo>
                        <a:pt x="1407" y="486"/>
                      </a:lnTo>
                      <a:lnTo>
                        <a:pt x="1408" y="486"/>
                      </a:lnTo>
                      <a:lnTo>
                        <a:pt x="1409" y="486"/>
                      </a:lnTo>
                      <a:lnTo>
                        <a:pt x="1409" y="485"/>
                      </a:lnTo>
                      <a:lnTo>
                        <a:pt x="1410" y="485"/>
                      </a:lnTo>
                      <a:lnTo>
                        <a:pt x="1410" y="484"/>
                      </a:lnTo>
                      <a:close/>
                      <a:moveTo>
                        <a:pt x="1255" y="501"/>
                      </a:moveTo>
                      <a:lnTo>
                        <a:pt x="1257" y="502"/>
                      </a:lnTo>
                      <a:lnTo>
                        <a:pt x="1258" y="502"/>
                      </a:lnTo>
                      <a:lnTo>
                        <a:pt x="1258" y="503"/>
                      </a:lnTo>
                      <a:lnTo>
                        <a:pt x="1257" y="503"/>
                      </a:lnTo>
                      <a:lnTo>
                        <a:pt x="1255" y="503"/>
                      </a:lnTo>
                      <a:lnTo>
                        <a:pt x="1254" y="502"/>
                      </a:lnTo>
                      <a:lnTo>
                        <a:pt x="1253" y="502"/>
                      </a:lnTo>
                      <a:lnTo>
                        <a:pt x="1252" y="503"/>
                      </a:lnTo>
                      <a:lnTo>
                        <a:pt x="1251" y="503"/>
                      </a:lnTo>
                      <a:lnTo>
                        <a:pt x="1251" y="502"/>
                      </a:lnTo>
                      <a:lnTo>
                        <a:pt x="1252" y="502"/>
                      </a:lnTo>
                      <a:lnTo>
                        <a:pt x="1253" y="502"/>
                      </a:lnTo>
                      <a:lnTo>
                        <a:pt x="1254" y="502"/>
                      </a:lnTo>
                      <a:lnTo>
                        <a:pt x="1254" y="501"/>
                      </a:lnTo>
                      <a:lnTo>
                        <a:pt x="1255" y="501"/>
                      </a:lnTo>
                      <a:close/>
                      <a:moveTo>
                        <a:pt x="1332" y="474"/>
                      </a:moveTo>
                      <a:lnTo>
                        <a:pt x="1332" y="475"/>
                      </a:lnTo>
                      <a:lnTo>
                        <a:pt x="1331" y="475"/>
                      </a:lnTo>
                      <a:lnTo>
                        <a:pt x="1331" y="476"/>
                      </a:lnTo>
                      <a:lnTo>
                        <a:pt x="1331" y="477"/>
                      </a:lnTo>
                      <a:lnTo>
                        <a:pt x="1330" y="476"/>
                      </a:lnTo>
                      <a:lnTo>
                        <a:pt x="1330" y="475"/>
                      </a:lnTo>
                      <a:lnTo>
                        <a:pt x="1329" y="475"/>
                      </a:lnTo>
                      <a:lnTo>
                        <a:pt x="1329" y="474"/>
                      </a:lnTo>
                      <a:lnTo>
                        <a:pt x="1330" y="474"/>
                      </a:lnTo>
                      <a:lnTo>
                        <a:pt x="1330" y="475"/>
                      </a:lnTo>
                      <a:lnTo>
                        <a:pt x="1331" y="475"/>
                      </a:lnTo>
                      <a:lnTo>
                        <a:pt x="1331" y="474"/>
                      </a:lnTo>
                      <a:lnTo>
                        <a:pt x="1332" y="474"/>
                      </a:lnTo>
                      <a:lnTo>
                        <a:pt x="1332" y="473"/>
                      </a:lnTo>
                      <a:lnTo>
                        <a:pt x="1332" y="474"/>
                      </a:lnTo>
                      <a:close/>
                      <a:moveTo>
                        <a:pt x="1402" y="539"/>
                      </a:moveTo>
                      <a:lnTo>
                        <a:pt x="1403" y="539"/>
                      </a:lnTo>
                      <a:lnTo>
                        <a:pt x="1403" y="540"/>
                      </a:lnTo>
                      <a:lnTo>
                        <a:pt x="1402" y="540"/>
                      </a:lnTo>
                      <a:lnTo>
                        <a:pt x="1401" y="540"/>
                      </a:lnTo>
                      <a:lnTo>
                        <a:pt x="1400" y="540"/>
                      </a:lnTo>
                      <a:lnTo>
                        <a:pt x="1399" y="540"/>
                      </a:lnTo>
                      <a:lnTo>
                        <a:pt x="1399" y="539"/>
                      </a:lnTo>
                      <a:lnTo>
                        <a:pt x="1400" y="539"/>
                      </a:lnTo>
                      <a:lnTo>
                        <a:pt x="1401" y="539"/>
                      </a:lnTo>
                      <a:lnTo>
                        <a:pt x="1401" y="538"/>
                      </a:lnTo>
                      <a:lnTo>
                        <a:pt x="1401" y="539"/>
                      </a:lnTo>
                      <a:lnTo>
                        <a:pt x="1402" y="539"/>
                      </a:lnTo>
                      <a:close/>
                      <a:moveTo>
                        <a:pt x="1141" y="707"/>
                      </a:moveTo>
                      <a:lnTo>
                        <a:pt x="1142" y="707"/>
                      </a:lnTo>
                      <a:lnTo>
                        <a:pt x="1141" y="708"/>
                      </a:lnTo>
                      <a:lnTo>
                        <a:pt x="1141" y="709"/>
                      </a:lnTo>
                      <a:lnTo>
                        <a:pt x="1141" y="710"/>
                      </a:lnTo>
                      <a:lnTo>
                        <a:pt x="1140" y="710"/>
                      </a:lnTo>
                      <a:lnTo>
                        <a:pt x="1138" y="709"/>
                      </a:lnTo>
                      <a:lnTo>
                        <a:pt x="1138" y="708"/>
                      </a:lnTo>
                      <a:lnTo>
                        <a:pt x="1138" y="709"/>
                      </a:lnTo>
                      <a:lnTo>
                        <a:pt x="1140" y="709"/>
                      </a:lnTo>
                      <a:lnTo>
                        <a:pt x="1140" y="708"/>
                      </a:lnTo>
                      <a:lnTo>
                        <a:pt x="1140" y="707"/>
                      </a:lnTo>
                      <a:lnTo>
                        <a:pt x="1141" y="706"/>
                      </a:lnTo>
                      <a:lnTo>
                        <a:pt x="1141" y="707"/>
                      </a:lnTo>
                      <a:close/>
                      <a:moveTo>
                        <a:pt x="1628" y="603"/>
                      </a:moveTo>
                      <a:lnTo>
                        <a:pt x="1628" y="604"/>
                      </a:lnTo>
                      <a:lnTo>
                        <a:pt x="1628" y="605"/>
                      </a:lnTo>
                      <a:lnTo>
                        <a:pt x="1627" y="605"/>
                      </a:lnTo>
                      <a:lnTo>
                        <a:pt x="1627" y="606"/>
                      </a:lnTo>
                      <a:lnTo>
                        <a:pt x="1626" y="605"/>
                      </a:lnTo>
                      <a:lnTo>
                        <a:pt x="1627" y="605"/>
                      </a:lnTo>
                      <a:lnTo>
                        <a:pt x="1627" y="604"/>
                      </a:lnTo>
                      <a:lnTo>
                        <a:pt x="1627" y="605"/>
                      </a:lnTo>
                      <a:lnTo>
                        <a:pt x="1626" y="605"/>
                      </a:lnTo>
                      <a:lnTo>
                        <a:pt x="1626" y="604"/>
                      </a:lnTo>
                      <a:lnTo>
                        <a:pt x="1626" y="603"/>
                      </a:lnTo>
                      <a:lnTo>
                        <a:pt x="1627" y="603"/>
                      </a:lnTo>
                      <a:lnTo>
                        <a:pt x="1628" y="603"/>
                      </a:lnTo>
                      <a:close/>
                      <a:moveTo>
                        <a:pt x="1405" y="465"/>
                      </a:moveTo>
                      <a:lnTo>
                        <a:pt x="1404" y="466"/>
                      </a:lnTo>
                      <a:lnTo>
                        <a:pt x="1403" y="466"/>
                      </a:lnTo>
                      <a:lnTo>
                        <a:pt x="1403" y="465"/>
                      </a:lnTo>
                      <a:lnTo>
                        <a:pt x="1404" y="464"/>
                      </a:lnTo>
                      <a:lnTo>
                        <a:pt x="1404" y="463"/>
                      </a:lnTo>
                      <a:lnTo>
                        <a:pt x="1404" y="462"/>
                      </a:lnTo>
                      <a:lnTo>
                        <a:pt x="1405" y="463"/>
                      </a:lnTo>
                      <a:lnTo>
                        <a:pt x="1405" y="464"/>
                      </a:lnTo>
                      <a:lnTo>
                        <a:pt x="1405" y="465"/>
                      </a:lnTo>
                      <a:close/>
                      <a:moveTo>
                        <a:pt x="1285" y="539"/>
                      </a:moveTo>
                      <a:lnTo>
                        <a:pt x="1285" y="540"/>
                      </a:lnTo>
                      <a:lnTo>
                        <a:pt x="1284" y="540"/>
                      </a:lnTo>
                      <a:lnTo>
                        <a:pt x="1283" y="540"/>
                      </a:lnTo>
                      <a:lnTo>
                        <a:pt x="1282" y="540"/>
                      </a:lnTo>
                      <a:lnTo>
                        <a:pt x="1283" y="539"/>
                      </a:lnTo>
                      <a:lnTo>
                        <a:pt x="1283" y="538"/>
                      </a:lnTo>
                      <a:lnTo>
                        <a:pt x="1283" y="537"/>
                      </a:lnTo>
                      <a:lnTo>
                        <a:pt x="1284" y="538"/>
                      </a:lnTo>
                      <a:lnTo>
                        <a:pt x="1285" y="538"/>
                      </a:lnTo>
                      <a:lnTo>
                        <a:pt x="1285" y="539"/>
                      </a:lnTo>
                      <a:close/>
                      <a:moveTo>
                        <a:pt x="1330" y="538"/>
                      </a:moveTo>
                      <a:lnTo>
                        <a:pt x="1329" y="538"/>
                      </a:lnTo>
                      <a:lnTo>
                        <a:pt x="1328" y="538"/>
                      </a:lnTo>
                      <a:lnTo>
                        <a:pt x="1328" y="537"/>
                      </a:lnTo>
                      <a:lnTo>
                        <a:pt x="1328" y="536"/>
                      </a:lnTo>
                      <a:lnTo>
                        <a:pt x="1329" y="536"/>
                      </a:lnTo>
                      <a:lnTo>
                        <a:pt x="1329" y="537"/>
                      </a:lnTo>
                      <a:lnTo>
                        <a:pt x="1330" y="537"/>
                      </a:lnTo>
                      <a:lnTo>
                        <a:pt x="1331" y="538"/>
                      </a:lnTo>
                      <a:lnTo>
                        <a:pt x="1330" y="538"/>
                      </a:lnTo>
                      <a:close/>
                      <a:moveTo>
                        <a:pt x="1360" y="601"/>
                      </a:moveTo>
                      <a:lnTo>
                        <a:pt x="1361" y="601"/>
                      </a:lnTo>
                      <a:lnTo>
                        <a:pt x="1361" y="602"/>
                      </a:lnTo>
                      <a:lnTo>
                        <a:pt x="1360" y="602"/>
                      </a:lnTo>
                      <a:lnTo>
                        <a:pt x="1358" y="601"/>
                      </a:lnTo>
                      <a:lnTo>
                        <a:pt x="1357" y="601"/>
                      </a:lnTo>
                      <a:lnTo>
                        <a:pt x="1356" y="601"/>
                      </a:lnTo>
                      <a:lnTo>
                        <a:pt x="1357" y="600"/>
                      </a:lnTo>
                      <a:lnTo>
                        <a:pt x="1358" y="598"/>
                      </a:lnTo>
                      <a:lnTo>
                        <a:pt x="1358" y="600"/>
                      </a:lnTo>
                      <a:lnTo>
                        <a:pt x="1358" y="601"/>
                      </a:lnTo>
                      <a:lnTo>
                        <a:pt x="1360" y="601"/>
                      </a:lnTo>
                      <a:close/>
                      <a:moveTo>
                        <a:pt x="1311" y="580"/>
                      </a:moveTo>
                      <a:lnTo>
                        <a:pt x="1312" y="581"/>
                      </a:lnTo>
                      <a:lnTo>
                        <a:pt x="1312" y="580"/>
                      </a:lnTo>
                      <a:lnTo>
                        <a:pt x="1312" y="581"/>
                      </a:lnTo>
                      <a:lnTo>
                        <a:pt x="1313" y="581"/>
                      </a:lnTo>
                      <a:lnTo>
                        <a:pt x="1312" y="581"/>
                      </a:lnTo>
                      <a:lnTo>
                        <a:pt x="1313" y="581"/>
                      </a:lnTo>
                      <a:lnTo>
                        <a:pt x="1313" y="582"/>
                      </a:lnTo>
                      <a:lnTo>
                        <a:pt x="1313" y="583"/>
                      </a:lnTo>
                      <a:lnTo>
                        <a:pt x="1314" y="582"/>
                      </a:lnTo>
                      <a:lnTo>
                        <a:pt x="1314" y="583"/>
                      </a:lnTo>
                      <a:lnTo>
                        <a:pt x="1313" y="583"/>
                      </a:lnTo>
                      <a:lnTo>
                        <a:pt x="1312" y="583"/>
                      </a:lnTo>
                      <a:lnTo>
                        <a:pt x="1311" y="583"/>
                      </a:lnTo>
                      <a:lnTo>
                        <a:pt x="1312" y="582"/>
                      </a:lnTo>
                      <a:lnTo>
                        <a:pt x="1312" y="581"/>
                      </a:lnTo>
                      <a:lnTo>
                        <a:pt x="1311" y="581"/>
                      </a:lnTo>
                      <a:lnTo>
                        <a:pt x="1311" y="580"/>
                      </a:lnTo>
                      <a:close/>
                      <a:moveTo>
                        <a:pt x="1305" y="692"/>
                      </a:moveTo>
                      <a:lnTo>
                        <a:pt x="1305" y="693"/>
                      </a:lnTo>
                      <a:lnTo>
                        <a:pt x="1305" y="694"/>
                      </a:lnTo>
                      <a:lnTo>
                        <a:pt x="1304" y="694"/>
                      </a:lnTo>
                      <a:lnTo>
                        <a:pt x="1303" y="694"/>
                      </a:lnTo>
                      <a:lnTo>
                        <a:pt x="1302" y="694"/>
                      </a:lnTo>
                      <a:lnTo>
                        <a:pt x="1302" y="693"/>
                      </a:lnTo>
                      <a:lnTo>
                        <a:pt x="1303" y="693"/>
                      </a:lnTo>
                      <a:lnTo>
                        <a:pt x="1303" y="692"/>
                      </a:lnTo>
                      <a:lnTo>
                        <a:pt x="1304" y="693"/>
                      </a:lnTo>
                      <a:lnTo>
                        <a:pt x="1304" y="692"/>
                      </a:lnTo>
                      <a:lnTo>
                        <a:pt x="1305" y="692"/>
                      </a:lnTo>
                      <a:close/>
                      <a:moveTo>
                        <a:pt x="1618" y="642"/>
                      </a:moveTo>
                      <a:lnTo>
                        <a:pt x="1618" y="643"/>
                      </a:lnTo>
                      <a:lnTo>
                        <a:pt x="1616" y="644"/>
                      </a:lnTo>
                      <a:lnTo>
                        <a:pt x="1615" y="644"/>
                      </a:lnTo>
                      <a:lnTo>
                        <a:pt x="1614" y="644"/>
                      </a:lnTo>
                      <a:lnTo>
                        <a:pt x="1613" y="644"/>
                      </a:lnTo>
                      <a:lnTo>
                        <a:pt x="1613" y="643"/>
                      </a:lnTo>
                      <a:lnTo>
                        <a:pt x="1614" y="643"/>
                      </a:lnTo>
                      <a:lnTo>
                        <a:pt x="1615" y="643"/>
                      </a:lnTo>
                      <a:lnTo>
                        <a:pt x="1616" y="643"/>
                      </a:lnTo>
                      <a:lnTo>
                        <a:pt x="1618" y="643"/>
                      </a:lnTo>
                      <a:lnTo>
                        <a:pt x="1618" y="642"/>
                      </a:lnTo>
                      <a:close/>
                      <a:moveTo>
                        <a:pt x="1624" y="618"/>
                      </a:moveTo>
                      <a:lnTo>
                        <a:pt x="1624" y="619"/>
                      </a:lnTo>
                      <a:lnTo>
                        <a:pt x="1623" y="619"/>
                      </a:lnTo>
                      <a:lnTo>
                        <a:pt x="1623" y="618"/>
                      </a:lnTo>
                      <a:lnTo>
                        <a:pt x="1623" y="619"/>
                      </a:lnTo>
                      <a:lnTo>
                        <a:pt x="1622" y="618"/>
                      </a:lnTo>
                      <a:lnTo>
                        <a:pt x="1622" y="617"/>
                      </a:lnTo>
                      <a:lnTo>
                        <a:pt x="1623" y="617"/>
                      </a:lnTo>
                      <a:lnTo>
                        <a:pt x="1624" y="617"/>
                      </a:lnTo>
                      <a:lnTo>
                        <a:pt x="1625" y="617"/>
                      </a:lnTo>
                      <a:lnTo>
                        <a:pt x="1625" y="618"/>
                      </a:lnTo>
                      <a:lnTo>
                        <a:pt x="1624" y="618"/>
                      </a:lnTo>
                      <a:close/>
                      <a:moveTo>
                        <a:pt x="1161" y="709"/>
                      </a:moveTo>
                      <a:lnTo>
                        <a:pt x="1161" y="710"/>
                      </a:lnTo>
                      <a:lnTo>
                        <a:pt x="1162" y="710"/>
                      </a:lnTo>
                      <a:lnTo>
                        <a:pt x="1162" y="711"/>
                      </a:lnTo>
                      <a:lnTo>
                        <a:pt x="1161" y="711"/>
                      </a:lnTo>
                      <a:lnTo>
                        <a:pt x="1161" y="712"/>
                      </a:lnTo>
                      <a:lnTo>
                        <a:pt x="1160" y="712"/>
                      </a:lnTo>
                      <a:lnTo>
                        <a:pt x="1160" y="711"/>
                      </a:lnTo>
                      <a:lnTo>
                        <a:pt x="1161" y="711"/>
                      </a:lnTo>
                      <a:lnTo>
                        <a:pt x="1160" y="711"/>
                      </a:lnTo>
                      <a:lnTo>
                        <a:pt x="1161" y="710"/>
                      </a:lnTo>
                      <a:lnTo>
                        <a:pt x="1160" y="710"/>
                      </a:lnTo>
                      <a:lnTo>
                        <a:pt x="1160" y="711"/>
                      </a:lnTo>
                      <a:lnTo>
                        <a:pt x="1160" y="710"/>
                      </a:lnTo>
                      <a:lnTo>
                        <a:pt x="1161" y="709"/>
                      </a:lnTo>
                      <a:lnTo>
                        <a:pt x="1162" y="709"/>
                      </a:lnTo>
                      <a:lnTo>
                        <a:pt x="1161" y="709"/>
                      </a:lnTo>
                      <a:close/>
                      <a:moveTo>
                        <a:pt x="1216" y="639"/>
                      </a:moveTo>
                      <a:lnTo>
                        <a:pt x="1218" y="639"/>
                      </a:lnTo>
                      <a:lnTo>
                        <a:pt x="1218" y="640"/>
                      </a:lnTo>
                      <a:lnTo>
                        <a:pt x="1218" y="641"/>
                      </a:lnTo>
                      <a:lnTo>
                        <a:pt x="1218" y="642"/>
                      </a:lnTo>
                      <a:lnTo>
                        <a:pt x="1219" y="642"/>
                      </a:lnTo>
                      <a:lnTo>
                        <a:pt x="1218" y="643"/>
                      </a:lnTo>
                      <a:lnTo>
                        <a:pt x="1218" y="642"/>
                      </a:lnTo>
                      <a:lnTo>
                        <a:pt x="1216" y="642"/>
                      </a:lnTo>
                      <a:lnTo>
                        <a:pt x="1218" y="642"/>
                      </a:lnTo>
                      <a:lnTo>
                        <a:pt x="1218" y="641"/>
                      </a:lnTo>
                      <a:lnTo>
                        <a:pt x="1216" y="641"/>
                      </a:lnTo>
                      <a:lnTo>
                        <a:pt x="1216" y="640"/>
                      </a:lnTo>
                      <a:lnTo>
                        <a:pt x="1216" y="639"/>
                      </a:lnTo>
                      <a:lnTo>
                        <a:pt x="1215" y="639"/>
                      </a:lnTo>
                      <a:lnTo>
                        <a:pt x="1214" y="639"/>
                      </a:lnTo>
                      <a:lnTo>
                        <a:pt x="1215" y="639"/>
                      </a:lnTo>
                      <a:lnTo>
                        <a:pt x="1216" y="639"/>
                      </a:lnTo>
                      <a:close/>
                      <a:moveTo>
                        <a:pt x="1227" y="710"/>
                      </a:moveTo>
                      <a:lnTo>
                        <a:pt x="1227" y="709"/>
                      </a:lnTo>
                      <a:lnTo>
                        <a:pt x="1226" y="709"/>
                      </a:lnTo>
                      <a:lnTo>
                        <a:pt x="1226" y="708"/>
                      </a:lnTo>
                      <a:lnTo>
                        <a:pt x="1226" y="707"/>
                      </a:lnTo>
                      <a:lnTo>
                        <a:pt x="1227" y="707"/>
                      </a:lnTo>
                      <a:lnTo>
                        <a:pt x="1228" y="707"/>
                      </a:lnTo>
                      <a:lnTo>
                        <a:pt x="1227" y="708"/>
                      </a:lnTo>
                      <a:lnTo>
                        <a:pt x="1228" y="708"/>
                      </a:lnTo>
                      <a:lnTo>
                        <a:pt x="1227" y="709"/>
                      </a:lnTo>
                      <a:lnTo>
                        <a:pt x="1227" y="710"/>
                      </a:lnTo>
                      <a:close/>
                      <a:moveTo>
                        <a:pt x="1626" y="532"/>
                      </a:moveTo>
                      <a:lnTo>
                        <a:pt x="1625" y="532"/>
                      </a:lnTo>
                      <a:lnTo>
                        <a:pt x="1625" y="531"/>
                      </a:lnTo>
                      <a:lnTo>
                        <a:pt x="1625" y="530"/>
                      </a:lnTo>
                      <a:lnTo>
                        <a:pt x="1626" y="530"/>
                      </a:lnTo>
                      <a:lnTo>
                        <a:pt x="1627" y="530"/>
                      </a:lnTo>
                      <a:lnTo>
                        <a:pt x="1627" y="531"/>
                      </a:lnTo>
                      <a:lnTo>
                        <a:pt x="1626" y="531"/>
                      </a:lnTo>
                      <a:lnTo>
                        <a:pt x="1626" y="532"/>
                      </a:lnTo>
                      <a:close/>
                      <a:moveTo>
                        <a:pt x="1603" y="658"/>
                      </a:moveTo>
                      <a:lnTo>
                        <a:pt x="1605" y="658"/>
                      </a:lnTo>
                      <a:lnTo>
                        <a:pt x="1606" y="659"/>
                      </a:lnTo>
                      <a:lnTo>
                        <a:pt x="1606" y="660"/>
                      </a:lnTo>
                      <a:lnTo>
                        <a:pt x="1605" y="660"/>
                      </a:lnTo>
                      <a:lnTo>
                        <a:pt x="1603" y="659"/>
                      </a:lnTo>
                      <a:lnTo>
                        <a:pt x="1603" y="660"/>
                      </a:lnTo>
                      <a:lnTo>
                        <a:pt x="1602" y="660"/>
                      </a:lnTo>
                      <a:lnTo>
                        <a:pt x="1602" y="659"/>
                      </a:lnTo>
                      <a:lnTo>
                        <a:pt x="1602" y="658"/>
                      </a:lnTo>
                      <a:lnTo>
                        <a:pt x="1603" y="658"/>
                      </a:lnTo>
                      <a:close/>
                      <a:moveTo>
                        <a:pt x="1164" y="708"/>
                      </a:moveTo>
                      <a:lnTo>
                        <a:pt x="1164" y="709"/>
                      </a:lnTo>
                      <a:lnTo>
                        <a:pt x="1166" y="709"/>
                      </a:lnTo>
                      <a:lnTo>
                        <a:pt x="1166" y="710"/>
                      </a:lnTo>
                      <a:lnTo>
                        <a:pt x="1166" y="711"/>
                      </a:lnTo>
                      <a:lnTo>
                        <a:pt x="1164" y="711"/>
                      </a:lnTo>
                      <a:lnTo>
                        <a:pt x="1164" y="710"/>
                      </a:lnTo>
                      <a:lnTo>
                        <a:pt x="1164" y="709"/>
                      </a:lnTo>
                      <a:lnTo>
                        <a:pt x="1163" y="709"/>
                      </a:lnTo>
                      <a:lnTo>
                        <a:pt x="1163" y="708"/>
                      </a:lnTo>
                      <a:lnTo>
                        <a:pt x="1164" y="708"/>
                      </a:lnTo>
                      <a:close/>
                      <a:moveTo>
                        <a:pt x="1332" y="604"/>
                      </a:moveTo>
                      <a:lnTo>
                        <a:pt x="1332" y="605"/>
                      </a:lnTo>
                      <a:lnTo>
                        <a:pt x="1334" y="605"/>
                      </a:lnTo>
                      <a:lnTo>
                        <a:pt x="1334" y="606"/>
                      </a:lnTo>
                      <a:lnTo>
                        <a:pt x="1332" y="606"/>
                      </a:lnTo>
                      <a:lnTo>
                        <a:pt x="1331" y="606"/>
                      </a:lnTo>
                      <a:lnTo>
                        <a:pt x="1331" y="605"/>
                      </a:lnTo>
                      <a:lnTo>
                        <a:pt x="1330" y="605"/>
                      </a:lnTo>
                      <a:lnTo>
                        <a:pt x="1329" y="605"/>
                      </a:lnTo>
                      <a:lnTo>
                        <a:pt x="1330" y="605"/>
                      </a:lnTo>
                      <a:lnTo>
                        <a:pt x="1330" y="604"/>
                      </a:lnTo>
                      <a:lnTo>
                        <a:pt x="1331" y="604"/>
                      </a:lnTo>
                      <a:lnTo>
                        <a:pt x="1332" y="604"/>
                      </a:lnTo>
                      <a:close/>
                      <a:moveTo>
                        <a:pt x="1233" y="639"/>
                      </a:moveTo>
                      <a:lnTo>
                        <a:pt x="1234" y="639"/>
                      </a:lnTo>
                      <a:lnTo>
                        <a:pt x="1234" y="640"/>
                      </a:lnTo>
                      <a:lnTo>
                        <a:pt x="1232" y="640"/>
                      </a:lnTo>
                      <a:lnTo>
                        <a:pt x="1231" y="640"/>
                      </a:lnTo>
                      <a:lnTo>
                        <a:pt x="1231" y="639"/>
                      </a:lnTo>
                      <a:lnTo>
                        <a:pt x="1232" y="639"/>
                      </a:lnTo>
                      <a:lnTo>
                        <a:pt x="1233" y="639"/>
                      </a:lnTo>
                      <a:lnTo>
                        <a:pt x="1233" y="637"/>
                      </a:lnTo>
                      <a:lnTo>
                        <a:pt x="1233" y="636"/>
                      </a:lnTo>
                      <a:lnTo>
                        <a:pt x="1233" y="637"/>
                      </a:lnTo>
                      <a:lnTo>
                        <a:pt x="1233" y="639"/>
                      </a:lnTo>
                      <a:close/>
                      <a:moveTo>
                        <a:pt x="1629" y="581"/>
                      </a:moveTo>
                      <a:lnTo>
                        <a:pt x="1629" y="582"/>
                      </a:lnTo>
                      <a:lnTo>
                        <a:pt x="1628" y="582"/>
                      </a:lnTo>
                      <a:lnTo>
                        <a:pt x="1628" y="581"/>
                      </a:lnTo>
                      <a:lnTo>
                        <a:pt x="1628" y="582"/>
                      </a:lnTo>
                      <a:lnTo>
                        <a:pt x="1627" y="582"/>
                      </a:lnTo>
                      <a:lnTo>
                        <a:pt x="1627" y="581"/>
                      </a:lnTo>
                      <a:lnTo>
                        <a:pt x="1628" y="581"/>
                      </a:lnTo>
                      <a:lnTo>
                        <a:pt x="1628" y="580"/>
                      </a:lnTo>
                      <a:lnTo>
                        <a:pt x="1629" y="580"/>
                      </a:lnTo>
                      <a:lnTo>
                        <a:pt x="1631" y="580"/>
                      </a:lnTo>
                      <a:lnTo>
                        <a:pt x="1631" y="581"/>
                      </a:lnTo>
                      <a:lnTo>
                        <a:pt x="1629" y="581"/>
                      </a:lnTo>
                      <a:close/>
                      <a:moveTo>
                        <a:pt x="1361" y="566"/>
                      </a:moveTo>
                      <a:lnTo>
                        <a:pt x="1362" y="566"/>
                      </a:lnTo>
                      <a:lnTo>
                        <a:pt x="1363" y="566"/>
                      </a:lnTo>
                      <a:lnTo>
                        <a:pt x="1363" y="567"/>
                      </a:lnTo>
                      <a:lnTo>
                        <a:pt x="1362" y="567"/>
                      </a:lnTo>
                      <a:lnTo>
                        <a:pt x="1362" y="568"/>
                      </a:lnTo>
                      <a:lnTo>
                        <a:pt x="1363" y="568"/>
                      </a:lnTo>
                      <a:lnTo>
                        <a:pt x="1362" y="568"/>
                      </a:lnTo>
                      <a:lnTo>
                        <a:pt x="1361" y="568"/>
                      </a:lnTo>
                      <a:lnTo>
                        <a:pt x="1361" y="567"/>
                      </a:lnTo>
                      <a:lnTo>
                        <a:pt x="1361" y="566"/>
                      </a:lnTo>
                      <a:close/>
                      <a:moveTo>
                        <a:pt x="1221" y="683"/>
                      </a:moveTo>
                      <a:lnTo>
                        <a:pt x="1222" y="683"/>
                      </a:lnTo>
                      <a:lnTo>
                        <a:pt x="1221" y="684"/>
                      </a:lnTo>
                      <a:lnTo>
                        <a:pt x="1220" y="684"/>
                      </a:lnTo>
                      <a:lnTo>
                        <a:pt x="1220" y="683"/>
                      </a:lnTo>
                      <a:lnTo>
                        <a:pt x="1219" y="682"/>
                      </a:lnTo>
                      <a:lnTo>
                        <a:pt x="1220" y="682"/>
                      </a:lnTo>
                      <a:lnTo>
                        <a:pt x="1220" y="683"/>
                      </a:lnTo>
                      <a:lnTo>
                        <a:pt x="1220" y="682"/>
                      </a:lnTo>
                      <a:lnTo>
                        <a:pt x="1220" y="681"/>
                      </a:lnTo>
                      <a:lnTo>
                        <a:pt x="1221" y="681"/>
                      </a:lnTo>
                      <a:lnTo>
                        <a:pt x="1221" y="682"/>
                      </a:lnTo>
                      <a:lnTo>
                        <a:pt x="1221" y="683"/>
                      </a:lnTo>
                      <a:close/>
                      <a:moveTo>
                        <a:pt x="1130" y="711"/>
                      </a:moveTo>
                      <a:lnTo>
                        <a:pt x="1131" y="711"/>
                      </a:lnTo>
                      <a:lnTo>
                        <a:pt x="1132" y="711"/>
                      </a:lnTo>
                      <a:lnTo>
                        <a:pt x="1133" y="712"/>
                      </a:lnTo>
                      <a:lnTo>
                        <a:pt x="1132" y="712"/>
                      </a:lnTo>
                      <a:lnTo>
                        <a:pt x="1130" y="712"/>
                      </a:lnTo>
                      <a:lnTo>
                        <a:pt x="1129" y="712"/>
                      </a:lnTo>
                      <a:lnTo>
                        <a:pt x="1130" y="711"/>
                      </a:lnTo>
                      <a:lnTo>
                        <a:pt x="1131" y="711"/>
                      </a:lnTo>
                      <a:lnTo>
                        <a:pt x="1130" y="711"/>
                      </a:lnTo>
                      <a:close/>
                      <a:moveTo>
                        <a:pt x="1599" y="610"/>
                      </a:moveTo>
                      <a:lnTo>
                        <a:pt x="1599" y="611"/>
                      </a:lnTo>
                      <a:lnTo>
                        <a:pt x="1599" y="613"/>
                      </a:lnTo>
                      <a:lnTo>
                        <a:pt x="1599" y="611"/>
                      </a:lnTo>
                      <a:lnTo>
                        <a:pt x="1599" y="613"/>
                      </a:lnTo>
                      <a:lnTo>
                        <a:pt x="1598" y="613"/>
                      </a:lnTo>
                      <a:lnTo>
                        <a:pt x="1597" y="613"/>
                      </a:lnTo>
                      <a:lnTo>
                        <a:pt x="1597" y="614"/>
                      </a:lnTo>
                      <a:lnTo>
                        <a:pt x="1597" y="615"/>
                      </a:lnTo>
                      <a:lnTo>
                        <a:pt x="1596" y="615"/>
                      </a:lnTo>
                      <a:lnTo>
                        <a:pt x="1596" y="614"/>
                      </a:lnTo>
                      <a:lnTo>
                        <a:pt x="1597" y="614"/>
                      </a:lnTo>
                      <a:lnTo>
                        <a:pt x="1597" y="613"/>
                      </a:lnTo>
                      <a:lnTo>
                        <a:pt x="1598" y="613"/>
                      </a:lnTo>
                      <a:lnTo>
                        <a:pt x="1598" y="611"/>
                      </a:lnTo>
                      <a:lnTo>
                        <a:pt x="1599" y="611"/>
                      </a:lnTo>
                      <a:lnTo>
                        <a:pt x="1599" y="610"/>
                      </a:lnTo>
                      <a:close/>
                      <a:moveTo>
                        <a:pt x="1631" y="552"/>
                      </a:moveTo>
                      <a:lnTo>
                        <a:pt x="1629" y="552"/>
                      </a:lnTo>
                      <a:lnTo>
                        <a:pt x="1628" y="552"/>
                      </a:lnTo>
                      <a:lnTo>
                        <a:pt x="1629" y="551"/>
                      </a:lnTo>
                      <a:lnTo>
                        <a:pt x="1631" y="551"/>
                      </a:lnTo>
                      <a:lnTo>
                        <a:pt x="1631" y="550"/>
                      </a:lnTo>
                      <a:lnTo>
                        <a:pt x="1632" y="550"/>
                      </a:lnTo>
                      <a:lnTo>
                        <a:pt x="1632" y="551"/>
                      </a:lnTo>
                      <a:lnTo>
                        <a:pt x="1631" y="552"/>
                      </a:lnTo>
                      <a:close/>
                      <a:moveTo>
                        <a:pt x="1154" y="716"/>
                      </a:moveTo>
                      <a:lnTo>
                        <a:pt x="1154" y="717"/>
                      </a:lnTo>
                      <a:lnTo>
                        <a:pt x="1154" y="718"/>
                      </a:lnTo>
                      <a:lnTo>
                        <a:pt x="1153" y="718"/>
                      </a:lnTo>
                      <a:lnTo>
                        <a:pt x="1153" y="717"/>
                      </a:lnTo>
                      <a:lnTo>
                        <a:pt x="1153" y="716"/>
                      </a:lnTo>
                      <a:lnTo>
                        <a:pt x="1154" y="716"/>
                      </a:lnTo>
                      <a:close/>
                      <a:moveTo>
                        <a:pt x="1207" y="700"/>
                      </a:moveTo>
                      <a:lnTo>
                        <a:pt x="1208" y="700"/>
                      </a:lnTo>
                      <a:lnTo>
                        <a:pt x="1209" y="700"/>
                      </a:lnTo>
                      <a:lnTo>
                        <a:pt x="1209" y="701"/>
                      </a:lnTo>
                      <a:lnTo>
                        <a:pt x="1209" y="703"/>
                      </a:lnTo>
                      <a:lnTo>
                        <a:pt x="1208" y="703"/>
                      </a:lnTo>
                      <a:lnTo>
                        <a:pt x="1208" y="701"/>
                      </a:lnTo>
                      <a:lnTo>
                        <a:pt x="1207" y="700"/>
                      </a:lnTo>
                      <a:lnTo>
                        <a:pt x="1206" y="700"/>
                      </a:lnTo>
                      <a:lnTo>
                        <a:pt x="1207" y="700"/>
                      </a:lnTo>
                      <a:close/>
                      <a:moveTo>
                        <a:pt x="1382" y="531"/>
                      </a:moveTo>
                      <a:lnTo>
                        <a:pt x="1382" y="532"/>
                      </a:lnTo>
                      <a:lnTo>
                        <a:pt x="1383" y="532"/>
                      </a:lnTo>
                      <a:lnTo>
                        <a:pt x="1383" y="531"/>
                      </a:lnTo>
                      <a:lnTo>
                        <a:pt x="1383" y="532"/>
                      </a:lnTo>
                      <a:lnTo>
                        <a:pt x="1383" y="533"/>
                      </a:lnTo>
                      <a:lnTo>
                        <a:pt x="1384" y="533"/>
                      </a:lnTo>
                      <a:lnTo>
                        <a:pt x="1383" y="533"/>
                      </a:lnTo>
                      <a:lnTo>
                        <a:pt x="1383" y="534"/>
                      </a:lnTo>
                      <a:lnTo>
                        <a:pt x="1382" y="534"/>
                      </a:lnTo>
                      <a:lnTo>
                        <a:pt x="1382" y="533"/>
                      </a:lnTo>
                      <a:lnTo>
                        <a:pt x="1382" y="532"/>
                      </a:lnTo>
                      <a:lnTo>
                        <a:pt x="1382" y="531"/>
                      </a:lnTo>
                      <a:close/>
                      <a:moveTo>
                        <a:pt x="1252" y="685"/>
                      </a:moveTo>
                      <a:lnTo>
                        <a:pt x="1251" y="685"/>
                      </a:lnTo>
                      <a:lnTo>
                        <a:pt x="1252" y="684"/>
                      </a:lnTo>
                      <a:lnTo>
                        <a:pt x="1252" y="683"/>
                      </a:lnTo>
                      <a:lnTo>
                        <a:pt x="1252" y="682"/>
                      </a:lnTo>
                      <a:lnTo>
                        <a:pt x="1252" y="681"/>
                      </a:lnTo>
                      <a:lnTo>
                        <a:pt x="1252" y="682"/>
                      </a:lnTo>
                      <a:lnTo>
                        <a:pt x="1253" y="683"/>
                      </a:lnTo>
                      <a:lnTo>
                        <a:pt x="1253" y="684"/>
                      </a:lnTo>
                      <a:lnTo>
                        <a:pt x="1252" y="684"/>
                      </a:lnTo>
                      <a:lnTo>
                        <a:pt x="1252" y="685"/>
                      </a:lnTo>
                      <a:close/>
                      <a:moveTo>
                        <a:pt x="1615" y="505"/>
                      </a:moveTo>
                      <a:lnTo>
                        <a:pt x="1614" y="505"/>
                      </a:lnTo>
                      <a:lnTo>
                        <a:pt x="1614" y="504"/>
                      </a:lnTo>
                      <a:lnTo>
                        <a:pt x="1615" y="504"/>
                      </a:lnTo>
                      <a:lnTo>
                        <a:pt x="1615" y="503"/>
                      </a:lnTo>
                      <a:lnTo>
                        <a:pt x="1616" y="503"/>
                      </a:lnTo>
                      <a:lnTo>
                        <a:pt x="1616" y="504"/>
                      </a:lnTo>
                      <a:lnTo>
                        <a:pt x="1616" y="505"/>
                      </a:lnTo>
                      <a:lnTo>
                        <a:pt x="1615" y="505"/>
                      </a:lnTo>
                      <a:close/>
                      <a:moveTo>
                        <a:pt x="1621" y="633"/>
                      </a:moveTo>
                      <a:lnTo>
                        <a:pt x="1620" y="633"/>
                      </a:lnTo>
                      <a:lnTo>
                        <a:pt x="1620" y="634"/>
                      </a:lnTo>
                      <a:lnTo>
                        <a:pt x="1620" y="633"/>
                      </a:lnTo>
                      <a:lnTo>
                        <a:pt x="1619" y="633"/>
                      </a:lnTo>
                      <a:lnTo>
                        <a:pt x="1620" y="633"/>
                      </a:lnTo>
                      <a:lnTo>
                        <a:pt x="1620" y="632"/>
                      </a:lnTo>
                      <a:lnTo>
                        <a:pt x="1621" y="632"/>
                      </a:lnTo>
                      <a:lnTo>
                        <a:pt x="1621" y="633"/>
                      </a:lnTo>
                      <a:close/>
                      <a:moveTo>
                        <a:pt x="1324" y="476"/>
                      </a:moveTo>
                      <a:lnTo>
                        <a:pt x="1325" y="476"/>
                      </a:lnTo>
                      <a:lnTo>
                        <a:pt x="1325" y="475"/>
                      </a:lnTo>
                      <a:lnTo>
                        <a:pt x="1325" y="476"/>
                      </a:lnTo>
                      <a:lnTo>
                        <a:pt x="1326" y="476"/>
                      </a:lnTo>
                      <a:lnTo>
                        <a:pt x="1327" y="476"/>
                      </a:lnTo>
                      <a:lnTo>
                        <a:pt x="1328" y="476"/>
                      </a:lnTo>
                      <a:lnTo>
                        <a:pt x="1328" y="477"/>
                      </a:lnTo>
                      <a:lnTo>
                        <a:pt x="1327" y="477"/>
                      </a:lnTo>
                      <a:lnTo>
                        <a:pt x="1326" y="477"/>
                      </a:lnTo>
                      <a:lnTo>
                        <a:pt x="1325" y="477"/>
                      </a:lnTo>
                      <a:lnTo>
                        <a:pt x="1325" y="476"/>
                      </a:lnTo>
                      <a:lnTo>
                        <a:pt x="1324" y="476"/>
                      </a:lnTo>
                      <a:lnTo>
                        <a:pt x="1324" y="475"/>
                      </a:lnTo>
                      <a:lnTo>
                        <a:pt x="1324" y="476"/>
                      </a:lnTo>
                      <a:close/>
                      <a:moveTo>
                        <a:pt x="1327" y="508"/>
                      </a:moveTo>
                      <a:lnTo>
                        <a:pt x="1328" y="508"/>
                      </a:lnTo>
                      <a:lnTo>
                        <a:pt x="1329" y="508"/>
                      </a:lnTo>
                      <a:lnTo>
                        <a:pt x="1328" y="508"/>
                      </a:lnTo>
                      <a:lnTo>
                        <a:pt x="1328" y="510"/>
                      </a:lnTo>
                      <a:lnTo>
                        <a:pt x="1328" y="511"/>
                      </a:lnTo>
                      <a:lnTo>
                        <a:pt x="1329" y="511"/>
                      </a:lnTo>
                      <a:lnTo>
                        <a:pt x="1328" y="511"/>
                      </a:lnTo>
                      <a:lnTo>
                        <a:pt x="1328" y="510"/>
                      </a:lnTo>
                      <a:lnTo>
                        <a:pt x="1327" y="510"/>
                      </a:lnTo>
                      <a:lnTo>
                        <a:pt x="1326" y="510"/>
                      </a:lnTo>
                      <a:lnTo>
                        <a:pt x="1326" y="508"/>
                      </a:lnTo>
                      <a:lnTo>
                        <a:pt x="1327" y="508"/>
                      </a:lnTo>
                      <a:close/>
                      <a:moveTo>
                        <a:pt x="1618" y="507"/>
                      </a:moveTo>
                      <a:lnTo>
                        <a:pt x="1616" y="507"/>
                      </a:lnTo>
                      <a:lnTo>
                        <a:pt x="1615" y="507"/>
                      </a:lnTo>
                      <a:lnTo>
                        <a:pt x="1616" y="507"/>
                      </a:lnTo>
                      <a:lnTo>
                        <a:pt x="1618" y="506"/>
                      </a:lnTo>
                      <a:lnTo>
                        <a:pt x="1619" y="506"/>
                      </a:lnTo>
                      <a:lnTo>
                        <a:pt x="1618" y="507"/>
                      </a:lnTo>
                      <a:close/>
                      <a:moveTo>
                        <a:pt x="1619" y="511"/>
                      </a:moveTo>
                      <a:lnTo>
                        <a:pt x="1618" y="511"/>
                      </a:lnTo>
                      <a:lnTo>
                        <a:pt x="1619" y="510"/>
                      </a:lnTo>
                      <a:lnTo>
                        <a:pt x="1620" y="510"/>
                      </a:lnTo>
                      <a:lnTo>
                        <a:pt x="1620" y="508"/>
                      </a:lnTo>
                      <a:lnTo>
                        <a:pt x="1621" y="508"/>
                      </a:lnTo>
                      <a:lnTo>
                        <a:pt x="1621" y="510"/>
                      </a:lnTo>
                      <a:lnTo>
                        <a:pt x="1620" y="511"/>
                      </a:lnTo>
                      <a:lnTo>
                        <a:pt x="1619" y="511"/>
                      </a:lnTo>
                      <a:close/>
                      <a:moveTo>
                        <a:pt x="1135" y="712"/>
                      </a:moveTo>
                      <a:lnTo>
                        <a:pt x="1134" y="712"/>
                      </a:lnTo>
                      <a:lnTo>
                        <a:pt x="1133" y="712"/>
                      </a:lnTo>
                      <a:lnTo>
                        <a:pt x="1133" y="711"/>
                      </a:lnTo>
                      <a:lnTo>
                        <a:pt x="1134" y="711"/>
                      </a:lnTo>
                      <a:lnTo>
                        <a:pt x="1135" y="712"/>
                      </a:lnTo>
                      <a:close/>
                      <a:moveTo>
                        <a:pt x="1629" y="595"/>
                      </a:moveTo>
                      <a:lnTo>
                        <a:pt x="1628" y="595"/>
                      </a:lnTo>
                      <a:lnTo>
                        <a:pt x="1628" y="596"/>
                      </a:lnTo>
                      <a:lnTo>
                        <a:pt x="1627" y="596"/>
                      </a:lnTo>
                      <a:lnTo>
                        <a:pt x="1627" y="595"/>
                      </a:lnTo>
                      <a:lnTo>
                        <a:pt x="1628" y="594"/>
                      </a:lnTo>
                      <a:lnTo>
                        <a:pt x="1629" y="594"/>
                      </a:lnTo>
                      <a:lnTo>
                        <a:pt x="1629" y="595"/>
                      </a:lnTo>
                      <a:close/>
                      <a:moveTo>
                        <a:pt x="1618" y="504"/>
                      </a:moveTo>
                      <a:lnTo>
                        <a:pt x="1619" y="504"/>
                      </a:lnTo>
                      <a:lnTo>
                        <a:pt x="1619" y="505"/>
                      </a:lnTo>
                      <a:lnTo>
                        <a:pt x="1618" y="505"/>
                      </a:lnTo>
                      <a:lnTo>
                        <a:pt x="1616" y="505"/>
                      </a:lnTo>
                      <a:lnTo>
                        <a:pt x="1618" y="504"/>
                      </a:lnTo>
                      <a:close/>
                      <a:moveTo>
                        <a:pt x="1218" y="705"/>
                      </a:moveTo>
                      <a:lnTo>
                        <a:pt x="1219" y="705"/>
                      </a:lnTo>
                      <a:lnTo>
                        <a:pt x="1220" y="705"/>
                      </a:lnTo>
                      <a:lnTo>
                        <a:pt x="1221" y="705"/>
                      </a:lnTo>
                      <a:lnTo>
                        <a:pt x="1220" y="705"/>
                      </a:lnTo>
                      <a:lnTo>
                        <a:pt x="1219" y="705"/>
                      </a:lnTo>
                      <a:lnTo>
                        <a:pt x="1218" y="705"/>
                      </a:lnTo>
                      <a:lnTo>
                        <a:pt x="1218" y="706"/>
                      </a:lnTo>
                      <a:lnTo>
                        <a:pt x="1216" y="705"/>
                      </a:lnTo>
                      <a:lnTo>
                        <a:pt x="1218" y="705"/>
                      </a:lnTo>
                      <a:close/>
                      <a:moveTo>
                        <a:pt x="1631" y="554"/>
                      </a:moveTo>
                      <a:lnTo>
                        <a:pt x="1629" y="554"/>
                      </a:lnTo>
                      <a:lnTo>
                        <a:pt x="1628" y="554"/>
                      </a:lnTo>
                      <a:lnTo>
                        <a:pt x="1627" y="554"/>
                      </a:lnTo>
                      <a:lnTo>
                        <a:pt x="1628" y="554"/>
                      </a:lnTo>
                      <a:lnTo>
                        <a:pt x="1629" y="554"/>
                      </a:lnTo>
                      <a:lnTo>
                        <a:pt x="1629" y="553"/>
                      </a:lnTo>
                      <a:lnTo>
                        <a:pt x="1631" y="553"/>
                      </a:lnTo>
                      <a:lnTo>
                        <a:pt x="1631" y="554"/>
                      </a:lnTo>
                      <a:close/>
                      <a:moveTo>
                        <a:pt x="1187" y="721"/>
                      </a:moveTo>
                      <a:lnTo>
                        <a:pt x="1186" y="721"/>
                      </a:lnTo>
                      <a:lnTo>
                        <a:pt x="1186" y="722"/>
                      </a:lnTo>
                      <a:lnTo>
                        <a:pt x="1185" y="722"/>
                      </a:lnTo>
                      <a:lnTo>
                        <a:pt x="1185" y="721"/>
                      </a:lnTo>
                      <a:lnTo>
                        <a:pt x="1186" y="720"/>
                      </a:lnTo>
                      <a:lnTo>
                        <a:pt x="1186" y="721"/>
                      </a:lnTo>
                      <a:lnTo>
                        <a:pt x="1186" y="720"/>
                      </a:lnTo>
                      <a:lnTo>
                        <a:pt x="1187" y="720"/>
                      </a:lnTo>
                      <a:lnTo>
                        <a:pt x="1188" y="720"/>
                      </a:lnTo>
                      <a:lnTo>
                        <a:pt x="1188" y="721"/>
                      </a:lnTo>
                      <a:lnTo>
                        <a:pt x="1187" y="721"/>
                      </a:lnTo>
                      <a:close/>
                      <a:moveTo>
                        <a:pt x="1316" y="611"/>
                      </a:moveTo>
                      <a:lnTo>
                        <a:pt x="1315" y="611"/>
                      </a:lnTo>
                      <a:lnTo>
                        <a:pt x="1316" y="610"/>
                      </a:lnTo>
                      <a:lnTo>
                        <a:pt x="1316" y="609"/>
                      </a:lnTo>
                      <a:lnTo>
                        <a:pt x="1317" y="609"/>
                      </a:lnTo>
                      <a:lnTo>
                        <a:pt x="1316" y="610"/>
                      </a:lnTo>
                      <a:lnTo>
                        <a:pt x="1316" y="611"/>
                      </a:lnTo>
                      <a:close/>
                      <a:moveTo>
                        <a:pt x="1205" y="633"/>
                      </a:moveTo>
                      <a:lnTo>
                        <a:pt x="1205" y="632"/>
                      </a:lnTo>
                      <a:lnTo>
                        <a:pt x="1206" y="632"/>
                      </a:lnTo>
                      <a:lnTo>
                        <a:pt x="1206" y="633"/>
                      </a:lnTo>
                      <a:lnTo>
                        <a:pt x="1207" y="634"/>
                      </a:lnTo>
                      <a:lnTo>
                        <a:pt x="1207" y="635"/>
                      </a:lnTo>
                      <a:lnTo>
                        <a:pt x="1207" y="634"/>
                      </a:lnTo>
                      <a:lnTo>
                        <a:pt x="1206" y="634"/>
                      </a:lnTo>
                      <a:lnTo>
                        <a:pt x="1206" y="633"/>
                      </a:lnTo>
                      <a:lnTo>
                        <a:pt x="1205" y="633"/>
                      </a:lnTo>
                      <a:lnTo>
                        <a:pt x="1203" y="632"/>
                      </a:lnTo>
                      <a:lnTo>
                        <a:pt x="1205" y="632"/>
                      </a:lnTo>
                      <a:lnTo>
                        <a:pt x="1205" y="633"/>
                      </a:lnTo>
                      <a:close/>
                      <a:moveTo>
                        <a:pt x="1396" y="462"/>
                      </a:moveTo>
                      <a:lnTo>
                        <a:pt x="1396" y="463"/>
                      </a:lnTo>
                      <a:lnTo>
                        <a:pt x="1396" y="464"/>
                      </a:lnTo>
                      <a:lnTo>
                        <a:pt x="1396" y="466"/>
                      </a:lnTo>
                      <a:lnTo>
                        <a:pt x="1396" y="465"/>
                      </a:lnTo>
                      <a:lnTo>
                        <a:pt x="1395" y="464"/>
                      </a:lnTo>
                      <a:lnTo>
                        <a:pt x="1395" y="463"/>
                      </a:lnTo>
                      <a:lnTo>
                        <a:pt x="1394" y="463"/>
                      </a:lnTo>
                      <a:lnTo>
                        <a:pt x="1394" y="462"/>
                      </a:lnTo>
                      <a:lnTo>
                        <a:pt x="1395" y="462"/>
                      </a:lnTo>
                      <a:lnTo>
                        <a:pt x="1395" y="461"/>
                      </a:lnTo>
                      <a:lnTo>
                        <a:pt x="1396" y="462"/>
                      </a:lnTo>
                      <a:close/>
                      <a:moveTo>
                        <a:pt x="1350" y="541"/>
                      </a:moveTo>
                      <a:lnTo>
                        <a:pt x="1351" y="541"/>
                      </a:lnTo>
                      <a:lnTo>
                        <a:pt x="1351" y="540"/>
                      </a:lnTo>
                      <a:lnTo>
                        <a:pt x="1350" y="540"/>
                      </a:lnTo>
                      <a:lnTo>
                        <a:pt x="1351" y="540"/>
                      </a:lnTo>
                      <a:lnTo>
                        <a:pt x="1351" y="541"/>
                      </a:lnTo>
                      <a:lnTo>
                        <a:pt x="1351" y="542"/>
                      </a:lnTo>
                      <a:lnTo>
                        <a:pt x="1350" y="542"/>
                      </a:lnTo>
                      <a:lnTo>
                        <a:pt x="1350" y="541"/>
                      </a:lnTo>
                      <a:lnTo>
                        <a:pt x="1349" y="541"/>
                      </a:lnTo>
                      <a:lnTo>
                        <a:pt x="1348" y="542"/>
                      </a:lnTo>
                      <a:lnTo>
                        <a:pt x="1349" y="541"/>
                      </a:lnTo>
                      <a:lnTo>
                        <a:pt x="1349" y="540"/>
                      </a:lnTo>
                      <a:lnTo>
                        <a:pt x="1349" y="541"/>
                      </a:lnTo>
                      <a:lnTo>
                        <a:pt x="1350" y="541"/>
                      </a:lnTo>
                      <a:close/>
                      <a:moveTo>
                        <a:pt x="1201" y="641"/>
                      </a:moveTo>
                      <a:lnTo>
                        <a:pt x="1202" y="641"/>
                      </a:lnTo>
                      <a:lnTo>
                        <a:pt x="1203" y="642"/>
                      </a:lnTo>
                      <a:lnTo>
                        <a:pt x="1203" y="643"/>
                      </a:lnTo>
                      <a:lnTo>
                        <a:pt x="1202" y="643"/>
                      </a:lnTo>
                      <a:lnTo>
                        <a:pt x="1202" y="642"/>
                      </a:lnTo>
                      <a:lnTo>
                        <a:pt x="1201" y="642"/>
                      </a:lnTo>
                      <a:lnTo>
                        <a:pt x="1201" y="641"/>
                      </a:lnTo>
                      <a:close/>
                      <a:moveTo>
                        <a:pt x="1325" y="600"/>
                      </a:moveTo>
                      <a:lnTo>
                        <a:pt x="1324" y="600"/>
                      </a:lnTo>
                      <a:lnTo>
                        <a:pt x="1324" y="601"/>
                      </a:lnTo>
                      <a:lnTo>
                        <a:pt x="1323" y="601"/>
                      </a:lnTo>
                      <a:lnTo>
                        <a:pt x="1322" y="601"/>
                      </a:lnTo>
                      <a:lnTo>
                        <a:pt x="1322" y="600"/>
                      </a:lnTo>
                      <a:lnTo>
                        <a:pt x="1323" y="600"/>
                      </a:lnTo>
                      <a:lnTo>
                        <a:pt x="1324" y="600"/>
                      </a:lnTo>
                      <a:lnTo>
                        <a:pt x="1325" y="600"/>
                      </a:lnTo>
                      <a:close/>
                      <a:moveTo>
                        <a:pt x="1328" y="474"/>
                      </a:moveTo>
                      <a:lnTo>
                        <a:pt x="1327" y="475"/>
                      </a:lnTo>
                      <a:lnTo>
                        <a:pt x="1327" y="474"/>
                      </a:lnTo>
                      <a:lnTo>
                        <a:pt x="1326" y="474"/>
                      </a:lnTo>
                      <a:lnTo>
                        <a:pt x="1326" y="475"/>
                      </a:lnTo>
                      <a:lnTo>
                        <a:pt x="1326" y="474"/>
                      </a:lnTo>
                      <a:lnTo>
                        <a:pt x="1327" y="474"/>
                      </a:lnTo>
                      <a:lnTo>
                        <a:pt x="1327" y="473"/>
                      </a:lnTo>
                      <a:lnTo>
                        <a:pt x="1328" y="473"/>
                      </a:lnTo>
                      <a:lnTo>
                        <a:pt x="1328" y="474"/>
                      </a:lnTo>
                      <a:close/>
                      <a:moveTo>
                        <a:pt x="1206" y="701"/>
                      </a:moveTo>
                      <a:lnTo>
                        <a:pt x="1207" y="701"/>
                      </a:lnTo>
                      <a:lnTo>
                        <a:pt x="1208" y="703"/>
                      </a:lnTo>
                      <a:lnTo>
                        <a:pt x="1207" y="703"/>
                      </a:lnTo>
                      <a:lnTo>
                        <a:pt x="1206" y="703"/>
                      </a:lnTo>
                      <a:lnTo>
                        <a:pt x="1206" y="701"/>
                      </a:lnTo>
                      <a:lnTo>
                        <a:pt x="1205" y="701"/>
                      </a:lnTo>
                      <a:lnTo>
                        <a:pt x="1206" y="701"/>
                      </a:lnTo>
                      <a:close/>
                      <a:moveTo>
                        <a:pt x="1366" y="559"/>
                      </a:moveTo>
                      <a:lnTo>
                        <a:pt x="1366" y="560"/>
                      </a:lnTo>
                      <a:lnTo>
                        <a:pt x="1365" y="560"/>
                      </a:lnTo>
                      <a:lnTo>
                        <a:pt x="1364" y="560"/>
                      </a:lnTo>
                      <a:lnTo>
                        <a:pt x="1363" y="559"/>
                      </a:lnTo>
                      <a:lnTo>
                        <a:pt x="1364" y="559"/>
                      </a:lnTo>
                      <a:lnTo>
                        <a:pt x="1366" y="559"/>
                      </a:lnTo>
                      <a:close/>
                      <a:moveTo>
                        <a:pt x="1233" y="709"/>
                      </a:moveTo>
                      <a:lnTo>
                        <a:pt x="1232" y="709"/>
                      </a:lnTo>
                      <a:lnTo>
                        <a:pt x="1231" y="709"/>
                      </a:lnTo>
                      <a:lnTo>
                        <a:pt x="1231" y="708"/>
                      </a:lnTo>
                      <a:lnTo>
                        <a:pt x="1232" y="708"/>
                      </a:lnTo>
                      <a:lnTo>
                        <a:pt x="1233" y="708"/>
                      </a:lnTo>
                      <a:lnTo>
                        <a:pt x="1233" y="709"/>
                      </a:lnTo>
                      <a:close/>
                      <a:moveTo>
                        <a:pt x="1242" y="756"/>
                      </a:moveTo>
                      <a:lnTo>
                        <a:pt x="1244" y="756"/>
                      </a:lnTo>
                      <a:lnTo>
                        <a:pt x="1244" y="757"/>
                      </a:lnTo>
                      <a:lnTo>
                        <a:pt x="1244" y="756"/>
                      </a:lnTo>
                      <a:lnTo>
                        <a:pt x="1242" y="757"/>
                      </a:lnTo>
                      <a:lnTo>
                        <a:pt x="1241" y="756"/>
                      </a:lnTo>
                      <a:lnTo>
                        <a:pt x="1241" y="757"/>
                      </a:lnTo>
                      <a:lnTo>
                        <a:pt x="1240" y="757"/>
                      </a:lnTo>
                      <a:lnTo>
                        <a:pt x="1240" y="756"/>
                      </a:lnTo>
                      <a:lnTo>
                        <a:pt x="1241" y="756"/>
                      </a:lnTo>
                      <a:lnTo>
                        <a:pt x="1242" y="756"/>
                      </a:lnTo>
                      <a:close/>
                      <a:moveTo>
                        <a:pt x="1621" y="629"/>
                      </a:moveTo>
                      <a:lnTo>
                        <a:pt x="1622" y="629"/>
                      </a:lnTo>
                      <a:lnTo>
                        <a:pt x="1621" y="630"/>
                      </a:lnTo>
                      <a:lnTo>
                        <a:pt x="1620" y="630"/>
                      </a:lnTo>
                      <a:lnTo>
                        <a:pt x="1620" y="629"/>
                      </a:lnTo>
                      <a:lnTo>
                        <a:pt x="1621" y="629"/>
                      </a:lnTo>
                      <a:close/>
                      <a:moveTo>
                        <a:pt x="1629" y="592"/>
                      </a:moveTo>
                      <a:lnTo>
                        <a:pt x="1629" y="593"/>
                      </a:lnTo>
                      <a:lnTo>
                        <a:pt x="1628" y="593"/>
                      </a:lnTo>
                      <a:lnTo>
                        <a:pt x="1628" y="592"/>
                      </a:lnTo>
                      <a:lnTo>
                        <a:pt x="1627" y="592"/>
                      </a:lnTo>
                      <a:lnTo>
                        <a:pt x="1628" y="592"/>
                      </a:lnTo>
                      <a:lnTo>
                        <a:pt x="1629" y="592"/>
                      </a:lnTo>
                      <a:close/>
                      <a:moveTo>
                        <a:pt x="1622" y="515"/>
                      </a:moveTo>
                      <a:lnTo>
                        <a:pt x="1621" y="515"/>
                      </a:lnTo>
                      <a:lnTo>
                        <a:pt x="1621" y="514"/>
                      </a:lnTo>
                      <a:lnTo>
                        <a:pt x="1622" y="514"/>
                      </a:lnTo>
                      <a:lnTo>
                        <a:pt x="1623" y="514"/>
                      </a:lnTo>
                      <a:lnTo>
                        <a:pt x="1622" y="515"/>
                      </a:lnTo>
                      <a:close/>
                      <a:moveTo>
                        <a:pt x="1195" y="662"/>
                      </a:moveTo>
                      <a:lnTo>
                        <a:pt x="1196" y="662"/>
                      </a:lnTo>
                      <a:lnTo>
                        <a:pt x="1196" y="665"/>
                      </a:lnTo>
                      <a:lnTo>
                        <a:pt x="1195" y="665"/>
                      </a:lnTo>
                      <a:lnTo>
                        <a:pt x="1195" y="662"/>
                      </a:lnTo>
                      <a:close/>
                      <a:moveTo>
                        <a:pt x="1623" y="533"/>
                      </a:moveTo>
                      <a:lnTo>
                        <a:pt x="1624" y="533"/>
                      </a:lnTo>
                      <a:lnTo>
                        <a:pt x="1624" y="536"/>
                      </a:lnTo>
                      <a:lnTo>
                        <a:pt x="1623" y="536"/>
                      </a:lnTo>
                      <a:lnTo>
                        <a:pt x="1623" y="533"/>
                      </a:lnTo>
                      <a:close/>
                      <a:moveTo>
                        <a:pt x="1357" y="436"/>
                      </a:moveTo>
                      <a:lnTo>
                        <a:pt x="1360" y="436"/>
                      </a:lnTo>
                      <a:lnTo>
                        <a:pt x="1360" y="438"/>
                      </a:lnTo>
                      <a:lnTo>
                        <a:pt x="1357" y="438"/>
                      </a:lnTo>
                      <a:lnTo>
                        <a:pt x="1357" y="436"/>
                      </a:lnTo>
                      <a:close/>
                      <a:moveTo>
                        <a:pt x="1308" y="606"/>
                      </a:moveTo>
                      <a:lnTo>
                        <a:pt x="1306" y="607"/>
                      </a:lnTo>
                      <a:lnTo>
                        <a:pt x="1304" y="607"/>
                      </a:lnTo>
                      <a:lnTo>
                        <a:pt x="1305" y="607"/>
                      </a:lnTo>
                      <a:lnTo>
                        <a:pt x="1306" y="606"/>
                      </a:lnTo>
                      <a:lnTo>
                        <a:pt x="1308" y="606"/>
                      </a:lnTo>
                      <a:close/>
                      <a:moveTo>
                        <a:pt x="1632" y="566"/>
                      </a:moveTo>
                      <a:lnTo>
                        <a:pt x="1632" y="567"/>
                      </a:lnTo>
                      <a:lnTo>
                        <a:pt x="1631" y="567"/>
                      </a:lnTo>
                      <a:lnTo>
                        <a:pt x="1631" y="566"/>
                      </a:lnTo>
                      <a:lnTo>
                        <a:pt x="1629" y="566"/>
                      </a:lnTo>
                      <a:lnTo>
                        <a:pt x="1632" y="566"/>
                      </a:lnTo>
                      <a:lnTo>
                        <a:pt x="1631" y="566"/>
                      </a:lnTo>
                      <a:lnTo>
                        <a:pt x="1632" y="566"/>
                      </a:lnTo>
                      <a:close/>
                      <a:moveTo>
                        <a:pt x="1226" y="708"/>
                      </a:moveTo>
                      <a:lnTo>
                        <a:pt x="1225" y="708"/>
                      </a:lnTo>
                      <a:lnTo>
                        <a:pt x="1225" y="707"/>
                      </a:lnTo>
                      <a:lnTo>
                        <a:pt x="1225" y="706"/>
                      </a:lnTo>
                      <a:lnTo>
                        <a:pt x="1226" y="706"/>
                      </a:lnTo>
                      <a:lnTo>
                        <a:pt x="1226" y="707"/>
                      </a:lnTo>
                      <a:lnTo>
                        <a:pt x="1226" y="708"/>
                      </a:lnTo>
                      <a:close/>
                      <a:moveTo>
                        <a:pt x="1628" y="598"/>
                      </a:moveTo>
                      <a:lnTo>
                        <a:pt x="1627" y="598"/>
                      </a:lnTo>
                      <a:lnTo>
                        <a:pt x="1627" y="597"/>
                      </a:lnTo>
                      <a:lnTo>
                        <a:pt x="1628" y="597"/>
                      </a:lnTo>
                      <a:lnTo>
                        <a:pt x="1629" y="597"/>
                      </a:lnTo>
                      <a:lnTo>
                        <a:pt x="1629" y="598"/>
                      </a:lnTo>
                      <a:lnTo>
                        <a:pt x="1628" y="598"/>
                      </a:lnTo>
                      <a:close/>
                      <a:moveTo>
                        <a:pt x="1625" y="603"/>
                      </a:moveTo>
                      <a:lnTo>
                        <a:pt x="1626" y="603"/>
                      </a:lnTo>
                      <a:lnTo>
                        <a:pt x="1626" y="605"/>
                      </a:lnTo>
                      <a:lnTo>
                        <a:pt x="1625" y="605"/>
                      </a:lnTo>
                      <a:lnTo>
                        <a:pt x="1625" y="603"/>
                      </a:lnTo>
                      <a:close/>
                      <a:moveTo>
                        <a:pt x="1149" y="719"/>
                      </a:moveTo>
                      <a:lnTo>
                        <a:pt x="1150" y="719"/>
                      </a:lnTo>
                      <a:lnTo>
                        <a:pt x="1150" y="720"/>
                      </a:lnTo>
                      <a:lnTo>
                        <a:pt x="1149" y="720"/>
                      </a:lnTo>
                      <a:lnTo>
                        <a:pt x="1149" y="719"/>
                      </a:lnTo>
                      <a:close/>
                      <a:moveTo>
                        <a:pt x="1216" y="631"/>
                      </a:moveTo>
                      <a:lnTo>
                        <a:pt x="1216" y="632"/>
                      </a:lnTo>
                      <a:lnTo>
                        <a:pt x="1218" y="632"/>
                      </a:lnTo>
                      <a:lnTo>
                        <a:pt x="1216" y="632"/>
                      </a:lnTo>
                      <a:lnTo>
                        <a:pt x="1215" y="632"/>
                      </a:lnTo>
                      <a:lnTo>
                        <a:pt x="1215" y="631"/>
                      </a:lnTo>
                      <a:lnTo>
                        <a:pt x="1216" y="631"/>
                      </a:lnTo>
                      <a:close/>
                      <a:moveTo>
                        <a:pt x="1629" y="596"/>
                      </a:moveTo>
                      <a:lnTo>
                        <a:pt x="1628" y="597"/>
                      </a:lnTo>
                      <a:lnTo>
                        <a:pt x="1627" y="597"/>
                      </a:lnTo>
                      <a:lnTo>
                        <a:pt x="1627" y="596"/>
                      </a:lnTo>
                      <a:lnTo>
                        <a:pt x="1628" y="596"/>
                      </a:lnTo>
                      <a:lnTo>
                        <a:pt x="1629" y="596"/>
                      </a:lnTo>
                      <a:close/>
                      <a:moveTo>
                        <a:pt x="1177" y="719"/>
                      </a:moveTo>
                      <a:lnTo>
                        <a:pt x="1176" y="719"/>
                      </a:lnTo>
                      <a:lnTo>
                        <a:pt x="1175" y="719"/>
                      </a:lnTo>
                      <a:lnTo>
                        <a:pt x="1176" y="718"/>
                      </a:lnTo>
                      <a:lnTo>
                        <a:pt x="1176" y="719"/>
                      </a:lnTo>
                      <a:lnTo>
                        <a:pt x="1177" y="719"/>
                      </a:lnTo>
                      <a:close/>
                      <a:moveTo>
                        <a:pt x="1387" y="486"/>
                      </a:moveTo>
                      <a:lnTo>
                        <a:pt x="1388" y="486"/>
                      </a:lnTo>
                      <a:lnTo>
                        <a:pt x="1388" y="487"/>
                      </a:lnTo>
                      <a:lnTo>
                        <a:pt x="1387" y="487"/>
                      </a:lnTo>
                      <a:lnTo>
                        <a:pt x="1387" y="486"/>
                      </a:lnTo>
                      <a:close/>
                      <a:moveTo>
                        <a:pt x="1350" y="647"/>
                      </a:moveTo>
                      <a:lnTo>
                        <a:pt x="1351" y="647"/>
                      </a:lnTo>
                      <a:lnTo>
                        <a:pt x="1351" y="649"/>
                      </a:lnTo>
                      <a:lnTo>
                        <a:pt x="1350" y="649"/>
                      </a:lnTo>
                      <a:lnTo>
                        <a:pt x="1350" y="647"/>
                      </a:lnTo>
                      <a:close/>
                      <a:moveTo>
                        <a:pt x="1149" y="714"/>
                      </a:moveTo>
                      <a:lnTo>
                        <a:pt x="1150" y="714"/>
                      </a:lnTo>
                      <a:lnTo>
                        <a:pt x="1150" y="717"/>
                      </a:lnTo>
                      <a:lnTo>
                        <a:pt x="1149" y="717"/>
                      </a:lnTo>
                      <a:lnTo>
                        <a:pt x="1149" y="714"/>
                      </a:lnTo>
                      <a:close/>
                      <a:moveTo>
                        <a:pt x="1239" y="756"/>
                      </a:moveTo>
                      <a:lnTo>
                        <a:pt x="1238" y="756"/>
                      </a:lnTo>
                      <a:lnTo>
                        <a:pt x="1237" y="757"/>
                      </a:lnTo>
                      <a:lnTo>
                        <a:pt x="1237" y="756"/>
                      </a:lnTo>
                      <a:lnTo>
                        <a:pt x="1238" y="755"/>
                      </a:lnTo>
                      <a:lnTo>
                        <a:pt x="1238" y="756"/>
                      </a:lnTo>
                      <a:lnTo>
                        <a:pt x="1239" y="756"/>
                      </a:lnTo>
                      <a:close/>
                      <a:moveTo>
                        <a:pt x="1271" y="521"/>
                      </a:moveTo>
                      <a:lnTo>
                        <a:pt x="1272" y="521"/>
                      </a:lnTo>
                      <a:lnTo>
                        <a:pt x="1272" y="524"/>
                      </a:lnTo>
                      <a:lnTo>
                        <a:pt x="1271" y="524"/>
                      </a:lnTo>
                      <a:lnTo>
                        <a:pt x="1271" y="521"/>
                      </a:lnTo>
                      <a:close/>
                      <a:moveTo>
                        <a:pt x="1338" y="475"/>
                      </a:moveTo>
                      <a:lnTo>
                        <a:pt x="1337" y="475"/>
                      </a:lnTo>
                      <a:lnTo>
                        <a:pt x="1337" y="476"/>
                      </a:lnTo>
                      <a:lnTo>
                        <a:pt x="1336" y="475"/>
                      </a:lnTo>
                      <a:lnTo>
                        <a:pt x="1335" y="476"/>
                      </a:lnTo>
                      <a:lnTo>
                        <a:pt x="1335" y="475"/>
                      </a:lnTo>
                      <a:lnTo>
                        <a:pt x="1336" y="475"/>
                      </a:lnTo>
                      <a:lnTo>
                        <a:pt x="1337" y="475"/>
                      </a:lnTo>
                      <a:lnTo>
                        <a:pt x="1338" y="475"/>
                      </a:lnTo>
                      <a:close/>
                      <a:moveTo>
                        <a:pt x="1347" y="447"/>
                      </a:moveTo>
                      <a:lnTo>
                        <a:pt x="1348" y="447"/>
                      </a:lnTo>
                      <a:lnTo>
                        <a:pt x="1348" y="448"/>
                      </a:lnTo>
                      <a:lnTo>
                        <a:pt x="1347" y="448"/>
                      </a:lnTo>
                      <a:lnTo>
                        <a:pt x="1347" y="447"/>
                      </a:lnTo>
                      <a:close/>
                      <a:moveTo>
                        <a:pt x="1395" y="409"/>
                      </a:moveTo>
                      <a:lnTo>
                        <a:pt x="1396" y="409"/>
                      </a:lnTo>
                      <a:lnTo>
                        <a:pt x="1396" y="410"/>
                      </a:lnTo>
                      <a:lnTo>
                        <a:pt x="1395" y="410"/>
                      </a:lnTo>
                      <a:lnTo>
                        <a:pt x="1395" y="409"/>
                      </a:lnTo>
                      <a:close/>
                      <a:moveTo>
                        <a:pt x="1357" y="435"/>
                      </a:moveTo>
                      <a:lnTo>
                        <a:pt x="1358" y="435"/>
                      </a:lnTo>
                      <a:lnTo>
                        <a:pt x="1358" y="436"/>
                      </a:lnTo>
                      <a:lnTo>
                        <a:pt x="1357" y="436"/>
                      </a:lnTo>
                      <a:lnTo>
                        <a:pt x="1357" y="435"/>
                      </a:lnTo>
                      <a:close/>
                      <a:moveTo>
                        <a:pt x="1375" y="468"/>
                      </a:moveTo>
                      <a:lnTo>
                        <a:pt x="1376" y="468"/>
                      </a:lnTo>
                      <a:lnTo>
                        <a:pt x="1376" y="469"/>
                      </a:lnTo>
                      <a:lnTo>
                        <a:pt x="1375" y="469"/>
                      </a:lnTo>
                      <a:lnTo>
                        <a:pt x="1375" y="468"/>
                      </a:lnTo>
                      <a:close/>
                      <a:moveTo>
                        <a:pt x="1218" y="631"/>
                      </a:moveTo>
                      <a:lnTo>
                        <a:pt x="1219" y="631"/>
                      </a:lnTo>
                      <a:lnTo>
                        <a:pt x="1219" y="633"/>
                      </a:lnTo>
                      <a:lnTo>
                        <a:pt x="1218" y="633"/>
                      </a:lnTo>
                      <a:lnTo>
                        <a:pt x="1218" y="631"/>
                      </a:lnTo>
                      <a:close/>
                      <a:moveTo>
                        <a:pt x="1358" y="434"/>
                      </a:moveTo>
                      <a:lnTo>
                        <a:pt x="1361" y="434"/>
                      </a:lnTo>
                      <a:lnTo>
                        <a:pt x="1361" y="435"/>
                      </a:lnTo>
                      <a:lnTo>
                        <a:pt x="1358" y="435"/>
                      </a:lnTo>
                      <a:lnTo>
                        <a:pt x="1358" y="434"/>
                      </a:lnTo>
                      <a:close/>
                      <a:moveTo>
                        <a:pt x="1338" y="505"/>
                      </a:moveTo>
                      <a:lnTo>
                        <a:pt x="1339" y="505"/>
                      </a:lnTo>
                      <a:lnTo>
                        <a:pt x="1339" y="506"/>
                      </a:lnTo>
                      <a:lnTo>
                        <a:pt x="1338" y="506"/>
                      </a:lnTo>
                      <a:lnTo>
                        <a:pt x="1338" y="505"/>
                      </a:lnTo>
                      <a:close/>
                      <a:moveTo>
                        <a:pt x="1241" y="750"/>
                      </a:moveTo>
                      <a:lnTo>
                        <a:pt x="1244" y="750"/>
                      </a:lnTo>
                      <a:lnTo>
                        <a:pt x="1241" y="750"/>
                      </a:lnTo>
                      <a:close/>
                      <a:moveTo>
                        <a:pt x="1374" y="468"/>
                      </a:moveTo>
                      <a:lnTo>
                        <a:pt x="1373" y="468"/>
                      </a:lnTo>
                      <a:lnTo>
                        <a:pt x="1371" y="468"/>
                      </a:lnTo>
                      <a:lnTo>
                        <a:pt x="1373" y="468"/>
                      </a:lnTo>
                      <a:lnTo>
                        <a:pt x="1374" y="468"/>
                      </a:lnTo>
                      <a:close/>
                      <a:moveTo>
                        <a:pt x="1246" y="748"/>
                      </a:moveTo>
                      <a:lnTo>
                        <a:pt x="1247" y="748"/>
                      </a:lnTo>
                      <a:lnTo>
                        <a:pt x="1247" y="749"/>
                      </a:lnTo>
                      <a:lnTo>
                        <a:pt x="1246" y="749"/>
                      </a:lnTo>
                      <a:lnTo>
                        <a:pt x="1246" y="748"/>
                      </a:lnTo>
                      <a:close/>
                      <a:moveTo>
                        <a:pt x="1339" y="582"/>
                      </a:moveTo>
                      <a:lnTo>
                        <a:pt x="1338" y="582"/>
                      </a:lnTo>
                      <a:lnTo>
                        <a:pt x="1337" y="582"/>
                      </a:lnTo>
                      <a:lnTo>
                        <a:pt x="1337" y="583"/>
                      </a:lnTo>
                      <a:lnTo>
                        <a:pt x="1337" y="582"/>
                      </a:lnTo>
                      <a:lnTo>
                        <a:pt x="1338" y="582"/>
                      </a:lnTo>
                      <a:lnTo>
                        <a:pt x="1339" y="581"/>
                      </a:lnTo>
                      <a:lnTo>
                        <a:pt x="1339" y="582"/>
                      </a:lnTo>
                      <a:close/>
                      <a:moveTo>
                        <a:pt x="1174" y="711"/>
                      </a:moveTo>
                      <a:lnTo>
                        <a:pt x="1175" y="711"/>
                      </a:lnTo>
                      <a:lnTo>
                        <a:pt x="1175" y="712"/>
                      </a:lnTo>
                      <a:lnTo>
                        <a:pt x="1174" y="712"/>
                      </a:lnTo>
                      <a:lnTo>
                        <a:pt x="1174" y="711"/>
                      </a:lnTo>
                      <a:close/>
                      <a:moveTo>
                        <a:pt x="1370" y="461"/>
                      </a:moveTo>
                      <a:lnTo>
                        <a:pt x="1371" y="461"/>
                      </a:lnTo>
                      <a:lnTo>
                        <a:pt x="1371" y="463"/>
                      </a:lnTo>
                      <a:lnTo>
                        <a:pt x="1370" y="463"/>
                      </a:lnTo>
                      <a:lnTo>
                        <a:pt x="1370" y="461"/>
                      </a:lnTo>
                      <a:close/>
                      <a:moveTo>
                        <a:pt x="1631" y="575"/>
                      </a:moveTo>
                      <a:lnTo>
                        <a:pt x="1633" y="575"/>
                      </a:lnTo>
                      <a:lnTo>
                        <a:pt x="1631" y="575"/>
                      </a:lnTo>
                      <a:close/>
                      <a:moveTo>
                        <a:pt x="1216" y="707"/>
                      </a:moveTo>
                      <a:lnTo>
                        <a:pt x="1218" y="707"/>
                      </a:lnTo>
                      <a:lnTo>
                        <a:pt x="1218" y="708"/>
                      </a:lnTo>
                      <a:lnTo>
                        <a:pt x="1216" y="708"/>
                      </a:lnTo>
                      <a:lnTo>
                        <a:pt x="1216" y="707"/>
                      </a:lnTo>
                      <a:close/>
                      <a:moveTo>
                        <a:pt x="1626" y="544"/>
                      </a:moveTo>
                      <a:lnTo>
                        <a:pt x="1628" y="544"/>
                      </a:lnTo>
                      <a:lnTo>
                        <a:pt x="1628" y="545"/>
                      </a:lnTo>
                      <a:lnTo>
                        <a:pt x="1626" y="545"/>
                      </a:lnTo>
                      <a:lnTo>
                        <a:pt x="1626" y="544"/>
                      </a:lnTo>
                      <a:close/>
                      <a:moveTo>
                        <a:pt x="1263" y="479"/>
                      </a:moveTo>
                      <a:lnTo>
                        <a:pt x="1264" y="479"/>
                      </a:lnTo>
                      <a:lnTo>
                        <a:pt x="1264" y="480"/>
                      </a:lnTo>
                      <a:lnTo>
                        <a:pt x="1263" y="480"/>
                      </a:lnTo>
                      <a:lnTo>
                        <a:pt x="1263" y="479"/>
                      </a:lnTo>
                      <a:close/>
                      <a:moveTo>
                        <a:pt x="1396" y="408"/>
                      </a:moveTo>
                      <a:lnTo>
                        <a:pt x="1397" y="408"/>
                      </a:lnTo>
                      <a:lnTo>
                        <a:pt x="1397" y="410"/>
                      </a:lnTo>
                      <a:lnTo>
                        <a:pt x="1396" y="410"/>
                      </a:lnTo>
                      <a:lnTo>
                        <a:pt x="1396" y="408"/>
                      </a:lnTo>
                      <a:close/>
                      <a:moveTo>
                        <a:pt x="1263" y="498"/>
                      </a:moveTo>
                      <a:lnTo>
                        <a:pt x="1264" y="498"/>
                      </a:lnTo>
                      <a:lnTo>
                        <a:pt x="1264" y="499"/>
                      </a:lnTo>
                      <a:lnTo>
                        <a:pt x="1263" y="499"/>
                      </a:lnTo>
                      <a:lnTo>
                        <a:pt x="1263" y="498"/>
                      </a:lnTo>
                      <a:close/>
                      <a:moveTo>
                        <a:pt x="1317" y="470"/>
                      </a:moveTo>
                      <a:lnTo>
                        <a:pt x="1318" y="470"/>
                      </a:lnTo>
                      <a:lnTo>
                        <a:pt x="1318" y="472"/>
                      </a:lnTo>
                      <a:lnTo>
                        <a:pt x="1317" y="472"/>
                      </a:lnTo>
                      <a:lnTo>
                        <a:pt x="1317" y="470"/>
                      </a:lnTo>
                      <a:close/>
                      <a:moveTo>
                        <a:pt x="1335" y="472"/>
                      </a:moveTo>
                      <a:lnTo>
                        <a:pt x="1336" y="472"/>
                      </a:lnTo>
                      <a:lnTo>
                        <a:pt x="1336" y="473"/>
                      </a:lnTo>
                      <a:lnTo>
                        <a:pt x="1335" y="473"/>
                      </a:lnTo>
                      <a:lnTo>
                        <a:pt x="1335" y="472"/>
                      </a:lnTo>
                      <a:close/>
                      <a:moveTo>
                        <a:pt x="1210" y="703"/>
                      </a:moveTo>
                      <a:lnTo>
                        <a:pt x="1211" y="703"/>
                      </a:lnTo>
                      <a:lnTo>
                        <a:pt x="1211" y="704"/>
                      </a:lnTo>
                      <a:lnTo>
                        <a:pt x="1210" y="704"/>
                      </a:lnTo>
                      <a:lnTo>
                        <a:pt x="1210" y="703"/>
                      </a:lnTo>
                      <a:close/>
                      <a:moveTo>
                        <a:pt x="1148" y="717"/>
                      </a:moveTo>
                      <a:lnTo>
                        <a:pt x="1150" y="717"/>
                      </a:lnTo>
                      <a:lnTo>
                        <a:pt x="1150" y="718"/>
                      </a:lnTo>
                      <a:lnTo>
                        <a:pt x="1148" y="718"/>
                      </a:lnTo>
                      <a:lnTo>
                        <a:pt x="1148" y="717"/>
                      </a:lnTo>
                      <a:close/>
                      <a:moveTo>
                        <a:pt x="1192" y="708"/>
                      </a:moveTo>
                      <a:lnTo>
                        <a:pt x="1193" y="708"/>
                      </a:lnTo>
                      <a:lnTo>
                        <a:pt x="1193" y="709"/>
                      </a:lnTo>
                      <a:lnTo>
                        <a:pt x="1192" y="709"/>
                      </a:lnTo>
                      <a:lnTo>
                        <a:pt x="1192" y="708"/>
                      </a:lnTo>
                      <a:close/>
                      <a:moveTo>
                        <a:pt x="1629" y="565"/>
                      </a:moveTo>
                      <a:lnTo>
                        <a:pt x="1631" y="565"/>
                      </a:lnTo>
                      <a:lnTo>
                        <a:pt x="1631" y="566"/>
                      </a:lnTo>
                      <a:lnTo>
                        <a:pt x="1629" y="566"/>
                      </a:lnTo>
                      <a:lnTo>
                        <a:pt x="1629" y="565"/>
                      </a:lnTo>
                      <a:close/>
                      <a:moveTo>
                        <a:pt x="1329" y="487"/>
                      </a:moveTo>
                      <a:lnTo>
                        <a:pt x="1330" y="487"/>
                      </a:lnTo>
                      <a:lnTo>
                        <a:pt x="1330" y="488"/>
                      </a:lnTo>
                      <a:lnTo>
                        <a:pt x="1329" y="488"/>
                      </a:lnTo>
                      <a:lnTo>
                        <a:pt x="1329" y="487"/>
                      </a:lnTo>
                      <a:close/>
                      <a:moveTo>
                        <a:pt x="1380" y="506"/>
                      </a:moveTo>
                      <a:lnTo>
                        <a:pt x="1381" y="506"/>
                      </a:lnTo>
                      <a:lnTo>
                        <a:pt x="1381" y="507"/>
                      </a:lnTo>
                      <a:lnTo>
                        <a:pt x="1380" y="507"/>
                      </a:lnTo>
                      <a:lnTo>
                        <a:pt x="1380" y="506"/>
                      </a:lnTo>
                      <a:close/>
                      <a:moveTo>
                        <a:pt x="1365" y="550"/>
                      </a:moveTo>
                      <a:lnTo>
                        <a:pt x="1367" y="550"/>
                      </a:lnTo>
                      <a:lnTo>
                        <a:pt x="1367" y="551"/>
                      </a:lnTo>
                      <a:lnTo>
                        <a:pt x="1365" y="551"/>
                      </a:lnTo>
                      <a:lnTo>
                        <a:pt x="1365" y="550"/>
                      </a:lnTo>
                      <a:close/>
                      <a:moveTo>
                        <a:pt x="1332" y="510"/>
                      </a:moveTo>
                      <a:lnTo>
                        <a:pt x="1335" y="510"/>
                      </a:lnTo>
                      <a:lnTo>
                        <a:pt x="1332" y="510"/>
                      </a:lnTo>
                      <a:close/>
                      <a:moveTo>
                        <a:pt x="1621" y="628"/>
                      </a:moveTo>
                      <a:lnTo>
                        <a:pt x="1622" y="628"/>
                      </a:lnTo>
                      <a:lnTo>
                        <a:pt x="1622" y="629"/>
                      </a:lnTo>
                      <a:lnTo>
                        <a:pt x="1621" y="629"/>
                      </a:lnTo>
                      <a:lnTo>
                        <a:pt x="1621" y="628"/>
                      </a:lnTo>
                      <a:close/>
                      <a:moveTo>
                        <a:pt x="1215" y="704"/>
                      </a:moveTo>
                      <a:lnTo>
                        <a:pt x="1216" y="704"/>
                      </a:lnTo>
                      <a:lnTo>
                        <a:pt x="1216" y="705"/>
                      </a:lnTo>
                      <a:lnTo>
                        <a:pt x="1215" y="705"/>
                      </a:lnTo>
                      <a:lnTo>
                        <a:pt x="1215" y="704"/>
                      </a:lnTo>
                      <a:close/>
                      <a:moveTo>
                        <a:pt x="1389" y="484"/>
                      </a:moveTo>
                      <a:lnTo>
                        <a:pt x="1391" y="484"/>
                      </a:lnTo>
                      <a:lnTo>
                        <a:pt x="1391" y="485"/>
                      </a:lnTo>
                      <a:lnTo>
                        <a:pt x="1389" y="485"/>
                      </a:lnTo>
                      <a:lnTo>
                        <a:pt x="1389" y="484"/>
                      </a:lnTo>
                      <a:close/>
                      <a:moveTo>
                        <a:pt x="1624" y="531"/>
                      </a:moveTo>
                      <a:lnTo>
                        <a:pt x="1625" y="531"/>
                      </a:lnTo>
                      <a:lnTo>
                        <a:pt x="1625" y="532"/>
                      </a:lnTo>
                      <a:lnTo>
                        <a:pt x="1624" y="532"/>
                      </a:lnTo>
                      <a:lnTo>
                        <a:pt x="1624" y="531"/>
                      </a:lnTo>
                      <a:close/>
                      <a:moveTo>
                        <a:pt x="1248" y="703"/>
                      </a:moveTo>
                      <a:lnTo>
                        <a:pt x="1249" y="703"/>
                      </a:lnTo>
                      <a:lnTo>
                        <a:pt x="1249" y="704"/>
                      </a:lnTo>
                      <a:lnTo>
                        <a:pt x="1248" y="704"/>
                      </a:lnTo>
                      <a:lnTo>
                        <a:pt x="1248" y="703"/>
                      </a:lnTo>
                      <a:close/>
                      <a:moveTo>
                        <a:pt x="1251" y="679"/>
                      </a:moveTo>
                      <a:lnTo>
                        <a:pt x="1252" y="679"/>
                      </a:lnTo>
                      <a:lnTo>
                        <a:pt x="1252" y="680"/>
                      </a:lnTo>
                      <a:lnTo>
                        <a:pt x="1251" y="680"/>
                      </a:lnTo>
                      <a:lnTo>
                        <a:pt x="1251" y="679"/>
                      </a:lnTo>
                      <a:close/>
                      <a:moveTo>
                        <a:pt x="1621" y="539"/>
                      </a:moveTo>
                      <a:lnTo>
                        <a:pt x="1622" y="539"/>
                      </a:lnTo>
                      <a:lnTo>
                        <a:pt x="1622" y="540"/>
                      </a:lnTo>
                      <a:lnTo>
                        <a:pt x="1621" y="540"/>
                      </a:lnTo>
                      <a:lnTo>
                        <a:pt x="1621" y="539"/>
                      </a:lnTo>
                      <a:close/>
                      <a:moveTo>
                        <a:pt x="1389" y="514"/>
                      </a:moveTo>
                      <a:lnTo>
                        <a:pt x="1390" y="514"/>
                      </a:lnTo>
                      <a:lnTo>
                        <a:pt x="1390" y="515"/>
                      </a:lnTo>
                      <a:lnTo>
                        <a:pt x="1389" y="515"/>
                      </a:lnTo>
                      <a:lnTo>
                        <a:pt x="1389" y="514"/>
                      </a:lnTo>
                      <a:close/>
                      <a:moveTo>
                        <a:pt x="1334" y="472"/>
                      </a:moveTo>
                      <a:lnTo>
                        <a:pt x="1334" y="473"/>
                      </a:lnTo>
                      <a:lnTo>
                        <a:pt x="1334" y="472"/>
                      </a:lnTo>
                      <a:close/>
                      <a:moveTo>
                        <a:pt x="1382" y="449"/>
                      </a:moveTo>
                      <a:lnTo>
                        <a:pt x="1383" y="449"/>
                      </a:lnTo>
                      <a:lnTo>
                        <a:pt x="1383" y="450"/>
                      </a:lnTo>
                      <a:lnTo>
                        <a:pt x="1382" y="450"/>
                      </a:lnTo>
                      <a:lnTo>
                        <a:pt x="1382" y="449"/>
                      </a:lnTo>
                      <a:close/>
                      <a:moveTo>
                        <a:pt x="1149" y="718"/>
                      </a:moveTo>
                      <a:lnTo>
                        <a:pt x="1150" y="718"/>
                      </a:lnTo>
                      <a:lnTo>
                        <a:pt x="1150" y="719"/>
                      </a:lnTo>
                      <a:lnTo>
                        <a:pt x="1149" y="719"/>
                      </a:lnTo>
                      <a:lnTo>
                        <a:pt x="1149" y="718"/>
                      </a:lnTo>
                      <a:close/>
                      <a:moveTo>
                        <a:pt x="1259" y="525"/>
                      </a:moveTo>
                      <a:lnTo>
                        <a:pt x="1260" y="525"/>
                      </a:lnTo>
                      <a:lnTo>
                        <a:pt x="1260" y="526"/>
                      </a:lnTo>
                      <a:lnTo>
                        <a:pt x="1259" y="526"/>
                      </a:lnTo>
                      <a:lnTo>
                        <a:pt x="1259" y="525"/>
                      </a:lnTo>
                      <a:close/>
                      <a:moveTo>
                        <a:pt x="1386" y="502"/>
                      </a:moveTo>
                      <a:lnTo>
                        <a:pt x="1387" y="502"/>
                      </a:lnTo>
                      <a:lnTo>
                        <a:pt x="1387" y="503"/>
                      </a:lnTo>
                      <a:lnTo>
                        <a:pt x="1386" y="503"/>
                      </a:lnTo>
                      <a:lnTo>
                        <a:pt x="1386" y="502"/>
                      </a:lnTo>
                      <a:close/>
                      <a:moveTo>
                        <a:pt x="1339" y="609"/>
                      </a:moveTo>
                      <a:lnTo>
                        <a:pt x="1340" y="609"/>
                      </a:lnTo>
                      <a:lnTo>
                        <a:pt x="1339" y="609"/>
                      </a:lnTo>
                      <a:close/>
                      <a:moveTo>
                        <a:pt x="1327" y="566"/>
                      </a:moveTo>
                      <a:lnTo>
                        <a:pt x="1328" y="566"/>
                      </a:lnTo>
                      <a:lnTo>
                        <a:pt x="1327" y="566"/>
                      </a:lnTo>
                      <a:close/>
                      <a:moveTo>
                        <a:pt x="1406" y="467"/>
                      </a:moveTo>
                      <a:lnTo>
                        <a:pt x="1407" y="467"/>
                      </a:lnTo>
                      <a:lnTo>
                        <a:pt x="1407" y="468"/>
                      </a:lnTo>
                      <a:lnTo>
                        <a:pt x="1406" y="468"/>
                      </a:lnTo>
                      <a:lnTo>
                        <a:pt x="1406" y="467"/>
                      </a:lnTo>
                      <a:close/>
                      <a:moveTo>
                        <a:pt x="1289" y="534"/>
                      </a:moveTo>
                      <a:lnTo>
                        <a:pt x="1290" y="534"/>
                      </a:lnTo>
                      <a:lnTo>
                        <a:pt x="1289" y="534"/>
                      </a:lnTo>
                      <a:close/>
                      <a:moveTo>
                        <a:pt x="1310" y="646"/>
                      </a:moveTo>
                      <a:lnTo>
                        <a:pt x="1311" y="646"/>
                      </a:lnTo>
                      <a:lnTo>
                        <a:pt x="1311" y="647"/>
                      </a:lnTo>
                      <a:lnTo>
                        <a:pt x="1310" y="647"/>
                      </a:lnTo>
                      <a:lnTo>
                        <a:pt x="1310" y="646"/>
                      </a:lnTo>
                      <a:close/>
                      <a:moveTo>
                        <a:pt x="1356" y="437"/>
                      </a:moveTo>
                      <a:lnTo>
                        <a:pt x="1357" y="437"/>
                      </a:lnTo>
                      <a:lnTo>
                        <a:pt x="1356" y="437"/>
                      </a:lnTo>
                      <a:close/>
                      <a:moveTo>
                        <a:pt x="1363" y="455"/>
                      </a:moveTo>
                      <a:lnTo>
                        <a:pt x="1363" y="456"/>
                      </a:lnTo>
                      <a:lnTo>
                        <a:pt x="1363" y="455"/>
                      </a:lnTo>
                      <a:close/>
                      <a:moveTo>
                        <a:pt x="1257" y="713"/>
                      </a:moveTo>
                      <a:lnTo>
                        <a:pt x="1258" y="713"/>
                      </a:lnTo>
                      <a:lnTo>
                        <a:pt x="1257" y="713"/>
                      </a:lnTo>
                      <a:close/>
                      <a:moveTo>
                        <a:pt x="1338" y="581"/>
                      </a:moveTo>
                      <a:lnTo>
                        <a:pt x="1339" y="581"/>
                      </a:lnTo>
                      <a:lnTo>
                        <a:pt x="1339" y="582"/>
                      </a:lnTo>
                      <a:lnTo>
                        <a:pt x="1338" y="582"/>
                      </a:lnTo>
                      <a:lnTo>
                        <a:pt x="1338" y="581"/>
                      </a:lnTo>
                      <a:close/>
                      <a:moveTo>
                        <a:pt x="1194" y="703"/>
                      </a:moveTo>
                      <a:lnTo>
                        <a:pt x="1195" y="703"/>
                      </a:lnTo>
                      <a:lnTo>
                        <a:pt x="1195" y="704"/>
                      </a:lnTo>
                      <a:lnTo>
                        <a:pt x="1194" y="704"/>
                      </a:lnTo>
                      <a:lnTo>
                        <a:pt x="1194" y="703"/>
                      </a:lnTo>
                      <a:close/>
                      <a:moveTo>
                        <a:pt x="1367" y="447"/>
                      </a:moveTo>
                      <a:lnTo>
                        <a:pt x="1368" y="447"/>
                      </a:lnTo>
                      <a:lnTo>
                        <a:pt x="1368" y="448"/>
                      </a:lnTo>
                      <a:lnTo>
                        <a:pt x="1367" y="448"/>
                      </a:lnTo>
                      <a:lnTo>
                        <a:pt x="1367" y="447"/>
                      </a:lnTo>
                      <a:close/>
                      <a:moveTo>
                        <a:pt x="1378" y="1115"/>
                      </a:moveTo>
                      <a:lnTo>
                        <a:pt x="1379" y="1115"/>
                      </a:lnTo>
                      <a:lnTo>
                        <a:pt x="1380" y="1115"/>
                      </a:lnTo>
                      <a:lnTo>
                        <a:pt x="1381" y="1116"/>
                      </a:lnTo>
                      <a:lnTo>
                        <a:pt x="1382" y="1116"/>
                      </a:lnTo>
                      <a:lnTo>
                        <a:pt x="1383" y="1116"/>
                      </a:lnTo>
                      <a:lnTo>
                        <a:pt x="1384" y="1116"/>
                      </a:lnTo>
                      <a:lnTo>
                        <a:pt x="1386" y="1116"/>
                      </a:lnTo>
                      <a:lnTo>
                        <a:pt x="1388" y="1117"/>
                      </a:lnTo>
                      <a:lnTo>
                        <a:pt x="1389" y="1117"/>
                      </a:lnTo>
                      <a:lnTo>
                        <a:pt x="1390" y="1117"/>
                      </a:lnTo>
                      <a:lnTo>
                        <a:pt x="1390" y="1118"/>
                      </a:lnTo>
                      <a:lnTo>
                        <a:pt x="1391" y="1118"/>
                      </a:lnTo>
                      <a:lnTo>
                        <a:pt x="1391" y="1119"/>
                      </a:lnTo>
                      <a:lnTo>
                        <a:pt x="1390" y="1119"/>
                      </a:lnTo>
                      <a:lnTo>
                        <a:pt x="1390" y="1120"/>
                      </a:lnTo>
                      <a:lnTo>
                        <a:pt x="1391" y="1122"/>
                      </a:lnTo>
                      <a:lnTo>
                        <a:pt x="1391" y="1123"/>
                      </a:lnTo>
                      <a:lnTo>
                        <a:pt x="1392" y="1124"/>
                      </a:lnTo>
                      <a:lnTo>
                        <a:pt x="1392" y="1125"/>
                      </a:lnTo>
                      <a:lnTo>
                        <a:pt x="1393" y="1127"/>
                      </a:lnTo>
                      <a:lnTo>
                        <a:pt x="1393" y="1128"/>
                      </a:lnTo>
                      <a:lnTo>
                        <a:pt x="1394" y="1130"/>
                      </a:lnTo>
                      <a:lnTo>
                        <a:pt x="1394" y="1131"/>
                      </a:lnTo>
                      <a:lnTo>
                        <a:pt x="1393" y="1131"/>
                      </a:lnTo>
                      <a:lnTo>
                        <a:pt x="1392" y="1131"/>
                      </a:lnTo>
                      <a:lnTo>
                        <a:pt x="1392" y="1130"/>
                      </a:lnTo>
                      <a:lnTo>
                        <a:pt x="1392" y="1131"/>
                      </a:lnTo>
                      <a:lnTo>
                        <a:pt x="1393" y="1131"/>
                      </a:lnTo>
                      <a:lnTo>
                        <a:pt x="1392" y="1131"/>
                      </a:lnTo>
                      <a:lnTo>
                        <a:pt x="1392" y="1132"/>
                      </a:lnTo>
                      <a:lnTo>
                        <a:pt x="1391" y="1133"/>
                      </a:lnTo>
                      <a:lnTo>
                        <a:pt x="1390" y="1133"/>
                      </a:lnTo>
                      <a:lnTo>
                        <a:pt x="1391" y="1133"/>
                      </a:lnTo>
                      <a:lnTo>
                        <a:pt x="1392" y="1133"/>
                      </a:lnTo>
                      <a:lnTo>
                        <a:pt x="1391" y="1133"/>
                      </a:lnTo>
                      <a:lnTo>
                        <a:pt x="1391" y="1132"/>
                      </a:lnTo>
                      <a:lnTo>
                        <a:pt x="1392" y="1132"/>
                      </a:lnTo>
                      <a:lnTo>
                        <a:pt x="1393" y="1131"/>
                      </a:lnTo>
                      <a:lnTo>
                        <a:pt x="1394" y="1131"/>
                      </a:lnTo>
                      <a:lnTo>
                        <a:pt x="1394" y="1132"/>
                      </a:lnTo>
                      <a:lnTo>
                        <a:pt x="1394" y="1133"/>
                      </a:lnTo>
                      <a:lnTo>
                        <a:pt x="1394" y="1134"/>
                      </a:lnTo>
                      <a:lnTo>
                        <a:pt x="1394" y="1136"/>
                      </a:lnTo>
                      <a:lnTo>
                        <a:pt x="1394" y="1137"/>
                      </a:lnTo>
                      <a:lnTo>
                        <a:pt x="1395" y="1138"/>
                      </a:lnTo>
                      <a:lnTo>
                        <a:pt x="1394" y="1140"/>
                      </a:lnTo>
                      <a:lnTo>
                        <a:pt x="1393" y="1140"/>
                      </a:lnTo>
                      <a:lnTo>
                        <a:pt x="1394" y="1140"/>
                      </a:lnTo>
                      <a:lnTo>
                        <a:pt x="1395" y="1140"/>
                      </a:lnTo>
                      <a:lnTo>
                        <a:pt x="1395" y="1141"/>
                      </a:lnTo>
                      <a:lnTo>
                        <a:pt x="1395" y="1142"/>
                      </a:lnTo>
                      <a:lnTo>
                        <a:pt x="1394" y="1145"/>
                      </a:lnTo>
                      <a:lnTo>
                        <a:pt x="1394" y="1146"/>
                      </a:lnTo>
                      <a:lnTo>
                        <a:pt x="1394" y="1147"/>
                      </a:lnTo>
                      <a:lnTo>
                        <a:pt x="1394" y="1148"/>
                      </a:lnTo>
                      <a:lnTo>
                        <a:pt x="1393" y="1148"/>
                      </a:lnTo>
                      <a:lnTo>
                        <a:pt x="1393" y="1149"/>
                      </a:lnTo>
                      <a:lnTo>
                        <a:pt x="1392" y="1150"/>
                      </a:lnTo>
                      <a:lnTo>
                        <a:pt x="1391" y="1153"/>
                      </a:lnTo>
                      <a:lnTo>
                        <a:pt x="1391" y="1154"/>
                      </a:lnTo>
                      <a:lnTo>
                        <a:pt x="1391" y="1155"/>
                      </a:lnTo>
                      <a:lnTo>
                        <a:pt x="1391" y="1156"/>
                      </a:lnTo>
                      <a:lnTo>
                        <a:pt x="1392" y="1157"/>
                      </a:lnTo>
                      <a:lnTo>
                        <a:pt x="1394" y="1158"/>
                      </a:lnTo>
                      <a:lnTo>
                        <a:pt x="1395" y="1158"/>
                      </a:lnTo>
                      <a:lnTo>
                        <a:pt x="1395" y="1159"/>
                      </a:lnTo>
                      <a:lnTo>
                        <a:pt x="1397" y="1159"/>
                      </a:lnTo>
                      <a:lnTo>
                        <a:pt x="1399" y="1160"/>
                      </a:lnTo>
                      <a:lnTo>
                        <a:pt x="1400" y="1160"/>
                      </a:lnTo>
                      <a:lnTo>
                        <a:pt x="1400" y="1161"/>
                      </a:lnTo>
                      <a:lnTo>
                        <a:pt x="1401" y="1161"/>
                      </a:lnTo>
                      <a:lnTo>
                        <a:pt x="1401" y="1162"/>
                      </a:lnTo>
                      <a:lnTo>
                        <a:pt x="1401" y="1164"/>
                      </a:lnTo>
                      <a:lnTo>
                        <a:pt x="1402" y="1164"/>
                      </a:lnTo>
                      <a:lnTo>
                        <a:pt x="1402" y="1166"/>
                      </a:lnTo>
                      <a:lnTo>
                        <a:pt x="1404" y="1167"/>
                      </a:lnTo>
                      <a:lnTo>
                        <a:pt x="1405" y="1167"/>
                      </a:lnTo>
                      <a:lnTo>
                        <a:pt x="1405" y="1168"/>
                      </a:lnTo>
                      <a:lnTo>
                        <a:pt x="1406" y="1168"/>
                      </a:lnTo>
                      <a:lnTo>
                        <a:pt x="1406" y="1169"/>
                      </a:lnTo>
                      <a:lnTo>
                        <a:pt x="1405" y="1168"/>
                      </a:lnTo>
                      <a:lnTo>
                        <a:pt x="1405" y="1169"/>
                      </a:lnTo>
                      <a:lnTo>
                        <a:pt x="1406" y="1169"/>
                      </a:lnTo>
                      <a:lnTo>
                        <a:pt x="1407" y="1170"/>
                      </a:lnTo>
                      <a:lnTo>
                        <a:pt x="1407" y="1171"/>
                      </a:lnTo>
                      <a:lnTo>
                        <a:pt x="1406" y="1171"/>
                      </a:lnTo>
                      <a:lnTo>
                        <a:pt x="1406" y="1172"/>
                      </a:lnTo>
                      <a:lnTo>
                        <a:pt x="1407" y="1172"/>
                      </a:lnTo>
                      <a:lnTo>
                        <a:pt x="1408" y="1174"/>
                      </a:lnTo>
                      <a:lnTo>
                        <a:pt x="1409" y="1175"/>
                      </a:lnTo>
                      <a:lnTo>
                        <a:pt x="1410" y="1176"/>
                      </a:lnTo>
                      <a:lnTo>
                        <a:pt x="1410" y="1178"/>
                      </a:lnTo>
                      <a:lnTo>
                        <a:pt x="1412" y="1178"/>
                      </a:lnTo>
                      <a:lnTo>
                        <a:pt x="1412" y="1179"/>
                      </a:lnTo>
                      <a:lnTo>
                        <a:pt x="1412" y="1178"/>
                      </a:lnTo>
                      <a:lnTo>
                        <a:pt x="1413" y="1178"/>
                      </a:lnTo>
                      <a:lnTo>
                        <a:pt x="1414" y="1179"/>
                      </a:lnTo>
                      <a:lnTo>
                        <a:pt x="1416" y="1180"/>
                      </a:lnTo>
                      <a:lnTo>
                        <a:pt x="1416" y="1181"/>
                      </a:lnTo>
                      <a:lnTo>
                        <a:pt x="1417" y="1181"/>
                      </a:lnTo>
                      <a:lnTo>
                        <a:pt x="1418" y="1181"/>
                      </a:lnTo>
                      <a:lnTo>
                        <a:pt x="1419" y="1181"/>
                      </a:lnTo>
                      <a:lnTo>
                        <a:pt x="1420" y="1181"/>
                      </a:lnTo>
                      <a:lnTo>
                        <a:pt x="1421" y="1181"/>
                      </a:lnTo>
                      <a:lnTo>
                        <a:pt x="1421" y="1182"/>
                      </a:lnTo>
                      <a:lnTo>
                        <a:pt x="1422" y="1182"/>
                      </a:lnTo>
                      <a:lnTo>
                        <a:pt x="1424" y="1183"/>
                      </a:lnTo>
                      <a:lnTo>
                        <a:pt x="1424" y="1184"/>
                      </a:lnTo>
                      <a:lnTo>
                        <a:pt x="1425" y="1185"/>
                      </a:lnTo>
                      <a:lnTo>
                        <a:pt x="1424" y="1185"/>
                      </a:lnTo>
                      <a:lnTo>
                        <a:pt x="1424" y="1184"/>
                      </a:lnTo>
                      <a:lnTo>
                        <a:pt x="1422" y="1184"/>
                      </a:lnTo>
                      <a:lnTo>
                        <a:pt x="1421" y="1184"/>
                      </a:lnTo>
                      <a:lnTo>
                        <a:pt x="1420" y="1184"/>
                      </a:lnTo>
                      <a:lnTo>
                        <a:pt x="1419" y="1184"/>
                      </a:lnTo>
                      <a:lnTo>
                        <a:pt x="1419" y="1183"/>
                      </a:lnTo>
                      <a:lnTo>
                        <a:pt x="1419" y="1184"/>
                      </a:lnTo>
                      <a:lnTo>
                        <a:pt x="1418" y="1183"/>
                      </a:lnTo>
                      <a:lnTo>
                        <a:pt x="1418" y="1184"/>
                      </a:lnTo>
                      <a:lnTo>
                        <a:pt x="1417" y="1184"/>
                      </a:lnTo>
                      <a:lnTo>
                        <a:pt x="1417" y="1183"/>
                      </a:lnTo>
                      <a:lnTo>
                        <a:pt x="1417" y="1184"/>
                      </a:lnTo>
                      <a:lnTo>
                        <a:pt x="1416" y="1183"/>
                      </a:lnTo>
                      <a:lnTo>
                        <a:pt x="1416" y="1184"/>
                      </a:lnTo>
                      <a:lnTo>
                        <a:pt x="1415" y="1184"/>
                      </a:lnTo>
                      <a:lnTo>
                        <a:pt x="1415" y="1183"/>
                      </a:lnTo>
                      <a:lnTo>
                        <a:pt x="1414" y="1183"/>
                      </a:lnTo>
                      <a:lnTo>
                        <a:pt x="1414" y="1182"/>
                      </a:lnTo>
                      <a:lnTo>
                        <a:pt x="1413" y="1182"/>
                      </a:lnTo>
                      <a:lnTo>
                        <a:pt x="1414" y="1182"/>
                      </a:lnTo>
                      <a:lnTo>
                        <a:pt x="1414" y="1183"/>
                      </a:lnTo>
                      <a:lnTo>
                        <a:pt x="1415" y="1183"/>
                      </a:lnTo>
                      <a:lnTo>
                        <a:pt x="1415" y="1184"/>
                      </a:lnTo>
                      <a:lnTo>
                        <a:pt x="1416" y="1184"/>
                      </a:lnTo>
                      <a:lnTo>
                        <a:pt x="1415" y="1184"/>
                      </a:lnTo>
                      <a:lnTo>
                        <a:pt x="1415" y="1185"/>
                      </a:lnTo>
                      <a:lnTo>
                        <a:pt x="1414" y="1185"/>
                      </a:lnTo>
                      <a:lnTo>
                        <a:pt x="1413" y="1184"/>
                      </a:lnTo>
                      <a:lnTo>
                        <a:pt x="1412" y="1183"/>
                      </a:lnTo>
                      <a:lnTo>
                        <a:pt x="1412" y="1182"/>
                      </a:lnTo>
                      <a:lnTo>
                        <a:pt x="1410" y="1182"/>
                      </a:lnTo>
                      <a:lnTo>
                        <a:pt x="1410" y="1181"/>
                      </a:lnTo>
                      <a:lnTo>
                        <a:pt x="1409" y="1181"/>
                      </a:lnTo>
                      <a:lnTo>
                        <a:pt x="1409" y="1180"/>
                      </a:lnTo>
                      <a:lnTo>
                        <a:pt x="1408" y="1180"/>
                      </a:lnTo>
                      <a:lnTo>
                        <a:pt x="1408" y="1179"/>
                      </a:lnTo>
                      <a:lnTo>
                        <a:pt x="1406" y="1179"/>
                      </a:lnTo>
                      <a:lnTo>
                        <a:pt x="1407" y="1179"/>
                      </a:lnTo>
                      <a:lnTo>
                        <a:pt x="1407" y="1180"/>
                      </a:lnTo>
                      <a:lnTo>
                        <a:pt x="1408" y="1180"/>
                      </a:lnTo>
                      <a:lnTo>
                        <a:pt x="1408" y="1181"/>
                      </a:lnTo>
                      <a:lnTo>
                        <a:pt x="1409" y="1181"/>
                      </a:lnTo>
                      <a:lnTo>
                        <a:pt x="1409" y="1182"/>
                      </a:lnTo>
                      <a:lnTo>
                        <a:pt x="1410" y="1182"/>
                      </a:lnTo>
                      <a:lnTo>
                        <a:pt x="1413" y="1184"/>
                      </a:lnTo>
                      <a:lnTo>
                        <a:pt x="1413" y="1185"/>
                      </a:lnTo>
                      <a:lnTo>
                        <a:pt x="1414" y="1185"/>
                      </a:lnTo>
                      <a:lnTo>
                        <a:pt x="1414" y="1186"/>
                      </a:lnTo>
                      <a:lnTo>
                        <a:pt x="1414" y="1187"/>
                      </a:lnTo>
                      <a:lnTo>
                        <a:pt x="1415" y="1187"/>
                      </a:lnTo>
                      <a:lnTo>
                        <a:pt x="1415" y="1188"/>
                      </a:lnTo>
                      <a:lnTo>
                        <a:pt x="1416" y="1188"/>
                      </a:lnTo>
                      <a:lnTo>
                        <a:pt x="1417" y="1188"/>
                      </a:lnTo>
                      <a:lnTo>
                        <a:pt x="1418" y="1189"/>
                      </a:lnTo>
                      <a:lnTo>
                        <a:pt x="1419" y="1188"/>
                      </a:lnTo>
                      <a:lnTo>
                        <a:pt x="1420" y="1188"/>
                      </a:lnTo>
                      <a:lnTo>
                        <a:pt x="1420" y="1189"/>
                      </a:lnTo>
                      <a:lnTo>
                        <a:pt x="1419" y="1189"/>
                      </a:lnTo>
                      <a:lnTo>
                        <a:pt x="1419" y="1191"/>
                      </a:lnTo>
                      <a:lnTo>
                        <a:pt x="1419" y="1192"/>
                      </a:lnTo>
                      <a:lnTo>
                        <a:pt x="1421" y="1192"/>
                      </a:lnTo>
                      <a:lnTo>
                        <a:pt x="1422" y="1192"/>
                      </a:lnTo>
                      <a:lnTo>
                        <a:pt x="1424" y="1191"/>
                      </a:lnTo>
                      <a:lnTo>
                        <a:pt x="1425" y="1191"/>
                      </a:lnTo>
                      <a:lnTo>
                        <a:pt x="1426" y="1192"/>
                      </a:lnTo>
                      <a:lnTo>
                        <a:pt x="1427" y="1193"/>
                      </a:lnTo>
                      <a:lnTo>
                        <a:pt x="1427" y="1194"/>
                      </a:lnTo>
                      <a:lnTo>
                        <a:pt x="1426" y="1194"/>
                      </a:lnTo>
                      <a:lnTo>
                        <a:pt x="1425" y="1193"/>
                      </a:lnTo>
                      <a:lnTo>
                        <a:pt x="1424" y="1193"/>
                      </a:lnTo>
                      <a:lnTo>
                        <a:pt x="1421" y="1194"/>
                      </a:lnTo>
                      <a:lnTo>
                        <a:pt x="1422" y="1195"/>
                      </a:lnTo>
                      <a:lnTo>
                        <a:pt x="1422" y="1196"/>
                      </a:lnTo>
                      <a:lnTo>
                        <a:pt x="1422" y="1197"/>
                      </a:lnTo>
                      <a:lnTo>
                        <a:pt x="1422" y="1198"/>
                      </a:lnTo>
                      <a:lnTo>
                        <a:pt x="1424" y="1198"/>
                      </a:lnTo>
                      <a:lnTo>
                        <a:pt x="1424" y="1200"/>
                      </a:lnTo>
                      <a:lnTo>
                        <a:pt x="1424" y="1201"/>
                      </a:lnTo>
                      <a:lnTo>
                        <a:pt x="1425" y="1202"/>
                      </a:lnTo>
                      <a:lnTo>
                        <a:pt x="1426" y="1205"/>
                      </a:lnTo>
                      <a:lnTo>
                        <a:pt x="1427" y="1206"/>
                      </a:lnTo>
                      <a:lnTo>
                        <a:pt x="1427" y="1205"/>
                      </a:lnTo>
                      <a:lnTo>
                        <a:pt x="1428" y="1205"/>
                      </a:lnTo>
                      <a:lnTo>
                        <a:pt x="1429" y="1205"/>
                      </a:lnTo>
                      <a:lnTo>
                        <a:pt x="1429" y="1206"/>
                      </a:lnTo>
                      <a:lnTo>
                        <a:pt x="1429" y="1207"/>
                      </a:lnTo>
                      <a:lnTo>
                        <a:pt x="1430" y="1208"/>
                      </a:lnTo>
                      <a:lnTo>
                        <a:pt x="1430" y="1209"/>
                      </a:lnTo>
                      <a:lnTo>
                        <a:pt x="1431" y="1209"/>
                      </a:lnTo>
                      <a:lnTo>
                        <a:pt x="1432" y="1208"/>
                      </a:lnTo>
                      <a:lnTo>
                        <a:pt x="1433" y="1208"/>
                      </a:lnTo>
                      <a:lnTo>
                        <a:pt x="1434" y="1207"/>
                      </a:lnTo>
                      <a:lnTo>
                        <a:pt x="1433" y="1206"/>
                      </a:lnTo>
                      <a:lnTo>
                        <a:pt x="1433" y="1205"/>
                      </a:lnTo>
                      <a:lnTo>
                        <a:pt x="1435" y="1204"/>
                      </a:lnTo>
                      <a:lnTo>
                        <a:pt x="1437" y="1202"/>
                      </a:lnTo>
                      <a:lnTo>
                        <a:pt x="1437" y="1204"/>
                      </a:lnTo>
                      <a:lnTo>
                        <a:pt x="1435" y="1206"/>
                      </a:lnTo>
                      <a:lnTo>
                        <a:pt x="1434" y="1209"/>
                      </a:lnTo>
                      <a:lnTo>
                        <a:pt x="1431" y="1211"/>
                      </a:lnTo>
                      <a:lnTo>
                        <a:pt x="1431" y="1212"/>
                      </a:lnTo>
                      <a:lnTo>
                        <a:pt x="1431" y="1211"/>
                      </a:lnTo>
                      <a:lnTo>
                        <a:pt x="1429" y="1210"/>
                      </a:lnTo>
                      <a:lnTo>
                        <a:pt x="1428" y="1209"/>
                      </a:lnTo>
                      <a:lnTo>
                        <a:pt x="1428" y="1208"/>
                      </a:lnTo>
                      <a:lnTo>
                        <a:pt x="1427" y="1208"/>
                      </a:lnTo>
                      <a:lnTo>
                        <a:pt x="1417" y="1198"/>
                      </a:lnTo>
                      <a:lnTo>
                        <a:pt x="1415" y="1197"/>
                      </a:lnTo>
                      <a:lnTo>
                        <a:pt x="1414" y="1195"/>
                      </a:lnTo>
                      <a:lnTo>
                        <a:pt x="1413" y="1195"/>
                      </a:lnTo>
                      <a:lnTo>
                        <a:pt x="1413" y="1194"/>
                      </a:lnTo>
                      <a:lnTo>
                        <a:pt x="1412" y="1194"/>
                      </a:lnTo>
                      <a:lnTo>
                        <a:pt x="1412" y="1193"/>
                      </a:lnTo>
                      <a:lnTo>
                        <a:pt x="1410" y="1192"/>
                      </a:lnTo>
                      <a:lnTo>
                        <a:pt x="1410" y="1191"/>
                      </a:lnTo>
                      <a:lnTo>
                        <a:pt x="1409" y="1191"/>
                      </a:lnTo>
                      <a:lnTo>
                        <a:pt x="1410" y="1191"/>
                      </a:lnTo>
                      <a:lnTo>
                        <a:pt x="1410" y="1189"/>
                      </a:lnTo>
                      <a:lnTo>
                        <a:pt x="1409" y="1189"/>
                      </a:lnTo>
                      <a:lnTo>
                        <a:pt x="1410" y="1189"/>
                      </a:lnTo>
                      <a:lnTo>
                        <a:pt x="1409" y="1189"/>
                      </a:lnTo>
                      <a:lnTo>
                        <a:pt x="1408" y="1189"/>
                      </a:lnTo>
                      <a:lnTo>
                        <a:pt x="1408" y="1188"/>
                      </a:lnTo>
                      <a:lnTo>
                        <a:pt x="1407" y="1188"/>
                      </a:lnTo>
                      <a:lnTo>
                        <a:pt x="1407" y="1187"/>
                      </a:lnTo>
                      <a:lnTo>
                        <a:pt x="1407" y="1186"/>
                      </a:lnTo>
                      <a:lnTo>
                        <a:pt x="1408" y="1186"/>
                      </a:lnTo>
                      <a:lnTo>
                        <a:pt x="1407" y="1186"/>
                      </a:lnTo>
                      <a:lnTo>
                        <a:pt x="1407" y="1185"/>
                      </a:lnTo>
                      <a:lnTo>
                        <a:pt x="1406" y="1185"/>
                      </a:lnTo>
                      <a:lnTo>
                        <a:pt x="1406" y="1186"/>
                      </a:lnTo>
                      <a:lnTo>
                        <a:pt x="1406" y="1185"/>
                      </a:lnTo>
                      <a:lnTo>
                        <a:pt x="1405" y="1185"/>
                      </a:lnTo>
                      <a:lnTo>
                        <a:pt x="1405" y="1184"/>
                      </a:lnTo>
                      <a:lnTo>
                        <a:pt x="1404" y="1183"/>
                      </a:lnTo>
                      <a:lnTo>
                        <a:pt x="1404" y="1182"/>
                      </a:lnTo>
                      <a:lnTo>
                        <a:pt x="1403" y="1181"/>
                      </a:lnTo>
                      <a:lnTo>
                        <a:pt x="1403" y="1180"/>
                      </a:lnTo>
                      <a:lnTo>
                        <a:pt x="1402" y="1180"/>
                      </a:lnTo>
                      <a:lnTo>
                        <a:pt x="1402" y="1179"/>
                      </a:lnTo>
                      <a:lnTo>
                        <a:pt x="1401" y="1179"/>
                      </a:lnTo>
                      <a:lnTo>
                        <a:pt x="1401" y="1178"/>
                      </a:lnTo>
                      <a:lnTo>
                        <a:pt x="1400" y="1176"/>
                      </a:lnTo>
                      <a:lnTo>
                        <a:pt x="1400" y="1175"/>
                      </a:lnTo>
                      <a:lnTo>
                        <a:pt x="1400" y="1174"/>
                      </a:lnTo>
                      <a:lnTo>
                        <a:pt x="1399" y="1174"/>
                      </a:lnTo>
                      <a:lnTo>
                        <a:pt x="1399" y="1173"/>
                      </a:lnTo>
                      <a:lnTo>
                        <a:pt x="1397" y="1173"/>
                      </a:lnTo>
                      <a:lnTo>
                        <a:pt x="1397" y="1172"/>
                      </a:lnTo>
                      <a:lnTo>
                        <a:pt x="1397" y="1171"/>
                      </a:lnTo>
                      <a:lnTo>
                        <a:pt x="1396" y="1171"/>
                      </a:lnTo>
                      <a:lnTo>
                        <a:pt x="1396" y="1170"/>
                      </a:lnTo>
                      <a:lnTo>
                        <a:pt x="1396" y="1169"/>
                      </a:lnTo>
                      <a:lnTo>
                        <a:pt x="1395" y="1169"/>
                      </a:lnTo>
                      <a:lnTo>
                        <a:pt x="1395" y="1168"/>
                      </a:lnTo>
                      <a:lnTo>
                        <a:pt x="1395" y="1167"/>
                      </a:lnTo>
                      <a:lnTo>
                        <a:pt x="1395" y="1166"/>
                      </a:lnTo>
                      <a:lnTo>
                        <a:pt x="1394" y="1164"/>
                      </a:lnTo>
                      <a:lnTo>
                        <a:pt x="1394" y="1163"/>
                      </a:lnTo>
                      <a:lnTo>
                        <a:pt x="1393" y="1162"/>
                      </a:lnTo>
                      <a:lnTo>
                        <a:pt x="1393" y="1161"/>
                      </a:lnTo>
                      <a:lnTo>
                        <a:pt x="1393" y="1160"/>
                      </a:lnTo>
                      <a:lnTo>
                        <a:pt x="1392" y="1160"/>
                      </a:lnTo>
                      <a:lnTo>
                        <a:pt x="1392" y="1159"/>
                      </a:lnTo>
                      <a:lnTo>
                        <a:pt x="1391" y="1159"/>
                      </a:lnTo>
                      <a:lnTo>
                        <a:pt x="1391" y="1158"/>
                      </a:lnTo>
                      <a:lnTo>
                        <a:pt x="1390" y="1157"/>
                      </a:lnTo>
                      <a:lnTo>
                        <a:pt x="1390" y="1156"/>
                      </a:lnTo>
                      <a:lnTo>
                        <a:pt x="1390" y="1157"/>
                      </a:lnTo>
                      <a:lnTo>
                        <a:pt x="1389" y="1157"/>
                      </a:lnTo>
                      <a:lnTo>
                        <a:pt x="1389" y="1156"/>
                      </a:lnTo>
                      <a:lnTo>
                        <a:pt x="1389" y="1155"/>
                      </a:lnTo>
                      <a:lnTo>
                        <a:pt x="1388" y="1155"/>
                      </a:lnTo>
                      <a:lnTo>
                        <a:pt x="1388" y="1154"/>
                      </a:lnTo>
                      <a:lnTo>
                        <a:pt x="1387" y="1153"/>
                      </a:lnTo>
                      <a:lnTo>
                        <a:pt x="1387" y="1151"/>
                      </a:lnTo>
                      <a:lnTo>
                        <a:pt x="1386" y="1151"/>
                      </a:lnTo>
                      <a:lnTo>
                        <a:pt x="1386" y="1150"/>
                      </a:lnTo>
                      <a:lnTo>
                        <a:pt x="1384" y="1150"/>
                      </a:lnTo>
                      <a:lnTo>
                        <a:pt x="1384" y="1149"/>
                      </a:lnTo>
                      <a:lnTo>
                        <a:pt x="1383" y="1149"/>
                      </a:lnTo>
                      <a:lnTo>
                        <a:pt x="1383" y="1148"/>
                      </a:lnTo>
                      <a:lnTo>
                        <a:pt x="1383" y="1147"/>
                      </a:lnTo>
                      <a:lnTo>
                        <a:pt x="1382" y="1147"/>
                      </a:lnTo>
                      <a:lnTo>
                        <a:pt x="1382" y="1146"/>
                      </a:lnTo>
                      <a:lnTo>
                        <a:pt x="1381" y="1146"/>
                      </a:lnTo>
                      <a:lnTo>
                        <a:pt x="1381" y="1145"/>
                      </a:lnTo>
                      <a:lnTo>
                        <a:pt x="1380" y="1144"/>
                      </a:lnTo>
                      <a:lnTo>
                        <a:pt x="1380" y="1143"/>
                      </a:lnTo>
                      <a:lnTo>
                        <a:pt x="1380" y="1142"/>
                      </a:lnTo>
                      <a:lnTo>
                        <a:pt x="1379" y="1142"/>
                      </a:lnTo>
                      <a:lnTo>
                        <a:pt x="1379" y="1141"/>
                      </a:lnTo>
                      <a:lnTo>
                        <a:pt x="1378" y="1141"/>
                      </a:lnTo>
                      <a:lnTo>
                        <a:pt x="1378" y="1140"/>
                      </a:lnTo>
                      <a:lnTo>
                        <a:pt x="1378" y="1138"/>
                      </a:lnTo>
                      <a:lnTo>
                        <a:pt x="1377" y="1138"/>
                      </a:lnTo>
                      <a:lnTo>
                        <a:pt x="1377" y="1137"/>
                      </a:lnTo>
                      <a:lnTo>
                        <a:pt x="1377" y="1136"/>
                      </a:lnTo>
                      <a:lnTo>
                        <a:pt x="1376" y="1136"/>
                      </a:lnTo>
                      <a:lnTo>
                        <a:pt x="1376" y="1135"/>
                      </a:lnTo>
                      <a:lnTo>
                        <a:pt x="1376" y="1134"/>
                      </a:lnTo>
                      <a:lnTo>
                        <a:pt x="1376" y="1133"/>
                      </a:lnTo>
                      <a:lnTo>
                        <a:pt x="1376" y="1132"/>
                      </a:lnTo>
                      <a:lnTo>
                        <a:pt x="1376" y="1131"/>
                      </a:lnTo>
                      <a:lnTo>
                        <a:pt x="1376" y="1130"/>
                      </a:lnTo>
                      <a:lnTo>
                        <a:pt x="1375" y="1130"/>
                      </a:lnTo>
                      <a:lnTo>
                        <a:pt x="1376" y="1130"/>
                      </a:lnTo>
                      <a:lnTo>
                        <a:pt x="1376" y="1129"/>
                      </a:lnTo>
                      <a:lnTo>
                        <a:pt x="1375" y="1129"/>
                      </a:lnTo>
                      <a:lnTo>
                        <a:pt x="1375" y="1128"/>
                      </a:lnTo>
                      <a:lnTo>
                        <a:pt x="1375" y="1127"/>
                      </a:lnTo>
                      <a:lnTo>
                        <a:pt x="1375" y="1125"/>
                      </a:lnTo>
                      <a:lnTo>
                        <a:pt x="1375" y="1124"/>
                      </a:lnTo>
                      <a:lnTo>
                        <a:pt x="1375" y="1123"/>
                      </a:lnTo>
                      <a:lnTo>
                        <a:pt x="1375" y="1122"/>
                      </a:lnTo>
                      <a:lnTo>
                        <a:pt x="1375" y="1121"/>
                      </a:lnTo>
                      <a:lnTo>
                        <a:pt x="1375" y="1120"/>
                      </a:lnTo>
                      <a:lnTo>
                        <a:pt x="1375" y="1119"/>
                      </a:lnTo>
                      <a:lnTo>
                        <a:pt x="1374" y="1118"/>
                      </a:lnTo>
                      <a:lnTo>
                        <a:pt x="1374" y="1117"/>
                      </a:lnTo>
                      <a:lnTo>
                        <a:pt x="1373" y="1117"/>
                      </a:lnTo>
                      <a:lnTo>
                        <a:pt x="1373" y="1116"/>
                      </a:lnTo>
                      <a:lnTo>
                        <a:pt x="1371" y="1116"/>
                      </a:lnTo>
                      <a:lnTo>
                        <a:pt x="1371" y="1115"/>
                      </a:lnTo>
                      <a:lnTo>
                        <a:pt x="1371" y="1114"/>
                      </a:lnTo>
                      <a:lnTo>
                        <a:pt x="1370" y="1114"/>
                      </a:lnTo>
                      <a:lnTo>
                        <a:pt x="1370" y="1112"/>
                      </a:lnTo>
                      <a:lnTo>
                        <a:pt x="1370" y="1111"/>
                      </a:lnTo>
                      <a:lnTo>
                        <a:pt x="1370" y="1110"/>
                      </a:lnTo>
                      <a:lnTo>
                        <a:pt x="1369" y="1109"/>
                      </a:lnTo>
                      <a:lnTo>
                        <a:pt x="1369" y="1108"/>
                      </a:lnTo>
                      <a:lnTo>
                        <a:pt x="1369" y="1109"/>
                      </a:lnTo>
                      <a:lnTo>
                        <a:pt x="1370" y="1109"/>
                      </a:lnTo>
                      <a:lnTo>
                        <a:pt x="1370" y="1110"/>
                      </a:lnTo>
                      <a:lnTo>
                        <a:pt x="1371" y="1111"/>
                      </a:lnTo>
                      <a:lnTo>
                        <a:pt x="1373" y="1112"/>
                      </a:lnTo>
                      <a:lnTo>
                        <a:pt x="1375" y="1114"/>
                      </a:lnTo>
                      <a:lnTo>
                        <a:pt x="1376" y="1115"/>
                      </a:lnTo>
                      <a:lnTo>
                        <a:pt x="1377" y="1115"/>
                      </a:lnTo>
                      <a:lnTo>
                        <a:pt x="1378" y="1115"/>
                      </a:lnTo>
                      <a:close/>
                      <a:moveTo>
                        <a:pt x="1353" y="1084"/>
                      </a:moveTo>
                      <a:lnTo>
                        <a:pt x="1354" y="1088"/>
                      </a:lnTo>
                      <a:lnTo>
                        <a:pt x="1356" y="1093"/>
                      </a:lnTo>
                      <a:lnTo>
                        <a:pt x="1358" y="1097"/>
                      </a:lnTo>
                      <a:lnTo>
                        <a:pt x="1360" y="1099"/>
                      </a:lnTo>
                      <a:lnTo>
                        <a:pt x="1361" y="1102"/>
                      </a:lnTo>
                      <a:lnTo>
                        <a:pt x="1361" y="1103"/>
                      </a:lnTo>
                      <a:lnTo>
                        <a:pt x="1361" y="1104"/>
                      </a:lnTo>
                      <a:lnTo>
                        <a:pt x="1362" y="1105"/>
                      </a:lnTo>
                      <a:lnTo>
                        <a:pt x="1362" y="1106"/>
                      </a:lnTo>
                      <a:lnTo>
                        <a:pt x="1362" y="1107"/>
                      </a:lnTo>
                      <a:lnTo>
                        <a:pt x="1363" y="1108"/>
                      </a:lnTo>
                      <a:lnTo>
                        <a:pt x="1363" y="1109"/>
                      </a:lnTo>
                      <a:lnTo>
                        <a:pt x="1363" y="1110"/>
                      </a:lnTo>
                      <a:lnTo>
                        <a:pt x="1363" y="1111"/>
                      </a:lnTo>
                      <a:lnTo>
                        <a:pt x="1363" y="1112"/>
                      </a:lnTo>
                      <a:lnTo>
                        <a:pt x="1363" y="1114"/>
                      </a:lnTo>
                      <a:lnTo>
                        <a:pt x="1362" y="1115"/>
                      </a:lnTo>
                      <a:lnTo>
                        <a:pt x="1362" y="1117"/>
                      </a:lnTo>
                      <a:lnTo>
                        <a:pt x="1363" y="1116"/>
                      </a:lnTo>
                      <a:lnTo>
                        <a:pt x="1363" y="1117"/>
                      </a:lnTo>
                      <a:lnTo>
                        <a:pt x="1363" y="1118"/>
                      </a:lnTo>
                      <a:lnTo>
                        <a:pt x="1362" y="1119"/>
                      </a:lnTo>
                      <a:lnTo>
                        <a:pt x="1362" y="1121"/>
                      </a:lnTo>
                      <a:lnTo>
                        <a:pt x="1361" y="1122"/>
                      </a:lnTo>
                      <a:lnTo>
                        <a:pt x="1361" y="1124"/>
                      </a:lnTo>
                      <a:lnTo>
                        <a:pt x="1360" y="1125"/>
                      </a:lnTo>
                      <a:lnTo>
                        <a:pt x="1360" y="1127"/>
                      </a:lnTo>
                      <a:lnTo>
                        <a:pt x="1358" y="1127"/>
                      </a:lnTo>
                      <a:lnTo>
                        <a:pt x="1358" y="1128"/>
                      </a:lnTo>
                      <a:lnTo>
                        <a:pt x="1358" y="1129"/>
                      </a:lnTo>
                      <a:lnTo>
                        <a:pt x="1357" y="1130"/>
                      </a:lnTo>
                      <a:lnTo>
                        <a:pt x="1357" y="1131"/>
                      </a:lnTo>
                      <a:lnTo>
                        <a:pt x="1356" y="1132"/>
                      </a:lnTo>
                      <a:lnTo>
                        <a:pt x="1356" y="1133"/>
                      </a:lnTo>
                      <a:lnTo>
                        <a:pt x="1356" y="1134"/>
                      </a:lnTo>
                      <a:lnTo>
                        <a:pt x="1355" y="1134"/>
                      </a:lnTo>
                      <a:lnTo>
                        <a:pt x="1355" y="1135"/>
                      </a:lnTo>
                      <a:lnTo>
                        <a:pt x="1354" y="1135"/>
                      </a:lnTo>
                      <a:lnTo>
                        <a:pt x="1353" y="1135"/>
                      </a:lnTo>
                      <a:lnTo>
                        <a:pt x="1352" y="1134"/>
                      </a:lnTo>
                      <a:lnTo>
                        <a:pt x="1351" y="1133"/>
                      </a:lnTo>
                      <a:lnTo>
                        <a:pt x="1350" y="1133"/>
                      </a:lnTo>
                      <a:lnTo>
                        <a:pt x="1351" y="1134"/>
                      </a:lnTo>
                      <a:lnTo>
                        <a:pt x="1351" y="1135"/>
                      </a:lnTo>
                      <a:lnTo>
                        <a:pt x="1352" y="1135"/>
                      </a:lnTo>
                      <a:lnTo>
                        <a:pt x="1353" y="1135"/>
                      </a:lnTo>
                      <a:lnTo>
                        <a:pt x="1353" y="1136"/>
                      </a:lnTo>
                      <a:lnTo>
                        <a:pt x="1354" y="1136"/>
                      </a:lnTo>
                      <a:lnTo>
                        <a:pt x="1355" y="1136"/>
                      </a:lnTo>
                      <a:lnTo>
                        <a:pt x="1355" y="1137"/>
                      </a:lnTo>
                      <a:lnTo>
                        <a:pt x="1354" y="1138"/>
                      </a:lnTo>
                      <a:lnTo>
                        <a:pt x="1354" y="1140"/>
                      </a:lnTo>
                      <a:lnTo>
                        <a:pt x="1353" y="1141"/>
                      </a:lnTo>
                      <a:lnTo>
                        <a:pt x="1353" y="1142"/>
                      </a:lnTo>
                      <a:lnTo>
                        <a:pt x="1352" y="1141"/>
                      </a:lnTo>
                      <a:lnTo>
                        <a:pt x="1352" y="1142"/>
                      </a:lnTo>
                      <a:lnTo>
                        <a:pt x="1353" y="1142"/>
                      </a:lnTo>
                      <a:lnTo>
                        <a:pt x="1352" y="1142"/>
                      </a:lnTo>
                      <a:lnTo>
                        <a:pt x="1352" y="1143"/>
                      </a:lnTo>
                      <a:lnTo>
                        <a:pt x="1351" y="1145"/>
                      </a:lnTo>
                      <a:lnTo>
                        <a:pt x="1351" y="1146"/>
                      </a:lnTo>
                      <a:lnTo>
                        <a:pt x="1350" y="1147"/>
                      </a:lnTo>
                      <a:lnTo>
                        <a:pt x="1350" y="1148"/>
                      </a:lnTo>
                      <a:lnTo>
                        <a:pt x="1350" y="1149"/>
                      </a:lnTo>
                      <a:lnTo>
                        <a:pt x="1349" y="1149"/>
                      </a:lnTo>
                      <a:lnTo>
                        <a:pt x="1349" y="1150"/>
                      </a:lnTo>
                      <a:lnTo>
                        <a:pt x="1349" y="1151"/>
                      </a:lnTo>
                      <a:lnTo>
                        <a:pt x="1348" y="1151"/>
                      </a:lnTo>
                      <a:lnTo>
                        <a:pt x="1348" y="1153"/>
                      </a:lnTo>
                      <a:lnTo>
                        <a:pt x="1347" y="1154"/>
                      </a:lnTo>
                      <a:lnTo>
                        <a:pt x="1347" y="1155"/>
                      </a:lnTo>
                      <a:lnTo>
                        <a:pt x="1345" y="1156"/>
                      </a:lnTo>
                      <a:lnTo>
                        <a:pt x="1344" y="1157"/>
                      </a:lnTo>
                      <a:lnTo>
                        <a:pt x="1341" y="1160"/>
                      </a:lnTo>
                      <a:lnTo>
                        <a:pt x="1340" y="1161"/>
                      </a:lnTo>
                      <a:lnTo>
                        <a:pt x="1340" y="1162"/>
                      </a:lnTo>
                      <a:lnTo>
                        <a:pt x="1339" y="1162"/>
                      </a:lnTo>
                      <a:lnTo>
                        <a:pt x="1338" y="1162"/>
                      </a:lnTo>
                      <a:lnTo>
                        <a:pt x="1338" y="1163"/>
                      </a:lnTo>
                      <a:lnTo>
                        <a:pt x="1337" y="1163"/>
                      </a:lnTo>
                      <a:lnTo>
                        <a:pt x="1338" y="1163"/>
                      </a:lnTo>
                      <a:lnTo>
                        <a:pt x="1338" y="1164"/>
                      </a:lnTo>
                      <a:lnTo>
                        <a:pt x="1337" y="1163"/>
                      </a:lnTo>
                      <a:lnTo>
                        <a:pt x="1337" y="1164"/>
                      </a:lnTo>
                      <a:lnTo>
                        <a:pt x="1336" y="1164"/>
                      </a:lnTo>
                      <a:lnTo>
                        <a:pt x="1336" y="1166"/>
                      </a:lnTo>
                      <a:lnTo>
                        <a:pt x="1335" y="1166"/>
                      </a:lnTo>
                      <a:lnTo>
                        <a:pt x="1335" y="1167"/>
                      </a:lnTo>
                      <a:lnTo>
                        <a:pt x="1334" y="1168"/>
                      </a:lnTo>
                      <a:lnTo>
                        <a:pt x="1332" y="1169"/>
                      </a:lnTo>
                      <a:lnTo>
                        <a:pt x="1332" y="1170"/>
                      </a:lnTo>
                      <a:lnTo>
                        <a:pt x="1331" y="1170"/>
                      </a:lnTo>
                      <a:lnTo>
                        <a:pt x="1331" y="1171"/>
                      </a:lnTo>
                      <a:lnTo>
                        <a:pt x="1330" y="1172"/>
                      </a:lnTo>
                      <a:lnTo>
                        <a:pt x="1330" y="1173"/>
                      </a:lnTo>
                      <a:lnTo>
                        <a:pt x="1329" y="1173"/>
                      </a:lnTo>
                      <a:lnTo>
                        <a:pt x="1329" y="1174"/>
                      </a:lnTo>
                      <a:lnTo>
                        <a:pt x="1326" y="1181"/>
                      </a:lnTo>
                      <a:lnTo>
                        <a:pt x="1326" y="1182"/>
                      </a:lnTo>
                      <a:lnTo>
                        <a:pt x="1325" y="1182"/>
                      </a:lnTo>
                      <a:lnTo>
                        <a:pt x="1325" y="1183"/>
                      </a:lnTo>
                      <a:lnTo>
                        <a:pt x="1324" y="1183"/>
                      </a:lnTo>
                      <a:lnTo>
                        <a:pt x="1324" y="1184"/>
                      </a:lnTo>
                      <a:lnTo>
                        <a:pt x="1324" y="1185"/>
                      </a:lnTo>
                      <a:lnTo>
                        <a:pt x="1323" y="1184"/>
                      </a:lnTo>
                      <a:lnTo>
                        <a:pt x="1323" y="1185"/>
                      </a:lnTo>
                      <a:lnTo>
                        <a:pt x="1323" y="1186"/>
                      </a:lnTo>
                      <a:lnTo>
                        <a:pt x="1322" y="1186"/>
                      </a:lnTo>
                      <a:lnTo>
                        <a:pt x="1322" y="1187"/>
                      </a:lnTo>
                      <a:lnTo>
                        <a:pt x="1321" y="1187"/>
                      </a:lnTo>
                      <a:lnTo>
                        <a:pt x="1321" y="1188"/>
                      </a:lnTo>
                      <a:lnTo>
                        <a:pt x="1319" y="1188"/>
                      </a:lnTo>
                      <a:lnTo>
                        <a:pt x="1319" y="1189"/>
                      </a:lnTo>
                      <a:lnTo>
                        <a:pt x="1318" y="1191"/>
                      </a:lnTo>
                      <a:lnTo>
                        <a:pt x="1318" y="1192"/>
                      </a:lnTo>
                      <a:lnTo>
                        <a:pt x="1317" y="1192"/>
                      </a:lnTo>
                      <a:lnTo>
                        <a:pt x="1317" y="1193"/>
                      </a:lnTo>
                      <a:lnTo>
                        <a:pt x="1317" y="1192"/>
                      </a:lnTo>
                      <a:lnTo>
                        <a:pt x="1316" y="1192"/>
                      </a:lnTo>
                      <a:lnTo>
                        <a:pt x="1315" y="1191"/>
                      </a:lnTo>
                      <a:lnTo>
                        <a:pt x="1314" y="1191"/>
                      </a:lnTo>
                      <a:lnTo>
                        <a:pt x="1313" y="1191"/>
                      </a:lnTo>
                      <a:lnTo>
                        <a:pt x="1313" y="1189"/>
                      </a:lnTo>
                      <a:lnTo>
                        <a:pt x="1312" y="1189"/>
                      </a:lnTo>
                      <a:lnTo>
                        <a:pt x="1311" y="1188"/>
                      </a:lnTo>
                      <a:lnTo>
                        <a:pt x="1310" y="1187"/>
                      </a:lnTo>
                      <a:lnTo>
                        <a:pt x="1309" y="1186"/>
                      </a:lnTo>
                      <a:lnTo>
                        <a:pt x="1308" y="1185"/>
                      </a:lnTo>
                      <a:lnTo>
                        <a:pt x="1306" y="1185"/>
                      </a:lnTo>
                      <a:lnTo>
                        <a:pt x="1306" y="1184"/>
                      </a:lnTo>
                      <a:lnTo>
                        <a:pt x="1308" y="1184"/>
                      </a:lnTo>
                      <a:lnTo>
                        <a:pt x="1309" y="1184"/>
                      </a:lnTo>
                      <a:lnTo>
                        <a:pt x="1310" y="1184"/>
                      </a:lnTo>
                      <a:lnTo>
                        <a:pt x="1310" y="1183"/>
                      </a:lnTo>
                      <a:lnTo>
                        <a:pt x="1311" y="1183"/>
                      </a:lnTo>
                      <a:lnTo>
                        <a:pt x="1312" y="1183"/>
                      </a:lnTo>
                      <a:lnTo>
                        <a:pt x="1313" y="1183"/>
                      </a:lnTo>
                      <a:lnTo>
                        <a:pt x="1314" y="1182"/>
                      </a:lnTo>
                      <a:lnTo>
                        <a:pt x="1315" y="1182"/>
                      </a:lnTo>
                      <a:lnTo>
                        <a:pt x="1315" y="1181"/>
                      </a:lnTo>
                      <a:lnTo>
                        <a:pt x="1316" y="1180"/>
                      </a:lnTo>
                      <a:lnTo>
                        <a:pt x="1317" y="1180"/>
                      </a:lnTo>
                      <a:lnTo>
                        <a:pt x="1317" y="1181"/>
                      </a:lnTo>
                      <a:lnTo>
                        <a:pt x="1317" y="1182"/>
                      </a:lnTo>
                      <a:lnTo>
                        <a:pt x="1316" y="1182"/>
                      </a:lnTo>
                      <a:lnTo>
                        <a:pt x="1317" y="1183"/>
                      </a:lnTo>
                      <a:lnTo>
                        <a:pt x="1318" y="1183"/>
                      </a:lnTo>
                      <a:lnTo>
                        <a:pt x="1318" y="1182"/>
                      </a:lnTo>
                      <a:lnTo>
                        <a:pt x="1318" y="1181"/>
                      </a:lnTo>
                      <a:lnTo>
                        <a:pt x="1318" y="1180"/>
                      </a:lnTo>
                      <a:lnTo>
                        <a:pt x="1317" y="1180"/>
                      </a:lnTo>
                      <a:lnTo>
                        <a:pt x="1317" y="1179"/>
                      </a:lnTo>
                      <a:lnTo>
                        <a:pt x="1316" y="1178"/>
                      </a:lnTo>
                      <a:lnTo>
                        <a:pt x="1315" y="1178"/>
                      </a:lnTo>
                      <a:lnTo>
                        <a:pt x="1315" y="1176"/>
                      </a:lnTo>
                      <a:lnTo>
                        <a:pt x="1316" y="1176"/>
                      </a:lnTo>
                      <a:lnTo>
                        <a:pt x="1316" y="1175"/>
                      </a:lnTo>
                      <a:lnTo>
                        <a:pt x="1317" y="1175"/>
                      </a:lnTo>
                      <a:lnTo>
                        <a:pt x="1317" y="1174"/>
                      </a:lnTo>
                      <a:lnTo>
                        <a:pt x="1318" y="1175"/>
                      </a:lnTo>
                      <a:lnTo>
                        <a:pt x="1318" y="1176"/>
                      </a:lnTo>
                      <a:lnTo>
                        <a:pt x="1319" y="1176"/>
                      </a:lnTo>
                      <a:lnTo>
                        <a:pt x="1319" y="1178"/>
                      </a:lnTo>
                      <a:lnTo>
                        <a:pt x="1321" y="1178"/>
                      </a:lnTo>
                      <a:lnTo>
                        <a:pt x="1322" y="1179"/>
                      </a:lnTo>
                      <a:lnTo>
                        <a:pt x="1322" y="1178"/>
                      </a:lnTo>
                      <a:lnTo>
                        <a:pt x="1323" y="1178"/>
                      </a:lnTo>
                      <a:lnTo>
                        <a:pt x="1324" y="1178"/>
                      </a:lnTo>
                      <a:lnTo>
                        <a:pt x="1324" y="1176"/>
                      </a:lnTo>
                      <a:lnTo>
                        <a:pt x="1323" y="1176"/>
                      </a:lnTo>
                      <a:lnTo>
                        <a:pt x="1324" y="1175"/>
                      </a:lnTo>
                      <a:lnTo>
                        <a:pt x="1324" y="1176"/>
                      </a:lnTo>
                      <a:lnTo>
                        <a:pt x="1325" y="1176"/>
                      </a:lnTo>
                      <a:lnTo>
                        <a:pt x="1325" y="1175"/>
                      </a:lnTo>
                      <a:lnTo>
                        <a:pt x="1325" y="1174"/>
                      </a:lnTo>
                      <a:lnTo>
                        <a:pt x="1326" y="1174"/>
                      </a:lnTo>
                      <a:lnTo>
                        <a:pt x="1327" y="1174"/>
                      </a:lnTo>
                      <a:lnTo>
                        <a:pt x="1327" y="1173"/>
                      </a:lnTo>
                      <a:lnTo>
                        <a:pt x="1328" y="1173"/>
                      </a:lnTo>
                      <a:lnTo>
                        <a:pt x="1328" y="1172"/>
                      </a:lnTo>
                      <a:lnTo>
                        <a:pt x="1329" y="1172"/>
                      </a:lnTo>
                      <a:lnTo>
                        <a:pt x="1329" y="1171"/>
                      </a:lnTo>
                      <a:lnTo>
                        <a:pt x="1329" y="1170"/>
                      </a:lnTo>
                      <a:lnTo>
                        <a:pt x="1330" y="1170"/>
                      </a:lnTo>
                      <a:lnTo>
                        <a:pt x="1330" y="1169"/>
                      </a:lnTo>
                      <a:lnTo>
                        <a:pt x="1331" y="1168"/>
                      </a:lnTo>
                      <a:lnTo>
                        <a:pt x="1331" y="1167"/>
                      </a:lnTo>
                      <a:lnTo>
                        <a:pt x="1332" y="1167"/>
                      </a:lnTo>
                      <a:lnTo>
                        <a:pt x="1332" y="1166"/>
                      </a:lnTo>
                      <a:lnTo>
                        <a:pt x="1334" y="1166"/>
                      </a:lnTo>
                      <a:lnTo>
                        <a:pt x="1335" y="1166"/>
                      </a:lnTo>
                      <a:lnTo>
                        <a:pt x="1335" y="1164"/>
                      </a:lnTo>
                      <a:lnTo>
                        <a:pt x="1335" y="1163"/>
                      </a:lnTo>
                      <a:lnTo>
                        <a:pt x="1334" y="1163"/>
                      </a:lnTo>
                      <a:lnTo>
                        <a:pt x="1334" y="1162"/>
                      </a:lnTo>
                      <a:lnTo>
                        <a:pt x="1332" y="1161"/>
                      </a:lnTo>
                      <a:lnTo>
                        <a:pt x="1332" y="1160"/>
                      </a:lnTo>
                      <a:lnTo>
                        <a:pt x="1332" y="1159"/>
                      </a:lnTo>
                      <a:lnTo>
                        <a:pt x="1332" y="1158"/>
                      </a:lnTo>
                      <a:lnTo>
                        <a:pt x="1332" y="1157"/>
                      </a:lnTo>
                      <a:lnTo>
                        <a:pt x="1331" y="1157"/>
                      </a:lnTo>
                      <a:lnTo>
                        <a:pt x="1331" y="1156"/>
                      </a:lnTo>
                      <a:lnTo>
                        <a:pt x="1330" y="1156"/>
                      </a:lnTo>
                      <a:lnTo>
                        <a:pt x="1330" y="1155"/>
                      </a:lnTo>
                      <a:lnTo>
                        <a:pt x="1331" y="1154"/>
                      </a:lnTo>
                      <a:lnTo>
                        <a:pt x="1331" y="1153"/>
                      </a:lnTo>
                      <a:lnTo>
                        <a:pt x="1334" y="1153"/>
                      </a:lnTo>
                      <a:lnTo>
                        <a:pt x="1336" y="1153"/>
                      </a:lnTo>
                      <a:lnTo>
                        <a:pt x="1336" y="1154"/>
                      </a:lnTo>
                      <a:lnTo>
                        <a:pt x="1337" y="1154"/>
                      </a:lnTo>
                      <a:lnTo>
                        <a:pt x="1338" y="1153"/>
                      </a:lnTo>
                      <a:lnTo>
                        <a:pt x="1339" y="1153"/>
                      </a:lnTo>
                      <a:lnTo>
                        <a:pt x="1340" y="1153"/>
                      </a:lnTo>
                      <a:lnTo>
                        <a:pt x="1340" y="1151"/>
                      </a:lnTo>
                      <a:lnTo>
                        <a:pt x="1339" y="1151"/>
                      </a:lnTo>
                      <a:lnTo>
                        <a:pt x="1338" y="1151"/>
                      </a:lnTo>
                      <a:lnTo>
                        <a:pt x="1338" y="1150"/>
                      </a:lnTo>
                      <a:lnTo>
                        <a:pt x="1339" y="1150"/>
                      </a:lnTo>
                      <a:lnTo>
                        <a:pt x="1339" y="1151"/>
                      </a:lnTo>
                      <a:lnTo>
                        <a:pt x="1340" y="1151"/>
                      </a:lnTo>
                      <a:lnTo>
                        <a:pt x="1341" y="1151"/>
                      </a:lnTo>
                      <a:lnTo>
                        <a:pt x="1342" y="1151"/>
                      </a:lnTo>
                      <a:lnTo>
                        <a:pt x="1342" y="1150"/>
                      </a:lnTo>
                      <a:lnTo>
                        <a:pt x="1341" y="1150"/>
                      </a:lnTo>
                      <a:lnTo>
                        <a:pt x="1342" y="1149"/>
                      </a:lnTo>
                      <a:lnTo>
                        <a:pt x="1341" y="1148"/>
                      </a:lnTo>
                      <a:lnTo>
                        <a:pt x="1341" y="1146"/>
                      </a:lnTo>
                      <a:lnTo>
                        <a:pt x="1340" y="1146"/>
                      </a:lnTo>
                      <a:lnTo>
                        <a:pt x="1340" y="1145"/>
                      </a:lnTo>
                      <a:lnTo>
                        <a:pt x="1341" y="1145"/>
                      </a:lnTo>
                      <a:lnTo>
                        <a:pt x="1341" y="1144"/>
                      </a:lnTo>
                      <a:lnTo>
                        <a:pt x="1342" y="1144"/>
                      </a:lnTo>
                      <a:lnTo>
                        <a:pt x="1342" y="1143"/>
                      </a:lnTo>
                      <a:lnTo>
                        <a:pt x="1341" y="1143"/>
                      </a:lnTo>
                      <a:lnTo>
                        <a:pt x="1341" y="1142"/>
                      </a:lnTo>
                      <a:lnTo>
                        <a:pt x="1340" y="1142"/>
                      </a:lnTo>
                      <a:lnTo>
                        <a:pt x="1340" y="1141"/>
                      </a:lnTo>
                      <a:lnTo>
                        <a:pt x="1340" y="1140"/>
                      </a:lnTo>
                      <a:lnTo>
                        <a:pt x="1339" y="1140"/>
                      </a:lnTo>
                      <a:lnTo>
                        <a:pt x="1338" y="1138"/>
                      </a:lnTo>
                      <a:lnTo>
                        <a:pt x="1337" y="1138"/>
                      </a:lnTo>
                      <a:lnTo>
                        <a:pt x="1337" y="1137"/>
                      </a:lnTo>
                      <a:lnTo>
                        <a:pt x="1338" y="1137"/>
                      </a:lnTo>
                      <a:lnTo>
                        <a:pt x="1338" y="1136"/>
                      </a:lnTo>
                      <a:lnTo>
                        <a:pt x="1337" y="1136"/>
                      </a:lnTo>
                      <a:lnTo>
                        <a:pt x="1337" y="1135"/>
                      </a:lnTo>
                      <a:lnTo>
                        <a:pt x="1337" y="1134"/>
                      </a:lnTo>
                      <a:lnTo>
                        <a:pt x="1337" y="1133"/>
                      </a:lnTo>
                      <a:lnTo>
                        <a:pt x="1336" y="1133"/>
                      </a:lnTo>
                      <a:lnTo>
                        <a:pt x="1336" y="1132"/>
                      </a:lnTo>
                      <a:lnTo>
                        <a:pt x="1335" y="1132"/>
                      </a:lnTo>
                      <a:lnTo>
                        <a:pt x="1335" y="1131"/>
                      </a:lnTo>
                      <a:lnTo>
                        <a:pt x="1334" y="1131"/>
                      </a:lnTo>
                      <a:lnTo>
                        <a:pt x="1335" y="1131"/>
                      </a:lnTo>
                      <a:lnTo>
                        <a:pt x="1336" y="1131"/>
                      </a:lnTo>
                      <a:lnTo>
                        <a:pt x="1337" y="1131"/>
                      </a:lnTo>
                      <a:lnTo>
                        <a:pt x="1338" y="1131"/>
                      </a:lnTo>
                      <a:lnTo>
                        <a:pt x="1339" y="1131"/>
                      </a:lnTo>
                      <a:lnTo>
                        <a:pt x="1340" y="1131"/>
                      </a:lnTo>
                      <a:lnTo>
                        <a:pt x="1341" y="1131"/>
                      </a:lnTo>
                      <a:lnTo>
                        <a:pt x="1342" y="1131"/>
                      </a:lnTo>
                      <a:lnTo>
                        <a:pt x="1342" y="1132"/>
                      </a:lnTo>
                      <a:lnTo>
                        <a:pt x="1343" y="1131"/>
                      </a:lnTo>
                      <a:lnTo>
                        <a:pt x="1343" y="1130"/>
                      </a:lnTo>
                      <a:lnTo>
                        <a:pt x="1342" y="1130"/>
                      </a:lnTo>
                      <a:lnTo>
                        <a:pt x="1343" y="1130"/>
                      </a:lnTo>
                      <a:lnTo>
                        <a:pt x="1344" y="1130"/>
                      </a:lnTo>
                      <a:lnTo>
                        <a:pt x="1344" y="1129"/>
                      </a:lnTo>
                      <a:lnTo>
                        <a:pt x="1343" y="1129"/>
                      </a:lnTo>
                      <a:lnTo>
                        <a:pt x="1343" y="1128"/>
                      </a:lnTo>
                      <a:lnTo>
                        <a:pt x="1344" y="1128"/>
                      </a:lnTo>
                      <a:lnTo>
                        <a:pt x="1344" y="1127"/>
                      </a:lnTo>
                      <a:lnTo>
                        <a:pt x="1343" y="1127"/>
                      </a:lnTo>
                      <a:lnTo>
                        <a:pt x="1342" y="1127"/>
                      </a:lnTo>
                      <a:lnTo>
                        <a:pt x="1341" y="1125"/>
                      </a:lnTo>
                      <a:lnTo>
                        <a:pt x="1342" y="1127"/>
                      </a:lnTo>
                      <a:lnTo>
                        <a:pt x="1342" y="1125"/>
                      </a:lnTo>
                      <a:lnTo>
                        <a:pt x="1341" y="1125"/>
                      </a:lnTo>
                      <a:lnTo>
                        <a:pt x="1340" y="1125"/>
                      </a:lnTo>
                      <a:lnTo>
                        <a:pt x="1340" y="1124"/>
                      </a:lnTo>
                      <a:lnTo>
                        <a:pt x="1341" y="1124"/>
                      </a:lnTo>
                      <a:lnTo>
                        <a:pt x="1342" y="1124"/>
                      </a:lnTo>
                      <a:lnTo>
                        <a:pt x="1341" y="1124"/>
                      </a:lnTo>
                      <a:lnTo>
                        <a:pt x="1341" y="1123"/>
                      </a:lnTo>
                      <a:lnTo>
                        <a:pt x="1341" y="1122"/>
                      </a:lnTo>
                      <a:lnTo>
                        <a:pt x="1342" y="1122"/>
                      </a:lnTo>
                      <a:lnTo>
                        <a:pt x="1343" y="1122"/>
                      </a:lnTo>
                      <a:lnTo>
                        <a:pt x="1344" y="1122"/>
                      </a:lnTo>
                      <a:lnTo>
                        <a:pt x="1345" y="1122"/>
                      </a:lnTo>
                      <a:lnTo>
                        <a:pt x="1347" y="1122"/>
                      </a:lnTo>
                      <a:lnTo>
                        <a:pt x="1347" y="1123"/>
                      </a:lnTo>
                      <a:lnTo>
                        <a:pt x="1347" y="1124"/>
                      </a:lnTo>
                      <a:lnTo>
                        <a:pt x="1345" y="1124"/>
                      </a:lnTo>
                      <a:lnTo>
                        <a:pt x="1345" y="1125"/>
                      </a:lnTo>
                      <a:lnTo>
                        <a:pt x="1345" y="1127"/>
                      </a:lnTo>
                      <a:lnTo>
                        <a:pt x="1347" y="1127"/>
                      </a:lnTo>
                      <a:lnTo>
                        <a:pt x="1348" y="1127"/>
                      </a:lnTo>
                      <a:lnTo>
                        <a:pt x="1349" y="1127"/>
                      </a:lnTo>
                      <a:lnTo>
                        <a:pt x="1349" y="1128"/>
                      </a:lnTo>
                      <a:lnTo>
                        <a:pt x="1348" y="1128"/>
                      </a:lnTo>
                      <a:lnTo>
                        <a:pt x="1348" y="1129"/>
                      </a:lnTo>
                      <a:lnTo>
                        <a:pt x="1349" y="1129"/>
                      </a:lnTo>
                      <a:lnTo>
                        <a:pt x="1350" y="1129"/>
                      </a:lnTo>
                      <a:lnTo>
                        <a:pt x="1350" y="1130"/>
                      </a:lnTo>
                      <a:lnTo>
                        <a:pt x="1351" y="1130"/>
                      </a:lnTo>
                      <a:lnTo>
                        <a:pt x="1351" y="1129"/>
                      </a:lnTo>
                      <a:lnTo>
                        <a:pt x="1350" y="1129"/>
                      </a:lnTo>
                      <a:lnTo>
                        <a:pt x="1350" y="1128"/>
                      </a:lnTo>
                      <a:lnTo>
                        <a:pt x="1350" y="1127"/>
                      </a:lnTo>
                      <a:lnTo>
                        <a:pt x="1350" y="1128"/>
                      </a:lnTo>
                      <a:lnTo>
                        <a:pt x="1351" y="1128"/>
                      </a:lnTo>
                      <a:lnTo>
                        <a:pt x="1351" y="1127"/>
                      </a:lnTo>
                      <a:lnTo>
                        <a:pt x="1351" y="1125"/>
                      </a:lnTo>
                      <a:lnTo>
                        <a:pt x="1350" y="1124"/>
                      </a:lnTo>
                      <a:lnTo>
                        <a:pt x="1350" y="1123"/>
                      </a:lnTo>
                      <a:lnTo>
                        <a:pt x="1351" y="1124"/>
                      </a:lnTo>
                      <a:lnTo>
                        <a:pt x="1351" y="1125"/>
                      </a:lnTo>
                      <a:lnTo>
                        <a:pt x="1352" y="1125"/>
                      </a:lnTo>
                      <a:lnTo>
                        <a:pt x="1352" y="1124"/>
                      </a:lnTo>
                      <a:lnTo>
                        <a:pt x="1353" y="1124"/>
                      </a:lnTo>
                      <a:lnTo>
                        <a:pt x="1354" y="1125"/>
                      </a:lnTo>
                      <a:lnTo>
                        <a:pt x="1355" y="1125"/>
                      </a:lnTo>
                      <a:lnTo>
                        <a:pt x="1355" y="1124"/>
                      </a:lnTo>
                      <a:lnTo>
                        <a:pt x="1354" y="1123"/>
                      </a:lnTo>
                      <a:lnTo>
                        <a:pt x="1355" y="1123"/>
                      </a:lnTo>
                      <a:lnTo>
                        <a:pt x="1356" y="1123"/>
                      </a:lnTo>
                      <a:lnTo>
                        <a:pt x="1355" y="1123"/>
                      </a:lnTo>
                      <a:lnTo>
                        <a:pt x="1354" y="1122"/>
                      </a:lnTo>
                      <a:lnTo>
                        <a:pt x="1355" y="1122"/>
                      </a:lnTo>
                      <a:lnTo>
                        <a:pt x="1356" y="1122"/>
                      </a:lnTo>
                      <a:lnTo>
                        <a:pt x="1357" y="1122"/>
                      </a:lnTo>
                      <a:lnTo>
                        <a:pt x="1356" y="1121"/>
                      </a:lnTo>
                      <a:lnTo>
                        <a:pt x="1355" y="1121"/>
                      </a:lnTo>
                      <a:lnTo>
                        <a:pt x="1354" y="1121"/>
                      </a:lnTo>
                      <a:lnTo>
                        <a:pt x="1354" y="1120"/>
                      </a:lnTo>
                      <a:lnTo>
                        <a:pt x="1354" y="1121"/>
                      </a:lnTo>
                      <a:lnTo>
                        <a:pt x="1353" y="1121"/>
                      </a:lnTo>
                      <a:lnTo>
                        <a:pt x="1352" y="1120"/>
                      </a:lnTo>
                      <a:lnTo>
                        <a:pt x="1351" y="1120"/>
                      </a:lnTo>
                      <a:lnTo>
                        <a:pt x="1351" y="1119"/>
                      </a:lnTo>
                      <a:lnTo>
                        <a:pt x="1351" y="1118"/>
                      </a:lnTo>
                      <a:lnTo>
                        <a:pt x="1352" y="1118"/>
                      </a:lnTo>
                      <a:lnTo>
                        <a:pt x="1353" y="1118"/>
                      </a:lnTo>
                      <a:lnTo>
                        <a:pt x="1353" y="1117"/>
                      </a:lnTo>
                      <a:lnTo>
                        <a:pt x="1354" y="1117"/>
                      </a:lnTo>
                      <a:lnTo>
                        <a:pt x="1354" y="1116"/>
                      </a:lnTo>
                      <a:lnTo>
                        <a:pt x="1354" y="1115"/>
                      </a:lnTo>
                      <a:lnTo>
                        <a:pt x="1353" y="1115"/>
                      </a:lnTo>
                      <a:lnTo>
                        <a:pt x="1353" y="1114"/>
                      </a:lnTo>
                      <a:lnTo>
                        <a:pt x="1353" y="1112"/>
                      </a:lnTo>
                      <a:lnTo>
                        <a:pt x="1353" y="1111"/>
                      </a:lnTo>
                      <a:lnTo>
                        <a:pt x="1353" y="1110"/>
                      </a:lnTo>
                      <a:lnTo>
                        <a:pt x="1352" y="1110"/>
                      </a:lnTo>
                      <a:lnTo>
                        <a:pt x="1352" y="1109"/>
                      </a:lnTo>
                      <a:lnTo>
                        <a:pt x="1353" y="1109"/>
                      </a:lnTo>
                      <a:lnTo>
                        <a:pt x="1353" y="1108"/>
                      </a:lnTo>
                      <a:lnTo>
                        <a:pt x="1354" y="1107"/>
                      </a:lnTo>
                      <a:lnTo>
                        <a:pt x="1353" y="1107"/>
                      </a:lnTo>
                      <a:lnTo>
                        <a:pt x="1353" y="1106"/>
                      </a:lnTo>
                      <a:lnTo>
                        <a:pt x="1352" y="1106"/>
                      </a:lnTo>
                      <a:lnTo>
                        <a:pt x="1352" y="1105"/>
                      </a:lnTo>
                      <a:lnTo>
                        <a:pt x="1351" y="1105"/>
                      </a:lnTo>
                      <a:lnTo>
                        <a:pt x="1351" y="1104"/>
                      </a:lnTo>
                      <a:lnTo>
                        <a:pt x="1351" y="1103"/>
                      </a:lnTo>
                      <a:lnTo>
                        <a:pt x="1351" y="1102"/>
                      </a:lnTo>
                      <a:lnTo>
                        <a:pt x="1351" y="1101"/>
                      </a:lnTo>
                      <a:lnTo>
                        <a:pt x="1351" y="1099"/>
                      </a:lnTo>
                      <a:lnTo>
                        <a:pt x="1352" y="1099"/>
                      </a:lnTo>
                      <a:lnTo>
                        <a:pt x="1353" y="1099"/>
                      </a:lnTo>
                      <a:lnTo>
                        <a:pt x="1353" y="1098"/>
                      </a:lnTo>
                      <a:lnTo>
                        <a:pt x="1354" y="1098"/>
                      </a:lnTo>
                      <a:lnTo>
                        <a:pt x="1355" y="1097"/>
                      </a:lnTo>
                      <a:lnTo>
                        <a:pt x="1356" y="1098"/>
                      </a:lnTo>
                      <a:lnTo>
                        <a:pt x="1356" y="1097"/>
                      </a:lnTo>
                      <a:lnTo>
                        <a:pt x="1356" y="1096"/>
                      </a:lnTo>
                      <a:lnTo>
                        <a:pt x="1355" y="1096"/>
                      </a:lnTo>
                      <a:lnTo>
                        <a:pt x="1355" y="1095"/>
                      </a:lnTo>
                      <a:lnTo>
                        <a:pt x="1356" y="1095"/>
                      </a:lnTo>
                      <a:lnTo>
                        <a:pt x="1356" y="1094"/>
                      </a:lnTo>
                      <a:lnTo>
                        <a:pt x="1355" y="1094"/>
                      </a:lnTo>
                      <a:lnTo>
                        <a:pt x="1356" y="1094"/>
                      </a:lnTo>
                      <a:lnTo>
                        <a:pt x="1355" y="1093"/>
                      </a:lnTo>
                      <a:lnTo>
                        <a:pt x="1354" y="1093"/>
                      </a:lnTo>
                      <a:lnTo>
                        <a:pt x="1353" y="1093"/>
                      </a:lnTo>
                      <a:lnTo>
                        <a:pt x="1352" y="1092"/>
                      </a:lnTo>
                      <a:lnTo>
                        <a:pt x="1352" y="1093"/>
                      </a:lnTo>
                      <a:lnTo>
                        <a:pt x="1353" y="1093"/>
                      </a:lnTo>
                      <a:lnTo>
                        <a:pt x="1352" y="1093"/>
                      </a:lnTo>
                      <a:lnTo>
                        <a:pt x="1352" y="1092"/>
                      </a:lnTo>
                      <a:lnTo>
                        <a:pt x="1352" y="1091"/>
                      </a:lnTo>
                      <a:lnTo>
                        <a:pt x="1353" y="1091"/>
                      </a:lnTo>
                      <a:lnTo>
                        <a:pt x="1353" y="1090"/>
                      </a:lnTo>
                      <a:lnTo>
                        <a:pt x="1353" y="1089"/>
                      </a:lnTo>
                      <a:lnTo>
                        <a:pt x="1352" y="1089"/>
                      </a:lnTo>
                      <a:lnTo>
                        <a:pt x="1353" y="1089"/>
                      </a:lnTo>
                      <a:lnTo>
                        <a:pt x="1353" y="1088"/>
                      </a:lnTo>
                      <a:lnTo>
                        <a:pt x="1352" y="1088"/>
                      </a:lnTo>
                      <a:lnTo>
                        <a:pt x="1352" y="1086"/>
                      </a:lnTo>
                      <a:lnTo>
                        <a:pt x="1351" y="1086"/>
                      </a:lnTo>
                      <a:lnTo>
                        <a:pt x="1350" y="1086"/>
                      </a:lnTo>
                      <a:lnTo>
                        <a:pt x="1350" y="1085"/>
                      </a:lnTo>
                      <a:lnTo>
                        <a:pt x="1351" y="1085"/>
                      </a:lnTo>
                      <a:lnTo>
                        <a:pt x="1351" y="1084"/>
                      </a:lnTo>
                      <a:lnTo>
                        <a:pt x="1351" y="1083"/>
                      </a:lnTo>
                      <a:lnTo>
                        <a:pt x="1352" y="1083"/>
                      </a:lnTo>
                      <a:lnTo>
                        <a:pt x="1353" y="1083"/>
                      </a:lnTo>
                      <a:lnTo>
                        <a:pt x="1353" y="1084"/>
                      </a:lnTo>
                      <a:close/>
                      <a:moveTo>
                        <a:pt x="1394" y="1125"/>
                      </a:moveTo>
                      <a:lnTo>
                        <a:pt x="1395" y="1125"/>
                      </a:lnTo>
                      <a:lnTo>
                        <a:pt x="1395" y="1127"/>
                      </a:lnTo>
                      <a:lnTo>
                        <a:pt x="1395" y="1128"/>
                      </a:lnTo>
                      <a:lnTo>
                        <a:pt x="1396" y="1129"/>
                      </a:lnTo>
                      <a:lnTo>
                        <a:pt x="1396" y="1130"/>
                      </a:lnTo>
                      <a:lnTo>
                        <a:pt x="1395" y="1130"/>
                      </a:lnTo>
                      <a:lnTo>
                        <a:pt x="1396" y="1131"/>
                      </a:lnTo>
                      <a:lnTo>
                        <a:pt x="1397" y="1131"/>
                      </a:lnTo>
                      <a:lnTo>
                        <a:pt x="1397" y="1132"/>
                      </a:lnTo>
                      <a:lnTo>
                        <a:pt x="1399" y="1132"/>
                      </a:lnTo>
                      <a:lnTo>
                        <a:pt x="1400" y="1132"/>
                      </a:lnTo>
                      <a:lnTo>
                        <a:pt x="1400" y="1133"/>
                      </a:lnTo>
                      <a:lnTo>
                        <a:pt x="1400" y="1132"/>
                      </a:lnTo>
                      <a:lnTo>
                        <a:pt x="1400" y="1133"/>
                      </a:lnTo>
                      <a:lnTo>
                        <a:pt x="1401" y="1133"/>
                      </a:lnTo>
                      <a:lnTo>
                        <a:pt x="1403" y="1134"/>
                      </a:lnTo>
                      <a:lnTo>
                        <a:pt x="1404" y="1135"/>
                      </a:lnTo>
                      <a:lnTo>
                        <a:pt x="1405" y="1135"/>
                      </a:lnTo>
                      <a:lnTo>
                        <a:pt x="1405" y="1136"/>
                      </a:lnTo>
                      <a:lnTo>
                        <a:pt x="1404" y="1136"/>
                      </a:lnTo>
                      <a:lnTo>
                        <a:pt x="1403" y="1136"/>
                      </a:lnTo>
                      <a:lnTo>
                        <a:pt x="1402" y="1136"/>
                      </a:lnTo>
                      <a:lnTo>
                        <a:pt x="1402" y="1137"/>
                      </a:lnTo>
                      <a:lnTo>
                        <a:pt x="1403" y="1136"/>
                      </a:lnTo>
                      <a:lnTo>
                        <a:pt x="1403" y="1137"/>
                      </a:lnTo>
                      <a:lnTo>
                        <a:pt x="1404" y="1137"/>
                      </a:lnTo>
                      <a:lnTo>
                        <a:pt x="1404" y="1138"/>
                      </a:lnTo>
                      <a:lnTo>
                        <a:pt x="1404" y="1140"/>
                      </a:lnTo>
                      <a:lnTo>
                        <a:pt x="1404" y="1141"/>
                      </a:lnTo>
                      <a:lnTo>
                        <a:pt x="1404" y="1142"/>
                      </a:lnTo>
                      <a:lnTo>
                        <a:pt x="1404" y="1143"/>
                      </a:lnTo>
                      <a:lnTo>
                        <a:pt x="1405" y="1144"/>
                      </a:lnTo>
                      <a:lnTo>
                        <a:pt x="1405" y="1143"/>
                      </a:lnTo>
                      <a:lnTo>
                        <a:pt x="1404" y="1143"/>
                      </a:lnTo>
                      <a:lnTo>
                        <a:pt x="1404" y="1142"/>
                      </a:lnTo>
                      <a:lnTo>
                        <a:pt x="1404" y="1141"/>
                      </a:lnTo>
                      <a:lnTo>
                        <a:pt x="1404" y="1140"/>
                      </a:lnTo>
                      <a:lnTo>
                        <a:pt x="1404" y="1138"/>
                      </a:lnTo>
                      <a:lnTo>
                        <a:pt x="1404" y="1137"/>
                      </a:lnTo>
                      <a:lnTo>
                        <a:pt x="1404" y="1136"/>
                      </a:lnTo>
                      <a:lnTo>
                        <a:pt x="1405" y="1136"/>
                      </a:lnTo>
                      <a:lnTo>
                        <a:pt x="1406" y="1136"/>
                      </a:lnTo>
                      <a:lnTo>
                        <a:pt x="1407" y="1137"/>
                      </a:lnTo>
                      <a:lnTo>
                        <a:pt x="1408" y="1138"/>
                      </a:lnTo>
                      <a:lnTo>
                        <a:pt x="1408" y="1140"/>
                      </a:lnTo>
                      <a:lnTo>
                        <a:pt x="1409" y="1140"/>
                      </a:lnTo>
                      <a:lnTo>
                        <a:pt x="1409" y="1141"/>
                      </a:lnTo>
                      <a:lnTo>
                        <a:pt x="1409" y="1142"/>
                      </a:lnTo>
                      <a:lnTo>
                        <a:pt x="1410" y="1142"/>
                      </a:lnTo>
                      <a:lnTo>
                        <a:pt x="1409" y="1141"/>
                      </a:lnTo>
                      <a:lnTo>
                        <a:pt x="1410" y="1142"/>
                      </a:lnTo>
                      <a:lnTo>
                        <a:pt x="1409" y="1142"/>
                      </a:lnTo>
                      <a:lnTo>
                        <a:pt x="1409" y="1141"/>
                      </a:lnTo>
                      <a:lnTo>
                        <a:pt x="1408" y="1140"/>
                      </a:lnTo>
                      <a:lnTo>
                        <a:pt x="1407" y="1138"/>
                      </a:lnTo>
                      <a:lnTo>
                        <a:pt x="1406" y="1137"/>
                      </a:lnTo>
                      <a:lnTo>
                        <a:pt x="1406" y="1136"/>
                      </a:lnTo>
                      <a:lnTo>
                        <a:pt x="1406" y="1137"/>
                      </a:lnTo>
                      <a:lnTo>
                        <a:pt x="1407" y="1140"/>
                      </a:lnTo>
                      <a:lnTo>
                        <a:pt x="1408" y="1140"/>
                      </a:lnTo>
                      <a:lnTo>
                        <a:pt x="1408" y="1141"/>
                      </a:lnTo>
                      <a:lnTo>
                        <a:pt x="1409" y="1142"/>
                      </a:lnTo>
                      <a:lnTo>
                        <a:pt x="1410" y="1142"/>
                      </a:lnTo>
                      <a:lnTo>
                        <a:pt x="1412" y="1143"/>
                      </a:lnTo>
                      <a:lnTo>
                        <a:pt x="1413" y="1143"/>
                      </a:lnTo>
                      <a:lnTo>
                        <a:pt x="1414" y="1144"/>
                      </a:lnTo>
                      <a:lnTo>
                        <a:pt x="1415" y="1144"/>
                      </a:lnTo>
                      <a:lnTo>
                        <a:pt x="1416" y="1144"/>
                      </a:lnTo>
                      <a:lnTo>
                        <a:pt x="1415" y="1144"/>
                      </a:lnTo>
                      <a:lnTo>
                        <a:pt x="1415" y="1145"/>
                      </a:lnTo>
                      <a:lnTo>
                        <a:pt x="1414" y="1145"/>
                      </a:lnTo>
                      <a:lnTo>
                        <a:pt x="1413" y="1145"/>
                      </a:lnTo>
                      <a:lnTo>
                        <a:pt x="1412" y="1145"/>
                      </a:lnTo>
                      <a:lnTo>
                        <a:pt x="1412" y="1144"/>
                      </a:lnTo>
                      <a:lnTo>
                        <a:pt x="1410" y="1144"/>
                      </a:lnTo>
                      <a:lnTo>
                        <a:pt x="1409" y="1144"/>
                      </a:lnTo>
                      <a:lnTo>
                        <a:pt x="1409" y="1145"/>
                      </a:lnTo>
                      <a:lnTo>
                        <a:pt x="1410" y="1144"/>
                      </a:lnTo>
                      <a:lnTo>
                        <a:pt x="1410" y="1145"/>
                      </a:lnTo>
                      <a:lnTo>
                        <a:pt x="1412" y="1145"/>
                      </a:lnTo>
                      <a:lnTo>
                        <a:pt x="1413" y="1145"/>
                      </a:lnTo>
                      <a:lnTo>
                        <a:pt x="1414" y="1145"/>
                      </a:lnTo>
                      <a:lnTo>
                        <a:pt x="1415" y="1145"/>
                      </a:lnTo>
                      <a:lnTo>
                        <a:pt x="1416" y="1145"/>
                      </a:lnTo>
                      <a:lnTo>
                        <a:pt x="1417" y="1146"/>
                      </a:lnTo>
                      <a:lnTo>
                        <a:pt x="1417" y="1147"/>
                      </a:lnTo>
                      <a:lnTo>
                        <a:pt x="1418" y="1147"/>
                      </a:lnTo>
                      <a:lnTo>
                        <a:pt x="1419" y="1147"/>
                      </a:lnTo>
                      <a:lnTo>
                        <a:pt x="1420" y="1149"/>
                      </a:lnTo>
                      <a:lnTo>
                        <a:pt x="1421" y="1149"/>
                      </a:lnTo>
                      <a:lnTo>
                        <a:pt x="1424" y="1151"/>
                      </a:lnTo>
                      <a:lnTo>
                        <a:pt x="1425" y="1151"/>
                      </a:lnTo>
                      <a:lnTo>
                        <a:pt x="1426" y="1151"/>
                      </a:lnTo>
                      <a:lnTo>
                        <a:pt x="1427" y="1151"/>
                      </a:lnTo>
                      <a:lnTo>
                        <a:pt x="1427" y="1153"/>
                      </a:lnTo>
                      <a:lnTo>
                        <a:pt x="1427" y="1151"/>
                      </a:lnTo>
                      <a:lnTo>
                        <a:pt x="1426" y="1151"/>
                      </a:lnTo>
                      <a:lnTo>
                        <a:pt x="1426" y="1153"/>
                      </a:lnTo>
                      <a:lnTo>
                        <a:pt x="1427" y="1153"/>
                      </a:lnTo>
                      <a:lnTo>
                        <a:pt x="1427" y="1151"/>
                      </a:lnTo>
                      <a:lnTo>
                        <a:pt x="1428" y="1151"/>
                      </a:lnTo>
                      <a:lnTo>
                        <a:pt x="1428" y="1153"/>
                      </a:lnTo>
                      <a:lnTo>
                        <a:pt x="1429" y="1153"/>
                      </a:lnTo>
                      <a:lnTo>
                        <a:pt x="1430" y="1153"/>
                      </a:lnTo>
                      <a:lnTo>
                        <a:pt x="1431" y="1154"/>
                      </a:lnTo>
                      <a:lnTo>
                        <a:pt x="1432" y="1154"/>
                      </a:lnTo>
                      <a:lnTo>
                        <a:pt x="1433" y="1154"/>
                      </a:lnTo>
                      <a:lnTo>
                        <a:pt x="1434" y="1154"/>
                      </a:lnTo>
                      <a:lnTo>
                        <a:pt x="1434" y="1155"/>
                      </a:lnTo>
                      <a:lnTo>
                        <a:pt x="1435" y="1155"/>
                      </a:lnTo>
                      <a:lnTo>
                        <a:pt x="1437" y="1155"/>
                      </a:lnTo>
                      <a:lnTo>
                        <a:pt x="1438" y="1155"/>
                      </a:lnTo>
                      <a:lnTo>
                        <a:pt x="1438" y="1156"/>
                      </a:lnTo>
                      <a:lnTo>
                        <a:pt x="1439" y="1156"/>
                      </a:lnTo>
                      <a:lnTo>
                        <a:pt x="1440" y="1156"/>
                      </a:lnTo>
                      <a:lnTo>
                        <a:pt x="1441" y="1157"/>
                      </a:lnTo>
                      <a:lnTo>
                        <a:pt x="1442" y="1157"/>
                      </a:lnTo>
                      <a:lnTo>
                        <a:pt x="1443" y="1158"/>
                      </a:lnTo>
                      <a:lnTo>
                        <a:pt x="1444" y="1158"/>
                      </a:lnTo>
                      <a:lnTo>
                        <a:pt x="1445" y="1159"/>
                      </a:lnTo>
                      <a:lnTo>
                        <a:pt x="1446" y="1159"/>
                      </a:lnTo>
                      <a:lnTo>
                        <a:pt x="1445" y="1160"/>
                      </a:lnTo>
                      <a:lnTo>
                        <a:pt x="1445" y="1159"/>
                      </a:lnTo>
                      <a:lnTo>
                        <a:pt x="1444" y="1159"/>
                      </a:lnTo>
                      <a:lnTo>
                        <a:pt x="1443" y="1160"/>
                      </a:lnTo>
                      <a:lnTo>
                        <a:pt x="1443" y="1159"/>
                      </a:lnTo>
                      <a:lnTo>
                        <a:pt x="1442" y="1159"/>
                      </a:lnTo>
                      <a:lnTo>
                        <a:pt x="1441" y="1158"/>
                      </a:lnTo>
                      <a:lnTo>
                        <a:pt x="1440" y="1158"/>
                      </a:lnTo>
                      <a:lnTo>
                        <a:pt x="1440" y="1159"/>
                      </a:lnTo>
                      <a:lnTo>
                        <a:pt x="1439" y="1159"/>
                      </a:lnTo>
                      <a:lnTo>
                        <a:pt x="1438" y="1159"/>
                      </a:lnTo>
                      <a:lnTo>
                        <a:pt x="1437" y="1159"/>
                      </a:lnTo>
                      <a:lnTo>
                        <a:pt x="1435" y="1158"/>
                      </a:lnTo>
                      <a:lnTo>
                        <a:pt x="1437" y="1157"/>
                      </a:lnTo>
                      <a:lnTo>
                        <a:pt x="1435" y="1157"/>
                      </a:lnTo>
                      <a:lnTo>
                        <a:pt x="1434" y="1157"/>
                      </a:lnTo>
                      <a:lnTo>
                        <a:pt x="1434" y="1156"/>
                      </a:lnTo>
                      <a:lnTo>
                        <a:pt x="1433" y="1156"/>
                      </a:lnTo>
                      <a:lnTo>
                        <a:pt x="1432" y="1155"/>
                      </a:lnTo>
                      <a:lnTo>
                        <a:pt x="1431" y="1155"/>
                      </a:lnTo>
                      <a:lnTo>
                        <a:pt x="1431" y="1154"/>
                      </a:lnTo>
                      <a:lnTo>
                        <a:pt x="1430" y="1154"/>
                      </a:lnTo>
                      <a:lnTo>
                        <a:pt x="1429" y="1153"/>
                      </a:lnTo>
                      <a:lnTo>
                        <a:pt x="1429" y="1154"/>
                      </a:lnTo>
                      <a:lnTo>
                        <a:pt x="1429" y="1155"/>
                      </a:lnTo>
                      <a:lnTo>
                        <a:pt x="1429" y="1156"/>
                      </a:lnTo>
                      <a:lnTo>
                        <a:pt x="1430" y="1156"/>
                      </a:lnTo>
                      <a:lnTo>
                        <a:pt x="1430" y="1157"/>
                      </a:lnTo>
                      <a:lnTo>
                        <a:pt x="1431" y="1158"/>
                      </a:lnTo>
                      <a:lnTo>
                        <a:pt x="1430" y="1158"/>
                      </a:lnTo>
                      <a:lnTo>
                        <a:pt x="1429" y="1159"/>
                      </a:lnTo>
                      <a:lnTo>
                        <a:pt x="1431" y="1160"/>
                      </a:lnTo>
                      <a:lnTo>
                        <a:pt x="1432" y="1160"/>
                      </a:lnTo>
                      <a:lnTo>
                        <a:pt x="1433" y="1160"/>
                      </a:lnTo>
                      <a:lnTo>
                        <a:pt x="1434" y="1161"/>
                      </a:lnTo>
                      <a:lnTo>
                        <a:pt x="1435" y="1161"/>
                      </a:lnTo>
                      <a:lnTo>
                        <a:pt x="1435" y="1162"/>
                      </a:lnTo>
                      <a:lnTo>
                        <a:pt x="1433" y="1161"/>
                      </a:lnTo>
                      <a:lnTo>
                        <a:pt x="1432" y="1161"/>
                      </a:lnTo>
                      <a:lnTo>
                        <a:pt x="1431" y="1161"/>
                      </a:lnTo>
                      <a:lnTo>
                        <a:pt x="1430" y="1161"/>
                      </a:lnTo>
                      <a:lnTo>
                        <a:pt x="1429" y="1161"/>
                      </a:lnTo>
                      <a:lnTo>
                        <a:pt x="1428" y="1162"/>
                      </a:lnTo>
                      <a:lnTo>
                        <a:pt x="1428" y="1163"/>
                      </a:lnTo>
                      <a:lnTo>
                        <a:pt x="1427" y="1163"/>
                      </a:lnTo>
                      <a:lnTo>
                        <a:pt x="1426" y="1163"/>
                      </a:lnTo>
                      <a:lnTo>
                        <a:pt x="1426" y="1164"/>
                      </a:lnTo>
                      <a:lnTo>
                        <a:pt x="1425" y="1164"/>
                      </a:lnTo>
                      <a:lnTo>
                        <a:pt x="1426" y="1166"/>
                      </a:lnTo>
                      <a:lnTo>
                        <a:pt x="1427" y="1166"/>
                      </a:lnTo>
                      <a:lnTo>
                        <a:pt x="1427" y="1167"/>
                      </a:lnTo>
                      <a:lnTo>
                        <a:pt x="1428" y="1167"/>
                      </a:lnTo>
                      <a:lnTo>
                        <a:pt x="1427" y="1167"/>
                      </a:lnTo>
                      <a:lnTo>
                        <a:pt x="1425" y="1168"/>
                      </a:lnTo>
                      <a:lnTo>
                        <a:pt x="1424" y="1168"/>
                      </a:lnTo>
                      <a:lnTo>
                        <a:pt x="1424" y="1169"/>
                      </a:lnTo>
                      <a:lnTo>
                        <a:pt x="1422" y="1169"/>
                      </a:lnTo>
                      <a:lnTo>
                        <a:pt x="1422" y="1168"/>
                      </a:lnTo>
                      <a:lnTo>
                        <a:pt x="1421" y="1168"/>
                      </a:lnTo>
                      <a:lnTo>
                        <a:pt x="1420" y="1168"/>
                      </a:lnTo>
                      <a:lnTo>
                        <a:pt x="1419" y="1168"/>
                      </a:lnTo>
                      <a:lnTo>
                        <a:pt x="1419" y="1167"/>
                      </a:lnTo>
                      <a:lnTo>
                        <a:pt x="1418" y="1167"/>
                      </a:lnTo>
                      <a:lnTo>
                        <a:pt x="1417" y="1166"/>
                      </a:lnTo>
                      <a:lnTo>
                        <a:pt x="1417" y="1167"/>
                      </a:lnTo>
                      <a:lnTo>
                        <a:pt x="1417" y="1166"/>
                      </a:lnTo>
                      <a:lnTo>
                        <a:pt x="1416" y="1166"/>
                      </a:lnTo>
                      <a:lnTo>
                        <a:pt x="1416" y="1164"/>
                      </a:lnTo>
                      <a:lnTo>
                        <a:pt x="1416" y="1163"/>
                      </a:lnTo>
                      <a:lnTo>
                        <a:pt x="1415" y="1163"/>
                      </a:lnTo>
                      <a:lnTo>
                        <a:pt x="1416" y="1163"/>
                      </a:lnTo>
                      <a:lnTo>
                        <a:pt x="1415" y="1162"/>
                      </a:lnTo>
                      <a:lnTo>
                        <a:pt x="1415" y="1161"/>
                      </a:lnTo>
                      <a:lnTo>
                        <a:pt x="1414" y="1161"/>
                      </a:lnTo>
                      <a:lnTo>
                        <a:pt x="1414" y="1160"/>
                      </a:lnTo>
                      <a:lnTo>
                        <a:pt x="1414" y="1159"/>
                      </a:lnTo>
                      <a:lnTo>
                        <a:pt x="1414" y="1160"/>
                      </a:lnTo>
                      <a:lnTo>
                        <a:pt x="1414" y="1159"/>
                      </a:lnTo>
                      <a:lnTo>
                        <a:pt x="1413" y="1159"/>
                      </a:lnTo>
                      <a:lnTo>
                        <a:pt x="1413" y="1158"/>
                      </a:lnTo>
                      <a:lnTo>
                        <a:pt x="1412" y="1157"/>
                      </a:lnTo>
                      <a:lnTo>
                        <a:pt x="1412" y="1156"/>
                      </a:lnTo>
                      <a:lnTo>
                        <a:pt x="1412" y="1155"/>
                      </a:lnTo>
                      <a:lnTo>
                        <a:pt x="1410" y="1155"/>
                      </a:lnTo>
                      <a:lnTo>
                        <a:pt x="1410" y="1154"/>
                      </a:lnTo>
                      <a:lnTo>
                        <a:pt x="1409" y="1153"/>
                      </a:lnTo>
                      <a:lnTo>
                        <a:pt x="1409" y="1151"/>
                      </a:lnTo>
                      <a:lnTo>
                        <a:pt x="1408" y="1151"/>
                      </a:lnTo>
                      <a:lnTo>
                        <a:pt x="1408" y="1150"/>
                      </a:lnTo>
                      <a:lnTo>
                        <a:pt x="1408" y="1151"/>
                      </a:lnTo>
                      <a:lnTo>
                        <a:pt x="1408" y="1150"/>
                      </a:lnTo>
                      <a:lnTo>
                        <a:pt x="1408" y="1151"/>
                      </a:lnTo>
                      <a:lnTo>
                        <a:pt x="1407" y="1150"/>
                      </a:lnTo>
                      <a:lnTo>
                        <a:pt x="1406" y="1150"/>
                      </a:lnTo>
                      <a:lnTo>
                        <a:pt x="1405" y="1150"/>
                      </a:lnTo>
                      <a:lnTo>
                        <a:pt x="1405" y="1149"/>
                      </a:lnTo>
                      <a:lnTo>
                        <a:pt x="1404" y="1149"/>
                      </a:lnTo>
                      <a:lnTo>
                        <a:pt x="1403" y="1149"/>
                      </a:lnTo>
                      <a:lnTo>
                        <a:pt x="1402" y="1148"/>
                      </a:lnTo>
                      <a:lnTo>
                        <a:pt x="1403" y="1148"/>
                      </a:lnTo>
                      <a:lnTo>
                        <a:pt x="1402" y="1148"/>
                      </a:lnTo>
                      <a:lnTo>
                        <a:pt x="1403" y="1148"/>
                      </a:lnTo>
                      <a:lnTo>
                        <a:pt x="1402" y="1148"/>
                      </a:lnTo>
                      <a:lnTo>
                        <a:pt x="1402" y="1147"/>
                      </a:lnTo>
                      <a:lnTo>
                        <a:pt x="1401" y="1147"/>
                      </a:lnTo>
                      <a:lnTo>
                        <a:pt x="1401" y="1146"/>
                      </a:lnTo>
                      <a:lnTo>
                        <a:pt x="1401" y="1145"/>
                      </a:lnTo>
                      <a:lnTo>
                        <a:pt x="1400" y="1145"/>
                      </a:lnTo>
                      <a:lnTo>
                        <a:pt x="1399" y="1143"/>
                      </a:lnTo>
                      <a:lnTo>
                        <a:pt x="1397" y="1143"/>
                      </a:lnTo>
                      <a:lnTo>
                        <a:pt x="1397" y="1142"/>
                      </a:lnTo>
                      <a:lnTo>
                        <a:pt x="1397" y="1141"/>
                      </a:lnTo>
                      <a:lnTo>
                        <a:pt x="1396" y="1140"/>
                      </a:lnTo>
                      <a:lnTo>
                        <a:pt x="1396" y="1137"/>
                      </a:lnTo>
                      <a:lnTo>
                        <a:pt x="1395" y="1135"/>
                      </a:lnTo>
                      <a:lnTo>
                        <a:pt x="1395" y="1133"/>
                      </a:lnTo>
                      <a:lnTo>
                        <a:pt x="1395" y="1132"/>
                      </a:lnTo>
                      <a:lnTo>
                        <a:pt x="1395" y="1131"/>
                      </a:lnTo>
                      <a:lnTo>
                        <a:pt x="1395" y="1130"/>
                      </a:lnTo>
                      <a:lnTo>
                        <a:pt x="1395" y="1129"/>
                      </a:lnTo>
                      <a:lnTo>
                        <a:pt x="1395" y="1128"/>
                      </a:lnTo>
                      <a:lnTo>
                        <a:pt x="1394" y="1127"/>
                      </a:lnTo>
                      <a:lnTo>
                        <a:pt x="1394" y="1125"/>
                      </a:lnTo>
                      <a:lnTo>
                        <a:pt x="1393" y="1125"/>
                      </a:lnTo>
                      <a:lnTo>
                        <a:pt x="1394" y="1125"/>
                      </a:lnTo>
                      <a:close/>
                      <a:moveTo>
                        <a:pt x="1375" y="1138"/>
                      </a:moveTo>
                      <a:lnTo>
                        <a:pt x="1376" y="1138"/>
                      </a:lnTo>
                      <a:lnTo>
                        <a:pt x="1375" y="1140"/>
                      </a:lnTo>
                      <a:lnTo>
                        <a:pt x="1376" y="1140"/>
                      </a:lnTo>
                      <a:lnTo>
                        <a:pt x="1375" y="1140"/>
                      </a:lnTo>
                      <a:lnTo>
                        <a:pt x="1376" y="1141"/>
                      </a:lnTo>
                      <a:lnTo>
                        <a:pt x="1377" y="1142"/>
                      </a:lnTo>
                      <a:lnTo>
                        <a:pt x="1377" y="1143"/>
                      </a:lnTo>
                      <a:lnTo>
                        <a:pt x="1378" y="1144"/>
                      </a:lnTo>
                      <a:lnTo>
                        <a:pt x="1378" y="1145"/>
                      </a:lnTo>
                      <a:lnTo>
                        <a:pt x="1379" y="1145"/>
                      </a:lnTo>
                      <a:lnTo>
                        <a:pt x="1379" y="1146"/>
                      </a:lnTo>
                      <a:lnTo>
                        <a:pt x="1380" y="1147"/>
                      </a:lnTo>
                      <a:lnTo>
                        <a:pt x="1380" y="1148"/>
                      </a:lnTo>
                      <a:lnTo>
                        <a:pt x="1380" y="1149"/>
                      </a:lnTo>
                      <a:lnTo>
                        <a:pt x="1381" y="1149"/>
                      </a:lnTo>
                      <a:lnTo>
                        <a:pt x="1381" y="1150"/>
                      </a:lnTo>
                      <a:lnTo>
                        <a:pt x="1382" y="1150"/>
                      </a:lnTo>
                      <a:lnTo>
                        <a:pt x="1382" y="1151"/>
                      </a:lnTo>
                      <a:lnTo>
                        <a:pt x="1383" y="1151"/>
                      </a:lnTo>
                      <a:lnTo>
                        <a:pt x="1383" y="1153"/>
                      </a:lnTo>
                      <a:lnTo>
                        <a:pt x="1388" y="1159"/>
                      </a:lnTo>
                      <a:lnTo>
                        <a:pt x="1391" y="1162"/>
                      </a:lnTo>
                      <a:lnTo>
                        <a:pt x="1393" y="1168"/>
                      </a:lnTo>
                      <a:lnTo>
                        <a:pt x="1394" y="1171"/>
                      </a:lnTo>
                      <a:lnTo>
                        <a:pt x="1396" y="1176"/>
                      </a:lnTo>
                      <a:lnTo>
                        <a:pt x="1397" y="1179"/>
                      </a:lnTo>
                      <a:lnTo>
                        <a:pt x="1399" y="1180"/>
                      </a:lnTo>
                      <a:lnTo>
                        <a:pt x="1400" y="1181"/>
                      </a:lnTo>
                      <a:lnTo>
                        <a:pt x="1403" y="1185"/>
                      </a:lnTo>
                      <a:lnTo>
                        <a:pt x="1412" y="1197"/>
                      </a:lnTo>
                      <a:lnTo>
                        <a:pt x="1413" y="1198"/>
                      </a:lnTo>
                      <a:lnTo>
                        <a:pt x="1414" y="1199"/>
                      </a:lnTo>
                      <a:lnTo>
                        <a:pt x="1418" y="1201"/>
                      </a:lnTo>
                      <a:lnTo>
                        <a:pt x="1419" y="1202"/>
                      </a:lnTo>
                      <a:lnTo>
                        <a:pt x="1430" y="1213"/>
                      </a:lnTo>
                      <a:lnTo>
                        <a:pt x="1431" y="1214"/>
                      </a:lnTo>
                      <a:lnTo>
                        <a:pt x="1431" y="1215"/>
                      </a:lnTo>
                      <a:lnTo>
                        <a:pt x="1431" y="1217"/>
                      </a:lnTo>
                      <a:lnTo>
                        <a:pt x="1430" y="1217"/>
                      </a:lnTo>
                      <a:lnTo>
                        <a:pt x="1429" y="1217"/>
                      </a:lnTo>
                      <a:lnTo>
                        <a:pt x="1427" y="1214"/>
                      </a:lnTo>
                      <a:lnTo>
                        <a:pt x="1424" y="1211"/>
                      </a:lnTo>
                      <a:lnTo>
                        <a:pt x="1422" y="1209"/>
                      </a:lnTo>
                      <a:lnTo>
                        <a:pt x="1421" y="1209"/>
                      </a:lnTo>
                      <a:lnTo>
                        <a:pt x="1420" y="1209"/>
                      </a:lnTo>
                      <a:lnTo>
                        <a:pt x="1419" y="1209"/>
                      </a:lnTo>
                      <a:lnTo>
                        <a:pt x="1419" y="1210"/>
                      </a:lnTo>
                      <a:lnTo>
                        <a:pt x="1418" y="1209"/>
                      </a:lnTo>
                      <a:lnTo>
                        <a:pt x="1417" y="1209"/>
                      </a:lnTo>
                      <a:lnTo>
                        <a:pt x="1417" y="1208"/>
                      </a:lnTo>
                      <a:lnTo>
                        <a:pt x="1416" y="1206"/>
                      </a:lnTo>
                      <a:lnTo>
                        <a:pt x="1415" y="1205"/>
                      </a:lnTo>
                      <a:lnTo>
                        <a:pt x="1414" y="1206"/>
                      </a:lnTo>
                      <a:lnTo>
                        <a:pt x="1414" y="1204"/>
                      </a:lnTo>
                      <a:lnTo>
                        <a:pt x="1413" y="1202"/>
                      </a:lnTo>
                      <a:lnTo>
                        <a:pt x="1412" y="1202"/>
                      </a:lnTo>
                      <a:lnTo>
                        <a:pt x="1409" y="1201"/>
                      </a:lnTo>
                      <a:lnTo>
                        <a:pt x="1408" y="1200"/>
                      </a:lnTo>
                      <a:lnTo>
                        <a:pt x="1408" y="1199"/>
                      </a:lnTo>
                      <a:lnTo>
                        <a:pt x="1408" y="1198"/>
                      </a:lnTo>
                      <a:lnTo>
                        <a:pt x="1408" y="1197"/>
                      </a:lnTo>
                      <a:lnTo>
                        <a:pt x="1407" y="1195"/>
                      </a:lnTo>
                      <a:lnTo>
                        <a:pt x="1406" y="1194"/>
                      </a:lnTo>
                      <a:lnTo>
                        <a:pt x="1405" y="1193"/>
                      </a:lnTo>
                      <a:lnTo>
                        <a:pt x="1403" y="1193"/>
                      </a:lnTo>
                      <a:lnTo>
                        <a:pt x="1404" y="1195"/>
                      </a:lnTo>
                      <a:lnTo>
                        <a:pt x="1403" y="1195"/>
                      </a:lnTo>
                      <a:lnTo>
                        <a:pt x="1402" y="1195"/>
                      </a:lnTo>
                      <a:lnTo>
                        <a:pt x="1402" y="1194"/>
                      </a:lnTo>
                      <a:lnTo>
                        <a:pt x="1401" y="1193"/>
                      </a:lnTo>
                      <a:lnTo>
                        <a:pt x="1401" y="1194"/>
                      </a:lnTo>
                      <a:lnTo>
                        <a:pt x="1400" y="1194"/>
                      </a:lnTo>
                      <a:lnTo>
                        <a:pt x="1400" y="1193"/>
                      </a:lnTo>
                      <a:lnTo>
                        <a:pt x="1399" y="1193"/>
                      </a:lnTo>
                      <a:lnTo>
                        <a:pt x="1397" y="1193"/>
                      </a:lnTo>
                      <a:lnTo>
                        <a:pt x="1397" y="1192"/>
                      </a:lnTo>
                      <a:lnTo>
                        <a:pt x="1397" y="1191"/>
                      </a:lnTo>
                      <a:lnTo>
                        <a:pt x="1396" y="1189"/>
                      </a:lnTo>
                      <a:lnTo>
                        <a:pt x="1395" y="1188"/>
                      </a:lnTo>
                      <a:lnTo>
                        <a:pt x="1395" y="1187"/>
                      </a:lnTo>
                      <a:lnTo>
                        <a:pt x="1394" y="1187"/>
                      </a:lnTo>
                      <a:lnTo>
                        <a:pt x="1394" y="1186"/>
                      </a:lnTo>
                      <a:lnTo>
                        <a:pt x="1393" y="1186"/>
                      </a:lnTo>
                      <a:lnTo>
                        <a:pt x="1392" y="1185"/>
                      </a:lnTo>
                      <a:lnTo>
                        <a:pt x="1393" y="1184"/>
                      </a:lnTo>
                      <a:lnTo>
                        <a:pt x="1394" y="1184"/>
                      </a:lnTo>
                      <a:lnTo>
                        <a:pt x="1393" y="1183"/>
                      </a:lnTo>
                      <a:lnTo>
                        <a:pt x="1392" y="1183"/>
                      </a:lnTo>
                      <a:lnTo>
                        <a:pt x="1392" y="1182"/>
                      </a:lnTo>
                      <a:lnTo>
                        <a:pt x="1392" y="1180"/>
                      </a:lnTo>
                      <a:lnTo>
                        <a:pt x="1391" y="1179"/>
                      </a:lnTo>
                      <a:lnTo>
                        <a:pt x="1391" y="1178"/>
                      </a:lnTo>
                      <a:lnTo>
                        <a:pt x="1390" y="1178"/>
                      </a:lnTo>
                      <a:lnTo>
                        <a:pt x="1389" y="1179"/>
                      </a:lnTo>
                      <a:lnTo>
                        <a:pt x="1389" y="1178"/>
                      </a:lnTo>
                      <a:lnTo>
                        <a:pt x="1390" y="1175"/>
                      </a:lnTo>
                      <a:lnTo>
                        <a:pt x="1391" y="1175"/>
                      </a:lnTo>
                      <a:lnTo>
                        <a:pt x="1391" y="1174"/>
                      </a:lnTo>
                      <a:lnTo>
                        <a:pt x="1390" y="1174"/>
                      </a:lnTo>
                      <a:lnTo>
                        <a:pt x="1389" y="1175"/>
                      </a:lnTo>
                      <a:lnTo>
                        <a:pt x="1388" y="1174"/>
                      </a:lnTo>
                      <a:lnTo>
                        <a:pt x="1389" y="1174"/>
                      </a:lnTo>
                      <a:lnTo>
                        <a:pt x="1390" y="1173"/>
                      </a:lnTo>
                      <a:lnTo>
                        <a:pt x="1391" y="1172"/>
                      </a:lnTo>
                      <a:lnTo>
                        <a:pt x="1391" y="1170"/>
                      </a:lnTo>
                      <a:lnTo>
                        <a:pt x="1390" y="1169"/>
                      </a:lnTo>
                      <a:lnTo>
                        <a:pt x="1389" y="1169"/>
                      </a:lnTo>
                      <a:lnTo>
                        <a:pt x="1389" y="1168"/>
                      </a:lnTo>
                      <a:lnTo>
                        <a:pt x="1389" y="1167"/>
                      </a:lnTo>
                      <a:lnTo>
                        <a:pt x="1389" y="1166"/>
                      </a:lnTo>
                      <a:lnTo>
                        <a:pt x="1389" y="1164"/>
                      </a:lnTo>
                      <a:lnTo>
                        <a:pt x="1388" y="1164"/>
                      </a:lnTo>
                      <a:lnTo>
                        <a:pt x="1387" y="1166"/>
                      </a:lnTo>
                      <a:lnTo>
                        <a:pt x="1387" y="1167"/>
                      </a:lnTo>
                      <a:lnTo>
                        <a:pt x="1386" y="1166"/>
                      </a:lnTo>
                      <a:lnTo>
                        <a:pt x="1386" y="1164"/>
                      </a:lnTo>
                      <a:lnTo>
                        <a:pt x="1386" y="1163"/>
                      </a:lnTo>
                      <a:lnTo>
                        <a:pt x="1386" y="1162"/>
                      </a:lnTo>
                      <a:lnTo>
                        <a:pt x="1386" y="1163"/>
                      </a:lnTo>
                      <a:lnTo>
                        <a:pt x="1384" y="1163"/>
                      </a:lnTo>
                      <a:lnTo>
                        <a:pt x="1383" y="1163"/>
                      </a:lnTo>
                      <a:lnTo>
                        <a:pt x="1383" y="1162"/>
                      </a:lnTo>
                      <a:lnTo>
                        <a:pt x="1383" y="1161"/>
                      </a:lnTo>
                      <a:lnTo>
                        <a:pt x="1383" y="1160"/>
                      </a:lnTo>
                      <a:lnTo>
                        <a:pt x="1383" y="1159"/>
                      </a:lnTo>
                      <a:lnTo>
                        <a:pt x="1384" y="1158"/>
                      </a:lnTo>
                      <a:lnTo>
                        <a:pt x="1383" y="1158"/>
                      </a:lnTo>
                      <a:lnTo>
                        <a:pt x="1382" y="1158"/>
                      </a:lnTo>
                      <a:lnTo>
                        <a:pt x="1381" y="1157"/>
                      </a:lnTo>
                      <a:lnTo>
                        <a:pt x="1380" y="1157"/>
                      </a:lnTo>
                      <a:lnTo>
                        <a:pt x="1379" y="1157"/>
                      </a:lnTo>
                      <a:lnTo>
                        <a:pt x="1379" y="1158"/>
                      </a:lnTo>
                      <a:lnTo>
                        <a:pt x="1379" y="1157"/>
                      </a:lnTo>
                      <a:lnTo>
                        <a:pt x="1377" y="1155"/>
                      </a:lnTo>
                      <a:lnTo>
                        <a:pt x="1377" y="1154"/>
                      </a:lnTo>
                      <a:lnTo>
                        <a:pt x="1377" y="1153"/>
                      </a:lnTo>
                      <a:lnTo>
                        <a:pt x="1378" y="1153"/>
                      </a:lnTo>
                      <a:lnTo>
                        <a:pt x="1379" y="1153"/>
                      </a:lnTo>
                      <a:lnTo>
                        <a:pt x="1379" y="1151"/>
                      </a:lnTo>
                      <a:lnTo>
                        <a:pt x="1379" y="1150"/>
                      </a:lnTo>
                      <a:lnTo>
                        <a:pt x="1380" y="1150"/>
                      </a:lnTo>
                      <a:lnTo>
                        <a:pt x="1380" y="1149"/>
                      </a:lnTo>
                      <a:lnTo>
                        <a:pt x="1379" y="1149"/>
                      </a:lnTo>
                      <a:lnTo>
                        <a:pt x="1379" y="1148"/>
                      </a:lnTo>
                      <a:lnTo>
                        <a:pt x="1379" y="1147"/>
                      </a:lnTo>
                      <a:lnTo>
                        <a:pt x="1378" y="1147"/>
                      </a:lnTo>
                      <a:lnTo>
                        <a:pt x="1378" y="1146"/>
                      </a:lnTo>
                      <a:lnTo>
                        <a:pt x="1378" y="1145"/>
                      </a:lnTo>
                      <a:lnTo>
                        <a:pt x="1377" y="1144"/>
                      </a:lnTo>
                      <a:lnTo>
                        <a:pt x="1377" y="1143"/>
                      </a:lnTo>
                      <a:lnTo>
                        <a:pt x="1376" y="1143"/>
                      </a:lnTo>
                      <a:lnTo>
                        <a:pt x="1376" y="1142"/>
                      </a:lnTo>
                      <a:lnTo>
                        <a:pt x="1375" y="1142"/>
                      </a:lnTo>
                      <a:lnTo>
                        <a:pt x="1375" y="1141"/>
                      </a:lnTo>
                      <a:lnTo>
                        <a:pt x="1374" y="1141"/>
                      </a:lnTo>
                      <a:lnTo>
                        <a:pt x="1373" y="1141"/>
                      </a:lnTo>
                      <a:lnTo>
                        <a:pt x="1374" y="1141"/>
                      </a:lnTo>
                      <a:lnTo>
                        <a:pt x="1374" y="1140"/>
                      </a:lnTo>
                      <a:lnTo>
                        <a:pt x="1374" y="1138"/>
                      </a:lnTo>
                      <a:lnTo>
                        <a:pt x="1374" y="1140"/>
                      </a:lnTo>
                      <a:lnTo>
                        <a:pt x="1374" y="1138"/>
                      </a:lnTo>
                      <a:lnTo>
                        <a:pt x="1374" y="1137"/>
                      </a:lnTo>
                      <a:lnTo>
                        <a:pt x="1375" y="1138"/>
                      </a:lnTo>
                      <a:close/>
                      <a:moveTo>
                        <a:pt x="1471" y="1086"/>
                      </a:moveTo>
                      <a:lnTo>
                        <a:pt x="1470" y="1086"/>
                      </a:lnTo>
                      <a:lnTo>
                        <a:pt x="1469" y="1086"/>
                      </a:lnTo>
                      <a:lnTo>
                        <a:pt x="1468" y="1088"/>
                      </a:lnTo>
                      <a:lnTo>
                        <a:pt x="1466" y="1088"/>
                      </a:lnTo>
                      <a:lnTo>
                        <a:pt x="1466" y="1089"/>
                      </a:lnTo>
                      <a:lnTo>
                        <a:pt x="1465" y="1089"/>
                      </a:lnTo>
                      <a:lnTo>
                        <a:pt x="1464" y="1089"/>
                      </a:lnTo>
                      <a:lnTo>
                        <a:pt x="1464" y="1090"/>
                      </a:lnTo>
                      <a:lnTo>
                        <a:pt x="1463" y="1090"/>
                      </a:lnTo>
                      <a:lnTo>
                        <a:pt x="1463" y="1091"/>
                      </a:lnTo>
                      <a:lnTo>
                        <a:pt x="1464" y="1092"/>
                      </a:lnTo>
                      <a:lnTo>
                        <a:pt x="1465" y="1093"/>
                      </a:lnTo>
                      <a:lnTo>
                        <a:pt x="1465" y="1095"/>
                      </a:lnTo>
                      <a:lnTo>
                        <a:pt x="1466" y="1096"/>
                      </a:lnTo>
                      <a:lnTo>
                        <a:pt x="1466" y="1097"/>
                      </a:lnTo>
                      <a:lnTo>
                        <a:pt x="1467" y="1097"/>
                      </a:lnTo>
                      <a:lnTo>
                        <a:pt x="1467" y="1098"/>
                      </a:lnTo>
                      <a:lnTo>
                        <a:pt x="1466" y="1098"/>
                      </a:lnTo>
                      <a:lnTo>
                        <a:pt x="1465" y="1098"/>
                      </a:lnTo>
                      <a:lnTo>
                        <a:pt x="1464" y="1098"/>
                      </a:lnTo>
                      <a:lnTo>
                        <a:pt x="1464" y="1097"/>
                      </a:lnTo>
                      <a:lnTo>
                        <a:pt x="1465" y="1096"/>
                      </a:lnTo>
                      <a:lnTo>
                        <a:pt x="1465" y="1095"/>
                      </a:lnTo>
                      <a:lnTo>
                        <a:pt x="1464" y="1093"/>
                      </a:lnTo>
                      <a:lnTo>
                        <a:pt x="1463" y="1091"/>
                      </a:lnTo>
                      <a:lnTo>
                        <a:pt x="1461" y="1091"/>
                      </a:lnTo>
                      <a:lnTo>
                        <a:pt x="1460" y="1091"/>
                      </a:lnTo>
                      <a:lnTo>
                        <a:pt x="1459" y="1091"/>
                      </a:lnTo>
                      <a:lnTo>
                        <a:pt x="1458" y="1091"/>
                      </a:lnTo>
                      <a:lnTo>
                        <a:pt x="1458" y="1092"/>
                      </a:lnTo>
                      <a:lnTo>
                        <a:pt x="1458" y="1093"/>
                      </a:lnTo>
                      <a:lnTo>
                        <a:pt x="1457" y="1093"/>
                      </a:lnTo>
                      <a:lnTo>
                        <a:pt x="1457" y="1094"/>
                      </a:lnTo>
                      <a:lnTo>
                        <a:pt x="1457" y="1095"/>
                      </a:lnTo>
                      <a:lnTo>
                        <a:pt x="1458" y="1096"/>
                      </a:lnTo>
                      <a:lnTo>
                        <a:pt x="1458" y="1097"/>
                      </a:lnTo>
                      <a:lnTo>
                        <a:pt x="1458" y="1098"/>
                      </a:lnTo>
                      <a:lnTo>
                        <a:pt x="1457" y="1098"/>
                      </a:lnTo>
                      <a:lnTo>
                        <a:pt x="1456" y="1099"/>
                      </a:lnTo>
                      <a:lnTo>
                        <a:pt x="1455" y="1099"/>
                      </a:lnTo>
                      <a:lnTo>
                        <a:pt x="1455" y="1101"/>
                      </a:lnTo>
                      <a:lnTo>
                        <a:pt x="1454" y="1102"/>
                      </a:lnTo>
                      <a:lnTo>
                        <a:pt x="1453" y="1102"/>
                      </a:lnTo>
                      <a:lnTo>
                        <a:pt x="1452" y="1102"/>
                      </a:lnTo>
                      <a:lnTo>
                        <a:pt x="1451" y="1103"/>
                      </a:lnTo>
                      <a:lnTo>
                        <a:pt x="1450" y="1103"/>
                      </a:lnTo>
                      <a:lnTo>
                        <a:pt x="1448" y="1104"/>
                      </a:lnTo>
                      <a:lnTo>
                        <a:pt x="1448" y="1105"/>
                      </a:lnTo>
                      <a:lnTo>
                        <a:pt x="1447" y="1105"/>
                      </a:lnTo>
                      <a:lnTo>
                        <a:pt x="1448" y="1105"/>
                      </a:lnTo>
                      <a:lnTo>
                        <a:pt x="1451" y="1105"/>
                      </a:lnTo>
                      <a:lnTo>
                        <a:pt x="1451" y="1106"/>
                      </a:lnTo>
                      <a:lnTo>
                        <a:pt x="1450" y="1107"/>
                      </a:lnTo>
                      <a:lnTo>
                        <a:pt x="1450" y="1108"/>
                      </a:lnTo>
                      <a:lnTo>
                        <a:pt x="1448" y="1108"/>
                      </a:lnTo>
                      <a:lnTo>
                        <a:pt x="1448" y="1109"/>
                      </a:lnTo>
                      <a:lnTo>
                        <a:pt x="1448" y="1110"/>
                      </a:lnTo>
                      <a:lnTo>
                        <a:pt x="1447" y="1109"/>
                      </a:lnTo>
                      <a:lnTo>
                        <a:pt x="1446" y="1108"/>
                      </a:lnTo>
                      <a:lnTo>
                        <a:pt x="1446" y="1107"/>
                      </a:lnTo>
                      <a:lnTo>
                        <a:pt x="1445" y="1107"/>
                      </a:lnTo>
                      <a:lnTo>
                        <a:pt x="1445" y="1106"/>
                      </a:lnTo>
                      <a:lnTo>
                        <a:pt x="1444" y="1106"/>
                      </a:lnTo>
                      <a:lnTo>
                        <a:pt x="1443" y="1106"/>
                      </a:lnTo>
                      <a:lnTo>
                        <a:pt x="1443" y="1107"/>
                      </a:lnTo>
                      <a:lnTo>
                        <a:pt x="1443" y="1108"/>
                      </a:lnTo>
                      <a:lnTo>
                        <a:pt x="1444" y="1108"/>
                      </a:lnTo>
                      <a:lnTo>
                        <a:pt x="1444" y="1109"/>
                      </a:lnTo>
                      <a:lnTo>
                        <a:pt x="1445" y="1109"/>
                      </a:lnTo>
                      <a:lnTo>
                        <a:pt x="1445" y="1110"/>
                      </a:lnTo>
                      <a:lnTo>
                        <a:pt x="1446" y="1111"/>
                      </a:lnTo>
                      <a:lnTo>
                        <a:pt x="1447" y="1111"/>
                      </a:lnTo>
                      <a:lnTo>
                        <a:pt x="1447" y="1112"/>
                      </a:lnTo>
                      <a:lnTo>
                        <a:pt x="1448" y="1112"/>
                      </a:lnTo>
                      <a:lnTo>
                        <a:pt x="1450" y="1114"/>
                      </a:lnTo>
                      <a:lnTo>
                        <a:pt x="1451" y="1114"/>
                      </a:lnTo>
                      <a:lnTo>
                        <a:pt x="1452" y="1112"/>
                      </a:lnTo>
                      <a:lnTo>
                        <a:pt x="1452" y="1111"/>
                      </a:lnTo>
                      <a:lnTo>
                        <a:pt x="1453" y="1111"/>
                      </a:lnTo>
                      <a:lnTo>
                        <a:pt x="1454" y="1111"/>
                      </a:lnTo>
                      <a:lnTo>
                        <a:pt x="1454" y="1112"/>
                      </a:lnTo>
                      <a:lnTo>
                        <a:pt x="1453" y="1111"/>
                      </a:lnTo>
                      <a:lnTo>
                        <a:pt x="1452" y="1111"/>
                      </a:lnTo>
                      <a:lnTo>
                        <a:pt x="1452" y="1112"/>
                      </a:lnTo>
                      <a:lnTo>
                        <a:pt x="1452" y="1114"/>
                      </a:lnTo>
                      <a:lnTo>
                        <a:pt x="1452" y="1115"/>
                      </a:lnTo>
                      <a:lnTo>
                        <a:pt x="1448" y="1114"/>
                      </a:lnTo>
                      <a:lnTo>
                        <a:pt x="1448" y="1112"/>
                      </a:lnTo>
                      <a:lnTo>
                        <a:pt x="1447" y="1112"/>
                      </a:lnTo>
                      <a:lnTo>
                        <a:pt x="1445" y="1112"/>
                      </a:lnTo>
                      <a:lnTo>
                        <a:pt x="1438" y="1109"/>
                      </a:lnTo>
                      <a:lnTo>
                        <a:pt x="1435" y="1109"/>
                      </a:lnTo>
                      <a:lnTo>
                        <a:pt x="1434" y="1108"/>
                      </a:lnTo>
                      <a:lnTo>
                        <a:pt x="1432" y="1108"/>
                      </a:lnTo>
                      <a:lnTo>
                        <a:pt x="1433" y="1108"/>
                      </a:lnTo>
                      <a:lnTo>
                        <a:pt x="1434" y="1108"/>
                      </a:lnTo>
                      <a:lnTo>
                        <a:pt x="1435" y="1109"/>
                      </a:lnTo>
                      <a:lnTo>
                        <a:pt x="1434" y="1109"/>
                      </a:lnTo>
                      <a:lnTo>
                        <a:pt x="1434" y="1110"/>
                      </a:lnTo>
                      <a:lnTo>
                        <a:pt x="1434" y="1111"/>
                      </a:lnTo>
                      <a:lnTo>
                        <a:pt x="1432" y="1111"/>
                      </a:lnTo>
                      <a:lnTo>
                        <a:pt x="1431" y="1111"/>
                      </a:lnTo>
                      <a:lnTo>
                        <a:pt x="1430" y="1111"/>
                      </a:lnTo>
                      <a:lnTo>
                        <a:pt x="1430" y="1110"/>
                      </a:lnTo>
                      <a:lnTo>
                        <a:pt x="1429" y="1109"/>
                      </a:lnTo>
                      <a:lnTo>
                        <a:pt x="1429" y="1108"/>
                      </a:lnTo>
                      <a:lnTo>
                        <a:pt x="1428" y="1107"/>
                      </a:lnTo>
                      <a:lnTo>
                        <a:pt x="1428" y="1106"/>
                      </a:lnTo>
                      <a:lnTo>
                        <a:pt x="1427" y="1106"/>
                      </a:lnTo>
                      <a:lnTo>
                        <a:pt x="1427" y="1105"/>
                      </a:lnTo>
                      <a:lnTo>
                        <a:pt x="1426" y="1105"/>
                      </a:lnTo>
                      <a:lnTo>
                        <a:pt x="1426" y="1104"/>
                      </a:lnTo>
                      <a:lnTo>
                        <a:pt x="1425" y="1104"/>
                      </a:lnTo>
                      <a:lnTo>
                        <a:pt x="1424" y="1103"/>
                      </a:lnTo>
                      <a:lnTo>
                        <a:pt x="1422" y="1103"/>
                      </a:lnTo>
                      <a:lnTo>
                        <a:pt x="1424" y="1103"/>
                      </a:lnTo>
                      <a:lnTo>
                        <a:pt x="1424" y="1102"/>
                      </a:lnTo>
                      <a:lnTo>
                        <a:pt x="1425" y="1102"/>
                      </a:lnTo>
                      <a:lnTo>
                        <a:pt x="1426" y="1102"/>
                      </a:lnTo>
                      <a:lnTo>
                        <a:pt x="1426" y="1101"/>
                      </a:lnTo>
                      <a:lnTo>
                        <a:pt x="1427" y="1101"/>
                      </a:lnTo>
                      <a:lnTo>
                        <a:pt x="1428" y="1101"/>
                      </a:lnTo>
                      <a:lnTo>
                        <a:pt x="1428" y="1099"/>
                      </a:lnTo>
                      <a:lnTo>
                        <a:pt x="1429" y="1099"/>
                      </a:lnTo>
                      <a:lnTo>
                        <a:pt x="1429" y="1098"/>
                      </a:lnTo>
                      <a:lnTo>
                        <a:pt x="1430" y="1098"/>
                      </a:lnTo>
                      <a:lnTo>
                        <a:pt x="1431" y="1098"/>
                      </a:lnTo>
                      <a:lnTo>
                        <a:pt x="1432" y="1098"/>
                      </a:lnTo>
                      <a:lnTo>
                        <a:pt x="1433" y="1097"/>
                      </a:lnTo>
                      <a:lnTo>
                        <a:pt x="1434" y="1097"/>
                      </a:lnTo>
                      <a:lnTo>
                        <a:pt x="1435" y="1097"/>
                      </a:lnTo>
                      <a:lnTo>
                        <a:pt x="1437" y="1097"/>
                      </a:lnTo>
                      <a:lnTo>
                        <a:pt x="1438" y="1097"/>
                      </a:lnTo>
                      <a:lnTo>
                        <a:pt x="1438" y="1096"/>
                      </a:lnTo>
                      <a:lnTo>
                        <a:pt x="1439" y="1096"/>
                      </a:lnTo>
                      <a:lnTo>
                        <a:pt x="1440" y="1096"/>
                      </a:lnTo>
                      <a:lnTo>
                        <a:pt x="1440" y="1097"/>
                      </a:lnTo>
                      <a:lnTo>
                        <a:pt x="1440" y="1096"/>
                      </a:lnTo>
                      <a:lnTo>
                        <a:pt x="1441" y="1096"/>
                      </a:lnTo>
                      <a:lnTo>
                        <a:pt x="1442" y="1096"/>
                      </a:lnTo>
                      <a:lnTo>
                        <a:pt x="1442" y="1095"/>
                      </a:lnTo>
                      <a:lnTo>
                        <a:pt x="1443" y="1095"/>
                      </a:lnTo>
                      <a:lnTo>
                        <a:pt x="1444" y="1095"/>
                      </a:lnTo>
                      <a:lnTo>
                        <a:pt x="1445" y="1095"/>
                      </a:lnTo>
                      <a:lnTo>
                        <a:pt x="1445" y="1094"/>
                      </a:lnTo>
                      <a:lnTo>
                        <a:pt x="1446" y="1094"/>
                      </a:lnTo>
                      <a:lnTo>
                        <a:pt x="1446" y="1093"/>
                      </a:lnTo>
                      <a:lnTo>
                        <a:pt x="1446" y="1094"/>
                      </a:lnTo>
                      <a:lnTo>
                        <a:pt x="1447" y="1094"/>
                      </a:lnTo>
                      <a:lnTo>
                        <a:pt x="1447" y="1093"/>
                      </a:lnTo>
                      <a:lnTo>
                        <a:pt x="1447" y="1094"/>
                      </a:lnTo>
                      <a:lnTo>
                        <a:pt x="1448" y="1093"/>
                      </a:lnTo>
                      <a:lnTo>
                        <a:pt x="1450" y="1093"/>
                      </a:lnTo>
                      <a:lnTo>
                        <a:pt x="1451" y="1093"/>
                      </a:lnTo>
                      <a:lnTo>
                        <a:pt x="1451" y="1092"/>
                      </a:lnTo>
                      <a:lnTo>
                        <a:pt x="1452" y="1092"/>
                      </a:lnTo>
                      <a:lnTo>
                        <a:pt x="1453" y="1092"/>
                      </a:lnTo>
                      <a:lnTo>
                        <a:pt x="1454" y="1092"/>
                      </a:lnTo>
                      <a:lnTo>
                        <a:pt x="1454" y="1091"/>
                      </a:lnTo>
                      <a:lnTo>
                        <a:pt x="1455" y="1091"/>
                      </a:lnTo>
                      <a:lnTo>
                        <a:pt x="1455" y="1092"/>
                      </a:lnTo>
                      <a:lnTo>
                        <a:pt x="1454" y="1092"/>
                      </a:lnTo>
                      <a:lnTo>
                        <a:pt x="1454" y="1093"/>
                      </a:lnTo>
                      <a:lnTo>
                        <a:pt x="1454" y="1094"/>
                      </a:lnTo>
                      <a:lnTo>
                        <a:pt x="1454" y="1093"/>
                      </a:lnTo>
                      <a:lnTo>
                        <a:pt x="1455" y="1093"/>
                      </a:lnTo>
                      <a:lnTo>
                        <a:pt x="1454" y="1093"/>
                      </a:lnTo>
                      <a:lnTo>
                        <a:pt x="1455" y="1092"/>
                      </a:lnTo>
                      <a:lnTo>
                        <a:pt x="1455" y="1091"/>
                      </a:lnTo>
                      <a:lnTo>
                        <a:pt x="1456" y="1091"/>
                      </a:lnTo>
                      <a:lnTo>
                        <a:pt x="1456" y="1090"/>
                      </a:lnTo>
                      <a:lnTo>
                        <a:pt x="1457" y="1090"/>
                      </a:lnTo>
                      <a:lnTo>
                        <a:pt x="1458" y="1090"/>
                      </a:lnTo>
                      <a:lnTo>
                        <a:pt x="1459" y="1089"/>
                      </a:lnTo>
                      <a:lnTo>
                        <a:pt x="1460" y="1089"/>
                      </a:lnTo>
                      <a:lnTo>
                        <a:pt x="1461" y="1089"/>
                      </a:lnTo>
                      <a:lnTo>
                        <a:pt x="1463" y="1089"/>
                      </a:lnTo>
                      <a:lnTo>
                        <a:pt x="1463" y="1088"/>
                      </a:lnTo>
                      <a:lnTo>
                        <a:pt x="1464" y="1088"/>
                      </a:lnTo>
                      <a:lnTo>
                        <a:pt x="1465" y="1088"/>
                      </a:lnTo>
                      <a:lnTo>
                        <a:pt x="1466" y="1088"/>
                      </a:lnTo>
                      <a:lnTo>
                        <a:pt x="1467" y="1088"/>
                      </a:lnTo>
                      <a:lnTo>
                        <a:pt x="1467" y="1086"/>
                      </a:lnTo>
                      <a:lnTo>
                        <a:pt x="1468" y="1086"/>
                      </a:lnTo>
                      <a:lnTo>
                        <a:pt x="1469" y="1086"/>
                      </a:lnTo>
                      <a:lnTo>
                        <a:pt x="1470" y="1086"/>
                      </a:lnTo>
                      <a:lnTo>
                        <a:pt x="1471" y="1086"/>
                      </a:lnTo>
                      <a:close/>
                      <a:moveTo>
                        <a:pt x="1314" y="1192"/>
                      </a:moveTo>
                      <a:lnTo>
                        <a:pt x="1314" y="1193"/>
                      </a:lnTo>
                      <a:lnTo>
                        <a:pt x="1313" y="1194"/>
                      </a:lnTo>
                      <a:lnTo>
                        <a:pt x="1312" y="1195"/>
                      </a:lnTo>
                      <a:lnTo>
                        <a:pt x="1312" y="1196"/>
                      </a:lnTo>
                      <a:lnTo>
                        <a:pt x="1311" y="1196"/>
                      </a:lnTo>
                      <a:lnTo>
                        <a:pt x="1311" y="1197"/>
                      </a:lnTo>
                      <a:lnTo>
                        <a:pt x="1310" y="1198"/>
                      </a:lnTo>
                      <a:lnTo>
                        <a:pt x="1309" y="1199"/>
                      </a:lnTo>
                      <a:lnTo>
                        <a:pt x="1309" y="1200"/>
                      </a:lnTo>
                      <a:lnTo>
                        <a:pt x="1310" y="1200"/>
                      </a:lnTo>
                      <a:lnTo>
                        <a:pt x="1309" y="1200"/>
                      </a:lnTo>
                      <a:lnTo>
                        <a:pt x="1310" y="1200"/>
                      </a:lnTo>
                      <a:lnTo>
                        <a:pt x="1311" y="1200"/>
                      </a:lnTo>
                      <a:lnTo>
                        <a:pt x="1311" y="1201"/>
                      </a:lnTo>
                      <a:lnTo>
                        <a:pt x="1310" y="1201"/>
                      </a:lnTo>
                      <a:lnTo>
                        <a:pt x="1310" y="1202"/>
                      </a:lnTo>
                      <a:lnTo>
                        <a:pt x="1310" y="1204"/>
                      </a:lnTo>
                      <a:lnTo>
                        <a:pt x="1309" y="1204"/>
                      </a:lnTo>
                      <a:lnTo>
                        <a:pt x="1309" y="1205"/>
                      </a:lnTo>
                      <a:lnTo>
                        <a:pt x="1308" y="1206"/>
                      </a:lnTo>
                      <a:lnTo>
                        <a:pt x="1308" y="1207"/>
                      </a:lnTo>
                      <a:lnTo>
                        <a:pt x="1306" y="1207"/>
                      </a:lnTo>
                      <a:lnTo>
                        <a:pt x="1306" y="1208"/>
                      </a:lnTo>
                      <a:lnTo>
                        <a:pt x="1305" y="1209"/>
                      </a:lnTo>
                      <a:lnTo>
                        <a:pt x="1305" y="1210"/>
                      </a:lnTo>
                      <a:lnTo>
                        <a:pt x="1304" y="1210"/>
                      </a:lnTo>
                      <a:lnTo>
                        <a:pt x="1304" y="1211"/>
                      </a:lnTo>
                      <a:lnTo>
                        <a:pt x="1303" y="1211"/>
                      </a:lnTo>
                      <a:lnTo>
                        <a:pt x="1303" y="1212"/>
                      </a:lnTo>
                      <a:lnTo>
                        <a:pt x="1302" y="1212"/>
                      </a:lnTo>
                      <a:lnTo>
                        <a:pt x="1302" y="1213"/>
                      </a:lnTo>
                      <a:lnTo>
                        <a:pt x="1301" y="1214"/>
                      </a:lnTo>
                      <a:lnTo>
                        <a:pt x="1301" y="1215"/>
                      </a:lnTo>
                      <a:lnTo>
                        <a:pt x="1300" y="1215"/>
                      </a:lnTo>
                      <a:lnTo>
                        <a:pt x="1300" y="1217"/>
                      </a:lnTo>
                      <a:lnTo>
                        <a:pt x="1299" y="1218"/>
                      </a:lnTo>
                      <a:lnTo>
                        <a:pt x="1299" y="1219"/>
                      </a:lnTo>
                      <a:lnTo>
                        <a:pt x="1298" y="1219"/>
                      </a:lnTo>
                      <a:lnTo>
                        <a:pt x="1298" y="1220"/>
                      </a:lnTo>
                      <a:lnTo>
                        <a:pt x="1297" y="1220"/>
                      </a:lnTo>
                      <a:lnTo>
                        <a:pt x="1297" y="1221"/>
                      </a:lnTo>
                      <a:lnTo>
                        <a:pt x="1296" y="1222"/>
                      </a:lnTo>
                      <a:lnTo>
                        <a:pt x="1295" y="1222"/>
                      </a:lnTo>
                      <a:lnTo>
                        <a:pt x="1295" y="1223"/>
                      </a:lnTo>
                      <a:lnTo>
                        <a:pt x="1295" y="1224"/>
                      </a:lnTo>
                      <a:lnTo>
                        <a:pt x="1293" y="1225"/>
                      </a:lnTo>
                      <a:lnTo>
                        <a:pt x="1292" y="1225"/>
                      </a:lnTo>
                      <a:lnTo>
                        <a:pt x="1292" y="1226"/>
                      </a:lnTo>
                      <a:lnTo>
                        <a:pt x="1291" y="1227"/>
                      </a:lnTo>
                      <a:lnTo>
                        <a:pt x="1291" y="1228"/>
                      </a:lnTo>
                      <a:lnTo>
                        <a:pt x="1290" y="1228"/>
                      </a:lnTo>
                      <a:lnTo>
                        <a:pt x="1290" y="1230"/>
                      </a:lnTo>
                      <a:lnTo>
                        <a:pt x="1289" y="1231"/>
                      </a:lnTo>
                      <a:lnTo>
                        <a:pt x="1289" y="1232"/>
                      </a:lnTo>
                      <a:lnTo>
                        <a:pt x="1288" y="1232"/>
                      </a:lnTo>
                      <a:lnTo>
                        <a:pt x="1287" y="1232"/>
                      </a:lnTo>
                      <a:lnTo>
                        <a:pt x="1287" y="1233"/>
                      </a:lnTo>
                      <a:lnTo>
                        <a:pt x="1287" y="1234"/>
                      </a:lnTo>
                      <a:lnTo>
                        <a:pt x="1286" y="1234"/>
                      </a:lnTo>
                      <a:lnTo>
                        <a:pt x="1286" y="1235"/>
                      </a:lnTo>
                      <a:lnTo>
                        <a:pt x="1286" y="1234"/>
                      </a:lnTo>
                      <a:lnTo>
                        <a:pt x="1285" y="1235"/>
                      </a:lnTo>
                      <a:lnTo>
                        <a:pt x="1285" y="1236"/>
                      </a:lnTo>
                      <a:lnTo>
                        <a:pt x="1285" y="1237"/>
                      </a:lnTo>
                      <a:lnTo>
                        <a:pt x="1284" y="1237"/>
                      </a:lnTo>
                      <a:lnTo>
                        <a:pt x="1284" y="1238"/>
                      </a:lnTo>
                      <a:lnTo>
                        <a:pt x="1282" y="1241"/>
                      </a:lnTo>
                      <a:lnTo>
                        <a:pt x="1280" y="1243"/>
                      </a:lnTo>
                      <a:lnTo>
                        <a:pt x="1279" y="1243"/>
                      </a:lnTo>
                      <a:lnTo>
                        <a:pt x="1279" y="1244"/>
                      </a:lnTo>
                      <a:lnTo>
                        <a:pt x="1279" y="1245"/>
                      </a:lnTo>
                      <a:lnTo>
                        <a:pt x="1278" y="1245"/>
                      </a:lnTo>
                      <a:lnTo>
                        <a:pt x="1278" y="1246"/>
                      </a:lnTo>
                      <a:lnTo>
                        <a:pt x="1277" y="1247"/>
                      </a:lnTo>
                      <a:lnTo>
                        <a:pt x="1277" y="1248"/>
                      </a:lnTo>
                      <a:lnTo>
                        <a:pt x="1276" y="1248"/>
                      </a:lnTo>
                      <a:lnTo>
                        <a:pt x="1275" y="1248"/>
                      </a:lnTo>
                      <a:lnTo>
                        <a:pt x="1275" y="1249"/>
                      </a:lnTo>
                      <a:lnTo>
                        <a:pt x="1276" y="1249"/>
                      </a:lnTo>
                      <a:lnTo>
                        <a:pt x="1275" y="1250"/>
                      </a:lnTo>
                      <a:lnTo>
                        <a:pt x="1274" y="1250"/>
                      </a:lnTo>
                      <a:lnTo>
                        <a:pt x="1274" y="1249"/>
                      </a:lnTo>
                      <a:lnTo>
                        <a:pt x="1274" y="1248"/>
                      </a:lnTo>
                      <a:lnTo>
                        <a:pt x="1275" y="1248"/>
                      </a:lnTo>
                      <a:lnTo>
                        <a:pt x="1275" y="1247"/>
                      </a:lnTo>
                      <a:lnTo>
                        <a:pt x="1276" y="1246"/>
                      </a:lnTo>
                      <a:lnTo>
                        <a:pt x="1276" y="1245"/>
                      </a:lnTo>
                      <a:lnTo>
                        <a:pt x="1277" y="1245"/>
                      </a:lnTo>
                      <a:lnTo>
                        <a:pt x="1276" y="1245"/>
                      </a:lnTo>
                      <a:lnTo>
                        <a:pt x="1277" y="1245"/>
                      </a:lnTo>
                      <a:lnTo>
                        <a:pt x="1276" y="1245"/>
                      </a:lnTo>
                      <a:lnTo>
                        <a:pt x="1277" y="1245"/>
                      </a:lnTo>
                      <a:lnTo>
                        <a:pt x="1277" y="1244"/>
                      </a:lnTo>
                      <a:lnTo>
                        <a:pt x="1278" y="1243"/>
                      </a:lnTo>
                      <a:lnTo>
                        <a:pt x="1277" y="1243"/>
                      </a:lnTo>
                      <a:lnTo>
                        <a:pt x="1276" y="1243"/>
                      </a:lnTo>
                      <a:lnTo>
                        <a:pt x="1277" y="1243"/>
                      </a:lnTo>
                      <a:lnTo>
                        <a:pt x="1277" y="1241"/>
                      </a:lnTo>
                      <a:lnTo>
                        <a:pt x="1278" y="1241"/>
                      </a:lnTo>
                      <a:lnTo>
                        <a:pt x="1278" y="1240"/>
                      </a:lnTo>
                      <a:lnTo>
                        <a:pt x="1279" y="1240"/>
                      </a:lnTo>
                      <a:lnTo>
                        <a:pt x="1279" y="1239"/>
                      </a:lnTo>
                      <a:lnTo>
                        <a:pt x="1278" y="1240"/>
                      </a:lnTo>
                      <a:lnTo>
                        <a:pt x="1277" y="1241"/>
                      </a:lnTo>
                      <a:lnTo>
                        <a:pt x="1276" y="1243"/>
                      </a:lnTo>
                      <a:lnTo>
                        <a:pt x="1276" y="1241"/>
                      </a:lnTo>
                      <a:lnTo>
                        <a:pt x="1276" y="1240"/>
                      </a:lnTo>
                      <a:lnTo>
                        <a:pt x="1276" y="1239"/>
                      </a:lnTo>
                      <a:lnTo>
                        <a:pt x="1277" y="1239"/>
                      </a:lnTo>
                      <a:lnTo>
                        <a:pt x="1277" y="1238"/>
                      </a:lnTo>
                      <a:lnTo>
                        <a:pt x="1277" y="1237"/>
                      </a:lnTo>
                      <a:lnTo>
                        <a:pt x="1277" y="1236"/>
                      </a:lnTo>
                      <a:lnTo>
                        <a:pt x="1278" y="1236"/>
                      </a:lnTo>
                      <a:lnTo>
                        <a:pt x="1278" y="1235"/>
                      </a:lnTo>
                      <a:lnTo>
                        <a:pt x="1278" y="1233"/>
                      </a:lnTo>
                      <a:lnTo>
                        <a:pt x="1279" y="1233"/>
                      </a:lnTo>
                      <a:lnTo>
                        <a:pt x="1280" y="1233"/>
                      </a:lnTo>
                      <a:lnTo>
                        <a:pt x="1280" y="1232"/>
                      </a:lnTo>
                      <a:lnTo>
                        <a:pt x="1280" y="1231"/>
                      </a:lnTo>
                      <a:lnTo>
                        <a:pt x="1282" y="1231"/>
                      </a:lnTo>
                      <a:lnTo>
                        <a:pt x="1282" y="1230"/>
                      </a:lnTo>
                      <a:lnTo>
                        <a:pt x="1282" y="1228"/>
                      </a:lnTo>
                      <a:lnTo>
                        <a:pt x="1282" y="1227"/>
                      </a:lnTo>
                      <a:lnTo>
                        <a:pt x="1282" y="1226"/>
                      </a:lnTo>
                      <a:lnTo>
                        <a:pt x="1283" y="1226"/>
                      </a:lnTo>
                      <a:lnTo>
                        <a:pt x="1283" y="1225"/>
                      </a:lnTo>
                      <a:lnTo>
                        <a:pt x="1283" y="1224"/>
                      </a:lnTo>
                      <a:lnTo>
                        <a:pt x="1284" y="1224"/>
                      </a:lnTo>
                      <a:lnTo>
                        <a:pt x="1285" y="1225"/>
                      </a:lnTo>
                      <a:lnTo>
                        <a:pt x="1286" y="1225"/>
                      </a:lnTo>
                      <a:lnTo>
                        <a:pt x="1286" y="1224"/>
                      </a:lnTo>
                      <a:lnTo>
                        <a:pt x="1286" y="1223"/>
                      </a:lnTo>
                      <a:lnTo>
                        <a:pt x="1287" y="1223"/>
                      </a:lnTo>
                      <a:lnTo>
                        <a:pt x="1288" y="1223"/>
                      </a:lnTo>
                      <a:lnTo>
                        <a:pt x="1289" y="1222"/>
                      </a:lnTo>
                      <a:lnTo>
                        <a:pt x="1289" y="1221"/>
                      </a:lnTo>
                      <a:lnTo>
                        <a:pt x="1290" y="1221"/>
                      </a:lnTo>
                      <a:lnTo>
                        <a:pt x="1290" y="1220"/>
                      </a:lnTo>
                      <a:lnTo>
                        <a:pt x="1290" y="1219"/>
                      </a:lnTo>
                      <a:lnTo>
                        <a:pt x="1291" y="1219"/>
                      </a:lnTo>
                      <a:lnTo>
                        <a:pt x="1292" y="1218"/>
                      </a:lnTo>
                      <a:lnTo>
                        <a:pt x="1295" y="1217"/>
                      </a:lnTo>
                      <a:lnTo>
                        <a:pt x="1296" y="1217"/>
                      </a:lnTo>
                      <a:lnTo>
                        <a:pt x="1296" y="1215"/>
                      </a:lnTo>
                      <a:lnTo>
                        <a:pt x="1297" y="1215"/>
                      </a:lnTo>
                      <a:lnTo>
                        <a:pt x="1298" y="1215"/>
                      </a:lnTo>
                      <a:lnTo>
                        <a:pt x="1298" y="1214"/>
                      </a:lnTo>
                      <a:lnTo>
                        <a:pt x="1297" y="1214"/>
                      </a:lnTo>
                      <a:lnTo>
                        <a:pt x="1297" y="1213"/>
                      </a:lnTo>
                      <a:lnTo>
                        <a:pt x="1298" y="1212"/>
                      </a:lnTo>
                      <a:lnTo>
                        <a:pt x="1297" y="1212"/>
                      </a:lnTo>
                      <a:lnTo>
                        <a:pt x="1298" y="1211"/>
                      </a:lnTo>
                      <a:lnTo>
                        <a:pt x="1298" y="1212"/>
                      </a:lnTo>
                      <a:lnTo>
                        <a:pt x="1298" y="1211"/>
                      </a:lnTo>
                      <a:lnTo>
                        <a:pt x="1299" y="1211"/>
                      </a:lnTo>
                      <a:lnTo>
                        <a:pt x="1298" y="1210"/>
                      </a:lnTo>
                      <a:lnTo>
                        <a:pt x="1297" y="1211"/>
                      </a:lnTo>
                      <a:lnTo>
                        <a:pt x="1297" y="1210"/>
                      </a:lnTo>
                      <a:lnTo>
                        <a:pt x="1297" y="1209"/>
                      </a:lnTo>
                      <a:lnTo>
                        <a:pt x="1298" y="1209"/>
                      </a:lnTo>
                      <a:lnTo>
                        <a:pt x="1298" y="1208"/>
                      </a:lnTo>
                      <a:lnTo>
                        <a:pt x="1299" y="1208"/>
                      </a:lnTo>
                      <a:lnTo>
                        <a:pt x="1300" y="1208"/>
                      </a:lnTo>
                      <a:lnTo>
                        <a:pt x="1300" y="1207"/>
                      </a:lnTo>
                      <a:lnTo>
                        <a:pt x="1301" y="1207"/>
                      </a:lnTo>
                      <a:lnTo>
                        <a:pt x="1301" y="1206"/>
                      </a:lnTo>
                      <a:lnTo>
                        <a:pt x="1301" y="1205"/>
                      </a:lnTo>
                      <a:lnTo>
                        <a:pt x="1302" y="1204"/>
                      </a:lnTo>
                      <a:lnTo>
                        <a:pt x="1302" y="1202"/>
                      </a:lnTo>
                      <a:lnTo>
                        <a:pt x="1302" y="1201"/>
                      </a:lnTo>
                      <a:lnTo>
                        <a:pt x="1303" y="1201"/>
                      </a:lnTo>
                      <a:lnTo>
                        <a:pt x="1302" y="1201"/>
                      </a:lnTo>
                      <a:lnTo>
                        <a:pt x="1303" y="1200"/>
                      </a:lnTo>
                      <a:lnTo>
                        <a:pt x="1304" y="1200"/>
                      </a:lnTo>
                      <a:lnTo>
                        <a:pt x="1305" y="1200"/>
                      </a:lnTo>
                      <a:lnTo>
                        <a:pt x="1306" y="1200"/>
                      </a:lnTo>
                      <a:lnTo>
                        <a:pt x="1306" y="1199"/>
                      </a:lnTo>
                      <a:lnTo>
                        <a:pt x="1308" y="1199"/>
                      </a:lnTo>
                      <a:lnTo>
                        <a:pt x="1306" y="1198"/>
                      </a:lnTo>
                      <a:lnTo>
                        <a:pt x="1306" y="1197"/>
                      </a:lnTo>
                      <a:lnTo>
                        <a:pt x="1308" y="1197"/>
                      </a:lnTo>
                      <a:lnTo>
                        <a:pt x="1308" y="1196"/>
                      </a:lnTo>
                      <a:lnTo>
                        <a:pt x="1306" y="1196"/>
                      </a:lnTo>
                      <a:lnTo>
                        <a:pt x="1308" y="1196"/>
                      </a:lnTo>
                      <a:lnTo>
                        <a:pt x="1308" y="1195"/>
                      </a:lnTo>
                      <a:lnTo>
                        <a:pt x="1309" y="1195"/>
                      </a:lnTo>
                      <a:lnTo>
                        <a:pt x="1309" y="1194"/>
                      </a:lnTo>
                      <a:lnTo>
                        <a:pt x="1308" y="1194"/>
                      </a:lnTo>
                      <a:lnTo>
                        <a:pt x="1308" y="1193"/>
                      </a:lnTo>
                      <a:lnTo>
                        <a:pt x="1308" y="1192"/>
                      </a:lnTo>
                      <a:lnTo>
                        <a:pt x="1309" y="1192"/>
                      </a:lnTo>
                      <a:lnTo>
                        <a:pt x="1309" y="1191"/>
                      </a:lnTo>
                      <a:lnTo>
                        <a:pt x="1308" y="1191"/>
                      </a:lnTo>
                      <a:lnTo>
                        <a:pt x="1308" y="1189"/>
                      </a:lnTo>
                      <a:lnTo>
                        <a:pt x="1309" y="1189"/>
                      </a:lnTo>
                      <a:lnTo>
                        <a:pt x="1310" y="1191"/>
                      </a:lnTo>
                      <a:lnTo>
                        <a:pt x="1311" y="1191"/>
                      </a:lnTo>
                      <a:lnTo>
                        <a:pt x="1312" y="1191"/>
                      </a:lnTo>
                      <a:lnTo>
                        <a:pt x="1313" y="1191"/>
                      </a:lnTo>
                      <a:lnTo>
                        <a:pt x="1313" y="1192"/>
                      </a:lnTo>
                      <a:lnTo>
                        <a:pt x="1314" y="1192"/>
                      </a:lnTo>
                      <a:close/>
                      <a:moveTo>
                        <a:pt x="1433" y="1119"/>
                      </a:moveTo>
                      <a:lnTo>
                        <a:pt x="1434" y="1120"/>
                      </a:lnTo>
                      <a:lnTo>
                        <a:pt x="1434" y="1121"/>
                      </a:lnTo>
                      <a:lnTo>
                        <a:pt x="1435" y="1121"/>
                      </a:lnTo>
                      <a:lnTo>
                        <a:pt x="1435" y="1122"/>
                      </a:lnTo>
                      <a:lnTo>
                        <a:pt x="1434" y="1122"/>
                      </a:lnTo>
                      <a:lnTo>
                        <a:pt x="1435" y="1122"/>
                      </a:lnTo>
                      <a:lnTo>
                        <a:pt x="1435" y="1121"/>
                      </a:lnTo>
                      <a:lnTo>
                        <a:pt x="1437" y="1121"/>
                      </a:lnTo>
                      <a:lnTo>
                        <a:pt x="1438" y="1121"/>
                      </a:lnTo>
                      <a:lnTo>
                        <a:pt x="1439" y="1121"/>
                      </a:lnTo>
                      <a:lnTo>
                        <a:pt x="1440" y="1121"/>
                      </a:lnTo>
                      <a:lnTo>
                        <a:pt x="1441" y="1121"/>
                      </a:lnTo>
                      <a:lnTo>
                        <a:pt x="1442" y="1121"/>
                      </a:lnTo>
                      <a:lnTo>
                        <a:pt x="1443" y="1121"/>
                      </a:lnTo>
                      <a:lnTo>
                        <a:pt x="1446" y="1121"/>
                      </a:lnTo>
                      <a:lnTo>
                        <a:pt x="1448" y="1121"/>
                      </a:lnTo>
                      <a:lnTo>
                        <a:pt x="1452" y="1121"/>
                      </a:lnTo>
                      <a:lnTo>
                        <a:pt x="1453" y="1122"/>
                      </a:lnTo>
                      <a:lnTo>
                        <a:pt x="1457" y="1122"/>
                      </a:lnTo>
                      <a:lnTo>
                        <a:pt x="1459" y="1123"/>
                      </a:lnTo>
                      <a:lnTo>
                        <a:pt x="1472" y="1128"/>
                      </a:lnTo>
                      <a:lnTo>
                        <a:pt x="1476" y="1129"/>
                      </a:lnTo>
                      <a:lnTo>
                        <a:pt x="1478" y="1130"/>
                      </a:lnTo>
                      <a:lnTo>
                        <a:pt x="1480" y="1131"/>
                      </a:lnTo>
                      <a:lnTo>
                        <a:pt x="1481" y="1131"/>
                      </a:lnTo>
                      <a:lnTo>
                        <a:pt x="1483" y="1130"/>
                      </a:lnTo>
                      <a:lnTo>
                        <a:pt x="1486" y="1128"/>
                      </a:lnTo>
                      <a:lnTo>
                        <a:pt x="1487" y="1127"/>
                      </a:lnTo>
                      <a:lnTo>
                        <a:pt x="1490" y="1124"/>
                      </a:lnTo>
                      <a:lnTo>
                        <a:pt x="1489" y="1125"/>
                      </a:lnTo>
                      <a:lnTo>
                        <a:pt x="1489" y="1127"/>
                      </a:lnTo>
                      <a:lnTo>
                        <a:pt x="1489" y="1128"/>
                      </a:lnTo>
                      <a:lnTo>
                        <a:pt x="1490" y="1129"/>
                      </a:lnTo>
                      <a:lnTo>
                        <a:pt x="1490" y="1130"/>
                      </a:lnTo>
                      <a:lnTo>
                        <a:pt x="1489" y="1129"/>
                      </a:lnTo>
                      <a:lnTo>
                        <a:pt x="1486" y="1128"/>
                      </a:lnTo>
                      <a:lnTo>
                        <a:pt x="1485" y="1129"/>
                      </a:lnTo>
                      <a:lnTo>
                        <a:pt x="1484" y="1130"/>
                      </a:lnTo>
                      <a:lnTo>
                        <a:pt x="1483" y="1131"/>
                      </a:lnTo>
                      <a:lnTo>
                        <a:pt x="1482" y="1131"/>
                      </a:lnTo>
                      <a:lnTo>
                        <a:pt x="1482" y="1132"/>
                      </a:lnTo>
                      <a:lnTo>
                        <a:pt x="1483" y="1132"/>
                      </a:lnTo>
                      <a:lnTo>
                        <a:pt x="1482" y="1133"/>
                      </a:lnTo>
                      <a:lnTo>
                        <a:pt x="1482" y="1134"/>
                      </a:lnTo>
                      <a:lnTo>
                        <a:pt x="1481" y="1135"/>
                      </a:lnTo>
                      <a:lnTo>
                        <a:pt x="1482" y="1135"/>
                      </a:lnTo>
                      <a:lnTo>
                        <a:pt x="1483" y="1135"/>
                      </a:lnTo>
                      <a:lnTo>
                        <a:pt x="1483" y="1134"/>
                      </a:lnTo>
                      <a:lnTo>
                        <a:pt x="1484" y="1134"/>
                      </a:lnTo>
                      <a:lnTo>
                        <a:pt x="1484" y="1135"/>
                      </a:lnTo>
                      <a:lnTo>
                        <a:pt x="1484" y="1134"/>
                      </a:lnTo>
                      <a:lnTo>
                        <a:pt x="1484" y="1133"/>
                      </a:lnTo>
                      <a:lnTo>
                        <a:pt x="1485" y="1133"/>
                      </a:lnTo>
                      <a:lnTo>
                        <a:pt x="1485" y="1134"/>
                      </a:lnTo>
                      <a:lnTo>
                        <a:pt x="1486" y="1134"/>
                      </a:lnTo>
                      <a:lnTo>
                        <a:pt x="1487" y="1134"/>
                      </a:lnTo>
                      <a:lnTo>
                        <a:pt x="1486" y="1134"/>
                      </a:lnTo>
                      <a:lnTo>
                        <a:pt x="1485" y="1135"/>
                      </a:lnTo>
                      <a:lnTo>
                        <a:pt x="1486" y="1136"/>
                      </a:lnTo>
                      <a:lnTo>
                        <a:pt x="1485" y="1136"/>
                      </a:lnTo>
                      <a:lnTo>
                        <a:pt x="1484" y="1135"/>
                      </a:lnTo>
                      <a:lnTo>
                        <a:pt x="1482" y="1136"/>
                      </a:lnTo>
                      <a:lnTo>
                        <a:pt x="1481" y="1137"/>
                      </a:lnTo>
                      <a:lnTo>
                        <a:pt x="1482" y="1138"/>
                      </a:lnTo>
                      <a:lnTo>
                        <a:pt x="1483" y="1140"/>
                      </a:lnTo>
                      <a:lnTo>
                        <a:pt x="1485" y="1140"/>
                      </a:lnTo>
                      <a:lnTo>
                        <a:pt x="1485" y="1138"/>
                      </a:lnTo>
                      <a:lnTo>
                        <a:pt x="1486" y="1138"/>
                      </a:lnTo>
                      <a:lnTo>
                        <a:pt x="1486" y="1140"/>
                      </a:lnTo>
                      <a:lnTo>
                        <a:pt x="1485" y="1141"/>
                      </a:lnTo>
                      <a:lnTo>
                        <a:pt x="1483" y="1140"/>
                      </a:lnTo>
                      <a:lnTo>
                        <a:pt x="1483" y="1141"/>
                      </a:lnTo>
                      <a:lnTo>
                        <a:pt x="1483" y="1142"/>
                      </a:lnTo>
                      <a:lnTo>
                        <a:pt x="1482" y="1143"/>
                      </a:lnTo>
                      <a:lnTo>
                        <a:pt x="1481" y="1144"/>
                      </a:lnTo>
                      <a:lnTo>
                        <a:pt x="1480" y="1145"/>
                      </a:lnTo>
                      <a:lnTo>
                        <a:pt x="1479" y="1146"/>
                      </a:lnTo>
                      <a:lnTo>
                        <a:pt x="1478" y="1148"/>
                      </a:lnTo>
                      <a:lnTo>
                        <a:pt x="1479" y="1149"/>
                      </a:lnTo>
                      <a:lnTo>
                        <a:pt x="1479" y="1150"/>
                      </a:lnTo>
                      <a:lnTo>
                        <a:pt x="1478" y="1150"/>
                      </a:lnTo>
                      <a:lnTo>
                        <a:pt x="1477" y="1149"/>
                      </a:lnTo>
                      <a:lnTo>
                        <a:pt x="1477" y="1146"/>
                      </a:lnTo>
                      <a:lnTo>
                        <a:pt x="1477" y="1145"/>
                      </a:lnTo>
                      <a:lnTo>
                        <a:pt x="1477" y="1144"/>
                      </a:lnTo>
                      <a:lnTo>
                        <a:pt x="1478" y="1144"/>
                      </a:lnTo>
                      <a:lnTo>
                        <a:pt x="1479" y="1143"/>
                      </a:lnTo>
                      <a:lnTo>
                        <a:pt x="1478" y="1142"/>
                      </a:lnTo>
                      <a:lnTo>
                        <a:pt x="1478" y="1141"/>
                      </a:lnTo>
                      <a:lnTo>
                        <a:pt x="1479" y="1140"/>
                      </a:lnTo>
                      <a:lnTo>
                        <a:pt x="1478" y="1138"/>
                      </a:lnTo>
                      <a:lnTo>
                        <a:pt x="1477" y="1137"/>
                      </a:lnTo>
                      <a:lnTo>
                        <a:pt x="1476" y="1136"/>
                      </a:lnTo>
                      <a:lnTo>
                        <a:pt x="1474" y="1134"/>
                      </a:lnTo>
                      <a:lnTo>
                        <a:pt x="1474" y="1133"/>
                      </a:lnTo>
                      <a:lnTo>
                        <a:pt x="1473" y="1132"/>
                      </a:lnTo>
                      <a:lnTo>
                        <a:pt x="1472" y="1132"/>
                      </a:lnTo>
                      <a:lnTo>
                        <a:pt x="1471" y="1132"/>
                      </a:lnTo>
                      <a:lnTo>
                        <a:pt x="1471" y="1133"/>
                      </a:lnTo>
                      <a:lnTo>
                        <a:pt x="1471" y="1134"/>
                      </a:lnTo>
                      <a:lnTo>
                        <a:pt x="1470" y="1134"/>
                      </a:lnTo>
                      <a:lnTo>
                        <a:pt x="1470" y="1135"/>
                      </a:lnTo>
                      <a:lnTo>
                        <a:pt x="1469" y="1135"/>
                      </a:lnTo>
                      <a:lnTo>
                        <a:pt x="1469" y="1134"/>
                      </a:lnTo>
                      <a:lnTo>
                        <a:pt x="1469" y="1133"/>
                      </a:lnTo>
                      <a:lnTo>
                        <a:pt x="1469" y="1132"/>
                      </a:lnTo>
                      <a:lnTo>
                        <a:pt x="1468" y="1131"/>
                      </a:lnTo>
                      <a:lnTo>
                        <a:pt x="1467" y="1131"/>
                      </a:lnTo>
                      <a:lnTo>
                        <a:pt x="1467" y="1130"/>
                      </a:lnTo>
                      <a:lnTo>
                        <a:pt x="1467" y="1129"/>
                      </a:lnTo>
                      <a:lnTo>
                        <a:pt x="1466" y="1129"/>
                      </a:lnTo>
                      <a:lnTo>
                        <a:pt x="1465" y="1130"/>
                      </a:lnTo>
                      <a:lnTo>
                        <a:pt x="1463" y="1130"/>
                      </a:lnTo>
                      <a:lnTo>
                        <a:pt x="1461" y="1130"/>
                      </a:lnTo>
                      <a:lnTo>
                        <a:pt x="1460" y="1131"/>
                      </a:lnTo>
                      <a:lnTo>
                        <a:pt x="1459" y="1130"/>
                      </a:lnTo>
                      <a:lnTo>
                        <a:pt x="1458" y="1130"/>
                      </a:lnTo>
                      <a:lnTo>
                        <a:pt x="1457" y="1131"/>
                      </a:lnTo>
                      <a:lnTo>
                        <a:pt x="1457" y="1132"/>
                      </a:lnTo>
                      <a:lnTo>
                        <a:pt x="1456" y="1133"/>
                      </a:lnTo>
                      <a:lnTo>
                        <a:pt x="1456" y="1134"/>
                      </a:lnTo>
                      <a:lnTo>
                        <a:pt x="1455" y="1132"/>
                      </a:lnTo>
                      <a:lnTo>
                        <a:pt x="1455" y="1133"/>
                      </a:lnTo>
                      <a:lnTo>
                        <a:pt x="1454" y="1133"/>
                      </a:lnTo>
                      <a:lnTo>
                        <a:pt x="1454" y="1132"/>
                      </a:lnTo>
                      <a:lnTo>
                        <a:pt x="1454" y="1131"/>
                      </a:lnTo>
                      <a:lnTo>
                        <a:pt x="1454" y="1130"/>
                      </a:lnTo>
                      <a:lnTo>
                        <a:pt x="1454" y="1129"/>
                      </a:lnTo>
                      <a:lnTo>
                        <a:pt x="1453" y="1129"/>
                      </a:lnTo>
                      <a:lnTo>
                        <a:pt x="1453" y="1128"/>
                      </a:lnTo>
                      <a:lnTo>
                        <a:pt x="1452" y="1128"/>
                      </a:lnTo>
                      <a:lnTo>
                        <a:pt x="1451" y="1127"/>
                      </a:lnTo>
                      <a:lnTo>
                        <a:pt x="1450" y="1125"/>
                      </a:lnTo>
                      <a:lnTo>
                        <a:pt x="1448" y="1125"/>
                      </a:lnTo>
                      <a:lnTo>
                        <a:pt x="1447" y="1125"/>
                      </a:lnTo>
                      <a:lnTo>
                        <a:pt x="1445" y="1124"/>
                      </a:lnTo>
                      <a:lnTo>
                        <a:pt x="1445" y="1125"/>
                      </a:lnTo>
                      <a:lnTo>
                        <a:pt x="1446" y="1127"/>
                      </a:lnTo>
                      <a:lnTo>
                        <a:pt x="1447" y="1128"/>
                      </a:lnTo>
                      <a:lnTo>
                        <a:pt x="1448" y="1129"/>
                      </a:lnTo>
                      <a:lnTo>
                        <a:pt x="1447" y="1129"/>
                      </a:lnTo>
                      <a:lnTo>
                        <a:pt x="1446" y="1128"/>
                      </a:lnTo>
                      <a:lnTo>
                        <a:pt x="1445" y="1128"/>
                      </a:lnTo>
                      <a:lnTo>
                        <a:pt x="1444" y="1127"/>
                      </a:lnTo>
                      <a:lnTo>
                        <a:pt x="1443" y="1125"/>
                      </a:lnTo>
                      <a:lnTo>
                        <a:pt x="1443" y="1124"/>
                      </a:lnTo>
                      <a:lnTo>
                        <a:pt x="1442" y="1125"/>
                      </a:lnTo>
                      <a:lnTo>
                        <a:pt x="1442" y="1124"/>
                      </a:lnTo>
                      <a:lnTo>
                        <a:pt x="1441" y="1124"/>
                      </a:lnTo>
                      <a:lnTo>
                        <a:pt x="1441" y="1125"/>
                      </a:lnTo>
                      <a:lnTo>
                        <a:pt x="1440" y="1124"/>
                      </a:lnTo>
                      <a:lnTo>
                        <a:pt x="1441" y="1124"/>
                      </a:lnTo>
                      <a:lnTo>
                        <a:pt x="1440" y="1124"/>
                      </a:lnTo>
                      <a:lnTo>
                        <a:pt x="1439" y="1124"/>
                      </a:lnTo>
                      <a:lnTo>
                        <a:pt x="1439" y="1123"/>
                      </a:lnTo>
                      <a:lnTo>
                        <a:pt x="1438" y="1123"/>
                      </a:lnTo>
                      <a:lnTo>
                        <a:pt x="1437" y="1123"/>
                      </a:lnTo>
                      <a:lnTo>
                        <a:pt x="1435" y="1122"/>
                      </a:lnTo>
                      <a:lnTo>
                        <a:pt x="1434" y="1123"/>
                      </a:lnTo>
                      <a:lnTo>
                        <a:pt x="1433" y="1122"/>
                      </a:lnTo>
                      <a:lnTo>
                        <a:pt x="1433" y="1123"/>
                      </a:lnTo>
                      <a:lnTo>
                        <a:pt x="1432" y="1123"/>
                      </a:lnTo>
                      <a:lnTo>
                        <a:pt x="1432" y="1122"/>
                      </a:lnTo>
                      <a:lnTo>
                        <a:pt x="1431" y="1122"/>
                      </a:lnTo>
                      <a:lnTo>
                        <a:pt x="1431" y="1121"/>
                      </a:lnTo>
                      <a:lnTo>
                        <a:pt x="1430" y="1121"/>
                      </a:lnTo>
                      <a:lnTo>
                        <a:pt x="1431" y="1120"/>
                      </a:lnTo>
                      <a:lnTo>
                        <a:pt x="1431" y="1119"/>
                      </a:lnTo>
                      <a:lnTo>
                        <a:pt x="1431" y="1120"/>
                      </a:lnTo>
                      <a:lnTo>
                        <a:pt x="1430" y="1120"/>
                      </a:lnTo>
                      <a:lnTo>
                        <a:pt x="1430" y="1119"/>
                      </a:lnTo>
                      <a:lnTo>
                        <a:pt x="1431" y="1119"/>
                      </a:lnTo>
                      <a:lnTo>
                        <a:pt x="1430" y="1119"/>
                      </a:lnTo>
                      <a:lnTo>
                        <a:pt x="1430" y="1118"/>
                      </a:lnTo>
                      <a:lnTo>
                        <a:pt x="1431" y="1117"/>
                      </a:lnTo>
                      <a:lnTo>
                        <a:pt x="1432" y="1118"/>
                      </a:lnTo>
                      <a:lnTo>
                        <a:pt x="1433" y="1119"/>
                      </a:lnTo>
                      <a:close/>
                      <a:moveTo>
                        <a:pt x="1440" y="1114"/>
                      </a:moveTo>
                      <a:lnTo>
                        <a:pt x="1441" y="1115"/>
                      </a:lnTo>
                      <a:lnTo>
                        <a:pt x="1442" y="1115"/>
                      </a:lnTo>
                      <a:lnTo>
                        <a:pt x="1443" y="1115"/>
                      </a:lnTo>
                      <a:lnTo>
                        <a:pt x="1444" y="1115"/>
                      </a:lnTo>
                      <a:lnTo>
                        <a:pt x="1445" y="1115"/>
                      </a:lnTo>
                      <a:lnTo>
                        <a:pt x="1446" y="1115"/>
                      </a:lnTo>
                      <a:lnTo>
                        <a:pt x="1445" y="1115"/>
                      </a:lnTo>
                      <a:lnTo>
                        <a:pt x="1446" y="1115"/>
                      </a:lnTo>
                      <a:lnTo>
                        <a:pt x="1446" y="1116"/>
                      </a:lnTo>
                      <a:lnTo>
                        <a:pt x="1447" y="1116"/>
                      </a:lnTo>
                      <a:lnTo>
                        <a:pt x="1448" y="1116"/>
                      </a:lnTo>
                      <a:lnTo>
                        <a:pt x="1448" y="1117"/>
                      </a:lnTo>
                      <a:lnTo>
                        <a:pt x="1447" y="1117"/>
                      </a:lnTo>
                      <a:lnTo>
                        <a:pt x="1448" y="1117"/>
                      </a:lnTo>
                      <a:lnTo>
                        <a:pt x="1448" y="1116"/>
                      </a:lnTo>
                      <a:lnTo>
                        <a:pt x="1451" y="1115"/>
                      </a:lnTo>
                      <a:lnTo>
                        <a:pt x="1452" y="1115"/>
                      </a:lnTo>
                      <a:lnTo>
                        <a:pt x="1455" y="1116"/>
                      </a:lnTo>
                      <a:lnTo>
                        <a:pt x="1456" y="1116"/>
                      </a:lnTo>
                      <a:lnTo>
                        <a:pt x="1455" y="1117"/>
                      </a:lnTo>
                      <a:lnTo>
                        <a:pt x="1456" y="1117"/>
                      </a:lnTo>
                      <a:lnTo>
                        <a:pt x="1456" y="1118"/>
                      </a:lnTo>
                      <a:lnTo>
                        <a:pt x="1457" y="1118"/>
                      </a:lnTo>
                      <a:lnTo>
                        <a:pt x="1457" y="1119"/>
                      </a:lnTo>
                      <a:lnTo>
                        <a:pt x="1458" y="1119"/>
                      </a:lnTo>
                      <a:lnTo>
                        <a:pt x="1458" y="1120"/>
                      </a:lnTo>
                      <a:lnTo>
                        <a:pt x="1459" y="1119"/>
                      </a:lnTo>
                      <a:lnTo>
                        <a:pt x="1460" y="1119"/>
                      </a:lnTo>
                      <a:lnTo>
                        <a:pt x="1461" y="1119"/>
                      </a:lnTo>
                      <a:lnTo>
                        <a:pt x="1461" y="1118"/>
                      </a:lnTo>
                      <a:lnTo>
                        <a:pt x="1463" y="1117"/>
                      </a:lnTo>
                      <a:lnTo>
                        <a:pt x="1463" y="1118"/>
                      </a:lnTo>
                      <a:lnTo>
                        <a:pt x="1463" y="1119"/>
                      </a:lnTo>
                      <a:lnTo>
                        <a:pt x="1463" y="1120"/>
                      </a:lnTo>
                      <a:lnTo>
                        <a:pt x="1463" y="1119"/>
                      </a:lnTo>
                      <a:lnTo>
                        <a:pt x="1463" y="1120"/>
                      </a:lnTo>
                      <a:lnTo>
                        <a:pt x="1464" y="1120"/>
                      </a:lnTo>
                      <a:lnTo>
                        <a:pt x="1465" y="1120"/>
                      </a:lnTo>
                      <a:lnTo>
                        <a:pt x="1465" y="1121"/>
                      </a:lnTo>
                      <a:lnTo>
                        <a:pt x="1465" y="1122"/>
                      </a:lnTo>
                      <a:lnTo>
                        <a:pt x="1466" y="1122"/>
                      </a:lnTo>
                      <a:lnTo>
                        <a:pt x="1465" y="1122"/>
                      </a:lnTo>
                      <a:lnTo>
                        <a:pt x="1466" y="1122"/>
                      </a:lnTo>
                      <a:lnTo>
                        <a:pt x="1466" y="1121"/>
                      </a:lnTo>
                      <a:lnTo>
                        <a:pt x="1466" y="1120"/>
                      </a:lnTo>
                      <a:lnTo>
                        <a:pt x="1465" y="1119"/>
                      </a:lnTo>
                      <a:lnTo>
                        <a:pt x="1466" y="1120"/>
                      </a:lnTo>
                      <a:lnTo>
                        <a:pt x="1467" y="1120"/>
                      </a:lnTo>
                      <a:lnTo>
                        <a:pt x="1468" y="1120"/>
                      </a:lnTo>
                      <a:lnTo>
                        <a:pt x="1469" y="1120"/>
                      </a:lnTo>
                      <a:lnTo>
                        <a:pt x="1469" y="1121"/>
                      </a:lnTo>
                      <a:lnTo>
                        <a:pt x="1470" y="1123"/>
                      </a:lnTo>
                      <a:lnTo>
                        <a:pt x="1470" y="1124"/>
                      </a:lnTo>
                      <a:lnTo>
                        <a:pt x="1471" y="1125"/>
                      </a:lnTo>
                      <a:lnTo>
                        <a:pt x="1471" y="1124"/>
                      </a:lnTo>
                      <a:lnTo>
                        <a:pt x="1471" y="1123"/>
                      </a:lnTo>
                      <a:lnTo>
                        <a:pt x="1472" y="1122"/>
                      </a:lnTo>
                      <a:lnTo>
                        <a:pt x="1473" y="1122"/>
                      </a:lnTo>
                      <a:lnTo>
                        <a:pt x="1474" y="1122"/>
                      </a:lnTo>
                      <a:lnTo>
                        <a:pt x="1474" y="1121"/>
                      </a:lnTo>
                      <a:lnTo>
                        <a:pt x="1474" y="1120"/>
                      </a:lnTo>
                      <a:lnTo>
                        <a:pt x="1476" y="1120"/>
                      </a:lnTo>
                      <a:lnTo>
                        <a:pt x="1476" y="1121"/>
                      </a:lnTo>
                      <a:lnTo>
                        <a:pt x="1476" y="1122"/>
                      </a:lnTo>
                      <a:lnTo>
                        <a:pt x="1477" y="1123"/>
                      </a:lnTo>
                      <a:lnTo>
                        <a:pt x="1476" y="1124"/>
                      </a:lnTo>
                      <a:lnTo>
                        <a:pt x="1477" y="1125"/>
                      </a:lnTo>
                      <a:lnTo>
                        <a:pt x="1478" y="1127"/>
                      </a:lnTo>
                      <a:lnTo>
                        <a:pt x="1479" y="1127"/>
                      </a:lnTo>
                      <a:lnTo>
                        <a:pt x="1479" y="1125"/>
                      </a:lnTo>
                      <a:lnTo>
                        <a:pt x="1479" y="1124"/>
                      </a:lnTo>
                      <a:lnTo>
                        <a:pt x="1480" y="1124"/>
                      </a:lnTo>
                      <a:lnTo>
                        <a:pt x="1481" y="1122"/>
                      </a:lnTo>
                      <a:lnTo>
                        <a:pt x="1481" y="1123"/>
                      </a:lnTo>
                      <a:lnTo>
                        <a:pt x="1481" y="1124"/>
                      </a:lnTo>
                      <a:lnTo>
                        <a:pt x="1480" y="1125"/>
                      </a:lnTo>
                      <a:lnTo>
                        <a:pt x="1480" y="1128"/>
                      </a:lnTo>
                      <a:lnTo>
                        <a:pt x="1481" y="1129"/>
                      </a:lnTo>
                      <a:lnTo>
                        <a:pt x="1482" y="1129"/>
                      </a:lnTo>
                      <a:lnTo>
                        <a:pt x="1481" y="1128"/>
                      </a:lnTo>
                      <a:lnTo>
                        <a:pt x="1482" y="1128"/>
                      </a:lnTo>
                      <a:lnTo>
                        <a:pt x="1483" y="1128"/>
                      </a:lnTo>
                      <a:lnTo>
                        <a:pt x="1484" y="1128"/>
                      </a:lnTo>
                      <a:lnTo>
                        <a:pt x="1485" y="1127"/>
                      </a:lnTo>
                      <a:lnTo>
                        <a:pt x="1486" y="1127"/>
                      </a:lnTo>
                      <a:lnTo>
                        <a:pt x="1487" y="1125"/>
                      </a:lnTo>
                      <a:lnTo>
                        <a:pt x="1487" y="1124"/>
                      </a:lnTo>
                      <a:lnTo>
                        <a:pt x="1487" y="1123"/>
                      </a:lnTo>
                      <a:lnTo>
                        <a:pt x="1489" y="1123"/>
                      </a:lnTo>
                      <a:lnTo>
                        <a:pt x="1491" y="1121"/>
                      </a:lnTo>
                      <a:lnTo>
                        <a:pt x="1492" y="1122"/>
                      </a:lnTo>
                      <a:lnTo>
                        <a:pt x="1486" y="1127"/>
                      </a:lnTo>
                      <a:lnTo>
                        <a:pt x="1483" y="1129"/>
                      </a:lnTo>
                      <a:lnTo>
                        <a:pt x="1482" y="1130"/>
                      </a:lnTo>
                      <a:lnTo>
                        <a:pt x="1481" y="1130"/>
                      </a:lnTo>
                      <a:lnTo>
                        <a:pt x="1479" y="1129"/>
                      </a:lnTo>
                      <a:lnTo>
                        <a:pt x="1477" y="1128"/>
                      </a:lnTo>
                      <a:lnTo>
                        <a:pt x="1473" y="1127"/>
                      </a:lnTo>
                      <a:lnTo>
                        <a:pt x="1467" y="1124"/>
                      </a:lnTo>
                      <a:lnTo>
                        <a:pt x="1466" y="1123"/>
                      </a:lnTo>
                      <a:lnTo>
                        <a:pt x="1465" y="1123"/>
                      </a:lnTo>
                      <a:lnTo>
                        <a:pt x="1465" y="1122"/>
                      </a:lnTo>
                      <a:lnTo>
                        <a:pt x="1465" y="1123"/>
                      </a:lnTo>
                      <a:lnTo>
                        <a:pt x="1464" y="1122"/>
                      </a:lnTo>
                      <a:lnTo>
                        <a:pt x="1464" y="1123"/>
                      </a:lnTo>
                      <a:lnTo>
                        <a:pt x="1461" y="1123"/>
                      </a:lnTo>
                      <a:lnTo>
                        <a:pt x="1461" y="1122"/>
                      </a:lnTo>
                      <a:lnTo>
                        <a:pt x="1460" y="1122"/>
                      </a:lnTo>
                      <a:lnTo>
                        <a:pt x="1459" y="1122"/>
                      </a:lnTo>
                      <a:lnTo>
                        <a:pt x="1458" y="1121"/>
                      </a:lnTo>
                      <a:lnTo>
                        <a:pt x="1457" y="1121"/>
                      </a:lnTo>
                      <a:lnTo>
                        <a:pt x="1456" y="1121"/>
                      </a:lnTo>
                      <a:lnTo>
                        <a:pt x="1455" y="1120"/>
                      </a:lnTo>
                      <a:lnTo>
                        <a:pt x="1454" y="1120"/>
                      </a:lnTo>
                      <a:lnTo>
                        <a:pt x="1453" y="1120"/>
                      </a:lnTo>
                      <a:lnTo>
                        <a:pt x="1452" y="1120"/>
                      </a:lnTo>
                      <a:lnTo>
                        <a:pt x="1451" y="1120"/>
                      </a:lnTo>
                      <a:lnTo>
                        <a:pt x="1448" y="1120"/>
                      </a:lnTo>
                      <a:lnTo>
                        <a:pt x="1445" y="1120"/>
                      </a:lnTo>
                      <a:lnTo>
                        <a:pt x="1444" y="1120"/>
                      </a:lnTo>
                      <a:lnTo>
                        <a:pt x="1442" y="1120"/>
                      </a:lnTo>
                      <a:lnTo>
                        <a:pt x="1441" y="1120"/>
                      </a:lnTo>
                      <a:lnTo>
                        <a:pt x="1440" y="1121"/>
                      </a:lnTo>
                      <a:lnTo>
                        <a:pt x="1439" y="1120"/>
                      </a:lnTo>
                      <a:lnTo>
                        <a:pt x="1438" y="1120"/>
                      </a:lnTo>
                      <a:lnTo>
                        <a:pt x="1437" y="1120"/>
                      </a:lnTo>
                      <a:lnTo>
                        <a:pt x="1435" y="1120"/>
                      </a:lnTo>
                      <a:lnTo>
                        <a:pt x="1435" y="1119"/>
                      </a:lnTo>
                      <a:lnTo>
                        <a:pt x="1434" y="1119"/>
                      </a:lnTo>
                      <a:lnTo>
                        <a:pt x="1434" y="1118"/>
                      </a:lnTo>
                      <a:lnTo>
                        <a:pt x="1433" y="1117"/>
                      </a:lnTo>
                      <a:lnTo>
                        <a:pt x="1432" y="1117"/>
                      </a:lnTo>
                      <a:lnTo>
                        <a:pt x="1432" y="1116"/>
                      </a:lnTo>
                      <a:lnTo>
                        <a:pt x="1433" y="1116"/>
                      </a:lnTo>
                      <a:lnTo>
                        <a:pt x="1433" y="1115"/>
                      </a:lnTo>
                      <a:lnTo>
                        <a:pt x="1432" y="1115"/>
                      </a:lnTo>
                      <a:lnTo>
                        <a:pt x="1433" y="1115"/>
                      </a:lnTo>
                      <a:lnTo>
                        <a:pt x="1432" y="1115"/>
                      </a:lnTo>
                      <a:lnTo>
                        <a:pt x="1432" y="1114"/>
                      </a:lnTo>
                      <a:lnTo>
                        <a:pt x="1431" y="1114"/>
                      </a:lnTo>
                      <a:lnTo>
                        <a:pt x="1431" y="1112"/>
                      </a:lnTo>
                      <a:lnTo>
                        <a:pt x="1431" y="1111"/>
                      </a:lnTo>
                      <a:lnTo>
                        <a:pt x="1432" y="1111"/>
                      </a:lnTo>
                      <a:lnTo>
                        <a:pt x="1433" y="1111"/>
                      </a:lnTo>
                      <a:lnTo>
                        <a:pt x="1434" y="1111"/>
                      </a:lnTo>
                      <a:lnTo>
                        <a:pt x="1434" y="1112"/>
                      </a:lnTo>
                      <a:lnTo>
                        <a:pt x="1435" y="1112"/>
                      </a:lnTo>
                      <a:lnTo>
                        <a:pt x="1438" y="1112"/>
                      </a:lnTo>
                      <a:lnTo>
                        <a:pt x="1439" y="1114"/>
                      </a:lnTo>
                      <a:lnTo>
                        <a:pt x="1440" y="1114"/>
                      </a:lnTo>
                      <a:close/>
                      <a:moveTo>
                        <a:pt x="1415" y="1105"/>
                      </a:moveTo>
                      <a:lnTo>
                        <a:pt x="1414" y="1106"/>
                      </a:lnTo>
                      <a:lnTo>
                        <a:pt x="1414" y="1107"/>
                      </a:lnTo>
                      <a:lnTo>
                        <a:pt x="1410" y="1110"/>
                      </a:lnTo>
                      <a:lnTo>
                        <a:pt x="1408" y="1112"/>
                      </a:lnTo>
                      <a:lnTo>
                        <a:pt x="1408" y="1114"/>
                      </a:lnTo>
                      <a:lnTo>
                        <a:pt x="1407" y="1115"/>
                      </a:lnTo>
                      <a:lnTo>
                        <a:pt x="1403" y="1117"/>
                      </a:lnTo>
                      <a:lnTo>
                        <a:pt x="1402" y="1118"/>
                      </a:lnTo>
                      <a:lnTo>
                        <a:pt x="1401" y="1119"/>
                      </a:lnTo>
                      <a:lnTo>
                        <a:pt x="1401" y="1118"/>
                      </a:lnTo>
                      <a:lnTo>
                        <a:pt x="1401" y="1119"/>
                      </a:lnTo>
                      <a:lnTo>
                        <a:pt x="1400" y="1119"/>
                      </a:lnTo>
                      <a:lnTo>
                        <a:pt x="1400" y="1120"/>
                      </a:lnTo>
                      <a:lnTo>
                        <a:pt x="1399" y="1120"/>
                      </a:lnTo>
                      <a:lnTo>
                        <a:pt x="1397" y="1120"/>
                      </a:lnTo>
                      <a:lnTo>
                        <a:pt x="1396" y="1121"/>
                      </a:lnTo>
                      <a:lnTo>
                        <a:pt x="1397" y="1121"/>
                      </a:lnTo>
                      <a:lnTo>
                        <a:pt x="1399" y="1120"/>
                      </a:lnTo>
                      <a:lnTo>
                        <a:pt x="1402" y="1118"/>
                      </a:lnTo>
                      <a:lnTo>
                        <a:pt x="1404" y="1117"/>
                      </a:lnTo>
                      <a:lnTo>
                        <a:pt x="1406" y="1116"/>
                      </a:lnTo>
                      <a:lnTo>
                        <a:pt x="1407" y="1116"/>
                      </a:lnTo>
                      <a:lnTo>
                        <a:pt x="1406" y="1116"/>
                      </a:lnTo>
                      <a:lnTo>
                        <a:pt x="1404" y="1117"/>
                      </a:lnTo>
                      <a:lnTo>
                        <a:pt x="1404" y="1118"/>
                      </a:lnTo>
                      <a:lnTo>
                        <a:pt x="1405" y="1119"/>
                      </a:lnTo>
                      <a:lnTo>
                        <a:pt x="1405" y="1120"/>
                      </a:lnTo>
                      <a:lnTo>
                        <a:pt x="1406" y="1121"/>
                      </a:lnTo>
                      <a:lnTo>
                        <a:pt x="1406" y="1122"/>
                      </a:lnTo>
                      <a:lnTo>
                        <a:pt x="1405" y="1123"/>
                      </a:lnTo>
                      <a:lnTo>
                        <a:pt x="1404" y="1124"/>
                      </a:lnTo>
                      <a:lnTo>
                        <a:pt x="1403" y="1124"/>
                      </a:lnTo>
                      <a:lnTo>
                        <a:pt x="1402" y="1124"/>
                      </a:lnTo>
                      <a:lnTo>
                        <a:pt x="1401" y="1124"/>
                      </a:lnTo>
                      <a:lnTo>
                        <a:pt x="1400" y="1124"/>
                      </a:lnTo>
                      <a:lnTo>
                        <a:pt x="1399" y="1124"/>
                      </a:lnTo>
                      <a:lnTo>
                        <a:pt x="1397" y="1124"/>
                      </a:lnTo>
                      <a:lnTo>
                        <a:pt x="1396" y="1124"/>
                      </a:lnTo>
                      <a:lnTo>
                        <a:pt x="1395" y="1124"/>
                      </a:lnTo>
                      <a:lnTo>
                        <a:pt x="1394" y="1124"/>
                      </a:lnTo>
                      <a:lnTo>
                        <a:pt x="1394" y="1123"/>
                      </a:lnTo>
                      <a:lnTo>
                        <a:pt x="1393" y="1123"/>
                      </a:lnTo>
                      <a:lnTo>
                        <a:pt x="1393" y="1122"/>
                      </a:lnTo>
                      <a:lnTo>
                        <a:pt x="1392" y="1122"/>
                      </a:lnTo>
                      <a:lnTo>
                        <a:pt x="1392" y="1121"/>
                      </a:lnTo>
                      <a:lnTo>
                        <a:pt x="1392" y="1120"/>
                      </a:lnTo>
                      <a:lnTo>
                        <a:pt x="1392" y="1119"/>
                      </a:lnTo>
                      <a:lnTo>
                        <a:pt x="1392" y="1118"/>
                      </a:lnTo>
                      <a:lnTo>
                        <a:pt x="1391" y="1117"/>
                      </a:lnTo>
                      <a:lnTo>
                        <a:pt x="1391" y="1116"/>
                      </a:lnTo>
                      <a:lnTo>
                        <a:pt x="1392" y="1116"/>
                      </a:lnTo>
                      <a:lnTo>
                        <a:pt x="1393" y="1116"/>
                      </a:lnTo>
                      <a:lnTo>
                        <a:pt x="1394" y="1116"/>
                      </a:lnTo>
                      <a:lnTo>
                        <a:pt x="1394" y="1115"/>
                      </a:lnTo>
                      <a:lnTo>
                        <a:pt x="1395" y="1115"/>
                      </a:lnTo>
                      <a:lnTo>
                        <a:pt x="1396" y="1114"/>
                      </a:lnTo>
                      <a:lnTo>
                        <a:pt x="1396" y="1115"/>
                      </a:lnTo>
                      <a:lnTo>
                        <a:pt x="1397" y="1114"/>
                      </a:lnTo>
                      <a:lnTo>
                        <a:pt x="1399" y="1112"/>
                      </a:lnTo>
                      <a:lnTo>
                        <a:pt x="1400" y="1112"/>
                      </a:lnTo>
                      <a:lnTo>
                        <a:pt x="1400" y="1111"/>
                      </a:lnTo>
                      <a:lnTo>
                        <a:pt x="1401" y="1111"/>
                      </a:lnTo>
                      <a:lnTo>
                        <a:pt x="1402" y="1110"/>
                      </a:lnTo>
                      <a:lnTo>
                        <a:pt x="1402" y="1109"/>
                      </a:lnTo>
                      <a:lnTo>
                        <a:pt x="1403" y="1109"/>
                      </a:lnTo>
                      <a:lnTo>
                        <a:pt x="1403" y="1108"/>
                      </a:lnTo>
                      <a:lnTo>
                        <a:pt x="1404" y="1108"/>
                      </a:lnTo>
                      <a:lnTo>
                        <a:pt x="1404" y="1107"/>
                      </a:lnTo>
                      <a:lnTo>
                        <a:pt x="1405" y="1107"/>
                      </a:lnTo>
                      <a:lnTo>
                        <a:pt x="1406" y="1106"/>
                      </a:lnTo>
                      <a:lnTo>
                        <a:pt x="1407" y="1106"/>
                      </a:lnTo>
                      <a:lnTo>
                        <a:pt x="1408" y="1106"/>
                      </a:lnTo>
                      <a:lnTo>
                        <a:pt x="1409" y="1106"/>
                      </a:lnTo>
                      <a:lnTo>
                        <a:pt x="1410" y="1106"/>
                      </a:lnTo>
                      <a:lnTo>
                        <a:pt x="1412" y="1106"/>
                      </a:lnTo>
                      <a:lnTo>
                        <a:pt x="1412" y="1105"/>
                      </a:lnTo>
                      <a:lnTo>
                        <a:pt x="1413" y="1105"/>
                      </a:lnTo>
                      <a:lnTo>
                        <a:pt x="1414" y="1105"/>
                      </a:lnTo>
                      <a:lnTo>
                        <a:pt x="1415" y="1105"/>
                      </a:lnTo>
                      <a:lnTo>
                        <a:pt x="1415" y="1104"/>
                      </a:lnTo>
                      <a:lnTo>
                        <a:pt x="1415" y="1105"/>
                      </a:lnTo>
                      <a:close/>
                      <a:moveTo>
                        <a:pt x="1161" y="829"/>
                      </a:moveTo>
                      <a:lnTo>
                        <a:pt x="1162" y="829"/>
                      </a:lnTo>
                      <a:lnTo>
                        <a:pt x="1162" y="831"/>
                      </a:lnTo>
                      <a:lnTo>
                        <a:pt x="1163" y="832"/>
                      </a:lnTo>
                      <a:lnTo>
                        <a:pt x="1164" y="832"/>
                      </a:lnTo>
                      <a:lnTo>
                        <a:pt x="1166" y="832"/>
                      </a:lnTo>
                      <a:lnTo>
                        <a:pt x="1167" y="832"/>
                      </a:lnTo>
                      <a:lnTo>
                        <a:pt x="1168" y="832"/>
                      </a:lnTo>
                      <a:lnTo>
                        <a:pt x="1168" y="831"/>
                      </a:lnTo>
                      <a:lnTo>
                        <a:pt x="1169" y="831"/>
                      </a:lnTo>
                      <a:lnTo>
                        <a:pt x="1170" y="831"/>
                      </a:lnTo>
                      <a:lnTo>
                        <a:pt x="1171" y="831"/>
                      </a:lnTo>
                      <a:lnTo>
                        <a:pt x="1172" y="831"/>
                      </a:lnTo>
                      <a:lnTo>
                        <a:pt x="1173" y="832"/>
                      </a:lnTo>
                      <a:lnTo>
                        <a:pt x="1173" y="833"/>
                      </a:lnTo>
                      <a:lnTo>
                        <a:pt x="1174" y="833"/>
                      </a:lnTo>
                      <a:lnTo>
                        <a:pt x="1175" y="834"/>
                      </a:lnTo>
                      <a:lnTo>
                        <a:pt x="1176" y="834"/>
                      </a:lnTo>
                      <a:lnTo>
                        <a:pt x="1176" y="835"/>
                      </a:lnTo>
                      <a:lnTo>
                        <a:pt x="1175" y="835"/>
                      </a:lnTo>
                      <a:lnTo>
                        <a:pt x="1174" y="835"/>
                      </a:lnTo>
                      <a:lnTo>
                        <a:pt x="1174" y="834"/>
                      </a:lnTo>
                      <a:lnTo>
                        <a:pt x="1173" y="834"/>
                      </a:lnTo>
                      <a:lnTo>
                        <a:pt x="1173" y="833"/>
                      </a:lnTo>
                      <a:lnTo>
                        <a:pt x="1172" y="833"/>
                      </a:lnTo>
                      <a:lnTo>
                        <a:pt x="1171" y="833"/>
                      </a:lnTo>
                      <a:lnTo>
                        <a:pt x="1170" y="833"/>
                      </a:lnTo>
                      <a:lnTo>
                        <a:pt x="1170" y="834"/>
                      </a:lnTo>
                      <a:lnTo>
                        <a:pt x="1171" y="833"/>
                      </a:lnTo>
                      <a:lnTo>
                        <a:pt x="1171" y="834"/>
                      </a:lnTo>
                      <a:lnTo>
                        <a:pt x="1170" y="834"/>
                      </a:lnTo>
                      <a:lnTo>
                        <a:pt x="1169" y="834"/>
                      </a:lnTo>
                      <a:lnTo>
                        <a:pt x="1170" y="834"/>
                      </a:lnTo>
                      <a:lnTo>
                        <a:pt x="1170" y="833"/>
                      </a:lnTo>
                      <a:lnTo>
                        <a:pt x="1169" y="833"/>
                      </a:lnTo>
                      <a:lnTo>
                        <a:pt x="1169" y="834"/>
                      </a:lnTo>
                      <a:lnTo>
                        <a:pt x="1169" y="835"/>
                      </a:lnTo>
                      <a:lnTo>
                        <a:pt x="1169" y="836"/>
                      </a:lnTo>
                      <a:lnTo>
                        <a:pt x="1170" y="836"/>
                      </a:lnTo>
                      <a:lnTo>
                        <a:pt x="1169" y="836"/>
                      </a:lnTo>
                      <a:lnTo>
                        <a:pt x="1170" y="836"/>
                      </a:lnTo>
                      <a:lnTo>
                        <a:pt x="1171" y="836"/>
                      </a:lnTo>
                      <a:lnTo>
                        <a:pt x="1170" y="837"/>
                      </a:lnTo>
                      <a:lnTo>
                        <a:pt x="1169" y="838"/>
                      </a:lnTo>
                      <a:lnTo>
                        <a:pt x="1169" y="839"/>
                      </a:lnTo>
                      <a:lnTo>
                        <a:pt x="1168" y="839"/>
                      </a:lnTo>
                      <a:lnTo>
                        <a:pt x="1168" y="838"/>
                      </a:lnTo>
                      <a:lnTo>
                        <a:pt x="1167" y="838"/>
                      </a:lnTo>
                      <a:lnTo>
                        <a:pt x="1166" y="839"/>
                      </a:lnTo>
                      <a:lnTo>
                        <a:pt x="1164" y="839"/>
                      </a:lnTo>
                      <a:lnTo>
                        <a:pt x="1164" y="838"/>
                      </a:lnTo>
                      <a:lnTo>
                        <a:pt x="1164" y="837"/>
                      </a:lnTo>
                      <a:lnTo>
                        <a:pt x="1164" y="836"/>
                      </a:lnTo>
                      <a:lnTo>
                        <a:pt x="1164" y="835"/>
                      </a:lnTo>
                      <a:lnTo>
                        <a:pt x="1164" y="834"/>
                      </a:lnTo>
                      <a:lnTo>
                        <a:pt x="1163" y="834"/>
                      </a:lnTo>
                      <a:lnTo>
                        <a:pt x="1162" y="834"/>
                      </a:lnTo>
                      <a:lnTo>
                        <a:pt x="1161" y="834"/>
                      </a:lnTo>
                      <a:lnTo>
                        <a:pt x="1160" y="834"/>
                      </a:lnTo>
                      <a:lnTo>
                        <a:pt x="1159" y="834"/>
                      </a:lnTo>
                      <a:lnTo>
                        <a:pt x="1159" y="835"/>
                      </a:lnTo>
                      <a:lnTo>
                        <a:pt x="1158" y="835"/>
                      </a:lnTo>
                      <a:lnTo>
                        <a:pt x="1158" y="836"/>
                      </a:lnTo>
                      <a:lnTo>
                        <a:pt x="1157" y="836"/>
                      </a:lnTo>
                      <a:lnTo>
                        <a:pt x="1157" y="837"/>
                      </a:lnTo>
                      <a:lnTo>
                        <a:pt x="1157" y="838"/>
                      </a:lnTo>
                      <a:lnTo>
                        <a:pt x="1158" y="838"/>
                      </a:lnTo>
                      <a:lnTo>
                        <a:pt x="1159" y="838"/>
                      </a:lnTo>
                      <a:lnTo>
                        <a:pt x="1160" y="838"/>
                      </a:lnTo>
                      <a:lnTo>
                        <a:pt x="1161" y="838"/>
                      </a:lnTo>
                      <a:lnTo>
                        <a:pt x="1162" y="838"/>
                      </a:lnTo>
                      <a:lnTo>
                        <a:pt x="1163" y="838"/>
                      </a:lnTo>
                      <a:lnTo>
                        <a:pt x="1163" y="839"/>
                      </a:lnTo>
                      <a:lnTo>
                        <a:pt x="1163" y="840"/>
                      </a:lnTo>
                      <a:lnTo>
                        <a:pt x="1163" y="841"/>
                      </a:lnTo>
                      <a:lnTo>
                        <a:pt x="1164" y="841"/>
                      </a:lnTo>
                      <a:lnTo>
                        <a:pt x="1164" y="842"/>
                      </a:lnTo>
                      <a:lnTo>
                        <a:pt x="1164" y="844"/>
                      </a:lnTo>
                      <a:lnTo>
                        <a:pt x="1163" y="845"/>
                      </a:lnTo>
                      <a:lnTo>
                        <a:pt x="1161" y="845"/>
                      </a:lnTo>
                      <a:lnTo>
                        <a:pt x="1160" y="845"/>
                      </a:lnTo>
                      <a:lnTo>
                        <a:pt x="1160" y="846"/>
                      </a:lnTo>
                      <a:lnTo>
                        <a:pt x="1160" y="847"/>
                      </a:lnTo>
                      <a:lnTo>
                        <a:pt x="1160" y="848"/>
                      </a:lnTo>
                      <a:lnTo>
                        <a:pt x="1160" y="849"/>
                      </a:lnTo>
                      <a:lnTo>
                        <a:pt x="1161" y="849"/>
                      </a:lnTo>
                      <a:lnTo>
                        <a:pt x="1161" y="850"/>
                      </a:lnTo>
                      <a:lnTo>
                        <a:pt x="1160" y="850"/>
                      </a:lnTo>
                      <a:lnTo>
                        <a:pt x="1160" y="849"/>
                      </a:lnTo>
                      <a:lnTo>
                        <a:pt x="1159" y="850"/>
                      </a:lnTo>
                      <a:lnTo>
                        <a:pt x="1159" y="851"/>
                      </a:lnTo>
                      <a:lnTo>
                        <a:pt x="1158" y="851"/>
                      </a:lnTo>
                      <a:lnTo>
                        <a:pt x="1158" y="852"/>
                      </a:lnTo>
                      <a:lnTo>
                        <a:pt x="1159" y="852"/>
                      </a:lnTo>
                      <a:lnTo>
                        <a:pt x="1159" y="853"/>
                      </a:lnTo>
                      <a:lnTo>
                        <a:pt x="1158" y="853"/>
                      </a:lnTo>
                      <a:lnTo>
                        <a:pt x="1158" y="852"/>
                      </a:lnTo>
                      <a:lnTo>
                        <a:pt x="1158" y="851"/>
                      </a:lnTo>
                      <a:lnTo>
                        <a:pt x="1157" y="851"/>
                      </a:lnTo>
                      <a:lnTo>
                        <a:pt x="1157" y="852"/>
                      </a:lnTo>
                      <a:lnTo>
                        <a:pt x="1157" y="851"/>
                      </a:lnTo>
                      <a:lnTo>
                        <a:pt x="1158" y="851"/>
                      </a:lnTo>
                      <a:lnTo>
                        <a:pt x="1158" y="852"/>
                      </a:lnTo>
                      <a:lnTo>
                        <a:pt x="1157" y="852"/>
                      </a:lnTo>
                      <a:lnTo>
                        <a:pt x="1157" y="851"/>
                      </a:lnTo>
                      <a:lnTo>
                        <a:pt x="1157" y="850"/>
                      </a:lnTo>
                      <a:lnTo>
                        <a:pt x="1157" y="849"/>
                      </a:lnTo>
                      <a:lnTo>
                        <a:pt x="1158" y="849"/>
                      </a:lnTo>
                      <a:lnTo>
                        <a:pt x="1159" y="849"/>
                      </a:lnTo>
                      <a:lnTo>
                        <a:pt x="1159" y="848"/>
                      </a:lnTo>
                      <a:lnTo>
                        <a:pt x="1159" y="849"/>
                      </a:lnTo>
                      <a:lnTo>
                        <a:pt x="1159" y="848"/>
                      </a:lnTo>
                      <a:lnTo>
                        <a:pt x="1158" y="848"/>
                      </a:lnTo>
                      <a:lnTo>
                        <a:pt x="1157" y="848"/>
                      </a:lnTo>
                      <a:lnTo>
                        <a:pt x="1157" y="849"/>
                      </a:lnTo>
                      <a:lnTo>
                        <a:pt x="1157" y="848"/>
                      </a:lnTo>
                      <a:lnTo>
                        <a:pt x="1156" y="848"/>
                      </a:lnTo>
                      <a:lnTo>
                        <a:pt x="1156" y="847"/>
                      </a:lnTo>
                      <a:lnTo>
                        <a:pt x="1157" y="846"/>
                      </a:lnTo>
                      <a:lnTo>
                        <a:pt x="1156" y="846"/>
                      </a:lnTo>
                      <a:lnTo>
                        <a:pt x="1155" y="847"/>
                      </a:lnTo>
                      <a:lnTo>
                        <a:pt x="1155" y="846"/>
                      </a:lnTo>
                      <a:lnTo>
                        <a:pt x="1154" y="846"/>
                      </a:lnTo>
                      <a:lnTo>
                        <a:pt x="1153" y="846"/>
                      </a:lnTo>
                      <a:lnTo>
                        <a:pt x="1153" y="845"/>
                      </a:lnTo>
                      <a:lnTo>
                        <a:pt x="1151" y="845"/>
                      </a:lnTo>
                      <a:lnTo>
                        <a:pt x="1151" y="844"/>
                      </a:lnTo>
                      <a:lnTo>
                        <a:pt x="1153" y="844"/>
                      </a:lnTo>
                      <a:lnTo>
                        <a:pt x="1151" y="842"/>
                      </a:lnTo>
                      <a:lnTo>
                        <a:pt x="1153" y="842"/>
                      </a:lnTo>
                      <a:lnTo>
                        <a:pt x="1151" y="842"/>
                      </a:lnTo>
                      <a:lnTo>
                        <a:pt x="1150" y="842"/>
                      </a:lnTo>
                      <a:lnTo>
                        <a:pt x="1149" y="842"/>
                      </a:lnTo>
                      <a:lnTo>
                        <a:pt x="1148" y="842"/>
                      </a:lnTo>
                      <a:lnTo>
                        <a:pt x="1149" y="842"/>
                      </a:lnTo>
                      <a:lnTo>
                        <a:pt x="1149" y="841"/>
                      </a:lnTo>
                      <a:lnTo>
                        <a:pt x="1149" y="842"/>
                      </a:lnTo>
                      <a:lnTo>
                        <a:pt x="1149" y="841"/>
                      </a:lnTo>
                      <a:lnTo>
                        <a:pt x="1149" y="842"/>
                      </a:lnTo>
                      <a:lnTo>
                        <a:pt x="1149" y="841"/>
                      </a:lnTo>
                      <a:lnTo>
                        <a:pt x="1149" y="842"/>
                      </a:lnTo>
                      <a:lnTo>
                        <a:pt x="1148" y="842"/>
                      </a:lnTo>
                      <a:lnTo>
                        <a:pt x="1148" y="841"/>
                      </a:lnTo>
                      <a:lnTo>
                        <a:pt x="1148" y="840"/>
                      </a:lnTo>
                      <a:lnTo>
                        <a:pt x="1149" y="840"/>
                      </a:lnTo>
                      <a:lnTo>
                        <a:pt x="1149" y="841"/>
                      </a:lnTo>
                      <a:lnTo>
                        <a:pt x="1150" y="840"/>
                      </a:lnTo>
                      <a:lnTo>
                        <a:pt x="1151" y="840"/>
                      </a:lnTo>
                      <a:lnTo>
                        <a:pt x="1153" y="840"/>
                      </a:lnTo>
                      <a:lnTo>
                        <a:pt x="1153" y="841"/>
                      </a:lnTo>
                      <a:lnTo>
                        <a:pt x="1153" y="840"/>
                      </a:lnTo>
                      <a:lnTo>
                        <a:pt x="1154" y="840"/>
                      </a:lnTo>
                      <a:lnTo>
                        <a:pt x="1155" y="841"/>
                      </a:lnTo>
                      <a:lnTo>
                        <a:pt x="1155" y="840"/>
                      </a:lnTo>
                      <a:lnTo>
                        <a:pt x="1154" y="840"/>
                      </a:lnTo>
                      <a:lnTo>
                        <a:pt x="1154" y="839"/>
                      </a:lnTo>
                      <a:lnTo>
                        <a:pt x="1155" y="839"/>
                      </a:lnTo>
                      <a:lnTo>
                        <a:pt x="1155" y="838"/>
                      </a:lnTo>
                      <a:lnTo>
                        <a:pt x="1154" y="838"/>
                      </a:lnTo>
                      <a:lnTo>
                        <a:pt x="1154" y="837"/>
                      </a:lnTo>
                      <a:lnTo>
                        <a:pt x="1153" y="837"/>
                      </a:lnTo>
                      <a:lnTo>
                        <a:pt x="1151" y="836"/>
                      </a:lnTo>
                      <a:lnTo>
                        <a:pt x="1153" y="836"/>
                      </a:lnTo>
                      <a:lnTo>
                        <a:pt x="1154" y="835"/>
                      </a:lnTo>
                      <a:lnTo>
                        <a:pt x="1155" y="835"/>
                      </a:lnTo>
                      <a:lnTo>
                        <a:pt x="1155" y="834"/>
                      </a:lnTo>
                      <a:lnTo>
                        <a:pt x="1156" y="834"/>
                      </a:lnTo>
                      <a:lnTo>
                        <a:pt x="1156" y="833"/>
                      </a:lnTo>
                      <a:lnTo>
                        <a:pt x="1157" y="832"/>
                      </a:lnTo>
                      <a:lnTo>
                        <a:pt x="1158" y="832"/>
                      </a:lnTo>
                      <a:lnTo>
                        <a:pt x="1158" y="831"/>
                      </a:lnTo>
                      <a:lnTo>
                        <a:pt x="1159" y="831"/>
                      </a:lnTo>
                      <a:lnTo>
                        <a:pt x="1160" y="831"/>
                      </a:lnTo>
                      <a:lnTo>
                        <a:pt x="1160" y="829"/>
                      </a:lnTo>
                      <a:lnTo>
                        <a:pt x="1161" y="829"/>
                      </a:lnTo>
                      <a:close/>
                      <a:moveTo>
                        <a:pt x="1354" y="1153"/>
                      </a:moveTo>
                      <a:lnTo>
                        <a:pt x="1355" y="1154"/>
                      </a:lnTo>
                      <a:lnTo>
                        <a:pt x="1355" y="1155"/>
                      </a:lnTo>
                      <a:lnTo>
                        <a:pt x="1354" y="1154"/>
                      </a:lnTo>
                      <a:lnTo>
                        <a:pt x="1354" y="1153"/>
                      </a:lnTo>
                      <a:lnTo>
                        <a:pt x="1354" y="1154"/>
                      </a:lnTo>
                      <a:lnTo>
                        <a:pt x="1353" y="1154"/>
                      </a:lnTo>
                      <a:lnTo>
                        <a:pt x="1353" y="1153"/>
                      </a:lnTo>
                      <a:lnTo>
                        <a:pt x="1354" y="1153"/>
                      </a:lnTo>
                      <a:lnTo>
                        <a:pt x="1353" y="1153"/>
                      </a:lnTo>
                      <a:lnTo>
                        <a:pt x="1353" y="1154"/>
                      </a:lnTo>
                      <a:lnTo>
                        <a:pt x="1352" y="1154"/>
                      </a:lnTo>
                      <a:lnTo>
                        <a:pt x="1352" y="1155"/>
                      </a:lnTo>
                      <a:lnTo>
                        <a:pt x="1351" y="1157"/>
                      </a:lnTo>
                      <a:lnTo>
                        <a:pt x="1350" y="1157"/>
                      </a:lnTo>
                      <a:lnTo>
                        <a:pt x="1351" y="1158"/>
                      </a:lnTo>
                      <a:lnTo>
                        <a:pt x="1350" y="1159"/>
                      </a:lnTo>
                      <a:lnTo>
                        <a:pt x="1349" y="1159"/>
                      </a:lnTo>
                      <a:lnTo>
                        <a:pt x="1349" y="1160"/>
                      </a:lnTo>
                      <a:lnTo>
                        <a:pt x="1348" y="1161"/>
                      </a:lnTo>
                      <a:lnTo>
                        <a:pt x="1347" y="1161"/>
                      </a:lnTo>
                      <a:lnTo>
                        <a:pt x="1348" y="1162"/>
                      </a:lnTo>
                      <a:lnTo>
                        <a:pt x="1347" y="1162"/>
                      </a:lnTo>
                      <a:lnTo>
                        <a:pt x="1345" y="1163"/>
                      </a:lnTo>
                      <a:lnTo>
                        <a:pt x="1345" y="1164"/>
                      </a:lnTo>
                      <a:lnTo>
                        <a:pt x="1345" y="1163"/>
                      </a:lnTo>
                      <a:lnTo>
                        <a:pt x="1344" y="1163"/>
                      </a:lnTo>
                      <a:lnTo>
                        <a:pt x="1344" y="1164"/>
                      </a:lnTo>
                      <a:lnTo>
                        <a:pt x="1345" y="1164"/>
                      </a:lnTo>
                      <a:lnTo>
                        <a:pt x="1344" y="1164"/>
                      </a:lnTo>
                      <a:lnTo>
                        <a:pt x="1343" y="1166"/>
                      </a:lnTo>
                      <a:lnTo>
                        <a:pt x="1342" y="1166"/>
                      </a:lnTo>
                      <a:lnTo>
                        <a:pt x="1343" y="1167"/>
                      </a:lnTo>
                      <a:lnTo>
                        <a:pt x="1342" y="1167"/>
                      </a:lnTo>
                      <a:lnTo>
                        <a:pt x="1342" y="1168"/>
                      </a:lnTo>
                      <a:lnTo>
                        <a:pt x="1341" y="1168"/>
                      </a:lnTo>
                      <a:lnTo>
                        <a:pt x="1340" y="1168"/>
                      </a:lnTo>
                      <a:lnTo>
                        <a:pt x="1340" y="1169"/>
                      </a:lnTo>
                      <a:lnTo>
                        <a:pt x="1339" y="1169"/>
                      </a:lnTo>
                      <a:lnTo>
                        <a:pt x="1339" y="1170"/>
                      </a:lnTo>
                      <a:lnTo>
                        <a:pt x="1338" y="1170"/>
                      </a:lnTo>
                      <a:lnTo>
                        <a:pt x="1338" y="1171"/>
                      </a:lnTo>
                      <a:lnTo>
                        <a:pt x="1338" y="1172"/>
                      </a:lnTo>
                      <a:lnTo>
                        <a:pt x="1338" y="1171"/>
                      </a:lnTo>
                      <a:lnTo>
                        <a:pt x="1337" y="1171"/>
                      </a:lnTo>
                      <a:lnTo>
                        <a:pt x="1337" y="1172"/>
                      </a:lnTo>
                      <a:lnTo>
                        <a:pt x="1338" y="1172"/>
                      </a:lnTo>
                      <a:lnTo>
                        <a:pt x="1337" y="1172"/>
                      </a:lnTo>
                      <a:lnTo>
                        <a:pt x="1337" y="1173"/>
                      </a:lnTo>
                      <a:lnTo>
                        <a:pt x="1336" y="1173"/>
                      </a:lnTo>
                      <a:lnTo>
                        <a:pt x="1337" y="1173"/>
                      </a:lnTo>
                      <a:lnTo>
                        <a:pt x="1337" y="1174"/>
                      </a:lnTo>
                      <a:lnTo>
                        <a:pt x="1336" y="1173"/>
                      </a:lnTo>
                      <a:lnTo>
                        <a:pt x="1336" y="1174"/>
                      </a:lnTo>
                      <a:lnTo>
                        <a:pt x="1336" y="1175"/>
                      </a:lnTo>
                      <a:lnTo>
                        <a:pt x="1335" y="1176"/>
                      </a:lnTo>
                      <a:lnTo>
                        <a:pt x="1335" y="1178"/>
                      </a:lnTo>
                      <a:lnTo>
                        <a:pt x="1334" y="1178"/>
                      </a:lnTo>
                      <a:lnTo>
                        <a:pt x="1334" y="1179"/>
                      </a:lnTo>
                      <a:lnTo>
                        <a:pt x="1332" y="1179"/>
                      </a:lnTo>
                      <a:lnTo>
                        <a:pt x="1334" y="1179"/>
                      </a:lnTo>
                      <a:lnTo>
                        <a:pt x="1334" y="1180"/>
                      </a:lnTo>
                      <a:lnTo>
                        <a:pt x="1332" y="1180"/>
                      </a:lnTo>
                      <a:lnTo>
                        <a:pt x="1332" y="1181"/>
                      </a:lnTo>
                      <a:lnTo>
                        <a:pt x="1332" y="1182"/>
                      </a:lnTo>
                      <a:lnTo>
                        <a:pt x="1332" y="1181"/>
                      </a:lnTo>
                      <a:lnTo>
                        <a:pt x="1331" y="1181"/>
                      </a:lnTo>
                      <a:lnTo>
                        <a:pt x="1331" y="1182"/>
                      </a:lnTo>
                      <a:lnTo>
                        <a:pt x="1332" y="1182"/>
                      </a:lnTo>
                      <a:lnTo>
                        <a:pt x="1332" y="1183"/>
                      </a:lnTo>
                      <a:lnTo>
                        <a:pt x="1331" y="1183"/>
                      </a:lnTo>
                      <a:lnTo>
                        <a:pt x="1332" y="1183"/>
                      </a:lnTo>
                      <a:lnTo>
                        <a:pt x="1331" y="1183"/>
                      </a:lnTo>
                      <a:lnTo>
                        <a:pt x="1332" y="1183"/>
                      </a:lnTo>
                      <a:lnTo>
                        <a:pt x="1331" y="1183"/>
                      </a:lnTo>
                      <a:lnTo>
                        <a:pt x="1331" y="1182"/>
                      </a:lnTo>
                      <a:lnTo>
                        <a:pt x="1331" y="1183"/>
                      </a:lnTo>
                      <a:lnTo>
                        <a:pt x="1331" y="1184"/>
                      </a:lnTo>
                      <a:lnTo>
                        <a:pt x="1331" y="1183"/>
                      </a:lnTo>
                      <a:lnTo>
                        <a:pt x="1330" y="1183"/>
                      </a:lnTo>
                      <a:lnTo>
                        <a:pt x="1330" y="1184"/>
                      </a:lnTo>
                      <a:lnTo>
                        <a:pt x="1330" y="1185"/>
                      </a:lnTo>
                      <a:lnTo>
                        <a:pt x="1329" y="1185"/>
                      </a:lnTo>
                      <a:lnTo>
                        <a:pt x="1329" y="1186"/>
                      </a:lnTo>
                      <a:lnTo>
                        <a:pt x="1329" y="1185"/>
                      </a:lnTo>
                      <a:lnTo>
                        <a:pt x="1329" y="1186"/>
                      </a:lnTo>
                      <a:lnTo>
                        <a:pt x="1328" y="1186"/>
                      </a:lnTo>
                      <a:lnTo>
                        <a:pt x="1328" y="1187"/>
                      </a:lnTo>
                      <a:lnTo>
                        <a:pt x="1327" y="1187"/>
                      </a:lnTo>
                      <a:lnTo>
                        <a:pt x="1326" y="1188"/>
                      </a:lnTo>
                      <a:lnTo>
                        <a:pt x="1325" y="1189"/>
                      </a:lnTo>
                      <a:lnTo>
                        <a:pt x="1325" y="1191"/>
                      </a:lnTo>
                      <a:lnTo>
                        <a:pt x="1324" y="1191"/>
                      </a:lnTo>
                      <a:lnTo>
                        <a:pt x="1324" y="1192"/>
                      </a:lnTo>
                      <a:lnTo>
                        <a:pt x="1323" y="1193"/>
                      </a:lnTo>
                      <a:lnTo>
                        <a:pt x="1323" y="1194"/>
                      </a:lnTo>
                      <a:lnTo>
                        <a:pt x="1322" y="1194"/>
                      </a:lnTo>
                      <a:lnTo>
                        <a:pt x="1322" y="1195"/>
                      </a:lnTo>
                      <a:lnTo>
                        <a:pt x="1322" y="1196"/>
                      </a:lnTo>
                      <a:lnTo>
                        <a:pt x="1322" y="1197"/>
                      </a:lnTo>
                      <a:lnTo>
                        <a:pt x="1321" y="1197"/>
                      </a:lnTo>
                      <a:lnTo>
                        <a:pt x="1321" y="1198"/>
                      </a:lnTo>
                      <a:lnTo>
                        <a:pt x="1319" y="1198"/>
                      </a:lnTo>
                      <a:lnTo>
                        <a:pt x="1319" y="1199"/>
                      </a:lnTo>
                      <a:lnTo>
                        <a:pt x="1319" y="1200"/>
                      </a:lnTo>
                      <a:lnTo>
                        <a:pt x="1318" y="1200"/>
                      </a:lnTo>
                      <a:lnTo>
                        <a:pt x="1318" y="1201"/>
                      </a:lnTo>
                      <a:lnTo>
                        <a:pt x="1318" y="1202"/>
                      </a:lnTo>
                      <a:lnTo>
                        <a:pt x="1317" y="1204"/>
                      </a:lnTo>
                      <a:lnTo>
                        <a:pt x="1317" y="1205"/>
                      </a:lnTo>
                      <a:lnTo>
                        <a:pt x="1316" y="1205"/>
                      </a:lnTo>
                      <a:lnTo>
                        <a:pt x="1315" y="1205"/>
                      </a:lnTo>
                      <a:lnTo>
                        <a:pt x="1315" y="1206"/>
                      </a:lnTo>
                      <a:lnTo>
                        <a:pt x="1316" y="1206"/>
                      </a:lnTo>
                      <a:lnTo>
                        <a:pt x="1315" y="1208"/>
                      </a:lnTo>
                      <a:lnTo>
                        <a:pt x="1314" y="1210"/>
                      </a:lnTo>
                      <a:lnTo>
                        <a:pt x="1313" y="1212"/>
                      </a:lnTo>
                      <a:lnTo>
                        <a:pt x="1312" y="1213"/>
                      </a:lnTo>
                      <a:lnTo>
                        <a:pt x="1312" y="1214"/>
                      </a:lnTo>
                      <a:lnTo>
                        <a:pt x="1311" y="1214"/>
                      </a:lnTo>
                      <a:lnTo>
                        <a:pt x="1310" y="1214"/>
                      </a:lnTo>
                      <a:lnTo>
                        <a:pt x="1310" y="1215"/>
                      </a:lnTo>
                      <a:lnTo>
                        <a:pt x="1310" y="1214"/>
                      </a:lnTo>
                      <a:lnTo>
                        <a:pt x="1310" y="1213"/>
                      </a:lnTo>
                      <a:lnTo>
                        <a:pt x="1310" y="1214"/>
                      </a:lnTo>
                      <a:lnTo>
                        <a:pt x="1310" y="1215"/>
                      </a:lnTo>
                      <a:lnTo>
                        <a:pt x="1309" y="1215"/>
                      </a:lnTo>
                      <a:lnTo>
                        <a:pt x="1310" y="1215"/>
                      </a:lnTo>
                      <a:lnTo>
                        <a:pt x="1309" y="1215"/>
                      </a:lnTo>
                      <a:lnTo>
                        <a:pt x="1309" y="1217"/>
                      </a:lnTo>
                      <a:lnTo>
                        <a:pt x="1310" y="1217"/>
                      </a:lnTo>
                      <a:lnTo>
                        <a:pt x="1309" y="1217"/>
                      </a:lnTo>
                      <a:lnTo>
                        <a:pt x="1309" y="1218"/>
                      </a:lnTo>
                      <a:lnTo>
                        <a:pt x="1308" y="1219"/>
                      </a:lnTo>
                      <a:lnTo>
                        <a:pt x="1306" y="1220"/>
                      </a:lnTo>
                      <a:lnTo>
                        <a:pt x="1305" y="1220"/>
                      </a:lnTo>
                      <a:lnTo>
                        <a:pt x="1304" y="1220"/>
                      </a:lnTo>
                      <a:lnTo>
                        <a:pt x="1304" y="1221"/>
                      </a:lnTo>
                      <a:lnTo>
                        <a:pt x="1305" y="1221"/>
                      </a:lnTo>
                      <a:lnTo>
                        <a:pt x="1304" y="1221"/>
                      </a:lnTo>
                      <a:lnTo>
                        <a:pt x="1304" y="1222"/>
                      </a:lnTo>
                      <a:lnTo>
                        <a:pt x="1304" y="1221"/>
                      </a:lnTo>
                      <a:lnTo>
                        <a:pt x="1304" y="1222"/>
                      </a:lnTo>
                      <a:lnTo>
                        <a:pt x="1304" y="1223"/>
                      </a:lnTo>
                      <a:lnTo>
                        <a:pt x="1303" y="1223"/>
                      </a:lnTo>
                      <a:lnTo>
                        <a:pt x="1302" y="1224"/>
                      </a:lnTo>
                      <a:lnTo>
                        <a:pt x="1301" y="1225"/>
                      </a:lnTo>
                      <a:lnTo>
                        <a:pt x="1301" y="1226"/>
                      </a:lnTo>
                      <a:lnTo>
                        <a:pt x="1300" y="1226"/>
                      </a:lnTo>
                      <a:lnTo>
                        <a:pt x="1300" y="1227"/>
                      </a:lnTo>
                      <a:lnTo>
                        <a:pt x="1300" y="1226"/>
                      </a:lnTo>
                      <a:lnTo>
                        <a:pt x="1299" y="1227"/>
                      </a:lnTo>
                      <a:lnTo>
                        <a:pt x="1300" y="1227"/>
                      </a:lnTo>
                      <a:lnTo>
                        <a:pt x="1299" y="1227"/>
                      </a:lnTo>
                      <a:lnTo>
                        <a:pt x="1299" y="1228"/>
                      </a:lnTo>
                      <a:lnTo>
                        <a:pt x="1299" y="1230"/>
                      </a:lnTo>
                      <a:lnTo>
                        <a:pt x="1298" y="1230"/>
                      </a:lnTo>
                      <a:lnTo>
                        <a:pt x="1298" y="1231"/>
                      </a:lnTo>
                      <a:lnTo>
                        <a:pt x="1297" y="1230"/>
                      </a:lnTo>
                      <a:lnTo>
                        <a:pt x="1297" y="1231"/>
                      </a:lnTo>
                      <a:lnTo>
                        <a:pt x="1298" y="1231"/>
                      </a:lnTo>
                      <a:lnTo>
                        <a:pt x="1297" y="1232"/>
                      </a:lnTo>
                      <a:lnTo>
                        <a:pt x="1296" y="1232"/>
                      </a:lnTo>
                      <a:lnTo>
                        <a:pt x="1296" y="1233"/>
                      </a:lnTo>
                      <a:lnTo>
                        <a:pt x="1295" y="1234"/>
                      </a:lnTo>
                      <a:lnTo>
                        <a:pt x="1295" y="1233"/>
                      </a:lnTo>
                      <a:lnTo>
                        <a:pt x="1295" y="1232"/>
                      </a:lnTo>
                      <a:lnTo>
                        <a:pt x="1295" y="1231"/>
                      </a:lnTo>
                      <a:lnTo>
                        <a:pt x="1296" y="1230"/>
                      </a:lnTo>
                      <a:lnTo>
                        <a:pt x="1296" y="1228"/>
                      </a:lnTo>
                      <a:lnTo>
                        <a:pt x="1297" y="1228"/>
                      </a:lnTo>
                      <a:lnTo>
                        <a:pt x="1297" y="1227"/>
                      </a:lnTo>
                      <a:lnTo>
                        <a:pt x="1298" y="1226"/>
                      </a:lnTo>
                      <a:lnTo>
                        <a:pt x="1299" y="1225"/>
                      </a:lnTo>
                      <a:lnTo>
                        <a:pt x="1299" y="1224"/>
                      </a:lnTo>
                      <a:lnTo>
                        <a:pt x="1300" y="1224"/>
                      </a:lnTo>
                      <a:lnTo>
                        <a:pt x="1300" y="1223"/>
                      </a:lnTo>
                      <a:lnTo>
                        <a:pt x="1301" y="1223"/>
                      </a:lnTo>
                      <a:lnTo>
                        <a:pt x="1301" y="1222"/>
                      </a:lnTo>
                      <a:lnTo>
                        <a:pt x="1302" y="1222"/>
                      </a:lnTo>
                      <a:lnTo>
                        <a:pt x="1302" y="1221"/>
                      </a:lnTo>
                      <a:lnTo>
                        <a:pt x="1303" y="1220"/>
                      </a:lnTo>
                      <a:lnTo>
                        <a:pt x="1303" y="1219"/>
                      </a:lnTo>
                      <a:lnTo>
                        <a:pt x="1304" y="1219"/>
                      </a:lnTo>
                      <a:lnTo>
                        <a:pt x="1304" y="1218"/>
                      </a:lnTo>
                      <a:lnTo>
                        <a:pt x="1305" y="1217"/>
                      </a:lnTo>
                      <a:lnTo>
                        <a:pt x="1306" y="1214"/>
                      </a:lnTo>
                      <a:lnTo>
                        <a:pt x="1308" y="1213"/>
                      </a:lnTo>
                      <a:lnTo>
                        <a:pt x="1309" y="1212"/>
                      </a:lnTo>
                      <a:lnTo>
                        <a:pt x="1310" y="1210"/>
                      </a:lnTo>
                      <a:lnTo>
                        <a:pt x="1311" y="1209"/>
                      </a:lnTo>
                      <a:lnTo>
                        <a:pt x="1311" y="1208"/>
                      </a:lnTo>
                      <a:lnTo>
                        <a:pt x="1312" y="1208"/>
                      </a:lnTo>
                      <a:lnTo>
                        <a:pt x="1312" y="1207"/>
                      </a:lnTo>
                      <a:lnTo>
                        <a:pt x="1313" y="1206"/>
                      </a:lnTo>
                      <a:lnTo>
                        <a:pt x="1313" y="1205"/>
                      </a:lnTo>
                      <a:lnTo>
                        <a:pt x="1314" y="1205"/>
                      </a:lnTo>
                      <a:lnTo>
                        <a:pt x="1314" y="1204"/>
                      </a:lnTo>
                      <a:lnTo>
                        <a:pt x="1315" y="1204"/>
                      </a:lnTo>
                      <a:lnTo>
                        <a:pt x="1315" y="1202"/>
                      </a:lnTo>
                      <a:lnTo>
                        <a:pt x="1315" y="1201"/>
                      </a:lnTo>
                      <a:lnTo>
                        <a:pt x="1316" y="1201"/>
                      </a:lnTo>
                      <a:lnTo>
                        <a:pt x="1316" y="1200"/>
                      </a:lnTo>
                      <a:lnTo>
                        <a:pt x="1317" y="1199"/>
                      </a:lnTo>
                      <a:lnTo>
                        <a:pt x="1317" y="1198"/>
                      </a:lnTo>
                      <a:lnTo>
                        <a:pt x="1318" y="1198"/>
                      </a:lnTo>
                      <a:lnTo>
                        <a:pt x="1319" y="1196"/>
                      </a:lnTo>
                      <a:lnTo>
                        <a:pt x="1319" y="1195"/>
                      </a:lnTo>
                      <a:lnTo>
                        <a:pt x="1321" y="1194"/>
                      </a:lnTo>
                      <a:lnTo>
                        <a:pt x="1322" y="1193"/>
                      </a:lnTo>
                      <a:lnTo>
                        <a:pt x="1323" y="1192"/>
                      </a:lnTo>
                      <a:lnTo>
                        <a:pt x="1323" y="1191"/>
                      </a:lnTo>
                      <a:lnTo>
                        <a:pt x="1324" y="1191"/>
                      </a:lnTo>
                      <a:lnTo>
                        <a:pt x="1324" y="1189"/>
                      </a:lnTo>
                      <a:lnTo>
                        <a:pt x="1325" y="1189"/>
                      </a:lnTo>
                      <a:lnTo>
                        <a:pt x="1325" y="1188"/>
                      </a:lnTo>
                      <a:lnTo>
                        <a:pt x="1325" y="1187"/>
                      </a:lnTo>
                      <a:lnTo>
                        <a:pt x="1326" y="1187"/>
                      </a:lnTo>
                      <a:lnTo>
                        <a:pt x="1326" y="1186"/>
                      </a:lnTo>
                      <a:lnTo>
                        <a:pt x="1327" y="1186"/>
                      </a:lnTo>
                      <a:lnTo>
                        <a:pt x="1327" y="1185"/>
                      </a:lnTo>
                      <a:lnTo>
                        <a:pt x="1328" y="1185"/>
                      </a:lnTo>
                      <a:lnTo>
                        <a:pt x="1328" y="1184"/>
                      </a:lnTo>
                      <a:lnTo>
                        <a:pt x="1329" y="1183"/>
                      </a:lnTo>
                      <a:lnTo>
                        <a:pt x="1329" y="1182"/>
                      </a:lnTo>
                      <a:lnTo>
                        <a:pt x="1330" y="1181"/>
                      </a:lnTo>
                      <a:lnTo>
                        <a:pt x="1331" y="1180"/>
                      </a:lnTo>
                      <a:lnTo>
                        <a:pt x="1331" y="1179"/>
                      </a:lnTo>
                      <a:lnTo>
                        <a:pt x="1332" y="1178"/>
                      </a:lnTo>
                      <a:lnTo>
                        <a:pt x="1332" y="1176"/>
                      </a:lnTo>
                      <a:lnTo>
                        <a:pt x="1334" y="1175"/>
                      </a:lnTo>
                      <a:lnTo>
                        <a:pt x="1334" y="1174"/>
                      </a:lnTo>
                      <a:lnTo>
                        <a:pt x="1335" y="1174"/>
                      </a:lnTo>
                      <a:lnTo>
                        <a:pt x="1335" y="1172"/>
                      </a:lnTo>
                      <a:lnTo>
                        <a:pt x="1336" y="1172"/>
                      </a:lnTo>
                      <a:lnTo>
                        <a:pt x="1336" y="1171"/>
                      </a:lnTo>
                      <a:lnTo>
                        <a:pt x="1337" y="1170"/>
                      </a:lnTo>
                      <a:lnTo>
                        <a:pt x="1338" y="1169"/>
                      </a:lnTo>
                      <a:lnTo>
                        <a:pt x="1338" y="1168"/>
                      </a:lnTo>
                      <a:lnTo>
                        <a:pt x="1339" y="1168"/>
                      </a:lnTo>
                      <a:lnTo>
                        <a:pt x="1339" y="1167"/>
                      </a:lnTo>
                      <a:lnTo>
                        <a:pt x="1341" y="1166"/>
                      </a:lnTo>
                      <a:lnTo>
                        <a:pt x="1342" y="1164"/>
                      </a:lnTo>
                      <a:lnTo>
                        <a:pt x="1343" y="1163"/>
                      </a:lnTo>
                      <a:lnTo>
                        <a:pt x="1344" y="1163"/>
                      </a:lnTo>
                      <a:lnTo>
                        <a:pt x="1344" y="1162"/>
                      </a:lnTo>
                      <a:lnTo>
                        <a:pt x="1345" y="1161"/>
                      </a:lnTo>
                      <a:lnTo>
                        <a:pt x="1347" y="1160"/>
                      </a:lnTo>
                      <a:lnTo>
                        <a:pt x="1348" y="1158"/>
                      </a:lnTo>
                      <a:lnTo>
                        <a:pt x="1349" y="1157"/>
                      </a:lnTo>
                      <a:lnTo>
                        <a:pt x="1350" y="1156"/>
                      </a:lnTo>
                      <a:lnTo>
                        <a:pt x="1350" y="1155"/>
                      </a:lnTo>
                      <a:lnTo>
                        <a:pt x="1351" y="1155"/>
                      </a:lnTo>
                      <a:lnTo>
                        <a:pt x="1351" y="1154"/>
                      </a:lnTo>
                      <a:lnTo>
                        <a:pt x="1351" y="1153"/>
                      </a:lnTo>
                      <a:lnTo>
                        <a:pt x="1352" y="1153"/>
                      </a:lnTo>
                      <a:lnTo>
                        <a:pt x="1352" y="1151"/>
                      </a:lnTo>
                      <a:lnTo>
                        <a:pt x="1353" y="1151"/>
                      </a:lnTo>
                      <a:lnTo>
                        <a:pt x="1353" y="1153"/>
                      </a:lnTo>
                      <a:lnTo>
                        <a:pt x="1354" y="1153"/>
                      </a:lnTo>
                      <a:close/>
                      <a:moveTo>
                        <a:pt x="1424" y="1031"/>
                      </a:moveTo>
                      <a:lnTo>
                        <a:pt x="1422" y="1031"/>
                      </a:lnTo>
                      <a:lnTo>
                        <a:pt x="1422" y="1032"/>
                      </a:lnTo>
                      <a:lnTo>
                        <a:pt x="1422" y="1033"/>
                      </a:lnTo>
                      <a:lnTo>
                        <a:pt x="1422" y="1034"/>
                      </a:lnTo>
                      <a:lnTo>
                        <a:pt x="1424" y="1034"/>
                      </a:lnTo>
                      <a:lnTo>
                        <a:pt x="1422" y="1035"/>
                      </a:lnTo>
                      <a:lnTo>
                        <a:pt x="1421" y="1035"/>
                      </a:lnTo>
                      <a:lnTo>
                        <a:pt x="1420" y="1035"/>
                      </a:lnTo>
                      <a:lnTo>
                        <a:pt x="1419" y="1034"/>
                      </a:lnTo>
                      <a:lnTo>
                        <a:pt x="1419" y="1035"/>
                      </a:lnTo>
                      <a:lnTo>
                        <a:pt x="1419" y="1037"/>
                      </a:lnTo>
                      <a:lnTo>
                        <a:pt x="1420" y="1037"/>
                      </a:lnTo>
                      <a:lnTo>
                        <a:pt x="1419" y="1037"/>
                      </a:lnTo>
                      <a:lnTo>
                        <a:pt x="1420" y="1038"/>
                      </a:lnTo>
                      <a:lnTo>
                        <a:pt x="1421" y="1038"/>
                      </a:lnTo>
                      <a:lnTo>
                        <a:pt x="1422" y="1038"/>
                      </a:lnTo>
                      <a:lnTo>
                        <a:pt x="1422" y="1039"/>
                      </a:lnTo>
                      <a:lnTo>
                        <a:pt x="1422" y="1038"/>
                      </a:lnTo>
                      <a:lnTo>
                        <a:pt x="1424" y="1038"/>
                      </a:lnTo>
                      <a:lnTo>
                        <a:pt x="1424" y="1037"/>
                      </a:lnTo>
                      <a:lnTo>
                        <a:pt x="1425" y="1037"/>
                      </a:lnTo>
                      <a:lnTo>
                        <a:pt x="1425" y="1035"/>
                      </a:lnTo>
                      <a:lnTo>
                        <a:pt x="1424" y="1035"/>
                      </a:lnTo>
                      <a:lnTo>
                        <a:pt x="1424" y="1034"/>
                      </a:lnTo>
                      <a:lnTo>
                        <a:pt x="1425" y="1034"/>
                      </a:lnTo>
                      <a:lnTo>
                        <a:pt x="1424" y="1034"/>
                      </a:lnTo>
                      <a:lnTo>
                        <a:pt x="1425" y="1034"/>
                      </a:lnTo>
                      <a:lnTo>
                        <a:pt x="1426" y="1034"/>
                      </a:lnTo>
                      <a:lnTo>
                        <a:pt x="1427" y="1034"/>
                      </a:lnTo>
                      <a:lnTo>
                        <a:pt x="1427" y="1033"/>
                      </a:lnTo>
                      <a:lnTo>
                        <a:pt x="1427" y="1034"/>
                      </a:lnTo>
                      <a:lnTo>
                        <a:pt x="1428" y="1034"/>
                      </a:lnTo>
                      <a:lnTo>
                        <a:pt x="1429" y="1033"/>
                      </a:lnTo>
                      <a:lnTo>
                        <a:pt x="1430" y="1033"/>
                      </a:lnTo>
                      <a:lnTo>
                        <a:pt x="1429" y="1033"/>
                      </a:lnTo>
                      <a:lnTo>
                        <a:pt x="1429" y="1034"/>
                      </a:lnTo>
                      <a:lnTo>
                        <a:pt x="1430" y="1034"/>
                      </a:lnTo>
                      <a:lnTo>
                        <a:pt x="1430" y="1033"/>
                      </a:lnTo>
                      <a:lnTo>
                        <a:pt x="1430" y="1034"/>
                      </a:lnTo>
                      <a:lnTo>
                        <a:pt x="1431" y="1034"/>
                      </a:lnTo>
                      <a:lnTo>
                        <a:pt x="1431" y="1033"/>
                      </a:lnTo>
                      <a:lnTo>
                        <a:pt x="1432" y="1034"/>
                      </a:lnTo>
                      <a:lnTo>
                        <a:pt x="1432" y="1033"/>
                      </a:lnTo>
                      <a:lnTo>
                        <a:pt x="1433" y="1033"/>
                      </a:lnTo>
                      <a:lnTo>
                        <a:pt x="1433" y="1034"/>
                      </a:lnTo>
                      <a:lnTo>
                        <a:pt x="1432" y="1034"/>
                      </a:lnTo>
                      <a:lnTo>
                        <a:pt x="1431" y="1034"/>
                      </a:lnTo>
                      <a:lnTo>
                        <a:pt x="1430" y="1034"/>
                      </a:lnTo>
                      <a:lnTo>
                        <a:pt x="1429" y="1035"/>
                      </a:lnTo>
                      <a:lnTo>
                        <a:pt x="1427" y="1035"/>
                      </a:lnTo>
                      <a:lnTo>
                        <a:pt x="1426" y="1035"/>
                      </a:lnTo>
                      <a:lnTo>
                        <a:pt x="1425" y="1037"/>
                      </a:lnTo>
                      <a:lnTo>
                        <a:pt x="1424" y="1038"/>
                      </a:lnTo>
                      <a:lnTo>
                        <a:pt x="1424" y="1039"/>
                      </a:lnTo>
                      <a:lnTo>
                        <a:pt x="1424" y="1038"/>
                      </a:lnTo>
                      <a:lnTo>
                        <a:pt x="1425" y="1038"/>
                      </a:lnTo>
                      <a:lnTo>
                        <a:pt x="1425" y="1037"/>
                      </a:lnTo>
                      <a:lnTo>
                        <a:pt x="1426" y="1037"/>
                      </a:lnTo>
                      <a:lnTo>
                        <a:pt x="1427" y="1035"/>
                      </a:lnTo>
                      <a:lnTo>
                        <a:pt x="1428" y="1035"/>
                      </a:lnTo>
                      <a:lnTo>
                        <a:pt x="1429" y="1035"/>
                      </a:lnTo>
                      <a:lnTo>
                        <a:pt x="1428" y="1035"/>
                      </a:lnTo>
                      <a:lnTo>
                        <a:pt x="1429" y="1035"/>
                      </a:lnTo>
                      <a:lnTo>
                        <a:pt x="1429" y="1037"/>
                      </a:lnTo>
                      <a:lnTo>
                        <a:pt x="1429" y="1035"/>
                      </a:lnTo>
                      <a:lnTo>
                        <a:pt x="1428" y="1035"/>
                      </a:lnTo>
                      <a:lnTo>
                        <a:pt x="1428" y="1037"/>
                      </a:lnTo>
                      <a:lnTo>
                        <a:pt x="1427" y="1037"/>
                      </a:lnTo>
                      <a:lnTo>
                        <a:pt x="1426" y="1037"/>
                      </a:lnTo>
                      <a:lnTo>
                        <a:pt x="1425" y="1038"/>
                      </a:lnTo>
                      <a:lnTo>
                        <a:pt x="1424" y="1039"/>
                      </a:lnTo>
                      <a:lnTo>
                        <a:pt x="1425" y="1039"/>
                      </a:lnTo>
                      <a:lnTo>
                        <a:pt x="1425" y="1040"/>
                      </a:lnTo>
                      <a:lnTo>
                        <a:pt x="1426" y="1040"/>
                      </a:lnTo>
                      <a:lnTo>
                        <a:pt x="1426" y="1041"/>
                      </a:lnTo>
                      <a:lnTo>
                        <a:pt x="1425" y="1041"/>
                      </a:lnTo>
                      <a:lnTo>
                        <a:pt x="1425" y="1040"/>
                      </a:lnTo>
                      <a:lnTo>
                        <a:pt x="1425" y="1041"/>
                      </a:lnTo>
                      <a:lnTo>
                        <a:pt x="1426" y="1041"/>
                      </a:lnTo>
                      <a:lnTo>
                        <a:pt x="1426" y="1040"/>
                      </a:lnTo>
                      <a:lnTo>
                        <a:pt x="1427" y="1040"/>
                      </a:lnTo>
                      <a:lnTo>
                        <a:pt x="1428" y="1040"/>
                      </a:lnTo>
                      <a:lnTo>
                        <a:pt x="1428" y="1041"/>
                      </a:lnTo>
                      <a:lnTo>
                        <a:pt x="1429" y="1041"/>
                      </a:lnTo>
                      <a:lnTo>
                        <a:pt x="1429" y="1040"/>
                      </a:lnTo>
                      <a:lnTo>
                        <a:pt x="1429" y="1041"/>
                      </a:lnTo>
                      <a:lnTo>
                        <a:pt x="1430" y="1041"/>
                      </a:lnTo>
                      <a:lnTo>
                        <a:pt x="1430" y="1040"/>
                      </a:lnTo>
                      <a:lnTo>
                        <a:pt x="1431" y="1040"/>
                      </a:lnTo>
                      <a:lnTo>
                        <a:pt x="1432" y="1040"/>
                      </a:lnTo>
                      <a:lnTo>
                        <a:pt x="1432" y="1039"/>
                      </a:lnTo>
                      <a:lnTo>
                        <a:pt x="1432" y="1040"/>
                      </a:lnTo>
                      <a:lnTo>
                        <a:pt x="1432" y="1041"/>
                      </a:lnTo>
                      <a:lnTo>
                        <a:pt x="1431" y="1041"/>
                      </a:lnTo>
                      <a:lnTo>
                        <a:pt x="1429" y="1042"/>
                      </a:lnTo>
                      <a:lnTo>
                        <a:pt x="1428" y="1042"/>
                      </a:lnTo>
                      <a:lnTo>
                        <a:pt x="1427" y="1042"/>
                      </a:lnTo>
                      <a:lnTo>
                        <a:pt x="1426" y="1042"/>
                      </a:lnTo>
                      <a:lnTo>
                        <a:pt x="1426" y="1043"/>
                      </a:lnTo>
                      <a:lnTo>
                        <a:pt x="1425" y="1043"/>
                      </a:lnTo>
                      <a:lnTo>
                        <a:pt x="1424" y="1044"/>
                      </a:lnTo>
                      <a:lnTo>
                        <a:pt x="1422" y="1045"/>
                      </a:lnTo>
                      <a:lnTo>
                        <a:pt x="1421" y="1046"/>
                      </a:lnTo>
                      <a:lnTo>
                        <a:pt x="1420" y="1046"/>
                      </a:lnTo>
                      <a:lnTo>
                        <a:pt x="1420" y="1047"/>
                      </a:lnTo>
                      <a:lnTo>
                        <a:pt x="1419" y="1048"/>
                      </a:lnTo>
                      <a:lnTo>
                        <a:pt x="1418" y="1048"/>
                      </a:lnTo>
                      <a:lnTo>
                        <a:pt x="1417" y="1048"/>
                      </a:lnTo>
                      <a:lnTo>
                        <a:pt x="1416" y="1048"/>
                      </a:lnTo>
                      <a:lnTo>
                        <a:pt x="1415" y="1048"/>
                      </a:lnTo>
                      <a:lnTo>
                        <a:pt x="1414" y="1048"/>
                      </a:lnTo>
                      <a:lnTo>
                        <a:pt x="1413" y="1048"/>
                      </a:lnTo>
                      <a:lnTo>
                        <a:pt x="1413" y="1047"/>
                      </a:lnTo>
                      <a:lnTo>
                        <a:pt x="1412" y="1047"/>
                      </a:lnTo>
                      <a:lnTo>
                        <a:pt x="1410" y="1047"/>
                      </a:lnTo>
                      <a:lnTo>
                        <a:pt x="1410" y="1046"/>
                      </a:lnTo>
                      <a:lnTo>
                        <a:pt x="1412" y="1045"/>
                      </a:lnTo>
                      <a:lnTo>
                        <a:pt x="1410" y="1045"/>
                      </a:lnTo>
                      <a:lnTo>
                        <a:pt x="1412" y="1045"/>
                      </a:lnTo>
                      <a:lnTo>
                        <a:pt x="1412" y="1043"/>
                      </a:lnTo>
                      <a:lnTo>
                        <a:pt x="1412" y="1042"/>
                      </a:lnTo>
                      <a:lnTo>
                        <a:pt x="1413" y="1042"/>
                      </a:lnTo>
                      <a:lnTo>
                        <a:pt x="1413" y="1041"/>
                      </a:lnTo>
                      <a:lnTo>
                        <a:pt x="1413" y="1040"/>
                      </a:lnTo>
                      <a:lnTo>
                        <a:pt x="1414" y="1040"/>
                      </a:lnTo>
                      <a:lnTo>
                        <a:pt x="1415" y="1039"/>
                      </a:lnTo>
                      <a:lnTo>
                        <a:pt x="1416" y="1039"/>
                      </a:lnTo>
                      <a:lnTo>
                        <a:pt x="1419" y="1039"/>
                      </a:lnTo>
                      <a:lnTo>
                        <a:pt x="1418" y="1039"/>
                      </a:lnTo>
                      <a:lnTo>
                        <a:pt x="1417" y="1039"/>
                      </a:lnTo>
                      <a:lnTo>
                        <a:pt x="1416" y="1039"/>
                      </a:lnTo>
                      <a:lnTo>
                        <a:pt x="1415" y="1039"/>
                      </a:lnTo>
                      <a:lnTo>
                        <a:pt x="1415" y="1038"/>
                      </a:lnTo>
                      <a:lnTo>
                        <a:pt x="1416" y="1038"/>
                      </a:lnTo>
                      <a:lnTo>
                        <a:pt x="1416" y="1037"/>
                      </a:lnTo>
                      <a:lnTo>
                        <a:pt x="1416" y="1035"/>
                      </a:lnTo>
                      <a:lnTo>
                        <a:pt x="1417" y="1035"/>
                      </a:lnTo>
                      <a:lnTo>
                        <a:pt x="1417" y="1034"/>
                      </a:lnTo>
                      <a:lnTo>
                        <a:pt x="1418" y="1034"/>
                      </a:lnTo>
                      <a:lnTo>
                        <a:pt x="1418" y="1033"/>
                      </a:lnTo>
                      <a:lnTo>
                        <a:pt x="1419" y="1033"/>
                      </a:lnTo>
                      <a:lnTo>
                        <a:pt x="1420" y="1033"/>
                      </a:lnTo>
                      <a:lnTo>
                        <a:pt x="1419" y="1033"/>
                      </a:lnTo>
                      <a:lnTo>
                        <a:pt x="1420" y="1033"/>
                      </a:lnTo>
                      <a:lnTo>
                        <a:pt x="1420" y="1032"/>
                      </a:lnTo>
                      <a:lnTo>
                        <a:pt x="1421" y="1032"/>
                      </a:lnTo>
                      <a:lnTo>
                        <a:pt x="1422" y="1031"/>
                      </a:lnTo>
                      <a:lnTo>
                        <a:pt x="1424" y="1031"/>
                      </a:lnTo>
                      <a:lnTo>
                        <a:pt x="1425" y="1030"/>
                      </a:lnTo>
                      <a:lnTo>
                        <a:pt x="1426" y="1029"/>
                      </a:lnTo>
                      <a:lnTo>
                        <a:pt x="1427" y="1029"/>
                      </a:lnTo>
                      <a:lnTo>
                        <a:pt x="1428" y="1028"/>
                      </a:lnTo>
                      <a:lnTo>
                        <a:pt x="1430" y="1027"/>
                      </a:lnTo>
                      <a:lnTo>
                        <a:pt x="1431" y="1026"/>
                      </a:lnTo>
                      <a:lnTo>
                        <a:pt x="1431" y="1025"/>
                      </a:lnTo>
                      <a:lnTo>
                        <a:pt x="1432" y="1025"/>
                      </a:lnTo>
                      <a:lnTo>
                        <a:pt x="1434" y="1024"/>
                      </a:lnTo>
                      <a:lnTo>
                        <a:pt x="1435" y="1024"/>
                      </a:lnTo>
                      <a:lnTo>
                        <a:pt x="1435" y="1022"/>
                      </a:lnTo>
                      <a:lnTo>
                        <a:pt x="1435" y="1024"/>
                      </a:lnTo>
                      <a:lnTo>
                        <a:pt x="1434" y="1024"/>
                      </a:lnTo>
                      <a:lnTo>
                        <a:pt x="1433" y="1025"/>
                      </a:lnTo>
                      <a:lnTo>
                        <a:pt x="1432" y="1025"/>
                      </a:lnTo>
                      <a:lnTo>
                        <a:pt x="1431" y="1026"/>
                      </a:lnTo>
                      <a:lnTo>
                        <a:pt x="1431" y="1027"/>
                      </a:lnTo>
                      <a:lnTo>
                        <a:pt x="1430" y="1028"/>
                      </a:lnTo>
                      <a:lnTo>
                        <a:pt x="1429" y="1028"/>
                      </a:lnTo>
                      <a:lnTo>
                        <a:pt x="1429" y="1029"/>
                      </a:lnTo>
                      <a:lnTo>
                        <a:pt x="1428" y="1029"/>
                      </a:lnTo>
                      <a:lnTo>
                        <a:pt x="1427" y="1029"/>
                      </a:lnTo>
                      <a:lnTo>
                        <a:pt x="1426" y="1029"/>
                      </a:lnTo>
                      <a:lnTo>
                        <a:pt x="1425" y="1030"/>
                      </a:lnTo>
                      <a:lnTo>
                        <a:pt x="1424" y="1031"/>
                      </a:lnTo>
                      <a:close/>
                      <a:moveTo>
                        <a:pt x="1361" y="1080"/>
                      </a:moveTo>
                      <a:lnTo>
                        <a:pt x="1362" y="1080"/>
                      </a:lnTo>
                      <a:lnTo>
                        <a:pt x="1364" y="1080"/>
                      </a:lnTo>
                      <a:lnTo>
                        <a:pt x="1365" y="1080"/>
                      </a:lnTo>
                      <a:lnTo>
                        <a:pt x="1365" y="1081"/>
                      </a:lnTo>
                      <a:lnTo>
                        <a:pt x="1366" y="1081"/>
                      </a:lnTo>
                      <a:lnTo>
                        <a:pt x="1367" y="1082"/>
                      </a:lnTo>
                      <a:lnTo>
                        <a:pt x="1369" y="1083"/>
                      </a:lnTo>
                      <a:lnTo>
                        <a:pt x="1370" y="1084"/>
                      </a:lnTo>
                      <a:lnTo>
                        <a:pt x="1371" y="1084"/>
                      </a:lnTo>
                      <a:lnTo>
                        <a:pt x="1373" y="1085"/>
                      </a:lnTo>
                      <a:lnTo>
                        <a:pt x="1374" y="1085"/>
                      </a:lnTo>
                      <a:lnTo>
                        <a:pt x="1376" y="1085"/>
                      </a:lnTo>
                      <a:lnTo>
                        <a:pt x="1377" y="1086"/>
                      </a:lnTo>
                      <a:lnTo>
                        <a:pt x="1378" y="1086"/>
                      </a:lnTo>
                      <a:lnTo>
                        <a:pt x="1378" y="1088"/>
                      </a:lnTo>
                      <a:lnTo>
                        <a:pt x="1379" y="1088"/>
                      </a:lnTo>
                      <a:lnTo>
                        <a:pt x="1380" y="1089"/>
                      </a:lnTo>
                      <a:lnTo>
                        <a:pt x="1380" y="1090"/>
                      </a:lnTo>
                      <a:lnTo>
                        <a:pt x="1379" y="1090"/>
                      </a:lnTo>
                      <a:lnTo>
                        <a:pt x="1380" y="1090"/>
                      </a:lnTo>
                      <a:lnTo>
                        <a:pt x="1379" y="1089"/>
                      </a:lnTo>
                      <a:lnTo>
                        <a:pt x="1379" y="1090"/>
                      </a:lnTo>
                      <a:lnTo>
                        <a:pt x="1378" y="1090"/>
                      </a:lnTo>
                      <a:lnTo>
                        <a:pt x="1378" y="1089"/>
                      </a:lnTo>
                      <a:lnTo>
                        <a:pt x="1377" y="1090"/>
                      </a:lnTo>
                      <a:lnTo>
                        <a:pt x="1376" y="1090"/>
                      </a:lnTo>
                      <a:lnTo>
                        <a:pt x="1377" y="1090"/>
                      </a:lnTo>
                      <a:lnTo>
                        <a:pt x="1377" y="1089"/>
                      </a:lnTo>
                      <a:lnTo>
                        <a:pt x="1377" y="1090"/>
                      </a:lnTo>
                      <a:lnTo>
                        <a:pt x="1376" y="1090"/>
                      </a:lnTo>
                      <a:lnTo>
                        <a:pt x="1376" y="1089"/>
                      </a:lnTo>
                      <a:lnTo>
                        <a:pt x="1377" y="1088"/>
                      </a:lnTo>
                      <a:lnTo>
                        <a:pt x="1377" y="1086"/>
                      </a:lnTo>
                      <a:lnTo>
                        <a:pt x="1376" y="1086"/>
                      </a:lnTo>
                      <a:lnTo>
                        <a:pt x="1375" y="1086"/>
                      </a:lnTo>
                      <a:lnTo>
                        <a:pt x="1374" y="1086"/>
                      </a:lnTo>
                      <a:lnTo>
                        <a:pt x="1374" y="1085"/>
                      </a:lnTo>
                      <a:lnTo>
                        <a:pt x="1375" y="1085"/>
                      </a:lnTo>
                      <a:lnTo>
                        <a:pt x="1374" y="1085"/>
                      </a:lnTo>
                      <a:lnTo>
                        <a:pt x="1374" y="1086"/>
                      </a:lnTo>
                      <a:lnTo>
                        <a:pt x="1375" y="1086"/>
                      </a:lnTo>
                      <a:lnTo>
                        <a:pt x="1374" y="1086"/>
                      </a:lnTo>
                      <a:lnTo>
                        <a:pt x="1373" y="1086"/>
                      </a:lnTo>
                      <a:lnTo>
                        <a:pt x="1374" y="1088"/>
                      </a:lnTo>
                      <a:lnTo>
                        <a:pt x="1374" y="1089"/>
                      </a:lnTo>
                      <a:lnTo>
                        <a:pt x="1373" y="1089"/>
                      </a:lnTo>
                      <a:lnTo>
                        <a:pt x="1373" y="1090"/>
                      </a:lnTo>
                      <a:lnTo>
                        <a:pt x="1371" y="1090"/>
                      </a:lnTo>
                      <a:lnTo>
                        <a:pt x="1371" y="1089"/>
                      </a:lnTo>
                      <a:lnTo>
                        <a:pt x="1370" y="1089"/>
                      </a:lnTo>
                      <a:lnTo>
                        <a:pt x="1371" y="1089"/>
                      </a:lnTo>
                      <a:lnTo>
                        <a:pt x="1370" y="1088"/>
                      </a:lnTo>
                      <a:lnTo>
                        <a:pt x="1370" y="1089"/>
                      </a:lnTo>
                      <a:lnTo>
                        <a:pt x="1370" y="1088"/>
                      </a:lnTo>
                      <a:lnTo>
                        <a:pt x="1370" y="1086"/>
                      </a:lnTo>
                      <a:lnTo>
                        <a:pt x="1369" y="1086"/>
                      </a:lnTo>
                      <a:lnTo>
                        <a:pt x="1369" y="1085"/>
                      </a:lnTo>
                      <a:lnTo>
                        <a:pt x="1368" y="1086"/>
                      </a:lnTo>
                      <a:lnTo>
                        <a:pt x="1368" y="1085"/>
                      </a:lnTo>
                      <a:lnTo>
                        <a:pt x="1368" y="1086"/>
                      </a:lnTo>
                      <a:lnTo>
                        <a:pt x="1369" y="1086"/>
                      </a:lnTo>
                      <a:lnTo>
                        <a:pt x="1369" y="1088"/>
                      </a:lnTo>
                      <a:lnTo>
                        <a:pt x="1368" y="1088"/>
                      </a:lnTo>
                      <a:lnTo>
                        <a:pt x="1369" y="1088"/>
                      </a:lnTo>
                      <a:lnTo>
                        <a:pt x="1369" y="1089"/>
                      </a:lnTo>
                      <a:lnTo>
                        <a:pt x="1370" y="1089"/>
                      </a:lnTo>
                      <a:lnTo>
                        <a:pt x="1370" y="1090"/>
                      </a:lnTo>
                      <a:lnTo>
                        <a:pt x="1371" y="1090"/>
                      </a:lnTo>
                      <a:lnTo>
                        <a:pt x="1373" y="1090"/>
                      </a:lnTo>
                      <a:lnTo>
                        <a:pt x="1373" y="1091"/>
                      </a:lnTo>
                      <a:lnTo>
                        <a:pt x="1371" y="1091"/>
                      </a:lnTo>
                      <a:lnTo>
                        <a:pt x="1370" y="1091"/>
                      </a:lnTo>
                      <a:lnTo>
                        <a:pt x="1369" y="1090"/>
                      </a:lnTo>
                      <a:lnTo>
                        <a:pt x="1368" y="1090"/>
                      </a:lnTo>
                      <a:lnTo>
                        <a:pt x="1368" y="1089"/>
                      </a:lnTo>
                      <a:lnTo>
                        <a:pt x="1367" y="1089"/>
                      </a:lnTo>
                      <a:lnTo>
                        <a:pt x="1368" y="1090"/>
                      </a:lnTo>
                      <a:lnTo>
                        <a:pt x="1368" y="1091"/>
                      </a:lnTo>
                      <a:lnTo>
                        <a:pt x="1369" y="1091"/>
                      </a:lnTo>
                      <a:lnTo>
                        <a:pt x="1369" y="1092"/>
                      </a:lnTo>
                      <a:lnTo>
                        <a:pt x="1370" y="1092"/>
                      </a:lnTo>
                      <a:lnTo>
                        <a:pt x="1370" y="1093"/>
                      </a:lnTo>
                      <a:lnTo>
                        <a:pt x="1371" y="1094"/>
                      </a:lnTo>
                      <a:lnTo>
                        <a:pt x="1371" y="1095"/>
                      </a:lnTo>
                      <a:lnTo>
                        <a:pt x="1373" y="1096"/>
                      </a:lnTo>
                      <a:lnTo>
                        <a:pt x="1371" y="1096"/>
                      </a:lnTo>
                      <a:lnTo>
                        <a:pt x="1373" y="1096"/>
                      </a:lnTo>
                      <a:lnTo>
                        <a:pt x="1373" y="1097"/>
                      </a:lnTo>
                      <a:lnTo>
                        <a:pt x="1374" y="1097"/>
                      </a:lnTo>
                      <a:lnTo>
                        <a:pt x="1374" y="1098"/>
                      </a:lnTo>
                      <a:lnTo>
                        <a:pt x="1374" y="1097"/>
                      </a:lnTo>
                      <a:lnTo>
                        <a:pt x="1374" y="1098"/>
                      </a:lnTo>
                      <a:lnTo>
                        <a:pt x="1374" y="1099"/>
                      </a:lnTo>
                      <a:lnTo>
                        <a:pt x="1375" y="1099"/>
                      </a:lnTo>
                      <a:lnTo>
                        <a:pt x="1375" y="1101"/>
                      </a:lnTo>
                      <a:lnTo>
                        <a:pt x="1375" y="1102"/>
                      </a:lnTo>
                      <a:lnTo>
                        <a:pt x="1376" y="1102"/>
                      </a:lnTo>
                      <a:lnTo>
                        <a:pt x="1377" y="1102"/>
                      </a:lnTo>
                      <a:lnTo>
                        <a:pt x="1377" y="1103"/>
                      </a:lnTo>
                      <a:lnTo>
                        <a:pt x="1376" y="1103"/>
                      </a:lnTo>
                      <a:lnTo>
                        <a:pt x="1377" y="1103"/>
                      </a:lnTo>
                      <a:lnTo>
                        <a:pt x="1377" y="1104"/>
                      </a:lnTo>
                      <a:lnTo>
                        <a:pt x="1377" y="1105"/>
                      </a:lnTo>
                      <a:lnTo>
                        <a:pt x="1378" y="1105"/>
                      </a:lnTo>
                      <a:lnTo>
                        <a:pt x="1379" y="1106"/>
                      </a:lnTo>
                      <a:lnTo>
                        <a:pt x="1380" y="1106"/>
                      </a:lnTo>
                      <a:lnTo>
                        <a:pt x="1380" y="1107"/>
                      </a:lnTo>
                      <a:lnTo>
                        <a:pt x="1381" y="1107"/>
                      </a:lnTo>
                      <a:lnTo>
                        <a:pt x="1382" y="1107"/>
                      </a:lnTo>
                      <a:lnTo>
                        <a:pt x="1383" y="1107"/>
                      </a:lnTo>
                      <a:lnTo>
                        <a:pt x="1383" y="1108"/>
                      </a:lnTo>
                      <a:lnTo>
                        <a:pt x="1384" y="1107"/>
                      </a:lnTo>
                      <a:lnTo>
                        <a:pt x="1384" y="1108"/>
                      </a:lnTo>
                      <a:lnTo>
                        <a:pt x="1386" y="1108"/>
                      </a:lnTo>
                      <a:lnTo>
                        <a:pt x="1386" y="1107"/>
                      </a:lnTo>
                      <a:lnTo>
                        <a:pt x="1386" y="1108"/>
                      </a:lnTo>
                      <a:lnTo>
                        <a:pt x="1384" y="1108"/>
                      </a:lnTo>
                      <a:lnTo>
                        <a:pt x="1384" y="1109"/>
                      </a:lnTo>
                      <a:lnTo>
                        <a:pt x="1386" y="1109"/>
                      </a:lnTo>
                      <a:lnTo>
                        <a:pt x="1386" y="1108"/>
                      </a:lnTo>
                      <a:lnTo>
                        <a:pt x="1387" y="1108"/>
                      </a:lnTo>
                      <a:lnTo>
                        <a:pt x="1387" y="1109"/>
                      </a:lnTo>
                      <a:lnTo>
                        <a:pt x="1388" y="1109"/>
                      </a:lnTo>
                      <a:lnTo>
                        <a:pt x="1388" y="1108"/>
                      </a:lnTo>
                      <a:lnTo>
                        <a:pt x="1389" y="1108"/>
                      </a:lnTo>
                      <a:lnTo>
                        <a:pt x="1389" y="1107"/>
                      </a:lnTo>
                      <a:lnTo>
                        <a:pt x="1389" y="1108"/>
                      </a:lnTo>
                      <a:lnTo>
                        <a:pt x="1389" y="1109"/>
                      </a:lnTo>
                      <a:lnTo>
                        <a:pt x="1390" y="1109"/>
                      </a:lnTo>
                      <a:lnTo>
                        <a:pt x="1388" y="1109"/>
                      </a:lnTo>
                      <a:lnTo>
                        <a:pt x="1387" y="1110"/>
                      </a:lnTo>
                      <a:lnTo>
                        <a:pt x="1386" y="1109"/>
                      </a:lnTo>
                      <a:lnTo>
                        <a:pt x="1384" y="1109"/>
                      </a:lnTo>
                      <a:lnTo>
                        <a:pt x="1383" y="1110"/>
                      </a:lnTo>
                      <a:lnTo>
                        <a:pt x="1382" y="1109"/>
                      </a:lnTo>
                      <a:lnTo>
                        <a:pt x="1381" y="1109"/>
                      </a:lnTo>
                      <a:lnTo>
                        <a:pt x="1381" y="1108"/>
                      </a:lnTo>
                      <a:lnTo>
                        <a:pt x="1380" y="1108"/>
                      </a:lnTo>
                      <a:lnTo>
                        <a:pt x="1379" y="1108"/>
                      </a:lnTo>
                      <a:lnTo>
                        <a:pt x="1378" y="1108"/>
                      </a:lnTo>
                      <a:lnTo>
                        <a:pt x="1379" y="1107"/>
                      </a:lnTo>
                      <a:lnTo>
                        <a:pt x="1378" y="1107"/>
                      </a:lnTo>
                      <a:lnTo>
                        <a:pt x="1378" y="1106"/>
                      </a:lnTo>
                      <a:lnTo>
                        <a:pt x="1377" y="1106"/>
                      </a:lnTo>
                      <a:lnTo>
                        <a:pt x="1377" y="1105"/>
                      </a:lnTo>
                      <a:lnTo>
                        <a:pt x="1376" y="1105"/>
                      </a:lnTo>
                      <a:lnTo>
                        <a:pt x="1375" y="1105"/>
                      </a:lnTo>
                      <a:lnTo>
                        <a:pt x="1374" y="1104"/>
                      </a:lnTo>
                      <a:lnTo>
                        <a:pt x="1374" y="1103"/>
                      </a:lnTo>
                      <a:lnTo>
                        <a:pt x="1373" y="1103"/>
                      </a:lnTo>
                      <a:lnTo>
                        <a:pt x="1373" y="1104"/>
                      </a:lnTo>
                      <a:lnTo>
                        <a:pt x="1373" y="1103"/>
                      </a:lnTo>
                      <a:lnTo>
                        <a:pt x="1371" y="1103"/>
                      </a:lnTo>
                      <a:lnTo>
                        <a:pt x="1370" y="1102"/>
                      </a:lnTo>
                      <a:lnTo>
                        <a:pt x="1371" y="1102"/>
                      </a:lnTo>
                      <a:lnTo>
                        <a:pt x="1371" y="1103"/>
                      </a:lnTo>
                      <a:lnTo>
                        <a:pt x="1371" y="1102"/>
                      </a:lnTo>
                      <a:lnTo>
                        <a:pt x="1370" y="1101"/>
                      </a:lnTo>
                      <a:lnTo>
                        <a:pt x="1369" y="1101"/>
                      </a:lnTo>
                      <a:lnTo>
                        <a:pt x="1369" y="1099"/>
                      </a:lnTo>
                      <a:lnTo>
                        <a:pt x="1368" y="1099"/>
                      </a:lnTo>
                      <a:lnTo>
                        <a:pt x="1368" y="1098"/>
                      </a:lnTo>
                      <a:lnTo>
                        <a:pt x="1368" y="1097"/>
                      </a:lnTo>
                      <a:lnTo>
                        <a:pt x="1367" y="1096"/>
                      </a:lnTo>
                      <a:lnTo>
                        <a:pt x="1366" y="1095"/>
                      </a:lnTo>
                      <a:lnTo>
                        <a:pt x="1366" y="1094"/>
                      </a:lnTo>
                      <a:lnTo>
                        <a:pt x="1366" y="1093"/>
                      </a:lnTo>
                      <a:lnTo>
                        <a:pt x="1366" y="1092"/>
                      </a:lnTo>
                      <a:lnTo>
                        <a:pt x="1365" y="1092"/>
                      </a:lnTo>
                      <a:lnTo>
                        <a:pt x="1365" y="1091"/>
                      </a:lnTo>
                      <a:lnTo>
                        <a:pt x="1365" y="1090"/>
                      </a:lnTo>
                      <a:lnTo>
                        <a:pt x="1365" y="1089"/>
                      </a:lnTo>
                      <a:lnTo>
                        <a:pt x="1364" y="1089"/>
                      </a:lnTo>
                      <a:lnTo>
                        <a:pt x="1364" y="1088"/>
                      </a:lnTo>
                      <a:lnTo>
                        <a:pt x="1364" y="1086"/>
                      </a:lnTo>
                      <a:lnTo>
                        <a:pt x="1364" y="1085"/>
                      </a:lnTo>
                      <a:lnTo>
                        <a:pt x="1363" y="1085"/>
                      </a:lnTo>
                      <a:lnTo>
                        <a:pt x="1363" y="1084"/>
                      </a:lnTo>
                      <a:lnTo>
                        <a:pt x="1362" y="1083"/>
                      </a:lnTo>
                      <a:lnTo>
                        <a:pt x="1362" y="1082"/>
                      </a:lnTo>
                      <a:lnTo>
                        <a:pt x="1362" y="1081"/>
                      </a:lnTo>
                      <a:lnTo>
                        <a:pt x="1361" y="1080"/>
                      </a:lnTo>
                      <a:close/>
                      <a:moveTo>
                        <a:pt x="1448" y="1038"/>
                      </a:moveTo>
                      <a:lnTo>
                        <a:pt x="1447" y="1039"/>
                      </a:lnTo>
                      <a:lnTo>
                        <a:pt x="1446" y="1039"/>
                      </a:lnTo>
                      <a:lnTo>
                        <a:pt x="1445" y="1041"/>
                      </a:lnTo>
                      <a:lnTo>
                        <a:pt x="1444" y="1041"/>
                      </a:lnTo>
                      <a:lnTo>
                        <a:pt x="1444" y="1042"/>
                      </a:lnTo>
                      <a:lnTo>
                        <a:pt x="1443" y="1042"/>
                      </a:lnTo>
                      <a:lnTo>
                        <a:pt x="1443" y="1043"/>
                      </a:lnTo>
                      <a:lnTo>
                        <a:pt x="1440" y="1043"/>
                      </a:lnTo>
                      <a:lnTo>
                        <a:pt x="1439" y="1043"/>
                      </a:lnTo>
                      <a:lnTo>
                        <a:pt x="1438" y="1043"/>
                      </a:lnTo>
                      <a:lnTo>
                        <a:pt x="1435" y="1043"/>
                      </a:lnTo>
                      <a:lnTo>
                        <a:pt x="1431" y="1043"/>
                      </a:lnTo>
                      <a:lnTo>
                        <a:pt x="1430" y="1043"/>
                      </a:lnTo>
                      <a:lnTo>
                        <a:pt x="1429" y="1043"/>
                      </a:lnTo>
                      <a:lnTo>
                        <a:pt x="1429" y="1044"/>
                      </a:lnTo>
                      <a:lnTo>
                        <a:pt x="1428" y="1044"/>
                      </a:lnTo>
                      <a:lnTo>
                        <a:pt x="1427" y="1043"/>
                      </a:lnTo>
                      <a:lnTo>
                        <a:pt x="1428" y="1044"/>
                      </a:lnTo>
                      <a:lnTo>
                        <a:pt x="1427" y="1044"/>
                      </a:lnTo>
                      <a:lnTo>
                        <a:pt x="1427" y="1045"/>
                      </a:lnTo>
                      <a:lnTo>
                        <a:pt x="1426" y="1045"/>
                      </a:lnTo>
                      <a:lnTo>
                        <a:pt x="1426" y="1046"/>
                      </a:lnTo>
                      <a:lnTo>
                        <a:pt x="1426" y="1047"/>
                      </a:lnTo>
                      <a:lnTo>
                        <a:pt x="1427" y="1047"/>
                      </a:lnTo>
                      <a:lnTo>
                        <a:pt x="1427" y="1048"/>
                      </a:lnTo>
                      <a:lnTo>
                        <a:pt x="1426" y="1048"/>
                      </a:lnTo>
                      <a:lnTo>
                        <a:pt x="1425" y="1048"/>
                      </a:lnTo>
                      <a:lnTo>
                        <a:pt x="1425" y="1047"/>
                      </a:lnTo>
                      <a:lnTo>
                        <a:pt x="1426" y="1047"/>
                      </a:lnTo>
                      <a:lnTo>
                        <a:pt x="1425" y="1047"/>
                      </a:lnTo>
                      <a:lnTo>
                        <a:pt x="1424" y="1047"/>
                      </a:lnTo>
                      <a:lnTo>
                        <a:pt x="1425" y="1047"/>
                      </a:lnTo>
                      <a:lnTo>
                        <a:pt x="1425" y="1048"/>
                      </a:lnTo>
                      <a:lnTo>
                        <a:pt x="1426" y="1048"/>
                      </a:lnTo>
                      <a:lnTo>
                        <a:pt x="1426" y="1050"/>
                      </a:lnTo>
                      <a:lnTo>
                        <a:pt x="1426" y="1051"/>
                      </a:lnTo>
                      <a:lnTo>
                        <a:pt x="1425" y="1051"/>
                      </a:lnTo>
                      <a:lnTo>
                        <a:pt x="1425" y="1050"/>
                      </a:lnTo>
                      <a:lnTo>
                        <a:pt x="1424" y="1050"/>
                      </a:lnTo>
                      <a:lnTo>
                        <a:pt x="1425" y="1050"/>
                      </a:lnTo>
                      <a:lnTo>
                        <a:pt x="1424" y="1048"/>
                      </a:lnTo>
                      <a:lnTo>
                        <a:pt x="1424" y="1050"/>
                      </a:lnTo>
                      <a:lnTo>
                        <a:pt x="1424" y="1048"/>
                      </a:lnTo>
                      <a:lnTo>
                        <a:pt x="1424" y="1047"/>
                      </a:lnTo>
                      <a:lnTo>
                        <a:pt x="1422" y="1047"/>
                      </a:lnTo>
                      <a:lnTo>
                        <a:pt x="1422" y="1048"/>
                      </a:lnTo>
                      <a:lnTo>
                        <a:pt x="1421" y="1048"/>
                      </a:lnTo>
                      <a:lnTo>
                        <a:pt x="1421" y="1050"/>
                      </a:lnTo>
                      <a:lnTo>
                        <a:pt x="1420" y="1051"/>
                      </a:lnTo>
                      <a:lnTo>
                        <a:pt x="1420" y="1052"/>
                      </a:lnTo>
                      <a:lnTo>
                        <a:pt x="1421" y="1052"/>
                      </a:lnTo>
                      <a:lnTo>
                        <a:pt x="1422" y="1052"/>
                      </a:lnTo>
                      <a:lnTo>
                        <a:pt x="1424" y="1052"/>
                      </a:lnTo>
                      <a:lnTo>
                        <a:pt x="1424" y="1051"/>
                      </a:lnTo>
                      <a:lnTo>
                        <a:pt x="1424" y="1050"/>
                      </a:lnTo>
                      <a:lnTo>
                        <a:pt x="1425" y="1051"/>
                      </a:lnTo>
                      <a:lnTo>
                        <a:pt x="1426" y="1051"/>
                      </a:lnTo>
                      <a:lnTo>
                        <a:pt x="1426" y="1052"/>
                      </a:lnTo>
                      <a:lnTo>
                        <a:pt x="1425" y="1052"/>
                      </a:lnTo>
                      <a:lnTo>
                        <a:pt x="1426" y="1052"/>
                      </a:lnTo>
                      <a:lnTo>
                        <a:pt x="1427" y="1052"/>
                      </a:lnTo>
                      <a:lnTo>
                        <a:pt x="1427" y="1051"/>
                      </a:lnTo>
                      <a:lnTo>
                        <a:pt x="1427" y="1052"/>
                      </a:lnTo>
                      <a:lnTo>
                        <a:pt x="1427" y="1053"/>
                      </a:lnTo>
                      <a:lnTo>
                        <a:pt x="1428" y="1053"/>
                      </a:lnTo>
                      <a:lnTo>
                        <a:pt x="1428" y="1054"/>
                      </a:lnTo>
                      <a:lnTo>
                        <a:pt x="1429" y="1054"/>
                      </a:lnTo>
                      <a:lnTo>
                        <a:pt x="1430" y="1054"/>
                      </a:lnTo>
                      <a:lnTo>
                        <a:pt x="1429" y="1054"/>
                      </a:lnTo>
                      <a:lnTo>
                        <a:pt x="1428" y="1054"/>
                      </a:lnTo>
                      <a:lnTo>
                        <a:pt x="1427" y="1054"/>
                      </a:lnTo>
                      <a:lnTo>
                        <a:pt x="1426" y="1054"/>
                      </a:lnTo>
                      <a:lnTo>
                        <a:pt x="1426" y="1053"/>
                      </a:lnTo>
                      <a:lnTo>
                        <a:pt x="1426" y="1054"/>
                      </a:lnTo>
                      <a:lnTo>
                        <a:pt x="1425" y="1053"/>
                      </a:lnTo>
                      <a:lnTo>
                        <a:pt x="1425" y="1054"/>
                      </a:lnTo>
                      <a:lnTo>
                        <a:pt x="1424" y="1054"/>
                      </a:lnTo>
                      <a:lnTo>
                        <a:pt x="1422" y="1055"/>
                      </a:lnTo>
                      <a:lnTo>
                        <a:pt x="1422" y="1056"/>
                      </a:lnTo>
                      <a:lnTo>
                        <a:pt x="1421" y="1056"/>
                      </a:lnTo>
                      <a:lnTo>
                        <a:pt x="1420" y="1056"/>
                      </a:lnTo>
                      <a:lnTo>
                        <a:pt x="1420" y="1057"/>
                      </a:lnTo>
                      <a:lnTo>
                        <a:pt x="1419" y="1057"/>
                      </a:lnTo>
                      <a:lnTo>
                        <a:pt x="1419" y="1056"/>
                      </a:lnTo>
                      <a:lnTo>
                        <a:pt x="1419" y="1055"/>
                      </a:lnTo>
                      <a:lnTo>
                        <a:pt x="1420" y="1055"/>
                      </a:lnTo>
                      <a:lnTo>
                        <a:pt x="1420" y="1054"/>
                      </a:lnTo>
                      <a:lnTo>
                        <a:pt x="1419" y="1054"/>
                      </a:lnTo>
                      <a:lnTo>
                        <a:pt x="1419" y="1055"/>
                      </a:lnTo>
                      <a:lnTo>
                        <a:pt x="1418" y="1055"/>
                      </a:lnTo>
                      <a:lnTo>
                        <a:pt x="1418" y="1054"/>
                      </a:lnTo>
                      <a:lnTo>
                        <a:pt x="1417" y="1054"/>
                      </a:lnTo>
                      <a:lnTo>
                        <a:pt x="1417" y="1055"/>
                      </a:lnTo>
                      <a:lnTo>
                        <a:pt x="1418" y="1055"/>
                      </a:lnTo>
                      <a:lnTo>
                        <a:pt x="1417" y="1055"/>
                      </a:lnTo>
                      <a:lnTo>
                        <a:pt x="1416" y="1055"/>
                      </a:lnTo>
                      <a:lnTo>
                        <a:pt x="1416" y="1056"/>
                      </a:lnTo>
                      <a:lnTo>
                        <a:pt x="1415" y="1056"/>
                      </a:lnTo>
                      <a:lnTo>
                        <a:pt x="1416" y="1056"/>
                      </a:lnTo>
                      <a:lnTo>
                        <a:pt x="1415" y="1057"/>
                      </a:lnTo>
                      <a:lnTo>
                        <a:pt x="1415" y="1058"/>
                      </a:lnTo>
                      <a:lnTo>
                        <a:pt x="1414" y="1058"/>
                      </a:lnTo>
                      <a:lnTo>
                        <a:pt x="1414" y="1059"/>
                      </a:lnTo>
                      <a:lnTo>
                        <a:pt x="1415" y="1059"/>
                      </a:lnTo>
                      <a:lnTo>
                        <a:pt x="1415" y="1060"/>
                      </a:lnTo>
                      <a:lnTo>
                        <a:pt x="1415" y="1059"/>
                      </a:lnTo>
                      <a:lnTo>
                        <a:pt x="1416" y="1060"/>
                      </a:lnTo>
                      <a:lnTo>
                        <a:pt x="1415" y="1060"/>
                      </a:lnTo>
                      <a:lnTo>
                        <a:pt x="1415" y="1061"/>
                      </a:lnTo>
                      <a:lnTo>
                        <a:pt x="1415" y="1063"/>
                      </a:lnTo>
                      <a:lnTo>
                        <a:pt x="1415" y="1061"/>
                      </a:lnTo>
                      <a:lnTo>
                        <a:pt x="1416" y="1060"/>
                      </a:lnTo>
                      <a:lnTo>
                        <a:pt x="1417" y="1060"/>
                      </a:lnTo>
                      <a:lnTo>
                        <a:pt x="1418" y="1060"/>
                      </a:lnTo>
                      <a:lnTo>
                        <a:pt x="1417" y="1060"/>
                      </a:lnTo>
                      <a:lnTo>
                        <a:pt x="1417" y="1061"/>
                      </a:lnTo>
                      <a:lnTo>
                        <a:pt x="1416" y="1061"/>
                      </a:lnTo>
                      <a:lnTo>
                        <a:pt x="1416" y="1063"/>
                      </a:lnTo>
                      <a:lnTo>
                        <a:pt x="1417" y="1063"/>
                      </a:lnTo>
                      <a:lnTo>
                        <a:pt x="1418" y="1063"/>
                      </a:lnTo>
                      <a:lnTo>
                        <a:pt x="1417" y="1064"/>
                      </a:lnTo>
                      <a:lnTo>
                        <a:pt x="1418" y="1064"/>
                      </a:lnTo>
                      <a:lnTo>
                        <a:pt x="1418" y="1063"/>
                      </a:lnTo>
                      <a:lnTo>
                        <a:pt x="1419" y="1063"/>
                      </a:lnTo>
                      <a:lnTo>
                        <a:pt x="1419" y="1061"/>
                      </a:lnTo>
                      <a:lnTo>
                        <a:pt x="1418" y="1061"/>
                      </a:lnTo>
                      <a:lnTo>
                        <a:pt x="1418" y="1060"/>
                      </a:lnTo>
                      <a:lnTo>
                        <a:pt x="1419" y="1060"/>
                      </a:lnTo>
                      <a:lnTo>
                        <a:pt x="1419" y="1061"/>
                      </a:lnTo>
                      <a:lnTo>
                        <a:pt x="1419" y="1060"/>
                      </a:lnTo>
                      <a:lnTo>
                        <a:pt x="1420" y="1060"/>
                      </a:lnTo>
                      <a:lnTo>
                        <a:pt x="1420" y="1061"/>
                      </a:lnTo>
                      <a:lnTo>
                        <a:pt x="1421" y="1061"/>
                      </a:lnTo>
                      <a:lnTo>
                        <a:pt x="1421" y="1060"/>
                      </a:lnTo>
                      <a:lnTo>
                        <a:pt x="1422" y="1060"/>
                      </a:lnTo>
                      <a:lnTo>
                        <a:pt x="1422" y="1059"/>
                      </a:lnTo>
                      <a:lnTo>
                        <a:pt x="1424" y="1059"/>
                      </a:lnTo>
                      <a:lnTo>
                        <a:pt x="1425" y="1059"/>
                      </a:lnTo>
                      <a:lnTo>
                        <a:pt x="1424" y="1059"/>
                      </a:lnTo>
                      <a:lnTo>
                        <a:pt x="1422" y="1059"/>
                      </a:lnTo>
                      <a:lnTo>
                        <a:pt x="1422" y="1058"/>
                      </a:lnTo>
                      <a:lnTo>
                        <a:pt x="1422" y="1057"/>
                      </a:lnTo>
                      <a:lnTo>
                        <a:pt x="1422" y="1056"/>
                      </a:lnTo>
                      <a:lnTo>
                        <a:pt x="1424" y="1055"/>
                      </a:lnTo>
                      <a:lnTo>
                        <a:pt x="1425" y="1055"/>
                      </a:lnTo>
                      <a:lnTo>
                        <a:pt x="1425" y="1056"/>
                      </a:lnTo>
                      <a:lnTo>
                        <a:pt x="1425" y="1055"/>
                      </a:lnTo>
                      <a:lnTo>
                        <a:pt x="1426" y="1056"/>
                      </a:lnTo>
                      <a:lnTo>
                        <a:pt x="1426" y="1057"/>
                      </a:lnTo>
                      <a:lnTo>
                        <a:pt x="1425" y="1057"/>
                      </a:lnTo>
                      <a:lnTo>
                        <a:pt x="1426" y="1057"/>
                      </a:lnTo>
                      <a:lnTo>
                        <a:pt x="1427" y="1058"/>
                      </a:lnTo>
                      <a:lnTo>
                        <a:pt x="1427" y="1057"/>
                      </a:lnTo>
                      <a:lnTo>
                        <a:pt x="1427" y="1056"/>
                      </a:lnTo>
                      <a:lnTo>
                        <a:pt x="1426" y="1056"/>
                      </a:lnTo>
                      <a:lnTo>
                        <a:pt x="1427" y="1056"/>
                      </a:lnTo>
                      <a:lnTo>
                        <a:pt x="1428" y="1056"/>
                      </a:lnTo>
                      <a:lnTo>
                        <a:pt x="1429" y="1056"/>
                      </a:lnTo>
                      <a:lnTo>
                        <a:pt x="1430" y="1056"/>
                      </a:lnTo>
                      <a:lnTo>
                        <a:pt x="1431" y="1054"/>
                      </a:lnTo>
                      <a:lnTo>
                        <a:pt x="1432" y="1054"/>
                      </a:lnTo>
                      <a:lnTo>
                        <a:pt x="1431" y="1055"/>
                      </a:lnTo>
                      <a:lnTo>
                        <a:pt x="1430" y="1056"/>
                      </a:lnTo>
                      <a:lnTo>
                        <a:pt x="1429" y="1056"/>
                      </a:lnTo>
                      <a:lnTo>
                        <a:pt x="1429" y="1057"/>
                      </a:lnTo>
                      <a:lnTo>
                        <a:pt x="1428" y="1058"/>
                      </a:lnTo>
                      <a:lnTo>
                        <a:pt x="1428" y="1059"/>
                      </a:lnTo>
                      <a:lnTo>
                        <a:pt x="1427" y="1059"/>
                      </a:lnTo>
                      <a:lnTo>
                        <a:pt x="1426" y="1060"/>
                      </a:lnTo>
                      <a:lnTo>
                        <a:pt x="1425" y="1060"/>
                      </a:lnTo>
                      <a:lnTo>
                        <a:pt x="1424" y="1060"/>
                      </a:lnTo>
                      <a:lnTo>
                        <a:pt x="1424" y="1061"/>
                      </a:lnTo>
                      <a:lnTo>
                        <a:pt x="1422" y="1061"/>
                      </a:lnTo>
                      <a:lnTo>
                        <a:pt x="1422" y="1063"/>
                      </a:lnTo>
                      <a:lnTo>
                        <a:pt x="1421" y="1063"/>
                      </a:lnTo>
                      <a:lnTo>
                        <a:pt x="1420" y="1063"/>
                      </a:lnTo>
                      <a:lnTo>
                        <a:pt x="1419" y="1063"/>
                      </a:lnTo>
                      <a:lnTo>
                        <a:pt x="1418" y="1064"/>
                      </a:lnTo>
                      <a:lnTo>
                        <a:pt x="1417" y="1065"/>
                      </a:lnTo>
                      <a:lnTo>
                        <a:pt x="1415" y="1065"/>
                      </a:lnTo>
                      <a:lnTo>
                        <a:pt x="1415" y="1064"/>
                      </a:lnTo>
                      <a:lnTo>
                        <a:pt x="1415" y="1063"/>
                      </a:lnTo>
                      <a:lnTo>
                        <a:pt x="1416" y="1063"/>
                      </a:lnTo>
                      <a:lnTo>
                        <a:pt x="1416" y="1061"/>
                      </a:lnTo>
                      <a:lnTo>
                        <a:pt x="1416" y="1060"/>
                      </a:lnTo>
                      <a:lnTo>
                        <a:pt x="1416" y="1061"/>
                      </a:lnTo>
                      <a:lnTo>
                        <a:pt x="1416" y="1063"/>
                      </a:lnTo>
                      <a:lnTo>
                        <a:pt x="1415" y="1063"/>
                      </a:lnTo>
                      <a:lnTo>
                        <a:pt x="1415" y="1064"/>
                      </a:lnTo>
                      <a:lnTo>
                        <a:pt x="1415" y="1065"/>
                      </a:lnTo>
                      <a:lnTo>
                        <a:pt x="1414" y="1065"/>
                      </a:lnTo>
                      <a:lnTo>
                        <a:pt x="1414" y="1064"/>
                      </a:lnTo>
                      <a:lnTo>
                        <a:pt x="1413" y="1064"/>
                      </a:lnTo>
                      <a:lnTo>
                        <a:pt x="1410" y="1064"/>
                      </a:lnTo>
                      <a:lnTo>
                        <a:pt x="1409" y="1063"/>
                      </a:lnTo>
                      <a:lnTo>
                        <a:pt x="1408" y="1063"/>
                      </a:lnTo>
                      <a:lnTo>
                        <a:pt x="1408" y="1061"/>
                      </a:lnTo>
                      <a:lnTo>
                        <a:pt x="1407" y="1061"/>
                      </a:lnTo>
                      <a:lnTo>
                        <a:pt x="1408" y="1061"/>
                      </a:lnTo>
                      <a:lnTo>
                        <a:pt x="1408" y="1060"/>
                      </a:lnTo>
                      <a:lnTo>
                        <a:pt x="1408" y="1059"/>
                      </a:lnTo>
                      <a:lnTo>
                        <a:pt x="1409" y="1059"/>
                      </a:lnTo>
                      <a:lnTo>
                        <a:pt x="1409" y="1058"/>
                      </a:lnTo>
                      <a:lnTo>
                        <a:pt x="1412" y="1057"/>
                      </a:lnTo>
                      <a:lnTo>
                        <a:pt x="1413" y="1057"/>
                      </a:lnTo>
                      <a:lnTo>
                        <a:pt x="1412" y="1057"/>
                      </a:lnTo>
                      <a:lnTo>
                        <a:pt x="1412" y="1058"/>
                      </a:lnTo>
                      <a:lnTo>
                        <a:pt x="1413" y="1058"/>
                      </a:lnTo>
                      <a:lnTo>
                        <a:pt x="1413" y="1057"/>
                      </a:lnTo>
                      <a:lnTo>
                        <a:pt x="1414" y="1056"/>
                      </a:lnTo>
                      <a:lnTo>
                        <a:pt x="1414" y="1057"/>
                      </a:lnTo>
                      <a:lnTo>
                        <a:pt x="1414" y="1056"/>
                      </a:lnTo>
                      <a:lnTo>
                        <a:pt x="1417" y="1054"/>
                      </a:lnTo>
                      <a:lnTo>
                        <a:pt x="1417" y="1053"/>
                      </a:lnTo>
                      <a:lnTo>
                        <a:pt x="1417" y="1052"/>
                      </a:lnTo>
                      <a:lnTo>
                        <a:pt x="1418" y="1051"/>
                      </a:lnTo>
                      <a:lnTo>
                        <a:pt x="1418" y="1050"/>
                      </a:lnTo>
                      <a:lnTo>
                        <a:pt x="1419" y="1048"/>
                      </a:lnTo>
                      <a:lnTo>
                        <a:pt x="1420" y="1048"/>
                      </a:lnTo>
                      <a:lnTo>
                        <a:pt x="1421" y="1047"/>
                      </a:lnTo>
                      <a:lnTo>
                        <a:pt x="1422" y="1046"/>
                      </a:lnTo>
                      <a:lnTo>
                        <a:pt x="1422" y="1045"/>
                      </a:lnTo>
                      <a:lnTo>
                        <a:pt x="1424" y="1045"/>
                      </a:lnTo>
                      <a:lnTo>
                        <a:pt x="1425" y="1045"/>
                      </a:lnTo>
                      <a:lnTo>
                        <a:pt x="1426" y="1044"/>
                      </a:lnTo>
                      <a:lnTo>
                        <a:pt x="1427" y="1043"/>
                      </a:lnTo>
                      <a:lnTo>
                        <a:pt x="1429" y="1043"/>
                      </a:lnTo>
                      <a:lnTo>
                        <a:pt x="1430" y="1042"/>
                      </a:lnTo>
                      <a:lnTo>
                        <a:pt x="1433" y="1042"/>
                      </a:lnTo>
                      <a:lnTo>
                        <a:pt x="1434" y="1042"/>
                      </a:lnTo>
                      <a:lnTo>
                        <a:pt x="1435" y="1042"/>
                      </a:lnTo>
                      <a:lnTo>
                        <a:pt x="1437" y="1042"/>
                      </a:lnTo>
                      <a:lnTo>
                        <a:pt x="1438" y="1042"/>
                      </a:lnTo>
                      <a:lnTo>
                        <a:pt x="1439" y="1042"/>
                      </a:lnTo>
                      <a:lnTo>
                        <a:pt x="1440" y="1042"/>
                      </a:lnTo>
                      <a:lnTo>
                        <a:pt x="1441" y="1042"/>
                      </a:lnTo>
                      <a:lnTo>
                        <a:pt x="1442" y="1042"/>
                      </a:lnTo>
                      <a:lnTo>
                        <a:pt x="1443" y="1042"/>
                      </a:lnTo>
                      <a:lnTo>
                        <a:pt x="1443" y="1043"/>
                      </a:lnTo>
                      <a:lnTo>
                        <a:pt x="1443" y="1042"/>
                      </a:lnTo>
                      <a:lnTo>
                        <a:pt x="1442" y="1042"/>
                      </a:lnTo>
                      <a:lnTo>
                        <a:pt x="1443" y="1041"/>
                      </a:lnTo>
                      <a:lnTo>
                        <a:pt x="1444" y="1041"/>
                      </a:lnTo>
                      <a:lnTo>
                        <a:pt x="1444" y="1040"/>
                      </a:lnTo>
                      <a:lnTo>
                        <a:pt x="1445" y="1040"/>
                      </a:lnTo>
                      <a:lnTo>
                        <a:pt x="1446" y="1039"/>
                      </a:lnTo>
                      <a:lnTo>
                        <a:pt x="1447" y="1039"/>
                      </a:lnTo>
                      <a:lnTo>
                        <a:pt x="1447" y="1038"/>
                      </a:lnTo>
                      <a:lnTo>
                        <a:pt x="1448" y="1038"/>
                      </a:lnTo>
                      <a:close/>
                      <a:moveTo>
                        <a:pt x="1429" y="1011"/>
                      </a:moveTo>
                      <a:lnTo>
                        <a:pt x="1428" y="1012"/>
                      </a:lnTo>
                      <a:lnTo>
                        <a:pt x="1428" y="1013"/>
                      </a:lnTo>
                      <a:lnTo>
                        <a:pt x="1427" y="1013"/>
                      </a:lnTo>
                      <a:lnTo>
                        <a:pt x="1428" y="1013"/>
                      </a:lnTo>
                      <a:lnTo>
                        <a:pt x="1427" y="1013"/>
                      </a:lnTo>
                      <a:lnTo>
                        <a:pt x="1427" y="1012"/>
                      </a:lnTo>
                      <a:lnTo>
                        <a:pt x="1428" y="1012"/>
                      </a:lnTo>
                      <a:lnTo>
                        <a:pt x="1427" y="1012"/>
                      </a:lnTo>
                      <a:lnTo>
                        <a:pt x="1427" y="1013"/>
                      </a:lnTo>
                      <a:lnTo>
                        <a:pt x="1427" y="1014"/>
                      </a:lnTo>
                      <a:lnTo>
                        <a:pt x="1427" y="1015"/>
                      </a:lnTo>
                      <a:lnTo>
                        <a:pt x="1426" y="1015"/>
                      </a:lnTo>
                      <a:lnTo>
                        <a:pt x="1427" y="1015"/>
                      </a:lnTo>
                      <a:lnTo>
                        <a:pt x="1427" y="1014"/>
                      </a:lnTo>
                      <a:lnTo>
                        <a:pt x="1428" y="1014"/>
                      </a:lnTo>
                      <a:lnTo>
                        <a:pt x="1428" y="1013"/>
                      </a:lnTo>
                      <a:lnTo>
                        <a:pt x="1428" y="1012"/>
                      </a:lnTo>
                      <a:lnTo>
                        <a:pt x="1429" y="1013"/>
                      </a:lnTo>
                      <a:lnTo>
                        <a:pt x="1430" y="1013"/>
                      </a:lnTo>
                      <a:lnTo>
                        <a:pt x="1429" y="1014"/>
                      </a:lnTo>
                      <a:lnTo>
                        <a:pt x="1430" y="1014"/>
                      </a:lnTo>
                      <a:lnTo>
                        <a:pt x="1430" y="1015"/>
                      </a:lnTo>
                      <a:lnTo>
                        <a:pt x="1429" y="1016"/>
                      </a:lnTo>
                      <a:lnTo>
                        <a:pt x="1428" y="1017"/>
                      </a:lnTo>
                      <a:lnTo>
                        <a:pt x="1428" y="1018"/>
                      </a:lnTo>
                      <a:lnTo>
                        <a:pt x="1428" y="1019"/>
                      </a:lnTo>
                      <a:lnTo>
                        <a:pt x="1428" y="1018"/>
                      </a:lnTo>
                      <a:lnTo>
                        <a:pt x="1429" y="1018"/>
                      </a:lnTo>
                      <a:lnTo>
                        <a:pt x="1429" y="1019"/>
                      </a:lnTo>
                      <a:lnTo>
                        <a:pt x="1429" y="1018"/>
                      </a:lnTo>
                      <a:lnTo>
                        <a:pt x="1428" y="1018"/>
                      </a:lnTo>
                      <a:lnTo>
                        <a:pt x="1428" y="1017"/>
                      </a:lnTo>
                      <a:lnTo>
                        <a:pt x="1429" y="1017"/>
                      </a:lnTo>
                      <a:lnTo>
                        <a:pt x="1428" y="1017"/>
                      </a:lnTo>
                      <a:lnTo>
                        <a:pt x="1429" y="1016"/>
                      </a:lnTo>
                      <a:lnTo>
                        <a:pt x="1430" y="1015"/>
                      </a:lnTo>
                      <a:lnTo>
                        <a:pt x="1430" y="1014"/>
                      </a:lnTo>
                      <a:lnTo>
                        <a:pt x="1431" y="1014"/>
                      </a:lnTo>
                      <a:lnTo>
                        <a:pt x="1431" y="1015"/>
                      </a:lnTo>
                      <a:lnTo>
                        <a:pt x="1431" y="1016"/>
                      </a:lnTo>
                      <a:lnTo>
                        <a:pt x="1430" y="1016"/>
                      </a:lnTo>
                      <a:lnTo>
                        <a:pt x="1430" y="1017"/>
                      </a:lnTo>
                      <a:lnTo>
                        <a:pt x="1431" y="1017"/>
                      </a:lnTo>
                      <a:lnTo>
                        <a:pt x="1431" y="1016"/>
                      </a:lnTo>
                      <a:lnTo>
                        <a:pt x="1432" y="1016"/>
                      </a:lnTo>
                      <a:lnTo>
                        <a:pt x="1432" y="1015"/>
                      </a:lnTo>
                      <a:lnTo>
                        <a:pt x="1431" y="1015"/>
                      </a:lnTo>
                      <a:lnTo>
                        <a:pt x="1431" y="1014"/>
                      </a:lnTo>
                      <a:lnTo>
                        <a:pt x="1430" y="1014"/>
                      </a:lnTo>
                      <a:lnTo>
                        <a:pt x="1430" y="1013"/>
                      </a:lnTo>
                      <a:lnTo>
                        <a:pt x="1431" y="1013"/>
                      </a:lnTo>
                      <a:lnTo>
                        <a:pt x="1431" y="1014"/>
                      </a:lnTo>
                      <a:lnTo>
                        <a:pt x="1432" y="1014"/>
                      </a:lnTo>
                      <a:lnTo>
                        <a:pt x="1433" y="1014"/>
                      </a:lnTo>
                      <a:lnTo>
                        <a:pt x="1433" y="1015"/>
                      </a:lnTo>
                      <a:lnTo>
                        <a:pt x="1434" y="1015"/>
                      </a:lnTo>
                      <a:lnTo>
                        <a:pt x="1434" y="1016"/>
                      </a:lnTo>
                      <a:lnTo>
                        <a:pt x="1433" y="1017"/>
                      </a:lnTo>
                      <a:lnTo>
                        <a:pt x="1433" y="1018"/>
                      </a:lnTo>
                      <a:lnTo>
                        <a:pt x="1432" y="1018"/>
                      </a:lnTo>
                      <a:lnTo>
                        <a:pt x="1432" y="1019"/>
                      </a:lnTo>
                      <a:lnTo>
                        <a:pt x="1431" y="1020"/>
                      </a:lnTo>
                      <a:lnTo>
                        <a:pt x="1431" y="1021"/>
                      </a:lnTo>
                      <a:lnTo>
                        <a:pt x="1430" y="1021"/>
                      </a:lnTo>
                      <a:lnTo>
                        <a:pt x="1430" y="1022"/>
                      </a:lnTo>
                      <a:lnTo>
                        <a:pt x="1429" y="1022"/>
                      </a:lnTo>
                      <a:lnTo>
                        <a:pt x="1429" y="1024"/>
                      </a:lnTo>
                      <a:lnTo>
                        <a:pt x="1428" y="1024"/>
                      </a:lnTo>
                      <a:lnTo>
                        <a:pt x="1428" y="1025"/>
                      </a:lnTo>
                      <a:lnTo>
                        <a:pt x="1428" y="1024"/>
                      </a:lnTo>
                      <a:lnTo>
                        <a:pt x="1428" y="1025"/>
                      </a:lnTo>
                      <a:lnTo>
                        <a:pt x="1427" y="1025"/>
                      </a:lnTo>
                      <a:lnTo>
                        <a:pt x="1426" y="1026"/>
                      </a:lnTo>
                      <a:lnTo>
                        <a:pt x="1425" y="1026"/>
                      </a:lnTo>
                      <a:lnTo>
                        <a:pt x="1424" y="1026"/>
                      </a:lnTo>
                      <a:lnTo>
                        <a:pt x="1422" y="1027"/>
                      </a:lnTo>
                      <a:lnTo>
                        <a:pt x="1421" y="1027"/>
                      </a:lnTo>
                      <a:lnTo>
                        <a:pt x="1421" y="1028"/>
                      </a:lnTo>
                      <a:lnTo>
                        <a:pt x="1420" y="1028"/>
                      </a:lnTo>
                      <a:lnTo>
                        <a:pt x="1420" y="1029"/>
                      </a:lnTo>
                      <a:lnTo>
                        <a:pt x="1419" y="1030"/>
                      </a:lnTo>
                      <a:lnTo>
                        <a:pt x="1419" y="1031"/>
                      </a:lnTo>
                      <a:lnTo>
                        <a:pt x="1418" y="1032"/>
                      </a:lnTo>
                      <a:lnTo>
                        <a:pt x="1417" y="1032"/>
                      </a:lnTo>
                      <a:lnTo>
                        <a:pt x="1417" y="1031"/>
                      </a:lnTo>
                      <a:lnTo>
                        <a:pt x="1417" y="1030"/>
                      </a:lnTo>
                      <a:lnTo>
                        <a:pt x="1417" y="1029"/>
                      </a:lnTo>
                      <a:lnTo>
                        <a:pt x="1417" y="1028"/>
                      </a:lnTo>
                      <a:lnTo>
                        <a:pt x="1417" y="1027"/>
                      </a:lnTo>
                      <a:lnTo>
                        <a:pt x="1416" y="1027"/>
                      </a:lnTo>
                      <a:lnTo>
                        <a:pt x="1416" y="1026"/>
                      </a:lnTo>
                      <a:lnTo>
                        <a:pt x="1416" y="1025"/>
                      </a:lnTo>
                      <a:lnTo>
                        <a:pt x="1417" y="1025"/>
                      </a:lnTo>
                      <a:lnTo>
                        <a:pt x="1416" y="1025"/>
                      </a:lnTo>
                      <a:lnTo>
                        <a:pt x="1417" y="1025"/>
                      </a:lnTo>
                      <a:lnTo>
                        <a:pt x="1417" y="1026"/>
                      </a:lnTo>
                      <a:lnTo>
                        <a:pt x="1417" y="1025"/>
                      </a:lnTo>
                      <a:lnTo>
                        <a:pt x="1417" y="1026"/>
                      </a:lnTo>
                      <a:lnTo>
                        <a:pt x="1417" y="1027"/>
                      </a:lnTo>
                      <a:lnTo>
                        <a:pt x="1417" y="1026"/>
                      </a:lnTo>
                      <a:lnTo>
                        <a:pt x="1418" y="1026"/>
                      </a:lnTo>
                      <a:lnTo>
                        <a:pt x="1417" y="1026"/>
                      </a:lnTo>
                      <a:lnTo>
                        <a:pt x="1417" y="1025"/>
                      </a:lnTo>
                      <a:lnTo>
                        <a:pt x="1417" y="1026"/>
                      </a:lnTo>
                      <a:lnTo>
                        <a:pt x="1418" y="1025"/>
                      </a:lnTo>
                      <a:lnTo>
                        <a:pt x="1417" y="1025"/>
                      </a:lnTo>
                      <a:lnTo>
                        <a:pt x="1418" y="1025"/>
                      </a:lnTo>
                      <a:lnTo>
                        <a:pt x="1418" y="1024"/>
                      </a:lnTo>
                      <a:lnTo>
                        <a:pt x="1417" y="1024"/>
                      </a:lnTo>
                      <a:lnTo>
                        <a:pt x="1418" y="1024"/>
                      </a:lnTo>
                      <a:lnTo>
                        <a:pt x="1418" y="1022"/>
                      </a:lnTo>
                      <a:lnTo>
                        <a:pt x="1419" y="1022"/>
                      </a:lnTo>
                      <a:lnTo>
                        <a:pt x="1419" y="1021"/>
                      </a:lnTo>
                      <a:lnTo>
                        <a:pt x="1419" y="1020"/>
                      </a:lnTo>
                      <a:lnTo>
                        <a:pt x="1420" y="1020"/>
                      </a:lnTo>
                      <a:lnTo>
                        <a:pt x="1420" y="1021"/>
                      </a:lnTo>
                      <a:lnTo>
                        <a:pt x="1420" y="1020"/>
                      </a:lnTo>
                      <a:lnTo>
                        <a:pt x="1421" y="1020"/>
                      </a:lnTo>
                      <a:lnTo>
                        <a:pt x="1421" y="1019"/>
                      </a:lnTo>
                      <a:lnTo>
                        <a:pt x="1421" y="1018"/>
                      </a:lnTo>
                      <a:lnTo>
                        <a:pt x="1421" y="1017"/>
                      </a:lnTo>
                      <a:lnTo>
                        <a:pt x="1421" y="1016"/>
                      </a:lnTo>
                      <a:lnTo>
                        <a:pt x="1421" y="1015"/>
                      </a:lnTo>
                      <a:lnTo>
                        <a:pt x="1422" y="1014"/>
                      </a:lnTo>
                      <a:lnTo>
                        <a:pt x="1424" y="1014"/>
                      </a:lnTo>
                      <a:lnTo>
                        <a:pt x="1424" y="1015"/>
                      </a:lnTo>
                      <a:lnTo>
                        <a:pt x="1424" y="1014"/>
                      </a:lnTo>
                      <a:lnTo>
                        <a:pt x="1424" y="1013"/>
                      </a:lnTo>
                      <a:lnTo>
                        <a:pt x="1425" y="1013"/>
                      </a:lnTo>
                      <a:lnTo>
                        <a:pt x="1424" y="1014"/>
                      </a:lnTo>
                      <a:lnTo>
                        <a:pt x="1425" y="1014"/>
                      </a:lnTo>
                      <a:lnTo>
                        <a:pt x="1425" y="1013"/>
                      </a:lnTo>
                      <a:lnTo>
                        <a:pt x="1425" y="1014"/>
                      </a:lnTo>
                      <a:lnTo>
                        <a:pt x="1425" y="1015"/>
                      </a:lnTo>
                      <a:lnTo>
                        <a:pt x="1425" y="1014"/>
                      </a:lnTo>
                      <a:lnTo>
                        <a:pt x="1426" y="1014"/>
                      </a:lnTo>
                      <a:lnTo>
                        <a:pt x="1426" y="1013"/>
                      </a:lnTo>
                      <a:lnTo>
                        <a:pt x="1427" y="1013"/>
                      </a:lnTo>
                      <a:lnTo>
                        <a:pt x="1427" y="1012"/>
                      </a:lnTo>
                      <a:lnTo>
                        <a:pt x="1427" y="1011"/>
                      </a:lnTo>
                      <a:lnTo>
                        <a:pt x="1428" y="1011"/>
                      </a:lnTo>
                      <a:lnTo>
                        <a:pt x="1428" y="1012"/>
                      </a:lnTo>
                      <a:lnTo>
                        <a:pt x="1428" y="1011"/>
                      </a:lnTo>
                      <a:lnTo>
                        <a:pt x="1428" y="1009"/>
                      </a:lnTo>
                      <a:lnTo>
                        <a:pt x="1428" y="1011"/>
                      </a:lnTo>
                      <a:lnTo>
                        <a:pt x="1429" y="1011"/>
                      </a:lnTo>
                      <a:close/>
                      <a:moveTo>
                        <a:pt x="1459" y="1082"/>
                      </a:moveTo>
                      <a:lnTo>
                        <a:pt x="1460" y="1082"/>
                      </a:lnTo>
                      <a:lnTo>
                        <a:pt x="1461" y="1082"/>
                      </a:lnTo>
                      <a:lnTo>
                        <a:pt x="1461" y="1083"/>
                      </a:lnTo>
                      <a:lnTo>
                        <a:pt x="1463" y="1083"/>
                      </a:lnTo>
                      <a:lnTo>
                        <a:pt x="1463" y="1084"/>
                      </a:lnTo>
                      <a:lnTo>
                        <a:pt x="1464" y="1084"/>
                      </a:lnTo>
                      <a:lnTo>
                        <a:pt x="1464" y="1083"/>
                      </a:lnTo>
                      <a:lnTo>
                        <a:pt x="1466" y="1083"/>
                      </a:lnTo>
                      <a:lnTo>
                        <a:pt x="1467" y="1083"/>
                      </a:lnTo>
                      <a:lnTo>
                        <a:pt x="1468" y="1082"/>
                      </a:lnTo>
                      <a:lnTo>
                        <a:pt x="1467" y="1081"/>
                      </a:lnTo>
                      <a:lnTo>
                        <a:pt x="1468" y="1081"/>
                      </a:lnTo>
                      <a:lnTo>
                        <a:pt x="1468" y="1080"/>
                      </a:lnTo>
                      <a:lnTo>
                        <a:pt x="1469" y="1079"/>
                      </a:lnTo>
                      <a:lnTo>
                        <a:pt x="1469" y="1080"/>
                      </a:lnTo>
                      <a:lnTo>
                        <a:pt x="1469" y="1081"/>
                      </a:lnTo>
                      <a:lnTo>
                        <a:pt x="1470" y="1081"/>
                      </a:lnTo>
                      <a:lnTo>
                        <a:pt x="1470" y="1080"/>
                      </a:lnTo>
                      <a:lnTo>
                        <a:pt x="1471" y="1080"/>
                      </a:lnTo>
                      <a:lnTo>
                        <a:pt x="1472" y="1080"/>
                      </a:lnTo>
                      <a:lnTo>
                        <a:pt x="1472" y="1081"/>
                      </a:lnTo>
                      <a:lnTo>
                        <a:pt x="1473" y="1080"/>
                      </a:lnTo>
                      <a:lnTo>
                        <a:pt x="1474" y="1080"/>
                      </a:lnTo>
                      <a:lnTo>
                        <a:pt x="1476" y="1080"/>
                      </a:lnTo>
                      <a:lnTo>
                        <a:pt x="1477" y="1080"/>
                      </a:lnTo>
                      <a:lnTo>
                        <a:pt x="1478" y="1080"/>
                      </a:lnTo>
                      <a:lnTo>
                        <a:pt x="1477" y="1080"/>
                      </a:lnTo>
                      <a:lnTo>
                        <a:pt x="1473" y="1081"/>
                      </a:lnTo>
                      <a:lnTo>
                        <a:pt x="1468" y="1083"/>
                      </a:lnTo>
                      <a:lnTo>
                        <a:pt x="1467" y="1083"/>
                      </a:lnTo>
                      <a:lnTo>
                        <a:pt x="1464" y="1084"/>
                      </a:lnTo>
                      <a:lnTo>
                        <a:pt x="1460" y="1085"/>
                      </a:lnTo>
                      <a:lnTo>
                        <a:pt x="1459" y="1086"/>
                      </a:lnTo>
                      <a:lnTo>
                        <a:pt x="1457" y="1088"/>
                      </a:lnTo>
                      <a:lnTo>
                        <a:pt x="1455" y="1088"/>
                      </a:lnTo>
                      <a:lnTo>
                        <a:pt x="1453" y="1088"/>
                      </a:lnTo>
                      <a:lnTo>
                        <a:pt x="1452" y="1089"/>
                      </a:lnTo>
                      <a:lnTo>
                        <a:pt x="1451" y="1089"/>
                      </a:lnTo>
                      <a:lnTo>
                        <a:pt x="1450" y="1089"/>
                      </a:lnTo>
                      <a:lnTo>
                        <a:pt x="1445" y="1091"/>
                      </a:lnTo>
                      <a:lnTo>
                        <a:pt x="1444" y="1091"/>
                      </a:lnTo>
                      <a:lnTo>
                        <a:pt x="1444" y="1092"/>
                      </a:lnTo>
                      <a:lnTo>
                        <a:pt x="1443" y="1092"/>
                      </a:lnTo>
                      <a:lnTo>
                        <a:pt x="1443" y="1091"/>
                      </a:lnTo>
                      <a:lnTo>
                        <a:pt x="1442" y="1091"/>
                      </a:lnTo>
                      <a:lnTo>
                        <a:pt x="1443" y="1091"/>
                      </a:lnTo>
                      <a:lnTo>
                        <a:pt x="1443" y="1090"/>
                      </a:lnTo>
                      <a:lnTo>
                        <a:pt x="1444" y="1090"/>
                      </a:lnTo>
                      <a:lnTo>
                        <a:pt x="1443" y="1089"/>
                      </a:lnTo>
                      <a:lnTo>
                        <a:pt x="1443" y="1088"/>
                      </a:lnTo>
                      <a:lnTo>
                        <a:pt x="1444" y="1088"/>
                      </a:lnTo>
                      <a:lnTo>
                        <a:pt x="1444" y="1086"/>
                      </a:lnTo>
                      <a:lnTo>
                        <a:pt x="1444" y="1088"/>
                      </a:lnTo>
                      <a:lnTo>
                        <a:pt x="1445" y="1088"/>
                      </a:lnTo>
                      <a:lnTo>
                        <a:pt x="1445" y="1086"/>
                      </a:lnTo>
                      <a:lnTo>
                        <a:pt x="1446" y="1086"/>
                      </a:lnTo>
                      <a:lnTo>
                        <a:pt x="1446" y="1085"/>
                      </a:lnTo>
                      <a:lnTo>
                        <a:pt x="1447" y="1085"/>
                      </a:lnTo>
                      <a:lnTo>
                        <a:pt x="1447" y="1084"/>
                      </a:lnTo>
                      <a:lnTo>
                        <a:pt x="1448" y="1084"/>
                      </a:lnTo>
                      <a:lnTo>
                        <a:pt x="1450" y="1084"/>
                      </a:lnTo>
                      <a:lnTo>
                        <a:pt x="1450" y="1085"/>
                      </a:lnTo>
                      <a:lnTo>
                        <a:pt x="1448" y="1084"/>
                      </a:lnTo>
                      <a:lnTo>
                        <a:pt x="1448" y="1085"/>
                      </a:lnTo>
                      <a:lnTo>
                        <a:pt x="1448" y="1086"/>
                      </a:lnTo>
                      <a:lnTo>
                        <a:pt x="1450" y="1086"/>
                      </a:lnTo>
                      <a:lnTo>
                        <a:pt x="1450" y="1085"/>
                      </a:lnTo>
                      <a:lnTo>
                        <a:pt x="1450" y="1084"/>
                      </a:lnTo>
                      <a:lnTo>
                        <a:pt x="1451" y="1084"/>
                      </a:lnTo>
                      <a:lnTo>
                        <a:pt x="1451" y="1083"/>
                      </a:lnTo>
                      <a:lnTo>
                        <a:pt x="1451" y="1082"/>
                      </a:lnTo>
                      <a:lnTo>
                        <a:pt x="1451" y="1081"/>
                      </a:lnTo>
                      <a:lnTo>
                        <a:pt x="1452" y="1080"/>
                      </a:lnTo>
                      <a:lnTo>
                        <a:pt x="1453" y="1079"/>
                      </a:lnTo>
                      <a:lnTo>
                        <a:pt x="1453" y="1078"/>
                      </a:lnTo>
                      <a:lnTo>
                        <a:pt x="1453" y="1076"/>
                      </a:lnTo>
                      <a:lnTo>
                        <a:pt x="1454" y="1076"/>
                      </a:lnTo>
                      <a:lnTo>
                        <a:pt x="1456" y="1076"/>
                      </a:lnTo>
                      <a:lnTo>
                        <a:pt x="1456" y="1077"/>
                      </a:lnTo>
                      <a:lnTo>
                        <a:pt x="1456" y="1078"/>
                      </a:lnTo>
                      <a:lnTo>
                        <a:pt x="1456" y="1079"/>
                      </a:lnTo>
                      <a:lnTo>
                        <a:pt x="1455" y="1079"/>
                      </a:lnTo>
                      <a:lnTo>
                        <a:pt x="1456" y="1079"/>
                      </a:lnTo>
                      <a:lnTo>
                        <a:pt x="1456" y="1080"/>
                      </a:lnTo>
                      <a:lnTo>
                        <a:pt x="1457" y="1081"/>
                      </a:lnTo>
                      <a:lnTo>
                        <a:pt x="1459" y="1082"/>
                      </a:lnTo>
                      <a:close/>
                      <a:moveTo>
                        <a:pt x="1416" y="1048"/>
                      </a:moveTo>
                      <a:lnTo>
                        <a:pt x="1417" y="1050"/>
                      </a:lnTo>
                      <a:lnTo>
                        <a:pt x="1418" y="1050"/>
                      </a:lnTo>
                      <a:lnTo>
                        <a:pt x="1417" y="1051"/>
                      </a:lnTo>
                      <a:lnTo>
                        <a:pt x="1417" y="1052"/>
                      </a:lnTo>
                      <a:lnTo>
                        <a:pt x="1417" y="1053"/>
                      </a:lnTo>
                      <a:lnTo>
                        <a:pt x="1416" y="1053"/>
                      </a:lnTo>
                      <a:lnTo>
                        <a:pt x="1414" y="1056"/>
                      </a:lnTo>
                      <a:lnTo>
                        <a:pt x="1413" y="1056"/>
                      </a:lnTo>
                      <a:lnTo>
                        <a:pt x="1412" y="1057"/>
                      </a:lnTo>
                      <a:lnTo>
                        <a:pt x="1410" y="1057"/>
                      </a:lnTo>
                      <a:lnTo>
                        <a:pt x="1409" y="1057"/>
                      </a:lnTo>
                      <a:lnTo>
                        <a:pt x="1409" y="1058"/>
                      </a:lnTo>
                      <a:lnTo>
                        <a:pt x="1408" y="1058"/>
                      </a:lnTo>
                      <a:lnTo>
                        <a:pt x="1408" y="1059"/>
                      </a:lnTo>
                      <a:lnTo>
                        <a:pt x="1407" y="1061"/>
                      </a:lnTo>
                      <a:lnTo>
                        <a:pt x="1406" y="1061"/>
                      </a:lnTo>
                      <a:lnTo>
                        <a:pt x="1406" y="1063"/>
                      </a:lnTo>
                      <a:lnTo>
                        <a:pt x="1405" y="1063"/>
                      </a:lnTo>
                      <a:lnTo>
                        <a:pt x="1404" y="1063"/>
                      </a:lnTo>
                      <a:lnTo>
                        <a:pt x="1402" y="1063"/>
                      </a:lnTo>
                      <a:lnTo>
                        <a:pt x="1401" y="1063"/>
                      </a:lnTo>
                      <a:lnTo>
                        <a:pt x="1401" y="1061"/>
                      </a:lnTo>
                      <a:lnTo>
                        <a:pt x="1401" y="1063"/>
                      </a:lnTo>
                      <a:lnTo>
                        <a:pt x="1400" y="1063"/>
                      </a:lnTo>
                      <a:lnTo>
                        <a:pt x="1400" y="1061"/>
                      </a:lnTo>
                      <a:lnTo>
                        <a:pt x="1399" y="1061"/>
                      </a:lnTo>
                      <a:lnTo>
                        <a:pt x="1399" y="1060"/>
                      </a:lnTo>
                      <a:lnTo>
                        <a:pt x="1399" y="1059"/>
                      </a:lnTo>
                      <a:lnTo>
                        <a:pt x="1400" y="1059"/>
                      </a:lnTo>
                      <a:lnTo>
                        <a:pt x="1400" y="1058"/>
                      </a:lnTo>
                      <a:lnTo>
                        <a:pt x="1401" y="1058"/>
                      </a:lnTo>
                      <a:lnTo>
                        <a:pt x="1401" y="1057"/>
                      </a:lnTo>
                      <a:lnTo>
                        <a:pt x="1401" y="1056"/>
                      </a:lnTo>
                      <a:lnTo>
                        <a:pt x="1402" y="1056"/>
                      </a:lnTo>
                      <a:lnTo>
                        <a:pt x="1403" y="1058"/>
                      </a:lnTo>
                      <a:lnTo>
                        <a:pt x="1404" y="1058"/>
                      </a:lnTo>
                      <a:lnTo>
                        <a:pt x="1405" y="1058"/>
                      </a:lnTo>
                      <a:lnTo>
                        <a:pt x="1406" y="1058"/>
                      </a:lnTo>
                      <a:lnTo>
                        <a:pt x="1407" y="1058"/>
                      </a:lnTo>
                      <a:lnTo>
                        <a:pt x="1407" y="1057"/>
                      </a:lnTo>
                      <a:lnTo>
                        <a:pt x="1408" y="1057"/>
                      </a:lnTo>
                      <a:lnTo>
                        <a:pt x="1408" y="1056"/>
                      </a:lnTo>
                      <a:lnTo>
                        <a:pt x="1408" y="1057"/>
                      </a:lnTo>
                      <a:lnTo>
                        <a:pt x="1407" y="1058"/>
                      </a:lnTo>
                      <a:lnTo>
                        <a:pt x="1406" y="1058"/>
                      </a:lnTo>
                      <a:lnTo>
                        <a:pt x="1405" y="1058"/>
                      </a:lnTo>
                      <a:lnTo>
                        <a:pt x="1404" y="1058"/>
                      </a:lnTo>
                      <a:lnTo>
                        <a:pt x="1403" y="1058"/>
                      </a:lnTo>
                      <a:lnTo>
                        <a:pt x="1403" y="1057"/>
                      </a:lnTo>
                      <a:lnTo>
                        <a:pt x="1402" y="1056"/>
                      </a:lnTo>
                      <a:lnTo>
                        <a:pt x="1403" y="1055"/>
                      </a:lnTo>
                      <a:lnTo>
                        <a:pt x="1404" y="1054"/>
                      </a:lnTo>
                      <a:lnTo>
                        <a:pt x="1405" y="1054"/>
                      </a:lnTo>
                      <a:lnTo>
                        <a:pt x="1406" y="1053"/>
                      </a:lnTo>
                      <a:lnTo>
                        <a:pt x="1407" y="1053"/>
                      </a:lnTo>
                      <a:lnTo>
                        <a:pt x="1407" y="1052"/>
                      </a:lnTo>
                      <a:lnTo>
                        <a:pt x="1408" y="1052"/>
                      </a:lnTo>
                      <a:lnTo>
                        <a:pt x="1409" y="1051"/>
                      </a:lnTo>
                      <a:lnTo>
                        <a:pt x="1409" y="1050"/>
                      </a:lnTo>
                      <a:lnTo>
                        <a:pt x="1410" y="1050"/>
                      </a:lnTo>
                      <a:lnTo>
                        <a:pt x="1410" y="1048"/>
                      </a:lnTo>
                      <a:lnTo>
                        <a:pt x="1412" y="1048"/>
                      </a:lnTo>
                      <a:lnTo>
                        <a:pt x="1413" y="1048"/>
                      </a:lnTo>
                      <a:lnTo>
                        <a:pt x="1414" y="1048"/>
                      </a:lnTo>
                      <a:lnTo>
                        <a:pt x="1415" y="1048"/>
                      </a:lnTo>
                      <a:lnTo>
                        <a:pt x="1416" y="1048"/>
                      </a:lnTo>
                      <a:close/>
                      <a:moveTo>
                        <a:pt x="1418" y="1130"/>
                      </a:moveTo>
                      <a:lnTo>
                        <a:pt x="1419" y="1131"/>
                      </a:lnTo>
                      <a:lnTo>
                        <a:pt x="1420" y="1131"/>
                      </a:lnTo>
                      <a:lnTo>
                        <a:pt x="1421" y="1131"/>
                      </a:lnTo>
                      <a:lnTo>
                        <a:pt x="1422" y="1132"/>
                      </a:lnTo>
                      <a:lnTo>
                        <a:pt x="1422" y="1133"/>
                      </a:lnTo>
                      <a:lnTo>
                        <a:pt x="1422" y="1134"/>
                      </a:lnTo>
                      <a:lnTo>
                        <a:pt x="1422" y="1135"/>
                      </a:lnTo>
                      <a:lnTo>
                        <a:pt x="1424" y="1136"/>
                      </a:lnTo>
                      <a:lnTo>
                        <a:pt x="1422" y="1134"/>
                      </a:lnTo>
                      <a:lnTo>
                        <a:pt x="1424" y="1134"/>
                      </a:lnTo>
                      <a:lnTo>
                        <a:pt x="1422" y="1134"/>
                      </a:lnTo>
                      <a:lnTo>
                        <a:pt x="1422" y="1133"/>
                      </a:lnTo>
                      <a:lnTo>
                        <a:pt x="1422" y="1132"/>
                      </a:lnTo>
                      <a:lnTo>
                        <a:pt x="1424" y="1132"/>
                      </a:lnTo>
                      <a:lnTo>
                        <a:pt x="1424" y="1133"/>
                      </a:lnTo>
                      <a:lnTo>
                        <a:pt x="1425" y="1133"/>
                      </a:lnTo>
                      <a:lnTo>
                        <a:pt x="1425" y="1134"/>
                      </a:lnTo>
                      <a:lnTo>
                        <a:pt x="1426" y="1134"/>
                      </a:lnTo>
                      <a:lnTo>
                        <a:pt x="1427" y="1134"/>
                      </a:lnTo>
                      <a:lnTo>
                        <a:pt x="1427" y="1135"/>
                      </a:lnTo>
                      <a:lnTo>
                        <a:pt x="1428" y="1135"/>
                      </a:lnTo>
                      <a:lnTo>
                        <a:pt x="1427" y="1135"/>
                      </a:lnTo>
                      <a:lnTo>
                        <a:pt x="1427" y="1136"/>
                      </a:lnTo>
                      <a:lnTo>
                        <a:pt x="1426" y="1135"/>
                      </a:lnTo>
                      <a:lnTo>
                        <a:pt x="1426" y="1136"/>
                      </a:lnTo>
                      <a:lnTo>
                        <a:pt x="1427" y="1136"/>
                      </a:lnTo>
                      <a:lnTo>
                        <a:pt x="1426" y="1136"/>
                      </a:lnTo>
                      <a:lnTo>
                        <a:pt x="1426" y="1137"/>
                      </a:lnTo>
                      <a:lnTo>
                        <a:pt x="1427" y="1136"/>
                      </a:lnTo>
                      <a:lnTo>
                        <a:pt x="1428" y="1136"/>
                      </a:lnTo>
                      <a:lnTo>
                        <a:pt x="1427" y="1136"/>
                      </a:lnTo>
                      <a:lnTo>
                        <a:pt x="1428" y="1136"/>
                      </a:lnTo>
                      <a:lnTo>
                        <a:pt x="1428" y="1135"/>
                      </a:lnTo>
                      <a:lnTo>
                        <a:pt x="1429" y="1136"/>
                      </a:lnTo>
                      <a:lnTo>
                        <a:pt x="1429" y="1137"/>
                      </a:lnTo>
                      <a:lnTo>
                        <a:pt x="1429" y="1138"/>
                      </a:lnTo>
                      <a:lnTo>
                        <a:pt x="1429" y="1140"/>
                      </a:lnTo>
                      <a:lnTo>
                        <a:pt x="1429" y="1142"/>
                      </a:lnTo>
                      <a:lnTo>
                        <a:pt x="1429" y="1143"/>
                      </a:lnTo>
                      <a:lnTo>
                        <a:pt x="1430" y="1143"/>
                      </a:lnTo>
                      <a:lnTo>
                        <a:pt x="1429" y="1143"/>
                      </a:lnTo>
                      <a:lnTo>
                        <a:pt x="1428" y="1143"/>
                      </a:lnTo>
                      <a:lnTo>
                        <a:pt x="1427" y="1143"/>
                      </a:lnTo>
                      <a:lnTo>
                        <a:pt x="1426" y="1143"/>
                      </a:lnTo>
                      <a:lnTo>
                        <a:pt x="1425" y="1143"/>
                      </a:lnTo>
                      <a:lnTo>
                        <a:pt x="1425" y="1144"/>
                      </a:lnTo>
                      <a:lnTo>
                        <a:pt x="1425" y="1143"/>
                      </a:lnTo>
                      <a:lnTo>
                        <a:pt x="1424" y="1143"/>
                      </a:lnTo>
                      <a:lnTo>
                        <a:pt x="1422" y="1143"/>
                      </a:lnTo>
                      <a:lnTo>
                        <a:pt x="1422" y="1142"/>
                      </a:lnTo>
                      <a:lnTo>
                        <a:pt x="1421" y="1141"/>
                      </a:lnTo>
                      <a:lnTo>
                        <a:pt x="1420" y="1141"/>
                      </a:lnTo>
                      <a:lnTo>
                        <a:pt x="1421" y="1141"/>
                      </a:lnTo>
                      <a:lnTo>
                        <a:pt x="1420" y="1140"/>
                      </a:lnTo>
                      <a:lnTo>
                        <a:pt x="1419" y="1140"/>
                      </a:lnTo>
                      <a:lnTo>
                        <a:pt x="1419" y="1138"/>
                      </a:lnTo>
                      <a:lnTo>
                        <a:pt x="1419" y="1137"/>
                      </a:lnTo>
                      <a:lnTo>
                        <a:pt x="1419" y="1138"/>
                      </a:lnTo>
                      <a:lnTo>
                        <a:pt x="1418" y="1137"/>
                      </a:lnTo>
                      <a:lnTo>
                        <a:pt x="1418" y="1136"/>
                      </a:lnTo>
                      <a:lnTo>
                        <a:pt x="1417" y="1136"/>
                      </a:lnTo>
                      <a:lnTo>
                        <a:pt x="1417" y="1135"/>
                      </a:lnTo>
                      <a:lnTo>
                        <a:pt x="1416" y="1135"/>
                      </a:lnTo>
                      <a:lnTo>
                        <a:pt x="1416" y="1134"/>
                      </a:lnTo>
                      <a:lnTo>
                        <a:pt x="1415" y="1134"/>
                      </a:lnTo>
                      <a:lnTo>
                        <a:pt x="1414" y="1133"/>
                      </a:lnTo>
                      <a:lnTo>
                        <a:pt x="1413" y="1133"/>
                      </a:lnTo>
                      <a:lnTo>
                        <a:pt x="1413" y="1132"/>
                      </a:lnTo>
                      <a:lnTo>
                        <a:pt x="1412" y="1132"/>
                      </a:lnTo>
                      <a:lnTo>
                        <a:pt x="1412" y="1131"/>
                      </a:lnTo>
                      <a:lnTo>
                        <a:pt x="1413" y="1131"/>
                      </a:lnTo>
                      <a:lnTo>
                        <a:pt x="1414" y="1131"/>
                      </a:lnTo>
                      <a:lnTo>
                        <a:pt x="1414" y="1132"/>
                      </a:lnTo>
                      <a:lnTo>
                        <a:pt x="1415" y="1132"/>
                      </a:lnTo>
                      <a:lnTo>
                        <a:pt x="1415" y="1131"/>
                      </a:lnTo>
                      <a:lnTo>
                        <a:pt x="1416" y="1131"/>
                      </a:lnTo>
                      <a:lnTo>
                        <a:pt x="1417" y="1131"/>
                      </a:lnTo>
                      <a:lnTo>
                        <a:pt x="1418" y="1130"/>
                      </a:lnTo>
                      <a:close/>
                      <a:moveTo>
                        <a:pt x="1414" y="1133"/>
                      </a:moveTo>
                      <a:lnTo>
                        <a:pt x="1414" y="1134"/>
                      </a:lnTo>
                      <a:lnTo>
                        <a:pt x="1415" y="1134"/>
                      </a:lnTo>
                      <a:lnTo>
                        <a:pt x="1415" y="1135"/>
                      </a:lnTo>
                      <a:lnTo>
                        <a:pt x="1416" y="1135"/>
                      </a:lnTo>
                      <a:lnTo>
                        <a:pt x="1416" y="1136"/>
                      </a:lnTo>
                      <a:lnTo>
                        <a:pt x="1416" y="1135"/>
                      </a:lnTo>
                      <a:lnTo>
                        <a:pt x="1416" y="1136"/>
                      </a:lnTo>
                      <a:lnTo>
                        <a:pt x="1417" y="1136"/>
                      </a:lnTo>
                      <a:lnTo>
                        <a:pt x="1419" y="1140"/>
                      </a:lnTo>
                      <a:lnTo>
                        <a:pt x="1421" y="1142"/>
                      </a:lnTo>
                      <a:lnTo>
                        <a:pt x="1422" y="1143"/>
                      </a:lnTo>
                      <a:lnTo>
                        <a:pt x="1424" y="1144"/>
                      </a:lnTo>
                      <a:lnTo>
                        <a:pt x="1425" y="1144"/>
                      </a:lnTo>
                      <a:lnTo>
                        <a:pt x="1425" y="1145"/>
                      </a:lnTo>
                      <a:lnTo>
                        <a:pt x="1426" y="1145"/>
                      </a:lnTo>
                      <a:lnTo>
                        <a:pt x="1426" y="1146"/>
                      </a:lnTo>
                      <a:lnTo>
                        <a:pt x="1426" y="1147"/>
                      </a:lnTo>
                      <a:lnTo>
                        <a:pt x="1427" y="1147"/>
                      </a:lnTo>
                      <a:lnTo>
                        <a:pt x="1427" y="1148"/>
                      </a:lnTo>
                      <a:lnTo>
                        <a:pt x="1427" y="1149"/>
                      </a:lnTo>
                      <a:lnTo>
                        <a:pt x="1428" y="1149"/>
                      </a:lnTo>
                      <a:lnTo>
                        <a:pt x="1428" y="1150"/>
                      </a:lnTo>
                      <a:lnTo>
                        <a:pt x="1429" y="1151"/>
                      </a:lnTo>
                      <a:lnTo>
                        <a:pt x="1430" y="1151"/>
                      </a:lnTo>
                      <a:lnTo>
                        <a:pt x="1429" y="1151"/>
                      </a:lnTo>
                      <a:lnTo>
                        <a:pt x="1430" y="1151"/>
                      </a:lnTo>
                      <a:lnTo>
                        <a:pt x="1430" y="1153"/>
                      </a:lnTo>
                      <a:lnTo>
                        <a:pt x="1431" y="1153"/>
                      </a:lnTo>
                      <a:lnTo>
                        <a:pt x="1430" y="1153"/>
                      </a:lnTo>
                      <a:lnTo>
                        <a:pt x="1429" y="1151"/>
                      </a:lnTo>
                      <a:lnTo>
                        <a:pt x="1428" y="1151"/>
                      </a:lnTo>
                      <a:lnTo>
                        <a:pt x="1427" y="1150"/>
                      </a:lnTo>
                      <a:lnTo>
                        <a:pt x="1426" y="1150"/>
                      </a:lnTo>
                      <a:lnTo>
                        <a:pt x="1425" y="1150"/>
                      </a:lnTo>
                      <a:lnTo>
                        <a:pt x="1424" y="1149"/>
                      </a:lnTo>
                      <a:lnTo>
                        <a:pt x="1424" y="1150"/>
                      </a:lnTo>
                      <a:lnTo>
                        <a:pt x="1424" y="1149"/>
                      </a:lnTo>
                      <a:lnTo>
                        <a:pt x="1422" y="1149"/>
                      </a:lnTo>
                      <a:lnTo>
                        <a:pt x="1422" y="1148"/>
                      </a:lnTo>
                      <a:lnTo>
                        <a:pt x="1420" y="1147"/>
                      </a:lnTo>
                      <a:lnTo>
                        <a:pt x="1419" y="1147"/>
                      </a:lnTo>
                      <a:lnTo>
                        <a:pt x="1419" y="1146"/>
                      </a:lnTo>
                      <a:lnTo>
                        <a:pt x="1418" y="1146"/>
                      </a:lnTo>
                      <a:lnTo>
                        <a:pt x="1417" y="1146"/>
                      </a:lnTo>
                      <a:lnTo>
                        <a:pt x="1417" y="1145"/>
                      </a:lnTo>
                      <a:lnTo>
                        <a:pt x="1416" y="1144"/>
                      </a:lnTo>
                      <a:lnTo>
                        <a:pt x="1415" y="1143"/>
                      </a:lnTo>
                      <a:lnTo>
                        <a:pt x="1414" y="1143"/>
                      </a:lnTo>
                      <a:lnTo>
                        <a:pt x="1413" y="1142"/>
                      </a:lnTo>
                      <a:lnTo>
                        <a:pt x="1410" y="1141"/>
                      </a:lnTo>
                      <a:lnTo>
                        <a:pt x="1410" y="1140"/>
                      </a:lnTo>
                      <a:lnTo>
                        <a:pt x="1410" y="1138"/>
                      </a:lnTo>
                      <a:lnTo>
                        <a:pt x="1410" y="1137"/>
                      </a:lnTo>
                      <a:lnTo>
                        <a:pt x="1412" y="1137"/>
                      </a:lnTo>
                      <a:lnTo>
                        <a:pt x="1412" y="1136"/>
                      </a:lnTo>
                      <a:lnTo>
                        <a:pt x="1412" y="1135"/>
                      </a:lnTo>
                      <a:lnTo>
                        <a:pt x="1412" y="1134"/>
                      </a:lnTo>
                      <a:lnTo>
                        <a:pt x="1413" y="1134"/>
                      </a:lnTo>
                      <a:lnTo>
                        <a:pt x="1413" y="1133"/>
                      </a:lnTo>
                      <a:lnTo>
                        <a:pt x="1412" y="1133"/>
                      </a:lnTo>
                      <a:lnTo>
                        <a:pt x="1412" y="1132"/>
                      </a:lnTo>
                      <a:lnTo>
                        <a:pt x="1413" y="1133"/>
                      </a:lnTo>
                      <a:lnTo>
                        <a:pt x="1414" y="1133"/>
                      </a:lnTo>
                      <a:close/>
                      <a:moveTo>
                        <a:pt x="1446" y="1145"/>
                      </a:moveTo>
                      <a:lnTo>
                        <a:pt x="1447" y="1146"/>
                      </a:lnTo>
                      <a:lnTo>
                        <a:pt x="1448" y="1147"/>
                      </a:lnTo>
                      <a:lnTo>
                        <a:pt x="1450" y="1147"/>
                      </a:lnTo>
                      <a:lnTo>
                        <a:pt x="1450" y="1148"/>
                      </a:lnTo>
                      <a:lnTo>
                        <a:pt x="1448" y="1148"/>
                      </a:lnTo>
                      <a:lnTo>
                        <a:pt x="1447" y="1148"/>
                      </a:lnTo>
                      <a:lnTo>
                        <a:pt x="1448" y="1148"/>
                      </a:lnTo>
                      <a:lnTo>
                        <a:pt x="1450" y="1148"/>
                      </a:lnTo>
                      <a:lnTo>
                        <a:pt x="1451" y="1148"/>
                      </a:lnTo>
                      <a:lnTo>
                        <a:pt x="1450" y="1148"/>
                      </a:lnTo>
                      <a:lnTo>
                        <a:pt x="1450" y="1149"/>
                      </a:lnTo>
                      <a:lnTo>
                        <a:pt x="1448" y="1149"/>
                      </a:lnTo>
                      <a:lnTo>
                        <a:pt x="1448" y="1148"/>
                      </a:lnTo>
                      <a:lnTo>
                        <a:pt x="1447" y="1148"/>
                      </a:lnTo>
                      <a:lnTo>
                        <a:pt x="1448" y="1149"/>
                      </a:lnTo>
                      <a:lnTo>
                        <a:pt x="1448" y="1150"/>
                      </a:lnTo>
                      <a:lnTo>
                        <a:pt x="1448" y="1151"/>
                      </a:lnTo>
                      <a:lnTo>
                        <a:pt x="1450" y="1151"/>
                      </a:lnTo>
                      <a:lnTo>
                        <a:pt x="1448" y="1151"/>
                      </a:lnTo>
                      <a:lnTo>
                        <a:pt x="1447" y="1150"/>
                      </a:lnTo>
                      <a:lnTo>
                        <a:pt x="1446" y="1149"/>
                      </a:lnTo>
                      <a:lnTo>
                        <a:pt x="1445" y="1148"/>
                      </a:lnTo>
                      <a:lnTo>
                        <a:pt x="1444" y="1148"/>
                      </a:lnTo>
                      <a:lnTo>
                        <a:pt x="1442" y="1147"/>
                      </a:lnTo>
                      <a:lnTo>
                        <a:pt x="1441" y="1147"/>
                      </a:lnTo>
                      <a:lnTo>
                        <a:pt x="1440" y="1147"/>
                      </a:lnTo>
                      <a:lnTo>
                        <a:pt x="1439" y="1147"/>
                      </a:lnTo>
                      <a:lnTo>
                        <a:pt x="1438" y="1147"/>
                      </a:lnTo>
                      <a:lnTo>
                        <a:pt x="1437" y="1147"/>
                      </a:lnTo>
                      <a:lnTo>
                        <a:pt x="1435" y="1147"/>
                      </a:lnTo>
                      <a:lnTo>
                        <a:pt x="1435" y="1148"/>
                      </a:lnTo>
                      <a:lnTo>
                        <a:pt x="1434" y="1149"/>
                      </a:lnTo>
                      <a:lnTo>
                        <a:pt x="1434" y="1150"/>
                      </a:lnTo>
                      <a:lnTo>
                        <a:pt x="1435" y="1150"/>
                      </a:lnTo>
                      <a:lnTo>
                        <a:pt x="1437" y="1151"/>
                      </a:lnTo>
                      <a:lnTo>
                        <a:pt x="1437" y="1153"/>
                      </a:lnTo>
                      <a:lnTo>
                        <a:pt x="1438" y="1153"/>
                      </a:lnTo>
                      <a:lnTo>
                        <a:pt x="1439" y="1153"/>
                      </a:lnTo>
                      <a:lnTo>
                        <a:pt x="1439" y="1154"/>
                      </a:lnTo>
                      <a:lnTo>
                        <a:pt x="1440" y="1154"/>
                      </a:lnTo>
                      <a:lnTo>
                        <a:pt x="1441" y="1155"/>
                      </a:lnTo>
                      <a:lnTo>
                        <a:pt x="1442" y="1155"/>
                      </a:lnTo>
                      <a:lnTo>
                        <a:pt x="1442" y="1154"/>
                      </a:lnTo>
                      <a:lnTo>
                        <a:pt x="1442" y="1153"/>
                      </a:lnTo>
                      <a:lnTo>
                        <a:pt x="1443" y="1153"/>
                      </a:lnTo>
                      <a:lnTo>
                        <a:pt x="1444" y="1153"/>
                      </a:lnTo>
                      <a:lnTo>
                        <a:pt x="1446" y="1153"/>
                      </a:lnTo>
                      <a:lnTo>
                        <a:pt x="1446" y="1154"/>
                      </a:lnTo>
                      <a:lnTo>
                        <a:pt x="1446" y="1153"/>
                      </a:lnTo>
                      <a:lnTo>
                        <a:pt x="1445" y="1153"/>
                      </a:lnTo>
                      <a:lnTo>
                        <a:pt x="1445" y="1154"/>
                      </a:lnTo>
                      <a:lnTo>
                        <a:pt x="1444" y="1154"/>
                      </a:lnTo>
                      <a:lnTo>
                        <a:pt x="1445" y="1154"/>
                      </a:lnTo>
                      <a:lnTo>
                        <a:pt x="1447" y="1154"/>
                      </a:lnTo>
                      <a:lnTo>
                        <a:pt x="1446" y="1154"/>
                      </a:lnTo>
                      <a:lnTo>
                        <a:pt x="1445" y="1155"/>
                      </a:lnTo>
                      <a:lnTo>
                        <a:pt x="1446" y="1155"/>
                      </a:lnTo>
                      <a:lnTo>
                        <a:pt x="1445" y="1155"/>
                      </a:lnTo>
                      <a:lnTo>
                        <a:pt x="1445" y="1156"/>
                      </a:lnTo>
                      <a:lnTo>
                        <a:pt x="1445" y="1157"/>
                      </a:lnTo>
                      <a:lnTo>
                        <a:pt x="1444" y="1157"/>
                      </a:lnTo>
                      <a:lnTo>
                        <a:pt x="1444" y="1156"/>
                      </a:lnTo>
                      <a:lnTo>
                        <a:pt x="1444" y="1157"/>
                      </a:lnTo>
                      <a:lnTo>
                        <a:pt x="1445" y="1157"/>
                      </a:lnTo>
                      <a:lnTo>
                        <a:pt x="1446" y="1157"/>
                      </a:lnTo>
                      <a:lnTo>
                        <a:pt x="1445" y="1157"/>
                      </a:lnTo>
                      <a:lnTo>
                        <a:pt x="1446" y="1157"/>
                      </a:lnTo>
                      <a:lnTo>
                        <a:pt x="1446" y="1158"/>
                      </a:lnTo>
                      <a:lnTo>
                        <a:pt x="1447" y="1159"/>
                      </a:lnTo>
                      <a:lnTo>
                        <a:pt x="1446" y="1158"/>
                      </a:lnTo>
                      <a:lnTo>
                        <a:pt x="1445" y="1158"/>
                      </a:lnTo>
                      <a:lnTo>
                        <a:pt x="1444" y="1158"/>
                      </a:lnTo>
                      <a:lnTo>
                        <a:pt x="1444" y="1157"/>
                      </a:lnTo>
                      <a:lnTo>
                        <a:pt x="1444" y="1158"/>
                      </a:lnTo>
                      <a:lnTo>
                        <a:pt x="1444" y="1157"/>
                      </a:lnTo>
                      <a:lnTo>
                        <a:pt x="1443" y="1157"/>
                      </a:lnTo>
                      <a:lnTo>
                        <a:pt x="1443" y="1156"/>
                      </a:lnTo>
                      <a:lnTo>
                        <a:pt x="1442" y="1156"/>
                      </a:lnTo>
                      <a:lnTo>
                        <a:pt x="1441" y="1155"/>
                      </a:lnTo>
                      <a:lnTo>
                        <a:pt x="1440" y="1155"/>
                      </a:lnTo>
                      <a:lnTo>
                        <a:pt x="1439" y="1155"/>
                      </a:lnTo>
                      <a:lnTo>
                        <a:pt x="1439" y="1154"/>
                      </a:lnTo>
                      <a:lnTo>
                        <a:pt x="1438" y="1155"/>
                      </a:lnTo>
                      <a:lnTo>
                        <a:pt x="1438" y="1154"/>
                      </a:lnTo>
                      <a:lnTo>
                        <a:pt x="1437" y="1154"/>
                      </a:lnTo>
                      <a:lnTo>
                        <a:pt x="1435" y="1154"/>
                      </a:lnTo>
                      <a:lnTo>
                        <a:pt x="1434" y="1154"/>
                      </a:lnTo>
                      <a:lnTo>
                        <a:pt x="1433" y="1154"/>
                      </a:lnTo>
                      <a:lnTo>
                        <a:pt x="1433" y="1153"/>
                      </a:lnTo>
                      <a:lnTo>
                        <a:pt x="1432" y="1154"/>
                      </a:lnTo>
                      <a:lnTo>
                        <a:pt x="1432" y="1153"/>
                      </a:lnTo>
                      <a:lnTo>
                        <a:pt x="1431" y="1153"/>
                      </a:lnTo>
                      <a:lnTo>
                        <a:pt x="1431" y="1151"/>
                      </a:lnTo>
                      <a:lnTo>
                        <a:pt x="1431" y="1153"/>
                      </a:lnTo>
                      <a:lnTo>
                        <a:pt x="1430" y="1153"/>
                      </a:lnTo>
                      <a:lnTo>
                        <a:pt x="1430" y="1151"/>
                      </a:lnTo>
                      <a:lnTo>
                        <a:pt x="1430" y="1150"/>
                      </a:lnTo>
                      <a:lnTo>
                        <a:pt x="1429" y="1150"/>
                      </a:lnTo>
                      <a:lnTo>
                        <a:pt x="1429" y="1149"/>
                      </a:lnTo>
                      <a:lnTo>
                        <a:pt x="1428" y="1149"/>
                      </a:lnTo>
                      <a:lnTo>
                        <a:pt x="1428" y="1148"/>
                      </a:lnTo>
                      <a:lnTo>
                        <a:pt x="1427" y="1148"/>
                      </a:lnTo>
                      <a:lnTo>
                        <a:pt x="1427" y="1147"/>
                      </a:lnTo>
                      <a:lnTo>
                        <a:pt x="1427" y="1146"/>
                      </a:lnTo>
                      <a:lnTo>
                        <a:pt x="1426" y="1146"/>
                      </a:lnTo>
                      <a:lnTo>
                        <a:pt x="1426" y="1145"/>
                      </a:lnTo>
                      <a:lnTo>
                        <a:pt x="1425" y="1144"/>
                      </a:lnTo>
                      <a:lnTo>
                        <a:pt x="1426" y="1144"/>
                      </a:lnTo>
                      <a:lnTo>
                        <a:pt x="1427" y="1144"/>
                      </a:lnTo>
                      <a:lnTo>
                        <a:pt x="1427" y="1143"/>
                      </a:lnTo>
                      <a:lnTo>
                        <a:pt x="1428" y="1143"/>
                      </a:lnTo>
                      <a:lnTo>
                        <a:pt x="1428" y="1144"/>
                      </a:lnTo>
                      <a:lnTo>
                        <a:pt x="1428" y="1143"/>
                      </a:lnTo>
                      <a:lnTo>
                        <a:pt x="1429" y="1144"/>
                      </a:lnTo>
                      <a:lnTo>
                        <a:pt x="1430" y="1144"/>
                      </a:lnTo>
                      <a:lnTo>
                        <a:pt x="1429" y="1144"/>
                      </a:lnTo>
                      <a:lnTo>
                        <a:pt x="1429" y="1145"/>
                      </a:lnTo>
                      <a:lnTo>
                        <a:pt x="1430" y="1145"/>
                      </a:lnTo>
                      <a:lnTo>
                        <a:pt x="1430" y="1144"/>
                      </a:lnTo>
                      <a:lnTo>
                        <a:pt x="1431" y="1144"/>
                      </a:lnTo>
                      <a:lnTo>
                        <a:pt x="1432" y="1144"/>
                      </a:lnTo>
                      <a:lnTo>
                        <a:pt x="1433" y="1145"/>
                      </a:lnTo>
                      <a:lnTo>
                        <a:pt x="1434" y="1145"/>
                      </a:lnTo>
                      <a:lnTo>
                        <a:pt x="1434" y="1146"/>
                      </a:lnTo>
                      <a:lnTo>
                        <a:pt x="1435" y="1146"/>
                      </a:lnTo>
                      <a:lnTo>
                        <a:pt x="1437" y="1146"/>
                      </a:lnTo>
                      <a:lnTo>
                        <a:pt x="1438" y="1146"/>
                      </a:lnTo>
                      <a:lnTo>
                        <a:pt x="1439" y="1147"/>
                      </a:lnTo>
                      <a:lnTo>
                        <a:pt x="1439" y="1146"/>
                      </a:lnTo>
                      <a:lnTo>
                        <a:pt x="1440" y="1146"/>
                      </a:lnTo>
                      <a:lnTo>
                        <a:pt x="1441" y="1146"/>
                      </a:lnTo>
                      <a:lnTo>
                        <a:pt x="1442" y="1146"/>
                      </a:lnTo>
                      <a:lnTo>
                        <a:pt x="1443" y="1146"/>
                      </a:lnTo>
                      <a:lnTo>
                        <a:pt x="1443" y="1147"/>
                      </a:lnTo>
                      <a:lnTo>
                        <a:pt x="1443" y="1146"/>
                      </a:lnTo>
                      <a:lnTo>
                        <a:pt x="1444" y="1146"/>
                      </a:lnTo>
                      <a:lnTo>
                        <a:pt x="1444" y="1147"/>
                      </a:lnTo>
                      <a:lnTo>
                        <a:pt x="1444" y="1148"/>
                      </a:lnTo>
                      <a:lnTo>
                        <a:pt x="1445" y="1147"/>
                      </a:lnTo>
                      <a:lnTo>
                        <a:pt x="1445" y="1146"/>
                      </a:lnTo>
                      <a:lnTo>
                        <a:pt x="1446" y="1146"/>
                      </a:lnTo>
                      <a:lnTo>
                        <a:pt x="1446" y="1145"/>
                      </a:lnTo>
                      <a:lnTo>
                        <a:pt x="1447" y="1144"/>
                      </a:lnTo>
                      <a:lnTo>
                        <a:pt x="1447" y="1143"/>
                      </a:lnTo>
                      <a:lnTo>
                        <a:pt x="1447" y="1144"/>
                      </a:lnTo>
                      <a:lnTo>
                        <a:pt x="1446" y="1145"/>
                      </a:lnTo>
                      <a:close/>
                      <a:moveTo>
                        <a:pt x="989" y="879"/>
                      </a:moveTo>
                      <a:lnTo>
                        <a:pt x="990" y="879"/>
                      </a:lnTo>
                      <a:lnTo>
                        <a:pt x="991" y="879"/>
                      </a:lnTo>
                      <a:lnTo>
                        <a:pt x="991" y="880"/>
                      </a:lnTo>
                      <a:lnTo>
                        <a:pt x="991" y="881"/>
                      </a:lnTo>
                      <a:lnTo>
                        <a:pt x="992" y="883"/>
                      </a:lnTo>
                      <a:lnTo>
                        <a:pt x="993" y="883"/>
                      </a:lnTo>
                      <a:lnTo>
                        <a:pt x="994" y="883"/>
                      </a:lnTo>
                      <a:lnTo>
                        <a:pt x="993" y="883"/>
                      </a:lnTo>
                      <a:lnTo>
                        <a:pt x="994" y="884"/>
                      </a:lnTo>
                      <a:lnTo>
                        <a:pt x="994" y="885"/>
                      </a:lnTo>
                      <a:lnTo>
                        <a:pt x="994" y="888"/>
                      </a:lnTo>
                      <a:lnTo>
                        <a:pt x="993" y="889"/>
                      </a:lnTo>
                      <a:lnTo>
                        <a:pt x="993" y="890"/>
                      </a:lnTo>
                      <a:lnTo>
                        <a:pt x="993" y="891"/>
                      </a:lnTo>
                      <a:lnTo>
                        <a:pt x="993" y="892"/>
                      </a:lnTo>
                      <a:lnTo>
                        <a:pt x="993" y="893"/>
                      </a:lnTo>
                      <a:lnTo>
                        <a:pt x="993" y="894"/>
                      </a:lnTo>
                      <a:lnTo>
                        <a:pt x="994" y="894"/>
                      </a:lnTo>
                      <a:lnTo>
                        <a:pt x="993" y="894"/>
                      </a:lnTo>
                      <a:lnTo>
                        <a:pt x="993" y="896"/>
                      </a:lnTo>
                      <a:lnTo>
                        <a:pt x="992" y="896"/>
                      </a:lnTo>
                      <a:lnTo>
                        <a:pt x="991" y="896"/>
                      </a:lnTo>
                      <a:lnTo>
                        <a:pt x="991" y="897"/>
                      </a:lnTo>
                      <a:lnTo>
                        <a:pt x="990" y="898"/>
                      </a:lnTo>
                      <a:lnTo>
                        <a:pt x="989" y="899"/>
                      </a:lnTo>
                      <a:lnTo>
                        <a:pt x="989" y="898"/>
                      </a:lnTo>
                      <a:lnTo>
                        <a:pt x="989" y="897"/>
                      </a:lnTo>
                      <a:lnTo>
                        <a:pt x="989" y="896"/>
                      </a:lnTo>
                      <a:lnTo>
                        <a:pt x="990" y="896"/>
                      </a:lnTo>
                      <a:lnTo>
                        <a:pt x="990" y="894"/>
                      </a:lnTo>
                      <a:lnTo>
                        <a:pt x="990" y="893"/>
                      </a:lnTo>
                      <a:lnTo>
                        <a:pt x="991" y="893"/>
                      </a:lnTo>
                      <a:lnTo>
                        <a:pt x="992" y="893"/>
                      </a:lnTo>
                      <a:lnTo>
                        <a:pt x="992" y="892"/>
                      </a:lnTo>
                      <a:lnTo>
                        <a:pt x="991" y="892"/>
                      </a:lnTo>
                      <a:lnTo>
                        <a:pt x="991" y="891"/>
                      </a:lnTo>
                      <a:lnTo>
                        <a:pt x="991" y="890"/>
                      </a:lnTo>
                      <a:lnTo>
                        <a:pt x="990" y="890"/>
                      </a:lnTo>
                      <a:lnTo>
                        <a:pt x="989" y="889"/>
                      </a:lnTo>
                      <a:lnTo>
                        <a:pt x="989" y="890"/>
                      </a:lnTo>
                      <a:lnTo>
                        <a:pt x="988" y="890"/>
                      </a:lnTo>
                      <a:lnTo>
                        <a:pt x="987" y="890"/>
                      </a:lnTo>
                      <a:lnTo>
                        <a:pt x="987" y="891"/>
                      </a:lnTo>
                      <a:lnTo>
                        <a:pt x="987" y="892"/>
                      </a:lnTo>
                      <a:lnTo>
                        <a:pt x="987" y="893"/>
                      </a:lnTo>
                      <a:lnTo>
                        <a:pt x="987" y="894"/>
                      </a:lnTo>
                      <a:lnTo>
                        <a:pt x="988" y="894"/>
                      </a:lnTo>
                      <a:lnTo>
                        <a:pt x="988" y="896"/>
                      </a:lnTo>
                      <a:lnTo>
                        <a:pt x="987" y="896"/>
                      </a:lnTo>
                      <a:lnTo>
                        <a:pt x="986" y="896"/>
                      </a:lnTo>
                      <a:lnTo>
                        <a:pt x="986" y="894"/>
                      </a:lnTo>
                      <a:lnTo>
                        <a:pt x="986" y="896"/>
                      </a:lnTo>
                      <a:lnTo>
                        <a:pt x="984" y="894"/>
                      </a:lnTo>
                      <a:lnTo>
                        <a:pt x="984" y="893"/>
                      </a:lnTo>
                      <a:lnTo>
                        <a:pt x="986" y="893"/>
                      </a:lnTo>
                      <a:lnTo>
                        <a:pt x="986" y="892"/>
                      </a:lnTo>
                      <a:lnTo>
                        <a:pt x="984" y="892"/>
                      </a:lnTo>
                      <a:lnTo>
                        <a:pt x="984" y="893"/>
                      </a:lnTo>
                      <a:lnTo>
                        <a:pt x="986" y="893"/>
                      </a:lnTo>
                      <a:lnTo>
                        <a:pt x="984" y="893"/>
                      </a:lnTo>
                      <a:lnTo>
                        <a:pt x="984" y="892"/>
                      </a:lnTo>
                      <a:lnTo>
                        <a:pt x="983" y="892"/>
                      </a:lnTo>
                      <a:lnTo>
                        <a:pt x="983" y="891"/>
                      </a:lnTo>
                      <a:lnTo>
                        <a:pt x="983" y="890"/>
                      </a:lnTo>
                      <a:lnTo>
                        <a:pt x="983" y="889"/>
                      </a:lnTo>
                      <a:lnTo>
                        <a:pt x="982" y="888"/>
                      </a:lnTo>
                      <a:lnTo>
                        <a:pt x="983" y="888"/>
                      </a:lnTo>
                      <a:lnTo>
                        <a:pt x="984" y="888"/>
                      </a:lnTo>
                      <a:lnTo>
                        <a:pt x="984" y="889"/>
                      </a:lnTo>
                      <a:lnTo>
                        <a:pt x="986" y="889"/>
                      </a:lnTo>
                      <a:lnTo>
                        <a:pt x="984" y="889"/>
                      </a:lnTo>
                      <a:lnTo>
                        <a:pt x="984" y="888"/>
                      </a:lnTo>
                      <a:lnTo>
                        <a:pt x="984" y="887"/>
                      </a:lnTo>
                      <a:lnTo>
                        <a:pt x="986" y="887"/>
                      </a:lnTo>
                      <a:lnTo>
                        <a:pt x="987" y="887"/>
                      </a:lnTo>
                      <a:lnTo>
                        <a:pt x="986" y="887"/>
                      </a:lnTo>
                      <a:lnTo>
                        <a:pt x="984" y="887"/>
                      </a:lnTo>
                      <a:lnTo>
                        <a:pt x="984" y="886"/>
                      </a:lnTo>
                      <a:lnTo>
                        <a:pt x="986" y="885"/>
                      </a:lnTo>
                      <a:lnTo>
                        <a:pt x="986" y="884"/>
                      </a:lnTo>
                      <a:lnTo>
                        <a:pt x="987" y="884"/>
                      </a:lnTo>
                      <a:lnTo>
                        <a:pt x="987" y="883"/>
                      </a:lnTo>
                      <a:lnTo>
                        <a:pt x="988" y="883"/>
                      </a:lnTo>
                      <a:lnTo>
                        <a:pt x="989" y="883"/>
                      </a:lnTo>
                      <a:lnTo>
                        <a:pt x="989" y="884"/>
                      </a:lnTo>
                      <a:lnTo>
                        <a:pt x="988" y="884"/>
                      </a:lnTo>
                      <a:lnTo>
                        <a:pt x="989" y="884"/>
                      </a:lnTo>
                      <a:lnTo>
                        <a:pt x="989" y="885"/>
                      </a:lnTo>
                      <a:lnTo>
                        <a:pt x="989" y="886"/>
                      </a:lnTo>
                      <a:lnTo>
                        <a:pt x="990" y="886"/>
                      </a:lnTo>
                      <a:lnTo>
                        <a:pt x="990" y="885"/>
                      </a:lnTo>
                      <a:lnTo>
                        <a:pt x="991" y="885"/>
                      </a:lnTo>
                      <a:lnTo>
                        <a:pt x="991" y="886"/>
                      </a:lnTo>
                      <a:lnTo>
                        <a:pt x="992" y="886"/>
                      </a:lnTo>
                      <a:lnTo>
                        <a:pt x="992" y="887"/>
                      </a:lnTo>
                      <a:lnTo>
                        <a:pt x="992" y="888"/>
                      </a:lnTo>
                      <a:lnTo>
                        <a:pt x="993" y="888"/>
                      </a:lnTo>
                      <a:lnTo>
                        <a:pt x="993" y="887"/>
                      </a:lnTo>
                      <a:lnTo>
                        <a:pt x="992" y="887"/>
                      </a:lnTo>
                      <a:lnTo>
                        <a:pt x="992" y="886"/>
                      </a:lnTo>
                      <a:lnTo>
                        <a:pt x="991" y="886"/>
                      </a:lnTo>
                      <a:lnTo>
                        <a:pt x="991" y="885"/>
                      </a:lnTo>
                      <a:lnTo>
                        <a:pt x="990" y="885"/>
                      </a:lnTo>
                      <a:lnTo>
                        <a:pt x="990" y="884"/>
                      </a:lnTo>
                      <a:lnTo>
                        <a:pt x="989" y="885"/>
                      </a:lnTo>
                      <a:lnTo>
                        <a:pt x="989" y="884"/>
                      </a:lnTo>
                      <a:lnTo>
                        <a:pt x="988" y="884"/>
                      </a:lnTo>
                      <a:lnTo>
                        <a:pt x="989" y="884"/>
                      </a:lnTo>
                      <a:lnTo>
                        <a:pt x="989" y="883"/>
                      </a:lnTo>
                      <a:lnTo>
                        <a:pt x="989" y="881"/>
                      </a:lnTo>
                      <a:lnTo>
                        <a:pt x="990" y="881"/>
                      </a:lnTo>
                      <a:lnTo>
                        <a:pt x="989" y="881"/>
                      </a:lnTo>
                      <a:lnTo>
                        <a:pt x="989" y="880"/>
                      </a:lnTo>
                      <a:lnTo>
                        <a:pt x="989" y="879"/>
                      </a:lnTo>
                      <a:close/>
                      <a:moveTo>
                        <a:pt x="1369" y="1116"/>
                      </a:moveTo>
                      <a:lnTo>
                        <a:pt x="1369" y="1117"/>
                      </a:lnTo>
                      <a:lnTo>
                        <a:pt x="1370" y="1118"/>
                      </a:lnTo>
                      <a:lnTo>
                        <a:pt x="1370" y="1119"/>
                      </a:lnTo>
                      <a:lnTo>
                        <a:pt x="1371" y="1120"/>
                      </a:lnTo>
                      <a:lnTo>
                        <a:pt x="1371" y="1121"/>
                      </a:lnTo>
                      <a:lnTo>
                        <a:pt x="1373" y="1121"/>
                      </a:lnTo>
                      <a:lnTo>
                        <a:pt x="1373" y="1122"/>
                      </a:lnTo>
                      <a:lnTo>
                        <a:pt x="1373" y="1123"/>
                      </a:lnTo>
                      <a:lnTo>
                        <a:pt x="1373" y="1124"/>
                      </a:lnTo>
                      <a:lnTo>
                        <a:pt x="1373" y="1127"/>
                      </a:lnTo>
                      <a:lnTo>
                        <a:pt x="1373" y="1125"/>
                      </a:lnTo>
                      <a:lnTo>
                        <a:pt x="1373" y="1124"/>
                      </a:lnTo>
                      <a:lnTo>
                        <a:pt x="1373" y="1123"/>
                      </a:lnTo>
                      <a:lnTo>
                        <a:pt x="1373" y="1122"/>
                      </a:lnTo>
                      <a:lnTo>
                        <a:pt x="1371" y="1122"/>
                      </a:lnTo>
                      <a:lnTo>
                        <a:pt x="1371" y="1121"/>
                      </a:lnTo>
                      <a:lnTo>
                        <a:pt x="1370" y="1121"/>
                      </a:lnTo>
                      <a:lnTo>
                        <a:pt x="1370" y="1120"/>
                      </a:lnTo>
                      <a:lnTo>
                        <a:pt x="1369" y="1120"/>
                      </a:lnTo>
                      <a:lnTo>
                        <a:pt x="1369" y="1119"/>
                      </a:lnTo>
                      <a:lnTo>
                        <a:pt x="1367" y="1122"/>
                      </a:lnTo>
                      <a:lnTo>
                        <a:pt x="1366" y="1127"/>
                      </a:lnTo>
                      <a:lnTo>
                        <a:pt x="1366" y="1128"/>
                      </a:lnTo>
                      <a:lnTo>
                        <a:pt x="1366" y="1129"/>
                      </a:lnTo>
                      <a:lnTo>
                        <a:pt x="1365" y="1129"/>
                      </a:lnTo>
                      <a:lnTo>
                        <a:pt x="1365" y="1128"/>
                      </a:lnTo>
                      <a:lnTo>
                        <a:pt x="1366" y="1128"/>
                      </a:lnTo>
                      <a:lnTo>
                        <a:pt x="1366" y="1127"/>
                      </a:lnTo>
                      <a:lnTo>
                        <a:pt x="1365" y="1127"/>
                      </a:lnTo>
                      <a:lnTo>
                        <a:pt x="1365" y="1128"/>
                      </a:lnTo>
                      <a:lnTo>
                        <a:pt x="1365" y="1129"/>
                      </a:lnTo>
                      <a:lnTo>
                        <a:pt x="1365" y="1130"/>
                      </a:lnTo>
                      <a:lnTo>
                        <a:pt x="1364" y="1131"/>
                      </a:lnTo>
                      <a:lnTo>
                        <a:pt x="1364" y="1132"/>
                      </a:lnTo>
                      <a:lnTo>
                        <a:pt x="1364" y="1133"/>
                      </a:lnTo>
                      <a:lnTo>
                        <a:pt x="1364" y="1134"/>
                      </a:lnTo>
                      <a:lnTo>
                        <a:pt x="1363" y="1135"/>
                      </a:lnTo>
                      <a:lnTo>
                        <a:pt x="1363" y="1136"/>
                      </a:lnTo>
                      <a:lnTo>
                        <a:pt x="1363" y="1137"/>
                      </a:lnTo>
                      <a:lnTo>
                        <a:pt x="1362" y="1137"/>
                      </a:lnTo>
                      <a:lnTo>
                        <a:pt x="1363" y="1137"/>
                      </a:lnTo>
                      <a:lnTo>
                        <a:pt x="1363" y="1136"/>
                      </a:lnTo>
                      <a:lnTo>
                        <a:pt x="1363" y="1135"/>
                      </a:lnTo>
                      <a:lnTo>
                        <a:pt x="1363" y="1134"/>
                      </a:lnTo>
                      <a:lnTo>
                        <a:pt x="1363" y="1135"/>
                      </a:lnTo>
                      <a:lnTo>
                        <a:pt x="1362" y="1136"/>
                      </a:lnTo>
                      <a:lnTo>
                        <a:pt x="1362" y="1137"/>
                      </a:lnTo>
                      <a:lnTo>
                        <a:pt x="1361" y="1137"/>
                      </a:lnTo>
                      <a:lnTo>
                        <a:pt x="1362" y="1137"/>
                      </a:lnTo>
                      <a:lnTo>
                        <a:pt x="1361" y="1137"/>
                      </a:lnTo>
                      <a:lnTo>
                        <a:pt x="1361" y="1138"/>
                      </a:lnTo>
                      <a:lnTo>
                        <a:pt x="1361" y="1140"/>
                      </a:lnTo>
                      <a:lnTo>
                        <a:pt x="1360" y="1140"/>
                      </a:lnTo>
                      <a:lnTo>
                        <a:pt x="1360" y="1141"/>
                      </a:lnTo>
                      <a:lnTo>
                        <a:pt x="1358" y="1141"/>
                      </a:lnTo>
                      <a:lnTo>
                        <a:pt x="1358" y="1142"/>
                      </a:lnTo>
                      <a:lnTo>
                        <a:pt x="1360" y="1142"/>
                      </a:lnTo>
                      <a:lnTo>
                        <a:pt x="1360" y="1143"/>
                      </a:lnTo>
                      <a:lnTo>
                        <a:pt x="1358" y="1142"/>
                      </a:lnTo>
                      <a:lnTo>
                        <a:pt x="1358" y="1143"/>
                      </a:lnTo>
                      <a:lnTo>
                        <a:pt x="1357" y="1143"/>
                      </a:lnTo>
                      <a:lnTo>
                        <a:pt x="1356" y="1144"/>
                      </a:lnTo>
                      <a:lnTo>
                        <a:pt x="1356" y="1145"/>
                      </a:lnTo>
                      <a:lnTo>
                        <a:pt x="1357" y="1145"/>
                      </a:lnTo>
                      <a:lnTo>
                        <a:pt x="1357" y="1144"/>
                      </a:lnTo>
                      <a:lnTo>
                        <a:pt x="1357" y="1145"/>
                      </a:lnTo>
                      <a:lnTo>
                        <a:pt x="1356" y="1145"/>
                      </a:lnTo>
                      <a:lnTo>
                        <a:pt x="1356" y="1146"/>
                      </a:lnTo>
                      <a:lnTo>
                        <a:pt x="1355" y="1147"/>
                      </a:lnTo>
                      <a:lnTo>
                        <a:pt x="1355" y="1148"/>
                      </a:lnTo>
                      <a:lnTo>
                        <a:pt x="1355" y="1149"/>
                      </a:lnTo>
                      <a:lnTo>
                        <a:pt x="1355" y="1148"/>
                      </a:lnTo>
                      <a:lnTo>
                        <a:pt x="1355" y="1149"/>
                      </a:lnTo>
                      <a:lnTo>
                        <a:pt x="1356" y="1150"/>
                      </a:lnTo>
                      <a:lnTo>
                        <a:pt x="1357" y="1150"/>
                      </a:lnTo>
                      <a:lnTo>
                        <a:pt x="1356" y="1150"/>
                      </a:lnTo>
                      <a:lnTo>
                        <a:pt x="1356" y="1151"/>
                      </a:lnTo>
                      <a:lnTo>
                        <a:pt x="1356" y="1150"/>
                      </a:lnTo>
                      <a:lnTo>
                        <a:pt x="1356" y="1151"/>
                      </a:lnTo>
                      <a:lnTo>
                        <a:pt x="1357" y="1151"/>
                      </a:lnTo>
                      <a:lnTo>
                        <a:pt x="1357" y="1150"/>
                      </a:lnTo>
                      <a:lnTo>
                        <a:pt x="1357" y="1151"/>
                      </a:lnTo>
                      <a:lnTo>
                        <a:pt x="1356" y="1151"/>
                      </a:lnTo>
                      <a:lnTo>
                        <a:pt x="1356" y="1153"/>
                      </a:lnTo>
                      <a:lnTo>
                        <a:pt x="1356" y="1154"/>
                      </a:lnTo>
                      <a:lnTo>
                        <a:pt x="1357" y="1154"/>
                      </a:lnTo>
                      <a:lnTo>
                        <a:pt x="1357" y="1155"/>
                      </a:lnTo>
                      <a:lnTo>
                        <a:pt x="1358" y="1156"/>
                      </a:lnTo>
                      <a:lnTo>
                        <a:pt x="1360" y="1156"/>
                      </a:lnTo>
                      <a:lnTo>
                        <a:pt x="1360" y="1155"/>
                      </a:lnTo>
                      <a:lnTo>
                        <a:pt x="1358" y="1155"/>
                      </a:lnTo>
                      <a:lnTo>
                        <a:pt x="1357" y="1155"/>
                      </a:lnTo>
                      <a:lnTo>
                        <a:pt x="1357" y="1154"/>
                      </a:lnTo>
                      <a:lnTo>
                        <a:pt x="1358" y="1154"/>
                      </a:lnTo>
                      <a:lnTo>
                        <a:pt x="1360" y="1154"/>
                      </a:lnTo>
                      <a:lnTo>
                        <a:pt x="1360" y="1155"/>
                      </a:lnTo>
                      <a:lnTo>
                        <a:pt x="1358" y="1155"/>
                      </a:lnTo>
                      <a:lnTo>
                        <a:pt x="1358" y="1154"/>
                      </a:lnTo>
                      <a:lnTo>
                        <a:pt x="1357" y="1154"/>
                      </a:lnTo>
                      <a:lnTo>
                        <a:pt x="1357" y="1155"/>
                      </a:lnTo>
                      <a:lnTo>
                        <a:pt x="1360" y="1155"/>
                      </a:lnTo>
                      <a:lnTo>
                        <a:pt x="1360" y="1156"/>
                      </a:lnTo>
                      <a:lnTo>
                        <a:pt x="1358" y="1156"/>
                      </a:lnTo>
                      <a:lnTo>
                        <a:pt x="1357" y="1156"/>
                      </a:lnTo>
                      <a:lnTo>
                        <a:pt x="1357" y="1155"/>
                      </a:lnTo>
                      <a:lnTo>
                        <a:pt x="1356" y="1154"/>
                      </a:lnTo>
                      <a:lnTo>
                        <a:pt x="1356" y="1153"/>
                      </a:lnTo>
                      <a:lnTo>
                        <a:pt x="1355" y="1153"/>
                      </a:lnTo>
                      <a:lnTo>
                        <a:pt x="1355" y="1151"/>
                      </a:lnTo>
                      <a:lnTo>
                        <a:pt x="1355" y="1150"/>
                      </a:lnTo>
                      <a:lnTo>
                        <a:pt x="1355" y="1149"/>
                      </a:lnTo>
                      <a:lnTo>
                        <a:pt x="1354" y="1149"/>
                      </a:lnTo>
                      <a:lnTo>
                        <a:pt x="1354" y="1150"/>
                      </a:lnTo>
                      <a:lnTo>
                        <a:pt x="1355" y="1150"/>
                      </a:lnTo>
                      <a:lnTo>
                        <a:pt x="1354" y="1150"/>
                      </a:lnTo>
                      <a:lnTo>
                        <a:pt x="1354" y="1151"/>
                      </a:lnTo>
                      <a:lnTo>
                        <a:pt x="1354" y="1150"/>
                      </a:lnTo>
                      <a:lnTo>
                        <a:pt x="1354" y="1151"/>
                      </a:lnTo>
                      <a:lnTo>
                        <a:pt x="1353" y="1151"/>
                      </a:lnTo>
                      <a:lnTo>
                        <a:pt x="1353" y="1150"/>
                      </a:lnTo>
                      <a:lnTo>
                        <a:pt x="1353" y="1149"/>
                      </a:lnTo>
                      <a:lnTo>
                        <a:pt x="1354" y="1147"/>
                      </a:lnTo>
                      <a:lnTo>
                        <a:pt x="1355" y="1146"/>
                      </a:lnTo>
                      <a:lnTo>
                        <a:pt x="1357" y="1142"/>
                      </a:lnTo>
                      <a:lnTo>
                        <a:pt x="1357" y="1141"/>
                      </a:lnTo>
                      <a:lnTo>
                        <a:pt x="1358" y="1140"/>
                      </a:lnTo>
                      <a:lnTo>
                        <a:pt x="1358" y="1138"/>
                      </a:lnTo>
                      <a:lnTo>
                        <a:pt x="1360" y="1136"/>
                      </a:lnTo>
                      <a:lnTo>
                        <a:pt x="1361" y="1133"/>
                      </a:lnTo>
                      <a:lnTo>
                        <a:pt x="1362" y="1131"/>
                      </a:lnTo>
                      <a:lnTo>
                        <a:pt x="1363" y="1129"/>
                      </a:lnTo>
                      <a:lnTo>
                        <a:pt x="1363" y="1128"/>
                      </a:lnTo>
                      <a:lnTo>
                        <a:pt x="1364" y="1127"/>
                      </a:lnTo>
                      <a:lnTo>
                        <a:pt x="1365" y="1124"/>
                      </a:lnTo>
                      <a:lnTo>
                        <a:pt x="1365" y="1123"/>
                      </a:lnTo>
                      <a:lnTo>
                        <a:pt x="1365" y="1122"/>
                      </a:lnTo>
                      <a:lnTo>
                        <a:pt x="1366" y="1121"/>
                      </a:lnTo>
                      <a:lnTo>
                        <a:pt x="1366" y="1120"/>
                      </a:lnTo>
                      <a:lnTo>
                        <a:pt x="1367" y="1118"/>
                      </a:lnTo>
                      <a:lnTo>
                        <a:pt x="1367" y="1117"/>
                      </a:lnTo>
                      <a:lnTo>
                        <a:pt x="1367" y="1116"/>
                      </a:lnTo>
                      <a:lnTo>
                        <a:pt x="1368" y="1114"/>
                      </a:lnTo>
                      <a:lnTo>
                        <a:pt x="1368" y="1112"/>
                      </a:lnTo>
                      <a:lnTo>
                        <a:pt x="1368" y="1115"/>
                      </a:lnTo>
                      <a:lnTo>
                        <a:pt x="1369" y="1115"/>
                      </a:lnTo>
                      <a:lnTo>
                        <a:pt x="1369" y="1116"/>
                      </a:lnTo>
                      <a:close/>
                      <a:moveTo>
                        <a:pt x="1174" y="971"/>
                      </a:moveTo>
                      <a:lnTo>
                        <a:pt x="1176" y="971"/>
                      </a:lnTo>
                      <a:lnTo>
                        <a:pt x="1177" y="973"/>
                      </a:lnTo>
                      <a:lnTo>
                        <a:pt x="1177" y="974"/>
                      </a:lnTo>
                      <a:lnTo>
                        <a:pt x="1179" y="973"/>
                      </a:lnTo>
                      <a:lnTo>
                        <a:pt x="1180" y="971"/>
                      </a:lnTo>
                      <a:lnTo>
                        <a:pt x="1183" y="974"/>
                      </a:lnTo>
                      <a:lnTo>
                        <a:pt x="1184" y="974"/>
                      </a:lnTo>
                      <a:lnTo>
                        <a:pt x="1183" y="974"/>
                      </a:lnTo>
                      <a:lnTo>
                        <a:pt x="1183" y="975"/>
                      </a:lnTo>
                      <a:lnTo>
                        <a:pt x="1183" y="976"/>
                      </a:lnTo>
                      <a:lnTo>
                        <a:pt x="1183" y="977"/>
                      </a:lnTo>
                      <a:lnTo>
                        <a:pt x="1184" y="977"/>
                      </a:lnTo>
                      <a:lnTo>
                        <a:pt x="1183" y="977"/>
                      </a:lnTo>
                      <a:lnTo>
                        <a:pt x="1182" y="977"/>
                      </a:lnTo>
                      <a:lnTo>
                        <a:pt x="1181" y="977"/>
                      </a:lnTo>
                      <a:lnTo>
                        <a:pt x="1182" y="977"/>
                      </a:lnTo>
                      <a:lnTo>
                        <a:pt x="1181" y="977"/>
                      </a:lnTo>
                      <a:lnTo>
                        <a:pt x="1181" y="976"/>
                      </a:lnTo>
                      <a:lnTo>
                        <a:pt x="1181" y="977"/>
                      </a:lnTo>
                      <a:lnTo>
                        <a:pt x="1181" y="978"/>
                      </a:lnTo>
                      <a:lnTo>
                        <a:pt x="1180" y="979"/>
                      </a:lnTo>
                      <a:lnTo>
                        <a:pt x="1179" y="979"/>
                      </a:lnTo>
                      <a:lnTo>
                        <a:pt x="1179" y="978"/>
                      </a:lnTo>
                      <a:lnTo>
                        <a:pt x="1177" y="979"/>
                      </a:lnTo>
                      <a:lnTo>
                        <a:pt x="1176" y="979"/>
                      </a:lnTo>
                      <a:lnTo>
                        <a:pt x="1176" y="980"/>
                      </a:lnTo>
                      <a:lnTo>
                        <a:pt x="1175" y="980"/>
                      </a:lnTo>
                      <a:lnTo>
                        <a:pt x="1174" y="980"/>
                      </a:lnTo>
                      <a:lnTo>
                        <a:pt x="1174" y="979"/>
                      </a:lnTo>
                      <a:lnTo>
                        <a:pt x="1173" y="979"/>
                      </a:lnTo>
                      <a:lnTo>
                        <a:pt x="1173" y="978"/>
                      </a:lnTo>
                      <a:lnTo>
                        <a:pt x="1172" y="978"/>
                      </a:lnTo>
                      <a:lnTo>
                        <a:pt x="1171" y="977"/>
                      </a:lnTo>
                      <a:lnTo>
                        <a:pt x="1171" y="976"/>
                      </a:lnTo>
                      <a:lnTo>
                        <a:pt x="1170" y="976"/>
                      </a:lnTo>
                      <a:lnTo>
                        <a:pt x="1169" y="976"/>
                      </a:lnTo>
                      <a:lnTo>
                        <a:pt x="1168" y="976"/>
                      </a:lnTo>
                      <a:lnTo>
                        <a:pt x="1168" y="977"/>
                      </a:lnTo>
                      <a:lnTo>
                        <a:pt x="1167" y="977"/>
                      </a:lnTo>
                      <a:lnTo>
                        <a:pt x="1168" y="977"/>
                      </a:lnTo>
                      <a:lnTo>
                        <a:pt x="1168" y="976"/>
                      </a:lnTo>
                      <a:lnTo>
                        <a:pt x="1168" y="975"/>
                      </a:lnTo>
                      <a:lnTo>
                        <a:pt x="1169" y="975"/>
                      </a:lnTo>
                      <a:lnTo>
                        <a:pt x="1169" y="974"/>
                      </a:lnTo>
                      <a:lnTo>
                        <a:pt x="1170" y="974"/>
                      </a:lnTo>
                      <a:lnTo>
                        <a:pt x="1171" y="973"/>
                      </a:lnTo>
                      <a:lnTo>
                        <a:pt x="1173" y="971"/>
                      </a:lnTo>
                      <a:lnTo>
                        <a:pt x="1173" y="973"/>
                      </a:lnTo>
                      <a:lnTo>
                        <a:pt x="1173" y="971"/>
                      </a:lnTo>
                      <a:lnTo>
                        <a:pt x="1174" y="971"/>
                      </a:lnTo>
                      <a:close/>
                      <a:moveTo>
                        <a:pt x="980" y="990"/>
                      </a:moveTo>
                      <a:lnTo>
                        <a:pt x="979" y="990"/>
                      </a:lnTo>
                      <a:lnTo>
                        <a:pt x="980" y="990"/>
                      </a:lnTo>
                      <a:lnTo>
                        <a:pt x="980" y="991"/>
                      </a:lnTo>
                      <a:lnTo>
                        <a:pt x="981" y="991"/>
                      </a:lnTo>
                      <a:lnTo>
                        <a:pt x="982" y="991"/>
                      </a:lnTo>
                      <a:lnTo>
                        <a:pt x="981" y="992"/>
                      </a:lnTo>
                      <a:lnTo>
                        <a:pt x="980" y="992"/>
                      </a:lnTo>
                      <a:lnTo>
                        <a:pt x="980" y="993"/>
                      </a:lnTo>
                      <a:lnTo>
                        <a:pt x="980" y="992"/>
                      </a:lnTo>
                      <a:lnTo>
                        <a:pt x="981" y="992"/>
                      </a:lnTo>
                      <a:lnTo>
                        <a:pt x="982" y="991"/>
                      </a:lnTo>
                      <a:lnTo>
                        <a:pt x="983" y="992"/>
                      </a:lnTo>
                      <a:lnTo>
                        <a:pt x="983" y="991"/>
                      </a:lnTo>
                      <a:lnTo>
                        <a:pt x="984" y="991"/>
                      </a:lnTo>
                      <a:lnTo>
                        <a:pt x="984" y="992"/>
                      </a:lnTo>
                      <a:lnTo>
                        <a:pt x="986" y="992"/>
                      </a:lnTo>
                      <a:lnTo>
                        <a:pt x="986" y="993"/>
                      </a:lnTo>
                      <a:lnTo>
                        <a:pt x="986" y="994"/>
                      </a:lnTo>
                      <a:lnTo>
                        <a:pt x="986" y="996"/>
                      </a:lnTo>
                      <a:lnTo>
                        <a:pt x="986" y="998"/>
                      </a:lnTo>
                      <a:lnTo>
                        <a:pt x="987" y="998"/>
                      </a:lnTo>
                      <a:lnTo>
                        <a:pt x="988" y="998"/>
                      </a:lnTo>
                      <a:lnTo>
                        <a:pt x="989" y="998"/>
                      </a:lnTo>
                      <a:lnTo>
                        <a:pt x="989" y="996"/>
                      </a:lnTo>
                      <a:lnTo>
                        <a:pt x="990" y="996"/>
                      </a:lnTo>
                      <a:lnTo>
                        <a:pt x="990" y="995"/>
                      </a:lnTo>
                      <a:lnTo>
                        <a:pt x="991" y="995"/>
                      </a:lnTo>
                      <a:lnTo>
                        <a:pt x="992" y="995"/>
                      </a:lnTo>
                      <a:lnTo>
                        <a:pt x="993" y="995"/>
                      </a:lnTo>
                      <a:lnTo>
                        <a:pt x="994" y="995"/>
                      </a:lnTo>
                      <a:lnTo>
                        <a:pt x="994" y="994"/>
                      </a:lnTo>
                      <a:lnTo>
                        <a:pt x="993" y="994"/>
                      </a:lnTo>
                      <a:lnTo>
                        <a:pt x="993" y="993"/>
                      </a:lnTo>
                      <a:lnTo>
                        <a:pt x="992" y="994"/>
                      </a:lnTo>
                      <a:lnTo>
                        <a:pt x="992" y="993"/>
                      </a:lnTo>
                      <a:lnTo>
                        <a:pt x="993" y="993"/>
                      </a:lnTo>
                      <a:lnTo>
                        <a:pt x="994" y="993"/>
                      </a:lnTo>
                      <a:lnTo>
                        <a:pt x="994" y="994"/>
                      </a:lnTo>
                      <a:lnTo>
                        <a:pt x="995" y="994"/>
                      </a:lnTo>
                      <a:lnTo>
                        <a:pt x="995" y="995"/>
                      </a:lnTo>
                      <a:lnTo>
                        <a:pt x="994" y="996"/>
                      </a:lnTo>
                      <a:lnTo>
                        <a:pt x="992" y="996"/>
                      </a:lnTo>
                      <a:lnTo>
                        <a:pt x="992" y="998"/>
                      </a:lnTo>
                      <a:lnTo>
                        <a:pt x="991" y="998"/>
                      </a:lnTo>
                      <a:lnTo>
                        <a:pt x="990" y="998"/>
                      </a:lnTo>
                      <a:lnTo>
                        <a:pt x="989" y="999"/>
                      </a:lnTo>
                      <a:lnTo>
                        <a:pt x="988" y="999"/>
                      </a:lnTo>
                      <a:lnTo>
                        <a:pt x="987" y="1000"/>
                      </a:lnTo>
                      <a:lnTo>
                        <a:pt x="986" y="1000"/>
                      </a:lnTo>
                      <a:lnTo>
                        <a:pt x="982" y="1000"/>
                      </a:lnTo>
                      <a:lnTo>
                        <a:pt x="981" y="1000"/>
                      </a:lnTo>
                      <a:lnTo>
                        <a:pt x="979" y="999"/>
                      </a:lnTo>
                      <a:lnTo>
                        <a:pt x="979" y="998"/>
                      </a:lnTo>
                      <a:lnTo>
                        <a:pt x="978" y="998"/>
                      </a:lnTo>
                      <a:lnTo>
                        <a:pt x="977" y="996"/>
                      </a:lnTo>
                      <a:lnTo>
                        <a:pt x="976" y="996"/>
                      </a:lnTo>
                      <a:lnTo>
                        <a:pt x="975" y="996"/>
                      </a:lnTo>
                      <a:lnTo>
                        <a:pt x="974" y="995"/>
                      </a:lnTo>
                      <a:lnTo>
                        <a:pt x="973" y="995"/>
                      </a:lnTo>
                      <a:lnTo>
                        <a:pt x="971" y="994"/>
                      </a:lnTo>
                      <a:lnTo>
                        <a:pt x="969" y="994"/>
                      </a:lnTo>
                      <a:lnTo>
                        <a:pt x="969" y="993"/>
                      </a:lnTo>
                      <a:lnTo>
                        <a:pt x="973" y="993"/>
                      </a:lnTo>
                      <a:lnTo>
                        <a:pt x="974" y="993"/>
                      </a:lnTo>
                      <a:lnTo>
                        <a:pt x="975" y="994"/>
                      </a:lnTo>
                      <a:lnTo>
                        <a:pt x="976" y="995"/>
                      </a:lnTo>
                      <a:lnTo>
                        <a:pt x="977" y="995"/>
                      </a:lnTo>
                      <a:lnTo>
                        <a:pt x="977" y="996"/>
                      </a:lnTo>
                      <a:lnTo>
                        <a:pt x="978" y="996"/>
                      </a:lnTo>
                      <a:lnTo>
                        <a:pt x="979" y="996"/>
                      </a:lnTo>
                      <a:lnTo>
                        <a:pt x="979" y="998"/>
                      </a:lnTo>
                      <a:lnTo>
                        <a:pt x="979" y="996"/>
                      </a:lnTo>
                      <a:lnTo>
                        <a:pt x="979" y="998"/>
                      </a:lnTo>
                      <a:lnTo>
                        <a:pt x="980" y="998"/>
                      </a:lnTo>
                      <a:lnTo>
                        <a:pt x="981" y="999"/>
                      </a:lnTo>
                      <a:lnTo>
                        <a:pt x="982" y="999"/>
                      </a:lnTo>
                      <a:lnTo>
                        <a:pt x="982" y="998"/>
                      </a:lnTo>
                      <a:lnTo>
                        <a:pt x="983" y="999"/>
                      </a:lnTo>
                      <a:lnTo>
                        <a:pt x="983" y="998"/>
                      </a:lnTo>
                      <a:lnTo>
                        <a:pt x="984" y="998"/>
                      </a:lnTo>
                      <a:lnTo>
                        <a:pt x="984" y="996"/>
                      </a:lnTo>
                      <a:lnTo>
                        <a:pt x="984" y="995"/>
                      </a:lnTo>
                      <a:lnTo>
                        <a:pt x="983" y="995"/>
                      </a:lnTo>
                      <a:lnTo>
                        <a:pt x="983" y="994"/>
                      </a:lnTo>
                      <a:lnTo>
                        <a:pt x="982" y="994"/>
                      </a:lnTo>
                      <a:lnTo>
                        <a:pt x="981" y="994"/>
                      </a:lnTo>
                      <a:lnTo>
                        <a:pt x="980" y="993"/>
                      </a:lnTo>
                      <a:lnTo>
                        <a:pt x="979" y="992"/>
                      </a:lnTo>
                      <a:lnTo>
                        <a:pt x="978" y="991"/>
                      </a:lnTo>
                      <a:lnTo>
                        <a:pt x="977" y="991"/>
                      </a:lnTo>
                      <a:lnTo>
                        <a:pt x="976" y="991"/>
                      </a:lnTo>
                      <a:lnTo>
                        <a:pt x="975" y="990"/>
                      </a:lnTo>
                      <a:lnTo>
                        <a:pt x="975" y="991"/>
                      </a:lnTo>
                      <a:lnTo>
                        <a:pt x="974" y="991"/>
                      </a:lnTo>
                      <a:lnTo>
                        <a:pt x="973" y="992"/>
                      </a:lnTo>
                      <a:lnTo>
                        <a:pt x="971" y="992"/>
                      </a:lnTo>
                      <a:lnTo>
                        <a:pt x="970" y="992"/>
                      </a:lnTo>
                      <a:lnTo>
                        <a:pt x="969" y="993"/>
                      </a:lnTo>
                      <a:lnTo>
                        <a:pt x="968" y="993"/>
                      </a:lnTo>
                      <a:lnTo>
                        <a:pt x="967" y="993"/>
                      </a:lnTo>
                      <a:lnTo>
                        <a:pt x="968" y="993"/>
                      </a:lnTo>
                      <a:lnTo>
                        <a:pt x="968" y="992"/>
                      </a:lnTo>
                      <a:lnTo>
                        <a:pt x="969" y="992"/>
                      </a:lnTo>
                      <a:lnTo>
                        <a:pt x="968" y="992"/>
                      </a:lnTo>
                      <a:lnTo>
                        <a:pt x="968" y="993"/>
                      </a:lnTo>
                      <a:lnTo>
                        <a:pt x="968" y="992"/>
                      </a:lnTo>
                      <a:lnTo>
                        <a:pt x="969" y="992"/>
                      </a:lnTo>
                      <a:lnTo>
                        <a:pt x="970" y="991"/>
                      </a:lnTo>
                      <a:lnTo>
                        <a:pt x="971" y="992"/>
                      </a:lnTo>
                      <a:lnTo>
                        <a:pt x="971" y="991"/>
                      </a:lnTo>
                      <a:lnTo>
                        <a:pt x="973" y="991"/>
                      </a:lnTo>
                      <a:lnTo>
                        <a:pt x="971" y="991"/>
                      </a:lnTo>
                      <a:lnTo>
                        <a:pt x="973" y="990"/>
                      </a:lnTo>
                      <a:lnTo>
                        <a:pt x="974" y="990"/>
                      </a:lnTo>
                      <a:lnTo>
                        <a:pt x="975" y="990"/>
                      </a:lnTo>
                      <a:lnTo>
                        <a:pt x="976" y="990"/>
                      </a:lnTo>
                      <a:lnTo>
                        <a:pt x="979" y="990"/>
                      </a:lnTo>
                      <a:lnTo>
                        <a:pt x="980" y="990"/>
                      </a:lnTo>
                      <a:close/>
                      <a:moveTo>
                        <a:pt x="1397" y="1150"/>
                      </a:moveTo>
                      <a:lnTo>
                        <a:pt x="1401" y="1151"/>
                      </a:lnTo>
                      <a:lnTo>
                        <a:pt x="1401" y="1150"/>
                      </a:lnTo>
                      <a:lnTo>
                        <a:pt x="1402" y="1150"/>
                      </a:lnTo>
                      <a:lnTo>
                        <a:pt x="1402" y="1149"/>
                      </a:lnTo>
                      <a:lnTo>
                        <a:pt x="1403" y="1150"/>
                      </a:lnTo>
                      <a:lnTo>
                        <a:pt x="1404" y="1150"/>
                      </a:lnTo>
                      <a:lnTo>
                        <a:pt x="1405" y="1150"/>
                      </a:lnTo>
                      <a:lnTo>
                        <a:pt x="1406" y="1150"/>
                      </a:lnTo>
                      <a:lnTo>
                        <a:pt x="1406" y="1151"/>
                      </a:lnTo>
                      <a:lnTo>
                        <a:pt x="1407" y="1151"/>
                      </a:lnTo>
                      <a:lnTo>
                        <a:pt x="1408" y="1153"/>
                      </a:lnTo>
                      <a:lnTo>
                        <a:pt x="1409" y="1153"/>
                      </a:lnTo>
                      <a:lnTo>
                        <a:pt x="1409" y="1154"/>
                      </a:lnTo>
                      <a:lnTo>
                        <a:pt x="1409" y="1155"/>
                      </a:lnTo>
                      <a:lnTo>
                        <a:pt x="1410" y="1155"/>
                      </a:lnTo>
                      <a:lnTo>
                        <a:pt x="1410" y="1156"/>
                      </a:lnTo>
                      <a:lnTo>
                        <a:pt x="1412" y="1157"/>
                      </a:lnTo>
                      <a:lnTo>
                        <a:pt x="1412" y="1158"/>
                      </a:lnTo>
                      <a:lnTo>
                        <a:pt x="1413" y="1159"/>
                      </a:lnTo>
                      <a:lnTo>
                        <a:pt x="1414" y="1161"/>
                      </a:lnTo>
                      <a:lnTo>
                        <a:pt x="1414" y="1162"/>
                      </a:lnTo>
                      <a:lnTo>
                        <a:pt x="1414" y="1163"/>
                      </a:lnTo>
                      <a:lnTo>
                        <a:pt x="1415" y="1163"/>
                      </a:lnTo>
                      <a:lnTo>
                        <a:pt x="1415" y="1164"/>
                      </a:lnTo>
                      <a:lnTo>
                        <a:pt x="1415" y="1166"/>
                      </a:lnTo>
                      <a:lnTo>
                        <a:pt x="1416" y="1167"/>
                      </a:lnTo>
                      <a:lnTo>
                        <a:pt x="1416" y="1168"/>
                      </a:lnTo>
                      <a:lnTo>
                        <a:pt x="1416" y="1169"/>
                      </a:lnTo>
                      <a:lnTo>
                        <a:pt x="1416" y="1170"/>
                      </a:lnTo>
                      <a:lnTo>
                        <a:pt x="1417" y="1170"/>
                      </a:lnTo>
                      <a:lnTo>
                        <a:pt x="1417" y="1171"/>
                      </a:lnTo>
                      <a:lnTo>
                        <a:pt x="1417" y="1172"/>
                      </a:lnTo>
                      <a:lnTo>
                        <a:pt x="1416" y="1172"/>
                      </a:lnTo>
                      <a:lnTo>
                        <a:pt x="1417" y="1172"/>
                      </a:lnTo>
                      <a:lnTo>
                        <a:pt x="1418" y="1172"/>
                      </a:lnTo>
                      <a:lnTo>
                        <a:pt x="1418" y="1173"/>
                      </a:lnTo>
                      <a:lnTo>
                        <a:pt x="1417" y="1172"/>
                      </a:lnTo>
                      <a:lnTo>
                        <a:pt x="1416" y="1172"/>
                      </a:lnTo>
                      <a:lnTo>
                        <a:pt x="1415" y="1171"/>
                      </a:lnTo>
                      <a:lnTo>
                        <a:pt x="1414" y="1170"/>
                      </a:lnTo>
                      <a:lnTo>
                        <a:pt x="1413" y="1169"/>
                      </a:lnTo>
                      <a:lnTo>
                        <a:pt x="1413" y="1168"/>
                      </a:lnTo>
                      <a:lnTo>
                        <a:pt x="1413" y="1167"/>
                      </a:lnTo>
                      <a:lnTo>
                        <a:pt x="1412" y="1166"/>
                      </a:lnTo>
                      <a:lnTo>
                        <a:pt x="1410" y="1164"/>
                      </a:lnTo>
                      <a:lnTo>
                        <a:pt x="1410" y="1163"/>
                      </a:lnTo>
                      <a:lnTo>
                        <a:pt x="1410" y="1162"/>
                      </a:lnTo>
                      <a:lnTo>
                        <a:pt x="1410" y="1160"/>
                      </a:lnTo>
                      <a:lnTo>
                        <a:pt x="1409" y="1158"/>
                      </a:lnTo>
                      <a:lnTo>
                        <a:pt x="1409" y="1157"/>
                      </a:lnTo>
                      <a:lnTo>
                        <a:pt x="1409" y="1156"/>
                      </a:lnTo>
                      <a:lnTo>
                        <a:pt x="1408" y="1155"/>
                      </a:lnTo>
                      <a:lnTo>
                        <a:pt x="1407" y="1154"/>
                      </a:lnTo>
                      <a:lnTo>
                        <a:pt x="1406" y="1153"/>
                      </a:lnTo>
                      <a:lnTo>
                        <a:pt x="1405" y="1153"/>
                      </a:lnTo>
                      <a:lnTo>
                        <a:pt x="1404" y="1154"/>
                      </a:lnTo>
                      <a:lnTo>
                        <a:pt x="1403" y="1154"/>
                      </a:lnTo>
                      <a:lnTo>
                        <a:pt x="1402" y="1154"/>
                      </a:lnTo>
                      <a:lnTo>
                        <a:pt x="1402" y="1153"/>
                      </a:lnTo>
                      <a:lnTo>
                        <a:pt x="1403" y="1151"/>
                      </a:lnTo>
                      <a:lnTo>
                        <a:pt x="1402" y="1151"/>
                      </a:lnTo>
                      <a:lnTo>
                        <a:pt x="1401" y="1153"/>
                      </a:lnTo>
                      <a:lnTo>
                        <a:pt x="1397" y="1151"/>
                      </a:lnTo>
                      <a:lnTo>
                        <a:pt x="1396" y="1153"/>
                      </a:lnTo>
                      <a:lnTo>
                        <a:pt x="1394" y="1151"/>
                      </a:lnTo>
                      <a:lnTo>
                        <a:pt x="1392" y="1151"/>
                      </a:lnTo>
                      <a:lnTo>
                        <a:pt x="1393" y="1149"/>
                      </a:lnTo>
                      <a:lnTo>
                        <a:pt x="1397" y="1150"/>
                      </a:lnTo>
                      <a:close/>
                      <a:moveTo>
                        <a:pt x="1397" y="1124"/>
                      </a:moveTo>
                      <a:lnTo>
                        <a:pt x="1399" y="1124"/>
                      </a:lnTo>
                      <a:lnTo>
                        <a:pt x="1401" y="1125"/>
                      </a:lnTo>
                      <a:lnTo>
                        <a:pt x="1401" y="1124"/>
                      </a:lnTo>
                      <a:lnTo>
                        <a:pt x="1402" y="1124"/>
                      </a:lnTo>
                      <a:lnTo>
                        <a:pt x="1403" y="1124"/>
                      </a:lnTo>
                      <a:lnTo>
                        <a:pt x="1404" y="1125"/>
                      </a:lnTo>
                      <a:lnTo>
                        <a:pt x="1405" y="1127"/>
                      </a:lnTo>
                      <a:lnTo>
                        <a:pt x="1405" y="1128"/>
                      </a:lnTo>
                      <a:lnTo>
                        <a:pt x="1406" y="1128"/>
                      </a:lnTo>
                      <a:lnTo>
                        <a:pt x="1406" y="1129"/>
                      </a:lnTo>
                      <a:lnTo>
                        <a:pt x="1407" y="1130"/>
                      </a:lnTo>
                      <a:lnTo>
                        <a:pt x="1407" y="1131"/>
                      </a:lnTo>
                      <a:lnTo>
                        <a:pt x="1407" y="1132"/>
                      </a:lnTo>
                      <a:lnTo>
                        <a:pt x="1408" y="1132"/>
                      </a:lnTo>
                      <a:lnTo>
                        <a:pt x="1409" y="1132"/>
                      </a:lnTo>
                      <a:lnTo>
                        <a:pt x="1410" y="1132"/>
                      </a:lnTo>
                      <a:lnTo>
                        <a:pt x="1409" y="1132"/>
                      </a:lnTo>
                      <a:lnTo>
                        <a:pt x="1408" y="1132"/>
                      </a:lnTo>
                      <a:lnTo>
                        <a:pt x="1407" y="1132"/>
                      </a:lnTo>
                      <a:lnTo>
                        <a:pt x="1407" y="1133"/>
                      </a:lnTo>
                      <a:lnTo>
                        <a:pt x="1406" y="1132"/>
                      </a:lnTo>
                      <a:lnTo>
                        <a:pt x="1405" y="1132"/>
                      </a:lnTo>
                      <a:lnTo>
                        <a:pt x="1405" y="1131"/>
                      </a:lnTo>
                      <a:lnTo>
                        <a:pt x="1404" y="1131"/>
                      </a:lnTo>
                      <a:lnTo>
                        <a:pt x="1404" y="1130"/>
                      </a:lnTo>
                      <a:lnTo>
                        <a:pt x="1403" y="1130"/>
                      </a:lnTo>
                      <a:lnTo>
                        <a:pt x="1402" y="1129"/>
                      </a:lnTo>
                      <a:lnTo>
                        <a:pt x="1402" y="1130"/>
                      </a:lnTo>
                      <a:lnTo>
                        <a:pt x="1403" y="1130"/>
                      </a:lnTo>
                      <a:lnTo>
                        <a:pt x="1403" y="1131"/>
                      </a:lnTo>
                      <a:lnTo>
                        <a:pt x="1404" y="1131"/>
                      </a:lnTo>
                      <a:lnTo>
                        <a:pt x="1406" y="1133"/>
                      </a:lnTo>
                      <a:lnTo>
                        <a:pt x="1407" y="1133"/>
                      </a:lnTo>
                      <a:lnTo>
                        <a:pt x="1407" y="1134"/>
                      </a:lnTo>
                      <a:lnTo>
                        <a:pt x="1407" y="1133"/>
                      </a:lnTo>
                      <a:lnTo>
                        <a:pt x="1406" y="1135"/>
                      </a:lnTo>
                      <a:lnTo>
                        <a:pt x="1406" y="1134"/>
                      </a:lnTo>
                      <a:lnTo>
                        <a:pt x="1405" y="1134"/>
                      </a:lnTo>
                      <a:lnTo>
                        <a:pt x="1406" y="1135"/>
                      </a:lnTo>
                      <a:lnTo>
                        <a:pt x="1407" y="1135"/>
                      </a:lnTo>
                      <a:lnTo>
                        <a:pt x="1407" y="1134"/>
                      </a:lnTo>
                      <a:lnTo>
                        <a:pt x="1407" y="1135"/>
                      </a:lnTo>
                      <a:lnTo>
                        <a:pt x="1407" y="1136"/>
                      </a:lnTo>
                      <a:lnTo>
                        <a:pt x="1408" y="1136"/>
                      </a:lnTo>
                      <a:lnTo>
                        <a:pt x="1408" y="1135"/>
                      </a:lnTo>
                      <a:lnTo>
                        <a:pt x="1409" y="1135"/>
                      </a:lnTo>
                      <a:lnTo>
                        <a:pt x="1408" y="1136"/>
                      </a:lnTo>
                      <a:lnTo>
                        <a:pt x="1407" y="1136"/>
                      </a:lnTo>
                      <a:lnTo>
                        <a:pt x="1408" y="1137"/>
                      </a:lnTo>
                      <a:lnTo>
                        <a:pt x="1409" y="1137"/>
                      </a:lnTo>
                      <a:lnTo>
                        <a:pt x="1410" y="1137"/>
                      </a:lnTo>
                      <a:lnTo>
                        <a:pt x="1410" y="1136"/>
                      </a:lnTo>
                      <a:lnTo>
                        <a:pt x="1409" y="1136"/>
                      </a:lnTo>
                      <a:lnTo>
                        <a:pt x="1410" y="1136"/>
                      </a:lnTo>
                      <a:lnTo>
                        <a:pt x="1410" y="1137"/>
                      </a:lnTo>
                      <a:lnTo>
                        <a:pt x="1410" y="1138"/>
                      </a:lnTo>
                      <a:lnTo>
                        <a:pt x="1409" y="1138"/>
                      </a:lnTo>
                      <a:lnTo>
                        <a:pt x="1409" y="1137"/>
                      </a:lnTo>
                      <a:lnTo>
                        <a:pt x="1409" y="1138"/>
                      </a:lnTo>
                      <a:lnTo>
                        <a:pt x="1409" y="1140"/>
                      </a:lnTo>
                      <a:lnTo>
                        <a:pt x="1408" y="1137"/>
                      </a:lnTo>
                      <a:lnTo>
                        <a:pt x="1407" y="1136"/>
                      </a:lnTo>
                      <a:lnTo>
                        <a:pt x="1406" y="1135"/>
                      </a:lnTo>
                      <a:lnTo>
                        <a:pt x="1405" y="1134"/>
                      </a:lnTo>
                      <a:lnTo>
                        <a:pt x="1404" y="1134"/>
                      </a:lnTo>
                      <a:lnTo>
                        <a:pt x="1403" y="1133"/>
                      </a:lnTo>
                      <a:lnTo>
                        <a:pt x="1402" y="1133"/>
                      </a:lnTo>
                      <a:lnTo>
                        <a:pt x="1402" y="1132"/>
                      </a:lnTo>
                      <a:lnTo>
                        <a:pt x="1400" y="1132"/>
                      </a:lnTo>
                      <a:lnTo>
                        <a:pt x="1399" y="1131"/>
                      </a:lnTo>
                      <a:lnTo>
                        <a:pt x="1397" y="1130"/>
                      </a:lnTo>
                      <a:lnTo>
                        <a:pt x="1396" y="1129"/>
                      </a:lnTo>
                      <a:lnTo>
                        <a:pt x="1396" y="1128"/>
                      </a:lnTo>
                      <a:lnTo>
                        <a:pt x="1396" y="1127"/>
                      </a:lnTo>
                      <a:lnTo>
                        <a:pt x="1395" y="1125"/>
                      </a:lnTo>
                      <a:lnTo>
                        <a:pt x="1395" y="1124"/>
                      </a:lnTo>
                      <a:lnTo>
                        <a:pt x="1396" y="1124"/>
                      </a:lnTo>
                      <a:lnTo>
                        <a:pt x="1397" y="1124"/>
                      </a:lnTo>
                      <a:close/>
                      <a:moveTo>
                        <a:pt x="1115" y="976"/>
                      </a:moveTo>
                      <a:lnTo>
                        <a:pt x="1115" y="977"/>
                      </a:lnTo>
                      <a:lnTo>
                        <a:pt x="1115" y="978"/>
                      </a:lnTo>
                      <a:lnTo>
                        <a:pt x="1113" y="979"/>
                      </a:lnTo>
                      <a:lnTo>
                        <a:pt x="1113" y="978"/>
                      </a:lnTo>
                      <a:lnTo>
                        <a:pt x="1113" y="977"/>
                      </a:lnTo>
                      <a:lnTo>
                        <a:pt x="1113" y="976"/>
                      </a:lnTo>
                      <a:lnTo>
                        <a:pt x="1111" y="976"/>
                      </a:lnTo>
                      <a:lnTo>
                        <a:pt x="1111" y="977"/>
                      </a:lnTo>
                      <a:lnTo>
                        <a:pt x="1111" y="978"/>
                      </a:lnTo>
                      <a:lnTo>
                        <a:pt x="1111" y="979"/>
                      </a:lnTo>
                      <a:lnTo>
                        <a:pt x="1111" y="980"/>
                      </a:lnTo>
                      <a:lnTo>
                        <a:pt x="1110" y="980"/>
                      </a:lnTo>
                      <a:lnTo>
                        <a:pt x="1111" y="981"/>
                      </a:lnTo>
                      <a:lnTo>
                        <a:pt x="1113" y="983"/>
                      </a:lnTo>
                      <a:lnTo>
                        <a:pt x="1113" y="984"/>
                      </a:lnTo>
                      <a:lnTo>
                        <a:pt x="1115" y="984"/>
                      </a:lnTo>
                      <a:lnTo>
                        <a:pt x="1116" y="984"/>
                      </a:lnTo>
                      <a:lnTo>
                        <a:pt x="1117" y="984"/>
                      </a:lnTo>
                      <a:lnTo>
                        <a:pt x="1118" y="984"/>
                      </a:lnTo>
                      <a:lnTo>
                        <a:pt x="1119" y="984"/>
                      </a:lnTo>
                      <a:lnTo>
                        <a:pt x="1119" y="983"/>
                      </a:lnTo>
                      <a:lnTo>
                        <a:pt x="1120" y="983"/>
                      </a:lnTo>
                      <a:lnTo>
                        <a:pt x="1120" y="982"/>
                      </a:lnTo>
                      <a:lnTo>
                        <a:pt x="1121" y="982"/>
                      </a:lnTo>
                      <a:lnTo>
                        <a:pt x="1120" y="982"/>
                      </a:lnTo>
                      <a:lnTo>
                        <a:pt x="1119" y="982"/>
                      </a:lnTo>
                      <a:lnTo>
                        <a:pt x="1119" y="983"/>
                      </a:lnTo>
                      <a:lnTo>
                        <a:pt x="1117" y="983"/>
                      </a:lnTo>
                      <a:lnTo>
                        <a:pt x="1117" y="982"/>
                      </a:lnTo>
                      <a:lnTo>
                        <a:pt x="1118" y="982"/>
                      </a:lnTo>
                      <a:lnTo>
                        <a:pt x="1117" y="982"/>
                      </a:lnTo>
                      <a:lnTo>
                        <a:pt x="1118" y="982"/>
                      </a:lnTo>
                      <a:lnTo>
                        <a:pt x="1118" y="981"/>
                      </a:lnTo>
                      <a:lnTo>
                        <a:pt x="1118" y="980"/>
                      </a:lnTo>
                      <a:lnTo>
                        <a:pt x="1120" y="980"/>
                      </a:lnTo>
                      <a:lnTo>
                        <a:pt x="1121" y="980"/>
                      </a:lnTo>
                      <a:lnTo>
                        <a:pt x="1121" y="979"/>
                      </a:lnTo>
                      <a:lnTo>
                        <a:pt x="1122" y="980"/>
                      </a:lnTo>
                      <a:lnTo>
                        <a:pt x="1123" y="981"/>
                      </a:lnTo>
                      <a:lnTo>
                        <a:pt x="1124" y="981"/>
                      </a:lnTo>
                      <a:lnTo>
                        <a:pt x="1125" y="981"/>
                      </a:lnTo>
                      <a:lnTo>
                        <a:pt x="1126" y="981"/>
                      </a:lnTo>
                      <a:lnTo>
                        <a:pt x="1128" y="981"/>
                      </a:lnTo>
                      <a:lnTo>
                        <a:pt x="1129" y="981"/>
                      </a:lnTo>
                      <a:lnTo>
                        <a:pt x="1129" y="980"/>
                      </a:lnTo>
                      <a:lnTo>
                        <a:pt x="1129" y="981"/>
                      </a:lnTo>
                      <a:lnTo>
                        <a:pt x="1130" y="981"/>
                      </a:lnTo>
                      <a:lnTo>
                        <a:pt x="1129" y="981"/>
                      </a:lnTo>
                      <a:lnTo>
                        <a:pt x="1129" y="982"/>
                      </a:lnTo>
                      <a:lnTo>
                        <a:pt x="1128" y="982"/>
                      </a:lnTo>
                      <a:lnTo>
                        <a:pt x="1126" y="982"/>
                      </a:lnTo>
                      <a:lnTo>
                        <a:pt x="1126" y="983"/>
                      </a:lnTo>
                      <a:lnTo>
                        <a:pt x="1126" y="984"/>
                      </a:lnTo>
                      <a:lnTo>
                        <a:pt x="1125" y="984"/>
                      </a:lnTo>
                      <a:lnTo>
                        <a:pt x="1124" y="984"/>
                      </a:lnTo>
                      <a:lnTo>
                        <a:pt x="1123" y="986"/>
                      </a:lnTo>
                      <a:lnTo>
                        <a:pt x="1122" y="986"/>
                      </a:lnTo>
                      <a:lnTo>
                        <a:pt x="1122" y="987"/>
                      </a:lnTo>
                      <a:lnTo>
                        <a:pt x="1121" y="987"/>
                      </a:lnTo>
                      <a:lnTo>
                        <a:pt x="1120" y="987"/>
                      </a:lnTo>
                      <a:lnTo>
                        <a:pt x="1120" y="988"/>
                      </a:lnTo>
                      <a:lnTo>
                        <a:pt x="1119" y="988"/>
                      </a:lnTo>
                      <a:lnTo>
                        <a:pt x="1118" y="988"/>
                      </a:lnTo>
                      <a:lnTo>
                        <a:pt x="1117" y="988"/>
                      </a:lnTo>
                      <a:lnTo>
                        <a:pt x="1116" y="988"/>
                      </a:lnTo>
                      <a:lnTo>
                        <a:pt x="1113" y="988"/>
                      </a:lnTo>
                      <a:lnTo>
                        <a:pt x="1113" y="987"/>
                      </a:lnTo>
                      <a:lnTo>
                        <a:pt x="1112" y="987"/>
                      </a:lnTo>
                      <a:lnTo>
                        <a:pt x="1113" y="987"/>
                      </a:lnTo>
                      <a:lnTo>
                        <a:pt x="1115" y="987"/>
                      </a:lnTo>
                      <a:lnTo>
                        <a:pt x="1115" y="986"/>
                      </a:lnTo>
                      <a:lnTo>
                        <a:pt x="1116" y="987"/>
                      </a:lnTo>
                      <a:lnTo>
                        <a:pt x="1116" y="986"/>
                      </a:lnTo>
                      <a:lnTo>
                        <a:pt x="1117" y="986"/>
                      </a:lnTo>
                      <a:lnTo>
                        <a:pt x="1117" y="984"/>
                      </a:lnTo>
                      <a:lnTo>
                        <a:pt x="1118" y="986"/>
                      </a:lnTo>
                      <a:lnTo>
                        <a:pt x="1119" y="986"/>
                      </a:lnTo>
                      <a:lnTo>
                        <a:pt x="1119" y="984"/>
                      </a:lnTo>
                      <a:lnTo>
                        <a:pt x="1120" y="984"/>
                      </a:lnTo>
                      <a:lnTo>
                        <a:pt x="1121" y="984"/>
                      </a:lnTo>
                      <a:lnTo>
                        <a:pt x="1122" y="984"/>
                      </a:lnTo>
                      <a:lnTo>
                        <a:pt x="1123" y="984"/>
                      </a:lnTo>
                      <a:lnTo>
                        <a:pt x="1123" y="983"/>
                      </a:lnTo>
                      <a:lnTo>
                        <a:pt x="1122" y="983"/>
                      </a:lnTo>
                      <a:lnTo>
                        <a:pt x="1122" y="984"/>
                      </a:lnTo>
                      <a:lnTo>
                        <a:pt x="1121" y="984"/>
                      </a:lnTo>
                      <a:lnTo>
                        <a:pt x="1121" y="983"/>
                      </a:lnTo>
                      <a:lnTo>
                        <a:pt x="1120" y="983"/>
                      </a:lnTo>
                      <a:lnTo>
                        <a:pt x="1121" y="983"/>
                      </a:lnTo>
                      <a:lnTo>
                        <a:pt x="1122" y="982"/>
                      </a:lnTo>
                      <a:lnTo>
                        <a:pt x="1122" y="981"/>
                      </a:lnTo>
                      <a:lnTo>
                        <a:pt x="1122" y="982"/>
                      </a:lnTo>
                      <a:lnTo>
                        <a:pt x="1123" y="982"/>
                      </a:lnTo>
                      <a:lnTo>
                        <a:pt x="1122" y="982"/>
                      </a:lnTo>
                      <a:lnTo>
                        <a:pt x="1122" y="983"/>
                      </a:lnTo>
                      <a:lnTo>
                        <a:pt x="1122" y="982"/>
                      </a:lnTo>
                      <a:lnTo>
                        <a:pt x="1123" y="982"/>
                      </a:lnTo>
                      <a:lnTo>
                        <a:pt x="1123" y="983"/>
                      </a:lnTo>
                      <a:lnTo>
                        <a:pt x="1124" y="982"/>
                      </a:lnTo>
                      <a:lnTo>
                        <a:pt x="1123" y="982"/>
                      </a:lnTo>
                      <a:lnTo>
                        <a:pt x="1123" y="981"/>
                      </a:lnTo>
                      <a:lnTo>
                        <a:pt x="1122" y="981"/>
                      </a:lnTo>
                      <a:lnTo>
                        <a:pt x="1122" y="980"/>
                      </a:lnTo>
                      <a:lnTo>
                        <a:pt x="1122" y="981"/>
                      </a:lnTo>
                      <a:lnTo>
                        <a:pt x="1121" y="981"/>
                      </a:lnTo>
                      <a:lnTo>
                        <a:pt x="1120" y="981"/>
                      </a:lnTo>
                      <a:lnTo>
                        <a:pt x="1119" y="982"/>
                      </a:lnTo>
                      <a:lnTo>
                        <a:pt x="1118" y="982"/>
                      </a:lnTo>
                      <a:lnTo>
                        <a:pt x="1119" y="982"/>
                      </a:lnTo>
                      <a:lnTo>
                        <a:pt x="1120" y="982"/>
                      </a:lnTo>
                      <a:lnTo>
                        <a:pt x="1120" y="981"/>
                      </a:lnTo>
                      <a:lnTo>
                        <a:pt x="1121" y="981"/>
                      </a:lnTo>
                      <a:lnTo>
                        <a:pt x="1122" y="981"/>
                      </a:lnTo>
                      <a:lnTo>
                        <a:pt x="1121" y="982"/>
                      </a:lnTo>
                      <a:lnTo>
                        <a:pt x="1120" y="982"/>
                      </a:lnTo>
                      <a:lnTo>
                        <a:pt x="1120" y="983"/>
                      </a:lnTo>
                      <a:lnTo>
                        <a:pt x="1120" y="984"/>
                      </a:lnTo>
                      <a:lnTo>
                        <a:pt x="1119" y="984"/>
                      </a:lnTo>
                      <a:lnTo>
                        <a:pt x="1118" y="984"/>
                      </a:lnTo>
                      <a:lnTo>
                        <a:pt x="1117" y="984"/>
                      </a:lnTo>
                      <a:lnTo>
                        <a:pt x="1116" y="986"/>
                      </a:lnTo>
                      <a:lnTo>
                        <a:pt x="1115" y="986"/>
                      </a:lnTo>
                      <a:lnTo>
                        <a:pt x="1113" y="986"/>
                      </a:lnTo>
                      <a:lnTo>
                        <a:pt x="1112" y="986"/>
                      </a:lnTo>
                      <a:lnTo>
                        <a:pt x="1112" y="984"/>
                      </a:lnTo>
                      <a:lnTo>
                        <a:pt x="1112" y="983"/>
                      </a:lnTo>
                      <a:lnTo>
                        <a:pt x="1111" y="983"/>
                      </a:lnTo>
                      <a:lnTo>
                        <a:pt x="1111" y="982"/>
                      </a:lnTo>
                      <a:lnTo>
                        <a:pt x="1110" y="982"/>
                      </a:lnTo>
                      <a:lnTo>
                        <a:pt x="1110" y="981"/>
                      </a:lnTo>
                      <a:lnTo>
                        <a:pt x="1109" y="981"/>
                      </a:lnTo>
                      <a:lnTo>
                        <a:pt x="1110" y="981"/>
                      </a:lnTo>
                      <a:lnTo>
                        <a:pt x="1110" y="980"/>
                      </a:lnTo>
                      <a:lnTo>
                        <a:pt x="1109" y="980"/>
                      </a:lnTo>
                      <a:lnTo>
                        <a:pt x="1110" y="979"/>
                      </a:lnTo>
                      <a:lnTo>
                        <a:pt x="1110" y="978"/>
                      </a:lnTo>
                      <a:lnTo>
                        <a:pt x="1110" y="977"/>
                      </a:lnTo>
                      <a:lnTo>
                        <a:pt x="1110" y="976"/>
                      </a:lnTo>
                      <a:lnTo>
                        <a:pt x="1111" y="976"/>
                      </a:lnTo>
                      <a:lnTo>
                        <a:pt x="1112" y="976"/>
                      </a:lnTo>
                      <a:lnTo>
                        <a:pt x="1115" y="976"/>
                      </a:lnTo>
                      <a:close/>
                      <a:moveTo>
                        <a:pt x="1219" y="1032"/>
                      </a:moveTo>
                      <a:lnTo>
                        <a:pt x="1220" y="1032"/>
                      </a:lnTo>
                      <a:lnTo>
                        <a:pt x="1220" y="1033"/>
                      </a:lnTo>
                      <a:lnTo>
                        <a:pt x="1220" y="1034"/>
                      </a:lnTo>
                      <a:lnTo>
                        <a:pt x="1219" y="1034"/>
                      </a:lnTo>
                      <a:lnTo>
                        <a:pt x="1220" y="1034"/>
                      </a:lnTo>
                      <a:lnTo>
                        <a:pt x="1219" y="1034"/>
                      </a:lnTo>
                      <a:lnTo>
                        <a:pt x="1219" y="1035"/>
                      </a:lnTo>
                      <a:lnTo>
                        <a:pt x="1221" y="1035"/>
                      </a:lnTo>
                      <a:lnTo>
                        <a:pt x="1222" y="1035"/>
                      </a:lnTo>
                      <a:lnTo>
                        <a:pt x="1222" y="1034"/>
                      </a:lnTo>
                      <a:lnTo>
                        <a:pt x="1223" y="1034"/>
                      </a:lnTo>
                      <a:lnTo>
                        <a:pt x="1222" y="1033"/>
                      </a:lnTo>
                      <a:lnTo>
                        <a:pt x="1222" y="1032"/>
                      </a:lnTo>
                      <a:lnTo>
                        <a:pt x="1222" y="1033"/>
                      </a:lnTo>
                      <a:lnTo>
                        <a:pt x="1223" y="1033"/>
                      </a:lnTo>
                      <a:lnTo>
                        <a:pt x="1223" y="1034"/>
                      </a:lnTo>
                      <a:lnTo>
                        <a:pt x="1224" y="1034"/>
                      </a:lnTo>
                      <a:lnTo>
                        <a:pt x="1226" y="1034"/>
                      </a:lnTo>
                      <a:lnTo>
                        <a:pt x="1227" y="1034"/>
                      </a:lnTo>
                      <a:lnTo>
                        <a:pt x="1227" y="1035"/>
                      </a:lnTo>
                      <a:lnTo>
                        <a:pt x="1227" y="1037"/>
                      </a:lnTo>
                      <a:lnTo>
                        <a:pt x="1226" y="1038"/>
                      </a:lnTo>
                      <a:lnTo>
                        <a:pt x="1226" y="1039"/>
                      </a:lnTo>
                      <a:lnTo>
                        <a:pt x="1227" y="1039"/>
                      </a:lnTo>
                      <a:lnTo>
                        <a:pt x="1227" y="1040"/>
                      </a:lnTo>
                      <a:lnTo>
                        <a:pt x="1227" y="1041"/>
                      </a:lnTo>
                      <a:lnTo>
                        <a:pt x="1226" y="1041"/>
                      </a:lnTo>
                      <a:lnTo>
                        <a:pt x="1226" y="1042"/>
                      </a:lnTo>
                      <a:lnTo>
                        <a:pt x="1225" y="1042"/>
                      </a:lnTo>
                      <a:lnTo>
                        <a:pt x="1224" y="1042"/>
                      </a:lnTo>
                      <a:lnTo>
                        <a:pt x="1224" y="1043"/>
                      </a:lnTo>
                      <a:lnTo>
                        <a:pt x="1223" y="1043"/>
                      </a:lnTo>
                      <a:lnTo>
                        <a:pt x="1222" y="1043"/>
                      </a:lnTo>
                      <a:lnTo>
                        <a:pt x="1221" y="1043"/>
                      </a:lnTo>
                      <a:lnTo>
                        <a:pt x="1221" y="1042"/>
                      </a:lnTo>
                      <a:lnTo>
                        <a:pt x="1220" y="1042"/>
                      </a:lnTo>
                      <a:lnTo>
                        <a:pt x="1219" y="1042"/>
                      </a:lnTo>
                      <a:lnTo>
                        <a:pt x="1219" y="1041"/>
                      </a:lnTo>
                      <a:lnTo>
                        <a:pt x="1218" y="1041"/>
                      </a:lnTo>
                      <a:lnTo>
                        <a:pt x="1218" y="1040"/>
                      </a:lnTo>
                      <a:lnTo>
                        <a:pt x="1218" y="1041"/>
                      </a:lnTo>
                      <a:lnTo>
                        <a:pt x="1216" y="1040"/>
                      </a:lnTo>
                      <a:lnTo>
                        <a:pt x="1216" y="1039"/>
                      </a:lnTo>
                      <a:lnTo>
                        <a:pt x="1218" y="1039"/>
                      </a:lnTo>
                      <a:lnTo>
                        <a:pt x="1218" y="1038"/>
                      </a:lnTo>
                      <a:lnTo>
                        <a:pt x="1219" y="1038"/>
                      </a:lnTo>
                      <a:lnTo>
                        <a:pt x="1219" y="1037"/>
                      </a:lnTo>
                      <a:lnTo>
                        <a:pt x="1218" y="1037"/>
                      </a:lnTo>
                      <a:lnTo>
                        <a:pt x="1218" y="1035"/>
                      </a:lnTo>
                      <a:lnTo>
                        <a:pt x="1219" y="1035"/>
                      </a:lnTo>
                      <a:lnTo>
                        <a:pt x="1219" y="1033"/>
                      </a:lnTo>
                      <a:lnTo>
                        <a:pt x="1220" y="1033"/>
                      </a:lnTo>
                      <a:lnTo>
                        <a:pt x="1219" y="1033"/>
                      </a:lnTo>
                      <a:lnTo>
                        <a:pt x="1219" y="1032"/>
                      </a:lnTo>
                      <a:lnTo>
                        <a:pt x="1218" y="1032"/>
                      </a:lnTo>
                      <a:lnTo>
                        <a:pt x="1219" y="1032"/>
                      </a:lnTo>
                      <a:close/>
                      <a:moveTo>
                        <a:pt x="1298" y="1089"/>
                      </a:moveTo>
                      <a:lnTo>
                        <a:pt x="1298" y="1090"/>
                      </a:lnTo>
                      <a:lnTo>
                        <a:pt x="1298" y="1091"/>
                      </a:lnTo>
                      <a:lnTo>
                        <a:pt x="1297" y="1091"/>
                      </a:lnTo>
                      <a:lnTo>
                        <a:pt x="1297" y="1092"/>
                      </a:lnTo>
                      <a:lnTo>
                        <a:pt x="1297" y="1093"/>
                      </a:lnTo>
                      <a:lnTo>
                        <a:pt x="1296" y="1093"/>
                      </a:lnTo>
                      <a:lnTo>
                        <a:pt x="1295" y="1094"/>
                      </a:lnTo>
                      <a:lnTo>
                        <a:pt x="1293" y="1095"/>
                      </a:lnTo>
                      <a:lnTo>
                        <a:pt x="1292" y="1096"/>
                      </a:lnTo>
                      <a:lnTo>
                        <a:pt x="1291" y="1097"/>
                      </a:lnTo>
                      <a:lnTo>
                        <a:pt x="1290" y="1098"/>
                      </a:lnTo>
                      <a:lnTo>
                        <a:pt x="1289" y="1099"/>
                      </a:lnTo>
                      <a:lnTo>
                        <a:pt x="1288" y="1101"/>
                      </a:lnTo>
                      <a:lnTo>
                        <a:pt x="1287" y="1099"/>
                      </a:lnTo>
                      <a:lnTo>
                        <a:pt x="1287" y="1101"/>
                      </a:lnTo>
                      <a:lnTo>
                        <a:pt x="1286" y="1101"/>
                      </a:lnTo>
                      <a:lnTo>
                        <a:pt x="1286" y="1102"/>
                      </a:lnTo>
                      <a:lnTo>
                        <a:pt x="1285" y="1102"/>
                      </a:lnTo>
                      <a:lnTo>
                        <a:pt x="1285" y="1103"/>
                      </a:lnTo>
                      <a:lnTo>
                        <a:pt x="1284" y="1103"/>
                      </a:lnTo>
                      <a:lnTo>
                        <a:pt x="1284" y="1102"/>
                      </a:lnTo>
                      <a:lnTo>
                        <a:pt x="1283" y="1102"/>
                      </a:lnTo>
                      <a:lnTo>
                        <a:pt x="1283" y="1103"/>
                      </a:lnTo>
                      <a:lnTo>
                        <a:pt x="1283" y="1104"/>
                      </a:lnTo>
                      <a:lnTo>
                        <a:pt x="1282" y="1104"/>
                      </a:lnTo>
                      <a:lnTo>
                        <a:pt x="1282" y="1105"/>
                      </a:lnTo>
                      <a:lnTo>
                        <a:pt x="1280" y="1105"/>
                      </a:lnTo>
                      <a:lnTo>
                        <a:pt x="1280" y="1106"/>
                      </a:lnTo>
                      <a:lnTo>
                        <a:pt x="1279" y="1106"/>
                      </a:lnTo>
                      <a:lnTo>
                        <a:pt x="1279" y="1105"/>
                      </a:lnTo>
                      <a:lnTo>
                        <a:pt x="1279" y="1104"/>
                      </a:lnTo>
                      <a:lnTo>
                        <a:pt x="1278" y="1104"/>
                      </a:lnTo>
                      <a:lnTo>
                        <a:pt x="1278" y="1103"/>
                      </a:lnTo>
                      <a:lnTo>
                        <a:pt x="1278" y="1102"/>
                      </a:lnTo>
                      <a:lnTo>
                        <a:pt x="1278" y="1101"/>
                      </a:lnTo>
                      <a:lnTo>
                        <a:pt x="1279" y="1101"/>
                      </a:lnTo>
                      <a:lnTo>
                        <a:pt x="1280" y="1101"/>
                      </a:lnTo>
                      <a:lnTo>
                        <a:pt x="1282" y="1101"/>
                      </a:lnTo>
                      <a:lnTo>
                        <a:pt x="1282" y="1099"/>
                      </a:lnTo>
                      <a:lnTo>
                        <a:pt x="1283" y="1098"/>
                      </a:lnTo>
                      <a:lnTo>
                        <a:pt x="1283" y="1099"/>
                      </a:lnTo>
                      <a:lnTo>
                        <a:pt x="1283" y="1101"/>
                      </a:lnTo>
                      <a:lnTo>
                        <a:pt x="1284" y="1101"/>
                      </a:lnTo>
                      <a:lnTo>
                        <a:pt x="1285" y="1101"/>
                      </a:lnTo>
                      <a:lnTo>
                        <a:pt x="1285" y="1099"/>
                      </a:lnTo>
                      <a:lnTo>
                        <a:pt x="1286" y="1099"/>
                      </a:lnTo>
                      <a:lnTo>
                        <a:pt x="1287" y="1099"/>
                      </a:lnTo>
                      <a:lnTo>
                        <a:pt x="1287" y="1098"/>
                      </a:lnTo>
                      <a:lnTo>
                        <a:pt x="1288" y="1098"/>
                      </a:lnTo>
                      <a:lnTo>
                        <a:pt x="1288" y="1097"/>
                      </a:lnTo>
                      <a:lnTo>
                        <a:pt x="1288" y="1096"/>
                      </a:lnTo>
                      <a:lnTo>
                        <a:pt x="1288" y="1095"/>
                      </a:lnTo>
                      <a:lnTo>
                        <a:pt x="1288" y="1094"/>
                      </a:lnTo>
                      <a:lnTo>
                        <a:pt x="1290" y="1093"/>
                      </a:lnTo>
                      <a:lnTo>
                        <a:pt x="1291" y="1093"/>
                      </a:lnTo>
                      <a:lnTo>
                        <a:pt x="1291" y="1094"/>
                      </a:lnTo>
                      <a:lnTo>
                        <a:pt x="1292" y="1095"/>
                      </a:lnTo>
                      <a:lnTo>
                        <a:pt x="1292" y="1094"/>
                      </a:lnTo>
                      <a:lnTo>
                        <a:pt x="1293" y="1093"/>
                      </a:lnTo>
                      <a:lnTo>
                        <a:pt x="1293" y="1092"/>
                      </a:lnTo>
                      <a:lnTo>
                        <a:pt x="1293" y="1091"/>
                      </a:lnTo>
                      <a:lnTo>
                        <a:pt x="1295" y="1091"/>
                      </a:lnTo>
                      <a:lnTo>
                        <a:pt x="1295" y="1090"/>
                      </a:lnTo>
                      <a:lnTo>
                        <a:pt x="1295" y="1089"/>
                      </a:lnTo>
                      <a:lnTo>
                        <a:pt x="1296" y="1089"/>
                      </a:lnTo>
                      <a:lnTo>
                        <a:pt x="1297" y="1089"/>
                      </a:lnTo>
                      <a:lnTo>
                        <a:pt x="1298" y="1088"/>
                      </a:lnTo>
                      <a:lnTo>
                        <a:pt x="1297" y="1088"/>
                      </a:lnTo>
                      <a:lnTo>
                        <a:pt x="1298" y="1086"/>
                      </a:lnTo>
                      <a:lnTo>
                        <a:pt x="1298" y="1085"/>
                      </a:lnTo>
                      <a:lnTo>
                        <a:pt x="1298" y="1086"/>
                      </a:lnTo>
                      <a:lnTo>
                        <a:pt x="1299" y="1086"/>
                      </a:lnTo>
                      <a:lnTo>
                        <a:pt x="1299" y="1089"/>
                      </a:lnTo>
                      <a:lnTo>
                        <a:pt x="1298" y="1089"/>
                      </a:lnTo>
                      <a:close/>
                      <a:moveTo>
                        <a:pt x="1417" y="994"/>
                      </a:moveTo>
                      <a:lnTo>
                        <a:pt x="1417" y="995"/>
                      </a:lnTo>
                      <a:lnTo>
                        <a:pt x="1418" y="995"/>
                      </a:lnTo>
                      <a:lnTo>
                        <a:pt x="1417" y="995"/>
                      </a:lnTo>
                      <a:lnTo>
                        <a:pt x="1416" y="995"/>
                      </a:lnTo>
                      <a:lnTo>
                        <a:pt x="1415" y="996"/>
                      </a:lnTo>
                      <a:lnTo>
                        <a:pt x="1414" y="996"/>
                      </a:lnTo>
                      <a:lnTo>
                        <a:pt x="1414" y="998"/>
                      </a:lnTo>
                      <a:lnTo>
                        <a:pt x="1413" y="999"/>
                      </a:lnTo>
                      <a:lnTo>
                        <a:pt x="1412" y="999"/>
                      </a:lnTo>
                      <a:lnTo>
                        <a:pt x="1412" y="1000"/>
                      </a:lnTo>
                      <a:lnTo>
                        <a:pt x="1410" y="1000"/>
                      </a:lnTo>
                      <a:lnTo>
                        <a:pt x="1409" y="1001"/>
                      </a:lnTo>
                      <a:lnTo>
                        <a:pt x="1408" y="1001"/>
                      </a:lnTo>
                      <a:lnTo>
                        <a:pt x="1407" y="1001"/>
                      </a:lnTo>
                      <a:lnTo>
                        <a:pt x="1407" y="999"/>
                      </a:lnTo>
                      <a:lnTo>
                        <a:pt x="1407" y="996"/>
                      </a:lnTo>
                      <a:lnTo>
                        <a:pt x="1408" y="995"/>
                      </a:lnTo>
                      <a:lnTo>
                        <a:pt x="1408" y="994"/>
                      </a:lnTo>
                      <a:lnTo>
                        <a:pt x="1408" y="993"/>
                      </a:lnTo>
                      <a:lnTo>
                        <a:pt x="1409" y="992"/>
                      </a:lnTo>
                      <a:lnTo>
                        <a:pt x="1410" y="991"/>
                      </a:lnTo>
                      <a:lnTo>
                        <a:pt x="1412" y="990"/>
                      </a:lnTo>
                      <a:lnTo>
                        <a:pt x="1413" y="990"/>
                      </a:lnTo>
                      <a:lnTo>
                        <a:pt x="1414" y="989"/>
                      </a:lnTo>
                      <a:lnTo>
                        <a:pt x="1415" y="989"/>
                      </a:lnTo>
                      <a:lnTo>
                        <a:pt x="1414" y="990"/>
                      </a:lnTo>
                      <a:lnTo>
                        <a:pt x="1415" y="991"/>
                      </a:lnTo>
                      <a:lnTo>
                        <a:pt x="1416" y="991"/>
                      </a:lnTo>
                      <a:lnTo>
                        <a:pt x="1416" y="992"/>
                      </a:lnTo>
                      <a:lnTo>
                        <a:pt x="1417" y="993"/>
                      </a:lnTo>
                      <a:lnTo>
                        <a:pt x="1416" y="993"/>
                      </a:lnTo>
                      <a:lnTo>
                        <a:pt x="1416" y="994"/>
                      </a:lnTo>
                      <a:lnTo>
                        <a:pt x="1417" y="994"/>
                      </a:lnTo>
                      <a:close/>
                      <a:moveTo>
                        <a:pt x="1126" y="958"/>
                      </a:moveTo>
                      <a:lnTo>
                        <a:pt x="1126" y="960"/>
                      </a:lnTo>
                      <a:lnTo>
                        <a:pt x="1128" y="961"/>
                      </a:lnTo>
                      <a:lnTo>
                        <a:pt x="1129" y="961"/>
                      </a:lnTo>
                      <a:lnTo>
                        <a:pt x="1129" y="962"/>
                      </a:lnTo>
                      <a:lnTo>
                        <a:pt x="1130" y="963"/>
                      </a:lnTo>
                      <a:lnTo>
                        <a:pt x="1131" y="963"/>
                      </a:lnTo>
                      <a:lnTo>
                        <a:pt x="1131" y="964"/>
                      </a:lnTo>
                      <a:lnTo>
                        <a:pt x="1132" y="964"/>
                      </a:lnTo>
                      <a:lnTo>
                        <a:pt x="1132" y="965"/>
                      </a:lnTo>
                      <a:lnTo>
                        <a:pt x="1132" y="967"/>
                      </a:lnTo>
                      <a:lnTo>
                        <a:pt x="1131" y="967"/>
                      </a:lnTo>
                      <a:lnTo>
                        <a:pt x="1130" y="967"/>
                      </a:lnTo>
                      <a:lnTo>
                        <a:pt x="1129" y="967"/>
                      </a:lnTo>
                      <a:lnTo>
                        <a:pt x="1129" y="968"/>
                      </a:lnTo>
                      <a:lnTo>
                        <a:pt x="1129" y="967"/>
                      </a:lnTo>
                      <a:lnTo>
                        <a:pt x="1130" y="967"/>
                      </a:lnTo>
                      <a:lnTo>
                        <a:pt x="1130" y="968"/>
                      </a:lnTo>
                      <a:lnTo>
                        <a:pt x="1131" y="968"/>
                      </a:lnTo>
                      <a:lnTo>
                        <a:pt x="1130" y="968"/>
                      </a:lnTo>
                      <a:lnTo>
                        <a:pt x="1130" y="967"/>
                      </a:lnTo>
                      <a:lnTo>
                        <a:pt x="1131" y="967"/>
                      </a:lnTo>
                      <a:lnTo>
                        <a:pt x="1131" y="968"/>
                      </a:lnTo>
                      <a:lnTo>
                        <a:pt x="1131" y="967"/>
                      </a:lnTo>
                      <a:lnTo>
                        <a:pt x="1131" y="968"/>
                      </a:lnTo>
                      <a:lnTo>
                        <a:pt x="1132" y="968"/>
                      </a:lnTo>
                      <a:lnTo>
                        <a:pt x="1134" y="968"/>
                      </a:lnTo>
                      <a:lnTo>
                        <a:pt x="1133" y="968"/>
                      </a:lnTo>
                      <a:lnTo>
                        <a:pt x="1133" y="969"/>
                      </a:lnTo>
                      <a:lnTo>
                        <a:pt x="1134" y="969"/>
                      </a:lnTo>
                      <a:lnTo>
                        <a:pt x="1133" y="969"/>
                      </a:lnTo>
                      <a:lnTo>
                        <a:pt x="1133" y="970"/>
                      </a:lnTo>
                      <a:lnTo>
                        <a:pt x="1132" y="969"/>
                      </a:lnTo>
                      <a:lnTo>
                        <a:pt x="1132" y="970"/>
                      </a:lnTo>
                      <a:lnTo>
                        <a:pt x="1131" y="969"/>
                      </a:lnTo>
                      <a:lnTo>
                        <a:pt x="1131" y="968"/>
                      </a:lnTo>
                      <a:lnTo>
                        <a:pt x="1130" y="969"/>
                      </a:lnTo>
                      <a:lnTo>
                        <a:pt x="1129" y="969"/>
                      </a:lnTo>
                      <a:lnTo>
                        <a:pt x="1129" y="968"/>
                      </a:lnTo>
                      <a:lnTo>
                        <a:pt x="1128" y="968"/>
                      </a:lnTo>
                      <a:lnTo>
                        <a:pt x="1128" y="967"/>
                      </a:lnTo>
                      <a:lnTo>
                        <a:pt x="1128" y="966"/>
                      </a:lnTo>
                      <a:lnTo>
                        <a:pt x="1128" y="965"/>
                      </a:lnTo>
                      <a:lnTo>
                        <a:pt x="1129" y="965"/>
                      </a:lnTo>
                      <a:lnTo>
                        <a:pt x="1129" y="966"/>
                      </a:lnTo>
                      <a:lnTo>
                        <a:pt x="1129" y="965"/>
                      </a:lnTo>
                      <a:lnTo>
                        <a:pt x="1128" y="965"/>
                      </a:lnTo>
                      <a:lnTo>
                        <a:pt x="1128" y="966"/>
                      </a:lnTo>
                      <a:lnTo>
                        <a:pt x="1128" y="967"/>
                      </a:lnTo>
                      <a:lnTo>
                        <a:pt x="1126" y="967"/>
                      </a:lnTo>
                      <a:lnTo>
                        <a:pt x="1128" y="967"/>
                      </a:lnTo>
                      <a:lnTo>
                        <a:pt x="1128" y="968"/>
                      </a:lnTo>
                      <a:lnTo>
                        <a:pt x="1126" y="968"/>
                      </a:lnTo>
                      <a:lnTo>
                        <a:pt x="1125" y="967"/>
                      </a:lnTo>
                      <a:lnTo>
                        <a:pt x="1125" y="966"/>
                      </a:lnTo>
                      <a:lnTo>
                        <a:pt x="1122" y="963"/>
                      </a:lnTo>
                      <a:lnTo>
                        <a:pt x="1122" y="962"/>
                      </a:lnTo>
                      <a:lnTo>
                        <a:pt x="1121" y="962"/>
                      </a:lnTo>
                      <a:lnTo>
                        <a:pt x="1121" y="963"/>
                      </a:lnTo>
                      <a:lnTo>
                        <a:pt x="1120" y="962"/>
                      </a:lnTo>
                      <a:lnTo>
                        <a:pt x="1121" y="961"/>
                      </a:lnTo>
                      <a:lnTo>
                        <a:pt x="1122" y="962"/>
                      </a:lnTo>
                      <a:lnTo>
                        <a:pt x="1122" y="961"/>
                      </a:lnTo>
                      <a:lnTo>
                        <a:pt x="1122" y="960"/>
                      </a:lnTo>
                      <a:lnTo>
                        <a:pt x="1122" y="958"/>
                      </a:lnTo>
                      <a:lnTo>
                        <a:pt x="1123" y="960"/>
                      </a:lnTo>
                      <a:lnTo>
                        <a:pt x="1124" y="960"/>
                      </a:lnTo>
                      <a:lnTo>
                        <a:pt x="1125" y="958"/>
                      </a:lnTo>
                      <a:lnTo>
                        <a:pt x="1125" y="957"/>
                      </a:lnTo>
                      <a:lnTo>
                        <a:pt x="1124" y="957"/>
                      </a:lnTo>
                      <a:lnTo>
                        <a:pt x="1125" y="956"/>
                      </a:lnTo>
                      <a:lnTo>
                        <a:pt x="1125" y="955"/>
                      </a:lnTo>
                      <a:lnTo>
                        <a:pt x="1126" y="956"/>
                      </a:lnTo>
                      <a:lnTo>
                        <a:pt x="1125" y="956"/>
                      </a:lnTo>
                      <a:lnTo>
                        <a:pt x="1125" y="957"/>
                      </a:lnTo>
                      <a:lnTo>
                        <a:pt x="1126" y="957"/>
                      </a:lnTo>
                      <a:lnTo>
                        <a:pt x="1126" y="958"/>
                      </a:lnTo>
                      <a:close/>
                      <a:moveTo>
                        <a:pt x="1081" y="964"/>
                      </a:moveTo>
                      <a:lnTo>
                        <a:pt x="1082" y="964"/>
                      </a:lnTo>
                      <a:lnTo>
                        <a:pt x="1082" y="965"/>
                      </a:lnTo>
                      <a:lnTo>
                        <a:pt x="1082" y="966"/>
                      </a:lnTo>
                      <a:lnTo>
                        <a:pt x="1081" y="966"/>
                      </a:lnTo>
                      <a:lnTo>
                        <a:pt x="1080" y="966"/>
                      </a:lnTo>
                      <a:lnTo>
                        <a:pt x="1079" y="966"/>
                      </a:lnTo>
                      <a:lnTo>
                        <a:pt x="1079" y="967"/>
                      </a:lnTo>
                      <a:lnTo>
                        <a:pt x="1079" y="968"/>
                      </a:lnTo>
                      <a:lnTo>
                        <a:pt x="1078" y="968"/>
                      </a:lnTo>
                      <a:lnTo>
                        <a:pt x="1078" y="969"/>
                      </a:lnTo>
                      <a:lnTo>
                        <a:pt x="1078" y="970"/>
                      </a:lnTo>
                      <a:lnTo>
                        <a:pt x="1079" y="970"/>
                      </a:lnTo>
                      <a:lnTo>
                        <a:pt x="1080" y="969"/>
                      </a:lnTo>
                      <a:lnTo>
                        <a:pt x="1081" y="969"/>
                      </a:lnTo>
                      <a:lnTo>
                        <a:pt x="1081" y="968"/>
                      </a:lnTo>
                      <a:lnTo>
                        <a:pt x="1082" y="967"/>
                      </a:lnTo>
                      <a:lnTo>
                        <a:pt x="1083" y="968"/>
                      </a:lnTo>
                      <a:lnTo>
                        <a:pt x="1084" y="968"/>
                      </a:lnTo>
                      <a:lnTo>
                        <a:pt x="1084" y="967"/>
                      </a:lnTo>
                      <a:lnTo>
                        <a:pt x="1085" y="967"/>
                      </a:lnTo>
                      <a:lnTo>
                        <a:pt x="1084" y="967"/>
                      </a:lnTo>
                      <a:lnTo>
                        <a:pt x="1085" y="968"/>
                      </a:lnTo>
                      <a:lnTo>
                        <a:pt x="1085" y="969"/>
                      </a:lnTo>
                      <a:lnTo>
                        <a:pt x="1085" y="970"/>
                      </a:lnTo>
                      <a:lnTo>
                        <a:pt x="1085" y="971"/>
                      </a:lnTo>
                      <a:lnTo>
                        <a:pt x="1086" y="971"/>
                      </a:lnTo>
                      <a:lnTo>
                        <a:pt x="1086" y="973"/>
                      </a:lnTo>
                      <a:lnTo>
                        <a:pt x="1087" y="973"/>
                      </a:lnTo>
                      <a:lnTo>
                        <a:pt x="1086" y="974"/>
                      </a:lnTo>
                      <a:lnTo>
                        <a:pt x="1086" y="973"/>
                      </a:lnTo>
                      <a:lnTo>
                        <a:pt x="1086" y="974"/>
                      </a:lnTo>
                      <a:lnTo>
                        <a:pt x="1085" y="975"/>
                      </a:lnTo>
                      <a:lnTo>
                        <a:pt x="1086" y="975"/>
                      </a:lnTo>
                      <a:lnTo>
                        <a:pt x="1085" y="975"/>
                      </a:lnTo>
                      <a:lnTo>
                        <a:pt x="1086" y="976"/>
                      </a:lnTo>
                      <a:lnTo>
                        <a:pt x="1085" y="977"/>
                      </a:lnTo>
                      <a:lnTo>
                        <a:pt x="1085" y="976"/>
                      </a:lnTo>
                      <a:lnTo>
                        <a:pt x="1085" y="977"/>
                      </a:lnTo>
                      <a:lnTo>
                        <a:pt x="1085" y="978"/>
                      </a:lnTo>
                      <a:lnTo>
                        <a:pt x="1084" y="977"/>
                      </a:lnTo>
                      <a:lnTo>
                        <a:pt x="1084" y="978"/>
                      </a:lnTo>
                      <a:lnTo>
                        <a:pt x="1083" y="978"/>
                      </a:lnTo>
                      <a:lnTo>
                        <a:pt x="1083" y="977"/>
                      </a:lnTo>
                      <a:lnTo>
                        <a:pt x="1082" y="977"/>
                      </a:lnTo>
                      <a:lnTo>
                        <a:pt x="1082" y="976"/>
                      </a:lnTo>
                      <a:lnTo>
                        <a:pt x="1082" y="975"/>
                      </a:lnTo>
                      <a:lnTo>
                        <a:pt x="1082" y="974"/>
                      </a:lnTo>
                      <a:lnTo>
                        <a:pt x="1082" y="973"/>
                      </a:lnTo>
                      <a:lnTo>
                        <a:pt x="1081" y="973"/>
                      </a:lnTo>
                      <a:lnTo>
                        <a:pt x="1081" y="971"/>
                      </a:lnTo>
                      <a:lnTo>
                        <a:pt x="1082" y="971"/>
                      </a:lnTo>
                      <a:lnTo>
                        <a:pt x="1081" y="970"/>
                      </a:lnTo>
                      <a:lnTo>
                        <a:pt x="1081" y="971"/>
                      </a:lnTo>
                      <a:lnTo>
                        <a:pt x="1081" y="973"/>
                      </a:lnTo>
                      <a:lnTo>
                        <a:pt x="1081" y="974"/>
                      </a:lnTo>
                      <a:lnTo>
                        <a:pt x="1081" y="975"/>
                      </a:lnTo>
                      <a:lnTo>
                        <a:pt x="1080" y="975"/>
                      </a:lnTo>
                      <a:lnTo>
                        <a:pt x="1080" y="976"/>
                      </a:lnTo>
                      <a:lnTo>
                        <a:pt x="1079" y="976"/>
                      </a:lnTo>
                      <a:lnTo>
                        <a:pt x="1079" y="975"/>
                      </a:lnTo>
                      <a:lnTo>
                        <a:pt x="1079" y="974"/>
                      </a:lnTo>
                      <a:lnTo>
                        <a:pt x="1079" y="973"/>
                      </a:lnTo>
                      <a:lnTo>
                        <a:pt x="1078" y="968"/>
                      </a:lnTo>
                      <a:lnTo>
                        <a:pt x="1078" y="967"/>
                      </a:lnTo>
                      <a:lnTo>
                        <a:pt x="1079" y="967"/>
                      </a:lnTo>
                      <a:lnTo>
                        <a:pt x="1079" y="966"/>
                      </a:lnTo>
                      <a:lnTo>
                        <a:pt x="1079" y="965"/>
                      </a:lnTo>
                      <a:lnTo>
                        <a:pt x="1080" y="964"/>
                      </a:lnTo>
                      <a:lnTo>
                        <a:pt x="1079" y="964"/>
                      </a:lnTo>
                      <a:lnTo>
                        <a:pt x="1080" y="957"/>
                      </a:lnTo>
                      <a:lnTo>
                        <a:pt x="1081" y="957"/>
                      </a:lnTo>
                      <a:lnTo>
                        <a:pt x="1081" y="958"/>
                      </a:lnTo>
                      <a:lnTo>
                        <a:pt x="1080" y="958"/>
                      </a:lnTo>
                      <a:lnTo>
                        <a:pt x="1080" y="960"/>
                      </a:lnTo>
                      <a:lnTo>
                        <a:pt x="1080" y="961"/>
                      </a:lnTo>
                      <a:lnTo>
                        <a:pt x="1081" y="961"/>
                      </a:lnTo>
                      <a:lnTo>
                        <a:pt x="1081" y="962"/>
                      </a:lnTo>
                      <a:lnTo>
                        <a:pt x="1082" y="963"/>
                      </a:lnTo>
                      <a:lnTo>
                        <a:pt x="1081" y="964"/>
                      </a:lnTo>
                      <a:close/>
                      <a:moveTo>
                        <a:pt x="1290" y="1237"/>
                      </a:moveTo>
                      <a:lnTo>
                        <a:pt x="1289" y="1238"/>
                      </a:lnTo>
                      <a:lnTo>
                        <a:pt x="1289" y="1239"/>
                      </a:lnTo>
                      <a:lnTo>
                        <a:pt x="1288" y="1239"/>
                      </a:lnTo>
                      <a:lnTo>
                        <a:pt x="1288" y="1240"/>
                      </a:lnTo>
                      <a:lnTo>
                        <a:pt x="1287" y="1240"/>
                      </a:lnTo>
                      <a:lnTo>
                        <a:pt x="1287" y="1241"/>
                      </a:lnTo>
                      <a:lnTo>
                        <a:pt x="1288" y="1241"/>
                      </a:lnTo>
                      <a:lnTo>
                        <a:pt x="1288" y="1243"/>
                      </a:lnTo>
                      <a:lnTo>
                        <a:pt x="1287" y="1243"/>
                      </a:lnTo>
                      <a:lnTo>
                        <a:pt x="1288" y="1243"/>
                      </a:lnTo>
                      <a:lnTo>
                        <a:pt x="1289" y="1243"/>
                      </a:lnTo>
                      <a:lnTo>
                        <a:pt x="1289" y="1244"/>
                      </a:lnTo>
                      <a:lnTo>
                        <a:pt x="1288" y="1245"/>
                      </a:lnTo>
                      <a:lnTo>
                        <a:pt x="1288" y="1246"/>
                      </a:lnTo>
                      <a:lnTo>
                        <a:pt x="1287" y="1246"/>
                      </a:lnTo>
                      <a:lnTo>
                        <a:pt x="1287" y="1245"/>
                      </a:lnTo>
                      <a:lnTo>
                        <a:pt x="1286" y="1245"/>
                      </a:lnTo>
                      <a:lnTo>
                        <a:pt x="1287" y="1245"/>
                      </a:lnTo>
                      <a:lnTo>
                        <a:pt x="1287" y="1246"/>
                      </a:lnTo>
                      <a:lnTo>
                        <a:pt x="1286" y="1246"/>
                      </a:lnTo>
                      <a:lnTo>
                        <a:pt x="1287" y="1246"/>
                      </a:lnTo>
                      <a:lnTo>
                        <a:pt x="1287" y="1247"/>
                      </a:lnTo>
                      <a:lnTo>
                        <a:pt x="1286" y="1247"/>
                      </a:lnTo>
                      <a:lnTo>
                        <a:pt x="1285" y="1247"/>
                      </a:lnTo>
                      <a:lnTo>
                        <a:pt x="1286" y="1248"/>
                      </a:lnTo>
                      <a:lnTo>
                        <a:pt x="1285" y="1248"/>
                      </a:lnTo>
                      <a:lnTo>
                        <a:pt x="1285" y="1247"/>
                      </a:lnTo>
                      <a:lnTo>
                        <a:pt x="1285" y="1248"/>
                      </a:lnTo>
                      <a:lnTo>
                        <a:pt x="1285" y="1249"/>
                      </a:lnTo>
                      <a:lnTo>
                        <a:pt x="1285" y="1248"/>
                      </a:lnTo>
                      <a:lnTo>
                        <a:pt x="1284" y="1248"/>
                      </a:lnTo>
                      <a:lnTo>
                        <a:pt x="1284" y="1249"/>
                      </a:lnTo>
                      <a:lnTo>
                        <a:pt x="1284" y="1250"/>
                      </a:lnTo>
                      <a:lnTo>
                        <a:pt x="1283" y="1250"/>
                      </a:lnTo>
                      <a:lnTo>
                        <a:pt x="1283" y="1251"/>
                      </a:lnTo>
                      <a:lnTo>
                        <a:pt x="1282" y="1251"/>
                      </a:lnTo>
                      <a:lnTo>
                        <a:pt x="1280" y="1252"/>
                      </a:lnTo>
                      <a:lnTo>
                        <a:pt x="1282" y="1252"/>
                      </a:lnTo>
                      <a:lnTo>
                        <a:pt x="1282" y="1253"/>
                      </a:lnTo>
                      <a:lnTo>
                        <a:pt x="1280" y="1252"/>
                      </a:lnTo>
                      <a:lnTo>
                        <a:pt x="1280" y="1253"/>
                      </a:lnTo>
                      <a:lnTo>
                        <a:pt x="1282" y="1253"/>
                      </a:lnTo>
                      <a:lnTo>
                        <a:pt x="1282" y="1252"/>
                      </a:lnTo>
                      <a:lnTo>
                        <a:pt x="1283" y="1251"/>
                      </a:lnTo>
                      <a:lnTo>
                        <a:pt x="1284" y="1251"/>
                      </a:lnTo>
                      <a:lnTo>
                        <a:pt x="1285" y="1250"/>
                      </a:lnTo>
                      <a:lnTo>
                        <a:pt x="1285" y="1249"/>
                      </a:lnTo>
                      <a:lnTo>
                        <a:pt x="1286" y="1248"/>
                      </a:lnTo>
                      <a:lnTo>
                        <a:pt x="1286" y="1249"/>
                      </a:lnTo>
                      <a:lnTo>
                        <a:pt x="1287" y="1249"/>
                      </a:lnTo>
                      <a:lnTo>
                        <a:pt x="1286" y="1249"/>
                      </a:lnTo>
                      <a:lnTo>
                        <a:pt x="1286" y="1250"/>
                      </a:lnTo>
                      <a:lnTo>
                        <a:pt x="1286" y="1249"/>
                      </a:lnTo>
                      <a:lnTo>
                        <a:pt x="1285" y="1249"/>
                      </a:lnTo>
                      <a:lnTo>
                        <a:pt x="1285" y="1250"/>
                      </a:lnTo>
                      <a:lnTo>
                        <a:pt x="1284" y="1251"/>
                      </a:lnTo>
                      <a:lnTo>
                        <a:pt x="1283" y="1251"/>
                      </a:lnTo>
                      <a:lnTo>
                        <a:pt x="1283" y="1252"/>
                      </a:lnTo>
                      <a:lnTo>
                        <a:pt x="1283" y="1253"/>
                      </a:lnTo>
                      <a:lnTo>
                        <a:pt x="1282" y="1253"/>
                      </a:lnTo>
                      <a:lnTo>
                        <a:pt x="1282" y="1255"/>
                      </a:lnTo>
                      <a:lnTo>
                        <a:pt x="1283" y="1253"/>
                      </a:lnTo>
                      <a:lnTo>
                        <a:pt x="1284" y="1253"/>
                      </a:lnTo>
                      <a:lnTo>
                        <a:pt x="1284" y="1252"/>
                      </a:lnTo>
                      <a:lnTo>
                        <a:pt x="1286" y="1251"/>
                      </a:lnTo>
                      <a:lnTo>
                        <a:pt x="1286" y="1250"/>
                      </a:lnTo>
                      <a:lnTo>
                        <a:pt x="1287" y="1250"/>
                      </a:lnTo>
                      <a:lnTo>
                        <a:pt x="1287" y="1249"/>
                      </a:lnTo>
                      <a:lnTo>
                        <a:pt x="1288" y="1249"/>
                      </a:lnTo>
                      <a:lnTo>
                        <a:pt x="1288" y="1248"/>
                      </a:lnTo>
                      <a:lnTo>
                        <a:pt x="1288" y="1247"/>
                      </a:lnTo>
                      <a:lnTo>
                        <a:pt x="1289" y="1247"/>
                      </a:lnTo>
                      <a:lnTo>
                        <a:pt x="1289" y="1246"/>
                      </a:lnTo>
                      <a:lnTo>
                        <a:pt x="1290" y="1246"/>
                      </a:lnTo>
                      <a:lnTo>
                        <a:pt x="1290" y="1245"/>
                      </a:lnTo>
                      <a:lnTo>
                        <a:pt x="1289" y="1245"/>
                      </a:lnTo>
                      <a:lnTo>
                        <a:pt x="1288" y="1246"/>
                      </a:lnTo>
                      <a:lnTo>
                        <a:pt x="1287" y="1247"/>
                      </a:lnTo>
                      <a:lnTo>
                        <a:pt x="1288" y="1246"/>
                      </a:lnTo>
                      <a:lnTo>
                        <a:pt x="1289" y="1245"/>
                      </a:lnTo>
                      <a:lnTo>
                        <a:pt x="1290" y="1245"/>
                      </a:lnTo>
                      <a:lnTo>
                        <a:pt x="1290" y="1246"/>
                      </a:lnTo>
                      <a:lnTo>
                        <a:pt x="1289" y="1247"/>
                      </a:lnTo>
                      <a:lnTo>
                        <a:pt x="1289" y="1248"/>
                      </a:lnTo>
                      <a:lnTo>
                        <a:pt x="1288" y="1248"/>
                      </a:lnTo>
                      <a:lnTo>
                        <a:pt x="1288" y="1249"/>
                      </a:lnTo>
                      <a:lnTo>
                        <a:pt x="1287" y="1249"/>
                      </a:lnTo>
                      <a:lnTo>
                        <a:pt x="1287" y="1250"/>
                      </a:lnTo>
                      <a:lnTo>
                        <a:pt x="1286" y="1250"/>
                      </a:lnTo>
                      <a:lnTo>
                        <a:pt x="1285" y="1251"/>
                      </a:lnTo>
                      <a:lnTo>
                        <a:pt x="1285" y="1252"/>
                      </a:lnTo>
                      <a:lnTo>
                        <a:pt x="1284" y="1252"/>
                      </a:lnTo>
                      <a:lnTo>
                        <a:pt x="1284" y="1253"/>
                      </a:lnTo>
                      <a:lnTo>
                        <a:pt x="1283" y="1253"/>
                      </a:lnTo>
                      <a:lnTo>
                        <a:pt x="1283" y="1255"/>
                      </a:lnTo>
                      <a:lnTo>
                        <a:pt x="1282" y="1255"/>
                      </a:lnTo>
                      <a:lnTo>
                        <a:pt x="1282" y="1256"/>
                      </a:lnTo>
                      <a:lnTo>
                        <a:pt x="1280" y="1256"/>
                      </a:lnTo>
                      <a:lnTo>
                        <a:pt x="1280" y="1257"/>
                      </a:lnTo>
                      <a:lnTo>
                        <a:pt x="1279" y="1257"/>
                      </a:lnTo>
                      <a:lnTo>
                        <a:pt x="1279" y="1258"/>
                      </a:lnTo>
                      <a:lnTo>
                        <a:pt x="1278" y="1258"/>
                      </a:lnTo>
                      <a:lnTo>
                        <a:pt x="1277" y="1259"/>
                      </a:lnTo>
                      <a:lnTo>
                        <a:pt x="1276" y="1260"/>
                      </a:lnTo>
                      <a:lnTo>
                        <a:pt x="1275" y="1260"/>
                      </a:lnTo>
                      <a:lnTo>
                        <a:pt x="1275" y="1261"/>
                      </a:lnTo>
                      <a:lnTo>
                        <a:pt x="1275" y="1260"/>
                      </a:lnTo>
                      <a:lnTo>
                        <a:pt x="1276" y="1259"/>
                      </a:lnTo>
                      <a:lnTo>
                        <a:pt x="1275" y="1259"/>
                      </a:lnTo>
                      <a:lnTo>
                        <a:pt x="1276" y="1259"/>
                      </a:lnTo>
                      <a:lnTo>
                        <a:pt x="1276" y="1258"/>
                      </a:lnTo>
                      <a:lnTo>
                        <a:pt x="1277" y="1258"/>
                      </a:lnTo>
                      <a:lnTo>
                        <a:pt x="1277" y="1257"/>
                      </a:lnTo>
                      <a:lnTo>
                        <a:pt x="1277" y="1256"/>
                      </a:lnTo>
                      <a:lnTo>
                        <a:pt x="1278" y="1256"/>
                      </a:lnTo>
                      <a:lnTo>
                        <a:pt x="1278" y="1255"/>
                      </a:lnTo>
                      <a:lnTo>
                        <a:pt x="1278" y="1253"/>
                      </a:lnTo>
                      <a:lnTo>
                        <a:pt x="1279" y="1252"/>
                      </a:lnTo>
                      <a:lnTo>
                        <a:pt x="1279" y="1251"/>
                      </a:lnTo>
                      <a:lnTo>
                        <a:pt x="1280" y="1251"/>
                      </a:lnTo>
                      <a:lnTo>
                        <a:pt x="1280" y="1250"/>
                      </a:lnTo>
                      <a:lnTo>
                        <a:pt x="1280" y="1249"/>
                      </a:lnTo>
                      <a:lnTo>
                        <a:pt x="1282" y="1249"/>
                      </a:lnTo>
                      <a:lnTo>
                        <a:pt x="1282" y="1248"/>
                      </a:lnTo>
                      <a:lnTo>
                        <a:pt x="1283" y="1248"/>
                      </a:lnTo>
                      <a:lnTo>
                        <a:pt x="1283" y="1247"/>
                      </a:lnTo>
                      <a:lnTo>
                        <a:pt x="1284" y="1247"/>
                      </a:lnTo>
                      <a:lnTo>
                        <a:pt x="1284" y="1246"/>
                      </a:lnTo>
                      <a:lnTo>
                        <a:pt x="1284" y="1245"/>
                      </a:lnTo>
                      <a:lnTo>
                        <a:pt x="1285" y="1244"/>
                      </a:lnTo>
                      <a:lnTo>
                        <a:pt x="1285" y="1243"/>
                      </a:lnTo>
                      <a:lnTo>
                        <a:pt x="1286" y="1243"/>
                      </a:lnTo>
                      <a:lnTo>
                        <a:pt x="1286" y="1241"/>
                      </a:lnTo>
                      <a:lnTo>
                        <a:pt x="1287" y="1241"/>
                      </a:lnTo>
                      <a:lnTo>
                        <a:pt x="1287" y="1240"/>
                      </a:lnTo>
                      <a:lnTo>
                        <a:pt x="1287" y="1239"/>
                      </a:lnTo>
                      <a:lnTo>
                        <a:pt x="1288" y="1239"/>
                      </a:lnTo>
                      <a:lnTo>
                        <a:pt x="1288" y="1238"/>
                      </a:lnTo>
                      <a:lnTo>
                        <a:pt x="1289" y="1238"/>
                      </a:lnTo>
                      <a:lnTo>
                        <a:pt x="1289" y="1237"/>
                      </a:lnTo>
                      <a:lnTo>
                        <a:pt x="1291" y="1235"/>
                      </a:lnTo>
                      <a:lnTo>
                        <a:pt x="1291" y="1236"/>
                      </a:lnTo>
                      <a:lnTo>
                        <a:pt x="1291" y="1237"/>
                      </a:lnTo>
                      <a:lnTo>
                        <a:pt x="1290" y="1237"/>
                      </a:lnTo>
                      <a:close/>
                      <a:moveTo>
                        <a:pt x="1381" y="1073"/>
                      </a:moveTo>
                      <a:lnTo>
                        <a:pt x="1381" y="1074"/>
                      </a:lnTo>
                      <a:lnTo>
                        <a:pt x="1380" y="1074"/>
                      </a:lnTo>
                      <a:lnTo>
                        <a:pt x="1380" y="1076"/>
                      </a:lnTo>
                      <a:lnTo>
                        <a:pt x="1379" y="1076"/>
                      </a:lnTo>
                      <a:lnTo>
                        <a:pt x="1378" y="1076"/>
                      </a:lnTo>
                      <a:lnTo>
                        <a:pt x="1377" y="1076"/>
                      </a:lnTo>
                      <a:lnTo>
                        <a:pt x="1376" y="1076"/>
                      </a:lnTo>
                      <a:lnTo>
                        <a:pt x="1375" y="1076"/>
                      </a:lnTo>
                      <a:lnTo>
                        <a:pt x="1374" y="1076"/>
                      </a:lnTo>
                      <a:lnTo>
                        <a:pt x="1373" y="1076"/>
                      </a:lnTo>
                      <a:lnTo>
                        <a:pt x="1370" y="1077"/>
                      </a:lnTo>
                      <a:lnTo>
                        <a:pt x="1369" y="1077"/>
                      </a:lnTo>
                      <a:lnTo>
                        <a:pt x="1368" y="1077"/>
                      </a:lnTo>
                      <a:lnTo>
                        <a:pt x="1367" y="1078"/>
                      </a:lnTo>
                      <a:lnTo>
                        <a:pt x="1366" y="1078"/>
                      </a:lnTo>
                      <a:lnTo>
                        <a:pt x="1365" y="1078"/>
                      </a:lnTo>
                      <a:lnTo>
                        <a:pt x="1364" y="1077"/>
                      </a:lnTo>
                      <a:lnTo>
                        <a:pt x="1364" y="1076"/>
                      </a:lnTo>
                      <a:lnTo>
                        <a:pt x="1365" y="1076"/>
                      </a:lnTo>
                      <a:lnTo>
                        <a:pt x="1365" y="1074"/>
                      </a:lnTo>
                      <a:lnTo>
                        <a:pt x="1366" y="1074"/>
                      </a:lnTo>
                      <a:lnTo>
                        <a:pt x="1367" y="1074"/>
                      </a:lnTo>
                      <a:lnTo>
                        <a:pt x="1368" y="1073"/>
                      </a:lnTo>
                      <a:lnTo>
                        <a:pt x="1369" y="1073"/>
                      </a:lnTo>
                      <a:lnTo>
                        <a:pt x="1371" y="1073"/>
                      </a:lnTo>
                      <a:lnTo>
                        <a:pt x="1373" y="1073"/>
                      </a:lnTo>
                      <a:lnTo>
                        <a:pt x="1374" y="1073"/>
                      </a:lnTo>
                      <a:lnTo>
                        <a:pt x="1375" y="1072"/>
                      </a:lnTo>
                      <a:lnTo>
                        <a:pt x="1376" y="1072"/>
                      </a:lnTo>
                      <a:lnTo>
                        <a:pt x="1377" y="1072"/>
                      </a:lnTo>
                      <a:lnTo>
                        <a:pt x="1379" y="1070"/>
                      </a:lnTo>
                      <a:lnTo>
                        <a:pt x="1381" y="1069"/>
                      </a:lnTo>
                      <a:lnTo>
                        <a:pt x="1383" y="1069"/>
                      </a:lnTo>
                      <a:lnTo>
                        <a:pt x="1383" y="1068"/>
                      </a:lnTo>
                      <a:lnTo>
                        <a:pt x="1384" y="1068"/>
                      </a:lnTo>
                      <a:lnTo>
                        <a:pt x="1384" y="1069"/>
                      </a:lnTo>
                      <a:lnTo>
                        <a:pt x="1383" y="1070"/>
                      </a:lnTo>
                      <a:lnTo>
                        <a:pt x="1383" y="1071"/>
                      </a:lnTo>
                      <a:lnTo>
                        <a:pt x="1382" y="1071"/>
                      </a:lnTo>
                      <a:lnTo>
                        <a:pt x="1382" y="1072"/>
                      </a:lnTo>
                      <a:lnTo>
                        <a:pt x="1381" y="1073"/>
                      </a:lnTo>
                      <a:close/>
                      <a:moveTo>
                        <a:pt x="1024" y="969"/>
                      </a:moveTo>
                      <a:lnTo>
                        <a:pt x="1022" y="969"/>
                      </a:lnTo>
                      <a:lnTo>
                        <a:pt x="1022" y="970"/>
                      </a:lnTo>
                      <a:lnTo>
                        <a:pt x="1022" y="971"/>
                      </a:lnTo>
                      <a:lnTo>
                        <a:pt x="1022" y="970"/>
                      </a:lnTo>
                      <a:lnTo>
                        <a:pt x="1022" y="971"/>
                      </a:lnTo>
                      <a:lnTo>
                        <a:pt x="1024" y="970"/>
                      </a:lnTo>
                      <a:lnTo>
                        <a:pt x="1024" y="971"/>
                      </a:lnTo>
                      <a:lnTo>
                        <a:pt x="1022" y="971"/>
                      </a:lnTo>
                      <a:lnTo>
                        <a:pt x="1021" y="971"/>
                      </a:lnTo>
                      <a:lnTo>
                        <a:pt x="1021" y="970"/>
                      </a:lnTo>
                      <a:lnTo>
                        <a:pt x="1021" y="971"/>
                      </a:lnTo>
                      <a:lnTo>
                        <a:pt x="1021" y="973"/>
                      </a:lnTo>
                      <a:lnTo>
                        <a:pt x="1021" y="974"/>
                      </a:lnTo>
                      <a:lnTo>
                        <a:pt x="1021" y="975"/>
                      </a:lnTo>
                      <a:lnTo>
                        <a:pt x="1020" y="976"/>
                      </a:lnTo>
                      <a:lnTo>
                        <a:pt x="1021" y="976"/>
                      </a:lnTo>
                      <a:lnTo>
                        <a:pt x="1020" y="976"/>
                      </a:lnTo>
                      <a:lnTo>
                        <a:pt x="1019" y="977"/>
                      </a:lnTo>
                      <a:lnTo>
                        <a:pt x="1019" y="976"/>
                      </a:lnTo>
                      <a:lnTo>
                        <a:pt x="1018" y="976"/>
                      </a:lnTo>
                      <a:lnTo>
                        <a:pt x="1018" y="975"/>
                      </a:lnTo>
                      <a:lnTo>
                        <a:pt x="1018" y="974"/>
                      </a:lnTo>
                      <a:lnTo>
                        <a:pt x="1018" y="973"/>
                      </a:lnTo>
                      <a:lnTo>
                        <a:pt x="1018" y="974"/>
                      </a:lnTo>
                      <a:lnTo>
                        <a:pt x="1017" y="975"/>
                      </a:lnTo>
                      <a:lnTo>
                        <a:pt x="1018" y="975"/>
                      </a:lnTo>
                      <a:lnTo>
                        <a:pt x="1019" y="977"/>
                      </a:lnTo>
                      <a:lnTo>
                        <a:pt x="1018" y="977"/>
                      </a:lnTo>
                      <a:lnTo>
                        <a:pt x="1019" y="977"/>
                      </a:lnTo>
                      <a:lnTo>
                        <a:pt x="1019" y="978"/>
                      </a:lnTo>
                      <a:lnTo>
                        <a:pt x="1018" y="978"/>
                      </a:lnTo>
                      <a:lnTo>
                        <a:pt x="1017" y="978"/>
                      </a:lnTo>
                      <a:lnTo>
                        <a:pt x="1018" y="978"/>
                      </a:lnTo>
                      <a:lnTo>
                        <a:pt x="1017" y="978"/>
                      </a:lnTo>
                      <a:lnTo>
                        <a:pt x="1018" y="978"/>
                      </a:lnTo>
                      <a:lnTo>
                        <a:pt x="1017" y="979"/>
                      </a:lnTo>
                      <a:lnTo>
                        <a:pt x="1017" y="978"/>
                      </a:lnTo>
                      <a:lnTo>
                        <a:pt x="1017" y="977"/>
                      </a:lnTo>
                      <a:lnTo>
                        <a:pt x="1018" y="977"/>
                      </a:lnTo>
                      <a:lnTo>
                        <a:pt x="1017" y="977"/>
                      </a:lnTo>
                      <a:lnTo>
                        <a:pt x="1016" y="977"/>
                      </a:lnTo>
                      <a:lnTo>
                        <a:pt x="1017" y="978"/>
                      </a:lnTo>
                      <a:lnTo>
                        <a:pt x="1016" y="978"/>
                      </a:lnTo>
                      <a:lnTo>
                        <a:pt x="1016" y="979"/>
                      </a:lnTo>
                      <a:lnTo>
                        <a:pt x="1017" y="978"/>
                      </a:lnTo>
                      <a:lnTo>
                        <a:pt x="1017" y="979"/>
                      </a:lnTo>
                      <a:lnTo>
                        <a:pt x="1016" y="979"/>
                      </a:lnTo>
                      <a:lnTo>
                        <a:pt x="1015" y="979"/>
                      </a:lnTo>
                      <a:lnTo>
                        <a:pt x="1015" y="978"/>
                      </a:lnTo>
                      <a:lnTo>
                        <a:pt x="1014" y="978"/>
                      </a:lnTo>
                      <a:lnTo>
                        <a:pt x="1013" y="978"/>
                      </a:lnTo>
                      <a:lnTo>
                        <a:pt x="1013" y="979"/>
                      </a:lnTo>
                      <a:lnTo>
                        <a:pt x="1012" y="978"/>
                      </a:lnTo>
                      <a:lnTo>
                        <a:pt x="1012" y="979"/>
                      </a:lnTo>
                      <a:lnTo>
                        <a:pt x="1012" y="978"/>
                      </a:lnTo>
                      <a:lnTo>
                        <a:pt x="1013" y="978"/>
                      </a:lnTo>
                      <a:lnTo>
                        <a:pt x="1013" y="977"/>
                      </a:lnTo>
                      <a:lnTo>
                        <a:pt x="1012" y="977"/>
                      </a:lnTo>
                      <a:lnTo>
                        <a:pt x="1012" y="978"/>
                      </a:lnTo>
                      <a:lnTo>
                        <a:pt x="1012" y="979"/>
                      </a:lnTo>
                      <a:lnTo>
                        <a:pt x="1011" y="978"/>
                      </a:lnTo>
                      <a:lnTo>
                        <a:pt x="1011" y="977"/>
                      </a:lnTo>
                      <a:lnTo>
                        <a:pt x="1011" y="978"/>
                      </a:lnTo>
                      <a:lnTo>
                        <a:pt x="1009" y="978"/>
                      </a:lnTo>
                      <a:lnTo>
                        <a:pt x="1009" y="977"/>
                      </a:lnTo>
                      <a:lnTo>
                        <a:pt x="1011" y="976"/>
                      </a:lnTo>
                      <a:lnTo>
                        <a:pt x="1011" y="975"/>
                      </a:lnTo>
                      <a:lnTo>
                        <a:pt x="1009" y="975"/>
                      </a:lnTo>
                      <a:lnTo>
                        <a:pt x="1009" y="974"/>
                      </a:lnTo>
                      <a:lnTo>
                        <a:pt x="1011" y="974"/>
                      </a:lnTo>
                      <a:lnTo>
                        <a:pt x="1011" y="975"/>
                      </a:lnTo>
                      <a:lnTo>
                        <a:pt x="1011" y="974"/>
                      </a:lnTo>
                      <a:lnTo>
                        <a:pt x="1012" y="974"/>
                      </a:lnTo>
                      <a:lnTo>
                        <a:pt x="1012" y="975"/>
                      </a:lnTo>
                      <a:lnTo>
                        <a:pt x="1013" y="975"/>
                      </a:lnTo>
                      <a:lnTo>
                        <a:pt x="1014" y="975"/>
                      </a:lnTo>
                      <a:lnTo>
                        <a:pt x="1015" y="975"/>
                      </a:lnTo>
                      <a:lnTo>
                        <a:pt x="1015" y="974"/>
                      </a:lnTo>
                      <a:lnTo>
                        <a:pt x="1015" y="973"/>
                      </a:lnTo>
                      <a:lnTo>
                        <a:pt x="1015" y="971"/>
                      </a:lnTo>
                      <a:lnTo>
                        <a:pt x="1016" y="971"/>
                      </a:lnTo>
                      <a:lnTo>
                        <a:pt x="1017" y="971"/>
                      </a:lnTo>
                      <a:lnTo>
                        <a:pt x="1018" y="970"/>
                      </a:lnTo>
                      <a:lnTo>
                        <a:pt x="1019" y="970"/>
                      </a:lnTo>
                      <a:lnTo>
                        <a:pt x="1020" y="970"/>
                      </a:lnTo>
                      <a:lnTo>
                        <a:pt x="1019" y="970"/>
                      </a:lnTo>
                      <a:lnTo>
                        <a:pt x="1020" y="969"/>
                      </a:lnTo>
                      <a:lnTo>
                        <a:pt x="1021" y="969"/>
                      </a:lnTo>
                      <a:lnTo>
                        <a:pt x="1022" y="969"/>
                      </a:lnTo>
                      <a:lnTo>
                        <a:pt x="1024" y="969"/>
                      </a:lnTo>
                      <a:close/>
                      <a:moveTo>
                        <a:pt x="1418" y="996"/>
                      </a:moveTo>
                      <a:lnTo>
                        <a:pt x="1419" y="996"/>
                      </a:lnTo>
                      <a:lnTo>
                        <a:pt x="1419" y="998"/>
                      </a:lnTo>
                      <a:lnTo>
                        <a:pt x="1418" y="998"/>
                      </a:lnTo>
                      <a:lnTo>
                        <a:pt x="1418" y="999"/>
                      </a:lnTo>
                      <a:lnTo>
                        <a:pt x="1419" y="999"/>
                      </a:lnTo>
                      <a:lnTo>
                        <a:pt x="1418" y="999"/>
                      </a:lnTo>
                      <a:lnTo>
                        <a:pt x="1418" y="1000"/>
                      </a:lnTo>
                      <a:lnTo>
                        <a:pt x="1418" y="999"/>
                      </a:lnTo>
                      <a:lnTo>
                        <a:pt x="1417" y="999"/>
                      </a:lnTo>
                      <a:lnTo>
                        <a:pt x="1417" y="1000"/>
                      </a:lnTo>
                      <a:lnTo>
                        <a:pt x="1416" y="1000"/>
                      </a:lnTo>
                      <a:lnTo>
                        <a:pt x="1416" y="999"/>
                      </a:lnTo>
                      <a:lnTo>
                        <a:pt x="1416" y="1000"/>
                      </a:lnTo>
                      <a:lnTo>
                        <a:pt x="1416" y="1001"/>
                      </a:lnTo>
                      <a:lnTo>
                        <a:pt x="1416" y="1000"/>
                      </a:lnTo>
                      <a:lnTo>
                        <a:pt x="1417" y="1000"/>
                      </a:lnTo>
                      <a:lnTo>
                        <a:pt x="1417" y="1001"/>
                      </a:lnTo>
                      <a:lnTo>
                        <a:pt x="1417" y="1000"/>
                      </a:lnTo>
                      <a:lnTo>
                        <a:pt x="1417" y="1001"/>
                      </a:lnTo>
                      <a:lnTo>
                        <a:pt x="1417" y="1002"/>
                      </a:lnTo>
                      <a:lnTo>
                        <a:pt x="1418" y="1002"/>
                      </a:lnTo>
                      <a:lnTo>
                        <a:pt x="1418" y="1003"/>
                      </a:lnTo>
                      <a:lnTo>
                        <a:pt x="1419" y="1001"/>
                      </a:lnTo>
                      <a:lnTo>
                        <a:pt x="1420" y="1001"/>
                      </a:lnTo>
                      <a:lnTo>
                        <a:pt x="1419" y="1002"/>
                      </a:lnTo>
                      <a:lnTo>
                        <a:pt x="1418" y="1003"/>
                      </a:lnTo>
                      <a:lnTo>
                        <a:pt x="1417" y="1003"/>
                      </a:lnTo>
                      <a:lnTo>
                        <a:pt x="1417" y="1004"/>
                      </a:lnTo>
                      <a:lnTo>
                        <a:pt x="1416" y="1004"/>
                      </a:lnTo>
                      <a:lnTo>
                        <a:pt x="1416" y="1005"/>
                      </a:lnTo>
                      <a:lnTo>
                        <a:pt x="1415" y="1005"/>
                      </a:lnTo>
                      <a:lnTo>
                        <a:pt x="1414" y="1006"/>
                      </a:lnTo>
                      <a:lnTo>
                        <a:pt x="1414" y="1005"/>
                      </a:lnTo>
                      <a:lnTo>
                        <a:pt x="1413" y="1005"/>
                      </a:lnTo>
                      <a:lnTo>
                        <a:pt x="1410" y="1005"/>
                      </a:lnTo>
                      <a:lnTo>
                        <a:pt x="1409" y="1005"/>
                      </a:lnTo>
                      <a:lnTo>
                        <a:pt x="1408" y="1004"/>
                      </a:lnTo>
                      <a:lnTo>
                        <a:pt x="1407" y="1004"/>
                      </a:lnTo>
                      <a:lnTo>
                        <a:pt x="1406" y="1004"/>
                      </a:lnTo>
                      <a:lnTo>
                        <a:pt x="1406" y="1003"/>
                      </a:lnTo>
                      <a:lnTo>
                        <a:pt x="1407" y="1003"/>
                      </a:lnTo>
                      <a:lnTo>
                        <a:pt x="1407" y="1002"/>
                      </a:lnTo>
                      <a:lnTo>
                        <a:pt x="1409" y="1001"/>
                      </a:lnTo>
                      <a:lnTo>
                        <a:pt x="1409" y="1002"/>
                      </a:lnTo>
                      <a:lnTo>
                        <a:pt x="1409" y="1001"/>
                      </a:lnTo>
                      <a:lnTo>
                        <a:pt x="1410" y="1001"/>
                      </a:lnTo>
                      <a:lnTo>
                        <a:pt x="1412" y="1000"/>
                      </a:lnTo>
                      <a:lnTo>
                        <a:pt x="1413" y="1000"/>
                      </a:lnTo>
                      <a:lnTo>
                        <a:pt x="1413" y="999"/>
                      </a:lnTo>
                      <a:lnTo>
                        <a:pt x="1414" y="999"/>
                      </a:lnTo>
                      <a:lnTo>
                        <a:pt x="1414" y="998"/>
                      </a:lnTo>
                      <a:lnTo>
                        <a:pt x="1415" y="998"/>
                      </a:lnTo>
                      <a:lnTo>
                        <a:pt x="1415" y="996"/>
                      </a:lnTo>
                      <a:lnTo>
                        <a:pt x="1416" y="996"/>
                      </a:lnTo>
                      <a:lnTo>
                        <a:pt x="1417" y="996"/>
                      </a:lnTo>
                      <a:lnTo>
                        <a:pt x="1418" y="996"/>
                      </a:lnTo>
                      <a:close/>
                      <a:moveTo>
                        <a:pt x="1427" y="1174"/>
                      </a:moveTo>
                      <a:lnTo>
                        <a:pt x="1427" y="1175"/>
                      </a:lnTo>
                      <a:lnTo>
                        <a:pt x="1426" y="1175"/>
                      </a:lnTo>
                      <a:lnTo>
                        <a:pt x="1428" y="1176"/>
                      </a:lnTo>
                      <a:lnTo>
                        <a:pt x="1427" y="1179"/>
                      </a:lnTo>
                      <a:lnTo>
                        <a:pt x="1426" y="1179"/>
                      </a:lnTo>
                      <a:lnTo>
                        <a:pt x="1426" y="1178"/>
                      </a:lnTo>
                      <a:lnTo>
                        <a:pt x="1425" y="1176"/>
                      </a:lnTo>
                      <a:lnTo>
                        <a:pt x="1424" y="1176"/>
                      </a:lnTo>
                      <a:lnTo>
                        <a:pt x="1422" y="1178"/>
                      </a:lnTo>
                      <a:lnTo>
                        <a:pt x="1421" y="1179"/>
                      </a:lnTo>
                      <a:lnTo>
                        <a:pt x="1421" y="1178"/>
                      </a:lnTo>
                      <a:lnTo>
                        <a:pt x="1420" y="1178"/>
                      </a:lnTo>
                      <a:lnTo>
                        <a:pt x="1420" y="1176"/>
                      </a:lnTo>
                      <a:lnTo>
                        <a:pt x="1420" y="1175"/>
                      </a:lnTo>
                      <a:lnTo>
                        <a:pt x="1419" y="1175"/>
                      </a:lnTo>
                      <a:lnTo>
                        <a:pt x="1419" y="1174"/>
                      </a:lnTo>
                      <a:lnTo>
                        <a:pt x="1418" y="1173"/>
                      </a:lnTo>
                      <a:lnTo>
                        <a:pt x="1418" y="1172"/>
                      </a:lnTo>
                      <a:lnTo>
                        <a:pt x="1418" y="1173"/>
                      </a:lnTo>
                      <a:lnTo>
                        <a:pt x="1419" y="1173"/>
                      </a:lnTo>
                      <a:lnTo>
                        <a:pt x="1420" y="1174"/>
                      </a:lnTo>
                      <a:lnTo>
                        <a:pt x="1420" y="1173"/>
                      </a:lnTo>
                      <a:lnTo>
                        <a:pt x="1421" y="1172"/>
                      </a:lnTo>
                      <a:lnTo>
                        <a:pt x="1421" y="1171"/>
                      </a:lnTo>
                      <a:lnTo>
                        <a:pt x="1422" y="1170"/>
                      </a:lnTo>
                      <a:lnTo>
                        <a:pt x="1422" y="1169"/>
                      </a:lnTo>
                      <a:lnTo>
                        <a:pt x="1425" y="1168"/>
                      </a:lnTo>
                      <a:lnTo>
                        <a:pt x="1426" y="1168"/>
                      </a:lnTo>
                      <a:lnTo>
                        <a:pt x="1428" y="1168"/>
                      </a:lnTo>
                      <a:lnTo>
                        <a:pt x="1427" y="1168"/>
                      </a:lnTo>
                      <a:lnTo>
                        <a:pt x="1427" y="1169"/>
                      </a:lnTo>
                      <a:lnTo>
                        <a:pt x="1427" y="1170"/>
                      </a:lnTo>
                      <a:lnTo>
                        <a:pt x="1428" y="1170"/>
                      </a:lnTo>
                      <a:lnTo>
                        <a:pt x="1428" y="1171"/>
                      </a:lnTo>
                      <a:lnTo>
                        <a:pt x="1427" y="1172"/>
                      </a:lnTo>
                      <a:lnTo>
                        <a:pt x="1427" y="1173"/>
                      </a:lnTo>
                      <a:lnTo>
                        <a:pt x="1428" y="1173"/>
                      </a:lnTo>
                      <a:lnTo>
                        <a:pt x="1428" y="1174"/>
                      </a:lnTo>
                      <a:lnTo>
                        <a:pt x="1427" y="1174"/>
                      </a:lnTo>
                      <a:close/>
                      <a:moveTo>
                        <a:pt x="1135" y="758"/>
                      </a:moveTo>
                      <a:lnTo>
                        <a:pt x="1136" y="759"/>
                      </a:lnTo>
                      <a:lnTo>
                        <a:pt x="1137" y="759"/>
                      </a:lnTo>
                      <a:lnTo>
                        <a:pt x="1137" y="760"/>
                      </a:lnTo>
                      <a:lnTo>
                        <a:pt x="1138" y="760"/>
                      </a:lnTo>
                      <a:lnTo>
                        <a:pt x="1140" y="760"/>
                      </a:lnTo>
                      <a:lnTo>
                        <a:pt x="1140" y="761"/>
                      </a:lnTo>
                      <a:lnTo>
                        <a:pt x="1141" y="760"/>
                      </a:lnTo>
                      <a:lnTo>
                        <a:pt x="1142" y="761"/>
                      </a:lnTo>
                      <a:lnTo>
                        <a:pt x="1143" y="761"/>
                      </a:lnTo>
                      <a:lnTo>
                        <a:pt x="1144" y="761"/>
                      </a:lnTo>
                      <a:lnTo>
                        <a:pt x="1145" y="761"/>
                      </a:lnTo>
                      <a:lnTo>
                        <a:pt x="1145" y="760"/>
                      </a:lnTo>
                      <a:lnTo>
                        <a:pt x="1145" y="761"/>
                      </a:lnTo>
                      <a:lnTo>
                        <a:pt x="1146" y="761"/>
                      </a:lnTo>
                      <a:lnTo>
                        <a:pt x="1146" y="760"/>
                      </a:lnTo>
                      <a:lnTo>
                        <a:pt x="1146" y="761"/>
                      </a:lnTo>
                      <a:lnTo>
                        <a:pt x="1146" y="760"/>
                      </a:lnTo>
                      <a:lnTo>
                        <a:pt x="1148" y="761"/>
                      </a:lnTo>
                      <a:lnTo>
                        <a:pt x="1149" y="761"/>
                      </a:lnTo>
                      <a:lnTo>
                        <a:pt x="1150" y="762"/>
                      </a:lnTo>
                      <a:lnTo>
                        <a:pt x="1151" y="762"/>
                      </a:lnTo>
                      <a:lnTo>
                        <a:pt x="1153" y="762"/>
                      </a:lnTo>
                      <a:lnTo>
                        <a:pt x="1154" y="762"/>
                      </a:lnTo>
                      <a:lnTo>
                        <a:pt x="1155" y="762"/>
                      </a:lnTo>
                      <a:lnTo>
                        <a:pt x="1157" y="762"/>
                      </a:lnTo>
                      <a:lnTo>
                        <a:pt x="1158" y="762"/>
                      </a:lnTo>
                      <a:lnTo>
                        <a:pt x="1157" y="762"/>
                      </a:lnTo>
                      <a:lnTo>
                        <a:pt x="1156" y="763"/>
                      </a:lnTo>
                      <a:lnTo>
                        <a:pt x="1155" y="763"/>
                      </a:lnTo>
                      <a:lnTo>
                        <a:pt x="1155" y="764"/>
                      </a:lnTo>
                      <a:lnTo>
                        <a:pt x="1154" y="763"/>
                      </a:lnTo>
                      <a:lnTo>
                        <a:pt x="1153" y="763"/>
                      </a:lnTo>
                      <a:lnTo>
                        <a:pt x="1151" y="763"/>
                      </a:lnTo>
                      <a:lnTo>
                        <a:pt x="1150" y="763"/>
                      </a:lnTo>
                      <a:lnTo>
                        <a:pt x="1150" y="762"/>
                      </a:lnTo>
                      <a:lnTo>
                        <a:pt x="1149" y="762"/>
                      </a:lnTo>
                      <a:lnTo>
                        <a:pt x="1148" y="762"/>
                      </a:lnTo>
                      <a:lnTo>
                        <a:pt x="1147" y="762"/>
                      </a:lnTo>
                      <a:lnTo>
                        <a:pt x="1146" y="762"/>
                      </a:lnTo>
                      <a:lnTo>
                        <a:pt x="1145" y="762"/>
                      </a:lnTo>
                      <a:lnTo>
                        <a:pt x="1144" y="762"/>
                      </a:lnTo>
                      <a:lnTo>
                        <a:pt x="1144" y="763"/>
                      </a:lnTo>
                      <a:lnTo>
                        <a:pt x="1143" y="763"/>
                      </a:lnTo>
                      <a:lnTo>
                        <a:pt x="1143" y="764"/>
                      </a:lnTo>
                      <a:lnTo>
                        <a:pt x="1143" y="765"/>
                      </a:lnTo>
                      <a:lnTo>
                        <a:pt x="1143" y="767"/>
                      </a:lnTo>
                      <a:lnTo>
                        <a:pt x="1143" y="768"/>
                      </a:lnTo>
                      <a:lnTo>
                        <a:pt x="1142" y="767"/>
                      </a:lnTo>
                      <a:lnTo>
                        <a:pt x="1141" y="767"/>
                      </a:lnTo>
                      <a:lnTo>
                        <a:pt x="1140" y="767"/>
                      </a:lnTo>
                      <a:lnTo>
                        <a:pt x="1140" y="765"/>
                      </a:lnTo>
                      <a:lnTo>
                        <a:pt x="1141" y="765"/>
                      </a:lnTo>
                      <a:lnTo>
                        <a:pt x="1141" y="764"/>
                      </a:lnTo>
                      <a:lnTo>
                        <a:pt x="1142" y="764"/>
                      </a:lnTo>
                      <a:lnTo>
                        <a:pt x="1142" y="763"/>
                      </a:lnTo>
                      <a:lnTo>
                        <a:pt x="1141" y="763"/>
                      </a:lnTo>
                      <a:lnTo>
                        <a:pt x="1141" y="762"/>
                      </a:lnTo>
                      <a:lnTo>
                        <a:pt x="1141" y="761"/>
                      </a:lnTo>
                      <a:lnTo>
                        <a:pt x="1140" y="761"/>
                      </a:lnTo>
                      <a:lnTo>
                        <a:pt x="1138" y="761"/>
                      </a:lnTo>
                      <a:lnTo>
                        <a:pt x="1137" y="761"/>
                      </a:lnTo>
                      <a:lnTo>
                        <a:pt x="1136" y="761"/>
                      </a:lnTo>
                      <a:lnTo>
                        <a:pt x="1135" y="761"/>
                      </a:lnTo>
                      <a:lnTo>
                        <a:pt x="1135" y="762"/>
                      </a:lnTo>
                      <a:lnTo>
                        <a:pt x="1134" y="762"/>
                      </a:lnTo>
                      <a:lnTo>
                        <a:pt x="1135" y="762"/>
                      </a:lnTo>
                      <a:lnTo>
                        <a:pt x="1134" y="762"/>
                      </a:lnTo>
                      <a:lnTo>
                        <a:pt x="1134" y="761"/>
                      </a:lnTo>
                      <a:lnTo>
                        <a:pt x="1133" y="761"/>
                      </a:lnTo>
                      <a:lnTo>
                        <a:pt x="1132" y="761"/>
                      </a:lnTo>
                      <a:lnTo>
                        <a:pt x="1132" y="760"/>
                      </a:lnTo>
                      <a:lnTo>
                        <a:pt x="1133" y="760"/>
                      </a:lnTo>
                      <a:lnTo>
                        <a:pt x="1132" y="760"/>
                      </a:lnTo>
                      <a:lnTo>
                        <a:pt x="1133" y="760"/>
                      </a:lnTo>
                      <a:lnTo>
                        <a:pt x="1133" y="759"/>
                      </a:lnTo>
                      <a:lnTo>
                        <a:pt x="1133" y="760"/>
                      </a:lnTo>
                      <a:lnTo>
                        <a:pt x="1132" y="760"/>
                      </a:lnTo>
                      <a:lnTo>
                        <a:pt x="1132" y="759"/>
                      </a:lnTo>
                      <a:lnTo>
                        <a:pt x="1132" y="758"/>
                      </a:lnTo>
                      <a:lnTo>
                        <a:pt x="1131" y="759"/>
                      </a:lnTo>
                      <a:lnTo>
                        <a:pt x="1132" y="759"/>
                      </a:lnTo>
                      <a:lnTo>
                        <a:pt x="1132" y="760"/>
                      </a:lnTo>
                      <a:lnTo>
                        <a:pt x="1131" y="760"/>
                      </a:lnTo>
                      <a:lnTo>
                        <a:pt x="1131" y="759"/>
                      </a:lnTo>
                      <a:lnTo>
                        <a:pt x="1130" y="759"/>
                      </a:lnTo>
                      <a:lnTo>
                        <a:pt x="1131" y="759"/>
                      </a:lnTo>
                      <a:lnTo>
                        <a:pt x="1131" y="758"/>
                      </a:lnTo>
                      <a:lnTo>
                        <a:pt x="1130" y="758"/>
                      </a:lnTo>
                      <a:lnTo>
                        <a:pt x="1130" y="759"/>
                      </a:lnTo>
                      <a:lnTo>
                        <a:pt x="1130" y="758"/>
                      </a:lnTo>
                      <a:lnTo>
                        <a:pt x="1132" y="758"/>
                      </a:lnTo>
                      <a:lnTo>
                        <a:pt x="1134" y="758"/>
                      </a:lnTo>
                      <a:lnTo>
                        <a:pt x="1135" y="758"/>
                      </a:lnTo>
                      <a:close/>
                      <a:moveTo>
                        <a:pt x="1094" y="984"/>
                      </a:moveTo>
                      <a:lnTo>
                        <a:pt x="1098" y="986"/>
                      </a:lnTo>
                      <a:lnTo>
                        <a:pt x="1099" y="986"/>
                      </a:lnTo>
                      <a:lnTo>
                        <a:pt x="1100" y="986"/>
                      </a:lnTo>
                      <a:lnTo>
                        <a:pt x="1099" y="986"/>
                      </a:lnTo>
                      <a:lnTo>
                        <a:pt x="1098" y="986"/>
                      </a:lnTo>
                      <a:lnTo>
                        <a:pt x="1097" y="986"/>
                      </a:lnTo>
                      <a:lnTo>
                        <a:pt x="1096" y="986"/>
                      </a:lnTo>
                      <a:lnTo>
                        <a:pt x="1096" y="987"/>
                      </a:lnTo>
                      <a:lnTo>
                        <a:pt x="1096" y="986"/>
                      </a:lnTo>
                      <a:lnTo>
                        <a:pt x="1095" y="984"/>
                      </a:lnTo>
                      <a:lnTo>
                        <a:pt x="1094" y="984"/>
                      </a:lnTo>
                      <a:lnTo>
                        <a:pt x="1094" y="987"/>
                      </a:lnTo>
                      <a:lnTo>
                        <a:pt x="1094" y="988"/>
                      </a:lnTo>
                      <a:lnTo>
                        <a:pt x="1095" y="988"/>
                      </a:lnTo>
                      <a:lnTo>
                        <a:pt x="1095" y="989"/>
                      </a:lnTo>
                      <a:lnTo>
                        <a:pt x="1095" y="990"/>
                      </a:lnTo>
                      <a:lnTo>
                        <a:pt x="1095" y="991"/>
                      </a:lnTo>
                      <a:lnTo>
                        <a:pt x="1096" y="991"/>
                      </a:lnTo>
                      <a:lnTo>
                        <a:pt x="1098" y="991"/>
                      </a:lnTo>
                      <a:lnTo>
                        <a:pt x="1099" y="991"/>
                      </a:lnTo>
                      <a:lnTo>
                        <a:pt x="1099" y="990"/>
                      </a:lnTo>
                      <a:lnTo>
                        <a:pt x="1099" y="989"/>
                      </a:lnTo>
                      <a:lnTo>
                        <a:pt x="1098" y="989"/>
                      </a:lnTo>
                      <a:lnTo>
                        <a:pt x="1099" y="989"/>
                      </a:lnTo>
                      <a:lnTo>
                        <a:pt x="1100" y="989"/>
                      </a:lnTo>
                      <a:lnTo>
                        <a:pt x="1100" y="990"/>
                      </a:lnTo>
                      <a:lnTo>
                        <a:pt x="1102" y="990"/>
                      </a:lnTo>
                      <a:lnTo>
                        <a:pt x="1102" y="989"/>
                      </a:lnTo>
                      <a:lnTo>
                        <a:pt x="1103" y="989"/>
                      </a:lnTo>
                      <a:lnTo>
                        <a:pt x="1102" y="990"/>
                      </a:lnTo>
                      <a:lnTo>
                        <a:pt x="1102" y="991"/>
                      </a:lnTo>
                      <a:lnTo>
                        <a:pt x="1100" y="991"/>
                      </a:lnTo>
                      <a:lnTo>
                        <a:pt x="1100" y="992"/>
                      </a:lnTo>
                      <a:lnTo>
                        <a:pt x="1100" y="993"/>
                      </a:lnTo>
                      <a:lnTo>
                        <a:pt x="1102" y="992"/>
                      </a:lnTo>
                      <a:lnTo>
                        <a:pt x="1103" y="992"/>
                      </a:lnTo>
                      <a:lnTo>
                        <a:pt x="1104" y="992"/>
                      </a:lnTo>
                      <a:lnTo>
                        <a:pt x="1104" y="991"/>
                      </a:lnTo>
                      <a:lnTo>
                        <a:pt x="1104" y="992"/>
                      </a:lnTo>
                      <a:lnTo>
                        <a:pt x="1105" y="993"/>
                      </a:lnTo>
                      <a:lnTo>
                        <a:pt x="1105" y="994"/>
                      </a:lnTo>
                      <a:lnTo>
                        <a:pt x="1106" y="994"/>
                      </a:lnTo>
                      <a:lnTo>
                        <a:pt x="1105" y="994"/>
                      </a:lnTo>
                      <a:lnTo>
                        <a:pt x="1103" y="994"/>
                      </a:lnTo>
                      <a:lnTo>
                        <a:pt x="1103" y="993"/>
                      </a:lnTo>
                      <a:lnTo>
                        <a:pt x="1103" y="992"/>
                      </a:lnTo>
                      <a:lnTo>
                        <a:pt x="1102" y="992"/>
                      </a:lnTo>
                      <a:lnTo>
                        <a:pt x="1103" y="993"/>
                      </a:lnTo>
                      <a:lnTo>
                        <a:pt x="1103" y="994"/>
                      </a:lnTo>
                      <a:lnTo>
                        <a:pt x="1102" y="994"/>
                      </a:lnTo>
                      <a:lnTo>
                        <a:pt x="1103" y="994"/>
                      </a:lnTo>
                      <a:lnTo>
                        <a:pt x="1102" y="994"/>
                      </a:lnTo>
                      <a:lnTo>
                        <a:pt x="1099" y="994"/>
                      </a:lnTo>
                      <a:lnTo>
                        <a:pt x="1098" y="994"/>
                      </a:lnTo>
                      <a:lnTo>
                        <a:pt x="1097" y="994"/>
                      </a:lnTo>
                      <a:lnTo>
                        <a:pt x="1096" y="993"/>
                      </a:lnTo>
                      <a:lnTo>
                        <a:pt x="1095" y="993"/>
                      </a:lnTo>
                      <a:lnTo>
                        <a:pt x="1094" y="993"/>
                      </a:lnTo>
                      <a:lnTo>
                        <a:pt x="1093" y="993"/>
                      </a:lnTo>
                      <a:lnTo>
                        <a:pt x="1092" y="993"/>
                      </a:lnTo>
                      <a:lnTo>
                        <a:pt x="1091" y="993"/>
                      </a:lnTo>
                      <a:lnTo>
                        <a:pt x="1086" y="993"/>
                      </a:lnTo>
                      <a:lnTo>
                        <a:pt x="1087" y="992"/>
                      </a:lnTo>
                      <a:lnTo>
                        <a:pt x="1089" y="991"/>
                      </a:lnTo>
                      <a:lnTo>
                        <a:pt x="1090" y="991"/>
                      </a:lnTo>
                      <a:lnTo>
                        <a:pt x="1091" y="991"/>
                      </a:lnTo>
                      <a:lnTo>
                        <a:pt x="1092" y="991"/>
                      </a:lnTo>
                      <a:lnTo>
                        <a:pt x="1093" y="990"/>
                      </a:lnTo>
                      <a:lnTo>
                        <a:pt x="1094" y="990"/>
                      </a:lnTo>
                      <a:lnTo>
                        <a:pt x="1094" y="989"/>
                      </a:lnTo>
                      <a:lnTo>
                        <a:pt x="1094" y="988"/>
                      </a:lnTo>
                      <a:lnTo>
                        <a:pt x="1094" y="987"/>
                      </a:lnTo>
                      <a:lnTo>
                        <a:pt x="1094" y="986"/>
                      </a:lnTo>
                      <a:lnTo>
                        <a:pt x="1094" y="984"/>
                      </a:lnTo>
                      <a:close/>
                      <a:moveTo>
                        <a:pt x="1122" y="804"/>
                      </a:moveTo>
                      <a:lnTo>
                        <a:pt x="1123" y="804"/>
                      </a:lnTo>
                      <a:lnTo>
                        <a:pt x="1124" y="804"/>
                      </a:lnTo>
                      <a:lnTo>
                        <a:pt x="1125" y="804"/>
                      </a:lnTo>
                      <a:lnTo>
                        <a:pt x="1125" y="806"/>
                      </a:lnTo>
                      <a:lnTo>
                        <a:pt x="1126" y="806"/>
                      </a:lnTo>
                      <a:lnTo>
                        <a:pt x="1126" y="807"/>
                      </a:lnTo>
                      <a:lnTo>
                        <a:pt x="1125" y="807"/>
                      </a:lnTo>
                      <a:lnTo>
                        <a:pt x="1126" y="807"/>
                      </a:lnTo>
                      <a:lnTo>
                        <a:pt x="1126" y="808"/>
                      </a:lnTo>
                      <a:lnTo>
                        <a:pt x="1128" y="808"/>
                      </a:lnTo>
                      <a:lnTo>
                        <a:pt x="1128" y="809"/>
                      </a:lnTo>
                      <a:lnTo>
                        <a:pt x="1128" y="810"/>
                      </a:lnTo>
                      <a:lnTo>
                        <a:pt x="1129" y="811"/>
                      </a:lnTo>
                      <a:lnTo>
                        <a:pt x="1129" y="812"/>
                      </a:lnTo>
                      <a:lnTo>
                        <a:pt x="1128" y="812"/>
                      </a:lnTo>
                      <a:lnTo>
                        <a:pt x="1128" y="813"/>
                      </a:lnTo>
                      <a:lnTo>
                        <a:pt x="1126" y="813"/>
                      </a:lnTo>
                      <a:lnTo>
                        <a:pt x="1128" y="813"/>
                      </a:lnTo>
                      <a:lnTo>
                        <a:pt x="1126" y="813"/>
                      </a:lnTo>
                      <a:lnTo>
                        <a:pt x="1126" y="812"/>
                      </a:lnTo>
                      <a:lnTo>
                        <a:pt x="1126" y="811"/>
                      </a:lnTo>
                      <a:lnTo>
                        <a:pt x="1125" y="811"/>
                      </a:lnTo>
                      <a:lnTo>
                        <a:pt x="1125" y="810"/>
                      </a:lnTo>
                      <a:lnTo>
                        <a:pt x="1124" y="810"/>
                      </a:lnTo>
                      <a:lnTo>
                        <a:pt x="1123" y="810"/>
                      </a:lnTo>
                      <a:lnTo>
                        <a:pt x="1123" y="811"/>
                      </a:lnTo>
                      <a:lnTo>
                        <a:pt x="1122" y="811"/>
                      </a:lnTo>
                      <a:lnTo>
                        <a:pt x="1122" y="812"/>
                      </a:lnTo>
                      <a:lnTo>
                        <a:pt x="1122" y="811"/>
                      </a:lnTo>
                      <a:lnTo>
                        <a:pt x="1122" y="812"/>
                      </a:lnTo>
                      <a:lnTo>
                        <a:pt x="1121" y="812"/>
                      </a:lnTo>
                      <a:lnTo>
                        <a:pt x="1120" y="812"/>
                      </a:lnTo>
                      <a:lnTo>
                        <a:pt x="1119" y="812"/>
                      </a:lnTo>
                      <a:lnTo>
                        <a:pt x="1118" y="811"/>
                      </a:lnTo>
                      <a:lnTo>
                        <a:pt x="1117" y="812"/>
                      </a:lnTo>
                      <a:lnTo>
                        <a:pt x="1117" y="811"/>
                      </a:lnTo>
                      <a:lnTo>
                        <a:pt x="1116" y="811"/>
                      </a:lnTo>
                      <a:lnTo>
                        <a:pt x="1115" y="810"/>
                      </a:lnTo>
                      <a:lnTo>
                        <a:pt x="1113" y="810"/>
                      </a:lnTo>
                      <a:lnTo>
                        <a:pt x="1112" y="810"/>
                      </a:lnTo>
                      <a:lnTo>
                        <a:pt x="1111" y="809"/>
                      </a:lnTo>
                      <a:lnTo>
                        <a:pt x="1110" y="809"/>
                      </a:lnTo>
                      <a:lnTo>
                        <a:pt x="1109" y="809"/>
                      </a:lnTo>
                      <a:lnTo>
                        <a:pt x="1109" y="808"/>
                      </a:lnTo>
                      <a:lnTo>
                        <a:pt x="1109" y="807"/>
                      </a:lnTo>
                      <a:lnTo>
                        <a:pt x="1110" y="807"/>
                      </a:lnTo>
                      <a:lnTo>
                        <a:pt x="1111" y="807"/>
                      </a:lnTo>
                      <a:lnTo>
                        <a:pt x="1111" y="808"/>
                      </a:lnTo>
                      <a:lnTo>
                        <a:pt x="1110" y="808"/>
                      </a:lnTo>
                      <a:lnTo>
                        <a:pt x="1111" y="808"/>
                      </a:lnTo>
                      <a:lnTo>
                        <a:pt x="1111" y="809"/>
                      </a:lnTo>
                      <a:lnTo>
                        <a:pt x="1111" y="808"/>
                      </a:lnTo>
                      <a:lnTo>
                        <a:pt x="1112" y="808"/>
                      </a:lnTo>
                      <a:lnTo>
                        <a:pt x="1112" y="809"/>
                      </a:lnTo>
                      <a:lnTo>
                        <a:pt x="1113" y="809"/>
                      </a:lnTo>
                      <a:lnTo>
                        <a:pt x="1113" y="810"/>
                      </a:lnTo>
                      <a:lnTo>
                        <a:pt x="1115" y="810"/>
                      </a:lnTo>
                      <a:lnTo>
                        <a:pt x="1116" y="810"/>
                      </a:lnTo>
                      <a:lnTo>
                        <a:pt x="1115" y="810"/>
                      </a:lnTo>
                      <a:lnTo>
                        <a:pt x="1116" y="810"/>
                      </a:lnTo>
                      <a:lnTo>
                        <a:pt x="1116" y="809"/>
                      </a:lnTo>
                      <a:lnTo>
                        <a:pt x="1117" y="810"/>
                      </a:lnTo>
                      <a:lnTo>
                        <a:pt x="1118" y="810"/>
                      </a:lnTo>
                      <a:lnTo>
                        <a:pt x="1119" y="810"/>
                      </a:lnTo>
                      <a:lnTo>
                        <a:pt x="1119" y="809"/>
                      </a:lnTo>
                      <a:lnTo>
                        <a:pt x="1120" y="809"/>
                      </a:lnTo>
                      <a:lnTo>
                        <a:pt x="1121" y="809"/>
                      </a:lnTo>
                      <a:lnTo>
                        <a:pt x="1121" y="808"/>
                      </a:lnTo>
                      <a:lnTo>
                        <a:pt x="1121" y="807"/>
                      </a:lnTo>
                      <a:lnTo>
                        <a:pt x="1122" y="807"/>
                      </a:lnTo>
                      <a:lnTo>
                        <a:pt x="1123" y="807"/>
                      </a:lnTo>
                      <a:lnTo>
                        <a:pt x="1123" y="806"/>
                      </a:lnTo>
                      <a:lnTo>
                        <a:pt x="1122" y="806"/>
                      </a:lnTo>
                      <a:lnTo>
                        <a:pt x="1122" y="804"/>
                      </a:lnTo>
                      <a:close/>
                      <a:moveTo>
                        <a:pt x="1357" y="1158"/>
                      </a:moveTo>
                      <a:lnTo>
                        <a:pt x="1357" y="1160"/>
                      </a:lnTo>
                      <a:lnTo>
                        <a:pt x="1358" y="1161"/>
                      </a:lnTo>
                      <a:lnTo>
                        <a:pt x="1358" y="1162"/>
                      </a:lnTo>
                      <a:lnTo>
                        <a:pt x="1355" y="1162"/>
                      </a:lnTo>
                      <a:lnTo>
                        <a:pt x="1353" y="1162"/>
                      </a:lnTo>
                      <a:lnTo>
                        <a:pt x="1352" y="1162"/>
                      </a:lnTo>
                      <a:lnTo>
                        <a:pt x="1351" y="1162"/>
                      </a:lnTo>
                      <a:lnTo>
                        <a:pt x="1350" y="1161"/>
                      </a:lnTo>
                      <a:lnTo>
                        <a:pt x="1349" y="1160"/>
                      </a:lnTo>
                      <a:lnTo>
                        <a:pt x="1350" y="1160"/>
                      </a:lnTo>
                      <a:lnTo>
                        <a:pt x="1350" y="1159"/>
                      </a:lnTo>
                      <a:lnTo>
                        <a:pt x="1351" y="1158"/>
                      </a:lnTo>
                      <a:lnTo>
                        <a:pt x="1352" y="1158"/>
                      </a:lnTo>
                      <a:lnTo>
                        <a:pt x="1351" y="1158"/>
                      </a:lnTo>
                      <a:lnTo>
                        <a:pt x="1351" y="1157"/>
                      </a:lnTo>
                      <a:lnTo>
                        <a:pt x="1352" y="1156"/>
                      </a:lnTo>
                      <a:lnTo>
                        <a:pt x="1353" y="1154"/>
                      </a:lnTo>
                      <a:lnTo>
                        <a:pt x="1354" y="1154"/>
                      </a:lnTo>
                      <a:lnTo>
                        <a:pt x="1355" y="1155"/>
                      </a:lnTo>
                      <a:lnTo>
                        <a:pt x="1356" y="1155"/>
                      </a:lnTo>
                      <a:lnTo>
                        <a:pt x="1357" y="1156"/>
                      </a:lnTo>
                      <a:lnTo>
                        <a:pt x="1357" y="1157"/>
                      </a:lnTo>
                      <a:lnTo>
                        <a:pt x="1357" y="1158"/>
                      </a:lnTo>
                      <a:close/>
                      <a:moveTo>
                        <a:pt x="1443" y="1086"/>
                      </a:moveTo>
                      <a:lnTo>
                        <a:pt x="1442" y="1086"/>
                      </a:lnTo>
                      <a:lnTo>
                        <a:pt x="1442" y="1088"/>
                      </a:lnTo>
                      <a:lnTo>
                        <a:pt x="1441" y="1088"/>
                      </a:lnTo>
                      <a:lnTo>
                        <a:pt x="1433" y="1093"/>
                      </a:lnTo>
                      <a:lnTo>
                        <a:pt x="1433" y="1094"/>
                      </a:lnTo>
                      <a:lnTo>
                        <a:pt x="1433" y="1095"/>
                      </a:lnTo>
                      <a:lnTo>
                        <a:pt x="1432" y="1095"/>
                      </a:lnTo>
                      <a:lnTo>
                        <a:pt x="1431" y="1095"/>
                      </a:lnTo>
                      <a:lnTo>
                        <a:pt x="1431" y="1096"/>
                      </a:lnTo>
                      <a:lnTo>
                        <a:pt x="1430" y="1096"/>
                      </a:lnTo>
                      <a:lnTo>
                        <a:pt x="1429" y="1095"/>
                      </a:lnTo>
                      <a:lnTo>
                        <a:pt x="1429" y="1094"/>
                      </a:lnTo>
                      <a:lnTo>
                        <a:pt x="1429" y="1093"/>
                      </a:lnTo>
                      <a:lnTo>
                        <a:pt x="1428" y="1092"/>
                      </a:lnTo>
                      <a:lnTo>
                        <a:pt x="1429" y="1091"/>
                      </a:lnTo>
                      <a:lnTo>
                        <a:pt x="1430" y="1091"/>
                      </a:lnTo>
                      <a:lnTo>
                        <a:pt x="1431" y="1090"/>
                      </a:lnTo>
                      <a:lnTo>
                        <a:pt x="1432" y="1090"/>
                      </a:lnTo>
                      <a:lnTo>
                        <a:pt x="1433" y="1090"/>
                      </a:lnTo>
                      <a:lnTo>
                        <a:pt x="1435" y="1088"/>
                      </a:lnTo>
                      <a:lnTo>
                        <a:pt x="1437" y="1088"/>
                      </a:lnTo>
                      <a:lnTo>
                        <a:pt x="1438" y="1088"/>
                      </a:lnTo>
                      <a:lnTo>
                        <a:pt x="1439" y="1086"/>
                      </a:lnTo>
                      <a:lnTo>
                        <a:pt x="1440" y="1086"/>
                      </a:lnTo>
                      <a:lnTo>
                        <a:pt x="1442" y="1085"/>
                      </a:lnTo>
                      <a:lnTo>
                        <a:pt x="1443" y="1085"/>
                      </a:lnTo>
                      <a:lnTo>
                        <a:pt x="1443" y="1086"/>
                      </a:lnTo>
                      <a:close/>
                      <a:moveTo>
                        <a:pt x="1090" y="984"/>
                      </a:moveTo>
                      <a:lnTo>
                        <a:pt x="1090" y="986"/>
                      </a:lnTo>
                      <a:lnTo>
                        <a:pt x="1089" y="986"/>
                      </a:lnTo>
                      <a:lnTo>
                        <a:pt x="1089" y="987"/>
                      </a:lnTo>
                      <a:lnTo>
                        <a:pt x="1090" y="987"/>
                      </a:lnTo>
                      <a:lnTo>
                        <a:pt x="1091" y="987"/>
                      </a:lnTo>
                      <a:lnTo>
                        <a:pt x="1092" y="987"/>
                      </a:lnTo>
                      <a:lnTo>
                        <a:pt x="1092" y="986"/>
                      </a:lnTo>
                      <a:lnTo>
                        <a:pt x="1093" y="986"/>
                      </a:lnTo>
                      <a:lnTo>
                        <a:pt x="1092" y="986"/>
                      </a:lnTo>
                      <a:lnTo>
                        <a:pt x="1093" y="984"/>
                      </a:lnTo>
                      <a:lnTo>
                        <a:pt x="1092" y="984"/>
                      </a:lnTo>
                      <a:lnTo>
                        <a:pt x="1093" y="984"/>
                      </a:lnTo>
                      <a:lnTo>
                        <a:pt x="1093" y="986"/>
                      </a:lnTo>
                      <a:lnTo>
                        <a:pt x="1093" y="987"/>
                      </a:lnTo>
                      <a:lnTo>
                        <a:pt x="1094" y="988"/>
                      </a:lnTo>
                      <a:lnTo>
                        <a:pt x="1094" y="989"/>
                      </a:lnTo>
                      <a:lnTo>
                        <a:pt x="1093" y="990"/>
                      </a:lnTo>
                      <a:lnTo>
                        <a:pt x="1092" y="990"/>
                      </a:lnTo>
                      <a:lnTo>
                        <a:pt x="1091" y="990"/>
                      </a:lnTo>
                      <a:lnTo>
                        <a:pt x="1089" y="991"/>
                      </a:lnTo>
                      <a:lnTo>
                        <a:pt x="1087" y="991"/>
                      </a:lnTo>
                      <a:lnTo>
                        <a:pt x="1087" y="992"/>
                      </a:lnTo>
                      <a:lnTo>
                        <a:pt x="1085" y="993"/>
                      </a:lnTo>
                      <a:lnTo>
                        <a:pt x="1083" y="992"/>
                      </a:lnTo>
                      <a:lnTo>
                        <a:pt x="1082" y="992"/>
                      </a:lnTo>
                      <a:lnTo>
                        <a:pt x="1083" y="992"/>
                      </a:lnTo>
                      <a:lnTo>
                        <a:pt x="1079" y="992"/>
                      </a:lnTo>
                      <a:lnTo>
                        <a:pt x="1079" y="991"/>
                      </a:lnTo>
                      <a:lnTo>
                        <a:pt x="1080" y="991"/>
                      </a:lnTo>
                      <a:lnTo>
                        <a:pt x="1080" y="990"/>
                      </a:lnTo>
                      <a:lnTo>
                        <a:pt x="1081" y="988"/>
                      </a:lnTo>
                      <a:lnTo>
                        <a:pt x="1080" y="990"/>
                      </a:lnTo>
                      <a:lnTo>
                        <a:pt x="1080" y="991"/>
                      </a:lnTo>
                      <a:lnTo>
                        <a:pt x="1080" y="992"/>
                      </a:lnTo>
                      <a:lnTo>
                        <a:pt x="1081" y="992"/>
                      </a:lnTo>
                      <a:lnTo>
                        <a:pt x="1081" y="991"/>
                      </a:lnTo>
                      <a:lnTo>
                        <a:pt x="1081" y="990"/>
                      </a:lnTo>
                      <a:lnTo>
                        <a:pt x="1081" y="989"/>
                      </a:lnTo>
                      <a:lnTo>
                        <a:pt x="1082" y="989"/>
                      </a:lnTo>
                      <a:lnTo>
                        <a:pt x="1083" y="989"/>
                      </a:lnTo>
                      <a:lnTo>
                        <a:pt x="1084" y="988"/>
                      </a:lnTo>
                      <a:lnTo>
                        <a:pt x="1084" y="989"/>
                      </a:lnTo>
                      <a:lnTo>
                        <a:pt x="1084" y="990"/>
                      </a:lnTo>
                      <a:lnTo>
                        <a:pt x="1084" y="989"/>
                      </a:lnTo>
                      <a:lnTo>
                        <a:pt x="1085" y="989"/>
                      </a:lnTo>
                      <a:lnTo>
                        <a:pt x="1085" y="988"/>
                      </a:lnTo>
                      <a:lnTo>
                        <a:pt x="1085" y="987"/>
                      </a:lnTo>
                      <a:lnTo>
                        <a:pt x="1086" y="987"/>
                      </a:lnTo>
                      <a:lnTo>
                        <a:pt x="1085" y="988"/>
                      </a:lnTo>
                      <a:lnTo>
                        <a:pt x="1085" y="989"/>
                      </a:lnTo>
                      <a:lnTo>
                        <a:pt x="1086" y="989"/>
                      </a:lnTo>
                      <a:lnTo>
                        <a:pt x="1086" y="988"/>
                      </a:lnTo>
                      <a:lnTo>
                        <a:pt x="1087" y="988"/>
                      </a:lnTo>
                      <a:lnTo>
                        <a:pt x="1087" y="989"/>
                      </a:lnTo>
                      <a:lnTo>
                        <a:pt x="1086" y="989"/>
                      </a:lnTo>
                      <a:lnTo>
                        <a:pt x="1087" y="989"/>
                      </a:lnTo>
                      <a:lnTo>
                        <a:pt x="1089" y="989"/>
                      </a:lnTo>
                      <a:lnTo>
                        <a:pt x="1089" y="988"/>
                      </a:lnTo>
                      <a:lnTo>
                        <a:pt x="1089" y="987"/>
                      </a:lnTo>
                      <a:lnTo>
                        <a:pt x="1087" y="987"/>
                      </a:lnTo>
                      <a:lnTo>
                        <a:pt x="1087" y="986"/>
                      </a:lnTo>
                      <a:lnTo>
                        <a:pt x="1089" y="986"/>
                      </a:lnTo>
                      <a:lnTo>
                        <a:pt x="1089" y="984"/>
                      </a:lnTo>
                      <a:lnTo>
                        <a:pt x="1090" y="984"/>
                      </a:lnTo>
                      <a:lnTo>
                        <a:pt x="1089" y="984"/>
                      </a:lnTo>
                      <a:lnTo>
                        <a:pt x="1090" y="984"/>
                      </a:lnTo>
                      <a:close/>
                      <a:moveTo>
                        <a:pt x="1438" y="1085"/>
                      </a:moveTo>
                      <a:lnTo>
                        <a:pt x="1439" y="1085"/>
                      </a:lnTo>
                      <a:lnTo>
                        <a:pt x="1440" y="1085"/>
                      </a:lnTo>
                      <a:lnTo>
                        <a:pt x="1440" y="1084"/>
                      </a:lnTo>
                      <a:lnTo>
                        <a:pt x="1440" y="1085"/>
                      </a:lnTo>
                      <a:lnTo>
                        <a:pt x="1440" y="1084"/>
                      </a:lnTo>
                      <a:lnTo>
                        <a:pt x="1440" y="1085"/>
                      </a:lnTo>
                      <a:lnTo>
                        <a:pt x="1441" y="1085"/>
                      </a:lnTo>
                      <a:lnTo>
                        <a:pt x="1440" y="1086"/>
                      </a:lnTo>
                      <a:lnTo>
                        <a:pt x="1439" y="1086"/>
                      </a:lnTo>
                      <a:lnTo>
                        <a:pt x="1438" y="1086"/>
                      </a:lnTo>
                      <a:lnTo>
                        <a:pt x="1437" y="1086"/>
                      </a:lnTo>
                      <a:lnTo>
                        <a:pt x="1435" y="1086"/>
                      </a:lnTo>
                      <a:lnTo>
                        <a:pt x="1435" y="1088"/>
                      </a:lnTo>
                      <a:lnTo>
                        <a:pt x="1434" y="1088"/>
                      </a:lnTo>
                      <a:lnTo>
                        <a:pt x="1434" y="1089"/>
                      </a:lnTo>
                      <a:lnTo>
                        <a:pt x="1433" y="1089"/>
                      </a:lnTo>
                      <a:lnTo>
                        <a:pt x="1432" y="1090"/>
                      </a:lnTo>
                      <a:lnTo>
                        <a:pt x="1431" y="1090"/>
                      </a:lnTo>
                      <a:lnTo>
                        <a:pt x="1431" y="1089"/>
                      </a:lnTo>
                      <a:lnTo>
                        <a:pt x="1430" y="1090"/>
                      </a:lnTo>
                      <a:lnTo>
                        <a:pt x="1429" y="1089"/>
                      </a:lnTo>
                      <a:lnTo>
                        <a:pt x="1429" y="1090"/>
                      </a:lnTo>
                      <a:lnTo>
                        <a:pt x="1428" y="1090"/>
                      </a:lnTo>
                      <a:lnTo>
                        <a:pt x="1428" y="1091"/>
                      </a:lnTo>
                      <a:lnTo>
                        <a:pt x="1427" y="1091"/>
                      </a:lnTo>
                      <a:lnTo>
                        <a:pt x="1426" y="1092"/>
                      </a:lnTo>
                      <a:lnTo>
                        <a:pt x="1426" y="1091"/>
                      </a:lnTo>
                      <a:lnTo>
                        <a:pt x="1426" y="1092"/>
                      </a:lnTo>
                      <a:lnTo>
                        <a:pt x="1426" y="1093"/>
                      </a:lnTo>
                      <a:lnTo>
                        <a:pt x="1425" y="1093"/>
                      </a:lnTo>
                      <a:lnTo>
                        <a:pt x="1426" y="1093"/>
                      </a:lnTo>
                      <a:lnTo>
                        <a:pt x="1426" y="1094"/>
                      </a:lnTo>
                      <a:lnTo>
                        <a:pt x="1425" y="1094"/>
                      </a:lnTo>
                      <a:lnTo>
                        <a:pt x="1425" y="1095"/>
                      </a:lnTo>
                      <a:lnTo>
                        <a:pt x="1424" y="1095"/>
                      </a:lnTo>
                      <a:lnTo>
                        <a:pt x="1422" y="1095"/>
                      </a:lnTo>
                      <a:lnTo>
                        <a:pt x="1422" y="1096"/>
                      </a:lnTo>
                      <a:lnTo>
                        <a:pt x="1421" y="1095"/>
                      </a:lnTo>
                      <a:lnTo>
                        <a:pt x="1421" y="1094"/>
                      </a:lnTo>
                      <a:lnTo>
                        <a:pt x="1421" y="1093"/>
                      </a:lnTo>
                      <a:lnTo>
                        <a:pt x="1422" y="1093"/>
                      </a:lnTo>
                      <a:lnTo>
                        <a:pt x="1422" y="1092"/>
                      </a:lnTo>
                      <a:lnTo>
                        <a:pt x="1424" y="1092"/>
                      </a:lnTo>
                      <a:lnTo>
                        <a:pt x="1425" y="1091"/>
                      </a:lnTo>
                      <a:lnTo>
                        <a:pt x="1425" y="1090"/>
                      </a:lnTo>
                      <a:lnTo>
                        <a:pt x="1426" y="1089"/>
                      </a:lnTo>
                      <a:lnTo>
                        <a:pt x="1428" y="1086"/>
                      </a:lnTo>
                      <a:lnTo>
                        <a:pt x="1429" y="1085"/>
                      </a:lnTo>
                      <a:lnTo>
                        <a:pt x="1430" y="1085"/>
                      </a:lnTo>
                      <a:lnTo>
                        <a:pt x="1430" y="1086"/>
                      </a:lnTo>
                      <a:lnTo>
                        <a:pt x="1431" y="1086"/>
                      </a:lnTo>
                      <a:lnTo>
                        <a:pt x="1431" y="1088"/>
                      </a:lnTo>
                      <a:lnTo>
                        <a:pt x="1432" y="1088"/>
                      </a:lnTo>
                      <a:lnTo>
                        <a:pt x="1432" y="1089"/>
                      </a:lnTo>
                      <a:lnTo>
                        <a:pt x="1432" y="1088"/>
                      </a:lnTo>
                      <a:lnTo>
                        <a:pt x="1433" y="1088"/>
                      </a:lnTo>
                      <a:lnTo>
                        <a:pt x="1433" y="1086"/>
                      </a:lnTo>
                      <a:lnTo>
                        <a:pt x="1434" y="1085"/>
                      </a:lnTo>
                      <a:lnTo>
                        <a:pt x="1435" y="1085"/>
                      </a:lnTo>
                      <a:lnTo>
                        <a:pt x="1437" y="1084"/>
                      </a:lnTo>
                      <a:lnTo>
                        <a:pt x="1438" y="1084"/>
                      </a:lnTo>
                      <a:lnTo>
                        <a:pt x="1438" y="1085"/>
                      </a:lnTo>
                      <a:close/>
                      <a:moveTo>
                        <a:pt x="1175" y="966"/>
                      </a:moveTo>
                      <a:lnTo>
                        <a:pt x="1176" y="966"/>
                      </a:lnTo>
                      <a:lnTo>
                        <a:pt x="1176" y="967"/>
                      </a:lnTo>
                      <a:lnTo>
                        <a:pt x="1176" y="968"/>
                      </a:lnTo>
                      <a:lnTo>
                        <a:pt x="1177" y="968"/>
                      </a:lnTo>
                      <a:lnTo>
                        <a:pt x="1176" y="970"/>
                      </a:lnTo>
                      <a:lnTo>
                        <a:pt x="1175" y="970"/>
                      </a:lnTo>
                      <a:lnTo>
                        <a:pt x="1176" y="970"/>
                      </a:lnTo>
                      <a:lnTo>
                        <a:pt x="1176" y="971"/>
                      </a:lnTo>
                      <a:lnTo>
                        <a:pt x="1176" y="970"/>
                      </a:lnTo>
                      <a:lnTo>
                        <a:pt x="1177" y="971"/>
                      </a:lnTo>
                      <a:lnTo>
                        <a:pt x="1177" y="970"/>
                      </a:lnTo>
                      <a:lnTo>
                        <a:pt x="1176" y="970"/>
                      </a:lnTo>
                      <a:lnTo>
                        <a:pt x="1177" y="969"/>
                      </a:lnTo>
                      <a:lnTo>
                        <a:pt x="1179" y="969"/>
                      </a:lnTo>
                      <a:lnTo>
                        <a:pt x="1179" y="970"/>
                      </a:lnTo>
                      <a:lnTo>
                        <a:pt x="1179" y="971"/>
                      </a:lnTo>
                      <a:lnTo>
                        <a:pt x="1177" y="971"/>
                      </a:lnTo>
                      <a:lnTo>
                        <a:pt x="1175" y="971"/>
                      </a:lnTo>
                      <a:lnTo>
                        <a:pt x="1174" y="970"/>
                      </a:lnTo>
                      <a:lnTo>
                        <a:pt x="1173" y="971"/>
                      </a:lnTo>
                      <a:lnTo>
                        <a:pt x="1170" y="973"/>
                      </a:lnTo>
                      <a:lnTo>
                        <a:pt x="1170" y="971"/>
                      </a:lnTo>
                      <a:lnTo>
                        <a:pt x="1169" y="971"/>
                      </a:lnTo>
                      <a:lnTo>
                        <a:pt x="1169" y="970"/>
                      </a:lnTo>
                      <a:lnTo>
                        <a:pt x="1170" y="969"/>
                      </a:lnTo>
                      <a:lnTo>
                        <a:pt x="1169" y="968"/>
                      </a:lnTo>
                      <a:lnTo>
                        <a:pt x="1168" y="968"/>
                      </a:lnTo>
                      <a:lnTo>
                        <a:pt x="1169" y="967"/>
                      </a:lnTo>
                      <a:lnTo>
                        <a:pt x="1169" y="966"/>
                      </a:lnTo>
                      <a:lnTo>
                        <a:pt x="1169" y="965"/>
                      </a:lnTo>
                      <a:lnTo>
                        <a:pt x="1170" y="965"/>
                      </a:lnTo>
                      <a:lnTo>
                        <a:pt x="1171" y="965"/>
                      </a:lnTo>
                      <a:lnTo>
                        <a:pt x="1171" y="966"/>
                      </a:lnTo>
                      <a:lnTo>
                        <a:pt x="1172" y="966"/>
                      </a:lnTo>
                      <a:lnTo>
                        <a:pt x="1173" y="965"/>
                      </a:lnTo>
                      <a:lnTo>
                        <a:pt x="1174" y="965"/>
                      </a:lnTo>
                      <a:lnTo>
                        <a:pt x="1175" y="965"/>
                      </a:lnTo>
                      <a:lnTo>
                        <a:pt x="1175" y="966"/>
                      </a:lnTo>
                      <a:close/>
                      <a:moveTo>
                        <a:pt x="1403" y="1204"/>
                      </a:moveTo>
                      <a:lnTo>
                        <a:pt x="1404" y="1204"/>
                      </a:lnTo>
                      <a:lnTo>
                        <a:pt x="1405" y="1204"/>
                      </a:lnTo>
                      <a:lnTo>
                        <a:pt x="1407" y="1205"/>
                      </a:lnTo>
                      <a:lnTo>
                        <a:pt x="1410" y="1207"/>
                      </a:lnTo>
                      <a:lnTo>
                        <a:pt x="1415" y="1210"/>
                      </a:lnTo>
                      <a:lnTo>
                        <a:pt x="1416" y="1210"/>
                      </a:lnTo>
                      <a:lnTo>
                        <a:pt x="1417" y="1210"/>
                      </a:lnTo>
                      <a:lnTo>
                        <a:pt x="1417" y="1211"/>
                      </a:lnTo>
                      <a:lnTo>
                        <a:pt x="1420" y="1212"/>
                      </a:lnTo>
                      <a:lnTo>
                        <a:pt x="1422" y="1213"/>
                      </a:lnTo>
                      <a:lnTo>
                        <a:pt x="1424" y="1214"/>
                      </a:lnTo>
                      <a:lnTo>
                        <a:pt x="1426" y="1214"/>
                      </a:lnTo>
                      <a:lnTo>
                        <a:pt x="1427" y="1215"/>
                      </a:lnTo>
                      <a:lnTo>
                        <a:pt x="1426" y="1217"/>
                      </a:lnTo>
                      <a:lnTo>
                        <a:pt x="1425" y="1217"/>
                      </a:lnTo>
                      <a:lnTo>
                        <a:pt x="1421" y="1214"/>
                      </a:lnTo>
                      <a:lnTo>
                        <a:pt x="1416" y="1212"/>
                      </a:lnTo>
                      <a:lnTo>
                        <a:pt x="1410" y="1210"/>
                      </a:lnTo>
                      <a:lnTo>
                        <a:pt x="1406" y="1207"/>
                      </a:lnTo>
                      <a:lnTo>
                        <a:pt x="1402" y="1205"/>
                      </a:lnTo>
                      <a:lnTo>
                        <a:pt x="1401" y="1204"/>
                      </a:lnTo>
                      <a:lnTo>
                        <a:pt x="1402" y="1204"/>
                      </a:lnTo>
                      <a:lnTo>
                        <a:pt x="1403" y="1204"/>
                      </a:lnTo>
                      <a:close/>
                      <a:moveTo>
                        <a:pt x="1350" y="1170"/>
                      </a:moveTo>
                      <a:lnTo>
                        <a:pt x="1351" y="1170"/>
                      </a:lnTo>
                      <a:lnTo>
                        <a:pt x="1352" y="1170"/>
                      </a:lnTo>
                      <a:lnTo>
                        <a:pt x="1352" y="1171"/>
                      </a:lnTo>
                      <a:lnTo>
                        <a:pt x="1352" y="1172"/>
                      </a:lnTo>
                      <a:lnTo>
                        <a:pt x="1352" y="1173"/>
                      </a:lnTo>
                      <a:lnTo>
                        <a:pt x="1352" y="1174"/>
                      </a:lnTo>
                      <a:lnTo>
                        <a:pt x="1352" y="1173"/>
                      </a:lnTo>
                      <a:lnTo>
                        <a:pt x="1351" y="1173"/>
                      </a:lnTo>
                      <a:lnTo>
                        <a:pt x="1350" y="1173"/>
                      </a:lnTo>
                      <a:lnTo>
                        <a:pt x="1350" y="1174"/>
                      </a:lnTo>
                      <a:lnTo>
                        <a:pt x="1350" y="1175"/>
                      </a:lnTo>
                      <a:lnTo>
                        <a:pt x="1349" y="1175"/>
                      </a:lnTo>
                      <a:lnTo>
                        <a:pt x="1348" y="1175"/>
                      </a:lnTo>
                      <a:lnTo>
                        <a:pt x="1348" y="1174"/>
                      </a:lnTo>
                      <a:lnTo>
                        <a:pt x="1348" y="1173"/>
                      </a:lnTo>
                      <a:lnTo>
                        <a:pt x="1349" y="1173"/>
                      </a:lnTo>
                      <a:lnTo>
                        <a:pt x="1350" y="1173"/>
                      </a:lnTo>
                      <a:lnTo>
                        <a:pt x="1350" y="1172"/>
                      </a:lnTo>
                      <a:lnTo>
                        <a:pt x="1349" y="1172"/>
                      </a:lnTo>
                      <a:lnTo>
                        <a:pt x="1349" y="1173"/>
                      </a:lnTo>
                      <a:lnTo>
                        <a:pt x="1348" y="1173"/>
                      </a:lnTo>
                      <a:lnTo>
                        <a:pt x="1348" y="1172"/>
                      </a:lnTo>
                      <a:lnTo>
                        <a:pt x="1348" y="1173"/>
                      </a:lnTo>
                      <a:lnTo>
                        <a:pt x="1348" y="1174"/>
                      </a:lnTo>
                      <a:lnTo>
                        <a:pt x="1348" y="1175"/>
                      </a:lnTo>
                      <a:lnTo>
                        <a:pt x="1345" y="1175"/>
                      </a:lnTo>
                      <a:lnTo>
                        <a:pt x="1344" y="1175"/>
                      </a:lnTo>
                      <a:lnTo>
                        <a:pt x="1344" y="1176"/>
                      </a:lnTo>
                      <a:lnTo>
                        <a:pt x="1343" y="1176"/>
                      </a:lnTo>
                      <a:lnTo>
                        <a:pt x="1344" y="1176"/>
                      </a:lnTo>
                      <a:lnTo>
                        <a:pt x="1343" y="1176"/>
                      </a:lnTo>
                      <a:lnTo>
                        <a:pt x="1343" y="1178"/>
                      </a:lnTo>
                      <a:lnTo>
                        <a:pt x="1342" y="1178"/>
                      </a:lnTo>
                      <a:lnTo>
                        <a:pt x="1342" y="1176"/>
                      </a:lnTo>
                      <a:lnTo>
                        <a:pt x="1341" y="1176"/>
                      </a:lnTo>
                      <a:lnTo>
                        <a:pt x="1341" y="1175"/>
                      </a:lnTo>
                      <a:lnTo>
                        <a:pt x="1342" y="1173"/>
                      </a:lnTo>
                      <a:lnTo>
                        <a:pt x="1342" y="1172"/>
                      </a:lnTo>
                      <a:lnTo>
                        <a:pt x="1342" y="1171"/>
                      </a:lnTo>
                      <a:lnTo>
                        <a:pt x="1343" y="1170"/>
                      </a:lnTo>
                      <a:lnTo>
                        <a:pt x="1344" y="1170"/>
                      </a:lnTo>
                      <a:lnTo>
                        <a:pt x="1345" y="1170"/>
                      </a:lnTo>
                      <a:lnTo>
                        <a:pt x="1347" y="1170"/>
                      </a:lnTo>
                      <a:lnTo>
                        <a:pt x="1348" y="1170"/>
                      </a:lnTo>
                      <a:lnTo>
                        <a:pt x="1349" y="1170"/>
                      </a:lnTo>
                      <a:lnTo>
                        <a:pt x="1350" y="1170"/>
                      </a:lnTo>
                      <a:close/>
                      <a:moveTo>
                        <a:pt x="1110" y="845"/>
                      </a:moveTo>
                      <a:lnTo>
                        <a:pt x="1111" y="845"/>
                      </a:lnTo>
                      <a:lnTo>
                        <a:pt x="1110" y="845"/>
                      </a:lnTo>
                      <a:lnTo>
                        <a:pt x="1109" y="845"/>
                      </a:lnTo>
                      <a:lnTo>
                        <a:pt x="1109" y="846"/>
                      </a:lnTo>
                      <a:lnTo>
                        <a:pt x="1110" y="846"/>
                      </a:lnTo>
                      <a:lnTo>
                        <a:pt x="1111" y="846"/>
                      </a:lnTo>
                      <a:lnTo>
                        <a:pt x="1110" y="846"/>
                      </a:lnTo>
                      <a:lnTo>
                        <a:pt x="1111" y="846"/>
                      </a:lnTo>
                      <a:lnTo>
                        <a:pt x="1111" y="847"/>
                      </a:lnTo>
                      <a:lnTo>
                        <a:pt x="1111" y="846"/>
                      </a:lnTo>
                      <a:lnTo>
                        <a:pt x="1111" y="845"/>
                      </a:lnTo>
                      <a:lnTo>
                        <a:pt x="1112" y="845"/>
                      </a:lnTo>
                      <a:lnTo>
                        <a:pt x="1112" y="846"/>
                      </a:lnTo>
                      <a:lnTo>
                        <a:pt x="1113" y="846"/>
                      </a:lnTo>
                      <a:lnTo>
                        <a:pt x="1113" y="847"/>
                      </a:lnTo>
                      <a:lnTo>
                        <a:pt x="1115" y="848"/>
                      </a:lnTo>
                      <a:lnTo>
                        <a:pt x="1116" y="848"/>
                      </a:lnTo>
                      <a:lnTo>
                        <a:pt x="1117" y="847"/>
                      </a:lnTo>
                      <a:lnTo>
                        <a:pt x="1117" y="846"/>
                      </a:lnTo>
                      <a:lnTo>
                        <a:pt x="1117" y="845"/>
                      </a:lnTo>
                      <a:lnTo>
                        <a:pt x="1116" y="845"/>
                      </a:lnTo>
                      <a:lnTo>
                        <a:pt x="1116" y="844"/>
                      </a:lnTo>
                      <a:lnTo>
                        <a:pt x="1117" y="844"/>
                      </a:lnTo>
                      <a:lnTo>
                        <a:pt x="1117" y="845"/>
                      </a:lnTo>
                      <a:lnTo>
                        <a:pt x="1118" y="845"/>
                      </a:lnTo>
                      <a:lnTo>
                        <a:pt x="1119" y="845"/>
                      </a:lnTo>
                      <a:lnTo>
                        <a:pt x="1119" y="846"/>
                      </a:lnTo>
                      <a:lnTo>
                        <a:pt x="1120" y="847"/>
                      </a:lnTo>
                      <a:lnTo>
                        <a:pt x="1119" y="847"/>
                      </a:lnTo>
                      <a:lnTo>
                        <a:pt x="1119" y="848"/>
                      </a:lnTo>
                      <a:lnTo>
                        <a:pt x="1118" y="848"/>
                      </a:lnTo>
                      <a:lnTo>
                        <a:pt x="1118" y="847"/>
                      </a:lnTo>
                      <a:lnTo>
                        <a:pt x="1117" y="847"/>
                      </a:lnTo>
                      <a:lnTo>
                        <a:pt x="1117" y="848"/>
                      </a:lnTo>
                      <a:lnTo>
                        <a:pt x="1116" y="848"/>
                      </a:lnTo>
                      <a:lnTo>
                        <a:pt x="1115" y="848"/>
                      </a:lnTo>
                      <a:lnTo>
                        <a:pt x="1113" y="848"/>
                      </a:lnTo>
                      <a:lnTo>
                        <a:pt x="1113" y="849"/>
                      </a:lnTo>
                      <a:lnTo>
                        <a:pt x="1112" y="848"/>
                      </a:lnTo>
                      <a:lnTo>
                        <a:pt x="1112" y="849"/>
                      </a:lnTo>
                      <a:lnTo>
                        <a:pt x="1113" y="849"/>
                      </a:lnTo>
                      <a:lnTo>
                        <a:pt x="1113" y="850"/>
                      </a:lnTo>
                      <a:lnTo>
                        <a:pt x="1115" y="850"/>
                      </a:lnTo>
                      <a:lnTo>
                        <a:pt x="1116" y="850"/>
                      </a:lnTo>
                      <a:lnTo>
                        <a:pt x="1115" y="851"/>
                      </a:lnTo>
                      <a:lnTo>
                        <a:pt x="1116" y="851"/>
                      </a:lnTo>
                      <a:lnTo>
                        <a:pt x="1115" y="851"/>
                      </a:lnTo>
                      <a:lnTo>
                        <a:pt x="1115" y="852"/>
                      </a:lnTo>
                      <a:lnTo>
                        <a:pt x="1113" y="852"/>
                      </a:lnTo>
                      <a:lnTo>
                        <a:pt x="1113" y="851"/>
                      </a:lnTo>
                      <a:lnTo>
                        <a:pt x="1112" y="851"/>
                      </a:lnTo>
                      <a:lnTo>
                        <a:pt x="1112" y="850"/>
                      </a:lnTo>
                      <a:lnTo>
                        <a:pt x="1111" y="850"/>
                      </a:lnTo>
                      <a:lnTo>
                        <a:pt x="1110" y="850"/>
                      </a:lnTo>
                      <a:lnTo>
                        <a:pt x="1110" y="849"/>
                      </a:lnTo>
                      <a:lnTo>
                        <a:pt x="1109" y="849"/>
                      </a:lnTo>
                      <a:lnTo>
                        <a:pt x="1108" y="849"/>
                      </a:lnTo>
                      <a:lnTo>
                        <a:pt x="1108" y="848"/>
                      </a:lnTo>
                      <a:lnTo>
                        <a:pt x="1108" y="849"/>
                      </a:lnTo>
                      <a:lnTo>
                        <a:pt x="1109" y="849"/>
                      </a:lnTo>
                      <a:lnTo>
                        <a:pt x="1108" y="849"/>
                      </a:lnTo>
                      <a:lnTo>
                        <a:pt x="1107" y="848"/>
                      </a:lnTo>
                      <a:lnTo>
                        <a:pt x="1106" y="847"/>
                      </a:lnTo>
                      <a:lnTo>
                        <a:pt x="1105" y="847"/>
                      </a:lnTo>
                      <a:lnTo>
                        <a:pt x="1105" y="846"/>
                      </a:lnTo>
                      <a:lnTo>
                        <a:pt x="1107" y="845"/>
                      </a:lnTo>
                      <a:lnTo>
                        <a:pt x="1107" y="844"/>
                      </a:lnTo>
                      <a:lnTo>
                        <a:pt x="1108" y="844"/>
                      </a:lnTo>
                      <a:lnTo>
                        <a:pt x="1108" y="842"/>
                      </a:lnTo>
                      <a:lnTo>
                        <a:pt x="1109" y="842"/>
                      </a:lnTo>
                      <a:lnTo>
                        <a:pt x="1110" y="845"/>
                      </a:lnTo>
                      <a:close/>
                      <a:moveTo>
                        <a:pt x="1412" y="1125"/>
                      </a:moveTo>
                      <a:lnTo>
                        <a:pt x="1413" y="1127"/>
                      </a:lnTo>
                      <a:lnTo>
                        <a:pt x="1413" y="1125"/>
                      </a:lnTo>
                      <a:lnTo>
                        <a:pt x="1412" y="1124"/>
                      </a:lnTo>
                      <a:lnTo>
                        <a:pt x="1412" y="1123"/>
                      </a:lnTo>
                      <a:lnTo>
                        <a:pt x="1410" y="1123"/>
                      </a:lnTo>
                      <a:lnTo>
                        <a:pt x="1412" y="1123"/>
                      </a:lnTo>
                      <a:lnTo>
                        <a:pt x="1414" y="1124"/>
                      </a:lnTo>
                      <a:lnTo>
                        <a:pt x="1415" y="1124"/>
                      </a:lnTo>
                      <a:lnTo>
                        <a:pt x="1416" y="1124"/>
                      </a:lnTo>
                      <a:lnTo>
                        <a:pt x="1416" y="1125"/>
                      </a:lnTo>
                      <a:lnTo>
                        <a:pt x="1416" y="1124"/>
                      </a:lnTo>
                      <a:lnTo>
                        <a:pt x="1413" y="1124"/>
                      </a:lnTo>
                      <a:lnTo>
                        <a:pt x="1412" y="1123"/>
                      </a:lnTo>
                      <a:lnTo>
                        <a:pt x="1412" y="1124"/>
                      </a:lnTo>
                      <a:lnTo>
                        <a:pt x="1413" y="1124"/>
                      </a:lnTo>
                      <a:lnTo>
                        <a:pt x="1413" y="1125"/>
                      </a:lnTo>
                      <a:lnTo>
                        <a:pt x="1413" y="1127"/>
                      </a:lnTo>
                      <a:lnTo>
                        <a:pt x="1415" y="1128"/>
                      </a:lnTo>
                      <a:lnTo>
                        <a:pt x="1414" y="1128"/>
                      </a:lnTo>
                      <a:lnTo>
                        <a:pt x="1413" y="1128"/>
                      </a:lnTo>
                      <a:lnTo>
                        <a:pt x="1412" y="1129"/>
                      </a:lnTo>
                      <a:lnTo>
                        <a:pt x="1410" y="1129"/>
                      </a:lnTo>
                      <a:lnTo>
                        <a:pt x="1410" y="1130"/>
                      </a:lnTo>
                      <a:lnTo>
                        <a:pt x="1410" y="1131"/>
                      </a:lnTo>
                      <a:lnTo>
                        <a:pt x="1409" y="1131"/>
                      </a:lnTo>
                      <a:lnTo>
                        <a:pt x="1409" y="1130"/>
                      </a:lnTo>
                      <a:lnTo>
                        <a:pt x="1408" y="1130"/>
                      </a:lnTo>
                      <a:lnTo>
                        <a:pt x="1408" y="1131"/>
                      </a:lnTo>
                      <a:lnTo>
                        <a:pt x="1409" y="1131"/>
                      </a:lnTo>
                      <a:lnTo>
                        <a:pt x="1410" y="1131"/>
                      </a:lnTo>
                      <a:lnTo>
                        <a:pt x="1410" y="1132"/>
                      </a:lnTo>
                      <a:lnTo>
                        <a:pt x="1409" y="1131"/>
                      </a:lnTo>
                      <a:lnTo>
                        <a:pt x="1408" y="1131"/>
                      </a:lnTo>
                      <a:lnTo>
                        <a:pt x="1407" y="1130"/>
                      </a:lnTo>
                      <a:lnTo>
                        <a:pt x="1407" y="1129"/>
                      </a:lnTo>
                      <a:lnTo>
                        <a:pt x="1406" y="1128"/>
                      </a:lnTo>
                      <a:lnTo>
                        <a:pt x="1406" y="1127"/>
                      </a:lnTo>
                      <a:lnTo>
                        <a:pt x="1405" y="1127"/>
                      </a:lnTo>
                      <a:lnTo>
                        <a:pt x="1406" y="1127"/>
                      </a:lnTo>
                      <a:lnTo>
                        <a:pt x="1405" y="1125"/>
                      </a:lnTo>
                      <a:lnTo>
                        <a:pt x="1404" y="1125"/>
                      </a:lnTo>
                      <a:lnTo>
                        <a:pt x="1404" y="1124"/>
                      </a:lnTo>
                      <a:lnTo>
                        <a:pt x="1405" y="1123"/>
                      </a:lnTo>
                      <a:lnTo>
                        <a:pt x="1406" y="1123"/>
                      </a:lnTo>
                      <a:lnTo>
                        <a:pt x="1407" y="1122"/>
                      </a:lnTo>
                      <a:lnTo>
                        <a:pt x="1408" y="1122"/>
                      </a:lnTo>
                      <a:lnTo>
                        <a:pt x="1409" y="1122"/>
                      </a:lnTo>
                      <a:lnTo>
                        <a:pt x="1409" y="1123"/>
                      </a:lnTo>
                      <a:lnTo>
                        <a:pt x="1410" y="1123"/>
                      </a:lnTo>
                      <a:lnTo>
                        <a:pt x="1412" y="1124"/>
                      </a:lnTo>
                      <a:lnTo>
                        <a:pt x="1412" y="1125"/>
                      </a:lnTo>
                      <a:close/>
                      <a:moveTo>
                        <a:pt x="1105" y="783"/>
                      </a:moveTo>
                      <a:lnTo>
                        <a:pt x="1106" y="783"/>
                      </a:lnTo>
                      <a:lnTo>
                        <a:pt x="1106" y="784"/>
                      </a:lnTo>
                      <a:lnTo>
                        <a:pt x="1106" y="785"/>
                      </a:lnTo>
                      <a:lnTo>
                        <a:pt x="1107" y="785"/>
                      </a:lnTo>
                      <a:lnTo>
                        <a:pt x="1107" y="786"/>
                      </a:lnTo>
                      <a:lnTo>
                        <a:pt x="1108" y="786"/>
                      </a:lnTo>
                      <a:lnTo>
                        <a:pt x="1108" y="787"/>
                      </a:lnTo>
                      <a:lnTo>
                        <a:pt x="1109" y="787"/>
                      </a:lnTo>
                      <a:lnTo>
                        <a:pt x="1109" y="786"/>
                      </a:lnTo>
                      <a:lnTo>
                        <a:pt x="1110" y="786"/>
                      </a:lnTo>
                      <a:lnTo>
                        <a:pt x="1110" y="787"/>
                      </a:lnTo>
                      <a:lnTo>
                        <a:pt x="1111" y="787"/>
                      </a:lnTo>
                      <a:lnTo>
                        <a:pt x="1110" y="787"/>
                      </a:lnTo>
                      <a:lnTo>
                        <a:pt x="1110" y="788"/>
                      </a:lnTo>
                      <a:lnTo>
                        <a:pt x="1109" y="788"/>
                      </a:lnTo>
                      <a:lnTo>
                        <a:pt x="1109" y="789"/>
                      </a:lnTo>
                      <a:lnTo>
                        <a:pt x="1108" y="789"/>
                      </a:lnTo>
                      <a:lnTo>
                        <a:pt x="1107" y="789"/>
                      </a:lnTo>
                      <a:lnTo>
                        <a:pt x="1106" y="789"/>
                      </a:lnTo>
                      <a:lnTo>
                        <a:pt x="1105" y="789"/>
                      </a:lnTo>
                      <a:lnTo>
                        <a:pt x="1104" y="789"/>
                      </a:lnTo>
                      <a:lnTo>
                        <a:pt x="1103" y="789"/>
                      </a:lnTo>
                      <a:lnTo>
                        <a:pt x="1104" y="789"/>
                      </a:lnTo>
                      <a:lnTo>
                        <a:pt x="1103" y="789"/>
                      </a:lnTo>
                      <a:lnTo>
                        <a:pt x="1103" y="788"/>
                      </a:lnTo>
                      <a:lnTo>
                        <a:pt x="1102" y="788"/>
                      </a:lnTo>
                      <a:lnTo>
                        <a:pt x="1100" y="788"/>
                      </a:lnTo>
                      <a:lnTo>
                        <a:pt x="1099" y="788"/>
                      </a:lnTo>
                      <a:lnTo>
                        <a:pt x="1099" y="789"/>
                      </a:lnTo>
                      <a:lnTo>
                        <a:pt x="1098" y="789"/>
                      </a:lnTo>
                      <a:lnTo>
                        <a:pt x="1098" y="788"/>
                      </a:lnTo>
                      <a:lnTo>
                        <a:pt x="1099" y="788"/>
                      </a:lnTo>
                      <a:lnTo>
                        <a:pt x="1100" y="788"/>
                      </a:lnTo>
                      <a:lnTo>
                        <a:pt x="1099" y="788"/>
                      </a:lnTo>
                      <a:lnTo>
                        <a:pt x="1100" y="788"/>
                      </a:lnTo>
                      <a:lnTo>
                        <a:pt x="1100" y="787"/>
                      </a:lnTo>
                      <a:lnTo>
                        <a:pt x="1100" y="786"/>
                      </a:lnTo>
                      <a:lnTo>
                        <a:pt x="1100" y="785"/>
                      </a:lnTo>
                      <a:lnTo>
                        <a:pt x="1100" y="786"/>
                      </a:lnTo>
                      <a:lnTo>
                        <a:pt x="1102" y="786"/>
                      </a:lnTo>
                      <a:lnTo>
                        <a:pt x="1102" y="787"/>
                      </a:lnTo>
                      <a:lnTo>
                        <a:pt x="1103" y="787"/>
                      </a:lnTo>
                      <a:lnTo>
                        <a:pt x="1102" y="787"/>
                      </a:lnTo>
                      <a:lnTo>
                        <a:pt x="1102" y="788"/>
                      </a:lnTo>
                      <a:lnTo>
                        <a:pt x="1102" y="787"/>
                      </a:lnTo>
                      <a:lnTo>
                        <a:pt x="1102" y="788"/>
                      </a:lnTo>
                      <a:lnTo>
                        <a:pt x="1100" y="787"/>
                      </a:lnTo>
                      <a:lnTo>
                        <a:pt x="1100" y="788"/>
                      </a:lnTo>
                      <a:lnTo>
                        <a:pt x="1102" y="788"/>
                      </a:lnTo>
                      <a:lnTo>
                        <a:pt x="1102" y="787"/>
                      </a:lnTo>
                      <a:lnTo>
                        <a:pt x="1103" y="787"/>
                      </a:lnTo>
                      <a:lnTo>
                        <a:pt x="1104" y="787"/>
                      </a:lnTo>
                      <a:lnTo>
                        <a:pt x="1103" y="787"/>
                      </a:lnTo>
                      <a:lnTo>
                        <a:pt x="1103" y="786"/>
                      </a:lnTo>
                      <a:lnTo>
                        <a:pt x="1102" y="786"/>
                      </a:lnTo>
                      <a:lnTo>
                        <a:pt x="1102" y="785"/>
                      </a:lnTo>
                      <a:lnTo>
                        <a:pt x="1100" y="785"/>
                      </a:lnTo>
                      <a:lnTo>
                        <a:pt x="1100" y="784"/>
                      </a:lnTo>
                      <a:lnTo>
                        <a:pt x="1102" y="784"/>
                      </a:lnTo>
                      <a:lnTo>
                        <a:pt x="1102" y="783"/>
                      </a:lnTo>
                      <a:lnTo>
                        <a:pt x="1103" y="783"/>
                      </a:lnTo>
                      <a:lnTo>
                        <a:pt x="1103" y="784"/>
                      </a:lnTo>
                      <a:lnTo>
                        <a:pt x="1103" y="783"/>
                      </a:lnTo>
                      <a:lnTo>
                        <a:pt x="1103" y="784"/>
                      </a:lnTo>
                      <a:lnTo>
                        <a:pt x="1102" y="784"/>
                      </a:lnTo>
                      <a:lnTo>
                        <a:pt x="1102" y="785"/>
                      </a:lnTo>
                      <a:lnTo>
                        <a:pt x="1103" y="785"/>
                      </a:lnTo>
                      <a:lnTo>
                        <a:pt x="1103" y="784"/>
                      </a:lnTo>
                      <a:lnTo>
                        <a:pt x="1103" y="783"/>
                      </a:lnTo>
                      <a:lnTo>
                        <a:pt x="1104" y="783"/>
                      </a:lnTo>
                      <a:lnTo>
                        <a:pt x="1104" y="782"/>
                      </a:lnTo>
                      <a:lnTo>
                        <a:pt x="1104" y="781"/>
                      </a:lnTo>
                      <a:lnTo>
                        <a:pt x="1105" y="781"/>
                      </a:lnTo>
                      <a:lnTo>
                        <a:pt x="1105" y="782"/>
                      </a:lnTo>
                      <a:lnTo>
                        <a:pt x="1105" y="783"/>
                      </a:lnTo>
                      <a:close/>
                      <a:moveTo>
                        <a:pt x="1335" y="1182"/>
                      </a:moveTo>
                      <a:lnTo>
                        <a:pt x="1335" y="1183"/>
                      </a:lnTo>
                      <a:lnTo>
                        <a:pt x="1335" y="1184"/>
                      </a:lnTo>
                      <a:lnTo>
                        <a:pt x="1336" y="1184"/>
                      </a:lnTo>
                      <a:lnTo>
                        <a:pt x="1336" y="1185"/>
                      </a:lnTo>
                      <a:lnTo>
                        <a:pt x="1337" y="1185"/>
                      </a:lnTo>
                      <a:lnTo>
                        <a:pt x="1337" y="1186"/>
                      </a:lnTo>
                      <a:lnTo>
                        <a:pt x="1336" y="1186"/>
                      </a:lnTo>
                      <a:lnTo>
                        <a:pt x="1337" y="1187"/>
                      </a:lnTo>
                      <a:lnTo>
                        <a:pt x="1338" y="1187"/>
                      </a:lnTo>
                      <a:lnTo>
                        <a:pt x="1338" y="1186"/>
                      </a:lnTo>
                      <a:lnTo>
                        <a:pt x="1339" y="1186"/>
                      </a:lnTo>
                      <a:lnTo>
                        <a:pt x="1338" y="1187"/>
                      </a:lnTo>
                      <a:lnTo>
                        <a:pt x="1335" y="1192"/>
                      </a:lnTo>
                      <a:lnTo>
                        <a:pt x="1334" y="1192"/>
                      </a:lnTo>
                      <a:lnTo>
                        <a:pt x="1334" y="1193"/>
                      </a:lnTo>
                      <a:lnTo>
                        <a:pt x="1332" y="1193"/>
                      </a:lnTo>
                      <a:lnTo>
                        <a:pt x="1332" y="1192"/>
                      </a:lnTo>
                      <a:lnTo>
                        <a:pt x="1331" y="1191"/>
                      </a:lnTo>
                      <a:lnTo>
                        <a:pt x="1331" y="1189"/>
                      </a:lnTo>
                      <a:lnTo>
                        <a:pt x="1332" y="1189"/>
                      </a:lnTo>
                      <a:lnTo>
                        <a:pt x="1332" y="1188"/>
                      </a:lnTo>
                      <a:lnTo>
                        <a:pt x="1331" y="1188"/>
                      </a:lnTo>
                      <a:lnTo>
                        <a:pt x="1331" y="1187"/>
                      </a:lnTo>
                      <a:lnTo>
                        <a:pt x="1331" y="1186"/>
                      </a:lnTo>
                      <a:lnTo>
                        <a:pt x="1332" y="1186"/>
                      </a:lnTo>
                      <a:lnTo>
                        <a:pt x="1332" y="1185"/>
                      </a:lnTo>
                      <a:lnTo>
                        <a:pt x="1331" y="1184"/>
                      </a:lnTo>
                      <a:lnTo>
                        <a:pt x="1332" y="1184"/>
                      </a:lnTo>
                      <a:lnTo>
                        <a:pt x="1332" y="1183"/>
                      </a:lnTo>
                      <a:lnTo>
                        <a:pt x="1332" y="1182"/>
                      </a:lnTo>
                      <a:lnTo>
                        <a:pt x="1334" y="1182"/>
                      </a:lnTo>
                      <a:lnTo>
                        <a:pt x="1335" y="1181"/>
                      </a:lnTo>
                      <a:lnTo>
                        <a:pt x="1336" y="1181"/>
                      </a:lnTo>
                      <a:lnTo>
                        <a:pt x="1336" y="1182"/>
                      </a:lnTo>
                      <a:lnTo>
                        <a:pt x="1335" y="1182"/>
                      </a:lnTo>
                      <a:close/>
                      <a:moveTo>
                        <a:pt x="1422" y="1104"/>
                      </a:moveTo>
                      <a:lnTo>
                        <a:pt x="1424" y="1104"/>
                      </a:lnTo>
                      <a:lnTo>
                        <a:pt x="1424" y="1105"/>
                      </a:lnTo>
                      <a:lnTo>
                        <a:pt x="1425" y="1105"/>
                      </a:lnTo>
                      <a:lnTo>
                        <a:pt x="1426" y="1106"/>
                      </a:lnTo>
                      <a:lnTo>
                        <a:pt x="1427" y="1106"/>
                      </a:lnTo>
                      <a:lnTo>
                        <a:pt x="1427" y="1107"/>
                      </a:lnTo>
                      <a:lnTo>
                        <a:pt x="1426" y="1107"/>
                      </a:lnTo>
                      <a:lnTo>
                        <a:pt x="1424" y="1107"/>
                      </a:lnTo>
                      <a:lnTo>
                        <a:pt x="1422" y="1106"/>
                      </a:lnTo>
                      <a:lnTo>
                        <a:pt x="1419" y="1106"/>
                      </a:lnTo>
                      <a:lnTo>
                        <a:pt x="1418" y="1105"/>
                      </a:lnTo>
                      <a:lnTo>
                        <a:pt x="1417" y="1105"/>
                      </a:lnTo>
                      <a:lnTo>
                        <a:pt x="1417" y="1106"/>
                      </a:lnTo>
                      <a:lnTo>
                        <a:pt x="1420" y="1106"/>
                      </a:lnTo>
                      <a:lnTo>
                        <a:pt x="1425" y="1107"/>
                      </a:lnTo>
                      <a:lnTo>
                        <a:pt x="1426" y="1107"/>
                      </a:lnTo>
                      <a:lnTo>
                        <a:pt x="1425" y="1107"/>
                      </a:lnTo>
                      <a:lnTo>
                        <a:pt x="1425" y="1108"/>
                      </a:lnTo>
                      <a:lnTo>
                        <a:pt x="1425" y="1107"/>
                      </a:lnTo>
                      <a:lnTo>
                        <a:pt x="1426" y="1107"/>
                      </a:lnTo>
                      <a:lnTo>
                        <a:pt x="1427" y="1107"/>
                      </a:lnTo>
                      <a:lnTo>
                        <a:pt x="1427" y="1106"/>
                      </a:lnTo>
                      <a:lnTo>
                        <a:pt x="1427" y="1107"/>
                      </a:lnTo>
                      <a:lnTo>
                        <a:pt x="1428" y="1108"/>
                      </a:lnTo>
                      <a:lnTo>
                        <a:pt x="1428" y="1109"/>
                      </a:lnTo>
                      <a:lnTo>
                        <a:pt x="1429" y="1109"/>
                      </a:lnTo>
                      <a:lnTo>
                        <a:pt x="1429" y="1110"/>
                      </a:lnTo>
                      <a:lnTo>
                        <a:pt x="1429" y="1111"/>
                      </a:lnTo>
                      <a:lnTo>
                        <a:pt x="1430" y="1112"/>
                      </a:lnTo>
                      <a:lnTo>
                        <a:pt x="1430" y="1115"/>
                      </a:lnTo>
                      <a:lnTo>
                        <a:pt x="1431" y="1116"/>
                      </a:lnTo>
                      <a:lnTo>
                        <a:pt x="1430" y="1116"/>
                      </a:lnTo>
                      <a:lnTo>
                        <a:pt x="1425" y="1115"/>
                      </a:lnTo>
                      <a:lnTo>
                        <a:pt x="1421" y="1116"/>
                      </a:lnTo>
                      <a:lnTo>
                        <a:pt x="1421" y="1115"/>
                      </a:lnTo>
                      <a:lnTo>
                        <a:pt x="1422" y="1115"/>
                      </a:lnTo>
                      <a:lnTo>
                        <a:pt x="1424" y="1115"/>
                      </a:lnTo>
                      <a:lnTo>
                        <a:pt x="1425" y="1115"/>
                      </a:lnTo>
                      <a:lnTo>
                        <a:pt x="1426" y="1115"/>
                      </a:lnTo>
                      <a:lnTo>
                        <a:pt x="1427" y="1115"/>
                      </a:lnTo>
                      <a:lnTo>
                        <a:pt x="1427" y="1116"/>
                      </a:lnTo>
                      <a:lnTo>
                        <a:pt x="1428" y="1116"/>
                      </a:lnTo>
                      <a:lnTo>
                        <a:pt x="1429" y="1116"/>
                      </a:lnTo>
                      <a:lnTo>
                        <a:pt x="1430" y="1116"/>
                      </a:lnTo>
                      <a:lnTo>
                        <a:pt x="1430" y="1115"/>
                      </a:lnTo>
                      <a:lnTo>
                        <a:pt x="1430" y="1114"/>
                      </a:lnTo>
                      <a:lnTo>
                        <a:pt x="1429" y="1114"/>
                      </a:lnTo>
                      <a:lnTo>
                        <a:pt x="1429" y="1112"/>
                      </a:lnTo>
                      <a:lnTo>
                        <a:pt x="1428" y="1112"/>
                      </a:lnTo>
                      <a:lnTo>
                        <a:pt x="1427" y="1112"/>
                      </a:lnTo>
                      <a:lnTo>
                        <a:pt x="1428" y="1111"/>
                      </a:lnTo>
                      <a:lnTo>
                        <a:pt x="1428" y="1110"/>
                      </a:lnTo>
                      <a:lnTo>
                        <a:pt x="1427" y="1110"/>
                      </a:lnTo>
                      <a:lnTo>
                        <a:pt x="1428" y="1110"/>
                      </a:lnTo>
                      <a:lnTo>
                        <a:pt x="1428" y="1109"/>
                      </a:lnTo>
                      <a:lnTo>
                        <a:pt x="1427" y="1109"/>
                      </a:lnTo>
                      <a:lnTo>
                        <a:pt x="1426" y="1109"/>
                      </a:lnTo>
                      <a:lnTo>
                        <a:pt x="1426" y="1108"/>
                      </a:lnTo>
                      <a:lnTo>
                        <a:pt x="1425" y="1108"/>
                      </a:lnTo>
                      <a:lnTo>
                        <a:pt x="1424" y="1108"/>
                      </a:lnTo>
                      <a:lnTo>
                        <a:pt x="1424" y="1107"/>
                      </a:lnTo>
                      <a:lnTo>
                        <a:pt x="1425" y="1107"/>
                      </a:lnTo>
                      <a:lnTo>
                        <a:pt x="1424" y="1107"/>
                      </a:lnTo>
                      <a:lnTo>
                        <a:pt x="1421" y="1107"/>
                      </a:lnTo>
                      <a:lnTo>
                        <a:pt x="1417" y="1106"/>
                      </a:lnTo>
                      <a:lnTo>
                        <a:pt x="1416" y="1105"/>
                      </a:lnTo>
                      <a:lnTo>
                        <a:pt x="1415" y="1105"/>
                      </a:lnTo>
                      <a:lnTo>
                        <a:pt x="1415" y="1106"/>
                      </a:lnTo>
                      <a:lnTo>
                        <a:pt x="1415" y="1105"/>
                      </a:lnTo>
                      <a:lnTo>
                        <a:pt x="1415" y="1104"/>
                      </a:lnTo>
                      <a:lnTo>
                        <a:pt x="1415" y="1105"/>
                      </a:lnTo>
                      <a:lnTo>
                        <a:pt x="1416" y="1105"/>
                      </a:lnTo>
                      <a:lnTo>
                        <a:pt x="1417" y="1104"/>
                      </a:lnTo>
                      <a:lnTo>
                        <a:pt x="1418" y="1104"/>
                      </a:lnTo>
                      <a:lnTo>
                        <a:pt x="1419" y="1104"/>
                      </a:lnTo>
                      <a:lnTo>
                        <a:pt x="1420" y="1104"/>
                      </a:lnTo>
                      <a:lnTo>
                        <a:pt x="1421" y="1104"/>
                      </a:lnTo>
                      <a:lnTo>
                        <a:pt x="1422" y="1104"/>
                      </a:lnTo>
                      <a:close/>
                      <a:moveTo>
                        <a:pt x="1100" y="995"/>
                      </a:moveTo>
                      <a:lnTo>
                        <a:pt x="1103" y="995"/>
                      </a:lnTo>
                      <a:lnTo>
                        <a:pt x="1104" y="995"/>
                      </a:lnTo>
                      <a:lnTo>
                        <a:pt x="1105" y="995"/>
                      </a:lnTo>
                      <a:lnTo>
                        <a:pt x="1106" y="996"/>
                      </a:lnTo>
                      <a:lnTo>
                        <a:pt x="1107" y="996"/>
                      </a:lnTo>
                      <a:lnTo>
                        <a:pt x="1109" y="996"/>
                      </a:lnTo>
                      <a:lnTo>
                        <a:pt x="1108" y="999"/>
                      </a:lnTo>
                      <a:lnTo>
                        <a:pt x="1108" y="1000"/>
                      </a:lnTo>
                      <a:lnTo>
                        <a:pt x="1108" y="1001"/>
                      </a:lnTo>
                      <a:lnTo>
                        <a:pt x="1108" y="1002"/>
                      </a:lnTo>
                      <a:lnTo>
                        <a:pt x="1108" y="1003"/>
                      </a:lnTo>
                      <a:lnTo>
                        <a:pt x="1107" y="1003"/>
                      </a:lnTo>
                      <a:lnTo>
                        <a:pt x="1107" y="1004"/>
                      </a:lnTo>
                      <a:lnTo>
                        <a:pt x="1107" y="1005"/>
                      </a:lnTo>
                      <a:lnTo>
                        <a:pt x="1106" y="1005"/>
                      </a:lnTo>
                      <a:lnTo>
                        <a:pt x="1106" y="1006"/>
                      </a:lnTo>
                      <a:lnTo>
                        <a:pt x="1105" y="1007"/>
                      </a:lnTo>
                      <a:lnTo>
                        <a:pt x="1104" y="1008"/>
                      </a:lnTo>
                      <a:lnTo>
                        <a:pt x="1103" y="1007"/>
                      </a:lnTo>
                      <a:lnTo>
                        <a:pt x="1102" y="1007"/>
                      </a:lnTo>
                      <a:lnTo>
                        <a:pt x="1100" y="1006"/>
                      </a:lnTo>
                      <a:lnTo>
                        <a:pt x="1099" y="1006"/>
                      </a:lnTo>
                      <a:lnTo>
                        <a:pt x="1098" y="1006"/>
                      </a:lnTo>
                      <a:lnTo>
                        <a:pt x="1097" y="1005"/>
                      </a:lnTo>
                      <a:lnTo>
                        <a:pt x="1096" y="1005"/>
                      </a:lnTo>
                      <a:lnTo>
                        <a:pt x="1095" y="1005"/>
                      </a:lnTo>
                      <a:lnTo>
                        <a:pt x="1093" y="1004"/>
                      </a:lnTo>
                      <a:lnTo>
                        <a:pt x="1092" y="1004"/>
                      </a:lnTo>
                      <a:lnTo>
                        <a:pt x="1092" y="1003"/>
                      </a:lnTo>
                      <a:lnTo>
                        <a:pt x="1093" y="1003"/>
                      </a:lnTo>
                      <a:lnTo>
                        <a:pt x="1094" y="1003"/>
                      </a:lnTo>
                      <a:lnTo>
                        <a:pt x="1094" y="1004"/>
                      </a:lnTo>
                      <a:lnTo>
                        <a:pt x="1095" y="1004"/>
                      </a:lnTo>
                      <a:lnTo>
                        <a:pt x="1096" y="1004"/>
                      </a:lnTo>
                      <a:lnTo>
                        <a:pt x="1097" y="1005"/>
                      </a:lnTo>
                      <a:lnTo>
                        <a:pt x="1098" y="1005"/>
                      </a:lnTo>
                      <a:lnTo>
                        <a:pt x="1099" y="1005"/>
                      </a:lnTo>
                      <a:lnTo>
                        <a:pt x="1100" y="1005"/>
                      </a:lnTo>
                      <a:lnTo>
                        <a:pt x="1100" y="1006"/>
                      </a:lnTo>
                      <a:lnTo>
                        <a:pt x="1102" y="1006"/>
                      </a:lnTo>
                      <a:lnTo>
                        <a:pt x="1103" y="1006"/>
                      </a:lnTo>
                      <a:lnTo>
                        <a:pt x="1104" y="1006"/>
                      </a:lnTo>
                      <a:lnTo>
                        <a:pt x="1105" y="1006"/>
                      </a:lnTo>
                      <a:lnTo>
                        <a:pt x="1105" y="1005"/>
                      </a:lnTo>
                      <a:lnTo>
                        <a:pt x="1104" y="1004"/>
                      </a:lnTo>
                      <a:lnTo>
                        <a:pt x="1105" y="1004"/>
                      </a:lnTo>
                      <a:lnTo>
                        <a:pt x="1105" y="1003"/>
                      </a:lnTo>
                      <a:lnTo>
                        <a:pt x="1106" y="1003"/>
                      </a:lnTo>
                      <a:lnTo>
                        <a:pt x="1107" y="1003"/>
                      </a:lnTo>
                      <a:lnTo>
                        <a:pt x="1107" y="1002"/>
                      </a:lnTo>
                      <a:lnTo>
                        <a:pt x="1107" y="1001"/>
                      </a:lnTo>
                      <a:lnTo>
                        <a:pt x="1106" y="1000"/>
                      </a:lnTo>
                      <a:lnTo>
                        <a:pt x="1106" y="999"/>
                      </a:lnTo>
                      <a:lnTo>
                        <a:pt x="1106" y="998"/>
                      </a:lnTo>
                      <a:lnTo>
                        <a:pt x="1106" y="996"/>
                      </a:lnTo>
                      <a:lnTo>
                        <a:pt x="1105" y="996"/>
                      </a:lnTo>
                      <a:lnTo>
                        <a:pt x="1104" y="996"/>
                      </a:lnTo>
                      <a:lnTo>
                        <a:pt x="1103" y="995"/>
                      </a:lnTo>
                      <a:lnTo>
                        <a:pt x="1102" y="995"/>
                      </a:lnTo>
                      <a:lnTo>
                        <a:pt x="1102" y="996"/>
                      </a:lnTo>
                      <a:lnTo>
                        <a:pt x="1100" y="996"/>
                      </a:lnTo>
                      <a:lnTo>
                        <a:pt x="1100" y="995"/>
                      </a:lnTo>
                      <a:close/>
                      <a:moveTo>
                        <a:pt x="1117" y="991"/>
                      </a:moveTo>
                      <a:lnTo>
                        <a:pt x="1118" y="991"/>
                      </a:lnTo>
                      <a:lnTo>
                        <a:pt x="1117" y="991"/>
                      </a:lnTo>
                      <a:lnTo>
                        <a:pt x="1118" y="992"/>
                      </a:lnTo>
                      <a:lnTo>
                        <a:pt x="1117" y="992"/>
                      </a:lnTo>
                      <a:lnTo>
                        <a:pt x="1116" y="992"/>
                      </a:lnTo>
                      <a:lnTo>
                        <a:pt x="1116" y="993"/>
                      </a:lnTo>
                      <a:lnTo>
                        <a:pt x="1115" y="993"/>
                      </a:lnTo>
                      <a:lnTo>
                        <a:pt x="1115" y="994"/>
                      </a:lnTo>
                      <a:lnTo>
                        <a:pt x="1113" y="994"/>
                      </a:lnTo>
                      <a:lnTo>
                        <a:pt x="1113" y="995"/>
                      </a:lnTo>
                      <a:lnTo>
                        <a:pt x="1112" y="995"/>
                      </a:lnTo>
                      <a:lnTo>
                        <a:pt x="1112" y="996"/>
                      </a:lnTo>
                      <a:lnTo>
                        <a:pt x="1111" y="996"/>
                      </a:lnTo>
                      <a:lnTo>
                        <a:pt x="1110" y="996"/>
                      </a:lnTo>
                      <a:lnTo>
                        <a:pt x="1110" y="995"/>
                      </a:lnTo>
                      <a:lnTo>
                        <a:pt x="1110" y="994"/>
                      </a:lnTo>
                      <a:lnTo>
                        <a:pt x="1110" y="993"/>
                      </a:lnTo>
                      <a:lnTo>
                        <a:pt x="1109" y="993"/>
                      </a:lnTo>
                      <a:lnTo>
                        <a:pt x="1109" y="992"/>
                      </a:lnTo>
                      <a:lnTo>
                        <a:pt x="1110" y="992"/>
                      </a:lnTo>
                      <a:lnTo>
                        <a:pt x="1110" y="990"/>
                      </a:lnTo>
                      <a:lnTo>
                        <a:pt x="1110" y="991"/>
                      </a:lnTo>
                      <a:lnTo>
                        <a:pt x="1110" y="992"/>
                      </a:lnTo>
                      <a:lnTo>
                        <a:pt x="1111" y="993"/>
                      </a:lnTo>
                      <a:lnTo>
                        <a:pt x="1111" y="992"/>
                      </a:lnTo>
                      <a:lnTo>
                        <a:pt x="1111" y="991"/>
                      </a:lnTo>
                      <a:lnTo>
                        <a:pt x="1112" y="991"/>
                      </a:lnTo>
                      <a:lnTo>
                        <a:pt x="1112" y="990"/>
                      </a:lnTo>
                      <a:lnTo>
                        <a:pt x="1113" y="990"/>
                      </a:lnTo>
                      <a:lnTo>
                        <a:pt x="1112" y="990"/>
                      </a:lnTo>
                      <a:lnTo>
                        <a:pt x="1112" y="989"/>
                      </a:lnTo>
                      <a:lnTo>
                        <a:pt x="1112" y="988"/>
                      </a:lnTo>
                      <a:lnTo>
                        <a:pt x="1113" y="988"/>
                      </a:lnTo>
                      <a:lnTo>
                        <a:pt x="1118" y="988"/>
                      </a:lnTo>
                      <a:lnTo>
                        <a:pt x="1118" y="989"/>
                      </a:lnTo>
                      <a:lnTo>
                        <a:pt x="1118" y="990"/>
                      </a:lnTo>
                      <a:lnTo>
                        <a:pt x="1117" y="991"/>
                      </a:lnTo>
                      <a:close/>
                      <a:moveTo>
                        <a:pt x="1430" y="1024"/>
                      </a:moveTo>
                      <a:lnTo>
                        <a:pt x="1430" y="1025"/>
                      </a:lnTo>
                      <a:lnTo>
                        <a:pt x="1430" y="1024"/>
                      </a:lnTo>
                      <a:lnTo>
                        <a:pt x="1431" y="1024"/>
                      </a:lnTo>
                      <a:lnTo>
                        <a:pt x="1432" y="1024"/>
                      </a:lnTo>
                      <a:lnTo>
                        <a:pt x="1432" y="1025"/>
                      </a:lnTo>
                      <a:lnTo>
                        <a:pt x="1431" y="1025"/>
                      </a:lnTo>
                      <a:lnTo>
                        <a:pt x="1431" y="1026"/>
                      </a:lnTo>
                      <a:lnTo>
                        <a:pt x="1430" y="1026"/>
                      </a:lnTo>
                      <a:lnTo>
                        <a:pt x="1430" y="1027"/>
                      </a:lnTo>
                      <a:lnTo>
                        <a:pt x="1429" y="1028"/>
                      </a:lnTo>
                      <a:lnTo>
                        <a:pt x="1428" y="1028"/>
                      </a:lnTo>
                      <a:lnTo>
                        <a:pt x="1427" y="1028"/>
                      </a:lnTo>
                      <a:lnTo>
                        <a:pt x="1426" y="1029"/>
                      </a:lnTo>
                      <a:lnTo>
                        <a:pt x="1425" y="1030"/>
                      </a:lnTo>
                      <a:lnTo>
                        <a:pt x="1424" y="1030"/>
                      </a:lnTo>
                      <a:lnTo>
                        <a:pt x="1422" y="1031"/>
                      </a:lnTo>
                      <a:lnTo>
                        <a:pt x="1421" y="1031"/>
                      </a:lnTo>
                      <a:lnTo>
                        <a:pt x="1421" y="1032"/>
                      </a:lnTo>
                      <a:lnTo>
                        <a:pt x="1420" y="1032"/>
                      </a:lnTo>
                      <a:lnTo>
                        <a:pt x="1419" y="1032"/>
                      </a:lnTo>
                      <a:lnTo>
                        <a:pt x="1418" y="1033"/>
                      </a:lnTo>
                      <a:lnTo>
                        <a:pt x="1418" y="1034"/>
                      </a:lnTo>
                      <a:lnTo>
                        <a:pt x="1418" y="1033"/>
                      </a:lnTo>
                      <a:lnTo>
                        <a:pt x="1418" y="1032"/>
                      </a:lnTo>
                      <a:lnTo>
                        <a:pt x="1419" y="1032"/>
                      </a:lnTo>
                      <a:lnTo>
                        <a:pt x="1419" y="1031"/>
                      </a:lnTo>
                      <a:lnTo>
                        <a:pt x="1420" y="1031"/>
                      </a:lnTo>
                      <a:lnTo>
                        <a:pt x="1421" y="1029"/>
                      </a:lnTo>
                      <a:lnTo>
                        <a:pt x="1421" y="1028"/>
                      </a:lnTo>
                      <a:lnTo>
                        <a:pt x="1422" y="1027"/>
                      </a:lnTo>
                      <a:lnTo>
                        <a:pt x="1424" y="1027"/>
                      </a:lnTo>
                      <a:lnTo>
                        <a:pt x="1425" y="1026"/>
                      </a:lnTo>
                      <a:lnTo>
                        <a:pt x="1426" y="1026"/>
                      </a:lnTo>
                      <a:lnTo>
                        <a:pt x="1427" y="1026"/>
                      </a:lnTo>
                      <a:lnTo>
                        <a:pt x="1428" y="1025"/>
                      </a:lnTo>
                      <a:lnTo>
                        <a:pt x="1429" y="1025"/>
                      </a:lnTo>
                      <a:lnTo>
                        <a:pt x="1429" y="1024"/>
                      </a:lnTo>
                      <a:lnTo>
                        <a:pt x="1430" y="1024"/>
                      </a:lnTo>
                      <a:close/>
                      <a:moveTo>
                        <a:pt x="1084" y="999"/>
                      </a:moveTo>
                      <a:lnTo>
                        <a:pt x="1084" y="1000"/>
                      </a:lnTo>
                      <a:lnTo>
                        <a:pt x="1084" y="1001"/>
                      </a:lnTo>
                      <a:lnTo>
                        <a:pt x="1085" y="1001"/>
                      </a:lnTo>
                      <a:lnTo>
                        <a:pt x="1086" y="1002"/>
                      </a:lnTo>
                      <a:lnTo>
                        <a:pt x="1086" y="1003"/>
                      </a:lnTo>
                      <a:lnTo>
                        <a:pt x="1085" y="1003"/>
                      </a:lnTo>
                      <a:lnTo>
                        <a:pt x="1085" y="1002"/>
                      </a:lnTo>
                      <a:lnTo>
                        <a:pt x="1084" y="1002"/>
                      </a:lnTo>
                      <a:lnTo>
                        <a:pt x="1080" y="1001"/>
                      </a:lnTo>
                      <a:lnTo>
                        <a:pt x="1079" y="1001"/>
                      </a:lnTo>
                      <a:lnTo>
                        <a:pt x="1078" y="1001"/>
                      </a:lnTo>
                      <a:lnTo>
                        <a:pt x="1076" y="1000"/>
                      </a:lnTo>
                      <a:lnTo>
                        <a:pt x="1074" y="1000"/>
                      </a:lnTo>
                      <a:lnTo>
                        <a:pt x="1073" y="999"/>
                      </a:lnTo>
                      <a:lnTo>
                        <a:pt x="1072" y="999"/>
                      </a:lnTo>
                      <a:lnTo>
                        <a:pt x="1072" y="998"/>
                      </a:lnTo>
                      <a:lnTo>
                        <a:pt x="1073" y="998"/>
                      </a:lnTo>
                      <a:lnTo>
                        <a:pt x="1074" y="999"/>
                      </a:lnTo>
                      <a:lnTo>
                        <a:pt x="1076" y="999"/>
                      </a:lnTo>
                      <a:lnTo>
                        <a:pt x="1077" y="999"/>
                      </a:lnTo>
                      <a:lnTo>
                        <a:pt x="1078" y="999"/>
                      </a:lnTo>
                      <a:lnTo>
                        <a:pt x="1079" y="999"/>
                      </a:lnTo>
                      <a:lnTo>
                        <a:pt x="1079" y="1000"/>
                      </a:lnTo>
                      <a:lnTo>
                        <a:pt x="1079" y="999"/>
                      </a:lnTo>
                      <a:lnTo>
                        <a:pt x="1080" y="1000"/>
                      </a:lnTo>
                      <a:lnTo>
                        <a:pt x="1081" y="1000"/>
                      </a:lnTo>
                      <a:lnTo>
                        <a:pt x="1082" y="1001"/>
                      </a:lnTo>
                      <a:lnTo>
                        <a:pt x="1084" y="1001"/>
                      </a:lnTo>
                      <a:lnTo>
                        <a:pt x="1083" y="1001"/>
                      </a:lnTo>
                      <a:lnTo>
                        <a:pt x="1083" y="1000"/>
                      </a:lnTo>
                      <a:lnTo>
                        <a:pt x="1084" y="1000"/>
                      </a:lnTo>
                      <a:lnTo>
                        <a:pt x="1083" y="1000"/>
                      </a:lnTo>
                      <a:lnTo>
                        <a:pt x="1083" y="1001"/>
                      </a:lnTo>
                      <a:lnTo>
                        <a:pt x="1083" y="1000"/>
                      </a:lnTo>
                      <a:lnTo>
                        <a:pt x="1083" y="999"/>
                      </a:lnTo>
                      <a:lnTo>
                        <a:pt x="1083" y="998"/>
                      </a:lnTo>
                      <a:lnTo>
                        <a:pt x="1083" y="996"/>
                      </a:lnTo>
                      <a:lnTo>
                        <a:pt x="1084" y="996"/>
                      </a:lnTo>
                      <a:lnTo>
                        <a:pt x="1084" y="995"/>
                      </a:lnTo>
                      <a:lnTo>
                        <a:pt x="1085" y="994"/>
                      </a:lnTo>
                      <a:lnTo>
                        <a:pt x="1085" y="993"/>
                      </a:lnTo>
                      <a:lnTo>
                        <a:pt x="1091" y="994"/>
                      </a:lnTo>
                      <a:lnTo>
                        <a:pt x="1090" y="994"/>
                      </a:lnTo>
                      <a:lnTo>
                        <a:pt x="1089" y="995"/>
                      </a:lnTo>
                      <a:lnTo>
                        <a:pt x="1086" y="996"/>
                      </a:lnTo>
                      <a:lnTo>
                        <a:pt x="1085" y="998"/>
                      </a:lnTo>
                      <a:lnTo>
                        <a:pt x="1084" y="999"/>
                      </a:lnTo>
                      <a:close/>
                      <a:moveTo>
                        <a:pt x="1435" y="1076"/>
                      </a:moveTo>
                      <a:lnTo>
                        <a:pt x="1437" y="1074"/>
                      </a:lnTo>
                      <a:lnTo>
                        <a:pt x="1437" y="1076"/>
                      </a:lnTo>
                      <a:lnTo>
                        <a:pt x="1435" y="1076"/>
                      </a:lnTo>
                      <a:lnTo>
                        <a:pt x="1435" y="1077"/>
                      </a:lnTo>
                      <a:lnTo>
                        <a:pt x="1435" y="1078"/>
                      </a:lnTo>
                      <a:lnTo>
                        <a:pt x="1434" y="1078"/>
                      </a:lnTo>
                      <a:lnTo>
                        <a:pt x="1434" y="1079"/>
                      </a:lnTo>
                      <a:lnTo>
                        <a:pt x="1434" y="1080"/>
                      </a:lnTo>
                      <a:lnTo>
                        <a:pt x="1435" y="1080"/>
                      </a:lnTo>
                      <a:lnTo>
                        <a:pt x="1437" y="1080"/>
                      </a:lnTo>
                      <a:lnTo>
                        <a:pt x="1435" y="1080"/>
                      </a:lnTo>
                      <a:lnTo>
                        <a:pt x="1435" y="1081"/>
                      </a:lnTo>
                      <a:lnTo>
                        <a:pt x="1434" y="1082"/>
                      </a:lnTo>
                      <a:lnTo>
                        <a:pt x="1434" y="1083"/>
                      </a:lnTo>
                      <a:lnTo>
                        <a:pt x="1433" y="1083"/>
                      </a:lnTo>
                      <a:lnTo>
                        <a:pt x="1432" y="1083"/>
                      </a:lnTo>
                      <a:lnTo>
                        <a:pt x="1432" y="1084"/>
                      </a:lnTo>
                      <a:lnTo>
                        <a:pt x="1433" y="1084"/>
                      </a:lnTo>
                      <a:lnTo>
                        <a:pt x="1434" y="1085"/>
                      </a:lnTo>
                      <a:lnTo>
                        <a:pt x="1435" y="1085"/>
                      </a:lnTo>
                      <a:lnTo>
                        <a:pt x="1435" y="1084"/>
                      </a:lnTo>
                      <a:lnTo>
                        <a:pt x="1437" y="1083"/>
                      </a:lnTo>
                      <a:lnTo>
                        <a:pt x="1438" y="1083"/>
                      </a:lnTo>
                      <a:lnTo>
                        <a:pt x="1438" y="1082"/>
                      </a:lnTo>
                      <a:lnTo>
                        <a:pt x="1437" y="1082"/>
                      </a:lnTo>
                      <a:lnTo>
                        <a:pt x="1437" y="1081"/>
                      </a:lnTo>
                      <a:lnTo>
                        <a:pt x="1437" y="1080"/>
                      </a:lnTo>
                      <a:lnTo>
                        <a:pt x="1438" y="1080"/>
                      </a:lnTo>
                      <a:lnTo>
                        <a:pt x="1439" y="1081"/>
                      </a:lnTo>
                      <a:lnTo>
                        <a:pt x="1440" y="1081"/>
                      </a:lnTo>
                      <a:lnTo>
                        <a:pt x="1441" y="1081"/>
                      </a:lnTo>
                      <a:lnTo>
                        <a:pt x="1441" y="1080"/>
                      </a:lnTo>
                      <a:lnTo>
                        <a:pt x="1441" y="1079"/>
                      </a:lnTo>
                      <a:lnTo>
                        <a:pt x="1441" y="1080"/>
                      </a:lnTo>
                      <a:lnTo>
                        <a:pt x="1441" y="1081"/>
                      </a:lnTo>
                      <a:lnTo>
                        <a:pt x="1441" y="1082"/>
                      </a:lnTo>
                      <a:lnTo>
                        <a:pt x="1441" y="1083"/>
                      </a:lnTo>
                      <a:lnTo>
                        <a:pt x="1440" y="1084"/>
                      </a:lnTo>
                      <a:lnTo>
                        <a:pt x="1440" y="1083"/>
                      </a:lnTo>
                      <a:lnTo>
                        <a:pt x="1439" y="1083"/>
                      </a:lnTo>
                      <a:lnTo>
                        <a:pt x="1439" y="1082"/>
                      </a:lnTo>
                      <a:lnTo>
                        <a:pt x="1439" y="1083"/>
                      </a:lnTo>
                      <a:lnTo>
                        <a:pt x="1438" y="1083"/>
                      </a:lnTo>
                      <a:lnTo>
                        <a:pt x="1437" y="1084"/>
                      </a:lnTo>
                      <a:lnTo>
                        <a:pt x="1435" y="1084"/>
                      </a:lnTo>
                      <a:lnTo>
                        <a:pt x="1435" y="1085"/>
                      </a:lnTo>
                      <a:lnTo>
                        <a:pt x="1434" y="1085"/>
                      </a:lnTo>
                      <a:lnTo>
                        <a:pt x="1433" y="1085"/>
                      </a:lnTo>
                      <a:lnTo>
                        <a:pt x="1433" y="1086"/>
                      </a:lnTo>
                      <a:lnTo>
                        <a:pt x="1432" y="1086"/>
                      </a:lnTo>
                      <a:lnTo>
                        <a:pt x="1431" y="1086"/>
                      </a:lnTo>
                      <a:lnTo>
                        <a:pt x="1431" y="1088"/>
                      </a:lnTo>
                      <a:lnTo>
                        <a:pt x="1431" y="1086"/>
                      </a:lnTo>
                      <a:lnTo>
                        <a:pt x="1430" y="1086"/>
                      </a:lnTo>
                      <a:lnTo>
                        <a:pt x="1430" y="1085"/>
                      </a:lnTo>
                      <a:lnTo>
                        <a:pt x="1431" y="1084"/>
                      </a:lnTo>
                      <a:lnTo>
                        <a:pt x="1432" y="1083"/>
                      </a:lnTo>
                      <a:lnTo>
                        <a:pt x="1433" y="1082"/>
                      </a:lnTo>
                      <a:lnTo>
                        <a:pt x="1433" y="1081"/>
                      </a:lnTo>
                      <a:lnTo>
                        <a:pt x="1433" y="1079"/>
                      </a:lnTo>
                      <a:lnTo>
                        <a:pt x="1433" y="1078"/>
                      </a:lnTo>
                      <a:lnTo>
                        <a:pt x="1434" y="1077"/>
                      </a:lnTo>
                      <a:lnTo>
                        <a:pt x="1433" y="1077"/>
                      </a:lnTo>
                      <a:lnTo>
                        <a:pt x="1434" y="1076"/>
                      </a:lnTo>
                      <a:lnTo>
                        <a:pt x="1435" y="1074"/>
                      </a:lnTo>
                      <a:lnTo>
                        <a:pt x="1437" y="1073"/>
                      </a:lnTo>
                      <a:lnTo>
                        <a:pt x="1437" y="1074"/>
                      </a:lnTo>
                      <a:lnTo>
                        <a:pt x="1435" y="1076"/>
                      </a:lnTo>
                      <a:close/>
                      <a:moveTo>
                        <a:pt x="1435" y="1109"/>
                      </a:moveTo>
                      <a:lnTo>
                        <a:pt x="1444" y="1112"/>
                      </a:lnTo>
                      <a:lnTo>
                        <a:pt x="1445" y="1112"/>
                      </a:lnTo>
                      <a:lnTo>
                        <a:pt x="1446" y="1112"/>
                      </a:lnTo>
                      <a:lnTo>
                        <a:pt x="1447" y="1114"/>
                      </a:lnTo>
                      <a:lnTo>
                        <a:pt x="1448" y="1114"/>
                      </a:lnTo>
                      <a:lnTo>
                        <a:pt x="1448" y="1115"/>
                      </a:lnTo>
                      <a:lnTo>
                        <a:pt x="1448" y="1114"/>
                      </a:lnTo>
                      <a:lnTo>
                        <a:pt x="1450" y="1114"/>
                      </a:lnTo>
                      <a:lnTo>
                        <a:pt x="1452" y="1115"/>
                      </a:lnTo>
                      <a:lnTo>
                        <a:pt x="1451" y="1115"/>
                      </a:lnTo>
                      <a:lnTo>
                        <a:pt x="1450" y="1115"/>
                      </a:lnTo>
                      <a:lnTo>
                        <a:pt x="1448" y="1116"/>
                      </a:lnTo>
                      <a:lnTo>
                        <a:pt x="1448" y="1115"/>
                      </a:lnTo>
                      <a:lnTo>
                        <a:pt x="1447" y="1115"/>
                      </a:lnTo>
                      <a:lnTo>
                        <a:pt x="1446" y="1115"/>
                      </a:lnTo>
                      <a:lnTo>
                        <a:pt x="1446" y="1114"/>
                      </a:lnTo>
                      <a:lnTo>
                        <a:pt x="1445" y="1114"/>
                      </a:lnTo>
                      <a:lnTo>
                        <a:pt x="1444" y="1112"/>
                      </a:lnTo>
                      <a:lnTo>
                        <a:pt x="1444" y="1114"/>
                      </a:lnTo>
                      <a:lnTo>
                        <a:pt x="1444" y="1112"/>
                      </a:lnTo>
                      <a:lnTo>
                        <a:pt x="1443" y="1112"/>
                      </a:lnTo>
                      <a:lnTo>
                        <a:pt x="1443" y="1114"/>
                      </a:lnTo>
                      <a:lnTo>
                        <a:pt x="1443" y="1112"/>
                      </a:lnTo>
                      <a:lnTo>
                        <a:pt x="1442" y="1112"/>
                      </a:lnTo>
                      <a:lnTo>
                        <a:pt x="1442" y="1114"/>
                      </a:lnTo>
                      <a:lnTo>
                        <a:pt x="1442" y="1115"/>
                      </a:lnTo>
                      <a:lnTo>
                        <a:pt x="1443" y="1115"/>
                      </a:lnTo>
                      <a:lnTo>
                        <a:pt x="1443" y="1114"/>
                      </a:lnTo>
                      <a:lnTo>
                        <a:pt x="1444" y="1114"/>
                      </a:lnTo>
                      <a:lnTo>
                        <a:pt x="1444" y="1115"/>
                      </a:lnTo>
                      <a:lnTo>
                        <a:pt x="1444" y="1114"/>
                      </a:lnTo>
                      <a:lnTo>
                        <a:pt x="1444" y="1115"/>
                      </a:lnTo>
                      <a:lnTo>
                        <a:pt x="1443" y="1115"/>
                      </a:lnTo>
                      <a:lnTo>
                        <a:pt x="1442" y="1115"/>
                      </a:lnTo>
                      <a:lnTo>
                        <a:pt x="1439" y="1114"/>
                      </a:lnTo>
                      <a:lnTo>
                        <a:pt x="1438" y="1114"/>
                      </a:lnTo>
                      <a:lnTo>
                        <a:pt x="1438" y="1112"/>
                      </a:lnTo>
                      <a:lnTo>
                        <a:pt x="1435" y="1112"/>
                      </a:lnTo>
                      <a:lnTo>
                        <a:pt x="1437" y="1111"/>
                      </a:lnTo>
                      <a:lnTo>
                        <a:pt x="1437" y="1110"/>
                      </a:lnTo>
                      <a:lnTo>
                        <a:pt x="1437" y="1111"/>
                      </a:lnTo>
                      <a:lnTo>
                        <a:pt x="1435" y="1111"/>
                      </a:lnTo>
                      <a:lnTo>
                        <a:pt x="1435" y="1112"/>
                      </a:lnTo>
                      <a:lnTo>
                        <a:pt x="1434" y="1111"/>
                      </a:lnTo>
                      <a:lnTo>
                        <a:pt x="1434" y="1110"/>
                      </a:lnTo>
                      <a:lnTo>
                        <a:pt x="1435" y="1109"/>
                      </a:lnTo>
                      <a:close/>
                      <a:moveTo>
                        <a:pt x="976" y="892"/>
                      </a:moveTo>
                      <a:lnTo>
                        <a:pt x="976" y="893"/>
                      </a:lnTo>
                      <a:lnTo>
                        <a:pt x="977" y="893"/>
                      </a:lnTo>
                      <a:lnTo>
                        <a:pt x="976" y="893"/>
                      </a:lnTo>
                      <a:lnTo>
                        <a:pt x="976" y="894"/>
                      </a:lnTo>
                      <a:lnTo>
                        <a:pt x="976" y="896"/>
                      </a:lnTo>
                      <a:lnTo>
                        <a:pt x="975" y="896"/>
                      </a:lnTo>
                      <a:lnTo>
                        <a:pt x="975" y="894"/>
                      </a:lnTo>
                      <a:lnTo>
                        <a:pt x="975" y="896"/>
                      </a:lnTo>
                      <a:lnTo>
                        <a:pt x="976" y="896"/>
                      </a:lnTo>
                      <a:lnTo>
                        <a:pt x="975" y="896"/>
                      </a:lnTo>
                      <a:lnTo>
                        <a:pt x="975" y="897"/>
                      </a:lnTo>
                      <a:lnTo>
                        <a:pt x="975" y="898"/>
                      </a:lnTo>
                      <a:lnTo>
                        <a:pt x="974" y="898"/>
                      </a:lnTo>
                      <a:lnTo>
                        <a:pt x="973" y="898"/>
                      </a:lnTo>
                      <a:lnTo>
                        <a:pt x="973" y="899"/>
                      </a:lnTo>
                      <a:lnTo>
                        <a:pt x="970" y="899"/>
                      </a:lnTo>
                      <a:lnTo>
                        <a:pt x="970" y="900"/>
                      </a:lnTo>
                      <a:lnTo>
                        <a:pt x="970" y="902"/>
                      </a:lnTo>
                      <a:lnTo>
                        <a:pt x="969" y="902"/>
                      </a:lnTo>
                      <a:lnTo>
                        <a:pt x="969" y="903"/>
                      </a:lnTo>
                      <a:lnTo>
                        <a:pt x="970" y="903"/>
                      </a:lnTo>
                      <a:lnTo>
                        <a:pt x="970" y="902"/>
                      </a:lnTo>
                      <a:lnTo>
                        <a:pt x="971" y="902"/>
                      </a:lnTo>
                      <a:lnTo>
                        <a:pt x="971" y="903"/>
                      </a:lnTo>
                      <a:lnTo>
                        <a:pt x="970" y="904"/>
                      </a:lnTo>
                      <a:lnTo>
                        <a:pt x="969" y="904"/>
                      </a:lnTo>
                      <a:lnTo>
                        <a:pt x="968" y="905"/>
                      </a:lnTo>
                      <a:lnTo>
                        <a:pt x="967" y="905"/>
                      </a:lnTo>
                      <a:lnTo>
                        <a:pt x="967" y="904"/>
                      </a:lnTo>
                      <a:lnTo>
                        <a:pt x="968" y="903"/>
                      </a:lnTo>
                      <a:lnTo>
                        <a:pt x="969" y="902"/>
                      </a:lnTo>
                      <a:lnTo>
                        <a:pt x="969" y="901"/>
                      </a:lnTo>
                      <a:lnTo>
                        <a:pt x="968" y="901"/>
                      </a:lnTo>
                      <a:lnTo>
                        <a:pt x="967" y="901"/>
                      </a:lnTo>
                      <a:lnTo>
                        <a:pt x="967" y="900"/>
                      </a:lnTo>
                      <a:lnTo>
                        <a:pt x="968" y="900"/>
                      </a:lnTo>
                      <a:lnTo>
                        <a:pt x="968" y="899"/>
                      </a:lnTo>
                      <a:lnTo>
                        <a:pt x="969" y="898"/>
                      </a:lnTo>
                      <a:lnTo>
                        <a:pt x="970" y="897"/>
                      </a:lnTo>
                      <a:lnTo>
                        <a:pt x="971" y="896"/>
                      </a:lnTo>
                      <a:lnTo>
                        <a:pt x="971" y="894"/>
                      </a:lnTo>
                      <a:lnTo>
                        <a:pt x="971" y="896"/>
                      </a:lnTo>
                      <a:lnTo>
                        <a:pt x="973" y="896"/>
                      </a:lnTo>
                      <a:lnTo>
                        <a:pt x="973" y="894"/>
                      </a:lnTo>
                      <a:lnTo>
                        <a:pt x="974" y="894"/>
                      </a:lnTo>
                      <a:lnTo>
                        <a:pt x="974" y="893"/>
                      </a:lnTo>
                      <a:lnTo>
                        <a:pt x="975" y="893"/>
                      </a:lnTo>
                      <a:lnTo>
                        <a:pt x="975" y="892"/>
                      </a:lnTo>
                      <a:lnTo>
                        <a:pt x="976" y="892"/>
                      </a:lnTo>
                      <a:lnTo>
                        <a:pt x="976" y="891"/>
                      </a:lnTo>
                      <a:lnTo>
                        <a:pt x="976" y="892"/>
                      </a:lnTo>
                      <a:close/>
                      <a:moveTo>
                        <a:pt x="1196" y="924"/>
                      </a:moveTo>
                      <a:lnTo>
                        <a:pt x="1196" y="925"/>
                      </a:lnTo>
                      <a:lnTo>
                        <a:pt x="1195" y="924"/>
                      </a:lnTo>
                      <a:lnTo>
                        <a:pt x="1195" y="925"/>
                      </a:lnTo>
                      <a:lnTo>
                        <a:pt x="1194" y="925"/>
                      </a:lnTo>
                      <a:lnTo>
                        <a:pt x="1194" y="926"/>
                      </a:lnTo>
                      <a:lnTo>
                        <a:pt x="1194" y="925"/>
                      </a:lnTo>
                      <a:lnTo>
                        <a:pt x="1193" y="926"/>
                      </a:lnTo>
                      <a:lnTo>
                        <a:pt x="1193" y="927"/>
                      </a:lnTo>
                      <a:lnTo>
                        <a:pt x="1192" y="928"/>
                      </a:lnTo>
                      <a:lnTo>
                        <a:pt x="1193" y="928"/>
                      </a:lnTo>
                      <a:lnTo>
                        <a:pt x="1192" y="928"/>
                      </a:lnTo>
                      <a:lnTo>
                        <a:pt x="1194" y="928"/>
                      </a:lnTo>
                      <a:lnTo>
                        <a:pt x="1193" y="928"/>
                      </a:lnTo>
                      <a:lnTo>
                        <a:pt x="1193" y="927"/>
                      </a:lnTo>
                      <a:lnTo>
                        <a:pt x="1194" y="927"/>
                      </a:lnTo>
                      <a:lnTo>
                        <a:pt x="1195" y="927"/>
                      </a:lnTo>
                      <a:lnTo>
                        <a:pt x="1195" y="928"/>
                      </a:lnTo>
                      <a:lnTo>
                        <a:pt x="1194" y="928"/>
                      </a:lnTo>
                      <a:lnTo>
                        <a:pt x="1195" y="929"/>
                      </a:lnTo>
                      <a:lnTo>
                        <a:pt x="1195" y="928"/>
                      </a:lnTo>
                      <a:lnTo>
                        <a:pt x="1195" y="927"/>
                      </a:lnTo>
                      <a:lnTo>
                        <a:pt x="1196" y="927"/>
                      </a:lnTo>
                      <a:lnTo>
                        <a:pt x="1196" y="926"/>
                      </a:lnTo>
                      <a:lnTo>
                        <a:pt x="1197" y="927"/>
                      </a:lnTo>
                      <a:lnTo>
                        <a:pt x="1198" y="926"/>
                      </a:lnTo>
                      <a:lnTo>
                        <a:pt x="1199" y="928"/>
                      </a:lnTo>
                      <a:lnTo>
                        <a:pt x="1199" y="927"/>
                      </a:lnTo>
                      <a:lnTo>
                        <a:pt x="1198" y="927"/>
                      </a:lnTo>
                      <a:lnTo>
                        <a:pt x="1198" y="928"/>
                      </a:lnTo>
                      <a:lnTo>
                        <a:pt x="1198" y="927"/>
                      </a:lnTo>
                      <a:lnTo>
                        <a:pt x="1197" y="927"/>
                      </a:lnTo>
                      <a:lnTo>
                        <a:pt x="1196" y="927"/>
                      </a:lnTo>
                      <a:lnTo>
                        <a:pt x="1196" y="928"/>
                      </a:lnTo>
                      <a:lnTo>
                        <a:pt x="1197" y="928"/>
                      </a:lnTo>
                      <a:lnTo>
                        <a:pt x="1197" y="929"/>
                      </a:lnTo>
                      <a:lnTo>
                        <a:pt x="1197" y="928"/>
                      </a:lnTo>
                      <a:lnTo>
                        <a:pt x="1197" y="929"/>
                      </a:lnTo>
                      <a:lnTo>
                        <a:pt x="1198" y="929"/>
                      </a:lnTo>
                      <a:lnTo>
                        <a:pt x="1199" y="929"/>
                      </a:lnTo>
                      <a:lnTo>
                        <a:pt x="1199" y="930"/>
                      </a:lnTo>
                      <a:lnTo>
                        <a:pt x="1200" y="931"/>
                      </a:lnTo>
                      <a:lnTo>
                        <a:pt x="1201" y="931"/>
                      </a:lnTo>
                      <a:lnTo>
                        <a:pt x="1202" y="931"/>
                      </a:lnTo>
                      <a:lnTo>
                        <a:pt x="1203" y="931"/>
                      </a:lnTo>
                      <a:lnTo>
                        <a:pt x="1203" y="932"/>
                      </a:lnTo>
                      <a:lnTo>
                        <a:pt x="1203" y="934"/>
                      </a:lnTo>
                      <a:lnTo>
                        <a:pt x="1203" y="935"/>
                      </a:lnTo>
                      <a:lnTo>
                        <a:pt x="1202" y="935"/>
                      </a:lnTo>
                      <a:lnTo>
                        <a:pt x="1202" y="934"/>
                      </a:lnTo>
                      <a:lnTo>
                        <a:pt x="1202" y="932"/>
                      </a:lnTo>
                      <a:lnTo>
                        <a:pt x="1201" y="932"/>
                      </a:lnTo>
                      <a:lnTo>
                        <a:pt x="1200" y="932"/>
                      </a:lnTo>
                      <a:lnTo>
                        <a:pt x="1200" y="931"/>
                      </a:lnTo>
                      <a:lnTo>
                        <a:pt x="1198" y="931"/>
                      </a:lnTo>
                      <a:lnTo>
                        <a:pt x="1198" y="930"/>
                      </a:lnTo>
                      <a:lnTo>
                        <a:pt x="1198" y="931"/>
                      </a:lnTo>
                      <a:lnTo>
                        <a:pt x="1197" y="931"/>
                      </a:lnTo>
                      <a:lnTo>
                        <a:pt x="1197" y="930"/>
                      </a:lnTo>
                      <a:lnTo>
                        <a:pt x="1196" y="930"/>
                      </a:lnTo>
                      <a:lnTo>
                        <a:pt x="1195" y="930"/>
                      </a:lnTo>
                      <a:lnTo>
                        <a:pt x="1195" y="929"/>
                      </a:lnTo>
                      <a:lnTo>
                        <a:pt x="1194" y="930"/>
                      </a:lnTo>
                      <a:lnTo>
                        <a:pt x="1194" y="929"/>
                      </a:lnTo>
                      <a:lnTo>
                        <a:pt x="1193" y="929"/>
                      </a:lnTo>
                      <a:lnTo>
                        <a:pt x="1193" y="928"/>
                      </a:lnTo>
                      <a:lnTo>
                        <a:pt x="1192" y="928"/>
                      </a:lnTo>
                      <a:lnTo>
                        <a:pt x="1192" y="929"/>
                      </a:lnTo>
                      <a:lnTo>
                        <a:pt x="1193" y="929"/>
                      </a:lnTo>
                      <a:lnTo>
                        <a:pt x="1192" y="929"/>
                      </a:lnTo>
                      <a:lnTo>
                        <a:pt x="1192" y="930"/>
                      </a:lnTo>
                      <a:lnTo>
                        <a:pt x="1190" y="930"/>
                      </a:lnTo>
                      <a:lnTo>
                        <a:pt x="1189" y="930"/>
                      </a:lnTo>
                      <a:lnTo>
                        <a:pt x="1189" y="931"/>
                      </a:lnTo>
                      <a:lnTo>
                        <a:pt x="1189" y="930"/>
                      </a:lnTo>
                      <a:lnTo>
                        <a:pt x="1189" y="929"/>
                      </a:lnTo>
                      <a:lnTo>
                        <a:pt x="1189" y="928"/>
                      </a:lnTo>
                      <a:lnTo>
                        <a:pt x="1188" y="928"/>
                      </a:lnTo>
                      <a:lnTo>
                        <a:pt x="1189" y="928"/>
                      </a:lnTo>
                      <a:lnTo>
                        <a:pt x="1189" y="927"/>
                      </a:lnTo>
                      <a:lnTo>
                        <a:pt x="1189" y="926"/>
                      </a:lnTo>
                      <a:lnTo>
                        <a:pt x="1189" y="925"/>
                      </a:lnTo>
                      <a:lnTo>
                        <a:pt x="1190" y="925"/>
                      </a:lnTo>
                      <a:lnTo>
                        <a:pt x="1190" y="926"/>
                      </a:lnTo>
                      <a:lnTo>
                        <a:pt x="1192" y="927"/>
                      </a:lnTo>
                      <a:lnTo>
                        <a:pt x="1193" y="927"/>
                      </a:lnTo>
                      <a:lnTo>
                        <a:pt x="1192" y="927"/>
                      </a:lnTo>
                      <a:lnTo>
                        <a:pt x="1193" y="926"/>
                      </a:lnTo>
                      <a:lnTo>
                        <a:pt x="1193" y="925"/>
                      </a:lnTo>
                      <a:lnTo>
                        <a:pt x="1194" y="925"/>
                      </a:lnTo>
                      <a:lnTo>
                        <a:pt x="1194" y="924"/>
                      </a:lnTo>
                      <a:lnTo>
                        <a:pt x="1194" y="925"/>
                      </a:lnTo>
                      <a:lnTo>
                        <a:pt x="1194" y="924"/>
                      </a:lnTo>
                      <a:lnTo>
                        <a:pt x="1195" y="924"/>
                      </a:lnTo>
                      <a:lnTo>
                        <a:pt x="1196" y="924"/>
                      </a:lnTo>
                      <a:lnTo>
                        <a:pt x="1195" y="923"/>
                      </a:lnTo>
                      <a:lnTo>
                        <a:pt x="1196" y="923"/>
                      </a:lnTo>
                      <a:lnTo>
                        <a:pt x="1196" y="924"/>
                      </a:lnTo>
                      <a:close/>
                      <a:moveTo>
                        <a:pt x="1132" y="781"/>
                      </a:moveTo>
                      <a:lnTo>
                        <a:pt x="1133" y="782"/>
                      </a:lnTo>
                      <a:lnTo>
                        <a:pt x="1134" y="782"/>
                      </a:lnTo>
                      <a:lnTo>
                        <a:pt x="1135" y="782"/>
                      </a:lnTo>
                      <a:lnTo>
                        <a:pt x="1136" y="783"/>
                      </a:lnTo>
                      <a:lnTo>
                        <a:pt x="1137" y="783"/>
                      </a:lnTo>
                      <a:lnTo>
                        <a:pt x="1137" y="784"/>
                      </a:lnTo>
                      <a:lnTo>
                        <a:pt x="1138" y="784"/>
                      </a:lnTo>
                      <a:lnTo>
                        <a:pt x="1138" y="785"/>
                      </a:lnTo>
                      <a:lnTo>
                        <a:pt x="1140" y="785"/>
                      </a:lnTo>
                      <a:lnTo>
                        <a:pt x="1140" y="786"/>
                      </a:lnTo>
                      <a:lnTo>
                        <a:pt x="1141" y="786"/>
                      </a:lnTo>
                      <a:lnTo>
                        <a:pt x="1141" y="785"/>
                      </a:lnTo>
                      <a:lnTo>
                        <a:pt x="1142" y="785"/>
                      </a:lnTo>
                      <a:lnTo>
                        <a:pt x="1142" y="786"/>
                      </a:lnTo>
                      <a:lnTo>
                        <a:pt x="1143" y="786"/>
                      </a:lnTo>
                      <a:lnTo>
                        <a:pt x="1142" y="786"/>
                      </a:lnTo>
                      <a:lnTo>
                        <a:pt x="1142" y="787"/>
                      </a:lnTo>
                      <a:lnTo>
                        <a:pt x="1142" y="786"/>
                      </a:lnTo>
                      <a:lnTo>
                        <a:pt x="1143" y="786"/>
                      </a:lnTo>
                      <a:lnTo>
                        <a:pt x="1142" y="787"/>
                      </a:lnTo>
                      <a:lnTo>
                        <a:pt x="1142" y="788"/>
                      </a:lnTo>
                      <a:lnTo>
                        <a:pt x="1143" y="788"/>
                      </a:lnTo>
                      <a:lnTo>
                        <a:pt x="1143" y="789"/>
                      </a:lnTo>
                      <a:lnTo>
                        <a:pt x="1142" y="789"/>
                      </a:lnTo>
                      <a:lnTo>
                        <a:pt x="1141" y="789"/>
                      </a:lnTo>
                      <a:lnTo>
                        <a:pt x="1140" y="788"/>
                      </a:lnTo>
                      <a:lnTo>
                        <a:pt x="1141" y="788"/>
                      </a:lnTo>
                      <a:lnTo>
                        <a:pt x="1141" y="787"/>
                      </a:lnTo>
                      <a:lnTo>
                        <a:pt x="1140" y="787"/>
                      </a:lnTo>
                      <a:lnTo>
                        <a:pt x="1140" y="786"/>
                      </a:lnTo>
                      <a:lnTo>
                        <a:pt x="1138" y="786"/>
                      </a:lnTo>
                      <a:lnTo>
                        <a:pt x="1137" y="786"/>
                      </a:lnTo>
                      <a:lnTo>
                        <a:pt x="1136" y="787"/>
                      </a:lnTo>
                      <a:lnTo>
                        <a:pt x="1136" y="788"/>
                      </a:lnTo>
                      <a:lnTo>
                        <a:pt x="1137" y="788"/>
                      </a:lnTo>
                      <a:lnTo>
                        <a:pt x="1137" y="789"/>
                      </a:lnTo>
                      <a:lnTo>
                        <a:pt x="1138" y="789"/>
                      </a:lnTo>
                      <a:lnTo>
                        <a:pt x="1138" y="790"/>
                      </a:lnTo>
                      <a:lnTo>
                        <a:pt x="1137" y="790"/>
                      </a:lnTo>
                      <a:lnTo>
                        <a:pt x="1137" y="789"/>
                      </a:lnTo>
                      <a:lnTo>
                        <a:pt x="1137" y="788"/>
                      </a:lnTo>
                      <a:lnTo>
                        <a:pt x="1136" y="788"/>
                      </a:lnTo>
                      <a:lnTo>
                        <a:pt x="1135" y="788"/>
                      </a:lnTo>
                      <a:lnTo>
                        <a:pt x="1135" y="787"/>
                      </a:lnTo>
                      <a:lnTo>
                        <a:pt x="1134" y="787"/>
                      </a:lnTo>
                      <a:lnTo>
                        <a:pt x="1135" y="786"/>
                      </a:lnTo>
                      <a:lnTo>
                        <a:pt x="1135" y="787"/>
                      </a:lnTo>
                      <a:lnTo>
                        <a:pt x="1135" y="786"/>
                      </a:lnTo>
                      <a:lnTo>
                        <a:pt x="1136" y="786"/>
                      </a:lnTo>
                      <a:lnTo>
                        <a:pt x="1137" y="786"/>
                      </a:lnTo>
                      <a:lnTo>
                        <a:pt x="1136" y="786"/>
                      </a:lnTo>
                      <a:lnTo>
                        <a:pt x="1135" y="786"/>
                      </a:lnTo>
                      <a:lnTo>
                        <a:pt x="1136" y="785"/>
                      </a:lnTo>
                      <a:lnTo>
                        <a:pt x="1136" y="784"/>
                      </a:lnTo>
                      <a:lnTo>
                        <a:pt x="1135" y="784"/>
                      </a:lnTo>
                      <a:lnTo>
                        <a:pt x="1134" y="784"/>
                      </a:lnTo>
                      <a:lnTo>
                        <a:pt x="1135" y="784"/>
                      </a:lnTo>
                      <a:lnTo>
                        <a:pt x="1136" y="784"/>
                      </a:lnTo>
                      <a:lnTo>
                        <a:pt x="1136" y="785"/>
                      </a:lnTo>
                      <a:lnTo>
                        <a:pt x="1135" y="785"/>
                      </a:lnTo>
                      <a:lnTo>
                        <a:pt x="1134" y="785"/>
                      </a:lnTo>
                      <a:lnTo>
                        <a:pt x="1134" y="786"/>
                      </a:lnTo>
                      <a:lnTo>
                        <a:pt x="1134" y="785"/>
                      </a:lnTo>
                      <a:lnTo>
                        <a:pt x="1133" y="785"/>
                      </a:lnTo>
                      <a:lnTo>
                        <a:pt x="1132" y="785"/>
                      </a:lnTo>
                      <a:lnTo>
                        <a:pt x="1131" y="785"/>
                      </a:lnTo>
                      <a:lnTo>
                        <a:pt x="1132" y="784"/>
                      </a:lnTo>
                      <a:lnTo>
                        <a:pt x="1131" y="784"/>
                      </a:lnTo>
                      <a:lnTo>
                        <a:pt x="1131" y="783"/>
                      </a:lnTo>
                      <a:lnTo>
                        <a:pt x="1132" y="783"/>
                      </a:lnTo>
                      <a:lnTo>
                        <a:pt x="1133" y="783"/>
                      </a:lnTo>
                      <a:lnTo>
                        <a:pt x="1132" y="782"/>
                      </a:lnTo>
                      <a:lnTo>
                        <a:pt x="1131" y="782"/>
                      </a:lnTo>
                      <a:lnTo>
                        <a:pt x="1132" y="782"/>
                      </a:lnTo>
                      <a:lnTo>
                        <a:pt x="1131" y="782"/>
                      </a:lnTo>
                      <a:lnTo>
                        <a:pt x="1132" y="782"/>
                      </a:lnTo>
                      <a:lnTo>
                        <a:pt x="1132" y="783"/>
                      </a:lnTo>
                      <a:lnTo>
                        <a:pt x="1131" y="783"/>
                      </a:lnTo>
                      <a:lnTo>
                        <a:pt x="1131" y="782"/>
                      </a:lnTo>
                      <a:lnTo>
                        <a:pt x="1131" y="781"/>
                      </a:lnTo>
                      <a:lnTo>
                        <a:pt x="1130" y="781"/>
                      </a:lnTo>
                      <a:lnTo>
                        <a:pt x="1131" y="781"/>
                      </a:lnTo>
                      <a:lnTo>
                        <a:pt x="1132" y="781"/>
                      </a:lnTo>
                      <a:close/>
                      <a:moveTo>
                        <a:pt x="1106" y="971"/>
                      </a:moveTo>
                      <a:lnTo>
                        <a:pt x="1107" y="971"/>
                      </a:lnTo>
                      <a:lnTo>
                        <a:pt x="1107" y="973"/>
                      </a:lnTo>
                      <a:lnTo>
                        <a:pt x="1108" y="973"/>
                      </a:lnTo>
                      <a:lnTo>
                        <a:pt x="1109" y="974"/>
                      </a:lnTo>
                      <a:lnTo>
                        <a:pt x="1108" y="974"/>
                      </a:lnTo>
                      <a:lnTo>
                        <a:pt x="1107" y="975"/>
                      </a:lnTo>
                      <a:lnTo>
                        <a:pt x="1106" y="975"/>
                      </a:lnTo>
                      <a:lnTo>
                        <a:pt x="1106" y="974"/>
                      </a:lnTo>
                      <a:lnTo>
                        <a:pt x="1106" y="975"/>
                      </a:lnTo>
                      <a:lnTo>
                        <a:pt x="1105" y="975"/>
                      </a:lnTo>
                      <a:lnTo>
                        <a:pt x="1105" y="974"/>
                      </a:lnTo>
                      <a:lnTo>
                        <a:pt x="1105" y="975"/>
                      </a:lnTo>
                      <a:lnTo>
                        <a:pt x="1104" y="974"/>
                      </a:lnTo>
                      <a:lnTo>
                        <a:pt x="1104" y="975"/>
                      </a:lnTo>
                      <a:lnTo>
                        <a:pt x="1103" y="975"/>
                      </a:lnTo>
                      <a:lnTo>
                        <a:pt x="1103" y="976"/>
                      </a:lnTo>
                      <a:lnTo>
                        <a:pt x="1103" y="975"/>
                      </a:lnTo>
                      <a:lnTo>
                        <a:pt x="1102" y="976"/>
                      </a:lnTo>
                      <a:lnTo>
                        <a:pt x="1104" y="976"/>
                      </a:lnTo>
                      <a:lnTo>
                        <a:pt x="1105" y="976"/>
                      </a:lnTo>
                      <a:lnTo>
                        <a:pt x="1098" y="976"/>
                      </a:lnTo>
                      <a:lnTo>
                        <a:pt x="1099" y="976"/>
                      </a:lnTo>
                      <a:lnTo>
                        <a:pt x="1099" y="975"/>
                      </a:lnTo>
                      <a:lnTo>
                        <a:pt x="1099" y="974"/>
                      </a:lnTo>
                      <a:lnTo>
                        <a:pt x="1098" y="974"/>
                      </a:lnTo>
                      <a:lnTo>
                        <a:pt x="1097" y="975"/>
                      </a:lnTo>
                      <a:lnTo>
                        <a:pt x="1097" y="974"/>
                      </a:lnTo>
                      <a:lnTo>
                        <a:pt x="1096" y="974"/>
                      </a:lnTo>
                      <a:lnTo>
                        <a:pt x="1095" y="975"/>
                      </a:lnTo>
                      <a:lnTo>
                        <a:pt x="1094" y="975"/>
                      </a:lnTo>
                      <a:lnTo>
                        <a:pt x="1096" y="974"/>
                      </a:lnTo>
                      <a:lnTo>
                        <a:pt x="1096" y="973"/>
                      </a:lnTo>
                      <a:lnTo>
                        <a:pt x="1097" y="971"/>
                      </a:lnTo>
                      <a:lnTo>
                        <a:pt x="1098" y="971"/>
                      </a:lnTo>
                      <a:lnTo>
                        <a:pt x="1098" y="970"/>
                      </a:lnTo>
                      <a:lnTo>
                        <a:pt x="1099" y="970"/>
                      </a:lnTo>
                      <a:lnTo>
                        <a:pt x="1100" y="970"/>
                      </a:lnTo>
                      <a:lnTo>
                        <a:pt x="1100" y="971"/>
                      </a:lnTo>
                      <a:lnTo>
                        <a:pt x="1100" y="970"/>
                      </a:lnTo>
                      <a:lnTo>
                        <a:pt x="1102" y="970"/>
                      </a:lnTo>
                      <a:lnTo>
                        <a:pt x="1102" y="971"/>
                      </a:lnTo>
                      <a:lnTo>
                        <a:pt x="1102" y="973"/>
                      </a:lnTo>
                      <a:lnTo>
                        <a:pt x="1102" y="974"/>
                      </a:lnTo>
                      <a:lnTo>
                        <a:pt x="1103" y="975"/>
                      </a:lnTo>
                      <a:lnTo>
                        <a:pt x="1103" y="974"/>
                      </a:lnTo>
                      <a:lnTo>
                        <a:pt x="1104" y="973"/>
                      </a:lnTo>
                      <a:lnTo>
                        <a:pt x="1105" y="973"/>
                      </a:lnTo>
                      <a:lnTo>
                        <a:pt x="1105" y="971"/>
                      </a:lnTo>
                      <a:lnTo>
                        <a:pt x="1105" y="970"/>
                      </a:lnTo>
                      <a:lnTo>
                        <a:pt x="1106" y="970"/>
                      </a:lnTo>
                      <a:lnTo>
                        <a:pt x="1107" y="970"/>
                      </a:lnTo>
                      <a:lnTo>
                        <a:pt x="1106" y="970"/>
                      </a:lnTo>
                      <a:lnTo>
                        <a:pt x="1106" y="971"/>
                      </a:lnTo>
                      <a:close/>
                      <a:moveTo>
                        <a:pt x="1061" y="992"/>
                      </a:moveTo>
                      <a:lnTo>
                        <a:pt x="1063" y="992"/>
                      </a:lnTo>
                      <a:lnTo>
                        <a:pt x="1066" y="992"/>
                      </a:lnTo>
                      <a:lnTo>
                        <a:pt x="1067" y="992"/>
                      </a:lnTo>
                      <a:lnTo>
                        <a:pt x="1066" y="992"/>
                      </a:lnTo>
                      <a:lnTo>
                        <a:pt x="1067" y="992"/>
                      </a:lnTo>
                      <a:lnTo>
                        <a:pt x="1068" y="992"/>
                      </a:lnTo>
                      <a:lnTo>
                        <a:pt x="1068" y="993"/>
                      </a:lnTo>
                      <a:lnTo>
                        <a:pt x="1069" y="993"/>
                      </a:lnTo>
                      <a:lnTo>
                        <a:pt x="1068" y="994"/>
                      </a:lnTo>
                      <a:lnTo>
                        <a:pt x="1068" y="995"/>
                      </a:lnTo>
                      <a:lnTo>
                        <a:pt x="1068" y="996"/>
                      </a:lnTo>
                      <a:lnTo>
                        <a:pt x="1067" y="996"/>
                      </a:lnTo>
                      <a:lnTo>
                        <a:pt x="1066" y="996"/>
                      </a:lnTo>
                      <a:lnTo>
                        <a:pt x="1066" y="995"/>
                      </a:lnTo>
                      <a:lnTo>
                        <a:pt x="1065" y="995"/>
                      </a:lnTo>
                      <a:lnTo>
                        <a:pt x="1066" y="996"/>
                      </a:lnTo>
                      <a:lnTo>
                        <a:pt x="1065" y="996"/>
                      </a:lnTo>
                      <a:lnTo>
                        <a:pt x="1064" y="996"/>
                      </a:lnTo>
                      <a:lnTo>
                        <a:pt x="1063" y="996"/>
                      </a:lnTo>
                      <a:lnTo>
                        <a:pt x="1061" y="996"/>
                      </a:lnTo>
                      <a:lnTo>
                        <a:pt x="1060" y="995"/>
                      </a:lnTo>
                      <a:lnTo>
                        <a:pt x="1059" y="994"/>
                      </a:lnTo>
                      <a:lnTo>
                        <a:pt x="1060" y="993"/>
                      </a:lnTo>
                      <a:lnTo>
                        <a:pt x="1061" y="993"/>
                      </a:lnTo>
                      <a:lnTo>
                        <a:pt x="1063" y="993"/>
                      </a:lnTo>
                      <a:lnTo>
                        <a:pt x="1063" y="992"/>
                      </a:lnTo>
                      <a:lnTo>
                        <a:pt x="1061" y="992"/>
                      </a:lnTo>
                      <a:lnTo>
                        <a:pt x="1060" y="992"/>
                      </a:lnTo>
                      <a:lnTo>
                        <a:pt x="1061" y="992"/>
                      </a:lnTo>
                      <a:close/>
                      <a:moveTo>
                        <a:pt x="1485" y="1083"/>
                      </a:moveTo>
                      <a:lnTo>
                        <a:pt x="1487" y="1083"/>
                      </a:lnTo>
                      <a:lnTo>
                        <a:pt x="1489" y="1083"/>
                      </a:lnTo>
                      <a:lnTo>
                        <a:pt x="1490" y="1083"/>
                      </a:lnTo>
                      <a:lnTo>
                        <a:pt x="1489" y="1083"/>
                      </a:lnTo>
                      <a:lnTo>
                        <a:pt x="1489" y="1084"/>
                      </a:lnTo>
                      <a:lnTo>
                        <a:pt x="1487" y="1084"/>
                      </a:lnTo>
                      <a:lnTo>
                        <a:pt x="1486" y="1084"/>
                      </a:lnTo>
                      <a:lnTo>
                        <a:pt x="1485" y="1084"/>
                      </a:lnTo>
                      <a:lnTo>
                        <a:pt x="1484" y="1084"/>
                      </a:lnTo>
                      <a:lnTo>
                        <a:pt x="1484" y="1085"/>
                      </a:lnTo>
                      <a:lnTo>
                        <a:pt x="1485" y="1085"/>
                      </a:lnTo>
                      <a:lnTo>
                        <a:pt x="1485" y="1086"/>
                      </a:lnTo>
                      <a:lnTo>
                        <a:pt x="1485" y="1088"/>
                      </a:lnTo>
                      <a:lnTo>
                        <a:pt x="1485" y="1090"/>
                      </a:lnTo>
                      <a:lnTo>
                        <a:pt x="1487" y="1092"/>
                      </a:lnTo>
                      <a:lnTo>
                        <a:pt x="1487" y="1093"/>
                      </a:lnTo>
                      <a:lnTo>
                        <a:pt x="1486" y="1092"/>
                      </a:lnTo>
                      <a:lnTo>
                        <a:pt x="1486" y="1091"/>
                      </a:lnTo>
                      <a:lnTo>
                        <a:pt x="1485" y="1091"/>
                      </a:lnTo>
                      <a:lnTo>
                        <a:pt x="1485" y="1090"/>
                      </a:lnTo>
                      <a:lnTo>
                        <a:pt x="1485" y="1089"/>
                      </a:lnTo>
                      <a:lnTo>
                        <a:pt x="1484" y="1088"/>
                      </a:lnTo>
                      <a:lnTo>
                        <a:pt x="1484" y="1089"/>
                      </a:lnTo>
                      <a:lnTo>
                        <a:pt x="1484" y="1090"/>
                      </a:lnTo>
                      <a:lnTo>
                        <a:pt x="1483" y="1091"/>
                      </a:lnTo>
                      <a:lnTo>
                        <a:pt x="1483" y="1090"/>
                      </a:lnTo>
                      <a:lnTo>
                        <a:pt x="1484" y="1090"/>
                      </a:lnTo>
                      <a:lnTo>
                        <a:pt x="1484" y="1089"/>
                      </a:lnTo>
                      <a:lnTo>
                        <a:pt x="1483" y="1089"/>
                      </a:lnTo>
                      <a:lnTo>
                        <a:pt x="1483" y="1088"/>
                      </a:lnTo>
                      <a:lnTo>
                        <a:pt x="1483" y="1089"/>
                      </a:lnTo>
                      <a:lnTo>
                        <a:pt x="1483" y="1090"/>
                      </a:lnTo>
                      <a:lnTo>
                        <a:pt x="1482" y="1090"/>
                      </a:lnTo>
                      <a:lnTo>
                        <a:pt x="1482" y="1089"/>
                      </a:lnTo>
                      <a:lnTo>
                        <a:pt x="1481" y="1088"/>
                      </a:lnTo>
                      <a:lnTo>
                        <a:pt x="1481" y="1089"/>
                      </a:lnTo>
                      <a:lnTo>
                        <a:pt x="1480" y="1088"/>
                      </a:lnTo>
                      <a:lnTo>
                        <a:pt x="1480" y="1086"/>
                      </a:lnTo>
                      <a:lnTo>
                        <a:pt x="1480" y="1085"/>
                      </a:lnTo>
                      <a:lnTo>
                        <a:pt x="1479" y="1085"/>
                      </a:lnTo>
                      <a:lnTo>
                        <a:pt x="1480" y="1084"/>
                      </a:lnTo>
                      <a:lnTo>
                        <a:pt x="1482" y="1083"/>
                      </a:lnTo>
                      <a:lnTo>
                        <a:pt x="1484" y="1083"/>
                      </a:lnTo>
                      <a:lnTo>
                        <a:pt x="1485" y="1083"/>
                      </a:lnTo>
                      <a:close/>
                      <a:moveTo>
                        <a:pt x="1042" y="987"/>
                      </a:moveTo>
                      <a:lnTo>
                        <a:pt x="1042" y="988"/>
                      </a:lnTo>
                      <a:lnTo>
                        <a:pt x="1041" y="988"/>
                      </a:lnTo>
                      <a:lnTo>
                        <a:pt x="1042" y="988"/>
                      </a:lnTo>
                      <a:lnTo>
                        <a:pt x="1041" y="988"/>
                      </a:lnTo>
                      <a:lnTo>
                        <a:pt x="1042" y="988"/>
                      </a:lnTo>
                      <a:lnTo>
                        <a:pt x="1041" y="988"/>
                      </a:lnTo>
                      <a:lnTo>
                        <a:pt x="1041" y="989"/>
                      </a:lnTo>
                      <a:lnTo>
                        <a:pt x="1040" y="989"/>
                      </a:lnTo>
                      <a:lnTo>
                        <a:pt x="1040" y="990"/>
                      </a:lnTo>
                      <a:lnTo>
                        <a:pt x="1039" y="990"/>
                      </a:lnTo>
                      <a:lnTo>
                        <a:pt x="1038" y="990"/>
                      </a:lnTo>
                      <a:lnTo>
                        <a:pt x="1038" y="991"/>
                      </a:lnTo>
                      <a:lnTo>
                        <a:pt x="1037" y="991"/>
                      </a:lnTo>
                      <a:lnTo>
                        <a:pt x="1035" y="991"/>
                      </a:lnTo>
                      <a:lnTo>
                        <a:pt x="1034" y="991"/>
                      </a:lnTo>
                      <a:lnTo>
                        <a:pt x="1034" y="992"/>
                      </a:lnTo>
                      <a:lnTo>
                        <a:pt x="1033" y="992"/>
                      </a:lnTo>
                      <a:lnTo>
                        <a:pt x="1032" y="993"/>
                      </a:lnTo>
                      <a:lnTo>
                        <a:pt x="1031" y="993"/>
                      </a:lnTo>
                      <a:lnTo>
                        <a:pt x="1032" y="993"/>
                      </a:lnTo>
                      <a:lnTo>
                        <a:pt x="1033" y="993"/>
                      </a:lnTo>
                      <a:lnTo>
                        <a:pt x="1033" y="992"/>
                      </a:lnTo>
                      <a:lnTo>
                        <a:pt x="1034" y="992"/>
                      </a:lnTo>
                      <a:lnTo>
                        <a:pt x="1035" y="992"/>
                      </a:lnTo>
                      <a:lnTo>
                        <a:pt x="1035" y="993"/>
                      </a:lnTo>
                      <a:lnTo>
                        <a:pt x="1035" y="994"/>
                      </a:lnTo>
                      <a:lnTo>
                        <a:pt x="1035" y="993"/>
                      </a:lnTo>
                      <a:lnTo>
                        <a:pt x="1037" y="993"/>
                      </a:lnTo>
                      <a:lnTo>
                        <a:pt x="1037" y="994"/>
                      </a:lnTo>
                      <a:lnTo>
                        <a:pt x="1038" y="994"/>
                      </a:lnTo>
                      <a:lnTo>
                        <a:pt x="1039" y="993"/>
                      </a:lnTo>
                      <a:lnTo>
                        <a:pt x="1040" y="993"/>
                      </a:lnTo>
                      <a:lnTo>
                        <a:pt x="1041" y="993"/>
                      </a:lnTo>
                      <a:lnTo>
                        <a:pt x="1042" y="993"/>
                      </a:lnTo>
                      <a:lnTo>
                        <a:pt x="1042" y="992"/>
                      </a:lnTo>
                      <a:lnTo>
                        <a:pt x="1042" y="993"/>
                      </a:lnTo>
                      <a:lnTo>
                        <a:pt x="1041" y="993"/>
                      </a:lnTo>
                      <a:lnTo>
                        <a:pt x="1041" y="994"/>
                      </a:lnTo>
                      <a:lnTo>
                        <a:pt x="1040" y="994"/>
                      </a:lnTo>
                      <a:lnTo>
                        <a:pt x="1037" y="994"/>
                      </a:lnTo>
                      <a:lnTo>
                        <a:pt x="1035" y="994"/>
                      </a:lnTo>
                      <a:lnTo>
                        <a:pt x="1034" y="994"/>
                      </a:lnTo>
                      <a:lnTo>
                        <a:pt x="1032" y="993"/>
                      </a:lnTo>
                      <a:lnTo>
                        <a:pt x="1031" y="993"/>
                      </a:lnTo>
                      <a:lnTo>
                        <a:pt x="1030" y="993"/>
                      </a:lnTo>
                      <a:lnTo>
                        <a:pt x="1029" y="993"/>
                      </a:lnTo>
                      <a:lnTo>
                        <a:pt x="1024" y="993"/>
                      </a:lnTo>
                      <a:lnTo>
                        <a:pt x="1025" y="993"/>
                      </a:lnTo>
                      <a:lnTo>
                        <a:pt x="1026" y="992"/>
                      </a:lnTo>
                      <a:lnTo>
                        <a:pt x="1027" y="992"/>
                      </a:lnTo>
                      <a:lnTo>
                        <a:pt x="1030" y="991"/>
                      </a:lnTo>
                      <a:lnTo>
                        <a:pt x="1029" y="991"/>
                      </a:lnTo>
                      <a:lnTo>
                        <a:pt x="1029" y="992"/>
                      </a:lnTo>
                      <a:lnTo>
                        <a:pt x="1028" y="992"/>
                      </a:lnTo>
                      <a:lnTo>
                        <a:pt x="1029" y="992"/>
                      </a:lnTo>
                      <a:lnTo>
                        <a:pt x="1030" y="992"/>
                      </a:lnTo>
                      <a:lnTo>
                        <a:pt x="1030" y="991"/>
                      </a:lnTo>
                      <a:lnTo>
                        <a:pt x="1030" y="992"/>
                      </a:lnTo>
                      <a:lnTo>
                        <a:pt x="1031" y="992"/>
                      </a:lnTo>
                      <a:lnTo>
                        <a:pt x="1031" y="991"/>
                      </a:lnTo>
                      <a:lnTo>
                        <a:pt x="1032" y="991"/>
                      </a:lnTo>
                      <a:lnTo>
                        <a:pt x="1032" y="992"/>
                      </a:lnTo>
                      <a:lnTo>
                        <a:pt x="1032" y="991"/>
                      </a:lnTo>
                      <a:lnTo>
                        <a:pt x="1033" y="991"/>
                      </a:lnTo>
                      <a:lnTo>
                        <a:pt x="1034" y="991"/>
                      </a:lnTo>
                      <a:lnTo>
                        <a:pt x="1034" y="990"/>
                      </a:lnTo>
                      <a:lnTo>
                        <a:pt x="1035" y="990"/>
                      </a:lnTo>
                      <a:lnTo>
                        <a:pt x="1037" y="990"/>
                      </a:lnTo>
                      <a:lnTo>
                        <a:pt x="1038" y="990"/>
                      </a:lnTo>
                      <a:lnTo>
                        <a:pt x="1040" y="990"/>
                      </a:lnTo>
                      <a:lnTo>
                        <a:pt x="1040" y="989"/>
                      </a:lnTo>
                      <a:lnTo>
                        <a:pt x="1038" y="990"/>
                      </a:lnTo>
                      <a:lnTo>
                        <a:pt x="1037" y="990"/>
                      </a:lnTo>
                      <a:lnTo>
                        <a:pt x="1037" y="989"/>
                      </a:lnTo>
                      <a:lnTo>
                        <a:pt x="1038" y="989"/>
                      </a:lnTo>
                      <a:lnTo>
                        <a:pt x="1038" y="988"/>
                      </a:lnTo>
                      <a:lnTo>
                        <a:pt x="1037" y="988"/>
                      </a:lnTo>
                      <a:lnTo>
                        <a:pt x="1038" y="988"/>
                      </a:lnTo>
                      <a:lnTo>
                        <a:pt x="1040" y="988"/>
                      </a:lnTo>
                      <a:lnTo>
                        <a:pt x="1037" y="988"/>
                      </a:lnTo>
                      <a:lnTo>
                        <a:pt x="1040" y="988"/>
                      </a:lnTo>
                      <a:lnTo>
                        <a:pt x="1041" y="988"/>
                      </a:lnTo>
                      <a:lnTo>
                        <a:pt x="1040" y="987"/>
                      </a:lnTo>
                      <a:lnTo>
                        <a:pt x="1041" y="987"/>
                      </a:lnTo>
                      <a:lnTo>
                        <a:pt x="1042" y="987"/>
                      </a:lnTo>
                      <a:lnTo>
                        <a:pt x="1041" y="987"/>
                      </a:lnTo>
                      <a:lnTo>
                        <a:pt x="1042" y="987"/>
                      </a:lnTo>
                      <a:close/>
                      <a:moveTo>
                        <a:pt x="1405" y="1157"/>
                      </a:moveTo>
                      <a:lnTo>
                        <a:pt x="1406" y="1158"/>
                      </a:lnTo>
                      <a:lnTo>
                        <a:pt x="1405" y="1158"/>
                      </a:lnTo>
                      <a:lnTo>
                        <a:pt x="1405" y="1157"/>
                      </a:lnTo>
                      <a:lnTo>
                        <a:pt x="1404" y="1157"/>
                      </a:lnTo>
                      <a:lnTo>
                        <a:pt x="1403" y="1157"/>
                      </a:lnTo>
                      <a:lnTo>
                        <a:pt x="1403" y="1158"/>
                      </a:lnTo>
                      <a:lnTo>
                        <a:pt x="1402" y="1158"/>
                      </a:lnTo>
                      <a:lnTo>
                        <a:pt x="1402" y="1159"/>
                      </a:lnTo>
                      <a:lnTo>
                        <a:pt x="1403" y="1160"/>
                      </a:lnTo>
                      <a:lnTo>
                        <a:pt x="1404" y="1160"/>
                      </a:lnTo>
                      <a:lnTo>
                        <a:pt x="1405" y="1159"/>
                      </a:lnTo>
                      <a:lnTo>
                        <a:pt x="1405" y="1160"/>
                      </a:lnTo>
                      <a:lnTo>
                        <a:pt x="1404" y="1161"/>
                      </a:lnTo>
                      <a:lnTo>
                        <a:pt x="1403" y="1162"/>
                      </a:lnTo>
                      <a:lnTo>
                        <a:pt x="1402" y="1162"/>
                      </a:lnTo>
                      <a:lnTo>
                        <a:pt x="1402" y="1163"/>
                      </a:lnTo>
                      <a:lnTo>
                        <a:pt x="1402" y="1164"/>
                      </a:lnTo>
                      <a:lnTo>
                        <a:pt x="1403" y="1164"/>
                      </a:lnTo>
                      <a:lnTo>
                        <a:pt x="1405" y="1166"/>
                      </a:lnTo>
                      <a:lnTo>
                        <a:pt x="1405" y="1167"/>
                      </a:lnTo>
                      <a:lnTo>
                        <a:pt x="1406" y="1166"/>
                      </a:lnTo>
                      <a:lnTo>
                        <a:pt x="1406" y="1167"/>
                      </a:lnTo>
                      <a:lnTo>
                        <a:pt x="1406" y="1168"/>
                      </a:lnTo>
                      <a:lnTo>
                        <a:pt x="1406" y="1169"/>
                      </a:lnTo>
                      <a:lnTo>
                        <a:pt x="1406" y="1168"/>
                      </a:lnTo>
                      <a:lnTo>
                        <a:pt x="1405" y="1168"/>
                      </a:lnTo>
                      <a:lnTo>
                        <a:pt x="1404" y="1167"/>
                      </a:lnTo>
                      <a:lnTo>
                        <a:pt x="1403" y="1166"/>
                      </a:lnTo>
                      <a:lnTo>
                        <a:pt x="1402" y="1166"/>
                      </a:lnTo>
                      <a:lnTo>
                        <a:pt x="1402" y="1164"/>
                      </a:lnTo>
                      <a:lnTo>
                        <a:pt x="1401" y="1164"/>
                      </a:lnTo>
                      <a:lnTo>
                        <a:pt x="1401" y="1162"/>
                      </a:lnTo>
                      <a:lnTo>
                        <a:pt x="1400" y="1161"/>
                      </a:lnTo>
                      <a:lnTo>
                        <a:pt x="1400" y="1160"/>
                      </a:lnTo>
                      <a:lnTo>
                        <a:pt x="1399" y="1160"/>
                      </a:lnTo>
                      <a:lnTo>
                        <a:pt x="1399" y="1159"/>
                      </a:lnTo>
                      <a:lnTo>
                        <a:pt x="1397" y="1159"/>
                      </a:lnTo>
                      <a:lnTo>
                        <a:pt x="1400" y="1159"/>
                      </a:lnTo>
                      <a:lnTo>
                        <a:pt x="1401" y="1158"/>
                      </a:lnTo>
                      <a:lnTo>
                        <a:pt x="1401" y="1157"/>
                      </a:lnTo>
                      <a:lnTo>
                        <a:pt x="1402" y="1156"/>
                      </a:lnTo>
                      <a:lnTo>
                        <a:pt x="1403" y="1156"/>
                      </a:lnTo>
                      <a:lnTo>
                        <a:pt x="1404" y="1156"/>
                      </a:lnTo>
                      <a:lnTo>
                        <a:pt x="1405" y="1157"/>
                      </a:lnTo>
                      <a:close/>
                      <a:moveTo>
                        <a:pt x="1288" y="942"/>
                      </a:moveTo>
                      <a:lnTo>
                        <a:pt x="1289" y="942"/>
                      </a:lnTo>
                      <a:lnTo>
                        <a:pt x="1289" y="943"/>
                      </a:lnTo>
                      <a:lnTo>
                        <a:pt x="1289" y="944"/>
                      </a:lnTo>
                      <a:lnTo>
                        <a:pt x="1289" y="945"/>
                      </a:lnTo>
                      <a:lnTo>
                        <a:pt x="1289" y="947"/>
                      </a:lnTo>
                      <a:lnTo>
                        <a:pt x="1288" y="947"/>
                      </a:lnTo>
                      <a:lnTo>
                        <a:pt x="1288" y="948"/>
                      </a:lnTo>
                      <a:lnTo>
                        <a:pt x="1287" y="948"/>
                      </a:lnTo>
                      <a:lnTo>
                        <a:pt x="1287" y="947"/>
                      </a:lnTo>
                      <a:lnTo>
                        <a:pt x="1287" y="948"/>
                      </a:lnTo>
                      <a:lnTo>
                        <a:pt x="1288" y="948"/>
                      </a:lnTo>
                      <a:lnTo>
                        <a:pt x="1288" y="949"/>
                      </a:lnTo>
                      <a:lnTo>
                        <a:pt x="1287" y="949"/>
                      </a:lnTo>
                      <a:lnTo>
                        <a:pt x="1287" y="950"/>
                      </a:lnTo>
                      <a:lnTo>
                        <a:pt x="1287" y="949"/>
                      </a:lnTo>
                      <a:lnTo>
                        <a:pt x="1286" y="949"/>
                      </a:lnTo>
                      <a:lnTo>
                        <a:pt x="1286" y="950"/>
                      </a:lnTo>
                      <a:lnTo>
                        <a:pt x="1286" y="949"/>
                      </a:lnTo>
                      <a:lnTo>
                        <a:pt x="1286" y="948"/>
                      </a:lnTo>
                      <a:lnTo>
                        <a:pt x="1286" y="949"/>
                      </a:lnTo>
                      <a:lnTo>
                        <a:pt x="1287" y="949"/>
                      </a:lnTo>
                      <a:lnTo>
                        <a:pt x="1287" y="948"/>
                      </a:lnTo>
                      <a:lnTo>
                        <a:pt x="1286" y="948"/>
                      </a:lnTo>
                      <a:lnTo>
                        <a:pt x="1286" y="947"/>
                      </a:lnTo>
                      <a:lnTo>
                        <a:pt x="1285" y="947"/>
                      </a:lnTo>
                      <a:lnTo>
                        <a:pt x="1286" y="947"/>
                      </a:lnTo>
                      <a:lnTo>
                        <a:pt x="1286" y="948"/>
                      </a:lnTo>
                      <a:lnTo>
                        <a:pt x="1287" y="948"/>
                      </a:lnTo>
                      <a:lnTo>
                        <a:pt x="1287" y="949"/>
                      </a:lnTo>
                      <a:lnTo>
                        <a:pt x="1286" y="948"/>
                      </a:lnTo>
                      <a:lnTo>
                        <a:pt x="1286" y="949"/>
                      </a:lnTo>
                      <a:lnTo>
                        <a:pt x="1285" y="949"/>
                      </a:lnTo>
                      <a:lnTo>
                        <a:pt x="1285" y="948"/>
                      </a:lnTo>
                      <a:lnTo>
                        <a:pt x="1286" y="948"/>
                      </a:lnTo>
                      <a:lnTo>
                        <a:pt x="1285" y="948"/>
                      </a:lnTo>
                      <a:lnTo>
                        <a:pt x="1285" y="947"/>
                      </a:lnTo>
                      <a:lnTo>
                        <a:pt x="1285" y="948"/>
                      </a:lnTo>
                      <a:lnTo>
                        <a:pt x="1285" y="947"/>
                      </a:lnTo>
                      <a:lnTo>
                        <a:pt x="1284" y="947"/>
                      </a:lnTo>
                      <a:lnTo>
                        <a:pt x="1284" y="945"/>
                      </a:lnTo>
                      <a:lnTo>
                        <a:pt x="1283" y="945"/>
                      </a:lnTo>
                      <a:lnTo>
                        <a:pt x="1283" y="947"/>
                      </a:lnTo>
                      <a:lnTo>
                        <a:pt x="1284" y="947"/>
                      </a:lnTo>
                      <a:lnTo>
                        <a:pt x="1283" y="947"/>
                      </a:lnTo>
                      <a:lnTo>
                        <a:pt x="1282" y="948"/>
                      </a:lnTo>
                      <a:lnTo>
                        <a:pt x="1283" y="948"/>
                      </a:lnTo>
                      <a:lnTo>
                        <a:pt x="1283" y="949"/>
                      </a:lnTo>
                      <a:lnTo>
                        <a:pt x="1283" y="948"/>
                      </a:lnTo>
                      <a:lnTo>
                        <a:pt x="1282" y="948"/>
                      </a:lnTo>
                      <a:lnTo>
                        <a:pt x="1282" y="949"/>
                      </a:lnTo>
                      <a:lnTo>
                        <a:pt x="1283" y="949"/>
                      </a:lnTo>
                      <a:lnTo>
                        <a:pt x="1282" y="949"/>
                      </a:lnTo>
                      <a:lnTo>
                        <a:pt x="1283" y="949"/>
                      </a:lnTo>
                      <a:lnTo>
                        <a:pt x="1282" y="949"/>
                      </a:lnTo>
                      <a:lnTo>
                        <a:pt x="1283" y="950"/>
                      </a:lnTo>
                      <a:lnTo>
                        <a:pt x="1282" y="949"/>
                      </a:lnTo>
                      <a:lnTo>
                        <a:pt x="1283" y="949"/>
                      </a:lnTo>
                      <a:lnTo>
                        <a:pt x="1284" y="950"/>
                      </a:lnTo>
                      <a:lnTo>
                        <a:pt x="1283" y="950"/>
                      </a:lnTo>
                      <a:lnTo>
                        <a:pt x="1283" y="951"/>
                      </a:lnTo>
                      <a:lnTo>
                        <a:pt x="1282" y="951"/>
                      </a:lnTo>
                      <a:lnTo>
                        <a:pt x="1283" y="950"/>
                      </a:lnTo>
                      <a:lnTo>
                        <a:pt x="1282" y="950"/>
                      </a:lnTo>
                      <a:lnTo>
                        <a:pt x="1280" y="950"/>
                      </a:lnTo>
                      <a:lnTo>
                        <a:pt x="1282" y="950"/>
                      </a:lnTo>
                      <a:lnTo>
                        <a:pt x="1280" y="950"/>
                      </a:lnTo>
                      <a:lnTo>
                        <a:pt x="1280" y="951"/>
                      </a:lnTo>
                      <a:lnTo>
                        <a:pt x="1282" y="951"/>
                      </a:lnTo>
                      <a:lnTo>
                        <a:pt x="1280" y="951"/>
                      </a:lnTo>
                      <a:lnTo>
                        <a:pt x="1279" y="951"/>
                      </a:lnTo>
                      <a:lnTo>
                        <a:pt x="1279" y="950"/>
                      </a:lnTo>
                      <a:lnTo>
                        <a:pt x="1280" y="949"/>
                      </a:lnTo>
                      <a:lnTo>
                        <a:pt x="1280" y="948"/>
                      </a:lnTo>
                      <a:lnTo>
                        <a:pt x="1280" y="947"/>
                      </a:lnTo>
                      <a:lnTo>
                        <a:pt x="1282" y="947"/>
                      </a:lnTo>
                      <a:lnTo>
                        <a:pt x="1282" y="945"/>
                      </a:lnTo>
                      <a:lnTo>
                        <a:pt x="1283" y="945"/>
                      </a:lnTo>
                      <a:lnTo>
                        <a:pt x="1283" y="944"/>
                      </a:lnTo>
                      <a:lnTo>
                        <a:pt x="1284" y="944"/>
                      </a:lnTo>
                      <a:lnTo>
                        <a:pt x="1285" y="944"/>
                      </a:lnTo>
                      <a:lnTo>
                        <a:pt x="1285" y="945"/>
                      </a:lnTo>
                      <a:lnTo>
                        <a:pt x="1286" y="945"/>
                      </a:lnTo>
                      <a:lnTo>
                        <a:pt x="1286" y="944"/>
                      </a:lnTo>
                      <a:lnTo>
                        <a:pt x="1286" y="945"/>
                      </a:lnTo>
                      <a:lnTo>
                        <a:pt x="1286" y="944"/>
                      </a:lnTo>
                      <a:lnTo>
                        <a:pt x="1287" y="944"/>
                      </a:lnTo>
                      <a:lnTo>
                        <a:pt x="1288" y="944"/>
                      </a:lnTo>
                      <a:lnTo>
                        <a:pt x="1289" y="944"/>
                      </a:lnTo>
                      <a:lnTo>
                        <a:pt x="1288" y="943"/>
                      </a:lnTo>
                      <a:lnTo>
                        <a:pt x="1288" y="944"/>
                      </a:lnTo>
                      <a:lnTo>
                        <a:pt x="1287" y="944"/>
                      </a:lnTo>
                      <a:lnTo>
                        <a:pt x="1287" y="943"/>
                      </a:lnTo>
                      <a:lnTo>
                        <a:pt x="1286" y="943"/>
                      </a:lnTo>
                      <a:lnTo>
                        <a:pt x="1287" y="943"/>
                      </a:lnTo>
                      <a:lnTo>
                        <a:pt x="1287" y="942"/>
                      </a:lnTo>
                      <a:lnTo>
                        <a:pt x="1287" y="943"/>
                      </a:lnTo>
                      <a:lnTo>
                        <a:pt x="1288" y="943"/>
                      </a:lnTo>
                      <a:lnTo>
                        <a:pt x="1287" y="943"/>
                      </a:lnTo>
                      <a:lnTo>
                        <a:pt x="1287" y="942"/>
                      </a:lnTo>
                      <a:lnTo>
                        <a:pt x="1288" y="942"/>
                      </a:lnTo>
                      <a:close/>
                      <a:moveTo>
                        <a:pt x="1073" y="994"/>
                      </a:moveTo>
                      <a:lnTo>
                        <a:pt x="1072" y="995"/>
                      </a:lnTo>
                      <a:lnTo>
                        <a:pt x="1074" y="993"/>
                      </a:lnTo>
                      <a:lnTo>
                        <a:pt x="1074" y="992"/>
                      </a:lnTo>
                      <a:lnTo>
                        <a:pt x="1076" y="992"/>
                      </a:lnTo>
                      <a:lnTo>
                        <a:pt x="1077" y="993"/>
                      </a:lnTo>
                      <a:lnTo>
                        <a:pt x="1079" y="993"/>
                      </a:lnTo>
                      <a:lnTo>
                        <a:pt x="1079" y="996"/>
                      </a:lnTo>
                      <a:lnTo>
                        <a:pt x="1079" y="998"/>
                      </a:lnTo>
                      <a:lnTo>
                        <a:pt x="1079" y="999"/>
                      </a:lnTo>
                      <a:lnTo>
                        <a:pt x="1078" y="999"/>
                      </a:lnTo>
                      <a:lnTo>
                        <a:pt x="1077" y="998"/>
                      </a:lnTo>
                      <a:lnTo>
                        <a:pt x="1076" y="996"/>
                      </a:lnTo>
                      <a:lnTo>
                        <a:pt x="1074" y="996"/>
                      </a:lnTo>
                      <a:lnTo>
                        <a:pt x="1073" y="996"/>
                      </a:lnTo>
                      <a:lnTo>
                        <a:pt x="1072" y="996"/>
                      </a:lnTo>
                      <a:lnTo>
                        <a:pt x="1071" y="995"/>
                      </a:lnTo>
                      <a:lnTo>
                        <a:pt x="1071" y="996"/>
                      </a:lnTo>
                      <a:lnTo>
                        <a:pt x="1071" y="995"/>
                      </a:lnTo>
                      <a:lnTo>
                        <a:pt x="1070" y="996"/>
                      </a:lnTo>
                      <a:lnTo>
                        <a:pt x="1070" y="995"/>
                      </a:lnTo>
                      <a:lnTo>
                        <a:pt x="1071" y="994"/>
                      </a:lnTo>
                      <a:lnTo>
                        <a:pt x="1071" y="992"/>
                      </a:lnTo>
                      <a:lnTo>
                        <a:pt x="1074" y="992"/>
                      </a:lnTo>
                      <a:lnTo>
                        <a:pt x="1074" y="993"/>
                      </a:lnTo>
                      <a:lnTo>
                        <a:pt x="1073" y="993"/>
                      </a:lnTo>
                      <a:lnTo>
                        <a:pt x="1073" y="994"/>
                      </a:lnTo>
                      <a:close/>
                      <a:moveTo>
                        <a:pt x="1014" y="986"/>
                      </a:moveTo>
                      <a:lnTo>
                        <a:pt x="1015" y="986"/>
                      </a:lnTo>
                      <a:lnTo>
                        <a:pt x="1016" y="986"/>
                      </a:lnTo>
                      <a:lnTo>
                        <a:pt x="1017" y="986"/>
                      </a:lnTo>
                      <a:lnTo>
                        <a:pt x="1017" y="987"/>
                      </a:lnTo>
                      <a:lnTo>
                        <a:pt x="1016" y="987"/>
                      </a:lnTo>
                      <a:lnTo>
                        <a:pt x="1015" y="988"/>
                      </a:lnTo>
                      <a:lnTo>
                        <a:pt x="1014" y="988"/>
                      </a:lnTo>
                      <a:lnTo>
                        <a:pt x="1014" y="989"/>
                      </a:lnTo>
                      <a:lnTo>
                        <a:pt x="1013" y="989"/>
                      </a:lnTo>
                      <a:lnTo>
                        <a:pt x="1012" y="989"/>
                      </a:lnTo>
                      <a:lnTo>
                        <a:pt x="1012" y="990"/>
                      </a:lnTo>
                      <a:lnTo>
                        <a:pt x="1011" y="990"/>
                      </a:lnTo>
                      <a:lnTo>
                        <a:pt x="1009" y="990"/>
                      </a:lnTo>
                      <a:lnTo>
                        <a:pt x="1008" y="991"/>
                      </a:lnTo>
                      <a:lnTo>
                        <a:pt x="1007" y="991"/>
                      </a:lnTo>
                      <a:lnTo>
                        <a:pt x="1006" y="991"/>
                      </a:lnTo>
                      <a:lnTo>
                        <a:pt x="1006" y="990"/>
                      </a:lnTo>
                      <a:lnTo>
                        <a:pt x="1005" y="989"/>
                      </a:lnTo>
                      <a:lnTo>
                        <a:pt x="1006" y="989"/>
                      </a:lnTo>
                      <a:lnTo>
                        <a:pt x="1006" y="988"/>
                      </a:lnTo>
                      <a:lnTo>
                        <a:pt x="1007" y="988"/>
                      </a:lnTo>
                      <a:lnTo>
                        <a:pt x="1008" y="988"/>
                      </a:lnTo>
                      <a:lnTo>
                        <a:pt x="1008" y="987"/>
                      </a:lnTo>
                      <a:lnTo>
                        <a:pt x="1009" y="987"/>
                      </a:lnTo>
                      <a:lnTo>
                        <a:pt x="1009" y="986"/>
                      </a:lnTo>
                      <a:lnTo>
                        <a:pt x="1011" y="986"/>
                      </a:lnTo>
                      <a:lnTo>
                        <a:pt x="1012" y="987"/>
                      </a:lnTo>
                      <a:lnTo>
                        <a:pt x="1013" y="987"/>
                      </a:lnTo>
                      <a:lnTo>
                        <a:pt x="1013" y="986"/>
                      </a:lnTo>
                      <a:lnTo>
                        <a:pt x="1012" y="986"/>
                      </a:lnTo>
                      <a:lnTo>
                        <a:pt x="1013" y="986"/>
                      </a:lnTo>
                      <a:lnTo>
                        <a:pt x="1013" y="984"/>
                      </a:lnTo>
                      <a:lnTo>
                        <a:pt x="1014" y="984"/>
                      </a:lnTo>
                      <a:lnTo>
                        <a:pt x="1014" y="986"/>
                      </a:lnTo>
                      <a:close/>
                      <a:moveTo>
                        <a:pt x="1403" y="1104"/>
                      </a:moveTo>
                      <a:lnTo>
                        <a:pt x="1402" y="1105"/>
                      </a:lnTo>
                      <a:lnTo>
                        <a:pt x="1401" y="1106"/>
                      </a:lnTo>
                      <a:lnTo>
                        <a:pt x="1401" y="1107"/>
                      </a:lnTo>
                      <a:lnTo>
                        <a:pt x="1401" y="1106"/>
                      </a:lnTo>
                      <a:lnTo>
                        <a:pt x="1402" y="1106"/>
                      </a:lnTo>
                      <a:lnTo>
                        <a:pt x="1402" y="1107"/>
                      </a:lnTo>
                      <a:lnTo>
                        <a:pt x="1402" y="1106"/>
                      </a:lnTo>
                      <a:lnTo>
                        <a:pt x="1403" y="1106"/>
                      </a:lnTo>
                      <a:lnTo>
                        <a:pt x="1402" y="1107"/>
                      </a:lnTo>
                      <a:lnTo>
                        <a:pt x="1401" y="1108"/>
                      </a:lnTo>
                      <a:lnTo>
                        <a:pt x="1400" y="1109"/>
                      </a:lnTo>
                      <a:lnTo>
                        <a:pt x="1399" y="1110"/>
                      </a:lnTo>
                      <a:lnTo>
                        <a:pt x="1397" y="1110"/>
                      </a:lnTo>
                      <a:lnTo>
                        <a:pt x="1397" y="1109"/>
                      </a:lnTo>
                      <a:lnTo>
                        <a:pt x="1397" y="1110"/>
                      </a:lnTo>
                      <a:lnTo>
                        <a:pt x="1396" y="1110"/>
                      </a:lnTo>
                      <a:lnTo>
                        <a:pt x="1395" y="1110"/>
                      </a:lnTo>
                      <a:lnTo>
                        <a:pt x="1395" y="1111"/>
                      </a:lnTo>
                      <a:lnTo>
                        <a:pt x="1394" y="1111"/>
                      </a:lnTo>
                      <a:lnTo>
                        <a:pt x="1393" y="1111"/>
                      </a:lnTo>
                      <a:lnTo>
                        <a:pt x="1391" y="1111"/>
                      </a:lnTo>
                      <a:lnTo>
                        <a:pt x="1390" y="1111"/>
                      </a:lnTo>
                      <a:lnTo>
                        <a:pt x="1388" y="1111"/>
                      </a:lnTo>
                      <a:lnTo>
                        <a:pt x="1387" y="1111"/>
                      </a:lnTo>
                      <a:lnTo>
                        <a:pt x="1386" y="1111"/>
                      </a:lnTo>
                      <a:lnTo>
                        <a:pt x="1386" y="1110"/>
                      </a:lnTo>
                      <a:lnTo>
                        <a:pt x="1384" y="1110"/>
                      </a:lnTo>
                      <a:lnTo>
                        <a:pt x="1384" y="1109"/>
                      </a:lnTo>
                      <a:lnTo>
                        <a:pt x="1386" y="1109"/>
                      </a:lnTo>
                      <a:lnTo>
                        <a:pt x="1386" y="1110"/>
                      </a:lnTo>
                      <a:lnTo>
                        <a:pt x="1387" y="1110"/>
                      </a:lnTo>
                      <a:lnTo>
                        <a:pt x="1388" y="1110"/>
                      </a:lnTo>
                      <a:lnTo>
                        <a:pt x="1388" y="1109"/>
                      </a:lnTo>
                      <a:lnTo>
                        <a:pt x="1389" y="1109"/>
                      </a:lnTo>
                      <a:lnTo>
                        <a:pt x="1390" y="1109"/>
                      </a:lnTo>
                      <a:lnTo>
                        <a:pt x="1389" y="1109"/>
                      </a:lnTo>
                      <a:lnTo>
                        <a:pt x="1389" y="1110"/>
                      </a:lnTo>
                      <a:lnTo>
                        <a:pt x="1388" y="1110"/>
                      </a:lnTo>
                      <a:lnTo>
                        <a:pt x="1388" y="1111"/>
                      </a:lnTo>
                      <a:lnTo>
                        <a:pt x="1388" y="1110"/>
                      </a:lnTo>
                      <a:lnTo>
                        <a:pt x="1388" y="1111"/>
                      </a:lnTo>
                      <a:lnTo>
                        <a:pt x="1389" y="1111"/>
                      </a:lnTo>
                      <a:lnTo>
                        <a:pt x="1389" y="1110"/>
                      </a:lnTo>
                      <a:lnTo>
                        <a:pt x="1390" y="1110"/>
                      </a:lnTo>
                      <a:lnTo>
                        <a:pt x="1390" y="1111"/>
                      </a:lnTo>
                      <a:lnTo>
                        <a:pt x="1390" y="1110"/>
                      </a:lnTo>
                      <a:lnTo>
                        <a:pt x="1391" y="1110"/>
                      </a:lnTo>
                      <a:lnTo>
                        <a:pt x="1392" y="1110"/>
                      </a:lnTo>
                      <a:lnTo>
                        <a:pt x="1393" y="1110"/>
                      </a:lnTo>
                      <a:lnTo>
                        <a:pt x="1394" y="1110"/>
                      </a:lnTo>
                      <a:lnTo>
                        <a:pt x="1394" y="1109"/>
                      </a:lnTo>
                      <a:lnTo>
                        <a:pt x="1395" y="1109"/>
                      </a:lnTo>
                      <a:lnTo>
                        <a:pt x="1396" y="1108"/>
                      </a:lnTo>
                      <a:lnTo>
                        <a:pt x="1396" y="1107"/>
                      </a:lnTo>
                      <a:lnTo>
                        <a:pt x="1397" y="1108"/>
                      </a:lnTo>
                      <a:lnTo>
                        <a:pt x="1397" y="1107"/>
                      </a:lnTo>
                      <a:lnTo>
                        <a:pt x="1397" y="1106"/>
                      </a:lnTo>
                      <a:lnTo>
                        <a:pt x="1397" y="1107"/>
                      </a:lnTo>
                      <a:lnTo>
                        <a:pt x="1399" y="1107"/>
                      </a:lnTo>
                      <a:lnTo>
                        <a:pt x="1400" y="1107"/>
                      </a:lnTo>
                      <a:lnTo>
                        <a:pt x="1400" y="1106"/>
                      </a:lnTo>
                      <a:lnTo>
                        <a:pt x="1400" y="1105"/>
                      </a:lnTo>
                      <a:lnTo>
                        <a:pt x="1401" y="1105"/>
                      </a:lnTo>
                      <a:lnTo>
                        <a:pt x="1402" y="1105"/>
                      </a:lnTo>
                      <a:lnTo>
                        <a:pt x="1403" y="1104"/>
                      </a:lnTo>
                      <a:lnTo>
                        <a:pt x="1405" y="1103"/>
                      </a:lnTo>
                      <a:lnTo>
                        <a:pt x="1404" y="1103"/>
                      </a:lnTo>
                      <a:lnTo>
                        <a:pt x="1403" y="1104"/>
                      </a:lnTo>
                      <a:close/>
                      <a:moveTo>
                        <a:pt x="1166" y="866"/>
                      </a:moveTo>
                      <a:lnTo>
                        <a:pt x="1166" y="867"/>
                      </a:lnTo>
                      <a:lnTo>
                        <a:pt x="1167" y="867"/>
                      </a:lnTo>
                      <a:lnTo>
                        <a:pt x="1168" y="867"/>
                      </a:lnTo>
                      <a:lnTo>
                        <a:pt x="1168" y="868"/>
                      </a:lnTo>
                      <a:lnTo>
                        <a:pt x="1169" y="868"/>
                      </a:lnTo>
                      <a:lnTo>
                        <a:pt x="1170" y="868"/>
                      </a:lnTo>
                      <a:lnTo>
                        <a:pt x="1170" y="867"/>
                      </a:lnTo>
                      <a:lnTo>
                        <a:pt x="1170" y="868"/>
                      </a:lnTo>
                      <a:lnTo>
                        <a:pt x="1171" y="868"/>
                      </a:lnTo>
                      <a:lnTo>
                        <a:pt x="1172" y="868"/>
                      </a:lnTo>
                      <a:lnTo>
                        <a:pt x="1172" y="867"/>
                      </a:lnTo>
                      <a:lnTo>
                        <a:pt x="1172" y="866"/>
                      </a:lnTo>
                      <a:lnTo>
                        <a:pt x="1172" y="867"/>
                      </a:lnTo>
                      <a:lnTo>
                        <a:pt x="1173" y="867"/>
                      </a:lnTo>
                      <a:lnTo>
                        <a:pt x="1174" y="867"/>
                      </a:lnTo>
                      <a:lnTo>
                        <a:pt x="1173" y="867"/>
                      </a:lnTo>
                      <a:lnTo>
                        <a:pt x="1173" y="868"/>
                      </a:lnTo>
                      <a:lnTo>
                        <a:pt x="1173" y="870"/>
                      </a:lnTo>
                      <a:lnTo>
                        <a:pt x="1174" y="871"/>
                      </a:lnTo>
                      <a:lnTo>
                        <a:pt x="1173" y="872"/>
                      </a:lnTo>
                      <a:lnTo>
                        <a:pt x="1172" y="872"/>
                      </a:lnTo>
                      <a:lnTo>
                        <a:pt x="1171" y="873"/>
                      </a:lnTo>
                      <a:lnTo>
                        <a:pt x="1171" y="872"/>
                      </a:lnTo>
                      <a:lnTo>
                        <a:pt x="1171" y="871"/>
                      </a:lnTo>
                      <a:lnTo>
                        <a:pt x="1170" y="871"/>
                      </a:lnTo>
                      <a:lnTo>
                        <a:pt x="1169" y="871"/>
                      </a:lnTo>
                      <a:lnTo>
                        <a:pt x="1168" y="871"/>
                      </a:lnTo>
                      <a:lnTo>
                        <a:pt x="1167" y="871"/>
                      </a:lnTo>
                      <a:lnTo>
                        <a:pt x="1167" y="872"/>
                      </a:lnTo>
                      <a:lnTo>
                        <a:pt x="1167" y="873"/>
                      </a:lnTo>
                      <a:lnTo>
                        <a:pt x="1166" y="872"/>
                      </a:lnTo>
                      <a:lnTo>
                        <a:pt x="1164" y="872"/>
                      </a:lnTo>
                      <a:lnTo>
                        <a:pt x="1164" y="871"/>
                      </a:lnTo>
                      <a:lnTo>
                        <a:pt x="1164" y="872"/>
                      </a:lnTo>
                      <a:lnTo>
                        <a:pt x="1166" y="872"/>
                      </a:lnTo>
                      <a:lnTo>
                        <a:pt x="1166" y="871"/>
                      </a:lnTo>
                      <a:lnTo>
                        <a:pt x="1166" y="870"/>
                      </a:lnTo>
                      <a:lnTo>
                        <a:pt x="1166" y="868"/>
                      </a:lnTo>
                      <a:lnTo>
                        <a:pt x="1164" y="868"/>
                      </a:lnTo>
                      <a:lnTo>
                        <a:pt x="1164" y="867"/>
                      </a:lnTo>
                      <a:lnTo>
                        <a:pt x="1166" y="867"/>
                      </a:lnTo>
                      <a:lnTo>
                        <a:pt x="1164" y="867"/>
                      </a:lnTo>
                      <a:lnTo>
                        <a:pt x="1163" y="867"/>
                      </a:lnTo>
                      <a:lnTo>
                        <a:pt x="1164" y="867"/>
                      </a:lnTo>
                      <a:lnTo>
                        <a:pt x="1164" y="866"/>
                      </a:lnTo>
                      <a:lnTo>
                        <a:pt x="1166" y="866"/>
                      </a:lnTo>
                      <a:close/>
                      <a:moveTo>
                        <a:pt x="1094" y="976"/>
                      </a:moveTo>
                      <a:lnTo>
                        <a:pt x="1093" y="976"/>
                      </a:lnTo>
                      <a:lnTo>
                        <a:pt x="1092" y="976"/>
                      </a:lnTo>
                      <a:lnTo>
                        <a:pt x="1091" y="976"/>
                      </a:lnTo>
                      <a:lnTo>
                        <a:pt x="1090" y="976"/>
                      </a:lnTo>
                      <a:lnTo>
                        <a:pt x="1089" y="976"/>
                      </a:lnTo>
                      <a:lnTo>
                        <a:pt x="1089" y="975"/>
                      </a:lnTo>
                      <a:lnTo>
                        <a:pt x="1092" y="970"/>
                      </a:lnTo>
                      <a:lnTo>
                        <a:pt x="1092" y="969"/>
                      </a:lnTo>
                      <a:lnTo>
                        <a:pt x="1093" y="968"/>
                      </a:lnTo>
                      <a:lnTo>
                        <a:pt x="1094" y="968"/>
                      </a:lnTo>
                      <a:lnTo>
                        <a:pt x="1094" y="969"/>
                      </a:lnTo>
                      <a:lnTo>
                        <a:pt x="1095" y="969"/>
                      </a:lnTo>
                      <a:lnTo>
                        <a:pt x="1095" y="970"/>
                      </a:lnTo>
                      <a:lnTo>
                        <a:pt x="1095" y="971"/>
                      </a:lnTo>
                      <a:lnTo>
                        <a:pt x="1096" y="971"/>
                      </a:lnTo>
                      <a:lnTo>
                        <a:pt x="1095" y="974"/>
                      </a:lnTo>
                      <a:lnTo>
                        <a:pt x="1094" y="975"/>
                      </a:lnTo>
                      <a:lnTo>
                        <a:pt x="1094" y="976"/>
                      </a:lnTo>
                      <a:close/>
                      <a:moveTo>
                        <a:pt x="1412" y="983"/>
                      </a:moveTo>
                      <a:lnTo>
                        <a:pt x="1413" y="983"/>
                      </a:lnTo>
                      <a:lnTo>
                        <a:pt x="1413" y="984"/>
                      </a:lnTo>
                      <a:lnTo>
                        <a:pt x="1414" y="984"/>
                      </a:lnTo>
                      <a:lnTo>
                        <a:pt x="1413" y="984"/>
                      </a:lnTo>
                      <a:lnTo>
                        <a:pt x="1413" y="986"/>
                      </a:lnTo>
                      <a:lnTo>
                        <a:pt x="1414" y="986"/>
                      </a:lnTo>
                      <a:lnTo>
                        <a:pt x="1415" y="987"/>
                      </a:lnTo>
                      <a:lnTo>
                        <a:pt x="1416" y="987"/>
                      </a:lnTo>
                      <a:lnTo>
                        <a:pt x="1415" y="988"/>
                      </a:lnTo>
                      <a:lnTo>
                        <a:pt x="1414" y="988"/>
                      </a:lnTo>
                      <a:lnTo>
                        <a:pt x="1414" y="989"/>
                      </a:lnTo>
                      <a:lnTo>
                        <a:pt x="1413" y="989"/>
                      </a:lnTo>
                      <a:lnTo>
                        <a:pt x="1413" y="990"/>
                      </a:lnTo>
                      <a:lnTo>
                        <a:pt x="1412" y="990"/>
                      </a:lnTo>
                      <a:lnTo>
                        <a:pt x="1412" y="989"/>
                      </a:lnTo>
                      <a:lnTo>
                        <a:pt x="1412" y="990"/>
                      </a:lnTo>
                      <a:lnTo>
                        <a:pt x="1410" y="989"/>
                      </a:lnTo>
                      <a:lnTo>
                        <a:pt x="1409" y="989"/>
                      </a:lnTo>
                      <a:lnTo>
                        <a:pt x="1409" y="990"/>
                      </a:lnTo>
                      <a:lnTo>
                        <a:pt x="1409" y="989"/>
                      </a:lnTo>
                      <a:lnTo>
                        <a:pt x="1409" y="987"/>
                      </a:lnTo>
                      <a:lnTo>
                        <a:pt x="1409" y="986"/>
                      </a:lnTo>
                      <a:lnTo>
                        <a:pt x="1409" y="984"/>
                      </a:lnTo>
                      <a:lnTo>
                        <a:pt x="1409" y="983"/>
                      </a:lnTo>
                      <a:lnTo>
                        <a:pt x="1409" y="982"/>
                      </a:lnTo>
                      <a:lnTo>
                        <a:pt x="1410" y="982"/>
                      </a:lnTo>
                      <a:lnTo>
                        <a:pt x="1412" y="982"/>
                      </a:lnTo>
                      <a:lnTo>
                        <a:pt x="1412" y="983"/>
                      </a:lnTo>
                      <a:close/>
                      <a:moveTo>
                        <a:pt x="1115" y="965"/>
                      </a:moveTo>
                      <a:lnTo>
                        <a:pt x="1116" y="965"/>
                      </a:lnTo>
                      <a:lnTo>
                        <a:pt x="1116" y="966"/>
                      </a:lnTo>
                      <a:lnTo>
                        <a:pt x="1115" y="966"/>
                      </a:lnTo>
                      <a:lnTo>
                        <a:pt x="1116" y="966"/>
                      </a:lnTo>
                      <a:lnTo>
                        <a:pt x="1115" y="967"/>
                      </a:lnTo>
                      <a:lnTo>
                        <a:pt x="1116" y="967"/>
                      </a:lnTo>
                      <a:lnTo>
                        <a:pt x="1116" y="966"/>
                      </a:lnTo>
                      <a:lnTo>
                        <a:pt x="1116" y="967"/>
                      </a:lnTo>
                      <a:lnTo>
                        <a:pt x="1117" y="966"/>
                      </a:lnTo>
                      <a:lnTo>
                        <a:pt x="1117" y="965"/>
                      </a:lnTo>
                      <a:lnTo>
                        <a:pt x="1118" y="965"/>
                      </a:lnTo>
                      <a:lnTo>
                        <a:pt x="1118" y="966"/>
                      </a:lnTo>
                      <a:lnTo>
                        <a:pt x="1119" y="966"/>
                      </a:lnTo>
                      <a:lnTo>
                        <a:pt x="1119" y="965"/>
                      </a:lnTo>
                      <a:lnTo>
                        <a:pt x="1119" y="964"/>
                      </a:lnTo>
                      <a:lnTo>
                        <a:pt x="1120" y="964"/>
                      </a:lnTo>
                      <a:lnTo>
                        <a:pt x="1121" y="964"/>
                      </a:lnTo>
                      <a:lnTo>
                        <a:pt x="1122" y="964"/>
                      </a:lnTo>
                      <a:lnTo>
                        <a:pt x="1123" y="965"/>
                      </a:lnTo>
                      <a:lnTo>
                        <a:pt x="1122" y="964"/>
                      </a:lnTo>
                      <a:lnTo>
                        <a:pt x="1122" y="965"/>
                      </a:lnTo>
                      <a:lnTo>
                        <a:pt x="1121" y="965"/>
                      </a:lnTo>
                      <a:lnTo>
                        <a:pt x="1121" y="966"/>
                      </a:lnTo>
                      <a:lnTo>
                        <a:pt x="1120" y="967"/>
                      </a:lnTo>
                      <a:lnTo>
                        <a:pt x="1121" y="967"/>
                      </a:lnTo>
                      <a:lnTo>
                        <a:pt x="1121" y="968"/>
                      </a:lnTo>
                      <a:lnTo>
                        <a:pt x="1120" y="968"/>
                      </a:lnTo>
                      <a:lnTo>
                        <a:pt x="1120" y="969"/>
                      </a:lnTo>
                      <a:lnTo>
                        <a:pt x="1120" y="970"/>
                      </a:lnTo>
                      <a:lnTo>
                        <a:pt x="1119" y="969"/>
                      </a:lnTo>
                      <a:lnTo>
                        <a:pt x="1119" y="970"/>
                      </a:lnTo>
                      <a:lnTo>
                        <a:pt x="1119" y="969"/>
                      </a:lnTo>
                      <a:lnTo>
                        <a:pt x="1118" y="969"/>
                      </a:lnTo>
                      <a:lnTo>
                        <a:pt x="1118" y="970"/>
                      </a:lnTo>
                      <a:lnTo>
                        <a:pt x="1117" y="970"/>
                      </a:lnTo>
                      <a:lnTo>
                        <a:pt x="1116" y="970"/>
                      </a:lnTo>
                      <a:lnTo>
                        <a:pt x="1115" y="970"/>
                      </a:lnTo>
                      <a:lnTo>
                        <a:pt x="1116" y="970"/>
                      </a:lnTo>
                      <a:lnTo>
                        <a:pt x="1116" y="969"/>
                      </a:lnTo>
                      <a:lnTo>
                        <a:pt x="1117" y="969"/>
                      </a:lnTo>
                      <a:lnTo>
                        <a:pt x="1117" y="968"/>
                      </a:lnTo>
                      <a:lnTo>
                        <a:pt x="1118" y="968"/>
                      </a:lnTo>
                      <a:lnTo>
                        <a:pt x="1117" y="968"/>
                      </a:lnTo>
                      <a:lnTo>
                        <a:pt x="1118" y="967"/>
                      </a:lnTo>
                      <a:lnTo>
                        <a:pt x="1119" y="967"/>
                      </a:lnTo>
                      <a:lnTo>
                        <a:pt x="1119" y="966"/>
                      </a:lnTo>
                      <a:lnTo>
                        <a:pt x="1118" y="967"/>
                      </a:lnTo>
                      <a:lnTo>
                        <a:pt x="1116" y="967"/>
                      </a:lnTo>
                      <a:lnTo>
                        <a:pt x="1116" y="968"/>
                      </a:lnTo>
                      <a:lnTo>
                        <a:pt x="1117" y="968"/>
                      </a:lnTo>
                      <a:lnTo>
                        <a:pt x="1115" y="968"/>
                      </a:lnTo>
                      <a:lnTo>
                        <a:pt x="1115" y="969"/>
                      </a:lnTo>
                      <a:lnTo>
                        <a:pt x="1113" y="969"/>
                      </a:lnTo>
                      <a:lnTo>
                        <a:pt x="1113" y="968"/>
                      </a:lnTo>
                      <a:lnTo>
                        <a:pt x="1113" y="967"/>
                      </a:lnTo>
                      <a:lnTo>
                        <a:pt x="1115" y="966"/>
                      </a:lnTo>
                      <a:lnTo>
                        <a:pt x="1115" y="965"/>
                      </a:lnTo>
                      <a:lnTo>
                        <a:pt x="1113" y="964"/>
                      </a:lnTo>
                      <a:lnTo>
                        <a:pt x="1113" y="963"/>
                      </a:lnTo>
                      <a:lnTo>
                        <a:pt x="1115" y="964"/>
                      </a:lnTo>
                      <a:lnTo>
                        <a:pt x="1115" y="965"/>
                      </a:lnTo>
                      <a:close/>
                      <a:moveTo>
                        <a:pt x="1060" y="930"/>
                      </a:moveTo>
                      <a:lnTo>
                        <a:pt x="1060" y="931"/>
                      </a:lnTo>
                      <a:lnTo>
                        <a:pt x="1060" y="932"/>
                      </a:lnTo>
                      <a:lnTo>
                        <a:pt x="1061" y="934"/>
                      </a:lnTo>
                      <a:lnTo>
                        <a:pt x="1061" y="935"/>
                      </a:lnTo>
                      <a:lnTo>
                        <a:pt x="1060" y="935"/>
                      </a:lnTo>
                      <a:lnTo>
                        <a:pt x="1060" y="934"/>
                      </a:lnTo>
                      <a:lnTo>
                        <a:pt x="1060" y="932"/>
                      </a:lnTo>
                      <a:lnTo>
                        <a:pt x="1059" y="932"/>
                      </a:lnTo>
                      <a:lnTo>
                        <a:pt x="1058" y="932"/>
                      </a:lnTo>
                      <a:lnTo>
                        <a:pt x="1058" y="934"/>
                      </a:lnTo>
                      <a:lnTo>
                        <a:pt x="1058" y="935"/>
                      </a:lnTo>
                      <a:lnTo>
                        <a:pt x="1058" y="936"/>
                      </a:lnTo>
                      <a:lnTo>
                        <a:pt x="1059" y="936"/>
                      </a:lnTo>
                      <a:lnTo>
                        <a:pt x="1059" y="937"/>
                      </a:lnTo>
                      <a:lnTo>
                        <a:pt x="1058" y="937"/>
                      </a:lnTo>
                      <a:lnTo>
                        <a:pt x="1058" y="936"/>
                      </a:lnTo>
                      <a:lnTo>
                        <a:pt x="1057" y="936"/>
                      </a:lnTo>
                      <a:lnTo>
                        <a:pt x="1056" y="936"/>
                      </a:lnTo>
                      <a:lnTo>
                        <a:pt x="1057" y="937"/>
                      </a:lnTo>
                      <a:lnTo>
                        <a:pt x="1056" y="937"/>
                      </a:lnTo>
                      <a:lnTo>
                        <a:pt x="1055" y="935"/>
                      </a:lnTo>
                      <a:lnTo>
                        <a:pt x="1056" y="935"/>
                      </a:lnTo>
                      <a:lnTo>
                        <a:pt x="1056" y="936"/>
                      </a:lnTo>
                      <a:lnTo>
                        <a:pt x="1056" y="935"/>
                      </a:lnTo>
                      <a:lnTo>
                        <a:pt x="1055" y="935"/>
                      </a:lnTo>
                      <a:lnTo>
                        <a:pt x="1054" y="934"/>
                      </a:lnTo>
                      <a:lnTo>
                        <a:pt x="1053" y="934"/>
                      </a:lnTo>
                      <a:lnTo>
                        <a:pt x="1053" y="932"/>
                      </a:lnTo>
                      <a:lnTo>
                        <a:pt x="1052" y="932"/>
                      </a:lnTo>
                      <a:lnTo>
                        <a:pt x="1052" y="931"/>
                      </a:lnTo>
                      <a:lnTo>
                        <a:pt x="1053" y="931"/>
                      </a:lnTo>
                      <a:lnTo>
                        <a:pt x="1053" y="932"/>
                      </a:lnTo>
                      <a:lnTo>
                        <a:pt x="1054" y="931"/>
                      </a:lnTo>
                      <a:lnTo>
                        <a:pt x="1056" y="930"/>
                      </a:lnTo>
                      <a:lnTo>
                        <a:pt x="1057" y="930"/>
                      </a:lnTo>
                      <a:lnTo>
                        <a:pt x="1056" y="930"/>
                      </a:lnTo>
                      <a:lnTo>
                        <a:pt x="1056" y="931"/>
                      </a:lnTo>
                      <a:lnTo>
                        <a:pt x="1055" y="932"/>
                      </a:lnTo>
                      <a:lnTo>
                        <a:pt x="1057" y="930"/>
                      </a:lnTo>
                      <a:lnTo>
                        <a:pt x="1057" y="931"/>
                      </a:lnTo>
                      <a:lnTo>
                        <a:pt x="1058" y="931"/>
                      </a:lnTo>
                      <a:lnTo>
                        <a:pt x="1058" y="930"/>
                      </a:lnTo>
                      <a:lnTo>
                        <a:pt x="1059" y="930"/>
                      </a:lnTo>
                      <a:lnTo>
                        <a:pt x="1059" y="929"/>
                      </a:lnTo>
                      <a:lnTo>
                        <a:pt x="1060" y="929"/>
                      </a:lnTo>
                      <a:lnTo>
                        <a:pt x="1059" y="928"/>
                      </a:lnTo>
                      <a:lnTo>
                        <a:pt x="1060" y="929"/>
                      </a:lnTo>
                      <a:lnTo>
                        <a:pt x="1060" y="930"/>
                      </a:lnTo>
                      <a:close/>
                      <a:moveTo>
                        <a:pt x="1443" y="1089"/>
                      </a:moveTo>
                      <a:lnTo>
                        <a:pt x="1443" y="1090"/>
                      </a:lnTo>
                      <a:lnTo>
                        <a:pt x="1442" y="1091"/>
                      </a:lnTo>
                      <a:lnTo>
                        <a:pt x="1443" y="1092"/>
                      </a:lnTo>
                      <a:lnTo>
                        <a:pt x="1442" y="1092"/>
                      </a:lnTo>
                      <a:lnTo>
                        <a:pt x="1442" y="1093"/>
                      </a:lnTo>
                      <a:lnTo>
                        <a:pt x="1441" y="1093"/>
                      </a:lnTo>
                      <a:lnTo>
                        <a:pt x="1440" y="1093"/>
                      </a:lnTo>
                      <a:lnTo>
                        <a:pt x="1439" y="1094"/>
                      </a:lnTo>
                      <a:lnTo>
                        <a:pt x="1438" y="1094"/>
                      </a:lnTo>
                      <a:lnTo>
                        <a:pt x="1437" y="1094"/>
                      </a:lnTo>
                      <a:lnTo>
                        <a:pt x="1434" y="1095"/>
                      </a:lnTo>
                      <a:lnTo>
                        <a:pt x="1434" y="1094"/>
                      </a:lnTo>
                      <a:lnTo>
                        <a:pt x="1433" y="1094"/>
                      </a:lnTo>
                      <a:lnTo>
                        <a:pt x="1433" y="1093"/>
                      </a:lnTo>
                      <a:lnTo>
                        <a:pt x="1441" y="1089"/>
                      </a:lnTo>
                      <a:lnTo>
                        <a:pt x="1442" y="1089"/>
                      </a:lnTo>
                      <a:lnTo>
                        <a:pt x="1443" y="1089"/>
                      </a:lnTo>
                      <a:lnTo>
                        <a:pt x="1443" y="1088"/>
                      </a:lnTo>
                      <a:lnTo>
                        <a:pt x="1443" y="1089"/>
                      </a:lnTo>
                      <a:close/>
                      <a:moveTo>
                        <a:pt x="1351" y="1167"/>
                      </a:moveTo>
                      <a:lnTo>
                        <a:pt x="1352" y="1168"/>
                      </a:lnTo>
                      <a:lnTo>
                        <a:pt x="1351" y="1168"/>
                      </a:lnTo>
                      <a:lnTo>
                        <a:pt x="1350" y="1168"/>
                      </a:lnTo>
                      <a:lnTo>
                        <a:pt x="1349" y="1168"/>
                      </a:lnTo>
                      <a:lnTo>
                        <a:pt x="1348" y="1168"/>
                      </a:lnTo>
                      <a:lnTo>
                        <a:pt x="1348" y="1169"/>
                      </a:lnTo>
                      <a:lnTo>
                        <a:pt x="1347" y="1170"/>
                      </a:lnTo>
                      <a:lnTo>
                        <a:pt x="1345" y="1170"/>
                      </a:lnTo>
                      <a:lnTo>
                        <a:pt x="1344" y="1169"/>
                      </a:lnTo>
                      <a:lnTo>
                        <a:pt x="1344" y="1170"/>
                      </a:lnTo>
                      <a:lnTo>
                        <a:pt x="1343" y="1170"/>
                      </a:lnTo>
                      <a:lnTo>
                        <a:pt x="1342" y="1169"/>
                      </a:lnTo>
                      <a:lnTo>
                        <a:pt x="1342" y="1168"/>
                      </a:lnTo>
                      <a:lnTo>
                        <a:pt x="1343" y="1168"/>
                      </a:lnTo>
                      <a:lnTo>
                        <a:pt x="1343" y="1169"/>
                      </a:lnTo>
                      <a:lnTo>
                        <a:pt x="1344" y="1169"/>
                      </a:lnTo>
                      <a:lnTo>
                        <a:pt x="1344" y="1168"/>
                      </a:lnTo>
                      <a:lnTo>
                        <a:pt x="1344" y="1167"/>
                      </a:lnTo>
                      <a:lnTo>
                        <a:pt x="1343" y="1167"/>
                      </a:lnTo>
                      <a:lnTo>
                        <a:pt x="1344" y="1166"/>
                      </a:lnTo>
                      <a:lnTo>
                        <a:pt x="1345" y="1164"/>
                      </a:lnTo>
                      <a:lnTo>
                        <a:pt x="1347" y="1163"/>
                      </a:lnTo>
                      <a:lnTo>
                        <a:pt x="1348" y="1163"/>
                      </a:lnTo>
                      <a:lnTo>
                        <a:pt x="1349" y="1164"/>
                      </a:lnTo>
                      <a:lnTo>
                        <a:pt x="1350" y="1166"/>
                      </a:lnTo>
                      <a:lnTo>
                        <a:pt x="1351" y="1166"/>
                      </a:lnTo>
                      <a:lnTo>
                        <a:pt x="1351" y="1167"/>
                      </a:lnTo>
                      <a:close/>
                      <a:moveTo>
                        <a:pt x="1081" y="993"/>
                      </a:moveTo>
                      <a:lnTo>
                        <a:pt x="1084" y="993"/>
                      </a:lnTo>
                      <a:lnTo>
                        <a:pt x="1085" y="993"/>
                      </a:lnTo>
                      <a:lnTo>
                        <a:pt x="1084" y="994"/>
                      </a:lnTo>
                      <a:lnTo>
                        <a:pt x="1084" y="995"/>
                      </a:lnTo>
                      <a:lnTo>
                        <a:pt x="1084" y="994"/>
                      </a:lnTo>
                      <a:lnTo>
                        <a:pt x="1083" y="994"/>
                      </a:lnTo>
                      <a:lnTo>
                        <a:pt x="1082" y="994"/>
                      </a:lnTo>
                      <a:lnTo>
                        <a:pt x="1082" y="993"/>
                      </a:lnTo>
                      <a:lnTo>
                        <a:pt x="1081" y="993"/>
                      </a:lnTo>
                      <a:lnTo>
                        <a:pt x="1081" y="994"/>
                      </a:lnTo>
                      <a:lnTo>
                        <a:pt x="1081" y="993"/>
                      </a:lnTo>
                      <a:lnTo>
                        <a:pt x="1082" y="993"/>
                      </a:lnTo>
                      <a:lnTo>
                        <a:pt x="1082" y="994"/>
                      </a:lnTo>
                      <a:lnTo>
                        <a:pt x="1083" y="994"/>
                      </a:lnTo>
                      <a:lnTo>
                        <a:pt x="1083" y="995"/>
                      </a:lnTo>
                      <a:lnTo>
                        <a:pt x="1084" y="995"/>
                      </a:lnTo>
                      <a:lnTo>
                        <a:pt x="1083" y="995"/>
                      </a:lnTo>
                      <a:lnTo>
                        <a:pt x="1083" y="996"/>
                      </a:lnTo>
                      <a:lnTo>
                        <a:pt x="1083" y="998"/>
                      </a:lnTo>
                      <a:lnTo>
                        <a:pt x="1083" y="999"/>
                      </a:lnTo>
                      <a:lnTo>
                        <a:pt x="1082" y="999"/>
                      </a:lnTo>
                      <a:lnTo>
                        <a:pt x="1082" y="1000"/>
                      </a:lnTo>
                      <a:lnTo>
                        <a:pt x="1081" y="1000"/>
                      </a:lnTo>
                      <a:lnTo>
                        <a:pt x="1080" y="1000"/>
                      </a:lnTo>
                      <a:lnTo>
                        <a:pt x="1080" y="999"/>
                      </a:lnTo>
                      <a:lnTo>
                        <a:pt x="1079" y="999"/>
                      </a:lnTo>
                      <a:lnTo>
                        <a:pt x="1079" y="998"/>
                      </a:lnTo>
                      <a:lnTo>
                        <a:pt x="1079" y="993"/>
                      </a:lnTo>
                      <a:lnTo>
                        <a:pt x="1081" y="993"/>
                      </a:lnTo>
                      <a:close/>
                      <a:moveTo>
                        <a:pt x="1426" y="1116"/>
                      </a:moveTo>
                      <a:lnTo>
                        <a:pt x="1425" y="1116"/>
                      </a:lnTo>
                      <a:lnTo>
                        <a:pt x="1425" y="1117"/>
                      </a:lnTo>
                      <a:lnTo>
                        <a:pt x="1425" y="1116"/>
                      </a:lnTo>
                      <a:lnTo>
                        <a:pt x="1426" y="1116"/>
                      </a:lnTo>
                      <a:lnTo>
                        <a:pt x="1427" y="1116"/>
                      </a:lnTo>
                      <a:lnTo>
                        <a:pt x="1430" y="1116"/>
                      </a:lnTo>
                      <a:lnTo>
                        <a:pt x="1431" y="1117"/>
                      </a:lnTo>
                      <a:lnTo>
                        <a:pt x="1430" y="1117"/>
                      </a:lnTo>
                      <a:lnTo>
                        <a:pt x="1430" y="1118"/>
                      </a:lnTo>
                      <a:lnTo>
                        <a:pt x="1429" y="1118"/>
                      </a:lnTo>
                      <a:lnTo>
                        <a:pt x="1429" y="1119"/>
                      </a:lnTo>
                      <a:lnTo>
                        <a:pt x="1428" y="1119"/>
                      </a:lnTo>
                      <a:lnTo>
                        <a:pt x="1427" y="1119"/>
                      </a:lnTo>
                      <a:lnTo>
                        <a:pt x="1428" y="1119"/>
                      </a:lnTo>
                      <a:lnTo>
                        <a:pt x="1428" y="1120"/>
                      </a:lnTo>
                      <a:lnTo>
                        <a:pt x="1429" y="1120"/>
                      </a:lnTo>
                      <a:lnTo>
                        <a:pt x="1430" y="1120"/>
                      </a:lnTo>
                      <a:lnTo>
                        <a:pt x="1430" y="1121"/>
                      </a:lnTo>
                      <a:lnTo>
                        <a:pt x="1429" y="1121"/>
                      </a:lnTo>
                      <a:lnTo>
                        <a:pt x="1430" y="1121"/>
                      </a:lnTo>
                      <a:lnTo>
                        <a:pt x="1431" y="1122"/>
                      </a:lnTo>
                      <a:lnTo>
                        <a:pt x="1431" y="1123"/>
                      </a:lnTo>
                      <a:lnTo>
                        <a:pt x="1430" y="1123"/>
                      </a:lnTo>
                      <a:lnTo>
                        <a:pt x="1429" y="1122"/>
                      </a:lnTo>
                      <a:lnTo>
                        <a:pt x="1429" y="1121"/>
                      </a:lnTo>
                      <a:lnTo>
                        <a:pt x="1428" y="1121"/>
                      </a:lnTo>
                      <a:lnTo>
                        <a:pt x="1429" y="1120"/>
                      </a:lnTo>
                      <a:lnTo>
                        <a:pt x="1428" y="1120"/>
                      </a:lnTo>
                      <a:lnTo>
                        <a:pt x="1427" y="1120"/>
                      </a:lnTo>
                      <a:lnTo>
                        <a:pt x="1427" y="1119"/>
                      </a:lnTo>
                      <a:lnTo>
                        <a:pt x="1426" y="1119"/>
                      </a:lnTo>
                      <a:lnTo>
                        <a:pt x="1425" y="1120"/>
                      </a:lnTo>
                      <a:lnTo>
                        <a:pt x="1425" y="1119"/>
                      </a:lnTo>
                      <a:lnTo>
                        <a:pt x="1425" y="1118"/>
                      </a:lnTo>
                      <a:lnTo>
                        <a:pt x="1424" y="1118"/>
                      </a:lnTo>
                      <a:lnTo>
                        <a:pt x="1424" y="1117"/>
                      </a:lnTo>
                      <a:lnTo>
                        <a:pt x="1424" y="1116"/>
                      </a:lnTo>
                      <a:lnTo>
                        <a:pt x="1422" y="1116"/>
                      </a:lnTo>
                      <a:lnTo>
                        <a:pt x="1424" y="1116"/>
                      </a:lnTo>
                      <a:lnTo>
                        <a:pt x="1426" y="1116"/>
                      </a:lnTo>
                      <a:close/>
                      <a:moveTo>
                        <a:pt x="1057" y="982"/>
                      </a:moveTo>
                      <a:lnTo>
                        <a:pt x="1056" y="982"/>
                      </a:lnTo>
                      <a:lnTo>
                        <a:pt x="1057" y="982"/>
                      </a:lnTo>
                      <a:lnTo>
                        <a:pt x="1056" y="982"/>
                      </a:lnTo>
                      <a:lnTo>
                        <a:pt x="1056" y="983"/>
                      </a:lnTo>
                      <a:lnTo>
                        <a:pt x="1057" y="983"/>
                      </a:lnTo>
                      <a:lnTo>
                        <a:pt x="1056" y="983"/>
                      </a:lnTo>
                      <a:lnTo>
                        <a:pt x="1057" y="984"/>
                      </a:lnTo>
                      <a:lnTo>
                        <a:pt x="1057" y="986"/>
                      </a:lnTo>
                      <a:lnTo>
                        <a:pt x="1057" y="987"/>
                      </a:lnTo>
                      <a:lnTo>
                        <a:pt x="1057" y="986"/>
                      </a:lnTo>
                      <a:lnTo>
                        <a:pt x="1058" y="986"/>
                      </a:lnTo>
                      <a:lnTo>
                        <a:pt x="1057" y="986"/>
                      </a:lnTo>
                      <a:lnTo>
                        <a:pt x="1057" y="984"/>
                      </a:lnTo>
                      <a:lnTo>
                        <a:pt x="1058" y="984"/>
                      </a:lnTo>
                      <a:lnTo>
                        <a:pt x="1058" y="983"/>
                      </a:lnTo>
                      <a:lnTo>
                        <a:pt x="1058" y="982"/>
                      </a:lnTo>
                      <a:lnTo>
                        <a:pt x="1059" y="982"/>
                      </a:lnTo>
                      <a:lnTo>
                        <a:pt x="1058" y="982"/>
                      </a:lnTo>
                      <a:lnTo>
                        <a:pt x="1058" y="983"/>
                      </a:lnTo>
                      <a:lnTo>
                        <a:pt x="1058" y="982"/>
                      </a:lnTo>
                      <a:lnTo>
                        <a:pt x="1058" y="983"/>
                      </a:lnTo>
                      <a:lnTo>
                        <a:pt x="1059" y="983"/>
                      </a:lnTo>
                      <a:lnTo>
                        <a:pt x="1058" y="983"/>
                      </a:lnTo>
                      <a:lnTo>
                        <a:pt x="1058" y="984"/>
                      </a:lnTo>
                      <a:lnTo>
                        <a:pt x="1059" y="984"/>
                      </a:lnTo>
                      <a:lnTo>
                        <a:pt x="1058" y="984"/>
                      </a:lnTo>
                      <a:lnTo>
                        <a:pt x="1058" y="986"/>
                      </a:lnTo>
                      <a:lnTo>
                        <a:pt x="1058" y="987"/>
                      </a:lnTo>
                      <a:lnTo>
                        <a:pt x="1059" y="987"/>
                      </a:lnTo>
                      <a:lnTo>
                        <a:pt x="1061" y="984"/>
                      </a:lnTo>
                      <a:lnTo>
                        <a:pt x="1061" y="986"/>
                      </a:lnTo>
                      <a:lnTo>
                        <a:pt x="1063" y="984"/>
                      </a:lnTo>
                      <a:lnTo>
                        <a:pt x="1063" y="986"/>
                      </a:lnTo>
                      <a:lnTo>
                        <a:pt x="1061" y="986"/>
                      </a:lnTo>
                      <a:lnTo>
                        <a:pt x="1063" y="986"/>
                      </a:lnTo>
                      <a:lnTo>
                        <a:pt x="1061" y="986"/>
                      </a:lnTo>
                      <a:lnTo>
                        <a:pt x="1060" y="986"/>
                      </a:lnTo>
                      <a:lnTo>
                        <a:pt x="1061" y="986"/>
                      </a:lnTo>
                      <a:lnTo>
                        <a:pt x="1060" y="986"/>
                      </a:lnTo>
                      <a:lnTo>
                        <a:pt x="1059" y="986"/>
                      </a:lnTo>
                      <a:lnTo>
                        <a:pt x="1059" y="987"/>
                      </a:lnTo>
                      <a:lnTo>
                        <a:pt x="1060" y="986"/>
                      </a:lnTo>
                      <a:lnTo>
                        <a:pt x="1060" y="987"/>
                      </a:lnTo>
                      <a:lnTo>
                        <a:pt x="1060" y="986"/>
                      </a:lnTo>
                      <a:lnTo>
                        <a:pt x="1060" y="987"/>
                      </a:lnTo>
                      <a:lnTo>
                        <a:pt x="1059" y="987"/>
                      </a:lnTo>
                      <a:lnTo>
                        <a:pt x="1058" y="988"/>
                      </a:lnTo>
                      <a:lnTo>
                        <a:pt x="1059" y="988"/>
                      </a:lnTo>
                      <a:lnTo>
                        <a:pt x="1059" y="987"/>
                      </a:lnTo>
                      <a:lnTo>
                        <a:pt x="1060" y="987"/>
                      </a:lnTo>
                      <a:lnTo>
                        <a:pt x="1061" y="987"/>
                      </a:lnTo>
                      <a:lnTo>
                        <a:pt x="1060" y="987"/>
                      </a:lnTo>
                      <a:lnTo>
                        <a:pt x="1060" y="988"/>
                      </a:lnTo>
                      <a:lnTo>
                        <a:pt x="1059" y="988"/>
                      </a:lnTo>
                      <a:lnTo>
                        <a:pt x="1059" y="989"/>
                      </a:lnTo>
                      <a:lnTo>
                        <a:pt x="1059" y="988"/>
                      </a:lnTo>
                      <a:lnTo>
                        <a:pt x="1060" y="988"/>
                      </a:lnTo>
                      <a:lnTo>
                        <a:pt x="1061" y="988"/>
                      </a:lnTo>
                      <a:lnTo>
                        <a:pt x="1063" y="988"/>
                      </a:lnTo>
                      <a:lnTo>
                        <a:pt x="1063" y="987"/>
                      </a:lnTo>
                      <a:lnTo>
                        <a:pt x="1061" y="987"/>
                      </a:lnTo>
                      <a:lnTo>
                        <a:pt x="1061" y="988"/>
                      </a:lnTo>
                      <a:lnTo>
                        <a:pt x="1061" y="987"/>
                      </a:lnTo>
                      <a:lnTo>
                        <a:pt x="1063" y="987"/>
                      </a:lnTo>
                      <a:lnTo>
                        <a:pt x="1064" y="987"/>
                      </a:lnTo>
                      <a:lnTo>
                        <a:pt x="1063" y="987"/>
                      </a:lnTo>
                      <a:lnTo>
                        <a:pt x="1064" y="987"/>
                      </a:lnTo>
                      <a:lnTo>
                        <a:pt x="1063" y="988"/>
                      </a:lnTo>
                      <a:lnTo>
                        <a:pt x="1061" y="989"/>
                      </a:lnTo>
                      <a:lnTo>
                        <a:pt x="1061" y="990"/>
                      </a:lnTo>
                      <a:lnTo>
                        <a:pt x="1060" y="990"/>
                      </a:lnTo>
                      <a:lnTo>
                        <a:pt x="1056" y="990"/>
                      </a:lnTo>
                      <a:lnTo>
                        <a:pt x="1056" y="989"/>
                      </a:lnTo>
                      <a:lnTo>
                        <a:pt x="1056" y="988"/>
                      </a:lnTo>
                      <a:lnTo>
                        <a:pt x="1056" y="984"/>
                      </a:lnTo>
                      <a:lnTo>
                        <a:pt x="1056" y="983"/>
                      </a:lnTo>
                      <a:lnTo>
                        <a:pt x="1056" y="982"/>
                      </a:lnTo>
                      <a:lnTo>
                        <a:pt x="1058" y="982"/>
                      </a:lnTo>
                      <a:lnTo>
                        <a:pt x="1057" y="982"/>
                      </a:lnTo>
                      <a:close/>
                      <a:moveTo>
                        <a:pt x="1363" y="1170"/>
                      </a:moveTo>
                      <a:lnTo>
                        <a:pt x="1363" y="1171"/>
                      </a:lnTo>
                      <a:lnTo>
                        <a:pt x="1364" y="1172"/>
                      </a:lnTo>
                      <a:lnTo>
                        <a:pt x="1363" y="1172"/>
                      </a:lnTo>
                      <a:lnTo>
                        <a:pt x="1363" y="1171"/>
                      </a:lnTo>
                      <a:lnTo>
                        <a:pt x="1362" y="1171"/>
                      </a:lnTo>
                      <a:lnTo>
                        <a:pt x="1361" y="1171"/>
                      </a:lnTo>
                      <a:lnTo>
                        <a:pt x="1360" y="1171"/>
                      </a:lnTo>
                      <a:lnTo>
                        <a:pt x="1360" y="1170"/>
                      </a:lnTo>
                      <a:lnTo>
                        <a:pt x="1358" y="1170"/>
                      </a:lnTo>
                      <a:lnTo>
                        <a:pt x="1358" y="1171"/>
                      </a:lnTo>
                      <a:lnTo>
                        <a:pt x="1357" y="1171"/>
                      </a:lnTo>
                      <a:lnTo>
                        <a:pt x="1357" y="1172"/>
                      </a:lnTo>
                      <a:lnTo>
                        <a:pt x="1357" y="1173"/>
                      </a:lnTo>
                      <a:lnTo>
                        <a:pt x="1356" y="1173"/>
                      </a:lnTo>
                      <a:lnTo>
                        <a:pt x="1355" y="1173"/>
                      </a:lnTo>
                      <a:lnTo>
                        <a:pt x="1355" y="1174"/>
                      </a:lnTo>
                      <a:lnTo>
                        <a:pt x="1354" y="1174"/>
                      </a:lnTo>
                      <a:lnTo>
                        <a:pt x="1353" y="1174"/>
                      </a:lnTo>
                      <a:lnTo>
                        <a:pt x="1353" y="1172"/>
                      </a:lnTo>
                      <a:lnTo>
                        <a:pt x="1353" y="1171"/>
                      </a:lnTo>
                      <a:lnTo>
                        <a:pt x="1353" y="1170"/>
                      </a:lnTo>
                      <a:lnTo>
                        <a:pt x="1355" y="1170"/>
                      </a:lnTo>
                      <a:lnTo>
                        <a:pt x="1356" y="1170"/>
                      </a:lnTo>
                      <a:lnTo>
                        <a:pt x="1357" y="1170"/>
                      </a:lnTo>
                      <a:lnTo>
                        <a:pt x="1357" y="1169"/>
                      </a:lnTo>
                      <a:lnTo>
                        <a:pt x="1358" y="1169"/>
                      </a:lnTo>
                      <a:lnTo>
                        <a:pt x="1360" y="1168"/>
                      </a:lnTo>
                      <a:lnTo>
                        <a:pt x="1361" y="1169"/>
                      </a:lnTo>
                      <a:lnTo>
                        <a:pt x="1362" y="1170"/>
                      </a:lnTo>
                      <a:lnTo>
                        <a:pt x="1363" y="1170"/>
                      </a:lnTo>
                      <a:close/>
                      <a:moveTo>
                        <a:pt x="1324" y="1047"/>
                      </a:moveTo>
                      <a:lnTo>
                        <a:pt x="1325" y="1047"/>
                      </a:lnTo>
                      <a:lnTo>
                        <a:pt x="1330" y="1047"/>
                      </a:lnTo>
                      <a:lnTo>
                        <a:pt x="1331" y="1047"/>
                      </a:lnTo>
                      <a:lnTo>
                        <a:pt x="1332" y="1047"/>
                      </a:lnTo>
                      <a:lnTo>
                        <a:pt x="1332" y="1048"/>
                      </a:lnTo>
                      <a:lnTo>
                        <a:pt x="1331" y="1048"/>
                      </a:lnTo>
                      <a:lnTo>
                        <a:pt x="1330" y="1050"/>
                      </a:lnTo>
                      <a:lnTo>
                        <a:pt x="1330" y="1051"/>
                      </a:lnTo>
                      <a:lnTo>
                        <a:pt x="1329" y="1052"/>
                      </a:lnTo>
                      <a:lnTo>
                        <a:pt x="1328" y="1053"/>
                      </a:lnTo>
                      <a:lnTo>
                        <a:pt x="1328" y="1052"/>
                      </a:lnTo>
                      <a:lnTo>
                        <a:pt x="1327" y="1052"/>
                      </a:lnTo>
                      <a:lnTo>
                        <a:pt x="1327" y="1051"/>
                      </a:lnTo>
                      <a:lnTo>
                        <a:pt x="1327" y="1050"/>
                      </a:lnTo>
                      <a:lnTo>
                        <a:pt x="1327" y="1051"/>
                      </a:lnTo>
                      <a:lnTo>
                        <a:pt x="1326" y="1051"/>
                      </a:lnTo>
                      <a:lnTo>
                        <a:pt x="1326" y="1050"/>
                      </a:lnTo>
                      <a:lnTo>
                        <a:pt x="1325" y="1050"/>
                      </a:lnTo>
                      <a:lnTo>
                        <a:pt x="1326" y="1050"/>
                      </a:lnTo>
                      <a:lnTo>
                        <a:pt x="1326" y="1048"/>
                      </a:lnTo>
                      <a:lnTo>
                        <a:pt x="1325" y="1047"/>
                      </a:lnTo>
                      <a:lnTo>
                        <a:pt x="1324" y="1047"/>
                      </a:lnTo>
                      <a:lnTo>
                        <a:pt x="1325" y="1048"/>
                      </a:lnTo>
                      <a:lnTo>
                        <a:pt x="1324" y="1048"/>
                      </a:lnTo>
                      <a:lnTo>
                        <a:pt x="1323" y="1048"/>
                      </a:lnTo>
                      <a:lnTo>
                        <a:pt x="1322" y="1047"/>
                      </a:lnTo>
                      <a:lnTo>
                        <a:pt x="1322" y="1046"/>
                      </a:lnTo>
                      <a:lnTo>
                        <a:pt x="1323" y="1046"/>
                      </a:lnTo>
                      <a:lnTo>
                        <a:pt x="1324" y="1047"/>
                      </a:lnTo>
                      <a:close/>
                      <a:moveTo>
                        <a:pt x="1295" y="1233"/>
                      </a:moveTo>
                      <a:lnTo>
                        <a:pt x="1295" y="1235"/>
                      </a:lnTo>
                      <a:lnTo>
                        <a:pt x="1295" y="1236"/>
                      </a:lnTo>
                      <a:lnTo>
                        <a:pt x="1295" y="1237"/>
                      </a:lnTo>
                      <a:lnTo>
                        <a:pt x="1295" y="1238"/>
                      </a:lnTo>
                      <a:lnTo>
                        <a:pt x="1293" y="1238"/>
                      </a:lnTo>
                      <a:lnTo>
                        <a:pt x="1295" y="1237"/>
                      </a:lnTo>
                      <a:lnTo>
                        <a:pt x="1293" y="1237"/>
                      </a:lnTo>
                      <a:lnTo>
                        <a:pt x="1293" y="1238"/>
                      </a:lnTo>
                      <a:lnTo>
                        <a:pt x="1292" y="1238"/>
                      </a:lnTo>
                      <a:lnTo>
                        <a:pt x="1291" y="1238"/>
                      </a:lnTo>
                      <a:lnTo>
                        <a:pt x="1292" y="1238"/>
                      </a:lnTo>
                      <a:lnTo>
                        <a:pt x="1292" y="1239"/>
                      </a:lnTo>
                      <a:lnTo>
                        <a:pt x="1292" y="1238"/>
                      </a:lnTo>
                      <a:lnTo>
                        <a:pt x="1293" y="1239"/>
                      </a:lnTo>
                      <a:lnTo>
                        <a:pt x="1292" y="1239"/>
                      </a:lnTo>
                      <a:lnTo>
                        <a:pt x="1292" y="1240"/>
                      </a:lnTo>
                      <a:lnTo>
                        <a:pt x="1291" y="1240"/>
                      </a:lnTo>
                      <a:lnTo>
                        <a:pt x="1290" y="1239"/>
                      </a:lnTo>
                      <a:lnTo>
                        <a:pt x="1290" y="1240"/>
                      </a:lnTo>
                      <a:lnTo>
                        <a:pt x="1291" y="1240"/>
                      </a:lnTo>
                      <a:lnTo>
                        <a:pt x="1291" y="1241"/>
                      </a:lnTo>
                      <a:lnTo>
                        <a:pt x="1290" y="1241"/>
                      </a:lnTo>
                      <a:lnTo>
                        <a:pt x="1291" y="1241"/>
                      </a:lnTo>
                      <a:lnTo>
                        <a:pt x="1291" y="1243"/>
                      </a:lnTo>
                      <a:lnTo>
                        <a:pt x="1290" y="1244"/>
                      </a:lnTo>
                      <a:lnTo>
                        <a:pt x="1290" y="1245"/>
                      </a:lnTo>
                      <a:lnTo>
                        <a:pt x="1290" y="1244"/>
                      </a:lnTo>
                      <a:lnTo>
                        <a:pt x="1290" y="1243"/>
                      </a:lnTo>
                      <a:lnTo>
                        <a:pt x="1291" y="1243"/>
                      </a:lnTo>
                      <a:lnTo>
                        <a:pt x="1290" y="1243"/>
                      </a:lnTo>
                      <a:lnTo>
                        <a:pt x="1290" y="1241"/>
                      </a:lnTo>
                      <a:lnTo>
                        <a:pt x="1289" y="1241"/>
                      </a:lnTo>
                      <a:lnTo>
                        <a:pt x="1289" y="1243"/>
                      </a:lnTo>
                      <a:lnTo>
                        <a:pt x="1289" y="1241"/>
                      </a:lnTo>
                      <a:lnTo>
                        <a:pt x="1288" y="1241"/>
                      </a:lnTo>
                      <a:lnTo>
                        <a:pt x="1288" y="1240"/>
                      </a:lnTo>
                      <a:lnTo>
                        <a:pt x="1289" y="1239"/>
                      </a:lnTo>
                      <a:lnTo>
                        <a:pt x="1290" y="1238"/>
                      </a:lnTo>
                      <a:lnTo>
                        <a:pt x="1290" y="1237"/>
                      </a:lnTo>
                      <a:lnTo>
                        <a:pt x="1291" y="1237"/>
                      </a:lnTo>
                      <a:lnTo>
                        <a:pt x="1292" y="1236"/>
                      </a:lnTo>
                      <a:lnTo>
                        <a:pt x="1291" y="1235"/>
                      </a:lnTo>
                      <a:lnTo>
                        <a:pt x="1292" y="1235"/>
                      </a:lnTo>
                      <a:lnTo>
                        <a:pt x="1292" y="1234"/>
                      </a:lnTo>
                      <a:lnTo>
                        <a:pt x="1293" y="1233"/>
                      </a:lnTo>
                      <a:lnTo>
                        <a:pt x="1295" y="1233"/>
                      </a:lnTo>
                      <a:close/>
                      <a:moveTo>
                        <a:pt x="1155" y="970"/>
                      </a:moveTo>
                      <a:lnTo>
                        <a:pt x="1156" y="970"/>
                      </a:lnTo>
                      <a:lnTo>
                        <a:pt x="1157" y="970"/>
                      </a:lnTo>
                      <a:lnTo>
                        <a:pt x="1157" y="971"/>
                      </a:lnTo>
                      <a:lnTo>
                        <a:pt x="1156" y="971"/>
                      </a:lnTo>
                      <a:lnTo>
                        <a:pt x="1157" y="973"/>
                      </a:lnTo>
                      <a:lnTo>
                        <a:pt x="1157" y="974"/>
                      </a:lnTo>
                      <a:lnTo>
                        <a:pt x="1156" y="974"/>
                      </a:lnTo>
                      <a:lnTo>
                        <a:pt x="1155" y="974"/>
                      </a:lnTo>
                      <a:lnTo>
                        <a:pt x="1154" y="974"/>
                      </a:lnTo>
                      <a:lnTo>
                        <a:pt x="1154" y="975"/>
                      </a:lnTo>
                      <a:lnTo>
                        <a:pt x="1154" y="974"/>
                      </a:lnTo>
                      <a:lnTo>
                        <a:pt x="1153" y="974"/>
                      </a:lnTo>
                      <a:lnTo>
                        <a:pt x="1151" y="974"/>
                      </a:lnTo>
                      <a:lnTo>
                        <a:pt x="1150" y="974"/>
                      </a:lnTo>
                      <a:lnTo>
                        <a:pt x="1150" y="973"/>
                      </a:lnTo>
                      <a:lnTo>
                        <a:pt x="1149" y="973"/>
                      </a:lnTo>
                      <a:lnTo>
                        <a:pt x="1149" y="971"/>
                      </a:lnTo>
                      <a:lnTo>
                        <a:pt x="1148" y="971"/>
                      </a:lnTo>
                      <a:lnTo>
                        <a:pt x="1148" y="973"/>
                      </a:lnTo>
                      <a:lnTo>
                        <a:pt x="1148" y="971"/>
                      </a:lnTo>
                      <a:lnTo>
                        <a:pt x="1149" y="971"/>
                      </a:lnTo>
                      <a:lnTo>
                        <a:pt x="1149" y="970"/>
                      </a:lnTo>
                      <a:lnTo>
                        <a:pt x="1149" y="969"/>
                      </a:lnTo>
                      <a:lnTo>
                        <a:pt x="1150" y="969"/>
                      </a:lnTo>
                      <a:lnTo>
                        <a:pt x="1151" y="969"/>
                      </a:lnTo>
                      <a:lnTo>
                        <a:pt x="1153" y="969"/>
                      </a:lnTo>
                      <a:lnTo>
                        <a:pt x="1153" y="970"/>
                      </a:lnTo>
                      <a:lnTo>
                        <a:pt x="1154" y="970"/>
                      </a:lnTo>
                      <a:lnTo>
                        <a:pt x="1155" y="970"/>
                      </a:lnTo>
                      <a:close/>
                      <a:moveTo>
                        <a:pt x="1424" y="1011"/>
                      </a:moveTo>
                      <a:lnTo>
                        <a:pt x="1425" y="1011"/>
                      </a:lnTo>
                      <a:lnTo>
                        <a:pt x="1424" y="1011"/>
                      </a:lnTo>
                      <a:lnTo>
                        <a:pt x="1424" y="1009"/>
                      </a:lnTo>
                      <a:lnTo>
                        <a:pt x="1425" y="1011"/>
                      </a:lnTo>
                      <a:lnTo>
                        <a:pt x="1426" y="1011"/>
                      </a:lnTo>
                      <a:lnTo>
                        <a:pt x="1425" y="1011"/>
                      </a:lnTo>
                      <a:lnTo>
                        <a:pt x="1424" y="1012"/>
                      </a:lnTo>
                      <a:lnTo>
                        <a:pt x="1424" y="1013"/>
                      </a:lnTo>
                      <a:lnTo>
                        <a:pt x="1422" y="1013"/>
                      </a:lnTo>
                      <a:lnTo>
                        <a:pt x="1421" y="1014"/>
                      </a:lnTo>
                      <a:lnTo>
                        <a:pt x="1420" y="1015"/>
                      </a:lnTo>
                      <a:lnTo>
                        <a:pt x="1420" y="1016"/>
                      </a:lnTo>
                      <a:lnTo>
                        <a:pt x="1419" y="1016"/>
                      </a:lnTo>
                      <a:lnTo>
                        <a:pt x="1419" y="1017"/>
                      </a:lnTo>
                      <a:lnTo>
                        <a:pt x="1419" y="1018"/>
                      </a:lnTo>
                      <a:lnTo>
                        <a:pt x="1419" y="1019"/>
                      </a:lnTo>
                      <a:lnTo>
                        <a:pt x="1419" y="1020"/>
                      </a:lnTo>
                      <a:lnTo>
                        <a:pt x="1418" y="1021"/>
                      </a:lnTo>
                      <a:lnTo>
                        <a:pt x="1418" y="1022"/>
                      </a:lnTo>
                      <a:lnTo>
                        <a:pt x="1418" y="1024"/>
                      </a:lnTo>
                      <a:lnTo>
                        <a:pt x="1417" y="1024"/>
                      </a:lnTo>
                      <a:lnTo>
                        <a:pt x="1417" y="1022"/>
                      </a:lnTo>
                      <a:lnTo>
                        <a:pt x="1417" y="1021"/>
                      </a:lnTo>
                      <a:lnTo>
                        <a:pt x="1418" y="1021"/>
                      </a:lnTo>
                      <a:lnTo>
                        <a:pt x="1418" y="1020"/>
                      </a:lnTo>
                      <a:lnTo>
                        <a:pt x="1418" y="1019"/>
                      </a:lnTo>
                      <a:lnTo>
                        <a:pt x="1417" y="1019"/>
                      </a:lnTo>
                      <a:lnTo>
                        <a:pt x="1417" y="1018"/>
                      </a:lnTo>
                      <a:lnTo>
                        <a:pt x="1417" y="1017"/>
                      </a:lnTo>
                      <a:lnTo>
                        <a:pt x="1418" y="1016"/>
                      </a:lnTo>
                      <a:lnTo>
                        <a:pt x="1418" y="1015"/>
                      </a:lnTo>
                      <a:lnTo>
                        <a:pt x="1419" y="1014"/>
                      </a:lnTo>
                      <a:lnTo>
                        <a:pt x="1420" y="1013"/>
                      </a:lnTo>
                      <a:lnTo>
                        <a:pt x="1420" y="1012"/>
                      </a:lnTo>
                      <a:lnTo>
                        <a:pt x="1422" y="1011"/>
                      </a:lnTo>
                      <a:lnTo>
                        <a:pt x="1424" y="1011"/>
                      </a:lnTo>
                      <a:lnTo>
                        <a:pt x="1424" y="1009"/>
                      </a:lnTo>
                      <a:lnTo>
                        <a:pt x="1424" y="1011"/>
                      </a:lnTo>
                      <a:close/>
                      <a:moveTo>
                        <a:pt x="980" y="890"/>
                      </a:moveTo>
                      <a:lnTo>
                        <a:pt x="981" y="890"/>
                      </a:lnTo>
                      <a:lnTo>
                        <a:pt x="981" y="891"/>
                      </a:lnTo>
                      <a:lnTo>
                        <a:pt x="981" y="892"/>
                      </a:lnTo>
                      <a:lnTo>
                        <a:pt x="982" y="892"/>
                      </a:lnTo>
                      <a:lnTo>
                        <a:pt x="981" y="892"/>
                      </a:lnTo>
                      <a:lnTo>
                        <a:pt x="980" y="892"/>
                      </a:lnTo>
                      <a:lnTo>
                        <a:pt x="981" y="892"/>
                      </a:lnTo>
                      <a:lnTo>
                        <a:pt x="981" y="893"/>
                      </a:lnTo>
                      <a:lnTo>
                        <a:pt x="982" y="893"/>
                      </a:lnTo>
                      <a:lnTo>
                        <a:pt x="981" y="893"/>
                      </a:lnTo>
                      <a:lnTo>
                        <a:pt x="980" y="893"/>
                      </a:lnTo>
                      <a:lnTo>
                        <a:pt x="979" y="893"/>
                      </a:lnTo>
                      <a:lnTo>
                        <a:pt x="978" y="893"/>
                      </a:lnTo>
                      <a:lnTo>
                        <a:pt x="978" y="894"/>
                      </a:lnTo>
                      <a:lnTo>
                        <a:pt x="977" y="894"/>
                      </a:lnTo>
                      <a:lnTo>
                        <a:pt x="976" y="894"/>
                      </a:lnTo>
                      <a:lnTo>
                        <a:pt x="977" y="894"/>
                      </a:lnTo>
                      <a:lnTo>
                        <a:pt x="977" y="893"/>
                      </a:lnTo>
                      <a:lnTo>
                        <a:pt x="977" y="892"/>
                      </a:lnTo>
                      <a:lnTo>
                        <a:pt x="976" y="892"/>
                      </a:lnTo>
                      <a:lnTo>
                        <a:pt x="977" y="892"/>
                      </a:lnTo>
                      <a:lnTo>
                        <a:pt x="977" y="891"/>
                      </a:lnTo>
                      <a:lnTo>
                        <a:pt x="977" y="892"/>
                      </a:lnTo>
                      <a:lnTo>
                        <a:pt x="977" y="891"/>
                      </a:lnTo>
                      <a:lnTo>
                        <a:pt x="976" y="891"/>
                      </a:lnTo>
                      <a:lnTo>
                        <a:pt x="975" y="891"/>
                      </a:lnTo>
                      <a:lnTo>
                        <a:pt x="976" y="891"/>
                      </a:lnTo>
                      <a:lnTo>
                        <a:pt x="975" y="891"/>
                      </a:lnTo>
                      <a:lnTo>
                        <a:pt x="975" y="892"/>
                      </a:lnTo>
                      <a:lnTo>
                        <a:pt x="974" y="892"/>
                      </a:lnTo>
                      <a:lnTo>
                        <a:pt x="974" y="893"/>
                      </a:lnTo>
                      <a:lnTo>
                        <a:pt x="974" y="894"/>
                      </a:lnTo>
                      <a:lnTo>
                        <a:pt x="973" y="894"/>
                      </a:lnTo>
                      <a:lnTo>
                        <a:pt x="973" y="893"/>
                      </a:lnTo>
                      <a:lnTo>
                        <a:pt x="973" y="892"/>
                      </a:lnTo>
                      <a:lnTo>
                        <a:pt x="974" y="892"/>
                      </a:lnTo>
                      <a:lnTo>
                        <a:pt x="974" y="891"/>
                      </a:lnTo>
                      <a:lnTo>
                        <a:pt x="975" y="891"/>
                      </a:lnTo>
                      <a:lnTo>
                        <a:pt x="975" y="890"/>
                      </a:lnTo>
                      <a:lnTo>
                        <a:pt x="976" y="890"/>
                      </a:lnTo>
                      <a:lnTo>
                        <a:pt x="977" y="890"/>
                      </a:lnTo>
                      <a:lnTo>
                        <a:pt x="978" y="890"/>
                      </a:lnTo>
                      <a:lnTo>
                        <a:pt x="978" y="889"/>
                      </a:lnTo>
                      <a:lnTo>
                        <a:pt x="979" y="890"/>
                      </a:lnTo>
                      <a:lnTo>
                        <a:pt x="980" y="890"/>
                      </a:lnTo>
                      <a:close/>
                      <a:moveTo>
                        <a:pt x="1446" y="1034"/>
                      </a:moveTo>
                      <a:lnTo>
                        <a:pt x="1446" y="1035"/>
                      </a:lnTo>
                      <a:lnTo>
                        <a:pt x="1447" y="1035"/>
                      </a:lnTo>
                      <a:lnTo>
                        <a:pt x="1447" y="1034"/>
                      </a:lnTo>
                      <a:lnTo>
                        <a:pt x="1446" y="1034"/>
                      </a:lnTo>
                      <a:lnTo>
                        <a:pt x="1447" y="1034"/>
                      </a:lnTo>
                      <a:lnTo>
                        <a:pt x="1448" y="1034"/>
                      </a:lnTo>
                      <a:lnTo>
                        <a:pt x="1448" y="1035"/>
                      </a:lnTo>
                      <a:lnTo>
                        <a:pt x="1447" y="1035"/>
                      </a:lnTo>
                      <a:lnTo>
                        <a:pt x="1447" y="1037"/>
                      </a:lnTo>
                      <a:lnTo>
                        <a:pt x="1446" y="1037"/>
                      </a:lnTo>
                      <a:lnTo>
                        <a:pt x="1446" y="1038"/>
                      </a:lnTo>
                      <a:lnTo>
                        <a:pt x="1445" y="1038"/>
                      </a:lnTo>
                      <a:lnTo>
                        <a:pt x="1445" y="1039"/>
                      </a:lnTo>
                      <a:lnTo>
                        <a:pt x="1444" y="1039"/>
                      </a:lnTo>
                      <a:lnTo>
                        <a:pt x="1444" y="1040"/>
                      </a:lnTo>
                      <a:lnTo>
                        <a:pt x="1443" y="1040"/>
                      </a:lnTo>
                      <a:lnTo>
                        <a:pt x="1442" y="1040"/>
                      </a:lnTo>
                      <a:lnTo>
                        <a:pt x="1441" y="1040"/>
                      </a:lnTo>
                      <a:lnTo>
                        <a:pt x="1441" y="1041"/>
                      </a:lnTo>
                      <a:lnTo>
                        <a:pt x="1439" y="1041"/>
                      </a:lnTo>
                      <a:lnTo>
                        <a:pt x="1437" y="1041"/>
                      </a:lnTo>
                      <a:lnTo>
                        <a:pt x="1434" y="1041"/>
                      </a:lnTo>
                      <a:lnTo>
                        <a:pt x="1433" y="1041"/>
                      </a:lnTo>
                      <a:lnTo>
                        <a:pt x="1433" y="1040"/>
                      </a:lnTo>
                      <a:lnTo>
                        <a:pt x="1433" y="1039"/>
                      </a:lnTo>
                      <a:lnTo>
                        <a:pt x="1433" y="1040"/>
                      </a:lnTo>
                      <a:lnTo>
                        <a:pt x="1434" y="1040"/>
                      </a:lnTo>
                      <a:lnTo>
                        <a:pt x="1435" y="1040"/>
                      </a:lnTo>
                      <a:lnTo>
                        <a:pt x="1437" y="1040"/>
                      </a:lnTo>
                      <a:lnTo>
                        <a:pt x="1437" y="1039"/>
                      </a:lnTo>
                      <a:lnTo>
                        <a:pt x="1438" y="1039"/>
                      </a:lnTo>
                      <a:lnTo>
                        <a:pt x="1438" y="1040"/>
                      </a:lnTo>
                      <a:lnTo>
                        <a:pt x="1439" y="1040"/>
                      </a:lnTo>
                      <a:lnTo>
                        <a:pt x="1439" y="1039"/>
                      </a:lnTo>
                      <a:lnTo>
                        <a:pt x="1438" y="1039"/>
                      </a:lnTo>
                      <a:lnTo>
                        <a:pt x="1439" y="1039"/>
                      </a:lnTo>
                      <a:lnTo>
                        <a:pt x="1438" y="1038"/>
                      </a:lnTo>
                      <a:lnTo>
                        <a:pt x="1439" y="1038"/>
                      </a:lnTo>
                      <a:lnTo>
                        <a:pt x="1439" y="1039"/>
                      </a:lnTo>
                      <a:lnTo>
                        <a:pt x="1440" y="1039"/>
                      </a:lnTo>
                      <a:lnTo>
                        <a:pt x="1439" y="1039"/>
                      </a:lnTo>
                      <a:lnTo>
                        <a:pt x="1439" y="1040"/>
                      </a:lnTo>
                      <a:lnTo>
                        <a:pt x="1440" y="1040"/>
                      </a:lnTo>
                      <a:lnTo>
                        <a:pt x="1440" y="1039"/>
                      </a:lnTo>
                      <a:lnTo>
                        <a:pt x="1441" y="1040"/>
                      </a:lnTo>
                      <a:lnTo>
                        <a:pt x="1441" y="1039"/>
                      </a:lnTo>
                      <a:lnTo>
                        <a:pt x="1441" y="1040"/>
                      </a:lnTo>
                      <a:lnTo>
                        <a:pt x="1441" y="1039"/>
                      </a:lnTo>
                      <a:lnTo>
                        <a:pt x="1441" y="1040"/>
                      </a:lnTo>
                      <a:lnTo>
                        <a:pt x="1441" y="1039"/>
                      </a:lnTo>
                      <a:lnTo>
                        <a:pt x="1442" y="1039"/>
                      </a:lnTo>
                      <a:lnTo>
                        <a:pt x="1442" y="1038"/>
                      </a:lnTo>
                      <a:lnTo>
                        <a:pt x="1443" y="1038"/>
                      </a:lnTo>
                      <a:lnTo>
                        <a:pt x="1442" y="1038"/>
                      </a:lnTo>
                      <a:lnTo>
                        <a:pt x="1443" y="1038"/>
                      </a:lnTo>
                      <a:lnTo>
                        <a:pt x="1443" y="1037"/>
                      </a:lnTo>
                      <a:lnTo>
                        <a:pt x="1443" y="1038"/>
                      </a:lnTo>
                      <a:lnTo>
                        <a:pt x="1443" y="1037"/>
                      </a:lnTo>
                      <a:lnTo>
                        <a:pt x="1443" y="1038"/>
                      </a:lnTo>
                      <a:lnTo>
                        <a:pt x="1443" y="1037"/>
                      </a:lnTo>
                      <a:lnTo>
                        <a:pt x="1443" y="1038"/>
                      </a:lnTo>
                      <a:lnTo>
                        <a:pt x="1444" y="1038"/>
                      </a:lnTo>
                      <a:lnTo>
                        <a:pt x="1444" y="1037"/>
                      </a:lnTo>
                      <a:lnTo>
                        <a:pt x="1443" y="1037"/>
                      </a:lnTo>
                      <a:lnTo>
                        <a:pt x="1444" y="1037"/>
                      </a:lnTo>
                      <a:lnTo>
                        <a:pt x="1444" y="1035"/>
                      </a:lnTo>
                      <a:lnTo>
                        <a:pt x="1444" y="1037"/>
                      </a:lnTo>
                      <a:lnTo>
                        <a:pt x="1445" y="1037"/>
                      </a:lnTo>
                      <a:lnTo>
                        <a:pt x="1446" y="1037"/>
                      </a:lnTo>
                      <a:lnTo>
                        <a:pt x="1446" y="1035"/>
                      </a:lnTo>
                      <a:lnTo>
                        <a:pt x="1445" y="1035"/>
                      </a:lnTo>
                      <a:lnTo>
                        <a:pt x="1445" y="1034"/>
                      </a:lnTo>
                      <a:lnTo>
                        <a:pt x="1446" y="1034"/>
                      </a:lnTo>
                      <a:close/>
                      <a:moveTo>
                        <a:pt x="950" y="897"/>
                      </a:moveTo>
                      <a:lnTo>
                        <a:pt x="951" y="897"/>
                      </a:lnTo>
                      <a:lnTo>
                        <a:pt x="950" y="898"/>
                      </a:lnTo>
                      <a:lnTo>
                        <a:pt x="950" y="899"/>
                      </a:lnTo>
                      <a:lnTo>
                        <a:pt x="949" y="899"/>
                      </a:lnTo>
                      <a:lnTo>
                        <a:pt x="949" y="900"/>
                      </a:lnTo>
                      <a:lnTo>
                        <a:pt x="949" y="901"/>
                      </a:lnTo>
                      <a:lnTo>
                        <a:pt x="949" y="900"/>
                      </a:lnTo>
                      <a:lnTo>
                        <a:pt x="949" y="899"/>
                      </a:lnTo>
                      <a:lnTo>
                        <a:pt x="950" y="899"/>
                      </a:lnTo>
                      <a:lnTo>
                        <a:pt x="950" y="900"/>
                      </a:lnTo>
                      <a:lnTo>
                        <a:pt x="950" y="901"/>
                      </a:lnTo>
                      <a:lnTo>
                        <a:pt x="951" y="901"/>
                      </a:lnTo>
                      <a:lnTo>
                        <a:pt x="951" y="902"/>
                      </a:lnTo>
                      <a:lnTo>
                        <a:pt x="951" y="903"/>
                      </a:lnTo>
                      <a:lnTo>
                        <a:pt x="951" y="902"/>
                      </a:lnTo>
                      <a:lnTo>
                        <a:pt x="952" y="902"/>
                      </a:lnTo>
                      <a:lnTo>
                        <a:pt x="953" y="902"/>
                      </a:lnTo>
                      <a:lnTo>
                        <a:pt x="953" y="901"/>
                      </a:lnTo>
                      <a:lnTo>
                        <a:pt x="953" y="900"/>
                      </a:lnTo>
                      <a:lnTo>
                        <a:pt x="953" y="899"/>
                      </a:lnTo>
                      <a:lnTo>
                        <a:pt x="952" y="899"/>
                      </a:lnTo>
                      <a:lnTo>
                        <a:pt x="952" y="898"/>
                      </a:lnTo>
                      <a:lnTo>
                        <a:pt x="953" y="899"/>
                      </a:lnTo>
                      <a:lnTo>
                        <a:pt x="954" y="899"/>
                      </a:lnTo>
                      <a:lnTo>
                        <a:pt x="954" y="900"/>
                      </a:lnTo>
                      <a:lnTo>
                        <a:pt x="955" y="900"/>
                      </a:lnTo>
                      <a:lnTo>
                        <a:pt x="955" y="899"/>
                      </a:lnTo>
                      <a:lnTo>
                        <a:pt x="956" y="899"/>
                      </a:lnTo>
                      <a:lnTo>
                        <a:pt x="957" y="899"/>
                      </a:lnTo>
                      <a:lnTo>
                        <a:pt x="957" y="898"/>
                      </a:lnTo>
                      <a:lnTo>
                        <a:pt x="958" y="898"/>
                      </a:lnTo>
                      <a:lnTo>
                        <a:pt x="958" y="899"/>
                      </a:lnTo>
                      <a:lnTo>
                        <a:pt x="960" y="899"/>
                      </a:lnTo>
                      <a:lnTo>
                        <a:pt x="958" y="899"/>
                      </a:lnTo>
                      <a:lnTo>
                        <a:pt x="958" y="900"/>
                      </a:lnTo>
                      <a:lnTo>
                        <a:pt x="956" y="900"/>
                      </a:lnTo>
                      <a:lnTo>
                        <a:pt x="955" y="900"/>
                      </a:lnTo>
                      <a:lnTo>
                        <a:pt x="955" y="901"/>
                      </a:lnTo>
                      <a:lnTo>
                        <a:pt x="954" y="901"/>
                      </a:lnTo>
                      <a:lnTo>
                        <a:pt x="954" y="902"/>
                      </a:lnTo>
                      <a:lnTo>
                        <a:pt x="953" y="902"/>
                      </a:lnTo>
                      <a:lnTo>
                        <a:pt x="952" y="902"/>
                      </a:lnTo>
                      <a:lnTo>
                        <a:pt x="952" y="903"/>
                      </a:lnTo>
                      <a:lnTo>
                        <a:pt x="951" y="904"/>
                      </a:lnTo>
                      <a:lnTo>
                        <a:pt x="950" y="904"/>
                      </a:lnTo>
                      <a:lnTo>
                        <a:pt x="949" y="903"/>
                      </a:lnTo>
                      <a:lnTo>
                        <a:pt x="949" y="902"/>
                      </a:lnTo>
                      <a:lnTo>
                        <a:pt x="949" y="901"/>
                      </a:lnTo>
                      <a:lnTo>
                        <a:pt x="948" y="900"/>
                      </a:lnTo>
                      <a:lnTo>
                        <a:pt x="948" y="899"/>
                      </a:lnTo>
                      <a:lnTo>
                        <a:pt x="947" y="898"/>
                      </a:lnTo>
                      <a:lnTo>
                        <a:pt x="948" y="898"/>
                      </a:lnTo>
                      <a:lnTo>
                        <a:pt x="949" y="898"/>
                      </a:lnTo>
                      <a:lnTo>
                        <a:pt x="949" y="897"/>
                      </a:lnTo>
                      <a:lnTo>
                        <a:pt x="950" y="897"/>
                      </a:lnTo>
                      <a:close/>
                      <a:moveTo>
                        <a:pt x="1325" y="1053"/>
                      </a:moveTo>
                      <a:lnTo>
                        <a:pt x="1326" y="1053"/>
                      </a:lnTo>
                      <a:lnTo>
                        <a:pt x="1327" y="1052"/>
                      </a:lnTo>
                      <a:lnTo>
                        <a:pt x="1326" y="1052"/>
                      </a:lnTo>
                      <a:lnTo>
                        <a:pt x="1327" y="1052"/>
                      </a:lnTo>
                      <a:lnTo>
                        <a:pt x="1328" y="1052"/>
                      </a:lnTo>
                      <a:lnTo>
                        <a:pt x="1328" y="1053"/>
                      </a:lnTo>
                      <a:lnTo>
                        <a:pt x="1327" y="1054"/>
                      </a:lnTo>
                      <a:lnTo>
                        <a:pt x="1327" y="1055"/>
                      </a:lnTo>
                      <a:lnTo>
                        <a:pt x="1326" y="1055"/>
                      </a:lnTo>
                      <a:lnTo>
                        <a:pt x="1326" y="1056"/>
                      </a:lnTo>
                      <a:lnTo>
                        <a:pt x="1325" y="1056"/>
                      </a:lnTo>
                      <a:lnTo>
                        <a:pt x="1324" y="1056"/>
                      </a:lnTo>
                      <a:lnTo>
                        <a:pt x="1324" y="1055"/>
                      </a:lnTo>
                      <a:lnTo>
                        <a:pt x="1323" y="1055"/>
                      </a:lnTo>
                      <a:lnTo>
                        <a:pt x="1323" y="1054"/>
                      </a:lnTo>
                      <a:lnTo>
                        <a:pt x="1322" y="1053"/>
                      </a:lnTo>
                      <a:lnTo>
                        <a:pt x="1322" y="1052"/>
                      </a:lnTo>
                      <a:lnTo>
                        <a:pt x="1322" y="1051"/>
                      </a:lnTo>
                      <a:lnTo>
                        <a:pt x="1323" y="1050"/>
                      </a:lnTo>
                      <a:lnTo>
                        <a:pt x="1323" y="1051"/>
                      </a:lnTo>
                      <a:lnTo>
                        <a:pt x="1324" y="1051"/>
                      </a:lnTo>
                      <a:lnTo>
                        <a:pt x="1325" y="1052"/>
                      </a:lnTo>
                      <a:lnTo>
                        <a:pt x="1325" y="1053"/>
                      </a:lnTo>
                      <a:close/>
                      <a:moveTo>
                        <a:pt x="1301" y="1071"/>
                      </a:moveTo>
                      <a:lnTo>
                        <a:pt x="1302" y="1071"/>
                      </a:lnTo>
                      <a:lnTo>
                        <a:pt x="1303" y="1071"/>
                      </a:lnTo>
                      <a:lnTo>
                        <a:pt x="1304" y="1071"/>
                      </a:lnTo>
                      <a:lnTo>
                        <a:pt x="1304" y="1070"/>
                      </a:lnTo>
                      <a:lnTo>
                        <a:pt x="1304" y="1071"/>
                      </a:lnTo>
                      <a:lnTo>
                        <a:pt x="1304" y="1072"/>
                      </a:lnTo>
                      <a:lnTo>
                        <a:pt x="1303" y="1073"/>
                      </a:lnTo>
                      <a:lnTo>
                        <a:pt x="1303" y="1074"/>
                      </a:lnTo>
                      <a:lnTo>
                        <a:pt x="1303" y="1076"/>
                      </a:lnTo>
                      <a:lnTo>
                        <a:pt x="1302" y="1076"/>
                      </a:lnTo>
                      <a:lnTo>
                        <a:pt x="1302" y="1077"/>
                      </a:lnTo>
                      <a:lnTo>
                        <a:pt x="1301" y="1079"/>
                      </a:lnTo>
                      <a:lnTo>
                        <a:pt x="1301" y="1080"/>
                      </a:lnTo>
                      <a:lnTo>
                        <a:pt x="1300" y="1081"/>
                      </a:lnTo>
                      <a:lnTo>
                        <a:pt x="1300" y="1082"/>
                      </a:lnTo>
                      <a:lnTo>
                        <a:pt x="1299" y="1082"/>
                      </a:lnTo>
                      <a:lnTo>
                        <a:pt x="1299" y="1083"/>
                      </a:lnTo>
                      <a:lnTo>
                        <a:pt x="1299" y="1082"/>
                      </a:lnTo>
                      <a:lnTo>
                        <a:pt x="1299" y="1081"/>
                      </a:lnTo>
                      <a:lnTo>
                        <a:pt x="1298" y="1081"/>
                      </a:lnTo>
                      <a:lnTo>
                        <a:pt x="1297" y="1080"/>
                      </a:lnTo>
                      <a:lnTo>
                        <a:pt x="1298" y="1080"/>
                      </a:lnTo>
                      <a:lnTo>
                        <a:pt x="1299" y="1080"/>
                      </a:lnTo>
                      <a:lnTo>
                        <a:pt x="1299" y="1081"/>
                      </a:lnTo>
                      <a:lnTo>
                        <a:pt x="1300" y="1081"/>
                      </a:lnTo>
                      <a:lnTo>
                        <a:pt x="1300" y="1080"/>
                      </a:lnTo>
                      <a:lnTo>
                        <a:pt x="1300" y="1079"/>
                      </a:lnTo>
                      <a:lnTo>
                        <a:pt x="1301" y="1079"/>
                      </a:lnTo>
                      <a:lnTo>
                        <a:pt x="1301" y="1078"/>
                      </a:lnTo>
                      <a:lnTo>
                        <a:pt x="1301" y="1077"/>
                      </a:lnTo>
                      <a:lnTo>
                        <a:pt x="1302" y="1077"/>
                      </a:lnTo>
                      <a:lnTo>
                        <a:pt x="1302" y="1076"/>
                      </a:lnTo>
                      <a:lnTo>
                        <a:pt x="1302" y="1074"/>
                      </a:lnTo>
                      <a:lnTo>
                        <a:pt x="1302" y="1073"/>
                      </a:lnTo>
                      <a:lnTo>
                        <a:pt x="1303" y="1073"/>
                      </a:lnTo>
                      <a:lnTo>
                        <a:pt x="1303" y="1072"/>
                      </a:lnTo>
                      <a:lnTo>
                        <a:pt x="1302" y="1072"/>
                      </a:lnTo>
                      <a:lnTo>
                        <a:pt x="1301" y="1072"/>
                      </a:lnTo>
                      <a:lnTo>
                        <a:pt x="1301" y="1071"/>
                      </a:lnTo>
                      <a:lnTo>
                        <a:pt x="1300" y="1071"/>
                      </a:lnTo>
                      <a:lnTo>
                        <a:pt x="1299" y="1071"/>
                      </a:lnTo>
                      <a:lnTo>
                        <a:pt x="1299" y="1073"/>
                      </a:lnTo>
                      <a:lnTo>
                        <a:pt x="1299" y="1076"/>
                      </a:lnTo>
                      <a:lnTo>
                        <a:pt x="1299" y="1077"/>
                      </a:lnTo>
                      <a:lnTo>
                        <a:pt x="1298" y="1077"/>
                      </a:lnTo>
                      <a:lnTo>
                        <a:pt x="1298" y="1076"/>
                      </a:lnTo>
                      <a:lnTo>
                        <a:pt x="1298" y="1074"/>
                      </a:lnTo>
                      <a:lnTo>
                        <a:pt x="1298" y="1073"/>
                      </a:lnTo>
                      <a:lnTo>
                        <a:pt x="1298" y="1072"/>
                      </a:lnTo>
                      <a:lnTo>
                        <a:pt x="1298" y="1071"/>
                      </a:lnTo>
                      <a:lnTo>
                        <a:pt x="1298" y="1070"/>
                      </a:lnTo>
                      <a:lnTo>
                        <a:pt x="1297" y="1070"/>
                      </a:lnTo>
                      <a:lnTo>
                        <a:pt x="1296" y="1070"/>
                      </a:lnTo>
                      <a:lnTo>
                        <a:pt x="1297" y="1070"/>
                      </a:lnTo>
                      <a:lnTo>
                        <a:pt x="1297" y="1069"/>
                      </a:lnTo>
                      <a:lnTo>
                        <a:pt x="1298" y="1069"/>
                      </a:lnTo>
                      <a:lnTo>
                        <a:pt x="1298" y="1070"/>
                      </a:lnTo>
                      <a:lnTo>
                        <a:pt x="1299" y="1070"/>
                      </a:lnTo>
                      <a:lnTo>
                        <a:pt x="1300" y="1070"/>
                      </a:lnTo>
                      <a:lnTo>
                        <a:pt x="1301" y="1070"/>
                      </a:lnTo>
                      <a:lnTo>
                        <a:pt x="1301" y="1071"/>
                      </a:lnTo>
                      <a:close/>
                      <a:moveTo>
                        <a:pt x="1142" y="837"/>
                      </a:moveTo>
                      <a:lnTo>
                        <a:pt x="1143" y="837"/>
                      </a:lnTo>
                      <a:lnTo>
                        <a:pt x="1144" y="838"/>
                      </a:lnTo>
                      <a:lnTo>
                        <a:pt x="1145" y="838"/>
                      </a:lnTo>
                      <a:lnTo>
                        <a:pt x="1146" y="838"/>
                      </a:lnTo>
                      <a:lnTo>
                        <a:pt x="1146" y="837"/>
                      </a:lnTo>
                      <a:lnTo>
                        <a:pt x="1147" y="837"/>
                      </a:lnTo>
                      <a:lnTo>
                        <a:pt x="1148" y="837"/>
                      </a:lnTo>
                      <a:lnTo>
                        <a:pt x="1149" y="837"/>
                      </a:lnTo>
                      <a:lnTo>
                        <a:pt x="1148" y="838"/>
                      </a:lnTo>
                      <a:lnTo>
                        <a:pt x="1147" y="838"/>
                      </a:lnTo>
                      <a:lnTo>
                        <a:pt x="1147" y="839"/>
                      </a:lnTo>
                      <a:lnTo>
                        <a:pt x="1146" y="839"/>
                      </a:lnTo>
                      <a:lnTo>
                        <a:pt x="1147" y="839"/>
                      </a:lnTo>
                      <a:lnTo>
                        <a:pt x="1146" y="839"/>
                      </a:lnTo>
                      <a:lnTo>
                        <a:pt x="1146" y="840"/>
                      </a:lnTo>
                      <a:lnTo>
                        <a:pt x="1147" y="840"/>
                      </a:lnTo>
                      <a:lnTo>
                        <a:pt x="1147" y="841"/>
                      </a:lnTo>
                      <a:lnTo>
                        <a:pt x="1146" y="841"/>
                      </a:lnTo>
                      <a:lnTo>
                        <a:pt x="1145" y="841"/>
                      </a:lnTo>
                      <a:lnTo>
                        <a:pt x="1145" y="840"/>
                      </a:lnTo>
                      <a:lnTo>
                        <a:pt x="1144" y="840"/>
                      </a:lnTo>
                      <a:lnTo>
                        <a:pt x="1144" y="839"/>
                      </a:lnTo>
                      <a:lnTo>
                        <a:pt x="1144" y="838"/>
                      </a:lnTo>
                      <a:lnTo>
                        <a:pt x="1143" y="838"/>
                      </a:lnTo>
                      <a:lnTo>
                        <a:pt x="1143" y="839"/>
                      </a:lnTo>
                      <a:lnTo>
                        <a:pt x="1142" y="838"/>
                      </a:lnTo>
                      <a:lnTo>
                        <a:pt x="1142" y="839"/>
                      </a:lnTo>
                      <a:lnTo>
                        <a:pt x="1141" y="839"/>
                      </a:lnTo>
                      <a:lnTo>
                        <a:pt x="1140" y="839"/>
                      </a:lnTo>
                      <a:lnTo>
                        <a:pt x="1140" y="840"/>
                      </a:lnTo>
                      <a:lnTo>
                        <a:pt x="1140" y="841"/>
                      </a:lnTo>
                      <a:lnTo>
                        <a:pt x="1140" y="842"/>
                      </a:lnTo>
                      <a:lnTo>
                        <a:pt x="1138" y="842"/>
                      </a:lnTo>
                      <a:lnTo>
                        <a:pt x="1138" y="841"/>
                      </a:lnTo>
                      <a:lnTo>
                        <a:pt x="1137" y="840"/>
                      </a:lnTo>
                      <a:lnTo>
                        <a:pt x="1137" y="839"/>
                      </a:lnTo>
                      <a:lnTo>
                        <a:pt x="1138" y="839"/>
                      </a:lnTo>
                      <a:lnTo>
                        <a:pt x="1140" y="839"/>
                      </a:lnTo>
                      <a:lnTo>
                        <a:pt x="1140" y="838"/>
                      </a:lnTo>
                      <a:lnTo>
                        <a:pt x="1141" y="837"/>
                      </a:lnTo>
                      <a:lnTo>
                        <a:pt x="1140" y="837"/>
                      </a:lnTo>
                      <a:lnTo>
                        <a:pt x="1140" y="838"/>
                      </a:lnTo>
                      <a:lnTo>
                        <a:pt x="1138" y="839"/>
                      </a:lnTo>
                      <a:lnTo>
                        <a:pt x="1137" y="839"/>
                      </a:lnTo>
                      <a:lnTo>
                        <a:pt x="1137" y="838"/>
                      </a:lnTo>
                      <a:lnTo>
                        <a:pt x="1138" y="838"/>
                      </a:lnTo>
                      <a:lnTo>
                        <a:pt x="1140" y="838"/>
                      </a:lnTo>
                      <a:lnTo>
                        <a:pt x="1140" y="837"/>
                      </a:lnTo>
                      <a:lnTo>
                        <a:pt x="1141" y="837"/>
                      </a:lnTo>
                      <a:lnTo>
                        <a:pt x="1141" y="836"/>
                      </a:lnTo>
                      <a:lnTo>
                        <a:pt x="1142" y="837"/>
                      </a:lnTo>
                      <a:close/>
                      <a:moveTo>
                        <a:pt x="1057" y="993"/>
                      </a:moveTo>
                      <a:lnTo>
                        <a:pt x="1058" y="993"/>
                      </a:lnTo>
                      <a:lnTo>
                        <a:pt x="1058" y="994"/>
                      </a:lnTo>
                      <a:lnTo>
                        <a:pt x="1059" y="994"/>
                      </a:lnTo>
                      <a:lnTo>
                        <a:pt x="1059" y="995"/>
                      </a:lnTo>
                      <a:lnTo>
                        <a:pt x="1060" y="995"/>
                      </a:lnTo>
                      <a:lnTo>
                        <a:pt x="1059" y="995"/>
                      </a:lnTo>
                      <a:lnTo>
                        <a:pt x="1060" y="995"/>
                      </a:lnTo>
                      <a:lnTo>
                        <a:pt x="1060" y="996"/>
                      </a:lnTo>
                      <a:lnTo>
                        <a:pt x="1061" y="996"/>
                      </a:lnTo>
                      <a:lnTo>
                        <a:pt x="1063" y="998"/>
                      </a:lnTo>
                      <a:lnTo>
                        <a:pt x="1064" y="998"/>
                      </a:lnTo>
                      <a:lnTo>
                        <a:pt x="1065" y="998"/>
                      </a:lnTo>
                      <a:lnTo>
                        <a:pt x="1066" y="996"/>
                      </a:lnTo>
                      <a:lnTo>
                        <a:pt x="1067" y="996"/>
                      </a:lnTo>
                      <a:lnTo>
                        <a:pt x="1068" y="996"/>
                      </a:lnTo>
                      <a:lnTo>
                        <a:pt x="1068" y="995"/>
                      </a:lnTo>
                      <a:lnTo>
                        <a:pt x="1068" y="996"/>
                      </a:lnTo>
                      <a:lnTo>
                        <a:pt x="1070" y="998"/>
                      </a:lnTo>
                      <a:lnTo>
                        <a:pt x="1068" y="998"/>
                      </a:lnTo>
                      <a:lnTo>
                        <a:pt x="1067" y="998"/>
                      </a:lnTo>
                      <a:lnTo>
                        <a:pt x="1070" y="998"/>
                      </a:lnTo>
                      <a:lnTo>
                        <a:pt x="1071" y="998"/>
                      </a:lnTo>
                      <a:lnTo>
                        <a:pt x="1072" y="998"/>
                      </a:lnTo>
                      <a:lnTo>
                        <a:pt x="1072" y="999"/>
                      </a:lnTo>
                      <a:lnTo>
                        <a:pt x="1071" y="999"/>
                      </a:lnTo>
                      <a:lnTo>
                        <a:pt x="1070" y="999"/>
                      </a:lnTo>
                      <a:lnTo>
                        <a:pt x="1069" y="999"/>
                      </a:lnTo>
                      <a:lnTo>
                        <a:pt x="1067" y="999"/>
                      </a:lnTo>
                      <a:lnTo>
                        <a:pt x="1066" y="999"/>
                      </a:lnTo>
                      <a:lnTo>
                        <a:pt x="1065" y="998"/>
                      </a:lnTo>
                      <a:lnTo>
                        <a:pt x="1063" y="998"/>
                      </a:lnTo>
                      <a:lnTo>
                        <a:pt x="1061" y="998"/>
                      </a:lnTo>
                      <a:lnTo>
                        <a:pt x="1060" y="998"/>
                      </a:lnTo>
                      <a:lnTo>
                        <a:pt x="1059" y="996"/>
                      </a:lnTo>
                      <a:lnTo>
                        <a:pt x="1057" y="996"/>
                      </a:lnTo>
                      <a:lnTo>
                        <a:pt x="1056" y="996"/>
                      </a:lnTo>
                      <a:lnTo>
                        <a:pt x="1056" y="995"/>
                      </a:lnTo>
                      <a:lnTo>
                        <a:pt x="1057" y="995"/>
                      </a:lnTo>
                      <a:lnTo>
                        <a:pt x="1058" y="995"/>
                      </a:lnTo>
                      <a:lnTo>
                        <a:pt x="1057" y="995"/>
                      </a:lnTo>
                      <a:lnTo>
                        <a:pt x="1056" y="995"/>
                      </a:lnTo>
                      <a:lnTo>
                        <a:pt x="1056" y="993"/>
                      </a:lnTo>
                      <a:lnTo>
                        <a:pt x="1057" y="993"/>
                      </a:lnTo>
                      <a:close/>
                      <a:moveTo>
                        <a:pt x="1112" y="961"/>
                      </a:moveTo>
                      <a:lnTo>
                        <a:pt x="1112" y="962"/>
                      </a:lnTo>
                      <a:lnTo>
                        <a:pt x="1112" y="963"/>
                      </a:lnTo>
                      <a:lnTo>
                        <a:pt x="1113" y="965"/>
                      </a:lnTo>
                      <a:lnTo>
                        <a:pt x="1113" y="966"/>
                      </a:lnTo>
                      <a:lnTo>
                        <a:pt x="1113" y="967"/>
                      </a:lnTo>
                      <a:lnTo>
                        <a:pt x="1112" y="968"/>
                      </a:lnTo>
                      <a:lnTo>
                        <a:pt x="1112" y="969"/>
                      </a:lnTo>
                      <a:lnTo>
                        <a:pt x="1112" y="970"/>
                      </a:lnTo>
                      <a:lnTo>
                        <a:pt x="1111" y="970"/>
                      </a:lnTo>
                      <a:lnTo>
                        <a:pt x="1111" y="969"/>
                      </a:lnTo>
                      <a:lnTo>
                        <a:pt x="1109" y="969"/>
                      </a:lnTo>
                      <a:lnTo>
                        <a:pt x="1109" y="968"/>
                      </a:lnTo>
                      <a:lnTo>
                        <a:pt x="1108" y="968"/>
                      </a:lnTo>
                      <a:lnTo>
                        <a:pt x="1109" y="968"/>
                      </a:lnTo>
                      <a:lnTo>
                        <a:pt x="1109" y="967"/>
                      </a:lnTo>
                      <a:lnTo>
                        <a:pt x="1108" y="967"/>
                      </a:lnTo>
                      <a:lnTo>
                        <a:pt x="1108" y="966"/>
                      </a:lnTo>
                      <a:lnTo>
                        <a:pt x="1109" y="966"/>
                      </a:lnTo>
                      <a:lnTo>
                        <a:pt x="1110" y="966"/>
                      </a:lnTo>
                      <a:lnTo>
                        <a:pt x="1111" y="965"/>
                      </a:lnTo>
                      <a:lnTo>
                        <a:pt x="1111" y="964"/>
                      </a:lnTo>
                      <a:lnTo>
                        <a:pt x="1111" y="963"/>
                      </a:lnTo>
                      <a:lnTo>
                        <a:pt x="1111" y="962"/>
                      </a:lnTo>
                      <a:lnTo>
                        <a:pt x="1111" y="961"/>
                      </a:lnTo>
                      <a:lnTo>
                        <a:pt x="1112" y="961"/>
                      </a:lnTo>
                      <a:lnTo>
                        <a:pt x="1112" y="960"/>
                      </a:lnTo>
                      <a:lnTo>
                        <a:pt x="1113" y="960"/>
                      </a:lnTo>
                      <a:lnTo>
                        <a:pt x="1113" y="961"/>
                      </a:lnTo>
                      <a:lnTo>
                        <a:pt x="1112" y="961"/>
                      </a:lnTo>
                      <a:close/>
                      <a:moveTo>
                        <a:pt x="987" y="903"/>
                      </a:moveTo>
                      <a:lnTo>
                        <a:pt x="987" y="904"/>
                      </a:lnTo>
                      <a:lnTo>
                        <a:pt x="987" y="905"/>
                      </a:lnTo>
                      <a:lnTo>
                        <a:pt x="986" y="905"/>
                      </a:lnTo>
                      <a:lnTo>
                        <a:pt x="986" y="906"/>
                      </a:lnTo>
                      <a:lnTo>
                        <a:pt x="984" y="905"/>
                      </a:lnTo>
                      <a:lnTo>
                        <a:pt x="984" y="904"/>
                      </a:lnTo>
                      <a:lnTo>
                        <a:pt x="983" y="904"/>
                      </a:lnTo>
                      <a:lnTo>
                        <a:pt x="983" y="905"/>
                      </a:lnTo>
                      <a:lnTo>
                        <a:pt x="984" y="905"/>
                      </a:lnTo>
                      <a:lnTo>
                        <a:pt x="984" y="906"/>
                      </a:lnTo>
                      <a:lnTo>
                        <a:pt x="983" y="906"/>
                      </a:lnTo>
                      <a:lnTo>
                        <a:pt x="982" y="906"/>
                      </a:lnTo>
                      <a:lnTo>
                        <a:pt x="982" y="907"/>
                      </a:lnTo>
                      <a:lnTo>
                        <a:pt x="981" y="907"/>
                      </a:lnTo>
                      <a:lnTo>
                        <a:pt x="981" y="909"/>
                      </a:lnTo>
                      <a:lnTo>
                        <a:pt x="981" y="907"/>
                      </a:lnTo>
                      <a:lnTo>
                        <a:pt x="981" y="906"/>
                      </a:lnTo>
                      <a:lnTo>
                        <a:pt x="982" y="906"/>
                      </a:lnTo>
                      <a:lnTo>
                        <a:pt x="982" y="905"/>
                      </a:lnTo>
                      <a:lnTo>
                        <a:pt x="983" y="905"/>
                      </a:lnTo>
                      <a:lnTo>
                        <a:pt x="982" y="905"/>
                      </a:lnTo>
                      <a:lnTo>
                        <a:pt x="982" y="904"/>
                      </a:lnTo>
                      <a:lnTo>
                        <a:pt x="983" y="905"/>
                      </a:lnTo>
                      <a:lnTo>
                        <a:pt x="983" y="904"/>
                      </a:lnTo>
                      <a:lnTo>
                        <a:pt x="982" y="904"/>
                      </a:lnTo>
                      <a:lnTo>
                        <a:pt x="982" y="903"/>
                      </a:lnTo>
                      <a:lnTo>
                        <a:pt x="982" y="904"/>
                      </a:lnTo>
                      <a:lnTo>
                        <a:pt x="983" y="904"/>
                      </a:lnTo>
                      <a:lnTo>
                        <a:pt x="982" y="904"/>
                      </a:lnTo>
                      <a:lnTo>
                        <a:pt x="982" y="905"/>
                      </a:lnTo>
                      <a:lnTo>
                        <a:pt x="983" y="905"/>
                      </a:lnTo>
                      <a:lnTo>
                        <a:pt x="982" y="905"/>
                      </a:lnTo>
                      <a:lnTo>
                        <a:pt x="982" y="906"/>
                      </a:lnTo>
                      <a:lnTo>
                        <a:pt x="982" y="905"/>
                      </a:lnTo>
                      <a:lnTo>
                        <a:pt x="982" y="906"/>
                      </a:lnTo>
                      <a:lnTo>
                        <a:pt x="981" y="906"/>
                      </a:lnTo>
                      <a:lnTo>
                        <a:pt x="981" y="905"/>
                      </a:lnTo>
                      <a:lnTo>
                        <a:pt x="982" y="904"/>
                      </a:lnTo>
                      <a:lnTo>
                        <a:pt x="982" y="903"/>
                      </a:lnTo>
                      <a:lnTo>
                        <a:pt x="982" y="902"/>
                      </a:lnTo>
                      <a:lnTo>
                        <a:pt x="983" y="902"/>
                      </a:lnTo>
                      <a:lnTo>
                        <a:pt x="984" y="901"/>
                      </a:lnTo>
                      <a:lnTo>
                        <a:pt x="986" y="901"/>
                      </a:lnTo>
                      <a:lnTo>
                        <a:pt x="987" y="901"/>
                      </a:lnTo>
                      <a:lnTo>
                        <a:pt x="988" y="902"/>
                      </a:lnTo>
                      <a:lnTo>
                        <a:pt x="987" y="903"/>
                      </a:lnTo>
                      <a:close/>
                      <a:moveTo>
                        <a:pt x="1508" y="1069"/>
                      </a:moveTo>
                      <a:lnTo>
                        <a:pt x="1507" y="1069"/>
                      </a:lnTo>
                      <a:lnTo>
                        <a:pt x="1507" y="1070"/>
                      </a:lnTo>
                      <a:lnTo>
                        <a:pt x="1506" y="1070"/>
                      </a:lnTo>
                      <a:lnTo>
                        <a:pt x="1505" y="1070"/>
                      </a:lnTo>
                      <a:lnTo>
                        <a:pt x="1505" y="1071"/>
                      </a:lnTo>
                      <a:lnTo>
                        <a:pt x="1504" y="1071"/>
                      </a:lnTo>
                      <a:lnTo>
                        <a:pt x="1503" y="1072"/>
                      </a:lnTo>
                      <a:lnTo>
                        <a:pt x="1502" y="1073"/>
                      </a:lnTo>
                      <a:lnTo>
                        <a:pt x="1502" y="1074"/>
                      </a:lnTo>
                      <a:lnTo>
                        <a:pt x="1500" y="1074"/>
                      </a:lnTo>
                      <a:lnTo>
                        <a:pt x="1500" y="1073"/>
                      </a:lnTo>
                      <a:lnTo>
                        <a:pt x="1499" y="1073"/>
                      </a:lnTo>
                      <a:lnTo>
                        <a:pt x="1499" y="1074"/>
                      </a:lnTo>
                      <a:lnTo>
                        <a:pt x="1498" y="1076"/>
                      </a:lnTo>
                      <a:lnTo>
                        <a:pt x="1499" y="1076"/>
                      </a:lnTo>
                      <a:lnTo>
                        <a:pt x="1499" y="1077"/>
                      </a:lnTo>
                      <a:lnTo>
                        <a:pt x="1499" y="1078"/>
                      </a:lnTo>
                      <a:lnTo>
                        <a:pt x="1498" y="1078"/>
                      </a:lnTo>
                      <a:lnTo>
                        <a:pt x="1498" y="1077"/>
                      </a:lnTo>
                      <a:lnTo>
                        <a:pt x="1497" y="1077"/>
                      </a:lnTo>
                      <a:lnTo>
                        <a:pt x="1497" y="1078"/>
                      </a:lnTo>
                      <a:lnTo>
                        <a:pt x="1496" y="1079"/>
                      </a:lnTo>
                      <a:lnTo>
                        <a:pt x="1496" y="1080"/>
                      </a:lnTo>
                      <a:lnTo>
                        <a:pt x="1496" y="1079"/>
                      </a:lnTo>
                      <a:lnTo>
                        <a:pt x="1496" y="1080"/>
                      </a:lnTo>
                      <a:lnTo>
                        <a:pt x="1497" y="1080"/>
                      </a:lnTo>
                      <a:lnTo>
                        <a:pt x="1498" y="1081"/>
                      </a:lnTo>
                      <a:lnTo>
                        <a:pt x="1497" y="1081"/>
                      </a:lnTo>
                      <a:lnTo>
                        <a:pt x="1494" y="1079"/>
                      </a:lnTo>
                      <a:lnTo>
                        <a:pt x="1494" y="1078"/>
                      </a:lnTo>
                      <a:lnTo>
                        <a:pt x="1497" y="1076"/>
                      </a:lnTo>
                      <a:lnTo>
                        <a:pt x="1498" y="1074"/>
                      </a:lnTo>
                      <a:lnTo>
                        <a:pt x="1503" y="1071"/>
                      </a:lnTo>
                      <a:lnTo>
                        <a:pt x="1505" y="1070"/>
                      </a:lnTo>
                      <a:lnTo>
                        <a:pt x="1507" y="1069"/>
                      </a:lnTo>
                      <a:lnTo>
                        <a:pt x="1508" y="1069"/>
                      </a:lnTo>
                      <a:close/>
                      <a:moveTo>
                        <a:pt x="1355" y="1021"/>
                      </a:moveTo>
                      <a:lnTo>
                        <a:pt x="1355" y="1022"/>
                      </a:lnTo>
                      <a:lnTo>
                        <a:pt x="1355" y="1021"/>
                      </a:lnTo>
                      <a:lnTo>
                        <a:pt x="1355" y="1022"/>
                      </a:lnTo>
                      <a:lnTo>
                        <a:pt x="1356" y="1024"/>
                      </a:lnTo>
                      <a:lnTo>
                        <a:pt x="1356" y="1025"/>
                      </a:lnTo>
                      <a:lnTo>
                        <a:pt x="1356" y="1026"/>
                      </a:lnTo>
                      <a:lnTo>
                        <a:pt x="1356" y="1027"/>
                      </a:lnTo>
                      <a:lnTo>
                        <a:pt x="1355" y="1027"/>
                      </a:lnTo>
                      <a:lnTo>
                        <a:pt x="1355" y="1028"/>
                      </a:lnTo>
                      <a:lnTo>
                        <a:pt x="1355" y="1029"/>
                      </a:lnTo>
                      <a:lnTo>
                        <a:pt x="1355" y="1030"/>
                      </a:lnTo>
                      <a:lnTo>
                        <a:pt x="1354" y="1030"/>
                      </a:lnTo>
                      <a:lnTo>
                        <a:pt x="1355" y="1030"/>
                      </a:lnTo>
                      <a:lnTo>
                        <a:pt x="1354" y="1030"/>
                      </a:lnTo>
                      <a:lnTo>
                        <a:pt x="1353" y="1030"/>
                      </a:lnTo>
                      <a:lnTo>
                        <a:pt x="1353" y="1029"/>
                      </a:lnTo>
                      <a:lnTo>
                        <a:pt x="1353" y="1028"/>
                      </a:lnTo>
                      <a:lnTo>
                        <a:pt x="1353" y="1027"/>
                      </a:lnTo>
                      <a:lnTo>
                        <a:pt x="1352" y="1027"/>
                      </a:lnTo>
                      <a:lnTo>
                        <a:pt x="1352" y="1026"/>
                      </a:lnTo>
                      <a:lnTo>
                        <a:pt x="1353" y="1026"/>
                      </a:lnTo>
                      <a:lnTo>
                        <a:pt x="1353" y="1025"/>
                      </a:lnTo>
                      <a:lnTo>
                        <a:pt x="1353" y="1024"/>
                      </a:lnTo>
                      <a:lnTo>
                        <a:pt x="1353" y="1022"/>
                      </a:lnTo>
                      <a:lnTo>
                        <a:pt x="1353" y="1021"/>
                      </a:lnTo>
                      <a:lnTo>
                        <a:pt x="1354" y="1021"/>
                      </a:lnTo>
                      <a:lnTo>
                        <a:pt x="1355" y="1021"/>
                      </a:lnTo>
                      <a:close/>
                      <a:moveTo>
                        <a:pt x="1420" y="1002"/>
                      </a:moveTo>
                      <a:lnTo>
                        <a:pt x="1422" y="1003"/>
                      </a:lnTo>
                      <a:lnTo>
                        <a:pt x="1421" y="1003"/>
                      </a:lnTo>
                      <a:lnTo>
                        <a:pt x="1421" y="1002"/>
                      </a:lnTo>
                      <a:lnTo>
                        <a:pt x="1420" y="1002"/>
                      </a:lnTo>
                      <a:lnTo>
                        <a:pt x="1419" y="1003"/>
                      </a:lnTo>
                      <a:lnTo>
                        <a:pt x="1419" y="1004"/>
                      </a:lnTo>
                      <a:lnTo>
                        <a:pt x="1419" y="1005"/>
                      </a:lnTo>
                      <a:lnTo>
                        <a:pt x="1419" y="1006"/>
                      </a:lnTo>
                      <a:lnTo>
                        <a:pt x="1420" y="1006"/>
                      </a:lnTo>
                      <a:lnTo>
                        <a:pt x="1420" y="1005"/>
                      </a:lnTo>
                      <a:lnTo>
                        <a:pt x="1421" y="1005"/>
                      </a:lnTo>
                      <a:lnTo>
                        <a:pt x="1422" y="1005"/>
                      </a:lnTo>
                      <a:lnTo>
                        <a:pt x="1422" y="1006"/>
                      </a:lnTo>
                      <a:lnTo>
                        <a:pt x="1421" y="1007"/>
                      </a:lnTo>
                      <a:lnTo>
                        <a:pt x="1421" y="1008"/>
                      </a:lnTo>
                      <a:lnTo>
                        <a:pt x="1422" y="1008"/>
                      </a:lnTo>
                      <a:lnTo>
                        <a:pt x="1422" y="1009"/>
                      </a:lnTo>
                      <a:lnTo>
                        <a:pt x="1422" y="1008"/>
                      </a:lnTo>
                      <a:lnTo>
                        <a:pt x="1419" y="1007"/>
                      </a:lnTo>
                      <a:lnTo>
                        <a:pt x="1418" y="1007"/>
                      </a:lnTo>
                      <a:lnTo>
                        <a:pt x="1417" y="1006"/>
                      </a:lnTo>
                      <a:lnTo>
                        <a:pt x="1416" y="1006"/>
                      </a:lnTo>
                      <a:lnTo>
                        <a:pt x="1415" y="1006"/>
                      </a:lnTo>
                      <a:lnTo>
                        <a:pt x="1415" y="1005"/>
                      </a:lnTo>
                      <a:lnTo>
                        <a:pt x="1416" y="1005"/>
                      </a:lnTo>
                      <a:lnTo>
                        <a:pt x="1417" y="1003"/>
                      </a:lnTo>
                      <a:lnTo>
                        <a:pt x="1418" y="1003"/>
                      </a:lnTo>
                      <a:lnTo>
                        <a:pt x="1419" y="1002"/>
                      </a:lnTo>
                      <a:lnTo>
                        <a:pt x="1420" y="1001"/>
                      </a:lnTo>
                      <a:lnTo>
                        <a:pt x="1420" y="1002"/>
                      </a:lnTo>
                      <a:close/>
                      <a:moveTo>
                        <a:pt x="1437" y="1015"/>
                      </a:moveTo>
                      <a:lnTo>
                        <a:pt x="1437" y="1016"/>
                      </a:lnTo>
                      <a:lnTo>
                        <a:pt x="1438" y="1016"/>
                      </a:lnTo>
                      <a:lnTo>
                        <a:pt x="1437" y="1016"/>
                      </a:lnTo>
                      <a:lnTo>
                        <a:pt x="1435" y="1016"/>
                      </a:lnTo>
                      <a:lnTo>
                        <a:pt x="1437" y="1016"/>
                      </a:lnTo>
                      <a:lnTo>
                        <a:pt x="1435" y="1016"/>
                      </a:lnTo>
                      <a:lnTo>
                        <a:pt x="1437" y="1017"/>
                      </a:lnTo>
                      <a:lnTo>
                        <a:pt x="1435" y="1017"/>
                      </a:lnTo>
                      <a:lnTo>
                        <a:pt x="1435" y="1016"/>
                      </a:lnTo>
                      <a:lnTo>
                        <a:pt x="1435" y="1017"/>
                      </a:lnTo>
                      <a:lnTo>
                        <a:pt x="1435" y="1018"/>
                      </a:lnTo>
                      <a:lnTo>
                        <a:pt x="1434" y="1018"/>
                      </a:lnTo>
                      <a:lnTo>
                        <a:pt x="1434" y="1019"/>
                      </a:lnTo>
                      <a:lnTo>
                        <a:pt x="1435" y="1019"/>
                      </a:lnTo>
                      <a:lnTo>
                        <a:pt x="1434" y="1019"/>
                      </a:lnTo>
                      <a:lnTo>
                        <a:pt x="1434" y="1020"/>
                      </a:lnTo>
                      <a:lnTo>
                        <a:pt x="1434" y="1021"/>
                      </a:lnTo>
                      <a:lnTo>
                        <a:pt x="1433" y="1021"/>
                      </a:lnTo>
                      <a:lnTo>
                        <a:pt x="1433" y="1022"/>
                      </a:lnTo>
                      <a:lnTo>
                        <a:pt x="1432" y="1021"/>
                      </a:lnTo>
                      <a:lnTo>
                        <a:pt x="1431" y="1021"/>
                      </a:lnTo>
                      <a:lnTo>
                        <a:pt x="1431" y="1022"/>
                      </a:lnTo>
                      <a:lnTo>
                        <a:pt x="1430" y="1022"/>
                      </a:lnTo>
                      <a:lnTo>
                        <a:pt x="1431" y="1022"/>
                      </a:lnTo>
                      <a:lnTo>
                        <a:pt x="1431" y="1024"/>
                      </a:lnTo>
                      <a:lnTo>
                        <a:pt x="1430" y="1024"/>
                      </a:lnTo>
                      <a:lnTo>
                        <a:pt x="1431" y="1024"/>
                      </a:lnTo>
                      <a:lnTo>
                        <a:pt x="1432" y="1024"/>
                      </a:lnTo>
                      <a:lnTo>
                        <a:pt x="1431" y="1022"/>
                      </a:lnTo>
                      <a:lnTo>
                        <a:pt x="1432" y="1022"/>
                      </a:lnTo>
                      <a:lnTo>
                        <a:pt x="1431" y="1022"/>
                      </a:lnTo>
                      <a:lnTo>
                        <a:pt x="1432" y="1022"/>
                      </a:lnTo>
                      <a:lnTo>
                        <a:pt x="1433" y="1022"/>
                      </a:lnTo>
                      <a:lnTo>
                        <a:pt x="1432" y="1022"/>
                      </a:lnTo>
                      <a:lnTo>
                        <a:pt x="1432" y="1024"/>
                      </a:lnTo>
                      <a:lnTo>
                        <a:pt x="1433" y="1024"/>
                      </a:lnTo>
                      <a:lnTo>
                        <a:pt x="1433" y="1022"/>
                      </a:lnTo>
                      <a:lnTo>
                        <a:pt x="1434" y="1022"/>
                      </a:lnTo>
                      <a:lnTo>
                        <a:pt x="1433" y="1022"/>
                      </a:lnTo>
                      <a:lnTo>
                        <a:pt x="1434" y="1021"/>
                      </a:lnTo>
                      <a:lnTo>
                        <a:pt x="1434" y="1022"/>
                      </a:lnTo>
                      <a:lnTo>
                        <a:pt x="1434" y="1021"/>
                      </a:lnTo>
                      <a:lnTo>
                        <a:pt x="1434" y="1022"/>
                      </a:lnTo>
                      <a:lnTo>
                        <a:pt x="1434" y="1021"/>
                      </a:lnTo>
                      <a:lnTo>
                        <a:pt x="1435" y="1020"/>
                      </a:lnTo>
                      <a:lnTo>
                        <a:pt x="1437" y="1020"/>
                      </a:lnTo>
                      <a:lnTo>
                        <a:pt x="1437" y="1021"/>
                      </a:lnTo>
                      <a:lnTo>
                        <a:pt x="1435" y="1021"/>
                      </a:lnTo>
                      <a:lnTo>
                        <a:pt x="1435" y="1022"/>
                      </a:lnTo>
                      <a:lnTo>
                        <a:pt x="1434" y="1022"/>
                      </a:lnTo>
                      <a:lnTo>
                        <a:pt x="1434" y="1024"/>
                      </a:lnTo>
                      <a:lnTo>
                        <a:pt x="1433" y="1024"/>
                      </a:lnTo>
                      <a:lnTo>
                        <a:pt x="1432" y="1024"/>
                      </a:lnTo>
                      <a:lnTo>
                        <a:pt x="1430" y="1024"/>
                      </a:lnTo>
                      <a:lnTo>
                        <a:pt x="1430" y="1022"/>
                      </a:lnTo>
                      <a:lnTo>
                        <a:pt x="1432" y="1020"/>
                      </a:lnTo>
                      <a:lnTo>
                        <a:pt x="1432" y="1019"/>
                      </a:lnTo>
                      <a:lnTo>
                        <a:pt x="1433" y="1018"/>
                      </a:lnTo>
                      <a:lnTo>
                        <a:pt x="1433" y="1017"/>
                      </a:lnTo>
                      <a:lnTo>
                        <a:pt x="1434" y="1017"/>
                      </a:lnTo>
                      <a:lnTo>
                        <a:pt x="1434" y="1016"/>
                      </a:lnTo>
                      <a:lnTo>
                        <a:pt x="1434" y="1015"/>
                      </a:lnTo>
                      <a:lnTo>
                        <a:pt x="1435" y="1015"/>
                      </a:lnTo>
                      <a:lnTo>
                        <a:pt x="1437" y="1014"/>
                      </a:lnTo>
                      <a:lnTo>
                        <a:pt x="1437" y="1015"/>
                      </a:lnTo>
                      <a:close/>
                      <a:moveTo>
                        <a:pt x="1123" y="965"/>
                      </a:moveTo>
                      <a:lnTo>
                        <a:pt x="1125" y="967"/>
                      </a:lnTo>
                      <a:lnTo>
                        <a:pt x="1126" y="968"/>
                      </a:lnTo>
                      <a:lnTo>
                        <a:pt x="1129" y="970"/>
                      </a:lnTo>
                      <a:lnTo>
                        <a:pt x="1128" y="970"/>
                      </a:lnTo>
                      <a:lnTo>
                        <a:pt x="1126" y="970"/>
                      </a:lnTo>
                      <a:lnTo>
                        <a:pt x="1125" y="970"/>
                      </a:lnTo>
                      <a:lnTo>
                        <a:pt x="1126" y="970"/>
                      </a:lnTo>
                      <a:lnTo>
                        <a:pt x="1126" y="969"/>
                      </a:lnTo>
                      <a:lnTo>
                        <a:pt x="1126" y="970"/>
                      </a:lnTo>
                      <a:lnTo>
                        <a:pt x="1126" y="969"/>
                      </a:lnTo>
                      <a:lnTo>
                        <a:pt x="1125" y="969"/>
                      </a:lnTo>
                      <a:lnTo>
                        <a:pt x="1125" y="970"/>
                      </a:lnTo>
                      <a:lnTo>
                        <a:pt x="1125" y="969"/>
                      </a:lnTo>
                      <a:lnTo>
                        <a:pt x="1125" y="968"/>
                      </a:lnTo>
                      <a:lnTo>
                        <a:pt x="1124" y="968"/>
                      </a:lnTo>
                      <a:lnTo>
                        <a:pt x="1124" y="969"/>
                      </a:lnTo>
                      <a:lnTo>
                        <a:pt x="1123" y="969"/>
                      </a:lnTo>
                      <a:lnTo>
                        <a:pt x="1122" y="969"/>
                      </a:lnTo>
                      <a:lnTo>
                        <a:pt x="1122" y="970"/>
                      </a:lnTo>
                      <a:lnTo>
                        <a:pt x="1121" y="969"/>
                      </a:lnTo>
                      <a:lnTo>
                        <a:pt x="1121" y="970"/>
                      </a:lnTo>
                      <a:lnTo>
                        <a:pt x="1120" y="970"/>
                      </a:lnTo>
                      <a:lnTo>
                        <a:pt x="1119" y="970"/>
                      </a:lnTo>
                      <a:lnTo>
                        <a:pt x="1120" y="970"/>
                      </a:lnTo>
                      <a:lnTo>
                        <a:pt x="1120" y="969"/>
                      </a:lnTo>
                      <a:lnTo>
                        <a:pt x="1121" y="969"/>
                      </a:lnTo>
                      <a:lnTo>
                        <a:pt x="1120" y="969"/>
                      </a:lnTo>
                      <a:lnTo>
                        <a:pt x="1120" y="968"/>
                      </a:lnTo>
                      <a:lnTo>
                        <a:pt x="1121" y="968"/>
                      </a:lnTo>
                      <a:lnTo>
                        <a:pt x="1121" y="967"/>
                      </a:lnTo>
                      <a:lnTo>
                        <a:pt x="1122" y="967"/>
                      </a:lnTo>
                      <a:lnTo>
                        <a:pt x="1122" y="966"/>
                      </a:lnTo>
                      <a:lnTo>
                        <a:pt x="1122" y="967"/>
                      </a:lnTo>
                      <a:lnTo>
                        <a:pt x="1123" y="967"/>
                      </a:lnTo>
                      <a:lnTo>
                        <a:pt x="1122" y="967"/>
                      </a:lnTo>
                      <a:lnTo>
                        <a:pt x="1123" y="966"/>
                      </a:lnTo>
                      <a:lnTo>
                        <a:pt x="1122" y="966"/>
                      </a:lnTo>
                      <a:lnTo>
                        <a:pt x="1123" y="966"/>
                      </a:lnTo>
                      <a:lnTo>
                        <a:pt x="1123" y="965"/>
                      </a:lnTo>
                      <a:close/>
                      <a:moveTo>
                        <a:pt x="1479" y="1084"/>
                      </a:moveTo>
                      <a:lnTo>
                        <a:pt x="1479" y="1086"/>
                      </a:lnTo>
                      <a:lnTo>
                        <a:pt x="1479" y="1088"/>
                      </a:lnTo>
                      <a:lnTo>
                        <a:pt x="1479" y="1089"/>
                      </a:lnTo>
                      <a:lnTo>
                        <a:pt x="1480" y="1089"/>
                      </a:lnTo>
                      <a:lnTo>
                        <a:pt x="1479" y="1089"/>
                      </a:lnTo>
                      <a:lnTo>
                        <a:pt x="1478" y="1089"/>
                      </a:lnTo>
                      <a:lnTo>
                        <a:pt x="1478" y="1090"/>
                      </a:lnTo>
                      <a:lnTo>
                        <a:pt x="1477" y="1090"/>
                      </a:lnTo>
                      <a:lnTo>
                        <a:pt x="1477" y="1091"/>
                      </a:lnTo>
                      <a:lnTo>
                        <a:pt x="1477" y="1092"/>
                      </a:lnTo>
                      <a:lnTo>
                        <a:pt x="1476" y="1092"/>
                      </a:lnTo>
                      <a:lnTo>
                        <a:pt x="1474" y="1091"/>
                      </a:lnTo>
                      <a:lnTo>
                        <a:pt x="1476" y="1091"/>
                      </a:lnTo>
                      <a:lnTo>
                        <a:pt x="1476" y="1090"/>
                      </a:lnTo>
                      <a:lnTo>
                        <a:pt x="1477" y="1090"/>
                      </a:lnTo>
                      <a:lnTo>
                        <a:pt x="1477" y="1089"/>
                      </a:lnTo>
                      <a:lnTo>
                        <a:pt x="1477" y="1088"/>
                      </a:lnTo>
                      <a:lnTo>
                        <a:pt x="1476" y="1089"/>
                      </a:lnTo>
                      <a:lnTo>
                        <a:pt x="1476" y="1088"/>
                      </a:lnTo>
                      <a:lnTo>
                        <a:pt x="1474" y="1088"/>
                      </a:lnTo>
                      <a:lnTo>
                        <a:pt x="1476" y="1088"/>
                      </a:lnTo>
                      <a:lnTo>
                        <a:pt x="1476" y="1086"/>
                      </a:lnTo>
                      <a:lnTo>
                        <a:pt x="1476" y="1085"/>
                      </a:lnTo>
                      <a:lnTo>
                        <a:pt x="1477" y="1085"/>
                      </a:lnTo>
                      <a:lnTo>
                        <a:pt x="1476" y="1085"/>
                      </a:lnTo>
                      <a:lnTo>
                        <a:pt x="1474" y="1085"/>
                      </a:lnTo>
                      <a:lnTo>
                        <a:pt x="1474" y="1086"/>
                      </a:lnTo>
                      <a:lnTo>
                        <a:pt x="1473" y="1085"/>
                      </a:lnTo>
                      <a:lnTo>
                        <a:pt x="1477" y="1084"/>
                      </a:lnTo>
                      <a:lnTo>
                        <a:pt x="1478" y="1084"/>
                      </a:lnTo>
                      <a:lnTo>
                        <a:pt x="1479" y="1084"/>
                      </a:lnTo>
                      <a:close/>
                      <a:moveTo>
                        <a:pt x="1117" y="825"/>
                      </a:moveTo>
                      <a:lnTo>
                        <a:pt x="1118" y="826"/>
                      </a:lnTo>
                      <a:lnTo>
                        <a:pt x="1118" y="825"/>
                      </a:lnTo>
                      <a:lnTo>
                        <a:pt x="1119" y="825"/>
                      </a:lnTo>
                      <a:lnTo>
                        <a:pt x="1119" y="826"/>
                      </a:lnTo>
                      <a:lnTo>
                        <a:pt x="1120" y="826"/>
                      </a:lnTo>
                      <a:lnTo>
                        <a:pt x="1120" y="827"/>
                      </a:lnTo>
                      <a:lnTo>
                        <a:pt x="1120" y="828"/>
                      </a:lnTo>
                      <a:lnTo>
                        <a:pt x="1120" y="829"/>
                      </a:lnTo>
                      <a:lnTo>
                        <a:pt x="1120" y="831"/>
                      </a:lnTo>
                      <a:lnTo>
                        <a:pt x="1119" y="831"/>
                      </a:lnTo>
                      <a:lnTo>
                        <a:pt x="1118" y="831"/>
                      </a:lnTo>
                      <a:lnTo>
                        <a:pt x="1118" y="829"/>
                      </a:lnTo>
                      <a:lnTo>
                        <a:pt x="1117" y="829"/>
                      </a:lnTo>
                      <a:lnTo>
                        <a:pt x="1117" y="828"/>
                      </a:lnTo>
                      <a:lnTo>
                        <a:pt x="1116" y="828"/>
                      </a:lnTo>
                      <a:lnTo>
                        <a:pt x="1115" y="828"/>
                      </a:lnTo>
                      <a:lnTo>
                        <a:pt x="1115" y="827"/>
                      </a:lnTo>
                      <a:lnTo>
                        <a:pt x="1115" y="826"/>
                      </a:lnTo>
                      <a:lnTo>
                        <a:pt x="1115" y="825"/>
                      </a:lnTo>
                      <a:lnTo>
                        <a:pt x="1115" y="826"/>
                      </a:lnTo>
                      <a:lnTo>
                        <a:pt x="1115" y="825"/>
                      </a:lnTo>
                      <a:lnTo>
                        <a:pt x="1116" y="825"/>
                      </a:lnTo>
                      <a:lnTo>
                        <a:pt x="1115" y="826"/>
                      </a:lnTo>
                      <a:lnTo>
                        <a:pt x="1116" y="826"/>
                      </a:lnTo>
                      <a:lnTo>
                        <a:pt x="1116" y="825"/>
                      </a:lnTo>
                      <a:lnTo>
                        <a:pt x="1117" y="825"/>
                      </a:lnTo>
                      <a:close/>
                      <a:moveTo>
                        <a:pt x="1022" y="964"/>
                      </a:moveTo>
                      <a:lnTo>
                        <a:pt x="1024" y="964"/>
                      </a:lnTo>
                      <a:lnTo>
                        <a:pt x="1022" y="964"/>
                      </a:lnTo>
                      <a:lnTo>
                        <a:pt x="1022" y="963"/>
                      </a:lnTo>
                      <a:lnTo>
                        <a:pt x="1024" y="964"/>
                      </a:lnTo>
                      <a:lnTo>
                        <a:pt x="1025" y="965"/>
                      </a:lnTo>
                      <a:lnTo>
                        <a:pt x="1026" y="965"/>
                      </a:lnTo>
                      <a:lnTo>
                        <a:pt x="1027" y="966"/>
                      </a:lnTo>
                      <a:lnTo>
                        <a:pt x="1027" y="967"/>
                      </a:lnTo>
                      <a:lnTo>
                        <a:pt x="1028" y="967"/>
                      </a:lnTo>
                      <a:lnTo>
                        <a:pt x="1030" y="967"/>
                      </a:lnTo>
                      <a:lnTo>
                        <a:pt x="1030" y="966"/>
                      </a:lnTo>
                      <a:lnTo>
                        <a:pt x="1030" y="967"/>
                      </a:lnTo>
                      <a:lnTo>
                        <a:pt x="1029" y="967"/>
                      </a:lnTo>
                      <a:lnTo>
                        <a:pt x="1029" y="968"/>
                      </a:lnTo>
                      <a:lnTo>
                        <a:pt x="1028" y="968"/>
                      </a:lnTo>
                      <a:lnTo>
                        <a:pt x="1027" y="968"/>
                      </a:lnTo>
                      <a:lnTo>
                        <a:pt x="1027" y="967"/>
                      </a:lnTo>
                      <a:lnTo>
                        <a:pt x="1027" y="966"/>
                      </a:lnTo>
                      <a:lnTo>
                        <a:pt x="1027" y="967"/>
                      </a:lnTo>
                      <a:lnTo>
                        <a:pt x="1026" y="967"/>
                      </a:lnTo>
                      <a:lnTo>
                        <a:pt x="1026" y="966"/>
                      </a:lnTo>
                      <a:lnTo>
                        <a:pt x="1026" y="967"/>
                      </a:lnTo>
                      <a:lnTo>
                        <a:pt x="1025" y="968"/>
                      </a:lnTo>
                      <a:lnTo>
                        <a:pt x="1024" y="968"/>
                      </a:lnTo>
                      <a:lnTo>
                        <a:pt x="1020" y="965"/>
                      </a:lnTo>
                      <a:lnTo>
                        <a:pt x="1021" y="965"/>
                      </a:lnTo>
                      <a:lnTo>
                        <a:pt x="1021" y="966"/>
                      </a:lnTo>
                      <a:lnTo>
                        <a:pt x="1021" y="965"/>
                      </a:lnTo>
                      <a:lnTo>
                        <a:pt x="1022" y="965"/>
                      </a:lnTo>
                      <a:lnTo>
                        <a:pt x="1022" y="966"/>
                      </a:lnTo>
                      <a:lnTo>
                        <a:pt x="1021" y="966"/>
                      </a:lnTo>
                      <a:lnTo>
                        <a:pt x="1022" y="966"/>
                      </a:lnTo>
                      <a:lnTo>
                        <a:pt x="1022" y="965"/>
                      </a:lnTo>
                      <a:lnTo>
                        <a:pt x="1021" y="965"/>
                      </a:lnTo>
                      <a:lnTo>
                        <a:pt x="1021" y="964"/>
                      </a:lnTo>
                      <a:lnTo>
                        <a:pt x="1020" y="964"/>
                      </a:lnTo>
                      <a:lnTo>
                        <a:pt x="1021" y="964"/>
                      </a:lnTo>
                      <a:lnTo>
                        <a:pt x="1021" y="963"/>
                      </a:lnTo>
                      <a:lnTo>
                        <a:pt x="1022" y="963"/>
                      </a:lnTo>
                      <a:lnTo>
                        <a:pt x="1022" y="964"/>
                      </a:lnTo>
                      <a:close/>
                      <a:moveTo>
                        <a:pt x="1056" y="978"/>
                      </a:moveTo>
                      <a:lnTo>
                        <a:pt x="1056" y="979"/>
                      </a:lnTo>
                      <a:lnTo>
                        <a:pt x="1056" y="980"/>
                      </a:lnTo>
                      <a:lnTo>
                        <a:pt x="1056" y="981"/>
                      </a:lnTo>
                      <a:lnTo>
                        <a:pt x="1056" y="982"/>
                      </a:lnTo>
                      <a:lnTo>
                        <a:pt x="1056" y="983"/>
                      </a:lnTo>
                      <a:lnTo>
                        <a:pt x="1055" y="983"/>
                      </a:lnTo>
                      <a:lnTo>
                        <a:pt x="1055" y="982"/>
                      </a:lnTo>
                      <a:lnTo>
                        <a:pt x="1054" y="982"/>
                      </a:lnTo>
                      <a:lnTo>
                        <a:pt x="1052" y="982"/>
                      </a:lnTo>
                      <a:lnTo>
                        <a:pt x="1052" y="981"/>
                      </a:lnTo>
                      <a:lnTo>
                        <a:pt x="1052" y="980"/>
                      </a:lnTo>
                      <a:lnTo>
                        <a:pt x="1053" y="980"/>
                      </a:lnTo>
                      <a:lnTo>
                        <a:pt x="1054" y="980"/>
                      </a:lnTo>
                      <a:lnTo>
                        <a:pt x="1053" y="980"/>
                      </a:lnTo>
                      <a:lnTo>
                        <a:pt x="1052" y="980"/>
                      </a:lnTo>
                      <a:lnTo>
                        <a:pt x="1052" y="981"/>
                      </a:lnTo>
                      <a:lnTo>
                        <a:pt x="1053" y="981"/>
                      </a:lnTo>
                      <a:lnTo>
                        <a:pt x="1052" y="981"/>
                      </a:lnTo>
                      <a:lnTo>
                        <a:pt x="1053" y="981"/>
                      </a:lnTo>
                      <a:lnTo>
                        <a:pt x="1054" y="981"/>
                      </a:lnTo>
                      <a:lnTo>
                        <a:pt x="1054" y="980"/>
                      </a:lnTo>
                      <a:lnTo>
                        <a:pt x="1054" y="979"/>
                      </a:lnTo>
                      <a:lnTo>
                        <a:pt x="1054" y="980"/>
                      </a:lnTo>
                      <a:lnTo>
                        <a:pt x="1053" y="980"/>
                      </a:lnTo>
                      <a:lnTo>
                        <a:pt x="1052" y="980"/>
                      </a:lnTo>
                      <a:lnTo>
                        <a:pt x="1052" y="981"/>
                      </a:lnTo>
                      <a:lnTo>
                        <a:pt x="1052" y="982"/>
                      </a:lnTo>
                      <a:lnTo>
                        <a:pt x="1051" y="982"/>
                      </a:lnTo>
                      <a:lnTo>
                        <a:pt x="1051" y="981"/>
                      </a:lnTo>
                      <a:lnTo>
                        <a:pt x="1051" y="980"/>
                      </a:lnTo>
                      <a:lnTo>
                        <a:pt x="1051" y="979"/>
                      </a:lnTo>
                      <a:lnTo>
                        <a:pt x="1052" y="979"/>
                      </a:lnTo>
                      <a:lnTo>
                        <a:pt x="1051" y="978"/>
                      </a:lnTo>
                      <a:lnTo>
                        <a:pt x="1052" y="978"/>
                      </a:lnTo>
                      <a:lnTo>
                        <a:pt x="1052" y="979"/>
                      </a:lnTo>
                      <a:lnTo>
                        <a:pt x="1053" y="979"/>
                      </a:lnTo>
                      <a:lnTo>
                        <a:pt x="1053" y="978"/>
                      </a:lnTo>
                      <a:lnTo>
                        <a:pt x="1053" y="979"/>
                      </a:lnTo>
                      <a:lnTo>
                        <a:pt x="1052" y="979"/>
                      </a:lnTo>
                      <a:lnTo>
                        <a:pt x="1053" y="979"/>
                      </a:lnTo>
                      <a:lnTo>
                        <a:pt x="1054" y="979"/>
                      </a:lnTo>
                      <a:lnTo>
                        <a:pt x="1055" y="979"/>
                      </a:lnTo>
                      <a:lnTo>
                        <a:pt x="1052" y="978"/>
                      </a:lnTo>
                      <a:lnTo>
                        <a:pt x="1056" y="979"/>
                      </a:lnTo>
                      <a:lnTo>
                        <a:pt x="1056" y="978"/>
                      </a:lnTo>
                      <a:lnTo>
                        <a:pt x="1053" y="978"/>
                      </a:lnTo>
                      <a:lnTo>
                        <a:pt x="1052" y="978"/>
                      </a:lnTo>
                      <a:lnTo>
                        <a:pt x="1054" y="978"/>
                      </a:lnTo>
                      <a:lnTo>
                        <a:pt x="1055" y="978"/>
                      </a:lnTo>
                      <a:lnTo>
                        <a:pt x="1055" y="977"/>
                      </a:lnTo>
                      <a:lnTo>
                        <a:pt x="1056" y="977"/>
                      </a:lnTo>
                      <a:lnTo>
                        <a:pt x="1056" y="976"/>
                      </a:lnTo>
                      <a:lnTo>
                        <a:pt x="1056" y="975"/>
                      </a:lnTo>
                      <a:lnTo>
                        <a:pt x="1056" y="974"/>
                      </a:lnTo>
                      <a:lnTo>
                        <a:pt x="1057" y="974"/>
                      </a:lnTo>
                      <a:lnTo>
                        <a:pt x="1057" y="973"/>
                      </a:lnTo>
                      <a:lnTo>
                        <a:pt x="1057" y="974"/>
                      </a:lnTo>
                      <a:lnTo>
                        <a:pt x="1057" y="975"/>
                      </a:lnTo>
                      <a:lnTo>
                        <a:pt x="1056" y="975"/>
                      </a:lnTo>
                      <a:lnTo>
                        <a:pt x="1056" y="976"/>
                      </a:lnTo>
                      <a:lnTo>
                        <a:pt x="1056" y="977"/>
                      </a:lnTo>
                      <a:lnTo>
                        <a:pt x="1056" y="978"/>
                      </a:lnTo>
                      <a:close/>
                      <a:moveTo>
                        <a:pt x="1074" y="988"/>
                      </a:moveTo>
                      <a:lnTo>
                        <a:pt x="1076" y="988"/>
                      </a:lnTo>
                      <a:lnTo>
                        <a:pt x="1077" y="988"/>
                      </a:lnTo>
                      <a:lnTo>
                        <a:pt x="1078" y="988"/>
                      </a:lnTo>
                      <a:lnTo>
                        <a:pt x="1078" y="989"/>
                      </a:lnTo>
                      <a:lnTo>
                        <a:pt x="1078" y="990"/>
                      </a:lnTo>
                      <a:lnTo>
                        <a:pt x="1078" y="991"/>
                      </a:lnTo>
                      <a:lnTo>
                        <a:pt x="1079" y="991"/>
                      </a:lnTo>
                      <a:lnTo>
                        <a:pt x="1079" y="990"/>
                      </a:lnTo>
                      <a:lnTo>
                        <a:pt x="1079" y="989"/>
                      </a:lnTo>
                      <a:lnTo>
                        <a:pt x="1078" y="989"/>
                      </a:lnTo>
                      <a:lnTo>
                        <a:pt x="1079" y="989"/>
                      </a:lnTo>
                      <a:lnTo>
                        <a:pt x="1079" y="988"/>
                      </a:lnTo>
                      <a:lnTo>
                        <a:pt x="1079" y="991"/>
                      </a:lnTo>
                      <a:lnTo>
                        <a:pt x="1078" y="991"/>
                      </a:lnTo>
                      <a:lnTo>
                        <a:pt x="1076" y="991"/>
                      </a:lnTo>
                      <a:lnTo>
                        <a:pt x="1077" y="990"/>
                      </a:lnTo>
                      <a:lnTo>
                        <a:pt x="1078" y="989"/>
                      </a:lnTo>
                      <a:lnTo>
                        <a:pt x="1078" y="988"/>
                      </a:lnTo>
                      <a:lnTo>
                        <a:pt x="1076" y="991"/>
                      </a:lnTo>
                      <a:lnTo>
                        <a:pt x="1073" y="991"/>
                      </a:lnTo>
                      <a:lnTo>
                        <a:pt x="1072" y="991"/>
                      </a:lnTo>
                      <a:lnTo>
                        <a:pt x="1072" y="990"/>
                      </a:lnTo>
                      <a:lnTo>
                        <a:pt x="1072" y="988"/>
                      </a:lnTo>
                      <a:lnTo>
                        <a:pt x="1073" y="988"/>
                      </a:lnTo>
                      <a:lnTo>
                        <a:pt x="1073" y="987"/>
                      </a:lnTo>
                      <a:lnTo>
                        <a:pt x="1074" y="987"/>
                      </a:lnTo>
                      <a:lnTo>
                        <a:pt x="1074" y="988"/>
                      </a:lnTo>
                      <a:close/>
                      <a:moveTo>
                        <a:pt x="1156" y="1035"/>
                      </a:moveTo>
                      <a:lnTo>
                        <a:pt x="1156" y="1037"/>
                      </a:lnTo>
                      <a:lnTo>
                        <a:pt x="1157" y="1037"/>
                      </a:lnTo>
                      <a:lnTo>
                        <a:pt x="1156" y="1037"/>
                      </a:lnTo>
                      <a:lnTo>
                        <a:pt x="1157" y="1037"/>
                      </a:lnTo>
                      <a:lnTo>
                        <a:pt x="1161" y="1038"/>
                      </a:lnTo>
                      <a:lnTo>
                        <a:pt x="1162" y="1038"/>
                      </a:lnTo>
                      <a:lnTo>
                        <a:pt x="1168" y="1040"/>
                      </a:lnTo>
                      <a:lnTo>
                        <a:pt x="1174" y="1041"/>
                      </a:lnTo>
                      <a:lnTo>
                        <a:pt x="1173" y="1041"/>
                      </a:lnTo>
                      <a:lnTo>
                        <a:pt x="1172" y="1041"/>
                      </a:lnTo>
                      <a:lnTo>
                        <a:pt x="1171" y="1041"/>
                      </a:lnTo>
                      <a:lnTo>
                        <a:pt x="1170" y="1041"/>
                      </a:lnTo>
                      <a:lnTo>
                        <a:pt x="1170" y="1040"/>
                      </a:lnTo>
                      <a:lnTo>
                        <a:pt x="1169" y="1040"/>
                      </a:lnTo>
                      <a:lnTo>
                        <a:pt x="1168" y="1040"/>
                      </a:lnTo>
                      <a:lnTo>
                        <a:pt x="1166" y="1040"/>
                      </a:lnTo>
                      <a:lnTo>
                        <a:pt x="1164" y="1039"/>
                      </a:lnTo>
                      <a:lnTo>
                        <a:pt x="1163" y="1039"/>
                      </a:lnTo>
                      <a:lnTo>
                        <a:pt x="1162" y="1039"/>
                      </a:lnTo>
                      <a:lnTo>
                        <a:pt x="1159" y="1038"/>
                      </a:lnTo>
                      <a:lnTo>
                        <a:pt x="1158" y="1038"/>
                      </a:lnTo>
                      <a:lnTo>
                        <a:pt x="1157" y="1038"/>
                      </a:lnTo>
                      <a:lnTo>
                        <a:pt x="1153" y="1037"/>
                      </a:lnTo>
                      <a:lnTo>
                        <a:pt x="1151" y="1037"/>
                      </a:lnTo>
                      <a:lnTo>
                        <a:pt x="1150" y="1037"/>
                      </a:lnTo>
                      <a:lnTo>
                        <a:pt x="1150" y="1035"/>
                      </a:lnTo>
                      <a:lnTo>
                        <a:pt x="1151" y="1035"/>
                      </a:lnTo>
                      <a:lnTo>
                        <a:pt x="1151" y="1034"/>
                      </a:lnTo>
                      <a:lnTo>
                        <a:pt x="1153" y="1034"/>
                      </a:lnTo>
                      <a:lnTo>
                        <a:pt x="1154" y="1035"/>
                      </a:lnTo>
                      <a:lnTo>
                        <a:pt x="1155" y="1035"/>
                      </a:lnTo>
                      <a:lnTo>
                        <a:pt x="1156" y="1035"/>
                      </a:lnTo>
                      <a:close/>
                      <a:moveTo>
                        <a:pt x="1120" y="743"/>
                      </a:moveTo>
                      <a:lnTo>
                        <a:pt x="1121" y="743"/>
                      </a:lnTo>
                      <a:lnTo>
                        <a:pt x="1122" y="743"/>
                      </a:lnTo>
                      <a:lnTo>
                        <a:pt x="1123" y="743"/>
                      </a:lnTo>
                      <a:lnTo>
                        <a:pt x="1124" y="743"/>
                      </a:lnTo>
                      <a:lnTo>
                        <a:pt x="1124" y="744"/>
                      </a:lnTo>
                      <a:lnTo>
                        <a:pt x="1123" y="744"/>
                      </a:lnTo>
                      <a:lnTo>
                        <a:pt x="1124" y="745"/>
                      </a:lnTo>
                      <a:lnTo>
                        <a:pt x="1124" y="746"/>
                      </a:lnTo>
                      <a:lnTo>
                        <a:pt x="1124" y="747"/>
                      </a:lnTo>
                      <a:lnTo>
                        <a:pt x="1124" y="748"/>
                      </a:lnTo>
                      <a:lnTo>
                        <a:pt x="1124" y="749"/>
                      </a:lnTo>
                      <a:lnTo>
                        <a:pt x="1123" y="749"/>
                      </a:lnTo>
                      <a:lnTo>
                        <a:pt x="1122" y="749"/>
                      </a:lnTo>
                      <a:lnTo>
                        <a:pt x="1122" y="748"/>
                      </a:lnTo>
                      <a:lnTo>
                        <a:pt x="1122" y="749"/>
                      </a:lnTo>
                      <a:lnTo>
                        <a:pt x="1121" y="749"/>
                      </a:lnTo>
                      <a:lnTo>
                        <a:pt x="1120" y="749"/>
                      </a:lnTo>
                      <a:lnTo>
                        <a:pt x="1121" y="749"/>
                      </a:lnTo>
                      <a:lnTo>
                        <a:pt x="1121" y="748"/>
                      </a:lnTo>
                      <a:lnTo>
                        <a:pt x="1120" y="748"/>
                      </a:lnTo>
                      <a:lnTo>
                        <a:pt x="1120" y="747"/>
                      </a:lnTo>
                      <a:lnTo>
                        <a:pt x="1120" y="746"/>
                      </a:lnTo>
                      <a:lnTo>
                        <a:pt x="1121" y="746"/>
                      </a:lnTo>
                      <a:lnTo>
                        <a:pt x="1121" y="747"/>
                      </a:lnTo>
                      <a:lnTo>
                        <a:pt x="1122" y="747"/>
                      </a:lnTo>
                      <a:lnTo>
                        <a:pt x="1121" y="747"/>
                      </a:lnTo>
                      <a:lnTo>
                        <a:pt x="1121" y="746"/>
                      </a:lnTo>
                      <a:lnTo>
                        <a:pt x="1122" y="746"/>
                      </a:lnTo>
                      <a:lnTo>
                        <a:pt x="1122" y="745"/>
                      </a:lnTo>
                      <a:lnTo>
                        <a:pt x="1122" y="744"/>
                      </a:lnTo>
                      <a:lnTo>
                        <a:pt x="1121" y="744"/>
                      </a:lnTo>
                      <a:lnTo>
                        <a:pt x="1121" y="745"/>
                      </a:lnTo>
                      <a:lnTo>
                        <a:pt x="1120" y="744"/>
                      </a:lnTo>
                      <a:lnTo>
                        <a:pt x="1120" y="743"/>
                      </a:lnTo>
                      <a:lnTo>
                        <a:pt x="1119" y="743"/>
                      </a:lnTo>
                      <a:lnTo>
                        <a:pt x="1120" y="743"/>
                      </a:lnTo>
                      <a:close/>
                      <a:moveTo>
                        <a:pt x="1337" y="1176"/>
                      </a:moveTo>
                      <a:lnTo>
                        <a:pt x="1337" y="1178"/>
                      </a:lnTo>
                      <a:lnTo>
                        <a:pt x="1338" y="1178"/>
                      </a:lnTo>
                      <a:lnTo>
                        <a:pt x="1338" y="1179"/>
                      </a:lnTo>
                      <a:lnTo>
                        <a:pt x="1339" y="1179"/>
                      </a:lnTo>
                      <a:lnTo>
                        <a:pt x="1338" y="1178"/>
                      </a:lnTo>
                      <a:lnTo>
                        <a:pt x="1339" y="1178"/>
                      </a:lnTo>
                      <a:lnTo>
                        <a:pt x="1339" y="1176"/>
                      </a:lnTo>
                      <a:lnTo>
                        <a:pt x="1339" y="1178"/>
                      </a:lnTo>
                      <a:lnTo>
                        <a:pt x="1339" y="1176"/>
                      </a:lnTo>
                      <a:lnTo>
                        <a:pt x="1340" y="1176"/>
                      </a:lnTo>
                      <a:lnTo>
                        <a:pt x="1340" y="1175"/>
                      </a:lnTo>
                      <a:lnTo>
                        <a:pt x="1341" y="1176"/>
                      </a:lnTo>
                      <a:lnTo>
                        <a:pt x="1340" y="1176"/>
                      </a:lnTo>
                      <a:lnTo>
                        <a:pt x="1341" y="1176"/>
                      </a:lnTo>
                      <a:lnTo>
                        <a:pt x="1341" y="1178"/>
                      </a:lnTo>
                      <a:lnTo>
                        <a:pt x="1340" y="1178"/>
                      </a:lnTo>
                      <a:lnTo>
                        <a:pt x="1340" y="1179"/>
                      </a:lnTo>
                      <a:lnTo>
                        <a:pt x="1341" y="1179"/>
                      </a:lnTo>
                      <a:lnTo>
                        <a:pt x="1341" y="1178"/>
                      </a:lnTo>
                      <a:lnTo>
                        <a:pt x="1342" y="1179"/>
                      </a:lnTo>
                      <a:lnTo>
                        <a:pt x="1341" y="1179"/>
                      </a:lnTo>
                      <a:lnTo>
                        <a:pt x="1340" y="1180"/>
                      </a:lnTo>
                      <a:lnTo>
                        <a:pt x="1340" y="1179"/>
                      </a:lnTo>
                      <a:lnTo>
                        <a:pt x="1340" y="1180"/>
                      </a:lnTo>
                      <a:lnTo>
                        <a:pt x="1339" y="1180"/>
                      </a:lnTo>
                      <a:lnTo>
                        <a:pt x="1338" y="1180"/>
                      </a:lnTo>
                      <a:lnTo>
                        <a:pt x="1338" y="1181"/>
                      </a:lnTo>
                      <a:lnTo>
                        <a:pt x="1337" y="1181"/>
                      </a:lnTo>
                      <a:lnTo>
                        <a:pt x="1336" y="1180"/>
                      </a:lnTo>
                      <a:lnTo>
                        <a:pt x="1337" y="1180"/>
                      </a:lnTo>
                      <a:lnTo>
                        <a:pt x="1336" y="1180"/>
                      </a:lnTo>
                      <a:lnTo>
                        <a:pt x="1335" y="1180"/>
                      </a:lnTo>
                      <a:lnTo>
                        <a:pt x="1335" y="1181"/>
                      </a:lnTo>
                      <a:lnTo>
                        <a:pt x="1334" y="1181"/>
                      </a:lnTo>
                      <a:lnTo>
                        <a:pt x="1334" y="1182"/>
                      </a:lnTo>
                      <a:lnTo>
                        <a:pt x="1334" y="1181"/>
                      </a:lnTo>
                      <a:lnTo>
                        <a:pt x="1334" y="1180"/>
                      </a:lnTo>
                      <a:lnTo>
                        <a:pt x="1335" y="1180"/>
                      </a:lnTo>
                      <a:lnTo>
                        <a:pt x="1334" y="1180"/>
                      </a:lnTo>
                      <a:lnTo>
                        <a:pt x="1335" y="1179"/>
                      </a:lnTo>
                      <a:lnTo>
                        <a:pt x="1335" y="1178"/>
                      </a:lnTo>
                      <a:lnTo>
                        <a:pt x="1335" y="1179"/>
                      </a:lnTo>
                      <a:lnTo>
                        <a:pt x="1336" y="1178"/>
                      </a:lnTo>
                      <a:lnTo>
                        <a:pt x="1336" y="1179"/>
                      </a:lnTo>
                      <a:lnTo>
                        <a:pt x="1337" y="1179"/>
                      </a:lnTo>
                      <a:lnTo>
                        <a:pt x="1337" y="1178"/>
                      </a:lnTo>
                      <a:lnTo>
                        <a:pt x="1336" y="1178"/>
                      </a:lnTo>
                      <a:lnTo>
                        <a:pt x="1336" y="1176"/>
                      </a:lnTo>
                      <a:lnTo>
                        <a:pt x="1336" y="1175"/>
                      </a:lnTo>
                      <a:lnTo>
                        <a:pt x="1337" y="1176"/>
                      </a:lnTo>
                      <a:close/>
                      <a:moveTo>
                        <a:pt x="1273" y="1249"/>
                      </a:moveTo>
                      <a:lnTo>
                        <a:pt x="1273" y="1250"/>
                      </a:lnTo>
                      <a:lnTo>
                        <a:pt x="1274" y="1250"/>
                      </a:lnTo>
                      <a:lnTo>
                        <a:pt x="1275" y="1250"/>
                      </a:lnTo>
                      <a:lnTo>
                        <a:pt x="1275" y="1251"/>
                      </a:lnTo>
                      <a:lnTo>
                        <a:pt x="1274" y="1251"/>
                      </a:lnTo>
                      <a:lnTo>
                        <a:pt x="1274" y="1252"/>
                      </a:lnTo>
                      <a:lnTo>
                        <a:pt x="1274" y="1251"/>
                      </a:lnTo>
                      <a:lnTo>
                        <a:pt x="1273" y="1251"/>
                      </a:lnTo>
                      <a:lnTo>
                        <a:pt x="1273" y="1252"/>
                      </a:lnTo>
                      <a:lnTo>
                        <a:pt x="1274" y="1252"/>
                      </a:lnTo>
                      <a:lnTo>
                        <a:pt x="1274" y="1253"/>
                      </a:lnTo>
                      <a:lnTo>
                        <a:pt x="1273" y="1253"/>
                      </a:lnTo>
                      <a:lnTo>
                        <a:pt x="1272" y="1255"/>
                      </a:lnTo>
                      <a:lnTo>
                        <a:pt x="1272" y="1256"/>
                      </a:lnTo>
                      <a:lnTo>
                        <a:pt x="1272" y="1257"/>
                      </a:lnTo>
                      <a:lnTo>
                        <a:pt x="1271" y="1258"/>
                      </a:lnTo>
                      <a:lnTo>
                        <a:pt x="1270" y="1258"/>
                      </a:lnTo>
                      <a:lnTo>
                        <a:pt x="1268" y="1257"/>
                      </a:lnTo>
                      <a:lnTo>
                        <a:pt x="1268" y="1256"/>
                      </a:lnTo>
                      <a:lnTo>
                        <a:pt x="1270" y="1256"/>
                      </a:lnTo>
                      <a:lnTo>
                        <a:pt x="1270" y="1255"/>
                      </a:lnTo>
                      <a:lnTo>
                        <a:pt x="1271" y="1253"/>
                      </a:lnTo>
                      <a:lnTo>
                        <a:pt x="1271" y="1252"/>
                      </a:lnTo>
                      <a:lnTo>
                        <a:pt x="1272" y="1252"/>
                      </a:lnTo>
                      <a:lnTo>
                        <a:pt x="1272" y="1251"/>
                      </a:lnTo>
                      <a:lnTo>
                        <a:pt x="1272" y="1250"/>
                      </a:lnTo>
                      <a:lnTo>
                        <a:pt x="1273" y="1249"/>
                      </a:lnTo>
                      <a:close/>
                      <a:moveTo>
                        <a:pt x="1308" y="1108"/>
                      </a:moveTo>
                      <a:lnTo>
                        <a:pt x="1309" y="1108"/>
                      </a:lnTo>
                      <a:lnTo>
                        <a:pt x="1309" y="1110"/>
                      </a:lnTo>
                      <a:lnTo>
                        <a:pt x="1309" y="1111"/>
                      </a:lnTo>
                      <a:lnTo>
                        <a:pt x="1309" y="1112"/>
                      </a:lnTo>
                      <a:lnTo>
                        <a:pt x="1309" y="1114"/>
                      </a:lnTo>
                      <a:lnTo>
                        <a:pt x="1309" y="1115"/>
                      </a:lnTo>
                      <a:lnTo>
                        <a:pt x="1308" y="1115"/>
                      </a:lnTo>
                      <a:lnTo>
                        <a:pt x="1308" y="1116"/>
                      </a:lnTo>
                      <a:lnTo>
                        <a:pt x="1308" y="1117"/>
                      </a:lnTo>
                      <a:lnTo>
                        <a:pt x="1306" y="1118"/>
                      </a:lnTo>
                      <a:lnTo>
                        <a:pt x="1306" y="1117"/>
                      </a:lnTo>
                      <a:lnTo>
                        <a:pt x="1306" y="1116"/>
                      </a:lnTo>
                      <a:lnTo>
                        <a:pt x="1306" y="1115"/>
                      </a:lnTo>
                      <a:lnTo>
                        <a:pt x="1308" y="1115"/>
                      </a:lnTo>
                      <a:lnTo>
                        <a:pt x="1308" y="1114"/>
                      </a:lnTo>
                      <a:lnTo>
                        <a:pt x="1306" y="1112"/>
                      </a:lnTo>
                      <a:lnTo>
                        <a:pt x="1306" y="1114"/>
                      </a:lnTo>
                      <a:lnTo>
                        <a:pt x="1305" y="1114"/>
                      </a:lnTo>
                      <a:lnTo>
                        <a:pt x="1305" y="1115"/>
                      </a:lnTo>
                      <a:lnTo>
                        <a:pt x="1304" y="1115"/>
                      </a:lnTo>
                      <a:lnTo>
                        <a:pt x="1304" y="1116"/>
                      </a:lnTo>
                      <a:lnTo>
                        <a:pt x="1304" y="1115"/>
                      </a:lnTo>
                      <a:lnTo>
                        <a:pt x="1303" y="1115"/>
                      </a:lnTo>
                      <a:lnTo>
                        <a:pt x="1304" y="1112"/>
                      </a:lnTo>
                      <a:lnTo>
                        <a:pt x="1303" y="1112"/>
                      </a:lnTo>
                      <a:lnTo>
                        <a:pt x="1302" y="1114"/>
                      </a:lnTo>
                      <a:lnTo>
                        <a:pt x="1303" y="1111"/>
                      </a:lnTo>
                      <a:lnTo>
                        <a:pt x="1304" y="1111"/>
                      </a:lnTo>
                      <a:lnTo>
                        <a:pt x="1303" y="1111"/>
                      </a:lnTo>
                      <a:lnTo>
                        <a:pt x="1304" y="1111"/>
                      </a:lnTo>
                      <a:lnTo>
                        <a:pt x="1305" y="1111"/>
                      </a:lnTo>
                      <a:lnTo>
                        <a:pt x="1306" y="1111"/>
                      </a:lnTo>
                      <a:lnTo>
                        <a:pt x="1306" y="1112"/>
                      </a:lnTo>
                      <a:lnTo>
                        <a:pt x="1308" y="1112"/>
                      </a:lnTo>
                      <a:lnTo>
                        <a:pt x="1308" y="1111"/>
                      </a:lnTo>
                      <a:lnTo>
                        <a:pt x="1308" y="1110"/>
                      </a:lnTo>
                      <a:lnTo>
                        <a:pt x="1306" y="1110"/>
                      </a:lnTo>
                      <a:lnTo>
                        <a:pt x="1306" y="1109"/>
                      </a:lnTo>
                      <a:lnTo>
                        <a:pt x="1308" y="1108"/>
                      </a:lnTo>
                      <a:lnTo>
                        <a:pt x="1306" y="1108"/>
                      </a:lnTo>
                      <a:lnTo>
                        <a:pt x="1308" y="1108"/>
                      </a:lnTo>
                      <a:close/>
                      <a:moveTo>
                        <a:pt x="1371" y="1131"/>
                      </a:moveTo>
                      <a:lnTo>
                        <a:pt x="1371" y="1132"/>
                      </a:lnTo>
                      <a:lnTo>
                        <a:pt x="1371" y="1131"/>
                      </a:lnTo>
                      <a:lnTo>
                        <a:pt x="1373" y="1132"/>
                      </a:lnTo>
                      <a:lnTo>
                        <a:pt x="1373" y="1133"/>
                      </a:lnTo>
                      <a:lnTo>
                        <a:pt x="1374" y="1133"/>
                      </a:lnTo>
                      <a:lnTo>
                        <a:pt x="1373" y="1133"/>
                      </a:lnTo>
                      <a:lnTo>
                        <a:pt x="1374" y="1134"/>
                      </a:lnTo>
                      <a:lnTo>
                        <a:pt x="1374" y="1135"/>
                      </a:lnTo>
                      <a:lnTo>
                        <a:pt x="1374" y="1136"/>
                      </a:lnTo>
                      <a:lnTo>
                        <a:pt x="1375" y="1137"/>
                      </a:lnTo>
                      <a:lnTo>
                        <a:pt x="1374" y="1137"/>
                      </a:lnTo>
                      <a:lnTo>
                        <a:pt x="1374" y="1136"/>
                      </a:lnTo>
                      <a:lnTo>
                        <a:pt x="1373" y="1136"/>
                      </a:lnTo>
                      <a:lnTo>
                        <a:pt x="1373" y="1135"/>
                      </a:lnTo>
                      <a:lnTo>
                        <a:pt x="1371" y="1135"/>
                      </a:lnTo>
                      <a:lnTo>
                        <a:pt x="1371" y="1134"/>
                      </a:lnTo>
                      <a:lnTo>
                        <a:pt x="1370" y="1133"/>
                      </a:lnTo>
                      <a:lnTo>
                        <a:pt x="1371" y="1133"/>
                      </a:lnTo>
                      <a:lnTo>
                        <a:pt x="1371" y="1132"/>
                      </a:lnTo>
                      <a:lnTo>
                        <a:pt x="1370" y="1132"/>
                      </a:lnTo>
                      <a:lnTo>
                        <a:pt x="1370" y="1133"/>
                      </a:lnTo>
                      <a:lnTo>
                        <a:pt x="1370" y="1134"/>
                      </a:lnTo>
                      <a:lnTo>
                        <a:pt x="1370" y="1135"/>
                      </a:lnTo>
                      <a:lnTo>
                        <a:pt x="1369" y="1135"/>
                      </a:lnTo>
                      <a:lnTo>
                        <a:pt x="1370" y="1135"/>
                      </a:lnTo>
                      <a:lnTo>
                        <a:pt x="1370" y="1136"/>
                      </a:lnTo>
                      <a:lnTo>
                        <a:pt x="1370" y="1135"/>
                      </a:lnTo>
                      <a:lnTo>
                        <a:pt x="1371" y="1135"/>
                      </a:lnTo>
                      <a:lnTo>
                        <a:pt x="1371" y="1136"/>
                      </a:lnTo>
                      <a:lnTo>
                        <a:pt x="1370" y="1136"/>
                      </a:lnTo>
                      <a:lnTo>
                        <a:pt x="1369" y="1136"/>
                      </a:lnTo>
                      <a:lnTo>
                        <a:pt x="1369" y="1137"/>
                      </a:lnTo>
                      <a:lnTo>
                        <a:pt x="1370" y="1137"/>
                      </a:lnTo>
                      <a:lnTo>
                        <a:pt x="1370" y="1138"/>
                      </a:lnTo>
                      <a:lnTo>
                        <a:pt x="1371" y="1138"/>
                      </a:lnTo>
                      <a:lnTo>
                        <a:pt x="1370" y="1137"/>
                      </a:lnTo>
                      <a:lnTo>
                        <a:pt x="1369" y="1137"/>
                      </a:lnTo>
                      <a:lnTo>
                        <a:pt x="1369" y="1136"/>
                      </a:lnTo>
                      <a:lnTo>
                        <a:pt x="1369" y="1135"/>
                      </a:lnTo>
                      <a:lnTo>
                        <a:pt x="1369" y="1134"/>
                      </a:lnTo>
                      <a:lnTo>
                        <a:pt x="1369" y="1133"/>
                      </a:lnTo>
                      <a:lnTo>
                        <a:pt x="1370" y="1132"/>
                      </a:lnTo>
                      <a:lnTo>
                        <a:pt x="1370" y="1131"/>
                      </a:lnTo>
                      <a:lnTo>
                        <a:pt x="1371" y="1131"/>
                      </a:lnTo>
                      <a:close/>
                      <a:moveTo>
                        <a:pt x="1028" y="970"/>
                      </a:moveTo>
                      <a:lnTo>
                        <a:pt x="1027" y="970"/>
                      </a:lnTo>
                      <a:lnTo>
                        <a:pt x="1027" y="971"/>
                      </a:lnTo>
                      <a:lnTo>
                        <a:pt x="1026" y="970"/>
                      </a:lnTo>
                      <a:lnTo>
                        <a:pt x="1026" y="971"/>
                      </a:lnTo>
                      <a:lnTo>
                        <a:pt x="1027" y="971"/>
                      </a:lnTo>
                      <a:lnTo>
                        <a:pt x="1027" y="973"/>
                      </a:lnTo>
                      <a:lnTo>
                        <a:pt x="1026" y="973"/>
                      </a:lnTo>
                      <a:lnTo>
                        <a:pt x="1027" y="973"/>
                      </a:lnTo>
                      <a:lnTo>
                        <a:pt x="1026" y="971"/>
                      </a:lnTo>
                      <a:lnTo>
                        <a:pt x="1026" y="973"/>
                      </a:lnTo>
                      <a:lnTo>
                        <a:pt x="1025" y="973"/>
                      </a:lnTo>
                      <a:lnTo>
                        <a:pt x="1026" y="973"/>
                      </a:lnTo>
                      <a:lnTo>
                        <a:pt x="1026" y="974"/>
                      </a:lnTo>
                      <a:lnTo>
                        <a:pt x="1025" y="973"/>
                      </a:lnTo>
                      <a:lnTo>
                        <a:pt x="1025" y="974"/>
                      </a:lnTo>
                      <a:lnTo>
                        <a:pt x="1025" y="975"/>
                      </a:lnTo>
                      <a:lnTo>
                        <a:pt x="1026" y="975"/>
                      </a:lnTo>
                      <a:lnTo>
                        <a:pt x="1025" y="976"/>
                      </a:lnTo>
                      <a:lnTo>
                        <a:pt x="1024" y="976"/>
                      </a:lnTo>
                      <a:lnTo>
                        <a:pt x="1024" y="975"/>
                      </a:lnTo>
                      <a:lnTo>
                        <a:pt x="1022" y="975"/>
                      </a:lnTo>
                      <a:lnTo>
                        <a:pt x="1021" y="975"/>
                      </a:lnTo>
                      <a:lnTo>
                        <a:pt x="1021" y="974"/>
                      </a:lnTo>
                      <a:lnTo>
                        <a:pt x="1022" y="974"/>
                      </a:lnTo>
                      <a:lnTo>
                        <a:pt x="1022" y="973"/>
                      </a:lnTo>
                      <a:lnTo>
                        <a:pt x="1021" y="973"/>
                      </a:lnTo>
                      <a:lnTo>
                        <a:pt x="1021" y="971"/>
                      </a:lnTo>
                      <a:lnTo>
                        <a:pt x="1022" y="971"/>
                      </a:lnTo>
                      <a:lnTo>
                        <a:pt x="1024" y="971"/>
                      </a:lnTo>
                      <a:lnTo>
                        <a:pt x="1024" y="973"/>
                      </a:lnTo>
                      <a:lnTo>
                        <a:pt x="1024" y="971"/>
                      </a:lnTo>
                      <a:lnTo>
                        <a:pt x="1024" y="973"/>
                      </a:lnTo>
                      <a:lnTo>
                        <a:pt x="1025" y="973"/>
                      </a:lnTo>
                      <a:lnTo>
                        <a:pt x="1025" y="971"/>
                      </a:lnTo>
                      <a:lnTo>
                        <a:pt x="1024" y="971"/>
                      </a:lnTo>
                      <a:lnTo>
                        <a:pt x="1025" y="971"/>
                      </a:lnTo>
                      <a:lnTo>
                        <a:pt x="1024" y="971"/>
                      </a:lnTo>
                      <a:lnTo>
                        <a:pt x="1024" y="970"/>
                      </a:lnTo>
                      <a:lnTo>
                        <a:pt x="1024" y="971"/>
                      </a:lnTo>
                      <a:lnTo>
                        <a:pt x="1024" y="970"/>
                      </a:lnTo>
                      <a:lnTo>
                        <a:pt x="1025" y="970"/>
                      </a:lnTo>
                      <a:lnTo>
                        <a:pt x="1024" y="970"/>
                      </a:lnTo>
                      <a:lnTo>
                        <a:pt x="1024" y="969"/>
                      </a:lnTo>
                      <a:lnTo>
                        <a:pt x="1025" y="969"/>
                      </a:lnTo>
                      <a:lnTo>
                        <a:pt x="1026" y="969"/>
                      </a:lnTo>
                      <a:lnTo>
                        <a:pt x="1028" y="970"/>
                      </a:lnTo>
                      <a:close/>
                      <a:moveTo>
                        <a:pt x="1143" y="846"/>
                      </a:moveTo>
                      <a:lnTo>
                        <a:pt x="1143" y="847"/>
                      </a:lnTo>
                      <a:lnTo>
                        <a:pt x="1144" y="847"/>
                      </a:lnTo>
                      <a:lnTo>
                        <a:pt x="1144" y="848"/>
                      </a:lnTo>
                      <a:lnTo>
                        <a:pt x="1145" y="848"/>
                      </a:lnTo>
                      <a:lnTo>
                        <a:pt x="1146" y="848"/>
                      </a:lnTo>
                      <a:lnTo>
                        <a:pt x="1147" y="848"/>
                      </a:lnTo>
                      <a:lnTo>
                        <a:pt x="1147" y="849"/>
                      </a:lnTo>
                      <a:lnTo>
                        <a:pt x="1148" y="849"/>
                      </a:lnTo>
                      <a:lnTo>
                        <a:pt x="1149" y="849"/>
                      </a:lnTo>
                      <a:lnTo>
                        <a:pt x="1150" y="849"/>
                      </a:lnTo>
                      <a:lnTo>
                        <a:pt x="1151" y="849"/>
                      </a:lnTo>
                      <a:lnTo>
                        <a:pt x="1150" y="849"/>
                      </a:lnTo>
                      <a:lnTo>
                        <a:pt x="1150" y="850"/>
                      </a:lnTo>
                      <a:lnTo>
                        <a:pt x="1149" y="851"/>
                      </a:lnTo>
                      <a:lnTo>
                        <a:pt x="1150" y="851"/>
                      </a:lnTo>
                      <a:lnTo>
                        <a:pt x="1149" y="851"/>
                      </a:lnTo>
                      <a:lnTo>
                        <a:pt x="1149" y="852"/>
                      </a:lnTo>
                      <a:lnTo>
                        <a:pt x="1148" y="852"/>
                      </a:lnTo>
                      <a:lnTo>
                        <a:pt x="1148" y="851"/>
                      </a:lnTo>
                      <a:lnTo>
                        <a:pt x="1147" y="851"/>
                      </a:lnTo>
                      <a:lnTo>
                        <a:pt x="1147" y="852"/>
                      </a:lnTo>
                      <a:lnTo>
                        <a:pt x="1146" y="852"/>
                      </a:lnTo>
                      <a:lnTo>
                        <a:pt x="1146" y="851"/>
                      </a:lnTo>
                      <a:lnTo>
                        <a:pt x="1146" y="852"/>
                      </a:lnTo>
                      <a:lnTo>
                        <a:pt x="1145" y="851"/>
                      </a:lnTo>
                      <a:lnTo>
                        <a:pt x="1145" y="850"/>
                      </a:lnTo>
                      <a:lnTo>
                        <a:pt x="1146" y="850"/>
                      </a:lnTo>
                      <a:lnTo>
                        <a:pt x="1145" y="850"/>
                      </a:lnTo>
                      <a:lnTo>
                        <a:pt x="1145" y="849"/>
                      </a:lnTo>
                      <a:lnTo>
                        <a:pt x="1145" y="850"/>
                      </a:lnTo>
                      <a:lnTo>
                        <a:pt x="1145" y="849"/>
                      </a:lnTo>
                      <a:lnTo>
                        <a:pt x="1144" y="849"/>
                      </a:lnTo>
                      <a:lnTo>
                        <a:pt x="1144" y="848"/>
                      </a:lnTo>
                      <a:lnTo>
                        <a:pt x="1143" y="848"/>
                      </a:lnTo>
                      <a:lnTo>
                        <a:pt x="1143" y="847"/>
                      </a:lnTo>
                      <a:lnTo>
                        <a:pt x="1142" y="847"/>
                      </a:lnTo>
                      <a:lnTo>
                        <a:pt x="1142" y="846"/>
                      </a:lnTo>
                      <a:lnTo>
                        <a:pt x="1143" y="846"/>
                      </a:lnTo>
                      <a:close/>
                      <a:moveTo>
                        <a:pt x="1174" y="874"/>
                      </a:moveTo>
                      <a:lnTo>
                        <a:pt x="1175" y="875"/>
                      </a:lnTo>
                      <a:lnTo>
                        <a:pt x="1174" y="875"/>
                      </a:lnTo>
                      <a:lnTo>
                        <a:pt x="1174" y="876"/>
                      </a:lnTo>
                      <a:lnTo>
                        <a:pt x="1174" y="875"/>
                      </a:lnTo>
                      <a:lnTo>
                        <a:pt x="1173" y="875"/>
                      </a:lnTo>
                      <a:lnTo>
                        <a:pt x="1172" y="875"/>
                      </a:lnTo>
                      <a:lnTo>
                        <a:pt x="1171" y="875"/>
                      </a:lnTo>
                      <a:lnTo>
                        <a:pt x="1170" y="875"/>
                      </a:lnTo>
                      <a:lnTo>
                        <a:pt x="1169" y="875"/>
                      </a:lnTo>
                      <a:lnTo>
                        <a:pt x="1170" y="876"/>
                      </a:lnTo>
                      <a:lnTo>
                        <a:pt x="1171" y="876"/>
                      </a:lnTo>
                      <a:lnTo>
                        <a:pt x="1172" y="876"/>
                      </a:lnTo>
                      <a:lnTo>
                        <a:pt x="1173" y="876"/>
                      </a:lnTo>
                      <a:lnTo>
                        <a:pt x="1173" y="877"/>
                      </a:lnTo>
                      <a:lnTo>
                        <a:pt x="1172" y="877"/>
                      </a:lnTo>
                      <a:lnTo>
                        <a:pt x="1171" y="877"/>
                      </a:lnTo>
                      <a:lnTo>
                        <a:pt x="1171" y="876"/>
                      </a:lnTo>
                      <a:lnTo>
                        <a:pt x="1170" y="876"/>
                      </a:lnTo>
                      <a:lnTo>
                        <a:pt x="1169" y="876"/>
                      </a:lnTo>
                      <a:lnTo>
                        <a:pt x="1169" y="875"/>
                      </a:lnTo>
                      <a:lnTo>
                        <a:pt x="1168" y="875"/>
                      </a:lnTo>
                      <a:lnTo>
                        <a:pt x="1167" y="875"/>
                      </a:lnTo>
                      <a:lnTo>
                        <a:pt x="1167" y="874"/>
                      </a:lnTo>
                      <a:lnTo>
                        <a:pt x="1167" y="875"/>
                      </a:lnTo>
                      <a:lnTo>
                        <a:pt x="1167" y="874"/>
                      </a:lnTo>
                      <a:lnTo>
                        <a:pt x="1167" y="873"/>
                      </a:lnTo>
                      <a:lnTo>
                        <a:pt x="1168" y="873"/>
                      </a:lnTo>
                      <a:lnTo>
                        <a:pt x="1168" y="874"/>
                      </a:lnTo>
                      <a:lnTo>
                        <a:pt x="1169" y="874"/>
                      </a:lnTo>
                      <a:lnTo>
                        <a:pt x="1170" y="873"/>
                      </a:lnTo>
                      <a:lnTo>
                        <a:pt x="1170" y="874"/>
                      </a:lnTo>
                      <a:lnTo>
                        <a:pt x="1171" y="874"/>
                      </a:lnTo>
                      <a:lnTo>
                        <a:pt x="1172" y="874"/>
                      </a:lnTo>
                      <a:lnTo>
                        <a:pt x="1173" y="873"/>
                      </a:lnTo>
                      <a:lnTo>
                        <a:pt x="1173" y="872"/>
                      </a:lnTo>
                      <a:lnTo>
                        <a:pt x="1174" y="872"/>
                      </a:lnTo>
                      <a:lnTo>
                        <a:pt x="1174" y="873"/>
                      </a:lnTo>
                      <a:lnTo>
                        <a:pt x="1174" y="874"/>
                      </a:lnTo>
                      <a:close/>
                      <a:moveTo>
                        <a:pt x="1222" y="1044"/>
                      </a:moveTo>
                      <a:lnTo>
                        <a:pt x="1223" y="1044"/>
                      </a:lnTo>
                      <a:lnTo>
                        <a:pt x="1223" y="1046"/>
                      </a:lnTo>
                      <a:lnTo>
                        <a:pt x="1223" y="1047"/>
                      </a:lnTo>
                      <a:lnTo>
                        <a:pt x="1222" y="1047"/>
                      </a:lnTo>
                      <a:lnTo>
                        <a:pt x="1223" y="1047"/>
                      </a:lnTo>
                      <a:lnTo>
                        <a:pt x="1222" y="1047"/>
                      </a:lnTo>
                      <a:lnTo>
                        <a:pt x="1222" y="1048"/>
                      </a:lnTo>
                      <a:lnTo>
                        <a:pt x="1221" y="1048"/>
                      </a:lnTo>
                      <a:lnTo>
                        <a:pt x="1220" y="1050"/>
                      </a:lnTo>
                      <a:lnTo>
                        <a:pt x="1219" y="1051"/>
                      </a:lnTo>
                      <a:lnTo>
                        <a:pt x="1219" y="1050"/>
                      </a:lnTo>
                      <a:lnTo>
                        <a:pt x="1219" y="1048"/>
                      </a:lnTo>
                      <a:lnTo>
                        <a:pt x="1220" y="1047"/>
                      </a:lnTo>
                      <a:lnTo>
                        <a:pt x="1220" y="1046"/>
                      </a:lnTo>
                      <a:lnTo>
                        <a:pt x="1220" y="1045"/>
                      </a:lnTo>
                      <a:lnTo>
                        <a:pt x="1220" y="1044"/>
                      </a:lnTo>
                      <a:lnTo>
                        <a:pt x="1221" y="1043"/>
                      </a:lnTo>
                      <a:lnTo>
                        <a:pt x="1221" y="1044"/>
                      </a:lnTo>
                      <a:lnTo>
                        <a:pt x="1222" y="1044"/>
                      </a:lnTo>
                      <a:close/>
                      <a:moveTo>
                        <a:pt x="1107" y="807"/>
                      </a:moveTo>
                      <a:lnTo>
                        <a:pt x="1107" y="808"/>
                      </a:lnTo>
                      <a:lnTo>
                        <a:pt x="1108" y="808"/>
                      </a:lnTo>
                      <a:lnTo>
                        <a:pt x="1108" y="807"/>
                      </a:lnTo>
                      <a:lnTo>
                        <a:pt x="1108" y="806"/>
                      </a:lnTo>
                      <a:lnTo>
                        <a:pt x="1109" y="807"/>
                      </a:lnTo>
                      <a:lnTo>
                        <a:pt x="1109" y="808"/>
                      </a:lnTo>
                      <a:lnTo>
                        <a:pt x="1108" y="809"/>
                      </a:lnTo>
                      <a:lnTo>
                        <a:pt x="1107" y="809"/>
                      </a:lnTo>
                      <a:lnTo>
                        <a:pt x="1106" y="809"/>
                      </a:lnTo>
                      <a:lnTo>
                        <a:pt x="1106" y="810"/>
                      </a:lnTo>
                      <a:lnTo>
                        <a:pt x="1106" y="809"/>
                      </a:lnTo>
                      <a:lnTo>
                        <a:pt x="1105" y="809"/>
                      </a:lnTo>
                      <a:lnTo>
                        <a:pt x="1105" y="810"/>
                      </a:lnTo>
                      <a:lnTo>
                        <a:pt x="1106" y="810"/>
                      </a:lnTo>
                      <a:lnTo>
                        <a:pt x="1105" y="810"/>
                      </a:lnTo>
                      <a:lnTo>
                        <a:pt x="1104" y="809"/>
                      </a:lnTo>
                      <a:lnTo>
                        <a:pt x="1103" y="808"/>
                      </a:lnTo>
                      <a:lnTo>
                        <a:pt x="1102" y="808"/>
                      </a:lnTo>
                      <a:lnTo>
                        <a:pt x="1103" y="807"/>
                      </a:lnTo>
                      <a:lnTo>
                        <a:pt x="1103" y="808"/>
                      </a:lnTo>
                      <a:lnTo>
                        <a:pt x="1103" y="807"/>
                      </a:lnTo>
                      <a:lnTo>
                        <a:pt x="1104" y="807"/>
                      </a:lnTo>
                      <a:lnTo>
                        <a:pt x="1104" y="806"/>
                      </a:lnTo>
                      <a:lnTo>
                        <a:pt x="1105" y="806"/>
                      </a:lnTo>
                      <a:lnTo>
                        <a:pt x="1106" y="806"/>
                      </a:lnTo>
                      <a:lnTo>
                        <a:pt x="1106" y="807"/>
                      </a:lnTo>
                      <a:lnTo>
                        <a:pt x="1107" y="807"/>
                      </a:lnTo>
                      <a:close/>
                      <a:moveTo>
                        <a:pt x="1441" y="1073"/>
                      </a:moveTo>
                      <a:lnTo>
                        <a:pt x="1442" y="1073"/>
                      </a:lnTo>
                      <a:lnTo>
                        <a:pt x="1442" y="1074"/>
                      </a:lnTo>
                      <a:lnTo>
                        <a:pt x="1442" y="1076"/>
                      </a:lnTo>
                      <a:lnTo>
                        <a:pt x="1441" y="1076"/>
                      </a:lnTo>
                      <a:lnTo>
                        <a:pt x="1440" y="1076"/>
                      </a:lnTo>
                      <a:lnTo>
                        <a:pt x="1440" y="1074"/>
                      </a:lnTo>
                      <a:lnTo>
                        <a:pt x="1439" y="1074"/>
                      </a:lnTo>
                      <a:lnTo>
                        <a:pt x="1438" y="1074"/>
                      </a:lnTo>
                      <a:lnTo>
                        <a:pt x="1438" y="1073"/>
                      </a:lnTo>
                      <a:lnTo>
                        <a:pt x="1438" y="1072"/>
                      </a:lnTo>
                      <a:lnTo>
                        <a:pt x="1438" y="1071"/>
                      </a:lnTo>
                      <a:lnTo>
                        <a:pt x="1440" y="1070"/>
                      </a:lnTo>
                      <a:lnTo>
                        <a:pt x="1441" y="1071"/>
                      </a:lnTo>
                      <a:lnTo>
                        <a:pt x="1441" y="1072"/>
                      </a:lnTo>
                      <a:lnTo>
                        <a:pt x="1441" y="1073"/>
                      </a:lnTo>
                      <a:close/>
                      <a:moveTo>
                        <a:pt x="1134" y="813"/>
                      </a:moveTo>
                      <a:lnTo>
                        <a:pt x="1135" y="814"/>
                      </a:lnTo>
                      <a:lnTo>
                        <a:pt x="1136" y="814"/>
                      </a:lnTo>
                      <a:lnTo>
                        <a:pt x="1135" y="814"/>
                      </a:lnTo>
                      <a:lnTo>
                        <a:pt x="1136" y="814"/>
                      </a:lnTo>
                      <a:lnTo>
                        <a:pt x="1137" y="813"/>
                      </a:lnTo>
                      <a:lnTo>
                        <a:pt x="1137" y="814"/>
                      </a:lnTo>
                      <a:lnTo>
                        <a:pt x="1136" y="815"/>
                      </a:lnTo>
                      <a:lnTo>
                        <a:pt x="1135" y="815"/>
                      </a:lnTo>
                      <a:lnTo>
                        <a:pt x="1134" y="815"/>
                      </a:lnTo>
                      <a:lnTo>
                        <a:pt x="1134" y="816"/>
                      </a:lnTo>
                      <a:lnTo>
                        <a:pt x="1133" y="816"/>
                      </a:lnTo>
                      <a:lnTo>
                        <a:pt x="1132" y="816"/>
                      </a:lnTo>
                      <a:lnTo>
                        <a:pt x="1132" y="815"/>
                      </a:lnTo>
                      <a:lnTo>
                        <a:pt x="1131" y="815"/>
                      </a:lnTo>
                      <a:lnTo>
                        <a:pt x="1131" y="816"/>
                      </a:lnTo>
                      <a:lnTo>
                        <a:pt x="1130" y="817"/>
                      </a:lnTo>
                      <a:lnTo>
                        <a:pt x="1129" y="817"/>
                      </a:lnTo>
                      <a:lnTo>
                        <a:pt x="1129" y="819"/>
                      </a:lnTo>
                      <a:lnTo>
                        <a:pt x="1128" y="817"/>
                      </a:lnTo>
                      <a:lnTo>
                        <a:pt x="1128" y="816"/>
                      </a:lnTo>
                      <a:lnTo>
                        <a:pt x="1129" y="816"/>
                      </a:lnTo>
                      <a:lnTo>
                        <a:pt x="1129" y="817"/>
                      </a:lnTo>
                      <a:lnTo>
                        <a:pt x="1129" y="816"/>
                      </a:lnTo>
                      <a:lnTo>
                        <a:pt x="1130" y="815"/>
                      </a:lnTo>
                      <a:lnTo>
                        <a:pt x="1131" y="815"/>
                      </a:lnTo>
                      <a:lnTo>
                        <a:pt x="1132" y="815"/>
                      </a:lnTo>
                      <a:lnTo>
                        <a:pt x="1132" y="814"/>
                      </a:lnTo>
                      <a:lnTo>
                        <a:pt x="1133" y="814"/>
                      </a:lnTo>
                      <a:lnTo>
                        <a:pt x="1134" y="814"/>
                      </a:lnTo>
                      <a:lnTo>
                        <a:pt x="1134" y="813"/>
                      </a:lnTo>
                      <a:close/>
                      <a:moveTo>
                        <a:pt x="1111" y="840"/>
                      </a:moveTo>
                      <a:lnTo>
                        <a:pt x="1112" y="840"/>
                      </a:lnTo>
                      <a:lnTo>
                        <a:pt x="1113" y="840"/>
                      </a:lnTo>
                      <a:lnTo>
                        <a:pt x="1115" y="840"/>
                      </a:lnTo>
                      <a:lnTo>
                        <a:pt x="1115" y="841"/>
                      </a:lnTo>
                      <a:lnTo>
                        <a:pt x="1113" y="841"/>
                      </a:lnTo>
                      <a:lnTo>
                        <a:pt x="1113" y="840"/>
                      </a:lnTo>
                      <a:lnTo>
                        <a:pt x="1112" y="840"/>
                      </a:lnTo>
                      <a:lnTo>
                        <a:pt x="1111" y="840"/>
                      </a:lnTo>
                      <a:lnTo>
                        <a:pt x="1111" y="841"/>
                      </a:lnTo>
                      <a:lnTo>
                        <a:pt x="1112" y="840"/>
                      </a:lnTo>
                      <a:lnTo>
                        <a:pt x="1112" y="841"/>
                      </a:lnTo>
                      <a:lnTo>
                        <a:pt x="1113" y="841"/>
                      </a:lnTo>
                      <a:lnTo>
                        <a:pt x="1113" y="842"/>
                      </a:lnTo>
                      <a:lnTo>
                        <a:pt x="1115" y="844"/>
                      </a:lnTo>
                      <a:lnTo>
                        <a:pt x="1115" y="845"/>
                      </a:lnTo>
                      <a:lnTo>
                        <a:pt x="1113" y="845"/>
                      </a:lnTo>
                      <a:lnTo>
                        <a:pt x="1113" y="846"/>
                      </a:lnTo>
                      <a:lnTo>
                        <a:pt x="1113" y="845"/>
                      </a:lnTo>
                      <a:lnTo>
                        <a:pt x="1112" y="845"/>
                      </a:lnTo>
                      <a:lnTo>
                        <a:pt x="1111" y="845"/>
                      </a:lnTo>
                      <a:lnTo>
                        <a:pt x="1110" y="845"/>
                      </a:lnTo>
                      <a:lnTo>
                        <a:pt x="1110" y="844"/>
                      </a:lnTo>
                      <a:lnTo>
                        <a:pt x="1109" y="842"/>
                      </a:lnTo>
                      <a:lnTo>
                        <a:pt x="1109" y="841"/>
                      </a:lnTo>
                      <a:lnTo>
                        <a:pt x="1109" y="840"/>
                      </a:lnTo>
                      <a:lnTo>
                        <a:pt x="1109" y="841"/>
                      </a:lnTo>
                      <a:lnTo>
                        <a:pt x="1110" y="841"/>
                      </a:lnTo>
                      <a:lnTo>
                        <a:pt x="1110" y="842"/>
                      </a:lnTo>
                      <a:lnTo>
                        <a:pt x="1111" y="842"/>
                      </a:lnTo>
                      <a:lnTo>
                        <a:pt x="1111" y="841"/>
                      </a:lnTo>
                      <a:lnTo>
                        <a:pt x="1110" y="840"/>
                      </a:lnTo>
                      <a:lnTo>
                        <a:pt x="1111" y="840"/>
                      </a:lnTo>
                      <a:close/>
                      <a:moveTo>
                        <a:pt x="1428" y="1129"/>
                      </a:moveTo>
                      <a:lnTo>
                        <a:pt x="1427" y="1129"/>
                      </a:lnTo>
                      <a:lnTo>
                        <a:pt x="1427" y="1130"/>
                      </a:lnTo>
                      <a:lnTo>
                        <a:pt x="1426" y="1130"/>
                      </a:lnTo>
                      <a:lnTo>
                        <a:pt x="1425" y="1130"/>
                      </a:lnTo>
                      <a:lnTo>
                        <a:pt x="1426" y="1130"/>
                      </a:lnTo>
                      <a:lnTo>
                        <a:pt x="1428" y="1131"/>
                      </a:lnTo>
                      <a:lnTo>
                        <a:pt x="1428" y="1132"/>
                      </a:lnTo>
                      <a:lnTo>
                        <a:pt x="1427" y="1132"/>
                      </a:lnTo>
                      <a:lnTo>
                        <a:pt x="1426" y="1132"/>
                      </a:lnTo>
                      <a:lnTo>
                        <a:pt x="1427" y="1132"/>
                      </a:lnTo>
                      <a:lnTo>
                        <a:pt x="1427" y="1133"/>
                      </a:lnTo>
                      <a:lnTo>
                        <a:pt x="1427" y="1134"/>
                      </a:lnTo>
                      <a:lnTo>
                        <a:pt x="1426" y="1133"/>
                      </a:lnTo>
                      <a:lnTo>
                        <a:pt x="1425" y="1133"/>
                      </a:lnTo>
                      <a:lnTo>
                        <a:pt x="1425" y="1132"/>
                      </a:lnTo>
                      <a:lnTo>
                        <a:pt x="1425" y="1133"/>
                      </a:lnTo>
                      <a:lnTo>
                        <a:pt x="1424" y="1133"/>
                      </a:lnTo>
                      <a:lnTo>
                        <a:pt x="1424" y="1132"/>
                      </a:lnTo>
                      <a:lnTo>
                        <a:pt x="1422" y="1131"/>
                      </a:lnTo>
                      <a:lnTo>
                        <a:pt x="1424" y="1131"/>
                      </a:lnTo>
                      <a:lnTo>
                        <a:pt x="1424" y="1130"/>
                      </a:lnTo>
                      <a:lnTo>
                        <a:pt x="1422" y="1131"/>
                      </a:lnTo>
                      <a:lnTo>
                        <a:pt x="1422" y="1132"/>
                      </a:lnTo>
                      <a:lnTo>
                        <a:pt x="1421" y="1131"/>
                      </a:lnTo>
                      <a:lnTo>
                        <a:pt x="1422" y="1131"/>
                      </a:lnTo>
                      <a:lnTo>
                        <a:pt x="1422" y="1130"/>
                      </a:lnTo>
                      <a:lnTo>
                        <a:pt x="1424" y="1130"/>
                      </a:lnTo>
                      <a:lnTo>
                        <a:pt x="1425" y="1130"/>
                      </a:lnTo>
                      <a:lnTo>
                        <a:pt x="1424" y="1130"/>
                      </a:lnTo>
                      <a:lnTo>
                        <a:pt x="1425" y="1130"/>
                      </a:lnTo>
                      <a:lnTo>
                        <a:pt x="1425" y="1129"/>
                      </a:lnTo>
                      <a:lnTo>
                        <a:pt x="1426" y="1129"/>
                      </a:lnTo>
                      <a:lnTo>
                        <a:pt x="1428" y="1128"/>
                      </a:lnTo>
                      <a:lnTo>
                        <a:pt x="1428" y="1129"/>
                      </a:lnTo>
                      <a:close/>
                      <a:moveTo>
                        <a:pt x="1071" y="988"/>
                      </a:moveTo>
                      <a:lnTo>
                        <a:pt x="1070" y="988"/>
                      </a:lnTo>
                      <a:lnTo>
                        <a:pt x="1070" y="989"/>
                      </a:lnTo>
                      <a:lnTo>
                        <a:pt x="1069" y="990"/>
                      </a:lnTo>
                      <a:lnTo>
                        <a:pt x="1068" y="991"/>
                      </a:lnTo>
                      <a:lnTo>
                        <a:pt x="1065" y="991"/>
                      </a:lnTo>
                      <a:lnTo>
                        <a:pt x="1064" y="991"/>
                      </a:lnTo>
                      <a:lnTo>
                        <a:pt x="1065" y="990"/>
                      </a:lnTo>
                      <a:lnTo>
                        <a:pt x="1065" y="989"/>
                      </a:lnTo>
                      <a:lnTo>
                        <a:pt x="1066" y="989"/>
                      </a:lnTo>
                      <a:lnTo>
                        <a:pt x="1065" y="989"/>
                      </a:lnTo>
                      <a:lnTo>
                        <a:pt x="1066" y="988"/>
                      </a:lnTo>
                      <a:lnTo>
                        <a:pt x="1067" y="988"/>
                      </a:lnTo>
                      <a:lnTo>
                        <a:pt x="1068" y="988"/>
                      </a:lnTo>
                      <a:lnTo>
                        <a:pt x="1069" y="987"/>
                      </a:lnTo>
                      <a:lnTo>
                        <a:pt x="1070" y="988"/>
                      </a:lnTo>
                      <a:lnTo>
                        <a:pt x="1070" y="987"/>
                      </a:lnTo>
                      <a:lnTo>
                        <a:pt x="1071" y="988"/>
                      </a:lnTo>
                      <a:close/>
                      <a:moveTo>
                        <a:pt x="1380" y="1085"/>
                      </a:moveTo>
                      <a:lnTo>
                        <a:pt x="1381" y="1086"/>
                      </a:lnTo>
                      <a:lnTo>
                        <a:pt x="1382" y="1086"/>
                      </a:lnTo>
                      <a:lnTo>
                        <a:pt x="1383" y="1086"/>
                      </a:lnTo>
                      <a:lnTo>
                        <a:pt x="1386" y="1086"/>
                      </a:lnTo>
                      <a:lnTo>
                        <a:pt x="1387" y="1088"/>
                      </a:lnTo>
                      <a:lnTo>
                        <a:pt x="1389" y="1088"/>
                      </a:lnTo>
                      <a:lnTo>
                        <a:pt x="1391" y="1088"/>
                      </a:lnTo>
                      <a:lnTo>
                        <a:pt x="1393" y="1089"/>
                      </a:lnTo>
                      <a:lnTo>
                        <a:pt x="1395" y="1089"/>
                      </a:lnTo>
                      <a:lnTo>
                        <a:pt x="1396" y="1088"/>
                      </a:lnTo>
                      <a:lnTo>
                        <a:pt x="1396" y="1089"/>
                      </a:lnTo>
                      <a:lnTo>
                        <a:pt x="1395" y="1089"/>
                      </a:lnTo>
                      <a:lnTo>
                        <a:pt x="1394" y="1089"/>
                      </a:lnTo>
                      <a:lnTo>
                        <a:pt x="1393" y="1089"/>
                      </a:lnTo>
                      <a:lnTo>
                        <a:pt x="1392" y="1089"/>
                      </a:lnTo>
                      <a:lnTo>
                        <a:pt x="1391" y="1089"/>
                      </a:lnTo>
                      <a:lnTo>
                        <a:pt x="1390" y="1089"/>
                      </a:lnTo>
                      <a:lnTo>
                        <a:pt x="1389" y="1088"/>
                      </a:lnTo>
                      <a:lnTo>
                        <a:pt x="1388" y="1089"/>
                      </a:lnTo>
                      <a:lnTo>
                        <a:pt x="1387" y="1089"/>
                      </a:lnTo>
                      <a:lnTo>
                        <a:pt x="1386" y="1088"/>
                      </a:lnTo>
                      <a:lnTo>
                        <a:pt x="1384" y="1088"/>
                      </a:lnTo>
                      <a:lnTo>
                        <a:pt x="1383" y="1088"/>
                      </a:lnTo>
                      <a:lnTo>
                        <a:pt x="1383" y="1086"/>
                      </a:lnTo>
                      <a:lnTo>
                        <a:pt x="1382" y="1086"/>
                      </a:lnTo>
                      <a:lnTo>
                        <a:pt x="1381" y="1086"/>
                      </a:lnTo>
                      <a:lnTo>
                        <a:pt x="1380" y="1086"/>
                      </a:lnTo>
                      <a:lnTo>
                        <a:pt x="1381" y="1086"/>
                      </a:lnTo>
                      <a:lnTo>
                        <a:pt x="1381" y="1088"/>
                      </a:lnTo>
                      <a:lnTo>
                        <a:pt x="1382" y="1088"/>
                      </a:lnTo>
                      <a:lnTo>
                        <a:pt x="1382" y="1089"/>
                      </a:lnTo>
                      <a:lnTo>
                        <a:pt x="1381" y="1089"/>
                      </a:lnTo>
                      <a:lnTo>
                        <a:pt x="1380" y="1089"/>
                      </a:lnTo>
                      <a:lnTo>
                        <a:pt x="1380" y="1088"/>
                      </a:lnTo>
                      <a:lnTo>
                        <a:pt x="1379" y="1088"/>
                      </a:lnTo>
                      <a:lnTo>
                        <a:pt x="1378" y="1086"/>
                      </a:lnTo>
                      <a:lnTo>
                        <a:pt x="1380" y="1085"/>
                      </a:lnTo>
                      <a:close/>
                      <a:moveTo>
                        <a:pt x="1148" y="794"/>
                      </a:moveTo>
                      <a:lnTo>
                        <a:pt x="1149" y="795"/>
                      </a:lnTo>
                      <a:lnTo>
                        <a:pt x="1149" y="796"/>
                      </a:lnTo>
                      <a:lnTo>
                        <a:pt x="1149" y="797"/>
                      </a:lnTo>
                      <a:lnTo>
                        <a:pt x="1149" y="798"/>
                      </a:lnTo>
                      <a:lnTo>
                        <a:pt x="1148" y="798"/>
                      </a:lnTo>
                      <a:lnTo>
                        <a:pt x="1148" y="799"/>
                      </a:lnTo>
                      <a:lnTo>
                        <a:pt x="1147" y="799"/>
                      </a:lnTo>
                      <a:lnTo>
                        <a:pt x="1147" y="800"/>
                      </a:lnTo>
                      <a:lnTo>
                        <a:pt x="1148" y="801"/>
                      </a:lnTo>
                      <a:lnTo>
                        <a:pt x="1147" y="801"/>
                      </a:lnTo>
                      <a:lnTo>
                        <a:pt x="1148" y="802"/>
                      </a:lnTo>
                      <a:lnTo>
                        <a:pt x="1147" y="802"/>
                      </a:lnTo>
                      <a:lnTo>
                        <a:pt x="1147" y="801"/>
                      </a:lnTo>
                      <a:lnTo>
                        <a:pt x="1146" y="801"/>
                      </a:lnTo>
                      <a:lnTo>
                        <a:pt x="1146" y="800"/>
                      </a:lnTo>
                      <a:lnTo>
                        <a:pt x="1147" y="800"/>
                      </a:lnTo>
                      <a:lnTo>
                        <a:pt x="1147" y="799"/>
                      </a:lnTo>
                      <a:lnTo>
                        <a:pt x="1147" y="798"/>
                      </a:lnTo>
                      <a:lnTo>
                        <a:pt x="1148" y="798"/>
                      </a:lnTo>
                      <a:lnTo>
                        <a:pt x="1148" y="797"/>
                      </a:lnTo>
                      <a:lnTo>
                        <a:pt x="1148" y="796"/>
                      </a:lnTo>
                      <a:lnTo>
                        <a:pt x="1147" y="796"/>
                      </a:lnTo>
                      <a:lnTo>
                        <a:pt x="1146" y="795"/>
                      </a:lnTo>
                      <a:lnTo>
                        <a:pt x="1145" y="794"/>
                      </a:lnTo>
                      <a:lnTo>
                        <a:pt x="1144" y="794"/>
                      </a:lnTo>
                      <a:lnTo>
                        <a:pt x="1144" y="795"/>
                      </a:lnTo>
                      <a:lnTo>
                        <a:pt x="1144" y="794"/>
                      </a:lnTo>
                      <a:lnTo>
                        <a:pt x="1146" y="793"/>
                      </a:lnTo>
                      <a:lnTo>
                        <a:pt x="1147" y="794"/>
                      </a:lnTo>
                      <a:lnTo>
                        <a:pt x="1148" y="794"/>
                      </a:lnTo>
                      <a:close/>
                      <a:moveTo>
                        <a:pt x="1310" y="948"/>
                      </a:moveTo>
                      <a:lnTo>
                        <a:pt x="1311" y="948"/>
                      </a:lnTo>
                      <a:lnTo>
                        <a:pt x="1310" y="948"/>
                      </a:lnTo>
                      <a:lnTo>
                        <a:pt x="1310" y="949"/>
                      </a:lnTo>
                      <a:lnTo>
                        <a:pt x="1311" y="950"/>
                      </a:lnTo>
                      <a:lnTo>
                        <a:pt x="1310" y="951"/>
                      </a:lnTo>
                      <a:lnTo>
                        <a:pt x="1311" y="951"/>
                      </a:lnTo>
                      <a:lnTo>
                        <a:pt x="1312" y="952"/>
                      </a:lnTo>
                      <a:lnTo>
                        <a:pt x="1313" y="951"/>
                      </a:lnTo>
                      <a:lnTo>
                        <a:pt x="1313" y="952"/>
                      </a:lnTo>
                      <a:lnTo>
                        <a:pt x="1312" y="952"/>
                      </a:lnTo>
                      <a:lnTo>
                        <a:pt x="1311" y="952"/>
                      </a:lnTo>
                      <a:lnTo>
                        <a:pt x="1310" y="952"/>
                      </a:lnTo>
                      <a:lnTo>
                        <a:pt x="1310" y="953"/>
                      </a:lnTo>
                      <a:lnTo>
                        <a:pt x="1309" y="953"/>
                      </a:lnTo>
                      <a:lnTo>
                        <a:pt x="1309" y="952"/>
                      </a:lnTo>
                      <a:lnTo>
                        <a:pt x="1308" y="952"/>
                      </a:lnTo>
                      <a:lnTo>
                        <a:pt x="1308" y="951"/>
                      </a:lnTo>
                      <a:lnTo>
                        <a:pt x="1308" y="950"/>
                      </a:lnTo>
                      <a:lnTo>
                        <a:pt x="1306" y="950"/>
                      </a:lnTo>
                      <a:lnTo>
                        <a:pt x="1306" y="949"/>
                      </a:lnTo>
                      <a:lnTo>
                        <a:pt x="1305" y="949"/>
                      </a:lnTo>
                      <a:lnTo>
                        <a:pt x="1305" y="950"/>
                      </a:lnTo>
                      <a:lnTo>
                        <a:pt x="1305" y="949"/>
                      </a:lnTo>
                      <a:lnTo>
                        <a:pt x="1305" y="948"/>
                      </a:lnTo>
                      <a:lnTo>
                        <a:pt x="1306" y="948"/>
                      </a:lnTo>
                      <a:lnTo>
                        <a:pt x="1308" y="948"/>
                      </a:lnTo>
                      <a:lnTo>
                        <a:pt x="1309" y="948"/>
                      </a:lnTo>
                      <a:lnTo>
                        <a:pt x="1310" y="948"/>
                      </a:lnTo>
                      <a:close/>
                      <a:moveTo>
                        <a:pt x="1132" y="982"/>
                      </a:moveTo>
                      <a:lnTo>
                        <a:pt x="1136" y="988"/>
                      </a:lnTo>
                      <a:lnTo>
                        <a:pt x="1137" y="988"/>
                      </a:lnTo>
                      <a:lnTo>
                        <a:pt x="1136" y="988"/>
                      </a:lnTo>
                      <a:lnTo>
                        <a:pt x="1135" y="988"/>
                      </a:lnTo>
                      <a:lnTo>
                        <a:pt x="1135" y="987"/>
                      </a:lnTo>
                      <a:lnTo>
                        <a:pt x="1135" y="988"/>
                      </a:lnTo>
                      <a:lnTo>
                        <a:pt x="1134" y="988"/>
                      </a:lnTo>
                      <a:lnTo>
                        <a:pt x="1134" y="987"/>
                      </a:lnTo>
                      <a:lnTo>
                        <a:pt x="1135" y="988"/>
                      </a:lnTo>
                      <a:lnTo>
                        <a:pt x="1135" y="987"/>
                      </a:lnTo>
                      <a:lnTo>
                        <a:pt x="1134" y="987"/>
                      </a:lnTo>
                      <a:lnTo>
                        <a:pt x="1134" y="986"/>
                      </a:lnTo>
                      <a:lnTo>
                        <a:pt x="1133" y="986"/>
                      </a:lnTo>
                      <a:lnTo>
                        <a:pt x="1133" y="987"/>
                      </a:lnTo>
                      <a:lnTo>
                        <a:pt x="1132" y="986"/>
                      </a:lnTo>
                      <a:lnTo>
                        <a:pt x="1131" y="984"/>
                      </a:lnTo>
                      <a:lnTo>
                        <a:pt x="1130" y="984"/>
                      </a:lnTo>
                      <a:lnTo>
                        <a:pt x="1130" y="983"/>
                      </a:lnTo>
                      <a:lnTo>
                        <a:pt x="1129" y="983"/>
                      </a:lnTo>
                      <a:lnTo>
                        <a:pt x="1128" y="984"/>
                      </a:lnTo>
                      <a:lnTo>
                        <a:pt x="1128" y="983"/>
                      </a:lnTo>
                      <a:lnTo>
                        <a:pt x="1129" y="983"/>
                      </a:lnTo>
                      <a:lnTo>
                        <a:pt x="1129" y="982"/>
                      </a:lnTo>
                      <a:lnTo>
                        <a:pt x="1130" y="983"/>
                      </a:lnTo>
                      <a:lnTo>
                        <a:pt x="1131" y="983"/>
                      </a:lnTo>
                      <a:lnTo>
                        <a:pt x="1132" y="983"/>
                      </a:lnTo>
                      <a:lnTo>
                        <a:pt x="1133" y="983"/>
                      </a:lnTo>
                      <a:lnTo>
                        <a:pt x="1133" y="982"/>
                      </a:lnTo>
                      <a:lnTo>
                        <a:pt x="1132" y="982"/>
                      </a:lnTo>
                      <a:close/>
                      <a:moveTo>
                        <a:pt x="1095" y="806"/>
                      </a:moveTo>
                      <a:lnTo>
                        <a:pt x="1096" y="806"/>
                      </a:lnTo>
                      <a:lnTo>
                        <a:pt x="1097" y="806"/>
                      </a:lnTo>
                      <a:lnTo>
                        <a:pt x="1098" y="806"/>
                      </a:lnTo>
                      <a:lnTo>
                        <a:pt x="1097" y="806"/>
                      </a:lnTo>
                      <a:lnTo>
                        <a:pt x="1097" y="807"/>
                      </a:lnTo>
                      <a:lnTo>
                        <a:pt x="1097" y="808"/>
                      </a:lnTo>
                      <a:lnTo>
                        <a:pt x="1097" y="807"/>
                      </a:lnTo>
                      <a:lnTo>
                        <a:pt x="1097" y="808"/>
                      </a:lnTo>
                      <a:lnTo>
                        <a:pt x="1098" y="808"/>
                      </a:lnTo>
                      <a:lnTo>
                        <a:pt x="1099" y="808"/>
                      </a:lnTo>
                      <a:lnTo>
                        <a:pt x="1099" y="807"/>
                      </a:lnTo>
                      <a:lnTo>
                        <a:pt x="1100" y="807"/>
                      </a:lnTo>
                      <a:lnTo>
                        <a:pt x="1100" y="808"/>
                      </a:lnTo>
                      <a:lnTo>
                        <a:pt x="1099" y="808"/>
                      </a:lnTo>
                      <a:lnTo>
                        <a:pt x="1100" y="808"/>
                      </a:lnTo>
                      <a:lnTo>
                        <a:pt x="1100" y="807"/>
                      </a:lnTo>
                      <a:lnTo>
                        <a:pt x="1102" y="807"/>
                      </a:lnTo>
                      <a:lnTo>
                        <a:pt x="1102" y="808"/>
                      </a:lnTo>
                      <a:lnTo>
                        <a:pt x="1100" y="808"/>
                      </a:lnTo>
                      <a:lnTo>
                        <a:pt x="1102" y="808"/>
                      </a:lnTo>
                      <a:lnTo>
                        <a:pt x="1102" y="809"/>
                      </a:lnTo>
                      <a:lnTo>
                        <a:pt x="1100" y="808"/>
                      </a:lnTo>
                      <a:lnTo>
                        <a:pt x="1100" y="809"/>
                      </a:lnTo>
                      <a:lnTo>
                        <a:pt x="1102" y="809"/>
                      </a:lnTo>
                      <a:lnTo>
                        <a:pt x="1103" y="809"/>
                      </a:lnTo>
                      <a:lnTo>
                        <a:pt x="1103" y="810"/>
                      </a:lnTo>
                      <a:lnTo>
                        <a:pt x="1104" y="810"/>
                      </a:lnTo>
                      <a:lnTo>
                        <a:pt x="1104" y="811"/>
                      </a:lnTo>
                      <a:lnTo>
                        <a:pt x="1104" y="810"/>
                      </a:lnTo>
                      <a:lnTo>
                        <a:pt x="1105" y="810"/>
                      </a:lnTo>
                      <a:lnTo>
                        <a:pt x="1106" y="810"/>
                      </a:lnTo>
                      <a:lnTo>
                        <a:pt x="1106" y="811"/>
                      </a:lnTo>
                      <a:lnTo>
                        <a:pt x="1105" y="811"/>
                      </a:lnTo>
                      <a:lnTo>
                        <a:pt x="1105" y="812"/>
                      </a:lnTo>
                      <a:lnTo>
                        <a:pt x="1104" y="811"/>
                      </a:lnTo>
                      <a:lnTo>
                        <a:pt x="1103" y="811"/>
                      </a:lnTo>
                      <a:lnTo>
                        <a:pt x="1103" y="810"/>
                      </a:lnTo>
                      <a:lnTo>
                        <a:pt x="1102" y="809"/>
                      </a:lnTo>
                      <a:lnTo>
                        <a:pt x="1100" y="809"/>
                      </a:lnTo>
                      <a:lnTo>
                        <a:pt x="1099" y="809"/>
                      </a:lnTo>
                      <a:lnTo>
                        <a:pt x="1098" y="809"/>
                      </a:lnTo>
                      <a:lnTo>
                        <a:pt x="1097" y="809"/>
                      </a:lnTo>
                      <a:lnTo>
                        <a:pt x="1097" y="808"/>
                      </a:lnTo>
                      <a:lnTo>
                        <a:pt x="1096" y="808"/>
                      </a:lnTo>
                      <a:lnTo>
                        <a:pt x="1095" y="808"/>
                      </a:lnTo>
                      <a:lnTo>
                        <a:pt x="1095" y="807"/>
                      </a:lnTo>
                      <a:lnTo>
                        <a:pt x="1095" y="806"/>
                      </a:lnTo>
                      <a:close/>
                      <a:moveTo>
                        <a:pt x="1087" y="796"/>
                      </a:moveTo>
                      <a:lnTo>
                        <a:pt x="1087" y="797"/>
                      </a:lnTo>
                      <a:lnTo>
                        <a:pt x="1087" y="796"/>
                      </a:lnTo>
                      <a:lnTo>
                        <a:pt x="1089" y="797"/>
                      </a:lnTo>
                      <a:lnTo>
                        <a:pt x="1089" y="796"/>
                      </a:lnTo>
                      <a:lnTo>
                        <a:pt x="1087" y="796"/>
                      </a:lnTo>
                      <a:lnTo>
                        <a:pt x="1089" y="796"/>
                      </a:lnTo>
                      <a:lnTo>
                        <a:pt x="1090" y="796"/>
                      </a:lnTo>
                      <a:lnTo>
                        <a:pt x="1091" y="796"/>
                      </a:lnTo>
                      <a:lnTo>
                        <a:pt x="1092" y="796"/>
                      </a:lnTo>
                      <a:lnTo>
                        <a:pt x="1092" y="797"/>
                      </a:lnTo>
                      <a:lnTo>
                        <a:pt x="1093" y="797"/>
                      </a:lnTo>
                      <a:lnTo>
                        <a:pt x="1093" y="796"/>
                      </a:lnTo>
                      <a:lnTo>
                        <a:pt x="1093" y="797"/>
                      </a:lnTo>
                      <a:lnTo>
                        <a:pt x="1094" y="797"/>
                      </a:lnTo>
                      <a:lnTo>
                        <a:pt x="1094" y="798"/>
                      </a:lnTo>
                      <a:lnTo>
                        <a:pt x="1093" y="798"/>
                      </a:lnTo>
                      <a:lnTo>
                        <a:pt x="1093" y="797"/>
                      </a:lnTo>
                      <a:lnTo>
                        <a:pt x="1092" y="797"/>
                      </a:lnTo>
                      <a:lnTo>
                        <a:pt x="1091" y="797"/>
                      </a:lnTo>
                      <a:lnTo>
                        <a:pt x="1092" y="797"/>
                      </a:lnTo>
                      <a:lnTo>
                        <a:pt x="1092" y="798"/>
                      </a:lnTo>
                      <a:lnTo>
                        <a:pt x="1093" y="798"/>
                      </a:lnTo>
                      <a:lnTo>
                        <a:pt x="1092" y="798"/>
                      </a:lnTo>
                      <a:lnTo>
                        <a:pt x="1093" y="799"/>
                      </a:lnTo>
                      <a:lnTo>
                        <a:pt x="1092" y="799"/>
                      </a:lnTo>
                      <a:lnTo>
                        <a:pt x="1092" y="798"/>
                      </a:lnTo>
                      <a:lnTo>
                        <a:pt x="1091" y="798"/>
                      </a:lnTo>
                      <a:lnTo>
                        <a:pt x="1091" y="797"/>
                      </a:lnTo>
                      <a:lnTo>
                        <a:pt x="1090" y="797"/>
                      </a:lnTo>
                      <a:lnTo>
                        <a:pt x="1089" y="797"/>
                      </a:lnTo>
                      <a:lnTo>
                        <a:pt x="1087" y="798"/>
                      </a:lnTo>
                      <a:lnTo>
                        <a:pt x="1087" y="797"/>
                      </a:lnTo>
                      <a:lnTo>
                        <a:pt x="1086" y="797"/>
                      </a:lnTo>
                      <a:lnTo>
                        <a:pt x="1086" y="798"/>
                      </a:lnTo>
                      <a:lnTo>
                        <a:pt x="1085" y="798"/>
                      </a:lnTo>
                      <a:lnTo>
                        <a:pt x="1085" y="799"/>
                      </a:lnTo>
                      <a:lnTo>
                        <a:pt x="1084" y="799"/>
                      </a:lnTo>
                      <a:lnTo>
                        <a:pt x="1084" y="798"/>
                      </a:lnTo>
                      <a:lnTo>
                        <a:pt x="1084" y="797"/>
                      </a:lnTo>
                      <a:lnTo>
                        <a:pt x="1083" y="798"/>
                      </a:lnTo>
                      <a:lnTo>
                        <a:pt x="1084" y="797"/>
                      </a:lnTo>
                      <a:lnTo>
                        <a:pt x="1084" y="796"/>
                      </a:lnTo>
                      <a:lnTo>
                        <a:pt x="1085" y="796"/>
                      </a:lnTo>
                      <a:lnTo>
                        <a:pt x="1086" y="797"/>
                      </a:lnTo>
                      <a:lnTo>
                        <a:pt x="1086" y="796"/>
                      </a:lnTo>
                      <a:lnTo>
                        <a:pt x="1087" y="796"/>
                      </a:lnTo>
                      <a:close/>
                      <a:moveTo>
                        <a:pt x="1358" y="1162"/>
                      </a:moveTo>
                      <a:lnTo>
                        <a:pt x="1358" y="1163"/>
                      </a:lnTo>
                      <a:lnTo>
                        <a:pt x="1360" y="1163"/>
                      </a:lnTo>
                      <a:lnTo>
                        <a:pt x="1361" y="1166"/>
                      </a:lnTo>
                      <a:lnTo>
                        <a:pt x="1361" y="1167"/>
                      </a:lnTo>
                      <a:lnTo>
                        <a:pt x="1360" y="1168"/>
                      </a:lnTo>
                      <a:lnTo>
                        <a:pt x="1358" y="1168"/>
                      </a:lnTo>
                      <a:lnTo>
                        <a:pt x="1357" y="1169"/>
                      </a:lnTo>
                      <a:lnTo>
                        <a:pt x="1357" y="1170"/>
                      </a:lnTo>
                      <a:lnTo>
                        <a:pt x="1356" y="1170"/>
                      </a:lnTo>
                      <a:lnTo>
                        <a:pt x="1355" y="1170"/>
                      </a:lnTo>
                      <a:lnTo>
                        <a:pt x="1355" y="1169"/>
                      </a:lnTo>
                      <a:lnTo>
                        <a:pt x="1354" y="1169"/>
                      </a:lnTo>
                      <a:lnTo>
                        <a:pt x="1354" y="1170"/>
                      </a:lnTo>
                      <a:lnTo>
                        <a:pt x="1354" y="1169"/>
                      </a:lnTo>
                      <a:lnTo>
                        <a:pt x="1355" y="1169"/>
                      </a:lnTo>
                      <a:lnTo>
                        <a:pt x="1356" y="1169"/>
                      </a:lnTo>
                      <a:lnTo>
                        <a:pt x="1356" y="1168"/>
                      </a:lnTo>
                      <a:lnTo>
                        <a:pt x="1357" y="1168"/>
                      </a:lnTo>
                      <a:lnTo>
                        <a:pt x="1357" y="1169"/>
                      </a:lnTo>
                      <a:lnTo>
                        <a:pt x="1358" y="1168"/>
                      </a:lnTo>
                      <a:lnTo>
                        <a:pt x="1360" y="1168"/>
                      </a:lnTo>
                      <a:lnTo>
                        <a:pt x="1360" y="1167"/>
                      </a:lnTo>
                      <a:lnTo>
                        <a:pt x="1360" y="1166"/>
                      </a:lnTo>
                      <a:lnTo>
                        <a:pt x="1358" y="1166"/>
                      </a:lnTo>
                      <a:lnTo>
                        <a:pt x="1357" y="1164"/>
                      </a:lnTo>
                      <a:lnTo>
                        <a:pt x="1357" y="1163"/>
                      </a:lnTo>
                      <a:lnTo>
                        <a:pt x="1356" y="1163"/>
                      </a:lnTo>
                      <a:lnTo>
                        <a:pt x="1355" y="1163"/>
                      </a:lnTo>
                      <a:lnTo>
                        <a:pt x="1354" y="1163"/>
                      </a:lnTo>
                      <a:lnTo>
                        <a:pt x="1353" y="1163"/>
                      </a:lnTo>
                      <a:lnTo>
                        <a:pt x="1355" y="1163"/>
                      </a:lnTo>
                      <a:lnTo>
                        <a:pt x="1358" y="1162"/>
                      </a:lnTo>
                      <a:close/>
                      <a:moveTo>
                        <a:pt x="1315" y="1193"/>
                      </a:moveTo>
                      <a:lnTo>
                        <a:pt x="1316" y="1193"/>
                      </a:lnTo>
                      <a:lnTo>
                        <a:pt x="1316" y="1194"/>
                      </a:lnTo>
                      <a:lnTo>
                        <a:pt x="1315" y="1195"/>
                      </a:lnTo>
                      <a:lnTo>
                        <a:pt x="1314" y="1196"/>
                      </a:lnTo>
                      <a:lnTo>
                        <a:pt x="1314" y="1197"/>
                      </a:lnTo>
                      <a:lnTo>
                        <a:pt x="1313" y="1197"/>
                      </a:lnTo>
                      <a:lnTo>
                        <a:pt x="1313" y="1198"/>
                      </a:lnTo>
                      <a:lnTo>
                        <a:pt x="1312" y="1198"/>
                      </a:lnTo>
                      <a:lnTo>
                        <a:pt x="1312" y="1199"/>
                      </a:lnTo>
                      <a:lnTo>
                        <a:pt x="1312" y="1200"/>
                      </a:lnTo>
                      <a:lnTo>
                        <a:pt x="1311" y="1200"/>
                      </a:lnTo>
                      <a:lnTo>
                        <a:pt x="1311" y="1199"/>
                      </a:lnTo>
                      <a:lnTo>
                        <a:pt x="1310" y="1199"/>
                      </a:lnTo>
                      <a:lnTo>
                        <a:pt x="1310" y="1198"/>
                      </a:lnTo>
                      <a:lnTo>
                        <a:pt x="1311" y="1197"/>
                      </a:lnTo>
                      <a:lnTo>
                        <a:pt x="1311" y="1198"/>
                      </a:lnTo>
                      <a:lnTo>
                        <a:pt x="1311" y="1197"/>
                      </a:lnTo>
                      <a:lnTo>
                        <a:pt x="1312" y="1196"/>
                      </a:lnTo>
                      <a:lnTo>
                        <a:pt x="1313" y="1196"/>
                      </a:lnTo>
                      <a:lnTo>
                        <a:pt x="1312" y="1196"/>
                      </a:lnTo>
                      <a:lnTo>
                        <a:pt x="1313" y="1196"/>
                      </a:lnTo>
                      <a:lnTo>
                        <a:pt x="1312" y="1196"/>
                      </a:lnTo>
                      <a:lnTo>
                        <a:pt x="1312" y="1197"/>
                      </a:lnTo>
                      <a:lnTo>
                        <a:pt x="1312" y="1196"/>
                      </a:lnTo>
                      <a:lnTo>
                        <a:pt x="1313" y="1196"/>
                      </a:lnTo>
                      <a:lnTo>
                        <a:pt x="1313" y="1195"/>
                      </a:lnTo>
                      <a:lnTo>
                        <a:pt x="1313" y="1194"/>
                      </a:lnTo>
                      <a:lnTo>
                        <a:pt x="1314" y="1194"/>
                      </a:lnTo>
                      <a:lnTo>
                        <a:pt x="1314" y="1193"/>
                      </a:lnTo>
                      <a:lnTo>
                        <a:pt x="1315" y="1193"/>
                      </a:lnTo>
                      <a:close/>
                      <a:moveTo>
                        <a:pt x="1310" y="1096"/>
                      </a:moveTo>
                      <a:lnTo>
                        <a:pt x="1310" y="1097"/>
                      </a:lnTo>
                      <a:lnTo>
                        <a:pt x="1309" y="1098"/>
                      </a:lnTo>
                      <a:lnTo>
                        <a:pt x="1309" y="1099"/>
                      </a:lnTo>
                      <a:lnTo>
                        <a:pt x="1309" y="1101"/>
                      </a:lnTo>
                      <a:lnTo>
                        <a:pt x="1309" y="1102"/>
                      </a:lnTo>
                      <a:lnTo>
                        <a:pt x="1309" y="1103"/>
                      </a:lnTo>
                      <a:lnTo>
                        <a:pt x="1309" y="1104"/>
                      </a:lnTo>
                      <a:lnTo>
                        <a:pt x="1309" y="1105"/>
                      </a:lnTo>
                      <a:lnTo>
                        <a:pt x="1308" y="1105"/>
                      </a:lnTo>
                      <a:lnTo>
                        <a:pt x="1308" y="1104"/>
                      </a:lnTo>
                      <a:lnTo>
                        <a:pt x="1306" y="1104"/>
                      </a:lnTo>
                      <a:lnTo>
                        <a:pt x="1305" y="1104"/>
                      </a:lnTo>
                      <a:lnTo>
                        <a:pt x="1306" y="1104"/>
                      </a:lnTo>
                      <a:lnTo>
                        <a:pt x="1306" y="1103"/>
                      </a:lnTo>
                      <a:lnTo>
                        <a:pt x="1305" y="1103"/>
                      </a:lnTo>
                      <a:lnTo>
                        <a:pt x="1304" y="1103"/>
                      </a:lnTo>
                      <a:lnTo>
                        <a:pt x="1304" y="1102"/>
                      </a:lnTo>
                      <a:lnTo>
                        <a:pt x="1305" y="1102"/>
                      </a:lnTo>
                      <a:lnTo>
                        <a:pt x="1306" y="1102"/>
                      </a:lnTo>
                      <a:lnTo>
                        <a:pt x="1306" y="1101"/>
                      </a:lnTo>
                      <a:lnTo>
                        <a:pt x="1306" y="1102"/>
                      </a:lnTo>
                      <a:lnTo>
                        <a:pt x="1308" y="1102"/>
                      </a:lnTo>
                      <a:lnTo>
                        <a:pt x="1308" y="1101"/>
                      </a:lnTo>
                      <a:lnTo>
                        <a:pt x="1309" y="1101"/>
                      </a:lnTo>
                      <a:lnTo>
                        <a:pt x="1309" y="1099"/>
                      </a:lnTo>
                      <a:lnTo>
                        <a:pt x="1308" y="1099"/>
                      </a:lnTo>
                      <a:lnTo>
                        <a:pt x="1308" y="1098"/>
                      </a:lnTo>
                      <a:lnTo>
                        <a:pt x="1308" y="1097"/>
                      </a:lnTo>
                      <a:lnTo>
                        <a:pt x="1306" y="1097"/>
                      </a:lnTo>
                      <a:lnTo>
                        <a:pt x="1308" y="1097"/>
                      </a:lnTo>
                      <a:lnTo>
                        <a:pt x="1308" y="1096"/>
                      </a:lnTo>
                      <a:lnTo>
                        <a:pt x="1309" y="1096"/>
                      </a:lnTo>
                      <a:lnTo>
                        <a:pt x="1309" y="1095"/>
                      </a:lnTo>
                      <a:lnTo>
                        <a:pt x="1310" y="1096"/>
                      </a:lnTo>
                      <a:close/>
                      <a:moveTo>
                        <a:pt x="1108" y="789"/>
                      </a:moveTo>
                      <a:lnTo>
                        <a:pt x="1109" y="790"/>
                      </a:lnTo>
                      <a:lnTo>
                        <a:pt x="1109" y="791"/>
                      </a:lnTo>
                      <a:lnTo>
                        <a:pt x="1110" y="791"/>
                      </a:lnTo>
                      <a:lnTo>
                        <a:pt x="1111" y="791"/>
                      </a:lnTo>
                      <a:lnTo>
                        <a:pt x="1111" y="790"/>
                      </a:lnTo>
                      <a:lnTo>
                        <a:pt x="1111" y="791"/>
                      </a:lnTo>
                      <a:lnTo>
                        <a:pt x="1111" y="793"/>
                      </a:lnTo>
                      <a:lnTo>
                        <a:pt x="1110" y="793"/>
                      </a:lnTo>
                      <a:lnTo>
                        <a:pt x="1110" y="794"/>
                      </a:lnTo>
                      <a:lnTo>
                        <a:pt x="1109" y="794"/>
                      </a:lnTo>
                      <a:lnTo>
                        <a:pt x="1108" y="794"/>
                      </a:lnTo>
                      <a:lnTo>
                        <a:pt x="1108" y="793"/>
                      </a:lnTo>
                      <a:lnTo>
                        <a:pt x="1107" y="793"/>
                      </a:lnTo>
                      <a:lnTo>
                        <a:pt x="1107" y="791"/>
                      </a:lnTo>
                      <a:lnTo>
                        <a:pt x="1106" y="791"/>
                      </a:lnTo>
                      <a:lnTo>
                        <a:pt x="1106" y="793"/>
                      </a:lnTo>
                      <a:lnTo>
                        <a:pt x="1105" y="793"/>
                      </a:lnTo>
                      <a:lnTo>
                        <a:pt x="1105" y="791"/>
                      </a:lnTo>
                      <a:lnTo>
                        <a:pt x="1105" y="790"/>
                      </a:lnTo>
                      <a:lnTo>
                        <a:pt x="1106" y="789"/>
                      </a:lnTo>
                      <a:lnTo>
                        <a:pt x="1107" y="789"/>
                      </a:lnTo>
                      <a:lnTo>
                        <a:pt x="1108" y="789"/>
                      </a:lnTo>
                      <a:close/>
                      <a:moveTo>
                        <a:pt x="1095" y="980"/>
                      </a:moveTo>
                      <a:lnTo>
                        <a:pt x="1096" y="980"/>
                      </a:lnTo>
                      <a:lnTo>
                        <a:pt x="1096" y="979"/>
                      </a:lnTo>
                      <a:lnTo>
                        <a:pt x="1097" y="979"/>
                      </a:lnTo>
                      <a:lnTo>
                        <a:pt x="1097" y="980"/>
                      </a:lnTo>
                      <a:lnTo>
                        <a:pt x="1098" y="980"/>
                      </a:lnTo>
                      <a:lnTo>
                        <a:pt x="1097" y="980"/>
                      </a:lnTo>
                      <a:lnTo>
                        <a:pt x="1096" y="980"/>
                      </a:lnTo>
                      <a:lnTo>
                        <a:pt x="1095" y="980"/>
                      </a:lnTo>
                      <a:lnTo>
                        <a:pt x="1095" y="981"/>
                      </a:lnTo>
                      <a:lnTo>
                        <a:pt x="1096" y="981"/>
                      </a:lnTo>
                      <a:lnTo>
                        <a:pt x="1095" y="981"/>
                      </a:lnTo>
                      <a:lnTo>
                        <a:pt x="1095" y="980"/>
                      </a:lnTo>
                      <a:lnTo>
                        <a:pt x="1096" y="980"/>
                      </a:lnTo>
                      <a:lnTo>
                        <a:pt x="1096" y="981"/>
                      </a:lnTo>
                      <a:lnTo>
                        <a:pt x="1096" y="982"/>
                      </a:lnTo>
                      <a:lnTo>
                        <a:pt x="1095" y="982"/>
                      </a:lnTo>
                      <a:lnTo>
                        <a:pt x="1095" y="983"/>
                      </a:lnTo>
                      <a:lnTo>
                        <a:pt x="1096" y="983"/>
                      </a:lnTo>
                      <a:lnTo>
                        <a:pt x="1096" y="982"/>
                      </a:lnTo>
                      <a:lnTo>
                        <a:pt x="1097" y="982"/>
                      </a:lnTo>
                      <a:lnTo>
                        <a:pt x="1096" y="982"/>
                      </a:lnTo>
                      <a:lnTo>
                        <a:pt x="1097" y="982"/>
                      </a:lnTo>
                      <a:lnTo>
                        <a:pt x="1096" y="982"/>
                      </a:lnTo>
                      <a:lnTo>
                        <a:pt x="1096" y="981"/>
                      </a:lnTo>
                      <a:lnTo>
                        <a:pt x="1097" y="981"/>
                      </a:lnTo>
                      <a:lnTo>
                        <a:pt x="1097" y="982"/>
                      </a:lnTo>
                      <a:lnTo>
                        <a:pt x="1098" y="982"/>
                      </a:lnTo>
                      <a:lnTo>
                        <a:pt x="1098" y="981"/>
                      </a:lnTo>
                      <a:lnTo>
                        <a:pt x="1099" y="981"/>
                      </a:lnTo>
                      <a:lnTo>
                        <a:pt x="1099" y="980"/>
                      </a:lnTo>
                      <a:lnTo>
                        <a:pt x="1100" y="980"/>
                      </a:lnTo>
                      <a:lnTo>
                        <a:pt x="1100" y="981"/>
                      </a:lnTo>
                      <a:lnTo>
                        <a:pt x="1099" y="982"/>
                      </a:lnTo>
                      <a:lnTo>
                        <a:pt x="1098" y="982"/>
                      </a:lnTo>
                      <a:lnTo>
                        <a:pt x="1097" y="982"/>
                      </a:lnTo>
                      <a:lnTo>
                        <a:pt x="1096" y="983"/>
                      </a:lnTo>
                      <a:lnTo>
                        <a:pt x="1097" y="983"/>
                      </a:lnTo>
                      <a:lnTo>
                        <a:pt x="1097" y="984"/>
                      </a:lnTo>
                      <a:lnTo>
                        <a:pt x="1098" y="984"/>
                      </a:lnTo>
                      <a:lnTo>
                        <a:pt x="1099" y="984"/>
                      </a:lnTo>
                      <a:lnTo>
                        <a:pt x="1096" y="984"/>
                      </a:lnTo>
                      <a:lnTo>
                        <a:pt x="1094" y="984"/>
                      </a:lnTo>
                      <a:lnTo>
                        <a:pt x="1094" y="983"/>
                      </a:lnTo>
                      <a:lnTo>
                        <a:pt x="1094" y="982"/>
                      </a:lnTo>
                      <a:lnTo>
                        <a:pt x="1094" y="980"/>
                      </a:lnTo>
                      <a:lnTo>
                        <a:pt x="1095" y="979"/>
                      </a:lnTo>
                      <a:lnTo>
                        <a:pt x="1095" y="980"/>
                      </a:lnTo>
                      <a:close/>
                      <a:moveTo>
                        <a:pt x="1136" y="758"/>
                      </a:moveTo>
                      <a:lnTo>
                        <a:pt x="1137" y="758"/>
                      </a:lnTo>
                      <a:lnTo>
                        <a:pt x="1138" y="758"/>
                      </a:lnTo>
                      <a:lnTo>
                        <a:pt x="1140" y="757"/>
                      </a:lnTo>
                      <a:lnTo>
                        <a:pt x="1141" y="758"/>
                      </a:lnTo>
                      <a:lnTo>
                        <a:pt x="1141" y="759"/>
                      </a:lnTo>
                      <a:lnTo>
                        <a:pt x="1142" y="759"/>
                      </a:lnTo>
                      <a:lnTo>
                        <a:pt x="1144" y="759"/>
                      </a:lnTo>
                      <a:lnTo>
                        <a:pt x="1146" y="759"/>
                      </a:lnTo>
                      <a:lnTo>
                        <a:pt x="1146" y="760"/>
                      </a:lnTo>
                      <a:lnTo>
                        <a:pt x="1145" y="760"/>
                      </a:lnTo>
                      <a:lnTo>
                        <a:pt x="1144" y="760"/>
                      </a:lnTo>
                      <a:lnTo>
                        <a:pt x="1142" y="760"/>
                      </a:lnTo>
                      <a:lnTo>
                        <a:pt x="1141" y="760"/>
                      </a:lnTo>
                      <a:lnTo>
                        <a:pt x="1140" y="760"/>
                      </a:lnTo>
                      <a:lnTo>
                        <a:pt x="1137" y="759"/>
                      </a:lnTo>
                      <a:lnTo>
                        <a:pt x="1136" y="759"/>
                      </a:lnTo>
                      <a:lnTo>
                        <a:pt x="1136" y="758"/>
                      </a:lnTo>
                      <a:lnTo>
                        <a:pt x="1135" y="758"/>
                      </a:lnTo>
                      <a:lnTo>
                        <a:pt x="1135" y="757"/>
                      </a:lnTo>
                      <a:lnTo>
                        <a:pt x="1134" y="757"/>
                      </a:lnTo>
                      <a:lnTo>
                        <a:pt x="1135" y="757"/>
                      </a:lnTo>
                      <a:lnTo>
                        <a:pt x="1136" y="757"/>
                      </a:lnTo>
                      <a:lnTo>
                        <a:pt x="1136" y="758"/>
                      </a:lnTo>
                      <a:close/>
                      <a:moveTo>
                        <a:pt x="1171" y="828"/>
                      </a:moveTo>
                      <a:lnTo>
                        <a:pt x="1172" y="828"/>
                      </a:lnTo>
                      <a:lnTo>
                        <a:pt x="1173" y="828"/>
                      </a:lnTo>
                      <a:lnTo>
                        <a:pt x="1173" y="829"/>
                      </a:lnTo>
                      <a:lnTo>
                        <a:pt x="1173" y="831"/>
                      </a:lnTo>
                      <a:lnTo>
                        <a:pt x="1174" y="831"/>
                      </a:lnTo>
                      <a:lnTo>
                        <a:pt x="1175" y="831"/>
                      </a:lnTo>
                      <a:lnTo>
                        <a:pt x="1176" y="831"/>
                      </a:lnTo>
                      <a:lnTo>
                        <a:pt x="1176" y="832"/>
                      </a:lnTo>
                      <a:lnTo>
                        <a:pt x="1176" y="833"/>
                      </a:lnTo>
                      <a:lnTo>
                        <a:pt x="1176" y="834"/>
                      </a:lnTo>
                      <a:lnTo>
                        <a:pt x="1175" y="833"/>
                      </a:lnTo>
                      <a:lnTo>
                        <a:pt x="1174" y="833"/>
                      </a:lnTo>
                      <a:lnTo>
                        <a:pt x="1173" y="832"/>
                      </a:lnTo>
                      <a:lnTo>
                        <a:pt x="1173" y="831"/>
                      </a:lnTo>
                      <a:lnTo>
                        <a:pt x="1173" y="829"/>
                      </a:lnTo>
                      <a:lnTo>
                        <a:pt x="1172" y="829"/>
                      </a:lnTo>
                      <a:lnTo>
                        <a:pt x="1171" y="829"/>
                      </a:lnTo>
                      <a:lnTo>
                        <a:pt x="1170" y="829"/>
                      </a:lnTo>
                      <a:lnTo>
                        <a:pt x="1169" y="829"/>
                      </a:lnTo>
                      <a:lnTo>
                        <a:pt x="1168" y="829"/>
                      </a:lnTo>
                      <a:lnTo>
                        <a:pt x="1168" y="831"/>
                      </a:lnTo>
                      <a:lnTo>
                        <a:pt x="1168" y="829"/>
                      </a:lnTo>
                      <a:lnTo>
                        <a:pt x="1169" y="829"/>
                      </a:lnTo>
                      <a:lnTo>
                        <a:pt x="1169" y="828"/>
                      </a:lnTo>
                      <a:lnTo>
                        <a:pt x="1170" y="828"/>
                      </a:lnTo>
                      <a:lnTo>
                        <a:pt x="1171" y="828"/>
                      </a:lnTo>
                      <a:lnTo>
                        <a:pt x="1171" y="827"/>
                      </a:lnTo>
                      <a:lnTo>
                        <a:pt x="1171" y="828"/>
                      </a:lnTo>
                      <a:close/>
                      <a:moveTo>
                        <a:pt x="1351" y="1163"/>
                      </a:moveTo>
                      <a:lnTo>
                        <a:pt x="1352" y="1163"/>
                      </a:lnTo>
                      <a:lnTo>
                        <a:pt x="1353" y="1163"/>
                      </a:lnTo>
                      <a:lnTo>
                        <a:pt x="1352" y="1163"/>
                      </a:lnTo>
                      <a:lnTo>
                        <a:pt x="1352" y="1164"/>
                      </a:lnTo>
                      <a:lnTo>
                        <a:pt x="1353" y="1164"/>
                      </a:lnTo>
                      <a:lnTo>
                        <a:pt x="1353" y="1166"/>
                      </a:lnTo>
                      <a:lnTo>
                        <a:pt x="1353" y="1167"/>
                      </a:lnTo>
                      <a:lnTo>
                        <a:pt x="1352" y="1167"/>
                      </a:lnTo>
                      <a:lnTo>
                        <a:pt x="1351" y="1167"/>
                      </a:lnTo>
                      <a:lnTo>
                        <a:pt x="1351" y="1166"/>
                      </a:lnTo>
                      <a:lnTo>
                        <a:pt x="1351" y="1164"/>
                      </a:lnTo>
                      <a:lnTo>
                        <a:pt x="1350" y="1164"/>
                      </a:lnTo>
                      <a:lnTo>
                        <a:pt x="1351" y="1164"/>
                      </a:lnTo>
                      <a:lnTo>
                        <a:pt x="1351" y="1163"/>
                      </a:lnTo>
                      <a:lnTo>
                        <a:pt x="1350" y="1163"/>
                      </a:lnTo>
                      <a:lnTo>
                        <a:pt x="1350" y="1164"/>
                      </a:lnTo>
                      <a:lnTo>
                        <a:pt x="1349" y="1164"/>
                      </a:lnTo>
                      <a:lnTo>
                        <a:pt x="1348" y="1163"/>
                      </a:lnTo>
                      <a:lnTo>
                        <a:pt x="1348" y="1162"/>
                      </a:lnTo>
                      <a:lnTo>
                        <a:pt x="1349" y="1161"/>
                      </a:lnTo>
                      <a:lnTo>
                        <a:pt x="1350" y="1161"/>
                      </a:lnTo>
                      <a:lnTo>
                        <a:pt x="1351" y="1162"/>
                      </a:lnTo>
                      <a:lnTo>
                        <a:pt x="1351" y="1163"/>
                      </a:lnTo>
                      <a:close/>
                      <a:moveTo>
                        <a:pt x="1336" y="1016"/>
                      </a:moveTo>
                      <a:lnTo>
                        <a:pt x="1336" y="1017"/>
                      </a:lnTo>
                      <a:lnTo>
                        <a:pt x="1335" y="1017"/>
                      </a:lnTo>
                      <a:lnTo>
                        <a:pt x="1335" y="1018"/>
                      </a:lnTo>
                      <a:lnTo>
                        <a:pt x="1334" y="1018"/>
                      </a:lnTo>
                      <a:lnTo>
                        <a:pt x="1335" y="1019"/>
                      </a:lnTo>
                      <a:lnTo>
                        <a:pt x="1336" y="1019"/>
                      </a:lnTo>
                      <a:lnTo>
                        <a:pt x="1337" y="1019"/>
                      </a:lnTo>
                      <a:lnTo>
                        <a:pt x="1338" y="1020"/>
                      </a:lnTo>
                      <a:lnTo>
                        <a:pt x="1339" y="1020"/>
                      </a:lnTo>
                      <a:lnTo>
                        <a:pt x="1338" y="1020"/>
                      </a:lnTo>
                      <a:lnTo>
                        <a:pt x="1337" y="1020"/>
                      </a:lnTo>
                      <a:lnTo>
                        <a:pt x="1336" y="1020"/>
                      </a:lnTo>
                      <a:lnTo>
                        <a:pt x="1336" y="1021"/>
                      </a:lnTo>
                      <a:lnTo>
                        <a:pt x="1335" y="1021"/>
                      </a:lnTo>
                      <a:lnTo>
                        <a:pt x="1334" y="1021"/>
                      </a:lnTo>
                      <a:lnTo>
                        <a:pt x="1332" y="1021"/>
                      </a:lnTo>
                      <a:lnTo>
                        <a:pt x="1332" y="1020"/>
                      </a:lnTo>
                      <a:lnTo>
                        <a:pt x="1334" y="1020"/>
                      </a:lnTo>
                      <a:lnTo>
                        <a:pt x="1334" y="1017"/>
                      </a:lnTo>
                      <a:lnTo>
                        <a:pt x="1334" y="1016"/>
                      </a:lnTo>
                      <a:lnTo>
                        <a:pt x="1335" y="1016"/>
                      </a:lnTo>
                      <a:lnTo>
                        <a:pt x="1335" y="1014"/>
                      </a:lnTo>
                      <a:lnTo>
                        <a:pt x="1336" y="1014"/>
                      </a:lnTo>
                      <a:lnTo>
                        <a:pt x="1336" y="1015"/>
                      </a:lnTo>
                      <a:lnTo>
                        <a:pt x="1337" y="1015"/>
                      </a:lnTo>
                      <a:lnTo>
                        <a:pt x="1337" y="1016"/>
                      </a:lnTo>
                      <a:lnTo>
                        <a:pt x="1336" y="1016"/>
                      </a:lnTo>
                      <a:close/>
                      <a:moveTo>
                        <a:pt x="1027" y="990"/>
                      </a:moveTo>
                      <a:lnTo>
                        <a:pt x="1028" y="990"/>
                      </a:lnTo>
                      <a:lnTo>
                        <a:pt x="1027" y="990"/>
                      </a:lnTo>
                      <a:lnTo>
                        <a:pt x="1027" y="991"/>
                      </a:lnTo>
                      <a:lnTo>
                        <a:pt x="1026" y="991"/>
                      </a:lnTo>
                      <a:lnTo>
                        <a:pt x="1025" y="992"/>
                      </a:lnTo>
                      <a:lnTo>
                        <a:pt x="1026" y="991"/>
                      </a:lnTo>
                      <a:lnTo>
                        <a:pt x="1027" y="991"/>
                      </a:lnTo>
                      <a:lnTo>
                        <a:pt x="1028" y="991"/>
                      </a:lnTo>
                      <a:lnTo>
                        <a:pt x="1029" y="991"/>
                      </a:lnTo>
                      <a:lnTo>
                        <a:pt x="1029" y="990"/>
                      </a:lnTo>
                      <a:lnTo>
                        <a:pt x="1030" y="991"/>
                      </a:lnTo>
                      <a:lnTo>
                        <a:pt x="1031" y="990"/>
                      </a:lnTo>
                      <a:lnTo>
                        <a:pt x="1032" y="990"/>
                      </a:lnTo>
                      <a:lnTo>
                        <a:pt x="1031" y="990"/>
                      </a:lnTo>
                      <a:lnTo>
                        <a:pt x="1031" y="991"/>
                      </a:lnTo>
                      <a:lnTo>
                        <a:pt x="1030" y="991"/>
                      </a:lnTo>
                      <a:lnTo>
                        <a:pt x="1029" y="991"/>
                      </a:lnTo>
                      <a:lnTo>
                        <a:pt x="1028" y="992"/>
                      </a:lnTo>
                      <a:lnTo>
                        <a:pt x="1027" y="992"/>
                      </a:lnTo>
                      <a:lnTo>
                        <a:pt x="1026" y="992"/>
                      </a:lnTo>
                      <a:lnTo>
                        <a:pt x="1025" y="992"/>
                      </a:lnTo>
                      <a:lnTo>
                        <a:pt x="1025" y="993"/>
                      </a:lnTo>
                      <a:lnTo>
                        <a:pt x="1024" y="993"/>
                      </a:lnTo>
                      <a:lnTo>
                        <a:pt x="1022" y="992"/>
                      </a:lnTo>
                      <a:lnTo>
                        <a:pt x="1021" y="992"/>
                      </a:lnTo>
                      <a:lnTo>
                        <a:pt x="1020" y="992"/>
                      </a:lnTo>
                      <a:lnTo>
                        <a:pt x="1020" y="991"/>
                      </a:lnTo>
                      <a:lnTo>
                        <a:pt x="1021" y="991"/>
                      </a:lnTo>
                      <a:lnTo>
                        <a:pt x="1021" y="992"/>
                      </a:lnTo>
                      <a:lnTo>
                        <a:pt x="1021" y="991"/>
                      </a:lnTo>
                      <a:lnTo>
                        <a:pt x="1022" y="991"/>
                      </a:lnTo>
                      <a:lnTo>
                        <a:pt x="1024" y="991"/>
                      </a:lnTo>
                      <a:lnTo>
                        <a:pt x="1025" y="990"/>
                      </a:lnTo>
                      <a:lnTo>
                        <a:pt x="1026" y="990"/>
                      </a:lnTo>
                      <a:lnTo>
                        <a:pt x="1027" y="990"/>
                      </a:lnTo>
                      <a:close/>
                      <a:moveTo>
                        <a:pt x="1166" y="975"/>
                      </a:moveTo>
                      <a:lnTo>
                        <a:pt x="1167" y="976"/>
                      </a:lnTo>
                      <a:lnTo>
                        <a:pt x="1167" y="977"/>
                      </a:lnTo>
                      <a:lnTo>
                        <a:pt x="1166" y="977"/>
                      </a:lnTo>
                      <a:lnTo>
                        <a:pt x="1166" y="978"/>
                      </a:lnTo>
                      <a:lnTo>
                        <a:pt x="1167" y="978"/>
                      </a:lnTo>
                      <a:lnTo>
                        <a:pt x="1166" y="978"/>
                      </a:lnTo>
                      <a:lnTo>
                        <a:pt x="1166" y="977"/>
                      </a:lnTo>
                      <a:lnTo>
                        <a:pt x="1166" y="976"/>
                      </a:lnTo>
                      <a:lnTo>
                        <a:pt x="1164" y="976"/>
                      </a:lnTo>
                      <a:lnTo>
                        <a:pt x="1163" y="976"/>
                      </a:lnTo>
                      <a:lnTo>
                        <a:pt x="1162" y="976"/>
                      </a:lnTo>
                      <a:lnTo>
                        <a:pt x="1163" y="975"/>
                      </a:lnTo>
                      <a:lnTo>
                        <a:pt x="1163" y="974"/>
                      </a:lnTo>
                      <a:lnTo>
                        <a:pt x="1163" y="973"/>
                      </a:lnTo>
                      <a:lnTo>
                        <a:pt x="1163" y="971"/>
                      </a:lnTo>
                      <a:lnTo>
                        <a:pt x="1164" y="970"/>
                      </a:lnTo>
                      <a:lnTo>
                        <a:pt x="1164" y="971"/>
                      </a:lnTo>
                      <a:lnTo>
                        <a:pt x="1166" y="971"/>
                      </a:lnTo>
                      <a:lnTo>
                        <a:pt x="1166" y="973"/>
                      </a:lnTo>
                      <a:lnTo>
                        <a:pt x="1167" y="974"/>
                      </a:lnTo>
                      <a:lnTo>
                        <a:pt x="1166" y="974"/>
                      </a:lnTo>
                      <a:lnTo>
                        <a:pt x="1166" y="975"/>
                      </a:lnTo>
                      <a:close/>
                      <a:moveTo>
                        <a:pt x="1020" y="977"/>
                      </a:moveTo>
                      <a:lnTo>
                        <a:pt x="1019" y="978"/>
                      </a:lnTo>
                      <a:lnTo>
                        <a:pt x="1019" y="979"/>
                      </a:lnTo>
                      <a:lnTo>
                        <a:pt x="1019" y="978"/>
                      </a:lnTo>
                      <a:lnTo>
                        <a:pt x="1019" y="979"/>
                      </a:lnTo>
                      <a:lnTo>
                        <a:pt x="1018" y="979"/>
                      </a:lnTo>
                      <a:lnTo>
                        <a:pt x="1017" y="980"/>
                      </a:lnTo>
                      <a:lnTo>
                        <a:pt x="1017" y="981"/>
                      </a:lnTo>
                      <a:lnTo>
                        <a:pt x="1016" y="981"/>
                      </a:lnTo>
                      <a:lnTo>
                        <a:pt x="1015" y="981"/>
                      </a:lnTo>
                      <a:lnTo>
                        <a:pt x="1014" y="981"/>
                      </a:lnTo>
                      <a:lnTo>
                        <a:pt x="1013" y="981"/>
                      </a:lnTo>
                      <a:lnTo>
                        <a:pt x="1013" y="982"/>
                      </a:lnTo>
                      <a:lnTo>
                        <a:pt x="1012" y="982"/>
                      </a:lnTo>
                      <a:lnTo>
                        <a:pt x="1012" y="981"/>
                      </a:lnTo>
                      <a:lnTo>
                        <a:pt x="1011" y="981"/>
                      </a:lnTo>
                      <a:lnTo>
                        <a:pt x="1012" y="980"/>
                      </a:lnTo>
                      <a:lnTo>
                        <a:pt x="1012" y="981"/>
                      </a:lnTo>
                      <a:lnTo>
                        <a:pt x="1012" y="980"/>
                      </a:lnTo>
                      <a:lnTo>
                        <a:pt x="1012" y="981"/>
                      </a:lnTo>
                      <a:lnTo>
                        <a:pt x="1013" y="981"/>
                      </a:lnTo>
                      <a:lnTo>
                        <a:pt x="1013" y="980"/>
                      </a:lnTo>
                      <a:lnTo>
                        <a:pt x="1013" y="979"/>
                      </a:lnTo>
                      <a:lnTo>
                        <a:pt x="1014" y="979"/>
                      </a:lnTo>
                      <a:lnTo>
                        <a:pt x="1014" y="978"/>
                      </a:lnTo>
                      <a:lnTo>
                        <a:pt x="1015" y="978"/>
                      </a:lnTo>
                      <a:lnTo>
                        <a:pt x="1015" y="979"/>
                      </a:lnTo>
                      <a:lnTo>
                        <a:pt x="1016" y="979"/>
                      </a:lnTo>
                      <a:lnTo>
                        <a:pt x="1016" y="980"/>
                      </a:lnTo>
                      <a:lnTo>
                        <a:pt x="1016" y="979"/>
                      </a:lnTo>
                      <a:lnTo>
                        <a:pt x="1017" y="979"/>
                      </a:lnTo>
                      <a:lnTo>
                        <a:pt x="1018" y="979"/>
                      </a:lnTo>
                      <a:lnTo>
                        <a:pt x="1018" y="978"/>
                      </a:lnTo>
                      <a:lnTo>
                        <a:pt x="1019" y="978"/>
                      </a:lnTo>
                      <a:lnTo>
                        <a:pt x="1019" y="977"/>
                      </a:lnTo>
                      <a:lnTo>
                        <a:pt x="1020" y="977"/>
                      </a:lnTo>
                      <a:close/>
                      <a:moveTo>
                        <a:pt x="1427" y="1095"/>
                      </a:moveTo>
                      <a:lnTo>
                        <a:pt x="1428" y="1095"/>
                      </a:lnTo>
                      <a:lnTo>
                        <a:pt x="1429" y="1095"/>
                      </a:lnTo>
                      <a:lnTo>
                        <a:pt x="1430" y="1096"/>
                      </a:lnTo>
                      <a:lnTo>
                        <a:pt x="1429" y="1096"/>
                      </a:lnTo>
                      <a:lnTo>
                        <a:pt x="1428" y="1096"/>
                      </a:lnTo>
                      <a:lnTo>
                        <a:pt x="1427" y="1096"/>
                      </a:lnTo>
                      <a:lnTo>
                        <a:pt x="1427" y="1097"/>
                      </a:lnTo>
                      <a:lnTo>
                        <a:pt x="1426" y="1097"/>
                      </a:lnTo>
                      <a:lnTo>
                        <a:pt x="1425" y="1098"/>
                      </a:lnTo>
                      <a:lnTo>
                        <a:pt x="1425" y="1097"/>
                      </a:lnTo>
                      <a:lnTo>
                        <a:pt x="1425" y="1098"/>
                      </a:lnTo>
                      <a:lnTo>
                        <a:pt x="1424" y="1098"/>
                      </a:lnTo>
                      <a:lnTo>
                        <a:pt x="1424" y="1097"/>
                      </a:lnTo>
                      <a:lnTo>
                        <a:pt x="1424" y="1098"/>
                      </a:lnTo>
                      <a:lnTo>
                        <a:pt x="1422" y="1098"/>
                      </a:lnTo>
                      <a:lnTo>
                        <a:pt x="1421" y="1099"/>
                      </a:lnTo>
                      <a:lnTo>
                        <a:pt x="1422" y="1099"/>
                      </a:lnTo>
                      <a:lnTo>
                        <a:pt x="1421" y="1099"/>
                      </a:lnTo>
                      <a:lnTo>
                        <a:pt x="1421" y="1098"/>
                      </a:lnTo>
                      <a:lnTo>
                        <a:pt x="1421" y="1097"/>
                      </a:lnTo>
                      <a:lnTo>
                        <a:pt x="1422" y="1097"/>
                      </a:lnTo>
                      <a:lnTo>
                        <a:pt x="1425" y="1096"/>
                      </a:lnTo>
                      <a:lnTo>
                        <a:pt x="1426" y="1096"/>
                      </a:lnTo>
                      <a:lnTo>
                        <a:pt x="1426" y="1095"/>
                      </a:lnTo>
                      <a:lnTo>
                        <a:pt x="1426" y="1094"/>
                      </a:lnTo>
                      <a:lnTo>
                        <a:pt x="1427" y="1095"/>
                      </a:lnTo>
                      <a:close/>
                      <a:moveTo>
                        <a:pt x="1340" y="1171"/>
                      </a:moveTo>
                      <a:lnTo>
                        <a:pt x="1340" y="1170"/>
                      </a:lnTo>
                      <a:lnTo>
                        <a:pt x="1340" y="1171"/>
                      </a:lnTo>
                      <a:lnTo>
                        <a:pt x="1341" y="1171"/>
                      </a:lnTo>
                      <a:lnTo>
                        <a:pt x="1340" y="1171"/>
                      </a:lnTo>
                      <a:lnTo>
                        <a:pt x="1340" y="1172"/>
                      </a:lnTo>
                      <a:lnTo>
                        <a:pt x="1341" y="1172"/>
                      </a:lnTo>
                      <a:lnTo>
                        <a:pt x="1341" y="1173"/>
                      </a:lnTo>
                      <a:lnTo>
                        <a:pt x="1341" y="1174"/>
                      </a:lnTo>
                      <a:lnTo>
                        <a:pt x="1340" y="1174"/>
                      </a:lnTo>
                      <a:lnTo>
                        <a:pt x="1341" y="1174"/>
                      </a:lnTo>
                      <a:lnTo>
                        <a:pt x="1340" y="1174"/>
                      </a:lnTo>
                      <a:lnTo>
                        <a:pt x="1340" y="1175"/>
                      </a:lnTo>
                      <a:lnTo>
                        <a:pt x="1339" y="1176"/>
                      </a:lnTo>
                      <a:lnTo>
                        <a:pt x="1338" y="1176"/>
                      </a:lnTo>
                      <a:lnTo>
                        <a:pt x="1338" y="1175"/>
                      </a:lnTo>
                      <a:lnTo>
                        <a:pt x="1337" y="1175"/>
                      </a:lnTo>
                      <a:lnTo>
                        <a:pt x="1338" y="1174"/>
                      </a:lnTo>
                      <a:lnTo>
                        <a:pt x="1338" y="1173"/>
                      </a:lnTo>
                      <a:lnTo>
                        <a:pt x="1339" y="1173"/>
                      </a:lnTo>
                      <a:lnTo>
                        <a:pt x="1338" y="1172"/>
                      </a:lnTo>
                      <a:lnTo>
                        <a:pt x="1339" y="1172"/>
                      </a:lnTo>
                      <a:lnTo>
                        <a:pt x="1340" y="1172"/>
                      </a:lnTo>
                      <a:lnTo>
                        <a:pt x="1339" y="1171"/>
                      </a:lnTo>
                      <a:lnTo>
                        <a:pt x="1340" y="1170"/>
                      </a:lnTo>
                      <a:lnTo>
                        <a:pt x="1340" y="1171"/>
                      </a:lnTo>
                      <a:close/>
                      <a:moveTo>
                        <a:pt x="1107" y="798"/>
                      </a:moveTo>
                      <a:lnTo>
                        <a:pt x="1107" y="799"/>
                      </a:lnTo>
                      <a:lnTo>
                        <a:pt x="1108" y="799"/>
                      </a:lnTo>
                      <a:lnTo>
                        <a:pt x="1108" y="800"/>
                      </a:lnTo>
                      <a:lnTo>
                        <a:pt x="1109" y="800"/>
                      </a:lnTo>
                      <a:lnTo>
                        <a:pt x="1110" y="800"/>
                      </a:lnTo>
                      <a:lnTo>
                        <a:pt x="1109" y="800"/>
                      </a:lnTo>
                      <a:lnTo>
                        <a:pt x="1108" y="800"/>
                      </a:lnTo>
                      <a:lnTo>
                        <a:pt x="1107" y="800"/>
                      </a:lnTo>
                      <a:lnTo>
                        <a:pt x="1108" y="800"/>
                      </a:lnTo>
                      <a:lnTo>
                        <a:pt x="1109" y="801"/>
                      </a:lnTo>
                      <a:lnTo>
                        <a:pt x="1108" y="801"/>
                      </a:lnTo>
                      <a:lnTo>
                        <a:pt x="1107" y="801"/>
                      </a:lnTo>
                      <a:lnTo>
                        <a:pt x="1107" y="800"/>
                      </a:lnTo>
                      <a:lnTo>
                        <a:pt x="1106" y="800"/>
                      </a:lnTo>
                      <a:lnTo>
                        <a:pt x="1106" y="801"/>
                      </a:lnTo>
                      <a:lnTo>
                        <a:pt x="1106" y="802"/>
                      </a:lnTo>
                      <a:lnTo>
                        <a:pt x="1105" y="801"/>
                      </a:lnTo>
                      <a:lnTo>
                        <a:pt x="1105" y="800"/>
                      </a:lnTo>
                      <a:lnTo>
                        <a:pt x="1104" y="800"/>
                      </a:lnTo>
                      <a:lnTo>
                        <a:pt x="1104" y="799"/>
                      </a:lnTo>
                      <a:lnTo>
                        <a:pt x="1103" y="799"/>
                      </a:lnTo>
                      <a:lnTo>
                        <a:pt x="1102" y="799"/>
                      </a:lnTo>
                      <a:lnTo>
                        <a:pt x="1103" y="799"/>
                      </a:lnTo>
                      <a:lnTo>
                        <a:pt x="1104" y="799"/>
                      </a:lnTo>
                      <a:lnTo>
                        <a:pt x="1104" y="798"/>
                      </a:lnTo>
                      <a:lnTo>
                        <a:pt x="1104" y="799"/>
                      </a:lnTo>
                      <a:lnTo>
                        <a:pt x="1105" y="799"/>
                      </a:lnTo>
                      <a:lnTo>
                        <a:pt x="1106" y="800"/>
                      </a:lnTo>
                      <a:lnTo>
                        <a:pt x="1106" y="799"/>
                      </a:lnTo>
                      <a:lnTo>
                        <a:pt x="1105" y="799"/>
                      </a:lnTo>
                      <a:lnTo>
                        <a:pt x="1104" y="799"/>
                      </a:lnTo>
                      <a:lnTo>
                        <a:pt x="1104" y="798"/>
                      </a:lnTo>
                      <a:lnTo>
                        <a:pt x="1105" y="798"/>
                      </a:lnTo>
                      <a:lnTo>
                        <a:pt x="1105" y="797"/>
                      </a:lnTo>
                      <a:lnTo>
                        <a:pt x="1106" y="797"/>
                      </a:lnTo>
                      <a:lnTo>
                        <a:pt x="1107" y="798"/>
                      </a:lnTo>
                      <a:close/>
                      <a:moveTo>
                        <a:pt x="1077" y="966"/>
                      </a:moveTo>
                      <a:lnTo>
                        <a:pt x="1077" y="967"/>
                      </a:lnTo>
                      <a:lnTo>
                        <a:pt x="1077" y="966"/>
                      </a:lnTo>
                      <a:lnTo>
                        <a:pt x="1076" y="962"/>
                      </a:lnTo>
                      <a:lnTo>
                        <a:pt x="1076" y="961"/>
                      </a:lnTo>
                      <a:lnTo>
                        <a:pt x="1077" y="960"/>
                      </a:lnTo>
                      <a:lnTo>
                        <a:pt x="1078" y="960"/>
                      </a:lnTo>
                      <a:lnTo>
                        <a:pt x="1078" y="958"/>
                      </a:lnTo>
                      <a:lnTo>
                        <a:pt x="1079" y="958"/>
                      </a:lnTo>
                      <a:lnTo>
                        <a:pt x="1078" y="965"/>
                      </a:lnTo>
                      <a:lnTo>
                        <a:pt x="1077" y="966"/>
                      </a:lnTo>
                      <a:close/>
                      <a:moveTo>
                        <a:pt x="1222" y="990"/>
                      </a:moveTo>
                      <a:lnTo>
                        <a:pt x="1223" y="990"/>
                      </a:lnTo>
                      <a:lnTo>
                        <a:pt x="1225" y="991"/>
                      </a:lnTo>
                      <a:lnTo>
                        <a:pt x="1225" y="992"/>
                      </a:lnTo>
                      <a:lnTo>
                        <a:pt x="1226" y="993"/>
                      </a:lnTo>
                      <a:lnTo>
                        <a:pt x="1226" y="994"/>
                      </a:lnTo>
                      <a:lnTo>
                        <a:pt x="1226" y="995"/>
                      </a:lnTo>
                      <a:lnTo>
                        <a:pt x="1225" y="995"/>
                      </a:lnTo>
                      <a:lnTo>
                        <a:pt x="1225" y="994"/>
                      </a:lnTo>
                      <a:lnTo>
                        <a:pt x="1224" y="994"/>
                      </a:lnTo>
                      <a:lnTo>
                        <a:pt x="1225" y="993"/>
                      </a:lnTo>
                      <a:lnTo>
                        <a:pt x="1224" y="993"/>
                      </a:lnTo>
                      <a:lnTo>
                        <a:pt x="1224" y="994"/>
                      </a:lnTo>
                      <a:lnTo>
                        <a:pt x="1224" y="993"/>
                      </a:lnTo>
                      <a:lnTo>
                        <a:pt x="1224" y="992"/>
                      </a:lnTo>
                      <a:lnTo>
                        <a:pt x="1224" y="993"/>
                      </a:lnTo>
                      <a:lnTo>
                        <a:pt x="1223" y="993"/>
                      </a:lnTo>
                      <a:lnTo>
                        <a:pt x="1223" y="994"/>
                      </a:lnTo>
                      <a:lnTo>
                        <a:pt x="1223" y="993"/>
                      </a:lnTo>
                      <a:lnTo>
                        <a:pt x="1223" y="994"/>
                      </a:lnTo>
                      <a:lnTo>
                        <a:pt x="1222" y="993"/>
                      </a:lnTo>
                      <a:lnTo>
                        <a:pt x="1223" y="993"/>
                      </a:lnTo>
                      <a:lnTo>
                        <a:pt x="1223" y="992"/>
                      </a:lnTo>
                      <a:lnTo>
                        <a:pt x="1222" y="992"/>
                      </a:lnTo>
                      <a:lnTo>
                        <a:pt x="1222" y="991"/>
                      </a:lnTo>
                      <a:lnTo>
                        <a:pt x="1221" y="992"/>
                      </a:lnTo>
                      <a:lnTo>
                        <a:pt x="1221" y="991"/>
                      </a:lnTo>
                      <a:lnTo>
                        <a:pt x="1222" y="991"/>
                      </a:lnTo>
                      <a:lnTo>
                        <a:pt x="1222" y="990"/>
                      </a:lnTo>
                      <a:close/>
                      <a:moveTo>
                        <a:pt x="1303" y="1224"/>
                      </a:moveTo>
                      <a:lnTo>
                        <a:pt x="1304" y="1225"/>
                      </a:lnTo>
                      <a:lnTo>
                        <a:pt x="1303" y="1224"/>
                      </a:lnTo>
                      <a:lnTo>
                        <a:pt x="1303" y="1225"/>
                      </a:lnTo>
                      <a:lnTo>
                        <a:pt x="1302" y="1225"/>
                      </a:lnTo>
                      <a:lnTo>
                        <a:pt x="1301" y="1226"/>
                      </a:lnTo>
                      <a:lnTo>
                        <a:pt x="1301" y="1227"/>
                      </a:lnTo>
                      <a:lnTo>
                        <a:pt x="1300" y="1228"/>
                      </a:lnTo>
                      <a:lnTo>
                        <a:pt x="1300" y="1230"/>
                      </a:lnTo>
                      <a:lnTo>
                        <a:pt x="1299" y="1230"/>
                      </a:lnTo>
                      <a:lnTo>
                        <a:pt x="1299" y="1231"/>
                      </a:lnTo>
                      <a:lnTo>
                        <a:pt x="1298" y="1231"/>
                      </a:lnTo>
                      <a:lnTo>
                        <a:pt x="1298" y="1232"/>
                      </a:lnTo>
                      <a:lnTo>
                        <a:pt x="1297" y="1233"/>
                      </a:lnTo>
                      <a:lnTo>
                        <a:pt x="1297" y="1234"/>
                      </a:lnTo>
                      <a:lnTo>
                        <a:pt x="1296" y="1234"/>
                      </a:lnTo>
                      <a:lnTo>
                        <a:pt x="1297" y="1235"/>
                      </a:lnTo>
                      <a:lnTo>
                        <a:pt x="1298" y="1234"/>
                      </a:lnTo>
                      <a:lnTo>
                        <a:pt x="1298" y="1233"/>
                      </a:lnTo>
                      <a:lnTo>
                        <a:pt x="1299" y="1233"/>
                      </a:lnTo>
                      <a:lnTo>
                        <a:pt x="1299" y="1232"/>
                      </a:lnTo>
                      <a:lnTo>
                        <a:pt x="1299" y="1231"/>
                      </a:lnTo>
                      <a:lnTo>
                        <a:pt x="1300" y="1231"/>
                      </a:lnTo>
                      <a:lnTo>
                        <a:pt x="1300" y="1230"/>
                      </a:lnTo>
                      <a:lnTo>
                        <a:pt x="1301" y="1230"/>
                      </a:lnTo>
                      <a:lnTo>
                        <a:pt x="1301" y="1228"/>
                      </a:lnTo>
                      <a:lnTo>
                        <a:pt x="1302" y="1228"/>
                      </a:lnTo>
                      <a:lnTo>
                        <a:pt x="1302" y="1227"/>
                      </a:lnTo>
                      <a:lnTo>
                        <a:pt x="1303" y="1226"/>
                      </a:lnTo>
                      <a:lnTo>
                        <a:pt x="1303" y="1225"/>
                      </a:lnTo>
                      <a:lnTo>
                        <a:pt x="1304" y="1225"/>
                      </a:lnTo>
                      <a:lnTo>
                        <a:pt x="1304" y="1226"/>
                      </a:lnTo>
                      <a:lnTo>
                        <a:pt x="1303" y="1227"/>
                      </a:lnTo>
                      <a:lnTo>
                        <a:pt x="1302" y="1228"/>
                      </a:lnTo>
                      <a:lnTo>
                        <a:pt x="1301" y="1230"/>
                      </a:lnTo>
                      <a:lnTo>
                        <a:pt x="1300" y="1231"/>
                      </a:lnTo>
                      <a:lnTo>
                        <a:pt x="1300" y="1232"/>
                      </a:lnTo>
                      <a:lnTo>
                        <a:pt x="1299" y="1233"/>
                      </a:lnTo>
                      <a:lnTo>
                        <a:pt x="1298" y="1234"/>
                      </a:lnTo>
                      <a:lnTo>
                        <a:pt x="1298" y="1235"/>
                      </a:lnTo>
                      <a:lnTo>
                        <a:pt x="1297" y="1236"/>
                      </a:lnTo>
                      <a:lnTo>
                        <a:pt x="1297" y="1237"/>
                      </a:lnTo>
                      <a:lnTo>
                        <a:pt x="1296" y="1238"/>
                      </a:lnTo>
                      <a:lnTo>
                        <a:pt x="1296" y="1237"/>
                      </a:lnTo>
                      <a:lnTo>
                        <a:pt x="1296" y="1236"/>
                      </a:lnTo>
                      <a:lnTo>
                        <a:pt x="1297" y="1236"/>
                      </a:lnTo>
                      <a:lnTo>
                        <a:pt x="1297" y="1235"/>
                      </a:lnTo>
                      <a:lnTo>
                        <a:pt x="1296" y="1234"/>
                      </a:lnTo>
                      <a:lnTo>
                        <a:pt x="1296" y="1233"/>
                      </a:lnTo>
                      <a:lnTo>
                        <a:pt x="1297" y="1233"/>
                      </a:lnTo>
                      <a:lnTo>
                        <a:pt x="1299" y="1230"/>
                      </a:lnTo>
                      <a:lnTo>
                        <a:pt x="1299" y="1228"/>
                      </a:lnTo>
                      <a:lnTo>
                        <a:pt x="1300" y="1228"/>
                      </a:lnTo>
                      <a:lnTo>
                        <a:pt x="1301" y="1227"/>
                      </a:lnTo>
                      <a:lnTo>
                        <a:pt x="1301" y="1226"/>
                      </a:lnTo>
                      <a:lnTo>
                        <a:pt x="1303" y="1224"/>
                      </a:lnTo>
                      <a:close/>
                      <a:moveTo>
                        <a:pt x="1066" y="925"/>
                      </a:moveTo>
                      <a:lnTo>
                        <a:pt x="1067" y="925"/>
                      </a:lnTo>
                      <a:lnTo>
                        <a:pt x="1067" y="926"/>
                      </a:lnTo>
                      <a:lnTo>
                        <a:pt x="1068" y="926"/>
                      </a:lnTo>
                      <a:lnTo>
                        <a:pt x="1068" y="927"/>
                      </a:lnTo>
                      <a:lnTo>
                        <a:pt x="1069" y="928"/>
                      </a:lnTo>
                      <a:lnTo>
                        <a:pt x="1069" y="929"/>
                      </a:lnTo>
                      <a:lnTo>
                        <a:pt x="1068" y="929"/>
                      </a:lnTo>
                      <a:lnTo>
                        <a:pt x="1068" y="930"/>
                      </a:lnTo>
                      <a:lnTo>
                        <a:pt x="1068" y="931"/>
                      </a:lnTo>
                      <a:lnTo>
                        <a:pt x="1067" y="931"/>
                      </a:lnTo>
                      <a:lnTo>
                        <a:pt x="1066" y="931"/>
                      </a:lnTo>
                      <a:lnTo>
                        <a:pt x="1067" y="931"/>
                      </a:lnTo>
                      <a:lnTo>
                        <a:pt x="1067" y="930"/>
                      </a:lnTo>
                      <a:lnTo>
                        <a:pt x="1067" y="929"/>
                      </a:lnTo>
                      <a:lnTo>
                        <a:pt x="1068" y="929"/>
                      </a:lnTo>
                      <a:lnTo>
                        <a:pt x="1068" y="928"/>
                      </a:lnTo>
                      <a:lnTo>
                        <a:pt x="1067" y="928"/>
                      </a:lnTo>
                      <a:lnTo>
                        <a:pt x="1068" y="928"/>
                      </a:lnTo>
                      <a:lnTo>
                        <a:pt x="1068" y="927"/>
                      </a:lnTo>
                      <a:lnTo>
                        <a:pt x="1067" y="927"/>
                      </a:lnTo>
                      <a:lnTo>
                        <a:pt x="1067" y="926"/>
                      </a:lnTo>
                      <a:lnTo>
                        <a:pt x="1067" y="927"/>
                      </a:lnTo>
                      <a:lnTo>
                        <a:pt x="1067" y="926"/>
                      </a:lnTo>
                      <a:lnTo>
                        <a:pt x="1066" y="926"/>
                      </a:lnTo>
                      <a:lnTo>
                        <a:pt x="1065" y="926"/>
                      </a:lnTo>
                      <a:lnTo>
                        <a:pt x="1065" y="925"/>
                      </a:lnTo>
                      <a:lnTo>
                        <a:pt x="1066" y="925"/>
                      </a:lnTo>
                      <a:lnTo>
                        <a:pt x="1065" y="925"/>
                      </a:lnTo>
                      <a:lnTo>
                        <a:pt x="1064" y="926"/>
                      </a:lnTo>
                      <a:lnTo>
                        <a:pt x="1065" y="926"/>
                      </a:lnTo>
                      <a:lnTo>
                        <a:pt x="1066" y="926"/>
                      </a:lnTo>
                      <a:lnTo>
                        <a:pt x="1066" y="927"/>
                      </a:lnTo>
                      <a:lnTo>
                        <a:pt x="1065" y="927"/>
                      </a:lnTo>
                      <a:lnTo>
                        <a:pt x="1065" y="926"/>
                      </a:lnTo>
                      <a:lnTo>
                        <a:pt x="1065" y="927"/>
                      </a:lnTo>
                      <a:lnTo>
                        <a:pt x="1064" y="927"/>
                      </a:lnTo>
                      <a:lnTo>
                        <a:pt x="1064" y="926"/>
                      </a:lnTo>
                      <a:lnTo>
                        <a:pt x="1064" y="925"/>
                      </a:lnTo>
                      <a:lnTo>
                        <a:pt x="1065" y="925"/>
                      </a:lnTo>
                      <a:lnTo>
                        <a:pt x="1065" y="924"/>
                      </a:lnTo>
                      <a:lnTo>
                        <a:pt x="1066" y="924"/>
                      </a:lnTo>
                      <a:lnTo>
                        <a:pt x="1066" y="925"/>
                      </a:lnTo>
                      <a:close/>
                      <a:moveTo>
                        <a:pt x="1502" y="1068"/>
                      </a:moveTo>
                      <a:lnTo>
                        <a:pt x="1502" y="1069"/>
                      </a:lnTo>
                      <a:lnTo>
                        <a:pt x="1500" y="1069"/>
                      </a:lnTo>
                      <a:lnTo>
                        <a:pt x="1500" y="1070"/>
                      </a:lnTo>
                      <a:lnTo>
                        <a:pt x="1499" y="1070"/>
                      </a:lnTo>
                      <a:lnTo>
                        <a:pt x="1499" y="1071"/>
                      </a:lnTo>
                      <a:lnTo>
                        <a:pt x="1497" y="1071"/>
                      </a:lnTo>
                      <a:lnTo>
                        <a:pt x="1497" y="1072"/>
                      </a:lnTo>
                      <a:lnTo>
                        <a:pt x="1496" y="1072"/>
                      </a:lnTo>
                      <a:lnTo>
                        <a:pt x="1496" y="1071"/>
                      </a:lnTo>
                      <a:lnTo>
                        <a:pt x="1495" y="1070"/>
                      </a:lnTo>
                      <a:lnTo>
                        <a:pt x="1496" y="1070"/>
                      </a:lnTo>
                      <a:lnTo>
                        <a:pt x="1496" y="1069"/>
                      </a:lnTo>
                      <a:lnTo>
                        <a:pt x="1497" y="1069"/>
                      </a:lnTo>
                      <a:lnTo>
                        <a:pt x="1497" y="1070"/>
                      </a:lnTo>
                      <a:lnTo>
                        <a:pt x="1498" y="1070"/>
                      </a:lnTo>
                      <a:lnTo>
                        <a:pt x="1498" y="1069"/>
                      </a:lnTo>
                      <a:lnTo>
                        <a:pt x="1499" y="1069"/>
                      </a:lnTo>
                      <a:lnTo>
                        <a:pt x="1499" y="1068"/>
                      </a:lnTo>
                      <a:lnTo>
                        <a:pt x="1500" y="1068"/>
                      </a:lnTo>
                      <a:lnTo>
                        <a:pt x="1500" y="1067"/>
                      </a:lnTo>
                      <a:lnTo>
                        <a:pt x="1502" y="1068"/>
                      </a:lnTo>
                      <a:close/>
                      <a:moveTo>
                        <a:pt x="1131" y="956"/>
                      </a:moveTo>
                      <a:lnTo>
                        <a:pt x="1131" y="957"/>
                      </a:lnTo>
                      <a:lnTo>
                        <a:pt x="1132" y="958"/>
                      </a:lnTo>
                      <a:lnTo>
                        <a:pt x="1132" y="960"/>
                      </a:lnTo>
                      <a:lnTo>
                        <a:pt x="1133" y="960"/>
                      </a:lnTo>
                      <a:lnTo>
                        <a:pt x="1132" y="960"/>
                      </a:lnTo>
                      <a:lnTo>
                        <a:pt x="1133" y="960"/>
                      </a:lnTo>
                      <a:lnTo>
                        <a:pt x="1132" y="960"/>
                      </a:lnTo>
                      <a:lnTo>
                        <a:pt x="1131" y="960"/>
                      </a:lnTo>
                      <a:lnTo>
                        <a:pt x="1131" y="961"/>
                      </a:lnTo>
                      <a:lnTo>
                        <a:pt x="1130" y="961"/>
                      </a:lnTo>
                      <a:lnTo>
                        <a:pt x="1130" y="962"/>
                      </a:lnTo>
                      <a:lnTo>
                        <a:pt x="1130" y="961"/>
                      </a:lnTo>
                      <a:lnTo>
                        <a:pt x="1130" y="960"/>
                      </a:lnTo>
                      <a:lnTo>
                        <a:pt x="1129" y="960"/>
                      </a:lnTo>
                      <a:lnTo>
                        <a:pt x="1128" y="960"/>
                      </a:lnTo>
                      <a:lnTo>
                        <a:pt x="1128" y="958"/>
                      </a:lnTo>
                      <a:lnTo>
                        <a:pt x="1129" y="958"/>
                      </a:lnTo>
                      <a:lnTo>
                        <a:pt x="1129" y="957"/>
                      </a:lnTo>
                      <a:lnTo>
                        <a:pt x="1130" y="956"/>
                      </a:lnTo>
                      <a:lnTo>
                        <a:pt x="1129" y="956"/>
                      </a:lnTo>
                      <a:lnTo>
                        <a:pt x="1130" y="956"/>
                      </a:lnTo>
                      <a:lnTo>
                        <a:pt x="1130" y="955"/>
                      </a:lnTo>
                      <a:lnTo>
                        <a:pt x="1130" y="956"/>
                      </a:lnTo>
                      <a:lnTo>
                        <a:pt x="1131" y="956"/>
                      </a:lnTo>
                      <a:close/>
                      <a:moveTo>
                        <a:pt x="1105" y="791"/>
                      </a:moveTo>
                      <a:lnTo>
                        <a:pt x="1104" y="791"/>
                      </a:lnTo>
                      <a:lnTo>
                        <a:pt x="1103" y="791"/>
                      </a:lnTo>
                      <a:lnTo>
                        <a:pt x="1102" y="791"/>
                      </a:lnTo>
                      <a:lnTo>
                        <a:pt x="1102" y="793"/>
                      </a:lnTo>
                      <a:lnTo>
                        <a:pt x="1103" y="793"/>
                      </a:lnTo>
                      <a:lnTo>
                        <a:pt x="1103" y="794"/>
                      </a:lnTo>
                      <a:lnTo>
                        <a:pt x="1104" y="794"/>
                      </a:lnTo>
                      <a:lnTo>
                        <a:pt x="1105" y="794"/>
                      </a:lnTo>
                      <a:lnTo>
                        <a:pt x="1105" y="795"/>
                      </a:lnTo>
                      <a:lnTo>
                        <a:pt x="1105" y="796"/>
                      </a:lnTo>
                      <a:lnTo>
                        <a:pt x="1105" y="797"/>
                      </a:lnTo>
                      <a:lnTo>
                        <a:pt x="1104" y="797"/>
                      </a:lnTo>
                      <a:lnTo>
                        <a:pt x="1103" y="797"/>
                      </a:lnTo>
                      <a:lnTo>
                        <a:pt x="1102" y="797"/>
                      </a:lnTo>
                      <a:lnTo>
                        <a:pt x="1102" y="796"/>
                      </a:lnTo>
                      <a:lnTo>
                        <a:pt x="1103" y="796"/>
                      </a:lnTo>
                      <a:lnTo>
                        <a:pt x="1103" y="797"/>
                      </a:lnTo>
                      <a:lnTo>
                        <a:pt x="1104" y="796"/>
                      </a:lnTo>
                      <a:lnTo>
                        <a:pt x="1104" y="797"/>
                      </a:lnTo>
                      <a:lnTo>
                        <a:pt x="1104" y="796"/>
                      </a:lnTo>
                      <a:lnTo>
                        <a:pt x="1105" y="795"/>
                      </a:lnTo>
                      <a:lnTo>
                        <a:pt x="1104" y="795"/>
                      </a:lnTo>
                      <a:lnTo>
                        <a:pt x="1103" y="795"/>
                      </a:lnTo>
                      <a:lnTo>
                        <a:pt x="1103" y="794"/>
                      </a:lnTo>
                      <a:lnTo>
                        <a:pt x="1102" y="794"/>
                      </a:lnTo>
                      <a:lnTo>
                        <a:pt x="1102" y="793"/>
                      </a:lnTo>
                      <a:lnTo>
                        <a:pt x="1100" y="793"/>
                      </a:lnTo>
                      <a:lnTo>
                        <a:pt x="1100" y="791"/>
                      </a:lnTo>
                      <a:lnTo>
                        <a:pt x="1102" y="791"/>
                      </a:lnTo>
                      <a:lnTo>
                        <a:pt x="1102" y="790"/>
                      </a:lnTo>
                      <a:lnTo>
                        <a:pt x="1103" y="790"/>
                      </a:lnTo>
                      <a:lnTo>
                        <a:pt x="1104" y="790"/>
                      </a:lnTo>
                      <a:lnTo>
                        <a:pt x="1105" y="790"/>
                      </a:lnTo>
                      <a:lnTo>
                        <a:pt x="1105" y="791"/>
                      </a:lnTo>
                      <a:close/>
                      <a:moveTo>
                        <a:pt x="1412" y="1099"/>
                      </a:moveTo>
                      <a:lnTo>
                        <a:pt x="1412" y="1101"/>
                      </a:lnTo>
                      <a:lnTo>
                        <a:pt x="1410" y="1102"/>
                      </a:lnTo>
                      <a:lnTo>
                        <a:pt x="1409" y="1102"/>
                      </a:lnTo>
                      <a:lnTo>
                        <a:pt x="1409" y="1101"/>
                      </a:lnTo>
                      <a:lnTo>
                        <a:pt x="1409" y="1102"/>
                      </a:lnTo>
                      <a:lnTo>
                        <a:pt x="1408" y="1102"/>
                      </a:lnTo>
                      <a:lnTo>
                        <a:pt x="1407" y="1102"/>
                      </a:lnTo>
                      <a:lnTo>
                        <a:pt x="1406" y="1102"/>
                      </a:lnTo>
                      <a:lnTo>
                        <a:pt x="1406" y="1103"/>
                      </a:lnTo>
                      <a:lnTo>
                        <a:pt x="1405" y="1103"/>
                      </a:lnTo>
                      <a:lnTo>
                        <a:pt x="1405" y="1102"/>
                      </a:lnTo>
                      <a:lnTo>
                        <a:pt x="1406" y="1102"/>
                      </a:lnTo>
                      <a:lnTo>
                        <a:pt x="1406" y="1101"/>
                      </a:lnTo>
                      <a:lnTo>
                        <a:pt x="1407" y="1101"/>
                      </a:lnTo>
                      <a:lnTo>
                        <a:pt x="1407" y="1099"/>
                      </a:lnTo>
                      <a:lnTo>
                        <a:pt x="1408" y="1099"/>
                      </a:lnTo>
                      <a:lnTo>
                        <a:pt x="1408" y="1098"/>
                      </a:lnTo>
                      <a:lnTo>
                        <a:pt x="1408" y="1099"/>
                      </a:lnTo>
                      <a:lnTo>
                        <a:pt x="1409" y="1099"/>
                      </a:lnTo>
                      <a:lnTo>
                        <a:pt x="1410" y="1099"/>
                      </a:lnTo>
                      <a:lnTo>
                        <a:pt x="1410" y="1098"/>
                      </a:lnTo>
                      <a:lnTo>
                        <a:pt x="1410" y="1099"/>
                      </a:lnTo>
                      <a:lnTo>
                        <a:pt x="1412" y="1099"/>
                      </a:lnTo>
                      <a:close/>
                      <a:moveTo>
                        <a:pt x="1361" y="1155"/>
                      </a:moveTo>
                      <a:lnTo>
                        <a:pt x="1360" y="1155"/>
                      </a:lnTo>
                      <a:lnTo>
                        <a:pt x="1360" y="1156"/>
                      </a:lnTo>
                      <a:lnTo>
                        <a:pt x="1361" y="1156"/>
                      </a:lnTo>
                      <a:lnTo>
                        <a:pt x="1361" y="1157"/>
                      </a:lnTo>
                      <a:lnTo>
                        <a:pt x="1360" y="1157"/>
                      </a:lnTo>
                      <a:lnTo>
                        <a:pt x="1361" y="1158"/>
                      </a:lnTo>
                      <a:lnTo>
                        <a:pt x="1360" y="1159"/>
                      </a:lnTo>
                      <a:lnTo>
                        <a:pt x="1360" y="1160"/>
                      </a:lnTo>
                      <a:lnTo>
                        <a:pt x="1360" y="1161"/>
                      </a:lnTo>
                      <a:lnTo>
                        <a:pt x="1360" y="1162"/>
                      </a:lnTo>
                      <a:lnTo>
                        <a:pt x="1361" y="1162"/>
                      </a:lnTo>
                      <a:lnTo>
                        <a:pt x="1361" y="1163"/>
                      </a:lnTo>
                      <a:lnTo>
                        <a:pt x="1362" y="1163"/>
                      </a:lnTo>
                      <a:lnTo>
                        <a:pt x="1363" y="1163"/>
                      </a:lnTo>
                      <a:lnTo>
                        <a:pt x="1363" y="1162"/>
                      </a:lnTo>
                      <a:lnTo>
                        <a:pt x="1364" y="1162"/>
                      </a:lnTo>
                      <a:lnTo>
                        <a:pt x="1364" y="1161"/>
                      </a:lnTo>
                      <a:lnTo>
                        <a:pt x="1365" y="1161"/>
                      </a:lnTo>
                      <a:lnTo>
                        <a:pt x="1366" y="1161"/>
                      </a:lnTo>
                      <a:lnTo>
                        <a:pt x="1366" y="1160"/>
                      </a:lnTo>
                      <a:lnTo>
                        <a:pt x="1365" y="1160"/>
                      </a:lnTo>
                      <a:lnTo>
                        <a:pt x="1366" y="1160"/>
                      </a:lnTo>
                      <a:lnTo>
                        <a:pt x="1366" y="1161"/>
                      </a:lnTo>
                      <a:lnTo>
                        <a:pt x="1367" y="1161"/>
                      </a:lnTo>
                      <a:lnTo>
                        <a:pt x="1366" y="1161"/>
                      </a:lnTo>
                      <a:lnTo>
                        <a:pt x="1366" y="1162"/>
                      </a:lnTo>
                      <a:lnTo>
                        <a:pt x="1365" y="1162"/>
                      </a:lnTo>
                      <a:lnTo>
                        <a:pt x="1364" y="1162"/>
                      </a:lnTo>
                      <a:lnTo>
                        <a:pt x="1364" y="1163"/>
                      </a:lnTo>
                      <a:lnTo>
                        <a:pt x="1364" y="1164"/>
                      </a:lnTo>
                      <a:lnTo>
                        <a:pt x="1365" y="1164"/>
                      </a:lnTo>
                      <a:lnTo>
                        <a:pt x="1365" y="1163"/>
                      </a:lnTo>
                      <a:lnTo>
                        <a:pt x="1365" y="1164"/>
                      </a:lnTo>
                      <a:lnTo>
                        <a:pt x="1364" y="1164"/>
                      </a:lnTo>
                      <a:lnTo>
                        <a:pt x="1363" y="1164"/>
                      </a:lnTo>
                      <a:lnTo>
                        <a:pt x="1362" y="1164"/>
                      </a:lnTo>
                      <a:lnTo>
                        <a:pt x="1361" y="1164"/>
                      </a:lnTo>
                      <a:lnTo>
                        <a:pt x="1361" y="1163"/>
                      </a:lnTo>
                      <a:lnTo>
                        <a:pt x="1361" y="1162"/>
                      </a:lnTo>
                      <a:lnTo>
                        <a:pt x="1360" y="1162"/>
                      </a:lnTo>
                      <a:lnTo>
                        <a:pt x="1360" y="1161"/>
                      </a:lnTo>
                      <a:lnTo>
                        <a:pt x="1358" y="1160"/>
                      </a:lnTo>
                      <a:lnTo>
                        <a:pt x="1360" y="1160"/>
                      </a:lnTo>
                      <a:lnTo>
                        <a:pt x="1360" y="1159"/>
                      </a:lnTo>
                      <a:lnTo>
                        <a:pt x="1358" y="1159"/>
                      </a:lnTo>
                      <a:lnTo>
                        <a:pt x="1360" y="1159"/>
                      </a:lnTo>
                      <a:lnTo>
                        <a:pt x="1360" y="1158"/>
                      </a:lnTo>
                      <a:lnTo>
                        <a:pt x="1360" y="1157"/>
                      </a:lnTo>
                      <a:lnTo>
                        <a:pt x="1360" y="1156"/>
                      </a:lnTo>
                      <a:lnTo>
                        <a:pt x="1360" y="1155"/>
                      </a:lnTo>
                      <a:lnTo>
                        <a:pt x="1360" y="1154"/>
                      </a:lnTo>
                      <a:lnTo>
                        <a:pt x="1361" y="1155"/>
                      </a:lnTo>
                      <a:close/>
                      <a:moveTo>
                        <a:pt x="1128" y="952"/>
                      </a:moveTo>
                      <a:lnTo>
                        <a:pt x="1126" y="952"/>
                      </a:lnTo>
                      <a:lnTo>
                        <a:pt x="1126" y="953"/>
                      </a:lnTo>
                      <a:lnTo>
                        <a:pt x="1125" y="953"/>
                      </a:lnTo>
                      <a:lnTo>
                        <a:pt x="1125" y="954"/>
                      </a:lnTo>
                      <a:lnTo>
                        <a:pt x="1126" y="954"/>
                      </a:lnTo>
                      <a:lnTo>
                        <a:pt x="1126" y="953"/>
                      </a:lnTo>
                      <a:lnTo>
                        <a:pt x="1128" y="954"/>
                      </a:lnTo>
                      <a:lnTo>
                        <a:pt x="1129" y="954"/>
                      </a:lnTo>
                      <a:lnTo>
                        <a:pt x="1130" y="954"/>
                      </a:lnTo>
                      <a:lnTo>
                        <a:pt x="1130" y="955"/>
                      </a:lnTo>
                      <a:lnTo>
                        <a:pt x="1130" y="954"/>
                      </a:lnTo>
                      <a:lnTo>
                        <a:pt x="1129" y="954"/>
                      </a:lnTo>
                      <a:lnTo>
                        <a:pt x="1129" y="955"/>
                      </a:lnTo>
                      <a:lnTo>
                        <a:pt x="1130" y="955"/>
                      </a:lnTo>
                      <a:lnTo>
                        <a:pt x="1129" y="955"/>
                      </a:lnTo>
                      <a:lnTo>
                        <a:pt x="1129" y="956"/>
                      </a:lnTo>
                      <a:lnTo>
                        <a:pt x="1128" y="956"/>
                      </a:lnTo>
                      <a:lnTo>
                        <a:pt x="1128" y="957"/>
                      </a:lnTo>
                      <a:lnTo>
                        <a:pt x="1129" y="957"/>
                      </a:lnTo>
                      <a:lnTo>
                        <a:pt x="1128" y="957"/>
                      </a:lnTo>
                      <a:lnTo>
                        <a:pt x="1128" y="958"/>
                      </a:lnTo>
                      <a:lnTo>
                        <a:pt x="1126" y="957"/>
                      </a:lnTo>
                      <a:lnTo>
                        <a:pt x="1126" y="956"/>
                      </a:lnTo>
                      <a:lnTo>
                        <a:pt x="1128" y="956"/>
                      </a:lnTo>
                      <a:lnTo>
                        <a:pt x="1128" y="955"/>
                      </a:lnTo>
                      <a:lnTo>
                        <a:pt x="1126" y="955"/>
                      </a:lnTo>
                      <a:lnTo>
                        <a:pt x="1125" y="955"/>
                      </a:lnTo>
                      <a:lnTo>
                        <a:pt x="1125" y="954"/>
                      </a:lnTo>
                      <a:lnTo>
                        <a:pt x="1125" y="953"/>
                      </a:lnTo>
                      <a:lnTo>
                        <a:pt x="1126" y="952"/>
                      </a:lnTo>
                      <a:lnTo>
                        <a:pt x="1126" y="951"/>
                      </a:lnTo>
                      <a:lnTo>
                        <a:pt x="1128" y="951"/>
                      </a:lnTo>
                      <a:lnTo>
                        <a:pt x="1128" y="952"/>
                      </a:lnTo>
                      <a:close/>
                      <a:moveTo>
                        <a:pt x="1051" y="981"/>
                      </a:moveTo>
                      <a:lnTo>
                        <a:pt x="1051" y="982"/>
                      </a:lnTo>
                      <a:lnTo>
                        <a:pt x="1050" y="983"/>
                      </a:lnTo>
                      <a:lnTo>
                        <a:pt x="1050" y="984"/>
                      </a:lnTo>
                      <a:lnTo>
                        <a:pt x="1048" y="986"/>
                      </a:lnTo>
                      <a:lnTo>
                        <a:pt x="1048" y="987"/>
                      </a:lnTo>
                      <a:lnTo>
                        <a:pt x="1047" y="987"/>
                      </a:lnTo>
                      <a:lnTo>
                        <a:pt x="1046" y="987"/>
                      </a:lnTo>
                      <a:lnTo>
                        <a:pt x="1046" y="988"/>
                      </a:lnTo>
                      <a:lnTo>
                        <a:pt x="1045" y="988"/>
                      </a:lnTo>
                      <a:lnTo>
                        <a:pt x="1045" y="987"/>
                      </a:lnTo>
                      <a:lnTo>
                        <a:pt x="1046" y="987"/>
                      </a:lnTo>
                      <a:lnTo>
                        <a:pt x="1047" y="987"/>
                      </a:lnTo>
                      <a:lnTo>
                        <a:pt x="1047" y="986"/>
                      </a:lnTo>
                      <a:lnTo>
                        <a:pt x="1048" y="986"/>
                      </a:lnTo>
                      <a:lnTo>
                        <a:pt x="1048" y="984"/>
                      </a:lnTo>
                      <a:lnTo>
                        <a:pt x="1047" y="984"/>
                      </a:lnTo>
                      <a:lnTo>
                        <a:pt x="1047" y="986"/>
                      </a:lnTo>
                      <a:lnTo>
                        <a:pt x="1047" y="987"/>
                      </a:lnTo>
                      <a:lnTo>
                        <a:pt x="1046" y="987"/>
                      </a:lnTo>
                      <a:lnTo>
                        <a:pt x="1047" y="986"/>
                      </a:lnTo>
                      <a:lnTo>
                        <a:pt x="1046" y="986"/>
                      </a:lnTo>
                      <a:lnTo>
                        <a:pt x="1046" y="984"/>
                      </a:lnTo>
                      <a:lnTo>
                        <a:pt x="1046" y="983"/>
                      </a:lnTo>
                      <a:lnTo>
                        <a:pt x="1046" y="982"/>
                      </a:lnTo>
                      <a:lnTo>
                        <a:pt x="1047" y="982"/>
                      </a:lnTo>
                      <a:lnTo>
                        <a:pt x="1048" y="982"/>
                      </a:lnTo>
                      <a:lnTo>
                        <a:pt x="1050" y="982"/>
                      </a:lnTo>
                      <a:lnTo>
                        <a:pt x="1050" y="983"/>
                      </a:lnTo>
                      <a:lnTo>
                        <a:pt x="1048" y="983"/>
                      </a:lnTo>
                      <a:lnTo>
                        <a:pt x="1048" y="982"/>
                      </a:lnTo>
                      <a:lnTo>
                        <a:pt x="1048" y="983"/>
                      </a:lnTo>
                      <a:lnTo>
                        <a:pt x="1047" y="983"/>
                      </a:lnTo>
                      <a:lnTo>
                        <a:pt x="1047" y="984"/>
                      </a:lnTo>
                      <a:lnTo>
                        <a:pt x="1048" y="983"/>
                      </a:lnTo>
                      <a:lnTo>
                        <a:pt x="1048" y="984"/>
                      </a:lnTo>
                      <a:lnTo>
                        <a:pt x="1050" y="984"/>
                      </a:lnTo>
                      <a:lnTo>
                        <a:pt x="1050" y="983"/>
                      </a:lnTo>
                      <a:lnTo>
                        <a:pt x="1050" y="982"/>
                      </a:lnTo>
                      <a:lnTo>
                        <a:pt x="1050" y="981"/>
                      </a:lnTo>
                      <a:lnTo>
                        <a:pt x="1048" y="982"/>
                      </a:lnTo>
                      <a:lnTo>
                        <a:pt x="1048" y="981"/>
                      </a:lnTo>
                      <a:lnTo>
                        <a:pt x="1050" y="981"/>
                      </a:lnTo>
                      <a:lnTo>
                        <a:pt x="1050" y="980"/>
                      </a:lnTo>
                      <a:lnTo>
                        <a:pt x="1051" y="980"/>
                      </a:lnTo>
                      <a:lnTo>
                        <a:pt x="1051" y="979"/>
                      </a:lnTo>
                      <a:lnTo>
                        <a:pt x="1051" y="980"/>
                      </a:lnTo>
                      <a:lnTo>
                        <a:pt x="1051" y="981"/>
                      </a:lnTo>
                      <a:close/>
                      <a:moveTo>
                        <a:pt x="1434" y="1225"/>
                      </a:moveTo>
                      <a:lnTo>
                        <a:pt x="1434" y="1226"/>
                      </a:lnTo>
                      <a:lnTo>
                        <a:pt x="1433" y="1226"/>
                      </a:lnTo>
                      <a:lnTo>
                        <a:pt x="1432" y="1227"/>
                      </a:lnTo>
                      <a:lnTo>
                        <a:pt x="1432" y="1228"/>
                      </a:lnTo>
                      <a:lnTo>
                        <a:pt x="1431" y="1230"/>
                      </a:lnTo>
                      <a:lnTo>
                        <a:pt x="1430" y="1230"/>
                      </a:lnTo>
                      <a:lnTo>
                        <a:pt x="1430" y="1231"/>
                      </a:lnTo>
                      <a:lnTo>
                        <a:pt x="1429" y="1231"/>
                      </a:lnTo>
                      <a:lnTo>
                        <a:pt x="1429" y="1230"/>
                      </a:lnTo>
                      <a:lnTo>
                        <a:pt x="1430" y="1230"/>
                      </a:lnTo>
                      <a:lnTo>
                        <a:pt x="1430" y="1228"/>
                      </a:lnTo>
                      <a:lnTo>
                        <a:pt x="1431" y="1227"/>
                      </a:lnTo>
                      <a:lnTo>
                        <a:pt x="1432" y="1227"/>
                      </a:lnTo>
                      <a:lnTo>
                        <a:pt x="1432" y="1226"/>
                      </a:lnTo>
                      <a:lnTo>
                        <a:pt x="1432" y="1225"/>
                      </a:lnTo>
                      <a:lnTo>
                        <a:pt x="1433" y="1225"/>
                      </a:lnTo>
                      <a:lnTo>
                        <a:pt x="1432" y="1225"/>
                      </a:lnTo>
                      <a:lnTo>
                        <a:pt x="1433" y="1225"/>
                      </a:lnTo>
                      <a:lnTo>
                        <a:pt x="1434" y="1224"/>
                      </a:lnTo>
                      <a:lnTo>
                        <a:pt x="1434" y="1223"/>
                      </a:lnTo>
                      <a:lnTo>
                        <a:pt x="1434" y="1222"/>
                      </a:lnTo>
                      <a:lnTo>
                        <a:pt x="1435" y="1222"/>
                      </a:lnTo>
                      <a:lnTo>
                        <a:pt x="1435" y="1221"/>
                      </a:lnTo>
                      <a:lnTo>
                        <a:pt x="1435" y="1220"/>
                      </a:lnTo>
                      <a:lnTo>
                        <a:pt x="1437" y="1220"/>
                      </a:lnTo>
                      <a:lnTo>
                        <a:pt x="1437" y="1221"/>
                      </a:lnTo>
                      <a:lnTo>
                        <a:pt x="1435" y="1222"/>
                      </a:lnTo>
                      <a:lnTo>
                        <a:pt x="1435" y="1223"/>
                      </a:lnTo>
                      <a:lnTo>
                        <a:pt x="1435" y="1224"/>
                      </a:lnTo>
                      <a:lnTo>
                        <a:pt x="1434" y="1225"/>
                      </a:lnTo>
                      <a:close/>
                      <a:moveTo>
                        <a:pt x="1109" y="977"/>
                      </a:moveTo>
                      <a:lnTo>
                        <a:pt x="1109" y="978"/>
                      </a:lnTo>
                      <a:lnTo>
                        <a:pt x="1109" y="979"/>
                      </a:lnTo>
                      <a:lnTo>
                        <a:pt x="1109" y="980"/>
                      </a:lnTo>
                      <a:lnTo>
                        <a:pt x="1109" y="981"/>
                      </a:lnTo>
                      <a:lnTo>
                        <a:pt x="1109" y="982"/>
                      </a:lnTo>
                      <a:lnTo>
                        <a:pt x="1110" y="983"/>
                      </a:lnTo>
                      <a:lnTo>
                        <a:pt x="1111" y="983"/>
                      </a:lnTo>
                      <a:lnTo>
                        <a:pt x="1111" y="984"/>
                      </a:lnTo>
                      <a:lnTo>
                        <a:pt x="1111" y="986"/>
                      </a:lnTo>
                      <a:lnTo>
                        <a:pt x="1110" y="986"/>
                      </a:lnTo>
                      <a:lnTo>
                        <a:pt x="1109" y="986"/>
                      </a:lnTo>
                      <a:lnTo>
                        <a:pt x="1109" y="987"/>
                      </a:lnTo>
                      <a:lnTo>
                        <a:pt x="1110" y="987"/>
                      </a:lnTo>
                      <a:lnTo>
                        <a:pt x="1108" y="987"/>
                      </a:lnTo>
                      <a:lnTo>
                        <a:pt x="1108" y="986"/>
                      </a:lnTo>
                      <a:lnTo>
                        <a:pt x="1108" y="984"/>
                      </a:lnTo>
                      <a:lnTo>
                        <a:pt x="1109" y="984"/>
                      </a:lnTo>
                      <a:lnTo>
                        <a:pt x="1109" y="983"/>
                      </a:lnTo>
                      <a:lnTo>
                        <a:pt x="1109" y="982"/>
                      </a:lnTo>
                      <a:lnTo>
                        <a:pt x="1108" y="982"/>
                      </a:lnTo>
                      <a:lnTo>
                        <a:pt x="1108" y="981"/>
                      </a:lnTo>
                      <a:lnTo>
                        <a:pt x="1108" y="980"/>
                      </a:lnTo>
                      <a:lnTo>
                        <a:pt x="1109" y="980"/>
                      </a:lnTo>
                      <a:lnTo>
                        <a:pt x="1108" y="980"/>
                      </a:lnTo>
                      <a:lnTo>
                        <a:pt x="1109" y="980"/>
                      </a:lnTo>
                      <a:lnTo>
                        <a:pt x="1109" y="979"/>
                      </a:lnTo>
                      <a:lnTo>
                        <a:pt x="1108" y="979"/>
                      </a:lnTo>
                      <a:lnTo>
                        <a:pt x="1109" y="978"/>
                      </a:lnTo>
                      <a:lnTo>
                        <a:pt x="1109" y="979"/>
                      </a:lnTo>
                      <a:lnTo>
                        <a:pt x="1109" y="978"/>
                      </a:lnTo>
                      <a:lnTo>
                        <a:pt x="1109" y="977"/>
                      </a:lnTo>
                      <a:close/>
                      <a:moveTo>
                        <a:pt x="1363" y="1034"/>
                      </a:moveTo>
                      <a:lnTo>
                        <a:pt x="1363" y="1033"/>
                      </a:lnTo>
                      <a:lnTo>
                        <a:pt x="1363" y="1032"/>
                      </a:lnTo>
                      <a:lnTo>
                        <a:pt x="1364" y="1032"/>
                      </a:lnTo>
                      <a:lnTo>
                        <a:pt x="1364" y="1033"/>
                      </a:lnTo>
                      <a:lnTo>
                        <a:pt x="1364" y="1034"/>
                      </a:lnTo>
                      <a:lnTo>
                        <a:pt x="1364" y="1035"/>
                      </a:lnTo>
                      <a:lnTo>
                        <a:pt x="1364" y="1037"/>
                      </a:lnTo>
                      <a:lnTo>
                        <a:pt x="1364" y="1035"/>
                      </a:lnTo>
                      <a:lnTo>
                        <a:pt x="1363" y="1035"/>
                      </a:lnTo>
                      <a:lnTo>
                        <a:pt x="1363" y="1037"/>
                      </a:lnTo>
                      <a:lnTo>
                        <a:pt x="1362" y="1037"/>
                      </a:lnTo>
                      <a:lnTo>
                        <a:pt x="1362" y="1038"/>
                      </a:lnTo>
                      <a:lnTo>
                        <a:pt x="1362" y="1037"/>
                      </a:lnTo>
                      <a:lnTo>
                        <a:pt x="1361" y="1037"/>
                      </a:lnTo>
                      <a:lnTo>
                        <a:pt x="1361" y="1035"/>
                      </a:lnTo>
                      <a:lnTo>
                        <a:pt x="1360" y="1035"/>
                      </a:lnTo>
                      <a:lnTo>
                        <a:pt x="1360" y="1034"/>
                      </a:lnTo>
                      <a:lnTo>
                        <a:pt x="1361" y="1033"/>
                      </a:lnTo>
                      <a:lnTo>
                        <a:pt x="1361" y="1032"/>
                      </a:lnTo>
                      <a:lnTo>
                        <a:pt x="1362" y="1032"/>
                      </a:lnTo>
                      <a:lnTo>
                        <a:pt x="1362" y="1033"/>
                      </a:lnTo>
                      <a:lnTo>
                        <a:pt x="1363" y="1033"/>
                      </a:lnTo>
                      <a:lnTo>
                        <a:pt x="1363" y="1034"/>
                      </a:lnTo>
                      <a:close/>
                      <a:moveTo>
                        <a:pt x="1069" y="984"/>
                      </a:moveTo>
                      <a:lnTo>
                        <a:pt x="1070" y="984"/>
                      </a:lnTo>
                      <a:lnTo>
                        <a:pt x="1071" y="986"/>
                      </a:lnTo>
                      <a:lnTo>
                        <a:pt x="1072" y="987"/>
                      </a:lnTo>
                      <a:lnTo>
                        <a:pt x="1071" y="987"/>
                      </a:lnTo>
                      <a:lnTo>
                        <a:pt x="1070" y="987"/>
                      </a:lnTo>
                      <a:lnTo>
                        <a:pt x="1070" y="988"/>
                      </a:lnTo>
                      <a:lnTo>
                        <a:pt x="1070" y="987"/>
                      </a:lnTo>
                      <a:lnTo>
                        <a:pt x="1071" y="986"/>
                      </a:lnTo>
                      <a:lnTo>
                        <a:pt x="1070" y="986"/>
                      </a:lnTo>
                      <a:lnTo>
                        <a:pt x="1070" y="987"/>
                      </a:lnTo>
                      <a:lnTo>
                        <a:pt x="1069" y="987"/>
                      </a:lnTo>
                      <a:lnTo>
                        <a:pt x="1067" y="987"/>
                      </a:lnTo>
                      <a:lnTo>
                        <a:pt x="1066" y="988"/>
                      </a:lnTo>
                      <a:lnTo>
                        <a:pt x="1065" y="988"/>
                      </a:lnTo>
                      <a:lnTo>
                        <a:pt x="1064" y="988"/>
                      </a:lnTo>
                      <a:lnTo>
                        <a:pt x="1065" y="987"/>
                      </a:lnTo>
                      <a:lnTo>
                        <a:pt x="1066" y="986"/>
                      </a:lnTo>
                      <a:lnTo>
                        <a:pt x="1067" y="986"/>
                      </a:lnTo>
                      <a:lnTo>
                        <a:pt x="1067" y="987"/>
                      </a:lnTo>
                      <a:lnTo>
                        <a:pt x="1068" y="987"/>
                      </a:lnTo>
                      <a:lnTo>
                        <a:pt x="1068" y="986"/>
                      </a:lnTo>
                      <a:lnTo>
                        <a:pt x="1069" y="986"/>
                      </a:lnTo>
                      <a:lnTo>
                        <a:pt x="1069" y="984"/>
                      </a:lnTo>
                      <a:close/>
                      <a:moveTo>
                        <a:pt x="1140" y="968"/>
                      </a:moveTo>
                      <a:lnTo>
                        <a:pt x="1140" y="969"/>
                      </a:lnTo>
                      <a:lnTo>
                        <a:pt x="1140" y="970"/>
                      </a:lnTo>
                      <a:lnTo>
                        <a:pt x="1141" y="970"/>
                      </a:lnTo>
                      <a:lnTo>
                        <a:pt x="1141" y="971"/>
                      </a:lnTo>
                      <a:lnTo>
                        <a:pt x="1140" y="971"/>
                      </a:lnTo>
                      <a:lnTo>
                        <a:pt x="1138" y="971"/>
                      </a:lnTo>
                      <a:lnTo>
                        <a:pt x="1137" y="973"/>
                      </a:lnTo>
                      <a:lnTo>
                        <a:pt x="1137" y="971"/>
                      </a:lnTo>
                      <a:lnTo>
                        <a:pt x="1137" y="970"/>
                      </a:lnTo>
                      <a:lnTo>
                        <a:pt x="1136" y="970"/>
                      </a:lnTo>
                      <a:lnTo>
                        <a:pt x="1136" y="969"/>
                      </a:lnTo>
                      <a:lnTo>
                        <a:pt x="1135" y="969"/>
                      </a:lnTo>
                      <a:lnTo>
                        <a:pt x="1136" y="969"/>
                      </a:lnTo>
                      <a:lnTo>
                        <a:pt x="1137" y="968"/>
                      </a:lnTo>
                      <a:lnTo>
                        <a:pt x="1137" y="969"/>
                      </a:lnTo>
                      <a:lnTo>
                        <a:pt x="1138" y="968"/>
                      </a:lnTo>
                      <a:lnTo>
                        <a:pt x="1138" y="969"/>
                      </a:lnTo>
                      <a:lnTo>
                        <a:pt x="1138" y="968"/>
                      </a:lnTo>
                      <a:lnTo>
                        <a:pt x="1138" y="969"/>
                      </a:lnTo>
                      <a:lnTo>
                        <a:pt x="1140" y="969"/>
                      </a:lnTo>
                      <a:lnTo>
                        <a:pt x="1138" y="968"/>
                      </a:lnTo>
                      <a:lnTo>
                        <a:pt x="1140" y="968"/>
                      </a:lnTo>
                      <a:close/>
                      <a:moveTo>
                        <a:pt x="1442" y="1083"/>
                      </a:moveTo>
                      <a:lnTo>
                        <a:pt x="1443" y="1083"/>
                      </a:lnTo>
                      <a:lnTo>
                        <a:pt x="1444" y="1083"/>
                      </a:lnTo>
                      <a:lnTo>
                        <a:pt x="1445" y="1084"/>
                      </a:lnTo>
                      <a:lnTo>
                        <a:pt x="1446" y="1084"/>
                      </a:lnTo>
                      <a:lnTo>
                        <a:pt x="1446" y="1085"/>
                      </a:lnTo>
                      <a:lnTo>
                        <a:pt x="1445" y="1085"/>
                      </a:lnTo>
                      <a:lnTo>
                        <a:pt x="1444" y="1085"/>
                      </a:lnTo>
                      <a:lnTo>
                        <a:pt x="1443" y="1085"/>
                      </a:lnTo>
                      <a:lnTo>
                        <a:pt x="1442" y="1085"/>
                      </a:lnTo>
                      <a:lnTo>
                        <a:pt x="1441" y="1085"/>
                      </a:lnTo>
                      <a:lnTo>
                        <a:pt x="1440" y="1085"/>
                      </a:lnTo>
                      <a:lnTo>
                        <a:pt x="1440" y="1084"/>
                      </a:lnTo>
                      <a:lnTo>
                        <a:pt x="1441" y="1083"/>
                      </a:lnTo>
                      <a:lnTo>
                        <a:pt x="1442" y="1083"/>
                      </a:lnTo>
                      <a:close/>
                      <a:moveTo>
                        <a:pt x="1119" y="803"/>
                      </a:moveTo>
                      <a:lnTo>
                        <a:pt x="1119" y="804"/>
                      </a:lnTo>
                      <a:lnTo>
                        <a:pt x="1118" y="804"/>
                      </a:lnTo>
                      <a:lnTo>
                        <a:pt x="1119" y="804"/>
                      </a:lnTo>
                      <a:lnTo>
                        <a:pt x="1120" y="804"/>
                      </a:lnTo>
                      <a:lnTo>
                        <a:pt x="1120" y="803"/>
                      </a:lnTo>
                      <a:lnTo>
                        <a:pt x="1120" y="804"/>
                      </a:lnTo>
                      <a:lnTo>
                        <a:pt x="1120" y="806"/>
                      </a:lnTo>
                      <a:lnTo>
                        <a:pt x="1119" y="806"/>
                      </a:lnTo>
                      <a:lnTo>
                        <a:pt x="1119" y="807"/>
                      </a:lnTo>
                      <a:lnTo>
                        <a:pt x="1120" y="807"/>
                      </a:lnTo>
                      <a:lnTo>
                        <a:pt x="1119" y="808"/>
                      </a:lnTo>
                      <a:lnTo>
                        <a:pt x="1120" y="808"/>
                      </a:lnTo>
                      <a:lnTo>
                        <a:pt x="1120" y="809"/>
                      </a:lnTo>
                      <a:lnTo>
                        <a:pt x="1119" y="808"/>
                      </a:lnTo>
                      <a:lnTo>
                        <a:pt x="1118" y="808"/>
                      </a:lnTo>
                      <a:lnTo>
                        <a:pt x="1118" y="807"/>
                      </a:lnTo>
                      <a:lnTo>
                        <a:pt x="1117" y="807"/>
                      </a:lnTo>
                      <a:lnTo>
                        <a:pt x="1118" y="807"/>
                      </a:lnTo>
                      <a:lnTo>
                        <a:pt x="1118" y="806"/>
                      </a:lnTo>
                      <a:lnTo>
                        <a:pt x="1117" y="804"/>
                      </a:lnTo>
                      <a:lnTo>
                        <a:pt x="1118" y="804"/>
                      </a:lnTo>
                      <a:lnTo>
                        <a:pt x="1119" y="804"/>
                      </a:lnTo>
                      <a:lnTo>
                        <a:pt x="1118" y="804"/>
                      </a:lnTo>
                      <a:lnTo>
                        <a:pt x="1117" y="804"/>
                      </a:lnTo>
                      <a:lnTo>
                        <a:pt x="1117" y="803"/>
                      </a:lnTo>
                      <a:lnTo>
                        <a:pt x="1117" y="804"/>
                      </a:lnTo>
                      <a:lnTo>
                        <a:pt x="1117" y="803"/>
                      </a:lnTo>
                      <a:lnTo>
                        <a:pt x="1118" y="803"/>
                      </a:lnTo>
                      <a:lnTo>
                        <a:pt x="1117" y="803"/>
                      </a:lnTo>
                      <a:lnTo>
                        <a:pt x="1117" y="802"/>
                      </a:lnTo>
                      <a:lnTo>
                        <a:pt x="1118" y="802"/>
                      </a:lnTo>
                      <a:lnTo>
                        <a:pt x="1119" y="802"/>
                      </a:lnTo>
                      <a:lnTo>
                        <a:pt x="1119" y="803"/>
                      </a:lnTo>
                      <a:close/>
                      <a:moveTo>
                        <a:pt x="989" y="990"/>
                      </a:moveTo>
                      <a:lnTo>
                        <a:pt x="989" y="991"/>
                      </a:lnTo>
                      <a:lnTo>
                        <a:pt x="990" y="990"/>
                      </a:lnTo>
                      <a:lnTo>
                        <a:pt x="990" y="991"/>
                      </a:lnTo>
                      <a:lnTo>
                        <a:pt x="990" y="990"/>
                      </a:lnTo>
                      <a:lnTo>
                        <a:pt x="990" y="991"/>
                      </a:lnTo>
                      <a:lnTo>
                        <a:pt x="989" y="991"/>
                      </a:lnTo>
                      <a:lnTo>
                        <a:pt x="988" y="991"/>
                      </a:lnTo>
                      <a:lnTo>
                        <a:pt x="989" y="991"/>
                      </a:lnTo>
                      <a:lnTo>
                        <a:pt x="988" y="990"/>
                      </a:lnTo>
                      <a:lnTo>
                        <a:pt x="987" y="990"/>
                      </a:lnTo>
                      <a:lnTo>
                        <a:pt x="988" y="990"/>
                      </a:lnTo>
                      <a:lnTo>
                        <a:pt x="988" y="991"/>
                      </a:lnTo>
                      <a:lnTo>
                        <a:pt x="987" y="991"/>
                      </a:lnTo>
                      <a:lnTo>
                        <a:pt x="986" y="991"/>
                      </a:lnTo>
                      <a:lnTo>
                        <a:pt x="986" y="990"/>
                      </a:lnTo>
                      <a:lnTo>
                        <a:pt x="986" y="991"/>
                      </a:lnTo>
                      <a:lnTo>
                        <a:pt x="986" y="990"/>
                      </a:lnTo>
                      <a:lnTo>
                        <a:pt x="984" y="990"/>
                      </a:lnTo>
                      <a:lnTo>
                        <a:pt x="984" y="991"/>
                      </a:lnTo>
                      <a:lnTo>
                        <a:pt x="983" y="991"/>
                      </a:lnTo>
                      <a:lnTo>
                        <a:pt x="983" y="992"/>
                      </a:lnTo>
                      <a:lnTo>
                        <a:pt x="982" y="991"/>
                      </a:lnTo>
                      <a:lnTo>
                        <a:pt x="982" y="990"/>
                      </a:lnTo>
                      <a:lnTo>
                        <a:pt x="982" y="991"/>
                      </a:lnTo>
                      <a:lnTo>
                        <a:pt x="981" y="991"/>
                      </a:lnTo>
                      <a:lnTo>
                        <a:pt x="982" y="991"/>
                      </a:lnTo>
                      <a:lnTo>
                        <a:pt x="981" y="991"/>
                      </a:lnTo>
                      <a:lnTo>
                        <a:pt x="981" y="990"/>
                      </a:lnTo>
                      <a:lnTo>
                        <a:pt x="980" y="990"/>
                      </a:lnTo>
                      <a:lnTo>
                        <a:pt x="980" y="991"/>
                      </a:lnTo>
                      <a:lnTo>
                        <a:pt x="980" y="990"/>
                      </a:lnTo>
                      <a:lnTo>
                        <a:pt x="981" y="990"/>
                      </a:lnTo>
                      <a:lnTo>
                        <a:pt x="988" y="989"/>
                      </a:lnTo>
                      <a:lnTo>
                        <a:pt x="988" y="990"/>
                      </a:lnTo>
                      <a:lnTo>
                        <a:pt x="989" y="990"/>
                      </a:lnTo>
                      <a:close/>
                      <a:moveTo>
                        <a:pt x="1067" y="981"/>
                      </a:moveTo>
                      <a:lnTo>
                        <a:pt x="1068" y="981"/>
                      </a:lnTo>
                      <a:lnTo>
                        <a:pt x="1068" y="982"/>
                      </a:lnTo>
                      <a:lnTo>
                        <a:pt x="1069" y="982"/>
                      </a:lnTo>
                      <a:lnTo>
                        <a:pt x="1070" y="982"/>
                      </a:lnTo>
                      <a:lnTo>
                        <a:pt x="1070" y="983"/>
                      </a:lnTo>
                      <a:lnTo>
                        <a:pt x="1069" y="983"/>
                      </a:lnTo>
                      <a:lnTo>
                        <a:pt x="1070" y="983"/>
                      </a:lnTo>
                      <a:lnTo>
                        <a:pt x="1070" y="982"/>
                      </a:lnTo>
                      <a:lnTo>
                        <a:pt x="1070" y="983"/>
                      </a:lnTo>
                      <a:lnTo>
                        <a:pt x="1071" y="983"/>
                      </a:lnTo>
                      <a:lnTo>
                        <a:pt x="1072" y="983"/>
                      </a:lnTo>
                      <a:lnTo>
                        <a:pt x="1072" y="984"/>
                      </a:lnTo>
                      <a:lnTo>
                        <a:pt x="1071" y="984"/>
                      </a:lnTo>
                      <a:lnTo>
                        <a:pt x="1072" y="984"/>
                      </a:lnTo>
                      <a:lnTo>
                        <a:pt x="1072" y="983"/>
                      </a:lnTo>
                      <a:lnTo>
                        <a:pt x="1073" y="984"/>
                      </a:lnTo>
                      <a:lnTo>
                        <a:pt x="1072" y="984"/>
                      </a:lnTo>
                      <a:lnTo>
                        <a:pt x="1072" y="986"/>
                      </a:lnTo>
                      <a:lnTo>
                        <a:pt x="1071" y="984"/>
                      </a:lnTo>
                      <a:lnTo>
                        <a:pt x="1070" y="984"/>
                      </a:lnTo>
                      <a:lnTo>
                        <a:pt x="1069" y="984"/>
                      </a:lnTo>
                      <a:lnTo>
                        <a:pt x="1068" y="984"/>
                      </a:lnTo>
                      <a:lnTo>
                        <a:pt x="1067" y="986"/>
                      </a:lnTo>
                      <a:lnTo>
                        <a:pt x="1067" y="984"/>
                      </a:lnTo>
                      <a:lnTo>
                        <a:pt x="1067" y="983"/>
                      </a:lnTo>
                      <a:lnTo>
                        <a:pt x="1066" y="983"/>
                      </a:lnTo>
                      <a:lnTo>
                        <a:pt x="1066" y="982"/>
                      </a:lnTo>
                      <a:lnTo>
                        <a:pt x="1067" y="982"/>
                      </a:lnTo>
                      <a:lnTo>
                        <a:pt x="1067" y="983"/>
                      </a:lnTo>
                      <a:lnTo>
                        <a:pt x="1068" y="983"/>
                      </a:lnTo>
                      <a:lnTo>
                        <a:pt x="1068" y="982"/>
                      </a:lnTo>
                      <a:lnTo>
                        <a:pt x="1067" y="982"/>
                      </a:lnTo>
                      <a:lnTo>
                        <a:pt x="1067" y="981"/>
                      </a:lnTo>
                      <a:close/>
                      <a:moveTo>
                        <a:pt x="978" y="901"/>
                      </a:moveTo>
                      <a:lnTo>
                        <a:pt x="979" y="901"/>
                      </a:lnTo>
                      <a:lnTo>
                        <a:pt x="978" y="901"/>
                      </a:lnTo>
                      <a:lnTo>
                        <a:pt x="978" y="902"/>
                      </a:lnTo>
                      <a:lnTo>
                        <a:pt x="979" y="902"/>
                      </a:lnTo>
                      <a:lnTo>
                        <a:pt x="980" y="902"/>
                      </a:lnTo>
                      <a:lnTo>
                        <a:pt x="981" y="902"/>
                      </a:lnTo>
                      <a:lnTo>
                        <a:pt x="981" y="903"/>
                      </a:lnTo>
                      <a:lnTo>
                        <a:pt x="981" y="902"/>
                      </a:lnTo>
                      <a:lnTo>
                        <a:pt x="982" y="902"/>
                      </a:lnTo>
                      <a:lnTo>
                        <a:pt x="983" y="902"/>
                      </a:lnTo>
                      <a:lnTo>
                        <a:pt x="982" y="902"/>
                      </a:lnTo>
                      <a:lnTo>
                        <a:pt x="982" y="903"/>
                      </a:lnTo>
                      <a:lnTo>
                        <a:pt x="982" y="904"/>
                      </a:lnTo>
                      <a:lnTo>
                        <a:pt x="981" y="905"/>
                      </a:lnTo>
                      <a:lnTo>
                        <a:pt x="981" y="906"/>
                      </a:lnTo>
                      <a:lnTo>
                        <a:pt x="980" y="906"/>
                      </a:lnTo>
                      <a:lnTo>
                        <a:pt x="980" y="905"/>
                      </a:lnTo>
                      <a:lnTo>
                        <a:pt x="980" y="906"/>
                      </a:lnTo>
                      <a:lnTo>
                        <a:pt x="981" y="906"/>
                      </a:lnTo>
                      <a:lnTo>
                        <a:pt x="981" y="905"/>
                      </a:lnTo>
                      <a:lnTo>
                        <a:pt x="981" y="904"/>
                      </a:lnTo>
                      <a:lnTo>
                        <a:pt x="980" y="904"/>
                      </a:lnTo>
                      <a:lnTo>
                        <a:pt x="981" y="905"/>
                      </a:lnTo>
                      <a:lnTo>
                        <a:pt x="980" y="905"/>
                      </a:lnTo>
                      <a:lnTo>
                        <a:pt x="981" y="905"/>
                      </a:lnTo>
                      <a:lnTo>
                        <a:pt x="980" y="905"/>
                      </a:lnTo>
                      <a:lnTo>
                        <a:pt x="981" y="905"/>
                      </a:lnTo>
                      <a:lnTo>
                        <a:pt x="981" y="906"/>
                      </a:lnTo>
                      <a:lnTo>
                        <a:pt x="980" y="905"/>
                      </a:lnTo>
                      <a:lnTo>
                        <a:pt x="980" y="903"/>
                      </a:lnTo>
                      <a:lnTo>
                        <a:pt x="979" y="903"/>
                      </a:lnTo>
                      <a:lnTo>
                        <a:pt x="979" y="902"/>
                      </a:lnTo>
                      <a:lnTo>
                        <a:pt x="978" y="902"/>
                      </a:lnTo>
                      <a:lnTo>
                        <a:pt x="977" y="902"/>
                      </a:lnTo>
                      <a:lnTo>
                        <a:pt x="976" y="902"/>
                      </a:lnTo>
                      <a:lnTo>
                        <a:pt x="975" y="902"/>
                      </a:lnTo>
                      <a:lnTo>
                        <a:pt x="977" y="901"/>
                      </a:lnTo>
                      <a:lnTo>
                        <a:pt x="978" y="901"/>
                      </a:lnTo>
                      <a:close/>
                      <a:moveTo>
                        <a:pt x="1443" y="1080"/>
                      </a:moveTo>
                      <a:lnTo>
                        <a:pt x="1444" y="1081"/>
                      </a:lnTo>
                      <a:lnTo>
                        <a:pt x="1444" y="1082"/>
                      </a:lnTo>
                      <a:lnTo>
                        <a:pt x="1445" y="1082"/>
                      </a:lnTo>
                      <a:lnTo>
                        <a:pt x="1445" y="1083"/>
                      </a:lnTo>
                      <a:lnTo>
                        <a:pt x="1446" y="1083"/>
                      </a:lnTo>
                      <a:lnTo>
                        <a:pt x="1446" y="1084"/>
                      </a:lnTo>
                      <a:lnTo>
                        <a:pt x="1445" y="1084"/>
                      </a:lnTo>
                      <a:lnTo>
                        <a:pt x="1444" y="1083"/>
                      </a:lnTo>
                      <a:lnTo>
                        <a:pt x="1443" y="1083"/>
                      </a:lnTo>
                      <a:lnTo>
                        <a:pt x="1442" y="1083"/>
                      </a:lnTo>
                      <a:lnTo>
                        <a:pt x="1442" y="1082"/>
                      </a:lnTo>
                      <a:lnTo>
                        <a:pt x="1441" y="1083"/>
                      </a:lnTo>
                      <a:lnTo>
                        <a:pt x="1442" y="1080"/>
                      </a:lnTo>
                      <a:lnTo>
                        <a:pt x="1442" y="1081"/>
                      </a:lnTo>
                      <a:lnTo>
                        <a:pt x="1441" y="1079"/>
                      </a:lnTo>
                      <a:lnTo>
                        <a:pt x="1442" y="1079"/>
                      </a:lnTo>
                      <a:lnTo>
                        <a:pt x="1442" y="1080"/>
                      </a:lnTo>
                      <a:lnTo>
                        <a:pt x="1443" y="1080"/>
                      </a:lnTo>
                      <a:close/>
                      <a:moveTo>
                        <a:pt x="1156" y="854"/>
                      </a:moveTo>
                      <a:lnTo>
                        <a:pt x="1156" y="855"/>
                      </a:lnTo>
                      <a:lnTo>
                        <a:pt x="1156" y="857"/>
                      </a:lnTo>
                      <a:lnTo>
                        <a:pt x="1156" y="858"/>
                      </a:lnTo>
                      <a:lnTo>
                        <a:pt x="1155" y="858"/>
                      </a:lnTo>
                      <a:lnTo>
                        <a:pt x="1154" y="858"/>
                      </a:lnTo>
                      <a:lnTo>
                        <a:pt x="1154" y="857"/>
                      </a:lnTo>
                      <a:lnTo>
                        <a:pt x="1153" y="857"/>
                      </a:lnTo>
                      <a:lnTo>
                        <a:pt x="1151" y="857"/>
                      </a:lnTo>
                      <a:lnTo>
                        <a:pt x="1151" y="855"/>
                      </a:lnTo>
                      <a:lnTo>
                        <a:pt x="1153" y="855"/>
                      </a:lnTo>
                      <a:lnTo>
                        <a:pt x="1154" y="855"/>
                      </a:lnTo>
                      <a:lnTo>
                        <a:pt x="1154" y="854"/>
                      </a:lnTo>
                      <a:lnTo>
                        <a:pt x="1155" y="854"/>
                      </a:lnTo>
                      <a:lnTo>
                        <a:pt x="1156" y="854"/>
                      </a:lnTo>
                      <a:lnTo>
                        <a:pt x="1156" y="853"/>
                      </a:lnTo>
                      <a:lnTo>
                        <a:pt x="1157" y="853"/>
                      </a:lnTo>
                      <a:lnTo>
                        <a:pt x="1157" y="854"/>
                      </a:lnTo>
                      <a:lnTo>
                        <a:pt x="1156" y="854"/>
                      </a:lnTo>
                      <a:close/>
                      <a:moveTo>
                        <a:pt x="1355" y="1016"/>
                      </a:moveTo>
                      <a:lnTo>
                        <a:pt x="1354" y="1017"/>
                      </a:lnTo>
                      <a:lnTo>
                        <a:pt x="1355" y="1016"/>
                      </a:lnTo>
                      <a:lnTo>
                        <a:pt x="1355" y="1017"/>
                      </a:lnTo>
                      <a:lnTo>
                        <a:pt x="1355" y="1018"/>
                      </a:lnTo>
                      <a:lnTo>
                        <a:pt x="1354" y="1018"/>
                      </a:lnTo>
                      <a:lnTo>
                        <a:pt x="1355" y="1018"/>
                      </a:lnTo>
                      <a:lnTo>
                        <a:pt x="1354" y="1019"/>
                      </a:lnTo>
                      <a:lnTo>
                        <a:pt x="1354" y="1020"/>
                      </a:lnTo>
                      <a:lnTo>
                        <a:pt x="1354" y="1021"/>
                      </a:lnTo>
                      <a:lnTo>
                        <a:pt x="1354" y="1020"/>
                      </a:lnTo>
                      <a:lnTo>
                        <a:pt x="1353" y="1020"/>
                      </a:lnTo>
                      <a:lnTo>
                        <a:pt x="1353" y="1021"/>
                      </a:lnTo>
                      <a:lnTo>
                        <a:pt x="1353" y="1020"/>
                      </a:lnTo>
                      <a:lnTo>
                        <a:pt x="1353" y="1019"/>
                      </a:lnTo>
                      <a:lnTo>
                        <a:pt x="1352" y="1019"/>
                      </a:lnTo>
                      <a:lnTo>
                        <a:pt x="1353" y="1019"/>
                      </a:lnTo>
                      <a:lnTo>
                        <a:pt x="1352" y="1019"/>
                      </a:lnTo>
                      <a:lnTo>
                        <a:pt x="1353" y="1018"/>
                      </a:lnTo>
                      <a:lnTo>
                        <a:pt x="1353" y="1017"/>
                      </a:lnTo>
                      <a:lnTo>
                        <a:pt x="1354" y="1017"/>
                      </a:lnTo>
                      <a:lnTo>
                        <a:pt x="1353" y="1017"/>
                      </a:lnTo>
                      <a:lnTo>
                        <a:pt x="1353" y="1016"/>
                      </a:lnTo>
                      <a:lnTo>
                        <a:pt x="1353" y="1015"/>
                      </a:lnTo>
                      <a:lnTo>
                        <a:pt x="1353" y="1014"/>
                      </a:lnTo>
                      <a:lnTo>
                        <a:pt x="1354" y="1014"/>
                      </a:lnTo>
                      <a:lnTo>
                        <a:pt x="1354" y="1015"/>
                      </a:lnTo>
                      <a:lnTo>
                        <a:pt x="1355" y="1015"/>
                      </a:lnTo>
                      <a:lnTo>
                        <a:pt x="1355" y="1016"/>
                      </a:lnTo>
                      <a:close/>
                      <a:moveTo>
                        <a:pt x="1430" y="1134"/>
                      </a:moveTo>
                      <a:lnTo>
                        <a:pt x="1431" y="1134"/>
                      </a:lnTo>
                      <a:lnTo>
                        <a:pt x="1431" y="1135"/>
                      </a:lnTo>
                      <a:lnTo>
                        <a:pt x="1432" y="1135"/>
                      </a:lnTo>
                      <a:lnTo>
                        <a:pt x="1432" y="1134"/>
                      </a:lnTo>
                      <a:lnTo>
                        <a:pt x="1432" y="1135"/>
                      </a:lnTo>
                      <a:lnTo>
                        <a:pt x="1433" y="1135"/>
                      </a:lnTo>
                      <a:lnTo>
                        <a:pt x="1432" y="1135"/>
                      </a:lnTo>
                      <a:lnTo>
                        <a:pt x="1433" y="1136"/>
                      </a:lnTo>
                      <a:lnTo>
                        <a:pt x="1433" y="1135"/>
                      </a:lnTo>
                      <a:lnTo>
                        <a:pt x="1433" y="1134"/>
                      </a:lnTo>
                      <a:lnTo>
                        <a:pt x="1434" y="1134"/>
                      </a:lnTo>
                      <a:lnTo>
                        <a:pt x="1434" y="1135"/>
                      </a:lnTo>
                      <a:lnTo>
                        <a:pt x="1434" y="1136"/>
                      </a:lnTo>
                      <a:lnTo>
                        <a:pt x="1434" y="1137"/>
                      </a:lnTo>
                      <a:lnTo>
                        <a:pt x="1434" y="1138"/>
                      </a:lnTo>
                      <a:lnTo>
                        <a:pt x="1433" y="1138"/>
                      </a:lnTo>
                      <a:lnTo>
                        <a:pt x="1433" y="1137"/>
                      </a:lnTo>
                      <a:lnTo>
                        <a:pt x="1432" y="1137"/>
                      </a:lnTo>
                      <a:lnTo>
                        <a:pt x="1432" y="1136"/>
                      </a:lnTo>
                      <a:lnTo>
                        <a:pt x="1433" y="1136"/>
                      </a:lnTo>
                      <a:lnTo>
                        <a:pt x="1432" y="1136"/>
                      </a:lnTo>
                      <a:lnTo>
                        <a:pt x="1431" y="1136"/>
                      </a:lnTo>
                      <a:lnTo>
                        <a:pt x="1430" y="1136"/>
                      </a:lnTo>
                      <a:lnTo>
                        <a:pt x="1429" y="1136"/>
                      </a:lnTo>
                      <a:lnTo>
                        <a:pt x="1429" y="1135"/>
                      </a:lnTo>
                      <a:lnTo>
                        <a:pt x="1429" y="1134"/>
                      </a:lnTo>
                      <a:lnTo>
                        <a:pt x="1430" y="1134"/>
                      </a:lnTo>
                      <a:close/>
                      <a:moveTo>
                        <a:pt x="1278" y="1121"/>
                      </a:moveTo>
                      <a:lnTo>
                        <a:pt x="1278" y="1122"/>
                      </a:lnTo>
                      <a:lnTo>
                        <a:pt x="1279" y="1121"/>
                      </a:lnTo>
                      <a:lnTo>
                        <a:pt x="1279" y="1122"/>
                      </a:lnTo>
                      <a:lnTo>
                        <a:pt x="1280" y="1121"/>
                      </a:lnTo>
                      <a:lnTo>
                        <a:pt x="1280" y="1122"/>
                      </a:lnTo>
                      <a:lnTo>
                        <a:pt x="1280" y="1123"/>
                      </a:lnTo>
                      <a:lnTo>
                        <a:pt x="1279" y="1123"/>
                      </a:lnTo>
                      <a:lnTo>
                        <a:pt x="1279" y="1122"/>
                      </a:lnTo>
                      <a:lnTo>
                        <a:pt x="1278" y="1122"/>
                      </a:lnTo>
                      <a:lnTo>
                        <a:pt x="1278" y="1123"/>
                      </a:lnTo>
                      <a:lnTo>
                        <a:pt x="1279" y="1123"/>
                      </a:lnTo>
                      <a:lnTo>
                        <a:pt x="1279" y="1124"/>
                      </a:lnTo>
                      <a:lnTo>
                        <a:pt x="1278" y="1124"/>
                      </a:lnTo>
                      <a:lnTo>
                        <a:pt x="1278" y="1125"/>
                      </a:lnTo>
                      <a:lnTo>
                        <a:pt x="1277" y="1125"/>
                      </a:lnTo>
                      <a:lnTo>
                        <a:pt x="1278" y="1125"/>
                      </a:lnTo>
                      <a:lnTo>
                        <a:pt x="1279" y="1125"/>
                      </a:lnTo>
                      <a:lnTo>
                        <a:pt x="1278" y="1124"/>
                      </a:lnTo>
                      <a:lnTo>
                        <a:pt x="1279" y="1124"/>
                      </a:lnTo>
                      <a:lnTo>
                        <a:pt x="1279" y="1125"/>
                      </a:lnTo>
                      <a:lnTo>
                        <a:pt x="1279" y="1127"/>
                      </a:lnTo>
                      <a:lnTo>
                        <a:pt x="1278" y="1127"/>
                      </a:lnTo>
                      <a:lnTo>
                        <a:pt x="1279" y="1127"/>
                      </a:lnTo>
                      <a:lnTo>
                        <a:pt x="1278" y="1127"/>
                      </a:lnTo>
                      <a:lnTo>
                        <a:pt x="1277" y="1127"/>
                      </a:lnTo>
                      <a:lnTo>
                        <a:pt x="1277" y="1125"/>
                      </a:lnTo>
                      <a:lnTo>
                        <a:pt x="1276" y="1124"/>
                      </a:lnTo>
                      <a:lnTo>
                        <a:pt x="1277" y="1124"/>
                      </a:lnTo>
                      <a:lnTo>
                        <a:pt x="1277" y="1123"/>
                      </a:lnTo>
                      <a:lnTo>
                        <a:pt x="1276" y="1123"/>
                      </a:lnTo>
                      <a:lnTo>
                        <a:pt x="1276" y="1122"/>
                      </a:lnTo>
                      <a:lnTo>
                        <a:pt x="1277" y="1122"/>
                      </a:lnTo>
                      <a:lnTo>
                        <a:pt x="1276" y="1122"/>
                      </a:lnTo>
                      <a:lnTo>
                        <a:pt x="1276" y="1121"/>
                      </a:lnTo>
                      <a:lnTo>
                        <a:pt x="1277" y="1121"/>
                      </a:lnTo>
                      <a:lnTo>
                        <a:pt x="1278" y="1121"/>
                      </a:lnTo>
                      <a:close/>
                      <a:moveTo>
                        <a:pt x="1505" y="1065"/>
                      </a:moveTo>
                      <a:lnTo>
                        <a:pt x="1506" y="1066"/>
                      </a:lnTo>
                      <a:lnTo>
                        <a:pt x="1505" y="1066"/>
                      </a:lnTo>
                      <a:lnTo>
                        <a:pt x="1504" y="1067"/>
                      </a:lnTo>
                      <a:lnTo>
                        <a:pt x="1504" y="1068"/>
                      </a:lnTo>
                      <a:lnTo>
                        <a:pt x="1503" y="1068"/>
                      </a:lnTo>
                      <a:lnTo>
                        <a:pt x="1503" y="1069"/>
                      </a:lnTo>
                      <a:lnTo>
                        <a:pt x="1502" y="1069"/>
                      </a:lnTo>
                      <a:lnTo>
                        <a:pt x="1502" y="1068"/>
                      </a:lnTo>
                      <a:lnTo>
                        <a:pt x="1502" y="1067"/>
                      </a:lnTo>
                      <a:lnTo>
                        <a:pt x="1500" y="1067"/>
                      </a:lnTo>
                      <a:lnTo>
                        <a:pt x="1502" y="1067"/>
                      </a:lnTo>
                      <a:lnTo>
                        <a:pt x="1502" y="1066"/>
                      </a:lnTo>
                      <a:lnTo>
                        <a:pt x="1502" y="1065"/>
                      </a:lnTo>
                      <a:lnTo>
                        <a:pt x="1502" y="1066"/>
                      </a:lnTo>
                      <a:lnTo>
                        <a:pt x="1503" y="1065"/>
                      </a:lnTo>
                      <a:lnTo>
                        <a:pt x="1504" y="1065"/>
                      </a:lnTo>
                      <a:lnTo>
                        <a:pt x="1505" y="1065"/>
                      </a:lnTo>
                      <a:close/>
                      <a:moveTo>
                        <a:pt x="1496" y="1071"/>
                      </a:moveTo>
                      <a:lnTo>
                        <a:pt x="1496" y="1072"/>
                      </a:lnTo>
                      <a:lnTo>
                        <a:pt x="1495" y="1073"/>
                      </a:lnTo>
                      <a:lnTo>
                        <a:pt x="1494" y="1073"/>
                      </a:lnTo>
                      <a:lnTo>
                        <a:pt x="1493" y="1073"/>
                      </a:lnTo>
                      <a:lnTo>
                        <a:pt x="1493" y="1072"/>
                      </a:lnTo>
                      <a:lnTo>
                        <a:pt x="1492" y="1071"/>
                      </a:lnTo>
                      <a:lnTo>
                        <a:pt x="1492" y="1070"/>
                      </a:lnTo>
                      <a:lnTo>
                        <a:pt x="1493" y="1070"/>
                      </a:lnTo>
                      <a:lnTo>
                        <a:pt x="1494" y="1071"/>
                      </a:lnTo>
                      <a:lnTo>
                        <a:pt x="1495" y="1070"/>
                      </a:lnTo>
                      <a:lnTo>
                        <a:pt x="1496" y="1071"/>
                      </a:lnTo>
                      <a:close/>
                      <a:moveTo>
                        <a:pt x="1196" y="917"/>
                      </a:moveTo>
                      <a:lnTo>
                        <a:pt x="1196" y="918"/>
                      </a:lnTo>
                      <a:lnTo>
                        <a:pt x="1195" y="918"/>
                      </a:lnTo>
                      <a:lnTo>
                        <a:pt x="1195" y="919"/>
                      </a:lnTo>
                      <a:lnTo>
                        <a:pt x="1196" y="919"/>
                      </a:lnTo>
                      <a:lnTo>
                        <a:pt x="1196" y="918"/>
                      </a:lnTo>
                      <a:lnTo>
                        <a:pt x="1196" y="917"/>
                      </a:lnTo>
                      <a:lnTo>
                        <a:pt x="1197" y="918"/>
                      </a:lnTo>
                      <a:lnTo>
                        <a:pt x="1197" y="919"/>
                      </a:lnTo>
                      <a:lnTo>
                        <a:pt x="1196" y="919"/>
                      </a:lnTo>
                      <a:lnTo>
                        <a:pt x="1197" y="919"/>
                      </a:lnTo>
                      <a:lnTo>
                        <a:pt x="1198" y="919"/>
                      </a:lnTo>
                      <a:lnTo>
                        <a:pt x="1198" y="921"/>
                      </a:lnTo>
                      <a:lnTo>
                        <a:pt x="1199" y="921"/>
                      </a:lnTo>
                      <a:lnTo>
                        <a:pt x="1199" y="922"/>
                      </a:lnTo>
                      <a:lnTo>
                        <a:pt x="1198" y="922"/>
                      </a:lnTo>
                      <a:lnTo>
                        <a:pt x="1197" y="922"/>
                      </a:lnTo>
                      <a:lnTo>
                        <a:pt x="1196" y="922"/>
                      </a:lnTo>
                      <a:lnTo>
                        <a:pt x="1196" y="921"/>
                      </a:lnTo>
                      <a:lnTo>
                        <a:pt x="1196" y="919"/>
                      </a:lnTo>
                      <a:lnTo>
                        <a:pt x="1196" y="921"/>
                      </a:lnTo>
                      <a:lnTo>
                        <a:pt x="1195" y="921"/>
                      </a:lnTo>
                      <a:lnTo>
                        <a:pt x="1195" y="922"/>
                      </a:lnTo>
                      <a:lnTo>
                        <a:pt x="1196" y="921"/>
                      </a:lnTo>
                      <a:lnTo>
                        <a:pt x="1196" y="919"/>
                      </a:lnTo>
                      <a:lnTo>
                        <a:pt x="1195" y="919"/>
                      </a:lnTo>
                      <a:lnTo>
                        <a:pt x="1194" y="919"/>
                      </a:lnTo>
                      <a:lnTo>
                        <a:pt x="1194" y="921"/>
                      </a:lnTo>
                      <a:lnTo>
                        <a:pt x="1193" y="919"/>
                      </a:lnTo>
                      <a:lnTo>
                        <a:pt x="1193" y="918"/>
                      </a:lnTo>
                      <a:lnTo>
                        <a:pt x="1194" y="918"/>
                      </a:lnTo>
                      <a:lnTo>
                        <a:pt x="1195" y="917"/>
                      </a:lnTo>
                      <a:lnTo>
                        <a:pt x="1196" y="917"/>
                      </a:lnTo>
                      <a:close/>
                      <a:moveTo>
                        <a:pt x="1486" y="1077"/>
                      </a:moveTo>
                      <a:lnTo>
                        <a:pt x="1485" y="1077"/>
                      </a:lnTo>
                      <a:lnTo>
                        <a:pt x="1486" y="1077"/>
                      </a:lnTo>
                      <a:lnTo>
                        <a:pt x="1487" y="1076"/>
                      </a:lnTo>
                      <a:lnTo>
                        <a:pt x="1489" y="1076"/>
                      </a:lnTo>
                      <a:lnTo>
                        <a:pt x="1489" y="1074"/>
                      </a:lnTo>
                      <a:lnTo>
                        <a:pt x="1489" y="1073"/>
                      </a:lnTo>
                      <a:lnTo>
                        <a:pt x="1490" y="1073"/>
                      </a:lnTo>
                      <a:lnTo>
                        <a:pt x="1491" y="1073"/>
                      </a:lnTo>
                      <a:lnTo>
                        <a:pt x="1491" y="1072"/>
                      </a:lnTo>
                      <a:lnTo>
                        <a:pt x="1491" y="1071"/>
                      </a:lnTo>
                      <a:lnTo>
                        <a:pt x="1490" y="1071"/>
                      </a:lnTo>
                      <a:lnTo>
                        <a:pt x="1490" y="1070"/>
                      </a:lnTo>
                      <a:lnTo>
                        <a:pt x="1491" y="1070"/>
                      </a:lnTo>
                      <a:lnTo>
                        <a:pt x="1492" y="1073"/>
                      </a:lnTo>
                      <a:lnTo>
                        <a:pt x="1492" y="1074"/>
                      </a:lnTo>
                      <a:lnTo>
                        <a:pt x="1491" y="1076"/>
                      </a:lnTo>
                      <a:lnTo>
                        <a:pt x="1489" y="1076"/>
                      </a:lnTo>
                      <a:lnTo>
                        <a:pt x="1489" y="1077"/>
                      </a:lnTo>
                      <a:lnTo>
                        <a:pt x="1486" y="1077"/>
                      </a:lnTo>
                      <a:close/>
                      <a:moveTo>
                        <a:pt x="1268" y="1261"/>
                      </a:moveTo>
                      <a:lnTo>
                        <a:pt x="1267" y="1261"/>
                      </a:lnTo>
                      <a:lnTo>
                        <a:pt x="1267" y="1262"/>
                      </a:lnTo>
                      <a:lnTo>
                        <a:pt x="1266" y="1263"/>
                      </a:lnTo>
                      <a:lnTo>
                        <a:pt x="1266" y="1262"/>
                      </a:lnTo>
                      <a:lnTo>
                        <a:pt x="1265" y="1262"/>
                      </a:lnTo>
                      <a:lnTo>
                        <a:pt x="1265" y="1261"/>
                      </a:lnTo>
                      <a:lnTo>
                        <a:pt x="1266" y="1261"/>
                      </a:lnTo>
                      <a:lnTo>
                        <a:pt x="1266" y="1260"/>
                      </a:lnTo>
                      <a:lnTo>
                        <a:pt x="1267" y="1260"/>
                      </a:lnTo>
                      <a:lnTo>
                        <a:pt x="1267" y="1259"/>
                      </a:lnTo>
                      <a:lnTo>
                        <a:pt x="1267" y="1258"/>
                      </a:lnTo>
                      <a:lnTo>
                        <a:pt x="1268" y="1258"/>
                      </a:lnTo>
                      <a:lnTo>
                        <a:pt x="1268" y="1257"/>
                      </a:lnTo>
                      <a:lnTo>
                        <a:pt x="1268" y="1258"/>
                      </a:lnTo>
                      <a:lnTo>
                        <a:pt x="1270" y="1258"/>
                      </a:lnTo>
                      <a:lnTo>
                        <a:pt x="1270" y="1259"/>
                      </a:lnTo>
                      <a:lnTo>
                        <a:pt x="1270" y="1260"/>
                      </a:lnTo>
                      <a:lnTo>
                        <a:pt x="1268" y="1261"/>
                      </a:lnTo>
                      <a:close/>
                      <a:moveTo>
                        <a:pt x="1213" y="1033"/>
                      </a:moveTo>
                      <a:lnTo>
                        <a:pt x="1214" y="1033"/>
                      </a:lnTo>
                      <a:lnTo>
                        <a:pt x="1214" y="1032"/>
                      </a:lnTo>
                      <a:lnTo>
                        <a:pt x="1215" y="1032"/>
                      </a:lnTo>
                      <a:lnTo>
                        <a:pt x="1215" y="1033"/>
                      </a:lnTo>
                      <a:lnTo>
                        <a:pt x="1216" y="1033"/>
                      </a:lnTo>
                      <a:lnTo>
                        <a:pt x="1216" y="1034"/>
                      </a:lnTo>
                      <a:lnTo>
                        <a:pt x="1215" y="1034"/>
                      </a:lnTo>
                      <a:lnTo>
                        <a:pt x="1214" y="1034"/>
                      </a:lnTo>
                      <a:lnTo>
                        <a:pt x="1214" y="1035"/>
                      </a:lnTo>
                      <a:lnTo>
                        <a:pt x="1213" y="1035"/>
                      </a:lnTo>
                      <a:lnTo>
                        <a:pt x="1211" y="1035"/>
                      </a:lnTo>
                      <a:lnTo>
                        <a:pt x="1210" y="1035"/>
                      </a:lnTo>
                      <a:lnTo>
                        <a:pt x="1210" y="1034"/>
                      </a:lnTo>
                      <a:lnTo>
                        <a:pt x="1210" y="1035"/>
                      </a:lnTo>
                      <a:lnTo>
                        <a:pt x="1211" y="1035"/>
                      </a:lnTo>
                      <a:lnTo>
                        <a:pt x="1211" y="1034"/>
                      </a:lnTo>
                      <a:lnTo>
                        <a:pt x="1212" y="1035"/>
                      </a:lnTo>
                      <a:lnTo>
                        <a:pt x="1212" y="1034"/>
                      </a:lnTo>
                      <a:lnTo>
                        <a:pt x="1212" y="1033"/>
                      </a:lnTo>
                      <a:lnTo>
                        <a:pt x="1212" y="1032"/>
                      </a:lnTo>
                      <a:lnTo>
                        <a:pt x="1213" y="1032"/>
                      </a:lnTo>
                      <a:lnTo>
                        <a:pt x="1213" y="1033"/>
                      </a:lnTo>
                      <a:close/>
                      <a:moveTo>
                        <a:pt x="1278" y="942"/>
                      </a:moveTo>
                      <a:lnTo>
                        <a:pt x="1278" y="943"/>
                      </a:lnTo>
                      <a:lnTo>
                        <a:pt x="1278" y="944"/>
                      </a:lnTo>
                      <a:lnTo>
                        <a:pt x="1277" y="945"/>
                      </a:lnTo>
                      <a:lnTo>
                        <a:pt x="1276" y="945"/>
                      </a:lnTo>
                      <a:lnTo>
                        <a:pt x="1277" y="944"/>
                      </a:lnTo>
                      <a:lnTo>
                        <a:pt x="1277" y="943"/>
                      </a:lnTo>
                      <a:lnTo>
                        <a:pt x="1276" y="943"/>
                      </a:lnTo>
                      <a:lnTo>
                        <a:pt x="1276" y="944"/>
                      </a:lnTo>
                      <a:lnTo>
                        <a:pt x="1276" y="943"/>
                      </a:lnTo>
                      <a:lnTo>
                        <a:pt x="1275" y="943"/>
                      </a:lnTo>
                      <a:lnTo>
                        <a:pt x="1274" y="943"/>
                      </a:lnTo>
                      <a:lnTo>
                        <a:pt x="1274" y="944"/>
                      </a:lnTo>
                      <a:lnTo>
                        <a:pt x="1274" y="943"/>
                      </a:lnTo>
                      <a:lnTo>
                        <a:pt x="1273" y="943"/>
                      </a:lnTo>
                      <a:lnTo>
                        <a:pt x="1274" y="943"/>
                      </a:lnTo>
                      <a:lnTo>
                        <a:pt x="1273" y="943"/>
                      </a:lnTo>
                      <a:lnTo>
                        <a:pt x="1273" y="942"/>
                      </a:lnTo>
                      <a:lnTo>
                        <a:pt x="1274" y="942"/>
                      </a:lnTo>
                      <a:lnTo>
                        <a:pt x="1273" y="942"/>
                      </a:lnTo>
                      <a:lnTo>
                        <a:pt x="1274" y="942"/>
                      </a:lnTo>
                      <a:lnTo>
                        <a:pt x="1273" y="942"/>
                      </a:lnTo>
                      <a:lnTo>
                        <a:pt x="1274" y="942"/>
                      </a:lnTo>
                      <a:lnTo>
                        <a:pt x="1275" y="942"/>
                      </a:lnTo>
                      <a:lnTo>
                        <a:pt x="1274" y="942"/>
                      </a:lnTo>
                      <a:lnTo>
                        <a:pt x="1275" y="942"/>
                      </a:lnTo>
                      <a:lnTo>
                        <a:pt x="1275" y="941"/>
                      </a:lnTo>
                      <a:lnTo>
                        <a:pt x="1276" y="941"/>
                      </a:lnTo>
                      <a:lnTo>
                        <a:pt x="1276" y="942"/>
                      </a:lnTo>
                      <a:lnTo>
                        <a:pt x="1277" y="942"/>
                      </a:lnTo>
                      <a:lnTo>
                        <a:pt x="1278" y="941"/>
                      </a:lnTo>
                      <a:lnTo>
                        <a:pt x="1278" y="942"/>
                      </a:lnTo>
                      <a:close/>
                      <a:moveTo>
                        <a:pt x="1055" y="993"/>
                      </a:moveTo>
                      <a:lnTo>
                        <a:pt x="1056" y="993"/>
                      </a:lnTo>
                      <a:lnTo>
                        <a:pt x="1056" y="994"/>
                      </a:lnTo>
                      <a:lnTo>
                        <a:pt x="1056" y="995"/>
                      </a:lnTo>
                      <a:lnTo>
                        <a:pt x="1056" y="994"/>
                      </a:lnTo>
                      <a:lnTo>
                        <a:pt x="1055" y="994"/>
                      </a:lnTo>
                      <a:lnTo>
                        <a:pt x="1055" y="995"/>
                      </a:lnTo>
                      <a:lnTo>
                        <a:pt x="1054" y="995"/>
                      </a:lnTo>
                      <a:lnTo>
                        <a:pt x="1053" y="995"/>
                      </a:lnTo>
                      <a:lnTo>
                        <a:pt x="1054" y="995"/>
                      </a:lnTo>
                      <a:lnTo>
                        <a:pt x="1055" y="995"/>
                      </a:lnTo>
                      <a:lnTo>
                        <a:pt x="1056" y="995"/>
                      </a:lnTo>
                      <a:lnTo>
                        <a:pt x="1056" y="996"/>
                      </a:lnTo>
                      <a:lnTo>
                        <a:pt x="1054" y="996"/>
                      </a:lnTo>
                      <a:lnTo>
                        <a:pt x="1054" y="995"/>
                      </a:lnTo>
                      <a:lnTo>
                        <a:pt x="1053" y="996"/>
                      </a:lnTo>
                      <a:lnTo>
                        <a:pt x="1053" y="995"/>
                      </a:lnTo>
                      <a:lnTo>
                        <a:pt x="1052" y="995"/>
                      </a:lnTo>
                      <a:lnTo>
                        <a:pt x="1051" y="995"/>
                      </a:lnTo>
                      <a:lnTo>
                        <a:pt x="1052" y="994"/>
                      </a:lnTo>
                      <a:lnTo>
                        <a:pt x="1053" y="994"/>
                      </a:lnTo>
                      <a:lnTo>
                        <a:pt x="1054" y="993"/>
                      </a:lnTo>
                      <a:lnTo>
                        <a:pt x="1055" y="993"/>
                      </a:lnTo>
                      <a:close/>
                      <a:moveTo>
                        <a:pt x="1111" y="996"/>
                      </a:moveTo>
                      <a:lnTo>
                        <a:pt x="1112" y="998"/>
                      </a:lnTo>
                      <a:lnTo>
                        <a:pt x="1111" y="999"/>
                      </a:lnTo>
                      <a:lnTo>
                        <a:pt x="1111" y="1000"/>
                      </a:lnTo>
                      <a:lnTo>
                        <a:pt x="1110" y="1000"/>
                      </a:lnTo>
                      <a:lnTo>
                        <a:pt x="1110" y="1001"/>
                      </a:lnTo>
                      <a:lnTo>
                        <a:pt x="1109" y="1001"/>
                      </a:lnTo>
                      <a:lnTo>
                        <a:pt x="1109" y="1002"/>
                      </a:lnTo>
                      <a:lnTo>
                        <a:pt x="1109" y="1003"/>
                      </a:lnTo>
                      <a:lnTo>
                        <a:pt x="1108" y="1004"/>
                      </a:lnTo>
                      <a:lnTo>
                        <a:pt x="1107" y="1004"/>
                      </a:lnTo>
                      <a:lnTo>
                        <a:pt x="1108" y="1002"/>
                      </a:lnTo>
                      <a:lnTo>
                        <a:pt x="1108" y="1001"/>
                      </a:lnTo>
                      <a:lnTo>
                        <a:pt x="1109" y="1001"/>
                      </a:lnTo>
                      <a:lnTo>
                        <a:pt x="1109" y="1000"/>
                      </a:lnTo>
                      <a:lnTo>
                        <a:pt x="1110" y="999"/>
                      </a:lnTo>
                      <a:lnTo>
                        <a:pt x="1110" y="998"/>
                      </a:lnTo>
                      <a:lnTo>
                        <a:pt x="1110" y="996"/>
                      </a:lnTo>
                      <a:lnTo>
                        <a:pt x="1111" y="996"/>
                      </a:lnTo>
                      <a:close/>
                      <a:moveTo>
                        <a:pt x="1427" y="1125"/>
                      </a:moveTo>
                      <a:lnTo>
                        <a:pt x="1427" y="1127"/>
                      </a:lnTo>
                      <a:lnTo>
                        <a:pt x="1426" y="1127"/>
                      </a:lnTo>
                      <a:lnTo>
                        <a:pt x="1427" y="1127"/>
                      </a:lnTo>
                      <a:lnTo>
                        <a:pt x="1428" y="1127"/>
                      </a:lnTo>
                      <a:lnTo>
                        <a:pt x="1428" y="1128"/>
                      </a:lnTo>
                      <a:lnTo>
                        <a:pt x="1427" y="1128"/>
                      </a:lnTo>
                      <a:lnTo>
                        <a:pt x="1426" y="1129"/>
                      </a:lnTo>
                      <a:lnTo>
                        <a:pt x="1425" y="1129"/>
                      </a:lnTo>
                      <a:lnTo>
                        <a:pt x="1425" y="1130"/>
                      </a:lnTo>
                      <a:lnTo>
                        <a:pt x="1424" y="1130"/>
                      </a:lnTo>
                      <a:lnTo>
                        <a:pt x="1422" y="1130"/>
                      </a:lnTo>
                      <a:lnTo>
                        <a:pt x="1421" y="1130"/>
                      </a:lnTo>
                      <a:lnTo>
                        <a:pt x="1420" y="1130"/>
                      </a:lnTo>
                      <a:lnTo>
                        <a:pt x="1421" y="1130"/>
                      </a:lnTo>
                      <a:lnTo>
                        <a:pt x="1422" y="1130"/>
                      </a:lnTo>
                      <a:lnTo>
                        <a:pt x="1422" y="1129"/>
                      </a:lnTo>
                      <a:lnTo>
                        <a:pt x="1424" y="1129"/>
                      </a:lnTo>
                      <a:lnTo>
                        <a:pt x="1425" y="1128"/>
                      </a:lnTo>
                      <a:lnTo>
                        <a:pt x="1426" y="1127"/>
                      </a:lnTo>
                      <a:lnTo>
                        <a:pt x="1426" y="1125"/>
                      </a:lnTo>
                      <a:lnTo>
                        <a:pt x="1427" y="1125"/>
                      </a:lnTo>
                      <a:lnTo>
                        <a:pt x="1428" y="1125"/>
                      </a:lnTo>
                      <a:lnTo>
                        <a:pt x="1427" y="1125"/>
                      </a:lnTo>
                      <a:close/>
                      <a:moveTo>
                        <a:pt x="1310" y="1218"/>
                      </a:moveTo>
                      <a:lnTo>
                        <a:pt x="1310" y="1219"/>
                      </a:lnTo>
                      <a:lnTo>
                        <a:pt x="1309" y="1219"/>
                      </a:lnTo>
                      <a:lnTo>
                        <a:pt x="1309" y="1220"/>
                      </a:lnTo>
                      <a:lnTo>
                        <a:pt x="1308" y="1220"/>
                      </a:lnTo>
                      <a:lnTo>
                        <a:pt x="1308" y="1221"/>
                      </a:lnTo>
                      <a:lnTo>
                        <a:pt x="1305" y="1224"/>
                      </a:lnTo>
                      <a:lnTo>
                        <a:pt x="1304" y="1224"/>
                      </a:lnTo>
                      <a:lnTo>
                        <a:pt x="1303" y="1224"/>
                      </a:lnTo>
                      <a:lnTo>
                        <a:pt x="1303" y="1223"/>
                      </a:lnTo>
                      <a:lnTo>
                        <a:pt x="1304" y="1223"/>
                      </a:lnTo>
                      <a:lnTo>
                        <a:pt x="1304" y="1222"/>
                      </a:lnTo>
                      <a:lnTo>
                        <a:pt x="1305" y="1222"/>
                      </a:lnTo>
                      <a:lnTo>
                        <a:pt x="1305" y="1221"/>
                      </a:lnTo>
                      <a:lnTo>
                        <a:pt x="1305" y="1222"/>
                      </a:lnTo>
                      <a:lnTo>
                        <a:pt x="1306" y="1222"/>
                      </a:lnTo>
                      <a:lnTo>
                        <a:pt x="1306" y="1221"/>
                      </a:lnTo>
                      <a:lnTo>
                        <a:pt x="1306" y="1222"/>
                      </a:lnTo>
                      <a:lnTo>
                        <a:pt x="1306" y="1221"/>
                      </a:lnTo>
                      <a:lnTo>
                        <a:pt x="1308" y="1221"/>
                      </a:lnTo>
                      <a:lnTo>
                        <a:pt x="1308" y="1220"/>
                      </a:lnTo>
                      <a:lnTo>
                        <a:pt x="1308" y="1219"/>
                      </a:lnTo>
                      <a:lnTo>
                        <a:pt x="1309" y="1219"/>
                      </a:lnTo>
                      <a:lnTo>
                        <a:pt x="1309" y="1218"/>
                      </a:lnTo>
                      <a:lnTo>
                        <a:pt x="1308" y="1218"/>
                      </a:lnTo>
                      <a:lnTo>
                        <a:pt x="1308" y="1219"/>
                      </a:lnTo>
                      <a:lnTo>
                        <a:pt x="1306" y="1220"/>
                      </a:lnTo>
                      <a:lnTo>
                        <a:pt x="1306" y="1221"/>
                      </a:lnTo>
                      <a:lnTo>
                        <a:pt x="1305" y="1221"/>
                      </a:lnTo>
                      <a:lnTo>
                        <a:pt x="1305" y="1220"/>
                      </a:lnTo>
                      <a:lnTo>
                        <a:pt x="1306" y="1219"/>
                      </a:lnTo>
                      <a:lnTo>
                        <a:pt x="1308" y="1219"/>
                      </a:lnTo>
                      <a:lnTo>
                        <a:pt x="1309" y="1218"/>
                      </a:lnTo>
                      <a:lnTo>
                        <a:pt x="1309" y="1219"/>
                      </a:lnTo>
                      <a:lnTo>
                        <a:pt x="1309" y="1220"/>
                      </a:lnTo>
                      <a:lnTo>
                        <a:pt x="1309" y="1219"/>
                      </a:lnTo>
                      <a:lnTo>
                        <a:pt x="1309" y="1218"/>
                      </a:lnTo>
                      <a:lnTo>
                        <a:pt x="1309" y="1217"/>
                      </a:lnTo>
                      <a:lnTo>
                        <a:pt x="1310" y="1217"/>
                      </a:lnTo>
                      <a:lnTo>
                        <a:pt x="1310" y="1218"/>
                      </a:lnTo>
                      <a:close/>
                      <a:moveTo>
                        <a:pt x="1264" y="1091"/>
                      </a:moveTo>
                      <a:lnTo>
                        <a:pt x="1265" y="1091"/>
                      </a:lnTo>
                      <a:lnTo>
                        <a:pt x="1266" y="1091"/>
                      </a:lnTo>
                      <a:lnTo>
                        <a:pt x="1265" y="1092"/>
                      </a:lnTo>
                      <a:lnTo>
                        <a:pt x="1265" y="1093"/>
                      </a:lnTo>
                      <a:lnTo>
                        <a:pt x="1265" y="1094"/>
                      </a:lnTo>
                      <a:lnTo>
                        <a:pt x="1265" y="1095"/>
                      </a:lnTo>
                      <a:lnTo>
                        <a:pt x="1264" y="1095"/>
                      </a:lnTo>
                      <a:lnTo>
                        <a:pt x="1263" y="1095"/>
                      </a:lnTo>
                      <a:lnTo>
                        <a:pt x="1263" y="1094"/>
                      </a:lnTo>
                      <a:lnTo>
                        <a:pt x="1264" y="1094"/>
                      </a:lnTo>
                      <a:lnTo>
                        <a:pt x="1265" y="1093"/>
                      </a:lnTo>
                      <a:lnTo>
                        <a:pt x="1264" y="1093"/>
                      </a:lnTo>
                      <a:lnTo>
                        <a:pt x="1264" y="1092"/>
                      </a:lnTo>
                      <a:lnTo>
                        <a:pt x="1263" y="1092"/>
                      </a:lnTo>
                      <a:lnTo>
                        <a:pt x="1263" y="1091"/>
                      </a:lnTo>
                      <a:lnTo>
                        <a:pt x="1263" y="1090"/>
                      </a:lnTo>
                      <a:lnTo>
                        <a:pt x="1264" y="1091"/>
                      </a:lnTo>
                      <a:close/>
                      <a:moveTo>
                        <a:pt x="1111" y="973"/>
                      </a:moveTo>
                      <a:lnTo>
                        <a:pt x="1110" y="973"/>
                      </a:lnTo>
                      <a:lnTo>
                        <a:pt x="1110" y="974"/>
                      </a:lnTo>
                      <a:lnTo>
                        <a:pt x="1110" y="975"/>
                      </a:lnTo>
                      <a:lnTo>
                        <a:pt x="1109" y="975"/>
                      </a:lnTo>
                      <a:lnTo>
                        <a:pt x="1108" y="975"/>
                      </a:lnTo>
                      <a:lnTo>
                        <a:pt x="1107" y="975"/>
                      </a:lnTo>
                      <a:lnTo>
                        <a:pt x="1106" y="975"/>
                      </a:lnTo>
                      <a:lnTo>
                        <a:pt x="1107" y="975"/>
                      </a:lnTo>
                      <a:lnTo>
                        <a:pt x="1107" y="974"/>
                      </a:lnTo>
                      <a:lnTo>
                        <a:pt x="1108" y="974"/>
                      </a:lnTo>
                      <a:lnTo>
                        <a:pt x="1109" y="974"/>
                      </a:lnTo>
                      <a:lnTo>
                        <a:pt x="1109" y="973"/>
                      </a:lnTo>
                      <a:lnTo>
                        <a:pt x="1108" y="973"/>
                      </a:lnTo>
                      <a:lnTo>
                        <a:pt x="1107" y="973"/>
                      </a:lnTo>
                      <a:lnTo>
                        <a:pt x="1108" y="973"/>
                      </a:lnTo>
                      <a:lnTo>
                        <a:pt x="1109" y="973"/>
                      </a:lnTo>
                      <a:lnTo>
                        <a:pt x="1109" y="971"/>
                      </a:lnTo>
                      <a:lnTo>
                        <a:pt x="1107" y="970"/>
                      </a:lnTo>
                      <a:lnTo>
                        <a:pt x="1111" y="971"/>
                      </a:lnTo>
                      <a:lnTo>
                        <a:pt x="1111" y="973"/>
                      </a:lnTo>
                      <a:close/>
                      <a:moveTo>
                        <a:pt x="1056" y="983"/>
                      </a:moveTo>
                      <a:lnTo>
                        <a:pt x="1056" y="984"/>
                      </a:lnTo>
                      <a:lnTo>
                        <a:pt x="1056" y="988"/>
                      </a:lnTo>
                      <a:lnTo>
                        <a:pt x="1055" y="988"/>
                      </a:lnTo>
                      <a:lnTo>
                        <a:pt x="1055" y="989"/>
                      </a:lnTo>
                      <a:lnTo>
                        <a:pt x="1055" y="990"/>
                      </a:lnTo>
                      <a:lnTo>
                        <a:pt x="1054" y="989"/>
                      </a:lnTo>
                      <a:lnTo>
                        <a:pt x="1053" y="989"/>
                      </a:lnTo>
                      <a:lnTo>
                        <a:pt x="1052" y="989"/>
                      </a:lnTo>
                      <a:lnTo>
                        <a:pt x="1053" y="989"/>
                      </a:lnTo>
                      <a:lnTo>
                        <a:pt x="1053" y="988"/>
                      </a:lnTo>
                      <a:lnTo>
                        <a:pt x="1054" y="988"/>
                      </a:lnTo>
                      <a:lnTo>
                        <a:pt x="1054" y="987"/>
                      </a:lnTo>
                      <a:lnTo>
                        <a:pt x="1055" y="986"/>
                      </a:lnTo>
                      <a:lnTo>
                        <a:pt x="1054" y="984"/>
                      </a:lnTo>
                      <a:lnTo>
                        <a:pt x="1055" y="984"/>
                      </a:lnTo>
                      <a:lnTo>
                        <a:pt x="1054" y="984"/>
                      </a:lnTo>
                      <a:lnTo>
                        <a:pt x="1055" y="984"/>
                      </a:lnTo>
                      <a:lnTo>
                        <a:pt x="1055" y="983"/>
                      </a:lnTo>
                      <a:lnTo>
                        <a:pt x="1056" y="983"/>
                      </a:lnTo>
                      <a:close/>
                      <a:moveTo>
                        <a:pt x="1366" y="1164"/>
                      </a:moveTo>
                      <a:lnTo>
                        <a:pt x="1365" y="1164"/>
                      </a:lnTo>
                      <a:lnTo>
                        <a:pt x="1364" y="1164"/>
                      </a:lnTo>
                      <a:lnTo>
                        <a:pt x="1364" y="1166"/>
                      </a:lnTo>
                      <a:lnTo>
                        <a:pt x="1364" y="1167"/>
                      </a:lnTo>
                      <a:lnTo>
                        <a:pt x="1364" y="1168"/>
                      </a:lnTo>
                      <a:lnTo>
                        <a:pt x="1364" y="1169"/>
                      </a:lnTo>
                      <a:lnTo>
                        <a:pt x="1363" y="1169"/>
                      </a:lnTo>
                      <a:lnTo>
                        <a:pt x="1364" y="1169"/>
                      </a:lnTo>
                      <a:lnTo>
                        <a:pt x="1364" y="1170"/>
                      </a:lnTo>
                      <a:lnTo>
                        <a:pt x="1363" y="1170"/>
                      </a:lnTo>
                      <a:lnTo>
                        <a:pt x="1363" y="1169"/>
                      </a:lnTo>
                      <a:lnTo>
                        <a:pt x="1362" y="1169"/>
                      </a:lnTo>
                      <a:lnTo>
                        <a:pt x="1362" y="1168"/>
                      </a:lnTo>
                      <a:lnTo>
                        <a:pt x="1361" y="1166"/>
                      </a:lnTo>
                      <a:lnTo>
                        <a:pt x="1362" y="1166"/>
                      </a:lnTo>
                      <a:lnTo>
                        <a:pt x="1363" y="1164"/>
                      </a:lnTo>
                      <a:lnTo>
                        <a:pt x="1364" y="1164"/>
                      </a:lnTo>
                      <a:lnTo>
                        <a:pt x="1365" y="1164"/>
                      </a:lnTo>
                      <a:lnTo>
                        <a:pt x="1366" y="1164"/>
                      </a:lnTo>
                      <a:close/>
                      <a:moveTo>
                        <a:pt x="1351" y="1083"/>
                      </a:moveTo>
                      <a:lnTo>
                        <a:pt x="1350" y="1082"/>
                      </a:lnTo>
                      <a:lnTo>
                        <a:pt x="1350" y="1081"/>
                      </a:lnTo>
                      <a:lnTo>
                        <a:pt x="1349" y="1080"/>
                      </a:lnTo>
                      <a:lnTo>
                        <a:pt x="1349" y="1079"/>
                      </a:lnTo>
                      <a:lnTo>
                        <a:pt x="1348" y="1078"/>
                      </a:lnTo>
                      <a:lnTo>
                        <a:pt x="1349" y="1077"/>
                      </a:lnTo>
                      <a:lnTo>
                        <a:pt x="1350" y="1078"/>
                      </a:lnTo>
                      <a:lnTo>
                        <a:pt x="1350" y="1079"/>
                      </a:lnTo>
                      <a:lnTo>
                        <a:pt x="1351" y="1080"/>
                      </a:lnTo>
                      <a:lnTo>
                        <a:pt x="1352" y="1081"/>
                      </a:lnTo>
                      <a:lnTo>
                        <a:pt x="1352" y="1082"/>
                      </a:lnTo>
                      <a:lnTo>
                        <a:pt x="1351" y="1083"/>
                      </a:lnTo>
                      <a:close/>
                      <a:moveTo>
                        <a:pt x="1407" y="976"/>
                      </a:moveTo>
                      <a:lnTo>
                        <a:pt x="1408" y="977"/>
                      </a:lnTo>
                      <a:lnTo>
                        <a:pt x="1409" y="977"/>
                      </a:lnTo>
                      <a:lnTo>
                        <a:pt x="1409" y="976"/>
                      </a:lnTo>
                      <a:lnTo>
                        <a:pt x="1409" y="977"/>
                      </a:lnTo>
                      <a:lnTo>
                        <a:pt x="1409" y="978"/>
                      </a:lnTo>
                      <a:lnTo>
                        <a:pt x="1409" y="979"/>
                      </a:lnTo>
                      <a:lnTo>
                        <a:pt x="1408" y="979"/>
                      </a:lnTo>
                      <a:lnTo>
                        <a:pt x="1407" y="981"/>
                      </a:lnTo>
                      <a:lnTo>
                        <a:pt x="1406" y="981"/>
                      </a:lnTo>
                      <a:lnTo>
                        <a:pt x="1406" y="980"/>
                      </a:lnTo>
                      <a:lnTo>
                        <a:pt x="1407" y="979"/>
                      </a:lnTo>
                      <a:lnTo>
                        <a:pt x="1407" y="980"/>
                      </a:lnTo>
                      <a:lnTo>
                        <a:pt x="1407" y="979"/>
                      </a:lnTo>
                      <a:lnTo>
                        <a:pt x="1408" y="979"/>
                      </a:lnTo>
                      <a:lnTo>
                        <a:pt x="1408" y="978"/>
                      </a:lnTo>
                      <a:lnTo>
                        <a:pt x="1407" y="978"/>
                      </a:lnTo>
                      <a:lnTo>
                        <a:pt x="1407" y="977"/>
                      </a:lnTo>
                      <a:lnTo>
                        <a:pt x="1407" y="978"/>
                      </a:lnTo>
                      <a:lnTo>
                        <a:pt x="1406" y="978"/>
                      </a:lnTo>
                      <a:lnTo>
                        <a:pt x="1406" y="977"/>
                      </a:lnTo>
                      <a:lnTo>
                        <a:pt x="1406" y="976"/>
                      </a:lnTo>
                      <a:lnTo>
                        <a:pt x="1407" y="976"/>
                      </a:lnTo>
                      <a:close/>
                      <a:moveTo>
                        <a:pt x="1148" y="784"/>
                      </a:moveTo>
                      <a:lnTo>
                        <a:pt x="1149" y="784"/>
                      </a:lnTo>
                      <a:lnTo>
                        <a:pt x="1150" y="785"/>
                      </a:lnTo>
                      <a:lnTo>
                        <a:pt x="1150" y="784"/>
                      </a:lnTo>
                      <a:lnTo>
                        <a:pt x="1150" y="785"/>
                      </a:lnTo>
                      <a:lnTo>
                        <a:pt x="1151" y="785"/>
                      </a:lnTo>
                      <a:lnTo>
                        <a:pt x="1153" y="785"/>
                      </a:lnTo>
                      <a:lnTo>
                        <a:pt x="1151" y="785"/>
                      </a:lnTo>
                      <a:lnTo>
                        <a:pt x="1150" y="785"/>
                      </a:lnTo>
                      <a:lnTo>
                        <a:pt x="1149" y="785"/>
                      </a:lnTo>
                      <a:lnTo>
                        <a:pt x="1148" y="785"/>
                      </a:lnTo>
                      <a:lnTo>
                        <a:pt x="1147" y="785"/>
                      </a:lnTo>
                      <a:lnTo>
                        <a:pt x="1147" y="786"/>
                      </a:lnTo>
                      <a:lnTo>
                        <a:pt x="1146" y="787"/>
                      </a:lnTo>
                      <a:lnTo>
                        <a:pt x="1145" y="787"/>
                      </a:lnTo>
                      <a:lnTo>
                        <a:pt x="1145" y="788"/>
                      </a:lnTo>
                      <a:lnTo>
                        <a:pt x="1145" y="787"/>
                      </a:lnTo>
                      <a:lnTo>
                        <a:pt x="1145" y="788"/>
                      </a:lnTo>
                      <a:lnTo>
                        <a:pt x="1144" y="788"/>
                      </a:lnTo>
                      <a:lnTo>
                        <a:pt x="1144" y="787"/>
                      </a:lnTo>
                      <a:lnTo>
                        <a:pt x="1145" y="787"/>
                      </a:lnTo>
                      <a:lnTo>
                        <a:pt x="1145" y="786"/>
                      </a:lnTo>
                      <a:lnTo>
                        <a:pt x="1146" y="786"/>
                      </a:lnTo>
                      <a:lnTo>
                        <a:pt x="1146" y="787"/>
                      </a:lnTo>
                      <a:lnTo>
                        <a:pt x="1146" y="786"/>
                      </a:lnTo>
                      <a:lnTo>
                        <a:pt x="1147" y="786"/>
                      </a:lnTo>
                      <a:lnTo>
                        <a:pt x="1146" y="786"/>
                      </a:lnTo>
                      <a:lnTo>
                        <a:pt x="1146" y="785"/>
                      </a:lnTo>
                      <a:lnTo>
                        <a:pt x="1147" y="785"/>
                      </a:lnTo>
                      <a:lnTo>
                        <a:pt x="1146" y="785"/>
                      </a:lnTo>
                      <a:lnTo>
                        <a:pt x="1146" y="784"/>
                      </a:lnTo>
                      <a:lnTo>
                        <a:pt x="1146" y="785"/>
                      </a:lnTo>
                      <a:lnTo>
                        <a:pt x="1145" y="785"/>
                      </a:lnTo>
                      <a:lnTo>
                        <a:pt x="1145" y="784"/>
                      </a:lnTo>
                      <a:lnTo>
                        <a:pt x="1146" y="784"/>
                      </a:lnTo>
                      <a:lnTo>
                        <a:pt x="1147" y="783"/>
                      </a:lnTo>
                      <a:lnTo>
                        <a:pt x="1147" y="784"/>
                      </a:lnTo>
                      <a:lnTo>
                        <a:pt x="1148" y="784"/>
                      </a:lnTo>
                      <a:close/>
                      <a:moveTo>
                        <a:pt x="1421" y="1095"/>
                      </a:moveTo>
                      <a:lnTo>
                        <a:pt x="1421" y="1096"/>
                      </a:lnTo>
                      <a:lnTo>
                        <a:pt x="1421" y="1097"/>
                      </a:lnTo>
                      <a:lnTo>
                        <a:pt x="1420" y="1097"/>
                      </a:lnTo>
                      <a:lnTo>
                        <a:pt x="1419" y="1097"/>
                      </a:lnTo>
                      <a:lnTo>
                        <a:pt x="1419" y="1096"/>
                      </a:lnTo>
                      <a:lnTo>
                        <a:pt x="1419" y="1097"/>
                      </a:lnTo>
                      <a:lnTo>
                        <a:pt x="1418" y="1097"/>
                      </a:lnTo>
                      <a:lnTo>
                        <a:pt x="1417" y="1097"/>
                      </a:lnTo>
                      <a:lnTo>
                        <a:pt x="1417" y="1096"/>
                      </a:lnTo>
                      <a:lnTo>
                        <a:pt x="1416" y="1096"/>
                      </a:lnTo>
                      <a:lnTo>
                        <a:pt x="1417" y="1096"/>
                      </a:lnTo>
                      <a:lnTo>
                        <a:pt x="1417" y="1095"/>
                      </a:lnTo>
                      <a:lnTo>
                        <a:pt x="1418" y="1095"/>
                      </a:lnTo>
                      <a:lnTo>
                        <a:pt x="1419" y="1095"/>
                      </a:lnTo>
                      <a:lnTo>
                        <a:pt x="1420" y="1094"/>
                      </a:lnTo>
                      <a:lnTo>
                        <a:pt x="1420" y="1095"/>
                      </a:lnTo>
                      <a:lnTo>
                        <a:pt x="1421" y="1095"/>
                      </a:lnTo>
                      <a:close/>
                      <a:moveTo>
                        <a:pt x="1435" y="1125"/>
                      </a:moveTo>
                      <a:lnTo>
                        <a:pt x="1434" y="1125"/>
                      </a:lnTo>
                      <a:lnTo>
                        <a:pt x="1434" y="1127"/>
                      </a:lnTo>
                      <a:lnTo>
                        <a:pt x="1433" y="1127"/>
                      </a:lnTo>
                      <a:lnTo>
                        <a:pt x="1432" y="1127"/>
                      </a:lnTo>
                      <a:lnTo>
                        <a:pt x="1431" y="1127"/>
                      </a:lnTo>
                      <a:lnTo>
                        <a:pt x="1431" y="1125"/>
                      </a:lnTo>
                      <a:lnTo>
                        <a:pt x="1431" y="1124"/>
                      </a:lnTo>
                      <a:lnTo>
                        <a:pt x="1432" y="1124"/>
                      </a:lnTo>
                      <a:lnTo>
                        <a:pt x="1433" y="1124"/>
                      </a:lnTo>
                      <a:lnTo>
                        <a:pt x="1434" y="1124"/>
                      </a:lnTo>
                      <a:lnTo>
                        <a:pt x="1435" y="1124"/>
                      </a:lnTo>
                      <a:lnTo>
                        <a:pt x="1435" y="1125"/>
                      </a:lnTo>
                      <a:close/>
                      <a:moveTo>
                        <a:pt x="1367" y="1130"/>
                      </a:moveTo>
                      <a:lnTo>
                        <a:pt x="1367" y="1131"/>
                      </a:lnTo>
                      <a:lnTo>
                        <a:pt x="1367" y="1130"/>
                      </a:lnTo>
                      <a:lnTo>
                        <a:pt x="1368" y="1130"/>
                      </a:lnTo>
                      <a:lnTo>
                        <a:pt x="1368" y="1131"/>
                      </a:lnTo>
                      <a:lnTo>
                        <a:pt x="1369" y="1131"/>
                      </a:lnTo>
                      <a:lnTo>
                        <a:pt x="1370" y="1131"/>
                      </a:lnTo>
                      <a:lnTo>
                        <a:pt x="1369" y="1132"/>
                      </a:lnTo>
                      <a:lnTo>
                        <a:pt x="1369" y="1133"/>
                      </a:lnTo>
                      <a:lnTo>
                        <a:pt x="1368" y="1133"/>
                      </a:lnTo>
                      <a:lnTo>
                        <a:pt x="1368" y="1132"/>
                      </a:lnTo>
                      <a:lnTo>
                        <a:pt x="1368" y="1133"/>
                      </a:lnTo>
                      <a:lnTo>
                        <a:pt x="1367" y="1132"/>
                      </a:lnTo>
                      <a:lnTo>
                        <a:pt x="1367" y="1131"/>
                      </a:lnTo>
                      <a:lnTo>
                        <a:pt x="1367" y="1132"/>
                      </a:lnTo>
                      <a:lnTo>
                        <a:pt x="1367" y="1131"/>
                      </a:lnTo>
                      <a:lnTo>
                        <a:pt x="1366" y="1131"/>
                      </a:lnTo>
                      <a:lnTo>
                        <a:pt x="1366" y="1132"/>
                      </a:lnTo>
                      <a:lnTo>
                        <a:pt x="1367" y="1132"/>
                      </a:lnTo>
                      <a:lnTo>
                        <a:pt x="1367" y="1133"/>
                      </a:lnTo>
                      <a:lnTo>
                        <a:pt x="1366" y="1134"/>
                      </a:lnTo>
                      <a:lnTo>
                        <a:pt x="1366" y="1133"/>
                      </a:lnTo>
                      <a:lnTo>
                        <a:pt x="1366" y="1132"/>
                      </a:lnTo>
                      <a:lnTo>
                        <a:pt x="1366" y="1133"/>
                      </a:lnTo>
                      <a:lnTo>
                        <a:pt x="1366" y="1132"/>
                      </a:lnTo>
                      <a:lnTo>
                        <a:pt x="1365" y="1132"/>
                      </a:lnTo>
                      <a:lnTo>
                        <a:pt x="1365" y="1131"/>
                      </a:lnTo>
                      <a:lnTo>
                        <a:pt x="1366" y="1131"/>
                      </a:lnTo>
                      <a:lnTo>
                        <a:pt x="1366" y="1130"/>
                      </a:lnTo>
                      <a:lnTo>
                        <a:pt x="1365" y="1131"/>
                      </a:lnTo>
                      <a:lnTo>
                        <a:pt x="1365" y="1130"/>
                      </a:lnTo>
                      <a:lnTo>
                        <a:pt x="1366" y="1130"/>
                      </a:lnTo>
                      <a:lnTo>
                        <a:pt x="1367" y="1130"/>
                      </a:lnTo>
                      <a:close/>
                      <a:moveTo>
                        <a:pt x="1158" y="971"/>
                      </a:moveTo>
                      <a:lnTo>
                        <a:pt x="1158" y="973"/>
                      </a:lnTo>
                      <a:lnTo>
                        <a:pt x="1159" y="973"/>
                      </a:lnTo>
                      <a:lnTo>
                        <a:pt x="1159" y="974"/>
                      </a:lnTo>
                      <a:lnTo>
                        <a:pt x="1158" y="974"/>
                      </a:lnTo>
                      <a:lnTo>
                        <a:pt x="1158" y="975"/>
                      </a:lnTo>
                      <a:lnTo>
                        <a:pt x="1158" y="976"/>
                      </a:lnTo>
                      <a:lnTo>
                        <a:pt x="1158" y="977"/>
                      </a:lnTo>
                      <a:lnTo>
                        <a:pt x="1158" y="978"/>
                      </a:lnTo>
                      <a:lnTo>
                        <a:pt x="1158" y="979"/>
                      </a:lnTo>
                      <a:lnTo>
                        <a:pt x="1157" y="980"/>
                      </a:lnTo>
                      <a:lnTo>
                        <a:pt x="1157" y="981"/>
                      </a:lnTo>
                      <a:lnTo>
                        <a:pt x="1156" y="981"/>
                      </a:lnTo>
                      <a:lnTo>
                        <a:pt x="1155" y="981"/>
                      </a:lnTo>
                      <a:lnTo>
                        <a:pt x="1156" y="980"/>
                      </a:lnTo>
                      <a:lnTo>
                        <a:pt x="1157" y="979"/>
                      </a:lnTo>
                      <a:lnTo>
                        <a:pt x="1157" y="978"/>
                      </a:lnTo>
                      <a:lnTo>
                        <a:pt x="1158" y="978"/>
                      </a:lnTo>
                      <a:lnTo>
                        <a:pt x="1158" y="977"/>
                      </a:lnTo>
                      <a:lnTo>
                        <a:pt x="1158" y="976"/>
                      </a:lnTo>
                      <a:lnTo>
                        <a:pt x="1158" y="975"/>
                      </a:lnTo>
                      <a:lnTo>
                        <a:pt x="1158" y="974"/>
                      </a:lnTo>
                      <a:lnTo>
                        <a:pt x="1157" y="973"/>
                      </a:lnTo>
                      <a:lnTo>
                        <a:pt x="1157" y="971"/>
                      </a:lnTo>
                      <a:lnTo>
                        <a:pt x="1158" y="971"/>
                      </a:lnTo>
                      <a:lnTo>
                        <a:pt x="1158" y="970"/>
                      </a:lnTo>
                      <a:lnTo>
                        <a:pt x="1157" y="970"/>
                      </a:lnTo>
                      <a:lnTo>
                        <a:pt x="1158" y="970"/>
                      </a:lnTo>
                      <a:lnTo>
                        <a:pt x="1158" y="971"/>
                      </a:lnTo>
                      <a:close/>
                      <a:moveTo>
                        <a:pt x="1168" y="808"/>
                      </a:moveTo>
                      <a:lnTo>
                        <a:pt x="1169" y="808"/>
                      </a:lnTo>
                      <a:lnTo>
                        <a:pt x="1170" y="808"/>
                      </a:lnTo>
                      <a:lnTo>
                        <a:pt x="1171" y="808"/>
                      </a:lnTo>
                      <a:lnTo>
                        <a:pt x="1171" y="809"/>
                      </a:lnTo>
                      <a:lnTo>
                        <a:pt x="1172" y="809"/>
                      </a:lnTo>
                      <a:lnTo>
                        <a:pt x="1172" y="810"/>
                      </a:lnTo>
                      <a:lnTo>
                        <a:pt x="1173" y="810"/>
                      </a:lnTo>
                      <a:lnTo>
                        <a:pt x="1174" y="810"/>
                      </a:lnTo>
                      <a:lnTo>
                        <a:pt x="1173" y="810"/>
                      </a:lnTo>
                      <a:lnTo>
                        <a:pt x="1173" y="811"/>
                      </a:lnTo>
                      <a:lnTo>
                        <a:pt x="1172" y="811"/>
                      </a:lnTo>
                      <a:lnTo>
                        <a:pt x="1172" y="810"/>
                      </a:lnTo>
                      <a:lnTo>
                        <a:pt x="1171" y="810"/>
                      </a:lnTo>
                      <a:lnTo>
                        <a:pt x="1171" y="811"/>
                      </a:lnTo>
                      <a:lnTo>
                        <a:pt x="1170" y="811"/>
                      </a:lnTo>
                      <a:lnTo>
                        <a:pt x="1170" y="810"/>
                      </a:lnTo>
                      <a:lnTo>
                        <a:pt x="1170" y="811"/>
                      </a:lnTo>
                      <a:lnTo>
                        <a:pt x="1170" y="810"/>
                      </a:lnTo>
                      <a:lnTo>
                        <a:pt x="1170" y="809"/>
                      </a:lnTo>
                      <a:lnTo>
                        <a:pt x="1170" y="808"/>
                      </a:lnTo>
                      <a:lnTo>
                        <a:pt x="1169" y="809"/>
                      </a:lnTo>
                      <a:lnTo>
                        <a:pt x="1169" y="808"/>
                      </a:lnTo>
                      <a:lnTo>
                        <a:pt x="1168" y="808"/>
                      </a:lnTo>
                      <a:lnTo>
                        <a:pt x="1168" y="809"/>
                      </a:lnTo>
                      <a:lnTo>
                        <a:pt x="1167" y="809"/>
                      </a:lnTo>
                      <a:lnTo>
                        <a:pt x="1167" y="808"/>
                      </a:lnTo>
                      <a:lnTo>
                        <a:pt x="1166" y="808"/>
                      </a:lnTo>
                      <a:lnTo>
                        <a:pt x="1167" y="808"/>
                      </a:lnTo>
                      <a:lnTo>
                        <a:pt x="1168" y="808"/>
                      </a:lnTo>
                      <a:close/>
                      <a:moveTo>
                        <a:pt x="1130" y="822"/>
                      </a:moveTo>
                      <a:lnTo>
                        <a:pt x="1131" y="822"/>
                      </a:lnTo>
                      <a:lnTo>
                        <a:pt x="1130" y="822"/>
                      </a:lnTo>
                      <a:lnTo>
                        <a:pt x="1130" y="823"/>
                      </a:lnTo>
                      <a:lnTo>
                        <a:pt x="1131" y="824"/>
                      </a:lnTo>
                      <a:lnTo>
                        <a:pt x="1130" y="825"/>
                      </a:lnTo>
                      <a:lnTo>
                        <a:pt x="1128" y="825"/>
                      </a:lnTo>
                      <a:lnTo>
                        <a:pt x="1128" y="824"/>
                      </a:lnTo>
                      <a:lnTo>
                        <a:pt x="1128" y="823"/>
                      </a:lnTo>
                      <a:lnTo>
                        <a:pt x="1126" y="823"/>
                      </a:lnTo>
                      <a:lnTo>
                        <a:pt x="1128" y="823"/>
                      </a:lnTo>
                      <a:lnTo>
                        <a:pt x="1128" y="822"/>
                      </a:lnTo>
                      <a:lnTo>
                        <a:pt x="1129" y="822"/>
                      </a:lnTo>
                      <a:lnTo>
                        <a:pt x="1130" y="822"/>
                      </a:lnTo>
                      <a:close/>
                      <a:moveTo>
                        <a:pt x="1057" y="928"/>
                      </a:moveTo>
                      <a:lnTo>
                        <a:pt x="1057" y="929"/>
                      </a:lnTo>
                      <a:lnTo>
                        <a:pt x="1056" y="929"/>
                      </a:lnTo>
                      <a:lnTo>
                        <a:pt x="1056" y="928"/>
                      </a:lnTo>
                      <a:lnTo>
                        <a:pt x="1056" y="929"/>
                      </a:lnTo>
                      <a:lnTo>
                        <a:pt x="1054" y="931"/>
                      </a:lnTo>
                      <a:lnTo>
                        <a:pt x="1053" y="931"/>
                      </a:lnTo>
                      <a:lnTo>
                        <a:pt x="1052" y="931"/>
                      </a:lnTo>
                      <a:lnTo>
                        <a:pt x="1053" y="931"/>
                      </a:lnTo>
                      <a:lnTo>
                        <a:pt x="1053" y="930"/>
                      </a:lnTo>
                      <a:lnTo>
                        <a:pt x="1054" y="929"/>
                      </a:lnTo>
                      <a:lnTo>
                        <a:pt x="1055" y="928"/>
                      </a:lnTo>
                      <a:lnTo>
                        <a:pt x="1057" y="927"/>
                      </a:lnTo>
                      <a:lnTo>
                        <a:pt x="1058" y="927"/>
                      </a:lnTo>
                      <a:lnTo>
                        <a:pt x="1058" y="928"/>
                      </a:lnTo>
                      <a:lnTo>
                        <a:pt x="1057" y="928"/>
                      </a:lnTo>
                      <a:close/>
                      <a:moveTo>
                        <a:pt x="1312" y="1102"/>
                      </a:moveTo>
                      <a:lnTo>
                        <a:pt x="1311" y="1102"/>
                      </a:lnTo>
                      <a:lnTo>
                        <a:pt x="1311" y="1101"/>
                      </a:lnTo>
                      <a:lnTo>
                        <a:pt x="1311" y="1099"/>
                      </a:lnTo>
                      <a:lnTo>
                        <a:pt x="1311" y="1098"/>
                      </a:lnTo>
                      <a:lnTo>
                        <a:pt x="1311" y="1097"/>
                      </a:lnTo>
                      <a:lnTo>
                        <a:pt x="1312" y="1097"/>
                      </a:lnTo>
                      <a:lnTo>
                        <a:pt x="1312" y="1096"/>
                      </a:lnTo>
                      <a:lnTo>
                        <a:pt x="1312" y="1095"/>
                      </a:lnTo>
                      <a:lnTo>
                        <a:pt x="1312" y="1094"/>
                      </a:lnTo>
                      <a:lnTo>
                        <a:pt x="1313" y="1094"/>
                      </a:lnTo>
                      <a:lnTo>
                        <a:pt x="1314" y="1095"/>
                      </a:lnTo>
                      <a:lnTo>
                        <a:pt x="1313" y="1095"/>
                      </a:lnTo>
                      <a:lnTo>
                        <a:pt x="1313" y="1096"/>
                      </a:lnTo>
                      <a:lnTo>
                        <a:pt x="1313" y="1097"/>
                      </a:lnTo>
                      <a:lnTo>
                        <a:pt x="1312" y="1097"/>
                      </a:lnTo>
                      <a:lnTo>
                        <a:pt x="1312" y="1098"/>
                      </a:lnTo>
                      <a:lnTo>
                        <a:pt x="1312" y="1099"/>
                      </a:lnTo>
                      <a:lnTo>
                        <a:pt x="1312" y="1101"/>
                      </a:lnTo>
                      <a:lnTo>
                        <a:pt x="1312" y="1102"/>
                      </a:lnTo>
                      <a:close/>
                      <a:moveTo>
                        <a:pt x="1093" y="977"/>
                      </a:moveTo>
                      <a:lnTo>
                        <a:pt x="1092" y="978"/>
                      </a:lnTo>
                      <a:lnTo>
                        <a:pt x="1091" y="978"/>
                      </a:lnTo>
                      <a:lnTo>
                        <a:pt x="1092" y="978"/>
                      </a:lnTo>
                      <a:lnTo>
                        <a:pt x="1092" y="979"/>
                      </a:lnTo>
                      <a:lnTo>
                        <a:pt x="1093" y="979"/>
                      </a:lnTo>
                      <a:lnTo>
                        <a:pt x="1094" y="979"/>
                      </a:lnTo>
                      <a:lnTo>
                        <a:pt x="1094" y="980"/>
                      </a:lnTo>
                      <a:lnTo>
                        <a:pt x="1094" y="981"/>
                      </a:lnTo>
                      <a:lnTo>
                        <a:pt x="1094" y="982"/>
                      </a:lnTo>
                      <a:lnTo>
                        <a:pt x="1093" y="983"/>
                      </a:lnTo>
                      <a:lnTo>
                        <a:pt x="1092" y="983"/>
                      </a:lnTo>
                      <a:lnTo>
                        <a:pt x="1093" y="983"/>
                      </a:lnTo>
                      <a:lnTo>
                        <a:pt x="1093" y="982"/>
                      </a:lnTo>
                      <a:lnTo>
                        <a:pt x="1092" y="982"/>
                      </a:lnTo>
                      <a:lnTo>
                        <a:pt x="1092" y="981"/>
                      </a:lnTo>
                      <a:lnTo>
                        <a:pt x="1092" y="980"/>
                      </a:lnTo>
                      <a:lnTo>
                        <a:pt x="1093" y="980"/>
                      </a:lnTo>
                      <a:lnTo>
                        <a:pt x="1093" y="981"/>
                      </a:lnTo>
                      <a:lnTo>
                        <a:pt x="1093" y="980"/>
                      </a:lnTo>
                      <a:lnTo>
                        <a:pt x="1093" y="979"/>
                      </a:lnTo>
                      <a:lnTo>
                        <a:pt x="1092" y="979"/>
                      </a:lnTo>
                      <a:lnTo>
                        <a:pt x="1092" y="980"/>
                      </a:lnTo>
                      <a:lnTo>
                        <a:pt x="1092" y="979"/>
                      </a:lnTo>
                      <a:lnTo>
                        <a:pt x="1091" y="979"/>
                      </a:lnTo>
                      <a:lnTo>
                        <a:pt x="1091" y="978"/>
                      </a:lnTo>
                      <a:lnTo>
                        <a:pt x="1091" y="977"/>
                      </a:lnTo>
                      <a:lnTo>
                        <a:pt x="1090" y="977"/>
                      </a:lnTo>
                      <a:lnTo>
                        <a:pt x="1091" y="977"/>
                      </a:lnTo>
                      <a:lnTo>
                        <a:pt x="1092" y="977"/>
                      </a:lnTo>
                      <a:lnTo>
                        <a:pt x="1093" y="977"/>
                      </a:lnTo>
                      <a:close/>
                      <a:moveTo>
                        <a:pt x="1136" y="793"/>
                      </a:moveTo>
                      <a:lnTo>
                        <a:pt x="1137" y="793"/>
                      </a:lnTo>
                      <a:lnTo>
                        <a:pt x="1137" y="794"/>
                      </a:lnTo>
                      <a:lnTo>
                        <a:pt x="1137" y="795"/>
                      </a:lnTo>
                      <a:lnTo>
                        <a:pt x="1137" y="796"/>
                      </a:lnTo>
                      <a:lnTo>
                        <a:pt x="1137" y="795"/>
                      </a:lnTo>
                      <a:lnTo>
                        <a:pt x="1136" y="795"/>
                      </a:lnTo>
                      <a:lnTo>
                        <a:pt x="1135" y="795"/>
                      </a:lnTo>
                      <a:lnTo>
                        <a:pt x="1135" y="796"/>
                      </a:lnTo>
                      <a:lnTo>
                        <a:pt x="1134" y="796"/>
                      </a:lnTo>
                      <a:lnTo>
                        <a:pt x="1133" y="796"/>
                      </a:lnTo>
                      <a:lnTo>
                        <a:pt x="1132" y="796"/>
                      </a:lnTo>
                      <a:lnTo>
                        <a:pt x="1132" y="795"/>
                      </a:lnTo>
                      <a:lnTo>
                        <a:pt x="1133" y="795"/>
                      </a:lnTo>
                      <a:lnTo>
                        <a:pt x="1134" y="794"/>
                      </a:lnTo>
                      <a:lnTo>
                        <a:pt x="1135" y="793"/>
                      </a:lnTo>
                      <a:lnTo>
                        <a:pt x="1136" y="793"/>
                      </a:lnTo>
                      <a:close/>
                      <a:moveTo>
                        <a:pt x="1074" y="982"/>
                      </a:moveTo>
                      <a:lnTo>
                        <a:pt x="1076" y="982"/>
                      </a:lnTo>
                      <a:lnTo>
                        <a:pt x="1074" y="983"/>
                      </a:lnTo>
                      <a:lnTo>
                        <a:pt x="1076" y="983"/>
                      </a:lnTo>
                      <a:lnTo>
                        <a:pt x="1077" y="983"/>
                      </a:lnTo>
                      <a:lnTo>
                        <a:pt x="1077" y="982"/>
                      </a:lnTo>
                      <a:lnTo>
                        <a:pt x="1077" y="983"/>
                      </a:lnTo>
                      <a:lnTo>
                        <a:pt x="1078" y="983"/>
                      </a:lnTo>
                      <a:lnTo>
                        <a:pt x="1079" y="983"/>
                      </a:lnTo>
                      <a:lnTo>
                        <a:pt x="1079" y="984"/>
                      </a:lnTo>
                      <a:lnTo>
                        <a:pt x="1078" y="984"/>
                      </a:lnTo>
                      <a:lnTo>
                        <a:pt x="1077" y="984"/>
                      </a:lnTo>
                      <a:lnTo>
                        <a:pt x="1076" y="984"/>
                      </a:lnTo>
                      <a:lnTo>
                        <a:pt x="1074" y="984"/>
                      </a:lnTo>
                      <a:lnTo>
                        <a:pt x="1073" y="984"/>
                      </a:lnTo>
                      <a:lnTo>
                        <a:pt x="1074" y="984"/>
                      </a:lnTo>
                      <a:lnTo>
                        <a:pt x="1073" y="983"/>
                      </a:lnTo>
                      <a:lnTo>
                        <a:pt x="1074" y="982"/>
                      </a:lnTo>
                      <a:close/>
                      <a:moveTo>
                        <a:pt x="1099" y="969"/>
                      </a:moveTo>
                      <a:lnTo>
                        <a:pt x="1098" y="970"/>
                      </a:lnTo>
                      <a:lnTo>
                        <a:pt x="1097" y="971"/>
                      </a:lnTo>
                      <a:lnTo>
                        <a:pt x="1096" y="971"/>
                      </a:lnTo>
                      <a:lnTo>
                        <a:pt x="1095" y="970"/>
                      </a:lnTo>
                      <a:lnTo>
                        <a:pt x="1095" y="969"/>
                      </a:lnTo>
                      <a:lnTo>
                        <a:pt x="1095" y="968"/>
                      </a:lnTo>
                      <a:lnTo>
                        <a:pt x="1094" y="968"/>
                      </a:lnTo>
                      <a:lnTo>
                        <a:pt x="1094" y="967"/>
                      </a:lnTo>
                      <a:lnTo>
                        <a:pt x="1094" y="968"/>
                      </a:lnTo>
                      <a:lnTo>
                        <a:pt x="1095" y="968"/>
                      </a:lnTo>
                      <a:lnTo>
                        <a:pt x="1095" y="969"/>
                      </a:lnTo>
                      <a:lnTo>
                        <a:pt x="1096" y="969"/>
                      </a:lnTo>
                      <a:lnTo>
                        <a:pt x="1096" y="968"/>
                      </a:lnTo>
                      <a:lnTo>
                        <a:pt x="1097" y="968"/>
                      </a:lnTo>
                      <a:lnTo>
                        <a:pt x="1097" y="970"/>
                      </a:lnTo>
                      <a:lnTo>
                        <a:pt x="1098" y="970"/>
                      </a:lnTo>
                      <a:lnTo>
                        <a:pt x="1098" y="969"/>
                      </a:lnTo>
                      <a:lnTo>
                        <a:pt x="1099" y="968"/>
                      </a:lnTo>
                      <a:lnTo>
                        <a:pt x="1098" y="967"/>
                      </a:lnTo>
                      <a:lnTo>
                        <a:pt x="1099" y="967"/>
                      </a:lnTo>
                      <a:lnTo>
                        <a:pt x="1099" y="968"/>
                      </a:lnTo>
                      <a:lnTo>
                        <a:pt x="1099" y="969"/>
                      </a:lnTo>
                      <a:close/>
                      <a:moveTo>
                        <a:pt x="1053" y="991"/>
                      </a:moveTo>
                      <a:lnTo>
                        <a:pt x="1054" y="992"/>
                      </a:lnTo>
                      <a:lnTo>
                        <a:pt x="1054" y="993"/>
                      </a:lnTo>
                      <a:lnTo>
                        <a:pt x="1053" y="993"/>
                      </a:lnTo>
                      <a:lnTo>
                        <a:pt x="1053" y="994"/>
                      </a:lnTo>
                      <a:lnTo>
                        <a:pt x="1052" y="994"/>
                      </a:lnTo>
                      <a:lnTo>
                        <a:pt x="1051" y="994"/>
                      </a:lnTo>
                      <a:lnTo>
                        <a:pt x="1051" y="995"/>
                      </a:lnTo>
                      <a:lnTo>
                        <a:pt x="1050" y="995"/>
                      </a:lnTo>
                      <a:lnTo>
                        <a:pt x="1047" y="994"/>
                      </a:lnTo>
                      <a:lnTo>
                        <a:pt x="1047" y="993"/>
                      </a:lnTo>
                      <a:lnTo>
                        <a:pt x="1046" y="993"/>
                      </a:lnTo>
                      <a:lnTo>
                        <a:pt x="1045" y="993"/>
                      </a:lnTo>
                      <a:lnTo>
                        <a:pt x="1044" y="992"/>
                      </a:lnTo>
                      <a:lnTo>
                        <a:pt x="1045" y="992"/>
                      </a:lnTo>
                      <a:lnTo>
                        <a:pt x="1046" y="993"/>
                      </a:lnTo>
                      <a:lnTo>
                        <a:pt x="1047" y="993"/>
                      </a:lnTo>
                      <a:lnTo>
                        <a:pt x="1047" y="994"/>
                      </a:lnTo>
                      <a:lnTo>
                        <a:pt x="1048" y="994"/>
                      </a:lnTo>
                      <a:lnTo>
                        <a:pt x="1048" y="993"/>
                      </a:lnTo>
                      <a:lnTo>
                        <a:pt x="1048" y="994"/>
                      </a:lnTo>
                      <a:lnTo>
                        <a:pt x="1050" y="994"/>
                      </a:lnTo>
                      <a:lnTo>
                        <a:pt x="1048" y="994"/>
                      </a:lnTo>
                      <a:lnTo>
                        <a:pt x="1050" y="994"/>
                      </a:lnTo>
                      <a:lnTo>
                        <a:pt x="1051" y="994"/>
                      </a:lnTo>
                      <a:lnTo>
                        <a:pt x="1052" y="994"/>
                      </a:lnTo>
                      <a:lnTo>
                        <a:pt x="1052" y="993"/>
                      </a:lnTo>
                      <a:lnTo>
                        <a:pt x="1052" y="992"/>
                      </a:lnTo>
                      <a:lnTo>
                        <a:pt x="1052" y="991"/>
                      </a:lnTo>
                      <a:lnTo>
                        <a:pt x="1053" y="991"/>
                      </a:lnTo>
                      <a:close/>
                      <a:moveTo>
                        <a:pt x="1118" y="840"/>
                      </a:moveTo>
                      <a:lnTo>
                        <a:pt x="1118" y="841"/>
                      </a:lnTo>
                      <a:lnTo>
                        <a:pt x="1119" y="841"/>
                      </a:lnTo>
                      <a:lnTo>
                        <a:pt x="1119" y="842"/>
                      </a:lnTo>
                      <a:lnTo>
                        <a:pt x="1118" y="842"/>
                      </a:lnTo>
                      <a:lnTo>
                        <a:pt x="1117" y="844"/>
                      </a:lnTo>
                      <a:lnTo>
                        <a:pt x="1116" y="842"/>
                      </a:lnTo>
                      <a:lnTo>
                        <a:pt x="1115" y="842"/>
                      </a:lnTo>
                      <a:lnTo>
                        <a:pt x="1115" y="841"/>
                      </a:lnTo>
                      <a:lnTo>
                        <a:pt x="1113" y="841"/>
                      </a:lnTo>
                      <a:lnTo>
                        <a:pt x="1112" y="841"/>
                      </a:lnTo>
                      <a:lnTo>
                        <a:pt x="1113" y="841"/>
                      </a:lnTo>
                      <a:lnTo>
                        <a:pt x="1115" y="841"/>
                      </a:lnTo>
                      <a:lnTo>
                        <a:pt x="1116" y="841"/>
                      </a:lnTo>
                      <a:lnTo>
                        <a:pt x="1117" y="841"/>
                      </a:lnTo>
                      <a:lnTo>
                        <a:pt x="1117" y="840"/>
                      </a:lnTo>
                      <a:lnTo>
                        <a:pt x="1118" y="840"/>
                      </a:lnTo>
                      <a:lnTo>
                        <a:pt x="1118" y="841"/>
                      </a:lnTo>
                      <a:lnTo>
                        <a:pt x="1118" y="840"/>
                      </a:lnTo>
                      <a:close/>
                      <a:moveTo>
                        <a:pt x="1020" y="922"/>
                      </a:moveTo>
                      <a:lnTo>
                        <a:pt x="1021" y="922"/>
                      </a:lnTo>
                      <a:lnTo>
                        <a:pt x="1020" y="922"/>
                      </a:lnTo>
                      <a:lnTo>
                        <a:pt x="1021" y="923"/>
                      </a:lnTo>
                      <a:lnTo>
                        <a:pt x="1021" y="922"/>
                      </a:lnTo>
                      <a:lnTo>
                        <a:pt x="1022" y="922"/>
                      </a:lnTo>
                      <a:lnTo>
                        <a:pt x="1024" y="922"/>
                      </a:lnTo>
                      <a:lnTo>
                        <a:pt x="1024" y="923"/>
                      </a:lnTo>
                      <a:lnTo>
                        <a:pt x="1022" y="923"/>
                      </a:lnTo>
                      <a:lnTo>
                        <a:pt x="1021" y="923"/>
                      </a:lnTo>
                      <a:lnTo>
                        <a:pt x="1020" y="923"/>
                      </a:lnTo>
                      <a:lnTo>
                        <a:pt x="1019" y="923"/>
                      </a:lnTo>
                      <a:lnTo>
                        <a:pt x="1019" y="922"/>
                      </a:lnTo>
                      <a:lnTo>
                        <a:pt x="1019" y="921"/>
                      </a:lnTo>
                      <a:lnTo>
                        <a:pt x="1020" y="921"/>
                      </a:lnTo>
                      <a:lnTo>
                        <a:pt x="1020" y="919"/>
                      </a:lnTo>
                      <a:lnTo>
                        <a:pt x="1020" y="921"/>
                      </a:lnTo>
                      <a:lnTo>
                        <a:pt x="1020" y="922"/>
                      </a:lnTo>
                      <a:close/>
                      <a:moveTo>
                        <a:pt x="1402" y="1200"/>
                      </a:moveTo>
                      <a:lnTo>
                        <a:pt x="1401" y="1200"/>
                      </a:lnTo>
                      <a:lnTo>
                        <a:pt x="1399" y="1199"/>
                      </a:lnTo>
                      <a:lnTo>
                        <a:pt x="1397" y="1199"/>
                      </a:lnTo>
                      <a:lnTo>
                        <a:pt x="1396" y="1199"/>
                      </a:lnTo>
                      <a:lnTo>
                        <a:pt x="1394" y="1198"/>
                      </a:lnTo>
                      <a:lnTo>
                        <a:pt x="1393" y="1197"/>
                      </a:lnTo>
                      <a:lnTo>
                        <a:pt x="1391" y="1197"/>
                      </a:lnTo>
                      <a:lnTo>
                        <a:pt x="1390" y="1197"/>
                      </a:lnTo>
                      <a:lnTo>
                        <a:pt x="1390" y="1196"/>
                      </a:lnTo>
                      <a:lnTo>
                        <a:pt x="1391" y="1196"/>
                      </a:lnTo>
                      <a:lnTo>
                        <a:pt x="1392" y="1197"/>
                      </a:lnTo>
                      <a:lnTo>
                        <a:pt x="1395" y="1198"/>
                      </a:lnTo>
                      <a:lnTo>
                        <a:pt x="1399" y="1199"/>
                      </a:lnTo>
                      <a:lnTo>
                        <a:pt x="1401" y="1199"/>
                      </a:lnTo>
                      <a:lnTo>
                        <a:pt x="1402" y="1200"/>
                      </a:lnTo>
                      <a:close/>
                      <a:moveTo>
                        <a:pt x="1339" y="1185"/>
                      </a:moveTo>
                      <a:lnTo>
                        <a:pt x="1337" y="1182"/>
                      </a:lnTo>
                      <a:lnTo>
                        <a:pt x="1338" y="1181"/>
                      </a:lnTo>
                      <a:lnTo>
                        <a:pt x="1339" y="1181"/>
                      </a:lnTo>
                      <a:lnTo>
                        <a:pt x="1340" y="1182"/>
                      </a:lnTo>
                      <a:lnTo>
                        <a:pt x="1340" y="1183"/>
                      </a:lnTo>
                      <a:lnTo>
                        <a:pt x="1340" y="1184"/>
                      </a:lnTo>
                      <a:lnTo>
                        <a:pt x="1339" y="1184"/>
                      </a:lnTo>
                      <a:lnTo>
                        <a:pt x="1339" y="1185"/>
                      </a:lnTo>
                      <a:close/>
                      <a:moveTo>
                        <a:pt x="1106" y="804"/>
                      </a:moveTo>
                      <a:lnTo>
                        <a:pt x="1106" y="803"/>
                      </a:lnTo>
                      <a:lnTo>
                        <a:pt x="1107" y="803"/>
                      </a:lnTo>
                      <a:lnTo>
                        <a:pt x="1107" y="804"/>
                      </a:lnTo>
                      <a:lnTo>
                        <a:pt x="1108" y="804"/>
                      </a:lnTo>
                      <a:lnTo>
                        <a:pt x="1109" y="804"/>
                      </a:lnTo>
                      <a:lnTo>
                        <a:pt x="1110" y="804"/>
                      </a:lnTo>
                      <a:lnTo>
                        <a:pt x="1110" y="806"/>
                      </a:lnTo>
                      <a:lnTo>
                        <a:pt x="1111" y="806"/>
                      </a:lnTo>
                      <a:lnTo>
                        <a:pt x="1112" y="804"/>
                      </a:lnTo>
                      <a:lnTo>
                        <a:pt x="1112" y="806"/>
                      </a:lnTo>
                      <a:lnTo>
                        <a:pt x="1113" y="806"/>
                      </a:lnTo>
                      <a:lnTo>
                        <a:pt x="1113" y="807"/>
                      </a:lnTo>
                      <a:lnTo>
                        <a:pt x="1112" y="806"/>
                      </a:lnTo>
                      <a:lnTo>
                        <a:pt x="1111" y="806"/>
                      </a:lnTo>
                      <a:lnTo>
                        <a:pt x="1112" y="806"/>
                      </a:lnTo>
                      <a:lnTo>
                        <a:pt x="1112" y="807"/>
                      </a:lnTo>
                      <a:lnTo>
                        <a:pt x="1111" y="807"/>
                      </a:lnTo>
                      <a:lnTo>
                        <a:pt x="1111" y="806"/>
                      </a:lnTo>
                      <a:lnTo>
                        <a:pt x="1110" y="806"/>
                      </a:lnTo>
                      <a:lnTo>
                        <a:pt x="1111" y="806"/>
                      </a:lnTo>
                      <a:lnTo>
                        <a:pt x="1110" y="806"/>
                      </a:lnTo>
                      <a:lnTo>
                        <a:pt x="1109" y="806"/>
                      </a:lnTo>
                      <a:lnTo>
                        <a:pt x="1108" y="806"/>
                      </a:lnTo>
                      <a:lnTo>
                        <a:pt x="1107" y="806"/>
                      </a:lnTo>
                      <a:lnTo>
                        <a:pt x="1106" y="806"/>
                      </a:lnTo>
                      <a:lnTo>
                        <a:pt x="1106" y="804"/>
                      </a:lnTo>
                      <a:lnTo>
                        <a:pt x="1105" y="804"/>
                      </a:lnTo>
                      <a:lnTo>
                        <a:pt x="1105" y="803"/>
                      </a:lnTo>
                      <a:lnTo>
                        <a:pt x="1106" y="803"/>
                      </a:lnTo>
                      <a:lnTo>
                        <a:pt x="1105" y="803"/>
                      </a:lnTo>
                      <a:lnTo>
                        <a:pt x="1106" y="803"/>
                      </a:lnTo>
                      <a:lnTo>
                        <a:pt x="1106" y="804"/>
                      </a:lnTo>
                      <a:close/>
                      <a:moveTo>
                        <a:pt x="1077" y="971"/>
                      </a:moveTo>
                      <a:lnTo>
                        <a:pt x="1077" y="973"/>
                      </a:lnTo>
                      <a:lnTo>
                        <a:pt x="1077" y="971"/>
                      </a:lnTo>
                      <a:lnTo>
                        <a:pt x="1076" y="971"/>
                      </a:lnTo>
                      <a:lnTo>
                        <a:pt x="1076" y="970"/>
                      </a:lnTo>
                      <a:lnTo>
                        <a:pt x="1074" y="969"/>
                      </a:lnTo>
                      <a:lnTo>
                        <a:pt x="1074" y="968"/>
                      </a:lnTo>
                      <a:lnTo>
                        <a:pt x="1074" y="967"/>
                      </a:lnTo>
                      <a:lnTo>
                        <a:pt x="1076" y="967"/>
                      </a:lnTo>
                      <a:lnTo>
                        <a:pt x="1077" y="967"/>
                      </a:lnTo>
                      <a:lnTo>
                        <a:pt x="1077" y="968"/>
                      </a:lnTo>
                      <a:lnTo>
                        <a:pt x="1077" y="970"/>
                      </a:lnTo>
                      <a:lnTo>
                        <a:pt x="1077" y="971"/>
                      </a:lnTo>
                      <a:close/>
                      <a:moveTo>
                        <a:pt x="1080" y="957"/>
                      </a:moveTo>
                      <a:lnTo>
                        <a:pt x="1079" y="965"/>
                      </a:lnTo>
                      <a:lnTo>
                        <a:pt x="1079" y="966"/>
                      </a:lnTo>
                      <a:lnTo>
                        <a:pt x="1078" y="966"/>
                      </a:lnTo>
                      <a:lnTo>
                        <a:pt x="1078" y="965"/>
                      </a:lnTo>
                      <a:lnTo>
                        <a:pt x="1079" y="958"/>
                      </a:lnTo>
                      <a:lnTo>
                        <a:pt x="1080" y="958"/>
                      </a:lnTo>
                      <a:lnTo>
                        <a:pt x="1080" y="957"/>
                      </a:lnTo>
                      <a:close/>
                      <a:moveTo>
                        <a:pt x="1389" y="1196"/>
                      </a:moveTo>
                      <a:lnTo>
                        <a:pt x="1389" y="1197"/>
                      </a:lnTo>
                      <a:lnTo>
                        <a:pt x="1389" y="1196"/>
                      </a:lnTo>
                      <a:lnTo>
                        <a:pt x="1388" y="1196"/>
                      </a:lnTo>
                      <a:lnTo>
                        <a:pt x="1387" y="1195"/>
                      </a:lnTo>
                      <a:lnTo>
                        <a:pt x="1387" y="1194"/>
                      </a:lnTo>
                      <a:lnTo>
                        <a:pt x="1387" y="1193"/>
                      </a:lnTo>
                      <a:lnTo>
                        <a:pt x="1388" y="1193"/>
                      </a:lnTo>
                      <a:lnTo>
                        <a:pt x="1389" y="1193"/>
                      </a:lnTo>
                      <a:lnTo>
                        <a:pt x="1389" y="1194"/>
                      </a:lnTo>
                      <a:lnTo>
                        <a:pt x="1389" y="1195"/>
                      </a:lnTo>
                      <a:lnTo>
                        <a:pt x="1389" y="1196"/>
                      </a:lnTo>
                      <a:close/>
                      <a:moveTo>
                        <a:pt x="1098" y="794"/>
                      </a:moveTo>
                      <a:lnTo>
                        <a:pt x="1098" y="795"/>
                      </a:lnTo>
                      <a:lnTo>
                        <a:pt x="1097" y="795"/>
                      </a:lnTo>
                      <a:lnTo>
                        <a:pt x="1098" y="795"/>
                      </a:lnTo>
                      <a:lnTo>
                        <a:pt x="1099" y="795"/>
                      </a:lnTo>
                      <a:lnTo>
                        <a:pt x="1100" y="795"/>
                      </a:lnTo>
                      <a:lnTo>
                        <a:pt x="1100" y="796"/>
                      </a:lnTo>
                      <a:lnTo>
                        <a:pt x="1100" y="797"/>
                      </a:lnTo>
                      <a:lnTo>
                        <a:pt x="1099" y="796"/>
                      </a:lnTo>
                      <a:lnTo>
                        <a:pt x="1098" y="796"/>
                      </a:lnTo>
                      <a:lnTo>
                        <a:pt x="1097" y="796"/>
                      </a:lnTo>
                      <a:lnTo>
                        <a:pt x="1096" y="796"/>
                      </a:lnTo>
                      <a:lnTo>
                        <a:pt x="1095" y="796"/>
                      </a:lnTo>
                      <a:lnTo>
                        <a:pt x="1096" y="795"/>
                      </a:lnTo>
                      <a:lnTo>
                        <a:pt x="1096" y="796"/>
                      </a:lnTo>
                      <a:lnTo>
                        <a:pt x="1096" y="795"/>
                      </a:lnTo>
                      <a:lnTo>
                        <a:pt x="1096" y="794"/>
                      </a:lnTo>
                      <a:lnTo>
                        <a:pt x="1096" y="795"/>
                      </a:lnTo>
                      <a:lnTo>
                        <a:pt x="1096" y="794"/>
                      </a:lnTo>
                      <a:lnTo>
                        <a:pt x="1097" y="794"/>
                      </a:lnTo>
                      <a:lnTo>
                        <a:pt x="1098" y="794"/>
                      </a:lnTo>
                      <a:close/>
                      <a:moveTo>
                        <a:pt x="1164" y="961"/>
                      </a:moveTo>
                      <a:lnTo>
                        <a:pt x="1164" y="962"/>
                      </a:lnTo>
                      <a:lnTo>
                        <a:pt x="1164" y="963"/>
                      </a:lnTo>
                      <a:lnTo>
                        <a:pt x="1166" y="963"/>
                      </a:lnTo>
                      <a:lnTo>
                        <a:pt x="1164" y="963"/>
                      </a:lnTo>
                      <a:lnTo>
                        <a:pt x="1164" y="964"/>
                      </a:lnTo>
                      <a:lnTo>
                        <a:pt x="1164" y="965"/>
                      </a:lnTo>
                      <a:lnTo>
                        <a:pt x="1164" y="964"/>
                      </a:lnTo>
                      <a:lnTo>
                        <a:pt x="1163" y="964"/>
                      </a:lnTo>
                      <a:lnTo>
                        <a:pt x="1163" y="965"/>
                      </a:lnTo>
                      <a:lnTo>
                        <a:pt x="1163" y="964"/>
                      </a:lnTo>
                      <a:lnTo>
                        <a:pt x="1162" y="964"/>
                      </a:lnTo>
                      <a:lnTo>
                        <a:pt x="1163" y="964"/>
                      </a:lnTo>
                      <a:lnTo>
                        <a:pt x="1163" y="963"/>
                      </a:lnTo>
                      <a:lnTo>
                        <a:pt x="1162" y="963"/>
                      </a:lnTo>
                      <a:lnTo>
                        <a:pt x="1162" y="962"/>
                      </a:lnTo>
                      <a:lnTo>
                        <a:pt x="1163" y="962"/>
                      </a:lnTo>
                      <a:lnTo>
                        <a:pt x="1164" y="962"/>
                      </a:lnTo>
                      <a:lnTo>
                        <a:pt x="1164" y="961"/>
                      </a:lnTo>
                      <a:lnTo>
                        <a:pt x="1163" y="961"/>
                      </a:lnTo>
                      <a:lnTo>
                        <a:pt x="1164" y="960"/>
                      </a:lnTo>
                      <a:lnTo>
                        <a:pt x="1166" y="960"/>
                      </a:lnTo>
                      <a:lnTo>
                        <a:pt x="1166" y="961"/>
                      </a:lnTo>
                      <a:lnTo>
                        <a:pt x="1164" y="961"/>
                      </a:lnTo>
                      <a:close/>
                      <a:moveTo>
                        <a:pt x="1099" y="801"/>
                      </a:moveTo>
                      <a:lnTo>
                        <a:pt x="1099" y="802"/>
                      </a:lnTo>
                      <a:lnTo>
                        <a:pt x="1099" y="801"/>
                      </a:lnTo>
                      <a:lnTo>
                        <a:pt x="1099" y="802"/>
                      </a:lnTo>
                      <a:lnTo>
                        <a:pt x="1100" y="802"/>
                      </a:lnTo>
                      <a:lnTo>
                        <a:pt x="1100" y="803"/>
                      </a:lnTo>
                      <a:lnTo>
                        <a:pt x="1102" y="802"/>
                      </a:lnTo>
                      <a:lnTo>
                        <a:pt x="1102" y="803"/>
                      </a:lnTo>
                      <a:lnTo>
                        <a:pt x="1102" y="804"/>
                      </a:lnTo>
                      <a:lnTo>
                        <a:pt x="1100" y="803"/>
                      </a:lnTo>
                      <a:lnTo>
                        <a:pt x="1099" y="803"/>
                      </a:lnTo>
                      <a:lnTo>
                        <a:pt x="1099" y="802"/>
                      </a:lnTo>
                      <a:lnTo>
                        <a:pt x="1098" y="802"/>
                      </a:lnTo>
                      <a:lnTo>
                        <a:pt x="1099" y="802"/>
                      </a:lnTo>
                      <a:lnTo>
                        <a:pt x="1099" y="803"/>
                      </a:lnTo>
                      <a:lnTo>
                        <a:pt x="1098" y="803"/>
                      </a:lnTo>
                      <a:lnTo>
                        <a:pt x="1097" y="803"/>
                      </a:lnTo>
                      <a:lnTo>
                        <a:pt x="1097" y="802"/>
                      </a:lnTo>
                      <a:lnTo>
                        <a:pt x="1097" y="801"/>
                      </a:lnTo>
                      <a:lnTo>
                        <a:pt x="1098" y="801"/>
                      </a:lnTo>
                      <a:lnTo>
                        <a:pt x="1098" y="800"/>
                      </a:lnTo>
                      <a:lnTo>
                        <a:pt x="1098" y="799"/>
                      </a:lnTo>
                      <a:lnTo>
                        <a:pt x="1099" y="799"/>
                      </a:lnTo>
                      <a:lnTo>
                        <a:pt x="1100" y="800"/>
                      </a:lnTo>
                      <a:lnTo>
                        <a:pt x="1099" y="800"/>
                      </a:lnTo>
                      <a:lnTo>
                        <a:pt x="1099" y="801"/>
                      </a:lnTo>
                      <a:close/>
                      <a:moveTo>
                        <a:pt x="1137" y="791"/>
                      </a:moveTo>
                      <a:lnTo>
                        <a:pt x="1138" y="791"/>
                      </a:lnTo>
                      <a:lnTo>
                        <a:pt x="1140" y="791"/>
                      </a:lnTo>
                      <a:lnTo>
                        <a:pt x="1141" y="791"/>
                      </a:lnTo>
                      <a:lnTo>
                        <a:pt x="1142" y="791"/>
                      </a:lnTo>
                      <a:lnTo>
                        <a:pt x="1143" y="791"/>
                      </a:lnTo>
                      <a:lnTo>
                        <a:pt x="1143" y="793"/>
                      </a:lnTo>
                      <a:lnTo>
                        <a:pt x="1144" y="793"/>
                      </a:lnTo>
                      <a:lnTo>
                        <a:pt x="1145" y="793"/>
                      </a:lnTo>
                      <a:lnTo>
                        <a:pt x="1144" y="794"/>
                      </a:lnTo>
                      <a:lnTo>
                        <a:pt x="1143" y="793"/>
                      </a:lnTo>
                      <a:lnTo>
                        <a:pt x="1142" y="793"/>
                      </a:lnTo>
                      <a:lnTo>
                        <a:pt x="1141" y="793"/>
                      </a:lnTo>
                      <a:lnTo>
                        <a:pt x="1140" y="791"/>
                      </a:lnTo>
                      <a:lnTo>
                        <a:pt x="1138" y="791"/>
                      </a:lnTo>
                      <a:lnTo>
                        <a:pt x="1137" y="791"/>
                      </a:lnTo>
                      <a:lnTo>
                        <a:pt x="1136" y="791"/>
                      </a:lnTo>
                      <a:lnTo>
                        <a:pt x="1136" y="793"/>
                      </a:lnTo>
                      <a:lnTo>
                        <a:pt x="1136" y="791"/>
                      </a:lnTo>
                      <a:lnTo>
                        <a:pt x="1136" y="790"/>
                      </a:lnTo>
                      <a:lnTo>
                        <a:pt x="1137" y="791"/>
                      </a:lnTo>
                      <a:close/>
                      <a:moveTo>
                        <a:pt x="1032" y="926"/>
                      </a:moveTo>
                      <a:lnTo>
                        <a:pt x="1032" y="927"/>
                      </a:lnTo>
                      <a:lnTo>
                        <a:pt x="1031" y="928"/>
                      </a:lnTo>
                      <a:lnTo>
                        <a:pt x="1031" y="927"/>
                      </a:lnTo>
                      <a:lnTo>
                        <a:pt x="1030" y="927"/>
                      </a:lnTo>
                      <a:lnTo>
                        <a:pt x="1030" y="928"/>
                      </a:lnTo>
                      <a:lnTo>
                        <a:pt x="1030" y="929"/>
                      </a:lnTo>
                      <a:lnTo>
                        <a:pt x="1029" y="929"/>
                      </a:lnTo>
                      <a:lnTo>
                        <a:pt x="1028" y="929"/>
                      </a:lnTo>
                      <a:lnTo>
                        <a:pt x="1028" y="928"/>
                      </a:lnTo>
                      <a:lnTo>
                        <a:pt x="1029" y="928"/>
                      </a:lnTo>
                      <a:lnTo>
                        <a:pt x="1030" y="927"/>
                      </a:lnTo>
                      <a:lnTo>
                        <a:pt x="1030" y="926"/>
                      </a:lnTo>
                      <a:lnTo>
                        <a:pt x="1031" y="926"/>
                      </a:lnTo>
                      <a:lnTo>
                        <a:pt x="1031" y="925"/>
                      </a:lnTo>
                      <a:lnTo>
                        <a:pt x="1032" y="925"/>
                      </a:lnTo>
                      <a:lnTo>
                        <a:pt x="1032" y="926"/>
                      </a:lnTo>
                      <a:close/>
                      <a:moveTo>
                        <a:pt x="1040" y="984"/>
                      </a:moveTo>
                      <a:lnTo>
                        <a:pt x="1040" y="986"/>
                      </a:lnTo>
                      <a:lnTo>
                        <a:pt x="1039" y="986"/>
                      </a:lnTo>
                      <a:lnTo>
                        <a:pt x="1038" y="986"/>
                      </a:lnTo>
                      <a:lnTo>
                        <a:pt x="1038" y="987"/>
                      </a:lnTo>
                      <a:lnTo>
                        <a:pt x="1037" y="987"/>
                      </a:lnTo>
                      <a:lnTo>
                        <a:pt x="1035" y="987"/>
                      </a:lnTo>
                      <a:lnTo>
                        <a:pt x="1035" y="988"/>
                      </a:lnTo>
                      <a:lnTo>
                        <a:pt x="1034" y="988"/>
                      </a:lnTo>
                      <a:lnTo>
                        <a:pt x="1035" y="988"/>
                      </a:lnTo>
                      <a:lnTo>
                        <a:pt x="1037" y="988"/>
                      </a:lnTo>
                      <a:lnTo>
                        <a:pt x="1032" y="988"/>
                      </a:lnTo>
                      <a:lnTo>
                        <a:pt x="1033" y="988"/>
                      </a:lnTo>
                      <a:lnTo>
                        <a:pt x="1033" y="987"/>
                      </a:lnTo>
                      <a:lnTo>
                        <a:pt x="1033" y="988"/>
                      </a:lnTo>
                      <a:lnTo>
                        <a:pt x="1034" y="987"/>
                      </a:lnTo>
                      <a:lnTo>
                        <a:pt x="1034" y="988"/>
                      </a:lnTo>
                      <a:lnTo>
                        <a:pt x="1034" y="987"/>
                      </a:lnTo>
                      <a:lnTo>
                        <a:pt x="1035" y="987"/>
                      </a:lnTo>
                      <a:lnTo>
                        <a:pt x="1035" y="986"/>
                      </a:lnTo>
                      <a:lnTo>
                        <a:pt x="1037" y="986"/>
                      </a:lnTo>
                      <a:lnTo>
                        <a:pt x="1037" y="987"/>
                      </a:lnTo>
                      <a:lnTo>
                        <a:pt x="1038" y="986"/>
                      </a:lnTo>
                      <a:lnTo>
                        <a:pt x="1037" y="986"/>
                      </a:lnTo>
                      <a:lnTo>
                        <a:pt x="1038" y="986"/>
                      </a:lnTo>
                      <a:lnTo>
                        <a:pt x="1037" y="986"/>
                      </a:lnTo>
                      <a:lnTo>
                        <a:pt x="1034" y="987"/>
                      </a:lnTo>
                      <a:lnTo>
                        <a:pt x="1034" y="986"/>
                      </a:lnTo>
                      <a:lnTo>
                        <a:pt x="1037" y="986"/>
                      </a:lnTo>
                      <a:lnTo>
                        <a:pt x="1039" y="984"/>
                      </a:lnTo>
                      <a:lnTo>
                        <a:pt x="1040" y="984"/>
                      </a:lnTo>
                      <a:close/>
                      <a:moveTo>
                        <a:pt x="1420" y="1115"/>
                      </a:moveTo>
                      <a:lnTo>
                        <a:pt x="1420" y="1116"/>
                      </a:lnTo>
                      <a:lnTo>
                        <a:pt x="1419" y="1116"/>
                      </a:lnTo>
                      <a:lnTo>
                        <a:pt x="1419" y="1117"/>
                      </a:lnTo>
                      <a:lnTo>
                        <a:pt x="1420" y="1116"/>
                      </a:lnTo>
                      <a:lnTo>
                        <a:pt x="1420" y="1117"/>
                      </a:lnTo>
                      <a:lnTo>
                        <a:pt x="1420" y="1118"/>
                      </a:lnTo>
                      <a:lnTo>
                        <a:pt x="1419" y="1117"/>
                      </a:lnTo>
                      <a:lnTo>
                        <a:pt x="1418" y="1117"/>
                      </a:lnTo>
                      <a:lnTo>
                        <a:pt x="1418" y="1116"/>
                      </a:lnTo>
                      <a:lnTo>
                        <a:pt x="1419" y="1116"/>
                      </a:lnTo>
                      <a:lnTo>
                        <a:pt x="1419" y="1115"/>
                      </a:lnTo>
                      <a:lnTo>
                        <a:pt x="1418" y="1115"/>
                      </a:lnTo>
                      <a:lnTo>
                        <a:pt x="1418" y="1114"/>
                      </a:lnTo>
                      <a:lnTo>
                        <a:pt x="1417" y="1114"/>
                      </a:lnTo>
                      <a:lnTo>
                        <a:pt x="1418" y="1112"/>
                      </a:lnTo>
                      <a:lnTo>
                        <a:pt x="1419" y="1112"/>
                      </a:lnTo>
                      <a:lnTo>
                        <a:pt x="1419" y="1114"/>
                      </a:lnTo>
                      <a:lnTo>
                        <a:pt x="1420" y="1114"/>
                      </a:lnTo>
                      <a:lnTo>
                        <a:pt x="1420" y="1115"/>
                      </a:lnTo>
                      <a:close/>
                      <a:moveTo>
                        <a:pt x="1313" y="1089"/>
                      </a:moveTo>
                      <a:lnTo>
                        <a:pt x="1314" y="1089"/>
                      </a:lnTo>
                      <a:lnTo>
                        <a:pt x="1314" y="1090"/>
                      </a:lnTo>
                      <a:lnTo>
                        <a:pt x="1313" y="1089"/>
                      </a:lnTo>
                      <a:lnTo>
                        <a:pt x="1313" y="1090"/>
                      </a:lnTo>
                      <a:lnTo>
                        <a:pt x="1313" y="1091"/>
                      </a:lnTo>
                      <a:lnTo>
                        <a:pt x="1313" y="1092"/>
                      </a:lnTo>
                      <a:lnTo>
                        <a:pt x="1314" y="1093"/>
                      </a:lnTo>
                      <a:lnTo>
                        <a:pt x="1314" y="1094"/>
                      </a:lnTo>
                      <a:lnTo>
                        <a:pt x="1313" y="1094"/>
                      </a:lnTo>
                      <a:lnTo>
                        <a:pt x="1313" y="1093"/>
                      </a:lnTo>
                      <a:lnTo>
                        <a:pt x="1312" y="1092"/>
                      </a:lnTo>
                      <a:lnTo>
                        <a:pt x="1312" y="1091"/>
                      </a:lnTo>
                      <a:lnTo>
                        <a:pt x="1312" y="1090"/>
                      </a:lnTo>
                      <a:lnTo>
                        <a:pt x="1312" y="1089"/>
                      </a:lnTo>
                      <a:lnTo>
                        <a:pt x="1312" y="1088"/>
                      </a:lnTo>
                      <a:lnTo>
                        <a:pt x="1313" y="1088"/>
                      </a:lnTo>
                      <a:lnTo>
                        <a:pt x="1313" y="1089"/>
                      </a:lnTo>
                      <a:close/>
                      <a:moveTo>
                        <a:pt x="1024" y="928"/>
                      </a:moveTo>
                      <a:lnTo>
                        <a:pt x="1025" y="928"/>
                      </a:lnTo>
                      <a:lnTo>
                        <a:pt x="1026" y="929"/>
                      </a:lnTo>
                      <a:lnTo>
                        <a:pt x="1027" y="929"/>
                      </a:lnTo>
                      <a:lnTo>
                        <a:pt x="1026" y="929"/>
                      </a:lnTo>
                      <a:lnTo>
                        <a:pt x="1025" y="929"/>
                      </a:lnTo>
                      <a:lnTo>
                        <a:pt x="1024" y="929"/>
                      </a:lnTo>
                      <a:lnTo>
                        <a:pt x="1022" y="930"/>
                      </a:lnTo>
                      <a:lnTo>
                        <a:pt x="1022" y="929"/>
                      </a:lnTo>
                      <a:lnTo>
                        <a:pt x="1022" y="928"/>
                      </a:lnTo>
                      <a:lnTo>
                        <a:pt x="1021" y="929"/>
                      </a:lnTo>
                      <a:lnTo>
                        <a:pt x="1020" y="929"/>
                      </a:lnTo>
                      <a:lnTo>
                        <a:pt x="1019" y="929"/>
                      </a:lnTo>
                      <a:lnTo>
                        <a:pt x="1020" y="929"/>
                      </a:lnTo>
                      <a:lnTo>
                        <a:pt x="1020" y="928"/>
                      </a:lnTo>
                      <a:lnTo>
                        <a:pt x="1021" y="928"/>
                      </a:lnTo>
                      <a:lnTo>
                        <a:pt x="1022" y="928"/>
                      </a:lnTo>
                      <a:lnTo>
                        <a:pt x="1022" y="927"/>
                      </a:lnTo>
                      <a:lnTo>
                        <a:pt x="1024" y="928"/>
                      </a:lnTo>
                      <a:close/>
                      <a:moveTo>
                        <a:pt x="1282" y="1121"/>
                      </a:moveTo>
                      <a:lnTo>
                        <a:pt x="1283" y="1121"/>
                      </a:lnTo>
                      <a:lnTo>
                        <a:pt x="1284" y="1121"/>
                      </a:lnTo>
                      <a:lnTo>
                        <a:pt x="1284" y="1122"/>
                      </a:lnTo>
                      <a:lnTo>
                        <a:pt x="1283" y="1123"/>
                      </a:lnTo>
                      <a:lnTo>
                        <a:pt x="1282" y="1123"/>
                      </a:lnTo>
                      <a:lnTo>
                        <a:pt x="1283" y="1124"/>
                      </a:lnTo>
                      <a:lnTo>
                        <a:pt x="1282" y="1124"/>
                      </a:lnTo>
                      <a:lnTo>
                        <a:pt x="1282" y="1125"/>
                      </a:lnTo>
                      <a:lnTo>
                        <a:pt x="1280" y="1125"/>
                      </a:lnTo>
                      <a:lnTo>
                        <a:pt x="1279" y="1125"/>
                      </a:lnTo>
                      <a:lnTo>
                        <a:pt x="1279" y="1124"/>
                      </a:lnTo>
                      <a:lnTo>
                        <a:pt x="1279" y="1123"/>
                      </a:lnTo>
                      <a:lnTo>
                        <a:pt x="1279" y="1124"/>
                      </a:lnTo>
                      <a:lnTo>
                        <a:pt x="1280" y="1124"/>
                      </a:lnTo>
                      <a:lnTo>
                        <a:pt x="1282" y="1123"/>
                      </a:lnTo>
                      <a:lnTo>
                        <a:pt x="1280" y="1123"/>
                      </a:lnTo>
                      <a:lnTo>
                        <a:pt x="1282" y="1123"/>
                      </a:lnTo>
                      <a:lnTo>
                        <a:pt x="1282" y="1122"/>
                      </a:lnTo>
                      <a:lnTo>
                        <a:pt x="1283" y="1122"/>
                      </a:lnTo>
                      <a:lnTo>
                        <a:pt x="1282" y="1122"/>
                      </a:lnTo>
                      <a:lnTo>
                        <a:pt x="1282" y="1121"/>
                      </a:lnTo>
                      <a:lnTo>
                        <a:pt x="1280" y="1121"/>
                      </a:lnTo>
                      <a:lnTo>
                        <a:pt x="1282" y="1121"/>
                      </a:lnTo>
                      <a:close/>
                      <a:moveTo>
                        <a:pt x="1318" y="1209"/>
                      </a:moveTo>
                      <a:lnTo>
                        <a:pt x="1318" y="1210"/>
                      </a:lnTo>
                      <a:lnTo>
                        <a:pt x="1317" y="1211"/>
                      </a:lnTo>
                      <a:lnTo>
                        <a:pt x="1316" y="1212"/>
                      </a:lnTo>
                      <a:lnTo>
                        <a:pt x="1314" y="1213"/>
                      </a:lnTo>
                      <a:lnTo>
                        <a:pt x="1314" y="1214"/>
                      </a:lnTo>
                      <a:lnTo>
                        <a:pt x="1313" y="1215"/>
                      </a:lnTo>
                      <a:lnTo>
                        <a:pt x="1311" y="1217"/>
                      </a:lnTo>
                      <a:lnTo>
                        <a:pt x="1311" y="1218"/>
                      </a:lnTo>
                      <a:lnTo>
                        <a:pt x="1310" y="1218"/>
                      </a:lnTo>
                      <a:lnTo>
                        <a:pt x="1310" y="1217"/>
                      </a:lnTo>
                      <a:lnTo>
                        <a:pt x="1310" y="1215"/>
                      </a:lnTo>
                      <a:lnTo>
                        <a:pt x="1311" y="1215"/>
                      </a:lnTo>
                      <a:lnTo>
                        <a:pt x="1310" y="1215"/>
                      </a:lnTo>
                      <a:lnTo>
                        <a:pt x="1310" y="1217"/>
                      </a:lnTo>
                      <a:lnTo>
                        <a:pt x="1311" y="1217"/>
                      </a:lnTo>
                      <a:lnTo>
                        <a:pt x="1312" y="1215"/>
                      </a:lnTo>
                      <a:lnTo>
                        <a:pt x="1313" y="1215"/>
                      </a:lnTo>
                      <a:lnTo>
                        <a:pt x="1313" y="1214"/>
                      </a:lnTo>
                      <a:lnTo>
                        <a:pt x="1314" y="1213"/>
                      </a:lnTo>
                      <a:lnTo>
                        <a:pt x="1314" y="1212"/>
                      </a:lnTo>
                      <a:lnTo>
                        <a:pt x="1315" y="1212"/>
                      </a:lnTo>
                      <a:lnTo>
                        <a:pt x="1316" y="1212"/>
                      </a:lnTo>
                      <a:lnTo>
                        <a:pt x="1317" y="1210"/>
                      </a:lnTo>
                      <a:lnTo>
                        <a:pt x="1318" y="1210"/>
                      </a:lnTo>
                      <a:lnTo>
                        <a:pt x="1318" y="1209"/>
                      </a:lnTo>
                      <a:close/>
                      <a:moveTo>
                        <a:pt x="1124" y="802"/>
                      </a:moveTo>
                      <a:lnTo>
                        <a:pt x="1124" y="803"/>
                      </a:lnTo>
                      <a:lnTo>
                        <a:pt x="1123" y="803"/>
                      </a:lnTo>
                      <a:lnTo>
                        <a:pt x="1122" y="803"/>
                      </a:lnTo>
                      <a:lnTo>
                        <a:pt x="1121" y="804"/>
                      </a:lnTo>
                      <a:lnTo>
                        <a:pt x="1121" y="803"/>
                      </a:lnTo>
                      <a:lnTo>
                        <a:pt x="1121" y="802"/>
                      </a:lnTo>
                      <a:lnTo>
                        <a:pt x="1120" y="802"/>
                      </a:lnTo>
                      <a:lnTo>
                        <a:pt x="1121" y="802"/>
                      </a:lnTo>
                      <a:lnTo>
                        <a:pt x="1122" y="802"/>
                      </a:lnTo>
                      <a:lnTo>
                        <a:pt x="1123" y="802"/>
                      </a:lnTo>
                      <a:lnTo>
                        <a:pt x="1123" y="801"/>
                      </a:lnTo>
                      <a:lnTo>
                        <a:pt x="1124" y="802"/>
                      </a:lnTo>
                      <a:close/>
                      <a:moveTo>
                        <a:pt x="1426" y="1006"/>
                      </a:moveTo>
                      <a:lnTo>
                        <a:pt x="1426" y="1007"/>
                      </a:lnTo>
                      <a:lnTo>
                        <a:pt x="1426" y="1008"/>
                      </a:lnTo>
                      <a:lnTo>
                        <a:pt x="1425" y="1008"/>
                      </a:lnTo>
                      <a:lnTo>
                        <a:pt x="1424" y="1009"/>
                      </a:lnTo>
                      <a:lnTo>
                        <a:pt x="1422" y="1009"/>
                      </a:lnTo>
                      <a:lnTo>
                        <a:pt x="1422" y="1008"/>
                      </a:lnTo>
                      <a:lnTo>
                        <a:pt x="1424" y="1007"/>
                      </a:lnTo>
                      <a:lnTo>
                        <a:pt x="1422" y="1007"/>
                      </a:lnTo>
                      <a:lnTo>
                        <a:pt x="1424" y="1006"/>
                      </a:lnTo>
                      <a:lnTo>
                        <a:pt x="1425" y="1006"/>
                      </a:lnTo>
                      <a:lnTo>
                        <a:pt x="1426" y="1005"/>
                      </a:lnTo>
                      <a:lnTo>
                        <a:pt x="1426" y="1006"/>
                      </a:lnTo>
                      <a:close/>
                      <a:moveTo>
                        <a:pt x="965" y="885"/>
                      </a:moveTo>
                      <a:lnTo>
                        <a:pt x="966" y="885"/>
                      </a:lnTo>
                      <a:lnTo>
                        <a:pt x="966" y="886"/>
                      </a:lnTo>
                      <a:lnTo>
                        <a:pt x="965" y="886"/>
                      </a:lnTo>
                      <a:lnTo>
                        <a:pt x="966" y="886"/>
                      </a:lnTo>
                      <a:lnTo>
                        <a:pt x="965" y="886"/>
                      </a:lnTo>
                      <a:lnTo>
                        <a:pt x="965" y="887"/>
                      </a:lnTo>
                      <a:lnTo>
                        <a:pt x="965" y="886"/>
                      </a:lnTo>
                      <a:lnTo>
                        <a:pt x="966" y="886"/>
                      </a:lnTo>
                      <a:lnTo>
                        <a:pt x="965" y="887"/>
                      </a:lnTo>
                      <a:lnTo>
                        <a:pt x="965" y="888"/>
                      </a:lnTo>
                      <a:lnTo>
                        <a:pt x="964" y="888"/>
                      </a:lnTo>
                      <a:lnTo>
                        <a:pt x="964" y="887"/>
                      </a:lnTo>
                      <a:lnTo>
                        <a:pt x="964" y="886"/>
                      </a:lnTo>
                      <a:lnTo>
                        <a:pt x="964" y="885"/>
                      </a:lnTo>
                      <a:lnTo>
                        <a:pt x="965" y="885"/>
                      </a:lnTo>
                      <a:close/>
                      <a:moveTo>
                        <a:pt x="1167" y="971"/>
                      </a:moveTo>
                      <a:lnTo>
                        <a:pt x="1168" y="971"/>
                      </a:lnTo>
                      <a:lnTo>
                        <a:pt x="1168" y="973"/>
                      </a:lnTo>
                      <a:lnTo>
                        <a:pt x="1169" y="973"/>
                      </a:lnTo>
                      <a:lnTo>
                        <a:pt x="1169" y="974"/>
                      </a:lnTo>
                      <a:lnTo>
                        <a:pt x="1168" y="974"/>
                      </a:lnTo>
                      <a:lnTo>
                        <a:pt x="1168" y="975"/>
                      </a:lnTo>
                      <a:lnTo>
                        <a:pt x="1168" y="976"/>
                      </a:lnTo>
                      <a:lnTo>
                        <a:pt x="1167" y="976"/>
                      </a:lnTo>
                      <a:lnTo>
                        <a:pt x="1167" y="975"/>
                      </a:lnTo>
                      <a:lnTo>
                        <a:pt x="1166" y="975"/>
                      </a:lnTo>
                      <a:lnTo>
                        <a:pt x="1167" y="975"/>
                      </a:lnTo>
                      <a:lnTo>
                        <a:pt x="1167" y="974"/>
                      </a:lnTo>
                      <a:lnTo>
                        <a:pt x="1167" y="973"/>
                      </a:lnTo>
                      <a:lnTo>
                        <a:pt x="1167" y="971"/>
                      </a:lnTo>
                      <a:lnTo>
                        <a:pt x="1166" y="971"/>
                      </a:lnTo>
                      <a:lnTo>
                        <a:pt x="1167" y="971"/>
                      </a:lnTo>
                      <a:lnTo>
                        <a:pt x="1167" y="970"/>
                      </a:lnTo>
                      <a:lnTo>
                        <a:pt x="1167" y="971"/>
                      </a:lnTo>
                      <a:close/>
                      <a:moveTo>
                        <a:pt x="1109" y="988"/>
                      </a:moveTo>
                      <a:lnTo>
                        <a:pt x="1110" y="988"/>
                      </a:lnTo>
                      <a:lnTo>
                        <a:pt x="1110" y="989"/>
                      </a:lnTo>
                      <a:lnTo>
                        <a:pt x="1109" y="990"/>
                      </a:lnTo>
                      <a:lnTo>
                        <a:pt x="1109" y="991"/>
                      </a:lnTo>
                      <a:lnTo>
                        <a:pt x="1109" y="992"/>
                      </a:lnTo>
                      <a:lnTo>
                        <a:pt x="1108" y="993"/>
                      </a:lnTo>
                      <a:lnTo>
                        <a:pt x="1109" y="994"/>
                      </a:lnTo>
                      <a:lnTo>
                        <a:pt x="1108" y="994"/>
                      </a:lnTo>
                      <a:lnTo>
                        <a:pt x="1108" y="992"/>
                      </a:lnTo>
                      <a:lnTo>
                        <a:pt x="1108" y="991"/>
                      </a:lnTo>
                      <a:lnTo>
                        <a:pt x="1108" y="990"/>
                      </a:lnTo>
                      <a:lnTo>
                        <a:pt x="1108" y="989"/>
                      </a:lnTo>
                      <a:lnTo>
                        <a:pt x="1108" y="988"/>
                      </a:lnTo>
                      <a:lnTo>
                        <a:pt x="1109" y="988"/>
                      </a:lnTo>
                      <a:close/>
                      <a:moveTo>
                        <a:pt x="1334" y="1014"/>
                      </a:moveTo>
                      <a:lnTo>
                        <a:pt x="1335" y="1014"/>
                      </a:lnTo>
                      <a:lnTo>
                        <a:pt x="1335" y="1015"/>
                      </a:lnTo>
                      <a:lnTo>
                        <a:pt x="1334" y="1016"/>
                      </a:lnTo>
                      <a:lnTo>
                        <a:pt x="1334" y="1017"/>
                      </a:lnTo>
                      <a:lnTo>
                        <a:pt x="1332" y="1016"/>
                      </a:lnTo>
                      <a:lnTo>
                        <a:pt x="1332" y="1015"/>
                      </a:lnTo>
                      <a:lnTo>
                        <a:pt x="1332" y="1016"/>
                      </a:lnTo>
                      <a:lnTo>
                        <a:pt x="1331" y="1016"/>
                      </a:lnTo>
                      <a:lnTo>
                        <a:pt x="1331" y="1015"/>
                      </a:lnTo>
                      <a:lnTo>
                        <a:pt x="1332" y="1015"/>
                      </a:lnTo>
                      <a:lnTo>
                        <a:pt x="1331" y="1014"/>
                      </a:lnTo>
                      <a:lnTo>
                        <a:pt x="1332" y="1014"/>
                      </a:lnTo>
                      <a:lnTo>
                        <a:pt x="1332" y="1013"/>
                      </a:lnTo>
                      <a:lnTo>
                        <a:pt x="1332" y="1014"/>
                      </a:lnTo>
                      <a:lnTo>
                        <a:pt x="1334" y="1014"/>
                      </a:lnTo>
                      <a:close/>
                      <a:moveTo>
                        <a:pt x="1172" y="964"/>
                      </a:moveTo>
                      <a:lnTo>
                        <a:pt x="1172" y="965"/>
                      </a:lnTo>
                      <a:lnTo>
                        <a:pt x="1172" y="964"/>
                      </a:lnTo>
                      <a:lnTo>
                        <a:pt x="1173" y="965"/>
                      </a:lnTo>
                      <a:lnTo>
                        <a:pt x="1173" y="964"/>
                      </a:lnTo>
                      <a:lnTo>
                        <a:pt x="1173" y="965"/>
                      </a:lnTo>
                      <a:lnTo>
                        <a:pt x="1172" y="965"/>
                      </a:lnTo>
                      <a:lnTo>
                        <a:pt x="1171" y="965"/>
                      </a:lnTo>
                      <a:lnTo>
                        <a:pt x="1170" y="965"/>
                      </a:lnTo>
                      <a:lnTo>
                        <a:pt x="1170" y="964"/>
                      </a:lnTo>
                      <a:lnTo>
                        <a:pt x="1169" y="963"/>
                      </a:lnTo>
                      <a:lnTo>
                        <a:pt x="1170" y="962"/>
                      </a:lnTo>
                      <a:lnTo>
                        <a:pt x="1171" y="962"/>
                      </a:lnTo>
                      <a:lnTo>
                        <a:pt x="1171" y="963"/>
                      </a:lnTo>
                      <a:lnTo>
                        <a:pt x="1171" y="964"/>
                      </a:lnTo>
                      <a:lnTo>
                        <a:pt x="1172" y="964"/>
                      </a:lnTo>
                      <a:close/>
                      <a:moveTo>
                        <a:pt x="1312" y="1091"/>
                      </a:moveTo>
                      <a:lnTo>
                        <a:pt x="1312" y="1092"/>
                      </a:lnTo>
                      <a:lnTo>
                        <a:pt x="1312" y="1094"/>
                      </a:lnTo>
                      <a:lnTo>
                        <a:pt x="1311" y="1095"/>
                      </a:lnTo>
                      <a:lnTo>
                        <a:pt x="1311" y="1094"/>
                      </a:lnTo>
                      <a:lnTo>
                        <a:pt x="1311" y="1093"/>
                      </a:lnTo>
                      <a:lnTo>
                        <a:pt x="1311" y="1092"/>
                      </a:lnTo>
                      <a:lnTo>
                        <a:pt x="1310" y="1092"/>
                      </a:lnTo>
                      <a:lnTo>
                        <a:pt x="1310" y="1093"/>
                      </a:lnTo>
                      <a:lnTo>
                        <a:pt x="1310" y="1094"/>
                      </a:lnTo>
                      <a:lnTo>
                        <a:pt x="1309" y="1094"/>
                      </a:lnTo>
                      <a:lnTo>
                        <a:pt x="1309" y="1093"/>
                      </a:lnTo>
                      <a:lnTo>
                        <a:pt x="1310" y="1093"/>
                      </a:lnTo>
                      <a:lnTo>
                        <a:pt x="1309" y="1093"/>
                      </a:lnTo>
                      <a:lnTo>
                        <a:pt x="1310" y="1093"/>
                      </a:lnTo>
                      <a:lnTo>
                        <a:pt x="1310" y="1092"/>
                      </a:lnTo>
                      <a:lnTo>
                        <a:pt x="1310" y="1091"/>
                      </a:lnTo>
                      <a:lnTo>
                        <a:pt x="1310" y="1090"/>
                      </a:lnTo>
                      <a:lnTo>
                        <a:pt x="1311" y="1089"/>
                      </a:lnTo>
                      <a:lnTo>
                        <a:pt x="1312" y="1090"/>
                      </a:lnTo>
                      <a:lnTo>
                        <a:pt x="1312" y="1091"/>
                      </a:lnTo>
                      <a:close/>
                      <a:moveTo>
                        <a:pt x="1183" y="925"/>
                      </a:moveTo>
                      <a:lnTo>
                        <a:pt x="1183" y="926"/>
                      </a:lnTo>
                      <a:lnTo>
                        <a:pt x="1184" y="926"/>
                      </a:lnTo>
                      <a:lnTo>
                        <a:pt x="1184" y="927"/>
                      </a:lnTo>
                      <a:lnTo>
                        <a:pt x="1183" y="927"/>
                      </a:lnTo>
                      <a:lnTo>
                        <a:pt x="1183" y="928"/>
                      </a:lnTo>
                      <a:lnTo>
                        <a:pt x="1182" y="928"/>
                      </a:lnTo>
                      <a:lnTo>
                        <a:pt x="1182" y="927"/>
                      </a:lnTo>
                      <a:lnTo>
                        <a:pt x="1182" y="926"/>
                      </a:lnTo>
                      <a:lnTo>
                        <a:pt x="1182" y="925"/>
                      </a:lnTo>
                      <a:lnTo>
                        <a:pt x="1181" y="925"/>
                      </a:lnTo>
                      <a:lnTo>
                        <a:pt x="1182" y="924"/>
                      </a:lnTo>
                      <a:lnTo>
                        <a:pt x="1183" y="924"/>
                      </a:lnTo>
                      <a:lnTo>
                        <a:pt x="1182" y="924"/>
                      </a:lnTo>
                      <a:lnTo>
                        <a:pt x="1182" y="925"/>
                      </a:lnTo>
                      <a:lnTo>
                        <a:pt x="1183" y="925"/>
                      </a:lnTo>
                      <a:close/>
                      <a:moveTo>
                        <a:pt x="1030" y="968"/>
                      </a:moveTo>
                      <a:lnTo>
                        <a:pt x="1030" y="969"/>
                      </a:lnTo>
                      <a:lnTo>
                        <a:pt x="1029" y="969"/>
                      </a:lnTo>
                      <a:lnTo>
                        <a:pt x="1029" y="970"/>
                      </a:lnTo>
                      <a:lnTo>
                        <a:pt x="1028" y="970"/>
                      </a:lnTo>
                      <a:lnTo>
                        <a:pt x="1027" y="970"/>
                      </a:lnTo>
                      <a:lnTo>
                        <a:pt x="1026" y="969"/>
                      </a:lnTo>
                      <a:lnTo>
                        <a:pt x="1026" y="968"/>
                      </a:lnTo>
                      <a:lnTo>
                        <a:pt x="1027" y="968"/>
                      </a:lnTo>
                      <a:lnTo>
                        <a:pt x="1028" y="968"/>
                      </a:lnTo>
                      <a:lnTo>
                        <a:pt x="1029" y="968"/>
                      </a:lnTo>
                      <a:lnTo>
                        <a:pt x="1030" y="968"/>
                      </a:lnTo>
                      <a:close/>
                      <a:moveTo>
                        <a:pt x="1432" y="1136"/>
                      </a:moveTo>
                      <a:lnTo>
                        <a:pt x="1432" y="1137"/>
                      </a:lnTo>
                      <a:lnTo>
                        <a:pt x="1432" y="1138"/>
                      </a:lnTo>
                      <a:lnTo>
                        <a:pt x="1431" y="1138"/>
                      </a:lnTo>
                      <a:lnTo>
                        <a:pt x="1430" y="1138"/>
                      </a:lnTo>
                      <a:lnTo>
                        <a:pt x="1430" y="1140"/>
                      </a:lnTo>
                      <a:lnTo>
                        <a:pt x="1430" y="1138"/>
                      </a:lnTo>
                      <a:lnTo>
                        <a:pt x="1430" y="1137"/>
                      </a:lnTo>
                      <a:lnTo>
                        <a:pt x="1430" y="1138"/>
                      </a:lnTo>
                      <a:lnTo>
                        <a:pt x="1429" y="1138"/>
                      </a:lnTo>
                      <a:lnTo>
                        <a:pt x="1430" y="1138"/>
                      </a:lnTo>
                      <a:lnTo>
                        <a:pt x="1430" y="1140"/>
                      </a:lnTo>
                      <a:lnTo>
                        <a:pt x="1430" y="1141"/>
                      </a:lnTo>
                      <a:lnTo>
                        <a:pt x="1429" y="1141"/>
                      </a:lnTo>
                      <a:lnTo>
                        <a:pt x="1429" y="1140"/>
                      </a:lnTo>
                      <a:lnTo>
                        <a:pt x="1429" y="1138"/>
                      </a:lnTo>
                      <a:lnTo>
                        <a:pt x="1429" y="1137"/>
                      </a:lnTo>
                      <a:lnTo>
                        <a:pt x="1430" y="1137"/>
                      </a:lnTo>
                      <a:lnTo>
                        <a:pt x="1429" y="1137"/>
                      </a:lnTo>
                      <a:lnTo>
                        <a:pt x="1429" y="1136"/>
                      </a:lnTo>
                      <a:lnTo>
                        <a:pt x="1430" y="1136"/>
                      </a:lnTo>
                      <a:lnTo>
                        <a:pt x="1430" y="1137"/>
                      </a:lnTo>
                      <a:lnTo>
                        <a:pt x="1430" y="1136"/>
                      </a:lnTo>
                      <a:lnTo>
                        <a:pt x="1431" y="1136"/>
                      </a:lnTo>
                      <a:lnTo>
                        <a:pt x="1432" y="1136"/>
                      </a:lnTo>
                      <a:lnTo>
                        <a:pt x="1431" y="1136"/>
                      </a:lnTo>
                      <a:lnTo>
                        <a:pt x="1432" y="1136"/>
                      </a:lnTo>
                      <a:close/>
                      <a:moveTo>
                        <a:pt x="1046" y="990"/>
                      </a:moveTo>
                      <a:lnTo>
                        <a:pt x="1045" y="990"/>
                      </a:lnTo>
                      <a:lnTo>
                        <a:pt x="1044" y="990"/>
                      </a:lnTo>
                      <a:lnTo>
                        <a:pt x="1044" y="991"/>
                      </a:lnTo>
                      <a:lnTo>
                        <a:pt x="1043" y="991"/>
                      </a:lnTo>
                      <a:lnTo>
                        <a:pt x="1043" y="990"/>
                      </a:lnTo>
                      <a:lnTo>
                        <a:pt x="1042" y="990"/>
                      </a:lnTo>
                      <a:lnTo>
                        <a:pt x="1042" y="991"/>
                      </a:lnTo>
                      <a:lnTo>
                        <a:pt x="1043" y="991"/>
                      </a:lnTo>
                      <a:lnTo>
                        <a:pt x="1044" y="991"/>
                      </a:lnTo>
                      <a:lnTo>
                        <a:pt x="1045" y="991"/>
                      </a:lnTo>
                      <a:lnTo>
                        <a:pt x="1046" y="991"/>
                      </a:lnTo>
                      <a:lnTo>
                        <a:pt x="1047" y="991"/>
                      </a:lnTo>
                      <a:lnTo>
                        <a:pt x="1048" y="991"/>
                      </a:lnTo>
                      <a:lnTo>
                        <a:pt x="1048" y="992"/>
                      </a:lnTo>
                      <a:lnTo>
                        <a:pt x="1048" y="993"/>
                      </a:lnTo>
                      <a:lnTo>
                        <a:pt x="1047" y="993"/>
                      </a:lnTo>
                      <a:lnTo>
                        <a:pt x="1048" y="993"/>
                      </a:lnTo>
                      <a:lnTo>
                        <a:pt x="1047" y="993"/>
                      </a:lnTo>
                      <a:lnTo>
                        <a:pt x="1048" y="993"/>
                      </a:lnTo>
                      <a:lnTo>
                        <a:pt x="1048" y="992"/>
                      </a:lnTo>
                      <a:lnTo>
                        <a:pt x="1047" y="992"/>
                      </a:lnTo>
                      <a:lnTo>
                        <a:pt x="1046" y="992"/>
                      </a:lnTo>
                      <a:lnTo>
                        <a:pt x="1045" y="991"/>
                      </a:lnTo>
                      <a:lnTo>
                        <a:pt x="1044" y="991"/>
                      </a:lnTo>
                      <a:lnTo>
                        <a:pt x="1043" y="992"/>
                      </a:lnTo>
                      <a:lnTo>
                        <a:pt x="1044" y="992"/>
                      </a:lnTo>
                      <a:lnTo>
                        <a:pt x="1044" y="993"/>
                      </a:lnTo>
                      <a:lnTo>
                        <a:pt x="1043" y="992"/>
                      </a:lnTo>
                      <a:lnTo>
                        <a:pt x="1042" y="991"/>
                      </a:lnTo>
                      <a:lnTo>
                        <a:pt x="1042" y="990"/>
                      </a:lnTo>
                      <a:lnTo>
                        <a:pt x="1046" y="990"/>
                      </a:lnTo>
                      <a:close/>
                      <a:moveTo>
                        <a:pt x="966" y="890"/>
                      </a:moveTo>
                      <a:lnTo>
                        <a:pt x="967" y="890"/>
                      </a:lnTo>
                      <a:lnTo>
                        <a:pt x="967" y="891"/>
                      </a:lnTo>
                      <a:lnTo>
                        <a:pt x="967" y="892"/>
                      </a:lnTo>
                      <a:lnTo>
                        <a:pt x="966" y="892"/>
                      </a:lnTo>
                      <a:lnTo>
                        <a:pt x="965" y="892"/>
                      </a:lnTo>
                      <a:lnTo>
                        <a:pt x="964" y="892"/>
                      </a:lnTo>
                      <a:lnTo>
                        <a:pt x="963" y="892"/>
                      </a:lnTo>
                      <a:lnTo>
                        <a:pt x="963" y="891"/>
                      </a:lnTo>
                      <a:lnTo>
                        <a:pt x="964" y="891"/>
                      </a:lnTo>
                      <a:lnTo>
                        <a:pt x="965" y="891"/>
                      </a:lnTo>
                      <a:lnTo>
                        <a:pt x="966" y="890"/>
                      </a:lnTo>
                      <a:lnTo>
                        <a:pt x="965" y="890"/>
                      </a:lnTo>
                      <a:lnTo>
                        <a:pt x="966" y="890"/>
                      </a:lnTo>
                      <a:lnTo>
                        <a:pt x="966" y="889"/>
                      </a:lnTo>
                      <a:lnTo>
                        <a:pt x="966" y="890"/>
                      </a:lnTo>
                      <a:close/>
                      <a:moveTo>
                        <a:pt x="1317" y="947"/>
                      </a:moveTo>
                      <a:lnTo>
                        <a:pt x="1318" y="947"/>
                      </a:lnTo>
                      <a:lnTo>
                        <a:pt x="1318" y="948"/>
                      </a:lnTo>
                      <a:lnTo>
                        <a:pt x="1319" y="948"/>
                      </a:lnTo>
                      <a:lnTo>
                        <a:pt x="1318" y="949"/>
                      </a:lnTo>
                      <a:lnTo>
                        <a:pt x="1318" y="948"/>
                      </a:lnTo>
                      <a:lnTo>
                        <a:pt x="1318" y="949"/>
                      </a:lnTo>
                      <a:lnTo>
                        <a:pt x="1317" y="948"/>
                      </a:lnTo>
                      <a:lnTo>
                        <a:pt x="1316" y="949"/>
                      </a:lnTo>
                      <a:lnTo>
                        <a:pt x="1315" y="949"/>
                      </a:lnTo>
                      <a:lnTo>
                        <a:pt x="1314" y="948"/>
                      </a:lnTo>
                      <a:lnTo>
                        <a:pt x="1314" y="947"/>
                      </a:lnTo>
                      <a:lnTo>
                        <a:pt x="1315" y="947"/>
                      </a:lnTo>
                      <a:lnTo>
                        <a:pt x="1316" y="947"/>
                      </a:lnTo>
                      <a:lnTo>
                        <a:pt x="1317" y="947"/>
                      </a:lnTo>
                      <a:close/>
                      <a:moveTo>
                        <a:pt x="1305" y="967"/>
                      </a:moveTo>
                      <a:lnTo>
                        <a:pt x="1306" y="967"/>
                      </a:lnTo>
                      <a:lnTo>
                        <a:pt x="1306" y="968"/>
                      </a:lnTo>
                      <a:lnTo>
                        <a:pt x="1308" y="968"/>
                      </a:lnTo>
                      <a:lnTo>
                        <a:pt x="1309" y="968"/>
                      </a:lnTo>
                      <a:lnTo>
                        <a:pt x="1308" y="968"/>
                      </a:lnTo>
                      <a:lnTo>
                        <a:pt x="1308" y="969"/>
                      </a:lnTo>
                      <a:lnTo>
                        <a:pt x="1306" y="970"/>
                      </a:lnTo>
                      <a:lnTo>
                        <a:pt x="1306" y="971"/>
                      </a:lnTo>
                      <a:lnTo>
                        <a:pt x="1305" y="971"/>
                      </a:lnTo>
                      <a:lnTo>
                        <a:pt x="1305" y="970"/>
                      </a:lnTo>
                      <a:lnTo>
                        <a:pt x="1305" y="969"/>
                      </a:lnTo>
                      <a:lnTo>
                        <a:pt x="1305" y="968"/>
                      </a:lnTo>
                      <a:lnTo>
                        <a:pt x="1305" y="969"/>
                      </a:lnTo>
                      <a:lnTo>
                        <a:pt x="1305" y="970"/>
                      </a:lnTo>
                      <a:lnTo>
                        <a:pt x="1305" y="969"/>
                      </a:lnTo>
                      <a:lnTo>
                        <a:pt x="1304" y="969"/>
                      </a:lnTo>
                      <a:lnTo>
                        <a:pt x="1305" y="968"/>
                      </a:lnTo>
                      <a:lnTo>
                        <a:pt x="1304" y="968"/>
                      </a:lnTo>
                      <a:lnTo>
                        <a:pt x="1304" y="967"/>
                      </a:lnTo>
                      <a:lnTo>
                        <a:pt x="1305" y="967"/>
                      </a:lnTo>
                      <a:close/>
                      <a:moveTo>
                        <a:pt x="1044" y="987"/>
                      </a:moveTo>
                      <a:lnTo>
                        <a:pt x="1044" y="988"/>
                      </a:lnTo>
                      <a:lnTo>
                        <a:pt x="1042" y="988"/>
                      </a:lnTo>
                      <a:lnTo>
                        <a:pt x="1042" y="987"/>
                      </a:lnTo>
                      <a:lnTo>
                        <a:pt x="1043" y="987"/>
                      </a:lnTo>
                      <a:lnTo>
                        <a:pt x="1043" y="986"/>
                      </a:lnTo>
                      <a:lnTo>
                        <a:pt x="1043" y="987"/>
                      </a:lnTo>
                      <a:lnTo>
                        <a:pt x="1043" y="988"/>
                      </a:lnTo>
                      <a:lnTo>
                        <a:pt x="1043" y="987"/>
                      </a:lnTo>
                      <a:lnTo>
                        <a:pt x="1044" y="987"/>
                      </a:lnTo>
                      <a:lnTo>
                        <a:pt x="1044" y="986"/>
                      </a:lnTo>
                      <a:lnTo>
                        <a:pt x="1045" y="986"/>
                      </a:lnTo>
                      <a:lnTo>
                        <a:pt x="1045" y="984"/>
                      </a:lnTo>
                      <a:lnTo>
                        <a:pt x="1045" y="983"/>
                      </a:lnTo>
                      <a:lnTo>
                        <a:pt x="1045" y="982"/>
                      </a:lnTo>
                      <a:lnTo>
                        <a:pt x="1045" y="983"/>
                      </a:lnTo>
                      <a:lnTo>
                        <a:pt x="1045" y="984"/>
                      </a:lnTo>
                      <a:lnTo>
                        <a:pt x="1046" y="986"/>
                      </a:lnTo>
                      <a:lnTo>
                        <a:pt x="1045" y="987"/>
                      </a:lnTo>
                      <a:lnTo>
                        <a:pt x="1044" y="987"/>
                      </a:lnTo>
                      <a:close/>
                      <a:moveTo>
                        <a:pt x="1156" y="1035"/>
                      </a:moveTo>
                      <a:lnTo>
                        <a:pt x="1155" y="1035"/>
                      </a:lnTo>
                      <a:lnTo>
                        <a:pt x="1154" y="1034"/>
                      </a:lnTo>
                      <a:lnTo>
                        <a:pt x="1151" y="1034"/>
                      </a:lnTo>
                      <a:lnTo>
                        <a:pt x="1151" y="1033"/>
                      </a:lnTo>
                      <a:lnTo>
                        <a:pt x="1153" y="1032"/>
                      </a:lnTo>
                      <a:lnTo>
                        <a:pt x="1154" y="1032"/>
                      </a:lnTo>
                      <a:lnTo>
                        <a:pt x="1154" y="1033"/>
                      </a:lnTo>
                      <a:lnTo>
                        <a:pt x="1155" y="1033"/>
                      </a:lnTo>
                      <a:lnTo>
                        <a:pt x="1155" y="1034"/>
                      </a:lnTo>
                      <a:lnTo>
                        <a:pt x="1155" y="1035"/>
                      </a:lnTo>
                      <a:lnTo>
                        <a:pt x="1156" y="1035"/>
                      </a:lnTo>
                      <a:close/>
                      <a:moveTo>
                        <a:pt x="1296" y="1237"/>
                      </a:moveTo>
                      <a:lnTo>
                        <a:pt x="1296" y="1238"/>
                      </a:lnTo>
                      <a:lnTo>
                        <a:pt x="1296" y="1239"/>
                      </a:lnTo>
                      <a:lnTo>
                        <a:pt x="1295" y="1239"/>
                      </a:lnTo>
                      <a:lnTo>
                        <a:pt x="1295" y="1240"/>
                      </a:lnTo>
                      <a:lnTo>
                        <a:pt x="1293" y="1241"/>
                      </a:lnTo>
                      <a:lnTo>
                        <a:pt x="1292" y="1243"/>
                      </a:lnTo>
                      <a:lnTo>
                        <a:pt x="1291" y="1244"/>
                      </a:lnTo>
                      <a:lnTo>
                        <a:pt x="1291" y="1245"/>
                      </a:lnTo>
                      <a:lnTo>
                        <a:pt x="1290" y="1245"/>
                      </a:lnTo>
                      <a:lnTo>
                        <a:pt x="1291" y="1244"/>
                      </a:lnTo>
                      <a:lnTo>
                        <a:pt x="1291" y="1243"/>
                      </a:lnTo>
                      <a:lnTo>
                        <a:pt x="1291" y="1244"/>
                      </a:lnTo>
                      <a:lnTo>
                        <a:pt x="1291" y="1243"/>
                      </a:lnTo>
                      <a:lnTo>
                        <a:pt x="1291" y="1241"/>
                      </a:lnTo>
                      <a:lnTo>
                        <a:pt x="1291" y="1243"/>
                      </a:lnTo>
                      <a:lnTo>
                        <a:pt x="1292" y="1243"/>
                      </a:lnTo>
                      <a:lnTo>
                        <a:pt x="1292" y="1241"/>
                      </a:lnTo>
                      <a:lnTo>
                        <a:pt x="1293" y="1241"/>
                      </a:lnTo>
                      <a:lnTo>
                        <a:pt x="1295" y="1240"/>
                      </a:lnTo>
                      <a:lnTo>
                        <a:pt x="1295" y="1239"/>
                      </a:lnTo>
                      <a:lnTo>
                        <a:pt x="1295" y="1238"/>
                      </a:lnTo>
                      <a:lnTo>
                        <a:pt x="1296" y="1238"/>
                      </a:lnTo>
                      <a:lnTo>
                        <a:pt x="1295" y="1238"/>
                      </a:lnTo>
                      <a:lnTo>
                        <a:pt x="1293" y="1239"/>
                      </a:lnTo>
                      <a:lnTo>
                        <a:pt x="1292" y="1240"/>
                      </a:lnTo>
                      <a:lnTo>
                        <a:pt x="1292" y="1241"/>
                      </a:lnTo>
                      <a:lnTo>
                        <a:pt x="1291" y="1241"/>
                      </a:lnTo>
                      <a:lnTo>
                        <a:pt x="1292" y="1240"/>
                      </a:lnTo>
                      <a:lnTo>
                        <a:pt x="1292" y="1239"/>
                      </a:lnTo>
                      <a:lnTo>
                        <a:pt x="1293" y="1239"/>
                      </a:lnTo>
                      <a:lnTo>
                        <a:pt x="1295" y="1238"/>
                      </a:lnTo>
                      <a:lnTo>
                        <a:pt x="1295" y="1237"/>
                      </a:lnTo>
                      <a:lnTo>
                        <a:pt x="1295" y="1236"/>
                      </a:lnTo>
                      <a:lnTo>
                        <a:pt x="1296" y="1236"/>
                      </a:lnTo>
                      <a:lnTo>
                        <a:pt x="1296" y="1237"/>
                      </a:lnTo>
                      <a:close/>
                      <a:moveTo>
                        <a:pt x="1014" y="982"/>
                      </a:moveTo>
                      <a:lnTo>
                        <a:pt x="1014" y="983"/>
                      </a:lnTo>
                      <a:lnTo>
                        <a:pt x="1014" y="984"/>
                      </a:lnTo>
                      <a:lnTo>
                        <a:pt x="1013" y="984"/>
                      </a:lnTo>
                      <a:lnTo>
                        <a:pt x="1012" y="984"/>
                      </a:lnTo>
                      <a:lnTo>
                        <a:pt x="1011" y="984"/>
                      </a:lnTo>
                      <a:lnTo>
                        <a:pt x="1011" y="983"/>
                      </a:lnTo>
                      <a:lnTo>
                        <a:pt x="1012" y="983"/>
                      </a:lnTo>
                      <a:lnTo>
                        <a:pt x="1012" y="982"/>
                      </a:lnTo>
                      <a:lnTo>
                        <a:pt x="1013" y="982"/>
                      </a:lnTo>
                      <a:lnTo>
                        <a:pt x="1014" y="981"/>
                      </a:lnTo>
                      <a:lnTo>
                        <a:pt x="1014" y="982"/>
                      </a:lnTo>
                      <a:close/>
                      <a:moveTo>
                        <a:pt x="1018" y="965"/>
                      </a:moveTo>
                      <a:lnTo>
                        <a:pt x="1021" y="966"/>
                      </a:lnTo>
                      <a:lnTo>
                        <a:pt x="1021" y="967"/>
                      </a:lnTo>
                      <a:lnTo>
                        <a:pt x="1021" y="968"/>
                      </a:lnTo>
                      <a:lnTo>
                        <a:pt x="1021" y="967"/>
                      </a:lnTo>
                      <a:lnTo>
                        <a:pt x="1021" y="966"/>
                      </a:lnTo>
                      <a:lnTo>
                        <a:pt x="1024" y="968"/>
                      </a:lnTo>
                      <a:lnTo>
                        <a:pt x="1022" y="968"/>
                      </a:lnTo>
                      <a:lnTo>
                        <a:pt x="1022" y="969"/>
                      </a:lnTo>
                      <a:lnTo>
                        <a:pt x="1021" y="968"/>
                      </a:lnTo>
                      <a:lnTo>
                        <a:pt x="1021" y="969"/>
                      </a:lnTo>
                      <a:lnTo>
                        <a:pt x="1020" y="969"/>
                      </a:lnTo>
                      <a:lnTo>
                        <a:pt x="1019" y="969"/>
                      </a:lnTo>
                      <a:lnTo>
                        <a:pt x="1020" y="969"/>
                      </a:lnTo>
                      <a:lnTo>
                        <a:pt x="1020" y="968"/>
                      </a:lnTo>
                      <a:lnTo>
                        <a:pt x="1021" y="967"/>
                      </a:lnTo>
                      <a:lnTo>
                        <a:pt x="1020" y="967"/>
                      </a:lnTo>
                      <a:lnTo>
                        <a:pt x="1020" y="966"/>
                      </a:lnTo>
                      <a:lnTo>
                        <a:pt x="1019" y="966"/>
                      </a:lnTo>
                      <a:lnTo>
                        <a:pt x="1020" y="966"/>
                      </a:lnTo>
                      <a:lnTo>
                        <a:pt x="1019" y="966"/>
                      </a:lnTo>
                      <a:lnTo>
                        <a:pt x="1019" y="965"/>
                      </a:lnTo>
                      <a:lnTo>
                        <a:pt x="1018" y="965"/>
                      </a:lnTo>
                      <a:lnTo>
                        <a:pt x="1018" y="964"/>
                      </a:lnTo>
                      <a:lnTo>
                        <a:pt x="1018" y="965"/>
                      </a:lnTo>
                      <a:close/>
                      <a:moveTo>
                        <a:pt x="1306" y="971"/>
                      </a:moveTo>
                      <a:lnTo>
                        <a:pt x="1308" y="971"/>
                      </a:lnTo>
                      <a:lnTo>
                        <a:pt x="1309" y="973"/>
                      </a:lnTo>
                      <a:lnTo>
                        <a:pt x="1309" y="974"/>
                      </a:lnTo>
                      <a:lnTo>
                        <a:pt x="1310" y="974"/>
                      </a:lnTo>
                      <a:lnTo>
                        <a:pt x="1309" y="974"/>
                      </a:lnTo>
                      <a:lnTo>
                        <a:pt x="1308" y="974"/>
                      </a:lnTo>
                      <a:lnTo>
                        <a:pt x="1308" y="973"/>
                      </a:lnTo>
                      <a:lnTo>
                        <a:pt x="1306" y="974"/>
                      </a:lnTo>
                      <a:lnTo>
                        <a:pt x="1306" y="973"/>
                      </a:lnTo>
                      <a:lnTo>
                        <a:pt x="1306" y="974"/>
                      </a:lnTo>
                      <a:lnTo>
                        <a:pt x="1305" y="974"/>
                      </a:lnTo>
                      <a:lnTo>
                        <a:pt x="1306" y="974"/>
                      </a:lnTo>
                      <a:lnTo>
                        <a:pt x="1306" y="975"/>
                      </a:lnTo>
                      <a:lnTo>
                        <a:pt x="1305" y="975"/>
                      </a:lnTo>
                      <a:lnTo>
                        <a:pt x="1306" y="975"/>
                      </a:lnTo>
                      <a:lnTo>
                        <a:pt x="1306" y="976"/>
                      </a:lnTo>
                      <a:lnTo>
                        <a:pt x="1305" y="976"/>
                      </a:lnTo>
                      <a:lnTo>
                        <a:pt x="1305" y="975"/>
                      </a:lnTo>
                      <a:lnTo>
                        <a:pt x="1305" y="974"/>
                      </a:lnTo>
                      <a:lnTo>
                        <a:pt x="1305" y="973"/>
                      </a:lnTo>
                      <a:lnTo>
                        <a:pt x="1305" y="971"/>
                      </a:lnTo>
                      <a:lnTo>
                        <a:pt x="1306" y="971"/>
                      </a:lnTo>
                      <a:lnTo>
                        <a:pt x="1306" y="970"/>
                      </a:lnTo>
                      <a:lnTo>
                        <a:pt x="1306" y="971"/>
                      </a:lnTo>
                      <a:close/>
                      <a:moveTo>
                        <a:pt x="1017" y="966"/>
                      </a:moveTo>
                      <a:lnTo>
                        <a:pt x="1017" y="965"/>
                      </a:lnTo>
                      <a:lnTo>
                        <a:pt x="1018" y="965"/>
                      </a:lnTo>
                      <a:lnTo>
                        <a:pt x="1017" y="966"/>
                      </a:lnTo>
                      <a:lnTo>
                        <a:pt x="1018" y="966"/>
                      </a:lnTo>
                      <a:lnTo>
                        <a:pt x="1018" y="965"/>
                      </a:lnTo>
                      <a:lnTo>
                        <a:pt x="1019" y="965"/>
                      </a:lnTo>
                      <a:lnTo>
                        <a:pt x="1019" y="966"/>
                      </a:lnTo>
                      <a:lnTo>
                        <a:pt x="1020" y="966"/>
                      </a:lnTo>
                      <a:lnTo>
                        <a:pt x="1020" y="967"/>
                      </a:lnTo>
                      <a:lnTo>
                        <a:pt x="1020" y="968"/>
                      </a:lnTo>
                      <a:lnTo>
                        <a:pt x="1019" y="967"/>
                      </a:lnTo>
                      <a:lnTo>
                        <a:pt x="1019" y="968"/>
                      </a:lnTo>
                      <a:lnTo>
                        <a:pt x="1019" y="967"/>
                      </a:lnTo>
                      <a:lnTo>
                        <a:pt x="1018" y="967"/>
                      </a:lnTo>
                      <a:lnTo>
                        <a:pt x="1017" y="967"/>
                      </a:lnTo>
                      <a:lnTo>
                        <a:pt x="1018" y="967"/>
                      </a:lnTo>
                      <a:lnTo>
                        <a:pt x="1018" y="968"/>
                      </a:lnTo>
                      <a:lnTo>
                        <a:pt x="1017" y="968"/>
                      </a:lnTo>
                      <a:lnTo>
                        <a:pt x="1017" y="967"/>
                      </a:lnTo>
                      <a:lnTo>
                        <a:pt x="1017" y="966"/>
                      </a:lnTo>
                      <a:lnTo>
                        <a:pt x="1017" y="965"/>
                      </a:lnTo>
                      <a:lnTo>
                        <a:pt x="1017" y="966"/>
                      </a:lnTo>
                      <a:close/>
                      <a:moveTo>
                        <a:pt x="1177" y="1040"/>
                      </a:moveTo>
                      <a:lnTo>
                        <a:pt x="1181" y="1041"/>
                      </a:lnTo>
                      <a:lnTo>
                        <a:pt x="1181" y="1042"/>
                      </a:lnTo>
                      <a:lnTo>
                        <a:pt x="1181" y="1043"/>
                      </a:lnTo>
                      <a:lnTo>
                        <a:pt x="1180" y="1043"/>
                      </a:lnTo>
                      <a:lnTo>
                        <a:pt x="1180" y="1042"/>
                      </a:lnTo>
                      <a:lnTo>
                        <a:pt x="1180" y="1043"/>
                      </a:lnTo>
                      <a:lnTo>
                        <a:pt x="1181" y="1043"/>
                      </a:lnTo>
                      <a:lnTo>
                        <a:pt x="1181" y="1044"/>
                      </a:lnTo>
                      <a:lnTo>
                        <a:pt x="1180" y="1044"/>
                      </a:lnTo>
                      <a:lnTo>
                        <a:pt x="1180" y="1043"/>
                      </a:lnTo>
                      <a:lnTo>
                        <a:pt x="1179" y="1041"/>
                      </a:lnTo>
                      <a:lnTo>
                        <a:pt x="1177" y="1041"/>
                      </a:lnTo>
                      <a:lnTo>
                        <a:pt x="1177" y="1040"/>
                      </a:lnTo>
                      <a:lnTo>
                        <a:pt x="1176" y="1040"/>
                      </a:lnTo>
                      <a:lnTo>
                        <a:pt x="1177" y="1040"/>
                      </a:lnTo>
                      <a:close/>
                      <a:moveTo>
                        <a:pt x="1373" y="1129"/>
                      </a:moveTo>
                      <a:lnTo>
                        <a:pt x="1373" y="1130"/>
                      </a:lnTo>
                      <a:lnTo>
                        <a:pt x="1373" y="1131"/>
                      </a:lnTo>
                      <a:lnTo>
                        <a:pt x="1373" y="1132"/>
                      </a:lnTo>
                      <a:lnTo>
                        <a:pt x="1373" y="1131"/>
                      </a:lnTo>
                      <a:lnTo>
                        <a:pt x="1371" y="1131"/>
                      </a:lnTo>
                      <a:lnTo>
                        <a:pt x="1370" y="1131"/>
                      </a:lnTo>
                      <a:lnTo>
                        <a:pt x="1370" y="1130"/>
                      </a:lnTo>
                      <a:lnTo>
                        <a:pt x="1369" y="1130"/>
                      </a:lnTo>
                      <a:lnTo>
                        <a:pt x="1368" y="1131"/>
                      </a:lnTo>
                      <a:lnTo>
                        <a:pt x="1368" y="1130"/>
                      </a:lnTo>
                      <a:lnTo>
                        <a:pt x="1367" y="1130"/>
                      </a:lnTo>
                      <a:lnTo>
                        <a:pt x="1370" y="1130"/>
                      </a:lnTo>
                      <a:lnTo>
                        <a:pt x="1371" y="1130"/>
                      </a:lnTo>
                      <a:lnTo>
                        <a:pt x="1371" y="1131"/>
                      </a:lnTo>
                      <a:lnTo>
                        <a:pt x="1371" y="1130"/>
                      </a:lnTo>
                      <a:lnTo>
                        <a:pt x="1370" y="1130"/>
                      </a:lnTo>
                      <a:lnTo>
                        <a:pt x="1369" y="1130"/>
                      </a:lnTo>
                      <a:lnTo>
                        <a:pt x="1368" y="1130"/>
                      </a:lnTo>
                      <a:lnTo>
                        <a:pt x="1368" y="1129"/>
                      </a:lnTo>
                      <a:lnTo>
                        <a:pt x="1370" y="1130"/>
                      </a:lnTo>
                      <a:lnTo>
                        <a:pt x="1371" y="1130"/>
                      </a:lnTo>
                      <a:lnTo>
                        <a:pt x="1373" y="1130"/>
                      </a:lnTo>
                      <a:lnTo>
                        <a:pt x="1373" y="1129"/>
                      </a:lnTo>
                      <a:lnTo>
                        <a:pt x="1373" y="1128"/>
                      </a:lnTo>
                      <a:lnTo>
                        <a:pt x="1371" y="1128"/>
                      </a:lnTo>
                      <a:lnTo>
                        <a:pt x="1371" y="1127"/>
                      </a:lnTo>
                      <a:lnTo>
                        <a:pt x="1373" y="1127"/>
                      </a:lnTo>
                      <a:lnTo>
                        <a:pt x="1373" y="1128"/>
                      </a:lnTo>
                      <a:lnTo>
                        <a:pt x="1373" y="1129"/>
                      </a:lnTo>
                      <a:close/>
                      <a:moveTo>
                        <a:pt x="1056" y="991"/>
                      </a:moveTo>
                      <a:lnTo>
                        <a:pt x="1056" y="992"/>
                      </a:lnTo>
                      <a:lnTo>
                        <a:pt x="1056" y="993"/>
                      </a:lnTo>
                      <a:lnTo>
                        <a:pt x="1054" y="992"/>
                      </a:lnTo>
                      <a:lnTo>
                        <a:pt x="1054" y="991"/>
                      </a:lnTo>
                      <a:lnTo>
                        <a:pt x="1053" y="991"/>
                      </a:lnTo>
                      <a:lnTo>
                        <a:pt x="1053" y="990"/>
                      </a:lnTo>
                      <a:lnTo>
                        <a:pt x="1052" y="990"/>
                      </a:lnTo>
                      <a:lnTo>
                        <a:pt x="1053" y="990"/>
                      </a:lnTo>
                      <a:lnTo>
                        <a:pt x="1055" y="990"/>
                      </a:lnTo>
                      <a:lnTo>
                        <a:pt x="1056" y="991"/>
                      </a:lnTo>
                      <a:close/>
                      <a:moveTo>
                        <a:pt x="1172" y="1037"/>
                      </a:moveTo>
                      <a:lnTo>
                        <a:pt x="1172" y="1038"/>
                      </a:lnTo>
                      <a:lnTo>
                        <a:pt x="1171" y="1038"/>
                      </a:lnTo>
                      <a:lnTo>
                        <a:pt x="1171" y="1039"/>
                      </a:lnTo>
                      <a:lnTo>
                        <a:pt x="1171" y="1040"/>
                      </a:lnTo>
                      <a:lnTo>
                        <a:pt x="1167" y="1039"/>
                      </a:lnTo>
                      <a:lnTo>
                        <a:pt x="1166" y="1039"/>
                      </a:lnTo>
                      <a:lnTo>
                        <a:pt x="1162" y="1038"/>
                      </a:lnTo>
                      <a:lnTo>
                        <a:pt x="1166" y="1039"/>
                      </a:lnTo>
                      <a:lnTo>
                        <a:pt x="1167" y="1039"/>
                      </a:lnTo>
                      <a:lnTo>
                        <a:pt x="1167" y="1038"/>
                      </a:lnTo>
                      <a:lnTo>
                        <a:pt x="1167" y="1039"/>
                      </a:lnTo>
                      <a:lnTo>
                        <a:pt x="1168" y="1039"/>
                      </a:lnTo>
                      <a:lnTo>
                        <a:pt x="1168" y="1038"/>
                      </a:lnTo>
                      <a:lnTo>
                        <a:pt x="1168" y="1039"/>
                      </a:lnTo>
                      <a:lnTo>
                        <a:pt x="1168" y="1038"/>
                      </a:lnTo>
                      <a:lnTo>
                        <a:pt x="1168" y="1039"/>
                      </a:lnTo>
                      <a:lnTo>
                        <a:pt x="1169" y="1039"/>
                      </a:lnTo>
                      <a:lnTo>
                        <a:pt x="1169" y="1040"/>
                      </a:lnTo>
                      <a:lnTo>
                        <a:pt x="1170" y="1040"/>
                      </a:lnTo>
                      <a:lnTo>
                        <a:pt x="1170" y="1039"/>
                      </a:lnTo>
                      <a:lnTo>
                        <a:pt x="1169" y="1039"/>
                      </a:lnTo>
                      <a:lnTo>
                        <a:pt x="1170" y="1039"/>
                      </a:lnTo>
                      <a:lnTo>
                        <a:pt x="1170" y="1038"/>
                      </a:lnTo>
                      <a:lnTo>
                        <a:pt x="1171" y="1038"/>
                      </a:lnTo>
                      <a:lnTo>
                        <a:pt x="1171" y="1037"/>
                      </a:lnTo>
                      <a:lnTo>
                        <a:pt x="1172" y="1037"/>
                      </a:lnTo>
                      <a:close/>
                      <a:moveTo>
                        <a:pt x="1032" y="925"/>
                      </a:moveTo>
                      <a:lnTo>
                        <a:pt x="1033" y="925"/>
                      </a:lnTo>
                      <a:lnTo>
                        <a:pt x="1034" y="925"/>
                      </a:lnTo>
                      <a:lnTo>
                        <a:pt x="1035" y="925"/>
                      </a:lnTo>
                      <a:lnTo>
                        <a:pt x="1035" y="926"/>
                      </a:lnTo>
                      <a:lnTo>
                        <a:pt x="1035" y="927"/>
                      </a:lnTo>
                      <a:lnTo>
                        <a:pt x="1034" y="927"/>
                      </a:lnTo>
                      <a:lnTo>
                        <a:pt x="1033" y="928"/>
                      </a:lnTo>
                      <a:lnTo>
                        <a:pt x="1032" y="928"/>
                      </a:lnTo>
                      <a:lnTo>
                        <a:pt x="1032" y="927"/>
                      </a:lnTo>
                      <a:lnTo>
                        <a:pt x="1033" y="927"/>
                      </a:lnTo>
                      <a:lnTo>
                        <a:pt x="1033" y="926"/>
                      </a:lnTo>
                      <a:lnTo>
                        <a:pt x="1032" y="925"/>
                      </a:lnTo>
                      <a:close/>
                      <a:moveTo>
                        <a:pt x="1108" y="1007"/>
                      </a:moveTo>
                      <a:lnTo>
                        <a:pt x="1109" y="1008"/>
                      </a:lnTo>
                      <a:lnTo>
                        <a:pt x="1109" y="1009"/>
                      </a:lnTo>
                      <a:lnTo>
                        <a:pt x="1108" y="1008"/>
                      </a:lnTo>
                      <a:lnTo>
                        <a:pt x="1107" y="1008"/>
                      </a:lnTo>
                      <a:lnTo>
                        <a:pt x="1106" y="1008"/>
                      </a:lnTo>
                      <a:lnTo>
                        <a:pt x="1106" y="1007"/>
                      </a:lnTo>
                      <a:lnTo>
                        <a:pt x="1106" y="1006"/>
                      </a:lnTo>
                      <a:lnTo>
                        <a:pt x="1107" y="1006"/>
                      </a:lnTo>
                      <a:lnTo>
                        <a:pt x="1108" y="1006"/>
                      </a:lnTo>
                      <a:lnTo>
                        <a:pt x="1108" y="1007"/>
                      </a:lnTo>
                      <a:close/>
                      <a:moveTo>
                        <a:pt x="1096" y="800"/>
                      </a:moveTo>
                      <a:lnTo>
                        <a:pt x="1097" y="800"/>
                      </a:lnTo>
                      <a:lnTo>
                        <a:pt x="1096" y="801"/>
                      </a:lnTo>
                      <a:lnTo>
                        <a:pt x="1097" y="801"/>
                      </a:lnTo>
                      <a:lnTo>
                        <a:pt x="1097" y="802"/>
                      </a:lnTo>
                      <a:lnTo>
                        <a:pt x="1097" y="803"/>
                      </a:lnTo>
                      <a:lnTo>
                        <a:pt x="1096" y="802"/>
                      </a:lnTo>
                      <a:lnTo>
                        <a:pt x="1095" y="802"/>
                      </a:lnTo>
                      <a:lnTo>
                        <a:pt x="1094" y="801"/>
                      </a:lnTo>
                      <a:lnTo>
                        <a:pt x="1095" y="801"/>
                      </a:lnTo>
                      <a:lnTo>
                        <a:pt x="1094" y="801"/>
                      </a:lnTo>
                      <a:lnTo>
                        <a:pt x="1095" y="801"/>
                      </a:lnTo>
                      <a:lnTo>
                        <a:pt x="1095" y="800"/>
                      </a:lnTo>
                      <a:lnTo>
                        <a:pt x="1096" y="800"/>
                      </a:lnTo>
                      <a:lnTo>
                        <a:pt x="1096" y="799"/>
                      </a:lnTo>
                      <a:lnTo>
                        <a:pt x="1096" y="800"/>
                      </a:lnTo>
                      <a:close/>
                      <a:moveTo>
                        <a:pt x="1029" y="925"/>
                      </a:moveTo>
                      <a:lnTo>
                        <a:pt x="1030" y="925"/>
                      </a:lnTo>
                      <a:lnTo>
                        <a:pt x="1031" y="925"/>
                      </a:lnTo>
                      <a:lnTo>
                        <a:pt x="1030" y="925"/>
                      </a:lnTo>
                      <a:lnTo>
                        <a:pt x="1030" y="926"/>
                      </a:lnTo>
                      <a:lnTo>
                        <a:pt x="1029" y="927"/>
                      </a:lnTo>
                      <a:lnTo>
                        <a:pt x="1028" y="928"/>
                      </a:lnTo>
                      <a:lnTo>
                        <a:pt x="1027" y="928"/>
                      </a:lnTo>
                      <a:lnTo>
                        <a:pt x="1028" y="928"/>
                      </a:lnTo>
                      <a:lnTo>
                        <a:pt x="1028" y="927"/>
                      </a:lnTo>
                      <a:lnTo>
                        <a:pt x="1029" y="927"/>
                      </a:lnTo>
                      <a:lnTo>
                        <a:pt x="1028" y="927"/>
                      </a:lnTo>
                      <a:lnTo>
                        <a:pt x="1028" y="926"/>
                      </a:lnTo>
                      <a:lnTo>
                        <a:pt x="1027" y="926"/>
                      </a:lnTo>
                      <a:lnTo>
                        <a:pt x="1028" y="926"/>
                      </a:lnTo>
                      <a:lnTo>
                        <a:pt x="1028" y="927"/>
                      </a:lnTo>
                      <a:lnTo>
                        <a:pt x="1027" y="927"/>
                      </a:lnTo>
                      <a:lnTo>
                        <a:pt x="1027" y="926"/>
                      </a:lnTo>
                      <a:lnTo>
                        <a:pt x="1028" y="925"/>
                      </a:lnTo>
                      <a:lnTo>
                        <a:pt x="1029" y="925"/>
                      </a:lnTo>
                      <a:close/>
                      <a:moveTo>
                        <a:pt x="1026" y="925"/>
                      </a:moveTo>
                      <a:lnTo>
                        <a:pt x="1027" y="926"/>
                      </a:lnTo>
                      <a:lnTo>
                        <a:pt x="1027" y="927"/>
                      </a:lnTo>
                      <a:lnTo>
                        <a:pt x="1026" y="927"/>
                      </a:lnTo>
                      <a:lnTo>
                        <a:pt x="1027" y="927"/>
                      </a:lnTo>
                      <a:lnTo>
                        <a:pt x="1027" y="928"/>
                      </a:lnTo>
                      <a:lnTo>
                        <a:pt x="1026" y="928"/>
                      </a:lnTo>
                      <a:lnTo>
                        <a:pt x="1025" y="928"/>
                      </a:lnTo>
                      <a:lnTo>
                        <a:pt x="1025" y="927"/>
                      </a:lnTo>
                      <a:lnTo>
                        <a:pt x="1025" y="928"/>
                      </a:lnTo>
                      <a:lnTo>
                        <a:pt x="1024" y="927"/>
                      </a:lnTo>
                      <a:lnTo>
                        <a:pt x="1025" y="927"/>
                      </a:lnTo>
                      <a:lnTo>
                        <a:pt x="1025" y="926"/>
                      </a:lnTo>
                      <a:lnTo>
                        <a:pt x="1025" y="925"/>
                      </a:lnTo>
                      <a:lnTo>
                        <a:pt x="1025" y="926"/>
                      </a:lnTo>
                      <a:lnTo>
                        <a:pt x="1025" y="925"/>
                      </a:lnTo>
                      <a:lnTo>
                        <a:pt x="1026" y="925"/>
                      </a:lnTo>
                      <a:close/>
                      <a:moveTo>
                        <a:pt x="1089" y="977"/>
                      </a:moveTo>
                      <a:lnTo>
                        <a:pt x="1090" y="977"/>
                      </a:lnTo>
                      <a:lnTo>
                        <a:pt x="1090" y="978"/>
                      </a:lnTo>
                      <a:lnTo>
                        <a:pt x="1089" y="978"/>
                      </a:lnTo>
                      <a:lnTo>
                        <a:pt x="1089" y="979"/>
                      </a:lnTo>
                      <a:lnTo>
                        <a:pt x="1089" y="980"/>
                      </a:lnTo>
                      <a:lnTo>
                        <a:pt x="1089" y="979"/>
                      </a:lnTo>
                      <a:lnTo>
                        <a:pt x="1087" y="979"/>
                      </a:lnTo>
                      <a:lnTo>
                        <a:pt x="1089" y="979"/>
                      </a:lnTo>
                      <a:lnTo>
                        <a:pt x="1089" y="978"/>
                      </a:lnTo>
                      <a:lnTo>
                        <a:pt x="1085" y="979"/>
                      </a:lnTo>
                      <a:lnTo>
                        <a:pt x="1085" y="978"/>
                      </a:lnTo>
                      <a:lnTo>
                        <a:pt x="1086" y="978"/>
                      </a:lnTo>
                      <a:lnTo>
                        <a:pt x="1087" y="978"/>
                      </a:lnTo>
                      <a:lnTo>
                        <a:pt x="1089" y="978"/>
                      </a:lnTo>
                      <a:lnTo>
                        <a:pt x="1090" y="978"/>
                      </a:lnTo>
                      <a:lnTo>
                        <a:pt x="1089" y="977"/>
                      </a:lnTo>
                      <a:lnTo>
                        <a:pt x="1089" y="978"/>
                      </a:lnTo>
                      <a:lnTo>
                        <a:pt x="1087" y="978"/>
                      </a:lnTo>
                      <a:lnTo>
                        <a:pt x="1086" y="978"/>
                      </a:lnTo>
                      <a:lnTo>
                        <a:pt x="1087" y="978"/>
                      </a:lnTo>
                      <a:lnTo>
                        <a:pt x="1087" y="977"/>
                      </a:lnTo>
                      <a:lnTo>
                        <a:pt x="1086" y="977"/>
                      </a:lnTo>
                      <a:lnTo>
                        <a:pt x="1086" y="978"/>
                      </a:lnTo>
                      <a:lnTo>
                        <a:pt x="1086" y="977"/>
                      </a:lnTo>
                      <a:lnTo>
                        <a:pt x="1085" y="978"/>
                      </a:lnTo>
                      <a:lnTo>
                        <a:pt x="1085" y="977"/>
                      </a:lnTo>
                      <a:lnTo>
                        <a:pt x="1086" y="977"/>
                      </a:lnTo>
                      <a:lnTo>
                        <a:pt x="1089" y="977"/>
                      </a:lnTo>
                      <a:close/>
                      <a:moveTo>
                        <a:pt x="1079" y="974"/>
                      </a:moveTo>
                      <a:lnTo>
                        <a:pt x="1079" y="975"/>
                      </a:lnTo>
                      <a:lnTo>
                        <a:pt x="1079" y="976"/>
                      </a:lnTo>
                      <a:lnTo>
                        <a:pt x="1079" y="975"/>
                      </a:lnTo>
                      <a:lnTo>
                        <a:pt x="1078" y="975"/>
                      </a:lnTo>
                      <a:lnTo>
                        <a:pt x="1078" y="974"/>
                      </a:lnTo>
                      <a:lnTo>
                        <a:pt x="1077" y="974"/>
                      </a:lnTo>
                      <a:lnTo>
                        <a:pt x="1077" y="973"/>
                      </a:lnTo>
                      <a:lnTo>
                        <a:pt x="1077" y="969"/>
                      </a:lnTo>
                      <a:lnTo>
                        <a:pt x="1078" y="969"/>
                      </a:lnTo>
                      <a:lnTo>
                        <a:pt x="1079" y="974"/>
                      </a:lnTo>
                      <a:close/>
                      <a:moveTo>
                        <a:pt x="1115" y="975"/>
                      </a:moveTo>
                      <a:lnTo>
                        <a:pt x="1111" y="976"/>
                      </a:lnTo>
                      <a:lnTo>
                        <a:pt x="1111" y="975"/>
                      </a:lnTo>
                      <a:lnTo>
                        <a:pt x="1111" y="974"/>
                      </a:lnTo>
                      <a:lnTo>
                        <a:pt x="1112" y="973"/>
                      </a:lnTo>
                      <a:lnTo>
                        <a:pt x="1113" y="973"/>
                      </a:lnTo>
                      <a:lnTo>
                        <a:pt x="1113" y="974"/>
                      </a:lnTo>
                      <a:lnTo>
                        <a:pt x="1113" y="975"/>
                      </a:lnTo>
                      <a:lnTo>
                        <a:pt x="1115" y="975"/>
                      </a:lnTo>
                      <a:close/>
                      <a:moveTo>
                        <a:pt x="986" y="909"/>
                      </a:moveTo>
                      <a:lnTo>
                        <a:pt x="984" y="909"/>
                      </a:lnTo>
                      <a:lnTo>
                        <a:pt x="983" y="909"/>
                      </a:lnTo>
                      <a:lnTo>
                        <a:pt x="981" y="909"/>
                      </a:lnTo>
                      <a:lnTo>
                        <a:pt x="982" y="909"/>
                      </a:lnTo>
                      <a:lnTo>
                        <a:pt x="981" y="909"/>
                      </a:lnTo>
                      <a:lnTo>
                        <a:pt x="982" y="909"/>
                      </a:lnTo>
                      <a:lnTo>
                        <a:pt x="982" y="907"/>
                      </a:lnTo>
                      <a:lnTo>
                        <a:pt x="982" y="906"/>
                      </a:lnTo>
                      <a:lnTo>
                        <a:pt x="983" y="906"/>
                      </a:lnTo>
                      <a:lnTo>
                        <a:pt x="983" y="907"/>
                      </a:lnTo>
                      <a:lnTo>
                        <a:pt x="984" y="909"/>
                      </a:lnTo>
                      <a:lnTo>
                        <a:pt x="983" y="907"/>
                      </a:lnTo>
                      <a:lnTo>
                        <a:pt x="983" y="906"/>
                      </a:lnTo>
                      <a:lnTo>
                        <a:pt x="984" y="906"/>
                      </a:lnTo>
                      <a:lnTo>
                        <a:pt x="986" y="906"/>
                      </a:lnTo>
                      <a:lnTo>
                        <a:pt x="986" y="907"/>
                      </a:lnTo>
                      <a:lnTo>
                        <a:pt x="986" y="909"/>
                      </a:lnTo>
                      <a:close/>
                      <a:moveTo>
                        <a:pt x="1109" y="970"/>
                      </a:moveTo>
                      <a:lnTo>
                        <a:pt x="1109" y="969"/>
                      </a:lnTo>
                      <a:lnTo>
                        <a:pt x="1110" y="969"/>
                      </a:lnTo>
                      <a:lnTo>
                        <a:pt x="1110" y="970"/>
                      </a:lnTo>
                      <a:lnTo>
                        <a:pt x="1111" y="970"/>
                      </a:lnTo>
                      <a:lnTo>
                        <a:pt x="1112" y="970"/>
                      </a:lnTo>
                      <a:lnTo>
                        <a:pt x="1111" y="970"/>
                      </a:lnTo>
                      <a:lnTo>
                        <a:pt x="1111" y="971"/>
                      </a:lnTo>
                      <a:lnTo>
                        <a:pt x="1108" y="970"/>
                      </a:lnTo>
                      <a:lnTo>
                        <a:pt x="1108" y="969"/>
                      </a:lnTo>
                      <a:lnTo>
                        <a:pt x="1109" y="969"/>
                      </a:lnTo>
                      <a:lnTo>
                        <a:pt x="1109" y="970"/>
                      </a:lnTo>
                      <a:close/>
                      <a:moveTo>
                        <a:pt x="1104" y="823"/>
                      </a:moveTo>
                      <a:lnTo>
                        <a:pt x="1105" y="823"/>
                      </a:lnTo>
                      <a:lnTo>
                        <a:pt x="1105" y="824"/>
                      </a:lnTo>
                      <a:lnTo>
                        <a:pt x="1106" y="824"/>
                      </a:lnTo>
                      <a:lnTo>
                        <a:pt x="1106" y="825"/>
                      </a:lnTo>
                      <a:lnTo>
                        <a:pt x="1105" y="825"/>
                      </a:lnTo>
                      <a:lnTo>
                        <a:pt x="1105" y="824"/>
                      </a:lnTo>
                      <a:lnTo>
                        <a:pt x="1104" y="824"/>
                      </a:lnTo>
                      <a:lnTo>
                        <a:pt x="1104" y="823"/>
                      </a:lnTo>
                      <a:lnTo>
                        <a:pt x="1104" y="824"/>
                      </a:lnTo>
                      <a:lnTo>
                        <a:pt x="1104" y="823"/>
                      </a:lnTo>
                      <a:lnTo>
                        <a:pt x="1103" y="823"/>
                      </a:lnTo>
                      <a:lnTo>
                        <a:pt x="1103" y="824"/>
                      </a:lnTo>
                      <a:lnTo>
                        <a:pt x="1104" y="824"/>
                      </a:lnTo>
                      <a:lnTo>
                        <a:pt x="1104" y="825"/>
                      </a:lnTo>
                      <a:lnTo>
                        <a:pt x="1103" y="825"/>
                      </a:lnTo>
                      <a:lnTo>
                        <a:pt x="1103" y="824"/>
                      </a:lnTo>
                      <a:lnTo>
                        <a:pt x="1103" y="823"/>
                      </a:lnTo>
                      <a:lnTo>
                        <a:pt x="1102" y="823"/>
                      </a:lnTo>
                      <a:lnTo>
                        <a:pt x="1102" y="822"/>
                      </a:lnTo>
                      <a:lnTo>
                        <a:pt x="1103" y="822"/>
                      </a:lnTo>
                      <a:lnTo>
                        <a:pt x="1104" y="822"/>
                      </a:lnTo>
                      <a:lnTo>
                        <a:pt x="1104" y="823"/>
                      </a:lnTo>
                      <a:close/>
                      <a:moveTo>
                        <a:pt x="1345" y="1181"/>
                      </a:moveTo>
                      <a:lnTo>
                        <a:pt x="1344" y="1182"/>
                      </a:lnTo>
                      <a:lnTo>
                        <a:pt x="1342" y="1183"/>
                      </a:lnTo>
                      <a:lnTo>
                        <a:pt x="1341" y="1183"/>
                      </a:lnTo>
                      <a:lnTo>
                        <a:pt x="1341" y="1184"/>
                      </a:lnTo>
                      <a:lnTo>
                        <a:pt x="1340" y="1184"/>
                      </a:lnTo>
                      <a:lnTo>
                        <a:pt x="1340" y="1183"/>
                      </a:lnTo>
                      <a:lnTo>
                        <a:pt x="1341" y="1181"/>
                      </a:lnTo>
                      <a:lnTo>
                        <a:pt x="1342" y="1181"/>
                      </a:lnTo>
                      <a:lnTo>
                        <a:pt x="1343" y="1181"/>
                      </a:lnTo>
                      <a:lnTo>
                        <a:pt x="1344" y="1181"/>
                      </a:lnTo>
                      <a:lnTo>
                        <a:pt x="1345" y="1181"/>
                      </a:lnTo>
                      <a:close/>
                      <a:moveTo>
                        <a:pt x="1334" y="1017"/>
                      </a:moveTo>
                      <a:lnTo>
                        <a:pt x="1332" y="1020"/>
                      </a:lnTo>
                      <a:lnTo>
                        <a:pt x="1332" y="1021"/>
                      </a:lnTo>
                      <a:lnTo>
                        <a:pt x="1331" y="1020"/>
                      </a:lnTo>
                      <a:lnTo>
                        <a:pt x="1330" y="1020"/>
                      </a:lnTo>
                      <a:lnTo>
                        <a:pt x="1330" y="1019"/>
                      </a:lnTo>
                      <a:lnTo>
                        <a:pt x="1331" y="1018"/>
                      </a:lnTo>
                      <a:lnTo>
                        <a:pt x="1332" y="1018"/>
                      </a:lnTo>
                      <a:lnTo>
                        <a:pt x="1332" y="1019"/>
                      </a:lnTo>
                      <a:lnTo>
                        <a:pt x="1332" y="1018"/>
                      </a:lnTo>
                      <a:lnTo>
                        <a:pt x="1334" y="1018"/>
                      </a:lnTo>
                      <a:lnTo>
                        <a:pt x="1334" y="1017"/>
                      </a:lnTo>
                      <a:close/>
                      <a:moveTo>
                        <a:pt x="1227" y="1060"/>
                      </a:moveTo>
                      <a:lnTo>
                        <a:pt x="1227" y="1061"/>
                      </a:lnTo>
                      <a:lnTo>
                        <a:pt x="1227" y="1063"/>
                      </a:lnTo>
                      <a:lnTo>
                        <a:pt x="1226" y="1063"/>
                      </a:lnTo>
                      <a:lnTo>
                        <a:pt x="1225" y="1061"/>
                      </a:lnTo>
                      <a:lnTo>
                        <a:pt x="1224" y="1061"/>
                      </a:lnTo>
                      <a:lnTo>
                        <a:pt x="1224" y="1060"/>
                      </a:lnTo>
                      <a:lnTo>
                        <a:pt x="1225" y="1060"/>
                      </a:lnTo>
                      <a:lnTo>
                        <a:pt x="1225" y="1059"/>
                      </a:lnTo>
                      <a:lnTo>
                        <a:pt x="1226" y="1059"/>
                      </a:lnTo>
                      <a:lnTo>
                        <a:pt x="1226" y="1060"/>
                      </a:lnTo>
                      <a:lnTo>
                        <a:pt x="1227" y="1060"/>
                      </a:lnTo>
                      <a:close/>
                      <a:moveTo>
                        <a:pt x="1029" y="929"/>
                      </a:moveTo>
                      <a:lnTo>
                        <a:pt x="1029" y="930"/>
                      </a:lnTo>
                      <a:lnTo>
                        <a:pt x="1030" y="930"/>
                      </a:lnTo>
                      <a:lnTo>
                        <a:pt x="1030" y="931"/>
                      </a:lnTo>
                      <a:lnTo>
                        <a:pt x="1029" y="931"/>
                      </a:lnTo>
                      <a:lnTo>
                        <a:pt x="1029" y="930"/>
                      </a:lnTo>
                      <a:lnTo>
                        <a:pt x="1028" y="929"/>
                      </a:lnTo>
                      <a:lnTo>
                        <a:pt x="1028" y="930"/>
                      </a:lnTo>
                      <a:lnTo>
                        <a:pt x="1027" y="930"/>
                      </a:lnTo>
                      <a:lnTo>
                        <a:pt x="1027" y="931"/>
                      </a:lnTo>
                      <a:lnTo>
                        <a:pt x="1027" y="930"/>
                      </a:lnTo>
                      <a:lnTo>
                        <a:pt x="1026" y="930"/>
                      </a:lnTo>
                      <a:lnTo>
                        <a:pt x="1026" y="931"/>
                      </a:lnTo>
                      <a:lnTo>
                        <a:pt x="1026" y="930"/>
                      </a:lnTo>
                      <a:lnTo>
                        <a:pt x="1025" y="930"/>
                      </a:lnTo>
                      <a:lnTo>
                        <a:pt x="1025" y="931"/>
                      </a:lnTo>
                      <a:lnTo>
                        <a:pt x="1025" y="932"/>
                      </a:lnTo>
                      <a:lnTo>
                        <a:pt x="1025" y="931"/>
                      </a:lnTo>
                      <a:lnTo>
                        <a:pt x="1026" y="931"/>
                      </a:lnTo>
                      <a:lnTo>
                        <a:pt x="1026" y="932"/>
                      </a:lnTo>
                      <a:lnTo>
                        <a:pt x="1025" y="932"/>
                      </a:lnTo>
                      <a:lnTo>
                        <a:pt x="1024" y="932"/>
                      </a:lnTo>
                      <a:lnTo>
                        <a:pt x="1024" y="934"/>
                      </a:lnTo>
                      <a:lnTo>
                        <a:pt x="1024" y="932"/>
                      </a:lnTo>
                      <a:lnTo>
                        <a:pt x="1024" y="931"/>
                      </a:lnTo>
                      <a:lnTo>
                        <a:pt x="1025" y="930"/>
                      </a:lnTo>
                      <a:lnTo>
                        <a:pt x="1026" y="930"/>
                      </a:lnTo>
                      <a:lnTo>
                        <a:pt x="1025" y="930"/>
                      </a:lnTo>
                      <a:lnTo>
                        <a:pt x="1026" y="930"/>
                      </a:lnTo>
                      <a:lnTo>
                        <a:pt x="1027" y="930"/>
                      </a:lnTo>
                      <a:lnTo>
                        <a:pt x="1027" y="929"/>
                      </a:lnTo>
                      <a:lnTo>
                        <a:pt x="1028" y="929"/>
                      </a:lnTo>
                      <a:lnTo>
                        <a:pt x="1029" y="929"/>
                      </a:lnTo>
                      <a:close/>
                      <a:moveTo>
                        <a:pt x="979" y="989"/>
                      </a:moveTo>
                      <a:lnTo>
                        <a:pt x="980" y="989"/>
                      </a:lnTo>
                      <a:lnTo>
                        <a:pt x="980" y="988"/>
                      </a:lnTo>
                      <a:lnTo>
                        <a:pt x="980" y="989"/>
                      </a:lnTo>
                      <a:lnTo>
                        <a:pt x="975" y="989"/>
                      </a:lnTo>
                      <a:lnTo>
                        <a:pt x="974" y="989"/>
                      </a:lnTo>
                      <a:lnTo>
                        <a:pt x="974" y="988"/>
                      </a:lnTo>
                      <a:lnTo>
                        <a:pt x="975" y="988"/>
                      </a:lnTo>
                      <a:lnTo>
                        <a:pt x="976" y="988"/>
                      </a:lnTo>
                      <a:lnTo>
                        <a:pt x="977" y="988"/>
                      </a:lnTo>
                      <a:lnTo>
                        <a:pt x="978" y="988"/>
                      </a:lnTo>
                      <a:lnTo>
                        <a:pt x="979" y="989"/>
                      </a:lnTo>
                      <a:close/>
                      <a:moveTo>
                        <a:pt x="1069" y="968"/>
                      </a:moveTo>
                      <a:lnTo>
                        <a:pt x="1070" y="968"/>
                      </a:lnTo>
                      <a:lnTo>
                        <a:pt x="1070" y="969"/>
                      </a:lnTo>
                      <a:lnTo>
                        <a:pt x="1069" y="969"/>
                      </a:lnTo>
                      <a:lnTo>
                        <a:pt x="1069" y="968"/>
                      </a:lnTo>
                      <a:lnTo>
                        <a:pt x="1068" y="968"/>
                      </a:lnTo>
                      <a:lnTo>
                        <a:pt x="1067" y="968"/>
                      </a:lnTo>
                      <a:lnTo>
                        <a:pt x="1066" y="968"/>
                      </a:lnTo>
                      <a:lnTo>
                        <a:pt x="1067" y="967"/>
                      </a:lnTo>
                      <a:lnTo>
                        <a:pt x="1068" y="967"/>
                      </a:lnTo>
                      <a:lnTo>
                        <a:pt x="1069" y="966"/>
                      </a:lnTo>
                      <a:lnTo>
                        <a:pt x="1069" y="964"/>
                      </a:lnTo>
                      <a:lnTo>
                        <a:pt x="1069" y="965"/>
                      </a:lnTo>
                      <a:lnTo>
                        <a:pt x="1069" y="966"/>
                      </a:lnTo>
                      <a:lnTo>
                        <a:pt x="1069" y="967"/>
                      </a:lnTo>
                      <a:lnTo>
                        <a:pt x="1070" y="967"/>
                      </a:lnTo>
                      <a:lnTo>
                        <a:pt x="1069" y="968"/>
                      </a:lnTo>
                      <a:close/>
                      <a:moveTo>
                        <a:pt x="1103" y="957"/>
                      </a:moveTo>
                      <a:lnTo>
                        <a:pt x="1103" y="958"/>
                      </a:lnTo>
                      <a:lnTo>
                        <a:pt x="1103" y="960"/>
                      </a:lnTo>
                      <a:lnTo>
                        <a:pt x="1102" y="960"/>
                      </a:lnTo>
                      <a:lnTo>
                        <a:pt x="1102" y="961"/>
                      </a:lnTo>
                      <a:lnTo>
                        <a:pt x="1100" y="961"/>
                      </a:lnTo>
                      <a:lnTo>
                        <a:pt x="1100" y="960"/>
                      </a:lnTo>
                      <a:lnTo>
                        <a:pt x="1102" y="957"/>
                      </a:lnTo>
                      <a:lnTo>
                        <a:pt x="1103" y="957"/>
                      </a:lnTo>
                      <a:close/>
                      <a:moveTo>
                        <a:pt x="1046" y="924"/>
                      </a:moveTo>
                      <a:lnTo>
                        <a:pt x="1046" y="925"/>
                      </a:lnTo>
                      <a:lnTo>
                        <a:pt x="1046" y="926"/>
                      </a:lnTo>
                      <a:lnTo>
                        <a:pt x="1046" y="927"/>
                      </a:lnTo>
                      <a:lnTo>
                        <a:pt x="1046" y="928"/>
                      </a:lnTo>
                      <a:lnTo>
                        <a:pt x="1046" y="929"/>
                      </a:lnTo>
                      <a:lnTo>
                        <a:pt x="1045" y="928"/>
                      </a:lnTo>
                      <a:lnTo>
                        <a:pt x="1044" y="929"/>
                      </a:lnTo>
                      <a:lnTo>
                        <a:pt x="1044" y="928"/>
                      </a:lnTo>
                      <a:lnTo>
                        <a:pt x="1045" y="928"/>
                      </a:lnTo>
                      <a:lnTo>
                        <a:pt x="1044" y="927"/>
                      </a:lnTo>
                      <a:lnTo>
                        <a:pt x="1045" y="927"/>
                      </a:lnTo>
                      <a:lnTo>
                        <a:pt x="1045" y="926"/>
                      </a:lnTo>
                      <a:lnTo>
                        <a:pt x="1045" y="925"/>
                      </a:lnTo>
                      <a:lnTo>
                        <a:pt x="1044" y="926"/>
                      </a:lnTo>
                      <a:lnTo>
                        <a:pt x="1044" y="927"/>
                      </a:lnTo>
                      <a:lnTo>
                        <a:pt x="1044" y="926"/>
                      </a:lnTo>
                      <a:lnTo>
                        <a:pt x="1044" y="925"/>
                      </a:lnTo>
                      <a:lnTo>
                        <a:pt x="1045" y="925"/>
                      </a:lnTo>
                      <a:lnTo>
                        <a:pt x="1045" y="924"/>
                      </a:lnTo>
                      <a:lnTo>
                        <a:pt x="1046" y="924"/>
                      </a:lnTo>
                      <a:close/>
                      <a:moveTo>
                        <a:pt x="1070" y="992"/>
                      </a:moveTo>
                      <a:lnTo>
                        <a:pt x="1070" y="993"/>
                      </a:lnTo>
                      <a:lnTo>
                        <a:pt x="1071" y="993"/>
                      </a:lnTo>
                      <a:lnTo>
                        <a:pt x="1071" y="994"/>
                      </a:lnTo>
                      <a:lnTo>
                        <a:pt x="1070" y="994"/>
                      </a:lnTo>
                      <a:lnTo>
                        <a:pt x="1070" y="995"/>
                      </a:lnTo>
                      <a:lnTo>
                        <a:pt x="1070" y="996"/>
                      </a:lnTo>
                      <a:lnTo>
                        <a:pt x="1069" y="996"/>
                      </a:lnTo>
                      <a:lnTo>
                        <a:pt x="1069" y="995"/>
                      </a:lnTo>
                      <a:lnTo>
                        <a:pt x="1069" y="994"/>
                      </a:lnTo>
                      <a:lnTo>
                        <a:pt x="1069" y="993"/>
                      </a:lnTo>
                      <a:lnTo>
                        <a:pt x="1069" y="992"/>
                      </a:lnTo>
                      <a:lnTo>
                        <a:pt x="1070" y="992"/>
                      </a:lnTo>
                      <a:close/>
                      <a:moveTo>
                        <a:pt x="1361" y="1041"/>
                      </a:moveTo>
                      <a:lnTo>
                        <a:pt x="1361" y="1042"/>
                      </a:lnTo>
                      <a:lnTo>
                        <a:pt x="1361" y="1043"/>
                      </a:lnTo>
                      <a:lnTo>
                        <a:pt x="1362" y="1043"/>
                      </a:lnTo>
                      <a:lnTo>
                        <a:pt x="1362" y="1042"/>
                      </a:lnTo>
                      <a:lnTo>
                        <a:pt x="1362" y="1043"/>
                      </a:lnTo>
                      <a:lnTo>
                        <a:pt x="1362" y="1044"/>
                      </a:lnTo>
                      <a:lnTo>
                        <a:pt x="1363" y="1043"/>
                      </a:lnTo>
                      <a:lnTo>
                        <a:pt x="1363" y="1044"/>
                      </a:lnTo>
                      <a:lnTo>
                        <a:pt x="1362" y="1044"/>
                      </a:lnTo>
                      <a:lnTo>
                        <a:pt x="1361" y="1044"/>
                      </a:lnTo>
                      <a:lnTo>
                        <a:pt x="1361" y="1043"/>
                      </a:lnTo>
                      <a:lnTo>
                        <a:pt x="1361" y="1042"/>
                      </a:lnTo>
                      <a:lnTo>
                        <a:pt x="1360" y="1042"/>
                      </a:lnTo>
                      <a:lnTo>
                        <a:pt x="1360" y="1041"/>
                      </a:lnTo>
                      <a:lnTo>
                        <a:pt x="1360" y="1040"/>
                      </a:lnTo>
                      <a:lnTo>
                        <a:pt x="1360" y="1041"/>
                      </a:lnTo>
                      <a:lnTo>
                        <a:pt x="1360" y="1040"/>
                      </a:lnTo>
                      <a:lnTo>
                        <a:pt x="1361" y="1040"/>
                      </a:lnTo>
                      <a:lnTo>
                        <a:pt x="1361" y="1041"/>
                      </a:lnTo>
                      <a:close/>
                      <a:moveTo>
                        <a:pt x="1119" y="973"/>
                      </a:moveTo>
                      <a:lnTo>
                        <a:pt x="1120" y="973"/>
                      </a:lnTo>
                      <a:lnTo>
                        <a:pt x="1119" y="973"/>
                      </a:lnTo>
                      <a:lnTo>
                        <a:pt x="1120" y="973"/>
                      </a:lnTo>
                      <a:lnTo>
                        <a:pt x="1120" y="974"/>
                      </a:lnTo>
                      <a:lnTo>
                        <a:pt x="1120" y="975"/>
                      </a:lnTo>
                      <a:lnTo>
                        <a:pt x="1119" y="975"/>
                      </a:lnTo>
                      <a:lnTo>
                        <a:pt x="1117" y="974"/>
                      </a:lnTo>
                      <a:lnTo>
                        <a:pt x="1118" y="973"/>
                      </a:lnTo>
                      <a:lnTo>
                        <a:pt x="1119" y="973"/>
                      </a:lnTo>
                      <a:close/>
                      <a:moveTo>
                        <a:pt x="1115" y="814"/>
                      </a:moveTo>
                      <a:lnTo>
                        <a:pt x="1115" y="815"/>
                      </a:lnTo>
                      <a:lnTo>
                        <a:pt x="1116" y="814"/>
                      </a:lnTo>
                      <a:lnTo>
                        <a:pt x="1115" y="815"/>
                      </a:lnTo>
                      <a:lnTo>
                        <a:pt x="1116" y="815"/>
                      </a:lnTo>
                      <a:lnTo>
                        <a:pt x="1116" y="816"/>
                      </a:lnTo>
                      <a:lnTo>
                        <a:pt x="1115" y="816"/>
                      </a:lnTo>
                      <a:lnTo>
                        <a:pt x="1116" y="817"/>
                      </a:lnTo>
                      <a:lnTo>
                        <a:pt x="1115" y="817"/>
                      </a:lnTo>
                      <a:lnTo>
                        <a:pt x="1113" y="817"/>
                      </a:lnTo>
                      <a:lnTo>
                        <a:pt x="1112" y="816"/>
                      </a:lnTo>
                      <a:lnTo>
                        <a:pt x="1113" y="816"/>
                      </a:lnTo>
                      <a:lnTo>
                        <a:pt x="1113" y="815"/>
                      </a:lnTo>
                      <a:lnTo>
                        <a:pt x="1115" y="815"/>
                      </a:lnTo>
                      <a:lnTo>
                        <a:pt x="1115" y="814"/>
                      </a:lnTo>
                      <a:lnTo>
                        <a:pt x="1113" y="814"/>
                      </a:lnTo>
                      <a:lnTo>
                        <a:pt x="1115" y="814"/>
                      </a:lnTo>
                      <a:close/>
                      <a:moveTo>
                        <a:pt x="1081" y="801"/>
                      </a:moveTo>
                      <a:lnTo>
                        <a:pt x="1081" y="802"/>
                      </a:lnTo>
                      <a:lnTo>
                        <a:pt x="1082" y="802"/>
                      </a:lnTo>
                      <a:lnTo>
                        <a:pt x="1083" y="802"/>
                      </a:lnTo>
                      <a:lnTo>
                        <a:pt x="1084" y="802"/>
                      </a:lnTo>
                      <a:lnTo>
                        <a:pt x="1085" y="802"/>
                      </a:lnTo>
                      <a:lnTo>
                        <a:pt x="1086" y="802"/>
                      </a:lnTo>
                      <a:lnTo>
                        <a:pt x="1087" y="802"/>
                      </a:lnTo>
                      <a:lnTo>
                        <a:pt x="1089" y="802"/>
                      </a:lnTo>
                      <a:lnTo>
                        <a:pt x="1089" y="803"/>
                      </a:lnTo>
                      <a:lnTo>
                        <a:pt x="1087" y="803"/>
                      </a:lnTo>
                      <a:lnTo>
                        <a:pt x="1087" y="802"/>
                      </a:lnTo>
                      <a:lnTo>
                        <a:pt x="1085" y="802"/>
                      </a:lnTo>
                      <a:lnTo>
                        <a:pt x="1084" y="802"/>
                      </a:lnTo>
                      <a:lnTo>
                        <a:pt x="1083" y="802"/>
                      </a:lnTo>
                      <a:lnTo>
                        <a:pt x="1082" y="803"/>
                      </a:lnTo>
                      <a:lnTo>
                        <a:pt x="1081" y="803"/>
                      </a:lnTo>
                      <a:lnTo>
                        <a:pt x="1081" y="802"/>
                      </a:lnTo>
                      <a:lnTo>
                        <a:pt x="1081" y="801"/>
                      </a:lnTo>
                      <a:close/>
                      <a:moveTo>
                        <a:pt x="1079" y="979"/>
                      </a:moveTo>
                      <a:lnTo>
                        <a:pt x="1079" y="980"/>
                      </a:lnTo>
                      <a:lnTo>
                        <a:pt x="1078" y="980"/>
                      </a:lnTo>
                      <a:lnTo>
                        <a:pt x="1076" y="980"/>
                      </a:lnTo>
                      <a:lnTo>
                        <a:pt x="1074" y="980"/>
                      </a:lnTo>
                      <a:lnTo>
                        <a:pt x="1074" y="979"/>
                      </a:lnTo>
                      <a:lnTo>
                        <a:pt x="1076" y="979"/>
                      </a:lnTo>
                      <a:lnTo>
                        <a:pt x="1077" y="979"/>
                      </a:lnTo>
                      <a:lnTo>
                        <a:pt x="1078" y="979"/>
                      </a:lnTo>
                      <a:lnTo>
                        <a:pt x="1077" y="979"/>
                      </a:lnTo>
                      <a:lnTo>
                        <a:pt x="1078" y="978"/>
                      </a:lnTo>
                      <a:lnTo>
                        <a:pt x="1078" y="979"/>
                      </a:lnTo>
                      <a:lnTo>
                        <a:pt x="1079" y="978"/>
                      </a:lnTo>
                      <a:lnTo>
                        <a:pt x="1079" y="979"/>
                      </a:lnTo>
                      <a:close/>
                      <a:moveTo>
                        <a:pt x="1102" y="977"/>
                      </a:moveTo>
                      <a:lnTo>
                        <a:pt x="1103" y="978"/>
                      </a:lnTo>
                      <a:lnTo>
                        <a:pt x="1102" y="978"/>
                      </a:lnTo>
                      <a:lnTo>
                        <a:pt x="1100" y="978"/>
                      </a:lnTo>
                      <a:lnTo>
                        <a:pt x="1100" y="979"/>
                      </a:lnTo>
                      <a:lnTo>
                        <a:pt x="1099" y="979"/>
                      </a:lnTo>
                      <a:lnTo>
                        <a:pt x="1100" y="979"/>
                      </a:lnTo>
                      <a:lnTo>
                        <a:pt x="1100" y="980"/>
                      </a:lnTo>
                      <a:lnTo>
                        <a:pt x="1099" y="980"/>
                      </a:lnTo>
                      <a:lnTo>
                        <a:pt x="1099" y="979"/>
                      </a:lnTo>
                      <a:lnTo>
                        <a:pt x="1098" y="979"/>
                      </a:lnTo>
                      <a:lnTo>
                        <a:pt x="1097" y="979"/>
                      </a:lnTo>
                      <a:lnTo>
                        <a:pt x="1097" y="978"/>
                      </a:lnTo>
                      <a:lnTo>
                        <a:pt x="1099" y="977"/>
                      </a:lnTo>
                      <a:lnTo>
                        <a:pt x="1100" y="977"/>
                      </a:lnTo>
                      <a:lnTo>
                        <a:pt x="1102" y="977"/>
                      </a:lnTo>
                      <a:close/>
                      <a:moveTo>
                        <a:pt x="1105" y="803"/>
                      </a:moveTo>
                      <a:lnTo>
                        <a:pt x="1104" y="804"/>
                      </a:lnTo>
                      <a:lnTo>
                        <a:pt x="1105" y="806"/>
                      </a:lnTo>
                      <a:lnTo>
                        <a:pt x="1104" y="806"/>
                      </a:lnTo>
                      <a:lnTo>
                        <a:pt x="1103" y="806"/>
                      </a:lnTo>
                      <a:lnTo>
                        <a:pt x="1103" y="804"/>
                      </a:lnTo>
                      <a:lnTo>
                        <a:pt x="1102" y="804"/>
                      </a:lnTo>
                      <a:lnTo>
                        <a:pt x="1103" y="804"/>
                      </a:lnTo>
                      <a:lnTo>
                        <a:pt x="1103" y="803"/>
                      </a:lnTo>
                      <a:lnTo>
                        <a:pt x="1102" y="803"/>
                      </a:lnTo>
                      <a:lnTo>
                        <a:pt x="1103" y="803"/>
                      </a:lnTo>
                      <a:lnTo>
                        <a:pt x="1104" y="803"/>
                      </a:lnTo>
                      <a:lnTo>
                        <a:pt x="1104" y="802"/>
                      </a:lnTo>
                      <a:lnTo>
                        <a:pt x="1105" y="802"/>
                      </a:lnTo>
                      <a:lnTo>
                        <a:pt x="1104" y="803"/>
                      </a:lnTo>
                      <a:lnTo>
                        <a:pt x="1105" y="803"/>
                      </a:lnTo>
                      <a:close/>
                      <a:moveTo>
                        <a:pt x="1087" y="973"/>
                      </a:moveTo>
                      <a:lnTo>
                        <a:pt x="1089" y="973"/>
                      </a:lnTo>
                      <a:lnTo>
                        <a:pt x="1090" y="973"/>
                      </a:lnTo>
                      <a:lnTo>
                        <a:pt x="1091" y="971"/>
                      </a:lnTo>
                      <a:lnTo>
                        <a:pt x="1091" y="970"/>
                      </a:lnTo>
                      <a:lnTo>
                        <a:pt x="1092" y="970"/>
                      </a:lnTo>
                      <a:lnTo>
                        <a:pt x="1090" y="974"/>
                      </a:lnTo>
                      <a:lnTo>
                        <a:pt x="1089" y="974"/>
                      </a:lnTo>
                      <a:lnTo>
                        <a:pt x="1089" y="973"/>
                      </a:lnTo>
                      <a:lnTo>
                        <a:pt x="1087" y="973"/>
                      </a:lnTo>
                      <a:lnTo>
                        <a:pt x="1086" y="973"/>
                      </a:lnTo>
                      <a:lnTo>
                        <a:pt x="1086" y="971"/>
                      </a:lnTo>
                      <a:lnTo>
                        <a:pt x="1085" y="971"/>
                      </a:lnTo>
                      <a:lnTo>
                        <a:pt x="1085" y="970"/>
                      </a:lnTo>
                      <a:lnTo>
                        <a:pt x="1085" y="969"/>
                      </a:lnTo>
                      <a:lnTo>
                        <a:pt x="1085" y="968"/>
                      </a:lnTo>
                      <a:lnTo>
                        <a:pt x="1085" y="967"/>
                      </a:lnTo>
                      <a:lnTo>
                        <a:pt x="1085" y="968"/>
                      </a:lnTo>
                      <a:lnTo>
                        <a:pt x="1085" y="969"/>
                      </a:lnTo>
                      <a:lnTo>
                        <a:pt x="1086" y="970"/>
                      </a:lnTo>
                      <a:lnTo>
                        <a:pt x="1086" y="971"/>
                      </a:lnTo>
                      <a:lnTo>
                        <a:pt x="1087" y="971"/>
                      </a:lnTo>
                      <a:lnTo>
                        <a:pt x="1087" y="973"/>
                      </a:lnTo>
                      <a:close/>
                      <a:moveTo>
                        <a:pt x="1420" y="1124"/>
                      </a:moveTo>
                      <a:lnTo>
                        <a:pt x="1421" y="1124"/>
                      </a:lnTo>
                      <a:lnTo>
                        <a:pt x="1422" y="1124"/>
                      </a:lnTo>
                      <a:lnTo>
                        <a:pt x="1422" y="1125"/>
                      </a:lnTo>
                      <a:lnTo>
                        <a:pt x="1421" y="1125"/>
                      </a:lnTo>
                      <a:lnTo>
                        <a:pt x="1420" y="1125"/>
                      </a:lnTo>
                      <a:lnTo>
                        <a:pt x="1419" y="1125"/>
                      </a:lnTo>
                      <a:lnTo>
                        <a:pt x="1419" y="1124"/>
                      </a:lnTo>
                      <a:lnTo>
                        <a:pt x="1418" y="1124"/>
                      </a:lnTo>
                      <a:lnTo>
                        <a:pt x="1417" y="1124"/>
                      </a:lnTo>
                      <a:lnTo>
                        <a:pt x="1418" y="1124"/>
                      </a:lnTo>
                      <a:lnTo>
                        <a:pt x="1419" y="1124"/>
                      </a:lnTo>
                      <a:lnTo>
                        <a:pt x="1420" y="1124"/>
                      </a:lnTo>
                      <a:close/>
                      <a:moveTo>
                        <a:pt x="1368" y="1030"/>
                      </a:moveTo>
                      <a:lnTo>
                        <a:pt x="1369" y="1030"/>
                      </a:lnTo>
                      <a:lnTo>
                        <a:pt x="1369" y="1031"/>
                      </a:lnTo>
                      <a:lnTo>
                        <a:pt x="1368" y="1031"/>
                      </a:lnTo>
                      <a:lnTo>
                        <a:pt x="1368" y="1032"/>
                      </a:lnTo>
                      <a:lnTo>
                        <a:pt x="1367" y="1032"/>
                      </a:lnTo>
                      <a:lnTo>
                        <a:pt x="1367" y="1031"/>
                      </a:lnTo>
                      <a:lnTo>
                        <a:pt x="1367" y="1032"/>
                      </a:lnTo>
                      <a:lnTo>
                        <a:pt x="1366" y="1032"/>
                      </a:lnTo>
                      <a:lnTo>
                        <a:pt x="1366" y="1031"/>
                      </a:lnTo>
                      <a:lnTo>
                        <a:pt x="1367" y="1031"/>
                      </a:lnTo>
                      <a:lnTo>
                        <a:pt x="1367" y="1030"/>
                      </a:lnTo>
                      <a:lnTo>
                        <a:pt x="1368" y="1030"/>
                      </a:lnTo>
                      <a:close/>
                      <a:moveTo>
                        <a:pt x="1224" y="1033"/>
                      </a:moveTo>
                      <a:lnTo>
                        <a:pt x="1226" y="1033"/>
                      </a:lnTo>
                      <a:lnTo>
                        <a:pt x="1227" y="1033"/>
                      </a:lnTo>
                      <a:lnTo>
                        <a:pt x="1226" y="1033"/>
                      </a:lnTo>
                      <a:lnTo>
                        <a:pt x="1227" y="1032"/>
                      </a:lnTo>
                      <a:lnTo>
                        <a:pt x="1227" y="1033"/>
                      </a:lnTo>
                      <a:lnTo>
                        <a:pt x="1227" y="1034"/>
                      </a:lnTo>
                      <a:lnTo>
                        <a:pt x="1226" y="1034"/>
                      </a:lnTo>
                      <a:lnTo>
                        <a:pt x="1225" y="1034"/>
                      </a:lnTo>
                      <a:lnTo>
                        <a:pt x="1224" y="1034"/>
                      </a:lnTo>
                      <a:lnTo>
                        <a:pt x="1223" y="1034"/>
                      </a:lnTo>
                      <a:lnTo>
                        <a:pt x="1223" y="1033"/>
                      </a:lnTo>
                      <a:lnTo>
                        <a:pt x="1223" y="1032"/>
                      </a:lnTo>
                      <a:lnTo>
                        <a:pt x="1223" y="1033"/>
                      </a:lnTo>
                      <a:lnTo>
                        <a:pt x="1224" y="1033"/>
                      </a:lnTo>
                      <a:close/>
                      <a:moveTo>
                        <a:pt x="1340" y="950"/>
                      </a:moveTo>
                      <a:lnTo>
                        <a:pt x="1341" y="950"/>
                      </a:lnTo>
                      <a:lnTo>
                        <a:pt x="1340" y="950"/>
                      </a:lnTo>
                      <a:lnTo>
                        <a:pt x="1341" y="951"/>
                      </a:lnTo>
                      <a:lnTo>
                        <a:pt x="1340" y="951"/>
                      </a:lnTo>
                      <a:lnTo>
                        <a:pt x="1339" y="951"/>
                      </a:lnTo>
                      <a:lnTo>
                        <a:pt x="1338" y="951"/>
                      </a:lnTo>
                      <a:lnTo>
                        <a:pt x="1338" y="950"/>
                      </a:lnTo>
                      <a:lnTo>
                        <a:pt x="1338" y="949"/>
                      </a:lnTo>
                      <a:lnTo>
                        <a:pt x="1339" y="949"/>
                      </a:lnTo>
                      <a:lnTo>
                        <a:pt x="1340" y="949"/>
                      </a:lnTo>
                      <a:lnTo>
                        <a:pt x="1340" y="950"/>
                      </a:lnTo>
                      <a:close/>
                      <a:moveTo>
                        <a:pt x="1282" y="954"/>
                      </a:moveTo>
                      <a:lnTo>
                        <a:pt x="1283" y="955"/>
                      </a:lnTo>
                      <a:lnTo>
                        <a:pt x="1282" y="955"/>
                      </a:lnTo>
                      <a:lnTo>
                        <a:pt x="1282" y="956"/>
                      </a:lnTo>
                      <a:lnTo>
                        <a:pt x="1283" y="955"/>
                      </a:lnTo>
                      <a:lnTo>
                        <a:pt x="1283" y="956"/>
                      </a:lnTo>
                      <a:lnTo>
                        <a:pt x="1282" y="956"/>
                      </a:lnTo>
                      <a:lnTo>
                        <a:pt x="1282" y="955"/>
                      </a:lnTo>
                      <a:lnTo>
                        <a:pt x="1282" y="954"/>
                      </a:lnTo>
                      <a:lnTo>
                        <a:pt x="1280" y="954"/>
                      </a:lnTo>
                      <a:lnTo>
                        <a:pt x="1279" y="954"/>
                      </a:lnTo>
                      <a:lnTo>
                        <a:pt x="1278" y="954"/>
                      </a:lnTo>
                      <a:lnTo>
                        <a:pt x="1278" y="953"/>
                      </a:lnTo>
                      <a:lnTo>
                        <a:pt x="1277" y="953"/>
                      </a:lnTo>
                      <a:lnTo>
                        <a:pt x="1278" y="953"/>
                      </a:lnTo>
                      <a:lnTo>
                        <a:pt x="1279" y="952"/>
                      </a:lnTo>
                      <a:lnTo>
                        <a:pt x="1280" y="953"/>
                      </a:lnTo>
                      <a:lnTo>
                        <a:pt x="1282" y="953"/>
                      </a:lnTo>
                      <a:lnTo>
                        <a:pt x="1282" y="954"/>
                      </a:lnTo>
                      <a:close/>
                      <a:moveTo>
                        <a:pt x="1336" y="1009"/>
                      </a:moveTo>
                      <a:lnTo>
                        <a:pt x="1336" y="1012"/>
                      </a:lnTo>
                      <a:lnTo>
                        <a:pt x="1335" y="1012"/>
                      </a:lnTo>
                      <a:lnTo>
                        <a:pt x="1335" y="1013"/>
                      </a:lnTo>
                      <a:lnTo>
                        <a:pt x="1335" y="1014"/>
                      </a:lnTo>
                      <a:lnTo>
                        <a:pt x="1335" y="1013"/>
                      </a:lnTo>
                      <a:lnTo>
                        <a:pt x="1334" y="1013"/>
                      </a:lnTo>
                      <a:lnTo>
                        <a:pt x="1332" y="1012"/>
                      </a:lnTo>
                      <a:lnTo>
                        <a:pt x="1334" y="1012"/>
                      </a:lnTo>
                      <a:lnTo>
                        <a:pt x="1335" y="1013"/>
                      </a:lnTo>
                      <a:lnTo>
                        <a:pt x="1335" y="1012"/>
                      </a:lnTo>
                      <a:lnTo>
                        <a:pt x="1335" y="1011"/>
                      </a:lnTo>
                      <a:lnTo>
                        <a:pt x="1336" y="1011"/>
                      </a:lnTo>
                      <a:lnTo>
                        <a:pt x="1336" y="1009"/>
                      </a:lnTo>
                      <a:close/>
                      <a:moveTo>
                        <a:pt x="1045" y="993"/>
                      </a:moveTo>
                      <a:lnTo>
                        <a:pt x="1046" y="994"/>
                      </a:lnTo>
                      <a:lnTo>
                        <a:pt x="1048" y="995"/>
                      </a:lnTo>
                      <a:lnTo>
                        <a:pt x="1047" y="995"/>
                      </a:lnTo>
                      <a:lnTo>
                        <a:pt x="1046" y="995"/>
                      </a:lnTo>
                      <a:lnTo>
                        <a:pt x="1046" y="994"/>
                      </a:lnTo>
                      <a:lnTo>
                        <a:pt x="1045" y="994"/>
                      </a:lnTo>
                      <a:lnTo>
                        <a:pt x="1044" y="994"/>
                      </a:lnTo>
                      <a:lnTo>
                        <a:pt x="1043" y="993"/>
                      </a:lnTo>
                      <a:lnTo>
                        <a:pt x="1044" y="993"/>
                      </a:lnTo>
                      <a:lnTo>
                        <a:pt x="1045" y="993"/>
                      </a:lnTo>
                      <a:close/>
                      <a:moveTo>
                        <a:pt x="1482" y="1077"/>
                      </a:moveTo>
                      <a:lnTo>
                        <a:pt x="1483" y="1078"/>
                      </a:lnTo>
                      <a:lnTo>
                        <a:pt x="1482" y="1079"/>
                      </a:lnTo>
                      <a:lnTo>
                        <a:pt x="1479" y="1080"/>
                      </a:lnTo>
                      <a:lnTo>
                        <a:pt x="1479" y="1079"/>
                      </a:lnTo>
                      <a:lnTo>
                        <a:pt x="1480" y="1079"/>
                      </a:lnTo>
                      <a:lnTo>
                        <a:pt x="1480" y="1078"/>
                      </a:lnTo>
                      <a:lnTo>
                        <a:pt x="1481" y="1078"/>
                      </a:lnTo>
                      <a:lnTo>
                        <a:pt x="1482" y="1077"/>
                      </a:lnTo>
                      <a:close/>
                      <a:moveTo>
                        <a:pt x="1277" y="952"/>
                      </a:moveTo>
                      <a:lnTo>
                        <a:pt x="1278" y="952"/>
                      </a:lnTo>
                      <a:lnTo>
                        <a:pt x="1278" y="953"/>
                      </a:lnTo>
                      <a:lnTo>
                        <a:pt x="1277" y="953"/>
                      </a:lnTo>
                      <a:lnTo>
                        <a:pt x="1277" y="954"/>
                      </a:lnTo>
                      <a:lnTo>
                        <a:pt x="1277" y="955"/>
                      </a:lnTo>
                      <a:lnTo>
                        <a:pt x="1276" y="955"/>
                      </a:lnTo>
                      <a:lnTo>
                        <a:pt x="1275" y="954"/>
                      </a:lnTo>
                      <a:lnTo>
                        <a:pt x="1276" y="954"/>
                      </a:lnTo>
                      <a:lnTo>
                        <a:pt x="1276" y="955"/>
                      </a:lnTo>
                      <a:lnTo>
                        <a:pt x="1276" y="954"/>
                      </a:lnTo>
                      <a:lnTo>
                        <a:pt x="1275" y="954"/>
                      </a:lnTo>
                      <a:lnTo>
                        <a:pt x="1275" y="953"/>
                      </a:lnTo>
                      <a:lnTo>
                        <a:pt x="1276" y="953"/>
                      </a:lnTo>
                      <a:lnTo>
                        <a:pt x="1277" y="952"/>
                      </a:lnTo>
                      <a:lnTo>
                        <a:pt x="1276" y="952"/>
                      </a:lnTo>
                      <a:lnTo>
                        <a:pt x="1275" y="952"/>
                      </a:lnTo>
                      <a:lnTo>
                        <a:pt x="1275" y="953"/>
                      </a:lnTo>
                      <a:lnTo>
                        <a:pt x="1274" y="953"/>
                      </a:lnTo>
                      <a:lnTo>
                        <a:pt x="1273" y="953"/>
                      </a:lnTo>
                      <a:lnTo>
                        <a:pt x="1272" y="952"/>
                      </a:lnTo>
                      <a:lnTo>
                        <a:pt x="1273" y="952"/>
                      </a:lnTo>
                      <a:lnTo>
                        <a:pt x="1273" y="953"/>
                      </a:lnTo>
                      <a:lnTo>
                        <a:pt x="1274" y="953"/>
                      </a:lnTo>
                      <a:lnTo>
                        <a:pt x="1275" y="953"/>
                      </a:lnTo>
                      <a:lnTo>
                        <a:pt x="1275" y="952"/>
                      </a:lnTo>
                      <a:lnTo>
                        <a:pt x="1276" y="952"/>
                      </a:lnTo>
                      <a:lnTo>
                        <a:pt x="1277" y="952"/>
                      </a:lnTo>
                      <a:close/>
                      <a:moveTo>
                        <a:pt x="1192" y="1046"/>
                      </a:moveTo>
                      <a:lnTo>
                        <a:pt x="1193" y="1046"/>
                      </a:lnTo>
                      <a:lnTo>
                        <a:pt x="1194" y="1046"/>
                      </a:lnTo>
                      <a:lnTo>
                        <a:pt x="1194" y="1047"/>
                      </a:lnTo>
                      <a:lnTo>
                        <a:pt x="1194" y="1048"/>
                      </a:lnTo>
                      <a:lnTo>
                        <a:pt x="1193" y="1047"/>
                      </a:lnTo>
                      <a:lnTo>
                        <a:pt x="1192" y="1047"/>
                      </a:lnTo>
                      <a:lnTo>
                        <a:pt x="1190" y="1047"/>
                      </a:lnTo>
                      <a:lnTo>
                        <a:pt x="1189" y="1046"/>
                      </a:lnTo>
                      <a:lnTo>
                        <a:pt x="1190" y="1046"/>
                      </a:lnTo>
                      <a:lnTo>
                        <a:pt x="1192" y="1046"/>
                      </a:lnTo>
                      <a:close/>
                      <a:moveTo>
                        <a:pt x="990" y="989"/>
                      </a:moveTo>
                      <a:lnTo>
                        <a:pt x="987" y="989"/>
                      </a:lnTo>
                      <a:lnTo>
                        <a:pt x="980" y="989"/>
                      </a:lnTo>
                      <a:lnTo>
                        <a:pt x="981" y="988"/>
                      </a:lnTo>
                      <a:lnTo>
                        <a:pt x="982" y="988"/>
                      </a:lnTo>
                      <a:lnTo>
                        <a:pt x="982" y="989"/>
                      </a:lnTo>
                      <a:lnTo>
                        <a:pt x="983" y="989"/>
                      </a:lnTo>
                      <a:lnTo>
                        <a:pt x="986" y="989"/>
                      </a:lnTo>
                      <a:lnTo>
                        <a:pt x="987" y="989"/>
                      </a:lnTo>
                      <a:lnTo>
                        <a:pt x="987" y="988"/>
                      </a:lnTo>
                      <a:lnTo>
                        <a:pt x="988" y="988"/>
                      </a:lnTo>
                      <a:lnTo>
                        <a:pt x="989" y="987"/>
                      </a:lnTo>
                      <a:lnTo>
                        <a:pt x="989" y="988"/>
                      </a:lnTo>
                      <a:lnTo>
                        <a:pt x="990" y="988"/>
                      </a:lnTo>
                      <a:lnTo>
                        <a:pt x="990" y="989"/>
                      </a:lnTo>
                      <a:close/>
                      <a:moveTo>
                        <a:pt x="1417" y="1096"/>
                      </a:moveTo>
                      <a:lnTo>
                        <a:pt x="1416" y="1096"/>
                      </a:lnTo>
                      <a:lnTo>
                        <a:pt x="1416" y="1095"/>
                      </a:lnTo>
                      <a:lnTo>
                        <a:pt x="1416" y="1094"/>
                      </a:lnTo>
                      <a:lnTo>
                        <a:pt x="1417" y="1094"/>
                      </a:lnTo>
                      <a:lnTo>
                        <a:pt x="1417" y="1093"/>
                      </a:lnTo>
                      <a:lnTo>
                        <a:pt x="1418" y="1093"/>
                      </a:lnTo>
                      <a:lnTo>
                        <a:pt x="1419" y="1093"/>
                      </a:lnTo>
                      <a:lnTo>
                        <a:pt x="1418" y="1093"/>
                      </a:lnTo>
                      <a:lnTo>
                        <a:pt x="1418" y="1094"/>
                      </a:lnTo>
                      <a:lnTo>
                        <a:pt x="1418" y="1095"/>
                      </a:lnTo>
                      <a:lnTo>
                        <a:pt x="1417" y="1095"/>
                      </a:lnTo>
                      <a:lnTo>
                        <a:pt x="1417" y="1096"/>
                      </a:lnTo>
                      <a:close/>
                      <a:moveTo>
                        <a:pt x="1120" y="748"/>
                      </a:moveTo>
                      <a:lnTo>
                        <a:pt x="1120" y="749"/>
                      </a:lnTo>
                      <a:lnTo>
                        <a:pt x="1119" y="749"/>
                      </a:lnTo>
                      <a:lnTo>
                        <a:pt x="1119" y="748"/>
                      </a:lnTo>
                      <a:lnTo>
                        <a:pt x="1118" y="748"/>
                      </a:lnTo>
                      <a:lnTo>
                        <a:pt x="1119" y="748"/>
                      </a:lnTo>
                      <a:lnTo>
                        <a:pt x="1118" y="748"/>
                      </a:lnTo>
                      <a:lnTo>
                        <a:pt x="1118" y="747"/>
                      </a:lnTo>
                      <a:lnTo>
                        <a:pt x="1118" y="746"/>
                      </a:lnTo>
                      <a:lnTo>
                        <a:pt x="1119" y="746"/>
                      </a:lnTo>
                      <a:lnTo>
                        <a:pt x="1119" y="745"/>
                      </a:lnTo>
                      <a:lnTo>
                        <a:pt x="1120" y="746"/>
                      </a:lnTo>
                      <a:lnTo>
                        <a:pt x="1119" y="746"/>
                      </a:lnTo>
                      <a:lnTo>
                        <a:pt x="1119" y="747"/>
                      </a:lnTo>
                      <a:lnTo>
                        <a:pt x="1120" y="747"/>
                      </a:lnTo>
                      <a:lnTo>
                        <a:pt x="1119" y="748"/>
                      </a:lnTo>
                      <a:lnTo>
                        <a:pt x="1120" y="748"/>
                      </a:lnTo>
                      <a:close/>
                      <a:moveTo>
                        <a:pt x="1123" y="971"/>
                      </a:moveTo>
                      <a:lnTo>
                        <a:pt x="1124" y="973"/>
                      </a:lnTo>
                      <a:lnTo>
                        <a:pt x="1123" y="973"/>
                      </a:lnTo>
                      <a:lnTo>
                        <a:pt x="1122" y="973"/>
                      </a:lnTo>
                      <a:lnTo>
                        <a:pt x="1121" y="973"/>
                      </a:lnTo>
                      <a:lnTo>
                        <a:pt x="1119" y="973"/>
                      </a:lnTo>
                      <a:lnTo>
                        <a:pt x="1119" y="971"/>
                      </a:lnTo>
                      <a:lnTo>
                        <a:pt x="1120" y="971"/>
                      </a:lnTo>
                      <a:lnTo>
                        <a:pt x="1121" y="971"/>
                      </a:lnTo>
                      <a:lnTo>
                        <a:pt x="1122" y="970"/>
                      </a:lnTo>
                      <a:lnTo>
                        <a:pt x="1123" y="971"/>
                      </a:lnTo>
                      <a:close/>
                      <a:moveTo>
                        <a:pt x="1226" y="996"/>
                      </a:moveTo>
                      <a:lnTo>
                        <a:pt x="1227" y="998"/>
                      </a:lnTo>
                      <a:lnTo>
                        <a:pt x="1227" y="999"/>
                      </a:lnTo>
                      <a:lnTo>
                        <a:pt x="1226" y="999"/>
                      </a:lnTo>
                      <a:lnTo>
                        <a:pt x="1225" y="999"/>
                      </a:lnTo>
                      <a:lnTo>
                        <a:pt x="1225" y="998"/>
                      </a:lnTo>
                      <a:lnTo>
                        <a:pt x="1224" y="998"/>
                      </a:lnTo>
                      <a:lnTo>
                        <a:pt x="1225" y="998"/>
                      </a:lnTo>
                      <a:lnTo>
                        <a:pt x="1225" y="996"/>
                      </a:lnTo>
                      <a:lnTo>
                        <a:pt x="1224" y="998"/>
                      </a:lnTo>
                      <a:lnTo>
                        <a:pt x="1224" y="996"/>
                      </a:lnTo>
                      <a:lnTo>
                        <a:pt x="1225" y="996"/>
                      </a:lnTo>
                      <a:lnTo>
                        <a:pt x="1225" y="995"/>
                      </a:lnTo>
                      <a:lnTo>
                        <a:pt x="1226" y="996"/>
                      </a:lnTo>
                      <a:close/>
                      <a:moveTo>
                        <a:pt x="1065" y="988"/>
                      </a:moveTo>
                      <a:lnTo>
                        <a:pt x="1065" y="989"/>
                      </a:lnTo>
                      <a:lnTo>
                        <a:pt x="1064" y="989"/>
                      </a:lnTo>
                      <a:lnTo>
                        <a:pt x="1064" y="990"/>
                      </a:lnTo>
                      <a:lnTo>
                        <a:pt x="1061" y="990"/>
                      </a:lnTo>
                      <a:lnTo>
                        <a:pt x="1061" y="989"/>
                      </a:lnTo>
                      <a:lnTo>
                        <a:pt x="1063" y="989"/>
                      </a:lnTo>
                      <a:lnTo>
                        <a:pt x="1063" y="990"/>
                      </a:lnTo>
                      <a:lnTo>
                        <a:pt x="1063" y="989"/>
                      </a:lnTo>
                      <a:lnTo>
                        <a:pt x="1064" y="989"/>
                      </a:lnTo>
                      <a:lnTo>
                        <a:pt x="1065" y="989"/>
                      </a:lnTo>
                      <a:lnTo>
                        <a:pt x="1065" y="988"/>
                      </a:lnTo>
                      <a:lnTo>
                        <a:pt x="1064" y="989"/>
                      </a:lnTo>
                      <a:lnTo>
                        <a:pt x="1063" y="989"/>
                      </a:lnTo>
                      <a:lnTo>
                        <a:pt x="1063" y="988"/>
                      </a:lnTo>
                      <a:lnTo>
                        <a:pt x="1064" y="988"/>
                      </a:lnTo>
                      <a:lnTo>
                        <a:pt x="1065" y="988"/>
                      </a:lnTo>
                      <a:close/>
                      <a:moveTo>
                        <a:pt x="1416" y="1130"/>
                      </a:moveTo>
                      <a:lnTo>
                        <a:pt x="1417" y="1130"/>
                      </a:lnTo>
                      <a:lnTo>
                        <a:pt x="1418" y="1130"/>
                      </a:lnTo>
                      <a:lnTo>
                        <a:pt x="1419" y="1130"/>
                      </a:lnTo>
                      <a:lnTo>
                        <a:pt x="1418" y="1130"/>
                      </a:lnTo>
                      <a:lnTo>
                        <a:pt x="1417" y="1130"/>
                      </a:lnTo>
                      <a:lnTo>
                        <a:pt x="1416" y="1131"/>
                      </a:lnTo>
                      <a:lnTo>
                        <a:pt x="1415" y="1131"/>
                      </a:lnTo>
                      <a:lnTo>
                        <a:pt x="1414" y="1131"/>
                      </a:lnTo>
                      <a:lnTo>
                        <a:pt x="1413" y="1131"/>
                      </a:lnTo>
                      <a:lnTo>
                        <a:pt x="1413" y="1130"/>
                      </a:lnTo>
                      <a:lnTo>
                        <a:pt x="1414" y="1130"/>
                      </a:lnTo>
                      <a:lnTo>
                        <a:pt x="1416" y="1129"/>
                      </a:lnTo>
                      <a:lnTo>
                        <a:pt x="1416" y="1130"/>
                      </a:lnTo>
                      <a:close/>
                      <a:moveTo>
                        <a:pt x="1081" y="983"/>
                      </a:moveTo>
                      <a:lnTo>
                        <a:pt x="1081" y="984"/>
                      </a:lnTo>
                      <a:lnTo>
                        <a:pt x="1080" y="984"/>
                      </a:lnTo>
                      <a:lnTo>
                        <a:pt x="1080" y="983"/>
                      </a:lnTo>
                      <a:lnTo>
                        <a:pt x="1080" y="984"/>
                      </a:lnTo>
                      <a:lnTo>
                        <a:pt x="1079" y="984"/>
                      </a:lnTo>
                      <a:lnTo>
                        <a:pt x="1080" y="984"/>
                      </a:lnTo>
                      <a:lnTo>
                        <a:pt x="1079" y="984"/>
                      </a:lnTo>
                      <a:lnTo>
                        <a:pt x="1079" y="982"/>
                      </a:lnTo>
                      <a:lnTo>
                        <a:pt x="1082" y="982"/>
                      </a:lnTo>
                      <a:lnTo>
                        <a:pt x="1081" y="983"/>
                      </a:lnTo>
                      <a:close/>
                      <a:moveTo>
                        <a:pt x="1288" y="1103"/>
                      </a:moveTo>
                      <a:lnTo>
                        <a:pt x="1288" y="1104"/>
                      </a:lnTo>
                      <a:lnTo>
                        <a:pt x="1287" y="1104"/>
                      </a:lnTo>
                      <a:lnTo>
                        <a:pt x="1286" y="1105"/>
                      </a:lnTo>
                      <a:lnTo>
                        <a:pt x="1286" y="1104"/>
                      </a:lnTo>
                      <a:lnTo>
                        <a:pt x="1286" y="1103"/>
                      </a:lnTo>
                      <a:lnTo>
                        <a:pt x="1287" y="1103"/>
                      </a:lnTo>
                      <a:lnTo>
                        <a:pt x="1288" y="1103"/>
                      </a:lnTo>
                      <a:lnTo>
                        <a:pt x="1288" y="1102"/>
                      </a:lnTo>
                      <a:lnTo>
                        <a:pt x="1289" y="1101"/>
                      </a:lnTo>
                      <a:lnTo>
                        <a:pt x="1290" y="1101"/>
                      </a:lnTo>
                      <a:lnTo>
                        <a:pt x="1290" y="1102"/>
                      </a:lnTo>
                      <a:lnTo>
                        <a:pt x="1289" y="1102"/>
                      </a:lnTo>
                      <a:lnTo>
                        <a:pt x="1289" y="1103"/>
                      </a:lnTo>
                      <a:lnTo>
                        <a:pt x="1288" y="1103"/>
                      </a:lnTo>
                      <a:close/>
                      <a:moveTo>
                        <a:pt x="1277" y="948"/>
                      </a:moveTo>
                      <a:lnTo>
                        <a:pt x="1276" y="948"/>
                      </a:lnTo>
                      <a:lnTo>
                        <a:pt x="1276" y="949"/>
                      </a:lnTo>
                      <a:lnTo>
                        <a:pt x="1276" y="950"/>
                      </a:lnTo>
                      <a:lnTo>
                        <a:pt x="1275" y="950"/>
                      </a:lnTo>
                      <a:lnTo>
                        <a:pt x="1274" y="951"/>
                      </a:lnTo>
                      <a:lnTo>
                        <a:pt x="1274" y="950"/>
                      </a:lnTo>
                      <a:lnTo>
                        <a:pt x="1274" y="951"/>
                      </a:lnTo>
                      <a:lnTo>
                        <a:pt x="1275" y="950"/>
                      </a:lnTo>
                      <a:lnTo>
                        <a:pt x="1275" y="949"/>
                      </a:lnTo>
                      <a:lnTo>
                        <a:pt x="1275" y="948"/>
                      </a:lnTo>
                      <a:lnTo>
                        <a:pt x="1274" y="948"/>
                      </a:lnTo>
                      <a:lnTo>
                        <a:pt x="1274" y="949"/>
                      </a:lnTo>
                      <a:lnTo>
                        <a:pt x="1273" y="949"/>
                      </a:lnTo>
                      <a:lnTo>
                        <a:pt x="1272" y="949"/>
                      </a:lnTo>
                      <a:lnTo>
                        <a:pt x="1272" y="948"/>
                      </a:lnTo>
                      <a:lnTo>
                        <a:pt x="1272" y="949"/>
                      </a:lnTo>
                      <a:lnTo>
                        <a:pt x="1273" y="948"/>
                      </a:lnTo>
                      <a:lnTo>
                        <a:pt x="1274" y="948"/>
                      </a:lnTo>
                      <a:lnTo>
                        <a:pt x="1275" y="947"/>
                      </a:lnTo>
                      <a:lnTo>
                        <a:pt x="1276" y="947"/>
                      </a:lnTo>
                      <a:lnTo>
                        <a:pt x="1277" y="947"/>
                      </a:lnTo>
                      <a:lnTo>
                        <a:pt x="1277" y="948"/>
                      </a:lnTo>
                      <a:close/>
                      <a:moveTo>
                        <a:pt x="1093" y="804"/>
                      </a:moveTo>
                      <a:lnTo>
                        <a:pt x="1094" y="806"/>
                      </a:lnTo>
                      <a:lnTo>
                        <a:pt x="1094" y="804"/>
                      </a:lnTo>
                      <a:lnTo>
                        <a:pt x="1095" y="806"/>
                      </a:lnTo>
                      <a:lnTo>
                        <a:pt x="1095" y="807"/>
                      </a:lnTo>
                      <a:lnTo>
                        <a:pt x="1094" y="807"/>
                      </a:lnTo>
                      <a:lnTo>
                        <a:pt x="1093" y="807"/>
                      </a:lnTo>
                      <a:lnTo>
                        <a:pt x="1093" y="806"/>
                      </a:lnTo>
                      <a:lnTo>
                        <a:pt x="1092" y="806"/>
                      </a:lnTo>
                      <a:lnTo>
                        <a:pt x="1092" y="804"/>
                      </a:lnTo>
                      <a:lnTo>
                        <a:pt x="1091" y="804"/>
                      </a:lnTo>
                      <a:lnTo>
                        <a:pt x="1092" y="804"/>
                      </a:lnTo>
                      <a:lnTo>
                        <a:pt x="1093" y="804"/>
                      </a:lnTo>
                      <a:close/>
                      <a:moveTo>
                        <a:pt x="1134" y="1003"/>
                      </a:moveTo>
                      <a:lnTo>
                        <a:pt x="1134" y="1004"/>
                      </a:lnTo>
                      <a:lnTo>
                        <a:pt x="1134" y="1005"/>
                      </a:lnTo>
                      <a:lnTo>
                        <a:pt x="1131" y="1004"/>
                      </a:lnTo>
                      <a:lnTo>
                        <a:pt x="1132" y="1004"/>
                      </a:lnTo>
                      <a:lnTo>
                        <a:pt x="1133" y="1004"/>
                      </a:lnTo>
                      <a:lnTo>
                        <a:pt x="1133" y="1003"/>
                      </a:lnTo>
                      <a:lnTo>
                        <a:pt x="1134" y="1003"/>
                      </a:lnTo>
                      <a:close/>
                      <a:moveTo>
                        <a:pt x="1111" y="748"/>
                      </a:moveTo>
                      <a:lnTo>
                        <a:pt x="1112" y="748"/>
                      </a:lnTo>
                      <a:lnTo>
                        <a:pt x="1112" y="747"/>
                      </a:lnTo>
                      <a:lnTo>
                        <a:pt x="1112" y="748"/>
                      </a:lnTo>
                      <a:lnTo>
                        <a:pt x="1112" y="747"/>
                      </a:lnTo>
                      <a:lnTo>
                        <a:pt x="1113" y="747"/>
                      </a:lnTo>
                      <a:lnTo>
                        <a:pt x="1113" y="748"/>
                      </a:lnTo>
                      <a:lnTo>
                        <a:pt x="1112" y="748"/>
                      </a:lnTo>
                      <a:lnTo>
                        <a:pt x="1113" y="748"/>
                      </a:lnTo>
                      <a:lnTo>
                        <a:pt x="1115" y="748"/>
                      </a:lnTo>
                      <a:lnTo>
                        <a:pt x="1115" y="749"/>
                      </a:lnTo>
                      <a:lnTo>
                        <a:pt x="1116" y="749"/>
                      </a:lnTo>
                      <a:lnTo>
                        <a:pt x="1115" y="749"/>
                      </a:lnTo>
                      <a:lnTo>
                        <a:pt x="1113" y="749"/>
                      </a:lnTo>
                      <a:lnTo>
                        <a:pt x="1112" y="749"/>
                      </a:lnTo>
                      <a:lnTo>
                        <a:pt x="1112" y="748"/>
                      </a:lnTo>
                      <a:lnTo>
                        <a:pt x="1113" y="748"/>
                      </a:lnTo>
                      <a:lnTo>
                        <a:pt x="1112" y="748"/>
                      </a:lnTo>
                      <a:lnTo>
                        <a:pt x="1112" y="749"/>
                      </a:lnTo>
                      <a:lnTo>
                        <a:pt x="1111" y="749"/>
                      </a:lnTo>
                      <a:lnTo>
                        <a:pt x="1111" y="748"/>
                      </a:lnTo>
                      <a:lnTo>
                        <a:pt x="1110" y="748"/>
                      </a:lnTo>
                      <a:lnTo>
                        <a:pt x="1110" y="747"/>
                      </a:lnTo>
                      <a:lnTo>
                        <a:pt x="1110" y="748"/>
                      </a:lnTo>
                      <a:lnTo>
                        <a:pt x="1111" y="748"/>
                      </a:lnTo>
                      <a:close/>
                      <a:moveTo>
                        <a:pt x="1299" y="966"/>
                      </a:moveTo>
                      <a:lnTo>
                        <a:pt x="1300" y="966"/>
                      </a:lnTo>
                      <a:lnTo>
                        <a:pt x="1301" y="966"/>
                      </a:lnTo>
                      <a:lnTo>
                        <a:pt x="1302" y="966"/>
                      </a:lnTo>
                      <a:lnTo>
                        <a:pt x="1302" y="967"/>
                      </a:lnTo>
                      <a:lnTo>
                        <a:pt x="1303" y="967"/>
                      </a:lnTo>
                      <a:lnTo>
                        <a:pt x="1302" y="967"/>
                      </a:lnTo>
                      <a:lnTo>
                        <a:pt x="1302" y="968"/>
                      </a:lnTo>
                      <a:lnTo>
                        <a:pt x="1302" y="967"/>
                      </a:lnTo>
                      <a:lnTo>
                        <a:pt x="1301" y="967"/>
                      </a:lnTo>
                      <a:lnTo>
                        <a:pt x="1301" y="966"/>
                      </a:lnTo>
                      <a:lnTo>
                        <a:pt x="1300" y="966"/>
                      </a:lnTo>
                      <a:lnTo>
                        <a:pt x="1300" y="967"/>
                      </a:lnTo>
                      <a:lnTo>
                        <a:pt x="1300" y="968"/>
                      </a:lnTo>
                      <a:lnTo>
                        <a:pt x="1299" y="968"/>
                      </a:lnTo>
                      <a:lnTo>
                        <a:pt x="1298" y="968"/>
                      </a:lnTo>
                      <a:lnTo>
                        <a:pt x="1299" y="968"/>
                      </a:lnTo>
                      <a:lnTo>
                        <a:pt x="1300" y="968"/>
                      </a:lnTo>
                      <a:lnTo>
                        <a:pt x="1300" y="967"/>
                      </a:lnTo>
                      <a:lnTo>
                        <a:pt x="1299" y="966"/>
                      </a:lnTo>
                      <a:lnTo>
                        <a:pt x="1298" y="966"/>
                      </a:lnTo>
                      <a:lnTo>
                        <a:pt x="1298" y="967"/>
                      </a:lnTo>
                      <a:lnTo>
                        <a:pt x="1298" y="966"/>
                      </a:lnTo>
                      <a:lnTo>
                        <a:pt x="1298" y="965"/>
                      </a:lnTo>
                      <a:lnTo>
                        <a:pt x="1299" y="966"/>
                      </a:lnTo>
                      <a:close/>
                      <a:moveTo>
                        <a:pt x="1428" y="1006"/>
                      </a:moveTo>
                      <a:lnTo>
                        <a:pt x="1428" y="1007"/>
                      </a:lnTo>
                      <a:lnTo>
                        <a:pt x="1427" y="1007"/>
                      </a:lnTo>
                      <a:lnTo>
                        <a:pt x="1427" y="1008"/>
                      </a:lnTo>
                      <a:lnTo>
                        <a:pt x="1426" y="1008"/>
                      </a:lnTo>
                      <a:lnTo>
                        <a:pt x="1427" y="1008"/>
                      </a:lnTo>
                      <a:lnTo>
                        <a:pt x="1427" y="1009"/>
                      </a:lnTo>
                      <a:lnTo>
                        <a:pt x="1426" y="1009"/>
                      </a:lnTo>
                      <a:lnTo>
                        <a:pt x="1426" y="1011"/>
                      </a:lnTo>
                      <a:lnTo>
                        <a:pt x="1425" y="1011"/>
                      </a:lnTo>
                      <a:lnTo>
                        <a:pt x="1424" y="1009"/>
                      </a:lnTo>
                      <a:lnTo>
                        <a:pt x="1425" y="1009"/>
                      </a:lnTo>
                      <a:lnTo>
                        <a:pt x="1426" y="1008"/>
                      </a:lnTo>
                      <a:lnTo>
                        <a:pt x="1426" y="1007"/>
                      </a:lnTo>
                      <a:lnTo>
                        <a:pt x="1427" y="1006"/>
                      </a:lnTo>
                      <a:lnTo>
                        <a:pt x="1428" y="1006"/>
                      </a:lnTo>
                      <a:close/>
                      <a:moveTo>
                        <a:pt x="1156" y="1014"/>
                      </a:moveTo>
                      <a:lnTo>
                        <a:pt x="1156" y="1012"/>
                      </a:lnTo>
                      <a:lnTo>
                        <a:pt x="1156" y="1011"/>
                      </a:lnTo>
                      <a:lnTo>
                        <a:pt x="1156" y="1009"/>
                      </a:lnTo>
                      <a:lnTo>
                        <a:pt x="1156" y="1011"/>
                      </a:lnTo>
                      <a:lnTo>
                        <a:pt x="1157" y="1012"/>
                      </a:lnTo>
                      <a:lnTo>
                        <a:pt x="1157" y="1014"/>
                      </a:lnTo>
                      <a:lnTo>
                        <a:pt x="1156" y="1014"/>
                      </a:lnTo>
                      <a:close/>
                      <a:moveTo>
                        <a:pt x="1044" y="988"/>
                      </a:moveTo>
                      <a:lnTo>
                        <a:pt x="1045" y="988"/>
                      </a:lnTo>
                      <a:lnTo>
                        <a:pt x="1046" y="988"/>
                      </a:lnTo>
                      <a:lnTo>
                        <a:pt x="1045" y="988"/>
                      </a:lnTo>
                      <a:lnTo>
                        <a:pt x="1046" y="989"/>
                      </a:lnTo>
                      <a:lnTo>
                        <a:pt x="1045" y="989"/>
                      </a:lnTo>
                      <a:lnTo>
                        <a:pt x="1045" y="990"/>
                      </a:lnTo>
                      <a:lnTo>
                        <a:pt x="1042" y="990"/>
                      </a:lnTo>
                      <a:lnTo>
                        <a:pt x="1042" y="989"/>
                      </a:lnTo>
                      <a:lnTo>
                        <a:pt x="1043" y="989"/>
                      </a:lnTo>
                      <a:lnTo>
                        <a:pt x="1042" y="989"/>
                      </a:lnTo>
                      <a:lnTo>
                        <a:pt x="1043" y="989"/>
                      </a:lnTo>
                      <a:lnTo>
                        <a:pt x="1043" y="988"/>
                      </a:lnTo>
                      <a:lnTo>
                        <a:pt x="1042" y="988"/>
                      </a:lnTo>
                      <a:lnTo>
                        <a:pt x="1043" y="988"/>
                      </a:lnTo>
                      <a:lnTo>
                        <a:pt x="1044" y="988"/>
                      </a:lnTo>
                      <a:lnTo>
                        <a:pt x="1044" y="989"/>
                      </a:lnTo>
                      <a:lnTo>
                        <a:pt x="1045" y="989"/>
                      </a:lnTo>
                      <a:lnTo>
                        <a:pt x="1044" y="989"/>
                      </a:lnTo>
                      <a:lnTo>
                        <a:pt x="1044" y="988"/>
                      </a:lnTo>
                      <a:lnTo>
                        <a:pt x="1043" y="988"/>
                      </a:lnTo>
                      <a:lnTo>
                        <a:pt x="1042" y="988"/>
                      </a:lnTo>
                      <a:lnTo>
                        <a:pt x="1043" y="988"/>
                      </a:lnTo>
                      <a:lnTo>
                        <a:pt x="1044" y="988"/>
                      </a:lnTo>
                      <a:close/>
                      <a:moveTo>
                        <a:pt x="1430" y="1130"/>
                      </a:moveTo>
                      <a:lnTo>
                        <a:pt x="1431" y="1130"/>
                      </a:lnTo>
                      <a:lnTo>
                        <a:pt x="1431" y="1131"/>
                      </a:lnTo>
                      <a:lnTo>
                        <a:pt x="1430" y="1131"/>
                      </a:lnTo>
                      <a:lnTo>
                        <a:pt x="1431" y="1131"/>
                      </a:lnTo>
                      <a:lnTo>
                        <a:pt x="1431" y="1132"/>
                      </a:lnTo>
                      <a:lnTo>
                        <a:pt x="1430" y="1132"/>
                      </a:lnTo>
                      <a:lnTo>
                        <a:pt x="1430" y="1133"/>
                      </a:lnTo>
                      <a:lnTo>
                        <a:pt x="1429" y="1132"/>
                      </a:lnTo>
                      <a:lnTo>
                        <a:pt x="1429" y="1131"/>
                      </a:lnTo>
                      <a:lnTo>
                        <a:pt x="1429" y="1130"/>
                      </a:lnTo>
                      <a:lnTo>
                        <a:pt x="1430" y="1130"/>
                      </a:lnTo>
                      <a:close/>
                      <a:moveTo>
                        <a:pt x="1081" y="975"/>
                      </a:moveTo>
                      <a:lnTo>
                        <a:pt x="1081" y="976"/>
                      </a:lnTo>
                      <a:lnTo>
                        <a:pt x="1081" y="977"/>
                      </a:lnTo>
                      <a:lnTo>
                        <a:pt x="1082" y="977"/>
                      </a:lnTo>
                      <a:lnTo>
                        <a:pt x="1082" y="976"/>
                      </a:lnTo>
                      <a:lnTo>
                        <a:pt x="1082" y="977"/>
                      </a:lnTo>
                      <a:lnTo>
                        <a:pt x="1083" y="977"/>
                      </a:lnTo>
                      <a:lnTo>
                        <a:pt x="1083" y="978"/>
                      </a:lnTo>
                      <a:lnTo>
                        <a:pt x="1082" y="978"/>
                      </a:lnTo>
                      <a:lnTo>
                        <a:pt x="1081" y="978"/>
                      </a:lnTo>
                      <a:lnTo>
                        <a:pt x="1081" y="977"/>
                      </a:lnTo>
                      <a:lnTo>
                        <a:pt x="1081" y="976"/>
                      </a:lnTo>
                      <a:lnTo>
                        <a:pt x="1081" y="975"/>
                      </a:lnTo>
                      <a:lnTo>
                        <a:pt x="1080" y="976"/>
                      </a:lnTo>
                      <a:lnTo>
                        <a:pt x="1080" y="975"/>
                      </a:lnTo>
                      <a:lnTo>
                        <a:pt x="1081" y="975"/>
                      </a:lnTo>
                      <a:close/>
                      <a:moveTo>
                        <a:pt x="1203" y="924"/>
                      </a:moveTo>
                      <a:lnTo>
                        <a:pt x="1202" y="925"/>
                      </a:lnTo>
                      <a:lnTo>
                        <a:pt x="1202" y="924"/>
                      </a:lnTo>
                      <a:lnTo>
                        <a:pt x="1201" y="924"/>
                      </a:lnTo>
                      <a:lnTo>
                        <a:pt x="1201" y="925"/>
                      </a:lnTo>
                      <a:lnTo>
                        <a:pt x="1200" y="925"/>
                      </a:lnTo>
                      <a:lnTo>
                        <a:pt x="1200" y="924"/>
                      </a:lnTo>
                      <a:lnTo>
                        <a:pt x="1200" y="923"/>
                      </a:lnTo>
                      <a:lnTo>
                        <a:pt x="1201" y="923"/>
                      </a:lnTo>
                      <a:lnTo>
                        <a:pt x="1202" y="923"/>
                      </a:lnTo>
                      <a:lnTo>
                        <a:pt x="1202" y="924"/>
                      </a:lnTo>
                      <a:lnTo>
                        <a:pt x="1203" y="924"/>
                      </a:lnTo>
                      <a:close/>
                      <a:moveTo>
                        <a:pt x="1361" y="1022"/>
                      </a:moveTo>
                      <a:lnTo>
                        <a:pt x="1362" y="1022"/>
                      </a:lnTo>
                      <a:lnTo>
                        <a:pt x="1362" y="1024"/>
                      </a:lnTo>
                      <a:lnTo>
                        <a:pt x="1362" y="1022"/>
                      </a:lnTo>
                      <a:lnTo>
                        <a:pt x="1362" y="1024"/>
                      </a:lnTo>
                      <a:lnTo>
                        <a:pt x="1361" y="1024"/>
                      </a:lnTo>
                      <a:lnTo>
                        <a:pt x="1362" y="1024"/>
                      </a:lnTo>
                      <a:lnTo>
                        <a:pt x="1361" y="1024"/>
                      </a:lnTo>
                      <a:lnTo>
                        <a:pt x="1361" y="1022"/>
                      </a:lnTo>
                      <a:lnTo>
                        <a:pt x="1360" y="1024"/>
                      </a:lnTo>
                      <a:lnTo>
                        <a:pt x="1360" y="1022"/>
                      </a:lnTo>
                      <a:lnTo>
                        <a:pt x="1358" y="1022"/>
                      </a:lnTo>
                      <a:lnTo>
                        <a:pt x="1357" y="1021"/>
                      </a:lnTo>
                      <a:lnTo>
                        <a:pt x="1358" y="1021"/>
                      </a:lnTo>
                      <a:lnTo>
                        <a:pt x="1360" y="1021"/>
                      </a:lnTo>
                      <a:lnTo>
                        <a:pt x="1358" y="1022"/>
                      </a:lnTo>
                      <a:lnTo>
                        <a:pt x="1360" y="1022"/>
                      </a:lnTo>
                      <a:lnTo>
                        <a:pt x="1360" y="1021"/>
                      </a:lnTo>
                      <a:lnTo>
                        <a:pt x="1361" y="1021"/>
                      </a:lnTo>
                      <a:lnTo>
                        <a:pt x="1361" y="1022"/>
                      </a:lnTo>
                      <a:close/>
                      <a:moveTo>
                        <a:pt x="1185" y="844"/>
                      </a:moveTo>
                      <a:lnTo>
                        <a:pt x="1184" y="842"/>
                      </a:lnTo>
                      <a:lnTo>
                        <a:pt x="1185" y="842"/>
                      </a:lnTo>
                      <a:lnTo>
                        <a:pt x="1184" y="841"/>
                      </a:lnTo>
                      <a:lnTo>
                        <a:pt x="1183" y="841"/>
                      </a:lnTo>
                      <a:lnTo>
                        <a:pt x="1183" y="840"/>
                      </a:lnTo>
                      <a:lnTo>
                        <a:pt x="1182" y="840"/>
                      </a:lnTo>
                      <a:lnTo>
                        <a:pt x="1182" y="839"/>
                      </a:lnTo>
                      <a:lnTo>
                        <a:pt x="1182" y="838"/>
                      </a:lnTo>
                      <a:lnTo>
                        <a:pt x="1182" y="839"/>
                      </a:lnTo>
                      <a:lnTo>
                        <a:pt x="1183" y="839"/>
                      </a:lnTo>
                      <a:lnTo>
                        <a:pt x="1183" y="840"/>
                      </a:lnTo>
                      <a:lnTo>
                        <a:pt x="1184" y="841"/>
                      </a:lnTo>
                      <a:lnTo>
                        <a:pt x="1185" y="841"/>
                      </a:lnTo>
                      <a:lnTo>
                        <a:pt x="1186" y="842"/>
                      </a:lnTo>
                      <a:lnTo>
                        <a:pt x="1185" y="844"/>
                      </a:lnTo>
                      <a:close/>
                      <a:moveTo>
                        <a:pt x="1130" y="854"/>
                      </a:moveTo>
                      <a:lnTo>
                        <a:pt x="1129" y="853"/>
                      </a:lnTo>
                      <a:lnTo>
                        <a:pt x="1129" y="852"/>
                      </a:lnTo>
                      <a:lnTo>
                        <a:pt x="1131" y="852"/>
                      </a:lnTo>
                      <a:lnTo>
                        <a:pt x="1131" y="853"/>
                      </a:lnTo>
                      <a:lnTo>
                        <a:pt x="1131" y="854"/>
                      </a:lnTo>
                      <a:lnTo>
                        <a:pt x="1130" y="854"/>
                      </a:lnTo>
                      <a:close/>
                      <a:moveTo>
                        <a:pt x="1092" y="803"/>
                      </a:moveTo>
                      <a:lnTo>
                        <a:pt x="1093" y="803"/>
                      </a:lnTo>
                      <a:lnTo>
                        <a:pt x="1094" y="803"/>
                      </a:lnTo>
                      <a:lnTo>
                        <a:pt x="1094" y="804"/>
                      </a:lnTo>
                      <a:lnTo>
                        <a:pt x="1095" y="804"/>
                      </a:lnTo>
                      <a:lnTo>
                        <a:pt x="1094" y="804"/>
                      </a:lnTo>
                      <a:lnTo>
                        <a:pt x="1093" y="804"/>
                      </a:lnTo>
                      <a:lnTo>
                        <a:pt x="1092" y="803"/>
                      </a:lnTo>
                      <a:lnTo>
                        <a:pt x="1091" y="803"/>
                      </a:lnTo>
                      <a:lnTo>
                        <a:pt x="1092" y="802"/>
                      </a:lnTo>
                      <a:lnTo>
                        <a:pt x="1092" y="803"/>
                      </a:lnTo>
                      <a:close/>
                      <a:moveTo>
                        <a:pt x="1140" y="994"/>
                      </a:moveTo>
                      <a:lnTo>
                        <a:pt x="1138" y="994"/>
                      </a:lnTo>
                      <a:lnTo>
                        <a:pt x="1137" y="994"/>
                      </a:lnTo>
                      <a:lnTo>
                        <a:pt x="1137" y="995"/>
                      </a:lnTo>
                      <a:lnTo>
                        <a:pt x="1137" y="994"/>
                      </a:lnTo>
                      <a:lnTo>
                        <a:pt x="1137" y="993"/>
                      </a:lnTo>
                      <a:lnTo>
                        <a:pt x="1137" y="994"/>
                      </a:lnTo>
                      <a:lnTo>
                        <a:pt x="1137" y="993"/>
                      </a:lnTo>
                      <a:lnTo>
                        <a:pt x="1137" y="992"/>
                      </a:lnTo>
                      <a:lnTo>
                        <a:pt x="1138" y="992"/>
                      </a:lnTo>
                      <a:lnTo>
                        <a:pt x="1140" y="994"/>
                      </a:lnTo>
                      <a:close/>
                      <a:moveTo>
                        <a:pt x="1213" y="1035"/>
                      </a:moveTo>
                      <a:lnTo>
                        <a:pt x="1214" y="1037"/>
                      </a:lnTo>
                      <a:lnTo>
                        <a:pt x="1213" y="1037"/>
                      </a:lnTo>
                      <a:lnTo>
                        <a:pt x="1214" y="1037"/>
                      </a:lnTo>
                      <a:lnTo>
                        <a:pt x="1214" y="1038"/>
                      </a:lnTo>
                      <a:lnTo>
                        <a:pt x="1213" y="1038"/>
                      </a:lnTo>
                      <a:lnTo>
                        <a:pt x="1212" y="1038"/>
                      </a:lnTo>
                      <a:lnTo>
                        <a:pt x="1212" y="1037"/>
                      </a:lnTo>
                      <a:lnTo>
                        <a:pt x="1211" y="1037"/>
                      </a:lnTo>
                      <a:lnTo>
                        <a:pt x="1211" y="1038"/>
                      </a:lnTo>
                      <a:lnTo>
                        <a:pt x="1210" y="1038"/>
                      </a:lnTo>
                      <a:lnTo>
                        <a:pt x="1210" y="1039"/>
                      </a:lnTo>
                      <a:lnTo>
                        <a:pt x="1209" y="1038"/>
                      </a:lnTo>
                      <a:lnTo>
                        <a:pt x="1209" y="1037"/>
                      </a:lnTo>
                      <a:lnTo>
                        <a:pt x="1210" y="1037"/>
                      </a:lnTo>
                      <a:lnTo>
                        <a:pt x="1209" y="1038"/>
                      </a:lnTo>
                      <a:lnTo>
                        <a:pt x="1210" y="1038"/>
                      </a:lnTo>
                      <a:lnTo>
                        <a:pt x="1211" y="1037"/>
                      </a:lnTo>
                      <a:lnTo>
                        <a:pt x="1212" y="1037"/>
                      </a:lnTo>
                      <a:lnTo>
                        <a:pt x="1213" y="1037"/>
                      </a:lnTo>
                      <a:lnTo>
                        <a:pt x="1213" y="1035"/>
                      </a:lnTo>
                      <a:lnTo>
                        <a:pt x="1212" y="1035"/>
                      </a:lnTo>
                      <a:lnTo>
                        <a:pt x="1211" y="1037"/>
                      </a:lnTo>
                      <a:lnTo>
                        <a:pt x="1210" y="1037"/>
                      </a:lnTo>
                      <a:lnTo>
                        <a:pt x="1211" y="1035"/>
                      </a:lnTo>
                      <a:lnTo>
                        <a:pt x="1212" y="1035"/>
                      </a:lnTo>
                      <a:lnTo>
                        <a:pt x="1213" y="1035"/>
                      </a:lnTo>
                      <a:close/>
                      <a:moveTo>
                        <a:pt x="1181" y="934"/>
                      </a:moveTo>
                      <a:lnTo>
                        <a:pt x="1180" y="934"/>
                      </a:lnTo>
                      <a:lnTo>
                        <a:pt x="1179" y="934"/>
                      </a:lnTo>
                      <a:lnTo>
                        <a:pt x="1180" y="934"/>
                      </a:lnTo>
                      <a:lnTo>
                        <a:pt x="1180" y="932"/>
                      </a:lnTo>
                      <a:lnTo>
                        <a:pt x="1181" y="932"/>
                      </a:lnTo>
                      <a:lnTo>
                        <a:pt x="1181" y="931"/>
                      </a:lnTo>
                      <a:lnTo>
                        <a:pt x="1182" y="931"/>
                      </a:lnTo>
                      <a:lnTo>
                        <a:pt x="1182" y="932"/>
                      </a:lnTo>
                      <a:lnTo>
                        <a:pt x="1182" y="934"/>
                      </a:lnTo>
                      <a:lnTo>
                        <a:pt x="1181" y="934"/>
                      </a:lnTo>
                      <a:close/>
                      <a:moveTo>
                        <a:pt x="1297" y="1095"/>
                      </a:moveTo>
                      <a:lnTo>
                        <a:pt x="1296" y="1096"/>
                      </a:lnTo>
                      <a:lnTo>
                        <a:pt x="1296" y="1097"/>
                      </a:lnTo>
                      <a:lnTo>
                        <a:pt x="1295" y="1096"/>
                      </a:lnTo>
                      <a:lnTo>
                        <a:pt x="1295" y="1097"/>
                      </a:lnTo>
                      <a:lnTo>
                        <a:pt x="1293" y="1098"/>
                      </a:lnTo>
                      <a:lnTo>
                        <a:pt x="1292" y="1098"/>
                      </a:lnTo>
                      <a:lnTo>
                        <a:pt x="1292" y="1097"/>
                      </a:lnTo>
                      <a:lnTo>
                        <a:pt x="1293" y="1097"/>
                      </a:lnTo>
                      <a:lnTo>
                        <a:pt x="1293" y="1096"/>
                      </a:lnTo>
                      <a:lnTo>
                        <a:pt x="1295" y="1096"/>
                      </a:lnTo>
                      <a:lnTo>
                        <a:pt x="1295" y="1095"/>
                      </a:lnTo>
                      <a:lnTo>
                        <a:pt x="1296" y="1095"/>
                      </a:lnTo>
                      <a:lnTo>
                        <a:pt x="1297" y="1094"/>
                      </a:lnTo>
                      <a:lnTo>
                        <a:pt x="1297" y="1095"/>
                      </a:lnTo>
                      <a:close/>
                      <a:moveTo>
                        <a:pt x="1433" y="1012"/>
                      </a:moveTo>
                      <a:lnTo>
                        <a:pt x="1433" y="1013"/>
                      </a:lnTo>
                      <a:lnTo>
                        <a:pt x="1433" y="1014"/>
                      </a:lnTo>
                      <a:lnTo>
                        <a:pt x="1434" y="1014"/>
                      </a:lnTo>
                      <a:lnTo>
                        <a:pt x="1433" y="1014"/>
                      </a:lnTo>
                      <a:lnTo>
                        <a:pt x="1433" y="1013"/>
                      </a:lnTo>
                      <a:lnTo>
                        <a:pt x="1434" y="1012"/>
                      </a:lnTo>
                      <a:lnTo>
                        <a:pt x="1434" y="1013"/>
                      </a:lnTo>
                      <a:lnTo>
                        <a:pt x="1434" y="1014"/>
                      </a:lnTo>
                      <a:lnTo>
                        <a:pt x="1434" y="1015"/>
                      </a:lnTo>
                      <a:lnTo>
                        <a:pt x="1433" y="1015"/>
                      </a:lnTo>
                      <a:lnTo>
                        <a:pt x="1433" y="1014"/>
                      </a:lnTo>
                      <a:lnTo>
                        <a:pt x="1431" y="1014"/>
                      </a:lnTo>
                      <a:lnTo>
                        <a:pt x="1431" y="1013"/>
                      </a:lnTo>
                      <a:lnTo>
                        <a:pt x="1430" y="1013"/>
                      </a:lnTo>
                      <a:lnTo>
                        <a:pt x="1431" y="1013"/>
                      </a:lnTo>
                      <a:lnTo>
                        <a:pt x="1431" y="1012"/>
                      </a:lnTo>
                      <a:lnTo>
                        <a:pt x="1432" y="1013"/>
                      </a:lnTo>
                      <a:lnTo>
                        <a:pt x="1432" y="1012"/>
                      </a:lnTo>
                      <a:lnTo>
                        <a:pt x="1432" y="1013"/>
                      </a:lnTo>
                      <a:lnTo>
                        <a:pt x="1432" y="1012"/>
                      </a:lnTo>
                      <a:lnTo>
                        <a:pt x="1433" y="1012"/>
                      </a:lnTo>
                      <a:close/>
                      <a:moveTo>
                        <a:pt x="1107" y="968"/>
                      </a:moveTo>
                      <a:lnTo>
                        <a:pt x="1107" y="969"/>
                      </a:lnTo>
                      <a:lnTo>
                        <a:pt x="1108" y="969"/>
                      </a:lnTo>
                      <a:lnTo>
                        <a:pt x="1108" y="968"/>
                      </a:lnTo>
                      <a:lnTo>
                        <a:pt x="1108" y="969"/>
                      </a:lnTo>
                      <a:lnTo>
                        <a:pt x="1108" y="970"/>
                      </a:lnTo>
                      <a:lnTo>
                        <a:pt x="1107" y="970"/>
                      </a:lnTo>
                      <a:lnTo>
                        <a:pt x="1106" y="969"/>
                      </a:lnTo>
                      <a:lnTo>
                        <a:pt x="1106" y="968"/>
                      </a:lnTo>
                      <a:lnTo>
                        <a:pt x="1105" y="967"/>
                      </a:lnTo>
                      <a:lnTo>
                        <a:pt x="1106" y="967"/>
                      </a:lnTo>
                      <a:lnTo>
                        <a:pt x="1106" y="968"/>
                      </a:lnTo>
                      <a:lnTo>
                        <a:pt x="1107" y="968"/>
                      </a:lnTo>
                      <a:close/>
                      <a:moveTo>
                        <a:pt x="1099" y="964"/>
                      </a:moveTo>
                      <a:lnTo>
                        <a:pt x="1100" y="964"/>
                      </a:lnTo>
                      <a:lnTo>
                        <a:pt x="1100" y="965"/>
                      </a:lnTo>
                      <a:lnTo>
                        <a:pt x="1097" y="963"/>
                      </a:lnTo>
                      <a:lnTo>
                        <a:pt x="1098" y="962"/>
                      </a:lnTo>
                      <a:lnTo>
                        <a:pt x="1099" y="963"/>
                      </a:lnTo>
                      <a:lnTo>
                        <a:pt x="1099" y="964"/>
                      </a:lnTo>
                      <a:close/>
                      <a:moveTo>
                        <a:pt x="1167" y="961"/>
                      </a:moveTo>
                      <a:lnTo>
                        <a:pt x="1167" y="962"/>
                      </a:lnTo>
                      <a:lnTo>
                        <a:pt x="1168" y="962"/>
                      </a:lnTo>
                      <a:lnTo>
                        <a:pt x="1168" y="961"/>
                      </a:lnTo>
                      <a:lnTo>
                        <a:pt x="1168" y="962"/>
                      </a:lnTo>
                      <a:lnTo>
                        <a:pt x="1168" y="963"/>
                      </a:lnTo>
                      <a:lnTo>
                        <a:pt x="1167" y="963"/>
                      </a:lnTo>
                      <a:lnTo>
                        <a:pt x="1167" y="964"/>
                      </a:lnTo>
                      <a:lnTo>
                        <a:pt x="1167" y="963"/>
                      </a:lnTo>
                      <a:lnTo>
                        <a:pt x="1166" y="963"/>
                      </a:lnTo>
                      <a:lnTo>
                        <a:pt x="1166" y="962"/>
                      </a:lnTo>
                      <a:lnTo>
                        <a:pt x="1166" y="961"/>
                      </a:lnTo>
                      <a:lnTo>
                        <a:pt x="1167" y="961"/>
                      </a:lnTo>
                      <a:close/>
                      <a:moveTo>
                        <a:pt x="1056" y="990"/>
                      </a:moveTo>
                      <a:lnTo>
                        <a:pt x="1060" y="990"/>
                      </a:lnTo>
                      <a:lnTo>
                        <a:pt x="1060" y="991"/>
                      </a:lnTo>
                      <a:lnTo>
                        <a:pt x="1060" y="990"/>
                      </a:lnTo>
                      <a:lnTo>
                        <a:pt x="1059" y="990"/>
                      </a:lnTo>
                      <a:lnTo>
                        <a:pt x="1059" y="991"/>
                      </a:lnTo>
                      <a:lnTo>
                        <a:pt x="1060" y="991"/>
                      </a:lnTo>
                      <a:lnTo>
                        <a:pt x="1059" y="991"/>
                      </a:lnTo>
                      <a:lnTo>
                        <a:pt x="1057" y="991"/>
                      </a:lnTo>
                      <a:lnTo>
                        <a:pt x="1057" y="990"/>
                      </a:lnTo>
                      <a:lnTo>
                        <a:pt x="1057" y="991"/>
                      </a:lnTo>
                      <a:lnTo>
                        <a:pt x="1056" y="990"/>
                      </a:lnTo>
                      <a:close/>
                      <a:moveTo>
                        <a:pt x="1000" y="958"/>
                      </a:moveTo>
                      <a:lnTo>
                        <a:pt x="1001" y="960"/>
                      </a:lnTo>
                      <a:lnTo>
                        <a:pt x="1002" y="960"/>
                      </a:lnTo>
                      <a:lnTo>
                        <a:pt x="1001" y="960"/>
                      </a:lnTo>
                      <a:lnTo>
                        <a:pt x="1001" y="961"/>
                      </a:lnTo>
                      <a:lnTo>
                        <a:pt x="1000" y="961"/>
                      </a:lnTo>
                      <a:lnTo>
                        <a:pt x="1000" y="960"/>
                      </a:lnTo>
                      <a:lnTo>
                        <a:pt x="1000" y="958"/>
                      </a:lnTo>
                      <a:lnTo>
                        <a:pt x="999" y="958"/>
                      </a:lnTo>
                      <a:lnTo>
                        <a:pt x="997" y="957"/>
                      </a:lnTo>
                      <a:lnTo>
                        <a:pt x="999" y="957"/>
                      </a:lnTo>
                      <a:lnTo>
                        <a:pt x="1000" y="957"/>
                      </a:lnTo>
                      <a:lnTo>
                        <a:pt x="1000" y="958"/>
                      </a:lnTo>
                      <a:close/>
                      <a:moveTo>
                        <a:pt x="1429" y="1124"/>
                      </a:moveTo>
                      <a:lnTo>
                        <a:pt x="1430" y="1124"/>
                      </a:lnTo>
                      <a:lnTo>
                        <a:pt x="1430" y="1125"/>
                      </a:lnTo>
                      <a:lnTo>
                        <a:pt x="1430" y="1124"/>
                      </a:lnTo>
                      <a:lnTo>
                        <a:pt x="1429" y="1124"/>
                      </a:lnTo>
                      <a:lnTo>
                        <a:pt x="1429" y="1125"/>
                      </a:lnTo>
                      <a:lnTo>
                        <a:pt x="1428" y="1125"/>
                      </a:lnTo>
                      <a:lnTo>
                        <a:pt x="1428" y="1124"/>
                      </a:lnTo>
                      <a:lnTo>
                        <a:pt x="1427" y="1124"/>
                      </a:lnTo>
                      <a:lnTo>
                        <a:pt x="1427" y="1123"/>
                      </a:lnTo>
                      <a:lnTo>
                        <a:pt x="1428" y="1123"/>
                      </a:lnTo>
                      <a:lnTo>
                        <a:pt x="1429" y="1123"/>
                      </a:lnTo>
                      <a:lnTo>
                        <a:pt x="1429" y="1124"/>
                      </a:lnTo>
                      <a:close/>
                      <a:moveTo>
                        <a:pt x="1337" y="1009"/>
                      </a:moveTo>
                      <a:lnTo>
                        <a:pt x="1337" y="1011"/>
                      </a:lnTo>
                      <a:lnTo>
                        <a:pt x="1337" y="1012"/>
                      </a:lnTo>
                      <a:lnTo>
                        <a:pt x="1336" y="1013"/>
                      </a:lnTo>
                      <a:lnTo>
                        <a:pt x="1336" y="1014"/>
                      </a:lnTo>
                      <a:lnTo>
                        <a:pt x="1335" y="1014"/>
                      </a:lnTo>
                      <a:lnTo>
                        <a:pt x="1335" y="1013"/>
                      </a:lnTo>
                      <a:lnTo>
                        <a:pt x="1336" y="1012"/>
                      </a:lnTo>
                      <a:lnTo>
                        <a:pt x="1336" y="1009"/>
                      </a:lnTo>
                      <a:lnTo>
                        <a:pt x="1337" y="1009"/>
                      </a:lnTo>
                      <a:close/>
                      <a:moveTo>
                        <a:pt x="1296" y="944"/>
                      </a:moveTo>
                      <a:lnTo>
                        <a:pt x="1297" y="944"/>
                      </a:lnTo>
                      <a:lnTo>
                        <a:pt x="1297" y="945"/>
                      </a:lnTo>
                      <a:lnTo>
                        <a:pt x="1297" y="947"/>
                      </a:lnTo>
                      <a:lnTo>
                        <a:pt x="1296" y="947"/>
                      </a:lnTo>
                      <a:lnTo>
                        <a:pt x="1295" y="947"/>
                      </a:lnTo>
                      <a:lnTo>
                        <a:pt x="1295" y="945"/>
                      </a:lnTo>
                      <a:lnTo>
                        <a:pt x="1295" y="944"/>
                      </a:lnTo>
                      <a:lnTo>
                        <a:pt x="1293" y="944"/>
                      </a:lnTo>
                      <a:lnTo>
                        <a:pt x="1296" y="944"/>
                      </a:lnTo>
                      <a:close/>
                      <a:moveTo>
                        <a:pt x="1286" y="956"/>
                      </a:moveTo>
                      <a:lnTo>
                        <a:pt x="1287" y="956"/>
                      </a:lnTo>
                      <a:lnTo>
                        <a:pt x="1288" y="956"/>
                      </a:lnTo>
                      <a:lnTo>
                        <a:pt x="1288" y="957"/>
                      </a:lnTo>
                      <a:lnTo>
                        <a:pt x="1287" y="957"/>
                      </a:lnTo>
                      <a:lnTo>
                        <a:pt x="1287" y="956"/>
                      </a:lnTo>
                      <a:lnTo>
                        <a:pt x="1286" y="956"/>
                      </a:lnTo>
                      <a:lnTo>
                        <a:pt x="1285" y="956"/>
                      </a:lnTo>
                      <a:lnTo>
                        <a:pt x="1286" y="956"/>
                      </a:lnTo>
                      <a:lnTo>
                        <a:pt x="1286" y="957"/>
                      </a:lnTo>
                      <a:lnTo>
                        <a:pt x="1285" y="957"/>
                      </a:lnTo>
                      <a:lnTo>
                        <a:pt x="1285" y="956"/>
                      </a:lnTo>
                      <a:lnTo>
                        <a:pt x="1285" y="957"/>
                      </a:lnTo>
                      <a:lnTo>
                        <a:pt x="1286" y="957"/>
                      </a:lnTo>
                      <a:lnTo>
                        <a:pt x="1286" y="958"/>
                      </a:lnTo>
                      <a:lnTo>
                        <a:pt x="1286" y="957"/>
                      </a:lnTo>
                      <a:lnTo>
                        <a:pt x="1285" y="957"/>
                      </a:lnTo>
                      <a:lnTo>
                        <a:pt x="1285" y="956"/>
                      </a:lnTo>
                      <a:lnTo>
                        <a:pt x="1284" y="956"/>
                      </a:lnTo>
                      <a:lnTo>
                        <a:pt x="1283" y="956"/>
                      </a:lnTo>
                      <a:lnTo>
                        <a:pt x="1284" y="956"/>
                      </a:lnTo>
                      <a:lnTo>
                        <a:pt x="1285" y="956"/>
                      </a:lnTo>
                      <a:lnTo>
                        <a:pt x="1285" y="955"/>
                      </a:lnTo>
                      <a:lnTo>
                        <a:pt x="1286" y="955"/>
                      </a:lnTo>
                      <a:lnTo>
                        <a:pt x="1286" y="956"/>
                      </a:lnTo>
                      <a:close/>
                      <a:moveTo>
                        <a:pt x="1060" y="992"/>
                      </a:moveTo>
                      <a:lnTo>
                        <a:pt x="1061" y="992"/>
                      </a:lnTo>
                      <a:lnTo>
                        <a:pt x="1061" y="993"/>
                      </a:lnTo>
                      <a:lnTo>
                        <a:pt x="1060" y="993"/>
                      </a:lnTo>
                      <a:lnTo>
                        <a:pt x="1059" y="993"/>
                      </a:lnTo>
                      <a:lnTo>
                        <a:pt x="1059" y="994"/>
                      </a:lnTo>
                      <a:lnTo>
                        <a:pt x="1058" y="993"/>
                      </a:lnTo>
                      <a:lnTo>
                        <a:pt x="1058" y="992"/>
                      </a:lnTo>
                      <a:lnTo>
                        <a:pt x="1059" y="992"/>
                      </a:lnTo>
                      <a:lnTo>
                        <a:pt x="1060" y="992"/>
                      </a:lnTo>
                      <a:lnTo>
                        <a:pt x="1059" y="992"/>
                      </a:lnTo>
                      <a:lnTo>
                        <a:pt x="1059" y="991"/>
                      </a:lnTo>
                      <a:lnTo>
                        <a:pt x="1060" y="992"/>
                      </a:lnTo>
                      <a:close/>
                      <a:moveTo>
                        <a:pt x="1369" y="1032"/>
                      </a:moveTo>
                      <a:lnTo>
                        <a:pt x="1369" y="1034"/>
                      </a:lnTo>
                      <a:lnTo>
                        <a:pt x="1369" y="1033"/>
                      </a:lnTo>
                      <a:lnTo>
                        <a:pt x="1369" y="1034"/>
                      </a:lnTo>
                      <a:lnTo>
                        <a:pt x="1369" y="1035"/>
                      </a:lnTo>
                      <a:lnTo>
                        <a:pt x="1368" y="1035"/>
                      </a:lnTo>
                      <a:lnTo>
                        <a:pt x="1368" y="1034"/>
                      </a:lnTo>
                      <a:lnTo>
                        <a:pt x="1369" y="1034"/>
                      </a:lnTo>
                      <a:lnTo>
                        <a:pt x="1369" y="1033"/>
                      </a:lnTo>
                      <a:lnTo>
                        <a:pt x="1369" y="1034"/>
                      </a:lnTo>
                      <a:lnTo>
                        <a:pt x="1368" y="1034"/>
                      </a:lnTo>
                      <a:lnTo>
                        <a:pt x="1367" y="1034"/>
                      </a:lnTo>
                      <a:lnTo>
                        <a:pt x="1368" y="1034"/>
                      </a:lnTo>
                      <a:lnTo>
                        <a:pt x="1368" y="1033"/>
                      </a:lnTo>
                      <a:lnTo>
                        <a:pt x="1368" y="1032"/>
                      </a:lnTo>
                      <a:lnTo>
                        <a:pt x="1369" y="1032"/>
                      </a:lnTo>
                      <a:close/>
                      <a:moveTo>
                        <a:pt x="1084" y="979"/>
                      </a:moveTo>
                      <a:lnTo>
                        <a:pt x="1084" y="980"/>
                      </a:lnTo>
                      <a:lnTo>
                        <a:pt x="1083" y="980"/>
                      </a:lnTo>
                      <a:lnTo>
                        <a:pt x="1083" y="981"/>
                      </a:lnTo>
                      <a:lnTo>
                        <a:pt x="1082" y="981"/>
                      </a:lnTo>
                      <a:lnTo>
                        <a:pt x="1082" y="980"/>
                      </a:lnTo>
                      <a:lnTo>
                        <a:pt x="1081" y="980"/>
                      </a:lnTo>
                      <a:lnTo>
                        <a:pt x="1080" y="980"/>
                      </a:lnTo>
                      <a:lnTo>
                        <a:pt x="1081" y="980"/>
                      </a:lnTo>
                      <a:lnTo>
                        <a:pt x="1080" y="980"/>
                      </a:lnTo>
                      <a:lnTo>
                        <a:pt x="1080" y="981"/>
                      </a:lnTo>
                      <a:lnTo>
                        <a:pt x="1081" y="981"/>
                      </a:lnTo>
                      <a:lnTo>
                        <a:pt x="1080" y="981"/>
                      </a:lnTo>
                      <a:lnTo>
                        <a:pt x="1079" y="981"/>
                      </a:lnTo>
                      <a:lnTo>
                        <a:pt x="1079" y="980"/>
                      </a:lnTo>
                      <a:lnTo>
                        <a:pt x="1081" y="980"/>
                      </a:lnTo>
                      <a:lnTo>
                        <a:pt x="1082" y="980"/>
                      </a:lnTo>
                      <a:lnTo>
                        <a:pt x="1083" y="980"/>
                      </a:lnTo>
                      <a:lnTo>
                        <a:pt x="1082" y="980"/>
                      </a:lnTo>
                      <a:lnTo>
                        <a:pt x="1083" y="980"/>
                      </a:lnTo>
                      <a:lnTo>
                        <a:pt x="1084" y="980"/>
                      </a:lnTo>
                      <a:lnTo>
                        <a:pt x="1084" y="979"/>
                      </a:lnTo>
                      <a:lnTo>
                        <a:pt x="1081" y="980"/>
                      </a:lnTo>
                      <a:lnTo>
                        <a:pt x="1083" y="979"/>
                      </a:lnTo>
                      <a:lnTo>
                        <a:pt x="1084" y="979"/>
                      </a:lnTo>
                      <a:close/>
                      <a:moveTo>
                        <a:pt x="1181" y="1038"/>
                      </a:moveTo>
                      <a:lnTo>
                        <a:pt x="1180" y="1038"/>
                      </a:lnTo>
                      <a:lnTo>
                        <a:pt x="1180" y="1039"/>
                      </a:lnTo>
                      <a:lnTo>
                        <a:pt x="1181" y="1039"/>
                      </a:lnTo>
                      <a:lnTo>
                        <a:pt x="1180" y="1039"/>
                      </a:lnTo>
                      <a:lnTo>
                        <a:pt x="1180" y="1040"/>
                      </a:lnTo>
                      <a:lnTo>
                        <a:pt x="1182" y="1041"/>
                      </a:lnTo>
                      <a:lnTo>
                        <a:pt x="1180" y="1040"/>
                      </a:lnTo>
                      <a:lnTo>
                        <a:pt x="1179" y="1040"/>
                      </a:lnTo>
                      <a:lnTo>
                        <a:pt x="1179" y="1039"/>
                      </a:lnTo>
                      <a:lnTo>
                        <a:pt x="1180" y="1038"/>
                      </a:lnTo>
                      <a:lnTo>
                        <a:pt x="1181" y="1037"/>
                      </a:lnTo>
                      <a:lnTo>
                        <a:pt x="1181" y="1038"/>
                      </a:lnTo>
                      <a:close/>
                      <a:moveTo>
                        <a:pt x="1164" y="847"/>
                      </a:moveTo>
                      <a:lnTo>
                        <a:pt x="1167" y="847"/>
                      </a:lnTo>
                      <a:lnTo>
                        <a:pt x="1167" y="848"/>
                      </a:lnTo>
                      <a:lnTo>
                        <a:pt x="1166" y="848"/>
                      </a:lnTo>
                      <a:lnTo>
                        <a:pt x="1164" y="848"/>
                      </a:lnTo>
                      <a:lnTo>
                        <a:pt x="1163" y="848"/>
                      </a:lnTo>
                      <a:lnTo>
                        <a:pt x="1164" y="847"/>
                      </a:lnTo>
                      <a:close/>
                      <a:moveTo>
                        <a:pt x="1418" y="1091"/>
                      </a:moveTo>
                      <a:lnTo>
                        <a:pt x="1420" y="1092"/>
                      </a:lnTo>
                      <a:lnTo>
                        <a:pt x="1420" y="1093"/>
                      </a:lnTo>
                      <a:lnTo>
                        <a:pt x="1419" y="1093"/>
                      </a:lnTo>
                      <a:lnTo>
                        <a:pt x="1418" y="1092"/>
                      </a:lnTo>
                      <a:lnTo>
                        <a:pt x="1418" y="1091"/>
                      </a:lnTo>
                      <a:lnTo>
                        <a:pt x="1418" y="1092"/>
                      </a:lnTo>
                      <a:lnTo>
                        <a:pt x="1417" y="1092"/>
                      </a:lnTo>
                      <a:lnTo>
                        <a:pt x="1417" y="1091"/>
                      </a:lnTo>
                      <a:lnTo>
                        <a:pt x="1418" y="1091"/>
                      </a:lnTo>
                      <a:close/>
                      <a:moveTo>
                        <a:pt x="1417" y="1114"/>
                      </a:moveTo>
                      <a:lnTo>
                        <a:pt x="1417" y="1115"/>
                      </a:lnTo>
                      <a:lnTo>
                        <a:pt x="1416" y="1115"/>
                      </a:lnTo>
                      <a:lnTo>
                        <a:pt x="1416" y="1116"/>
                      </a:lnTo>
                      <a:lnTo>
                        <a:pt x="1415" y="1115"/>
                      </a:lnTo>
                      <a:lnTo>
                        <a:pt x="1415" y="1114"/>
                      </a:lnTo>
                      <a:lnTo>
                        <a:pt x="1416" y="1114"/>
                      </a:lnTo>
                      <a:lnTo>
                        <a:pt x="1417" y="1114"/>
                      </a:lnTo>
                      <a:lnTo>
                        <a:pt x="1417" y="1112"/>
                      </a:lnTo>
                      <a:lnTo>
                        <a:pt x="1417" y="1114"/>
                      </a:lnTo>
                      <a:close/>
                      <a:moveTo>
                        <a:pt x="1076" y="965"/>
                      </a:moveTo>
                      <a:lnTo>
                        <a:pt x="1077" y="967"/>
                      </a:lnTo>
                      <a:lnTo>
                        <a:pt x="1076" y="967"/>
                      </a:lnTo>
                      <a:lnTo>
                        <a:pt x="1074" y="967"/>
                      </a:lnTo>
                      <a:lnTo>
                        <a:pt x="1072" y="968"/>
                      </a:lnTo>
                      <a:lnTo>
                        <a:pt x="1072" y="967"/>
                      </a:lnTo>
                      <a:lnTo>
                        <a:pt x="1073" y="967"/>
                      </a:lnTo>
                      <a:lnTo>
                        <a:pt x="1073" y="966"/>
                      </a:lnTo>
                      <a:lnTo>
                        <a:pt x="1074" y="967"/>
                      </a:lnTo>
                      <a:lnTo>
                        <a:pt x="1076" y="967"/>
                      </a:lnTo>
                      <a:lnTo>
                        <a:pt x="1076" y="964"/>
                      </a:lnTo>
                      <a:lnTo>
                        <a:pt x="1076" y="965"/>
                      </a:lnTo>
                      <a:close/>
                      <a:moveTo>
                        <a:pt x="1097" y="978"/>
                      </a:moveTo>
                      <a:lnTo>
                        <a:pt x="1097" y="979"/>
                      </a:lnTo>
                      <a:lnTo>
                        <a:pt x="1096" y="979"/>
                      </a:lnTo>
                      <a:lnTo>
                        <a:pt x="1095" y="979"/>
                      </a:lnTo>
                      <a:lnTo>
                        <a:pt x="1096" y="979"/>
                      </a:lnTo>
                      <a:lnTo>
                        <a:pt x="1096" y="978"/>
                      </a:lnTo>
                      <a:lnTo>
                        <a:pt x="1095" y="978"/>
                      </a:lnTo>
                      <a:lnTo>
                        <a:pt x="1094" y="978"/>
                      </a:lnTo>
                      <a:lnTo>
                        <a:pt x="1094" y="979"/>
                      </a:lnTo>
                      <a:lnTo>
                        <a:pt x="1095" y="979"/>
                      </a:lnTo>
                      <a:lnTo>
                        <a:pt x="1094" y="979"/>
                      </a:lnTo>
                      <a:lnTo>
                        <a:pt x="1094" y="980"/>
                      </a:lnTo>
                      <a:lnTo>
                        <a:pt x="1094" y="979"/>
                      </a:lnTo>
                      <a:lnTo>
                        <a:pt x="1093" y="978"/>
                      </a:lnTo>
                      <a:lnTo>
                        <a:pt x="1097" y="978"/>
                      </a:lnTo>
                      <a:close/>
                      <a:moveTo>
                        <a:pt x="1169" y="839"/>
                      </a:moveTo>
                      <a:lnTo>
                        <a:pt x="1169" y="840"/>
                      </a:lnTo>
                      <a:lnTo>
                        <a:pt x="1168" y="840"/>
                      </a:lnTo>
                      <a:lnTo>
                        <a:pt x="1167" y="840"/>
                      </a:lnTo>
                      <a:lnTo>
                        <a:pt x="1166" y="840"/>
                      </a:lnTo>
                      <a:lnTo>
                        <a:pt x="1164" y="840"/>
                      </a:lnTo>
                      <a:lnTo>
                        <a:pt x="1166" y="839"/>
                      </a:lnTo>
                      <a:lnTo>
                        <a:pt x="1167" y="839"/>
                      </a:lnTo>
                      <a:lnTo>
                        <a:pt x="1168" y="839"/>
                      </a:lnTo>
                      <a:lnTo>
                        <a:pt x="1169" y="839"/>
                      </a:lnTo>
                      <a:close/>
                      <a:moveTo>
                        <a:pt x="1357" y="1027"/>
                      </a:moveTo>
                      <a:lnTo>
                        <a:pt x="1358" y="1027"/>
                      </a:lnTo>
                      <a:lnTo>
                        <a:pt x="1358" y="1028"/>
                      </a:lnTo>
                      <a:lnTo>
                        <a:pt x="1357" y="1028"/>
                      </a:lnTo>
                      <a:lnTo>
                        <a:pt x="1357" y="1029"/>
                      </a:lnTo>
                      <a:lnTo>
                        <a:pt x="1356" y="1029"/>
                      </a:lnTo>
                      <a:lnTo>
                        <a:pt x="1356" y="1028"/>
                      </a:lnTo>
                      <a:lnTo>
                        <a:pt x="1356" y="1027"/>
                      </a:lnTo>
                      <a:lnTo>
                        <a:pt x="1357" y="1027"/>
                      </a:lnTo>
                      <a:close/>
                      <a:moveTo>
                        <a:pt x="1080" y="979"/>
                      </a:moveTo>
                      <a:lnTo>
                        <a:pt x="1083" y="979"/>
                      </a:lnTo>
                      <a:lnTo>
                        <a:pt x="1083" y="978"/>
                      </a:lnTo>
                      <a:lnTo>
                        <a:pt x="1084" y="978"/>
                      </a:lnTo>
                      <a:lnTo>
                        <a:pt x="1085" y="978"/>
                      </a:lnTo>
                      <a:lnTo>
                        <a:pt x="1084" y="979"/>
                      </a:lnTo>
                      <a:lnTo>
                        <a:pt x="1079" y="980"/>
                      </a:lnTo>
                      <a:lnTo>
                        <a:pt x="1079" y="978"/>
                      </a:lnTo>
                      <a:lnTo>
                        <a:pt x="1080" y="978"/>
                      </a:lnTo>
                      <a:lnTo>
                        <a:pt x="1080" y="977"/>
                      </a:lnTo>
                      <a:lnTo>
                        <a:pt x="1081" y="978"/>
                      </a:lnTo>
                      <a:lnTo>
                        <a:pt x="1080" y="978"/>
                      </a:lnTo>
                      <a:lnTo>
                        <a:pt x="1080" y="979"/>
                      </a:lnTo>
                      <a:lnTo>
                        <a:pt x="1079" y="979"/>
                      </a:lnTo>
                      <a:lnTo>
                        <a:pt x="1080" y="979"/>
                      </a:lnTo>
                      <a:close/>
                      <a:moveTo>
                        <a:pt x="1369" y="1133"/>
                      </a:moveTo>
                      <a:lnTo>
                        <a:pt x="1368" y="1134"/>
                      </a:lnTo>
                      <a:lnTo>
                        <a:pt x="1368" y="1135"/>
                      </a:lnTo>
                      <a:lnTo>
                        <a:pt x="1369" y="1136"/>
                      </a:lnTo>
                      <a:lnTo>
                        <a:pt x="1369" y="1137"/>
                      </a:lnTo>
                      <a:lnTo>
                        <a:pt x="1369" y="1138"/>
                      </a:lnTo>
                      <a:lnTo>
                        <a:pt x="1368" y="1138"/>
                      </a:lnTo>
                      <a:lnTo>
                        <a:pt x="1367" y="1138"/>
                      </a:lnTo>
                      <a:lnTo>
                        <a:pt x="1368" y="1138"/>
                      </a:lnTo>
                      <a:lnTo>
                        <a:pt x="1368" y="1137"/>
                      </a:lnTo>
                      <a:lnTo>
                        <a:pt x="1368" y="1136"/>
                      </a:lnTo>
                      <a:lnTo>
                        <a:pt x="1368" y="1135"/>
                      </a:lnTo>
                      <a:lnTo>
                        <a:pt x="1368" y="1134"/>
                      </a:lnTo>
                      <a:lnTo>
                        <a:pt x="1367" y="1134"/>
                      </a:lnTo>
                      <a:lnTo>
                        <a:pt x="1368" y="1134"/>
                      </a:lnTo>
                      <a:lnTo>
                        <a:pt x="1368" y="1133"/>
                      </a:lnTo>
                      <a:lnTo>
                        <a:pt x="1369" y="1133"/>
                      </a:lnTo>
                      <a:close/>
                      <a:moveTo>
                        <a:pt x="1328" y="1198"/>
                      </a:moveTo>
                      <a:lnTo>
                        <a:pt x="1327" y="1199"/>
                      </a:lnTo>
                      <a:lnTo>
                        <a:pt x="1327" y="1198"/>
                      </a:lnTo>
                      <a:lnTo>
                        <a:pt x="1327" y="1199"/>
                      </a:lnTo>
                      <a:lnTo>
                        <a:pt x="1326" y="1200"/>
                      </a:lnTo>
                      <a:lnTo>
                        <a:pt x="1325" y="1201"/>
                      </a:lnTo>
                      <a:lnTo>
                        <a:pt x="1324" y="1202"/>
                      </a:lnTo>
                      <a:lnTo>
                        <a:pt x="1322" y="1205"/>
                      </a:lnTo>
                      <a:lnTo>
                        <a:pt x="1322" y="1204"/>
                      </a:lnTo>
                      <a:lnTo>
                        <a:pt x="1323" y="1204"/>
                      </a:lnTo>
                      <a:lnTo>
                        <a:pt x="1323" y="1202"/>
                      </a:lnTo>
                      <a:lnTo>
                        <a:pt x="1324" y="1202"/>
                      </a:lnTo>
                      <a:lnTo>
                        <a:pt x="1324" y="1201"/>
                      </a:lnTo>
                      <a:lnTo>
                        <a:pt x="1325" y="1201"/>
                      </a:lnTo>
                      <a:lnTo>
                        <a:pt x="1326" y="1200"/>
                      </a:lnTo>
                      <a:lnTo>
                        <a:pt x="1326" y="1199"/>
                      </a:lnTo>
                      <a:lnTo>
                        <a:pt x="1327" y="1198"/>
                      </a:lnTo>
                      <a:lnTo>
                        <a:pt x="1328" y="1198"/>
                      </a:lnTo>
                      <a:close/>
                      <a:moveTo>
                        <a:pt x="1360" y="1032"/>
                      </a:moveTo>
                      <a:lnTo>
                        <a:pt x="1358" y="1032"/>
                      </a:lnTo>
                      <a:lnTo>
                        <a:pt x="1358" y="1031"/>
                      </a:lnTo>
                      <a:lnTo>
                        <a:pt x="1358" y="1030"/>
                      </a:lnTo>
                      <a:lnTo>
                        <a:pt x="1360" y="1029"/>
                      </a:lnTo>
                      <a:lnTo>
                        <a:pt x="1360" y="1030"/>
                      </a:lnTo>
                      <a:lnTo>
                        <a:pt x="1360" y="1031"/>
                      </a:lnTo>
                      <a:lnTo>
                        <a:pt x="1360" y="1032"/>
                      </a:lnTo>
                      <a:close/>
                      <a:moveTo>
                        <a:pt x="1340" y="945"/>
                      </a:moveTo>
                      <a:lnTo>
                        <a:pt x="1340" y="947"/>
                      </a:lnTo>
                      <a:lnTo>
                        <a:pt x="1339" y="947"/>
                      </a:lnTo>
                      <a:lnTo>
                        <a:pt x="1339" y="945"/>
                      </a:lnTo>
                      <a:lnTo>
                        <a:pt x="1338" y="945"/>
                      </a:lnTo>
                      <a:lnTo>
                        <a:pt x="1338" y="944"/>
                      </a:lnTo>
                      <a:lnTo>
                        <a:pt x="1339" y="944"/>
                      </a:lnTo>
                      <a:lnTo>
                        <a:pt x="1339" y="943"/>
                      </a:lnTo>
                      <a:lnTo>
                        <a:pt x="1339" y="944"/>
                      </a:lnTo>
                      <a:lnTo>
                        <a:pt x="1340" y="944"/>
                      </a:lnTo>
                      <a:lnTo>
                        <a:pt x="1340" y="945"/>
                      </a:lnTo>
                      <a:close/>
                      <a:moveTo>
                        <a:pt x="1059" y="969"/>
                      </a:moveTo>
                      <a:lnTo>
                        <a:pt x="1059" y="970"/>
                      </a:lnTo>
                      <a:lnTo>
                        <a:pt x="1059" y="971"/>
                      </a:lnTo>
                      <a:lnTo>
                        <a:pt x="1059" y="973"/>
                      </a:lnTo>
                      <a:lnTo>
                        <a:pt x="1058" y="973"/>
                      </a:lnTo>
                      <a:lnTo>
                        <a:pt x="1059" y="973"/>
                      </a:lnTo>
                      <a:lnTo>
                        <a:pt x="1059" y="971"/>
                      </a:lnTo>
                      <a:lnTo>
                        <a:pt x="1059" y="970"/>
                      </a:lnTo>
                      <a:lnTo>
                        <a:pt x="1058" y="970"/>
                      </a:lnTo>
                      <a:lnTo>
                        <a:pt x="1058" y="971"/>
                      </a:lnTo>
                      <a:lnTo>
                        <a:pt x="1057" y="973"/>
                      </a:lnTo>
                      <a:lnTo>
                        <a:pt x="1057" y="974"/>
                      </a:lnTo>
                      <a:lnTo>
                        <a:pt x="1057" y="975"/>
                      </a:lnTo>
                      <a:lnTo>
                        <a:pt x="1057" y="976"/>
                      </a:lnTo>
                      <a:lnTo>
                        <a:pt x="1057" y="977"/>
                      </a:lnTo>
                      <a:lnTo>
                        <a:pt x="1057" y="978"/>
                      </a:lnTo>
                      <a:lnTo>
                        <a:pt x="1058" y="978"/>
                      </a:lnTo>
                      <a:lnTo>
                        <a:pt x="1058" y="979"/>
                      </a:lnTo>
                      <a:lnTo>
                        <a:pt x="1057" y="978"/>
                      </a:lnTo>
                      <a:lnTo>
                        <a:pt x="1056" y="978"/>
                      </a:lnTo>
                      <a:lnTo>
                        <a:pt x="1056" y="977"/>
                      </a:lnTo>
                      <a:lnTo>
                        <a:pt x="1057" y="977"/>
                      </a:lnTo>
                      <a:lnTo>
                        <a:pt x="1057" y="976"/>
                      </a:lnTo>
                      <a:lnTo>
                        <a:pt x="1057" y="975"/>
                      </a:lnTo>
                      <a:lnTo>
                        <a:pt x="1057" y="974"/>
                      </a:lnTo>
                      <a:lnTo>
                        <a:pt x="1057" y="973"/>
                      </a:lnTo>
                      <a:lnTo>
                        <a:pt x="1058" y="971"/>
                      </a:lnTo>
                      <a:lnTo>
                        <a:pt x="1058" y="970"/>
                      </a:lnTo>
                      <a:lnTo>
                        <a:pt x="1058" y="969"/>
                      </a:lnTo>
                      <a:lnTo>
                        <a:pt x="1059" y="969"/>
                      </a:lnTo>
                      <a:close/>
                      <a:moveTo>
                        <a:pt x="1311" y="947"/>
                      </a:moveTo>
                      <a:lnTo>
                        <a:pt x="1312" y="947"/>
                      </a:lnTo>
                      <a:lnTo>
                        <a:pt x="1313" y="947"/>
                      </a:lnTo>
                      <a:lnTo>
                        <a:pt x="1314" y="947"/>
                      </a:lnTo>
                      <a:lnTo>
                        <a:pt x="1314" y="948"/>
                      </a:lnTo>
                      <a:lnTo>
                        <a:pt x="1312" y="948"/>
                      </a:lnTo>
                      <a:lnTo>
                        <a:pt x="1311" y="948"/>
                      </a:lnTo>
                      <a:lnTo>
                        <a:pt x="1311" y="947"/>
                      </a:lnTo>
                      <a:lnTo>
                        <a:pt x="1311" y="948"/>
                      </a:lnTo>
                      <a:lnTo>
                        <a:pt x="1310" y="948"/>
                      </a:lnTo>
                      <a:lnTo>
                        <a:pt x="1310" y="947"/>
                      </a:lnTo>
                      <a:lnTo>
                        <a:pt x="1311" y="947"/>
                      </a:lnTo>
                      <a:close/>
                      <a:moveTo>
                        <a:pt x="1047" y="981"/>
                      </a:moveTo>
                      <a:lnTo>
                        <a:pt x="1046" y="981"/>
                      </a:lnTo>
                      <a:lnTo>
                        <a:pt x="1046" y="982"/>
                      </a:lnTo>
                      <a:lnTo>
                        <a:pt x="1045" y="982"/>
                      </a:lnTo>
                      <a:lnTo>
                        <a:pt x="1045" y="983"/>
                      </a:lnTo>
                      <a:lnTo>
                        <a:pt x="1044" y="983"/>
                      </a:lnTo>
                      <a:lnTo>
                        <a:pt x="1044" y="984"/>
                      </a:lnTo>
                      <a:lnTo>
                        <a:pt x="1043" y="984"/>
                      </a:lnTo>
                      <a:lnTo>
                        <a:pt x="1044" y="983"/>
                      </a:lnTo>
                      <a:lnTo>
                        <a:pt x="1043" y="983"/>
                      </a:lnTo>
                      <a:lnTo>
                        <a:pt x="1042" y="983"/>
                      </a:lnTo>
                      <a:lnTo>
                        <a:pt x="1044" y="983"/>
                      </a:lnTo>
                      <a:lnTo>
                        <a:pt x="1044" y="982"/>
                      </a:lnTo>
                      <a:lnTo>
                        <a:pt x="1043" y="983"/>
                      </a:lnTo>
                      <a:lnTo>
                        <a:pt x="1044" y="982"/>
                      </a:lnTo>
                      <a:lnTo>
                        <a:pt x="1045" y="981"/>
                      </a:lnTo>
                      <a:lnTo>
                        <a:pt x="1046" y="981"/>
                      </a:lnTo>
                      <a:lnTo>
                        <a:pt x="1047" y="981"/>
                      </a:lnTo>
                      <a:close/>
                      <a:moveTo>
                        <a:pt x="1364" y="1154"/>
                      </a:moveTo>
                      <a:lnTo>
                        <a:pt x="1363" y="1154"/>
                      </a:lnTo>
                      <a:lnTo>
                        <a:pt x="1363" y="1155"/>
                      </a:lnTo>
                      <a:lnTo>
                        <a:pt x="1363" y="1154"/>
                      </a:lnTo>
                      <a:lnTo>
                        <a:pt x="1362" y="1154"/>
                      </a:lnTo>
                      <a:lnTo>
                        <a:pt x="1362" y="1155"/>
                      </a:lnTo>
                      <a:lnTo>
                        <a:pt x="1361" y="1155"/>
                      </a:lnTo>
                      <a:lnTo>
                        <a:pt x="1362" y="1155"/>
                      </a:lnTo>
                      <a:lnTo>
                        <a:pt x="1362" y="1156"/>
                      </a:lnTo>
                      <a:lnTo>
                        <a:pt x="1361" y="1155"/>
                      </a:lnTo>
                      <a:lnTo>
                        <a:pt x="1361" y="1154"/>
                      </a:lnTo>
                      <a:lnTo>
                        <a:pt x="1362" y="1154"/>
                      </a:lnTo>
                      <a:lnTo>
                        <a:pt x="1363" y="1153"/>
                      </a:lnTo>
                      <a:lnTo>
                        <a:pt x="1364" y="1153"/>
                      </a:lnTo>
                      <a:lnTo>
                        <a:pt x="1365" y="1151"/>
                      </a:lnTo>
                      <a:lnTo>
                        <a:pt x="1364" y="1153"/>
                      </a:lnTo>
                      <a:lnTo>
                        <a:pt x="1363" y="1153"/>
                      </a:lnTo>
                      <a:lnTo>
                        <a:pt x="1364" y="1153"/>
                      </a:lnTo>
                      <a:lnTo>
                        <a:pt x="1364" y="1154"/>
                      </a:lnTo>
                      <a:close/>
                      <a:moveTo>
                        <a:pt x="1298" y="947"/>
                      </a:moveTo>
                      <a:lnTo>
                        <a:pt x="1299" y="947"/>
                      </a:lnTo>
                      <a:lnTo>
                        <a:pt x="1300" y="947"/>
                      </a:lnTo>
                      <a:lnTo>
                        <a:pt x="1300" y="948"/>
                      </a:lnTo>
                      <a:lnTo>
                        <a:pt x="1300" y="949"/>
                      </a:lnTo>
                      <a:lnTo>
                        <a:pt x="1300" y="950"/>
                      </a:lnTo>
                      <a:lnTo>
                        <a:pt x="1299" y="949"/>
                      </a:lnTo>
                      <a:lnTo>
                        <a:pt x="1300" y="949"/>
                      </a:lnTo>
                      <a:lnTo>
                        <a:pt x="1300" y="948"/>
                      </a:lnTo>
                      <a:lnTo>
                        <a:pt x="1299" y="948"/>
                      </a:lnTo>
                      <a:lnTo>
                        <a:pt x="1300" y="948"/>
                      </a:lnTo>
                      <a:lnTo>
                        <a:pt x="1299" y="948"/>
                      </a:lnTo>
                      <a:lnTo>
                        <a:pt x="1298" y="948"/>
                      </a:lnTo>
                      <a:lnTo>
                        <a:pt x="1298" y="947"/>
                      </a:lnTo>
                      <a:lnTo>
                        <a:pt x="1298" y="948"/>
                      </a:lnTo>
                      <a:lnTo>
                        <a:pt x="1297" y="948"/>
                      </a:lnTo>
                      <a:lnTo>
                        <a:pt x="1297" y="949"/>
                      </a:lnTo>
                      <a:lnTo>
                        <a:pt x="1298" y="949"/>
                      </a:lnTo>
                      <a:lnTo>
                        <a:pt x="1297" y="949"/>
                      </a:lnTo>
                      <a:lnTo>
                        <a:pt x="1297" y="948"/>
                      </a:lnTo>
                      <a:lnTo>
                        <a:pt x="1296" y="948"/>
                      </a:lnTo>
                      <a:lnTo>
                        <a:pt x="1296" y="947"/>
                      </a:lnTo>
                      <a:lnTo>
                        <a:pt x="1298" y="947"/>
                      </a:lnTo>
                      <a:close/>
                      <a:moveTo>
                        <a:pt x="1064" y="937"/>
                      </a:moveTo>
                      <a:lnTo>
                        <a:pt x="1064" y="938"/>
                      </a:lnTo>
                      <a:lnTo>
                        <a:pt x="1065" y="937"/>
                      </a:lnTo>
                      <a:lnTo>
                        <a:pt x="1065" y="938"/>
                      </a:lnTo>
                      <a:lnTo>
                        <a:pt x="1064" y="938"/>
                      </a:lnTo>
                      <a:lnTo>
                        <a:pt x="1063" y="938"/>
                      </a:lnTo>
                      <a:lnTo>
                        <a:pt x="1063" y="936"/>
                      </a:lnTo>
                      <a:lnTo>
                        <a:pt x="1063" y="935"/>
                      </a:lnTo>
                      <a:lnTo>
                        <a:pt x="1064" y="935"/>
                      </a:lnTo>
                      <a:lnTo>
                        <a:pt x="1064" y="936"/>
                      </a:lnTo>
                      <a:lnTo>
                        <a:pt x="1064" y="937"/>
                      </a:lnTo>
                      <a:close/>
                      <a:moveTo>
                        <a:pt x="1089" y="798"/>
                      </a:moveTo>
                      <a:lnTo>
                        <a:pt x="1090" y="798"/>
                      </a:lnTo>
                      <a:lnTo>
                        <a:pt x="1090" y="799"/>
                      </a:lnTo>
                      <a:lnTo>
                        <a:pt x="1090" y="800"/>
                      </a:lnTo>
                      <a:lnTo>
                        <a:pt x="1090" y="801"/>
                      </a:lnTo>
                      <a:lnTo>
                        <a:pt x="1090" y="800"/>
                      </a:lnTo>
                      <a:lnTo>
                        <a:pt x="1089" y="800"/>
                      </a:lnTo>
                      <a:lnTo>
                        <a:pt x="1089" y="801"/>
                      </a:lnTo>
                      <a:lnTo>
                        <a:pt x="1089" y="800"/>
                      </a:lnTo>
                      <a:lnTo>
                        <a:pt x="1089" y="799"/>
                      </a:lnTo>
                      <a:lnTo>
                        <a:pt x="1087" y="799"/>
                      </a:lnTo>
                      <a:lnTo>
                        <a:pt x="1086" y="799"/>
                      </a:lnTo>
                      <a:lnTo>
                        <a:pt x="1086" y="798"/>
                      </a:lnTo>
                      <a:lnTo>
                        <a:pt x="1087" y="798"/>
                      </a:lnTo>
                      <a:lnTo>
                        <a:pt x="1089" y="798"/>
                      </a:lnTo>
                      <a:close/>
                      <a:moveTo>
                        <a:pt x="1428" y="1132"/>
                      </a:moveTo>
                      <a:lnTo>
                        <a:pt x="1428" y="1133"/>
                      </a:lnTo>
                      <a:lnTo>
                        <a:pt x="1428" y="1134"/>
                      </a:lnTo>
                      <a:lnTo>
                        <a:pt x="1428" y="1133"/>
                      </a:lnTo>
                      <a:lnTo>
                        <a:pt x="1428" y="1134"/>
                      </a:lnTo>
                      <a:lnTo>
                        <a:pt x="1429" y="1134"/>
                      </a:lnTo>
                      <a:lnTo>
                        <a:pt x="1428" y="1134"/>
                      </a:lnTo>
                      <a:lnTo>
                        <a:pt x="1428" y="1135"/>
                      </a:lnTo>
                      <a:lnTo>
                        <a:pt x="1429" y="1135"/>
                      </a:lnTo>
                      <a:lnTo>
                        <a:pt x="1429" y="1134"/>
                      </a:lnTo>
                      <a:lnTo>
                        <a:pt x="1429" y="1135"/>
                      </a:lnTo>
                      <a:lnTo>
                        <a:pt x="1429" y="1136"/>
                      </a:lnTo>
                      <a:lnTo>
                        <a:pt x="1429" y="1135"/>
                      </a:lnTo>
                      <a:lnTo>
                        <a:pt x="1428" y="1135"/>
                      </a:lnTo>
                      <a:lnTo>
                        <a:pt x="1428" y="1134"/>
                      </a:lnTo>
                      <a:lnTo>
                        <a:pt x="1428" y="1133"/>
                      </a:lnTo>
                      <a:lnTo>
                        <a:pt x="1428" y="1132"/>
                      </a:lnTo>
                      <a:lnTo>
                        <a:pt x="1428" y="1131"/>
                      </a:lnTo>
                      <a:lnTo>
                        <a:pt x="1429" y="1132"/>
                      </a:lnTo>
                      <a:lnTo>
                        <a:pt x="1428" y="1132"/>
                      </a:lnTo>
                      <a:close/>
                      <a:moveTo>
                        <a:pt x="1334" y="1069"/>
                      </a:moveTo>
                      <a:lnTo>
                        <a:pt x="1332" y="1069"/>
                      </a:lnTo>
                      <a:lnTo>
                        <a:pt x="1332" y="1068"/>
                      </a:lnTo>
                      <a:lnTo>
                        <a:pt x="1332" y="1067"/>
                      </a:lnTo>
                      <a:lnTo>
                        <a:pt x="1334" y="1067"/>
                      </a:lnTo>
                      <a:lnTo>
                        <a:pt x="1334" y="1068"/>
                      </a:lnTo>
                      <a:lnTo>
                        <a:pt x="1334" y="1069"/>
                      </a:lnTo>
                      <a:close/>
                      <a:moveTo>
                        <a:pt x="1079" y="986"/>
                      </a:moveTo>
                      <a:lnTo>
                        <a:pt x="1080" y="986"/>
                      </a:lnTo>
                      <a:lnTo>
                        <a:pt x="1081" y="986"/>
                      </a:lnTo>
                      <a:lnTo>
                        <a:pt x="1082" y="986"/>
                      </a:lnTo>
                      <a:lnTo>
                        <a:pt x="1081" y="987"/>
                      </a:lnTo>
                      <a:lnTo>
                        <a:pt x="1081" y="988"/>
                      </a:lnTo>
                      <a:lnTo>
                        <a:pt x="1080" y="988"/>
                      </a:lnTo>
                      <a:lnTo>
                        <a:pt x="1079" y="988"/>
                      </a:lnTo>
                      <a:lnTo>
                        <a:pt x="1079" y="987"/>
                      </a:lnTo>
                      <a:lnTo>
                        <a:pt x="1080" y="987"/>
                      </a:lnTo>
                      <a:lnTo>
                        <a:pt x="1080" y="988"/>
                      </a:lnTo>
                      <a:lnTo>
                        <a:pt x="1080" y="987"/>
                      </a:lnTo>
                      <a:lnTo>
                        <a:pt x="1081" y="987"/>
                      </a:lnTo>
                      <a:lnTo>
                        <a:pt x="1080" y="987"/>
                      </a:lnTo>
                      <a:lnTo>
                        <a:pt x="1081" y="987"/>
                      </a:lnTo>
                      <a:lnTo>
                        <a:pt x="1081" y="986"/>
                      </a:lnTo>
                      <a:lnTo>
                        <a:pt x="1080" y="986"/>
                      </a:lnTo>
                      <a:lnTo>
                        <a:pt x="1080" y="987"/>
                      </a:lnTo>
                      <a:lnTo>
                        <a:pt x="1080" y="986"/>
                      </a:lnTo>
                      <a:lnTo>
                        <a:pt x="1079" y="986"/>
                      </a:lnTo>
                      <a:lnTo>
                        <a:pt x="1079" y="987"/>
                      </a:lnTo>
                      <a:lnTo>
                        <a:pt x="1079" y="986"/>
                      </a:lnTo>
                      <a:close/>
                      <a:moveTo>
                        <a:pt x="1072" y="996"/>
                      </a:moveTo>
                      <a:lnTo>
                        <a:pt x="1073" y="996"/>
                      </a:lnTo>
                      <a:lnTo>
                        <a:pt x="1073" y="998"/>
                      </a:lnTo>
                      <a:lnTo>
                        <a:pt x="1074" y="998"/>
                      </a:lnTo>
                      <a:lnTo>
                        <a:pt x="1076" y="998"/>
                      </a:lnTo>
                      <a:lnTo>
                        <a:pt x="1077" y="998"/>
                      </a:lnTo>
                      <a:lnTo>
                        <a:pt x="1077" y="999"/>
                      </a:lnTo>
                      <a:lnTo>
                        <a:pt x="1074" y="999"/>
                      </a:lnTo>
                      <a:lnTo>
                        <a:pt x="1074" y="998"/>
                      </a:lnTo>
                      <a:lnTo>
                        <a:pt x="1073" y="998"/>
                      </a:lnTo>
                      <a:lnTo>
                        <a:pt x="1072" y="998"/>
                      </a:lnTo>
                      <a:lnTo>
                        <a:pt x="1071" y="996"/>
                      </a:lnTo>
                      <a:lnTo>
                        <a:pt x="1072" y="996"/>
                      </a:lnTo>
                      <a:close/>
                      <a:moveTo>
                        <a:pt x="1103" y="980"/>
                      </a:moveTo>
                      <a:lnTo>
                        <a:pt x="1104" y="980"/>
                      </a:lnTo>
                      <a:lnTo>
                        <a:pt x="1103" y="981"/>
                      </a:lnTo>
                      <a:lnTo>
                        <a:pt x="1104" y="981"/>
                      </a:lnTo>
                      <a:lnTo>
                        <a:pt x="1105" y="981"/>
                      </a:lnTo>
                      <a:lnTo>
                        <a:pt x="1106" y="981"/>
                      </a:lnTo>
                      <a:lnTo>
                        <a:pt x="1107" y="981"/>
                      </a:lnTo>
                      <a:lnTo>
                        <a:pt x="1106" y="982"/>
                      </a:lnTo>
                      <a:lnTo>
                        <a:pt x="1105" y="982"/>
                      </a:lnTo>
                      <a:lnTo>
                        <a:pt x="1104" y="982"/>
                      </a:lnTo>
                      <a:lnTo>
                        <a:pt x="1103" y="982"/>
                      </a:lnTo>
                      <a:lnTo>
                        <a:pt x="1103" y="981"/>
                      </a:lnTo>
                      <a:lnTo>
                        <a:pt x="1102" y="981"/>
                      </a:lnTo>
                      <a:lnTo>
                        <a:pt x="1103" y="981"/>
                      </a:lnTo>
                      <a:lnTo>
                        <a:pt x="1103" y="980"/>
                      </a:lnTo>
                      <a:close/>
                      <a:moveTo>
                        <a:pt x="1352" y="1168"/>
                      </a:moveTo>
                      <a:lnTo>
                        <a:pt x="1352" y="1169"/>
                      </a:lnTo>
                      <a:lnTo>
                        <a:pt x="1352" y="1170"/>
                      </a:lnTo>
                      <a:lnTo>
                        <a:pt x="1351" y="1170"/>
                      </a:lnTo>
                      <a:lnTo>
                        <a:pt x="1351" y="1169"/>
                      </a:lnTo>
                      <a:lnTo>
                        <a:pt x="1351" y="1170"/>
                      </a:lnTo>
                      <a:lnTo>
                        <a:pt x="1350" y="1170"/>
                      </a:lnTo>
                      <a:lnTo>
                        <a:pt x="1350" y="1169"/>
                      </a:lnTo>
                      <a:lnTo>
                        <a:pt x="1350" y="1168"/>
                      </a:lnTo>
                      <a:lnTo>
                        <a:pt x="1351" y="1168"/>
                      </a:lnTo>
                      <a:lnTo>
                        <a:pt x="1350" y="1169"/>
                      </a:lnTo>
                      <a:lnTo>
                        <a:pt x="1351" y="1169"/>
                      </a:lnTo>
                      <a:lnTo>
                        <a:pt x="1351" y="1168"/>
                      </a:lnTo>
                      <a:lnTo>
                        <a:pt x="1352" y="1169"/>
                      </a:lnTo>
                      <a:lnTo>
                        <a:pt x="1352" y="1168"/>
                      </a:lnTo>
                      <a:close/>
                      <a:moveTo>
                        <a:pt x="1074" y="981"/>
                      </a:moveTo>
                      <a:lnTo>
                        <a:pt x="1077" y="981"/>
                      </a:lnTo>
                      <a:lnTo>
                        <a:pt x="1079" y="982"/>
                      </a:lnTo>
                      <a:lnTo>
                        <a:pt x="1078" y="983"/>
                      </a:lnTo>
                      <a:lnTo>
                        <a:pt x="1078" y="982"/>
                      </a:lnTo>
                      <a:lnTo>
                        <a:pt x="1077" y="982"/>
                      </a:lnTo>
                      <a:lnTo>
                        <a:pt x="1076" y="982"/>
                      </a:lnTo>
                      <a:lnTo>
                        <a:pt x="1074" y="982"/>
                      </a:lnTo>
                      <a:lnTo>
                        <a:pt x="1076" y="982"/>
                      </a:lnTo>
                      <a:lnTo>
                        <a:pt x="1074" y="981"/>
                      </a:lnTo>
                      <a:lnTo>
                        <a:pt x="1074" y="982"/>
                      </a:lnTo>
                      <a:lnTo>
                        <a:pt x="1074" y="981"/>
                      </a:lnTo>
                      <a:close/>
                      <a:moveTo>
                        <a:pt x="1202" y="1048"/>
                      </a:moveTo>
                      <a:lnTo>
                        <a:pt x="1202" y="1050"/>
                      </a:lnTo>
                      <a:lnTo>
                        <a:pt x="1203" y="1050"/>
                      </a:lnTo>
                      <a:lnTo>
                        <a:pt x="1205" y="1050"/>
                      </a:lnTo>
                      <a:lnTo>
                        <a:pt x="1203" y="1050"/>
                      </a:lnTo>
                      <a:lnTo>
                        <a:pt x="1205" y="1050"/>
                      </a:lnTo>
                      <a:lnTo>
                        <a:pt x="1203" y="1051"/>
                      </a:lnTo>
                      <a:lnTo>
                        <a:pt x="1202" y="1051"/>
                      </a:lnTo>
                      <a:lnTo>
                        <a:pt x="1202" y="1050"/>
                      </a:lnTo>
                      <a:lnTo>
                        <a:pt x="1201" y="1050"/>
                      </a:lnTo>
                      <a:lnTo>
                        <a:pt x="1201" y="1048"/>
                      </a:lnTo>
                      <a:lnTo>
                        <a:pt x="1202" y="1048"/>
                      </a:lnTo>
                      <a:close/>
                      <a:moveTo>
                        <a:pt x="1109" y="815"/>
                      </a:moveTo>
                      <a:lnTo>
                        <a:pt x="1109" y="816"/>
                      </a:lnTo>
                      <a:lnTo>
                        <a:pt x="1108" y="816"/>
                      </a:lnTo>
                      <a:lnTo>
                        <a:pt x="1107" y="816"/>
                      </a:lnTo>
                      <a:lnTo>
                        <a:pt x="1107" y="815"/>
                      </a:lnTo>
                      <a:lnTo>
                        <a:pt x="1106" y="815"/>
                      </a:lnTo>
                      <a:lnTo>
                        <a:pt x="1106" y="814"/>
                      </a:lnTo>
                      <a:lnTo>
                        <a:pt x="1107" y="814"/>
                      </a:lnTo>
                      <a:lnTo>
                        <a:pt x="1108" y="814"/>
                      </a:lnTo>
                      <a:lnTo>
                        <a:pt x="1108" y="815"/>
                      </a:lnTo>
                      <a:lnTo>
                        <a:pt x="1109" y="815"/>
                      </a:lnTo>
                      <a:close/>
                      <a:moveTo>
                        <a:pt x="1361" y="1037"/>
                      </a:moveTo>
                      <a:lnTo>
                        <a:pt x="1362" y="1037"/>
                      </a:lnTo>
                      <a:lnTo>
                        <a:pt x="1361" y="1037"/>
                      </a:lnTo>
                      <a:lnTo>
                        <a:pt x="1361" y="1038"/>
                      </a:lnTo>
                      <a:lnTo>
                        <a:pt x="1362" y="1038"/>
                      </a:lnTo>
                      <a:lnTo>
                        <a:pt x="1361" y="1038"/>
                      </a:lnTo>
                      <a:lnTo>
                        <a:pt x="1360" y="1038"/>
                      </a:lnTo>
                      <a:lnTo>
                        <a:pt x="1360" y="1039"/>
                      </a:lnTo>
                      <a:lnTo>
                        <a:pt x="1360" y="1038"/>
                      </a:lnTo>
                      <a:lnTo>
                        <a:pt x="1360" y="1037"/>
                      </a:lnTo>
                      <a:lnTo>
                        <a:pt x="1361" y="1037"/>
                      </a:lnTo>
                      <a:close/>
                      <a:moveTo>
                        <a:pt x="1155" y="960"/>
                      </a:moveTo>
                      <a:lnTo>
                        <a:pt x="1155" y="961"/>
                      </a:lnTo>
                      <a:lnTo>
                        <a:pt x="1156" y="961"/>
                      </a:lnTo>
                      <a:lnTo>
                        <a:pt x="1155" y="961"/>
                      </a:lnTo>
                      <a:lnTo>
                        <a:pt x="1154" y="961"/>
                      </a:lnTo>
                      <a:lnTo>
                        <a:pt x="1153" y="960"/>
                      </a:lnTo>
                      <a:lnTo>
                        <a:pt x="1154" y="960"/>
                      </a:lnTo>
                      <a:lnTo>
                        <a:pt x="1154" y="958"/>
                      </a:lnTo>
                      <a:lnTo>
                        <a:pt x="1155" y="958"/>
                      </a:lnTo>
                      <a:lnTo>
                        <a:pt x="1155" y="960"/>
                      </a:lnTo>
                      <a:close/>
                      <a:moveTo>
                        <a:pt x="1196" y="922"/>
                      </a:moveTo>
                      <a:lnTo>
                        <a:pt x="1197" y="922"/>
                      </a:lnTo>
                      <a:lnTo>
                        <a:pt x="1198" y="922"/>
                      </a:lnTo>
                      <a:lnTo>
                        <a:pt x="1199" y="923"/>
                      </a:lnTo>
                      <a:lnTo>
                        <a:pt x="1199" y="922"/>
                      </a:lnTo>
                      <a:lnTo>
                        <a:pt x="1199" y="923"/>
                      </a:lnTo>
                      <a:lnTo>
                        <a:pt x="1199" y="924"/>
                      </a:lnTo>
                      <a:lnTo>
                        <a:pt x="1198" y="923"/>
                      </a:lnTo>
                      <a:lnTo>
                        <a:pt x="1197" y="923"/>
                      </a:lnTo>
                      <a:lnTo>
                        <a:pt x="1196" y="923"/>
                      </a:lnTo>
                      <a:lnTo>
                        <a:pt x="1196" y="922"/>
                      </a:lnTo>
                      <a:close/>
                      <a:moveTo>
                        <a:pt x="1276" y="1124"/>
                      </a:moveTo>
                      <a:lnTo>
                        <a:pt x="1275" y="1124"/>
                      </a:lnTo>
                      <a:lnTo>
                        <a:pt x="1276" y="1124"/>
                      </a:lnTo>
                      <a:lnTo>
                        <a:pt x="1276" y="1125"/>
                      </a:lnTo>
                      <a:lnTo>
                        <a:pt x="1276" y="1127"/>
                      </a:lnTo>
                      <a:lnTo>
                        <a:pt x="1276" y="1125"/>
                      </a:lnTo>
                      <a:lnTo>
                        <a:pt x="1277" y="1125"/>
                      </a:lnTo>
                      <a:lnTo>
                        <a:pt x="1277" y="1127"/>
                      </a:lnTo>
                      <a:lnTo>
                        <a:pt x="1276" y="1127"/>
                      </a:lnTo>
                      <a:lnTo>
                        <a:pt x="1275" y="1125"/>
                      </a:lnTo>
                      <a:lnTo>
                        <a:pt x="1275" y="1124"/>
                      </a:lnTo>
                      <a:lnTo>
                        <a:pt x="1274" y="1124"/>
                      </a:lnTo>
                      <a:lnTo>
                        <a:pt x="1275" y="1124"/>
                      </a:lnTo>
                      <a:lnTo>
                        <a:pt x="1274" y="1124"/>
                      </a:lnTo>
                      <a:lnTo>
                        <a:pt x="1274" y="1123"/>
                      </a:lnTo>
                      <a:lnTo>
                        <a:pt x="1275" y="1123"/>
                      </a:lnTo>
                      <a:lnTo>
                        <a:pt x="1276" y="1123"/>
                      </a:lnTo>
                      <a:lnTo>
                        <a:pt x="1276" y="1124"/>
                      </a:lnTo>
                      <a:close/>
                      <a:moveTo>
                        <a:pt x="1328" y="1198"/>
                      </a:moveTo>
                      <a:lnTo>
                        <a:pt x="1328" y="1197"/>
                      </a:lnTo>
                      <a:lnTo>
                        <a:pt x="1329" y="1196"/>
                      </a:lnTo>
                      <a:lnTo>
                        <a:pt x="1329" y="1195"/>
                      </a:lnTo>
                      <a:lnTo>
                        <a:pt x="1330" y="1195"/>
                      </a:lnTo>
                      <a:lnTo>
                        <a:pt x="1330" y="1193"/>
                      </a:lnTo>
                      <a:lnTo>
                        <a:pt x="1331" y="1193"/>
                      </a:lnTo>
                      <a:lnTo>
                        <a:pt x="1331" y="1194"/>
                      </a:lnTo>
                      <a:lnTo>
                        <a:pt x="1330" y="1195"/>
                      </a:lnTo>
                      <a:lnTo>
                        <a:pt x="1329" y="1197"/>
                      </a:lnTo>
                      <a:lnTo>
                        <a:pt x="1328" y="1198"/>
                      </a:lnTo>
                      <a:close/>
                      <a:moveTo>
                        <a:pt x="1437" y="1131"/>
                      </a:moveTo>
                      <a:lnTo>
                        <a:pt x="1438" y="1131"/>
                      </a:lnTo>
                      <a:lnTo>
                        <a:pt x="1437" y="1131"/>
                      </a:lnTo>
                      <a:lnTo>
                        <a:pt x="1438" y="1131"/>
                      </a:lnTo>
                      <a:lnTo>
                        <a:pt x="1438" y="1132"/>
                      </a:lnTo>
                      <a:lnTo>
                        <a:pt x="1437" y="1132"/>
                      </a:lnTo>
                      <a:lnTo>
                        <a:pt x="1438" y="1132"/>
                      </a:lnTo>
                      <a:lnTo>
                        <a:pt x="1437" y="1132"/>
                      </a:lnTo>
                      <a:lnTo>
                        <a:pt x="1437" y="1131"/>
                      </a:lnTo>
                      <a:lnTo>
                        <a:pt x="1437" y="1132"/>
                      </a:lnTo>
                      <a:lnTo>
                        <a:pt x="1435" y="1132"/>
                      </a:lnTo>
                      <a:lnTo>
                        <a:pt x="1435" y="1131"/>
                      </a:lnTo>
                      <a:lnTo>
                        <a:pt x="1435" y="1130"/>
                      </a:lnTo>
                      <a:lnTo>
                        <a:pt x="1435" y="1131"/>
                      </a:lnTo>
                      <a:lnTo>
                        <a:pt x="1435" y="1130"/>
                      </a:lnTo>
                      <a:lnTo>
                        <a:pt x="1437" y="1130"/>
                      </a:lnTo>
                      <a:lnTo>
                        <a:pt x="1437" y="1131"/>
                      </a:lnTo>
                      <a:close/>
                      <a:moveTo>
                        <a:pt x="1287" y="957"/>
                      </a:moveTo>
                      <a:lnTo>
                        <a:pt x="1288" y="957"/>
                      </a:lnTo>
                      <a:lnTo>
                        <a:pt x="1287" y="958"/>
                      </a:lnTo>
                      <a:lnTo>
                        <a:pt x="1287" y="960"/>
                      </a:lnTo>
                      <a:lnTo>
                        <a:pt x="1288" y="960"/>
                      </a:lnTo>
                      <a:lnTo>
                        <a:pt x="1287" y="960"/>
                      </a:lnTo>
                      <a:lnTo>
                        <a:pt x="1286" y="960"/>
                      </a:lnTo>
                      <a:lnTo>
                        <a:pt x="1286" y="958"/>
                      </a:lnTo>
                      <a:lnTo>
                        <a:pt x="1286" y="957"/>
                      </a:lnTo>
                      <a:lnTo>
                        <a:pt x="1285" y="957"/>
                      </a:lnTo>
                      <a:lnTo>
                        <a:pt x="1286" y="957"/>
                      </a:lnTo>
                      <a:lnTo>
                        <a:pt x="1287" y="957"/>
                      </a:lnTo>
                      <a:close/>
                      <a:moveTo>
                        <a:pt x="1420" y="1094"/>
                      </a:moveTo>
                      <a:lnTo>
                        <a:pt x="1419" y="1094"/>
                      </a:lnTo>
                      <a:lnTo>
                        <a:pt x="1420" y="1093"/>
                      </a:lnTo>
                      <a:lnTo>
                        <a:pt x="1420" y="1092"/>
                      </a:lnTo>
                      <a:lnTo>
                        <a:pt x="1422" y="1092"/>
                      </a:lnTo>
                      <a:lnTo>
                        <a:pt x="1422" y="1093"/>
                      </a:lnTo>
                      <a:lnTo>
                        <a:pt x="1421" y="1093"/>
                      </a:lnTo>
                      <a:lnTo>
                        <a:pt x="1421" y="1094"/>
                      </a:lnTo>
                      <a:lnTo>
                        <a:pt x="1420" y="1094"/>
                      </a:lnTo>
                      <a:close/>
                      <a:moveTo>
                        <a:pt x="1176" y="1040"/>
                      </a:moveTo>
                      <a:lnTo>
                        <a:pt x="1175" y="1041"/>
                      </a:lnTo>
                      <a:lnTo>
                        <a:pt x="1171" y="1040"/>
                      </a:lnTo>
                      <a:lnTo>
                        <a:pt x="1172" y="1040"/>
                      </a:lnTo>
                      <a:lnTo>
                        <a:pt x="1172" y="1041"/>
                      </a:lnTo>
                      <a:lnTo>
                        <a:pt x="1173" y="1041"/>
                      </a:lnTo>
                      <a:lnTo>
                        <a:pt x="1173" y="1040"/>
                      </a:lnTo>
                      <a:lnTo>
                        <a:pt x="1173" y="1041"/>
                      </a:lnTo>
                      <a:lnTo>
                        <a:pt x="1174" y="1041"/>
                      </a:lnTo>
                      <a:lnTo>
                        <a:pt x="1175" y="1040"/>
                      </a:lnTo>
                      <a:lnTo>
                        <a:pt x="1175" y="1041"/>
                      </a:lnTo>
                      <a:lnTo>
                        <a:pt x="1175" y="1040"/>
                      </a:lnTo>
                      <a:lnTo>
                        <a:pt x="1175" y="1039"/>
                      </a:lnTo>
                      <a:lnTo>
                        <a:pt x="1175" y="1038"/>
                      </a:lnTo>
                      <a:lnTo>
                        <a:pt x="1176" y="1039"/>
                      </a:lnTo>
                      <a:lnTo>
                        <a:pt x="1176" y="1040"/>
                      </a:lnTo>
                      <a:close/>
                      <a:moveTo>
                        <a:pt x="1365" y="1130"/>
                      </a:moveTo>
                      <a:lnTo>
                        <a:pt x="1366" y="1130"/>
                      </a:lnTo>
                      <a:lnTo>
                        <a:pt x="1367" y="1130"/>
                      </a:lnTo>
                      <a:lnTo>
                        <a:pt x="1366" y="1130"/>
                      </a:lnTo>
                      <a:lnTo>
                        <a:pt x="1365" y="1130"/>
                      </a:lnTo>
                      <a:lnTo>
                        <a:pt x="1365" y="1131"/>
                      </a:lnTo>
                      <a:lnTo>
                        <a:pt x="1365" y="1132"/>
                      </a:lnTo>
                      <a:lnTo>
                        <a:pt x="1365" y="1131"/>
                      </a:lnTo>
                      <a:lnTo>
                        <a:pt x="1365" y="1132"/>
                      </a:lnTo>
                      <a:lnTo>
                        <a:pt x="1364" y="1133"/>
                      </a:lnTo>
                      <a:lnTo>
                        <a:pt x="1365" y="1133"/>
                      </a:lnTo>
                      <a:lnTo>
                        <a:pt x="1364" y="1133"/>
                      </a:lnTo>
                      <a:lnTo>
                        <a:pt x="1364" y="1134"/>
                      </a:lnTo>
                      <a:lnTo>
                        <a:pt x="1364" y="1135"/>
                      </a:lnTo>
                      <a:lnTo>
                        <a:pt x="1364" y="1136"/>
                      </a:lnTo>
                      <a:lnTo>
                        <a:pt x="1363" y="1136"/>
                      </a:lnTo>
                      <a:lnTo>
                        <a:pt x="1364" y="1135"/>
                      </a:lnTo>
                      <a:lnTo>
                        <a:pt x="1364" y="1134"/>
                      </a:lnTo>
                      <a:lnTo>
                        <a:pt x="1364" y="1133"/>
                      </a:lnTo>
                      <a:lnTo>
                        <a:pt x="1364" y="1132"/>
                      </a:lnTo>
                      <a:lnTo>
                        <a:pt x="1365" y="1131"/>
                      </a:lnTo>
                      <a:lnTo>
                        <a:pt x="1365" y="1130"/>
                      </a:lnTo>
                      <a:close/>
                      <a:moveTo>
                        <a:pt x="1288" y="953"/>
                      </a:moveTo>
                      <a:lnTo>
                        <a:pt x="1288" y="954"/>
                      </a:lnTo>
                      <a:lnTo>
                        <a:pt x="1287" y="954"/>
                      </a:lnTo>
                      <a:lnTo>
                        <a:pt x="1288" y="954"/>
                      </a:lnTo>
                      <a:lnTo>
                        <a:pt x="1288" y="953"/>
                      </a:lnTo>
                      <a:lnTo>
                        <a:pt x="1287" y="953"/>
                      </a:lnTo>
                      <a:lnTo>
                        <a:pt x="1286" y="953"/>
                      </a:lnTo>
                      <a:lnTo>
                        <a:pt x="1286" y="954"/>
                      </a:lnTo>
                      <a:lnTo>
                        <a:pt x="1287" y="954"/>
                      </a:lnTo>
                      <a:lnTo>
                        <a:pt x="1287" y="953"/>
                      </a:lnTo>
                      <a:lnTo>
                        <a:pt x="1287" y="954"/>
                      </a:lnTo>
                      <a:lnTo>
                        <a:pt x="1287" y="953"/>
                      </a:lnTo>
                      <a:lnTo>
                        <a:pt x="1287" y="954"/>
                      </a:lnTo>
                      <a:lnTo>
                        <a:pt x="1286" y="954"/>
                      </a:lnTo>
                      <a:lnTo>
                        <a:pt x="1286" y="955"/>
                      </a:lnTo>
                      <a:lnTo>
                        <a:pt x="1287" y="955"/>
                      </a:lnTo>
                      <a:lnTo>
                        <a:pt x="1287" y="954"/>
                      </a:lnTo>
                      <a:lnTo>
                        <a:pt x="1288" y="954"/>
                      </a:lnTo>
                      <a:lnTo>
                        <a:pt x="1288" y="955"/>
                      </a:lnTo>
                      <a:lnTo>
                        <a:pt x="1288" y="956"/>
                      </a:lnTo>
                      <a:lnTo>
                        <a:pt x="1287" y="956"/>
                      </a:lnTo>
                      <a:lnTo>
                        <a:pt x="1286" y="955"/>
                      </a:lnTo>
                      <a:lnTo>
                        <a:pt x="1286" y="954"/>
                      </a:lnTo>
                      <a:lnTo>
                        <a:pt x="1286" y="953"/>
                      </a:lnTo>
                      <a:lnTo>
                        <a:pt x="1286" y="952"/>
                      </a:lnTo>
                      <a:lnTo>
                        <a:pt x="1286" y="953"/>
                      </a:lnTo>
                      <a:lnTo>
                        <a:pt x="1287" y="953"/>
                      </a:lnTo>
                      <a:lnTo>
                        <a:pt x="1288" y="953"/>
                      </a:lnTo>
                      <a:close/>
                      <a:moveTo>
                        <a:pt x="1428" y="1093"/>
                      </a:moveTo>
                      <a:lnTo>
                        <a:pt x="1427" y="1093"/>
                      </a:lnTo>
                      <a:lnTo>
                        <a:pt x="1427" y="1092"/>
                      </a:lnTo>
                      <a:lnTo>
                        <a:pt x="1427" y="1091"/>
                      </a:lnTo>
                      <a:lnTo>
                        <a:pt x="1428" y="1091"/>
                      </a:lnTo>
                      <a:lnTo>
                        <a:pt x="1429" y="1091"/>
                      </a:lnTo>
                      <a:lnTo>
                        <a:pt x="1428" y="1092"/>
                      </a:lnTo>
                      <a:lnTo>
                        <a:pt x="1428" y="1093"/>
                      </a:lnTo>
                      <a:close/>
                      <a:moveTo>
                        <a:pt x="1180" y="1032"/>
                      </a:moveTo>
                      <a:lnTo>
                        <a:pt x="1180" y="1034"/>
                      </a:lnTo>
                      <a:lnTo>
                        <a:pt x="1180" y="1035"/>
                      </a:lnTo>
                      <a:lnTo>
                        <a:pt x="1179" y="1034"/>
                      </a:lnTo>
                      <a:lnTo>
                        <a:pt x="1180" y="1033"/>
                      </a:lnTo>
                      <a:lnTo>
                        <a:pt x="1179" y="1031"/>
                      </a:lnTo>
                      <a:lnTo>
                        <a:pt x="1180" y="1030"/>
                      </a:lnTo>
                      <a:lnTo>
                        <a:pt x="1180" y="1029"/>
                      </a:lnTo>
                      <a:lnTo>
                        <a:pt x="1181" y="1029"/>
                      </a:lnTo>
                      <a:lnTo>
                        <a:pt x="1180" y="1030"/>
                      </a:lnTo>
                      <a:lnTo>
                        <a:pt x="1180" y="1031"/>
                      </a:lnTo>
                      <a:lnTo>
                        <a:pt x="1180" y="1032"/>
                      </a:lnTo>
                      <a:close/>
                      <a:moveTo>
                        <a:pt x="1109" y="995"/>
                      </a:moveTo>
                      <a:lnTo>
                        <a:pt x="1108" y="995"/>
                      </a:lnTo>
                      <a:lnTo>
                        <a:pt x="1107" y="995"/>
                      </a:lnTo>
                      <a:lnTo>
                        <a:pt x="1106" y="995"/>
                      </a:lnTo>
                      <a:lnTo>
                        <a:pt x="1104" y="995"/>
                      </a:lnTo>
                      <a:lnTo>
                        <a:pt x="1103" y="994"/>
                      </a:lnTo>
                      <a:lnTo>
                        <a:pt x="1104" y="995"/>
                      </a:lnTo>
                      <a:lnTo>
                        <a:pt x="1109" y="995"/>
                      </a:lnTo>
                      <a:close/>
                      <a:moveTo>
                        <a:pt x="1438" y="1072"/>
                      </a:moveTo>
                      <a:lnTo>
                        <a:pt x="1438" y="1073"/>
                      </a:lnTo>
                      <a:lnTo>
                        <a:pt x="1438" y="1074"/>
                      </a:lnTo>
                      <a:lnTo>
                        <a:pt x="1439" y="1074"/>
                      </a:lnTo>
                      <a:lnTo>
                        <a:pt x="1439" y="1076"/>
                      </a:lnTo>
                      <a:lnTo>
                        <a:pt x="1439" y="1074"/>
                      </a:lnTo>
                      <a:lnTo>
                        <a:pt x="1438" y="1074"/>
                      </a:lnTo>
                      <a:lnTo>
                        <a:pt x="1438" y="1073"/>
                      </a:lnTo>
                      <a:lnTo>
                        <a:pt x="1437" y="1072"/>
                      </a:lnTo>
                      <a:lnTo>
                        <a:pt x="1437" y="1073"/>
                      </a:lnTo>
                      <a:lnTo>
                        <a:pt x="1438" y="1074"/>
                      </a:lnTo>
                      <a:lnTo>
                        <a:pt x="1438" y="1076"/>
                      </a:lnTo>
                      <a:lnTo>
                        <a:pt x="1438" y="1077"/>
                      </a:lnTo>
                      <a:lnTo>
                        <a:pt x="1438" y="1078"/>
                      </a:lnTo>
                      <a:lnTo>
                        <a:pt x="1438" y="1077"/>
                      </a:lnTo>
                      <a:lnTo>
                        <a:pt x="1437" y="1073"/>
                      </a:lnTo>
                      <a:lnTo>
                        <a:pt x="1437" y="1072"/>
                      </a:lnTo>
                      <a:lnTo>
                        <a:pt x="1438" y="1072"/>
                      </a:lnTo>
                      <a:close/>
                      <a:moveTo>
                        <a:pt x="1077" y="984"/>
                      </a:moveTo>
                      <a:lnTo>
                        <a:pt x="1078" y="984"/>
                      </a:lnTo>
                      <a:lnTo>
                        <a:pt x="1079" y="984"/>
                      </a:lnTo>
                      <a:lnTo>
                        <a:pt x="1078" y="984"/>
                      </a:lnTo>
                      <a:lnTo>
                        <a:pt x="1078" y="986"/>
                      </a:lnTo>
                      <a:lnTo>
                        <a:pt x="1077" y="986"/>
                      </a:lnTo>
                      <a:lnTo>
                        <a:pt x="1078" y="986"/>
                      </a:lnTo>
                      <a:lnTo>
                        <a:pt x="1077" y="986"/>
                      </a:lnTo>
                      <a:lnTo>
                        <a:pt x="1076" y="986"/>
                      </a:lnTo>
                      <a:lnTo>
                        <a:pt x="1074" y="986"/>
                      </a:lnTo>
                      <a:lnTo>
                        <a:pt x="1076" y="986"/>
                      </a:lnTo>
                      <a:lnTo>
                        <a:pt x="1074" y="986"/>
                      </a:lnTo>
                      <a:lnTo>
                        <a:pt x="1073" y="986"/>
                      </a:lnTo>
                      <a:lnTo>
                        <a:pt x="1073" y="984"/>
                      </a:lnTo>
                      <a:lnTo>
                        <a:pt x="1074" y="984"/>
                      </a:lnTo>
                      <a:lnTo>
                        <a:pt x="1076" y="984"/>
                      </a:lnTo>
                      <a:lnTo>
                        <a:pt x="1077" y="984"/>
                      </a:lnTo>
                      <a:close/>
                      <a:moveTo>
                        <a:pt x="1121" y="950"/>
                      </a:moveTo>
                      <a:lnTo>
                        <a:pt x="1121" y="951"/>
                      </a:lnTo>
                      <a:lnTo>
                        <a:pt x="1120" y="951"/>
                      </a:lnTo>
                      <a:lnTo>
                        <a:pt x="1119" y="950"/>
                      </a:lnTo>
                      <a:lnTo>
                        <a:pt x="1118" y="950"/>
                      </a:lnTo>
                      <a:lnTo>
                        <a:pt x="1119" y="950"/>
                      </a:lnTo>
                      <a:lnTo>
                        <a:pt x="1120" y="950"/>
                      </a:lnTo>
                      <a:lnTo>
                        <a:pt x="1120" y="951"/>
                      </a:lnTo>
                      <a:lnTo>
                        <a:pt x="1120" y="950"/>
                      </a:lnTo>
                      <a:lnTo>
                        <a:pt x="1121" y="950"/>
                      </a:lnTo>
                      <a:lnTo>
                        <a:pt x="1121" y="949"/>
                      </a:lnTo>
                      <a:lnTo>
                        <a:pt x="1121" y="948"/>
                      </a:lnTo>
                      <a:lnTo>
                        <a:pt x="1122" y="949"/>
                      </a:lnTo>
                      <a:lnTo>
                        <a:pt x="1121" y="950"/>
                      </a:lnTo>
                      <a:close/>
                      <a:moveTo>
                        <a:pt x="989" y="989"/>
                      </a:moveTo>
                      <a:lnTo>
                        <a:pt x="988" y="989"/>
                      </a:lnTo>
                      <a:lnTo>
                        <a:pt x="987" y="989"/>
                      </a:lnTo>
                      <a:lnTo>
                        <a:pt x="980" y="989"/>
                      </a:lnTo>
                      <a:lnTo>
                        <a:pt x="988" y="989"/>
                      </a:lnTo>
                      <a:lnTo>
                        <a:pt x="989" y="989"/>
                      </a:lnTo>
                      <a:close/>
                      <a:moveTo>
                        <a:pt x="1195" y="862"/>
                      </a:moveTo>
                      <a:lnTo>
                        <a:pt x="1194" y="862"/>
                      </a:lnTo>
                      <a:lnTo>
                        <a:pt x="1194" y="861"/>
                      </a:lnTo>
                      <a:lnTo>
                        <a:pt x="1194" y="860"/>
                      </a:lnTo>
                      <a:lnTo>
                        <a:pt x="1194" y="861"/>
                      </a:lnTo>
                      <a:lnTo>
                        <a:pt x="1195" y="861"/>
                      </a:lnTo>
                      <a:lnTo>
                        <a:pt x="1196" y="861"/>
                      </a:lnTo>
                      <a:lnTo>
                        <a:pt x="1195" y="862"/>
                      </a:lnTo>
                      <a:close/>
                      <a:moveTo>
                        <a:pt x="1177" y="1038"/>
                      </a:moveTo>
                      <a:lnTo>
                        <a:pt x="1177" y="1039"/>
                      </a:lnTo>
                      <a:lnTo>
                        <a:pt x="1176" y="1039"/>
                      </a:lnTo>
                      <a:lnTo>
                        <a:pt x="1175" y="1037"/>
                      </a:lnTo>
                      <a:lnTo>
                        <a:pt x="1176" y="1039"/>
                      </a:lnTo>
                      <a:lnTo>
                        <a:pt x="1176" y="1038"/>
                      </a:lnTo>
                      <a:lnTo>
                        <a:pt x="1177" y="1038"/>
                      </a:lnTo>
                      <a:lnTo>
                        <a:pt x="1177" y="1037"/>
                      </a:lnTo>
                      <a:lnTo>
                        <a:pt x="1179" y="1037"/>
                      </a:lnTo>
                      <a:lnTo>
                        <a:pt x="1180" y="1035"/>
                      </a:lnTo>
                      <a:lnTo>
                        <a:pt x="1179" y="1035"/>
                      </a:lnTo>
                      <a:lnTo>
                        <a:pt x="1180" y="1035"/>
                      </a:lnTo>
                      <a:lnTo>
                        <a:pt x="1180" y="1037"/>
                      </a:lnTo>
                      <a:lnTo>
                        <a:pt x="1179" y="1038"/>
                      </a:lnTo>
                      <a:lnTo>
                        <a:pt x="1177" y="1038"/>
                      </a:lnTo>
                      <a:close/>
                      <a:moveTo>
                        <a:pt x="1198" y="1044"/>
                      </a:moveTo>
                      <a:lnTo>
                        <a:pt x="1197" y="1045"/>
                      </a:lnTo>
                      <a:lnTo>
                        <a:pt x="1197" y="1044"/>
                      </a:lnTo>
                      <a:lnTo>
                        <a:pt x="1196" y="1044"/>
                      </a:lnTo>
                      <a:lnTo>
                        <a:pt x="1196" y="1045"/>
                      </a:lnTo>
                      <a:lnTo>
                        <a:pt x="1195" y="1045"/>
                      </a:lnTo>
                      <a:lnTo>
                        <a:pt x="1195" y="1046"/>
                      </a:lnTo>
                      <a:lnTo>
                        <a:pt x="1194" y="1047"/>
                      </a:lnTo>
                      <a:lnTo>
                        <a:pt x="1193" y="1046"/>
                      </a:lnTo>
                      <a:lnTo>
                        <a:pt x="1192" y="1046"/>
                      </a:lnTo>
                      <a:lnTo>
                        <a:pt x="1193" y="1046"/>
                      </a:lnTo>
                      <a:lnTo>
                        <a:pt x="1193" y="1045"/>
                      </a:lnTo>
                      <a:lnTo>
                        <a:pt x="1194" y="1045"/>
                      </a:lnTo>
                      <a:lnTo>
                        <a:pt x="1195" y="1045"/>
                      </a:lnTo>
                      <a:lnTo>
                        <a:pt x="1196" y="1045"/>
                      </a:lnTo>
                      <a:lnTo>
                        <a:pt x="1196" y="1044"/>
                      </a:lnTo>
                      <a:lnTo>
                        <a:pt x="1197" y="1044"/>
                      </a:lnTo>
                      <a:lnTo>
                        <a:pt x="1198" y="1044"/>
                      </a:lnTo>
                      <a:close/>
                      <a:moveTo>
                        <a:pt x="1129" y="968"/>
                      </a:moveTo>
                      <a:lnTo>
                        <a:pt x="1128" y="968"/>
                      </a:lnTo>
                      <a:lnTo>
                        <a:pt x="1128" y="969"/>
                      </a:lnTo>
                      <a:lnTo>
                        <a:pt x="1129" y="969"/>
                      </a:lnTo>
                      <a:lnTo>
                        <a:pt x="1130" y="969"/>
                      </a:lnTo>
                      <a:lnTo>
                        <a:pt x="1131" y="969"/>
                      </a:lnTo>
                      <a:lnTo>
                        <a:pt x="1130" y="970"/>
                      </a:lnTo>
                      <a:lnTo>
                        <a:pt x="1129" y="970"/>
                      </a:lnTo>
                      <a:lnTo>
                        <a:pt x="1129" y="969"/>
                      </a:lnTo>
                      <a:lnTo>
                        <a:pt x="1128" y="968"/>
                      </a:lnTo>
                      <a:lnTo>
                        <a:pt x="1129" y="968"/>
                      </a:lnTo>
                      <a:close/>
                      <a:moveTo>
                        <a:pt x="1065" y="983"/>
                      </a:moveTo>
                      <a:lnTo>
                        <a:pt x="1066" y="983"/>
                      </a:lnTo>
                      <a:lnTo>
                        <a:pt x="1066" y="984"/>
                      </a:lnTo>
                      <a:lnTo>
                        <a:pt x="1065" y="984"/>
                      </a:lnTo>
                      <a:lnTo>
                        <a:pt x="1064" y="983"/>
                      </a:lnTo>
                      <a:lnTo>
                        <a:pt x="1065" y="982"/>
                      </a:lnTo>
                      <a:lnTo>
                        <a:pt x="1064" y="983"/>
                      </a:lnTo>
                      <a:lnTo>
                        <a:pt x="1065" y="983"/>
                      </a:lnTo>
                      <a:lnTo>
                        <a:pt x="1065" y="982"/>
                      </a:lnTo>
                      <a:lnTo>
                        <a:pt x="1066" y="982"/>
                      </a:lnTo>
                      <a:lnTo>
                        <a:pt x="1066" y="981"/>
                      </a:lnTo>
                      <a:lnTo>
                        <a:pt x="1066" y="982"/>
                      </a:lnTo>
                      <a:lnTo>
                        <a:pt x="1066" y="983"/>
                      </a:lnTo>
                      <a:lnTo>
                        <a:pt x="1065" y="983"/>
                      </a:lnTo>
                      <a:close/>
                      <a:moveTo>
                        <a:pt x="1195" y="977"/>
                      </a:moveTo>
                      <a:lnTo>
                        <a:pt x="1196" y="978"/>
                      </a:lnTo>
                      <a:lnTo>
                        <a:pt x="1196" y="977"/>
                      </a:lnTo>
                      <a:lnTo>
                        <a:pt x="1196" y="978"/>
                      </a:lnTo>
                      <a:lnTo>
                        <a:pt x="1195" y="978"/>
                      </a:lnTo>
                      <a:lnTo>
                        <a:pt x="1193" y="978"/>
                      </a:lnTo>
                      <a:lnTo>
                        <a:pt x="1192" y="977"/>
                      </a:lnTo>
                      <a:lnTo>
                        <a:pt x="1193" y="977"/>
                      </a:lnTo>
                      <a:lnTo>
                        <a:pt x="1194" y="977"/>
                      </a:lnTo>
                      <a:lnTo>
                        <a:pt x="1195" y="977"/>
                      </a:lnTo>
                      <a:close/>
                      <a:moveTo>
                        <a:pt x="991" y="969"/>
                      </a:moveTo>
                      <a:lnTo>
                        <a:pt x="992" y="969"/>
                      </a:lnTo>
                      <a:lnTo>
                        <a:pt x="992" y="970"/>
                      </a:lnTo>
                      <a:lnTo>
                        <a:pt x="991" y="971"/>
                      </a:lnTo>
                      <a:lnTo>
                        <a:pt x="992" y="971"/>
                      </a:lnTo>
                      <a:lnTo>
                        <a:pt x="991" y="971"/>
                      </a:lnTo>
                      <a:lnTo>
                        <a:pt x="990" y="971"/>
                      </a:lnTo>
                      <a:lnTo>
                        <a:pt x="991" y="971"/>
                      </a:lnTo>
                      <a:lnTo>
                        <a:pt x="991" y="970"/>
                      </a:lnTo>
                      <a:lnTo>
                        <a:pt x="991" y="969"/>
                      </a:lnTo>
                      <a:close/>
                      <a:moveTo>
                        <a:pt x="1419" y="1099"/>
                      </a:moveTo>
                      <a:lnTo>
                        <a:pt x="1420" y="1099"/>
                      </a:lnTo>
                      <a:lnTo>
                        <a:pt x="1420" y="1101"/>
                      </a:lnTo>
                      <a:lnTo>
                        <a:pt x="1419" y="1102"/>
                      </a:lnTo>
                      <a:lnTo>
                        <a:pt x="1418" y="1101"/>
                      </a:lnTo>
                      <a:lnTo>
                        <a:pt x="1419" y="1099"/>
                      </a:lnTo>
                      <a:close/>
                      <a:moveTo>
                        <a:pt x="1285" y="949"/>
                      </a:moveTo>
                      <a:lnTo>
                        <a:pt x="1286" y="949"/>
                      </a:lnTo>
                      <a:lnTo>
                        <a:pt x="1286" y="950"/>
                      </a:lnTo>
                      <a:lnTo>
                        <a:pt x="1287" y="950"/>
                      </a:lnTo>
                      <a:lnTo>
                        <a:pt x="1286" y="950"/>
                      </a:lnTo>
                      <a:lnTo>
                        <a:pt x="1286" y="951"/>
                      </a:lnTo>
                      <a:lnTo>
                        <a:pt x="1286" y="950"/>
                      </a:lnTo>
                      <a:lnTo>
                        <a:pt x="1286" y="951"/>
                      </a:lnTo>
                      <a:lnTo>
                        <a:pt x="1285" y="951"/>
                      </a:lnTo>
                      <a:lnTo>
                        <a:pt x="1285" y="950"/>
                      </a:lnTo>
                      <a:lnTo>
                        <a:pt x="1284" y="950"/>
                      </a:lnTo>
                      <a:lnTo>
                        <a:pt x="1284" y="949"/>
                      </a:lnTo>
                      <a:lnTo>
                        <a:pt x="1284" y="950"/>
                      </a:lnTo>
                      <a:lnTo>
                        <a:pt x="1285" y="950"/>
                      </a:lnTo>
                      <a:lnTo>
                        <a:pt x="1285" y="949"/>
                      </a:lnTo>
                      <a:lnTo>
                        <a:pt x="1285" y="950"/>
                      </a:lnTo>
                      <a:lnTo>
                        <a:pt x="1285" y="949"/>
                      </a:lnTo>
                      <a:close/>
                      <a:moveTo>
                        <a:pt x="1181" y="1030"/>
                      </a:moveTo>
                      <a:lnTo>
                        <a:pt x="1180" y="1031"/>
                      </a:lnTo>
                      <a:lnTo>
                        <a:pt x="1180" y="1032"/>
                      </a:lnTo>
                      <a:lnTo>
                        <a:pt x="1181" y="1032"/>
                      </a:lnTo>
                      <a:lnTo>
                        <a:pt x="1181" y="1033"/>
                      </a:lnTo>
                      <a:lnTo>
                        <a:pt x="1181" y="1034"/>
                      </a:lnTo>
                      <a:lnTo>
                        <a:pt x="1182" y="1034"/>
                      </a:lnTo>
                      <a:lnTo>
                        <a:pt x="1183" y="1034"/>
                      </a:lnTo>
                      <a:lnTo>
                        <a:pt x="1183" y="1033"/>
                      </a:lnTo>
                      <a:lnTo>
                        <a:pt x="1183" y="1034"/>
                      </a:lnTo>
                      <a:lnTo>
                        <a:pt x="1182" y="1034"/>
                      </a:lnTo>
                      <a:lnTo>
                        <a:pt x="1181" y="1034"/>
                      </a:lnTo>
                      <a:lnTo>
                        <a:pt x="1180" y="1033"/>
                      </a:lnTo>
                      <a:lnTo>
                        <a:pt x="1180" y="1032"/>
                      </a:lnTo>
                      <a:lnTo>
                        <a:pt x="1180" y="1031"/>
                      </a:lnTo>
                      <a:lnTo>
                        <a:pt x="1181" y="1030"/>
                      </a:lnTo>
                      <a:close/>
                      <a:moveTo>
                        <a:pt x="1099" y="967"/>
                      </a:moveTo>
                      <a:lnTo>
                        <a:pt x="1098" y="967"/>
                      </a:lnTo>
                      <a:lnTo>
                        <a:pt x="1099" y="966"/>
                      </a:lnTo>
                      <a:lnTo>
                        <a:pt x="1099" y="965"/>
                      </a:lnTo>
                      <a:lnTo>
                        <a:pt x="1098" y="965"/>
                      </a:lnTo>
                      <a:lnTo>
                        <a:pt x="1098" y="964"/>
                      </a:lnTo>
                      <a:lnTo>
                        <a:pt x="1098" y="965"/>
                      </a:lnTo>
                      <a:lnTo>
                        <a:pt x="1099" y="965"/>
                      </a:lnTo>
                      <a:lnTo>
                        <a:pt x="1100" y="965"/>
                      </a:lnTo>
                      <a:lnTo>
                        <a:pt x="1099" y="966"/>
                      </a:lnTo>
                      <a:lnTo>
                        <a:pt x="1099" y="967"/>
                      </a:lnTo>
                      <a:close/>
                      <a:moveTo>
                        <a:pt x="1059" y="991"/>
                      </a:moveTo>
                      <a:lnTo>
                        <a:pt x="1058" y="991"/>
                      </a:lnTo>
                      <a:lnTo>
                        <a:pt x="1058" y="992"/>
                      </a:lnTo>
                      <a:lnTo>
                        <a:pt x="1058" y="993"/>
                      </a:lnTo>
                      <a:lnTo>
                        <a:pt x="1057" y="993"/>
                      </a:lnTo>
                      <a:lnTo>
                        <a:pt x="1057" y="991"/>
                      </a:lnTo>
                      <a:lnTo>
                        <a:pt x="1059" y="991"/>
                      </a:lnTo>
                      <a:close/>
                      <a:moveTo>
                        <a:pt x="1054" y="935"/>
                      </a:moveTo>
                      <a:lnTo>
                        <a:pt x="1057" y="937"/>
                      </a:lnTo>
                      <a:lnTo>
                        <a:pt x="1056" y="937"/>
                      </a:lnTo>
                      <a:lnTo>
                        <a:pt x="1055" y="937"/>
                      </a:lnTo>
                      <a:lnTo>
                        <a:pt x="1055" y="936"/>
                      </a:lnTo>
                      <a:lnTo>
                        <a:pt x="1054" y="937"/>
                      </a:lnTo>
                      <a:lnTo>
                        <a:pt x="1054" y="936"/>
                      </a:lnTo>
                      <a:lnTo>
                        <a:pt x="1054" y="935"/>
                      </a:lnTo>
                      <a:close/>
                      <a:moveTo>
                        <a:pt x="1124" y="837"/>
                      </a:moveTo>
                      <a:lnTo>
                        <a:pt x="1124" y="838"/>
                      </a:lnTo>
                      <a:lnTo>
                        <a:pt x="1125" y="838"/>
                      </a:lnTo>
                      <a:lnTo>
                        <a:pt x="1124" y="838"/>
                      </a:lnTo>
                      <a:lnTo>
                        <a:pt x="1123" y="838"/>
                      </a:lnTo>
                      <a:lnTo>
                        <a:pt x="1122" y="838"/>
                      </a:lnTo>
                      <a:lnTo>
                        <a:pt x="1122" y="837"/>
                      </a:lnTo>
                      <a:lnTo>
                        <a:pt x="1124" y="837"/>
                      </a:lnTo>
                      <a:close/>
                      <a:moveTo>
                        <a:pt x="1102" y="957"/>
                      </a:moveTo>
                      <a:lnTo>
                        <a:pt x="1100" y="958"/>
                      </a:lnTo>
                      <a:lnTo>
                        <a:pt x="1099" y="958"/>
                      </a:lnTo>
                      <a:lnTo>
                        <a:pt x="1097" y="958"/>
                      </a:lnTo>
                      <a:lnTo>
                        <a:pt x="1097" y="957"/>
                      </a:lnTo>
                      <a:lnTo>
                        <a:pt x="1098" y="957"/>
                      </a:lnTo>
                      <a:lnTo>
                        <a:pt x="1098" y="958"/>
                      </a:lnTo>
                      <a:lnTo>
                        <a:pt x="1099" y="958"/>
                      </a:lnTo>
                      <a:lnTo>
                        <a:pt x="1099" y="957"/>
                      </a:lnTo>
                      <a:lnTo>
                        <a:pt x="1100" y="957"/>
                      </a:lnTo>
                      <a:lnTo>
                        <a:pt x="1099" y="957"/>
                      </a:lnTo>
                      <a:lnTo>
                        <a:pt x="1099" y="956"/>
                      </a:lnTo>
                      <a:lnTo>
                        <a:pt x="1100" y="956"/>
                      </a:lnTo>
                      <a:lnTo>
                        <a:pt x="1100" y="957"/>
                      </a:lnTo>
                      <a:lnTo>
                        <a:pt x="1102" y="957"/>
                      </a:lnTo>
                      <a:close/>
                      <a:moveTo>
                        <a:pt x="1355" y="1052"/>
                      </a:moveTo>
                      <a:lnTo>
                        <a:pt x="1356" y="1052"/>
                      </a:lnTo>
                      <a:lnTo>
                        <a:pt x="1356" y="1053"/>
                      </a:lnTo>
                      <a:lnTo>
                        <a:pt x="1355" y="1053"/>
                      </a:lnTo>
                      <a:lnTo>
                        <a:pt x="1354" y="1053"/>
                      </a:lnTo>
                      <a:lnTo>
                        <a:pt x="1355" y="1053"/>
                      </a:lnTo>
                      <a:lnTo>
                        <a:pt x="1354" y="1052"/>
                      </a:lnTo>
                      <a:lnTo>
                        <a:pt x="1355" y="1052"/>
                      </a:lnTo>
                      <a:lnTo>
                        <a:pt x="1354" y="1051"/>
                      </a:lnTo>
                      <a:lnTo>
                        <a:pt x="1355" y="1051"/>
                      </a:lnTo>
                      <a:lnTo>
                        <a:pt x="1355" y="1052"/>
                      </a:lnTo>
                      <a:close/>
                      <a:moveTo>
                        <a:pt x="1277" y="953"/>
                      </a:moveTo>
                      <a:lnTo>
                        <a:pt x="1278" y="953"/>
                      </a:lnTo>
                      <a:lnTo>
                        <a:pt x="1278" y="954"/>
                      </a:lnTo>
                      <a:lnTo>
                        <a:pt x="1278" y="955"/>
                      </a:lnTo>
                      <a:lnTo>
                        <a:pt x="1278" y="956"/>
                      </a:lnTo>
                      <a:lnTo>
                        <a:pt x="1278" y="955"/>
                      </a:lnTo>
                      <a:lnTo>
                        <a:pt x="1277" y="955"/>
                      </a:lnTo>
                      <a:lnTo>
                        <a:pt x="1277" y="954"/>
                      </a:lnTo>
                      <a:lnTo>
                        <a:pt x="1277" y="955"/>
                      </a:lnTo>
                      <a:lnTo>
                        <a:pt x="1277" y="956"/>
                      </a:lnTo>
                      <a:lnTo>
                        <a:pt x="1277" y="955"/>
                      </a:lnTo>
                      <a:lnTo>
                        <a:pt x="1276" y="955"/>
                      </a:lnTo>
                      <a:lnTo>
                        <a:pt x="1277" y="955"/>
                      </a:lnTo>
                      <a:lnTo>
                        <a:pt x="1277" y="954"/>
                      </a:lnTo>
                      <a:lnTo>
                        <a:pt x="1277" y="953"/>
                      </a:lnTo>
                      <a:close/>
                      <a:moveTo>
                        <a:pt x="1140" y="1001"/>
                      </a:moveTo>
                      <a:lnTo>
                        <a:pt x="1138" y="1001"/>
                      </a:lnTo>
                      <a:lnTo>
                        <a:pt x="1136" y="1000"/>
                      </a:lnTo>
                      <a:lnTo>
                        <a:pt x="1136" y="999"/>
                      </a:lnTo>
                      <a:lnTo>
                        <a:pt x="1137" y="999"/>
                      </a:lnTo>
                      <a:lnTo>
                        <a:pt x="1137" y="1000"/>
                      </a:lnTo>
                      <a:lnTo>
                        <a:pt x="1138" y="1000"/>
                      </a:lnTo>
                      <a:lnTo>
                        <a:pt x="1140" y="1001"/>
                      </a:lnTo>
                      <a:close/>
                      <a:moveTo>
                        <a:pt x="1054" y="939"/>
                      </a:moveTo>
                      <a:lnTo>
                        <a:pt x="1053" y="939"/>
                      </a:lnTo>
                      <a:lnTo>
                        <a:pt x="1053" y="940"/>
                      </a:lnTo>
                      <a:lnTo>
                        <a:pt x="1052" y="940"/>
                      </a:lnTo>
                      <a:lnTo>
                        <a:pt x="1052" y="939"/>
                      </a:lnTo>
                      <a:lnTo>
                        <a:pt x="1052" y="938"/>
                      </a:lnTo>
                      <a:lnTo>
                        <a:pt x="1052" y="937"/>
                      </a:lnTo>
                      <a:lnTo>
                        <a:pt x="1053" y="937"/>
                      </a:lnTo>
                      <a:lnTo>
                        <a:pt x="1053" y="938"/>
                      </a:lnTo>
                      <a:lnTo>
                        <a:pt x="1053" y="939"/>
                      </a:lnTo>
                      <a:lnTo>
                        <a:pt x="1054" y="939"/>
                      </a:lnTo>
                      <a:close/>
                      <a:moveTo>
                        <a:pt x="1142" y="983"/>
                      </a:moveTo>
                      <a:lnTo>
                        <a:pt x="1145" y="987"/>
                      </a:lnTo>
                      <a:lnTo>
                        <a:pt x="1144" y="986"/>
                      </a:lnTo>
                      <a:lnTo>
                        <a:pt x="1143" y="986"/>
                      </a:lnTo>
                      <a:lnTo>
                        <a:pt x="1143" y="987"/>
                      </a:lnTo>
                      <a:lnTo>
                        <a:pt x="1143" y="988"/>
                      </a:lnTo>
                      <a:lnTo>
                        <a:pt x="1143" y="987"/>
                      </a:lnTo>
                      <a:lnTo>
                        <a:pt x="1142" y="987"/>
                      </a:lnTo>
                      <a:lnTo>
                        <a:pt x="1143" y="986"/>
                      </a:lnTo>
                      <a:lnTo>
                        <a:pt x="1142" y="986"/>
                      </a:lnTo>
                      <a:lnTo>
                        <a:pt x="1143" y="986"/>
                      </a:lnTo>
                      <a:lnTo>
                        <a:pt x="1143" y="984"/>
                      </a:lnTo>
                      <a:lnTo>
                        <a:pt x="1143" y="983"/>
                      </a:lnTo>
                      <a:lnTo>
                        <a:pt x="1142" y="983"/>
                      </a:lnTo>
                      <a:close/>
                      <a:moveTo>
                        <a:pt x="1083" y="956"/>
                      </a:moveTo>
                      <a:lnTo>
                        <a:pt x="1082" y="956"/>
                      </a:lnTo>
                      <a:lnTo>
                        <a:pt x="1082" y="955"/>
                      </a:lnTo>
                      <a:lnTo>
                        <a:pt x="1081" y="955"/>
                      </a:lnTo>
                      <a:lnTo>
                        <a:pt x="1081" y="954"/>
                      </a:lnTo>
                      <a:lnTo>
                        <a:pt x="1082" y="954"/>
                      </a:lnTo>
                      <a:lnTo>
                        <a:pt x="1082" y="953"/>
                      </a:lnTo>
                      <a:lnTo>
                        <a:pt x="1082" y="954"/>
                      </a:lnTo>
                      <a:lnTo>
                        <a:pt x="1082" y="955"/>
                      </a:lnTo>
                      <a:lnTo>
                        <a:pt x="1083" y="955"/>
                      </a:lnTo>
                      <a:lnTo>
                        <a:pt x="1083" y="956"/>
                      </a:lnTo>
                      <a:close/>
                      <a:moveTo>
                        <a:pt x="1419" y="1118"/>
                      </a:moveTo>
                      <a:lnTo>
                        <a:pt x="1418" y="1118"/>
                      </a:lnTo>
                      <a:lnTo>
                        <a:pt x="1418" y="1119"/>
                      </a:lnTo>
                      <a:lnTo>
                        <a:pt x="1417" y="1119"/>
                      </a:lnTo>
                      <a:lnTo>
                        <a:pt x="1417" y="1118"/>
                      </a:lnTo>
                      <a:lnTo>
                        <a:pt x="1418" y="1118"/>
                      </a:lnTo>
                      <a:lnTo>
                        <a:pt x="1418" y="1117"/>
                      </a:lnTo>
                      <a:lnTo>
                        <a:pt x="1419" y="1117"/>
                      </a:lnTo>
                      <a:lnTo>
                        <a:pt x="1419" y="1118"/>
                      </a:lnTo>
                      <a:close/>
                      <a:moveTo>
                        <a:pt x="1078" y="980"/>
                      </a:moveTo>
                      <a:lnTo>
                        <a:pt x="1078" y="981"/>
                      </a:lnTo>
                      <a:lnTo>
                        <a:pt x="1077" y="981"/>
                      </a:lnTo>
                      <a:lnTo>
                        <a:pt x="1077" y="980"/>
                      </a:lnTo>
                      <a:lnTo>
                        <a:pt x="1077" y="981"/>
                      </a:lnTo>
                      <a:lnTo>
                        <a:pt x="1074" y="981"/>
                      </a:lnTo>
                      <a:lnTo>
                        <a:pt x="1074" y="980"/>
                      </a:lnTo>
                      <a:lnTo>
                        <a:pt x="1078" y="980"/>
                      </a:lnTo>
                      <a:close/>
                      <a:moveTo>
                        <a:pt x="1079" y="986"/>
                      </a:moveTo>
                      <a:lnTo>
                        <a:pt x="1079" y="987"/>
                      </a:lnTo>
                      <a:lnTo>
                        <a:pt x="1079" y="986"/>
                      </a:lnTo>
                      <a:lnTo>
                        <a:pt x="1078" y="986"/>
                      </a:lnTo>
                      <a:lnTo>
                        <a:pt x="1078" y="987"/>
                      </a:lnTo>
                      <a:lnTo>
                        <a:pt x="1078" y="986"/>
                      </a:lnTo>
                      <a:lnTo>
                        <a:pt x="1077" y="986"/>
                      </a:lnTo>
                      <a:lnTo>
                        <a:pt x="1077" y="987"/>
                      </a:lnTo>
                      <a:lnTo>
                        <a:pt x="1078" y="987"/>
                      </a:lnTo>
                      <a:lnTo>
                        <a:pt x="1077" y="987"/>
                      </a:lnTo>
                      <a:lnTo>
                        <a:pt x="1076" y="987"/>
                      </a:lnTo>
                      <a:lnTo>
                        <a:pt x="1076" y="986"/>
                      </a:lnTo>
                      <a:lnTo>
                        <a:pt x="1077" y="986"/>
                      </a:lnTo>
                      <a:lnTo>
                        <a:pt x="1077" y="987"/>
                      </a:lnTo>
                      <a:lnTo>
                        <a:pt x="1077" y="986"/>
                      </a:lnTo>
                      <a:lnTo>
                        <a:pt x="1078" y="986"/>
                      </a:lnTo>
                      <a:lnTo>
                        <a:pt x="1079" y="986"/>
                      </a:lnTo>
                      <a:close/>
                      <a:moveTo>
                        <a:pt x="1161" y="965"/>
                      </a:moveTo>
                      <a:lnTo>
                        <a:pt x="1162" y="965"/>
                      </a:lnTo>
                      <a:lnTo>
                        <a:pt x="1161" y="965"/>
                      </a:lnTo>
                      <a:lnTo>
                        <a:pt x="1161" y="966"/>
                      </a:lnTo>
                      <a:lnTo>
                        <a:pt x="1160" y="966"/>
                      </a:lnTo>
                      <a:lnTo>
                        <a:pt x="1159" y="966"/>
                      </a:lnTo>
                      <a:lnTo>
                        <a:pt x="1159" y="967"/>
                      </a:lnTo>
                      <a:lnTo>
                        <a:pt x="1160" y="967"/>
                      </a:lnTo>
                      <a:lnTo>
                        <a:pt x="1159" y="967"/>
                      </a:lnTo>
                      <a:lnTo>
                        <a:pt x="1159" y="966"/>
                      </a:lnTo>
                      <a:lnTo>
                        <a:pt x="1159" y="965"/>
                      </a:lnTo>
                      <a:lnTo>
                        <a:pt x="1160" y="965"/>
                      </a:lnTo>
                      <a:lnTo>
                        <a:pt x="1160" y="966"/>
                      </a:lnTo>
                      <a:lnTo>
                        <a:pt x="1161" y="966"/>
                      </a:lnTo>
                      <a:lnTo>
                        <a:pt x="1161" y="965"/>
                      </a:lnTo>
                      <a:close/>
                      <a:moveTo>
                        <a:pt x="1109" y="987"/>
                      </a:moveTo>
                      <a:lnTo>
                        <a:pt x="1108" y="987"/>
                      </a:lnTo>
                      <a:lnTo>
                        <a:pt x="1108" y="988"/>
                      </a:lnTo>
                      <a:lnTo>
                        <a:pt x="1107" y="988"/>
                      </a:lnTo>
                      <a:lnTo>
                        <a:pt x="1106" y="987"/>
                      </a:lnTo>
                      <a:lnTo>
                        <a:pt x="1105" y="987"/>
                      </a:lnTo>
                      <a:lnTo>
                        <a:pt x="1105" y="986"/>
                      </a:lnTo>
                      <a:lnTo>
                        <a:pt x="1107" y="987"/>
                      </a:lnTo>
                      <a:lnTo>
                        <a:pt x="1109" y="987"/>
                      </a:lnTo>
                      <a:close/>
                      <a:moveTo>
                        <a:pt x="1364" y="1040"/>
                      </a:moveTo>
                      <a:lnTo>
                        <a:pt x="1364" y="1041"/>
                      </a:lnTo>
                      <a:lnTo>
                        <a:pt x="1364" y="1042"/>
                      </a:lnTo>
                      <a:lnTo>
                        <a:pt x="1365" y="1042"/>
                      </a:lnTo>
                      <a:lnTo>
                        <a:pt x="1364" y="1043"/>
                      </a:lnTo>
                      <a:lnTo>
                        <a:pt x="1363" y="1043"/>
                      </a:lnTo>
                      <a:lnTo>
                        <a:pt x="1363" y="1042"/>
                      </a:lnTo>
                      <a:lnTo>
                        <a:pt x="1364" y="1042"/>
                      </a:lnTo>
                      <a:lnTo>
                        <a:pt x="1364" y="1041"/>
                      </a:lnTo>
                      <a:lnTo>
                        <a:pt x="1364" y="1040"/>
                      </a:lnTo>
                      <a:close/>
                      <a:moveTo>
                        <a:pt x="1361" y="1021"/>
                      </a:moveTo>
                      <a:lnTo>
                        <a:pt x="1360" y="1021"/>
                      </a:lnTo>
                      <a:lnTo>
                        <a:pt x="1360" y="1020"/>
                      </a:lnTo>
                      <a:lnTo>
                        <a:pt x="1361" y="1020"/>
                      </a:lnTo>
                      <a:lnTo>
                        <a:pt x="1361" y="1019"/>
                      </a:lnTo>
                      <a:lnTo>
                        <a:pt x="1362" y="1019"/>
                      </a:lnTo>
                      <a:lnTo>
                        <a:pt x="1362" y="1018"/>
                      </a:lnTo>
                      <a:lnTo>
                        <a:pt x="1362" y="1019"/>
                      </a:lnTo>
                      <a:lnTo>
                        <a:pt x="1361" y="1019"/>
                      </a:lnTo>
                      <a:lnTo>
                        <a:pt x="1361" y="1020"/>
                      </a:lnTo>
                      <a:lnTo>
                        <a:pt x="1361" y="1021"/>
                      </a:lnTo>
                      <a:close/>
                      <a:moveTo>
                        <a:pt x="1168" y="846"/>
                      </a:moveTo>
                      <a:lnTo>
                        <a:pt x="1169" y="846"/>
                      </a:lnTo>
                      <a:lnTo>
                        <a:pt x="1168" y="847"/>
                      </a:lnTo>
                      <a:lnTo>
                        <a:pt x="1169" y="847"/>
                      </a:lnTo>
                      <a:lnTo>
                        <a:pt x="1169" y="848"/>
                      </a:lnTo>
                      <a:lnTo>
                        <a:pt x="1168" y="848"/>
                      </a:lnTo>
                      <a:lnTo>
                        <a:pt x="1168" y="847"/>
                      </a:lnTo>
                      <a:lnTo>
                        <a:pt x="1167" y="846"/>
                      </a:lnTo>
                      <a:lnTo>
                        <a:pt x="1168" y="846"/>
                      </a:lnTo>
                      <a:close/>
                      <a:moveTo>
                        <a:pt x="1035" y="925"/>
                      </a:moveTo>
                      <a:lnTo>
                        <a:pt x="1037" y="925"/>
                      </a:lnTo>
                      <a:lnTo>
                        <a:pt x="1037" y="926"/>
                      </a:lnTo>
                      <a:lnTo>
                        <a:pt x="1038" y="926"/>
                      </a:lnTo>
                      <a:lnTo>
                        <a:pt x="1037" y="927"/>
                      </a:lnTo>
                      <a:lnTo>
                        <a:pt x="1035" y="926"/>
                      </a:lnTo>
                      <a:lnTo>
                        <a:pt x="1035" y="925"/>
                      </a:lnTo>
                      <a:close/>
                      <a:moveTo>
                        <a:pt x="1368" y="1037"/>
                      </a:moveTo>
                      <a:lnTo>
                        <a:pt x="1368" y="1038"/>
                      </a:lnTo>
                      <a:lnTo>
                        <a:pt x="1368" y="1037"/>
                      </a:lnTo>
                      <a:lnTo>
                        <a:pt x="1368" y="1038"/>
                      </a:lnTo>
                      <a:lnTo>
                        <a:pt x="1367" y="1038"/>
                      </a:lnTo>
                      <a:lnTo>
                        <a:pt x="1367" y="1037"/>
                      </a:lnTo>
                      <a:lnTo>
                        <a:pt x="1367" y="1038"/>
                      </a:lnTo>
                      <a:lnTo>
                        <a:pt x="1366" y="1038"/>
                      </a:lnTo>
                      <a:lnTo>
                        <a:pt x="1366" y="1037"/>
                      </a:lnTo>
                      <a:lnTo>
                        <a:pt x="1367" y="1037"/>
                      </a:lnTo>
                      <a:lnTo>
                        <a:pt x="1366" y="1037"/>
                      </a:lnTo>
                      <a:lnTo>
                        <a:pt x="1367" y="1037"/>
                      </a:lnTo>
                      <a:lnTo>
                        <a:pt x="1367" y="1035"/>
                      </a:lnTo>
                      <a:lnTo>
                        <a:pt x="1367" y="1037"/>
                      </a:lnTo>
                      <a:lnTo>
                        <a:pt x="1368" y="1035"/>
                      </a:lnTo>
                      <a:lnTo>
                        <a:pt x="1368" y="1037"/>
                      </a:lnTo>
                      <a:close/>
                      <a:moveTo>
                        <a:pt x="1045" y="947"/>
                      </a:moveTo>
                      <a:lnTo>
                        <a:pt x="1044" y="947"/>
                      </a:lnTo>
                      <a:lnTo>
                        <a:pt x="1044" y="948"/>
                      </a:lnTo>
                      <a:lnTo>
                        <a:pt x="1045" y="948"/>
                      </a:lnTo>
                      <a:lnTo>
                        <a:pt x="1045" y="949"/>
                      </a:lnTo>
                      <a:lnTo>
                        <a:pt x="1044" y="949"/>
                      </a:lnTo>
                      <a:lnTo>
                        <a:pt x="1044" y="948"/>
                      </a:lnTo>
                      <a:lnTo>
                        <a:pt x="1043" y="948"/>
                      </a:lnTo>
                      <a:lnTo>
                        <a:pt x="1043" y="947"/>
                      </a:lnTo>
                      <a:lnTo>
                        <a:pt x="1044" y="947"/>
                      </a:lnTo>
                      <a:lnTo>
                        <a:pt x="1045" y="947"/>
                      </a:lnTo>
                      <a:close/>
                      <a:moveTo>
                        <a:pt x="1074" y="979"/>
                      </a:moveTo>
                      <a:lnTo>
                        <a:pt x="1074" y="980"/>
                      </a:lnTo>
                      <a:lnTo>
                        <a:pt x="1073" y="980"/>
                      </a:lnTo>
                      <a:lnTo>
                        <a:pt x="1072" y="980"/>
                      </a:lnTo>
                      <a:lnTo>
                        <a:pt x="1071" y="980"/>
                      </a:lnTo>
                      <a:lnTo>
                        <a:pt x="1071" y="979"/>
                      </a:lnTo>
                      <a:lnTo>
                        <a:pt x="1072" y="979"/>
                      </a:lnTo>
                      <a:lnTo>
                        <a:pt x="1072" y="980"/>
                      </a:lnTo>
                      <a:lnTo>
                        <a:pt x="1073" y="980"/>
                      </a:lnTo>
                      <a:lnTo>
                        <a:pt x="1073" y="979"/>
                      </a:lnTo>
                      <a:lnTo>
                        <a:pt x="1074" y="979"/>
                      </a:lnTo>
                      <a:lnTo>
                        <a:pt x="1074" y="978"/>
                      </a:lnTo>
                      <a:lnTo>
                        <a:pt x="1074" y="979"/>
                      </a:lnTo>
                      <a:close/>
                      <a:moveTo>
                        <a:pt x="1366" y="1156"/>
                      </a:moveTo>
                      <a:lnTo>
                        <a:pt x="1366" y="1157"/>
                      </a:lnTo>
                      <a:lnTo>
                        <a:pt x="1365" y="1157"/>
                      </a:lnTo>
                      <a:lnTo>
                        <a:pt x="1365" y="1158"/>
                      </a:lnTo>
                      <a:lnTo>
                        <a:pt x="1366" y="1159"/>
                      </a:lnTo>
                      <a:lnTo>
                        <a:pt x="1365" y="1159"/>
                      </a:lnTo>
                      <a:lnTo>
                        <a:pt x="1365" y="1158"/>
                      </a:lnTo>
                      <a:lnTo>
                        <a:pt x="1364" y="1158"/>
                      </a:lnTo>
                      <a:lnTo>
                        <a:pt x="1365" y="1158"/>
                      </a:lnTo>
                      <a:lnTo>
                        <a:pt x="1365" y="1157"/>
                      </a:lnTo>
                      <a:lnTo>
                        <a:pt x="1365" y="1156"/>
                      </a:lnTo>
                      <a:lnTo>
                        <a:pt x="1366" y="1156"/>
                      </a:lnTo>
                      <a:close/>
                      <a:moveTo>
                        <a:pt x="1425" y="1123"/>
                      </a:moveTo>
                      <a:lnTo>
                        <a:pt x="1426" y="1123"/>
                      </a:lnTo>
                      <a:lnTo>
                        <a:pt x="1427" y="1123"/>
                      </a:lnTo>
                      <a:lnTo>
                        <a:pt x="1428" y="1123"/>
                      </a:lnTo>
                      <a:lnTo>
                        <a:pt x="1426" y="1123"/>
                      </a:lnTo>
                      <a:lnTo>
                        <a:pt x="1424" y="1123"/>
                      </a:lnTo>
                      <a:lnTo>
                        <a:pt x="1422" y="1123"/>
                      </a:lnTo>
                      <a:lnTo>
                        <a:pt x="1421" y="1123"/>
                      </a:lnTo>
                      <a:lnTo>
                        <a:pt x="1422" y="1123"/>
                      </a:lnTo>
                      <a:lnTo>
                        <a:pt x="1422" y="1122"/>
                      </a:lnTo>
                      <a:lnTo>
                        <a:pt x="1424" y="1122"/>
                      </a:lnTo>
                      <a:lnTo>
                        <a:pt x="1425" y="1122"/>
                      </a:lnTo>
                      <a:lnTo>
                        <a:pt x="1424" y="1122"/>
                      </a:lnTo>
                      <a:lnTo>
                        <a:pt x="1425" y="1123"/>
                      </a:lnTo>
                      <a:close/>
                      <a:moveTo>
                        <a:pt x="1283" y="953"/>
                      </a:moveTo>
                      <a:lnTo>
                        <a:pt x="1282" y="953"/>
                      </a:lnTo>
                      <a:lnTo>
                        <a:pt x="1280" y="953"/>
                      </a:lnTo>
                      <a:lnTo>
                        <a:pt x="1280" y="952"/>
                      </a:lnTo>
                      <a:lnTo>
                        <a:pt x="1280" y="951"/>
                      </a:lnTo>
                      <a:lnTo>
                        <a:pt x="1282" y="951"/>
                      </a:lnTo>
                      <a:lnTo>
                        <a:pt x="1282" y="952"/>
                      </a:lnTo>
                      <a:lnTo>
                        <a:pt x="1282" y="953"/>
                      </a:lnTo>
                      <a:lnTo>
                        <a:pt x="1283" y="953"/>
                      </a:lnTo>
                      <a:close/>
                      <a:moveTo>
                        <a:pt x="1419" y="1112"/>
                      </a:moveTo>
                      <a:lnTo>
                        <a:pt x="1419" y="1111"/>
                      </a:lnTo>
                      <a:lnTo>
                        <a:pt x="1419" y="1110"/>
                      </a:lnTo>
                      <a:lnTo>
                        <a:pt x="1419" y="1109"/>
                      </a:lnTo>
                      <a:lnTo>
                        <a:pt x="1420" y="1109"/>
                      </a:lnTo>
                      <a:lnTo>
                        <a:pt x="1420" y="1110"/>
                      </a:lnTo>
                      <a:lnTo>
                        <a:pt x="1420" y="1111"/>
                      </a:lnTo>
                      <a:lnTo>
                        <a:pt x="1420" y="1112"/>
                      </a:lnTo>
                      <a:lnTo>
                        <a:pt x="1419" y="1112"/>
                      </a:lnTo>
                      <a:close/>
                      <a:moveTo>
                        <a:pt x="1046" y="926"/>
                      </a:moveTo>
                      <a:lnTo>
                        <a:pt x="1046" y="928"/>
                      </a:lnTo>
                      <a:lnTo>
                        <a:pt x="1046" y="925"/>
                      </a:lnTo>
                      <a:lnTo>
                        <a:pt x="1046" y="924"/>
                      </a:lnTo>
                      <a:lnTo>
                        <a:pt x="1046" y="925"/>
                      </a:lnTo>
                      <a:lnTo>
                        <a:pt x="1046" y="926"/>
                      </a:lnTo>
                      <a:close/>
                      <a:moveTo>
                        <a:pt x="1125" y="939"/>
                      </a:moveTo>
                      <a:lnTo>
                        <a:pt x="1128" y="940"/>
                      </a:lnTo>
                      <a:lnTo>
                        <a:pt x="1126" y="940"/>
                      </a:lnTo>
                      <a:lnTo>
                        <a:pt x="1125" y="940"/>
                      </a:lnTo>
                      <a:lnTo>
                        <a:pt x="1124" y="938"/>
                      </a:lnTo>
                      <a:lnTo>
                        <a:pt x="1125" y="938"/>
                      </a:lnTo>
                      <a:lnTo>
                        <a:pt x="1125" y="939"/>
                      </a:lnTo>
                      <a:close/>
                      <a:moveTo>
                        <a:pt x="1137" y="978"/>
                      </a:moveTo>
                      <a:lnTo>
                        <a:pt x="1140" y="980"/>
                      </a:lnTo>
                      <a:lnTo>
                        <a:pt x="1141" y="981"/>
                      </a:lnTo>
                      <a:lnTo>
                        <a:pt x="1142" y="982"/>
                      </a:lnTo>
                      <a:lnTo>
                        <a:pt x="1140" y="982"/>
                      </a:lnTo>
                      <a:lnTo>
                        <a:pt x="1141" y="982"/>
                      </a:lnTo>
                      <a:lnTo>
                        <a:pt x="1141" y="981"/>
                      </a:lnTo>
                      <a:lnTo>
                        <a:pt x="1140" y="980"/>
                      </a:lnTo>
                      <a:lnTo>
                        <a:pt x="1138" y="980"/>
                      </a:lnTo>
                      <a:lnTo>
                        <a:pt x="1138" y="979"/>
                      </a:lnTo>
                      <a:lnTo>
                        <a:pt x="1137" y="980"/>
                      </a:lnTo>
                      <a:lnTo>
                        <a:pt x="1137" y="979"/>
                      </a:lnTo>
                      <a:lnTo>
                        <a:pt x="1137" y="978"/>
                      </a:lnTo>
                      <a:lnTo>
                        <a:pt x="1136" y="978"/>
                      </a:lnTo>
                      <a:lnTo>
                        <a:pt x="1137" y="978"/>
                      </a:lnTo>
                      <a:close/>
                      <a:moveTo>
                        <a:pt x="1160" y="971"/>
                      </a:moveTo>
                      <a:lnTo>
                        <a:pt x="1160" y="973"/>
                      </a:lnTo>
                      <a:lnTo>
                        <a:pt x="1160" y="971"/>
                      </a:lnTo>
                      <a:lnTo>
                        <a:pt x="1159" y="971"/>
                      </a:lnTo>
                      <a:lnTo>
                        <a:pt x="1159" y="970"/>
                      </a:lnTo>
                      <a:lnTo>
                        <a:pt x="1159" y="969"/>
                      </a:lnTo>
                      <a:lnTo>
                        <a:pt x="1159" y="968"/>
                      </a:lnTo>
                      <a:lnTo>
                        <a:pt x="1160" y="968"/>
                      </a:lnTo>
                      <a:lnTo>
                        <a:pt x="1160" y="969"/>
                      </a:lnTo>
                      <a:lnTo>
                        <a:pt x="1160" y="970"/>
                      </a:lnTo>
                      <a:lnTo>
                        <a:pt x="1160" y="971"/>
                      </a:lnTo>
                      <a:close/>
                      <a:moveTo>
                        <a:pt x="992" y="956"/>
                      </a:moveTo>
                      <a:lnTo>
                        <a:pt x="993" y="956"/>
                      </a:lnTo>
                      <a:lnTo>
                        <a:pt x="993" y="958"/>
                      </a:lnTo>
                      <a:lnTo>
                        <a:pt x="992" y="958"/>
                      </a:lnTo>
                      <a:lnTo>
                        <a:pt x="992" y="956"/>
                      </a:lnTo>
                      <a:close/>
                      <a:moveTo>
                        <a:pt x="1301" y="948"/>
                      </a:moveTo>
                      <a:lnTo>
                        <a:pt x="1301" y="949"/>
                      </a:lnTo>
                      <a:lnTo>
                        <a:pt x="1302" y="948"/>
                      </a:lnTo>
                      <a:lnTo>
                        <a:pt x="1301" y="948"/>
                      </a:lnTo>
                      <a:lnTo>
                        <a:pt x="1302" y="948"/>
                      </a:lnTo>
                      <a:lnTo>
                        <a:pt x="1302" y="949"/>
                      </a:lnTo>
                      <a:lnTo>
                        <a:pt x="1301" y="949"/>
                      </a:lnTo>
                      <a:lnTo>
                        <a:pt x="1301" y="950"/>
                      </a:lnTo>
                      <a:lnTo>
                        <a:pt x="1300" y="950"/>
                      </a:lnTo>
                      <a:lnTo>
                        <a:pt x="1300" y="949"/>
                      </a:lnTo>
                      <a:lnTo>
                        <a:pt x="1300" y="948"/>
                      </a:lnTo>
                      <a:lnTo>
                        <a:pt x="1301" y="948"/>
                      </a:lnTo>
                      <a:close/>
                      <a:moveTo>
                        <a:pt x="1067" y="991"/>
                      </a:moveTo>
                      <a:lnTo>
                        <a:pt x="1067" y="992"/>
                      </a:lnTo>
                      <a:lnTo>
                        <a:pt x="1064" y="991"/>
                      </a:lnTo>
                      <a:lnTo>
                        <a:pt x="1063" y="991"/>
                      </a:lnTo>
                      <a:lnTo>
                        <a:pt x="1064" y="991"/>
                      </a:lnTo>
                      <a:lnTo>
                        <a:pt x="1067" y="991"/>
                      </a:lnTo>
                      <a:close/>
                      <a:moveTo>
                        <a:pt x="1417" y="1099"/>
                      </a:moveTo>
                      <a:lnTo>
                        <a:pt x="1419" y="1099"/>
                      </a:lnTo>
                      <a:lnTo>
                        <a:pt x="1419" y="1102"/>
                      </a:lnTo>
                      <a:lnTo>
                        <a:pt x="1417" y="1102"/>
                      </a:lnTo>
                      <a:lnTo>
                        <a:pt x="1417" y="1099"/>
                      </a:lnTo>
                      <a:close/>
                      <a:moveTo>
                        <a:pt x="1141" y="993"/>
                      </a:moveTo>
                      <a:lnTo>
                        <a:pt x="1140" y="993"/>
                      </a:lnTo>
                      <a:lnTo>
                        <a:pt x="1138" y="992"/>
                      </a:lnTo>
                      <a:lnTo>
                        <a:pt x="1140" y="992"/>
                      </a:lnTo>
                      <a:lnTo>
                        <a:pt x="1142" y="993"/>
                      </a:lnTo>
                      <a:lnTo>
                        <a:pt x="1141" y="993"/>
                      </a:lnTo>
                      <a:close/>
                      <a:moveTo>
                        <a:pt x="1350" y="1169"/>
                      </a:moveTo>
                      <a:lnTo>
                        <a:pt x="1350" y="1170"/>
                      </a:lnTo>
                      <a:lnTo>
                        <a:pt x="1349" y="1170"/>
                      </a:lnTo>
                      <a:lnTo>
                        <a:pt x="1348" y="1170"/>
                      </a:lnTo>
                      <a:lnTo>
                        <a:pt x="1348" y="1169"/>
                      </a:lnTo>
                      <a:lnTo>
                        <a:pt x="1348" y="1168"/>
                      </a:lnTo>
                      <a:lnTo>
                        <a:pt x="1349" y="1169"/>
                      </a:lnTo>
                      <a:lnTo>
                        <a:pt x="1350" y="1169"/>
                      </a:lnTo>
                      <a:close/>
                      <a:moveTo>
                        <a:pt x="1119" y="970"/>
                      </a:moveTo>
                      <a:lnTo>
                        <a:pt x="1119" y="971"/>
                      </a:lnTo>
                      <a:lnTo>
                        <a:pt x="1118" y="971"/>
                      </a:lnTo>
                      <a:lnTo>
                        <a:pt x="1118" y="970"/>
                      </a:lnTo>
                      <a:lnTo>
                        <a:pt x="1118" y="971"/>
                      </a:lnTo>
                      <a:lnTo>
                        <a:pt x="1116" y="971"/>
                      </a:lnTo>
                      <a:lnTo>
                        <a:pt x="1117" y="971"/>
                      </a:lnTo>
                      <a:lnTo>
                        <a:pt x="1117" y="970"/>
                      </a:lnTo>
                      <a:lnTo>
                        <a:pt x="1118" y="970"/>
                      </a:lnTo>
                      <a:lnTo>
                        <a:pt x="1119" y="970"/>
                      </a:lnTo>
                      <a:close/>
                      <a:moveTo>
                        <a:pt x="1073" y="968"/>
                      </a:moveTo>
                      <a:lnTo>
                        <a:pt x="1073" y="969"/>
                      </a:lnTo>
                      <a:lnTo>
                        <a:pt x="1073" y="970"/>
                      </a:lnTo>
                      <a:lnTo>
                        <a:pt x="1072" y="970"/>
                      </a:lnTo>
                      <a:lnTo>
                        <a:pt x="1072" y="969"/>
                      </a:lnTo>
                      <a:lnTo>
                        <a:pt x="1073" y="969"/>
                      </a:lnTo>
                      <a:lnTo>
                        <a:pt x="1073" y="968"/>
                      </a:lnTo>
                      <a:lnTo>
                        <a:pt x="1072" y="968"/>
                      </a:lnTo>
                      <a:lnTo>
                        <a:pt x="1071" y="968"/>
                      </a:lnTo>
                      <a:lnTo>
                        <a:pt x="1073" y="968"/>
                      </a:lnTo>
                      <a:close/>
                      <a:moveTo>
                        <a:pt x="1012" y="971"/>
                      </a:moveTo>
                      <a:lnTo>
                        <a:pt x="1012" y="973"/>
                      </a:lnTo>
                      <a:lnTo>
                        <a:pt x="1011" y="973"/>
                      </a:lnTo>
                      <a:lnTo>
                        <a:pt x="1009" y="973"/>
                      </a:lnTo>
                      <a:lnTo>
                        <a:pt x="1009" y="971"/>
                      </a:lnTo>
                      <a:lnTo>
                        <a:pt x="1011" y="971"/>
                      </a:lnTo>
                      <a:lnTo>
                        <a:pt x="1012" y="971"/>
                      </a:lnTo>
                      <a:close/>
                      <a:moveTo>
                        <a:pt x="1012" y="956"/>
                      </a:moveTo>
                      <a:lnTo>
                        <a:pt x="1012" y="957"/>
                      </a:lnTo>
                      <a:lnTo>
                        <a:pt x="1011" y="957"/>
                      </a:lnTo>
                      <a:lnTo>
                        <a:pt x="1009" y="957"/>
                      </a:lnTo>
                      <a:lnTo>
                        <a:pt x="1009" y="956"/>
                      </a:lnTo>
                      <a:lnTo>
                        <a:pt x="1011" y="956"/>
                      </a:lnTo>
                      <a:lnTo>
                        <a:pt x="1012" y="956"/>
                      </a:lnTo>
                      <a:lnTo>
                        <a:pt x="1012" y="955"/>
                      </a:lnTo>
                      <a:lnTo>
                        <a:pt x="1012" y="956"/>
                      </a:lnTo>
                      <a:close/>
                      <a:moveTo>
                        <a:pt x="1145" y="1013"/>
                      </a:moveTo>
                      <a:lnTo>
                        <a:pt x="1146" y="1013"/>
                      </a:lnTo>
                      <a:lnTo>
                        <a:pt x="1146" y="1014"/>
                      </a:lnTo>
                      <a:lnTo>
                        <a:pt x="1145" y="1014"/>
                      </a:lnTo>
                      <a:lnTo>
                        <a:pt x="1144" y="1013"/>
                      </a:lnTo>
                      <a:lnTo>
                        <a:pt x="1144" y="1012"/>
                      </a:lnTo>
                      <a:lnTo>
                        <a:pt x="1145" y="1012"/>
                      </a:lnTo>
                      <a:lnTo>
                        <a:pt x="1145" y="1013"/>
                      </a:lnTo>
                      <a:close/>
                      <a:moveTo>
                        <a:pt x="1138" y="966"/>
                      </a:moveTo>
                      <a:lnTo>
                        <a:pt x="1138" y="967"/>
                      </a:lnTo>
                      <a:lnTo>
                        <a:pt x="1138" y="966"/>
                      </a:lnTo>
                      <a:lnTo>
                        <a:pt x="1138" y="967"/>
                      </a:lnTo>
                      <a:lnTo>
                        <a:pt x="1137" y="967"/>
                      </a:lnTo>
                      <a:lnTo>
                        <a:pt x="1137" y="968"/>
                      </a:lnTo>
                      <a:lnTo>
                        <a:pt x="1137" y="967"/>
                      </a:lnTo>
                      <a:lnTo>
                        <a:pt x="1137" y="966"/>
                      </a:lnTo>
                      <a:lnTo>
                        <a:pt x="1137" y="965"/>
                      </a:lnTo>
                      <a:lnTo>
                        <a:pt x="1136" y="965"/>
                      </a:lnTo>
                      <a:lnTo>
                        <a:pt x="1137" y="965"/>
                      </a:lnTo>
                      <a:lnTo>
                        <a:pt x="1138" y="966"/>
                      </a:lnTo>
                      <a:lnTo>
                        <a:pt x="1137" y="966"/>
                      </a:lnTo>
                      <a:lnTo>
                        <a:pt x="1138" y="966"/>
                      </a:lnTo>
                      <a:close/>
                      <a:moveTo>
                        <a:pt x="1117" y="824"/>
                      </a:moveTo>
                      <a:lnTo>
                        <a:pt x="1117" y="825"/>
                      </a:lnTo>
                      <a:lnTo>
                        <a:pt x="1118" y="825"/>
                      </a:lnTo>
                      <a:lnTo>
                        <a:pt x="1117" y="825"/>
                      </a:lnTo>
                      <a:lnTo>
                        <a:pt x="1117" y="824"/>
                      </a:lnTo>
                      <a:lnTo>
                        <a:pt x="1116" y="824"/>
                      </a:lnTo>
                      <a:lnTo>
                        <a:pt x="1116" y="825"/>
                      </a:lnTo>
                      <a:lnTo>
                        <a:pt x="1115" y="825"/>
                      </a:lnTo>
                      <a:lnTo>
                        <a:pt x="1115" y="824"/>
                      </a:lnTo>
                      <a:lnTo>
                        <a:pt x="1116" y="824"/>
                      </a:lnTo>
                      <a:lnTo>
                        <a:pt x="1116" y="823"/>
                      </a:lnTo>
                      <a:lnTo>
                        <a:pt x="1117" y="824"/>
                      </a:lnTo>
                      <a:close/>
                      <a:moveTo>
                        <a:pt x="1116" y="748"/>
                      </a:moveTo>
                      <a:lnTo>
                        <a:pt x="1117" y="749"/>
                      </a:lnTo>
                      <a:lnTo>
                        <a:pt x="1116" y="748"/>
                      </a:lnTo>
                      <a:lnTo>
                        <a:pt x="1115" y="748"/>
                      </a:lnTo>
                      <a:lnTo>
                        <a:pt x="1115" y="747"/>
                      </a:lnTo>
                      <a:lnTo>
                        <a:pt x="1113" y="747"/>
                      </a:lnTo>
                      <a:lnTo>
                        <a:pt x="1115" y="747"/>
                      </a:lnTo>
                      <a:lnTo>
                        <a:pt x="1116" y="747"/>
                      </a:lnTo>
                      <a:lnTo>
                        <a:pt x="1116" y="748"/>
                      </a:lnTo>
                      <a:close/>
                      <a:moveTo>
                        <a:pt x="1209" y="1034"/>
                      </a:moveTo>
                      <a:lnTo>
                        <a:pt x="1209" y="1035"/>
                      </a:lnTo>
                      <a:lnTo>
                        <a:pt x="1209" y="1034"/>
                      </a:lnTo>
                      <a:lnTo>
                        <a:pt x="1208" y="1034"/>
                      </a:lnTo>
                      <a:lnTo>
                        <a:pt x="1208" y="1033"/>
                      </a:lnTo>
                      <a:lnTo>
                        <a:pt x="1209" y="1033"/>
                      </a:lnTo>
                      <a:lnTo>
                        <a:pt x="1209" y="1034"/>
                      </a:lnTo>
                      <a:close/>
                      <a:moveTo>
                        <a:pt x="1297" y="944"/>
                      </a:moveTo>
                      <a:lnTo>
                        <a:pt x="1298" y="944"/>
                      </a:lnTo>
                      <a:lnTo>
                        <a:pt x="1298" y="947"/>
                      </a:lnTo>
                      <a:lnTo>
                        <a:pt x="1297" y="947"/>
                      </a:lnTo>
                      <a:lnTo>
                        <a:pt x="1297" y="944"/>
                      </a:lnTo>
                      <a:close/>
                      <a:moveTo>
                        <a:pt x="1072" y="964"/>
                      </a:moveTo>
                      <a:lnTo>
                        <a:pt x="1072" y="965"/>
                      </a:lnTo>
                      <a:lnTo>
                        <a:pt x="1071" y="965"/>
                      </a:lnTo>
                      <a:lnTo>
                        <a:pt x="1070" y="965"/>
                      </a:lnTo>
                      <a:lnTo>
                        <a:pt x="1070" y="964"/>
                      </a:lnTo>
                      <a:lnTo>
                        <a:pt x="1071" y="964"/>
                      </a:lnTo>
                      <a:lnTo>
                        <a:pt x="1072" y="964"/>
                      </a:lnTo>
                      <a:close/>
                      <a:moveTo>
                        <a:pt x="1159" y="1035"/>
                      </a:moveTo>
                      <a:lnTo>
                        <a:pt x="1159" y="1037"/>
                      </a:lnTo>
                      <a:lnTo>
                        <a:pt x="1160" y="1037"/>
                      </a:lnTo>
                      <a:lnTo>
                        <a:pt x="1161" y="1037"/>
                      </a:lnTo>
                      <a:lnTo>
                        <a:pt x="1161" y="1038"/>
                      </a:lnTo>
                      <a:lnTo>
                        <a:pt x="1162" y="1038"/>
                      </a:lnTo>
                      <a:lnTo>
                        <a:pt x="1157" y="1037"/>
                      </a:lnTo>
                      <a:lnTo>
                        <a:pt x="1157" y="1035"/>
                      </a:lnTo>
                      <a:lnTo>
                        <a:pt x="1158" y="1035"/>
                      </a:lnTo>
                      <a:lnTo>
                        <a:pt x="1159" y="1035"/>
                      </a:lnTo>
                      <a:close/>
                      <a:moveTo>
                        <a:pt x="1193" y="976"/>
                      </a:moveTo>
                      <a:lnTo>
                        <a:pt x="1192" y="977"/>
                      </a:lnTo>
                      <a:lnTo>
                        <a:pt x="1192" y="976"/>
                      </a:lnTo>
                      <a:lnTo>
                        <a:pt x="1190" y="976"/>
                      </a:lnTo>
                      <a:lnTo>
                        <a:pt x="1190" y="975"/>
                      </a:lnTo>
                      <a:lnTo>
                        <a:pt x="1192" y="975"/>
                      </a:lnTo>
                      <a:lnTo>
                        <a:pt x="1193" y="975"/>
                      </a:lnTo>
                      <a:lnTo>
                        <a:pt x="1193" y="976"/>
                      </a:lnTo>
                      <a:close/>
                      <a:moveTo>
                        <a:pt x="1132" y="962"/>
                      </a:moveTo>
                      <a:lnTo>
                        <a:pt x="1132" y="963"/>
                      </a:lnTo>
                      <a:lnTo>
                        <a:pt x="1131" y="962"/>
                      </a:lnTo>
                      <a:lnTo>
                        <a:pt x="1130" y="962"/>
                      </a:lnTo>
                      <a:lnTo>
                        <a:pt x="1131" y="961"/>
                      </a:lnTo>
                      <a:lnTo>
                        <a:pt x="1131" y="962"/>
                      </a:lnTo>
                      <a:lnTo>
                        <a:pt x="1131" y="961"/>
                      </a:lnTo>
                      <a:lnTo>
                        <a:pt x="1132" y="961"/>
                      </a:lnTo>
                      <a:lnTo>
                        <a:pt x="1132" y="962"/>
                      </a:lnTo>
                      <a:close/>
                      <a:moveTo>
                        <a:pt x="1061" y="930"/>
                      </a:moveTo>
                      <a:lnTo>
                        <a:pt x="1061" y="931"/>
                      </a:lnTo>
                      <a:lnTo>
                        <a:pt x="1061" y="934"/>
                      </a:lnTo>
                      <a:lnTo>
                        <a:pt x="1061" y="932"/>
                      </a:lnTo>
                      <a:lnTo>
                        <a:pt x="1061" y="931"/>
                      </a:lnTo>
                      <a:lnTo>
                        <a:pt x="1060" y="931"/>
                      </a:lnTo>
                      <a:lnTo>
                        <a:pt x="1060" y="930"/>
                      </a:lnTo>
                      <a:lnTo>
                        <a:pt x="1061" y="930"/>
                      </a:lnTo>
                      <a:close/>
                      <a:moveTo>
                        <a:pt x="979" y="989"/>
                      </a:moveTo>
                      <a:lnTo>
                        <a:pt x="974" y="989"/>
                      </a:lnTo>
                      <a:lnTo>
                        <a:pt x="980" y="989"/>
                      </a:lnTo>
                      <a:lnTo>
                        <a:pt x="979" y="989"/>
                      </a:lnTo>
                      <a:lnTo>
                        <a:pt x="980" y="989"/>
                      </a:lnTo>
                      <a:lnTo>
                        <a:pt x="979" y="989"/>
                      </a:lnTo>
                      <a:close/>
                      <a:moveTo>
                        <a:pt x="1076" y="987"/>
                      </a:moveTo>
                      <a:lnTo>
                        <a:pt x="1077" y="987"/>
                      </a:lnTo>
                      <a:lnTo>
                        <a:pt x="1078" y="987"/>
                      </a:lnTo>
                      <a:lnTo>
                        <a:pt x="1079" y="988"/>
                      </a:lnTo>
                      <a:lnTo>
                        <a:pt x="1078" y="988"/>
                      </a:lnTo>
                      <a:lnTo>
                        <a:pt x="1078" y="987"/>
                      </a:lnTo>
                      <a:lnTo>
                        <a:pt x="1077" y="988"/>
                      </a:lnTo>
                      <a:lnTo>
                        <a:pt x="1077" y="987"/>
                      </a:lnTo>
                      <a:lnTo>
                        <a:pt x="1076" y="988"/>
                      </a:lnTo>
                      <a:lnTo>
                        <a:pt x="1074" y="988"/>
                      </a:lnTo>
                      <a:lnTo>
                        <a:pt x="1074" y="987"/>
                      </a:lnTo>
                      <a:lnTo>
                        <a:pt x="1076" y="987"/>
                      </a:lnTo>
                      <a:close/>
                      <a:moveTo>
                        <a:pt x="1145" y="942"/>
                      </a:moveTo>
                      <a:lnTo>
                        <a:pt x="1146" y="942"/>
                      </a:lnTo>
                      <a:lnTo>
                        <a:pt x="1146" y="943"/>
                      </a:lnTo>
                      <a:lnTo>
                        <a:pt x="1145" y="943"/>
                      </a:lnTo>
                      <a:lnTo>
                        <a:pt x="1145" y="944"/>
                      </a:lnTo>
                      <a:lnTo>
                        <a:pt x="1144" y="944"/>
                      </a:lnTo>
                      <a:lnTo>
                        <a:pt x="1144" y="943"/>
                      </a:lnTo>
                      <a:lnTo>
                        <a:pt x="1145" y="943"/>
                      </a:lnTo>
                      <a:lnTo>
                        <a:pt x="1144" y="943"/>
                      </a:lnTo>
                      <a:lnTo>
                        <a:pt x="1144" y="942"/>
                      </a:lnTo>
                      <a:lnTo>
                        <a:pt x="1145" y="942"/>
                      </a:lnTo>
                      <a:close/>
                      <a:moveTo>
                        <a:pt x="1357" y="1012"/>
                      </a:moveTo>
                      <a:lnTo>
                        <a:pt x="1360" y="1012"/>
                      </a:lnTo>
                      <a:lnTo>
                        <a:pt x="1360" y="1014"/>
                      </a:lnTo>
                      <a:lnTo>
                        <a:pt x="1357" y="1014"/>
                      </a:lnTo>
                      <a:lnTo>
                        <a:pt x="1357" y="1012"/>
                      </a:lnTo>
                      <a:close/>
                      <a:moveTo>
                        <a:pt x="1066" y="977"/>
                      </a:moveTo>
                      <a:lnTo>
                        <a:pt x="1065" y="977"/>
                      </a:lnTo>
                      <a:lnTo>
                        <a:pt x="1065" y="976"/>
                      </a:lnTo>
                      <a:lnTo>
                        <a:pt x="1065" y="975"/>
                      </a:lnTo>
                      <a:lnTo>
                        <a:pt x="1064" y="974"/>
                      </a:lnTo>
                      <a:lnTo>
                        <a:pt x="1065" y="974"/>
                      </a:lnTo>
                      <a:lnTo>
                        <a:pt x="1065" y="975"/>
                      </a:lnTo>
                      <a:lnTo>
                        <a:pt x="1066" y="976"/>
                      </a:lnTo>
                      <a:lnTo>
                        <a:pt x="1066" y="977"/>
                      </a:lnTo>
                      <a:close/>
                      <a:moveTo>
                        <a:pt x="1428" y="1122"/>
                      </a:moveTo>
                      <a:lnTo>
                        <a:pt x="1427" y="1122"/>
                      </a:lnTo>
                      <a:lnTo>
                        <a:pt x="1427" y="1121"/>
                      </a:lnTo>
                      <a:lnTo>
                        <a:pt x="1427" y="1120"/>
                      </a:lnTo>
                      <a:lnTo>
                        <a:pt x="1428" y="1120"/>
                      </a:lnTo>
                      <a:lnTo>
                        <a:pt x="1428" y="1121"/>
                      </a:lnTo>
                      <a:lnTo>
                        <a:pt x="1428" y="1122"/>
                      </a:lnTo>
                      <a:close/>
                      <a:moveTo>
                        <a:pt x="1358" y="1150"/>
                      </a:moveTo>
                      <a:lnTo>
                        <a:pt x="1360" y="1150"/>
                      </a:lnTo>
                      <a:lnTo>
                        <a:pt x="1360" y="1151"/>
                      </a:lnTo>
                      <a:lnTo>
                        <a:pt x="1360" y="1153"/>
                      </a:lnTo>
                      <a:lnTo>
                        <a:pt x="1360" y="1154"/>
                      </a:lnTo>
                      <a:lnTo>
                        <a:pt x="1357" y="1154"/>
                      </a:lnTo>
                      <a:lnTo>
                        <a:pt x="1358" y="1154"/>
                      </a:lnTo>
                      <a:lnTo>
                        <a:pt x="1360" y="1154"/>
                      </a:lnTo>
                      <a:lnTo>
                        <a:pt x="1360" y="1153"/>
                      </a:lnTo>
                      <a:lnTo>
                        <a:pt x="1360" y="1151"/>
                      </a:lnTo>
                      <a:lnTo>
                        <a:pt x="1358" y="1151"/>
                      </a:lnTo>
                      <a:lnTo>
                        <a:pt x="1358" y="1150"/>
                      </a:lnTo>
                      <a:lnTo>
                        <a:pt x="1357" y="1150"/>
                      </a:lnTo>
                      <a:lnTo>
                        <a:pt x="1358" y="1150"/>
                      </a:lnTo>
                      <a:close/>
                      <a:moveTo>
                        <a:pt x="1158" y="966"/>
                      </a:moveTo>
                      <a:lnTo>
                        <a:pt x="1158" y="967"/>
                      </a:lnTo>
                      <a:lnTo>
                        <a:pt x="1157" y="968"/>
                      </a:lnTo>
                      <a:lnTo>
                        <a:pt x="1157" y="967"/>
                      </a:lnTo>
                      <a:lnTo>
                        <a:pt x="1157" y="966"/>
                      </a:lnTo>
                      <a:lnTo>
                        <a:pt x="1157" y="965"/>
                      </a:lnTo>
                      <a:lnTo>
                        <a:pt x="1156" y="965"/>
                      </a:lnTo>
                      <a:lnTo>
                        <a:pt x="1157" y="964"/>
                      </a:lnTo>
                      <a:lnTo>
                        <a:pt x="1157" y="965"/>
                      </a:lnTo>
                      <a:lnTo>
                        <a:pt x="1158" y="966"/>
                      </a:lnTo>
                      <a:close/>
                      <a:moveTo>
                        <a:pt x="1084" y="952"/>
                      </a:moveTo>
                      <a:lnTo>
                        <a:pt x="1086" y="952"/>
                      </a:lnTo>
                      <a:lnTo>
                        <a:pt x="1086" y="954"/>
                      </a:lnTo>
                      <a:lnTo>
                        <a:pt x="1084" y="954"/>
                      </a:lnTo>
                      <a:lnTo>
                        <a:pt x="1084" y="952"/>
                      </a:lnTo>
                      <a:close/>
                      <a:moveTo>
                        <a:pt x="988" y="992"/>
                      </a:moveTo>
                      <a:lnTo>
                        <a:pt x="989" y="992"/>
                      </a:lnTo>
                      <a:lnTo>
                        <a:pt x="990" y="992"/>
                      </a:lnTo>
                      <a:lnTo>
                        <a:pt x="991" y="992"/>
                      </a:lnTo>
                      <a:lnTo>
                        <a:pt x="991" y="993"/>
                      </a:lnTo>
                      <a:lnTo>
                        <a:pt x="992" y="993"/>
                      </a:lnTo>
                      <a:lnTo>
                        <a:pt x="991" y="993"/>
                      </a:lnTo>
                      <a:lnTo>
                        <a:pt x="992" y="993"/>
                      </a:lnTo>
                      <a:lnTo>
                        <a:pt x="992" y="994"/>
                      </a:lnTo>
                      <a:lnTo>
                        <a:pt x="991" y="993"/>
                      </a:lnTo>
                      <a:lnTo>
                        <a:pt x="990" y="992"/>
                      </a:lnTo>
                      <a:lnTo>
                        <a:pt x="989" y="992"/>
                      </a:lnTo>
                      <a:lnTo>
                        <a:pt x="988" y="992"/>
                      </a:lnTo>
                      <a:close/>
                      <a:moveTo>
                        <a:pt x="1260" y="940"/>
                      </a:moveTo>
                      <a:lnTo>
                        <a:pt x="1261" y="940"/>
                      </a:lnTo>
                      <a:lnTo>
                        <a:pt x="1261" y="941"/>
                      </a:lnTo>
                      <a:lnTo>
                        <a:pt x="1261" y="940"/>
                      </a:lnTo>
                      <a:lnTo>
                        <a:pt x="1261" y="941"/>
                      </a:lnTo>
                      <a:lnTo>
                        <a:pt x="1262" y="941"/>
                      </a:lnTo>
                      <a:lnTo>
                        <a:pt x="1263" y="941"/>
                      </a:lnTo>
                      <a:lnTo>
                        <a:pt x="1263" y="942"/>
                      </a:lnTo>
                      <a:lnTo>
                        <a:pt x="1262" y="942"/>
                      </a:lnTo>
                      <a:lnTo>
                        <a:pt x="1263" y="942"/>
                      </a:lnTo>
                      <a:lnTo>
                        <a:pt x="1262" y="942"/>
                      </a:lnTo>
                      <a:lnTo>
                        <a:pt x="1262" y="941"/>
                      </a:lnTo>
                      <a:lnTo>
                        <a:pt x="1261" y="941"/>
                      </a:lnTo>
                      <a:lnTo>
                        <a:pt x="1260" y="941"/>
                      </a:lnTo>
                      <a:lnTo>
                        <a:pt x="1259" y="941"/>
                      </a:lnTo>
                      <a:lnTo>
                        <a:pt x="1260" y="941"/>
                      </a:lnTo>
                      <a:lnTo>
                        <a:pt x="1260" y="940"/>
                      </a:lnTo>
                      <a:lnTo>
                        <a:pt x="1260" y="941"/>
                      </a:lnTo>
                      <a:lnTo>
                        <a:pt x="1260" y="940"/>
                      </a:lnTo>
                      <a:close/>
                      <a:moveTo>
                        <a:pt x="1151" y="968"/>
                      </a:moveTo>
                      <a:lnTo>
                        <a:pt x="1150" y="968"/>
                      </a:lnTo>
                      <a:lnTo>
                        <a:pt x="1151" y="968"/>
                      </a:lnTo>
                      <a:lnTo>
                        <a:pt x="1153" y="968"/>
                      </a:lnTo>
                      <a:lnTo>
                        <a:pt x="1151" y="968"/>
                      </a:lnTo>
                      <a:lnTo>
                        <a:pt x="1153" y="968"/>
                      </a:lnTo>
                      <a:lnTo>
                        <a:pt x="1149" y="969"/>
                      </a:lnTo>
                      <a:lnTo>
                        <a:pt x="1150" y="968"/>
                      </a:lnTo>
                      <a:lnTo>
                        <a:pt x="1150" y="967"/>
                      </a:lnTo>
                      <a:lnTo>
                        <a:pt x="1151" y="967"/>
                      </a:lnTo>
                      <a:lnTo>
                        <a:pt x="1151" y="968"/>
                      </a:lnTo>
                      <a:lnTo>
                        <a:pt x="1150" y="968"/>
                      </a:lnTo>
                      <a:lnTo>
                        <a:pt x="1151" y="968"/>
                      </a:lnTo>
                      <a:close/>
                      <a:moveTo>
                        <a:pt x="1136" y="1001"/>
                      </a:moveTo>
                      <a:lnTo>
                        <a:pt x="1137" y="1001"/>
                      </a:lnTo>
                      <a:lnTo>
                        <a:pt x="1138" y="1001"/>
                      </a:lnTo>
                      <a:lnTo>
                        <a:pt x="1137" y="1002"/>
                      </a:lnTo>
                      <a:lnTo>
                        <a:pt x="1136" y="1002"/>
                      </a:lnTo>
                      <a:lnTo>
                        <a:pt x="1136" y="1001"/>
                      </a:lnTo>
                      <a:lnTo>
                        <a:pt x="1135" y="1001"/>
                      </a:lnTo>
                      <a:lnTo>
                        <a:pt x="1136" y="1001"/>
                      </a:lnTo>
                      <a:close/>
                      <a:moveTo>
                        <a:pt x="1113" y="970"/>
                      </a:moveTo>
                      <a:lnTo>
                        <a:pt x="1115" y="970"/>
                      </a:lnTo>
                      <a:lnTo>
                        <a:pt x="1113" y="970"/>
                      </a:lnTo>
                      <a:lnTo>
                        <a:pt x="1112" y="970"/>
                      </a:lnTo>
                      <a:lnTo>
                        <a:pt x="1112" y="971"/>
                      </a:lnTo>
                      <a:lnTo>
                        <a:pt x="1113" y="971"/>
                      </a:lnTo>
                      <a:lnTo>
                        <a:pt x="1113" y="970"/>
                      </a:lnTo>
                      <a:lnTo>
                        <a:pt x="1113" y="971"/>
                      </a:lnTo>
                      <a:lnTo>
                        <a:pt x="1115" y="971"/>
                      </a:lnTo>
                      <a:lnTo>
                        <a:pt x="1113" y="971"/>
                      </a:lnTo>
                      <a:lnTo>
                        <a:pt x="1113" y="973"/>
                      </a:lnTo>
                      <a:lnTo>
                        <a:pt x="1112" y="973"/>
                      </a:lnTo>
                      <a:lnTo>
                        <a:pt x="1112" y="971"/>
                      </a:lnTo>
                      <a:lnTo>
                        <a:pt x="1112" y="970"/>
                      </a:lnTo>
                      <a:lnTo>
                        <a:pt x="1113" y="970"/>
                      </a:lnTo>
                      <a:close/>
                      <a:moveTo>
                        <a:pt x="1132" y="1008"/>
                      </a:moveTo>
                      <a:lnTo>
                        <a:pt x="1133" y="1009"/>
                      </a:lnTo>
                      <a:lnTo>
                        <a:pt x="1133" y="1011"/>
                      </a:lnTo>
                      <a:lnTo>
                        <a:pt x="1132" y="1011"/>
                      </a:lnTo>
                      <a:lnTo>
                        <a:pt x="1132" y="1009"/>
                      </a:lnTo>
                      <a:lnTo>
                        <a:pt x="1131" y="1009"/>
                      </a:lnTo>
                      <a:lnTo>
                        <a:pt x="1132" y="1008"/>
                      </a:lnTo>
                      <a:close/>
                      <a:moveTo>
                        <a:pt x="1140" y="982"/>
                      </a:moveTo>
                      <a:lnTo>
                        <a:pt x="1138" y="983"/>
                      </a:lnTo>
                      <a:lnTo>
                        <a:pt x="1137" y="983"/>
                      </a:lnTo>
                      <a:lnTo>
                        <a:pt x="1137" y="984"/>
                      </a:lnTo>
                      <a:lnTo>
                        <a:pt x="1136" y="984"/>
                      </a:lnTo>
                      <a:lnTo>
                        <a:pt x="1136" y="983"/>
                      </a:lnTo>
                      <a:lnTo>
                        <a:pt x="1136" y="984"/>
                      </a:lnTo>
                      <a:lnTo>
                        <a:pt x="1136" y="983"/>
                      </a:lnTo>
                      <a:lnTo>
                        <a:pt x="1137" y="983"/>
                      </a:lnTo>
                      <a:lnTo>
                        <a:pt x="1138" y="982"/>
                      </a:lnTo>
                      <a:lnTo>
                        <a:pt x="1140" y="982"/>
                      </a:lnTo>
                      <a:close/>
                      <a:moveTo>
                        <a:pt x="1483" y="1091"/>
                      </a:moveTo>
                      <a:lnTo>
                        <a:pt x="1483" y="1092"/>
                      </a:lnTo>
                      <a:lnTo>
                        <a:pt x="1482" y="1092"/>
                      </a:lnTo>
                      <a:lnTo>
                        <a:pt x="1482" y="1091"/>
                      </a:lnTo>
                      <a:lnTo>
                        <a:pt x="1481" y="1091"/>
                      </a:lnTo>
                      <a:lnTo>
                        <a:pt x="1481" y="1090"/>
                      </a:lnTo>
                      <a:lnTo>
                        <a:pt x="1482" y="1090"/>
                      </a:lnTo>
                      <a:lnTo>
                        <a:pt x="1482" y="1091"/>
                      </a:lnTo>
                      <a:lnTo>
                        <a:pt x="1483" y="1091"/>
                      </a:lnTo>
                      <a:close/>
                      <a:moveTo>
                        <a:pt x="1430" y="1054"/>
                      </a:moveTo>
                      <a:lnTo>
                        <a:pt x="1430" y="1055"/>
                      </a:lnTo>
                      <a:lnTo>
                        <a:pt x="1429" y="1055"/>
                      </a:lnTo>
                      <a:lnTo>
                        <a:pt x="1428" y="1055"/>
                      </a:lnTo>
                      <a:lnTo>
                        <a:pt x="1428" y="1054"/>
                      </a:lnTo>
                      <a:lnTo>
                        <a:pt x="1429" y="1055"/>
                      </a:lnTo>
                      <a:lnTo>
                        <a:pt x="1429" y="1054"/>
                      </a:lnTo>
                      <a:lnTo>
                        <a:pt x="1430" y="1054"/>
                      </a:lnTo>
                      <a:close/>
                      <a:moveTo>
                        <a:pt x="1108" y="966"/>
                      </a:moveTo>
                      <a:lnTo>
                        <a:pt x="1107" y="966"/>
                      </a:lnTo>
                      <a:lnTo>
                        <a:pt x="1107" y="967"/>
                      </a:lnTo>
                      <a:lnTo>
                        <a:pt x="1106" y="967"/>
                      </a:lnTo>
                      <a:lnTo>
                        <a:pt x="1106" y="966"/>
                      </a:lnTo>
                      <a:lnTo>
                        <a:pt x="1107" y="966"/>
                      </a:lnTo>
                      <a:lnTo>
                        <a:pt x="1108" y="966"/>
                      </a:lnTo>
                      <a:lnTo>
                        <a:pt x="1109" y="966"/>
                      </a:lnTo>
                      <a:lnTo>
                        <a:pt x="1108" y="966"/>
                      </a:lnTo>
                      <a:close/>
                      <a:moveTo>
                        <a:pt x="1426" y="1124"/>
                      </a:moveTo>
                      <a:lnTo>
                        <a:pt x="1427" y="1125"/>
                      </a:lnTo>
                      <a:lnTo>
                        <a:pt x="1426" y="1125"/>
                      </a:lnTo>
                      <a:lnTo>
                        <a:pt x="1426" y="1124"/>
                      </a:lnTo>
                      <a:lnTo>
                        <a:pt x="1425" y="1124"/>
                      </a:lnTo>
                      <a:lnTo>
                        <a:pt x="1425" y="1125"/>
                      </a:lnTo>
                      <a:lnTo>
                        <a:pt x="1424" y="1125"/>
                      </a:lnTo>
                      <a:lnTo>
                        <a:pt x="1424" y="1124"/>
                      </a:lnTo>
                      <a:lnTo>
                        <a:pt x="1422" y="1124"/>
                      </a:lnTo>
                      <a:lnTo>
                        <a:pt x="1424" y="1124"/>
                      </a:lnTo>
                      <a:lnTo>
                        <a:pt x="1425" y="1124"/>
                      </a:lnTo>
                      <a:lnTo>
                        <a:pt x="1426" y="1124"/>
                      </a:lnTo>
                      <a:close/>
                      <a:moveTo>
                        <a:pt x="1218" y="1035"/>
                      </a:moveTo>
                      <a:lnTo>
                        <a:pt x="1218" y="1037"/>
                      </a:lnTo>
                      <a:lnTo>
                        <a:pt x="1216" y="1035"/>
                      </a:lnTo>
                      <a:lnTo>
                        <a:pt x="1215" y="1037"/>
                      </a:lnTo>
                      <a:lnTo>
                        <a:pt x="1214" y="1038"/>
                      </a:lnTo>
                      <a:lnTo>
                        <a:pt x="1214" y="1037"/>
                      </a:lnTo>
                      <a:lnTo>
                        <a:pt x="1215" y="1037"/>
                      </a:lnTo>
                      <a:lnTo>
                        <a:pt x="1215" y="1035"/>
                      </a:lnTo>
                      <a:lnTo>
                        <a:pt x="1216" y="1035"/>
                      </a:lnTo>
                      <a:lnTo>
                        <a:pt x="1218" y="1035"/>
                      </a:lnTo>
                      <a:close/>
                      <a:moveTo>
                        <a:pt x="1435" y="1144"/>
                      </a:moveTo>
                      <a:lnTo>
                        <a:pt x="1437" y="1144"/>
                      </a:lnTo>
                      <a:lnTo>
                        <a:pt x="1437" y="1146"/>
                      </a:lnTo>
                      <a:lnTo>
                        <a:pt x="1435" y="1146"/>
                      </a:lnTo>
                      <a:lnTo>
                        <a:pt x="1435" y="1144"/>
                      </a:lnTo>
                      <a:close/>
                      <a:moveTo>
                        <a:pt x="1129" y="857"/>
                      </a:moveTo>
                      <a:lnTo>
                        <a:pt x="1130" y="858"/>
                      </a:lnTo>
                      <a:lnTo>
                        <a:pt x="1130" y="859"/>
                      </a:lnTo>
                      <a:lnTo>
                        <a:pt x="1129" y="859"/>
                      </a:lnTo>
                      <a:lnTo>
                        <a:pt x="1129" y="858"/>
                      </a:lnTo>
                      <a:lnTo>
                        <a:pt x="1128" y="858"/>
                      </a:lnTo>
                      <a:lnTo>
                        <a:pt x="1129" y="858"/>
                      </a:lnTo>
                      <a:lnTo>
                        <a:pt x="1129" y="857"/>
                      </a:lnTo>
                      <a:lnTo>
                        <a:pt x="1128" y="857"/>
                      </a:lnTo>
                      <a:lnTo>
                        <a:pt x="1129" y="857"/>
                      </a:lnTo>
                      <a:close/>
                      <a:moveTo>
                        <a:pt x="1280" y="958"/>
                      </a:moveTo>
                      <a:lnTo>
                        <a:pt x="1280" y="960"/>
                      </a:lnTo>
                      <a:lnTo>
                        <a:pt x="1280" y="961"/>
                      </a:lnTo>
                      <a:lnTo>
                        <a:pt x="1282" y="961"/>
                      </a:lnTo>
                      <a:lnTo>
                        <a:pt x="1280" y="961"/>
                      </a:lnTo>
                      <a:lnTo>
                        <a:pt x="1279" y="960"/>
                      </a:lnTo>
                      <a:lnTo>
                        <a:pt x="1278" y="960"/>
                      </a:lnTo>
                      <a:lnTo>
                        <a:pt x="1279" y="960"/>
                      </a:lnTo>
                      <a:lnTo>
                        <a:pt x="1279" y="958"/>
                      </a:lnTo>
                      <a:lnTo>
                        <a:pt x="1280" y="958"/>
                      </a:lnTo>
                      <a:close/>
                      <a:moveTo>
                        <a:pt x="1196" y="1044"/>
                      </a:moveTo>
                      <a:lnTo>
                        <a:pt x="1197" y="1045"/>
                      </a:lnTo>
                      <a:lnTo>
                        <a:pt x="1196" y="1045"/>
                      </a:lnTo>
                      <a:lnTo>
                        <a:pt x="1196" y="1046"/>
                      </a:lnTo>
                      <a:lnTo>
                        <a:pt x="1195" y="1047"/>
                      </a:lnTo>
                      <a:lnTo>
                        <a:pt x="1195" y="1046"/>
                      </a:lnTo>
                      <a:lnTo>
                        <a:pt x="1195" y="1045"/>
                      </a:lnTo>
                      <a:lnTo>
                        <a:pt x="1196" y="1045"/>
                      </a:lnTo>
                      <a:lnTo>
                        <a:pt x="1196" y="1044"/>
                      </a:lnTo>
                      <a:close/>
                      <a:moveTo>
                        <a:pt x="1286" y="954"/>
                      </a:moveTo>
                      <a:lnTo>
                        <a:pt x="1285" y="954"/>
                      </a:lnTo>
                      <a:lnTo>
                        <a:pt x="1285" y="955"/>
                      </a:lnTo>
                      <a:lnTo>
                        <a:pt x="1284" y="955"/>
                      </a:lnTo>
                      <a:lnTo>
                        <a:pt x="1284" y="954"/>
                      </a:lnTo>
                      <a:lnTo>
                        <a:pt x="1285" y="954"/>
                      </a:lnTo>
                      <a:lnTo>
                        <a:pt x="1285" y="953"/>
                      </a:lnTo>
                      <a:lnTo>
                        <a:pt x="1286" y="953"/>
                      </a:lnTo>
                      <a:lnTo>
                        <a:pt x="1286" y="954"/>
                      </a:lnTo>
                      <a:close/>
                      <a:moveTo>
                        <a:pt x="1448" y="1033"/>
                      </a:moveTo>
                      <a:lnTo>
                        <a:pt x="1450" y="1033"/>
                      </a:lnTo>
                      <a:lnTo>
                        <a:pt x="1450" y="1034"/>
                      </a:lnTo>
                      <a:lnTo>
                        <a:pt x="1448" y="1034"/>
                      </a:lnTo>
                      <a:lnTo>
                        <a:pt x="1448" y="1033"/>
                      </a:lnTo>
                      <a:close/>
                      <a:moveTo>
                        <a:pt x="1079" y="988"/>
                      </a:moveTo>
                      <a:lnTo>
                        <a:pt x="1080" y="989"/>
                      </a:lnTo>
                      <a:lnTo>
                        <a:pt x="1080" y="988"/>
                      </a:lnTo>
                      <a:lnTo>
                        <a:pt x="1080" y="989"/>
                      </a:lnTo>
                      <a:lnTo>
                        <a:pt x="1080" y="990"/>
                      </a:lnTo>
                      <a:lnTo>
                        <a:pt x="1079" y="991"/>
                      </a:lnTo>
                      <a:lnTo>
                        <a:pt x="1079" y="990"/>
                      </a:lnTo>
                      <a:lnTo>
                        <a:pt x="1079" y="989"/>
                      </a:lnTo>
                      <a:lnTo>
                        <a:pt x="1079" y="988"/>
                      </a:lnTo>
                      <a:close/>
                      <a:moveTo>
                        <a:pt x="1111" y="1009"/>
                      </a:moveTo>
                      <a:lnTo>
                        <a:pt x="1110" y="1009"/>
                      </a:lnTo>
                      <a:lnTo>
                        <a:pt x="1110" y="1008"/>
                      </a:lnTo>
                      <a:lnTo>
                        <a:pt x="1110" y="1007"/>
                      </a:lnTo>
                      <a:lnTo>
                        <a:pt x="1111" y="1007"/>
                      </a:lnTo>
                      <a:lnTo>
                        <a:pt x="1111" y="1008"/>
                      </a:lnTo>
                      <a:lnTo>
                        <a:pt x="1111" y="1009"/>
                      </a:lnTo>
                      <a:close/>
                      <a:moveTo>
                        <a:pt x="1415" y="1099"/>
                      </a:moveTo>
                      <a:lnTo>
                        <a:pt x="1416" y="1099"/>
                      </a:lnTo>
                      <a:lnTo>
                        <a:pt x="1416" y="1102"/>
                      </a:lnTo>
                      <a:lnTo>
                        <a:pt x="1415" y="1102"/>
                      </a:lnTo>
                      <a:lnTo>
                        <a:pt x="1415" y="1099"/>
                      </a:lnTo>
                      <a:close/>
                      <a:moveTo>
                        <a:pt x="1167" y="964"/>
                      </a:moveTo>
                      <a:lnTo>
                        <a:pt x="1166" y="964"/>
                      </a:lnTo>
                      <a:lnTo>
                        <a:pt x="1166" y="965"/>
                      </a:lnTo>
                      <a:lnTo>
                        <a:pt x="1166" y="966"/>
                      </a:lnTo>
                      <a:lnTo>
                        <a:pt x="1164" y="966"/>
                      </a:lnTo>
                      <a:lnTo>
                        <a:pt x="1164" y="965"/>
                      </a:lnTo>
                      <a:lnTo>
                        <a:pt x="1166" y="964"/>
                      </a:lnTo>
                      <a:lnTo>
                        <a:pt x="1167" y="964"/>
                      </a:lnTo>
                      <a:close/>
                      <a:moveTo>
                        <a:pt x="1358" y="1156"/>
                      </a:moveTo>
                      <a:lnTo>
                        <a:pt x="1360" y="1156"/>
                      </a:lnTo>
                      <a:lnTo>
                        <a:pt x="1360" y="1158"/>
                      </a:lnTo>
                      <a:lnTo>
                        <a:pt x="1358" y="1158"/>
                      </a:lnTo>
                      <a:lnTo>
                        <a:pt x="1358" y="1156"/>
                      </a:lnTo>
                      <a:close/>
                      <a:moveTo>
                        <a:pt x="1424" y="1129"/>
                      </a:moveTo>
                      <a:lnTo>
                        <a:pt x="1422" y="1129"/>
                      </a:lnTo>
                      <a:lnTo>
                        <a:pt x="1421" y="1129"/>
                      </a:lnTo>
                      <a:lnTo>
                        <a:pt x="1419" y="1129"/>
                      </a:lnTo>
                      <a:lnTo>
                        <a:pt x="1418" y="1129"/>
                      </a:lnTo>
                      <a:lnTo>
                        <a:pt x="1417" y="1129"/>
                      </a:lnTo>
                      <a:lnTo>
                        <a:pt x="1416" y="1129"/>
                      </a:lnTo>
                      <a:lnTo>
                        <a:pt x="1416" y="1128"/>
                      </a:lnTo>
                      <a:lnTo>
                        <a:pt x="1417" y="1128"/>
                      </a:lnTo>
                      <a:lnTo>
                        <a:pt x="1416" y="1128"/>
                      </a:lnTo>
                      <a:lnTo>
                        <a:pt x="1417" y="1129"/>
                      </a:lnTo>
                      <a:lnTo>
                        <a:pt x="1418" y="1129"/>
                      </a:lnTo>
                      <a:lnTo>
                        <a:pt x="1419" y="1129"/>
                      </a:lnTo>
                      <a:lnTo>
                        <a:pt x="1420" y="1129"/>
                      </a:lnTo>
                      <a:lnTo>
                        <a:pt x="1421" y="1129"/>
                      </a:lnTo>
                      <a:lnTo>
                        <a:pt x="1422" y="1129"/>
                      </a:lnTo>
                      <a:lnTo>
                        <a:pt x="1424" y="1129"/>
                      </a:lnTo>
                      <a:lnTo>
                        <a:pt x="1424" y="1128"/>
                      </a:lnTo>
                      <a:lnTo>
                        <a:pt x="1425" y="1127"/>
                      </a:lnTo>
                      <a:lnTo>
                        <a:pt x="1425" y="1128"/>
                      </a:lnTo>
                      <a:lnTo>
                        <a:pt x="1424" y="1129"/>
                      </a:lnTo>
                      <a:close/>
                      <a:moveTo>
                        <a:pt x="1371" y="1144"/>
                      </a:moveTo>
                      <a:lnTo>
                        <a:pt x="1370" y="1144"/>
                      </a:lnTo>
                      <a:lnTo>
                        <a:pt x="1370" y="1145"/>
                      </a:lnTo>
                      <a:lnTo>
                        <a:pt x="1370" y="1144"/>
                      </a:lnTo>
                      <a:lnTo>
                        <a:pt x="1369" y="1144"/>
                      </a:lnTo>
                      <a:lnTo>
                        <a:pt x="1370" y="1144"/>
                      </a:lnTo>
                      <a:lnTo>
                        <a:pt x="1370" y="1143"/>
                      </a:lnTo>
                      <a:lnTo>
                        <a:pt x="1371" y="1143"/>
                      </a:lnTo>
                      <a:lnTo>
                        <a:pt x="1371" y="1144"/>
                      </a:lnTo>
                      <a:close/>
                      <a:moveTo>
                        <a:pt x="1133" y="961"/>
                      </a:moveTo>
                      <a:lnTo>
                        <a:pt x="1134" y="962"/>
                      </a:lnTo>
                      <a:lnTo>
                        <a:pt x="1133" y="962"/>
                      </a:lnTo>
                      <a:lnTo>
                        <a:pt x="1132" y="962"/>
                      </a:lnTo>
                      <a:lnTo>
                        <a:pt x="1132" y="961"/>
                      </a:lnTo>
                      <a:lnTo>
                        <a:pt x="1133" y="961"/>
                      </a:lnTo>
                      <a:lnTo>
                        <a:pt x="1133" y="960"/>
                      </a:lnTo>
                      <a:lnTo>
                        <a:pt x="1133" y="961"/>
                      </a:lnTo>
                      <a:close/>
                      <a:moveTo>
                        <a:pt x="1429" y="1123"/>
                      </a:moveTo>
                      <a:lnTo>
                        <a:pt x="1430" y="1123"/>
                      </a:lnTo>
                      <a:lnTo>
                        <a:pt x="1429" y="1123"/>
                      </a:lnTo>
                      <a:lnTo>
                        <a:pt x="1428" y="1123"/>
                      </a:lnTo>
                      <a:lnTo>
                        <a:pt x="1428" y="1122"/>
                      </a:lnTo>
                      <a:lnTo>
                        <a:pt x="1427" y="1122"/>
                      </a:lnTo>
                      <a:lnTo>
                        <a:pt x="1428" y="1122"/>
                      </a:lnTo>
                      <a:lnTo>
                        <a:pt x="1429" y="1122"/>
                      </a:lnTo>
                      <a:lnTo>
                        <a:pt x="1429" y="1123"/>
                      </a:lnTo>
                      <a:close/>
                      <a:moveTo>
                        <a:pt x="1052" y="932"/>
                      </a:moveTo>
                      <a:lnTo>
                        <a:pt x="1052" y="934"/>
                      </a:lnTo>
                      <a:lnTo>
                        <a:pt x="1053" y="934"/>
                      </a:lnTo>
                      <a:lnTo>
                        <a:pt x="1052" y="934"/>
                      </a:lnTo>
                      <a:lnTo>
                        <a:pt x="1052" y="935"/>
                      </a:lnTo>
                      <a:lnTo>
                        <a:pt x="1052" y="934"/>
                      </a:lnTo>
                      <a:lnTo>
                        <a:pt x="1051" y="934"/>
                      </a:lnTo>
                      <a:lnTo>
                        <a:pt x="1051" y="932"/>
                      </a:lnTo>
                      <a:lnTo>
                        <a:pt x="1052" y="932"/>
                      </a:lnTo>
                      <a:lnTo>
                        <a:pt x="1051" y="932"/>
                      </a:lnTo>
                      <a:lnTo>
                        <a:pt x="1051" y="931"/>
                      </a:lnTo>
                      <a:lnTo>
                        <a:pt x="1052" y="931"/>
                      </a:lnTo>
                      <a:lnTo>
                        <a:pt x="1052" y="932"/>
                      </a:lnTo>
                      <a:close/>
                      <a:moveTo>
                        <a:pt x="1326" y="1189"/>
                      </a:moveTo>
                      <a:lnTo>
                        <a:pt x="1327" y="1191"/>
                      </a:lnTo>
                      <a:lnTo>
                        <a:pt x="1327" y="1189"/>
                      </a:lnTo>
                      <a:lnTo>
                        <a:pt x="1326" y="1189"/>
                      </a:lnTo>
                      <a:lnTo>
                        <a:pt x="1326" y="1191"/>
                      </a:lnTo>
                      <a:lnTo>
                        <a:pt x="1327" y="1192"/>
                      </a:lnTo>
                      <a:lnTo>
                        <a:pt x="1326" y="1191"/>
                      </a:lnTo>
                      <a:lnTo>
                        <a:pt x="1325" y="1191"/>
                      </a:lnTo>
                      <a:lnTo>
                        <a:pt x="1325" y="1189"/>
                      </a:lnTo>
                      <a:lnTo>
                        <a:pt x="1326" y="1189"/>
                      </a:lnTo>
                      <a:close/>
                      <a:moveTo>
                        <a:pt x="1331" y="943"/>
                      </a:moveTo>
                      <a:lnTo>
                        <a:pt x="1330" y="944"/>
                      </a:lnTo>
                      <a:lnTo>
                        <a:pt x="1330" y="943"/>
                      </a:lnTo>
                      <a:lnTo>
                        <a:pt x="1330" y="942"/>
                      </a:lnTo>
                      <a:lnTo>
                        <a:pt x="1331" y="942"/>
                      </a:lnTo>
                      <a:lnTo>
                        <a:pt x="1331" y="941"/>
                      </a:lnTo>
                      <a:lnTo>
                        <a:pt x="1331" y="942"/>
                      </a:lnTo>
                      <a:lnTo>
                        <a:pt x="1331" y="943"/>
                      </a:lnTo>
                      <a:close/>
                      <a:moveTo>
                        <a:pt x="966" y="879"/>
                      </a:moveTo>
                      <a:lnTo>
                        <a:pt x="966" y="880"/>
                      </a:lnTo>
                      <a:lnTo>
                        <a:pt x="966" y="881"/>
                      </a:lnTo>
                      <a:lnTo>
                        <a:pt x="966" y="880"/>
                      </a:lnTo>
                      <a:lnTo>
                        <a:pt x="965" y="880"/>
                      </a:lnTo>
                      <a:lnTo>
                        <a:pt x="964" y="880"/>
                      </a:lnTo>
                      <a:lnTo>
                        <a:pt x="965" y="879"/>
                      </a:lnTo>
                      <a:lnTo>
                        <a:pt x="965" y="880"/>
                      </a:lnTo>
                      <a:lnTo>
                        <a:pt x="965" y="879"/>
                      </a:lnTo>
                      <a:lnTo>
                        <a:pt x="966" y="879"/>
                      </a:lnTo>
                      <a:close/>
                      <a:moveTo>
                        <a:pt x="1370" y="1024"/>
                      </a:moveTo>
                      <a:lnTo>
                        <a:pt x="1370" y="1025"/>
                      </a:lnTo>
                      <a:lnTo>
                        <a:pt x="1370" y="1026"/>
                      </a:lnTo>
                      <a:lnTo>
                        <a:pt x="1369" y="1026"/>
                      </a:lnTo>
                      <a:lnTo>
                        <a:pt x="1369" y="1025"/>
                      </a:lnTo>
                      <a:lnTo>
                        <a:pt x="1368" y="1025"/>
                      </a:lnTo>
                      <a:lnTo>
                        <a:pt x="1369" y="1025"/>
                      </a:lnTo>
                      <a:lnTo>
                        <a:pt x="1368" y="1025"/>
                      </a:lnTo>
                      <a:lnTo>
                        <a:pt x="1369" y="1025"/>
                      </a:lnTo>
                      <a:lnTo>
                        <a:pt x="1369" y="1024"/>
                      </a:lnTo>
                      <a:lnTo>
                        <a:pt x="1370" y="1024"/>
                      </a:lnTo>
                      <a:close/>
                      <a:moveTo>
                        <a:pt x="1293" y="968"/>
                      </a:moveTo>
                      <a:lnTo>
                        <a:pt x="1295" y="968"/>
                      </a:lnTo>
                      <a:lnTo>
                        <a:pt x="1295" y="969"/>
                      </a:lnTo>
                      <a:lnTo>
                        <a:pt x="1295" y="970"/>
                      </a:lnTo>
                      <a:lnTo>
                        <a:pt x="1293" y="969"/>
                      </a:lnTo>
                      <a:lnTo>
                        <a:pt x="1295" y="969"/>
                      </a:lnTo>
                      <a:lnTo>
                        <a:pt x="1293" y="969"/>
                      </a:lnTo>
                      <a:lnTo>
                        <a:pt x="1293" y="968"/>
                      </a:lnTo>
                      <a:lnTo>
                        <a:pt x="1292" y="968"/>
                      </a:lnTo>
                      <a:lnTo>
                        <a:pt x="1293" y="968"/>
                      </a:lnTo>
                      <a:close/>
                      <a:moveTo>
                        <a:pt x="965" y="906"/>
                      </a:moveTo>
                      <a:lnTo>
                        <a:pt x="965" y="907"/>
                      </a:lnTo>
                      <a:lnTo>
                        <a:pt x="964" y="907"/>
                      </a:lnTo>
                      <a:lnTo>
                        <a:pt x="964" y="906"/>
                      </a:lnTo>
                      <a:lnTo>
                        <a:pt x="964" y="905"/>
                      </a:lnTo>
                      <a:lnTo>
                        <a:pt x="965" y="906"/>
                      </a:lnTo>
                      <a:close/>
                      <a:moveTo>
                        <a:pt x="1158" y="970"/>
                      </a:moveTo>
                      <a:lnTo>
                        <a:pt x="1157" y="970"/>
                      </a:lnTo>
                      <a:lnTo>
                        <a:pt x="1157" y="969"/>
                      </a:lnTo>
                      <a:lnTo>
                        <a:pt x="1157" y="968"/>
                      </a:lnTo>
                      <a:lnTo>
                        <a:pt x="1158" y="968"/>
                      </a:lnTo>
                      <a:lnTo>
                        <a:pt x="1158" y="969"/>
                      </a:lnTo>
                      <a:lnTo>
                        <a:pt x="1158" y="970"/>
                      </a:lnTo>
                      <a:close/>
                      <a:moveTo>
                        <a:pt x="1068" y="980"/>
                      </a:moveTo>
                      <a:lnTo>
                        <a:pt x="1068" y="981"/>
                      </a:lnTo>
                      <a:lnTo>
                        <a:pt x="1067" y="981"/>
                      </a:lnTo>
                      <a:lnTo>
                        <a:pt x="1067" y="980"/>
                      </a:lnTo>
                      <a:lnTo>
                        <a:pt x="1067" y="981"/>
                      </a:lnTo>
                      <a:lnTo>
                        <a:pt x="1066" y="981"/>
                      </a:lnTo>
                      <a:lnTo>
                        <a:pt x="1066" y="980"/>
                      </a:lnTo>
                      <a:lnTo>
                        <a:pt x="1067" y="980"/>
                      </a:lnTo>
                      <a:lnTo>
                        <a:pt x="1068" y="980"/>
                      </a:lnTo>
                      <a:close/>
                      <a:moveTo>
                        <a:pt x="1287" y="971"/>
                      </a:moveTo>
                      <a:lnTo>
                        <a:pt x="1287" y="973"/>
                      </a:lnTo>
                      <a:lnTo>
                        <a:pt x="1288" y="973"/>
                      </a:lnTo>
                      <a:lnTo>
                        <a:pt x="1287" y="973"/>
                      </a:lnTo>
                      <a:lnTo>
                        <a:pt x="1286" y="973"/>
                      </a:lnTo>
                      <a:lnTo>
                        <a:pt x="1286" y="974"/>
                      </a:lnTo>
                      <a:lnTo>
                        <a:pt x="1287" y="974"/>
                      </a:lnTo>
                      <a:lnTo>
                        <a:pt x="1287" y="973"/>
                      </a:lnTo>
                      <a:lnTo>
                        <a:pt x="1287" y="974"/>
                      </a:lnTo>
                      <a:lnTo>
                        <a:pt x="1287" y="973"/>
                      </a:lnTo>
                      <a:lnTo>
                        <a:pt x="1288" y="973"/>
                      </a:lnTo>
                      <a:lnTo>
                        <a:pt x="1288" y="974"/>
                      </a:lnTo>
                      <a:lnTo>
                        <a:pt x="1288" y="973"/>
                      </a:lnTo>
                      <a:lnTo>
                        <a:pt x="1287" y="974"/>
                      </a:lnTo>
                      <a:lnTo>
                        <a:pt x="1288" y="974"/>
                      </a:lnTo>
                      <a:lnTo>
                        <a:pt x="1287" y="974"/>
                      </a:lnTo>
                      <a:lnTo>
                        <a:pt x="1286" y="974"/>
                      </a:lnTo>
                      <a:lnTo>
                        <a:pt x="1286" y="973"/>
                      </a:lnTo>
                      <a:lnTo>
                        <a:pt x="1286" y="974"/>
                      </a:lnTo>
                      <a:lnTo>
                        <a:pt x="1285" y="974"/>
                      </a:lnTo>
                      <a:lnTo>
                        <a:pt x="1285" y="973"/>
                      </a:lnTo>
                      <a:lnTo>
                        <a:pt x="1286" y="973"/>
                      </a:lnTo>
                      <a:lnTo>
                        <a:pt x="1287" y="973"/>
                      </a:lnTo>
                      <a:lnTo>
                        <a:pt x="1286" y="973"/>
                      </a:lnTo>
                      <a:lnTo>
                        <a:pt x="1287" y="973"/>
                      </a:lnTo>
                      <a:lnTo>
                        <a:pt x="1287" y="971"/>
                      </a:lnTo>
                      <a:close/>
                      <a:moveTo>
                        <a:pt x="1064" y="991"/>
                      </a:moveTo>
                      <a:lnTo>
                        <a:pt x="1063" y="991"/>
                      </a:lnTo>
                      <a:lnTo>
                        <a:pt x="1060" y="991"/>
                      </a:lnTo>
                      <a:lnTo>
                        <a:pt x="1061" y="990"/>
                      </a:lnTo>
                      <a:lnTo>
                        <a:pt x="1063" y="991"/>
                      </a:lnTo>
                      <a:lnTo>
                        <a:pt x="1064" y="991"/>
                      </a:lnTo>
                      <a:close/>
                      <a:moveTo>
                        <a:pt x="1103" y="977"/>
                      </a:moveTo>
                      <a:lnTo>
                        <a:pt x="1100" y="977"/>
                      </a:lnTo>
                      <a:lnTo>
                        <a:pt x="1099" y="977"/>
                      </a:lnTo>
                      <a:lnTo>
                        <a:pt x="1098" y="977"/>
                      </a:lnTo>
                      <a:lnTo>
                        <a:pt x="1100" y="977"/>
                      </a:lnTo>
                      <a:lnTo>
                        <a:pt x="1103" y="977"/>
                      </a:lnTo>
                      <a:lnTo>
                        <a:pt x="1098" y="977"/>
                      </a:lnTo>
                      <a:lnTo>
                        <a:pt x="1104" y="976"/>
                      </a:lnTo>
                      <a:lnTo>
                        <a:pt x="1104" y="977"/>
                      </a:lnTo>
                      <a:lnTo>
                        <a:pt x="1103" y="977"/>
                      </a:lnTo>
                      <a:close/>
                      <a:moveTo>
                        <a:pt x="1106" y="801"/>
                      </a:moveTo>
                      <a:lnTo>
                        <a:pt x="1108" y="801"/>
                      </a:lnTo>
                      <a:lnTo>
                        <a:pt x="1108" y="802"/>
                      </a:lnTo>
                      <a:lnTo>
                        <a:pt x="1106" y="802"/>
                      </a:lnTo>
                      <a:lnTo>
                        <a:pt x="1106" y="801"/>
                      </a:lnTo>
                      <a:close/>
                      <a:moveTo>
                        <a:pt x="1354" y="999"/>
                      </a:moveTo>
                      <a:lnTo>
                        <a:pt x="1353" y="999"/>
                      </a:lnTo>
                      <a:lnTo>
                        <a:pt x="1354" y="999"/>
                      </a:lnTo>
                      <a:lnTo>
                        <a:pt x="1354" y="1000"/>
                      </a:lnTo>
                      <a:lnTo>
                        <a:pt x="1354" y="999"/>
                      </a:lnTo>
                      <a:lnTo>
                        <a:pt x="1353" y="999"/>
                      </a:lnTo>
                      <a:lnTo>
                        <a:pt x="1352" y="999"/>
                      </a:lnTo>
                      <a:lnTo>
                        <a:pt x="1352" y="998"/>
                      </a:lnTo>
                      <a:lnTo>
                        <a:pt x="1354" y="998"/>
                      </a:lnTo>
                      <a:lnTo>
                        <a:pt x="1354" y="999"/>
                      </a:lnTo>
                      <a:close/>
                      <a:moveTo>
                        <a:pt x="1433" y="1133"/>
                      </a:moveTo>
                      <a:lnTo>
                        <a:pt x="1434" y="1133"/>
                      </a:lnTo>
                      <a:lnTo>
                        <a:pt x="1434" y="1134"/>
                      </a:lnTo>
                      <a:lnTo>
                        <a:pt x="1433" y="1134"/>
                      </a:lnTo>
                      <a:lnTo>
                        <a:pt x="1433" y="1133"/>
                      </a:lnTo>
                      <a:close/>
                      <a:moveTo>
                        <a:pt x="1173" y="846"/>
                      </a:moveTo>
                      <a:lnTo>
                        <a:pt x="1173" y="847"/>
                      </a:lnTo>
                      <a:lnTo>
                        <a:pt x="1172" y="847"/>
                      </a:lnTo>
                      <a:lnTo>
                        <a:pt x="1172" y="846"/>
                      </a:lnTo>
                      <a:lnTo>
                        <a:pt x="1171" y="846"/>
                      </a:lnTo>
                      <a:lnTo>
                        <a:pt x="1172" y="846"/>
                      </a:lnTo>
                      <a:lnTo>
                        <a:pt x="1172" y="845"/>
                      </a:lnTo>
                      <a:lnTo>
                        <a:pt x="1172" y="846"/>
                      </a:lnTo>
                      <a:lnTo>
                        <a:pt x="1173" y="846"/>
                      </a:lnTo>
                      <a:close/>
                      <a:moveTo>
                        <a:pt x="1427" y="1123"/>
                      </a:moveTo>
                      <a:lnTo>
                        <a:pt x="1427" y="1124"/>
                      </a:lnTo>
                      <a:lnTo>
                        <a:pt x="1426" y="1123"/>
                      </a:lnTo>
                      <a:lnTo>
                        <a:pt x="1425" y="1123"/>
                      </a:lnTo>
                      <a:lnTo>
                        <a:pt x="1424" y="1123"/>
                      </a:lnTo>
                      <a:lnTo>
                        <a:pt x="1424" y="1124"/>
                      </a:lnTo>
                      <a:lnTo>
                        <a:pt x="1422" y="1124"/>
                      </a:lnTo>
                      <a:lnTo>
                        <a:pt x="1422" y="1123"/>
                      </a:lnTo>
                      <a:lnTo>
                        <a:pt x="1424" y="1123"/>
                      </a:lnTo>
                      <a:lnTo>
                        <a:pt x="1425" y="1123"/>
                      </a:lnTo>
                      <a:lnTo>
                        <a:pt x="1426" y="1123"/>
                      </a:lnTo>
                      <a:lnTo>
                        <a:pt x="1427" y="1123"/>
                      </a:lnTo>
                      <a:close/>
                      <a:moveTo>
                        <a:pt x="1301" y="1125"/>
                      </a:moveTo>
                      <a:lnTo>
                        <a:pt x="1301" y="1124"/>
                      </a:lnTo>
                      <a:lnTo>
                        <a:pt x="1302" y="1124"/>
                      </a:lnTo>
                      <a:lnTo>
                        <a:pt x="1302" y="1123"/>
                      </a:lnTo>
                      <a:lnTo>
                        <a:pt x="1303" y="1123"/>
                      </a:lnTo>
                      <a:lnTo>
                        <a:pt x="1302" y="1123"/>
                      </a:lnTo>
                      <a:lnTo>
                        <a:pt x="1302" y="1124"/>
                      </a:lnTo>
                      <a:lnTo>
                        <a:pt x="1302" y="1125"/>
                      </a:lnTo>
                      <a:lnTo>
                        <a:pt x="1301" y="1125"/>
                      </a:lnTo>
                      <a:close/>
                      <a:moveTo>
                        <a:pt x="1064" y="983"/>
                      </a:moveTo>
                      <a:lnTo>
                        <a:pt x="1065" y="984"/>
                      </a:lnTo>
                      <a:lnTo>
                        <a:pt x="1065" y="986"/>
                      </a:lnTo>
                      <a:lnTo>
                        <a:pt x="1064" y="986"/>
                      </a:lnTo>
                      <a:lnTo>
                        <a:pt x="1063" y="986"/>
                      </a:lnTo>
                      <a:lnTo>
                        <a:pt x="1064" y="986"/>
                      </a:lnTo>
                      <a:lnTo>
                        <a:pt x="1064" y="984"/>
                      </a:lnTo>
                      <a:lnTo>
                        <a:pt x="1063" y="986"/>
                      </a:lnTo>
                      <a:lnTo>
                        <a:pt x="1063" y="984"/>
                      </a:lnTo>
                      <a:lnTo>
                        <a:pt x="1064" y="984"/>
                      </a:lnTo>
                      <a:lnTo>
                        <a:pt x="1063" y="984"/>
                      </a:lnTo>
                      <a:lnTo>
                        <a:pt x="1064" y="984"/>
                      </a:lnTo>
                      <a:lnTo>
                        <a:pt x="1064" y="983"/>
                      </a:lnTo>
                      <a:close/>
                      <a:moveTo>
                        <a:pt x="1435" y="1131"/>
                      </a:moveTo>
                      <a:lnTo>
                        <a:pt x="1434" y="1131"/>
                      </a:lnTo>
                      <a:lnTo>
                        <a:pt x="1434" y="1132"/>
                      </a:lnTo>
                      <a:lnTo>
                        <a:pt x="1433" y="1131"/>
                      </a:lnTo>
                      <a:lnTo>
                        <a:pt x="1434" y="1131"/>
                      </a:lnTo>
                      <a:lnTo>
                        <a:pt x="1434" y="1130"/>
                      </a:lnTo>
                      <a:lnTo>
                        <a:pt x="1435" y="1130"/>
                      </a:lnTo>
                      <a:lnTo>
                        <a:pt x="1435" y="1131"/>
                      </a:lnTo>
                      <a:close/>
                      <a:moveTo>
                        <a:pt x="1133" y="981"/>
                      </a:moveTo>
                      <a:lnTo>
                        <a:pt x="1134" y="982"/>
                      </a:lnTo>
                      <a:lnTo>
                        <a:pt x="1135" y="982"/>
                      </a:lnTo>
                      <a:lnTo>
                        <a:pt x="1134" y="982"/>
                      </a:lnTo>
                      <a:lnTo>
                        <a:pt x="1133" y="982"/>
                      </a:lnTo>
                      <a:lnTo>
                        <a:pt x="1134" y="984"/>
                      </a:lnTo>
                      <a:lnTo>
                        <a:pt x="1135" y="984"/>
                      </a:lnTo>
                      <a:lnTo>
                        <a:pt x="1135" y="986"/>
                      </a:lnTo>
                      <a:lnTo>
                        <a:pt x="1137" y="988"/>
                      </a:lnTo>
                      <a:lnTo>
                        <a:pt x="1136" y="988"/>
                      </a:lnTo>
                      <a:lnTo>
                        <a:pt x="1132" y="981"/>
                      </a:lnTo>
                      <a:lnTo>
                        <a:pt x="1133" y="981"/>
                      </a:lnTo>
                      <a:close/>
                      <a:moveTo>
                        <a:pt x="1155" y="1026"/>
                      </a:moveTo>
                      <a:lnTo>
                        <a:pt x="1157" y="1026"/>
                      </a:lnTo>
                      <a:lnTo>
                        <a:pt x="1157" y="1027"/>
                      </a:lnTo>
                      <a:lnTo>
                        <a:pt x="1155" y="1027"/>
                      </a:lnTo>
                      <a:lnTo>
                        <a:pt x="1155" y="1026"/>
                      </a:lnTo>
                      <a:close/>
                      <a:moveTo>
                        <a:pt x="1083" y="798"/>
                      </a:moveTo>
                      <a:lnTo>
                        <a:pt x="1082" y="798"/>
                      </a:lnTo>
                      <a:lnTo>
                        <a:pt x="1081" y="798"/>
                      </a:lnTo>
                      <a:lnTo>
                        <a:pt x="1081" y="799"/>
                      </a:lnTo>
                      <a:lnTo>
                        <a:pt x="1081" y="798"/>
                      </a:lnTo>
                      <a:lnTo>
                        <a:pt x="1080" y="798"/>
                      </a:lnTo>
                      <a:lnTo>
                        <a:pt x="1081" y="798"/>
                      </a:lnTo>
                      <a:lnTo>
                        <a:pt x="1082" y="798"/>
                      </a:lnTo>
                      <a:lnTo>
                        <a:pt x="1082" y="797"/>
                      </a:lnTo>
                      <a:lnTo>
                        <a:pt x="1083" y="798"/>
                      </a:lnTo>
                      <a:close/>
                      <a:moveTo>
                        <a:pt x="1273" y="1263"/>
                      </a:moveTo>
                      <a:lnTo>
                        <a:pt x="1273" y="1262"/>
                      </a:lnTo>
                      <a:lnTo>
                        <a:pt x="1274" y="1261"/>
                      </a:lnTo>
                      <a:lnTo>
                        <a:pt x="1275" y="1261"/>
                      </a:lnTo>
                      <a:lnTo>
                        <a:pt x="1274" y="1261"/>
                      </a:lnTo>
                      <a:lnTo>
                        <a:pt x="1274" y="1262"/>
                      </a:lnTo>
                      <a:lnTo>
                        <a:pt x="1274" y="1263"/>
                      </a:lnTo>
                      <a:lnTo>
                        <a:pt x="1273" y="1263"/>
                      </a:lnTo>
                      <a:close/>
                      <a:moveTo>
                        <a:pt x="1143" y="983"/>
                      </a:moveTo>
                      <a:lnTo>
                        <a:pt x="1144" y="986"/>
                      </a:lnTo>
                      <a:lnTo>
                        <a:pt x="1145" y="986"/>
                      </a:lnTo>
                      <a:lnTo>
                        <a:pt x="1145" y="984"/>
                      </a:lnTo>
                      <a:lnTo>
                        <a:pt x="1145" y="986"/>
                      </a:lnTo>
                      <a:lnTo>
                        <a:pt x="1145" y="987"/>
                      </a:lnTo>
                      <a:lnTo>
                        <a:pt x="1146" y="988"/>
                      </a:lnTo>
                      <a:lnTo>
                        <a:pt x="1143" y="983"/>
                      </a:lnTo>
                      <a:lnTo>
                        <a:pt x="1143" y="982"/>
                      </a:lnTo>
                      <a:lnTo>
                        <a:pt x="1143" y="983"/>
                      </a:lnTo>
                      <a:close/>
                      <a:moveTo>
                        <a:pt x="1286" y="1122"/>
                      </a:moveTo>
                      <a:lnTo>
                        <a:pt x="1287" y="1122"/>
                      </a:lnTo>
                      <a:lnTo>
                        <a:pt x="1286" y="1122"/>
                      </a:lnTo>
                      <a:lnTo>
                        <a:pt x="1286" y="1123"/>
                      </a:lnTo>
                      <a:lnTo>
                        <a:pt x="1285" y="1123"/>
                      </a:lnTo>
                      <a:lnTo>
                        <a:pt x="1285" y="1122"/>
                      </a:lnTo>
                      <a:lnTo>
                        <a:pt x="1285" y="1121"/>
                      </a:lnTo>
                      <a:lnTo>
                        <a:pt x="1286" y="1121"/>
                      </a:lnTo>
                      <a:lnTo>
                        <a:pt x="1286" y="1122"/>
                      </a:lnTo>
                      <a:close/>
                      <a:moveTo>
                        <a:pt x="1417" y="1020"/>
                      </a:moveTo>
                      <a:lnTo>
                        <a:pt x="1417" y="1021"/>
                      </a:lnTo>
                      <a:lnTo>
                        <a:pt x="1417" y="1022"/>
                      </a:lnTo>
                      <a:lnTo>
                        <a:pt x="1416" y="1022"/>
                      </a:lnTo>
                      <a:lnTo>
                        <a:pt x="1417" y="1022"/>
                      </a:lnTo>
                      <a:lnTo>
                        <a:pt x="1417" y="1024"/>
                      </a:lnTo>
                      <a:lnTo>
                        <a:pt x="1416" y="1024"/>
                      </a:lnTo>
                      <a:lnTo>
                        <a:pt x="1417" y="1024"/>
                      </a:lnTo>
                      <a:lnTo>
                        <a:pt x="1417" y="1025"/>
                      </a:lnTo>
                      <a:lnTo>
                        <a:pt x="1417" y="1024"/>
                      </a:lnTo>
                      <a:lnTo>
                        <a:pt x="1416" y="1024"/>
                      </a:lnTo>
                      <a:lnTo>
                        <a:pt x="1416" y="1022"/>
                      </a:lnTo>
                      <a:lnTo>
                        <a:pt x="1416" y="1021"/>
                      </a:lnTo>
                      <a:lnTo>
                        <a:pt x="1417" y="1020"/>
                      </a:lnTo>
                      <a:close/>
                      <a:moveTo>
                        <a:pt x="1182" y="973"/>
                      </a:moveTo>
                      <a:lnTo>
                        <a:pt x="1183" y="973"/>
                      </a:lnTo>
                      <a:lnTo>
                        <a:pt x="1184" y="973"/>
                      </a:lnTo>
                      <a:lnTo>
                        <a:pt x="1184" y="974"/>
                      </a:lnTo>
                      <a:lnTo>
                        <a:pt x="1182" y="973"/>
                      </a:lnTo>
                      <a:lnTo>
                        <a:pt x="1181" y="973"/>
                      </a:lnTo>
                      <a:lnTo>
                        <a:pt x="1181" y="971"/>
                      </a:lnTo>
                      <a:lnTo>
                        <a:pt x="1182" y="971"/>
                      </a:lnTo>
                      <a:lnTo>
                        <a:pt x="1182" y="973"/>
                      </a:lnTo>
                      <a:close/>
                      <a:moveTo>
                        <a:pt x="1072" y="981"/>
                      </a:moveTo>
                      <a:lnTo>
                        <a:pt x="1072" y="982"/>
                      </a:lnTo>
                      <a:lnTo>
                        <a:pt x="1071" y="983"/>
                      </a:lnTo>
                      <a:lnTo>
                        <a:pt x="1071" y="982"/>
                      </a:lnTo>
                      <a:lnTo>
                        <a:pt x="1070" y="982"/>
                      </a:lnTo>
                      <a:lnTo>
                        <a:pt x="1069" y="982"/>
                      </a:lnTo>
                      <a:lnTo>
                        <a:pt x="1070" y="982"/>
                      </a:lnTo>
                      <a:lnTo>
                        <a:pt x="1071" y="982"/>
                      </a:lnTo>
                      <a:lnTo>
                        <a:pt x="1071" y="981"/>
                      </a:lnTo>
                      <a:lnTo>
                        <a:pt x="1072" y="981"/>
                      </a:lnTo>
                      <a:close/>
                      <a:moveTo>
                        <a:pt x="1367" y="1028"/>
                      </a:moveTo>
                      <a:lnTo>
                        <a:pt x="1368" y="1028"/>
                      </a:lnTo>
                      <a:lnTo>
                        <a:pt x="1369" y="1028"/>
                      </a:lnTo>
                      <a:lnTo>
                        <a:pt x="1369" y="1029"/>
                      </a:lnTo>
                      <a:lnTo>
                        <a:pt x="1369" y="1030"/>
                      </a:lnTo>
                      <a:lnTo>
                        <a:pt x="1368" y="1029"/>
                      </a:lnTo>
                      <a:lnTo>
                        <a:pt x="1367" y="1029"/>
                      </a:lnTo>
                      <a:lnTo>
                        <a:pt x="1367" y="1028"/>
                      </a:lnTo>
                      <a:close/>
                      <a:moveTo>
                        <a:pt x="1061" y="938"/>
                      </a:moveTo>
                      <a:lnTo>
                        <a:pt x="1060" y="938"/>
                      </a:lnTo>
                      <a:lnTo>
                        <a:pt x="1061" y="937"/>
                      </a:lnTo>
                      <a:lnTo>
                        <a:pt x="1061" y="936"/>
                      </a:lnTo>
                      <a:lnTo>
                        <a:pt x="1061" y="938"/>
                      </a:lnTo>
                      <a:close/>
                      <a:moveTo>
                        <a:pt x="1431" y="1128"/>
                      </a:moveTo>
                      <a:lnTo>
                        <a:pt x="1430" y="1129"/>
                      </a:lnTo>
                      <a:lnTo>
                        <a:pt x="1430" y="1128"/>
                      </a:lnTo>
                      <a:lnTo>
                        <a:pt x="1429" y="1128"/>
                      </a:lnTo>
                      <a:lnTo>
                        <a:pt x="1429" y="1127"/>
                      </a:lnTo>
                      <a:lnTo>
                        <a:pt x="1430" y="1128"/>
                      </a:lnTo>
                      <a:lnTo>
                        <a:pt x="1431" y="1128"/>
                      </a:lnTo>
                      <a:close/>
                      <a:moveTo>
                        <a:pt x="1183" y="1034"/>
                      </a:moveTo>
                      <a:lnTo>
                        <a:pt x="1185" y="1034"/>
                      </a:lnTo>
                      <a:lnTo>
                        <a:pt x="1183" y="1034"/>
                      </a:lnTo>
                      <a:lnTo>
                        <a:pt x="1182" y="1034"/>
                      </a:lnTo>
                      <a:lnTo>
                        <a:pt x="1182" y="1035"/>
                      </a:lnTo>
                      <a:lnTo>
                        <a:pt x="1183" y="1035"/>
                      </a:lnTo>
                      <a:lnTo>
                        <a:pt x="1182" y="1035"/>
                      </a:lnTo>
                      <a:lnTo>
                        <a:pt x="1181" y="1035"/>
                      </a:lnTo>
                      <a:lnTo>
                        <a:pt x="1181" y="1034"/>
                      </a:lnTo>
                      <a:lnTo>
                        <a:pt x="1182" y="1034"/>
                      </a:lnTo>
                      <a:lnTo>
                        <a:pt x="1183" y="1034"/>
                      </a:lnTo>
                      <a:close/>
                      <a:moveTo>
                        <a:pt x="1339" y="937"/>
                      </a:moveTo>
                      <a:lnTo>
                        <a:pt x="1338" y="937"/>
                      </a:lnTo>
                      <a:lnTo>
                        <a:pt x="1338" y="936"/>
                      </a:lnTo>
                      <a:lnTo>
                        <a:pt x="1339" y="936"/>
                      </a:lnTo>
                      <a:lnTo>
                        <a:pt x="1340" y="936"/>
                      </a:lnTo>
                      <a:lnTo>
                        <a:pt x="1340" y="937"/>
                      </a:lnTo>
                      <a:lnTo>
                        <a:pt x="1339" y="937"/>
                      </a:lnTo>
                      <a:close/>
                      <a:moveTo>
                        <a:pt x="1109" y="838"/>
                      </a:moveTo>
                      <a:lnTo>
                        <a:pt x="1111" y="838"/>
                      </a:lnTo>
                      <a:lnTo>
                        <a:pt x="1111" y="840"/>
                      </a:lnTo>
                      <a:lnTo>
                        <a:pt x="1109" y="840"/>
                      </a:lnTo>
                      <a:lnTo>
                        <a:pt x="1109" y="838"/>
                      </a:lnTo>
                      <a:close/>
                      <a:moveTo>
                        <a:pt x="1278" y="951"/>
                      </a:moveTo>
                      <a:lnTo>
                        <a:pt x="1279" y="952"/>
                      </a:lnTo>
                      <a:lnTo>
                        <a:pt x="1276" y="952"/>
                      </a:lnTo>
                      <a:lnTo>
                        <a:pt x="1276" y="951"/>
                      </a:lnTo>
                      <a:lnTo>
                        <a:pt x="1277" y="951"/>
                      </a:lnTo>
                      <a:lnTo>
                        <a:pt x="1278" y="951"/>
                      </a:lnTo>
                      <a:close/>
                      <a:moveTo>
                        <a:pt x="1091" y="976"/>
                      </a:moveTo>
                      <a:lnTo>
                        <a:pt x="1092" y="976"/>
                      </a:lnTo>
                      <a:lnTo>
                        <a:pt x="1093" y="976"/>
                      </a:lnTo>
                      <a:lnTo>
                        <a:pt x="1092" y="977"/>
                      </a:lnTo>
                      <a:lnTo>
                        <a:pt x="1091" y="976"/>
                      </a:lnTo>
                      <a:lnTo>
                        <a:pt x="1091" y="977"/>
                      </a:lnTo>
                      <a:lnTo>
                        <a:pt x="1090" y="977"/>
                      </a:lnTo>
                      <a:lnTo>
                        <a:pt x="1090" y="976"/>
                      </a:lnTo>
                      <a:lnTo>
                        <a:pt x="1091" y="976"/>
                      </a:lnTo>
                      <a:close/>
                      <a:moveTo>
                        <a:pt x="1403" y="1085"/>
                      </a:moveTo>
                      <a:lnTo>
                        <a:pt x="1403" y="1086"/>
                      </a:lnTo>
                      <a:lnTo>
                        <a:pt x="1402" y="1086"/>
                      </a:lnTo>
                      <a:lnTo>
                        <a:pt x="1402" y="1085"/>
                      </a:lnTo>
                      <a:lnTo>
                        <a:pt x="1401" y="1086"/>
                      </a:lnTo>
                      <a:lnTo>
                        <a:pt x="1400" y="1086"/>
                      </a:lnTo>
                      <a:lnTo>
                        <a:pt x="1399" y="1086"/>
                      </a:lnTo>
                      <a:lnTo>
                        <a:pt x="1396" y="1088"/>
                      </a:lnTo>
                      <a:lnTo>
                        <a:pt x="1396" y="1089"/>
                      </a:lnTo>
                      <a:lnTo>
                        <a:pt x="1397" y="1089"/>
                      </a:lnTo>
                      <a:lnTo>
                        <a:pt x="1396" y="1089"/>
                      </a:lnTo>
                      <a:lnTo>
                        <a:pt x="1396" y="1088"/>
                      </a:lnTo>
                      <a:lnTo>
                        <a:pt x="1397" y="1088"/>
                      </a:lnTo>
                      <a:lnTo>
                        <a:pt x="1399" y="1086"/>
                      </a:lnTo>
                      <a:lnTo>
                        <a:pt x="1400" y="1086"/>
                      </a:lnTo>
                      <a:lnTo>
                        <a:pt x="1401" y="1085"/>
                      </a:lnTo>
                      <a:lnTo>
                        <a:pt x="1402" y="1085"/>
                      </a:lnTo>
                      <a:lnTo>
                        <a:pt x="1403" y="1085"/>
                      </a:lnTo>
                      <a:close/>
                      <a:moveTo>
                        <a:pt x="1042" y="983"/>
                      </a:moveTo>
                      <a:lnTo>
                        <a:pt x="1043" y="983"/>
                      </a:lnTo>
                      <a:lnTo>
                        <a:pt x="1042" y="983"/>
                      </a:lnTo>
                      <a:lnTo>
                        <a:pt x="1042" y="984"/>
                      </a:lnTo>
                      <a:lnTo>
                        <a:pt x="1041" y="984"/>
                      </a:lnTo>
                      <a:lnTo>
                        <a:pt x="1041" y="983"/>
                      </a:lnTo>
                      <a:lnTo>
                        <a:pt x="1042" y="983"/>
                      </a:lnTo>
                      <a:lnTo>
                        <a:pt x="1041" y="983"/>
                      </a:lnTo>
                      <a:lnTo>
                        <a:pt x="1042" y="983"/>
                      </a:lnTo>
                      <a:lnTo>
                        <a:pt x="1042" y="982"/>
                      </a:lnTo>
                      <a:lnTo>
                        <a:pt x="1042" y="983"/>
                      </a:lnTo>
                      <a:close/>
                      <a:moveTo>
                        <a:pt x="1143" y="1013"/>
                      </a:moveTo>
                      <a:lnTo>
                        <a:pt x="1143" y="1014"/>
                      </a:lnTo>
                      <a:lnTo>
                        <a:pt x="1143" y="1013"/>
                      </a:lnTo>
                      <a:lnTo>
                        <a:pt x="1142" y="1012"/>
                      </a:lnTo>
                      <a:lnTo>
                        <a:pt x="1143" y="1012"/>
                      </a:lnTo>
                      <a:lnTo>
                        <a:pt x="1144" y="1013"/>
                      </a:lnTo>
                      <a:lnTo>
                        <a:pt x="1143" y="1013"/>
                      </a:lnTo>
                      <a:close/>
                      <a:moveTo>
                        <a:pt x="1043" y="934"/>
                      </a:moveTo>
                      <a:lnTo>
                        <a:pt x="1045" y="934"/>
                      </a:lnTo>
                      <a:lnTo>
                        <a:pt x="1045" y="935"/>
                      </a:lnTo>
                      <a:lnTo>
                        <a:pt x="1043" y="935"/>
                      </a:lnTo>
                      <a:lnTo>
                        <a:pt x="1043" y="937"/>
                      </a:lnTo>
                      <a:lnTo>
                        <a:pt x="1043" y="939"/>
                      </a:lnTo>
                      <a:lnTo>
                        <a:pt x="1044" y="939"/>
                      </a:lnTo>
                      <a:lnTo>
                        <a:pt x="1045" y="939"/>
                      </a:lnTo>
                      <a:lnTo>
                        <a:pt x="1044" y="939"/>
                      </a:lnTo>
                      <a:lnTo>
                        <a:pt x="1044" y="940"/>
                      </a:lnTo>
                      <a:lnTo>
                        <a:pt x="1044" y="941"/>
                      </a:lnTo>
                      <a:lnTo>
                        <a:pt x="1044" y="939"/>
                      </a:lnTo>
                      <a:lnTo>
                        <a:pt x="1043" y="939"/>
                      </a:lnTo>
                      <a:lnTo>
                        <a:pt x="1043" y="937"/>
                      </a:lnTo>
                      <a:lnTo>
                        <a:pt x="1043" y="935"/>
                      </a:lnTo>
                      <a:lnTo>
                        <a:pt x="1042" y="935"/>
                      </a:lnTo>
                      <a:lnTo>
                        <a:pt x="1043" y="935"/>
                      </a:lnTo>
                      <a:lnTo>
                        <a:pt x="1042" y="935"/>
                      </a:lnTo>
                      <a:lnTo>
                        <a:pt x="1042" y="934"/>
                      </a:lnTo>
                      <a:lnTo>
                        <a:pt x="1043" y="934"/>
                      </a:lnTo>
                      <a:close/>
                      <a:moveTo>
                        <a:pt x="975" y="952"/>
                      </a:moveTo>
                      <a:lnTo>
                        <a:pt x="976" y="952"/>
                      </a:lnTo>
                      <a:lnTo>
                        <a:pt x="976" y="953"/>
                      </a:lnTo>
                      <a:lnTo>
                        <a:pt x="975" y="953"/>
                      </a:lnTo>
                      <a:lnTo>
                        <a:pt x="975" y="952"/>
                      </a:lnTo>
                      <a:close/>
                      <a:moveTo>
                        <a:pt x="1054" y="936"/>
                      </a:moveTo>
                      <a:lnTo>
                        <a:pt x="1053" y="936"/>
                      </a:lnTo>
                      <a:lnTo>
                        <a:pt x="1052" y="935"/>
                      </a:lnTo>
                      <a:lnTo>
                        <a:pt x="1053" y="935"/>
                      </a:lnTo>
                      <a:lnTo>
                        <a:pt x="1052" y="935"/>
                      </a:lnTo>
                      <a:lnTo>
                        <a:pt x="1053" y="935"/>
                      </a:lnTo>
                      <a:lnTo>
                        <a:pt x="1053" y="934"/>
                      </a:lnTo>
                      <a:lnTo>
                        <a:pt x="1053" y="935"/>
                      </a:lnTo>
                      <a:lnTo>
                        <a:pt x="1054" y="935"/>
                      </a:lnTo>
                      <a:lnTo>
                        <a:pt x="1054" y="936"/>
                      </a:lnTo>
                      <a:close/>
                      <a:moveTo>
                        <a:pt x="1119" y="975"/>
                      </a:moveTo>
                      <a:lnTo>
                        <a:pt x="1116" y="975"/>
                      </a:lnTo>
                      <a:lnTo>
                        <a:pt x="1117" y="975"/>
                      </a:lnTo>
                      <a:lnTo>
                        <a:pt x="1117" y="974"/>
                      </a:lnTo>
                      <a:lnTo>
                        <a:pt x="1119" y="975"/>
                      </a:lnTo>
                      <a:close/>
                      <a:moveTo>
                        <a:pt x="1096" y="793"/>
                      </a:moveTo>
                      <a:lnTo>
                        <a:pt x="1097" y="793"/>
                      </a:lnTo>
                      <a:lnTo>
                        <a:pt x="1097" y="791"/>
                      </a:lnTo>
                      <a:lnTo>
                        <a:pt x="1097" y="793"/>
                      </a:lnTo>
                      <a:lnTo>
                        <a:pt x="1096" y="793"/>
                      </a:lnTo>
                      <a:lnTo>
                        <a:pt x="1095" y="794"/>
                      </a:lnTo>
                      <a:lnTo>
                        <a:pt x="1095" y="793"/>
                      </a:lnTo>
                      <a:lnTo>
                        <a:pt x="1096" y="791"/>
                      </a:lnTo>
                      <a:lnTo>
                        <a:pt x="1096" y="793"/>
                      </a:lnTo>
                      <a:lnTo>
                        <a:pt x="1096" y="791"/>
                      </a:lnTo>
                      <a:lnTo>
                        <a:pt x="1096" y="793"/>
                      </a:lnTo>
                      <a:close/>
                      <a:moveTo>
                        <a:pt x="1276" y="955"/>
                      </a:moveTo>
                      <a:lnTo>
                        <a:pt x="1275" y="955"/>
                      </a:lnTo>
                      <a:lnTo>
                        <a:pt x="1275" y="956"/>
                      </a:lnTo>
                      <a:lnTo>
                        <a:pt x="1274" y="956"/>
                      </a:lnTo>
                      <a:lnTo>
                        <a:pt x="1273" y="956"/>
                      </a:lnTo>
                      <a:lnTo>
                        <a:pt x="1274" y="956"/>
                      </a:lnTo>
                      <a:lnTo>
                        <a:pt x="1275" y="956"/>
                      </a:lnTo>
                      <a:lnTo>
                        <a:pt x="1275" y="955"/>
                      </a:lnTo>
                      <a:lnTo>
                        <a:pt x="1273" y="956"/>
                      </a:lnTo>
                      <a:lnTo>
                        <a:pt x="1272" y="956"/>
                      </a:lnTo>
                      <a:lnTo>
                        <a:pt x="1271" y="956"/>
                      </a:lnTo>
                      <a:lnTo>
                        <a:pt x="1271" y="955"/>
                      </a:lnTo>
                      <a:lnTo>
                        <a:pt x="1271" y="956"/>
                      </a:lnTo>
                      <a:lnTo>
                        <a:pt x="1272" y="956"/>
                      </a:lnTo>
                      <a:lnTo>
                        <a:pt x="1272" y="955"/>
                      </a:lnTo>
                      <a:lnTo>
                        <a:pt x="1272" y="956"/>
                      </a:lnTo>
                      <a:lnTo>
                        <a:pt x="1274" y="955"/>
                      </a:lnTo>
                      <a:lnTo>
                        <a:pt x="1275" y="955"/>
                      </a:lnTo>
                      <a:lnTo>
                        <a:pt x="1276" y="955"/>
                      </a:lnTo>
                      <a:close/>
                      <a:moveTo>
                        <a:pt x="1431" y="1034"/>
                      </a:moveTo>
                      <a:lnTo>
                        <a:pt x="1432" y="1034"/>
                      </a:lnTo>
                      <a:lnTo>
                        <a:pt x="1431" y="1034"/>
                      </a:lnTo>
                      <a:lnTo>
                        <a:pt x="1431" y="1035"/>
                      </a:lnTo>
                      <a:lnTo>
                        <a:pt x="1431" y="1034"/>
                      </a:lnTo>
                      <a:lnTo>
                        <a:pt x="1431" y="1035"/>
                      </a:lnTo>
                      <a:lnTo>
                        <a:pt x="1430" y="1035"/>
                      </a:lnTo>
                      <a:lnTo>
                        <a:pt x="1429" y="1035"/>
                      </a:lnTo>
                      <a:lnTo>
                        <a:pt x="1430" y="1035"/>
                      </a:lnTo>
                      <a:lnTo>
                        <a:pt x="1429" y="1035"/>
                      </a:lnTo>
                      <a:lnTo>
                        <a:pt x="1429" y="1037"/>
                      </a:lnTo>
                      <a:lnTo>
                        <a:pt x="1429" y="1035"/>
                      </a:lnTo>
                      <a:lnTo>
                        <a:pt x="1430" y="1035"/>
                      </a:lnTo>
                      <a:lnTo>
                        <a:pt x="1431" y="1034"/>
                      </a:lnTo>
                      <a:close/>
                      <a:moveTo>
                        <a:pt x="1021" y="975"/>
                      </a:moveTo>
                      <a:lnTo>
                        <a:pt x="1024" y="975"/>
                      </a:lnTo>
                      <a:lnTo>
                        <a:pt x="1024" y="977"/>
                      </a:lnTo>
                      <a:lnTo>
                        <a:pt x="1021" y="977"/>
                      </a:lnTo>
                      <a:lnTo>
                        <a:pt x="1021" y="975"/>
                      </a:lnTo>
                      <a:close/>
                      <a:moveTo>
                        <a:pt x="1086" y="983"/>
                      </a:moveTo>
                      <a:lnTo>
                        <a:pt x="1084" y="982"/>
                      </a:lnTo>
                      <a:lnTo>
                        <a:pt x="1085" y="982"/>
                      </a:lnTo>
                      <a:lnTo>
                        <a:pt x="1085" y="981"/>
                      </a:lnTo>
                      <a:lnTo>
                        <a:pt x="1085" y="982"/>
                      </a:lnTo>
                      <a:lnTo>
                        <a:pt x="1086" y="982"/>
                      </a:lnTo>
                      <a:lnTo>
                        <a:pt x="1086" y="983"/>
                      </a:lnTo>
                      <a:close/>
                      <a:moveTo>
                        <a:pt x="1301" y="974"/>
                      </a:moveTo>
                      <a:lnTo>
                        <a:pt x="1302" y="974"/>
                      </a:lnTo>
                      <a:lnTo>
                        <a:pt x="1303" y="974"/>
                      </a:lnTo>
                      <a:lnTo>
                        <a:pt x="1302" y="974"/>
                      </a:lnTo>
                      <a:lnTo>
                        <a:pt x="1302" y="975"/>
                      </a:lnTo>
                      <a:lnTo>
                        <a:pt x="1301" y="975"/>
                      </a:lnTo>
                      <a:lnTo>
                        <a:pt x="1301" y="974"/>
                      </a:lnTo>
                      <a:lnTo>
                        <a:pt x="1301" y="973"/>
                      </a:lnTo>
                      <a:lnTo>
                        <a:pt x="1301" y="974"/>
                      </a:lnTo>
                      <a:close/>
                      <a:moveTo>
                        <a:pt x="1434" y="1133"/>
                      </a:moveTo>
                      <a:lnTo>
                        <a:pt x="1437" y="1133"/>
                      </a:lnTo>
                      <a:lnTo>
                        <a:pt x="1437" y="1134"/>
                      </a:lnTo>
                      <a:lnTo>
                        <a:pt x="1434" y="1134"/>
                      </a:lnTo>
                      <a:lnTo>
                        <a:pt x="1434" y="1133"/>
                      </a:lnTo>
                      <a:close/>
                      <a:moveTo>
                        <a:pt x="1092" y="807"/>
                      </a:moveTo>
                      <a:lnTo>
                        <a:pt x="1094" y="807"/>
                      </a:lnTo>
                      <a:lnTo>
                        <a:pt x="1094" y="809"/>
                      </a:lnTo>
                      <a:lnTo>
                        <a:pt x="1092" y="809"/>
                      </a:lnTo>
                      <a:lnTo>
                        <a:pt x="1092" y="807"/>
                      </a:lnTo>
                      <a:close/>
                      <a:moveTo>
                        <a:pt x="1448" y="1032"/>
                      </a:moveTo>
                      <a:lnTo>
                        <a:pt x="1448" y="1033"/>
                      </a:lnTo>
                      <a:lnTo>
                        <a:pt x="1448" y="1034"/>
                      </a:lnTo>
                      <a:lnTo>
                        <a:pt x="1447" y="1034"/>
                      </a:lnTo>
                      <a:lnTo>
                        <a:pt x="1447" y="1033"/>
                      </a:lnTo>
                      <a:lnTo>
                        <a:pt x="1447" y="1034"/>
                      </a:lnTo>
                      <a:lnTo>
                        <a:pt x="1447" y="1033"/>
                      </a:lnTo>
                      <a:lnTo>
                        <a:pt x="1448" y="1033"/>
                      </a:lnTo>
                      <a:lnTo>
                        <a:pt x="1447" y="1033"/>
                      </a:lnTo>
                      <a:lnTo>
                        <a:pt x="1447" y="1032"/>
                      </a:lnTo>
                      <a:lnTo>
                        <a:pt x="1448" y="1032"/>
                      </a:lnTo>
                      <a:lnTo>
                        <a:pt x="1447" y="1032"/>
                      </a:lnTo>
                      <a:lnTo>
                        <a:pt x="1448" y="1032"/>
                      </a:lnTo>
                      <a:lnTo>
                        <a:pt x="1447" y="1032"/>
                      </a:lnTo>
                      <a:lnTo>
                        <a:pt x="1448" y="1032"/>
                      </a:lnTo>
                      <a:close/>
                      <a:moveTo>
                        <a:pt x="1276" y="950"/>
                      </a:moveTo>
                      <a:lnTo>
                        <a:pt x="1276" y="951"/>
                      </a:lnTo>
                      <a:lnTo>
                        <a:pt x="1277" y="951"/>
                      </a:lnTo>
                      <a:lnTo>
                        <a:pt x="1276" y="951"/>
                      </a:lnTo>
                      <a:lnTo>
                        <a:pt x="1275" y="952"/>
                      </a:lnTo>
                      <a:lnTo>
                        <a:pt x="1274" y="951"/>
                      </a:lnTo>
                      <a:lnTo>
                        <a:pt x="1275" y="951"/>
                      </a:lnTo>
                      <a:lnTo>
                        <a:pt x="1275" y="950"/>
                      </a:lnTo>
                      <a:lnTo>
                        <a:pt x="1276" y="950"/>
                      </a:lnTo>
                      <a:close/>
                      <a:moveTo>
                        <a:pt x="1481" y="1091"/>
                      </a:moveTo>
                      <a:lnTo>
                        <a:pt x="1480" y="1091"/>
                      </a:lnTo>
                      <a:lnTo>
                        <a:pt x="1481" y="1090"/>
                      </a:lnTo>
                      <a:lnTo>
                        <a:pt x="1480" y="1090"/>
                      </a:lnTo>
                      <a:lnTo>
                        <a:pt x="1480" y="1089"/>
                      </a:lnTo>
                      <a:lnTo>
                        <a:pt x="1481" y="1089"/>
                      </a:lnTo>
                      <a:lnTo>
                        <a:pt x="1481" y="1090"/>
                      </a:lnTo>
                      <a:lnTo>
                        <a:pt x="1481" y="1091"/>
                      </a:lnTo>
                      <a:close/>
                      <a:moveTo>
                        <a:pt x="1413" y="1130"/>
                      </a:moveTo>
                      <a:lnTo>
                        <a:pt x="1412" y="1131"/>
                      </a:lnTo>
                      <a:lnTo>
                        <a:pt x="1410" y="1131"/>
                      </a:lnTo>
                      <a:lnTo>
                        <a:pt x="1410" y="1130"/>
                      </a:lnTo>
                      <a:lnTo>
                        <a:pt x="1412" y="1130"/>
                      </a:lnTo>
                      <a:lnTo>
                        <a:pt x="1413" y="1130"/>
                      </a:lnTo>
                      <a:lnTo>
                        <a:pt x="1414" y="1129"/>
                      </a:lnTo>
                      <a:lnTo>
                        <a:pt x="1414" y="1130"/>
                      </a:lnTo>
                      <a:lnTo>
                        <a:pt x="1413" y="1130"/>
                      </a:lnTo>
                      <a:close/>
                      <a:moveTo>
                        <a:pt x="989" y="981"/>
                      </a:moveTo>
                      <a:lnTo>
                        <a:pt x="989" y="980"/>
                      </a:lnTo>
                      <a:lnTo>
                        <a:pt x="988" y="979"/>
                      </a:lnTo>
                      <a:lnTo>
                        <a:pt x="989" y="979"/>
                      </a:lnTo>
                      <a:lnTo>
                        <a:pt x="989" y="980"/>
                      </a:lnTo>
                      <a:lnTo>
                        <a:pt x="989" y="981"/>
                      </a:lnTo>
                      <a:close/>
                      <a:moveTo>
                        <a:pt x="1284" y="950"/>
                      </a:moveTo>
                      <a:lnTo>
                        <a:pt x="1285" y="951"/>
                      </a:lnTo>
                      <a:lnTo>
                        <a:pt x="1285" y="952"/>
                      </a:lnTo>
                      <a:lnTo>
                        <a:pt x="1284" y="952"/>
                      </a:lnTo>
                      <a:lnTo>
                        <a:pt x="1284" y="951"/>
                      </a:lnTo>
                      <a:lnTo>
                        <a:pt x="1284" y="952"/>
                      </a:lnTo>
                      <a:lnTo>
                        <a:pt x="1285" y="952"/>
                      </a:lnTo>
                      <a:lnTo>
                        <a:pt x="1284" y="951"/>
                      </a:lnTo>
                      <a:lnTo>
                        <a:pt x="1285" y="951"/>
                      </a:lnTo>
                      <a:lnTo>
                        <a:pt x="1284" y="951"/>
                      </a:lnTo>
                      <a:lnTo>
                        <a:pt x="1284" y="950"/>
                      </a:lnTo>
                      <a:lnTo>
                        <a:pt x="1284" y="951"/>
                      </a:lnTo>
                      <a:lnTo>
                        <a:pt x="1284" y="950"/>
                      </a:lnTo>
                      <a:lnTo>
                        <a:pt x="1283" y="950"/>
                      </a:lnTo>
                      <a:lnTo>
                        <a:pt x="1284" y="950"/>
                      </a:lnTo>
                      <a:close/>
                      <a:moveTo>
                        <a:pt x="1339" y="1000"/>
                      </a:moveTo>
                      <a:lnTo>
                        <a:pt x="1340" y="1001"/>
                      </a:lnTo>
                      <a:lnTo>
                        <a:pt x="1341" y="1001"/>
                      </a:lnTo>
                      <a:lnTo>
                        <a:pt x="1340" y="1001"/>
                      </a:lnTo>
                      <a:lnTo>
                        <a:pt x="1339" y="1001"/>
                      </a:lnTo>
                      <a:lnTo>
                        <a:pt x="1339" y="1000"/>
                      </a:lnTo>
                      <a:lnTo>
                        <a:pt x="1339" y="1001"/>
                      </a:lnTo>
                      <a:lnTo>
                        <a:pt x="1340" y="1001"/>
                      </a:lnTo>
                      <a:lnTo>
                        <a:pt x="1339" y="1001"/>
                      </a:lnTo>
                      <a:lnTo>
                        <a:pt x="1339" y="1000"/>
                      </a:lnTo>
                      <a:lnTo>
                        <a:pt x="1338" y="1000"/>
                      </a:lnTo>
                      <a:lnTo>
                        <a:pt x="1339" y="1000"/>
                      </a:lnTo>
                      <a:close/>
                      <a:moveTo>
                        <a:pt x="1056" y="980"/>
                      </a:moveTo>
                      <a:lnTo>
                        <a:pt x="1058" y="980"/>
                      </a:lnTo>
                      <a:lnTo>
                        <a:pt x="1058" y="981"/>
                      </a:lnTo>
                      <a:lnTo>
                        <a:pt x="1056" y="981"/>
                      </a:lnTo>
                      <a:lnTo>
                        <a:pt x="1056" y="980"/>
                      </a:lnTo>
                      <a:close/>
                      <a:moveTo>
                        <a:pt x="1097" y="977"/>
                      </a:moveTo>
                      <a:lnTo>
                        <a:pt x="1093" y="978"/>
                      </a:lnTo>
                      <a:lnTo>
                        <a:pt x="1093" y="977"/>
                      </a:lnTo>
                      <a:lnTo>
                        <a:pt x="1093" y="978"/>
                      </a:lnTo>
                      <a:lnTo>
                        <a:pt x="1096" y="977"/>
                      </a:lnTo>
                      <a:lnTo>
                        <a:pt x="1097" y="977"/>
                      </a:lnTo>
                      <a:close/>
                      <a:moveTo>
                        <a:pt x="1014" y="934"/>
                      </a:moveTo>
                      <a:lnTo>
                        <a:pt x="1014" y="935"/>
                      </a:lnTo>
                      <a:lnTo>
                        <a:pt x="1013" y="935"/>
                      </a:lnTo>
                      <a:lnTo>
                        <a:pt x="1013" y="936"/>
                      </a:lnTo>
                      <a:lnTo>
                        <a:pt x="1013" y="935"/>
                      </a:lnTo>
                      <a:lnTo>
                        <a:pt x="1013" y="934"/>
                      </a:lnTo>
                      <a:lnTo>
                        <a:pt x="1014" y="934"/>
                      </a:lnTo>
                      <a:close/>
                      <a:moveTo>
                        <a:pt x="1118" y="958"/>
                      </a:moveTo>
                      <a:lnTo>
                        <a:pt x="1119" y="960"/>
                      </a:lnTo>
                      <a:lnTo>
                        <a:pt x="1119" y="958"/>
                      </a:lnTo>
                      <a:lnTo>
                        <a:pt x="1120" y="958"/>
                      </a:lnTo>
                      <a:lnTo>
                        <a:pt x="1120" y="960"/>
                      </a:lnTo>
                      <a:lnTo>
                        <a:pt x="1120" y="961"/>
                      </a:lnTo>
                      <a:lnTo>
                        <a:pt x="1119" y="960"/>
                      </a:lnTo>
                      <a:lnTo>
                        <a:pt x="1118" y="958"/>
                      </a:lnTo>
                      <a:close/>
                      <a:moveTo>
                        <a:pt x="1297" y="968"/>
                      </a:moveTo>
                      <a:lnTo>
                        <a:pt x="1296" y="968"/>
                      </a:lnTo>
                      <a:lnTo>
                        <a:pt x="1295" y="968"/>
                      </a:lnTo>
                      <a:lnTo>
                        <a:pt x="1296" y="968"/>
                      </a:lnTo>
                      <a:lnTo>
                        <a:pt x="1297" y="968"/>
                      </a:lnTo>
                      <a:close/>
                      <a:moveTo>
                        <a:pt x="1153" y="967"/>
                      </a:moveTo>
                      <a:lnTo>
                        <a:pt x="1154" y="967"/>
                      </a:lnTo>
                      <a:lnTo>
                        <a:pt x="1154" y="968"/>
                      </a:lnTo>
                      <a:lnTo>
                        <a:pt x="1153" y="968"/>
                      </a:lnTo>
                      <a:lnTo>
                        <a:pt x="1151" y="967"/>
                      </a:lnTo>
                      <a:lnTo>
                        <a:pt x="1153" y="967"/>
                      </a:lnTo>
                      <a:close/>
                      <a:moveTo>
                        <a:pt x="1041" y="992"/>
                      </a:moveTo>
                      <a:lnTo>
                        <a:pt x="1040" y="993"/>
                      </a:lnTo>
                      <a:lnTo>
                        <a:pt x="1039" y="993"/>
                      </a:lnTo>
                      <a:lnTo>
                        <a:pt x="1038" y="993"/>
                      </a:lnTo>
                      <a:lnTo>
                        <a:pt x="1037" y="993"/>
                      </a:lnTo>
                      <a:lnTo>
                        <a:pt x="1038" y="993"/>
                      </a:lnTo>
                      <a:lnTo>
                        <a:pt x="1039" y="993"/>
                      </a:lnTo>
                      <a:lnTo>
                        <a:pt x="1039" y="992"/>
                      </a:lnTo>
                      <a:lnTo>
                        <a:pt x="1040" y="992"/>
                      </a:lnTo>
                      <a:lnTo>
                        <a:pt x="1040" y="993"/>
                      </a:lnTo>
                      <a:lnTo>
                        <a:pt x="1041" y="992"/>
                      </a:lnTo>
                      <a:lnTo>
                        <a:pt x="1042" y="992"/>
                      </a:lnTo>
                      <a:lnTo>
                        <a:pt x="1041" y="992"/>
                      </a:lnTo>
                      <a:close/>
                      <a:moveTo>
                        <a:pt x="1142" y="971"/>
                      </a:moveTo>
                      <a:lnTo>
                        <a:pt x="1142" y="973"/>
                      </a:lnTo>
                      <a:lnTo>
                        <a:pt x="1141" y="973"/>
                      </a:lnTo>
                      <a:lnTo>
                        <a:pt x="1141" y="971"/>
                      </a:lnTo>
                      <a:lnTo>
                        <a:pt x="1140" y="971"/>
                      </a:lnTo>
                      <a:lnTo>
                        <a:pt x="1141" y="971"/>
                      </a:lnTo>
                      <a:lnTo>
                        <a:pt x="1142" y="971"/>
                      </a:lnTo>
                      <a:close/>
                      <a:moveTo>
                        <a:pt x="1154" y="961"/>
                      </a:moveTo>
                      <a:lnTo>
                        <a:pt x="1154" y="962"/>
                      </a:lnTo>
                      <a:lnTo>
                        <a:pt x="1154" y="961"/>
                      </a:lnTo>
                      <a:lnTo>
                        <a:pt x="1154" y="962"/>
                      </a:lnTo>
                      <a:lnTo>
                        <a:pt x="1153" y="962"/>
                      </a:lnTo>
                      <a:lnTo>
                        <a:pt x="1154" y="962"/>
                      </a:lnTo>
                      <a:lnTo>
                        <a:pt x="1154" y="963"/>
                      </a:lnTo>
                      <a:lnTo>
                        <a:pt x="1153" y="962"/>
                      </a:lnTo>
                      <a:lnTo>
                        <a:pt x="1153" y="963"/>
                      </a:lnTo>
                      <a:lnTo>
                        <a:pt x="1153" y="962"/>
                      </a:lnTo>
                      <a:lnTo>
                        <a:pt x="1153" y="961"/>
                      </a:lnTo>
                      <a:lnTo>
                        <a:pt x="1154" y="961"/>
                      </a:lnTo>
                      <a:close/>
                      <a:moveTo>
                        <a:pt x="1041" y="939"/>
                      </a:moveTo>
                      <a:lnTo>
                        <a:pt x="1042" y="939"/>
                      </a:lnTo>
                      <a:lnTo>
                        <a:pt x="1042" y="940"/>
                      </a:lnTo>
                      <a:lnTo>
                        <a:pt x="1041" y="940"/>
                      </a:lnTo>
                      <a:lnTo>
                        <a:pt x="1041" y="939"/>
                      </a:lnTo>
                      <a:close/>
                      <a:moveTo>
                        <a:pt x="1414" y="1099"/>
                      </a:moveTo>
                      <a:lnTo>
                        <a:pt x="1414" y="1101"/>
                      </a:lnTo>
                      <a:lnTo>
                        <a:pt x="1414" y="1102"/>
                      </a:lnTo>
                      <a:lnTo>
                        <a:pt x="1414" y="1101"/>
                      </a:lnTo>
                      <a:lnTo>
                        <a:pt x="1413" y="1101"/>
                      </a:lnTo>
                      <a:lnTo>
                        <a:pt x="1413" y="1099"/>
                      </a:lnTo>
                      <a:lnTo>
                        <a:pt x="1414" y="1099"/>
                      </a:lnTo>
                      <a:lnTo>
                        <a:pt x="1413" y="1099"/>
                      </a:lnTo>
                      <a:lnTo>
                        <a:pt x="1414" y="1099"/>
                      </a:lnTo>
                      <a:close/>
                      <a:moveTo>
                        <a:pt x="1108" y="967"/>
                      </a:moveTo>
                      <a:lnTo>
                        <a:pt x="1108" y="968"/>
                      </a:lnTo>
                      <a:lnTo>
                        <a:pt x="1107" y="968"/>
                      </a:lnTo>
                      <a:lnTo>
                        <a:pt x="1107" y="967"/>
                      </a:lnTo>
                      <a:lnTo>
                        <a:pt x="1108" y="967"/>
                      </a:lnTo>
                      <a:lnTo>
                        <a:pt x="1109" y="967"/>
                      </a:lnTo>
                      <a:lnTo>
                        <a:pt x="1108" y="967"/>
                      </a:lnTo>
                      <a:close/>
                      <a:moveTo>
                        <a:pt x="1416" y="1091"/>
                      </a:moveTo>
                      <a:lnTo>
                        <a:pt x="1415" y="1091"/>
                      </a:lnTo>
                      <a:lnTo>
                        <a:pt x="1415" y="1090"/>
                      </a:lnTo>
                      <a:lnTo>
                        <a:pt x="1417" y="1090"/>
                      </a:lnTo>
                      <a:lnTo>
                        <a:pt x="1417" y="1091"/>
                      </a:lnTo>
                      <a:lnTo>
                        <a:pt x="1416" y="1091"/>
                      </a:lnTo>
                      <a:close/>
                      <a:moveTo>
                        <a:pt x="1155" y="1032"/>
                      </a:moveTo>
                      <a:lnTo>
                        <a:pt x="1153" y="1032"/>
                      </a:lnTo>
                      <a:lnTo>
                        <a:pt x="1154" y="1031"/>
                      </a:lnTo>
                      <a:lnTo>
                        <a:pt x="1155" y="1031"/>
                      </a:lnTo>
                      <a:lnTo>
                        <a:pt x="1155" y="1032"/>
                      </a:lnTo>
                      <a:close/>
                      <a:moveTo>
                        <a:pt x="1080" y="981"/>
                      </a:moveTo>
                      <a:lnTo>
                        <a:pt x="1081" y="981"/>
                      </a:lnTo>
                      <a:lnTo>
                        <a:pt x="1081" y="982"/>
                      </a:lnTo>
                      <a:lnTo>
                        <a:pt x="1082" y="982"/>
                      </a:lnTo>
                      <a:lnTo>
                        <a:pt x="1083" y="982"/>
                      </a:lnTo>
                      <a:lnTo>
                        <a:pt x="1082" y="982"/>
                      </a:lnTo>
                      <a:lnTo>
                        <a:pt x="1079" y="982"/>
                      </a:lnTo>
                      <a:lnTo>
                        <a:pt x="1079" y="981"/>
                      </a:lnTo>
                      <a:lnTo>
                        <a:pt x="1080" y="981"/>
                      </a:lnTo>
                      <a:close/>
                      <a:moveTo>
                        <a:pt x="1275" y="952"/>
                      </a:moveTo>
                      <a:lnTo>
                        <a:pt x="1274" y="952"/>
                      </a:lnTo>
                      <a:lnTo>
                        <a:pt x="1274" y="953"/>
                      </a:lnTo>
                      <a:lnTo>
                        <a:pt x="1273" y="953"/>
                      </a:lnTo>
                      <a:lnTo>
                        <a:pt x="1273" y="952"/>
                      </a:lnTo>
                      <a:lnTo>
                        <a:pt x="1273" y="951"/>
                      </a:lnTo>
                      <a:lnTo>
                        <a:pt x="1273" y="952"/>
                      </a:lnTo>
                      <a:lnTo>
                        <a:pt x="1274" y="952"/>
                      </a:lnTo>
                      <a:lnTo>
                        <a:pt x="1275" y="952"/>
                      </a:lnTo>
                      <a:lnTo>
                        <a:pt x="1274" y="951"/>
                      </a:lnTo>
                      <a:lnTo>
                        <a:pt x="1275" y="951"/>
                      </a:lnTo>
                      <a:lnTo>
                        <a:pt x="1275" y="952"/>
                      </a:lnTo>
                      <a:close/>
                      <a:moveTo>
                        <a:pt x="1198" y="1047"/>
                      </a:moveTo>
                      <a:lnTo>
                        <a:pt x="1199" y="1047"/>
                      </a:lnTo>
                      <a:lnTo>
                        <a:pt x="1199" y="1050"/>
                      </a:lnTo>
                      <a:lnTo>
                        <a:pt x="1198" y="1050"/>
                      </a:lnTo>
                      <a:lnTo>
                        <a:pt x="1198" y="1047"/>
                      </a:lnTo>
                      <a:close/>
                      <a:moveTo>
                        <a:pt x="1037" y="988"/>
                      </a:moveTo>
                      <a:lnTo>
                        <a:pt x="1037" y="989"/>
                      </a:lnTo>
                      <a:lnTo>
                        <a:pt x="1037" y="990"/>
                      </a:lnTo>
                      <a:lnTo>
                        <a:pt x="1037" y="989"/>
                      </a:lnTo>
                      <a:lnTo>
                        <a:pt x="1035" y="989"/>
                      </a:lnTo>
                      <a:lnTo>
                        <a:pt x="1035" y="990"/>
                      </a:lnTo>
                      <a:lnTo>
                        <a:pt x="1035" y="989"/>
                      </a:lnTo>
                      <a:lnTo>
                        <a:pt x="1037" y="989"/>
                      </a:lnTo>
                      <a:lnTo>
                        <a:pt x="1037" y="988"/>
                      </a:lnTo>
                      <a:lnTo>
                        <a:pt x="1035" y="988"/>
                      </a:lnTo>
                      <a:lnTo>
                        <a:pt x="1035" y="989"/>
                      </a:lnTo>
                      <a:lnTo>
                        <a:pt x="1035" y="988"/>
                      </a:lnTo>
                      <a:lnTo>
                        <a:pt x="1034" y="989"/>
                      </a:lnTo>
                      <a:lnTo>
                        <a:pt x="1034" y="988"/>
                      </a:lnTo>
                      <a:lnTo>
                        <a:pt x="1034" y="989"/>
                      </a:lnTo>
                      <a:lnTo>
                        <a:pt x="1033" y="989"/>
                      </a:lnTo>
                      <a:lnTo>
                        <a:pt x="1033" y="988"/>
                      </a:lnTo>
                      <a:lnTo>
                        <a:pt x="1033" y="989"/>
                      </a:lnTo>
                      <a:lnTo>
                        <a:pt x="1033" y="988"/>
                      </a:lnTo>
                      <a:lnTo>
                        <a:pt x="1035" y="988"/>
                      </a:lnTo>
                      <a:lnTo>
                        <a:pt x="1037" y="988"/>
                      </a:lnTo>
                      <a:close/>
                      <a:moveTo>
                        <a:pt x="1097" y="798"/>
                      </a:moveTo>
                      <a:lnTo>
                        <a:pt x="1098" y="798"/>
                      </a:lnTo>
                      <a:lnTo>
                        <a:pt x="1098" y="799"/>
                      </a:lnTo>
                      <a:lnTo>
                        <a:pt x="1098" y="800"/>
                      </a:lnTo>
                      <a:lnTo>
                        <a:pt x="1097" y="800"/>
                      </a:lnTo>
                      <a:lnTo>
                        <a:pt x="1097" y="799"/>
                      </a:lnTo>
                      <a:lnTo>
                        <a:pt x="1097" y="798"/>
                      </a:lnTo>
                      <a:lnTo>
                        <a:pt x="1096" y="798"/>
                      </a:lnTo>
                      <a:lnTo>
                        <a:pt x="1097" y="798"/>
                      </a:lnTo>
                      <a:close/>
                      <a:moveTo>
                        <a:pt x="1290" y="973"/>
                      </a:moveTo>
                      <a:lnTo>
                        <a:pt x="1291" y="973"/>
                      </a:lnTo>
                      <a:lnTo>
                        <a:pt x="1291" y="974"/>
                      </a:lnTo>
                      <a:lnTo>
                        <a:pt x="1291" y="973"/>
                      </a:lnTo>
                      <a:lnTo>
                        <a:pt x="1291" y="974"/>
                      </a:lnTo>
                      <a:lnTo>
                        <a:pt x="1290" y="974"/>
                      </a:lnTo>
                      <a:lnTo>
                        <a:pt x="1291" y="974"/>
                      </a:lnTo>
                      <a:lnTo>
                        <a:pt x="1290" y="974"/>
                      </a:lnTo>
                      <a:lnTo>
                        <a:pt x="1290" y="973"/>
                      </a:lnTo>
                      <a:lnTo>
                        <a:pt x="1289" y="973"/>
                      </a:lnTo>
                      <a:lnTo>
                        <a:pt x="1290" y="973"/>
                      </a:lnTo>
                      <a:close/>
                      <a:moveTo>
                        <a:pt x="1430" y="1123"/>
                      </a:moveTo>
                      <a:lnTo>
                        <a:pt x="1432" y="1123"/>
                      </a:lnTo>
                      <a:lnTo>
                        <a:pt x="1432" y="1124"/>
                      </a:lnTo>
                      <a:lnTo>
                        <a:pt x="1430" y="1124"/>
                      </a:lnTo>
                      <a:lnTo>
                        <a:pt x="1430" y="1123"/>
                      </a:lnTo>
                      <a:close/>
                      <a:moveTo>
                        <a:pt x="1197" y="1047"/>
                      </a:moveTo>
                      <a:lnTo>
                        <a:pt x="1198" y="1047"/>
                      </a:lnTo>
                      <a:lnTo>
                        <a:pt x="1198" y="1048"/>
                      </a:lnTo>
                      <a:lnTo>
                        <a:pt x="1196" y="1047"/>
                      </a:lnTo>
                      <a:lnTo>
                        <a:pt x="1197" y="1047"/>
                      </a:lnTo>
                      <a:lnTo>
                        <a:pt x="1197" y="1046"/>
                      </a:lnTo>
                      <a:lnTo>
                        <a:pt x="1197" y="1047"/>
                      </a:lnTo>
                      <a:close/>
                      <a:moveTo>
                        <a:pt x="1472" y="1085"/>
                      </a:moveTo>
                      <a:lnTo>
                        <a:pt x="1473" y="1085"/>
                      </a:lnTo>
                      <a:lnTo>
                        <a:pt x="1473" y="1086"/>
                      </a:lnTo>
                      <a:lnTo>
                        <a:pt x="1472" y="1086"/>
                      </a:lnTo>
                      <a:lnTo>
                        <a:pt x="1472" y="1085"/>
                      </a:lnTo>
                      <a:close/>
                      <a:moveTo>
                        <a:pt x="1334" y="1132"/>
                      </a:moveTo>
                      <a:lnTo>
                        <a:pt x="1335" y="1132"/>
                      </a:lnTo>
                      <a:lnTo>
                        <a:pt x="1334" y="1132"/>
                      </a:lnTo>
                      <a:lnTo>
                        <a:pt x="1332" y="1132"/>
                      </a:lnTo>
                      <a:lnTo>
                        <a:pt x="1332" y="1133"/>
                      </a:lnTo>
                      <a:lnTo>
                        <a:pt x="1332" y="1132"/>
                      </a:lnTo>
                      <a:lnTo>
                        <a:pt x="1331" y="1132"/>
                      </a:lnTo>
                      <a:lnTo>
                        <a:pt x="1332" y="1132"/>
                      </a:lnTo>
                      <a:lnTo>
                        <a:pt x="1332" y="1131"/>
                      </a:lnTo>
                      <a:lnTo>
                        <a:pt x="1334" y="1132"/>
                      </a:lnTo>
                      <a:close/>
                      <a:moveTo>
                        <a:pt x="1216" y="1037"/>
                      </a:moveTo>
                      <a:lnTo>
                        <a:pt x="1215" y="1038"/>
                      </a:lnTo>
                      <a:lnTo>
                        <a:pt x="1216" y="1038"/>
                      </a:lnTo>
                      <a:lnTo>
                        <a:pt x="1216" y="1039"/>
                      </a:lnTo>
                      <a:lnTo>
                        <a:pt x="1215" y="1039"/>
                      </a:lnTo>
                      <a:lnTo>
                        <a:pt x="1215" y="1038"/>
                      </a:lnTo>
                      <a:lnTo>
                        <a:pt x="1214" y="1038"/>
                      </a:lnTo>
                      <a:lnTo>
                        <a:pt x="1215" y="1037"/>
                      </a:lnTo>
                      <a:lnTo>
                        <a:pt x="1216" y="1037"/>
                      </a:lnTo>
                      <a:close/>
                      <a:moveTo>
                        <a:pt x="1415" y="1123"/>
                      </a:moveTo>
                      <a:lnTo>
                        <a:pt x="1416" y="1124"/>
                      </a:lnTo>
                      <a:lnTo>
                        <a:pt x="1416" y="1123"/>
                      </a:lnTo>
                      <a:lnTo>
                        <a:pt x="1417" y="1123"/>
                      </a:lnTo>
                      <a:lnTo>
                        <a:pt x="1416" y="1123"/>
                      </a:lnTo>
                      <a:lnTo>
                        <a:pt x="1416" y="1124"/>
                      </a:lnTo>
                      <a:lnTo>
                        <a:pt x="1415" y="1124"/>
                      </a:lnTo>
                      <a:lnTo>
                        <a:pt x="1414" y="1123"/>
                      </a:lnTo>
                      <a:lnTo>
                        <a:pt x="1412" y="1123"/>
                      </a:lnTo>
                      <a:lnTo>
                        <a:pt x="1410" y="1123"/>
                      </a:lnTo>
                      <a:lnTo>
                        <a:pt x="1410" y="1122"/>
                      </a:lnTo>
                      <a:lnTo>
                        <a:pt x="1410" y="1123"/>
                      </a:lnTo>
                      <a:lnTo>
                        <a:pt x="1412" y="1123"/>
                      </a:lnTo>
                      <a:lnTo>
                        <a:pt x="1414" y="1123"/>
                      </a:lnTo>
                      <a:lnTo>
                        <a:pt x="1415" y="1123"/>
                      </a:lnTo>
                      <a:close/>
                      <a:moveTo>
                        <a:pt x="1434" y="1034"/>
                      </a:moveTo>
                      <a:lnTo>
                        <a:pt x="1435" y="1034"/>
                      </a:lnTo>
                      <a:lnTo>
                        <a:pt x="1437" y="1034"/>
                      </a:lnTo>
                      <a:lnTo>
                        <a:pt x="1438" y="1034"/>
                      </a:lnTo>
                      <a:lnTo>
                        <a:pt x="1437" y="1034"/>
                      </a:lnTo>
                      <a:lnTo>
                        <a:pt x="1438" y="1034"/>
                      </a:lnTo>
                      <a:lnTo>
                        <a:pt x="1437" y="1035"/>
                      </a:lnTo>
                      <a:lnTo>
                        <a:pt x="1437" y="1034"/>
                      </a:lnTo>
                      <a:lnTo>
                        <a:pt x="1435" y="1034"/>
                      </a:lnTo>
                      <a:lnTo>
                        <a:pt x="1434" y="1034"/>
                      </a:lnTo>
                      <a:lnTo>
                        <a:pt x="1433" y="1034"/>
                      </a:lnTo>
                      <a:lnTo>
                        <a:pt x="1432" y="1034"/>
                      </a:lnTo>
                      <a:lnTo>
                        <a:pt x="1433" y="1034"/>
                      </a:lnTo>
                      <a:lnTo>
                        <a:pt x="1434" y="1034"/>
                      </a:lnTo>
                      <a:lnTo>
                        <a:pt x="1434" y="1033"/>
                      </a:lnTo>
                      <a:lnTo>
                        <a:pt x="1434" y="1034"/>
                      </a:lnTo>
                      <a:close/>
                      <a:moveTo>
                        <a:pt x="1198" y="924"/>
                      </a:moveTo>
                      <a:lnTo>
                        <a:pt x="1199" y="924"/>
                      </a:lnTo>
                      <a:lnTo>
                        <a:pt x="1199" y="926"/>
                      </a:lnTo>
                      <a:lnTo>
                        <a:pt x="1198" y="926"/>
                      </a:lnTo>
                      <a:lnTo>
                        <a:pt x="1198" y="924"/>
                      </a:lnTo>
                      <a:close/>
                      <a:moveTo>
                        <a:pt x="1295" y="1235"/>
                      </a:moveTo>
                      <a:lnTo>
                        <a:pt x="1296" y="1235"/>
                      </a:lnTo>
                      <a:lnTo>
                        <a:pt x="1296" y="1236"/>
                      </a:lnTo>
                      <a:lnTo>
                        <a:pt x="1295" y="1236"/>
                      </a:lnTo>
                      <a:lnTo>
                        <a:pt x="1295" y="1235"/>
                      </a:lnTo>
                      <a:close/>
                      <a:moveTo>
                        <a:pt x="1427" y="1130"/>
                      </a:moveTo>
                      <a:lnTo>
                        <a:pt x="1428" y="1131"/>
                      </a:lnTo>
                      <a:lnTo>
                        <a:pt x="1428" y="1130"/>
                      </a:lnTo>
                      <a:lnTo>
                        <a:pt x="1429" y="1130"/>
                      </a:lnTo>
                      <a:lnTo>
                        <a:pt x="1428" y="1130"/>
                      </a:lnTo>
                      <a:lnTo>
                        <a:pt x="1428" y="1131"/>
                      </a:lnTo>
                      <a:lnTo>
                        <a:pt x="1427" y="1131"/>
                      </a:lnTo>
                      <a:lnTo>
                        <a:pt x="1427" y="1130"/>
                      </a:lnTo>
                      <a:lnTo>
                        <a:pt x="1427" y="1129"/>
                      </a:lnTo>
                      <a:lnTo>
                        <a:pt x="1428" y="1129"/>
                      </a:lnTo>
                      <a:lnTo>
                        <a:pt x="1428" y="1130"/>
                      </a:lnTo>
                      <a:lnTo>
                        <a:pt x="1427" y="1130"/>
                      </a:lnTo>
                      <a:close/>
                      <a:moveTo>
                        <a:pt x="1061" y="953"/>
                      </a:moveTo>
                      <a:lnTo>
                        <a:pt x="1064" y="953"/>
                      </a:lnTo>
                      <a:lnTo>
                        <a:pt x="1064" y="955"/>
                      </a:lnTo>
                      <a:lnTo>
                        <a:pt x="1061" y="955"/>
                      </a:lnTo>
                      <a:lnTo>
                        <a:pt x="1061" y="953"/>
                      </a:lnTo>
                      <a:close/>
                      <a:moveTo>
                        <a:pt x="1276" y="945"/>
                      </a:moveTo>
                      <a:lnTo>
                        <a:pt x="1276" y="947"/>
                      </a:lnTo>
                      <a:lnTo>
                        <a:pt x="1277" y="947"/>
                      </a:lnTo>
                      <a:lnTo>
                        <a:pt x="1276" y="947"/>
                      </a:lnTo>
                      <a:lnTo>
                        <a:pt x="1274" y="947"/>
                      </a:lnTo>
                      <a:lnTo>
                        <a:pt x="1275" y="947"/>
                      </a:lnTo>
                      <a:lnTo>
                        <a:pt x="1276" y="945"/>
                      </a:lnTo>
                      <a:close/>
                      <a:moveTo>
                        <a:pt x="1120" y="976"/>
                      </a:moveTo>
                      <a:lnTo>
                        <a:pt x="1119" y="976"/>
                      </a:lnTo>
                      <a:lnTo>
                        <a:pt x="1118" y="976"/>
                      </a:lnTo>
                      <a:lnTo>
                        <a:pt x="1118" y="975"/>
                      </a:lnTo>
                      <a:lnTo>
                        <a:pt x="1119" y="975"/>
                      </a:lnTo>
                      <a:lnTo>
                        <a:pt x="1120" y="975"/>
                      </a:lnTo>
                      <a:lnTo>
                        <a:pt x="1120" y="976"/>
                      </a:lnTo>
                      <a:close/>
                      <a:moveTo>
                        <a:pt x="1060" y="973"/>
                      </a:moveTo>
                      <a:lnTo>
                        <a:pt x="1061" y="973"/>
                      </a:lnTo>
                      <a:lnTo>
                        <a:pt x="1061" y="975"/>
                      </a:lnTo>
                      <a:lnTo>
                        <a:pt x="1060" y="975"/>
                      </a:lnTo>
                      <a:lnTo>
                        <a:pt x="1060" y="973"/>
                      </a:lnTo>
                      <a:close/>
                      <a:moveTo>
                        <a:pt x="1274" y="947"/>
                      </a:moveTo>
                      <a:lnTo>
                        <a:pt x="1274" y="948"/>
                      </a:lnTo>
                      <a:lnTo>
                        <a:pt x="1273" y="948"/>
                      </a:lnTo>
                      <a:lnTo>
                        <a:pt x="1272" y="948"/>
                      </a:lnTo>
                      <a:lnTo>
                        <a:pt x="1273" y="948"/>
                      </a:lnTo>
                      <a:lnTo>
                        <a:pt x="1274" y="948"/>
                      </a:lnTo>
                      <a:lnTo>
                        <a:pt x="1274" y="947"/>
                      </a:lnTo>
                      <a:lnTo>
                        <a:pt x="1274" y="948"/>
                      </a:lnTo>
                      <a:lnTo>
                        <a:pt x="1273" y="948"/>
                      </a:lnTo>
                      <a:lnTo>
                        <a:pt x="1273" y="947"/>
                      </a:lnTo>
                      <a:lnTo>
                        <a:pt x="1273" y="948"/>
                      </a:lnTo>
                      <a:lnTo>
                        <a:pt x="1273" y="947"/>
                      </a:lnTo>
                      <a:lnTo>
                        <a:pt x="1274" y="947"/>
                      </a:lnTo>
                      <a:close/>
                      <a:moveTo>
                        <a:pt x="1205" y="1044"/>
                      </a:moveTo>
                      <a:lnTo>
                        <a:pt x="1203" y="1044"/>
                      </a:lnTo>
                      <a:lnTo>
                        <a:pt x="1203" y="1043"/>
                      </a:lnTo>
                      <a:lnTo>
                        <a:pt x="1205" y="1043"/>
                      </a:lnTo>
                      <a:lnTo>
                        <a:pt x="1205" y="1042"/>
                      </a:lnTo>
                      <a:lnTo>
                        <a:pt x="1206" y="1042"/>
                      </a:lnTo>
                      <a:lnTo>
                        <a:pt x="1205" y="1043"/>
                      </a:lnTo>
                      <a:lnTo>
                        <a:pt x="1205" y="1044"/>
                      </a:lnTo>
                      <a:close/>
                      <a:moveTo>
                        <a:pt x="990" y="973"/>
                      </a:moveTo>
                      <a:lnTo>
                        <a:pt x="989" y="973"/>
                      </a:lnTo>
                      <a:lnTo>
                        <a:pt x="989" y="974"/>
                      </a:lnTo>
                      <a:lnTo>
                        <a:pt x="990" y="974"/>
                      </a:lnTo>
                      <a:lnTo>
                        <a:pt x="989" y="975"/>
                      </a:lnTo>
                      <a:lnTo>
                        <a:pt x="989" y="974"/>
                      </a:lnTo>
                      <a:lnTo>
                        <a:pt x="989" y="973"/>
                      </a:lnTo>
                      <a:lnTo>
                        <a:pt x="990" y="973"/>
                      </a:lnTo>
                      <a:close/>
                      <a:moveTo>
                        <a:pt x="1022" y="977"/>
                      </a:moveTo>
                      <a:lnTo>
                        <a:pt x="1022" y="978"/>
                      </a:lnTo>
                      <a:lnTo>
                        <a:pt x="1021" y="978"/>
                      </a:lnTo>
                      <a:lnTo>
                        <a:pt x="1021" y="977"/>
                      </a:lnTo>
                      <a:lnTo>
                        <a:pt x="1022" y="977"/>
                      </a:lnTo>
                      <a:lnTo>
                        <a:pt x="1022" y="976"/>
                      </a:lnTo>
                      <a:lnTo>
                        <a:pt x="1024" y="976"/>
                      </a:lnTo>
                      <a:lnTo>
                        <a:pt x="1024" y="977"/>
                      </a:lnTo>
                      <a:lnTo>
                        <a:pt x="1022" y="977"/>
                      </a:lnTo>
                      <a:close/>
                      <a:moveTo>
                        <a:pt x="1133" y="974"/>
                      </a:moveTo>
                      <a:lnTo>
                        <a:pt x="1135" y="974"/>
                      </a:lnTo>
                      <a:lnTo>
                        <a:pt x="1135" y="975"/>
                      </a:lnTo>
                      <a:lnTo>
                        <a:pt x="1133" y="975"/>
                      </a:lnTo>
                      <a:lnTo>
                        <a:pt x="1133" y="974"/>
                      </a:lnTo>
                      <a:close/>
                      <a:moveTo>
                        <a:pt x="1074" y="992"/>
                      </a:moveTo>
                      <a:lnTo>
                        <a:pt x="1071" y="992"/>
                      </a:lnTo>
                      <a:lnTo>
                        <a:pt x="1074" y="992"/>
                      </a:lnTo>
                      <a:close/>
                      <a:moveTo>
                        <a:pt x="1422" y="1120"/>
                      </a:moveTo>
                      <a:lnTo>
                        <a:pt x="1424" y="1120"/>
                      </a:lnTo>
                      <a:lnTo>
                        <a:pt x="1424" y="1121"/>
                      </a:lnTo>
                      <a:lnTo>
                        <a:pt x="1422" y="1121"/>
                      </a:lnTo>
                      <a:lnTo>
                        <a:pt x="1422" y="1120"/>
                      </a:lnTo>
                      <a:close/>
                      <a:moveTo>
                        <a:pt x="1361" y="1153"/>
                      </a:moveTo>
                      <a:lnTo>
                        <a:pt x="1362" y="1153"/>
                      </a:lnTo>
                      <a:lnTo>
                        <a:pt x="1363" y="1153"/>
                      </a:lnTo>
                      <a:lnTo>
                        <a:pt x="1362" y="1153"/>
                      </a:lnTo>
                      <a:lnTo>
                        <a:pt x="1361" y="1153"/>
                      </a:lnTo>
                      <a:lnTo>
                        <a:pt x="1360" y="1153"/>
                      </a:lnTo>
                      <a:lnTo>
                        <a:pt x="1360" y="1151"/>
                      </a:lnTo>
                      <a:lnTo>
                        <a:pt x="1360" y="1150"/>
                      </a:lnTo>
                      <a:lnTo>
                        <a:pt x="1360" y="1149"/>
                      </a:lnTo>
                      <a:lnTo>
                        <a:pt x="1361" y="1150"/>
                      </a:lnTo>
                      <a:lnTo>
                        <a:pt x="1360" y="1150"/>
                      </a:lnTo>
                      <a:lnTo>
                        <a:pt x="1360" y="1151"/>
                      </a:lnTo>
                      <a:lnTo>
                        <a:pt x="1360" y="1153"/>
                      </a:lnTo>
                      <a:lnTo>
                        <a:pt x="1361" y="1153"/>
                      </a:lnTo>
                      <a:close/>
                      <a:moveTo>
                        <a:pt x="1090" y="800"/>
                      </a:moveTo>
                      <a:lnTo>
                        <a:pt x="1092" y="800"/>
                      </a:lnTo>
                      <a:lnTo>
                        <a:pt x="1092" y="801"/>
                      </a:lnTo>
                      <a:lnTo>
                        <a:pt x="1090" y="801"/>
                      </a:lnTo>
                      <a:lnTo>
                        <a:pt x="1090" y="800"/>
                      </a:lnTo>
                      <a:close/>
                      <a:moveTo>
                        <a:pt x="1340" y="1008"/>
                      </a:moveTo>
                      <a:lnTo>
                        <a:pt x="1339" y="1008"/>
                      </a:lnTo>
                      <a:lnTo>
                        <a:pt x="1339" y="1009"/>
                      </a:lnTo>
                      <a:lnTo>
                        <a:pt x="1338" y="1009"/>
                      </a:lnTo>
                      <a:lnTo>
                        <a:pt x="1338" y="1008"/>
                      </a:lnTo>
                      <a:lnTo>
                        <a:pt x="1339" y="1008"/>
                      </a:lnTo>
                      <a:lnTo>
                        <a:pt x="1340" y="1008"/>
                      </a:lnTo>
                      <a:close/>
                      <a:moveTo>
                        <a:pt x="1438" y="1145"/>
                      </a:moveTo>
                      <a:lnTo>
                        <a:pt x="1439" y="1145"/>
                      </a:lnTo>
                      <a:lnTo>
                        <a:pt x="1439" y="1146"/>
                      </a:lnTo>
                      <a:lnTo>
                        <a:pt x="1438" y="1146"/>
                      </a:lnTo>
                      <a:lnTo>
                        <a:pt x="1438" y="1145"/>
                      </a:lnTo>
                      <a:close/>
                      <a:moveTo>
                        <a:pt x="1102" y="813"/>
                      </a:moveTo>
                      <a:lnTo>
                        <a:pt x="1102" y="814"/>
                      </a:lnTo>
                      <a:lnTo>
                        <a:pt x="1103" y="814"/>
                      </a:lnTo>
                      <a:lnTo>
                        <a:pt x="1102" y="814"/>
                      </a:lnTo>
                      <a:lnTo>
                        <a:pt x="1102" y="813"/>
                      </a:lnTo>
                      <a:lnTo>
                        <a:pt x="1100" y="813"/>
                      </a:lnTo>
                      <a:lnTo>
                        <a:pt x="1102" y="813"/>
                      </a:lnTo>
                      <a:lnTo>
                        <a:pt x="1100" y="813"/>
                      </a:lnTo>
                      <a:lnTo>
                        <a:pt x="1100" y="812"/>
                      </a:lnTo>
                      <a:lnTo>
                        <a:pt x="1102" y="812"/>
                      </a:lnTo>
                      <a:lnTo>
                        <a:pt x="1102" y="813"/>
                      </a:lnTo>
                      <a:close/>
                      <a:moveTo>
                        <a:pt x="1312" y="1214"/>
                      </a:moveTo>
                      <a:lnTo>
                        <a:pt x="1311" y="1215"/>
                      </a:lnTo>
                      <a:lnTo>
                        <a:pt x="1311" y="1214"/>
                      </a:lnTo>
                      <a:lnTo>
                        <a:pt x="1312" y="1214"/>
                      </a:lnTo>
                      <a:lnTo>
                        <a:pt x="1313" y="1214"/>
                      </a:lnTo>
                      <a:lnTo>
                        <a:pt x="1313" y="1213"/>
                      </a:lnTo>
                      <a:lnTo>
                        <a:pt x="1314" y="1211"/>
                      </a:lnTo>
                      <a:lnTo>
                        <a:pt x="1315" y="1209"/>
                      </a:lnTo>
                      <a:lnTo>
                        <a:pt x="1316" y="1206"/>
                      </a:lnTo>
                      <a:lnTo>
                        <a:pt x="1316" y="1207"/>
                      </a:lnTo>
                      <a:lnTo>
                        <a:pt x="1315" y="1207"/>
                      </a:lnTo>
                      <a:lnTo>
                        <a:pt x="1314" y="1210"/>
                      </a:lnTo>
                      <a:lnTo>
                        <a:pt x="1314" y="1211"/>
                      </a:lnTo>
                      <a:lnTo>
                        <a:pt x="1314" y="1212"/>
                      </a:lnTo>
                      <a:lnTo>
                        <a:pt x="1313" y="1212"/>
                      </a:lnTo>
                      <a:lnTo>
                        <a:pt x="1313" y="1213"/>
                      </a:lnTo>
                      <a:lnTo>
                        <a:pt x="1312" y="1214"/>
                      </a:lnTo>
                      <a:close/>
                      <a:moveTo>
                        <a:pt x="1097" y="787"/>
                      </a:moveTo>
                      <a:lnTo>
                        <a:pt x="1097" y="788"/>
                      </a:lnTo>
                      <a:lnTo>
                        <a:pt x="1096" y="788"/>
                      </a:lnTo>
                      <a:lnTo>
                        <a:pt x="1096" y="787"/>
                      </a:lnTo>
                      <a:lnTo>
                        <a:pt x="1096" y="788"/>
                      </a:lnTo>
                      <a:lnTo>
                        <a:pt x="1095" y="788"/>
                      </a:lnTo>
                      <a:lnTo>
                        <a:pt x="1094" y="788"/>
                      </a:lnTo>
                      <a:lnTo>
                        <a:pt x="1095" y="788"/>
                      </a:lnTo>
                      <a:lnTo>
                        <a:pt x="1095" y="787"/>
                      </a:lnTo>
                      <a:lnTo>
                        <a:pt x="1095" y="788"/>
                      </a:lnTo>
                      <a:lnTo>
                        <a:pt x="1096" y="788"/>
                      </a:lnTo>
                      <a:lnTo>
                        <a:pt x="1096" y="787"/>
                      </a:lnTo>
                      <a:lnTo>
                        <a:pt x="1097" y="787"/>
                      </a:lnTo>
                      <a:close/>
                      <a:moveTo>
                        <a:pt x="1173" y="990"/>
                      </a:moveTo>
                      <a:lnTo>
                        <a:pt x="1174" y="990"/>
                      </a:lnTo>
                      <a:lnTo>
                        <a:pt x="1174" y="991"/>
                      </a:lnTo>
                      <a:lnTo>
                        <a:pt x="1173" y="991"/>
                      </a:lnTo>
                      <a:lnTo>
                        <a:pt x="1173" y="990"/>
                      </a:lnTo>
                      <a:close/>
                      <a:moveTo>
                        <a:pt x="1353" y="1001"/>
                      </a:moveTo>
                      <a:lnTo>
                        <a:pt x="1353" y="1002"/>
                      </a:lnTo>
                      <a:lnTo>
                        <a:pt x="1352" y="1001"/>
                      </a:lnTo>
                      <a:lnTo>
                        <a:pt x="1352" y="1002"/>
                      </a:lnTo>
                      <a:lnTo>
                        <a:pt x="1352" y="1001"/>
                      </a:lnTo>
                      <a:lnTo>
                        <a:pt x="1351" y="1001"/>
                      </a:lnTo>
                      <a:lnTo>
                        <a:pt x="1350" y="1001"/>
                      </a:lnTo>
                      <a:lnTo>
                        <a:pt x="1351" y="1001"/>
                      </a:lnTo>
                      <a:lnTo>
                        <a:pt x="1352" y="1001"/>
                      </a:lnTo>
                      <a:lnTo>
                        <a:pt x="1353" y="1001"/>
                      </a:lnTo>
                      <a:lnTo>
                        <a:pt x="1353" y="1002"/>
                      </a:lnTo>
                      <a:lnTo>
                        <a:pt x="1353" y="1001"/>
                      </a:lnTo>
                      <a:lnTo>
                        <a:pt x="1354" y="1001"/>
                      </a:lnTo>
                      <a:lnTo>
                        <a:pt x="1353" y="1001"/>
                      </a:lnTo>
                      <a:lnTo>
                        <a:pt x="1354" y="1001"/>
                      </a:lnTo>
                      <a:lnTo>
                        <a:pt x="1353" y="1001"/>
                      </a:lnTo>
                      <a:close/>
                      <a:moveTo>
                        <a:pt x="1362" y="1154"/>
                      </a:moveTo>
                      <a:lnTo>
                        <a:pt x="1361" y="1154"/>
                      </a:lnTo>
                      <a:lnTo>
                        <a:pt x="1360" y="1154"/>
                      </a:lnTo>
                      <a:lnTo>
                        <a:pt x="1362" y="1154"/>
                      </a:lnTo>
                      <a:lnTo>
                        <a:pt x="1362" y="1153"/>
                      </a:lnTo>
                      <a:lnTo>
                        <a:pt x="1362" y="1154"/>
                      </a:lnTo>
                      <a:close/>
                      <a:moveTo>
                        <a:pt x="993" y="967"/>
                      </a:moveTo>
                      <a:lnTo>
                        <a:pt x="994" y="967"/>
                      </a:lnTo>
                      <a:lnTo>
                        <a:pt x="994" y="969"/>
                      </a:lnTo>
                      <a:lnTo>
                        <a:pt x="993" y="969"/>
                      </a:lnTo>
                      <a:lnTo>
                        <a:pt x="993" y="967"/>
                      </a:lnTo>
                      <a:close/>
                      <a:moveTo>
                        <a:pt x="1108" y="825"/>
                      </a:moveTo>
                      <a:lnTo>
                        <a:pt x="1108" y="826"/>
                      </a:lnTo>
                      <a:lnTo>
                        <a:pt x="1108" y="827"/>
                      </a:lnTo>
                      <a:lnTo>
                        <a:pt x="1108" y="828"/>
                      </a:lnTo>
                      <a:lnTo>
                        <a:pt x="1108" y="827"/>
                      </a:lnTo>
                      <a:lnTo>
                        <a:pt x="1108" y="826"/>
                      </a:lnTo>
                      <a:lnTo>
                        <a:pt x="1108" y="825"/>
                      </a:lnTo>
                      <a:lnTo>
                        <a:pt x="1107" y="825"/>
                      </a:lnTo>
                      <a:lnTo>
                        <a:pt x="1108" y="825"/>
                      </a:lnTo>
                      <a:close/>
                      <a:moveTo>
                        <a:pt x="1090" y="982"/>
                      </a:moveTo>
                      <a:lnTo>
                        <a:pt x="1092" y="982"/>
                      </a:lnTo>
                      <a:lnTo>
                        <a:pt x="1092" y="983"/>
                      </a:lnTo>
                      <a:lnTo>
                        <a:pt x="1090" y="983"/>
                      </a:lnTo>
                      <a:lnTo>
                        <a:pt x="1090" y="982"/>
                      </a:lnTo>
                      <a:close/>
                      <a:moveTo>
                        <a:pt x="1128" y="821"/>
                      </a:moveTo>
                      <a:lnTo>
                        <a:pt x="1128" y="822"/>
                      </a:lnTo>
                      <a:lnTo>
                        <a:pt x="1126" y="822"/>
                      </a:lnTo>
                      <a:lnTo>
                        <a:pt x="1128" y="822"/>
                      </a:lnTo>
                      <a:lnTo>
                        <a:pt x="1126" y="822"/>
                      </a:lnTo>
                      <a:lnTo>
                        <a:pt x="1126" y="821"/>
                      </a:lnTo>
                      <a:lnTo>
                        <a:pt x="1128" y="821"/>
                      </a:lnTo>
                      <a:lnTo>
                        <a:pt x="1128" y="820"/>
                      </a:lnTo>
                      <a:lnTo>
                        <a:pt x="1128" y="821"/>
                      </a:lnTo>
                      <a:close/>
                      <a:moveTo>
                        <a:pt x="1081" y="986"/>
                      </a:moveTo>
                      <a:lnTo>
                        <a:pt x="1083" y="986"/>
                      </a:lnTo>
                      <a:lnTo>
                        <a:pt x="1083" y="988"/>
                      </a:lnTo>
                      <a:lnTo>
                        <a:pt x="1081" y="988"/>
                      </a:lnTo>
                      <a:lnTo>
                        <a:pt x="1081" y="986"/>
                      </a:lnTo>
                      <a:close/>
                      <a:moveTo>
                        <a:pt x="1144" y="1011"/>
                      </a:moveTo>
                      <a:lnTo>
                        <a:pt x="1144" y="1012"/>
                      </a:lnTo>
                      <a:lnTo>
                        <a:pt x="1143" y="1012"/>
                      </a:lnTo>
                      <a:lnTo>
                        <a:pt x="1143" y="1011"/>
                      </a:lnTo>
                      <a:lnTo>
                        <a:pt x="1143" y="1012"/>
                      </a:lnTo>
                      <a:lnTo>
                        <a:pt x="1143" y="1011"/>
                      </a:lnTo>
                      <a:lnTo>
                        <a:pt x="1144" y="1011"/>
                      </a:lnTo>
                      <a:close/>
                      <a:moveTo>
                        <a:pt x="1339" y="931"/>
                      </a:moveTo>
                      <a:lnTo>
                        <a:pt x="1340" y="931"/>
                      </a:lnTo>
                      <a:lnTo>
                        <a:pt x="1340" y="932"/>
                      </a:lnTo>
                      <a:lnTo>
                        <a:pt x="1339" y="932"/>
                      </a:lnTo>
                      <a:lnTo>
                        <a:pt x="1339" y="931"/>
                      </a:lnTo>
                      <a:close/>
                      <a:moveTo>
                        <a:pt x="1091" y="788"/>
                      </a:moveTo>
                      <a:lnTo>
                        <a:pt x="1091" y="789"/>
                      </a:lnTo>
                      <a:lnTo>
                        <a:pt x="1090" y="789"/>
                      </a:lnTo>
                      <a:lnTo>
                        <a:pt x="1090" y="788"/>
                      </a:lnTo>
                      <a:lnTo>
                        <a:pt x="1090" y="789"/>
                      </a:lnTo>
                      <a:lnTo>
                        <a:pt x="1090" y="788"/>
                      </a:lnTo>
                      <a:lnTo>
                        <a:pt x="1091" y="788"/>
                      </a:lnTo>
                      <a:lnTo>
                        <a:pt x="1092" y="788"/>
                      </a:lnTo>
                      <a:lnTo>
                        <a:pt x="1091" y="788"/>
                      </a:lnTo>
                      <a:close/>
                      <a:moveTo>
                        <a:pt x="1429" y="1091"/>
                      </a:moveTo>
                      <a:lnTo>
                        <a:pt x="1429" y="1090"/>
                      </a:lnTo>
                      <a:lnTo>
                        <a:pt x="1430" y="1090"/>
                      </a:lnTo>
                      <a:lnTo>
                        <a:pt x="1429" y="1091"/>
                      </a:lnTo>
                      <a:close/>
                      <a:moveTo>
                        <a:pt x="1422" y="1110"/>
                      </a:moveTo>
                      <a:lnTo>
                        <a:pt x="1424" y="1110"/>
                      </a:lnTo>
                      <a:lnTo>
                        <a:pt x="1424" y="1111"/>
                      </a:lnTo>
                      <a:lnTo>
                        <a:pt x="1422" y="1111"/>
                      </a:lnTo>
                      <a:lnTo>
                        <a:pt x="1422" y="1110"/>
                      </a:lnTo>
                      <a:close/>
                      <a:moveTo>
                        <a:pt x="1047" y="935"/>
                      </a:moveTo>
                      <a:lnTo>
                        <a:pt x="1046" y="939"/>
                      </a:lnTo>
                      <a:lnTo>
                        <a:pt x="1046" y="938"/>
                      </a:lnTo>
                      <a:lnTo>
                        <a:pt x="1046" y="936"/>
                      </a:lnTo>
                      <a:lnTo>
                        <a:pt x="1045" y="936"/>
                      </a:lnTo>
                      <a:lnTo>
                        <a:pt x="1045" y="935"/>
                      </a:lnTo>
                      <a:lnTo>
                        <a:pt x="1046" y="936"/>
                      </a:lnTo>
                      <a:lnTo>
                        <a:pt x="1046" y="938"/>
                      </a:lnTo>
                      <a:lnTo>
                        <a:pt x="1046" y="939"/>
                      </a:lnTo>
                      <a:lnTo>
                        <a:pt x="1047" y="936"/>
                      </a:lnTo>
                      <a:lnTo>
                        <a:pt x="1047" y="935"/>
                      </a:lnTo>
                      <a:close/>
                      <a:moveTo>
                        <a:pt x="1073" y="986"/>
                      </a:moveTo>
                      <a:lnTo>
                        <a:pt x="1074" y="986"/>
                      </a:lnTo>
                      <a:lnTo>
                        <a:pt x="1074" y="987"/>
                      </a:lnTo>
                      <a:lnTo>
                        <a:pt x="1073" y="987"/>
                      </a:lnTo>
                      <a:lnTo>
                        <a:pt x="1073" y="986"/>
                      </a:lnTo>
                      <a:close/>
                      <a:moveTo>
                        <a:pt x="1072" y="991"/>
                      </a:moveTo>
                      <a:lnTo>
                        <a:pt x="1073" y="991"/>
                      </a:lnTo>
                      <a:lnTo>
                        <a:pt x="1076" y="991"/>
                      </a:lnTo>
                      <a:lnTo>
                        <a:pt x="1074" y="992"/>
                      </a:lnTo>
                      <a:lnTo>
                        <a:pt x="1072" y="992"/>
                      </a:lnTo>
                      <a:lnTo>
                        <a:pt x="1072" y="991"/>
                      </a:lnTo>
                      <a:close/>
                      <a:moveTo>
                        <a:pt x="1100" y="983"/>
                      </a:moveTo>
                      <a:lnTo>
                        <a:pt x="1099" y="983"/>
                      </a:lnTo>
                      <a:lnTo>
                        <a:pt x="1099" y="984"/>
                      </a:lnTo>
                      <a:lnTo>
                        <a:pt x="1099" y="983"/>
                      </a:lnTo>
                      <a:lnTo>
                        <a:pt x="1098" y="983"/>
                      </a:lnTo>
                      <a:lnTo>
                        <a:pt x="1099" y="982"/>
                      </a:lnTo>
                      <a:lnTo>
                        <a:pt x="1100" y="982"/>
                      </a:lnTo>
                      <a:lnTo>
                        <a:pt x="1099" y="982"/>
                      </a:lnTo>
                      <a:lnTo>
                        <a:pt x="1100" y="983"/>
                      </a:lnTo>
                      <a:close/>
                      <a:moveTo>
                        <a:pt x="1412" y="1114"/>
                      </a:moveTo>
                      <a:lnTo>
                        <a:pt x="1414" y="1114"/>
                      </a:lnTo>
                      <a:lnTo>
                        <a:pt x="1414" y="1115"/>
                      </a:lnTo>
                      <a:lnTo>
                        <a:pt x="1412" y="1115"/>
                      </a:lnTo>
                      <a:lnTo>
                        <a:pt x="1412" y="1114"/>
                      </a:lnTo>
                      <a:close/>
                      <a:moveTo>
                        <a:pt x="1267" y="953"/>
                      </a:moveTo>
                      <a:lnTo>
                        <a:pt x="1268" y="953"/>
                      </a:lnTo>
                      <a:lnTo>
                        <a:pt x="1267" y="953"/>
                      </a:lnTo>
                      <a:lnTo>
                        <a:pt x="1267" y="951"/>
                      </a:lnTo>
                      <a:lnTo>
                        <a:pt x="1268" y="950"/>
                      </a:lnTo>
                      <a:lnTo>
                        <a:pt x="1270" y="950"/>
                      </a:lnTo>
                      <a:lnTo>
                        <a:pt x="1268" y="950"/>
                      </a:lnTo>
                      <a:lnTo>
                        <a:pt x="1268" y="951"/>
                      </a:lnTo>
                      <a:lnTo>
                        <a:pt x="1267" y="952"/>
                      </a:lnTo>
                      <a:lnTo>
                        <a:pt x="1267" y="953"/>
                      </a:lnTo>
                      <a:close/>
                      <a:moveTo>
                        <a:pt x="1184" y="1033"/>
                      </a:moveTo>
                      <a:lnTo>
                        <a:pt x="1185" y="1033"/>
                      </a:lnTo>
                      <a:lnTo>
                        <a:pt x="1186" y="1033"/>
                      </a:lnTo>
                      <a:lnTo>
                        <a:pt x="1186" y="1034"/>
                      </a:lnTo>
                      <a:lnTo>
                        <a:pt x="1185" y="1034"/>
                      </a:lnTo>
                      <a:lnTo>
                        <a:pt x="1184" y="1034"/>
                      </a:lnTo>
                      <a:lnTo>
                        <a:pt x="1183" y="1034"/>
                      </a:lnTo>
                      <a:lnTo>
                        <a:pt x="1184" y="1033"/>
                      </a:lnTo>
                      <a:close/>
                      <a:moveTo>
                        <a:pt x="1050" y="982"/>
                      </a:moveTo>
                      <a:lnTo>
                        <a:pt x="1051" y="982"/>
                      </a:lnTo>
                      <a:lnTo>
                        <a:pt x="1051" y="984"/>
                      </a:lnTo>
                      <a:lnTo>
                        <a:pt x="1050" y="984"/>
                      </a:lnTo>
                      <a:lnTo>
                        <a:pt x="1050" y="982"/>
                      </a:lnTo>
                      <a:close/>
                      <a:moveTo>
                        <a:pt x="1289" y="945"/>
                      </a:moveTo>
                      <a:lnTo>
                        <a:pt x="1290" y="945"/>
                      </a:lnTo>
                      <a:lnTo>
                        <a:pt x="1290" y="947"/>
                      </a:lnTo>
                      <a:lnTo>
                        <a:pt x="1289" y="947"/>
                      </a:lnTo>
                      <a:lnTo>
                        <a:pt x="1289" y="945"/>
                      </a:lnTo>
                      <a:close/>
                      <a:moveTo>
                        <a:pt x="1209" y="1038"/>
                      </a:moveTo>
                      <a:lnTo>
                        <a:pt x="1208" y="1039"/>
                      </a:lnTo>
                      <a:lnTo>
                        <a:pt x="1208" y="1038"/>
                      </a:lnTo>
                      <a:lnTo>
                        <a:pt x="1207" y="1038"/>
                      </a:lnTo>
                      <a:lnTo>
                        <a:pt x="1207" y="1039"/>
                      </a:lnTo>
                      <a:lnTo>
                        <a:pt x="1207" y="1038"/>
                      </a:lnTo>
                      <a:lnTo>
                        <a:pt x="1208" y="1038"/>
                      </a:lnTo>
                      <a:lnTo>
                        <a:pt x="1208" y="1037"/>
                      </a:lnTo>
                      <a:lnTo>
                        <a:pt x="1209" y="1037"/>
                      </a:lnTo>
                      <a:lnTo>
                        <a:pt x="1209" y="1038"/>
                      </a:lnTo>
                      <a:close/>
                      <a:moveTo>
                        <a:pt x="1435" y="1026"/>
                      </a:moveTo>
                      <a:lnTo>
                        <a:pt x="1434" y="1027"/>
                      </a:lnTo>
                      <a:lnTo>
                        <a:pt x="1433" y="1027"/>
                      </a:lnTo>
                      <a:lnTo>
                        <a:pt x="1432" y="1029"/>
                      </a:lnTo>
                      <a:lnTo>
                        <a:pt x="1431" y="1029"/>
                      </a:lnTo>
                      <a:lnTo>
                        <a:pt x="1432" y="1027"/>
                      </a:lnTo>
                      <a:lnTo>
                        <a:pt x="1433" y="1027"/>
                      </a:lnTo>
                      <a:lnTo>
                        <a:pt x="1434" y="1027"/>
                      </a:lnTo>
                      <a:lnTo>
                        <a:pt x="1434" y="1026"/>
                      </a:lnTo>
                      <a:lnTo>
                        <a:pt x="1434" y="1027"/>
                      </a:lnTo>
                      <a:lnTo>
                        <a:pt x="1435" y="1026"/>
                      </a:lnTo>
                      <a:close/>
                      <a:moveTo>
                        <a:pt x="1070" y="990"/>
                      </a:moveTo>
                      <a:lnTo>
                        <a:pt x="1072" y="990"/>
                      </a:lnTo>
                      <a:lnTo>
                        <a:pt x="1072" y="991"/>
                      </a:lnTo>
                      <a:lnTo>
                        <a:pt x="1070" y="991"/>
                      </a:lnTo>
                      <a:lnTo>
                        <a:pt x="1070" y="990"/>
                      </a:lnTo>
                      <a:close/>
                      <a:moveTo>
                        <a:pt x="1433" y="1217"/>
                      </a:moveTo>
                      <a:lnTo>
                        <a:pt x="1434" y="1218"/>
                      </a:lnTo>
                      <a:lnTo>
                        <a:pt x="1435" y="1218"/>
                      </a:lnTo>
                      <a:lnTo>
                        <a:pt x="1435" y="1219"/>
                      </a:lnTo>
                      <a:lnTo>
                        <a:pt x="1434" y="1218"/>
                      </a:lnTo>
                      <a:lnTo>
                        <a:pt x="1434" y="1219"/>
                      </a:lnTo>
                      <a:lnTo>
                        <a:pt x="1435" y="1219"/>
                      </a:lnTo>
                      <a:lnTo>
                        <a:pt x="1435" y="1220"/>
                      </a:lnTo>
                      <a:lnTo>
                        <a:pt x="1434" y="1219"/>
                      </a:lnTo>
                      <a:lnTo>
                        <a:pt x="1434" y="1218"/>
                      </a:lnTo>
                      <a:lnTo>
                        <a:pt x="1433" y="1218"/>
                      </a:lnTo>
                      <a:lnTo>
                        <a:pt x="1433" y="1217"/>
                      </a:lnTo>
                      <a:close/>
                      <a:moveTo>
                        <a:pt x="1085" y="993"/>
                      </a:moveTo>
                      <a:lnTo>
                        <a:pt x="1079" y="992"/>
                      </a:lnTo>
                      <a:lnTo>
                        <a:pt x="1080" y="992"/>
                      </a:lnTo>
                      <a:lnTo>
                        <a:pt x="1085" y="993"/>
                      </a:lnTo>
                      <a:close/>
                      <a:moveTo>
                        <a:pt x="1199" y="921"/>
                      </a:moveTo>
                      <a:lnTo>
                        <a:pt x="1200" y="921"/>
                      </a:lnTo>
                      <a:lnTo>
                        <a:pt x="1200" y="923"/>
                      </a:lnTo>
                      <a:lnTo>
                        <a:pt x="1199" y="923"/>
                      </a:lnTo>
                      <a:lnTo>
                        <a:pt x="1199" y="921"/>
                      </a:lnTo>
                      <a:close/>
                      <a:moveTo>
                        <a:pt x="1418" y="1099"/>
                      </a:moveTo>
                      <a:lnTo>
                        <a:pt x="1417" y="1099"/>
                      </a:lnTo>
                      <a:lnTo>
                        <a:pt x="1416" y="1101"/>
                      </a:lnTo>
                      <a:lnTo>
                        <a:pt x="1416" y="1099"/>
                      </a:lnTo>
                      <a:lnTo>
                        <a:pt x="1417" y="1099"/>
                      </a:lnTo>
                      <a:lnTo>
                        <a:pt x="1418" y="1099"/>
                      </a:lnTo>
                      <a:close/>
                      <a:moveTo>
                        <a:pt x="1047" y="923"/>
                      </a:moveTo>
                      <a:lnTo>
                        <a:pt x="1048" y="923"/>
                      </a:lnTo>
                      <a:lnTo>
                        <a:pt x="1048" y="924"/>
                      </a:lnTo>
                      <a:lnTo>
                        <a:pt x="1047" y="924"/>
                      </a:lnTo>
                      <a:lnTo>
                        <a:pt x="1047" y="923"/>
                      </a:lnTo>
                      <a:close/>
                      <a:moveTo>
                        <a:pt x="1318" y="1106"/>
                      </a:moveTo>
                      <a:lnTo>
                        <a:pt x="1319" y="1107"/>
                      </a:lnTo>
                      <a:lnTo>
                        <a:pt x="1318" y="1106"/>
                      </a:lnTo>
                      <a:lnTo>
                        <a:pt x="1316" y="1108"/>
                      </a:lnTo>
                      <a:lnTo>
                        <a:pt x="1317" y="1108"/>
                      </a:lnTo>
                      <a:lnTo>
                        <a:pt x="1317" y="1109"/>
                      </a:lnTo>
                      <a:lnTo>
                        <a:pt x="1316" y="1109"/>
                      </a:lnTo>
                      <a:lnTo>
                        <a:pt x="1317" y="1109"/>
                      </a:lnTo>
                      <a:lnTo>
                        <a:pt x="1316" y="1109"/>
                      </a:lnTo>
                      <a:lnTo>
                        <a:pt x="1316" y="1108"/>
                      </a:lnTo>
                      <a:lnTo>
                        <a:pt x="1318" y="1106"/>
                      </a:lnTo>
                      <a:close/>
                      <a:moveTo>
                        <a:pt x="1410" y="1133"/>
                      </a:moveTo>
                      <a:lnTo>
                        <a:pt x="1410" y="1134"/>
                      </a:lnTo>
                      <a:lnTo>
                        <a:pt x="1410" y="1133"/>
                      </a:lnTo>
                      <a:lnTo>
                        <a:pt x="1409" y="1133"/>
                      </a:lnTo>
                      <a:lnTo>
                        <a:pt x="1408" y="1133"/>
                      </a:lnTo>
                      <a:lnTo>
                        <a:pt x="1408" y="1134"/>
                      </a:lnTo>
                      <a:lnTo>
                        <a:pt x="1407" y="1134"/>
                      </a:lnTo>
                      <a:lnTo>
                        <a:pt x="1409" y="1133"/>
                      </a:lnTo>
                      <a:lnTo>
                        <a:pt x="1410" y="1133"/>
                      </a:lnTo>
                      <a:close/>
                      <a:moveTo>
                        <a:pt x="1202" y="930"/>
                      </a:moveTo>
                      <a:lnTo>
                        <a:pt x="1203" y="930"/>
                      </a:lnTo>
                      <a:lnTo>
                        <a:pt x="1203" y="931"/>
                      </a:lnTo>
                      <a:lnTo>
                        <a:pt x="1202" y="931"/>
                      </a:lnTo>
                      <a:lnTo>
                        <a:pt x="1202" y="930"/>
                      </a:lnTo>
                      <a:close/>
                      <a:moveTo>
                        <a:pt x="1326" y="1020"/>
                      </a:moveTo>
                      <a:lnTo>
                        <a:pt x="1328" y="1020"/>
                      </a:lnTo>
                      <a:lnTo>
                        <a:pt x="1328" y="1022"/>
                      </a:lnTo>
                      <a:lnTo>
                        <a:pt x="1326" y="1022"/>
                      </a:lnTo>
                      <a:lnTo>
                        <a:pt x="1326" y="1020"/>
                      </a:lnTo>
                      <a:close/>
                      <a:moveTo>
                        <a:pt x="1364" y="1009"/>
                      </a:moveTo>
                      <a:lnTo>
                        <a:pt x="1366" y="1009"/>
                      </a:lnTo>
                      <a:lnTo>
                        <a:pt x="1366" y="1011"/>
                      </a:lnTo>
                      <a:lnTo>
                        <a:pt x="1364" y="1011"/>
                      </a:lnTo>
                      <a:lnTo>
                        <a:pt x="1364" y="1009"/>
                      </a:lnTo>
                      <a:close/>
                      <a:moveTo>
                        <a:pt x="1044" y="936"/>
                      </a:moveTo>
                      <a:lnTo>
                        <a:pt x="1045" y="936"/>
                      </a:lnTo>
                      <a:lnTo>
                        <a:pt x="1045" y="938"/>
                      </a:lnTo>
                      <a:lnTo>
                        <a:pt x="1044" y="938"/>
                      </a:lnTo>
                      <a:lnTo>
                        <a:pt x="1044" y="936"/>
                      </a:lnTo>
                      <a:close/>
                      <a:moveTo>
                        <a:pt x="1357" y="1009"/>
                      </a:moveTo>
                      <a:lnTo>
                        <a:pt x="1358" y="1009"/>
                      </a:lnTo>
                      <a:lnTo>
                        <a:pt x="1358" y="1012"/>
                      </a:lnTo>
                      <a:lnTo>
                        <a:pt x="1357" y="1012"/>
                      </a:lnTo>
                      <a:lnTo>
                        <a:pt x="1357" y="1009"/>
                      </a:lnTo>
                      <a:close/>
                      <a:moveTo>
                        <a:pt x="1046" y="931"/>
                      </a:moveTo>
                      <a:lnTo>
                        <a:pt x="1048" y="931"/>
                      </a:lnTo>
                      <a:lnTo>
                        <a:pt x="1048" y="932"/>
                      </a:lnTo>
                      <a:lnTo>
                        <a:pt x="1046" y="932"/>
                      </a:lnTo>
                      <a:lnTo>
                        <a:pt x="1046" y="931"/>
                      </a:lnTo>
                      <a:close/>
                      <a:moveTo>
                        <a:pt x="1407" y="1122"/>
                      </a:moveTo>
                      <a:lnTo>
                        <a:pt x="1408" y="1122"/>
                      </a:lnTo>
                      <a:lnTo>
                        <a:pt x="1409" y="1122"/>
                      </a:lnTo>
                      <a:lnTo>
                        <a:pt x="1410" y="1120"/>
                      </a:lnTo>
                      <a:lnTo>
                        <a:pt x="1409" y="1122"/>
                      </a:lnTo>
                      <a:lnTo>
                        <a:pt x="1407" y="1122"/>
                      </a:lnTo>
                      <a:lnTo>
                        <a:pt x="1406" y="1122"/>
                      </a:lnTo>
                      <a:lnTo>
                        <a:pt x="1406" y="1121"/>
                      </a:lnTo>
                      <a:lnTo>
                        <a:pt x="1406" y="1120"/>
                      </a:lnTo>
                      <a:lnTo>
                        <a:pt x="1406" y="1121"/>
                      </a:lnTo>
                      <a:lnTo>
                        <a:pt x="1406" y="1122"/>
                      </a:lnTo>
                      <a:lnTo>
                        <a:pt x="1407" y="1122"/>
                      </a:lnTo>
                      <a:close/>
                      <a:moveTo>
                        <a:pt x="1194" y="835"/>
                      </a:moveTo>
                      <a:lnTo>
                        <a:pt x="1195" y="835"/>
                      </a:lnTo>
                      <a:lnTo>
                        <a:pt x="1195" y="837"/>
                      </a:lnTo>
                      <a:lnTo>
                        <a:pt x="1194" y="837"/>
                      </a:lnTo>
                      <a:lnTo>
                        <a:pt x="1194" y="835"/>
                      </a:lnTo>
                      <a:close/>
                      <a:moveTo>
                        <a:pt x="1040" y="990"/>
                      </a:moveTo>
                      <a:lnTo>
                        <a:pt x="1042" y="990"/>
                      </a:lnTo>
                      <a:lnTo>
                        <a:pt x="1042" y="991"/>
                      </a:lnTo>
                      <a:lnTo>
                        <a:pt x="1040" y="991"/>
                      </a:lnTo>
                      <a:lnTo>
                        <a:pt x="1040" y="990"/>
                      </a:lnTo>
                      <a:close/>
                      <a:moveTo>
                        <a:pt x="1092" y="967"/>
                      </a:moveTo>
                      <a:lnTo>
                        <a:pt x="1093" y="967"/>
                      </a:lnTo>
                      <a:lnTo>
                        <a:pt x="1093" y="969"/>
                      </a:lnTo>
                      <a:lnTo>
                        <a:pt x="1092" y="969"/>
                      </a:lnTo>
                      <a:lnTo>
                        <a:pt x="1092" y="967"/>
                      </a:lnTo>
                      <a:close/>
                      <a:moveTo>
                        <a:pt x="1044" y="929"/>
                      </a:moveTo>
                      <a:lnTo>
                        <a:pt x="1046" y="929"/>
                      </a:lnTo>
                      <a:lnTo>
                        <a:pt x="1046" y="930"/>
                      </a:lnTo>
                      <a:lnTo>
                        <a:pt x="1044" y="930"/>
                      </a:lnTo>
                      <a:lnTo>
                        <a:pt x="1044" y="929"/>
                      </a:lnTo>
                      <a:close/>
                      <a:moveTo>
                        <a:pt x="1058" y="938"/>
                      </a:moveTo>
                      <a:lnTo>
                        <a:pt x="1059" y="940"/>
                      </a:lnTo>
                      <a:lnTo>
                        <a:pt x="1060" y="940"/>
                      </a:lnTo>
                      <a:lnTo>
                        <a:pt x="1060" y="941"/>
                      </a:lnTo>
                      <a:lnTo>
                        <a:pt x="1059" y="941"/>
                      </a:lnTo>
                      <a:lnTo>
                        <a:pt x="1059" y="940"/>
                      </a:lnTo>
                      <a:lnTo>
                        <a:pt x="1059" y="939"/>
                      </a:lnTo>
                      <a:lnTo>
                        <a:pt x="1058" y="939"/>
                      </a:lnTo>
                      <a:lnTo>
                        <a:pt x="1058" y="938"/>
                      </a:lnTo>
                      <a:close/>
                      <a:moveTo>
                        <a:pt x="1430" y="1142"/>
                      </a:moveTo>
                      <a:lnTo>
                        <a:pt x="1430" y="1143"/>
                      </a:lnTo>
                      <a:lnTo>
                        <a:pt x="1431" y="1143"/>
                      </a:lnTo>
                      <a:lnTo>
                        <a:pt x="1431" y="1144"/>
                      </a:lnTo>
                      <a:lnTo>
                        <a:pt x="1431" y="1143"/>
                      </a:lnTo>
                      <a:lnTo>
                        <a:pt x="1430" y="1143"/>
                      </a:lnTo>
                      <a:lnTo>
                        <a:pt x="1430" y="1142"/>
                      </a:lnTo>
                      <a:close/>
                      <a:moveTo>
                        <a:pt x="1441" y="1076"/>
                      </a:moveTo>
                      <a:lnTo>
                        <a:pt x="1442" y="1076"/>
                      </a:lnTo>
                      <a:lnTo>
                        <a:pt x="1442" y="1077"/>
                      </a:lnTo>
                      <a:lnTo>
                        <a:pt x="1441" y="1077"/>
                      </a:lnTo>
                      <a:lnTo>
                        <a:pt x="1441" y="1076"/>
                      </a:lnTo>
                      <a:close/>
                      <a:moveTo>
                        <a:pt x="1071" y="981"/>
                      </a:moveTo>
                      <a:lnTo>
                        <a:pt x="1072" y="981"/>
                      </a:lnTo>
                      <a:lnTo>
                        <a:pt x="1074" y="981"/>
                      </a:lnTo>
                      <a:lnTo>
                        <a:pt x="1073" y="982"/>
                      </a:lnTo>
                      <a:lnTo>
                        <a:pt x="1073" y="981"/>
                      </a:lnTo>
                      <a:lnTo>
                        <a:pt x="1072" y="981"/>
                      </a:lnTo>
                      <a:lnTo>
                        <a:pt x="1071" y="981"/>
                      </a:lnTo>
                      <a:close/>
                      <a:moveTo>
                        <a:pt x="1046" y="939"/>
                      </a:moveTo>
                      <a:lnTo>
                        <a:pt x="1046" y="941"/>
                      </a:lnTo>
                      <a:lnTo>
                        <a:pt x="1046" y="939"/>
                      </a:lnTo>
                      <a:lnTo>
                        <a:pt x="1045" y="939"/>
                      </a:lnTo>
                      <a:lnTo>
                        <a:pt x="1044" y="939"/>
                      </a:lnTo>
                      <a:lnTo>
                        <a:pt x="1044" y="937"/>
                      </a:lnTo>
                      <a:lnTo>
                        <a:pt x="1043" y="936"/>
                      </a:lnTo>
                      <a:lnTo>
                        <a:pt x="1044" y="936"/>
                      </a:lnTo>
                      <a:lnTo>
                        <a:pt x="1044" y="935"/>
                      </a:lnTo>
                      <a:lnTo>
                        <a:pt x="1045" y="935"/>
                      </a:lnTo>
                      <a:lnTo>
                        <a:pt x="1045" y="936"/>
                      </a:lnTo>
                      <a:lnTo>
                        <a:pt x="1044" y="936"/>
                      </a:lnTo>
                      <a:lnTo>
                        <a:pt x="1044" y="939"/>
                      </a:lnTo>
                      <a:lnTo>
                        <a:pt x="1045" y="939"/>
                      </a:lnTo>
                      <a:lnTo>
                        <a:pt x="1046" y="939"/>
                      </a:lnTo>
                      <a:close/>
                      <a:moveTo>
                        <a:pt x="1432" y="1141"/>
                      </a:moveTo>
                      <a:lnTo>
                        <a:pt x="1433" y="1141"/>
                      </a:lnTo>
                      <a:lnTo>
                        <a:pt x="1433" y="1142"/>
                      </a:lnTo>
                      <a:lnTo>
                        <a:pt x="1432" y="1142"/>
                      </a:lnTo>
                      <a:lnTo>
                        <a:pt x="1432" y="1141"/>
                      </a:lnTo>
                      <a:close/>
                      <a:moveTo>
                        <a:pt x="1072" y="990"/>
                      </a:moveTo>
                      <a:lnTo>
                        <a:pt x="1071" y="990"/>
                      </a:lnTo>
                      <a:lnTo>
                        <a:pt x="1071" y="989"/>
                      </a:lnTo>
                      <a:lnTo>
                        <a:pt x="1072" y="988"/>
                      </a:lnTo>
                      <a:lnTo>
                        <a:pt x="1072" y="989"/>
                      </a:lnTo>
                      <a:lnTo>
                        <a:pt x="1071" y="990"/>
                      </a:lnTo>
                      <a:lnTo>
                        <a:pt x="1072" y="990"/>
                      </a:lnTo>
                      <a:close/>
                      <a:moveTo>
                        <a:pt x="1121" y="749"/>
                      </a:moveTo>
                      <a:lnTo>
                        <a:pt x="1123" y="749"/>
                      </a:lnTo>
                      <a:lnTo>
                        <a:pt x="1123" y="750"/>
                      </a:lnTo>
                      <a:lnTo>
                        <a:pt x="1121" y="750"/>
                      </a:lnTo>
                      <a:lnTo>
                        <a:pt x="1121" y="749"/>
                      </a:lnTo>
                      <a:close/>
                      <a:moveTo>
                        <a:pt x="1091" y="993"/>
                      </a:moveTo>
                      <a:lnTo>
                        <a:pt x="1086" y="993"/>
                      </a:lnTo>
                      <a:lnTo>
                        <a:pt x="1087" y="993"/>
                      </a:lnTo>
                      <a:lnTo>
                        <a:pt x="1091" y="993"/>
                      </a:lnTo>
                      <a:close/>
                      <a:moveTo>
                        <a:pt x="1363" y="1046"/>
                      </a:moveTo>
                      <a:lnTo>
                        <a:pt x="1364" y="1046"/>
                      </a:lnTo>
                      <a:lnTo>
                        <a:pt x="1364" y="1047"/>
                      </a:lnTo>
                      <a:lnTo>
                        <a:pt x="1363" y="1047"/>
                      </a:lnTo>
                      <a:lnTo>
                        <a:pt x="1363" y="1046"/>
                      </a:lnTo>
                      <a:close/>
                      <a:moveTo>
                        <a:pt x="1137" y="947"/>
                      </a:moveTo>
                      <a:lnTo>
                        <a:pt x="1137" y="948"/>
                      </a:lnTo>
                      <a:lnTo>
                        <a:pt x="1136" y="948"/>
                      </a:lnTo>
                      <a:lnTo>
                        <a:pt x="1136" y="949"/>
                      </a:lnTo>
                      <a:lnTo>
                        <a:pt x="1135" y="949"/>
                      </a:lnTo>
                      <a:lnTo>
                        <a:pt x="1136" y="948"/>
                      </a:lnTo>
                      <a:lnTo>
                        <a:pt x="1136" y="947"/>
                      </a:lnTo>
                      <a:lnTo>
                        <a:pt x="1137" y="947"/>
                      </a:lnTo>
                      <a:close/>
                      <a:moveTo>
                        <a:pt x="1070" y="968"/>
                      </a:moveTo>
                      <a:lnTo>
                        <a:pt x="1071" y="968"/>
                      </a:lnTo>
                      <a:lnTo>
                        <a:pt x="1071" y="970"/>
                      </a:lnTo>
                      <a:lnTo>
                        <a:pt x="1070" y="970"/>
                      </a:lnTo>
                      <a:lnTo>
                        <a:pt x="1070" y="968"/>
                      </a:lnTo>
                      <a:close/>
                      <a:moveTo>
                        <a:pt x="1013" y="968"/>
                      </a:moveTo>
                      <a:lnTo>
                        <a:pt x="1014" y="968"/>
                      </a:lnTo>
                      <a:lnTo>
                        <a:pt x="1014" y="969"/>
                      </a:lnTo>
                      <a:lnTo>
                        <a:pt x="1013" y="969"/>
                      </a:lnTo>
                      <a:lnTo>
                        <a:pt x="1013" y="968"/>
                      </a:lnTo>
                      <a:close/>
                      <a:moveTo>
                        <a:pt x="1192" y="909"/>
                      </a:moveTo>
                      <a:lnTo>
                        <a:pt x="1192" y="910"/>
                      </a:lnTo>
                      <a:lnTo>
                        <a:pt x="1190" y="910"/>
                      </a:lnTo>
                      <a:lnTo>
                        <a:pt x="1189" y="910"/>
                      </a:lnTo>
                      <a:lnTo>
                        <a:pt x="1190" y="909"/>
                      </a:lnTo>
                      <a:lnTo>
                        <a:pt x="1192" y="909"/>
                      </a:lnTo>
                      <a:close/>
                      <a:moveTo>
                        <a:pt x="1352" y="1000"/>
                      </a:moveTo>
                      <a:lnTo>
                        <a:pt x="1354" y="1000"/>
                      </a:lnTo>
                      <a:lnTo>
                        <a:pt x="1354" y="1001"/>
                      </a:lnTo>
                      <a:lnTo>
                        <a:pt x="1352" y="1001"/>
                      </a:lnTo>
                      <a:lnTo>
                        <a:pt x="1352" y="1000"/>
                      </a:lnTo>
                      <a:close/>
                      <a:moveTo>
                        <a:pt x="1087" y="974"/>
                      </a:moveTo>
                      <a:lnTo>
                        <a:pt x="1089" y="974"/>
                      </a:lnTo>
                      <a:lnTo>
                        <a:pt x="1089" y="975"/>
                      </a:lnTo>
                      <a:lnTo>
                        <a:pt x="1089" y="976"/>
                      </a:lnTo>
                      <a:lnTo>
                        <a:pt x="1087" y="976"/>
                      </a:lnTo>
                      <a:lnTo>
                        <a:pt x="1089" y="975"/>
                      </a:lnTo>
                      <a:lnTo>
                        <a:pt x="1087" y="976"/>
                      </a:lnTo>
                      <a:lnTo>
                        <a:pt x="1089" y="975"/>
                      </a:lnTo>
                      <a:lnTo>
                        <a:pt x="1089" y="974"/>
                      </a:lnTo>
                      <a:lnTo>
                        <a:pt x="1087" y="974"/>
                      </a:lnTo>
                      <a:lnTo>
                        <a:pt x="1087" y="975"/>
                      </a:lnTo>
                      <a:lnTo>
                        <a:pt x="1089" y="975"/>
                      </a:lnTo>
                      <a:lnTo>
                        <a:pt x="1087" y="975"/>
                      </a:lnTo>
                      <a:lnTo>
                        <a:pt x="1087" y="974"/>
                      </a:lnTo>
                      <a:close/>
                      <a:moveTo>
                        <a:pt x="1070" y="966"/>
                      </a:moveTo>
                      <a:lnTo>
                        <a:pt x="1069" y="966"/>
                      </a:lnTo>
                      <a:lnTo>
                        <a:pt x="1069" y="964"/>
                      </a:lnTo>
                      <a:lnTo>
                        <a:pt x="1069" y="963"/>
                      </a:lnTo>
                      <a:lnTo>
                        <a:pt x="1069" y="962"/>
                      </a:lnTo>
                      <a:lnTo>
                        <a:pt x="1069" y="963"/>
                      </a:lnTo>
                      <a:lnTo>
                        <a:pt x="1069" y="964"/>
                      </a:lnTo>
                      <a:lnTo>
                        <a:pt x="1069" y="965"/>
                      </a:lnTo>
                      <a:lnTo>
                        <a:pt x="1070" y="966"/>
                      </a:lnTo>
                      <a:close/>
                      <a:moveTo>
                        <a:pt x="1329" y="1187"/>
                      </a:moveTo>
                      <a:lnTo>
                        <a:pt x="1328" y="1187"/>
                      </a:lnTo>
                      <a:lnTo>
                        <a:pt x="1329" y="1188"/>
                      </a:lnTo>
                      <a:lnTo>
                        <a:pt x="1329" y="1189"/>
                      </a:lnTo>
                      <a:lnTo>
                        <a:pt x="1329" y="1188"/>
                      </a:lnTo>
                      <a:lnTo>
                        <a:pt x="1328" y="1187"/>
                      </a:lnTo>
                      <a:lnTo>
                        <a:pt x="1329" y="1186"/>
                      </a:lnTo>
                      <a:lnTo>
                        <a:pt x="1329" y="1187"/>
                      </a:lnTo>
                      <a:close/>
                      <a:moveTo>
                        <a:pt x="1430" y="1127"/>
                      </a:moveTo>
                      <a:lnTo>
                        <a:pt x="1431" y="1127"/>
                      </a:lnTo>
                      <a:lnTo>
                        <a:pt x="1431" y="1128"/>
                      </a:lnTo>
                      <a:lnTo>
                        <a:pt x="1431" y="1127"/>
                      </a:lnTo>
                      <a:lnTo>
                        <a:pt x="1431" y="1128"/>
                      </a:lnTo>
                      <a:lnTo>
                        <a:pt x="1432" y="1128"/>
                      </a:lnTo>
                      <a:lnTo>
                        <a:pt x="1432" y="1129"/>
                      </a:lnTo>
                      <a:lnTo>
                        <a:pt x="1431" y="1129"/>
                      </a:lnTo>
                      <a:lnTo>
                        <a:pt x="1431" y="1128"/>
                      </a:lnTo>
                      <a:lnTo>
                        <a:pt x="1430" y="1127"/>
                      </a:lnTo>
                      <a:lnTo>
                        <a:pt x="1429" y="1127"/>
                      </a:lnTo>
                      <a:lnTo>
                        <a:pt x="1430" y="1127"/>
                      </a:lnTo>
                      <a:close/>
                      <a:moveTo>
                        <a:pt x="1059" y="970"/>
                      </a:moveTo>
                      <a:lnTo>
                        <a:pt x="1060" y="970"/>
                      </a:lnTo>
                      <a:lnTo>
                        <a:pt x="1060" y="971"/>
                      </a:lnTo>
                      <a:lnTo>
                        <a:pt x="1059" y="971"/>
                      </a:lnTo>
                      <a:lnTo>
                        <a:pt x="1059" y="970"/>
                      </a:lnTo>
                      <a:close/>
                      <a:moveTo>
                        <a:pt x="1160" y="964"/>
                      </a:moveTo>
                      <a:lnTo>
                        <a:pt x="1162" y="964"/>
                      </a:lnTo>
                      <a:lnTo>
                        <a:pt x="1162" y="965"/>
                      </a:lnTo>
                      <a:lnTo>
                        <a:pt x="1160" y="965"/>
                      </a:lnTo>
                      <a:lnTo>
                        <a:pt x="1160" y="964"/>
                      </a:lnTo>
                      <a:close/>
                      <a:moveTo>
                        <a:pt x="1282" y="1127"/>
                      </a:moveTo>
                      <a:lnTo>
                        <a:pt x="1283" y="1127"/>
                      </a:lnTo>
                      <a:lnTo>
                        <a:pt x="1283" y="1128"/>
                      </a:lnTo>
                      <a:lnTo>
                        <a:pt x="1282" y="1128"/>
                      </a:lnTo>
                      <a:lnTo>
                        <a:pt x="1282" y="1127"/>
                      </a:lnTo>
                      <a:close/>
                      <a:moveTo>
                        <a:pt x="1116" y="803"/>
                      </a:moveTo>
                      <a:lnTo>
                        <a:pt x="1116" y="804"/>
                      </a:lnTo>
                      <a:lnTo>
                        <a:pt x="1116" y="806"/>
                      </a:lnTo>
                      <a:lnTo>
                        <a:pt x="1116" y="804"/>
                      </a:lnTo>
                      <a:lnTo>
                        <a:pt x="1117" y="804"/>
                      </a:lnTo>
                      <a:lnTo>
                        <a:pt x="1117" y="806"/>
                      </a:lnTo>
                      <a:lnTo>
                        <a:pt x="1116" y="806"/>
                      </a:lnTo>
                      <a:lnTo>
                        <a:pt x="1117" y="806"/>
                      </a:lnTo>
                      <a:lnTo>
                        <a:pt x="1116" y="806"/>
                      </a:lnTo>
                      <a:lnTo>
                        <a:pt x="1116" y="804"/>
                      </a:lnTo>
                      <a:lnTo>
                        <a:pt x="1115" y="804"/>
                      </a:lnTo>
                      <a:lnTo>
                        <a:pt x="1115" y="803"/>
                      </a:lnTo>
                      <a:lnTo>
                        <a:pt x="1116" y="803"/>
                      </a:lnTo>
                      <a:close/>
                      <a:moveTo>
                        <a:pt x="1362" y="1148"/>
                      </a:moveTo>
                      <a:lnTo>
                        <a:pt x="1363" y="1148"/>
                      </a:lnTo>
                      <a:lnTo>
                        <a:pt x="1363" y="1149"/>
                      </a:lnTo>
                      <a:lnTo>
                        <a:pt x="1362" y="1149"/>
                      </a:lnTo>
                      <a:lnTo>
                        <a:pt x="1362" y="1148"/>
                      </a:lnTo>
                      <a:close/>
                      <a:moveTo>
                        <a:pt x="1288" y="971"/>
                      </a:moveTo>
                      <a:lnTo>
                        <a:pt x="1289" y="971"/>
                      </a:lnTo>
                      <a:lnTo>
                        <a:pt x="1289" y="974"/>
                      </a:lnTo>
                      <a:lnTo>
                        <a:pt x="1288" y="974"/>
                      </a:lnTo>
                      <a:lnTo>
                        <a:pt x="1288" y="971"/>
                      </a:lnTo>
                      <a:close/>
                      <a:moveTo>
                        <a:pt x="1134" y="852"/>
                      </a:moveTo>
                      <a:lnTo>
                        <a:pt x="1135" y="852"/>
                      </a:lnTo>
                      <a:lnTo>
                        <a:pt x="1136" y="852"/>
                      </a:lnTo>
                      <a:lnTo>
                        <a:pt x="1136" y="853"/>
                      </a:lnTo>
                      <a:lnTo>
                        <a:pt x="1135" y="853"/>
                      </a:lnTo>
                      <a:lnTo>
                        <a:pt x="1134" y="853"/>
                      </a:lnTo>
                      <a:lnTo>
                        <a:pt x="1134" y="852"/>
                      </a:lnTo>
                      <a:close/>
                      <a:moveTo>
                        <a:pt x="1091" y="980"/>
                      </a:moveTo>
                      <a:lnTo>
                        <a:pt x="1092" y="980"/>
                      </a:lnTo>
                      <a:lnTo>
                        <a:pt x="1092" y="982"/>
                      </a:lnTo>
                      <a:lnTo>
                        <a:pt x="1091" y="982"/>
                      </a:lnTo>
                      <a:lnTo>
                        <a:pt x="1091" y="980"/>
                      </a:lnTo>
                      <a:close/>
                      <a:moveTo>
                        <a:pt x="1421" y="1118"/>
                      </a:moveTo>
                      <a:lnTo>
                        <a:pt x="1422" y="1118"/>
                      </a:lnTo>
                      <a:lnTo>
                        <a:pt x="1422" y="1119"/>
                      </a:lnTo>
                      <a:lnTo>
                        <a:pt x="1421" y="1119"/>
                      </a:lnTo>
                      <a:lnTo>
                        <a:pt x="1421" y="1118"/>
                      </a:lnTo>
                      <a:close/>
                      <a:moveTo>
                        <a:pt x="1422" y="1095"/>
                      </a:moveTo>
                      <a:lnTo>
                        <a:pt x="1424" y="1095"/>
                      </a:lnTo>
                      <a:lnTo>
                        <a:pt x="1424" y="1096"/>
                      </a:lnTo>
                      <a:lnTo>
                        <a:pt x="1422" y="1096"/>
                      </a:lnTo>
                      <a:lnTo>
                        <a:pt x="1422" y="1095"/>
                      </a:lnTo>
                      <a:close/>
                      <a:moveTo>
                        <a:pt x="1363" y="1005"/>
                      </a:moveTo>
                      <a:lnTo>
                        <a:pt x="1365" y="1005"/>
                      </a:lnTo>
                      <a:lnTo>
                        <a:pt x="1365" y="1006"/>
                      </a:lnTo>
                      <a:lnTo>
                        <a:pt x="1363" y="1006"/>
                      </a:lnTo>
                      <a:lnTo>
                        <a:pt x="1363" y="1005"/>
                      </a:lnTo>
                      <a:close/>
                      <a:moveTo>
                        <a:pt x="1366" y="1040"/>
                      </a:moveTo>
                      <a:lnTo>
                        <a:pt x="1366" y="1042"/>
                      </a:lnTo>
                      <a:lnTo>
                        <a:pt x="1366" y="1040"/>
                      </a:lnTo>
                      <a:close/>
                      <a:moveTo>
                        <a:pt x="1116" y="850"/>
                      </a:moveTo>
                      <a:lnTo>
                        <a:pt x="1118" y="850"/>
                      </a:lnTo>
                      <a:lnTo>
                        <a:pt x="1118" y="851"/>
                      </a:lnTo>
                      <a:lnTo>
                        <a:pt x="1116" y="851"/>
                      </a:lnTo>
                      <a:lnTo>
                        <a:pt x="1116" y="850"/>
                      </a:lnTo>
                      <a:close/>
                      <a:moveTo>
                        <a:pt x="1414" y="1128"/>
                      </a:moveTo>
                      <a:lnTo>
                        <a:pt x="1414" y="1129"/>
                      </a:lnTo>
                      <a:lnTo>
                        <a:pt x="1415" y="1129"/>
                      </a:lnTo>
                      <a:lnTo>
                        <a:pt x="1416" y="1129"/>
                      </a:lnTo>
                      <a:lnTo>
                        <a:pt x="1415" y="1129"/>
                      </a:lnTo>
                      <a:lnTo>
                        <a:pt x="1414" y="1129"/>
                      </a:lnTo>
                      <a:lnTo>
                        <a:pt x="1414" y="1128"/>
                      </a:lnTo>
                      <a:close/>
                      <a:moveTo>
                        <a:pt x="1025" y="967"/>
                      </a:moveTo>
                      <a:lnTo>
                        <a:pt x="1027" y="967"/>
                      </a:lnTo>
                      <a:lnTo>
                        <a:pt x="1027" y="968"/>
                      </a:lnTo>
                      <a:lnTo>
                        <a:pt x="1025" y="968"/>
                      </a:lnTo>
                      <a:lnTo>
                        <a:pt x="1025" y="967"/>
                      </a:lnTo>
                      <a:close/>
                      <a:moveTo>
                        <a:pt x="1363" y="1045"/>
                      </a:moveTo>
                      <a:lnTo>
                        <a:pt x="1364" y="1045"/>
                      </a:lnTo>
                      <a:lnTo>
                        <a:pt x="1364" y="1046"/>
                      </a:lnTo>
                      <a:lnTo>
                        <a:pt x="1363" y="1046"/>
                      </a:lnTo>
                      <a:lnTo>
                        <a:pt x="1363" y="1045"/>
                      </a:lnTo>
                      <a:close/>
                      <a:moveTo>
                        <a:pt x="1106" y="984"/>
                      </a:moveTo>
                      <a:lnTo>
                        <a:pt x="1108" y="984"/>
                      </a:lnTo>
                      <a:lnTo>
                        <a:pt x="1108" y="986"/>
                      </a:lnTo>
                      <a:lnTo>
                        <a:pt x="1106" y="986"/>
                      </a:lnTo>
                      <a:lnTo>
                        <a:pt x="1106" y="984"/>
                      </a:lnTo>
                      <a:close/>
                      <a:moveTo>
                        <a:pt x="1192" y="921"/>
                      </a:moveTo>
                      <a:lnTo>
                        <a:pt x="1193" y="921"/>
                      </a:lnTo>
                      <a:lnTo>
                        <a:pt x="1193" y="923"/>
                      </a:lnTo>
                      <a:lnTo>
                        <a:pt x="1192" y="923"/>
                      </a:lnTo>
                      <a:lnTo>
                        <a:pt x="1192" y="921"/>
                      </a:lnTo>
                      <a:close/>
                      <a:moveTo>
                        <a:pt x="1246" y="941"/>
                      </a:moveTo>
                      <a:lnTo>
                        <a:pt x="1245" y="941"/>
                      </a:lnTo>
                      <a:lnTo>
                        <a:pt x="1246" y="941"/>
                      </a:lnTo>
                      <a:lnTo>
                        <a:pt x="1246" y="940"/>
                      </a:lnTo>
                      <a:lnTo>
                        <a:pt x="1246" y="941"/>
                      </a:lnTo>
                      <a:close/>
                      <a:moveTo>
                        <a:pt x="1138" y="979"/>
                      </a:moveTo>
                      <a:lnTo>
                        <a:pt x="1140" y="980"/>
                      </a:lnTo>
                      <a:lnTo>
                        <a:pt x="1142" y="982"/>
                      </a:lnTo>
                      <a:lnTo>
                        <a:pt x="1140" y="980"/>
                      </a:lnTo>
                      <a:lnTo>
                        <a:pt x="1138" y="979"/>
                      </a:lnTo>
                      <a:close/>
                      <a:moveTo>
                        <a:pt x="1364" y="1038"/>
                      </a:moveTo>
                      <a:lnTo>
                        <a:pt x="1365" y="1038"/>
                      </a:lnTo>
                      <a:lnTo>
                        <a:pt x="1365" y="1039"/>
                      </a:lnTo>
                      <a:lnTo>
                        <a:pt x="1364" y="1039"/>
                      </a:lnTo>
                      <a:lnTo>
                        <a:pt x="1364" y="1038"/>
                      </a:lnTo>
                      <a:close/>
                      <a:moveTo>
                        <a:pt x="1341" y="1000"/>
                      </a:moveTo>
                      <a:lnTo>
                        <a:pt x="1343" y="1000"/>
                      </a:lnTo>
                      <a:lnTo>
                        <a:pt x="1343" y="1001"/>
                      </a:lnTo>
                      <a:lnTo>
                        <a:pt x="1341" y="1001"/>
                      </a:lnTo>
                      <a:lnTo>
                        <a:pt x="1341" y="1000"/>
                      </a:lnTo>
                      <a:close/>
                      <a:moveTo>
                        <a:pt x="1043" y="940"/>
                      </a:moveTo>
                      <a:lnTo>
                        <a:pt x="1044" y="940"/>
                      </a:lnTo>
                      <a:lnTo>
                        <a:pt x="1043" y="940"/>
                      </a:lnTo>
                      <a:close/>
                      <a:moveTo>
                        <a:pt x="1279" y="952"/>
                      </a:moveTo>
                      <a:lnTo>
                        <a:pt x="1278" y="953"/>
                      </a:lnTo>
                      <a:lnTo>
                        <a:pt x="1277" y="953"/>
                      </a:lnTo>
                      <a:lnTo>
                        <a:pt x="1278" y="953"/>
                      </a:lnTo>
                      <a:lnTo>
                        <a:pt x="1278" y="952"/>
                      </a:lnTo>
                      <a:lnTo>
                        <a:pt x="1279" y="952"/>
                      </a:lnTo>
                      <a:close/>
                      <a:moveTo>
                        <a:pt x="1133" y="1008"/>
                      </a:moveTo>
                      <a:lnTo>
                        <a:pt x="1132" y="1008"/>
                      </a:lnTo>
                      <a:lnTo>
                        <a:pt x="1131" y="1008"/>
                      </a:lnTo>
                      <a:lnTo>
                        <a:pt x="1131" y="1007"/>
                      </a:lnTo>
                      <a:lnTo>
                        <a:pt x="1132" y="1007"/>
                      </a:lnTo>
                      <a:lnTo>
                        <a:pt x="1131" y="1007"/>
                      </a:lnTo>
                      <a:lnTo>
                        <a:pt x="1133" y="1007"/>
                      </a:lnTo>
                      <a:lnTo>
                        <a:pt x="1133" y="1008"/>
                      </a:lnTo>
                      <a:close/>
                      <a:moveTo>
                        <a:pt x="1077" y="935"/>
                      </a:moveTo>
                      <a:lnTo>
                        <a:pt x="1078" y="935"/>
                      </a:lnTo>
                      <a:lnTo>
                        <a:pt x="1078" y="936"/>
                      </a:lnTo>
                      <a:lnTo>
                        <a:pt x="1077" y="936"/>
                      </a:lnTo>
                      <a:lnTo>
                        <a:pt x="1077" y="935"/>
                      </a:lnTo>
                      <a:close/>
                      <a:moveTo>
                        <a:pt x="1105" y="782"/>
                      </a:moveTo>
                      <a:lnTo>
                        <a:pt x="1106" y="782"/>
                      </a:lnTo>
                      <a:lnTo>
                        <a:pt x="1107" y="782"/>
                      </a:lnTo>
                      <a:lnTo>
                        <a:pt x="1107" y="783"/>
                      </a:lnTo>
                      <a:lnTo>
                        <a:pt x="1106" y="782"/>
                      </a:lnTo>
                      <a:lnTo>
                        <a:pt x="1105" y="782"/>
                      </a:lnTo>
                      <a:close/>
                      <a:moveTo>
                        <a:pt x="1005" y="955"/>
                      </a:moveTo>
                      <a:lnTo>
                        <a:pt x="1006" y="955"/>
                      </a:lnTo>
                      <a:lnTo>
                        <a:pt x="1007" y="955"/>
                      </a:lnTo>
                      <a:lnTo>
                        <a:pt x="1006" y="955"/>
                      </a:lnTo>
                      <a:lnTo>
                        <a:pt x="1005" y="955"/>
                      </a:lnTo>
                      <a:lnTo>
                        <a:pt x="1005" y="954"/>
                      </a:lnTo>
                      <a:lnTo>
                        <a:pt x="1005" y="955"/>
                      </a:lnTo>
                      <a:close/>
                      <a:moveTo>
                        <a:pt x="1038" y="925"/>
                      </a:moveTo>
                      <a:lnTo>
                        <a:pt x="1039" y="925"/>
                      </a:lnTo>
                      <a:lnTo>
                        <a:pt x="1039" y="926"/>
                      </a:lnTo>
                      <a:lnTo>
                        <a:pt x="1038" y="926"/>
                      </a:lnTo>
                      <a:lnTo>
                        <a:pt x="1038" y="925"/>
                      </a:lnTo>
                      <a:close/>
                      <a:moveTo>
                        <a:pt x="1434" y="1135"/>
                      </a:moveTo>
                      <a:lnTo>
                        <a:pt x="1435" y="1135"/>
                      </a:lnTo>
                      <a:lnTo>
                        <a:pt x="1435" y="1136"/>
                      </a:lnTo>
                      <a:lnTo>
                        <a:pt x="1434" y="1136"/>
                      </a:lnTo>
                      <a:lnTo>
                        <a:pt x="1434" y="1135"/>
                      </a:lnTo>
                      <a:close/>
                      <a:moveTo>
                        <a:pt x="1099" y="815"/>
                      </a:moveTo>
                      <a:lnTo>
                        <a:pt x="1098" y="814"/>
                      </a:lnTo>
                      <a:lnTo>
                        <a:pt x="1097" y="814"/>
                      </a:lnTo>
                      <a:lnTo>
                        <a:pt x="1098" y="813"/>
                      </a:lnTo>
                      <a:lnTo>
                        <a:pt x="1098" y="814"/>
                      </a:lnTo>
                      <a:lnTo>
                        <a:pt x="1099" y="814"/>
                      </a:lnTo>
                      <a:lnTo>
                        <a:pt x="1099" y="815"/>
                      </a:lnTo>
                      <a:close/>
                      <a:moveTo>
                        <a:pt x="1109" y="996"/>
                      </a:moveTo>
                      <a:lnTo>
                        <a:pt x="1108" y="996"/>
                      </a:lnTo>
                      <a:lnTo>
                        <a:pt x="1103" y="995"/>
                      </a:lnTo>
                      <a:lnTo>
                        <a:pt x="1109" y="996"/>
                      </a:lnTo>
                      <a:close/>
                      <a:moveTo>
                        <a:pt x="1432" y="1134"/>
                      </a:moveTo>
                      <a:lnTo>
                        <a:pt x="1431" y="1134"/>
                      </a:lnTo>
                      <a:lnTo>
                        <a:pt x="1430" y="1134"/>
                      </a:lnTo>
                      <a:lnTo>
                        <a:pt x="1430" y="1133"/>
                      </a:lnTo>
                      <a:lnTo>
                        <a:pt x="1431" y="1133"/>
                      </a:lnTo>
                      <a:lnTo>
                        <a:pt x="1430" y="1133"/>
                      </a:lnTo>
                      <a:lnTo>
                        <a:pt x="1431" y="1133"/>
                      </a:lnTo>
                      <a:lnTo>
                        <a:pt x="1431" y="1134"/>
                      </a:lnTo>
                      <a:lnTo>
                        <a:pt x="1432" y="1134"/>
                      </a:lnTo>
                      <a:close/>
                      <a:moveTo>
                        <a:pt x="1409" y="1111"/>
                      </a:moveTo>
                      <a:lnTo>
                        <a:pt x="1410" y="1111"/>
                      </a:lnTo>
                      <a:lnTo>
                        <a:pt x="1410" y="1112"/>
                      </a:lnTo>
                      <a:lnTo>
                        <a:pt x="1409" y="1112"/>
                      </a:lnTo>
                      <a:lnTo>
                        <a:pt x="1409" y="1111"/>
                      </a:lnTo>
                      <a:close/>
                      <a:moveTo>
                        <a:pt x="1055" y="990"/>
                      </a:moveTo>
                      <a:lnTo>
                        <a:pt x="1054" y="990"/>
                      </a:lnTo>
                      <a:lnTo>
                        <a:pt x="1053" y="990"/>
                      </a:lnTo>
                      <a:lnTo>
                        <a:pt x="1055" y="990"/>
                      </a:lnTo>
                      <a:close/>
                      <a:moveTo>
                        <a:pt x="1206" y="1040"/>
                      </a:moveTo>
                      <a:lnTo>
                        <a:pt x="1205" y="1040"/>
                      </a:lnTo>
                      <a:lnTo>
                        <a:pt x="1206" y="1039"/>
                      </a:lnTo>
                      <a:lnTo>
                        <a:pt x="1206" y="1038"/>
                      </a:lnTo>
                      <a:lnTo>
                        <a:pt x="1206" y="1039"/>
                      </a:lnTo>
                      <a:lnTo>
                        <a:pt x="1206" y="1040"/>
                      </a:lnTo>
                      <a:close/>
                      <a:moveTo>
                        <a:pt x="1364" y="1048"/>
                      </a:moveTo>
                      <a:lnTo>
                        <a:pt x="1365" y="1048"/>
                      </a:lnTo>
                      <a:lnTo>
                        <a:pt x="1365" y="1051"/>
                      </a:lnTo>
                      <a:lnTo>
                        <a:pt x="1364" y="1051"/>
                      </a:lnTo>
                      <a:lnTo>
                        <a:pt x="1364" y="1048"/>
                      </a:lnTo>
                      <a:close/>
                      <a:moveTo>
                        <a:pt x="1327" y="1194"/>
                      </a:moveTo>
                      <a:lnTo>
                        <a:pt x="1326" y="1194"/>
                      </a:lnTo>
                      <a:lnTo>
                        <a:pt x="1326" y="1193"/>
                      </a:lnTo>
                      <a:lnTo>
                        <a:pt x="1325" y="1192"/>
                      </a:lnTo>
                      <a:lnTo>
                        <a:pt x="1325" y="1191"/>
                      </a:lnTo>
                      <a:lnTo>
                        <a:pt x="1325" y="1192"/>
                      </a:lnTo>
                      <a:lnTo>
                        <a:pt x="1326" y="1193"/>
                      </a:lnTo>
                      <a:lnTo>
                        <a:pt x="1327" y="1194"/>
                      </a:lnTo>
                      <a:close/>
                      <a:moveTo>
                        <a:pt x="1286" y="961"/>
                      </a:moveTo>
                      <a:lnTo>
                        <a:pt x="1286" y="962"/>
                      </a:lnTo>
                      <a:lnTo>
                        <a:pt x="1287" y="962"/>
                      </a:lnTo>
                      <a:lnTo>
                        <a:pt x="1286" y="963"/>
                      </a:lnTo>
                      <a:lnTo>
                        <a:pt x="1287" y="964"/>
                      </a:lnTo>
                      <a:lnTo>
                        <a:pt x="1286" y="964"/>
                      </a:lnTo>
                      <a:lnTo>
                        <a:pt x="1286" y="963"/>
                      </a:lnTo>
                      <a:lnTo>
                        <a:pt x="1286" y="962"/>
                      </a:lnTo>
                      <a:lnTo>
                        <a:pt x="1286" y="961"/>
                      </a:lnTo>
                      <a:lnTo>
                        <a:pt x="1285" y="962"/>
                      </a:lnTo>
                      <a:lnTo>
                        <a:pt x="1285" y="961"/>
                      </a:lnTo>
                      <a:lnTo>
                        <a:pt x="1286" y="961"/>
                      </a:lnTo>
                      <a:close/>
                      <a:moveTo>
                        <a:pt x="1017" y="969"/>
                      </a:moveTo>
                      <a:lnTo>
                        <a:pt x="1018" y="969"/>
                      </a:lnTo>
                      <a:lnTo>
                        <a:pt x="1018" y="970"/>
                      </a:lnTo>
                      <a:lnTo>
                        <a:pt x="1018" y="969"/>
                      </a:lnTo>
                      <a:lnTo>
                        <a:pt x="1018" y="970"/>
                      </a:lnTo>
                      <a:lnTo>
                        <a:pt x="1017" y="970"/>
                      </a:lnTo>
                      <a:lnTo>
                        <a:pt x="1016" y="970"/>
                      </a:lnTo>
                      <a:lnTo>
                        <a:pt x="1017" y="970"/>
                      </a:lnTo>
                      <a:lnTo>
                        <a:pt x="1017" y="969"/>
                      </a:lnTo>
                      <a:close/>
                      <a:moveTo>
                        <a:pt x="1125" y="951"/>
                      </a:moveTo>
                      <a:lnTo>
                        <a:pt x="1126" y="951"/>
                      </a:lnTo>
                      <a:lnTo>
                        <a:pt x="1126" y="952"/>
                      </a:lnTo>
                      <a:lnTo>
                        <a:pt x="1125" y="952"/>
                      </a:lnTo>
                      <a:lnTo>
                        <a:pt x="1125" y="951"/>
                      </a:lnTo>
                      <a:close/>
                      <a:moveTo>
                        <a:pt x="1112" y="950"/>
                      </a:moveTo>
                      <a:lnTo>
                        <a:pt x="1113" y="951"/>
                      </a:lnTo>
                      <a:lnTo>
                        <a:pt x="1112" y="951"/>
                      </a:lnTo>
                      <a:lnTo>
                        <a:pt x="1111" y="951"/>
                      </a:lnTo>
                      <a:lnTo>
                        <a:pt x="1111" y="950"/>
                      </a:lnTo>
                      <a:lnTo>
                        <a:pt x="1112" y="950"/>
                      </a:lnTo>
                      <a:close/>
                      <a:moveTo>
                        <a:pt x="1068" y="991"/>
                      </a:moveTo>
                      <a:lnTo>
                        <a:pt x="1069" y="991"/>
                      </a:lnTo>
                      <a:lnTo>
                        <a:pt x="1070" y="992"/>
                      </a:lnTo>
                      <a:lnTo>
                        <a:pt x="1071" y="992"/>
                      </a:lnTo>
                      <a:lnTo>
                        <a:pt x="1070" y="992"/>
                      </a:lnTo>
                      <a:lnTo>
                        <a:pt x="1069" y="992"/>
                      </a:lnTo>
                      <a:lnTo>
                        <a:pt x="1068" y="992"/>
                      </a:lnTo>
                      <a:lnTo>
                        <a:pt x="1068" y="991"/>
                      </a:lnTo>
                      <a:close/>
                      <a:moveTo>
                        <a:pt x="1284" y="1120"/>
                      </a:moveTo>
                      <a:lnTo>
                        <a:pt x="1285" y="1120"/>
                      </a:lnTo>
                      <a:lnTo>
                        <a:pt x="1285" y="1121"/>
                      </a:lnTo>
                      <a:lnTo>
                        <a:pt x="1284" y="1121"/>
                      </a:lnTo>
                      <a:lnTo>
                        <a:pt x="1284" y="1120"/>
                      </a:lnTo>
                      <a:close/>
                      <a:moveTo>
                        <a:pt x="1017" y="968"/>
                      </a:moveTo>
                      <a:lnTo>
                        <a:pt x="1018" y="968"/>
                      </a:lnTo>
                      <a:lnTo>
                        <a:pt x="1018" y="969"/>
                      </a:lnTo>
                      <a:lnTo>
                        <a:pt x="1017" y="969"/>
                      </a:lnTo>
                      <a:lnTo>
                        <a:pt x="1017" y="968"/>
                      </a:lnTo>
                      <a:close/>
                      <a:moveTo>
                        <a:pt x="1105" y="986"/>
                      </a:moveTo>
                      <a:lnTo>
                        <a:pt x="1107" y="986"/>
                      </a:lnTo>
                      <a:lnTo>
                        <a:pt x="1105" y="986"/>
                      </a:lnTo>
                      <a:close/>
                      <a:moveTo>
                        <a:pt x="1104" y="956"/>
                      </a:moveTo>
                      <a:lnTo>
                        <a:pt x="1105" y="956"/>
                      </a:lnTo>
                      <a:lnTo>
                        <a:pt x="1105" y="958"/>
                      </a:lnTo>
                      <a:lnTo>
                        <a:pt x="1104" y="958"/>
                      </a:lnTo>
                      <a:lnTo>
                        <a:pt x="1104" y="956"/>
                      </a:lnTo>
                      <a:close/>
                      <a:moveTo>
                        <a:pt x="1135" y="1001"/>
                      </a:moveTo>
                      <a:lnTo>
                        <a:pt x="1134" y="1001"/>
                      </a:lnTo>
                      <a:lnTo>
                        <a:pt x="1134" y="1002"/>
                      </a:lnTo>
                      <a:lnTo>
                        <a:pt x="1133" y="1002"/>
                      </a:lnTo>
                      <a:lnTo>
                        <a:pt x="1134" y="1002"/>
                      </a:lnTo>
                      <a:lnTo>
                        <a:pt x="1134" y="1001"/>
                      </a:lnTo>
                      <a:lnTo>
                        <a:pt x="1135" y="1001"/>
                      </a:lnTo>
                      <a:close/>
                      <a:moveTo>
                        <a:pt x="1339" y="940"/>
                      </a:moveTo>
                      <a:lnTo>
                        <a:pt x="1339" y="942"/>
                      </a:lnTo>
                      <a:lnTo>
                        <a:pt x="1339" y="940"/>
                      </a:lnTo>
                      <a:close/>
                      <a:moveTo>
                        <a:pt x="1338" y="1007"/>
                      </a:moveTo>
                      <a:lnTo>
                        <a:pt x="1340" y="1007"/>
                      </a:lnTo>
                      <a:lnTo>
                        <a:pt x="1340" y="1008"/>
                      </a:lnTo>
                      <a:lnTo>
                        <a:pt x="1338" y="1008"/>
                      </a:lnTo>
                      <a:lnTo>
                        <a:pt x="1338" y="1007"/>
                      </a:lnTo>
                      <a:close/>
                      <a:moveTo>
                        <a:pt x="1046" y="975"/>
                      </a:moveTo>
                      <a:lnTo>
                        <a:pt x="1048" y="975"/>
                      </a:lnTo>
                      <a:lnTo>
                        <a:pt x="1048" y="976"/>
                      </a:lnTo>
                      <a:lnTo>
                        <a:pt x="1046" y="976"/>
                      </a:lnTo>
                      <a:lnTo>
                        <a:pt x="1046" y="975"/>
                      </a:lnTo>
                      <a:close/>
                      <a:moveTo>
                        <a:pt x="1450" y="1141"/>
                      </a:moveTo>
                      <a:lnTo>
                        <a:pt x="1447" y="1143"/>
                      </a:lnTo>
                      <a:lnTo>
                        <a:pt x="1448" y="1142"/>
                      </a:lnTo>
                      <a:lnTo>
                        <a:pt x="1448" y="1141"/>
                      </a:lnTo>
                      <a:lnTo>
                        <a:pt x="1450" y="1141"/>
                      </a:lnTo>
                      <a:close/>
                      <a:moveTo>
                        <a:pt x="1056" y="991"/>
                      </a:moveTo>
                      <a:lnTo>
                        <a:pt x="1057" y="991"/>
                      </a:lnTo>
                      <a:lnTo>
                        <a:pt x="1057" y="992"/>
                      </a:lnTo>
                      <a:lnTo>
                        <a:pt x="1056" y="992"/>
                      </a:lnTo>
                      <a:lnTo>
                        <a:pt x="1056" y="991"/>
                      </a:lnTo>
                      <a:close/>
                      <a:moveTo>
                        <a:pt x="1353" y="1168"/>
                      </a:moveTo>
                      <a:lnTo>
                        <a:pt x="1353" y="1170"/>
                      </a:lnTo>
                      <a:lnTo>
                        <a:pt x="1353" y="1168"/>
                      </a:lnTo>
                      <a:close/>
                      <a:moveTo>
                        <a:pt x="1355" y="1164"/>
                      </a:moveTo>
                      <a:lnTo>
                        <a:pt x="1356" y="1164"/>
                      </a:lnTo>
                      <a:lnTo>
                        <a:pt x="1356" y="1166"/>
                      </a:lnTo>
                      <a:lnTo>
                        <a:pt x="1355" y="1166"/>
                      </a:lnTo>
                      <a:lnTo>
                        <a:pt x="1355" y="1164"/>
                      </a:lnTo>
                      <a:close/>
                      <a:moveTo>
                        <a:pt x="1417" y="1127"/>
                      </a:moveTo>
                      <a:lnTo>
                        <a:pt x="1418" y="1127"/>
                      </a:lnTo>
                      <a:lnTo>
                        <a:pt x="1419" y="1127"/>
                      </a:lnTo>
                      <a:lnTo>
                        <a:pt x="1419" y="1128"/>
                      </a:lnTo>
                      <a:lnTo>
                        <a:pt x="1418" y="1128"/>
                      </a:lnTo>
                      <a:lnTo>
                        <a:pt x="1416" y="1128"/>
                      </a:lnTo>
                      <a:lnTo>
                        <a:pt x="1416" y="1127"/>
                      </a:lnTo>
                      <a:lnTo>
                        <a:pt x="1417" y="1127"/>
                      </a:lnTo>
                      <a:lnTo>
                        <a:pt x="1416" y="1127"/>
                      </a:lnTo>
                      <a:lnTo>
                        <a:pt x="1417" y="1127"/>
                      </a:lnTo>
                      <a:close/>
                      <a:moveTo>
                        <a:pt x="1188" y="910"/>
                      </a:moveTo>
                      <a:lnTo>
                        <a:pt x="1190" y="910"/>
                      </a:lnTo>
                      <a:lnTo>
                        <a:pt x="1190" y="912"/>
                      </a:lnTo>
                      <a:lnTo>
                        <a:pt x="1188" y="912"/>
                      </a:lnTo>
                      <a:lnTo>
                        <a:pt x="1188" y="910"/>
                      </a:lnTo>
                      <a:close/>
                      <a:moveTo>
                        <a:pt x="1065" y="969"/>
                      </a:moveTo>
                      <a:lnTo>
                        <a:pt x="1066" y="969"/>
                      </a:lnTo>
                      <a:lnTo>
                        <a:pt x="1066" y="970"/>
                      </a:lnTo>
                      <a:lnTo>
                        <a:pt x="1065" y="970"/>
                      </a:lnTo>
                      <a:lnTo>
                        <a:pt x="1065" y="969"/>
                      </a:lnTo>
                      <a:close/>
                      <a:moveTo>
                        <a:pt x="1363" y="1038"/>
                      </a:moveTo>
                      <a:lnTo>
                        <a:pt x="1364" y="1038"/>
                      </a:lnTo>
                      <a:lnTo>
                        <a:pt x="1364" y="1039"/>
                      </a:lnTo>
                      <a:lnTo>
                        <a:pt x="1363" y="1039"/>
                      </a:lnTo>
                      <a:lnTo>
                        <a:pt x="1363" y="1038"/>
                      </a:lnTo>
                      <a:close/>
                      <a:moveTo>
                        <a:pt x="1063" y="953"/>
                      </a:moveTo>
                      <a:lnTo>
                        <a:pt x="1064" y="953"/>
                      </a:lnTo>
                      <a:lnTo>
                        <a:pt x="1064" y="954"/>
                      </a:lnTo>
                      <a:lnTo>
                        <a:pt x="1063" y="954"/>
                      </a:lnTo>
                      <a:lnTo>
                        <a:pt x="1063" y="953"/>
                      </a:lnTo>
                      <a:close/>
                      <a:moveTo>
                        <a:pt x="1093" y="800"/>
                      </a:moveTo>
                      <a:lnTo>
                        <a:pt x="1095" y="800"/>
                      </a:lnTo>
                      <a:lnTo>
                        <a:pt x="1095" y="801"/>
                      </a:lnTo>
                      <a:lnTo>
                        <a:pt x="1093" y="801"/>
                      </a:lnTo>
                      <a:lnTo>
                        <a:pt x="1093" y="800"/>
                      </a:lnTo>
                      <a:close/>
                      <a:moveTo>
                        <a:pt x="1306" y="952"/>
                      </a:moveTo>
                      <a:lnTo>
                        <a:pt x="1308" y="952"/>
                      </a:lnTo>
                      <a:lnTo>
                        <a:pt x="1308" y="953"/>
                      </a:lnTo>
                      <a:lnTo>
                        <a:pt x="1306" y="953"/>
                      </a:lnTo>
                      <a:lnTo>
                        <a:pt x="1306" y="952"/>
                      </a:lnTo>
                      <a:close/>
                      <a:moveTo>
                        <a:pt x="1364" y="1016"/>
                      </a:moveTo>
                      <a:lnTo>
                        <a:pt x="1365" y="1016"/>
                      </a:lnTo>
                      <a:lnTo>
                        <a:pt x="1365" y="1017"/>
                      </a:lnTo>
                      <a:lnTo>
                        <a:pt x="1364" y="1017"/>
                      </a:lnTo>
                      <a:lnTo>
                        <a:pt x="1364" y="1018"/>
                      </a:lnTo>
                      <a:lnTo>
                        <a:pt x="1365" y="1018"/>
                      </a:lnTo>
                      <a:lnTo>
                        <a:pt x="1364" y="1018"/>
                      </a:lnTo>
                      <a:lnTo>
                        <a:pt x="1364" y="1017"/>
                      </a:lnTo>
                      <a:lnTo>
                        <a:pt x="1364" y="1016"/>
                      </a:lnTo>
                      <a:close/>
                      <a:moveTo>
                        <a:pt x="1365" y="1027"/>
                      </a:moveTo>
                      <a:lnTo>
                        <a:pt x="1364" y="1026"/>
                      </a:lnTo>
                      <a:lnTo>
                        <a:pt x="1364" y="1025"/>
                      </a:lnTo>
                      <a:lnTo>
                        <a:pt x="1364" y="1024"/>
                      </a:lnTo>
                      <a:lnTo>
                        <a:pt x="1364" y="1022"/>
                      </a:lnTo>
                      <a:lnTo>
                        <a:pt x="1364" y="1024"/>
                      </a:lnTo>
                      <a:lnTo>
                        <a:pt x="1364" y="1025"/>
                      </a:lnTo>
                      <a:lnTo>
                        <a:pt x="1364" y="1026"/>
                      </a:lnTo>
                      <a:lnTo>
                        <a:pt x="1365" y="1027"/>
                      </a:lnTo>
                      <a:close/>
                      <a:moveTo>
                        <a:pt x="1199" y="925"/>
                      </a:moveTo>
                      <a:lnTo>
                        <a:pt x="1200" y="925"/>
                      </a:lnTo>
                      <a:lnTo>
                        <a:pt x="1200" y="926"/>
                      </a:lnTo>
                      <a:lnTo>
                        <a:pt x="1199" y="926"/>
                      </a:lnTo>
                      <a:lnTo>
                        <a:pt x="1199" y="925"/>
                      </a:lnTo>
                      <a:close/>
                      <a:moveTo>
                        <a:pt x="1092" y="968"/>
                      </a:moveTo>
                      <a:lnTo>
                        <a:pt x="1093" y="968"/>
                      </a:lnTo>
                      <a:lnTo>
                        <a:pt x="1093" y="970"/>
                      </a:lnTo>
                      <a:lnTo>
                        <a:pt x="1092" y="970"/>
                      </a:lnTo>
                      <a:lnTo>
                        <a:pt x="1092" y="968"/>
                      </a:lnTo>
                      <a:close/>
                      <a:moveTo>
                        <a:pt x="1116" y="785"/>
                      </a:moveTo>
                      <a:lnTo>
                        <a:pt x="1115" y="785"/>
                      </a:lnTo>
                      <a:lnTo>
                        <a:pt x="1113" y="785"/>
                      </a:lnTo>
                      <a:lnTo>
                        <a:pt x="1113" y="784"/>
                      </a:lnTo>
                      <a:lnTo>
                        <a:pt x="1115" y="784"/>
                      </a:lnTo>
                      <a:lnTo>
                        <a:pt x="1116" y="785"/>
                      </a:lnTo>
                      <a:close/>
                      <a:moveTo>
                        <a:pt x="1086" y="979"/>
                      </a:moveTo>
                      <a:lnTo>
                        <a:pt x="1086" y="980"/>
                      </a:lnTo>
                      <a:lnTo>
                        <a:pt x="1087" y="980"/>
                      </a:lnTo>
                      <a:lnTo>
                        <a:pt x="1086" y="980"/>
                      </a:lnTo>
                      <a:lnTo>
                        <a:pt x="1086" y="979"/>
                      </a:lnTo>
                      <a:lnTo>
                        <a:pt x="1085" y="979"/>
                      </a:lnTo>
                      <a:lnTo>
                        <a:pt x="1087" y="979"/>
                      </a:lnTo>
                      <a:lnTo>
                        <a:pt x="1086" y="979"/>
                      </a:lnTo>
                      <a:close/>
                      <a:moveTo>
                        <a:pt x="1090" y="983"/>
                      </a:moveTo>
                      <a:lnTo>
                        <a:pt x="1087" y="983"/>
                      </a:lnTo>
                      <a:lnTo>
                        <a:pt x="1087" y="982"/>
                      </a:lnTo>
                      <a:lnTo>
                        <a:pt x="1087" y="983"/>
                      </a:lnTo>
                      <a:lnTo>
                        <a:pt x="1089" y="983"/>
                      </a:lnTo>
                      <a:lnTo>
                        <a:pt x="1089" y="982"/>
                      </a:lnTo>
                      <a:lnTo>
                        <a:pt x="1089" y="983"/>
                      </a:lnTo>
                      <a:lnTo>
                        <a:pt x="1089" y="982"/>
                      </a:lnTo>
                      <a:lnTo>
                        <a:pt x="1090" y="982"/>
                      </a:lnTo>
                      <a:lnTo>
                        <a:pt x="1090" y="983"/>
                      </a:lnTo>
                      <a:close/>
                      <a:moveTo>
                        <a:pt x="1073" y="982"/>
                      </a:moveTo>
                      <a:lnTo>
                        <a:pt x="1073" y="984"/>
                      </a:lnTo>
                      <a:lnTo>
                        <a:pt x="1073" y="986"/>
                      </a:lnTo>
                      <a:lnTo>
                        <a:pt x="1072" y="986"/>
                      </a:lnTo>
                      <a:lnTo>
                        <a:pt x="1072" y="984"/>
                      </a:lnTo>
                      <a:lnTo>
                        <a:pt x="1073" y="984"/>
                      </a:lnTo>
                      <a:lnTo>
                        <a:pt x="1072" y="983"/>
                      </a:lnTo>
                      <a:lnTo>
                        <a:pt x="1073" y="983"/>
                      </a:lnTo>
                      <a:lnTo>
                        <a:pt x="1073" y="982"/>
                      </a:lnTo>
                      <a:close/>
                      <a:moveTo>
                        <a:pt x="1051" y="992"/>
                      </a:moveTo>
                      <a:lnTo>
                        <a:pt x="1052" y="992"/>
                      </a:lnTo>
                      <a:lnTo>
                        <a:pt x="1052" y="993"/>
                      </a:lnTo>
                      <a:lnTo>
                        <a:pt x="1051" y="993"/>
                      </a:lnTo>
                      <a:lnTo>
                        <a:pt x="1051" y="992"/>
                      </a:lnTo>
                      <a:close/>
                      <a:moveTo>
                        <a:pt x="1420" y="1116"/>
                      </a:moveTo>
                      <a:lnTo>
                        <a:pt x="1421" y="1116"/>
                      </a:lnTo>
                      <a:lnTo>
                        <a:pt x="1421" y="1117"/>
                      </a:lnTo>
                      <a:lnTo>
                        <a:pt x="1420" y="1117"/>
                      </a:lnTo>
                      <a:lnTo>
                        <a:pt x="1420" y="1116"/>
                      </a:lnTo>
                      <a:close/>
                      <a:moveTo>
                        <a:pt x="1296" y="947"/>
                      </a:moveTo>
                      <a:lnTo>
                        <a:pt x="1297" y="947"/>
                      </a:lnTo>
                      <a:lnTo>
                        <a:pt x="1297" y="949"/>
                      </a:lnTo>
                      <a:lnTo>
                        <a:pt x="1296" y="949"/>
                      </a:lnTo>
                      <a:lnTo>
                        <a:pt x="1296" y="947"/>
                      </a:lnTo>
                      <a:close/>
                      <a:moveTo>
                        <a:pt x="1364" y="1024"/>
                      </a:moveTo>
                      <a:lnTo>
                        <a:pt x="1365" y="1024"/>
                      </a:lnTo>
                      <a:lnTo>
                        <a:pt x="1365" y="1026"/>
                      </a:lnTo>
                      <a:lnTo>
                        <a:pt x="1364" y="1026"/>
                      </a:lnTo>
                      <a:lnTo>
                        <a:pt x="1364" y="1024"/>
                      </a:lnTo>
                      <a:close/>
                      <a:moveTo>
                        <a:pt x="1418" y="1000"/>
                      </a:moveTo>
                      <a:lnTo>
                        <a:pt x="1419" y="1000"/>
                      </a:lnTo>
                      <a:lnTo>
                        <a:pt x="1419" y="1001"/>
                      </a:lnTo>
                      <a:lnTo>
                        <a:pt x="1418" y="1001"/>
                      </a:lnTo>
                      <a:lnTo>
                        <a:pt x="1418" y="1000"/>
                      </a:lnTo>
                      <a:close/>
                      <a:moveTo>
                        <a:pt x="1063" y="934"/>
                      </a:moveTo>
                      <a:lnTo>
                        <a:pt x="1064" y="934"/>
                      </a:lnTo>
                      <a:lnTo>
                        <a:pt x="1064" y="935"/>
                      </a:lnTo>
                      <a:lnTo>
                        <a:pt x="1063" y="935"/>
                      </a:lnTo>
                      <a:lnTo>
                        <a:pt x="1063" y="934"/>
                      </a:lnTo>
                      <a:close/>
                      <a:moveTo>
                        <a:pt x="1412" y="1118"/>
                      </a:moveTo>
                      <a:lnTo>
                        <a:pt x="1412" y="1117"/>
                      </a:lnTo>
                      <a:lnTo>
                        <a:pt x="1410" y="1117"/>
                      </a:lnTo>
                      <a:lnTo>
                        <a:pt x="1410" y="1116"/>
                      </a:lnTo>
                      <a:lnTo>
                        <a:pt x="1412" y="1117"/>
                      </a:lnTo>
                      <a:lnTo>
                        <a:pt x="1412" y="1118"/>
                      </a:lnTo>
                      <a:close/>
                      <a:moveTo>
                        <a:pt x="1306" y="953"/>
                      </a:moveTo>
                      <a:lnTo>
                        <a:pt x="1308" y="953"/>
                      </a:lnTo>
                      <a:lnTo>
                        <a:pt x="1308" y="954"/>
                      </a:lnTo>
                      <a:lnTo>
                        <a:pt x="1306" y="954"/>
                      </a:lnTo>
                      <a:lnTo>
                        <a:pt x="1306" y="953"/>
                      </a:lnTo>
                      <a:close/>
                      <a:moveTo>
                        <a:pt x="1369" y="1140"/>
                      </a:moveTo>
                      <a:lnTo>
                        <a:pt x="1370" y="1140"/>
                      </a:lnTo>
                      <a:lnTo>
                        <a:pt x="1370" y="1142"/>
                      </a:lnTo>
                      <a:lnTo>
                        <a:pt x="1369" y="1142"/>
                      </a:lnTo>
                      <a:lnTo>
                        <a:pt x="1369" y="1140"/>
                      </a:lnTo>
                      <a:close/>
                      <a:moveTo>
                        <a:pt x="1345" y="999"/>
                      </a:moveTo>
                      <a:lnTo>
                        <a:pt x="1347" y="999"/>
                      </a:lnTo>
                      <a:lnTo>
                        <a:pt x="1347" y="1001"/>
                      </a:lnTo>
                      <a:lnTo>
                        <a:pt x="1345" y="1001"/>
                      </a:lnTo>
                      <a:lnTo>
                        <a:pt x="1345" y="999"/>
                      </a:lnTo>
                      <a:close/>
                      <a:moveTo>
                        <a:pt x="1348" y="1120"/>
                      </a:moveTo>
                      <a:lnTo>
                        <a:pt x="1348" y="1121"/>
                      </a:lnTo>
                      <a:lnTo>
                        <a:pt x="1348" y="1120"/>
                      </a:lnTo>
                      <a:close/>
                      <a:moveTo>
                        <a:pt x="1431" y="1132"/>
                      </a:moveTo>
                      <a:lnTo>
                        <a:pt x="1432" y="1132"/>
                      </a:lnTo>
                      <a:lnTo>
                        <a:pt x="1432" y="1133"/>
                      </a:lnTo>
                      <a:lnTo>
                        <a:pt x="1431" y="1133"/>
                      </a:lnTo>
                      <a:lnTo>
                        <a:pt x="1431" y="1132"/>
                      </a:lnTo>
                      <a:close/>
                      <a:moveTo>
                        <a:pt x="1420" y="1018"/>
                      </a:moveTo>
                      <a:lnTo>
                        <a:pt x="1421" y="1018"/>
                      </a:lnTo>
                      <a:lnTo>
                        <a:pt x="1421" y="1019"/>
                      </a:lnTo>
                      <a:lnTo>
                        <a:pt x="1420" y="1019"/>
                      </a:lnTo>
                      <a:lnTo>
                        <a:pt x="1420" y="1018"/>
                      </a:lnTo>
                      <a:close/>
                      <a:moveTo>
                        <a:pt x="1369" y="1137"/>
                      </a:moveTo>
                      <a:lnTo>
                        <a:pt x="1371" y="1137"/>
                      </a:lnTo>
                      <a:lnTo>
                        <a:pt x="1371" y="1140"/>
                      </a:lnTo>
                      <a:lnTo>
                        <a:pt x="1369" y="1140"/>
                      </a:lnTo>
                      <a:lnTo>
                        <a:pt x="1369" y="1137"/>
                      </a:lnTo>
                      <a:close/>
                      <a:moveTo>
                        <a:pt x="1277" y="962"/>
                      </a:moveTo>
                      <a:lnTo>
                        <a:pt x="1278" y="962"/>
                      </a:lnTo>
                      <a:lnTo>
                        <a:pt x="1278" y="964"/>
                      </a:lnTo>
                      <a:lnTo>
                        <a:pt x="1277" y="964"/>
                      </a:lnTo>
                      <a:lnTo>
                        <a:pt x="1277" y="962"/>
                      </a:lnTo>
                      <a:close/>
                      <a:moveTo>
                        <a:pt x="1065" y="984"/>
                      </a:moveTo>
                      <a:lnTo>
                        <a:pt x="1066" y="984"/>
                      </a:lnTo>
                      <a:lnTo>
                        <a:pt x="1066" y="986"/>
                      </a:lnTo>
                      <a:lnTo>
                        <a:pt x="1065" y="986"/>
                      </a:lnTo>
                      <a:lnTo>
                        <a:pt x="1065" y="984"/>
                      </a:lnTo>
                      <a:close/>
                      <a:moveTo>
                        <a:pt x="1006" y="979"/>
                      </a:moveTo>
                      <a:lnTo>
                        <a:pt x="1008" y="979"/>
                      </a:lnTo>
                      <a:lnTo>
                        <a:pt x="1008" y="981"/>
                      </a:lnTo>
                      <a:lnTo>
                        <a:pt x="1006" y="981"/>
                      </a:lnTo>
                      <a:lnTo>
                        <a:pt x="1006" y="979"/>
                      </a:lnTo>
                      <a:close/>
                      <a:moveTo>
                        <a:pt x="1362" y="1000"/>
                      </a:moveTo>
                      <a:lnTo>
                        <a:pt x="1363" y="1000"/>
                      </a:lnTo>
                      <a:lnTo>
                        <a:pt x="1363" y="1001"/>
                      </a:lnTo>
                      <a:lnTo>
                        <a:pt x="1362" y="1001"/>
                      </a:lnTo>
                      <a:lnTo>
                        <a:pt x="1362" y="1000"/>
                      </a:lnTo>
                      <a:close/>
                      <a:moveTo>
                        <a:pt x="1344" y="995"/>
                      </a:moveTo>
                      <a:lnTo>
                        <a:pt x="1347" y="995"/>
                      </a:lnTo>
                      <a:lnTo>
                        <a:pt x="1347" y="996"/>
                      </a:lnTo>
                      <a:lnTo>
                        <a:pt x="1344" y="996"/>
                      </a:lnTo>
                      <a:lnTo>
                        <a:pt x="1344" y="995"/>
                      </a:lnTo>
                      <a:close/>
                      <a:moveTo>
                        <a:pt x="1316" y="1110"/>
                      </a:moveTo>
                      <a:lnTo>
                        <a:pt x="1316" y="1109"/>
                      </a:lnTo>
                      <a:lnTo>
                        <a:pt x="1316" y="1108"/>
                      </a:lnTo>
                      <a:lnTo>
                        <a:pt x="1315" y="1108"/>
                      </a:lnTo>
                      <a:lnTo>
                        <a:pt x="1315" y="1107"/>
                      </a:lnTo>
                      <a:lnTo>
                        <a:pt x="1316" y="1108"/>
                      </a:lnTo>
                      <a:lnTo>
                        <a:pt x="1316" y="1109"/>
                      </a:lnTo>
                      <a:lnTo>
                        <a:pt x="1316" y="1110"/>
                      </a:lnTo>
                      <a:close/>
                      <a:moveTo>
                        <a:pt x="1192" y="911"/>
                      </a:moveTo>
                      <a:lnTo>
                        <a:pt x="1193" y="911"/>
                      </a:lnTo>
                      <a:lnTo>
                        <a:pt x="1193" y="912"/>
                      </a:lnTo>
                      <a:lnTo>
                        <a:pt x="1192" y="912"/>
                      </a:lnTo>
                      <a:lnTo>
                        <a:pt x="1192" y="911"/>
                      </a:lnTo>
                      <a:close/>
                      <a:moveTo>
                        <a:pt x="1364" y="1037"/>
                      </a:moveTo>
                      <a:lnTo>
                        <a:pt x="1364" y="1039"/>
                      </a:lnTo>
                      <a:lnTo>
                        <a:pt x="1364" y="1037"/>
                      </a:lnTo>
                      <a:close/>
                      <a:moveTo>
                        <a:pt x="1360" y="1012"/>
                      </a:moveTo>
                      <a:lnTo>
                        <a:pt x="1361" y="1012"/>
                      </a:lnTo>
                      <a:lnTo>
                        <a:pt x="1361" y="1014"/>
                      </a:lnTo>
                      <a:lnTo>
                        <a:pt x="1360" y="1014"/>
                      </a:lnTo>
                      <a:lnTo>
                        <a:pt x="1360" y="1012"/>
                      </a:lnTo>
                      <a:close/>
                      <a:moveTo>
                        <a:pt x="1426" y="1093"/>
                      </a:moveTo>
                      <a:lnTo>
                        <a:pt x="1427" y="1093"/>
                      </a:lnTo>
                      <a:lnTo>
                        <a:pt x="1426" y="1093"/>
                      </a:lnTo>
                      <a:close/>
                      <a:moveTo>
                        <a:pt x="1354" y="1032"/>
                      </a:moveTo>
                      <a:lnTo>
                        <a:pt x="1355" y="1032"/>
                      </a:lnTo>
                      <a:lnTo>
                        <a:pt x="1355" y="1033"/>
                      </a:lnTo>
                      <a:lnTo>
                        <a:pt x="1354" y="1033"/>
                      </a:lnTo>
                      <a:lnTo>
                        <a:pt x="1354" y="1032"/>
                      </a:lnTo>
                      <a:close/>
                      <a:moveTo>
                        <a:pt x="1432" y="1215"/>
                      </a:moveTo>
                      <a:lnTo>
                        <a:pt x="1434" y="1215"/>
                      </a:lnTo>
                      <a:lnTo>
                        <a:pt x="1434" y="1218"/>
                      </a:lnTo>
                      <a:lnTo>
                        <a:pt x="1432" y="1218"/>
                      </a:lnTo>
                      <a:lnTo>
                        <a:pt x="1432" y="1215"/>
                      </a:lnTo>
                      <a:close/>
                      <a:moveTo>
                        <a:pt x="1364" y="1041"/>
                      </a:moveTo>
                      <a:lnTo>
                        <a:pt x="1365" y="1041"/>
                      </a:lnTo>
                      <a:lnTo>
                        <a:pt x="1364" y="1041"/>
                      </a:lnTo>
                      <a:close/>
                      <a:moveTo>
                        <a:pt x="1041" y="940"/>
                      </a:moveTo>
                      <a:lnTo>
                        <a:pt x="1042" y="940"/>
                      </a:lnTo>
                      <a:lnTo>
                        <a:pt x="1042" y="941"/>
                      </a:lnTo>
                      <a:lnTo>
                        <a:pt x="1041" y="941"/>
                      </a:lnTo>
                      <a:lnTo>
                        <a:pt x="1041" y="940"/>
                      </a:lnTo>
                      <a:close/>
                      <a:moveTo>
                        <a:pt x="1042" y="984"/>
                      </a:moveTo>
                      <a:lnTo>
                        <a:pt x="1043" y="984"/>
                      </a:lnTo>
                      <a:lnTo>
                        <a:pt x="1044" y="984"/>
                      </a:lnTo>
                      <a:lnTo>
                        <a:pt x="1043" y="984"/>
                      </a:lnTo>
                      <a:lnTo>
                        <a:pt x="1042" y="986"/>
                      </a:lnTo>
                      <a:lnTo>
                        <a:pt x="1042" y="984"/>
                      </a:lnTo>
                      <a:close/>
                      <a:moveTo>
                        <a:pt x="1386" y="1114"/>
                      </a:moveTo>
                      <a:lnTo>
                        <a:pt x="1387" y="1114"/>
                      </a:lnTo>
                      <a:lnTo>
                        <a:pt x="1387" y="1115"/>
                      </a:lnTo>
                      <a:lnTo>
                        <a:pt x="1386" y="1115"/>
                      </a:lnTo>
                      <a:lnTo>
                        <a:pt x="1386" y="1114"/>
                      </a:lnTo>
                      <a:close/>
                      <a:moveTo>
                        <a:pt x="1285" y="968"/>
                      </a:moveTo>
                      <a:lnTo>
                        <a:pt x="1286" y="968"/>
                      </a:lnTo>
                      <a:lnTo>
                        <a:pt x="1285" y="968"/>
                      </a:lnTo>
                      <a:lnTo>
                        <a:pt x="1284" y="968"/>
                      </a:lnTo>
                      <a:lnTo>
                        <a:pt x="1283" y="968"/>
                      </a:lnTo>
                      <a:lnTo>
                        <a:pt x="1282" y="968"/>
                      </a:lnTo>
                      <a:lnTo>
                        <a:pt x="1283" y="968"/>
                      </a:lnTo>
                      <a:lnTo>
                        <a:pt x="1284" y="968"/>
                      </a:lnTo>
                      <a:lnTo>
                        <a:pt x="1285" y="968"/>
                      </a:lnTo>
                      <a:close/>
                      <a:moveTo>
                        <a:pt x="1057" y="936"/>
                      </a:moveTo>
                      <a:lnTo>
                        <a:pt x="1059" y="936"/>
                      </a:lnTo>
                      <a:lnTo>
                        <a:pt x="1059" y="938"/>
                      </a:lnTo>
                      <a:lnTo>
                        <a:pt x="1057" y="938"/>
                      </a:lnTo>
                      <a:lnTo>
                        <a:pt x="1057" y="936"/>
                      </a:lnTo>
                      <a:close/>
                      <a:moveTo>
                        <a:pt x="1141" y="1009"/>
                      </a:moveTo>
                      <a:lnTo>
                        <a:pt x="1142" y="1011"/>
                      </a:lnTo>
                      <a:lnTo>
                        <a:pt x="1143" y="1011"/>
                      </a:lnTo>
                      <a:lnTo>
                        <a:pt x="1142" y="1011"/>
                      </a:lnTo>
                      <a:lnTo>
                        <a:pt x="1140" y="1009"/>
                      </a:lnTo>
                      <a:lnTo>
                        <a:pt x="1141" y="1008"/>
                      </a:lnTo>
                      <a:lnTo>
                        <a:pt x="1141" y="1009"/>
                      </a:lnTo>
                      <a:close/>
                      <a:moveTo>
                        <a:pt x="1282" y="968"/>
                      </a:moveTo>
                      <a:lnTo>
                        <a:pt x="1284" y="968"/>
                      </a:lnTo>
                      <a:lnTo>
                        <a:pt x="1284" y="970"/>
                      </a:lnTo>
                      <a:lnTo>
                        <a:pt x="1282" y="970"/>
                      </a:lnTo>
                      <a:lnTo>
                        <a:pt x="1282" y="968"/>
                      </a:lnTo>
                      <a:close/>
                      <a:moveTo>
                        <a:pt x="1394" y="1128"/>
                      </a:moveTo>
                      <a:lnTo>
                        <a:pt x="1395" y="1129"/>
                      </a:lnTo>
                      <a:lnTo>
                        <a:pt x="1394" y="1129"/>
                      </a:lnTo>
                      <a:lnTo>
                        <a:pt x="1394" y="1128"/>
                      </a:lnTo>
                      <a:lnTo>
                        <a:pt x="1394" y="1129"/>
                      </a:lnTo>
                      <a:lnTo>
                        <a:pt x="1395" y="1129"/>
                      </a:lnTo>
                      <a:lnTo>
                        <a:pt x="1395" y="1130"/>
                      </a:lnTo>
                      <a:lnTo>
                        <a:pt x="1394" y="1130"/>
                      </a:lnTo>
                      <a:lnTo>
                        <a:pt x="1394" y="1129"/>
                      </a:lnTo>
                      <a:lnTo>
                        <a:pt x="1394" y="1128"/>
                      </a:lnTo>
                      <a:close/>
                      <a:moveTo>
                        <a:pt x="1201" y="1050"/>
                      </a:moveTo>
                      <a:lnTo>
                        <a:pt x="1201" y="1051"/>
                      </a:lnTo>
                      <a:lnTo>
                        <a:pt x="1202" y="1050"/>
                      </a:lnTo>
                      <a:lnTo>
                        <a:pt x="1202" y="1051"/>
                      </a:lnTo>
                      <a:lnTo>
                        <a:pt x="1201" y="1051"/>
                      </a:lnTo>
                      <a:lnTo>
                        <a:pt x="1200" y="1050"/>
                      </a:lnTo>
                      <a:lnTo>
                        <a:pt x="1201" y="1050"/>
                      </a:lnTo>
                      <a:close/>
                      <a:moveTo>
                        <a:pt x="1078" y="981"/>
                      </a:moveTo>
                      <a:lnTo>
                        <a:pt x="1079" y="981"/>
                      </a:lnTo>
                      <a:lnTo>
                        <a:pt x="1079" y="982"/>
                      </a:lnTo>
                      <a:lnTo>
                        <a:pt x="1078" y="982"/>
                      </a:lnTo>
                      <a:lnTo>
                        <a:pt x="1078" y="981"/>
                      </a:lnTo>
                      <a:close/>
                      <a:moveTo>
                        <a:pt x="1135" y="977"/>
                      </a:moveTo>
                      <a:lnTo>
                        <a:pt x="1136" y="978"/>
                      </a:lnTo>
                      <a:lnTo>
                        <a:pt x="1135" y="977"/>
                      </a:lnTo>
                      <a:lnTo>
                        <a:pt x="1134" y="977"/>
                      </a:lnTo>
                      <a:lnTo>
                        <a:pt x="1134" y="976"/>
                      </a:lnTo>
                      <a:lnTo>
                        <a:pt x="1135" y="976"/>
                      </a:lnTo>
                      <a:lnTo>
                        <a:pt x="1135" y="977"/>
                      </a:lnTo>
                      <a:close/>
                      <a:moveTo>
                        <a:pt x="1041" y="983"/>
                      </a:moveTo>
                      <a:lnTo>
                        <a:pt x="1040" y="983"/>
                      </a:lnTo>
                      <a:lnTo>
                        <a:pt x="1040" y="984"/>
                      </a:lnTo>
                      <a:lnTo>
                        <a:pt x="1040" y="983"/>
                      </a:lnTo>
                      <a:lnTo>
                        <a:pt x="1041" y="983"/>
                      </a:lnTo>
                      <a:close/>
                      <a:moveTo>
                        <a:pt x="1410" y="1093"/>
                      </a:moveTo>
                      <a:lnTo>
                        <a:pt x="1412" y="1093"/>
                      </a:lnTo>
                      <a:lnTo>
                        <a:pt x="1412" y="1094"/>
                      </a:lnTo>
                      <a:lnTo>
                        <a:pt x="1410" y="1094"/>
                      </a:lnTo>
                      <a:lnTo>
                        <a:pt x="1410" y="1093"/>
                      </a:lnTo>
                      <a:close/>
                      <a:moveTo>
                        <a:pt x="1357" y="1029"/>
                      </a:moveTo>
                      <a:lnTo>
                        <a:pt x="1358" y="1029"/>
                      </a:lnTo>
                      <a:lnTo>
                        <a:pt x="1358" y="1030"/>
                      </a:lnTo>
                      <a:lnTo>
                        <a:pt x="1357" y="1030"/>
                      </a:lnTo>
                      <a:lnTo>
                        <a:pt x="1357" y="1029"/>
                      </a:lnTo>
                      <a:close/>
                      <a:moveTo>
                        <a:pt x="1312" y="1106"/>
                      </a:moveTo>
                      <a:lnTo>
                        <a:pt x="1310" y="1106"/>
                      </a:lnTo>
                      <a:lnTo>
                        <a:pt x="1311" y="1106"/>
                      </a:lnTo>
                      <a:lnTo>
                        <a:pt x="1312" y="1106"/>
                      </a:lnTo>
                      <a:close/>
                      <a:moveTo>
                        <a:pt x="1111" y="783"/>
                      </a:moveTo>
                      <a:lnTo>
                        <a:pt x="1112" y="783"/>
                      </a:lnTo>
                      <a:lnTo>
                        <a:pt x="1112" y="784"/>
                      </a:lnTo>
                      <a:lnTo>
                        <a:pt x="1111" y="784"/>
                      </a:lnTo>
                      <a:lnTo>
                        <a:pt x="1111" y="783"/>
                      </a:lnTo>
                      <a:close/>
                      <a:moveTo>
                        <a:pt x="1295" y="953"/>
                      </a:moveTo>
                      <a:lnTo>
                        <a:pt x="1296" y="953"/>
                      </a:lnTo>
                      <a:lnTo>
                        <a:pt x="1296" y="954"/>
                      </a:lnTo>
                      <a:lnTo>
                        <a:pt x="1295" y="954"/>
                      </a:lnTo>
                      <a:lnTo>
                        <a:pt x="1295" y="953"/>
                      </a:lnTo>
                      <a:close/>
                      <a:moveTo>
                        <a:pt x="1042" y="941"/>
                      </a:moveTo>
                      <a:lnTo>
                        <a:pt x="1044" y="941"/>
                      </a:lnTo>
                      <a:lnTo>
                        <a:pt x="1042" y="941"/>
                      </a:lnTo>
                      <a:close/>
                      <a:moveTo>
                        <a:pt x="1045" y="931"/>
                      </a:moveTo>
                      <a:lnTo>
                        <a:pt x="1046" y="931"/>
                      </a:lnTo>
                      <a:lnTo>
                        <a:pt x="1047" y="932"/>
                      </a:lnTo>
                      <a:lnTo>
                        <a:pt x="1046" y="932"/>
                      </a:lnTo>
                      <a:lnTo>
                        <a:pt x="1045" y="932"/>
                      </a:lnTo>
                      <a:lnTo>
                        <a:pt x="1045" y="931"/>
                      </a:lnTo>
                      <a:lnTo>
                        <a:pt x="1045" y="932"/>
                      </a:lnTo>
                      <a:lnTo>
                        <a:pt x="1045" y="931"/>
                      </a:lnTo>
                      <a:close/>
                      <a:moveTo>
                        <a:pt x="1367" y="1002"/>
                      </a:moveTo>
                      <a:lnTo>
                        <a:pt x="1369" y="1002"/>
                      </a:lnTo>
                      <a:lnTo>
                        <a:pt x="1369" y="1004"/>
                      </a:lnTo>
                      <a:lnTo>
                        <a:pt x="1367" y="1004"/>
                      </a:lnTo>
                      <a:lnTo>
                        <a:pt x="1367" y="1002"/>
                      </a:lnTo>
                      <a:close/>
                      <a:moveTo>
                        <a:pt x="1353" y="1013"/>
                      </a:moveTo>
                      <a:lnTo>
                        <a:pt x="1355" y="1013"/>
                      </a:lnTo>
                      <a:lnTo>
                        <a:pt x="1355" y="1014"/>
                      </a:lnTo>
                      <a:lnTo>
                        <a:pt x="1353" y="1014"/>
                      </a:lnTo>
                      <a:lnTo>
                        <a:pt x="1353" y="1013"/>
                      </a:lnTo>
                      <a:close/>
                      <a:moveTo>
                        <a:pt x="1351" y="999"/>
                      </a:moveTo>
                      <a:lnTo>
                        <a:pt x="1352" y="999"/>
                      </a:lnTo>
                      <a:lnTo>
                        <a:pt x="1352" y="1001"/>
                      </a:lnTo>
                      <a:lnTo>
                        <a:pt x="1351" y="1001"/>
                      </a:lnTo>
                      <a:lnTo>
                        <a:pt x="1351" y="999"/>
                      </a:lnTo>
                      <a:close/>
                      <a:moveTo>
                        <a:pt x="1284" y="1251"/>
                      </a:moveTo>
                      <a:lnTo>
                        <a:pt x="1285" y="1251"/>
                      </a:lnTo>
                      <a:lnTo>
                        <a:pt x="1285" y="1252"/>
                      </a:lnTo>
                      <a:lnTo>
                        <a:pt x="1284" y="1252"/>
                      </a:lnTo>
                      <a:lnTo>
                        <a:pt x="1284" y="1251"/>
                      </a:lnTo>
                      <a:close/>
                      <a:moveTo>
                        <a:pt x="1353" y="1050"/>
                      </a:moveTo>
                      <a:lnTo>
                        <a:pt x="1354" y="1050"/>
                      </a:lnTo>
                      <a:lnTo>
                        <a:pt x="1354" y="1051"/>
                      </a:lnTo>
                      <a:lnTo>
                        <a:pt x="1353" y="1051"/>
                      </a:lnTo>
                      <a:lnTo>
                        <a:pt x="1353" y="1050"/>
                      </a:lnTo>
                      <a:close/>
                      <a:moveTo>
                        <a:pt x="1051" y="992"/>
                      </a:moveTo>
                      <a:lnTo>
                        <a:pt x="1051" y="993"/>
                      </a:lnTo>
                      <a:lnTo>
                        <a:pt x="1050" y="993"/>
                      </a:lnTo>
                      <a:lnTo>
                        <a:pt x="1050" y="994"/>
                      </a:lnTo>
                      <a:lnTo>
                        <a:pt x="1050" y="993"/>
                      </a:lnTo>
                      <a:lnTo>
                        <a:pt x="1048" y="993"/>
                      </a:lnTo>
                      <a:lnTo>
                        <a:pt x="1050" y="993"/>
                      </a:lnTo>
                      <a:lnTo>
                        <a:pt x="1050" y="992"/>
                      </a:lnTo>
                      <a:lnTo>
                        <a:pt x="1051" y="992"/>
                      </a:lnTo>
                      <a:close/>
                      <a:moveTo>
                        <a:pt x="1364" y="999"/>
                      </a:moveTo>
                      <a:lnTo>
                        <a:pt x="1366" y="999"/>
                      </a:lnTo>
                      <a:lnTo>
                        <a:pt x="1364" y="999"/>
                      </a:lnTo>
                      <a:close/>
                      <a:moveTo>
                        <a:pt x="1418" y="1129"/>
                      </a:moveTo>
                      <a:lnTo>
                        <a:pt x="1419" y="1129"/>
                      </a:lnTo>
                      <a:lnTo>
                        <a:pt x="1419" y="1130"/>
                      </a:lnTo>
                      <a:lnTo>
                        <a:pt x="1418" y="1130"/>
                      </a:lnTo>
                      <a:lnTo>
                        <a:pt x="1418" y="1129"/>
                      </a:lnTo>
                      <a:lnTo>
                        <a:pt x="1418" y="1130"/>
                      </a:lnTo>
                      <a:lnTo>
                        <a:pt x="1417" y="1130"/>
                      </a:lnTo>
                      <a:lnTo>
                        <a:pt x="1417" y="1129"/>
                      </a:lnTo>
                      <a:lnTo>
                        <a:pt x="1418" y="1129"/>
                      </a:lnTo>
                      <a:close/>
                      <a:moveTo>
                        <a:pt x="1410" y="1114"/>
                      </a:moveTo>
                      <a:lnTo>
                        <a:pt x="1412" y="1114"/>
                      </a:lnTo>
                      <a:lnTo>
                        <a:pt x="1412" y="1115"/>
                      </a:lnTo>
                      <a:lnTo>
                        <a:pt x="1410" y="1115"/>
                      </a:lnTo>
                      <a:lnTo>
                        <a:pt x="1410" y="1114"/>
                      </a:lnTo>
                      <a:close/>
                      <a:moveTo>
                        <a:pt x="1283" y="1124"/>
                      </a:moveTo>
                      <a:lnTo>
                        <a:pt x="1284" y="1124"/>
                      </a:lnTo>
                      <a:lnTo>
                        <a:pt x="1284" y="1125"/>
                      </a:lnTo>
                      <a:lnTo>
                        <a:pt x="1283" y="1125"/>
                      </a:lnTo>
                      <a:lnTo>
                        <a:pt x="1283" y="1124"/>
                      </a:lnTo>
                      <a:close/>
                      <a:moveTo>
                        <a:pt x="1045" y="930"/>
                      </a:moveTo>
                      <a:lnTo>
                        <a:pt x="1046" y="930"/>
                      </a:lnTo>
                      <a:lnTo>
                        <a:pt x="1046" y="931"/>
                      </a:lnTo>
                      <a:lnTo>
                        <a:pt x="1045" y="931"/>
                      </a:lnTo>
                      <a:lnTo>
                        <a:pt x="1045" y="930"/>
                      </a:lnTo>
                      <a:close/>
                      <a:moveTo>
                        <a:pt x="1438" y="1133"/>
                      </a:moveTo>
                      <a:lnTo>
                        <a:pt x="1440" y="1133"/>
                      </a:lnTo>
                      <a:lnTo>
                        <a:pt x="1440" y="1134"/>
                      </a:lnTo>
                      <a:lnTo>
                        <a:pt x="1438" y="1134"/>
                      </a:lnTo>
                      <a:lnTo>
                        <a:pt x="1438" y="1133"/>
                      </a:lnTo>
                      <a:close/>
                      <a:moveTo>
                        <a:pt x="1337" y="1018"/>
                      </a:moveTo>
                      <a:lnTo>
                        <a:pt x="1338" y="1018"/>
                      </a:lnTo>
                      <a:lnTo>
                        <a:pt x="1338" y="1019"/>
                      </a:lnTo>
                      <a:lnTo>
                        <a:pt x="1337" y="1019"/>
                      </a:lnTo>
                      <a:lnTo>
                        <a:pt x="1337" y="1018"/>
                      </a:lnTo>
                      <a:close/>
                      <a:moveTo>
                        <a:pt x="1106" y="977"/>
                      </a:moveTo>
                      <a:lnTo>
                        <a:pt x="1105" y="977"/>
                      </a:lnTo>
                      <a:lnTo>
                        <a:pt x="1106" y="977"/>
                      </a:lnTo>
                      <a:lnTo>
                        <a:pt x="1105" y="977"/>
                      </a:lnTo>
                      <a:lnTo>
                        <a:pt x="1106" y="977"/>
                      </a:lnTo>
                      <a:lnTo>
                        <a:pt x="1107" y="976"/>
                      </a:lnTo>
                      <a:lnTo>
                        <a:pt x="1106" y="977"/>
                      </a:lnTo>
                      <a:close/>
                      <a:moveTo>
                        <a:pt x="1327" y="1187"/>
                      </a:moveTo>
                      <a:lnTo>
                        <a:pt x="1328" y="1187"/>
                      </a:lnTo>
                      <a:lnTo>
                        <a:pt x="1328" y="1189"/>
                      </a:lnTo>
                      <a:lnTo>
                        <a:pt x="1327" y="1189"/>
                      </a:lnTo>
                      <a:lnTo>
                        <a:pt x="1327" y="1187"/>
                      </a:lnTo>
                      <a:close/>
                      <a:moveTo>
                        <a:pt x="1373" y="1141"/>
                      </a:moveTo>
                      <a:lnTo>
                        <a:pt x="1374" y="1141"/>
                      </a:lnTo>
                      <a:lnTo>
                        <a:pt x="1374" y="1142"/>
                      </a:lnTo>
                      <a:lnTo>
                        <a:pt x="1373" y="1142"/>
                      </a:lnTo>
                      <a:lnTo>
                        <a:pt x="1373" y="1141"/>
                      </a:lnTo>
                      <a:close/>
                      <a:moveTo>
                        <a:pt x="1360" y="991"/>
                      </a:moveTo>
                      <a:lnTo>
                        <a:pt x="1361" y="991"/>
                      </a:lnTo>
                      <a:lnTo>
                        <a:pt x="1361" y="992"/>
                      </a:lnTo>
                      <a:lnTo>
                        <a:pt x="1360" y="992"/>
                      </a:lnTo>
                      <a:lnTo>
                        <a:pt x="1360" y="991"/>
                      </a:lnTo>
                      <a:close/>
                      <a:moveTo>
                        <a:pt x="1046" y="987"/>
                      </a:moveTo>
                      <a:lnTo>
                        <a:pt x="1048" y="987"/>
                      </a:lnTo>
                      <a:lnTo>
                        <a:pt x="1048" y="988"/>
                      </a:lnTo>
                      <a:lnTo>
                        <a:pt x="1046" y="988"/>
                      </a:lnTo>
                      <a:lnTo>
                        <a:pt x="1046" y="987"/>
                      </a:lnTo>
                      <a:close/>
                      <a:moveTo>
                        <a:pt x="1451" y="1128"/>
                      </a:moveTo>
                      <a:lnTo>
                        <a:pt x="1452" y="1128"/>
                      </a:lnTo>
                      <a:lnTo>
                        <a:pt x="1452" y="1129"/>
                      </a:lnTo>
                      <a:lnTo>
                        <a:pt x="1451" y="1129"/>
                      </a:lnTo>
                      <a:lnTo>
                        <a:pt x="1451" y="1128"/>
                      </a:lnTo>
                      <a:close/>
                      <a:moveTo>
                        <a:pt x="1422" y="1098"/>
                      </a:moveTo>
                      <a:lnTo>
                        <a:pt x="1424" y="1098"/>
                      </a:lnTo>
                      <a:lnTo>
                        <a:pt x="1424" y="1099"/>
                      </a:lnTo>
                      <a:lnTo>
                        <a:pt x="1422" y="1099"/>
                      </a:lnTo>
                      <a:lnTo>
                        <a:pt x="1422" y="1098"/>
                      </a:lnTo>
                      <a:close/>
                      <a:moveTo>
                        <a:pt x="1100" y="800"/>
                      </a:moveTo>
                      <a:lnTo>
                        <a:pt x="1103" y="800"/>
                      </a:lnTo>
                      <a:lnTo>
                        <a:pt x="1103" y="802"/>
                      </a:lnTo>
                      <a:lnTo>
                        <a:pt x="1100" y="802"/>
                      </a:lnTo>
                      <a:lnTo>
                        <a:pt x="1100" y="800"/>
                      </a:lnTo>
                      <a:close/>
                      <a:moveTo>
                        <a:pt x="1130" y="978"/>
                      </a:moveTo>
                      <a:lnTo>
                        <a:pt x="1131" y="978"/>
                      </a:lnTo>
                      <a:lnTo>
                        <a:pt x="1131" y="979"/>
                      </a:lnTo>
                      <a:lnTo>
                        <a:pt x="1130" y="979"/>
                      </a:lnTo>
                      <a:lnTo>
                        <a:pt x="1130" y="978"/>
                      </a:lnTo>
                      <a:close/>
                      <a:moveTo>
                        <a:pt x="1368" y="1022"/>
                      </a:moveTo>
                      <a:lnTo>
                        <a:pt x="1369" y="1022"/>
                      </a:lnTo>
                      <a:lnTo>
                        <a:pt x="1369" y="1024"/>
                      </a:lnTo>
                      <a:lnTo>
                        <a:pt x="1368" y="1024"/>
                      </a:lnTo>
                      <a:lnTo>
                        <a:pt x="1368" y="1022"/>
                      </a:lnTo>
                      <a:close/>
                      <a:moveTo>
                        <a:pt x="1365" y="1016"/>
                      </a:moveTo>
                      <a:lnTo>
                        <a:pt x="1364" y="1016"/>
                      </a:lnTo>
                      <a:lnTo>
                        <a:pt x="1364" y="1015"/>
                      </a:lnTo>
                      <a:lnTo>
                        <a:pt x="1364" y="1014"/>
                      </a:lnTo>
                      <a:lnTo>
                        <a:pt x="1364" y="1015"/>
                      </a:lnTo>
                      <a:lnTo>
                        <a:pt x="1364" y="1016"/>
                      </a:lnTo>
                      <a:lnTo>
                        <a:pt x="1365" y="1016"/>
                      </a:lnTo>
                      <a:close/>
                      <a:moveTo>
                        <a:pt x="1414" y="1094"/>
                      </a:moveTo>
                      <a:lnTo>
                        <a:pt x="1416" y="1094"/>
                      </a:lnTo>
                      <a:lnTo>
                        <a:pt x="1416" y="1095"/>
                      </a:lnTo>
                      <a:lnTo>
                        <a:pt x="1414" y="1095"/>
                      </a:lnTo>
                      <a:lnTo>
                        <a:pt x="1414" y="1094"/>
                      </a:lnTo>
                      <a:close/>
                      <a:moveTo>
                        <a:pt x="1329" y="1013"/>
                      </a:moveTo>
                      <a:lnTo>
                        <a:pt x="1330" y="1013"/>
                      </a:lnTo>
                      <a:lnTo>
                        <a:pt x="1330" y="1014"/>
                      </a:lnTo>
                      <a:lnTo>
                        <a:pt x="1329" y="1014"/>
                      </a:lnTo>
                      <a:lnTo>
                        <a:pt x="1329" y="1013"/>
                      </a:lnTo>
                      <a:close/>
                      <a:moveTo>
                        <a:pt x="1275" y="954"/>
                      </a:moveTo>
                      <a:lnTo>
                        <a:pt x="1275" y="955"/>
                      </a:lnTo>
                      <a:lnTo>
                        <a:pt x="1274" y="955"/>
                      </a:lnTo>
                      <a:lnTo>
                        <a:pt x="1273" y="955"/>
                      </a:lnTo>
                      <a:lnTo>
                        <a:pt x="1274" y="955"/>
                      </a:lnTo>
                      <a:lnTo>
                        <a:pt x="1274" y="954"/>
                      </a:lnTo>
                      <a:lnTo>
                        <a:pt x="1275" y="954"/>
                      </a:lnTo>
                      <a:close/>
                      <a:moveTo>
                        <a:pt x="1344" y="998"/>
                      </a:moveTo>
                      <a:lnTo>
                        <a:pt x="1343" y="998"/>
                      </a:lnTo>
                      <a:lnTo>
                        <a:pt x="1342" y="998"/>
                      </a:lnTo>
                      <a:lnTo>
                        <a:pt x="1343" y="998"/>
                      </a:lnTo>
                      <a:lnTo>
                        <a:pt x="1343" y="999"/>
                      </a:lnTo>
                      <a:lnTo>
                        <a:pt x="1343" y="998"/>
                      </a:lnTo>
                      <a:lnTo>
                        <a:pt x="1344" y="998"/>
                      </a:lnTo>
                      <a:lnTo>
                        <a:pt x="1343" y="999"/>
                      </a:lnTo>
                      <a:lnTo>
                        <a:pt x="1343" y="998"/>
                      </a:lnTo>
                      <a:lnTo>
                        <a:pt x="1343" y="999"/>
                      </a:lnTo>
                      <a:lnTo>
                        <a:pt x="1342" y="999"/>
                      </a:lnTo>
                      <a:lnTo>
                        <a:pt x="1342" y="998"/>
                      </a:lnTo>
                      <a:lnTo>
                        <a:pt x="1343" y="998"/>
                      </a:lnTo>
                      <a:lnTo>
                        <a:pt x="1344" y="998"/>
                      </a:lnTo>
                      <a:lnTo>
                        <a:pt x="1344" y="996"/>
                      </a:lnTo>
                      <a:lnTo>
                        <a:pt x="1344" y="998"/>
                      </a:lnTo>
                      <a:close/>
                      <a:moveTo>
                        <a:pt x="1030" y="973"/>
                      </a:moveTo>
                      <a:lnTo>
                        <a:pt x="1031" y="973"/>
                      </a:lnTo>
                      <a:lnTo>
                        <a:pt x="1031" y="974"/>
                      </a:lnTo>
                      <a:lnTo>
                        <a:pt x="1030" y="974"/>
                      </a:lnTo>
                      <a:lnTo>
                        <a:pt x="1030" y="973"/>
                      </a:lnTo>
                      <a:close/>
                      <a:moveTo>
                        <a:pt x="1286" y="969"/>
                      </a:moveTo>
                      <a:lnTo>
                        <a:pt x="1287" y="969"/>
                      </a:lnTo>
                      <a:lnTo>
                        <a:pt x="1288" y="969"/>
                      </a:lnTo>
                      <a:lnTo>
                        <a:pt x="1287" y="969"/>
                      </a:lnTo>
                      <a:lnTo>
                        <a:pt x="1286" y="969"/>
                      </a:lnTo>
                      <a:close/>
                      <a:moveTo>
                        <a:pt x="1047" y="930"/>
                      </a:moveTo>
                      <a:lnTo>
                        <a:pt x="1048" y="930"/>
                      </a:lnTo>
                      <a:lnTo>
                        <a:pt x="1048" y="931"/>
                      </a:lnTo>
                      <a:lnTo>
                        <a:pt x="1047" y="931"/>
                      </a:lnTo>
                      <a:lnTo>
                        <a:pt x="1047" y="930"/>
                      </a:lnTo>
                      <a:close/>
                      <a:moveTo>
                        <a:pt x="1130" y="980"/>
                      </a:moveTo>
                      <a:lnTo>
                        <a:pt x="1131" y="980"/>
                      </a:lnTo>
                      <a:lnTo>
                        <a:pt x="1131" y="981"/>
                      </a:lnTo>
                      <a:lnTo>
                        <a:pt x="1130" y="981"/>
                      </a:lnTo>
                      <a:lnTo>
                        <a:pt x="1130" y="980"/>
                      </a:lnTo>
                      <a:close/>
                      <a:moveTo>
                        <a:pt x="988" y="991"/>
                      </a:moveTo>
                      <a:lnTo>
                        <a:pt x="987" y="991"/>
                      </a:lnTo>
                      <a:lnTo>
                        <a:pt x="986" y="992"/>
                      </a:lnTo>
                      <a:lnTo>
                        <a:pt x="986" y="991"/>
                      </a:lnTo>
                      <a:lnTo>
                        <a:pt x="987" y="991"/>
                      </a:lnTo>
                      <a:lnTo>
                        <a:pt x="988" y="991"/>
                      </a:lnTo>
                      <a:close/>
                      <a:moveTo>
                        <a:pt x="1119" y="840"/>
                      </a:moveTo>
                      <a:lnTo>
                        <a:pt x="1120" y="840"/>
                      </a:lnTo>
                      <a:lnTo>
                        <a:pt x="1120" y="841"/>
                      </a:lnTo>
                      <a:lnTo>
                        <a:pt x="1119" y="841"/>
                      </a:lnTo>
                      <a:lnTo>
                        <a:pt x="1119" y="840"/>
                      </a:lnTo>
                      <a:close/>
                      <a:moveTo>
                        <a:pt x="1439" y="1143"/>
                      </a:moveTo>
                      <a:lnTo>
                        <a:pt x="1439" y="1145"/>
                      </a:lnTo>
                      <a:lnTo>
                        <a:pt x="1439" y="1143"/>
                      </a:lnTo>
                      <a:close/>
                      <a:moveTo>
                        <a:pt x="1416" y="1015"/>
                      </a:moveTo>
                      <a:lnTo>
                        <a:pt x="1417" y="1015"/>
                      </a:lnTo>
                      <a:lnTo>
                        <a:pt x="1417" y="1016"/>
                      </a:lnTo>
                      <a:lnTo>
                        <a:pt x="1416" y="1016"/>
                      </a:lnTo>
                      <a:lnTo>
                        <a:pt x="1416" y="1015"/>
                      </a:lnTo>
                      <a:close/>
                      <a:moveTo>
                        <a:pt x="1019" y="964"/>
                      </a:moveTo>
                      <a:lnTo>
                        <a:pt x="1020" y="964"/>
                      </a:lnTo>
                      <a:lnTo>
                        <a:pt x="1020" y="965"/>
                      </a:lnTo>
                      <a:lnTo>
                        <a:pt x="1019" y="965"/>
                      </a:lnTo>
                      <a:lnTo>
                        <a:pt x="1019" y="964"/>
                      </a:lnTo>
                      <a:close/>
                      <a:moveTo>
                        <a:pt x="1060" y="953"/>
                      </a:moveTo>
                      <a:lnTo>
                        <a:pt x="1061" y="953"/>
                      </a:lnTo>
                      <a:lnTo>
                        <a:pt x="1061" y="954"/>
                      </a:lnTo>
                      <a:lnTo>
                        <a:pt x="1060" y="954"/>
                      </a:lnTo>
                      <a:lnTo>
                        <a:pt x="1060" y="953"/>
                      </a:lnTo>
                      <a:close/>
                      <a:moveTo>
                        <a:pt x="1063" y="931"/>
                      </a:moveTo>
                      <a:lnTo>
                        <a:pt x="1063" y="934"/>
                      </a:lnTo>
                      <a:lnTo>
                        <a:pt x="1063" y="931"/>
                      </a:lnTo>
                      <a:close/>
                      <a:moveTo>
                        <a:pt x="1413" y="1115"/>
                      </a:moveTo>
                      <a:lnTo>
                        <a:pt x="1414" y="1115"/>
                      </a:lnTo>
                      <a:lnTo>
                        <a:pt x="1414" y="1116"/>
                      </a:lnTo>
                      <a:lnTo>
                        <a:pt x="1413" y="1116"/>
                      </a:lnTo>
                      <a:lnTo>
                        <a:pt x="1413" y="1115"/>
                      </a:lnTo>
                      <a:close/>
                      <a:moveTo>
                        <a:pt x="1103" y="815"/>
                      </a:moveTo>
                      <a:lnTo>
                        <a:pt x="1104" y="815"/>
                      </a:lnTo>
                      <a:lnTo>
                        <a:pt x="1104" y="816"/>
                      </a:lnTo>
                      <a:lnTo>
                        <a:pt x="1103" y="816"/>
                      </a:lnTo>
                      <a:lnTo>
                        <a:pt x="1103" y="815"/>
                      </a:lnTo>
                      <a:close/>
                      <a:moveTo>
                        <a:pt x="1058" y="979"/>
                      </a:moveTo>
                      <a:lnTo>
                        <a:pt x="1057" y="979"/>
                      </a:lnTo>
                      <a:lnTo>
                        <a:pt x="1056" y="979"/>
                      </a:lnTo>
                      <a:lnTo>
                        <a:pt x="1056" y="980"/>
                      </a:lnTo>
                      <a:lnTo>
                        <a:pt x="1056" y="979"/>
                      </a:lnTo>
                      <a:lnTo>
                        <a:pt x="1058" y="979"/>
                      </a:lnTo>
                      <a:close/>
                      <a:moveTo>
                        <a:pt x="1433" y="1123"/>
                      </a:moveTo>
                      <a:lnTo>
                        <a:pt x="1434" y="1123"/>
                      </a:lnTo>
                      <a:lnTo>
                        <a:pt x="1433" y="1123"/>
                      </a:lnTo>
                      <a:close/>
                      <a:moveTo>
                        <a:pt x="967" y="907"/>
                      </a:moveTo>
                      <a:lnTo>
                        <a:pt x="968" y="907"/>
                      </a:lnTo>
                      <a:lnTo>
                        <a:pt x="968" y="909"/>
                      </a:lnTo>
                      <a:lnTo>
                        <a:pt x="967" y="909"/>
                      </a:lnTo>
                      <a:lnTo>
                        <a:pt x="967" y="907"/>
                      </a:lnTo>
                      <a:close/>
                      <a:moveTo>
                        <a:pt x="1046" y="929"/>
                      </a:moveTo>
                      <a:lnTo>
                        <a:pt x="1047" y="929"/>
                      </a:lnTo>
                      <a:lnTo>
                        <a:pt x="1047" y="930"/>
                      </a:lnTo>
                      <a:lnTo>
                        <a:pt x="1046" y="930"/>
                      </a:lnTo>
                      <a:lnTo>
                        <a:pt x="1046" y="929"/>
                      </a:lnTo>
                      <a:close/>
                      <a:moveTo>
                        <a:pt x="1285" y="952"/>
                      </a:moveTo>
                      <a:lnTo>
                        <a:pt x="1286" y="952"/>
                      </a:lnTo>
                      <a:lnTo>
                        <a:pt x="1286" y="954"/>
                      </a:lnTo>
                      <a:lnTo>
                        <a:pt x="1285" y="954"/>
                      </a:lnTo>
                      <a:lnTo>
                        <a:pt x="1285" y="952"/>
                      </a:lnTo>
                      <a:close/>
                      <a:moveTo>
                        <a:pt x="1022" y="926"/>
                      </a:moveTo>
                      <a:lnTo>
                        <a:pt x="1024" y="926"/>
                      </a:lnTo>
                      <a:lnTo>
                        <a:pt x="1024" y="927"/>
                      </a:lnTo>
                      <a:lnTo>
                        <a:pt x="1022" y="927"/>
                      </a:lnTo>
                      <a:lnTo>
                        <a:pt x="1022" y="926"/>
                      </a:lnTo>
                      <a:close/>
                      <a:moveTo>
                        <a:pt x="1253" y="942"/>
                      </a:moveTo>
                      <a:lnTo>
                        <a:pt x="1252" y="942"/>
                      </a:lnTo>
                      <a:lnTo>
                        <a:pt x="1251" y="942"/>
                      </a:lnTo>
                      <a:lnTo>
                        <a:pt x="1252" y="941"/>
                      </a:lnTo>
                      <a:lnTo>
                        <a:pt x="1252" y="942"/>
                      </a:lnTo>
                      <a:lnTo>
                        <a:pt x="1252" y="941"/>
                      </a:lnTo>
                      <a:lnTo>
                        <a:pt x="1253" y="942"/>
                      </a:lnTo>
                      <a:lnTo>
                        <a:pt x="1253" y="941"/>
                      </a:lnTo>
                      <a:lnTo>
                        <a:pt x="1254" y="941"/>
                      </a:lnTo>
                      <a:lnTo>
                        <a:pt x="1253" y="942"/>
                      </a:lnTo>
                      <a:close/>
                      <a:moveTo>
                        <a:pt x="1356" y="1148"/>
                      </a:moveTo>
                      <a:lnTo>
                        <a:pt x="1357" y="1148"/>
                      </a:lnTo>
                      <a:lnTo>
                        <a:pt x="1357" y="1149"/>
                      </a:lnTo>
                      <a:lnTo>
                        <a:pt x="1356" y="1149"/>
                      </a:lnTo>
                      <a:lnTo>
                        <a:pt x="1356" y="1148"/>
                      </a:lnTo>
                      <a:close/>
                      <a:moveTo>
                        <a:pt x="1298" y="944"/>
                      </a:moveTo>
                      <a:lnTo>
                        <a:pt x="1297" y="944"/>
                      </a:lnTo>
                      <a:lnTo>
                        <a:pt x="1296" y="944"/>
                      </a:lnTo>
                      <a:lnTo>
                        <a:pt x="1297" y="944"/>
                      </a:lnTo>
                      <a:lnTo>
                        <a:pt x="1298" y="944"/>
                      </a:lnTo>
                      <a:close/>
                      <a:moveTo>
                        <a:pt x="1344" y="1002"/>
                      </a:moveTo>
                      <a:lnTo>
                        <a:pt x="1344" y="1001"/>
                      </a:lnTo>
                      <a:lnTo>
                        <a:pt x="1344" y="1000"/>
                      </a:lnTo>
                      <a:lnTo>
                        <a:pt x="1345" y="1000"/>
                      </a:lnTo>
                      <a:lnTo>
                        <a:pt x="1344" y="1000"/>
                      </a:lnTo>
                      <a:lnTo>
                        <a:pt x="1345" y="1000"/>
                      </a:lnTo>
                      <a:lnTo>
                        <a:pt x="1344" y="1000"/>
                      </a:lnTo>
                      <a:lnTo>
                        <a:pt x="1345" y="999"/>
                      </a:lnTo>
                      <a:lnTo>
                        <a:pt x="1347" y="998"/>
                      </a:lnTo>
                      <a:lnTo>
                        <a:pt x="1345" y="998"/>
                      </a:lnTo>
                      <a:lnTo>
                        <a:pt x="1347" y="998"/>
                      </a:lnTo>
                      <a:lnTo>
                        <a:pt x="1345" y="999"/>
                      </a:lnTo>
                      <a:lnTo>
                        <a:pt x="1345" y="1000"/>
                      </a:lnTo>
                      <a:lnTo>
                        <a:pt x="1344" y="1001"/>
                      </a:lnTo>
                      <a:lnTo>
                        <a:pt x="1344" y="1002"/>
                      </a:lnTo>
                      <a:close/>
                      <a:moveTo>
                        <a:pt x="1092" y="983"/>
                      </a:moveTo>
                      <a:lnTo>
                        <a:pt x="1093" y="983"/>
                      </a:lnTo>
                      <a:lnTo>
                        <a:pt x="1093" y="984"/>
                      </a:lnTo>
                      <a:lnTo>
                        <a:pt x="1092" y="984"/>
                      </a:lnTo>
                      <a:lnTo>
                        <a:pt x="1092" y="983"/>
                      </a:lnTo>
                      <a:close/>
                      <a:moveTo>
                        <a:pt x="1287" y="964"/>
                      </a:moveTo>
                      <a:lnTo>
                        <a:pt x="1287" y="963"/>
                      </a:lnTo>
                      <a:lnTo>
                        <a:pt x="1287" y="962"/>
                      </a:lnTo>
                      <a:lnTo>
                        <a:pt x="1287" y="963"/>
                      </a:lnTo>
                      <a:lnTo>
                        <a:pt x="1287" y="964"/>
                      </a:lnTo>
                      <a:close/>
                      <a:moveTo>
                        <a:pt x="1406" y="1120"/>
                      </a:moveTo>
                      <a:lnTo>
                        <a:pt x="1405" y="1120"/>
                      </a:lnTo>
                      <a:lnTo>
                        <a:pt x="1405" y="1119"/>
                      </a:lnTo>
                      <a:lnTo>
                        <a:pt x="1405" y="1118"/>
                      </a:lnTo>
                      <a:lnTo>
                        <a:pt x="1404" y="1117"/>
                      </a:lnTo>
                      <a:lnTo>
                        <a:pt x="1405" y="1117"/>
                      </a:lnTo>
                      <a:lnTo>
                        <a:pt x="1406" y="1117"/>
                      </a:lnTo>
                      <a:lnTo>
                        <a:pt x="1405" y="1117"/>
                      </a:lnTo>
                      <a:lnTo>
                        <a:pt x="1405" y="1118"/>
                      </a:lnTo>
                      <a:lnTo>
                        <a:pt x="1405" y="1119"/>
                      </a:lnTo>
                      <a:lnTo>
                        <a:pt x="1405" y="1120"/>
                      </a:lnTo>
                      <a:lnTo>
                        <a:pt x="1406" y="1120"/>
                      </a:lnTo>
                      <a:close/>
                      <a:moveTo>
                        <a:pt x="1407" y="1132"/>
                      </a:moveTo>
                      <a:lnTo>
                        <a:pt x="1408" y="1132"/>
                      </a:lnTo>
                      <a:lnTo>
                        <a:pt x="1408" y="1133"/>
                      </a:lnTo>
                      <a:lnTo>
                        <a:pt x="1407" y="1133"/>
                      </a:lnTo>
                      <a:lnTo>
                        <a:pt x="1407" y="1132"/>
                      </a:lnTo>
                      <a:close/>
                      <a:moveTo>
                        <a:pt x="1254" y="942"/>
                      </a:moveTo>
                      <a:lnTo>
                        <a:pt x="1255" y="942"/>
                      </a:lnTo>
                      <a:lnTo>
                        <a:pt x="1257" y="942"/>
                      </a:lnTo>
                      <a:lnTo>
                        <a:pt x="1258" y="942"/>
                      </a:lnTo>
                      <a:lnTo>
                        <a:pt x="1259" y="942"/>
                      </a:lnTo>
                      <a:lnTo>
                        <a:pt x="1260" y="942"/>
                      </a:lnTo>
                      <a:lnTo>
                        <a:pt x="1261" y="942"/>
                      </a:lnTo>
                      <a:lnTo>
                        <a:pt x="1260" y="942"/>
                      </a:lnTo>
                      <a:lnTo>
                        <a:pt x="1258" y="942"/>
                      </a:lnTo>
                      <a:lnTo>
                        <a:pt x="1257" y="942"/>
                      </a:lnTo>
                      <a:lnTo>
                        <a:pt x="1255" y="942"/>
                      </a:lnTo>
                      <a:lnTo>
                        <a:pt x="1254" y="942"/>
                      </a:lnTo>
                      <a:lnTo>
                        <a:pt x="1253" y="942"/>
                      </a:lnTo>
                      <a:lnTo>
                        <a:pt x="1254" y="942"/>
                      </a:lnTo>
                      <a:close/>
                      <a:moveTo>
                        <a:pt x="1268" y="949"/>
                      </a:moveTo>
                      <a:lnTo>
                        <a:pt x="1270" y="949"/>
                      </a:lnTo>
                      <a:lnTo>
                        <a:pt x="1271" y="949"/>
                      </a:lnTo>
                      <a:lnTo>
                        <a:pt x="1272" y="949"/>
                      </a:lnTo>
                      <a:lnTo>
                        <a:pt x="1271" y="949"/>
                      </a:lnTo>
                      <a:lnTo>
                        <a:pt x="1270" y="949"/>
                      </a:lnTo>
                      <a:lnTo>
                        <a:pt x="1268" y="949"/>
                      </a:lnTo>
                      <a:close/>
                      <a:moveTo>
                        <a:pt x="1277" y="957"/>
                      </a:moveTo>
                      <a:lnTo>
                        <a:pt x="1277" y="960"/>
                      </a:lnTo>
                      <a:lnTo>
                        <a:pt x="1277" y="957"/>
                      </a:lnTo>
                      <a:close/>
                      <a:moveTo>
                        <a:pt x="1272" y="943"/>
                      </a:moveTo>
                      <a:lnTo>
                        <a:pt x="1273" y="943"/>
                      </a:lnTo>
                      <a:lnTo>
                        <a:pt x="1272" y="943"/>
                      </a:lnTo>
                      <a:lnTo>
                        <a:pt x="1272" y="944"/>
                      </a:lnTo>
                      <a:lnTo>
                        <a:pt x="1272" y="943"/>
                      </a:lnTo>
                      <a:lnTo>
                        <a:pt x="1272" y="942"/>
                      </a:lnTo>
                      <a:lnTo>
                        <a:pt x="1273" y="942"/>
                      </a:lnTo>
                      <a:lnTo>
                        <a:pt x="1272" y="942"/>
                      </a:lnTo>
                      <a:lnTo>
                        <a:pt x="1272" y="943"/>
                      </a:lnTo>
                      <a:close/>
                      <a:moveTo>
                        <a:pt x="1050" y="984"/>
                      </a:moveTo>
                      <a:lnTo>
                        <a:pt x="1051" y="984"/>
                      </a:lnTo>
                      <a:lnTo>
                        <a:pt x="1051" y="986"/>
                      </a:lnTo>
                      <a:lnTo>
                        <a:pt x="1050" y="986"/>
                      </a:lnTo>
                      <a:lnTo>
                        <a:pt x="1050" y="984"/>
                      </a:lnTo>
                      <a:close/>
                      <a:moveTo>
                        <a:pt x="1283" y="955"/>
                      </a:moveTo>
                      <a:lnTo>
                        <a:pt x="1285" y="955"/>
                      </a:lnTo>
                      <a:lnTo>
                        <a:pt x="1285" y="956"/>
                      </a:lnTo>
                      <a:lnTo>
                        <a:pt x="1283" y="956"/>
                      </a:lnTo>
                      <a:lnTo>
                        <a:pt x="1283" y="955"/>
                      </a:lnTo>
                      <a:close/>
                      <a:moveTo>
                        <a:pt x="1369" y="1143"/>
                      </a:moveTo>
                      <a:lnTo>
                        <a:pt x="1370" y="1143"/>
                      </a:lnTo>
                      <a:lnTo>
                        <a:pt x="1370" y="1144"/>
                      </a:lnTo>
                      <a:lnTo>
                        <a:pt x="1369" y="1144"/>
                      </a:lnTo>
                      <a:lnTo>
                        <a:pt x="1369" y="1143"/>
                      </a:lnTo>
                      <a:close/>
                      <a:moveTo>
                        <a:pt x="1314" y="949"/>
                      </a:moveTo>
                      <a:lnTo>
                        <a:pt x="1316" y="949"/>
                      </a:lnTo>
                      <a:lnTo>
                        <a:pt x="1314" y="949"/>
                      </a:lnTo>
                      <a:close/>
                      <a:moveTo>
                        <a:pt x="1430" y="1141"/>
                      </a:moveTo>
                      <a:lnTo>
                        <a:pt x="1431" y="1141"/>
                      </a:lnTo>
                      <a:lnTo>
                        <a:pt x="1431" y="1142"/>
                      </a:lnTo>
                      <a:lnTo>
                        <a:pt x="1430" y="1142"/>
                      </a:lnTo>
                      <a:lnTo>
                        <a:pt x="1430" y="1141"/>
                      </a:lnTo>
                      <a:close/>
                      <a:moveTo>
                        <a:pt x="1153" y="1008"/>
                      </a:moveTo>
                      <a:lnTo>
                        <a:pt x="1155" y="1008"/>
                      </a:lnTo>
                      <a:lnTo>
                        <a:pt x="1155" y="1011"/>
                      </a:lnTo>
                      <a:lnTo>
                        <a:pt x="1153" y="1011"/>
                      </a:lnTo>
                      <a:lnTo>
                        <a:pt x="1153" y="1008"/>
                      </a:lnTo>
                      <a:close/>
                      <a:moveTo>
                        <a:pt x="1366" y="1134"/>
                      </a:moveTo>
                      <a:lnTo>
                        <a:pt x="1367" y="1134"/>
                      </a:lnTo>
                      <a:lnTo>
                        <a:pt x="1367" y="1135"/>
                      </a:lnTo>
                      <a:lnTo>
                        <a:pt x="1366" y="1135"/>
                      </a:lnTo>
                      <a:lnTo>
                        <a:pt x="1366" y="1134"/>
                      </a:lnTo>
                      <a:close/>
                      <a:moveTo>
                        <a:pt x="1286" y="960"/>
                      </a:moveTo>
                      <a:lnTo>
                        <a:pt x="1287" y="960"/>
                      </a:lnTo>
                      <a:lnTo>
                        <a:pt x="1287" y="961"/>
                      </a:lnTo>
                      <a:lnTo>
                        <a:pt x="1286" y="961"/>
                      </a:lnTo>
                      <a:lnTo>
                        <a:pt x="1286" y="960"/>
                      </a:lnTo>
                      <a:close/>
                      <a:moveTo>
                        <a:pt x="1109" y="975"/>
                      </a:moveTo>
                      <a:lnTo>
                        <a:pt x="1109" y="976"/>
                      </a:lnTo>
                      <a:lnTo>
                        <a:pt x="1108" y="976"/>
                      </a:lnTo>
                      <a:lnTo>
                        <a:pt x="1109" y="976"/>
                      </a:lnTo>
                      <a:lnTo>
                        <a:pt x="1108" y="976"/>
                      </a:lnTo>
                      <a:lnTo>
                        <a:pt x="1107" y="976"/>
                      </a:lnTo>
                      <a:lnTo>
                        <a:pt x="1108" y="976"/>
                      </a:lnTo>
                      <a:lnTo>
                        <a:pt x="1109" y="975"/>
                      </a:lnTo>
                      <a:close/>
                      <a:moveTo>
                        <a:pt x="1312" y="952"/>
                      </a:moveTo>
                      <a:lnTo>
                        <a:pt x="1313" y="952"/>
                      </a:lnTo>
                      <a:lnTo>
                        <a:pt x="1313" y="954"/>
                      </a:lnTo>
                      <a:lnTo>
                        <a:pt x="1312" y="954"/>
                      </a:lnTo>
                      <a:lnTo>
                        <a:pt x="1312" y="952"/>
                      </a:lnTo>
                      <a:close/>
                      <a:moveTo>
                        <a:pt x="1412" y="1108"/>
                      </a:moveTo>
                      <a:lnTo>
                        <a:pt x="1413" y="1108"/>
                      </a:lnTo>
                      <a:lnTo>
                        <a:pt x="1413" y="1109"/>
                      </a:lnTo>
                      <a:lnTo>
                        <a:pt x="1412" y="1109"/>
                      </a:lnTo>
                      <a:lnTo>
                        <a:pt x="1412" y="1108"/>
                      </a:lnTo>
                      <a:close/>
                      <a:moveTo>
                        <a:pt x="1137" y="990"/>
                      </a:moveTo>
                      <a:lnTo>
                        <a:pt x="1138" y="990"/>
                      </a:lnTo>
                      <a:lnTo>
                        <a:pt x="1138" y="991"/>
                      </a:lnTo>
                      <a:lnTo>
                        <a:pt x="1137" y="991"/>
                      </a:lnTo>
                      <a:lnTo>
                        <a:pt x="1137" y="990"/>
                      </a:lnTo>
                      <a:close/>
                      <a:moveTo>
                        <a:pt x="1138" y="991"/>
                      </a:moveTo>
                      <a:lnTo>
                        <a:pt x="1137" y="991"/>
                      </a:lnTo>
                      <a:lnTo>
                        <a:pt x="1136" y="991"/>
                      </a:lnTo>
                      <a:lnTo>
                        <a:pt x="1137" y="991"/>
                      </a:lnTo>
                      <a:lnTo>
                        <a:pt x="1138" y="991"/>
                      </a:lnTo>
                      <a:close/>
                      <a:moveTo>
                        <a:pt x="1416" y="1116"/>
                      </a:moveTo>
                      <a:lnTo>
                        <a:pt x="1416" y="1117"/>
                      </a:lnTo>
                      <a:lnTo>
                        <a:pt x="1416" y="1116"/>
                      </a:lnTo>
                      <a:close/>
                      <a:moveTo>
                        <a:pt x="1070" y="970"/>
                      </a:moveTo>
                      <a:lnTo>
                        <a:pt x="1071" y="970"/>
                      </a:lnTo>
                      <a:lnTo>
                        <a:pt x="1071" y="971"/>
                      </a:lnTo>
                      <a:lnTo>
                        <a:pt x="1070" y="971"/>
                      </a:lnTo>
                      <a:lnTo>
                        <a:pt x="1070" y="970"/>
                      </a:lnTo>
                      <a:close/>
                      <a:moveTo>
                        <a:pt x="1072" y="984"/>
                      </a:moveTo>
                      <a:lnTo>
                        <a:pt x="1073" y="984"/>
                      </a:lnTo>
                      <a:lnTo>
                        <a:pt x="1073" y="986"/>
                      </a:lnTo>
                      <a:lnTo>
                        <a:pt x="1072" y="986"/>
                      </a:lnTo>
                      <a:lnTo>
                        <a:pt x="1072" y="984"/>
                      </a:lnTo>
                      <a:close/>
                      <a:moveTo>
                        <a:pt x="1118" y="787"/>
                      </a:moveTo>
                      <a:lnTo>
                        <a:pt x="1119" y="787"/>
                      </a:lnTo>
                      <a:lnTo>
                        <a:pt x="1119" y="788"/>
                      </a:lnTo>
                      <a:lnTo>
                        <a:pt x="1118" y="788"/>
                      </a:lnTo>
                      <a:lnTo>
                        <a:pt x="1118" y="787"/>
                      </a:lnTo>
                      <a:close/>
                      <a:moveTo>
                        <a:pt x="1363" y="1031"/>
                      </a:moveTo>
                      <a:lnTo>
                        <a:pt x="1364" y="1031"/>
                      </a:lnTo>
                      <a:lnTo>
                        <a:pt x="1364" y="1032"/>
                      </a:lnTo>
                      <a:lnTo>
                        <a:pt x="1363" y="1032"/>
                      </a:lnTo>
                      <a:lnTo>
                        <a:pt x="1363" y="1031"/>
                      </a:lnTo>
                      <a:close/>
                      <a:moveTo>
                        <a:pt x="1308" y="1105"/>
                      </a:moveTo>
                      <a:lnTo>
                        <a:pt x="1309" y="1105"/>
                      </a:lnTo>
                      <a:lnTo>
                        <a:pt x="1309" y="1106"/>
                      </a:lnTo>
                      <a:lnTo>
                        <a:pt x="1308" y="1106"/>
                      </a:lnTo>
                      <a:lnTo>
                        <a:pt x="1308" y="1105"/>
                      </a:lnTo>
                      <a:close/>
                      <a:moveTo>
                        <a:pt x="1097" y="975"/>
                      </a:moveTo>
                      <a:lnTo>
                        <a:pt x="1099" y="975"/>
                      </a:lnTo>
                      <a:lnTo>
                        <a:pt x="1099" y="976"/>
                      </a:lnTo>
                      <a:lnTo>
                        <a:pt x="1097" y="976"/>
                      </a:lnTo>
                      <a:lnTo>
                        <a:pt x="1097" y="975"/>
                      </a:lnTo>
                      <a:close/>
                      <a:moveTo>
                        <a:pt x="1430" y="1142"/>
                      </a:moveTo>
                      <a:lnTo>
                        <a:pt x="1431" y="1142"/>
                      </a:lnTo>
                      <a:lnTo>
                        <a:pt x="1431" y="1143"/>
                      </a:lnTo>
                      <a:lnTo>
                        <a:pt x="1430" y="1143"/>
                      </a:lnTo>
                      <a:lnTo>
                        <a:pt x="1430" y="1142"/>
                      </a:lnTo>
                      <a:close/>
                      <a:moveTo>
                        <a:pt x="1065" y="968"/>
                      </a:moveTo>
                      <a:lnTo>
                        <a:pt x="1066" y="968"/>
                      </a:lnTo>
                      <a:lnTo>
                        <a:pt x="1066" y="969"/>
                      </a:lnTo>
                      <a:lnTo>
                        <a:pt x="1065" y="969"/>
                      </a:lnTo>
                      <a:lnTo>
                        <a:pt x="1065" y="968"/>
                      </a:lnTo>
                      <a:close/>
                      <a:moveTo>
                        <a:pt x="1309" y="977"/>
                      </a:moveTo>
                      <a:lnTo>
                        <a:pt x="1308" y="977"/>
                      </a:lnTo>
                      <a:lnTo>
                        <a:pt x="1309" y="976"/>
                      </a:lnTo>
                      <a:lnTo>
                        <a:pt x="1310" y="976"/>
                      </a:lnTo>
                      <a:lnTo>
                        <a:pt x="1311" y="975"/>
                      </a:lnTo>
                      <a:lnTo>
                        <a:pt x="1311" y="976"/>
                      </a:lnTo>
                      <a:lnTo>
                        <a:pt x="1310" y="976"/>
                      </a:lnTo>
                      <a:lnTo>
                        <a:pt x="1309" y="977"/>
                      </a:lnTo>
                      <a:close/>
                      <a:moveTo>
                        <a:pt x="1311" y="1106"/>
                      </a:moveTo>
                      <a:lnTo>
                        <a:pt x="1312" y="1106"/>
                      </a:lnTo>
                      <a:lnTo>
                        <a:pt x="1312" y="1107"/>
                      </a:lnTo>
                      <a:lnTo>
                        <a:pt x="1311" y="1107"/>
                      </a:lnTo>
                      <a:lnTo>
                        <a:pt x="1311" y="1106"/>
                      </a:lnTo>
                      <a:close/>
                      <a:moveTo>
                        <a:pt x="1100" y="981"/>
                      </a:moveTo>
                      <a:lnTo>
                        <a:pt x="1102" y="981"/>
                      </a:lnTo>
                      <a:lnTo>
                        <a:pt x="1102" y="982"/>
                      </a:lnTo>
                      <a:lnTo>
                        <a:pt x="1100" y="982"/>
                      </a:lnTo>
                      <a:lnTo>
                        <a:pt x="1100" y="981"/>
                      </a:lnTo>
                      <a:close/>
                      <a:moveTo>
                        <a:pt x="1157" y="1015"/>
                      </a:moveTo>
                      <a:lnTo>
                        <a:pt x="1157" y="1014"/>
                      </a:lnTo>
                      <a:lnTo>
                        <a:pt x="1157" y="1013"/>
                      </a:lnTo>
                      <a:lnTo>
                        <a:pt x="1157" y="1012"/>
                      </a:lnTo>
                      <a:lnTo>
                        <a:pt x="1157" y="1011"/>
                      </a:lnTo>
                      <a:lnTo>
                        <a:pt x="1157" y="1012"/>
                      </a:lnTo>
                      <a:lnTo>
                        <a:pt x="1157" y="1013"/>
                      </a:lnTo>
                      <a:lnTo>
                        <a:pt x="1157" y="1014"/>
                      </a:lnTo>
                      <a:lnTo>
                        <a:pt x="1157" y="1015"/>
                      </a:lnTo>
                      <a:close/>
                      <a:moveTo>
                        <a:pt x="1078" y="980"/>
                      </a:moveTo>
                      <a:lnTo>
                        <a:pt x="1079" y="980"/>
                      </a:lnTo>
                      <a:lnTo>
                        <a:pt x="1079" y="981"/>
                      </a:lnTo>
                      <a:lnTo>
                        <a:pt x="1078" y="981"/>
                      </a:lnTo>
                      <a:lnTo>
                        <a:pt x="1078" y="980"/>
                      </a:lnTo>
                      <a:close/>
                      <a:moveTo>
                        <a:pt x="1085" y="981"/>
                      </a:moveTo>
                      <a:lnTo>
                        <a:pt x="1086" y="981"/>
                      </a:lnTo>
                      <a:lnTo>
                        <a:pt x="1086" y="982"/>
                      </a:lnTo>
                      <a:lnTo>
                        <a:pt x="1085" y="982"/>
                      </a:lnTo>
                      <a:lnTo>
                        <a:pt x="1085" y="981"/>
                      </a:lnTo>
                      <a:close/>
                      <a:moveTo>
                        <a:pt x="1188" y="842"/>
                      </a:moveTo>
                      <a:lnTo>
                        <a:pt x="1189" y="842"/>
                      </a:lnTo>
                      <a:lnTo>
                        <a:pt x="1189" y="844"/>
                      </a:lnTo>
                      <a:lnTo>
                        <a:pt x="1188" y="844"/>
                      </a:lnTo>
                      <a:lnTo>
                        <a:pt x="1188" y="842"/>
                      </a:lnTo>
                      <a:close/>
                      <a:moveTo>
                        <a:pt x="1041" y="938"/>
                      </a:moveTo>
                      <a:lnTo>
                        <a:pt x="1042" y="938"/>
                      </a:lnTo>
                      <a:lnTo>
                        <a:pt x="1041" y="938"/>
                      </a:lnTo>
                      <a:close/>
                      <a:moveTo>
                        <a:pt x="1357" y="1148"/>
                      </a:moveTo>
                      <a:lnTo>
                        <a:pt x="1360" y="1148"/>
                      </a:lnTo>
                      <a:lnTo>
                        <a:pt x="1360" y="1149"/>
                      </a:lnTo>
                      <a:lnTo>
                        <a:pt x="1357" y="1149"/>
                      </a:lnTo>
                      <a:lnTo>
                        <a:pt x="1357" y="1148"/>
                      </a:lnTo>
                      <a:close/>
                      <a:moveTo>
                        <a:pt x="1025" y="934"/>
                      </a:moveTo>
                      <a:lnTo>
                        <a:pt x="1024" y="934"/>
                      </a:lnTo>
                      <a:lnTo>
                        <a:pt x="1022" y="934"/>
                      </a:lnTo>
                      <a:lnTo>
                        <a:pt x="1024" y="934"/>
                      </a:lnTo>
                      <a:lnTo>
                        <a:pt x="1025" y="934"/>
                      </a:lnTo>
                      <a:lnTo>
                        <a:pt x="1025" y="932"/>
                      </a:lnTo>
                      <a:lnTo>
                        <a:pt x="1025" y="934"/>
                      </a:lnTo>
                      <a:close/>
                      <a:moveTo>
                        <a:pt x="1319" y="1201"/>
                      </a:moveTo>
                      <a:lnTo>
                        <a:pt x="1321" y="1201"/>
                      </a:lnTo>
                      <a:lnTo>
                        <a:pt x="1321" y="1202"/>
                      </a:lnTo>
                      <a:lnTo>
                        <a:pt x="1321" y="1201"/>
                      </a:lnTo>
                      <a:lnTo>
                        <a:pt x="1319" y="1201"/>
                      </a:lnTo>
                      <a:lnTo>
                        <a:pt x="1318" y="1202"/>
                      </a:lnTo>
                      <a:lnTo>
                        <a:pt x="1318" y="1204"/>
                      </a:lnTo>
                      <a:lnTo>
                        <a:pt x="1317" y="1204"/>
                      </a:lnTo>
                      <a:lnTo>
                        <a:pt x="1318" y="1204"/>
                      </a:lnTo>
                      <a:lnTo>
                        <a:pt x="1318" y="1202"/>
                      </a:lnTo>
                      <a:lnTo>
                        <a:pt x="1319" y="1201"/>
                      </a:lnTo>
                      <a:close/>
                      <a:moveTo>
                        <a:pt x="1319" y="1200"/>
                      </a:moveTo>
                      <a:lnTo>
                        <a:pt x="1321" y="1200"/>
                      </a:lnTo>
                      <a:lnTo>
                        <a:pt x="1321" y="1201"/>
                      </a:lnTo>
                      <a:lnTo>
                        <a:pt x="1319" y="1201"/>
                      </a:lnTo>
                      <a:lnTo>
                        <a:pt x="1319" y="1200"/>
                      </a:lnTo>
                      <a:close/>
                      <a:moveTo>
                        <a:pt x="1042" y="923"/>
                      </a:moveTo>
                      <a:lnTo>
                        <a:pt x="1041" y="923"/>
                      </a:lnTo>
                      <a:lnTo>
                        <a:pt x="1042" y="923"/>
                      </a:lnTo>
                      <a:lnTo>
                        <a:pt x="1043" y="922"/>
                      </a:lnTo>
                      <a:lnTo>
                        <a:pt x="1042" y="923"/>
                      </a:lnTo>
                      <a:close/>
                      <a:moveTo>
                        <a:pt x="1413" y="1108"/>
                      </a:moveTo>
                      <a:lnTo>
                        <a:pt x="1415" y="1106"/>
                      </a:lnTo>
                      <a:lnTo>
                        <a:pt x="1413" y="1108"/>
                      </a:lnTo>
                      <a:close/>
                      <a:moveTo>
                        <a:pt x="1043" y="929"/>
                      </a:moveTo>
                      <a:lnTo>
                        <a:pt x="1044" y="929"/>
                      </a:lnTo>
                      <a:lnTo>
                        <a:pt x="1044" y="931"/>
                      </a:lnTo>
                      <a:lnTo>
                        <a:pt x="1043" y="931"/>
                      </a:lnTo>
                      <a:lnTo>
                        <a:pt x="1043" y="929"/>
                      </a:lnTo>
                      <a:close/>
                      <a:moveTo>
                        <a:pt x="974" y="878"/>
                      </a:moveTo>
                      <a:lnTo>
                        <a:pt x="975" y="878"/>
                      </a:lnTo>
                      <a:lnTo>
                        <a:pt x="975" y="879"/>
                      </a:lnTo>
                      <a:lnTo>
                        <a:pt x="974" y="879"/>
                      </a:lnTo>
                      <a:lnTo>
                        <a:pt x="974" y="878"/>
                      </a:lnTo>
                      <a:close/>
                      <a:moveTo>
                        <a:pt x="1287" y="949"/>
                      </a:moveTo>
                      <a:lnTo>
                        <a:pt x="1288" y="949"/>
                      </a:lnTo>
                      <a:lnTo>
                        <a:pt x="1288" y="950"/>
                      </a:lnTo>
                      <a:lnTo>
                        <a:pt x="1287" y="950"/>
                      </a:lnTo>
                      <a:lnTo>
                        <a:pt x="1287" y="949"/>
                      </a:lnTo>
                      <a:close/>
                      <a:moveTo>
                        <a:pt x="1069" y="969"/>
                      </a:moveTo>
                      <a:lnTo>
                        <a:pt x="1070" y="969"/>
                      </a:lnTo>
                      <a:lnTo>
                        <a:pt x="1070" y="970"/>
                      </a:lnTo>
                      <a:lnTo>
                        <a:pt x="1069" y="970"/>
                      </a:lnTo>
                      <a:lnTo>
                        <a:pt x="1069" y="969"/>
                      </a:lnTo>
                      <a:close/>
                      <a:moveTo>
                        <a:pt x="1412" y="1117"/>
                      </a:moveTo>
                      <a:lnTo>
                        <a:pt x="1413" y="1117"/>
                      </a:lnTo>
                      <a:lnTo>
                        <a:pt x="1413" y="1118"/>
                      </a:lnTo>
                      <a:lnTo>
                        <a:pt x="1412" y="1118"/>
                      </a:lnTo>
                      <a:lnTo>
                        <a:pt x="1412" y="1117"/>
                      </a:lnTo>
                      <a:close/>
                      <a:moveTo>
                        <a:pt x="1107" y="806"/>
                      </a:moveTo>
                      <a:lnTo>
                        <a:pt x="1108" y="806"/>
                      </a:lnTo>
                      <a:lnTo>
                        <a:pt x="1109" y="806"/>
                      </a:lnTo>
                      <a:lnTo>
                        <a:pt x="1109" y="807"/>
                      </a:lnTo>
                      <a:lnTo>
                        <a:pt x="1109" y="806"/>
                      </a:lnTo>
                      <a:lnTo>
                        <a:pt x="1108" y="806"/>
                      </a:lnTo>
                      <a:lnTo>
                        <a:pt x="1107" y="806"/>
                      </a:lnTo>
                      <a:close/>
                      <a:moveTo>
                        <a:pt x="1308" y="952"/>
                      </a:moveTo>
                      <a:lnTo>
                        <a:pt x="1309" y="952"/>
                      </a:lnTo>
                      <a:lnTo>
                        <a:pt x="1309" y="953"/>
                      </a:lnTo>
                      <a:lnTo>
                        <a:pt x="1308" y="953"/>
                      </a:lnTo>
                      <a:lnTo>
                        <a:pt x="1308" y="952"/>
                      </a:lnTo>
                      <a:close/>
                      <a:moveTo>
                        <a:pt x="1433" y="1132"/>
                      </a:moveTo>
                      <a:lnTo>
                        <a:pt x="1433" y="1133"/>
                      </a:lnTo>
                      <a:lnTo>
                        <a:pt x="1433" y="1132"/>
                      </a:lnTo>
                      <a:close/>
                      <a:moveTo>
                        <a:pt x="1338" y="1008"/>
                      </a:moveTo>
                      <a:lnTo>
                        <a:pt x="1337" y="1009"/>
                      </a:lnTo>
                      <a:lnTo>
                        <a:pt x="1337" y="1008"/>
                      </a:lnTo>
                      <a:lnTo>
                        <a:pt x="1336" y="1008"/>
                      </a:lnTo>
                      <a:lnTo>
                        <a:pt x="1337" y="1008"/>
                      </a:lnTo>
                      <a:lnTo>
                        <a:pt x="1338" y="1008"/>
                      </a:lnTo>
                      <a:lnTo>
                        <a:pt x="1339" y="1008"/>
                      </a:lnTo>
                      <a:lnTo>
                        <a:pt x="1338" y="1008"/>
                      </a:lnTo>
                      <a:close/>
                      <a:moveTo>
                        <a:pt x="1271" y="947"/>
                      </a:moveTo>
                      <a:lnTo>
                        <a:pt x="1270" y="947"/>
                      </a:lnTo>
                      <a:lnTo>
                        <a:pt x="1270" y="948"/>
                      </a:lnTo>
                      <a:lnTo>
                        <a:pt x="1268" y="948"/>
                      </a:lnTo>
                      <a:lnTo>
                        <a:pt x="1268" y="949"/>
                      </a:lnTo>
                      <a:lnTo>
                        <a:pt x="1268" y="948"/>
                      </a:lnTo>
                      <a:lnTo>
                        <a:pt x="1270" y="948"/>
                      </a:lnTo>
                      <a:lnTo>
                        <a:pt x="1270" y="947"/>
                      </a:lnTo>
                      <a:lnTo>
                        <a:pt x="1271" y="947"/>
                      </a:lnTo>
                      <a:close/>
                      <a:moveTo>
                        <a:pt x="1144" y="1013"/>
                      </a:moveTo>
                      <a:lnTo>
                        <a:pt x="1146" y="1014"/>
                      </a:lnTo>
                      <a:lnTo>
                        <a:pt x="1146" y="1015"/>
                      </a:lnTo>
                      <a:lnTo>
                        <a:pt x="1146" y="1014"/>
                      </a:lnTo>
                      <a:lnTo>
                        <a:pt x="1145" y="1014"/>
                      </a:lnTo>
                      <a:lnTo>
                        <a:pt x="1144" y="1013"/>
                      </a:lnTo>
                      <a:close/>
                      <a:moveTo>
                        <a:pt x="1171" y="989"/>
                      </a:moveTo>
                      <a:lnTo>
                        <a:pt x="1168" y="989"/>
                      </a:lnTo>
                      <a:lnTo>
                        <a:pt x="1168" y="988"/>
                      </a:lnTo>
                      <a:lnTo>
                        <a:pt x="1171" y="989"/>
                      </a:lnTo>
                      <a:close/>
                      <a:moveTo>
                        <a:pt x="1339" y="1006"/>
                      </a:moveTo>
                      <a:lnTo>
                        <a:pt x="1340" y="1006"/>
                      </a:lnTo>
                      <a:lnTo>
                        <a:pt x="1340" y="1007"/>
                      </a:lnTo>
                      <a:lnTo>
                        <a:pt x="1339" y="1007"/>
                      </a:lnTo>
                      <a:lnTo>
                        <a:pt x="1339" y="1006"/>
                      </a:lnTo>
                      <a:close/>
                      <a:moveTo>
                        <a:pt x="1043" y="928"/>
                      </a:moveTo>
                      <a:lnTo>
                        <a:pt x="1044" y="928"/>
                      </a:lnTo>
                      <a:lnTo>
                        <a:pt x="1044" y="929"/>
                      </a:lnTo>
                      <a:lnTo>
                        <a:pt x="1043" y="929"/>
                      </a:lnTo>
                      <a:lnTo>
                        <a:pt x="1043" y="928"/>
                      </a:lnTo>
                      <a:close/>
                      <a:moveTo>
                        <a:pt x="1348" y="999"/>
                      </a:moveTo>
                      <a:lnTo>
                        <a:pt x="1348" y="1000"/>
                      </a:lnTo>
                      <a:lnTo>
                        <a:pt x="1348" y="999"/>
                      </a:lnTo>
                      <a:close/>
                      <a:moveTo>
                        <a:pt x="1035" y="990"/>
                      </a:moveTo>
                      <a:lnTo>
                        <a:pt x="1034" y="990"/>
                      </a:lnTo>
                      <a:lnTo>
                        <a:pt x="1034" y="989"/>
                      </a:lnTo>
                      <a:lnTo>
                        <a:pt x="1034" y="990"/>
                      </a:lnTo>
                      <a:lnTo>
                        <a:pt x="1035" y="990"/>
                      </a:lnTo>
                      <a:close/>
                      <a:moveTo>
                        <a:pt x="1356" y="1014"/>
                      </a:moveTo>
                      <a:lnTo>
                        <a:pt x="1357" y="1014"/>
                      </a:lnTo>
                      <a:lnTo>
                        <a:pt x="1357" y="1015"/>
                      </a:lnTo>
                      <a:lnTo>
                        <a:pt x="1356" y="1015"/>
                      </a:lnTo>
                      <a:lnTo>
                        <a:pt x="1356" y="1014"/>
                      </a:lnTo>
                      <a:close/>
                      <a:moveTo>
                        <a:pt x="1417" y="1099"/>
                      </a:moveTo>
                      <a:lnTo>
                        <a:pt x="1417" y="1102"/>
                      </a:lnTo>
                      <a:lnTo>
                        <a:pt x="1417" y="1099"/>
                      </a:lnTo>
                      <a:close/>
                      <a:moveTo>
                        <a:pt x="1363" y="1037"/>
                      </a:moveTo>
                      <a:lnTo>
                        <a:pt x="1363" y="1038"/>
                      </a:lnTo>
                      <a:lnTo>
                        <a:pt x="1363" y="1037"/>
                      </a:lnTo>
                      <a:close/>
                      <a:moveTo>
                        <a:pt x="1106" y="952"/>
                      </a:moveTo>
                      <a:lnTo>
                        <a:pt x="1107" y="952"/>
                      </a:lnTo>
                      <a:lnTo>
                        <a:pt x="1107" y="953"/>
                      </a:lnTo>
                      <a:lnTo>
                        <a:pt x="1106" y="953"/>
                      </a:lnTo>
                      <a:lnTo>
                        <a:pt x="1106" y="952"/>
                      </a:lnTo>
                      <a:close/>
                      <a:moveTo>
                        <a:pt x="1437" y="1133"/>
                      </a:moveTo>
                      <a:lnTo>
                        <a:pt x="1438" y="1133"/>
                      </a:lnTo>
                      <a:lnTo>
                        <a:pt x="1438" y="1134"/>
                      </a:lnTo>
                      <a:lnTo>
                        <a:pt x="1437" y="1134"/>
                      </a:lnTo>
                      <a:lnTo>
                        <a:pt x="1437" y="1133"/>
                      </a:lnTo>
                      <a:close/>
                      <a:moveTo>
                        <a:pt x="1143" y="993"/>
                      </a:moveTo>
                      <a:lnTo>
                        <a:pt x="1142" y="993"/>
                      </a:lnTo>
                      <a:lnTo>
                        <a:pt x="1140" y="992"/>
                      </a:lnTo>
                      <a:lnTo>
                        <a:pt x="1138" y="992"/>
                      </a:lnTo>
                      <a:lnTo>
                        <a:pt x="1140" y="992"/>
                      </a:lnTo>
                      <a:lnTo>
                        <a:pt x="1142" y="993"/>
                      </a:lnTo>
                      <a:lnTo>
                        <a:pt x="1143" y="993"/>
                      </a:lnTo>
                      <a:close/>
                      <a:moveTo>
                        <a:pt x="1353" y="1163"/>
                      </a:moveTo>
                      <a:lnTo>
                        <a:pt x="1353" y="1164"/>
                      </a:lnTo>
                      <a:lnTo>
                        <a:pt x="1353" y="1163"/>
                      </a:lnTo>
                      <a:close/>
                      <a:moveTo>
                        <a:pt x="1357" y="995"/>
                      </a:moveTo>
                      <a:lnTo>
                        <a:pt x="1358" y="995"/>
                      </a:lnTo>
                      <a:lnTo>
                        <a:pt x="1358" y="996"/>
                      </a:lnTo>
                      <a:lnTo>
                        <a:pt x="1357" y="996"/>
                      </a:lnTo>
                      <a:lnTo>
                        <a:pt x="1357" y="995"/>
                      </a:lnTo>
                      <a:close/>
                      <a:moveTo>
                        <a:pt x="1319" y="1199"/>
                      </a:moveTo>
                      <a:lnTo>
                        <a:pt x="1322" y="1199"/>
                      </a:lnTo>
                      <a:lnTo>
                        <a:pt x="1322" y="1200"/>
                      </a:lnTo>
                      <a:lnTo>
                        <a:pt x="1319" y="1200"/>
                      </a:lnTo>
                      <a:lnTo>
                        <a:pt x="1319" y="1199"/>
                      </a:lnTo>
                      <a:close/>
                      <a:moveTo>
                        <a:pt x="1058" y="939"/>
                      </a:moveTo>
                      <a:lnTo>
                        <a:pt x="1060" y="939"/>
                      </a:lnTo>
                      <a:lnTo>
                        <a:pt x="1060" y="940"/>
                      </a:lnTo>
                      <a:lnTo>
                        <a:pt x="1058" y="940"/>
                      </a:lnTo>
                      <a:lnTo>
                        <a:pt x="1058" y="939"/>
                      </a:lnTo>
                      <a:close/>
                      <a:moveTo>
                        <a:pt x="1432" y="1081"/>
                      </a:moveTo>
                      <a:lnTo>
                        <a:pt x="1433" y="1081"/>
                      </a:lnTo>
                      <a:lnTo>
                        <a:pt x="1433" y="1082"/>
                      </a:lnTo>
                      <a:lnTo>
                        <a:pt x="1432" y="1082"/>
                      </a:lnTo>
                      <a:lnTo>
                        <a:pt x="1432" y="1081"/>
                      </a:lnTo>
                      <a:close/>
                      <a:moveTo>
                        <a:pt x="1203" y="1047"/>
                      </a:moveTo>
                      <a:lnTo>
                        <a:pt x="1205" y="1047"/>
                      </a:lnTo>
                      <a:lnTo>
                        <a:pt x="1205" y="1048"/>
                      </a:lnTo>
                      <a:lnTo>
                        <a:pt x="1203" y="1048"/>
                      </a:lnTo>
                      <a:lnTo>
                        <a:pt x="1203" y="1047"/>
                      </a:lnTo>
                      <a:close/>
                      <a:moveTo>
                        <a:pt x="1201" y="1045"/>
                      </a:moveTo>
                      <a:lnTo>
                        <a:pt x="1203" y="1045"/>
                      </a:lnTo>
                      <a:lnTo>
                        <a:pt x="1203" y="1046"/>
                      </a:lnTo>
                      <a:lnTo>
                        <a:pt x="1201" y="1046"/>
                      </a:lnTo>
                      <a:lnTo>
                        <a:pt x="1201" y="1045"/>
                      </a:lnTo>
                      <a:close/>
                      <a:moveTo>
                        <a:pt x="1078" y="991"/>
                      </a:moveTo>
                      <a:lnTo>
                        <a:pt x="1076" y="991"/>
                      </a:lnTo>
                      <a:lnTo>
                        <a:pt x="1076" y="992"/>
                      </a:lnTo>
                      <a:lnTo>
                        <a:pt x="1077" y="992"/>
                      </a:lnTo>
                      <a:lnTo>
                        <a:pt x="1076" y="992"/>
                      </a:lnTo>
                      <a:lnTo>
                        <a:pt x="1076" y="991"/>
                      </a:lnTo>
                      <a:lnTo>
                        <a:pt x="1078" y="991"/>
                      </a:lnTo>
                      <a:close/>
                      <a:moveTo>
                        <a:pt x="1140" y="1019"/>
                      </a:moveTo>
                      <a:lnTo>
                        <a:pt x="1140" y="1021"/>
                      </a:lnTo>
                      <a:lnTo>
                        <a:pt x="1140" y="1019"/>
                      </a:lnTo>
                      <a:close/>
                      <a:moveTo>
                        <a:pt x="1308" y="1128"/>
                      </a:moveTo>
                      <a:lnTo>
                        <a:pt x="1309" y="1128"/>
                      </a:lnTo>
                      <a:lnTo>
                        <a:pt x="1308" y="1128"/>
                      </a:lnTo>
                      <a:close/>
                      <a:moveTo>
                        <a:pt x="1279" y="1125"/>
                      </a:moveTo>
                      <a:lnTo>
                        <a:pt x="1280" y="1125"/>
                      </a:lnTo>
                      <a:lnTo>
                        <a:pt x="1280" y="1127"/>
                      </a:lnTo>
                      <a:lnTo>
                        <a:pt x="1279" y="1127"/>
                      </a:lnTo>
                      <a:lnTo>
                        <a:pt x="1279" y="1125"/>
                      </a:lnTo>
                      <a:close/>
                      <a:moveTo>
                        <a:pt x="1187" y="1044"/>
                      </a:moveTo>
                      <a:lnTo>
                        <a:pt x="1187" y="1045"/>
                      </a:lnTo>
                      <a:lnTo>
                        <a:pt x="1187" y="1044"/>
                      </a:lnTo>
                      <a:lnTo>
                        <a:pt x="1186" y="1044"/>
                      </a:lnTo>
                      <a:lnTo>
                        <a:pt x="1185" y="1043"/>
                      </a:lnTo>
                      <a:lnTo>
                        <a:pt x="1186" y="1044"/>
                      </a:lnTo>
                      <a:lnTo>
                        <a:pt x="1187" y="1044"/>
                      </a:lnTo>
                      <a:close/>
                      <a:moveTo>
                        <a:pt x="1365" y="1019"/>
                      </a:moveTo>
                      <a:lnTo>
                        <a:pt x="1364" y="1019"/>
                      </a:lnTo>
                      <a:lnTo>
                        <a:pt x="1364" y="1020"/>
                      </a:lnTo>
                      <a:lnTo>
                        <a:pt x="1364" y="1021"/>
                      </a:lnTo>
                      <a:lnTo>
                        <a:pt x="1364" y="1020"/>
                      </a:lnTo>
                      <a:lnTo>
                        <a:pt x="1364" y="1019"/>
                      </a:lnTo>
                      <a:lnTo>
                        <a:pt x="1365" y="1019"/>
                      </a:lnTo>
                      <a:close/>
                      <a:moveTo>
                        <a:pt x="1287" y="968"/>
                      </a:moveTo>
                      <a:lnTo>
                        <a:pt x="1289" y="968"/>
                      </a:lnTo>
                      <a:lnTo>
                        <a:pt x="1289" y="969"/>
                      </a:lnTo>
                      <a:lnTo>
                        <a:pt x="1287" y="969"/>
                      </a:lnTo>
                      <a:lnTo>
                        <a:pt x="1287" y="968"/>
                      </a:lnTo>
                      <a:close/>
                      <a:moveTo>
                        <a:pt x="1367" y="1014"/>
                      </a:moveTo>
                      <a:lnTo>
                        <a:pt x="1369" y="1014"/>
                      </a:lnTo>
                      <a:lnTo>
                        <a:pt x="1369" y="1015"/>
                      </a:lnTo>
                      <a:lnTo>
                        <a:pt x="1367" y="1015"/>
                      </a:lnTo>
                      <a:lnTo>
                        <a:pt x="1367" y="1014"/>
                      </a:lnTo>
                      <a:close/>
                      <a:moveTo>
                        <a:pt x="1335" y="1032"/>
                      </a:moveTo>
                      <a:lnTo>
                        <a:pt x="1335" y="1033"/>
                      </a:lnTo>
                      <a:lnTo>
                        <a:pt x="1335" y="1032"/>
                      </a:lnTo>
                      <a:close/>
                      <a:moveTo>
                        <a:pt x="1067" y="991"/>
                      </a:moveTo>
                      <a:lnTo>
                        <a:pt x="1068" y="991"/>
                      </a:lnTo>
                      <a:lnTo>
                        <a:pt x="1068" y="992"/>
                      </a:lnTo>
                      <a:lnTo>
                        <a:pt x="1067" y="992"/>
                      </a:lnTo>
                      <a:lnTo>
                        <a:pt x="1067" y="991"/>
                      </a:lnTo>
                      <a:close/>
                      <a:moveTo>
                        <a:pt x="1440" y="1079"/>
                      </a:moveTo>
                      <a:lnTo>
                        <a:pt x="1441" y="1079"/>
                      </a:lnTo>
                      <a:lnTo>
                        <a:pt x="1440" y="1079"/>
                      </a:lnTo>
                      <a:close/>
                      <a:moveTo>
                        <a:pt x="1286" y="961"/>
                      </a:moveTo>
                      <a:lnTo>
                        <a:pt x="1285" y="961"/>
                      </a:lnTo>
                      <a:lnTo>
                        <a:pt x="1284" y="961"/>
                      </a:lnTo>
                      <a:lnTo>
                        <a:pt x="1285" y="961"/>
                      </a:lnTo>
                      <a:lnTo>
                        <a:pt x="1286" y="961"/>
                      </a:lnTo>
                      <a:lnTo>
                        <a:pt x="1286" y="960"/>
                      </a:lnTo>
                      <a:lnTo>
                        <a:pt x="1286" y="961"/>
                      </a:lnTo>
                      <a:close/>
                      <a:moveTo>
                        <a:pt x="1312" y="948"/>
                      </a:moveTo>
                      <a:lnTo>
                        <a:pt x="1314" y="948"/>
                      </a:lnTo>
                      <a:lnTo>
                        <a:pt x="1314" y="949"/>
                      </a:lnTo>
                      <a:lnTo>
                        <a:pt x="1312" y="949"/>
                      </a:lnTo>
                      <a:lnTo>
                        <a:pt x="1312" y="948"/>
                      </a:lnTo>
                      <a:close/>
                      <a:moveTo>
                        <a:pt x="1079" y="992"/>
                      </a:moveTo>
                      <a:lnTo>
                        <a:pt x="1076" y="992"/>
                      </a:lnTo>
                      <a:lnTo>
                        <a:pt x="1077" y="992"/>
                      </a:lnTo>
                      <a:lnTo>
                        <a:pt x="1079" y="992"/>
                      </a:lnTo>
                      <a:close/>
                      <a:moveTo>
                        <a:pt x="1439" y="1145"/>
                      </a:moveTo>
                      <a:lnTo>
                        <a:pt x="1440" y="1145"/>
                      </a:lnTo>
                      <a:lnTo>
                        <a:pt x="1440" y="1146"/>
                      </a:lnTo>
                      <a:lnTo>
                        <a:pt x="1439" y="1146"/>
                      </a:lnTo>
                      <a:lnTo>
                        <a:pt x="1439" y="1145"/>
                      </a:lnTo>
                      <a:close/>
                      <a:moveTo>
                        <a:pt x="1140" y="991"/>
                      </a:moveTo>
                      <a:lnTo>
                        <a:pt x="1141" y="991"/>
                      </a:lnTo>
                      <a:lnTo>
                        <a:pt x="1141" y="992"/>
                      </a:lnTo>
                      <a:lnTo>
                        <a:pt x="1140" y="991"/>
                      </a:lnTo>
                      <a:lnTo>
                        <a:pt x="1138" y="991"/>
                      </a:lnTo>
                      <a:lnTo>
                        <a:pt x="1140" y="991"/>
                      </a:lnTo>
                      <a:close/>
                      <a:moveTo>
                        <a:pt x="1100" y="966"/>
                      </a:moveTo>
                      <a:lnTo>
                        <a:pt x="1100" y="968"/>
                      </a:lnTo>
                      <a:lnTo>
                        <a:pt x="1100" y="966"/>
                      </a:lnTo>
                      <a:close/>
                      <a:moveTo>
                        <a:pt x="1330" y="1192"/>
                      </a:moveTo>
                      <a:lnTo>
                        <a:pt x="1329" y="1192"/>
                      </a:lnTo>
                      <a:lnTo>
                        <a:pt x="1328" y="1191"/>
                      </a:lnTo>
                      <a:lnTo>
                        <a:pt x="1328" y="1189"/>
                      </a:lnTo>
                      <a:lnTo>
                        <a:pt x="1327" y="1189"/>
                      </a:lnTo>
                      <a:lnTo>
                        <a:pt x="1328" y="1189"/>
                      </a:lnTo>
                      <a:lnTo>
                        <a:pt x="1328" y="1191"/>
                      </a:lnTo>
                      <a:lnTo>
                        <a:pt x="1329" y="1191"/>
                      </a:lnTo>
                      <a:lnTo>
                        <a:pt x="1330" y="1192"/>
                      </a:lnTo>
                      <a:close/>
                      <a:moveTo>
                        <a:pt x="1046" y="928"/>
                      </a:moveTo>
                      <a:lnTo>
                        <a:pt x="1047" y="928"/>
                      </a:lnTo>
                      <a:lnTo>
                        <a:pt x="1047" y="929"/>
                      </a:lnTo>
                      <a:lnTo>
                        <a:pt x="1046" y="929"/>
                      </a:lnTo>
                      <a:lnTo>
                        <a:pt x="1046" y="928"/>
                      </a:lnTo>
                      <a:close/>
                      <a:moveTo>
                        <a:pt x="1093" y="967"/>
                      </a:moveTo>
                      <a:lnTo>
                        <a:pt x="1094" y="967"/>
                      </a:lnTo>
                      <a:lnTo>
                        <a:pt x="1094" y="968"/>
                      </a:lnTo>
                      <a:lnTo>
                        <a:pt x="1093" y="968"/>
                      </a:lnTo>
                      <a:lnTo>
                        <a:pt x="1093" y="967"/>
                      </a:lnTo>
                      <a:close/>
                      <a:moveTo>
                        <a:pt x="1140" y="1009"/>
                      </a:moveTo>
                      <a:lnTo>
                        <a:pt x="1142" y="1011"/>
                      </a:lnTo>
                      <a:lnTo>
                        <a:pt x="1140" y="1009"/>
                      </a:lnTo>
                      <a:close/>
                      <a:moveTo>
                        <a:pt x="1406" y="1119"/>
                      </a:moveTo>
                      <a:lnTo>
                        <a:pt x="1407" y="1119"/>
                      </a:lnTo>
                      <a:lnTo>
                        <a:pt x="1407" y="1120"/>
                      </a:lnTo>
                      <a:lnTo>
                        <a:pt x="1406" y="1120"/>
                      </a:lnTo>
                      <a:lnTo>
                        <a:pt x="1406" y="1119"/>
                      </a:lnTo>
                      <a:close/>
                      <a:moveTo>
                        <a:pt x="1019" y="951"/>
                      </a:moveTo>
                      <a:lnTo>
                        <a:pt x="1021" y="951"/>
                      </a:lnTo>
                      <a:lnTo>
                        <a:pt x="1021" y="952"/>
                      </a:lnTo>
                      <a:lnTo>
                        <a:pt x="1019" y="952"/>
                      </a:lnTo>
                      <a:lnTo>
                        <a:pt x="1019" y="951"/>
                      </a:lnTo>
                      <a:close/>
                      <a:moveTo>
                        <a:pt x="1420" y="1019"/>
                      </a:moveTo>
                      <a:lnTo>
                        <a:pt x="1420" y="1020"/>
                      </a:lnTo>
                      <a:lnTo>
                        <a:pt x="1420" y="1019"/>
                      </a:lnTo>
                      <a:close/>
                      <a:moveTo>
                        <a:pt x="1432" y="1129"/>
                      </a:moveTo>
                      <a:lnTo>
                        <a:pt x="1433" y="1129"/>
                      </a:lnTo>
                      <a:lnTo>
                        <a:pt x="1433" y="1130"/>
                      </a:lnTo>
                      <a:lnTo>
                        <a:pt x="1432" y="1130"/>
                      </a:lnTo>
                      <a:lnTo>
                        <a:pt x="1432" y="1129"/>
                      </a:lnTo>
                      <a:close/>
                      <a:moveTo>
                        <a:pt x="1349" y="1026"/>
                      </a:moveTo>
                      <a:lnTo>
                        <a:pt x="1350" y="1026"/>
                      </a:lnTo>
                      <a:lnTo>
                        <a:pt x="1350" y="1028"/>
                      </a:lnTo>
                      <a:lnTo>
                        <a:pt x="1349" y="1028"/>
                      </a:lnTo>
                      <a:lnTo>
                        <a:pt x="1349" y="1026"/>
                      </a:lnTo>
                      <a:close/>
                      <a:moveTo>
                        <a:pt x="1141" y="1021"/>
                      </a:moveTo>
                      <a:lnTo>
                        <a:pt x="1140" y="1021"/>
                      </a:lnTo>
                      <a:lnTo>
                        <a:pt x="1141" y="1020"/>
                      </a:lnTo>
                      <a:lnTo>
                        <a:pt x="1141" y="1018"/>
                      </a:lnTo>
                      <a:lnTo>
                        <a:pt x="1142" y="1018"/>
                      </a:lnTo>
                      <a:lnTo>
                        <a:pt x="1141" y="1021"/>
                      </a:lnTo>
                      <a:close/>
                      <a:moveTo>
                        <a:pt x="1094" y="796"/>
                      </a:moveTo>
                      <a:lnTo>
                        <a:pt x="1095" y="796"/>
                      </a:lnTo>
                      <a:lnTo>
                        <a:pt x="1095" y="797"/>
                      </a:lnTo>
                      <a:lnTo>
                        <a:pt x="1094" y="797"/>
                      </a:lnTo>
                      <a:lnTo>
                        <a:pt x="1094" y="796"/>
                      </a:lnTo>
                      <a:close/>
                      <a:moveTo>
                        <a:pt x="1093" y="798"/>
                      </a:moveTo>
                      <a:lnTo>
                        <a:pt x="1093" y="799"/>
                      </a:lnTo>
                      <a:lnTo>
                        <a:pt x="1093" y="798"/>
                      </a:lnTo>
                      <a:close/>
                      <a:moveTo>
                        <a:pt x="1112" y="970"/>
                      </a:moveTo>
                      <a:lnTo>
                        <a:pt x="1111" y="970"/>
                      </a:lnTo>
                      <a:lnTo>
                        <a:pt x="1110" y="969"/>
                      </a:lnTo>
                      <a:lnTo>
                        <a:pt x="1109" y="969"/>
                      </a:lnTo>
                      <a:lnTo>
                        <a:pt x="1110" y="969"/>
                      </a:lnTo>
                      <a:lnTo>
                        <a:pt x="1112" y="970"/>
                      </a:lnTo>
                      <a:close/>
                      <a:moveTo>
                        <a:pt x="1364" y="1000"/>
                      </a:moveTo>
                      <a:lnTo>
                        <a:pt x="1364" y="1001"/>
                      </a:lnTo>
                      <a:lnTo>
                        <a:pt x="1364" y="1000"/>
                      </a:lnTo>
                      <a:close/>
                      <a:moveTo>
                        <a:pt x="1291" y="969"/>
                      </a:moveTo>
                      <a:lnTo>
                        <a:pt x="1293" y="969"/>
                      </a:lnTo>
                      <a:lnTo>
                        <a:pt x="1291" y="969"/>
                      </a:lnTo>
                      <a:close/>
                      <a:moveTo>
                        <a:pt x="1197" y="1047"/>
                      </a:moveTo>
                      <a:lnTo>
                        <a:pt x="1198" y="1047"/>
                      </a:lnTo>
                      <a:lnTo>
                        <a:pt x="1198" y="1046"/>
                      </a:lnTo>
                      <a:lnTo>
                        <a:pt x="1199" y="1046"/>
                      </a:lnTo>
                      <a:lnTo>
                        <a:pt x="1200" y="1046"/>
                      </a:lnTo>
                      <a:lnTo>
                        <a:pt x="1199" y="1046"/>
                      </a:lnTo>
                      <a:lnTo>
                        <a:pt x="1198" y="1047"/>
                      </a:lnTo>
                      <a:lnTo>
                        <a:pt x="1197" y="1047"/>
                      </a:lnTo>
                      <a:lnTo>
                        <a:pt x="1197" y="1046"/>
                      </a:lnTo>
                      <a:lnTo>
                        <a:pt x="1197" y="1047"/>
                      </a:lnTo>
                      <a:close/>
                      <a:moveTo>
                        <a:pt x="1091" y="984"/>
                      </a:moveTo>
                      <a:lnTo>
                        <a:pt x="1092" y="984"/>
                      </a:lnTo>
                      <a:lnTo>
                        <a:pt x="1092" y="986"/>
                      </a:lnTo>
                      <a:lnTo>
                        <a:pt x="1091" y="986"/>
                      </a:lnTo>
                      <a:lnTo>
                        <a:pt x="1091" y="984"/>
                      </a:lnTo>
                      <a:close/>
                      <a:moveTo>
                        <a:pt x="1066" y="927"/>
                      </a:moveTo>
                      <a:lnTo>
                        <a:pt x="1067" y="927"/>
                      </a:lnTo>
                      <a:lnTo>
                        <a:pt x="1066" y="927"/>
                      </a:lnTo>
                      <a:close/>
                      <a:moveTo>
                        <a:pt x="1349" y="1001"/>
                      </a:moveTo>
                      <a:lnTo>
                        <a:pt x="1350" y="1001"/>
                      </a:lnTo>
                      <a:lnTo>
                        <a:pt x="1350" y="1002"/>
                      </a:lnTo>
                      <a:lnTo>
                        <a:pt x="1349" y="1002"/>
                      </a:lnTo>
                      <a:lnTo>
                        <a:pt x="1349" y="1001"/>
                      </a:lnTo>
                      <a:close/>
                      <a:moveTo>
                        <a:pt x="1083" y="982"/>
                      </a:moveTo>
                      <a:lnTo>
                        <a:pt x="1082" y="983"/>
                      </a:lnTo>
                      <a:lnTo>
                        <a:pt x="1082" y="986"/>
                      </a:lnTo>
                      <a:lnTo>
                        <a:pt x="1081" y="984"/>
                      </a:lnTo>
                      <a:lnTo>
                        <a:pt x="1082" y="984"/>
                      </a:lnTo>
                      <a:lnTo>
                        <a:pt x="1082" y="983"/>
                      </a:lnTo>
                      <a:lnTo>
                        <a:pt x="1082" y="982"/>
                      </a:lnTo>
                      <a:lnTo>
                        <a:pt x="1083" y="982"/>
                      </a:lnTo>
                      <a:close/>
                      <a:moveTo>
                        <a:pt x="1107" y="971"/>
                      </a:moveTo>
                      <a:lnTo>
                        <a:pt x="1108" y="971"/>
                      </a:lnTo>
                      <a:lnTo>
                        <a:pt x="1108" y="973"/>
                      </a:lnTo>
                      <a:lnTo>
                        <a:pt x="1107" y="973"/>
                      </a:lnTo>
                      <a:lnTo>
                        <a:pt x="1107" y="971"/>
                      </a:lnTo>
                      <a:close/>
                      <a:moveTo>
                        <a:pt x="1291" y="942"/>
                      </a:moveTo>
                      <a:lnTo>
                        <a:pt x="1290" y="942"/>
                      </a:lnTo>
                      <a:lnTo>
                        <a:pt x="1290" y="941"/>
                      </a:lnTo>
                      <a:lnTo>
                        <a:pt x="1289" y="940"/>
                      </a:lnTo>
                      <a:lnTo>
                        <a:pt x="1290" y="940"/>
                      </a:lnTo>
                      <a:lnTo>
                        <a:pt x="1291" y="942"/>
                      </a:lnTo>
                      <a:close/>
                      <a:moveTo>
                        <a:pt x="1261" y="942"/>
                      </a:moveTo>
                      <a:lnTo>
                        <a:pt x="1262" y="942"/>
                      </a:lnTo>
                      <a:lnTo>
                        <a:pt x="1263" y="942"/>
                      </a:lnTo>
                      <a:lnTo>
                        <a:pt x="1263" y="943"/>
                      </a:lnTo>
                      <a:lnTo>
                        <a:pt x="1262" y="943"/>
                      </a:lnTo>
                      <a:lnTo>
                        <a:pt x="1263" y="943"/>
                      </a:lnTo>
                      <a:lnTo>
                        <a:pt x="1262" y="943"/>
                      </a:lnTo>
                      <a:lnTo>
                        <a:pt x="1261" y="943"/>
                      </a:lnTo>
                      <a:lnTo>
                        <a:pt x="1262" y="943"/>
                      </a:lnTo>
                      <a:lnTo>
                        <a:pt x="1261" y="943"/>
                      </a:lnTo>
                      <a:lnTo>
                        <a:pt x="1261" y="942"/>
                      </a:lnTo>
                      <a:close/>
                      <a:moveTo>
                        <a:pt x="1060" y="939"/>
                      </a:moveTo>
                      <a:lnTo>
                        <a:pt x="1061" y="939"/>
                      </a:lnTo>
                      <a:lnTo>
                        <a:pt x="1061" y="940"/>
                      </a:lnTo>
                      <a:lnTo>
                        <a:pt x="1060" y="940"/>
                      </a:lnTo>
                      <a:lnTo>
                        <a:pt x="1060" y="939"/>
                      </a:lnTo>
                      <a:close/>
                      <a:moveTo>
                        <a:pt x="1171" y="989"/>
                      </a:moveTo>
                      <a:lnTo>
                        <a:pt x="1168" y="988"/>
                      </a:lnTo>
                      <a:lnTo>
                        <a:pt x="1169" y="988"/>
                      </a:lnTo>
                      <a:lnTo>
                        <a:pt x="1171" y="989"/>
                      </a:lnTo>
                      <a:close/>
                      <a:moveTo>
                        <a:pt x="1051" y="934"/>
                      </a:moveTo>
                      <a:lnTo>
                        <a:pt x="1052" y="934"/>
                      </a:lnTo>
                      <a:lnTo>
                        <a:pt x="1052" y="935"/>
                      </a:lnTo>
                      <a:lnTo>
                        <a:pt x="1051" y="935"/>
                      </a:lnTo>
                      <a:lnTo>
                        <a:pt x="1051" y="934"/>
                      </a:lnTo>
                      <a:close/>
                      <a:moveTo>
                        <a:pt x="1113" y="969"/>
                      </a:moveTo>
                      <a:lnTo>
                        <a:pt x="1113" y="970"/>
                      </a:lnTo>
                      <a:lnTo>
                        <a:pt x="1113" y="969"/>
                      </a:lnTo>
                      <a:close/>
                      <a:moveTo>
                        <a:pt x="1366" y="1136"/>
                      </a:moveTo>
                      <a:lnTo>
                        <a:pt x="1367" y="1136"/>
                      </a:lnTo>
                      <a:lnTo>
                        <a:pt x="1366" y="1136"/>
                      </a:lnTo>
                      <a:close/>
                      <a:moveTo>
                        <a:pt x="1364" y="1031"/>
                      </a:moveTo>
                      <a:lnTo>
                        <a:pt x="1365" y="1031"/>
                      </a:lnTo>
                      <a:lnTo>
                        <a:pt x="1364" y="1031"/>
                      </a:lnTo>
                      <a:close/>
                      <a:moveTo>
                        <a:pt x="1041" y="930"/>
                      </a:moveTo>
                      <a:lnTo>
                        <a:pt x="1042" y="930"/>
                      </a:lnTo>
                      <a:lnTo>
                        <a:pt x="1041" y="930"/>
                      </a:lnTo>
                      <a:close/>
                      <a:moveTo>
                        <a:pt x="1042" y="929"/>
                      </a:moveTo>
                      <a:lnTo>
                        <a:pt x="1043" y="929"/>
                      </a:lnTo>
                      <a:lnTo>
                        <a:pt x="1043" y="930"/>
                      </a:lnTo>
                      <a:lnTo>
                        <a:pt x="1042" y="930"/>
                      </a:lnTo>
                      <a:lnTo>
                        <a:pt x="1042" y="929"/>
                      </a:lnTo>
                      <a:close/>
                      <a:moveTo>
                        <a:pt x="1272" y="957"/>
                      </a:moveTo>
                      <a:lnTo>
                        <a:pt x="1271" y="957"/>
                      </a:lnTo>
                      <a:lnTo>
                        <a:pt x="1272" y="957"/>
                      </a:lnTo>
                      <a:lnTo>
                        <a:pt x="1272" y="956"/>
                      </a:lnTo>
                      <a:lnTo>
                        <a:pt x="1273" y="956"/>
                      </a:lnTo>
                      <a:lnTo>
                        <a:pt x="1272" y="956"/>
                      </a:lnTo>
                      <a:lnTo>
                        <a:pt x="1272" y="957"/>
                      </a:lnTo>
                      <a:close/>
                      <a:moveTo>
                        <a:pt x="1193" y="919"/>
                      </a:moveTo>
                      <a:lnTo>
                        <a:pt x="1194" y="919"/>
                      </a:lnTo>
                      <a:lnTo>
                        <a:pt x="1194" y="922"/>
                      </a:lnTo>
                      <a:lnTo>
                        <a:pt x="1193" y="922"/>
                      </a:lnTo>
                      <a:lnTo>
                        <a:pt x="1193" y="919"/>
                      </a:lnTo>
                      <a:close/>
                      <a:moveTo>
                        <a:pt x="1244" y="941"/>
                      </a:moveTo>
                      <a:lnTo>
                        <a:pt x="1245" y="941"/>
                      </a:lnTo>
                      <a:lnTo>
                        <a:pt x="1245" y="942"/>
                      </a:lnTo>
                      <a:lnTo>
                        <a:pt x="1244" y="942"/>
                      </a:lnTo>
                      <a:lnTo>
                        <a:pt x="1244" y="941"/>
                      </a:lnTo>
                      <a:close/>
                      <a:moveTo>
                        <a:pt x="1272" y="952"/>
                      </a:moveTo>
                      <a:lnTo>
                        <a:pt x="1273" y="952"/>
                      </a:lnTo>
                      <a:lnTo>
                        <a:pt x="1273" y="953"/>
                      </a:lnTo>
                      <a:lnTo>
                        <a:pt x="1272" y="953"/>
                      </a:lnTo>
                      <a:lnTo>
                        <a:pt x="1272" y="952"/>
                      </a:lnTo>
                      <a:close/>
                      <a:moveTo>
                        <a:pt x="1360" y="1144"/>
                      </a:moveTo>
                      <a:lnTo>
                        <a:pt x="1358" y="1144"/>
                      </a:lnTo>
                      <a:lnTo>
                        <a:pt x="1357" y="1144"/>
                      </a:lnTo>
                      <a:lnTo>
                        <a:pt x="1357" y="1143"/>
                      </a:lnTo>
                      <a:lnTo>
                        <a:pt x="1358" y="1144"/>
                      </a:lnTo>
                      <a:lnTo>
                        <a:pt x="1360" y="1144"/>
                      </a:lnTo>
                      <a:lnTo>
                        <a:pt x="1360" y="1143"/>
                      </a:lnTo>
                      <a:lnTo>
                        <a:pt x="1360" y="1144"/>
                      </a:lnTo>
                      <a:close/>
                      <a:moveTo>
                        <a:pt x="1102" y="802"/>
                      </a:moveTo>
                      <a:lnTo>
                        <a:pt x="1103" y="802"/>
                      </a:lnTo>
                      <a:lnTo>
                        <a:pt x="1102" y="802"/>
                      </a:lnTo>
                      <a:close/>
                      <a:moveTo>
                        <a:pt x="1257" y="943"/>
                      </a:moveTo>
                      <a:lnTo>
                        <a:pt x="1259" y="943"/>
                      </a:lnTo>
                      <a:lnTo>
                        <a:pt x="1259" y="944"/>
                      </a:lnTo>
                      <a:lnTo>
                        <a:pt x="1257" y="944"/>
                      </a:lnTo>
                      <a:lnTo>
                        <a:pt x="1257" y="943"/>
                      </a:lnTo>
                      <a:close/>
                      <a:moveTo>
                        <a:pt x="1100" y="965"/>
                      </a:moveTo>
                      <a:lnTo>
                        <a:pt x="1097" y="964"/>
                      </a:lnTo>
                      <a:lnTo>
                        <a:pt x="1100" y="965"/>
                      </a:lnTo>
                      <a:close/>
                      <a:moveTo>
                        <a:pt x="1325" y="1021"/>
                      </a:moveTo>
                      <a:lnTo>
                        <a:pt x="1326" y="1021"/>
                      </a:lnTo>
                      <a:lnTo>
                        <a:pt x="1326" y="1022"/>
                      </a:lnTo>
                      <a:lnTo>
                        <a:pt x="1325" y="1022"/>
                      </a:lnTo>
                      <a:lnTo>
                        <a:pt x="1325" y="1021"/>
                      </a:lnTo>
                      <a:close/>
                      <a:moveTo>
                        <a:pt x="1195" y="1047"/>
                      </a:moveTo>
                      <a:lnTo>
                        <a:pt x="1196" y="1047"/>
                      </a:lnTo>
                      <a:lnTo>
                        <a:pt x="1195" y="1047"/>
                      </a:lnTo>
                      <a:close/>
                      <a:moveTo>
                        <a:pt x="1364" y="1021"/>
                      </a:moveTo>
                      <a:lnTo>
                        <a:pt x="1364" y="1022"/>
                      </a:lnTo>
                      <a:lnTo>
                        <a:pt x="1364" y="1021"/>
                      </a:lnTo>
                      <a:lnTo>
                        <a:pt x="1363" y="1021"/>
                      </a:lnTo>
                      <a:lnTo>
                        <a:pt x="1362" y="1021"/>
                      </a:lnTo>
                      <a:lnTo>
                        <a:pt x="1363" y="1021"/>
                      </a:lnTo>
                      <a:lnTo>
                        <a:pt x="1364" y="1021"/>
                      </a:lnTo>
                      <a:close/>
                      <a:moveTo>
                        <a:pt x="1427" y="1125"/>
                      </a:moveTo>
                      <a:lnTo>
                        <a:pt x="1429" y="1125"/>
                      </a:lnTo>
                      <a:lnTo>
                        <a:pt x="1429" y="1127"/>
                      </a:lnTo>
                      <a:lnTo>
                        <a:pt x="1427" y="1127"/>
                      </a:lnTo>
                      <a:lnTo>
                        <a:pt x="1427" y="1125"/>
                      </a:lnTo>
                      <a:close/>
                      <a:moveTo>
                        <a:pt x="1291" y="944"/>
                      </a:moveTo>
                      <a:lnTo>
                        <a:pt x="1292" y="944"/>
                      </a:lnTo>
                      <a:lnTo>
                        <a:pt x="1292" y="945"/>
                      </a:lnTo>
                      <a:lnTo>
                        <a:pt x="1291" y="945"/>
                      </a:lnTo>
                      <a:lnTo>
                        <a:pt x="1291" y="944"/>
                      </a:lnTo>
                      <a:close/>
                      <a:moveTo>
                        <a:pt x="1409" y="1134"/>
                      </a:moveTo>
                      <a:lnTo>
                        <a:pt x="1412" y="1134"/>
                      </a:lnTo>
                      <a:lnTo>
                        <a:pt x="1412" y="1135"/>
                      </a:lnTo>
                      <a:lnTo>
                        <a:pt x="1409" y="1135"/>
                      </a:lnTo>
                      <a:lnTo>
                        <a:pt x="1409" y="1134"/>
                      </a:lnTo>
                      <a:close/>
                      <a:moveTo>
                        <a:pt x="1040" y="986"/>
                      </a:moveTo>
                      <a:lnTo>
                        <a:pt x="1042" y="986"/>
                      </a:lnTo>
                      <a:lnTo>
                        <a:pt x="1040" y="986"/>
                      </a:lnTo>
                      <a:close/>
                      <a:moveTo>
                        <a:pt x="1362" y="1167"/>
                      </a:moveTo>
                      <a:lnTo>
                        <a:pt x="1362" y="1168"/>
                      </a:lnTo>
                      <a:lnTo>
                        <a:pt x="1362" y="1169"/>
                      </a:lnTo>
                      <a:lnTo>
                        <a:pt x="1362" y="1168"/>
                      </a:lnTo>
                      <a:lnTo>
                        <a:pt x="1361" y="1168"/>
                      </a:lnTo>
                      <a:lnTo>
                        <a:pt x="1361" y="1167"/>
                      </a:lnTo>
                      <a:lnTo>
                        <a:pt x="1362" y="1167"/>
                      </a:lnTo>
                      <a:close/>
                      <a:moveTo>
                        <a:pt x="1374" y="1033"/>
                      </a:moveTo>
                      <a:lnTo>
                        <a:pt x="1375" y="1033"/>
                      </a:lnTo>
                      <a:lnTo>
                        <a:pt x="1375" y="1035"/>
                      </a:lnTo>
                      <a:lnTo>
                        <a:pt x="1374" y="1035"/>
                      </a:lnTo>
                      <a:lnTo>
                        <a:pt x="1374" y="1033"/>
                      </a:lnTo>
                      <a:close/>
                      <a:moveTo>
                        <a:pt x="1099" y="994"/>
                      </a:moveTo>
                      <a:lnTo>
                        <a:pt x="1102" y="995"/>
                      </a:lnTo>
                      <a:lnTo>
                        <a:pt x="1103" y="995"/>
                      </a:lnTo>
                      <a:lnTo>
                        <a:pt x="1102" y="995"/>
                      </a:lnTo>
                      <a:lnTo>
                        <a:pt x="1100" y="995"/>
                      </a:lnTo>
                      <a:lnTo>
                        <a:pt x="1099" y="994"/>
                      </a:lnTo>
                      <a:close/>
                      <a:moveTo>
                        <a:pt x="1420" y="1121"/>
                      </a:moveTo>
                      <a:lnTo>
                        <a:pt x="1421" y="1121"/>
                      </a:lnTo>
                      <a:lnTo>
                        <a:pt x="1421" y="1122"/>
                      </a:lnTo>
                      <a:lnTo>
                        <a:pt x="1420" y="1122"/>
                      </a:lnTo>
                      <a:lnTo>
                        <a:pt x="1420" y="1121"/>
                      </a:lnTo>
                      <a:close/>
                      <a:moveTo>
                        <a:pt x="1078" y="991"/>
                      </a:moveTo>
                      <a:lnTo>
                        <a:pt x="1079" y="991"/>
                      </a:lnTo>
                      <a:lnTo>
                        <a:pt x="1079" y="992"/>
                      </a:lnTo>
                      <a:lnTo>
                        <a:pt x="1078" y="992"/>
                      </a:lnTo>
                      <a:lnTo>
                        <a:pt x="1078" y="991"/>
                      </a:lnTo>
                      <a:close/>
                      <a:moveTo>
                        <a:pt x="1276" y="963"/>
                      </a:moveTo>
                      <a:lnTo>
                        <a:pt x="1277" y="963"/>
                      </a:lnTo>
                      <a:lnTo>
                        <a:pt x="1277" y="964"/>
                      </a:lnTo>
                      <a:lnTo>
                        <a:pt x="1276" y="964"/>
                      </a:lnTo>
                      <a:lnTo>
                        <a:pt x="1276" y="963"/>
                      </a:lnTo>
                      <a:close/>
                      <a:moveTo>
                        <a:pt x="1145" y="1009"/>
                      </a:moveTo>
                      <a:lnTo>
                        <a:pt x="1145" y="1011"/>
                      </a:lnTo>
                      <a:lnTo>
                        <a:pt x="1145" y="1009"/>
                      </a:lnTo>
                      <a:close/>
                      <a:moveTo>
                        <a:pt x="1070" y="966"/>
                      </a:moveTo>
                      <a:lnTo>
                        <a:pt x="1071" y="966"/>
                      </a:lnTo>
                      <a:lnTo>
                        <a:pt x="1071" y="968"/>
                      </a:lnTo>
                      <a:lnTo>
                        <a:pt x="1070" y="968"/>
                      </a:lnTo>
                      <a:lnTo>
                        <a:pt x="1070" y="966"/>
                      </a:lnTo>
                      <a:close/>
                      <a:moveTo>
                        <a:pt x="1279" y="965"/>
                      </a:moveTo>
                      <a:lnTo>
                        <a:pt x="1282" y="965"/>
                      </a:lnTo>
                      <a:lnTo>
                        <a:pt x="1282" y="966"/>
                      </a:lnTo>
                      <a:lnTo>
                        <a:pt x="1279" y="966"/>
                      </a:lnTo>
                      <a:lnTo>
                        <a:pt x="1279" y="965"/>
                      </a:lnTo>
                      <a:close/>
                      <a:moveTo>
                        <a:pt x="1119" y="951"/>
                      </a:moveTo>
                      <a:lnTo>
                        <a:pt x="1121" y="951"/>
                      </a:lnTo>
                      <a:lnTo>
                        <a:pt x="1121" y="952"/>
                      </a:lnTo>
                      <a:lnTo>
                        <a:pt x="1119" y="952"/>
                      </a:lnTo>
                      <a:lnTo>
                        <a:pt x="1119" y="951"/>
                      </a:lnTo>
                      <a:close/>
                      <a:moveTo>
                        <a:pt x="1059" y="983"/>
                      </a:moveTo>
                      <a:lnTo>
                        <a:pt x="1061" y="983"/>
                      </a:lnTo>
                      <a:lnTo>
                        <a:pt x="1061" y="986"/>
                      </a:lnTo>
                      <a:lnTo>
                        <a:pt x="1059" y="986"/>
                      </a:lnTo>
                      <a:lnTo>
                        <a:pt x="1059" y="983"/>
                      </a:lnTo>
                      <a:close/>
                      <a:moveTo>
                        <a:pt x="1336" y="1009"/>
                      </a:moveTo>
                      <a:lnTo>
                        <a:pt x="1337" y="1009"/>
                      </a:lnTo>
                      <a:lnTo>
                        <a:pt x="1336" y="1009"/>
                      </a:lnTo>
                      <a:close/>
                      <a:moveTo>
                        <a:pt x="1347" y="1002"/>
                      </a:moveTo>
                      <a:lnTo>
                        <a:pt x="1348" y="1002"/>
                      </a:lnTo>
                      <a:lnTo>
                        <a:pt x="1348" y="1003"/>
                      </a:lnTo>
                      <a:lnTo>
                        <a:pt x="1347" y="1003"/>
                      </a:lnTo>
                      <a:lnTo>
                        <a:pt x="1347" y="1002"/>
                      </a:lnTo>
                      <a:close/>
                      <a:moveTo>
                        <a:pt x="1347" y="998"/>
                      </a:moveTo>
                      <a:lnTo>
                        <a:pt x="1348" y="998"/>
                      </a:lnTo>
                      <a:lnTo>
                        <a:pt x="1348" y="999"/>
                      </a:lnTo>
                      <a:lnTo>
                        <a:pt x="1347" y="999"/>
                      </a:lnTo>
                      <a:lnTo>
                        <a:pt x="1347" y="998"/>
                      </a:lnTo>
                      <a:close/>
                      <a:moveTo>
                        <a:pt x="1351" y="1009"/>
                      </a:moveTo>
                      <a:lnTo>
                        <a:pt x="1352" y="1009"/>
                      </a:lnTo>
                      <a:lnTo>
                        <a:pt x="1353" y="1008"/>
                      </a:lnTo>
                      <a:lnTo>
                        <a:pt x="1352" y="1009"/>
                      </a:lnTo>
                      <a:lnTo>
                        <a:pt x="1351" y="1009"/>
                      </a:lnTo>
                      <a:close/>
                      <a:moveTo>
                        <a:pt x="1357" y="989"/>
                      </a:moveTo>
                      <a:lnTo>
                        <a:pt x="1358" y="989"/>
                      </a:lnTo>
                      <a:lnTo>
                        <a:pt x="1358" y="990"/>
                      </a:lnTo>
                      <a:lnTo>
                        <a:pt x="1357" y="990"/>
                      </a:lnTo>
                      <a:lnTo>
                        <a:pt x="1357" y="989"/>
                      </a:lnTo>
                      <a:close/>
                      <a:moveTo>
                        <a:pt x="1087" y="976"/>
                      </a:moveTo>
                      <a:lnTo>
                        <a:pt x="1089" y="976"/>
                      </a:lnTo>
                      <a:lnTo>
                        <a:pt x="1089" y="977"/>
                      </a:lnTo>
                      <a:lnTo>
                        <a:pt x="1087" y="977"/>
                      </a:lnTo>
                      <a:lnTo>
                        <a:pt x="1087" y="976"/>
                      </a:lnTo>
                      <a:lnTo>
                        <a:pt x="1086" y="976"/>
                      </a:lnTo>
                      <a:lnTo>
                        <a:pt x="1087" y="976"/>
                      </a:lnTo>
                      <a:close/>
                      <a:moveTo>
                        <a:pt x="1415" y="1127"/>
                      </a:moveTo>
                      <a:lnTo>
                        <a:pt x="1416" y="1127"/>
                      </a:lnTo>
                      <a:lnTo>
                        <a:pt x="1416" y="1128"/>
                      </a:lnTo>
                      <a:lnTo>
                        <a:pt x="1415" y="1128"/>
                      </a:lnTo>
                      <a:lnTo>
                        <a:pt x="1415" y="1127"/>
                      </a:lnTo>
                      <a:close/>
                      <a:moveTo>
                        <a:pt x="1316" y="1114"/>
                      </a:moveTo>
                      <a:lnTo>
                        <a:pt x="1313" y="1114"/>
                      </a:lnTo>
                      <a:lnTo>
                        <a:pt x="1316" y="1114"/>
                      </a:lnTo>
                      <a:lnTo>
                        <a:pt x="1317" y="1114"/>
                      </a:lnTo>
                      <a:lnTo>
                        <a:pt x="1316" y="1114"/>
                      </a:lnTo>
                      <a:close/>
                      <a:moveTo>
                        <a:pt x="1344" y="1002"/>
                      </a:moveTo>
                      <a:lnTo>
                        <a:pt x="1347" y="1002"/>
                      </a:lnTo>
                      <a:lnTo>
                        <a:pt x="1347" y="1004"/>
                      </a:lnTo>
                      <a:lnTo>
                        <a:pt x="1344" y="1004"/>
                      </a:lnTo>
                      <a:lnTo>
                        <a:pt x="1344" y="1002"/>
                      </a:lnTo>
                      <a:close/>
                      <a:moveTo>
                        <a:pt x="1132" y="974"/>
                      </a:moveTo>
                      <a:lnTo>
                        <a:pt x="1134" y="974"/>
                      </a:lnTo>
                      <a:lnTo>
                        <a:pt x="1132" y="974"/>
                      </a:lnTo>
                      <a:close/>
                      <a:moveTo>
                        <a:pt x="1286" y="964"/>
                      </a:moveTo>
                      <a:lnTo>
                        <a:pt x="1287" y="964"/>
                      </a:lnTo>
                      <a:lnTo>
                        <a:pt x="1287" y="966"/>
                      </a:lnTo>
                      <a:lnTo>
                        <a:pt x="1286" y="966"/>
                      </a:lnTo>
                      <a:lnTo>
                        <a:pt x="1286" y="964"/>
                      </a:lnTo>
                      <a:close/>
                      <a:moveTo>
                        <a:pt x="1272" y="952"/>
                      </a:moveTo>
                      <a:lnTo>
                        <a:pt x="1272" y="953"/>
                      </a:lnTo>
                      <a:lnTo>
                        <a:pt x="1271" y="952"/>
                      </a:lnTo>
                      <a:lnTo>
                        <a:pt x="1271" y="953"/>
                      </a:lnTo>
                      <a:lnTo>
                        <a:pt x="1270" y="953"/>
                      </a:lnTo>
                      <a:lnTo>
                        <a:pt x="1270" y="952"/>
                      </a:lnTo>
                      <a:lnTo>
                        <a:pt x="1271" y="952"/>
                      </a:lnTo>
                      <a:lnTo>
                        <a:pt x="1272" y="952"/>
                      </a:lnTo>
                      <a:close/>
                      <a:moveTo>
                        <a:pt x="1363" y="1015"/>
                      </a:moveTo>
                      <a:lnTo>
                        <a:pt x="1364" y="1015"/>
                      </a:lnTo>
                      <a:lnTo>
                        <a:pt x="1364" y="1016"/>
                      </a:lnTo>
                      <a:lnTo>
                        <a:pt x="1363" y="1016"/>
                      </a:lnTo>
                      <a:lnTo>
                        <a:pt x="1363" y="1015"/>
                      </a:lnTo>
                      <a:close/>
                      <a:moveTo>
                        <a:pt x="1134" y="1006"/>
                      </a:moveTo>
                      <a:lnTo>
                        <a:pt x="1131" y="1005"/>
                      </a:lnTo>
                      <a:lnTo>
                        <a:pt x="1132" y="1005"/>
                      </a:lnTo>
                      <a:lnTo>
                        <a:pt x="1134" y="1005"/>
                      </a:lnTo>
                      <a:lnTo>
                        <a:pt x="1134" y="1006"/>
                      </a:lnTo>
                      <a:close/>
                      <a:moveTo>
                        <a:pt x="1412" y="1111"/>
                      </a:moveTo>
                      <a:lnTo>
                        <a:pt x="1413" y="1111"/>
                      </a:lnTo>
                      <a:lnTo>
                        <a:pt x="1413" y="1112"/>
                      </a:lnTo>
                      <a:lnTo>
                        <a:pt x="1412" y="1112"/>
                      </a:lnTo>
                      <a:lnTo>
                        <a:pt x="1412" y="1111"/>
                      </a:lnTo>
                      <a:close/>
                      <a:moveTo>
                        <a:pt x="1414" y="1006"/>
                      </a:moveTo>
                      <a:lnTo>
                        <a:pt x="1413" y="1006"/>
                      </a:lnTo>
                      <a:lnTo>
                        <a:pt x="1412" y="1005"/>
                      </a:lnTo>
                      <a:lnTo>
                        <a:pt x="1410" y="1005"/>
                      </a:lnTo>
                      <a:lnTo>
                        <a:pt x="1412" y="1005"/>
                      </a:lnTo>
                      <a:lnTo>
                        <a:pt x="1413" y="1005"/>
                      </a:lnTo>
                      <a:lnTo>
                        <a:pt x="1414" y="1006"/>
                      </a:lnTo>
                      <a:close/>
                      <a:moveTo>
                        <a:pt x="1118" y="786"/>
                      </a:moveTo>
                      <a:lnTo>
                        <a:pt x="1119" y="786"/>
                      </a:lnTo>
                      <a:lnTo>
                        <a:pt x="1118" y="786"/>
                      </a:lnTo>
                      <a:close/>
                      <a:moveTo>
                        <a:pt x="1344" y="998"/>
                      </a:moveTo>
                      <a:lnTo>
                        <a:pt x="1345" y="998"/>
                      </a:lnTo>
                      <a:lnTo>
                        <a:pt x="1345" y="999"/>
                      </a:lnTo>
                      <a:lnTo>
                        <a:pt x="1344" y="999"/>
                      </a:lnTo>
                      <a:lnTo>
                        <a:pt x="1344" y="998"/>
                      </a:lnTo>
                      <a:close/>
                      <a:moveTo>
                        <a:pt x="1362" y="1013"/>
                      </a:moveTo>
                      <a:lnTo>
                        <a:pt x="1363" y="1013"/>
                      </a:lnTo>
                      <a:lnTo>
                        <a:pt x="1363" y="1014"/>
                      </a:lnTo>
                      <a:lnTo>
                        <a:pt x="1362" y="1014"/>
                      </a:lnTo>
                      <a:lnTo>
                        <a:pt x="1362" y="1013"/>
                      </a:lnTo>
                      <a:close/>
                      <a:moveTo>
                        <a:pt x="1408" y="1114"/>
                      </a:moveTo>
                      <a:lnTo>
                        <a:pt x="1408" y="1115"/>
                      </a:lnTo>
                      <a:lnTo>
                        <a:pt x="1408" y="1114"/>
                      </a:lnTo>
                      <a:close/>
                      <a:moveTo>
                        <a:pt x="1141" y="1021"/>
                      </a:moveTo>
                      <a:lnTo>
                        <a:pt x="1141" y="1020"/>
                      </a:lnTo>
                      <a:lnTo>
                        <a:pt x="1142" y="1019"/>
                      </a:lnTo>
                      <a:lnTo>
                        <a:pt x="1141" y="1020"/>
                      </a:lnTo>
                      <a:lnTo>
                        <a:pt x="1141" y="1021"/>
                      </a:lnTo>
                      <a:close/>
                      <a:moveTo>
                        <a:pt x="1299" y="949"/>
                      </a:moveTo>
                      <a:lnTo>
                        <a:pt x="1300" y="949"/>
                      </a:lnTo>
                      <a:lnTo>
                        <a:pt x="1300" y="950"/>
                      </a:lnTo>
                      <a:lnTo>
                        <a:pt x="1299" y="950"/>
                      </a:lnTo>
                      <a:lnTo>
                        <a:pt x="1299" y="949"/>
                      </a:lnTo>
                      <a:close/>
                      <a:moveTo>
                        <a:pt x="1339" y="1001"/>
                      </a:moveTo>
                      <a:lnTo>
                        <a:pt x="1340" y="1001"/>
                      </a:lnTo>
                      <a:lnTo>
                        <a:pt x="1340" y="1002"/>
                      </a:lnTo>
                      <a:lnTo>
                        <a:pt x="1339" y="1002"/>
                      </a:lnTo>
                      <a:lnTo>
                        <a:pt x="1339" y="1001"/>
                      </a:lnTo>
                      <a:close/>
                      <a:moveTo>
                        <a:pt x="1369" y="1134"/>
                      </a:moveTo>
                      <a:lnTo>
                        <a:pt x="1369" y="1133"/>
                      </a:lnTo>
                      <a:lnTo>
                        <a:pt x="1369" y="1132"/>
                      </a:lnTo>
                      <a:lnTo>
                        <a:pt x="1370" y="1132"/>
                      </a:lnTo>
                      <a:lnTo>
                        <a:pt x="1369" y="1132"/>
                      </a:lnTo>
                      <a:lnTo>
                        <a:pt x="1369" y="1133"/>
                      </a:lnTo>
                      <a:lnTo>
                        <a:pt x="1369" y="1134"/>
                      </a:lnTo>
                      <a:close/>
                      <a:moveTo>
                        <a:pt x="1441" y="1077"/>
                      </a:moveTo>
                      <a:lnTo>
                        <a:pt x="1442" y="1077"/>
                      </a:lnTo>
                      <a:lnTo>
                        <a:pt x="1442" y="1078"/>
                      </a:lnTo>
                      <a:lnTo>
                        <a:pt x="1441" y="1078"/>
                      </a:lnTo>
                      <a:lnTo>
                        <a:pt x="1441" y="1077"/>
                      </a:lnTo>
                      <a:close/>
                      <a:moveTo>
                        <a:pt x="1369" y="1019"/>
                      </a:moveTo>
                      <a:lnTo>
                        <a:pt x="1370" y="1019"/>
                      </a:lnTo>
                      <a:lnTo>
                        <a:pt x="1369" y="1019"/>
                      </a:lnTo>
                      <a:close/>
                      <a:moveTo>
                        <a:pt x="1276" y="1244"/>
                      </a:moveTo>
                      <a:lnTo>
                        <a:pt x="1276" y="1245"/>
                      </a:lnTo>
                      <a:lnTo>
                        <a:pt x="1276" y="1244"/>
                      </a:lnTo>
                      <a:close/>
                      <a:moveTo>
                        <a:pt x="1284" y="969"/>
                      </a:moveTo>
                      <a:lnTo>
                        <a:pt x="1286" y="969"/>
                      </a:lnTo>
                      <a:lnTo>
                        <a:pt x="1284" y="969"/>
                      </a:lnTo>
                      <a:close/>
                      <a:moveTo>
                        <a:pt x="1349" y="1001"/>
                      </a:moveTo>
                      <a:lnTo>
                        <a:pt x="1349" y="1002"/>
                      </a:lnTo>
                      <a:lnTo>
                        <a:pt x="1349" y="1001"/>
                      </a:lnTo>
                      <a:close/>
                      <a:moveTo>
                        <a:pt x="1032" y="991"/>
                      </a:moveTo>
                      <a:lnTo>
                        <a:pt x="1031" y="991"/>
                      </a:lnTo>
                      <a:lnTo>
                        <a:pt x="1032" y="990"/>
                      </a:lnTo>
                      <a:lnTo>
                        <a:pt x="1033" y="990"/>
                      </a:lnTo>
                      <a:lnTo>
                        <a:pt x="1032" y="991"/>
                      </a:lnTo>
                      <a:close/>
                      <a:moveTo>
                        <a:pt x="1363" y="998"/>
                      </a:moveTo>
                      <a:lnTo>
                        <a:pt x="1364" y="998"/>
                      </a:lnTo>
                      <a:lnTo>
                        <a:pt x="1364" y="999"/>
                      </a:lnTo>
                      <a:lnTo>
                        <a:pt x="1363" y="999"/>
                      </a:lnTo>
                      <a:lnTo>
                        <a:pt x="1363" y="998"/>
                      </a:lnTo>
                      <a:close/>
                      <a:moveTo>
                        <a:pt x="1271" y="950"/>
                      </a:moveTo>
                      <a:lnTo>
                        <a:pt x="1272" y="950"/>
                      </a:lnTo>
                      <a:lnTo>
                        <a:pt x="1273" y="950"/>
                      </a:lnTo>
                      <a:lnTo>
                        <a:pt x="1273" y="951"/>
                      </a:lnTo>
                      <a:lnTo>
                        <a:pt x="1273" y="950"/>
                      </a:lnTo>
                      <a:lnTo>
                        <a:pt x="1272" y="950"/>
                      </a:lnTo>
                      <a:lnTo>
                        <a:pt x="1271" y="950"/>
                      </a:lnTo>
                      <a:close/>
                      <a:moveTo>
                        <a:pt x="1102" y="799"/>
                      </a:moveTo>
                      <a:lnTo>
                        <a:pt x="1103" y="799"/>
                      </a:lnTo>
                      <a:lnTo>
                        <a:pt x="1103" y="800"/>
                      </a:lnTo>
                      <a:lnTo>
                        <a:pt x="1102" y="800"/>
                      </a:lnTo>
                      <a:lnTo>
                        <a:pt x="1102" y="799"/>
                      </a:lnTo>
                      <a:close/>
                      <a:moveTo>
                        <a:pt x="1364" y="1022"/>
                      </a:moveTo>
                      <a:lnTo>
                        <a:pt x="1365" y="1022"/>
                      </a:lnTo>
                      <a:lnTo>
                        <a:pt x="1365" y="1024"/>
                      </a:lnTo>
                      <a:lnTo>
                        <a:pt x="1364" y="1024"/>
                      </a:lnTo>
                      <a:lnTo>
                        <a:pt x="1364" y="1022"/>
                      </a:lnTo>
                      <a:close/>
                      <a:moveTo>
                        <a:pt x="1279" y="957"/>
                      </a:moveTo>
                      <a:lnTo>
                        <a:pt x="1282" y="957"/>
                      </a:lnTo>
                      <a:lnTo>
                        <a:pt x="1282" y="958"/>
                      </a:lnTo>
                      <a:lnTo>
                        <a:pt x="1279" y="958"/>
                      </a:lnTo>
                      <a:lnTo>
                        <a:pt x="1279" y="957"/>
                      </a:lnTo>
                      <a:close/>
                      <a:moveTo>
                        <a:pt x="1196" y="1047"/>
                      </a:moveTo>
                      <a:lnTo>
                        <a:pt x="1197" y="1047"/>
                      </a:lnTo>
                      <a:lnTo>
                        <a:pt x="1197" y="1048"/>
                      </a:lnTo>
                      <a:lnTo>
                        <a:pt x="1196" y="1048"/>
                      </a:lnTo>
                      <a:lnTo>
                        <a:pt x="1196" y="1047"/>
                      </a:lnTo>
                      <a:close/>
                      <a:moveTo>
                        <a:pt x="1369" y="1142"/>
                      </a:moveTo>
                      <a:lnTo>
                        <a:pt x="1370" y="1142"/>
                      </a:lnTo>
                      <a:lnTo>
                        <a:pt x="1369" y="1142"/>
                      </a:lnTo>
                      <a:close/>
                      <a:moveTo>
                        <a:pt x="1358" y="1158"/>
                      </a:moveTo>
                      <a:lnTo>
                        <a:pt x="1360" y="1158"/>
                      </a:lnTo>
                      <a:lnTo>
                        <a:pt x="1360" y="1159"/>
                      </a:lnTo>
                      <a:lnTo>
                        <a:pt x="1358" y="1159"/>
                      </a:lnTo>
                      <a:lnTo>
                        <a:pt x="1358" y="1158"/>
                      </a:lnTo>
                      <a:close/>
                      <a:moveTo>
                        <a:pt x="1056" y="923"/>
                      </a:moveTo>
                      <a:lnTo>
                        <a:pt x="1057" y="923"/>
                      </a:lnTo>
                      <a:lnTo>
                        <a:pt x="1057" y="924"/>
                      </a:lnTo>
                      <a:lnTo>
                        <a:pt x="1056" y="924"/>
                      </a:lnTo>
                      <a:lnTo>
                        <a:pt x="1056" y="923"/>
                      </a:lnTo>
                      <a:close/>
                      <a:moveTo>
                        <a:pt x="1108" y="968"/>
                      </a:moveTo>
                      <a:lnTo>
                        <a:pt x="1105" y="967"/>
                      </a:lnTo>
                      <a:lnTo>
                        <a:pt x="1108" y="968"/>
                      </a:lnTo>
                      <a:close/>
                      <a:moveTo>
                        <a:pt x="1430" y="1234"/>
                      </a:moveTo>
                      <a:lnTo>
                        <a:pt x="1430" y="1235"/>
                      </a:lnTo>
                      <a:lnTo>
                        <a:pt x="1429" y="1234"/>
                      </a:lnTo>
                      <a:lnTo>
                        <a:pt x="1429" y="1233"/>
                      </a:lnTo>
                      <a:lnTo>
                        <a:pt x="1429" y="1232"/>
                      </a:lnTo>
                      <a:lnTo>
                        <a:pt x="1429" y="1233"/>
                      </a:lnTo>
                      <a:lnTo>
                        <a:pt x="1429" y="1234"/>
                      </a:lnTo>
                      <a:lnTo>
                        <a:pt x="1430" y="1234"/>
                      </a:lnTo>
                      <a:close/>
                      <a:moveTo>
                        <a:pt x="1368" y="1012"/>
                      </a:moveTo>
                      <a:lnTo>
                        <a:pt x="1369" y="1012"/>
                      </a:lnTo>
                      <a:lnTo>
                        <a:pt x="1369" y="1013"/>
                      </a:lnTo>
                      <a:lnTo>
                        <a:pt x="1368" y="1013"/>
                      </a:lnTo>
                      <a:lnTo>
                        <a:pt x="1368" y="1012"/>
                      </a:lnTo>
                      <a:close/>
                      <a:moveTo>
                        <a:pt x="1094" y="976"/>
                      </a:moveTo>
                      <a:lnTo>
                        <a:pt x="1095" y="976"/>
                      </a:lnTo>
                      <a:lnTo>
                        <a:pt x="1094" y="976"/>
                      </a:lnTo>
                      <a:close/>
                      <a:moveTo>
                        <a:pt x="1368" y="1138"/>
                      </a:moveTo>
                      <a:lnTo>
                        <a:pt x="1369" y="1138"/>
                      </a:lnTo>
                      <a:lnTo>
                        <a:pt x="1369" y="1140"/>
                      </a:lnTo>
                      <a:lnTo>
                        <a:pt x="1368" y="1140"/>
                      </a:lnTo>
                      <a:lnTo>
                        <a:pt x="1368" y="1138"/>
                      </a:lnTo>
                      <a:close/>
                      <a:moveTo>
                        <a:pt x="1286" y="954"/>
                      </a:moveTo>
                      <a:lnTo>
                        <a:pt x="1286" y="955"/>
                      </a:lnTo>
                      <a:lnTo>
                        <a:pt x="1286" y="954"/>
                      </a:lnTo>
                      <a:close/>
                      <a:moveTo>
                        <a:pt x="1340" y="1001"/>
                      </a:moveTo>
                      <a:lnTo>
                        <a:pt x="1341" y="1001"/>
                      </a:lnTo>
                      <a:lnTo>
                        <a:pt x="1341" y="1002"/>
                      </a:lnTo>
                      <a:lnTo>
                        <a:pt x="1340" y="1002"/>
                      </a:lnTo>
                      <a:lnTo>
                        <a:pt x="1340" y="1001"/>
                      </a:lnTo>
                      <a:close/>
                      <a:moveTo>
                        <a:pt x="1282" y="962"/>
                      </a:moveTo>
                      <a:lnTo>
                        <a:pt x="1283" y="962"/>
                      </a:lnTo>
                      <a:lnTo>
                        <a:pt x="1282" y="962"/>
                      </a:lnTo>
                      <a:close/>
                      <a:moveTo>
                        <a:pt x="1202" y="1045"/>
                      </a:moveTo>
                      <a:lnTo>
                        <a:pt x="1203" y="1045"/>
                      </a:lnTo>
                      <a:lnTo>
                        <a:pt x="1203" y="1046"/>
                      </a:lnTo>
                      <a:lnTo>
                        <a:pt x="1202" y="1046"/>
                      </a:lnTo>
                      <a:lnTo>
                        <a:pt x="1202" y="1045"/>
                      </a:lnTo>
                      <a:close/>
                      <a:moveTo>
                        <a:pt x="1291" y="970"/>
                      </a:moveTo>
                      <a:lnTo>
                        <a:pt x="1293" y="970"/>
                      </a:lnTo>
                      <a:lnTo>
                        <a:pt x="1291" y="970"/>
                      </a:lnTo>
                      <a:close/>
                      <a:moveTo>
                        <a:pt x="1356" y="1007"/>
                      </a:moveTo>
                      <a:lnTo>
                        <a:pt x="1356" y="1008"/>
                      </a:lnTo>
                      <a:lnTo>
                        <a:pt x="1355" y="1008"/>
                      </a:lnTo>
                      <a:lnTo>
                        <a:pt x="1354" y="1008"/>
                      </a:lnTo>
                      <a:lnTo>
                        <a:pt x="1354" y="1007"/>
                      </a:lnTo>
                      <a:lnTo>
                        <a:pt x="1355" y="1007"/>
                      </a:lnTo>
                      <a:lnTo>
                        <a:pt x="1356" y="1007"/>
                      </a:lnTo>
                      <a:close/>
                      <a:moveTo>
                        <a:pt x="1063" y="927"/>
                      </a:moveTo>
                      <a:lnTo>
                        <a:pt x="1064" y="927"/>
                      </a:lnTo>
                      <a:lnTo>
                        <a:pt x="1064" y="928"/>
                      </a:lnTo>
                      <a:lnTo>
                        <a:pt x="1063" y="928"/>
                      </a:lnTo>
                      <a:lnTo>
                        <a:pt x="1063" y="927"/>
                      </a:lnTo>
                      <a:close/>
                      <a:moveTo>
                        <a:pt x="1045" y="923"/>
                      </a:moveTo>
                      <a:lnTo>
                        <a:pt x="1046" y="923"/>
                      </a:lnTo>
                      <a:lnTo>
                        <a:pt x="1046" y="924"/>
                      </a:lnTo>
                      <a:lnTo>
                        <a:pt x="1045" y="924"/>
                      </a:lnTo>
                      <a:lnTo>
                        <a:pt x="1045" y="923"/>
                      </a:lnTo>
                      <a:close/>
                      <a:moveTo>
                        <a:pt x="1371" y="1038"/>
                      </a:moveTo>
                      <a:lnTo>
                        <a:pt x="1373" y="1038"/>
                      </a:lnTo>
                      <a:lnTo>
                        <a:pt x="1373" y="1039"/>
                      </a:lnTo>
                      <a:lnTo>
                        <a:pt x="1371" y="1039"/>
                      </a:lnTo>
                      <a:lnTo>
                        <a:pt x="1371" y="1038"/>
                      </a:lnTo>
                      <a:close/>
                      <a:moveTo>
                        <a:pt x="1331" y="1132"/>
                      </a:moveTo>
                      <a:lnTo>
                        <a:pt x="1331" y="1133"/>
                      </a:lnTo>
                      <a:lnTo>
                        <a:pt x="1331" y="1132"/>
                      </a:lnTo>
                      <a:close/>
                      <a:moveTo>
                        <a:pt x="1073" y="996"/>
                      </a:moveTo>
                      <a:lnTo>
                        <a:pt x="1074" y="996"/>
                      </a:lnTo>
                      <a:lnTo>
                        <a:pt x="1074" y="998"/>
                      </a:lnTo>
                      <a:lnTo>
                        <a:pt x="1073" y="998"/>
                      </a:lnTo>
                      <a:lnTo>
                        <a:pt x="1073" y="996"/>
                      </a:lnTo>
                      <a:close/>
                      <a:moveTo>
                        <a:pt x="1070" y="992"/>
                      </a:moveTo>
                      <a:lnTo>
                        <a:pt x="1071" y="992"/>
                      </a:lnTo>
                      <a:lnTo>
                        <a:pt x="1071" y="993"/>
                      </a:lnTo>
                      <a:lnTo>
                        <a:pt x="1070" y="993"/>
                      </a:lnTo>
                      <a:lnTo>
                        <a:pt x="1070" y="992"/>
                      </a:lnTo>
                      <a:close/>
                      <a:moveTo>
                        <a:pt x="1305" y="949"/>
                      </a:moveTo>
                      <a:lnTo>
                        <a:pt x="1306" y="949"/>
                      </a:lnTo>
                      <a:lnTo>
                        <a:pt x="1306" y="950"/>
                      </a:lnTo>
                      <a:lnTo>
                        <a:pt x="1305" y="950"/>
                      </a:lnTo>
                      <a:lnTo>
                        <a:pt x="1305" y="949"/>
                      </a:lnTo>
                      <a:close/>
                      <a:moveTo>
                        <a:pt x="1193" y="1046"/>
                      </a:moveTo>
                      <a:lnTo>
                        <a:pt x="1189" y="1045"/>
                      </a:lnTo>
                      <a:lnTo>
                        <a:pt x="1193" y="1046"/>
                      </a:lnTo>
                      <a:close/>
                      <a:moveTo>
                        <a:pt x="1327" y="1195"/>
                      </a:moveTo>
                      <a:lnTo>
                        <a:pt x="1328" y="1195"/>
                      </a:lnTo>
                      <a:lnTo>
                        <a:pt x="1328" y="1196"/>
                      </a:lnTo>
                      <a:lnTo>
                        <a:pt x="1327" y="1196"/>
                      </a:lnTo>
                      <a:lnTo>
                        <a:pt x="1327" y="1195"/>
                      </a:lnTo>
                      <a:close/>
                      <a:moveTo>
                        <a:pt x="1153" y="1013"/>
                      </a:moveTo>
                      <a:lnTo>
                        <a:pt x="1154" y="1013"/>
                      </a:lnTo>
                      <a:lnTo>
                        <a:pt x="1154" y="1014"/>
                      </a:lnTo>
                      <a:lnTo>
                        <a:pt x="1153" y="1014"/>
                      </a:lnTo>
                      <a:lnTo>
                        <a:pt x="1153" y="1013"/>
                      </a:lnTo>
                      <a:close/>
                      <a:moveTo>
                        <a:pt x="1073" y="932"/>
                      </a:moveTo>
                      <a:lnTo>
                        <a:pt x="1074" y="932"/>
                      </a:lnTo>
                      <a:lnTo>
                        <a:pt x="1073" y="932"/>
                      </a:lnTo>
                      <a:close/>
                      <a:moveTo>
                        <a:pt x="1355" y="996"/>
                      </a:moveTo>
                      <a:lnTo>
                        <a:pt x="1355" y="998"/>
                      </a:lnTo>
                      <a:lnTo>
                        <a:pt x="1355" y="996"/>
                      </a:lnTo>
                      <a:close/>
                      <a:moveTo>
                        <a:pt x="1342" y="1170"/>
                      </a:moveTo>
                      <a:lnTo>
                        <a:pt x="1342" y="1171"/>
                      </a:lnTo>
                      <a:lnTo>
                        <a:pt x="1342" y="1170"/>
                      </a:lnTo>
                      <a:close/>
                      <a:moveTo>
                        <a:pt x="1109" y="850"/>
                      </a:moveTo>
                      <a:lnTo>
                        <a:pt x="1110" y="850"/>
                      </a:lnTo>
                      <a:lnTo>
                        <a:pt x="1110" y="851"/>
                      </a:lnTo>
                      <a:lnTo>
                        <a:pt x="1109" y="851"/>
                      </a:lnTo>
                      <a:lnTo>
                        <a:pt x="1109" y="850"/>
                      </a:lnTo>
                      <a:close/>
                      <a:moveTo>
                        <a:pt x="1353" y="1054"/>
                      </a:moveTo>
                      <a:lnTo>
                        <a:pt x="1354" y="1054"/>
                      </a:lnTo>
                      <a:lnTo>
                        <a:pt x="1354" y="1056"/>
                      </a:lnTo>
                      <a:lnTo>
                        <a:pt x="1353" y="1056"/>
                      </a:lnTo>
                      <a:lnTo>
                        <a:pt x="1353" y="1054"/>
                      </a:lnTo>
                      <a:close/>
                      <a:moveTo>
                        <a:pt x="1313" y="1107"/>
                      </a:moveTo>
                      <a:lnTo>
                        <a:pt x="1314" y="1107"/>
                      </a:lnTo>
                      <a:lnTo>
                        <a:pt x="1314" y="1108"/>
                      </a:lnTo>
                      <a:lnTo>
                        <a:pt x="1313" y="1108"/>
                      </a:lnTo>
                      <a:lnTo>
                        <a:pt x="1313" y="1107"/>
                      </a:lnTo>
                      <a:close/>
                      <a:moveTo>
                        <a:pt x="1358" y="995"/>
                      </a:moveTo>
                      <a:lnTo>
                        <a:pt x="1360" y="995"/>
                      </a:lnTo>
                      <a:lnTo>
                        <a:pt x="1360" y="996"/>
                      </a:lnTo>
                      <a:lnTo>
                        <a:pt x="1358" y="996"/>
                      </a:lnTo>
                      <a:lnTo>
                        <a:pt x="1358" y="995"/>
                      </a:lnTo>
                      <a:close/>
                      <a:moveTo>
                        <a:pt x="1353" y="996"/>
                      </a:moveTo>
                      <a:lnTo>
                        <a:pt x="1354" y="996"/>
                      </a:lnTo>
                      <a:lnTo>
                        <a:pt x="1354" y="998"/>
                      </a:lnTo>
                      <a:lnTo>
                        <a:pt x="1353" y="998"/>
                      </a:lnTo>
                      <a:lnTo>
                        <a:pt x="1353" y="996"/>
                      </a:lnTo>
                      <a:close/>
                      <a:moveTo>
                        <a:pt x="1316" y="1107"/>
                      </a:moveTo>
                      <a:lnTo>
                        <a:pt x="1315" y="1106"/>
                      </a:lnTo>
                      <a:lnTo>
                        <a:pt x="1314" y="1106"/>
                      </a:lnTo>
                      <a:lnTo>
                        <a:pt x="1315" y="1106"/>
                      </a:lnTo>
                      <a:lnTo>
                        <a:pt x="1315" y="1107"/>
                      </a:lnTo>
                      <a:lnTo>
                        <a:pt x="1316" y="1107"/>
                      </a:lnTo>
                      <a:close/>
                      <a:moveTo>
                        <a:pt x="1360" y="1039"/>
                      </a:moveTo>
                      <a:lnTo>
                        <a:pt x="1361" y="1039"/>
                      </a:lnTo>
                      <a:lnTo>
                        <a:pt x="1360" y="1039"/>
                      </a:lnTo>
                      <a:close/>
                      <a:moveTo>
                        <a:pt x="1295" y="968"/>
                      </a:moveTo>
                      <a:lnTo>
                        <a:pt x="1296" y="968"/>
                      </a:lnTo>
                      <a:lnTo>
                        <a:pt x="1296" y="969"/>
                      </a:lnTo>
                      <a:lnTo>
                        <a:pt x="1295" y="969"/>
                      </a:lnTo>
                      <a:lnTo>
                        <a:pt x="1295" y="968"/>
                      </a:lnTo>
                      <a:close/>
                      <a:moveTo>
                        <a:pt x="1366" y="1037"/>
                      </a:moveTo>
                      <a:lnTo>
                        <a:pt x="1366" y="1038"/>
                      </a:lnTo>
                      <a:lnTo>
                        <a:pt x="1366" y="1037"/>
                      </a:lnTo>
                      <a:close/>
                      <a:moveTo>
                        <a:pt x="1430" y="1090"/>
                      </a:moveTo>
                      <a:lnTo>
                        <a:pt x="1431" y="1090"/>
                      </a:lnTo>
                      <a:lnTo>
                        <a:pt x="1430" y="1090"/>
                      </a:lnTo>
                      <a:close/>
                      <a:moveTo>
                        <a:pt x="1024" y="921"/>
                      </a:moveTo>
                      <a:lnTo>
                        <a:pt x="1025" y="921"/>
                      </a:lnTo>
                      <a:lnTo>
                        <a:pt x="1025" y="922"/>
                      </a:lnTo>
                      <a:lnTo>
                        <a:pt x="1024" y="922"/>
                      </a:lnTo>
                      <a:lnTo>
                        <a:pt x="1024" y="921"/>
                      </a:lnTo>
                      <a:close/>
                      <a:moveTo>
                        <a:pt x="1098" y="979"/>
                      </a:moveTo>
                      <a:lnTo>
                        <a:pt x="1099" y="979"/>
                      </a:lnTo>
                      <a:lnTo>
                        <a:pt x="1099" y="980"/>
                      </a:lnTo>
                      <a:lnTo>
                        <a:pt x="1098" y="980"/>
                      </a:lnTo>
                      <a:lnTo>
                        <a:pt x="1098" y="979"/>
                      </a:lnTo>
                      <a:close/>
                      <a:moveTo>
                        <a:pt x="1064" y="981"/>
                      </a:moveTo>
                      <a:lnTo>
                        <a:pt x="1065" y="981"/>
                      </a:lnTo>
                      <a:lnTo>
                        <a:pt x="1065" y="983"/>
                      </a:lnTo>
                      <a:lnTo>
                        <a:pt x="1064" y="983"/>
                      </a:lnTo>
                      <a:lnTo>
                        <a:pt x="1064" y="981"/>
                      </a:lnTo>
                      <a:close/>
                      <a:moveTo>
                        <a:pt x="1337" y="1018"/>
                      </a:moveTo>
                      <a:lnTo>
                        <a:pt x="1339" y="1018"/>
                      </a:lnTo>
                      <a:lnTo>
                        <a:pt x="1337" y="1018"/>
                      </a:lnTo>
                      <a:close/>
                      <a:moveTo>
                        <a:pt x="1429" y="1133"/>
                      </a:moveTo>
                      <a:lnTo>
                        <a:pt x="1430" y="1133"/>
                      </a:lnTo>
                      <a:lnTo>
                        <a:pt x="1430" y="1134"/>
                      </a:lnTo>
                      <a:lnTo>
                        <a:pt x="1429" y="1134"/>
                      </a:lnTo>
                      <a:lnTo>
                        <a:pt x="1429" y="1133"/>
                      </a:lnTo>
                      <a:close/>
                      <a:moveTo>
                        <a:pt x="1366" y="1163"/>
                      </a:moveTo>
                      <a:lnTo>
                        <a:pt x="1367" y="1163"/>
                      </a:lnTo>
                      <a:lnTo>
                        <a:pt x="1367" y="1164"/>
                      </a:lnTo>
                      <a:lnTo>
                        <a:pt x="1366" y="1164"/>
                      </a:lnTo>
                      <a:lnTo>
                        <a:pt x="1366" y="1163"/>
                      </a:lnTo>
                      <a:close/>
                      <a:moveTo>
                        <a:pt x="1412" y="1133"/>
                      </a:moveTo>
                      <a:lnTo>
                        <a:pt x="1413" y="1133"/>
                      </a:lnTo>
                      <a:lnTo>
                        <a:pt x="1412" y="1133"/>
                      </a:lnTo>
                      <a:close/>
                      <a:moveTo>
                        <a:pt x="1099" y="804"/>
                      </a:moveTo>
                      <a:lnTo>
                        <a:pt x="1100" y="804"/>
                      </a:lnTo>
                      <a:lnTo>
                        <a:pt x="1100" y="806"/>
                      </a:lnTo>
                      <a:lnTo>
                        <a:pt x="1099" y="806"/>
                      </a:lnTo>
                      <a:lnTo>
                        <a:pt x="1099" y="804"/>
                      </a:lnTo>
                      <a:close/>
                      <a:moveTo>
                        <a:pt x="1434" y="1144"/>
                      </a:moveTo>
                      <a:lnTo>
                        <a:pt x="1434" y="1145"/>
                      </a:lnTo>
                      <a:lnTo>
                        <a:pt x="1434" y="1144"/>
                      </a:lnTo>
                      <a:close/>
                      <a:moveTo>
                        <a:pt x="1056" y="992"/>
                      </a:moveTo>
                      <a:lnTo>
                        <a:pt x="1057" y="992"/>
                      </a:lnTo>
                      <a:lnTo>
                        <a:pt x="1057" y="993"/>
                      </a:lnTo>
                      <a:lnTo>
                        <a:pt x="1056" y="993"/>
                      </a:lnTo>
                      <a:lnTo>
                        <a:pt x="1056" y="992"/>
                      </a:lnTo>
                      <a:close/>
                      <a:moveTo>
                        <a:pt x="993" y="877"/>
                      </a:moveTo>
                      <a:lnTo>
                        <a:pt x="994" y="877"/>
                      </a:lnTo>
                      <a:lnTo>
                        <a:pt x="994" y="878"/>
                      </a:lnTo>
                      <a:lnTo>
                        <a:pt x="993" y="878"/>
                      </a:lnTo>
                      <a:lnTo>
                        <a:pt x="993" y="877"/>
                      </a:lnTo>
                      <a:close/>
                      <a:moveTo>
                        <a:pt x="1406" y="1086"/>
                      </a:moveTo>
                      <a:lnTo>
                        <a:pt x="1405" y="1086"/>
                      </a:lnTo>
                      <a:lnTo>
                        <a:pt x="1404" y="1085"/>
                      </a:lnTo>
                      <a:lnTo>
                        <a:pt x="1405" y="1086"/>
                      </a:lnTo>
                      <a:lnTo>
                        <a:pt x="1406" y="1086"/>
                      </a:lnTo>
                      <a:close/>
                      <a:moveTo>
                        <a:pt x="975" y="878"/>
                      </a:moveTo>
                      <a:lnTo>
                        <a:pt x="976" y="878"/>
                      </a:lnTo>
                      <a:lnTo>
                        <a:pt x="975" y="878"/>
                      </a:lnTo>
                      <a:close/>
                      <a:moveTo>
                        <a:pt x="1287" y="950"/>
                      </a:moveTo>
                      <a:lnTo>
                        <a:pt x="1287" y="951"/>
                      </a:lnTo>
                      <a:lnTo>
                        <a:pt x="1287" y="950"/>
                      </a:lnTo>
                      <a:close/>
                      <a:moveTo>
                        <a:pt x="1072" y="980"/>
                      </a:moveTo>
                      <a:lnTo>
                        <a:pt x="1074" y="980"/>
                      </a:lnTo>
                      <a:lnTo>
                        <a:pt x="1074" y="981"/>
                      </a:lnTo>
                      <a:lnTo>
                        <a:pt x="1072" y="981"/>
                      </a:lnTo>
                      <a:lnTo>
                        <a:pt x="1072" y="980"/>
                      </a:lnTo>
                      <a:close/>
                      <a:moveTo>
                        <a:pt x="1086" y="983"/>
                      </a:moveTo>
                      <a:lnTo>
                        <a:pt x="1084" y="983"/>
                      </a:lnTo>
                      <a:lnTo>
                        <a:pt x="1086" y="983"/>
                      </a:lnTo>
                      <a:close/>
                      <a:moveTo>
                        <a:pt x="1042" y="984"/>
                      </a:moveTo>
                      <a:lnTo>
                        <a:pt x="1044" y="984"/>
                      </a:lnTo>
                      <a:lnTo>
                        <a:pt x="1044" y="986"/>
                      </a:lnTo>
                      <a:lnTo>
                        <a:pt x="1042" y="986"/>
                      </a:lnTo>
                      <a:lnTo>
                        <a:pt x="1042" y="984"/>
                      </a:lnTo>
                      <a:close/>
                      <a:moveTo>
                        <a:pt x="1448" y="1125"/>
                      </a:moveTo>
                      <a:lnTo>
                        <a:pt x="1450" y="1125"/>
                      </a:lnTo>
                      <a:lnTo>
                        <a:pt x="1450" y="1127"/>
                      </a:lnTo>
                      <a:lnTo>
                        <a:pt x="1448" y="1127"/>
                      </a:lnTo>
                      <a:lnTo>
                        <a:pt x="1448" y="1125"/>
                      </a:lnTo>
                      <a:close/>
                      <a:moveTo>
                        <a:pt x="1279" y="1121"/>
                      </a:moveTo>
                      <a:lnTo>
                        <a:pt x="1280" y="1121"/>
                      </a:lnTo>
                      <a:lnTo>
                        <a:pt x="1279" y="1121"/>
                      </a:lnTo>
                      <a:close/>
                      <a:moveTo>
                        <a:pt x="1416" y="1127"/>
                      </a:moveTo>
                      <a:lnTo>
                        <a:pt x="1416" y="1125"/>
                      </a:lnTo>
                      <a:lnTo>
                        <a:pt x="1415" y="1125"/>
                      </a:lnTo>
                      <a:lnTo>
                        <a:pt x="1414" y="1125"/>
                      </a:lnTo>
                      <a:lnTo>
                        <a:pt x="1414" y="1124"/>
                      </a:lnTo>
                      <a:lnTo>
                        <a:pt x="1414" y="1125"/>
                      </a:lnTo>
                      <a:lnTo>
                        <a:pt x="1415" y="1125"/>
                      </a:lnTo>
                      <a:lnTo>
                        <a:pt x="1416" y="1125"/>
                      </a:lnTo>
                      <a:lnTo>
                        <a:pt x="1416" y="1127"/>
                      </a:lnTo>
                      <a:close/>
                      <a:moveTo>
                        <a:pt x="1280" y="966"/>
                      </a:moveTo>
                      <a:lnTo>
                        <a:pt x="1283" y="966"/>
                      </a:lnTo>
                      <a:lnTo>
                        <a:pt x="1283" y="967"/>
                      </a:lnTo>
                      <a:lnTo>
                        <a:pt x="1280" y="967"/>
                      </a:lnTo>
                      <a:lnTo>
                        <a:pt x="1280" y="966"/>
                      </a:lnTo>
                      <a:close/>
                      <a:moveTo>
                        <a:pt x="1155" y="1031"/>
                      </a:moveTo>
                      <a:lnTo>
                        <a:pt x="1155" y="1032"/>
                      </a:lnTo>
                      <a:lnTo>
                        <a:pt x="1155" y="1031"/>
                      </a:lnTo>
                      <a:close/>
                      <a:moveTo>
                        <a:pt x="1367" y="1040"/>
                      </a:moveTo>
                      <a:lnTo>
                        <a:pt x="1367" y="1041"/>
                      </a:lnTo>
                      <a:lnTo>
                        <a:pt x="1367" y="1040"/>
                      </a:lnTo>
                      <a:close/>
                      <a:moveTo>
                        <a:pt x="1072" y="982"/>
                      </a:moveTo>
                      <a:lnTo>
                        <a:pt x="1072" y="983"/>
                      </a:lnTo>
                      <a:lnTo>
                        <a:pt x="1072" y="982"/>
                      </a:lnTo>
                      <a:close/>
                      <a:moveTo>
                        <a:pt x="1336" y="1032"/>
                      </a:moveTo>
                      <a:lnTo>
                        <a:pt x="1336" y="1033"/>
                      </a:lnTo>
                      <a:lnTo>
                        <a:pt x="1336" y="1032"/>
                      </a:lnTo>
                      <a:close/>
                      <a:moveTo>
                        <a:pt x="1179" y="930"/>
                      </a:moveTo>
                      <a:lnTo>
                        <a:pt x="1180" y="930"/>
                      </a:lnTo>
                      <a:lnTo>
                        <a:pt x="1179" y="930"/>
                      </a:lnTo>
                      <a:close/>
                      <a:moveTo>
                        <a:pt x="1276" y="1123"/>
                      </a:moveTo>
                      <a:lnTo>
                        <a:pt x="1277" y="1123"/>
                      </a:lnTo>
                      <a:lnTo>
                        <a:pt x="1277" y="1124"/>
                      </a:lnTo>
                      <a:lnTo>
                        <a:pt x="1276" y="1124"/>
                      </a:lnTo>
                      <a:lnTo>
                        <a:pt x="1276" y="1123"/>
                      </a:lnTo>
                      <a:close/>
                      <a:moveTo>
                        <a:pt x="1048" y="922"/>
                      </a:moveTo>
                      <a:lnTo>
                        <a:pt x="1050" y="922"/>
                      </a:lnTo>
                      <a:lnTo>
                        <a:pt x="1050" y="924"/>
                      </a:lnTo>
                      <a:lnTo>
                        <a:pt x="1048" y="924"/>
                      </a:lnTo>
                      <a:lnTo>
                        <a:pt x="1048" y="922"/>
                      </a:lnTo>
                      <a:close/>
                      <a:moveTo>
                        <a:pt x="1354" y="1003"/>
                      </a:moveTo>
                      <a:lnTo>
                        <a:pt x="1355" y="1003"/>
                      </a:lnTo>
                      <a:lnTo>
                        <a:pt x="1355" y="1004"/>
                      </a:lnTo>
                      <a:lnTo>
                        <a:pt x="1354" y="1004"/>
                      </a:lnTo>
                      <a:lnTo>
                        <a:pt x="1354" y="1003"/>
                      </a:lnTo>
                      <a:close/>
                      <a:moveTo>
                        <a:pt x="1363" y="1019"/>
                      </a:moveTo>
                      <a:lnTo>
                        <a:pt x="1364" y="1019"/>
                      </a:lnTo>
                      <a:lnTo>
                        <a:pt x="1363" y="1019"/>
                      </a:lnTo>
                      <a:close/>
                      <a:moveTo>
                        <a:pt x="1431" y="1133"/>
                      </a:moveTo>
                      <a:lnTo>
                        <a:pt x="1432" y="1133"/>
                      </a:lnTo>
                      <a:lnTo>
                        <a:pt x="1431" y="1133"/>
                      </a:lnTo>
                      <a:close/>
                      <a:moveTo>
                        <a:pt x="1081" y="983"/>
                      </a:moveTo>
                      <a:lnTo>
                        <a:pt x="1082" y="983"/>
                      </a:lnTo>
                      <a:lnTo>
                        <a:pt x="1082" y="984"/>
                      </a:lnTo>
                      <a:lnTo>
                        <a:pt x="1081" y="984"/>
                      </a:lnTo>
                      <a:lnTo>
                        <a:pt x="1081" y="983"/>
                      </a:lnTo>
                      <a:close/>
                      <a:moveTo>
                        <a:pt x="1354" y="1002"/>
                      </a:moveTo>
                      <a:lnTo>
                        <a:pt x="1355" y="1002"/>
                      </a:lnTo>
                      <a:lnTo>
                        <a:pt x="1355" y="1003"/>
                      </a:lnTo>
                      <a:lnTo>
                        <a:pt x="1354" y="1003"/>
                      </a:lnTo>
                      <a:lnTo>
                        <a:pt x="1354" y="1002"/>
                      </a:lnTo>
                      <a:close/>
                      <a:moveTo>
                        <a:pt x="1337" y="1002"/>
                      </a:moveTo>
                      <a:lnTo>
                        <a:pt x="1338" y="1002"/>
                      </a:lnTo>
                      <a:lnTo>
                        <a:pt x="1338" y="1003"/>
                      </a:lnTo>
                      <a:lnTo>
                        <a:pt x="1337" y="1003"/>
                      </a:lnTo>
                      <a:lnTo>
                        <a:pt x="1337" y="1002"/>
                      </a:lnTo>
                      <a:close/>
                      <a:moveTo>
                        <a:pt x="1107" y="994"/>
                      </a:moveTo>
                      <a:lnTo>
                        <a:pt x="1108" y="994"/>
                      </a:lnTo>
                      <a:lnTo>
                        <a:pt x="1107" y="994"/>
                      </a:lnTo>
                      <a:lnTo>
                        <a:pt x="1106" y="994"/>
                      </a:lnTo>
                      <a:lnTo>
                        <a:pt x="1107" y="994"/>
                      </a:lnTo>
                      <a:close/>
                      <a:moveTo>
                        <a:pt x="1286" y="1247"/>
                      </a:moveTo>
                      <a:lnTo>
                        <a:pt x="1287" y="1247"/>
                      </a:lnTo>
                      <a:lnTo>
                        <a:pt x="1287" y="1248"/>
                      </a:lnTo>
                      <a:lnTo>
                        <a:pt x="1286" y="1248"/>
                      </a:lnTo>
                      <a:lnTo>
                        <a:pt x="1286" y="1247"/>
                      </a:lnTo>
                      <a:close/>
                      <a:moveTo>
                        <a:pt x="1224" y="995"/>
                      </a:moveTo>
                      <a:lnTo>
                        <a:pt x="1225" y="995"/>
                      </a:lnTo>
                      <a:lnTo>
                        <a:pt x="1225" y="996"/>
                      </a:lnTo>
                      <a:lnTo>
                        <a:pt x="1224" y="996"/>
                      </a:lnTo>
                      <a:lnTo>
                        <a:pt x="1224" y="995"/>
                      </a:lnTo>
                      <a:close/>
                      <a:moveTo>
                        <a:pt x="1365" y="1039"/>
                      </a:moveTo>
                      <a:lnTo>
                        <a:pt x="1366" y="1039"/>
                      </a:lnTo>
                      <a:lnTo>
                        <a:pt x="1365" y="1039"/>
                      </a:lnTo>
                      <a:close/>
                      <a:moveTo>
                        <a:pt x="1048" y="986"/>
                      </a:moveTo>
                      <a:lnTo>
                        <a:pt x="1048" y="988"/>
                      </a:lnTo>
                      <a:lnTo>
                        <a:pt x="1048" y="986"/>
                      </a:lnTo>
                      <a:close/>
                      <a:moveTo>
                        <a:pt x="1354" y="1047"/>
                      </a:moveTo>
                      <a:lnTo>
                        <a:pt x="1355" y="1047"/>
                      </a:lnTo>
                      <a:lnTo>
                        <a:pt x="1355" y="1048"/>
                      </a:lnTo>
                      <a:lnTo>
                        <a:pt x="1354" y="1048"/>
                      </a:lnTo>
                      <a:lnTo>
                        <a:pt x="1354" y="1047"/>
                      </a:lnTo>
                      <a:close/>
                      <a:moveTo>
                        <a:pt x="1288" y="948"/>
                      </a:moveTo>
                      <a:lnTo>
                        <a:pt x="1289" y="948"/>
                      </a:lnTo>
                      <a:lnTo>
                        <a:pt x="1289" y="949"/>
                      </a:lnTo>
                      <a:lnTo>
                        <a:pt x="1288" y="949"/>
                      </a:lnTo>
                      <a:lnTo>
                        <a:pt x="1288" y="948"/>
                      </a:lnTo>
                      <a:close/>
                      <a:moveTo>
                        <a:pt x="1038" y="983"/>
                      </a:moveTo>
                      <a:lnTo>
                        <a:pt x="1037" y="983"/>
                      </a:lnTo>
                      <a:lnTo>
                        <a:pt x="1037" y="982"/>
                      </a:lnTo>
                      <a:lnTo>
                        <a:pt x="1035" y="982"/>
                      </a:lnTo>
                      <a:lnTo>
                        <a:pt x="1038" y="983"/>
                      </a:lnTo>
                      <a:close/>
                      <a:moveTo>
                        <a:pt x="1272" y="949"/>
                      </a:moveTo>
                      <a:lnTo>
                        <a:pt x="1273" y="949"/>
                      </a:lnTo>
                      <a:lnTo>
                        <a:pt x="1273" y="950"/>
                      </a:lnTo>
                      <a:lnTo>
                        <a:pt x="1272" y="950"/>
                      </a:lnTo>
                      <a:lnTo>
                        <a:pt x="1272" y="949"/>
                      </a:lnTo>
                      <a:close/>
                      <a:moveTo>
                        <a:pt x="1067" y="976"/>
                      </a:moveTo>
                      <a:lnTo>
                        <a:pt x="1067" y="977"/>
                      </a:lnTo>
                      <a:lnTo>
                        <a:pt x="1067" y="976"/>
                      </a:lnTo>
                      <a:close/>
                      <a:moveTo>
                        <a:pt x="1360" y="1145"/>
                      </a:moveTo>
                      <a:lnTo>
                        <a:pt x="1361" y="1145"/>
                      </a:lnTo>
                      <a:lnTo>
                        <a:pt x="1361" y="1146"/>
                      </a:lnTo>
                      <a:lnTo>
                        <a:pt x="1360" y="1146"/>
                      </a:lnTo>
                      <a:lnTo>
                        <a:pt x="1360" y="1145"/>
                      </a:lnTo>
                      <a:close/>
                      <a:moveTo>
                        <a:pt x="1193" y="1046"/>
                      </a:moveTo>
                      <a:lnTo>
                        <a:pt x="1189" y="1046"/>
                      </a:lnTo>
                      <a:lnTo>
                        <a:pt x="1193" y="1046"/>
                      </a:lnTo>
                      <a:close/>
                      <a:moveTo>
                        <a:pt x="1053" y="934"/>
                      </a:moveTo>
                      <a:lnTo>
                        <a:pt x="1054" y="934"/>
                      </a:lnTo>
                      <a:lnTo>
                        <a:pt x="1054" y="935"/>
                      </a:lnTo>
                      <a:lnTo>
                        <a:pt x="1053" y="935"/>
                      </a:lnTo>
                      <a:lnTo>
                        <a:pt x="1053" y="934"/>
                      </a:lnTo>
                      <a:close/>
                      <a:moveTo>
                        <a:pt x="1181" y="1042"/>
                      </a:moveTo>
                      <a:lnTo>
                        <a:pt x="1182" y="1042"/>
                      </a:lnTo>
                      <a:lnTo>
                        <a:pt x="1182" y="1043"/>
                      </a:lnTo>
                      <a:lnTo>
                        <a:pt x="1181" y="1043"/>
                      </a:lnTo>
                      <a:lnTo>
                        <a:pt x="1181" y="1042"/>
                      </a:lnTo>
                      <a:close/>
                      <a:moveTo>
                        <a:pt x="1280" y="956"/>
                      </a:moveTo>
                      <a:lnTo>
                        <a:pt x="1282" y="956"/>
                      </a:lnTo>
                      <a:lnTo>
                        <a:pt x="1280" y="956"/>
                      </a:lnTo>
                      <a:close/>
                      <a:moveTo>
                        <a:pt x="1264" y="1265"/>
                      </a:moveTo>
                      <a:lnTo>
                        <a:pt x="1264" y="1266"/>
                      </a:lnTo>
                      <a:lnTo>
                        <a:pt x="1264" y="1265"/>
                      </a:lnTo>
                      <a:close/>
                      <a:moveTo>
                        <a:pt x="1360" y="1002"/>
                      </a:moveTo>
                      <a:lnTo>
                        <a:pt x="1361" y="1002"/>
                      </a:lnTo>
                      <a:lnTo>
                        <a:pt x="1360" y="1002"/>
                      </a:lnTo>
                      <a:close/>
                      <a:moveTo>
                        <a:pt x="1306" y="952"/>
                      </a:moveTo>
                      <a:lnTo>
                        <a:pt x="1308" y="952"/>
                      </a:lnTo>
                      <a:lnTo>
                        <a:pt x="1308" y="953"/>
                      </a:lnTo>
                      <a:lnTo>
                        <a:pt x="1306" y="953"/>
                      </a:lnTo>
                      <a:lnTo>
                        <a:pt x="1306" y="952"/>
                      </a:lnTo>
                      <a:close/>
                      <a:moveTo>
                        <a:pt x="1362" y="994"/>
                      </a:moveTo>
                      <a:lnTo>
                        <a:pt x="1363" y="994"/>
                      </a:lnTo>
                      <a:lnTo>
                        <a:pt x="1362" y="994"/>
                      </a:lnTo>
                      <a:close/>
                      <a:moveTo>
                        <a:pt x="1353" y="1002"/>
                      </a:moveTo>
                      <a:lnTo>
                        <a:pt x="1354" y="1002"/>
                      </a:lnTo>
                      <a:lnTo>
                        <a:pt x="1354" y="1003"/>
                      </a:lnTo>
                      <a:lnTo>
                        <a:pt x="1353" y="1003"/>
                      </a:lnTo>
                      <a:lnTo>
                        <a:pt x="1353" y="1002"/>
                      </a:lnTo>
                      <a:close/>
                      <a:moveTo>
                        <a:pt x="1135" y="976"/>
                      </a:moveTo>
                      <a:lnTo>
                        <a:pt x="1137" y="976"/>
                      </a:lnTo>
                      <a:lnTo>
                        <a:pt x="1137" y="978"/>
                      </a:lnTo>
                      <a:lnTo>
                        <a:pt x="1135" y="978"/>
                      </a:lnTo>
                      <a:lnTo>
                        <a:pt x="1135" y="976"/>
                      </a:lnTo>
                      <a:close/>
                      <a:moveTo>
                        <a:pt x="1282" y="961"/>
                      </a:moveTo>
                      <a:lnTo>
                        <a:pt x="1284" y="961"/>
                      </a:lnTo>
                      <a:lnTo>
                        <a:pt x="1284" y="962"/>
                      </a:lnTo>
                      <a:lnTo>
                        <a:pt x="1282" y="962"/>
                      </a:lnTo>
                      <a:lnTo>
                        <a:pt x="1282" y="961"/>
                      </a:lnTo>
                      <a:close/>
                      <a:moveTo>
                        <a:pt x="1452" y="1128"/>
                      </a:moveTo>
                      <a:lnTo>
                        <a:pt x="1452" y="1129"/>
                      </a:lnTo>
                      <a:lnTo>
                        <a:pt x="1452" y="1128"/>
                      </a:lnTo>
                      <a:close/>
                      <a:moveTo>
                        <a:pt x="1293" y="943"/>
                      </a:moveTo>
                      <a:lnTo>
                        <a:pt x="1295" y="943"/>
                      </a:lnTo>
                      <a:lnTo>
                        <a:pt x="1295" y="944"/>
                      </a:lnTo>
                      <a:lnTo>
                        <a:pt x="1293" y="944"/>
                      </a:lnTo>
                      <a:lnTo>
                        <a:pt x="1293" y="943"/>
                      </a:lnTo>
                      <a:close/>
                      <a:moveTo>
                        <a:pt x="1115" y="971"/>
                      </a:moveTo>
                      <a:lnTo>
                        <a:pt x="1116" y="971"/>
                      </a:lnTo>
                      <a:lnTo>
                        <a:pt x="1116" y="973"/>
                      </a:lnTo>
                      <a:lnTo>
                        <a:pt x="1115" y="973"/>
                      </a:lnTo>
                      <a:lnTo>
                        <a:pt x="1115" y="971"/>
                      </a:lnTo>
                      <a:close/>
                      <a:moveTo>
                        <a:pt x="1367" y="1027"/>
                      </a:moveTo>
                      <a:lnTo>
                        <a:pt x="1368" y="1027"/>
                      </a:lnTo>
                      <a:lnTo>
                        <a:pt x="1367" y="1027"/>
                      </a:lnTo>
                      <a:close/>
                      <a:moveTo>
                        <a:pt x="1200" y="1046"/>
                      </a:moveTo>
                      <a:lnTo>
                        <a:pt x="1201" y="1046"/>
                      </a:lnTo>
                      <a:lnTo>
                        <a:pt x="1201" y="1047"/>
                      </a:lnTo>
                      <a:lnTo>
                        <a:pt x="1200" y="1047"/>
                      </a:lnTo>
                      <a:lnTo>
                        <a:pt x="1200" y="1046"/>
                      </a:lnTo>
                      <a:close/>
                      <a:moveTo>
                        <a:pt x="1051" y="991"/>
                      </a:moveTo>
                      <a:lnTo>
                        <a:pt x="1052" y="991"/>
                      </a:lnTo>
                      <a:lnTo>
                        <a:pt x="1051" y="991"/>
                      </a:lnTo>
                      <a:close/>
                      <a:moveTo>
                        <a:pt x="1060" y="971"/>
                      </a:moveTo>
                      <a:lnTo>
                        <a:pt x="1061" y="971"/>
                      </a:lnTo>
                      <a:lnTo>
                        <a:pt x="1061" y="973"/>
                      </a:lnTo>
                      <a:lnTo>
                        <a:pt x="1060" y="973"/>
                      </a:lnTo>
                      <a:lnTo>
                        <a:pt x="1060" y="971"/>
                      </a:lnTo>
                      <a:close/>
                      <a:moveTo>
                        <a:pt x="1363" y="1018"/>
                      </a:moveTo>
                      <a:lnTo>
                        <a:pt x="1364" y="1018"/>
                      </a:lnTo>
                      <a:lnTo>
                        <a:pt x="1364" y="1019"/>
                      </a:lnTo>
                      <a:lnTo>
                        <a:pt x="1363" y="1019"/>
                      </a:lnTo>
                      <a:lnTo>
                        <a:pt x="1363" y="1018"/>
                      </a:lnTo>
                      <a:close/>
                      <a:moveTo>
                        <a:pt x="1369" y="1040"/>
                      </a:moveTo>
                      <a:lnTo>
                        <a:pt x="1370" y="1040"/>
                      </a:lnTo>
                      <a:lnTo>
                        <a:pt x="1370" y="1041"/>
                      </a:lnTo>
                      <a:lnTo>
                        <a:pt x="1369" y="1041"/>
                      </a:lnTo>
                      <a:lnTo>
                        <a:pt x="1369" y="1040"/>
                      </a:lnTo>
                      <a:close/>
                      <a:moveTo>
                        <a:pt x="1097" y="977"/>
                      </a:moveTo>
                      <a:lnTo>
                        <a:pt x="1095" y="977"/>
                      </a:lnTo>
                      <a:lnTo>
                        <a:pt x="1097" y="977"/>
                      </a:lnTo>
                      <a:close/>
                      <a:moveTo>
                        <a:pt x="1046" y="923"/>
                      </a:moveTo>
                      <a:lnTo>
                        <a:pt x="1046" y="924"/>
                      </a:lnTo>
                      <a:lnTo>
                        <a:pt x="1046" y="923"/>
                      </a:lnTo>
                      <a:close/>
                      <a:moveTo>
                        <a:pt x="1416" y="1125"/>
                      </a:moveTo>
                      <a:lnTo>
                        <a:pt x="1418" y="1125"/>
                      </a:lnTo>
                      <a:lnTo>
                        <a:pt x="1416" y="1125"/>
                      </a:lnTo>
                      <a:close/>
                      <a:moveTo>
                        <a:pt x="1430" y="1054"/>
                      </a:moveTo>
                      <a:lnTo>
                        <a:pt x="1431" y="1054"/>
                      </a:lnTo>
                      <a:lnTo>
                        <a:pt x="1430" y="1054"/>
                      </a:lnTo>
                      <a:close/>
                      <a:moveTo>
                        <a:pt x="1353" y="1048"/>
                      </a:moveTo>
                      <a:lnTo>
                        <a:pt x="1354" y="1048"/>
                      </a:lnTo>
                      <a:lnTo>
                        <a:pt x="1353" y="1048"/>
                      </a:lnTo>
                      <a:close/>
                      <a:moveTo>
                        <a:pt x="1363" y="1151"/>
                      </a:moveTo>
                      <a:lnTo>
                        <a:pt x="1365" y="1151"/>
                      </a:lnTo>
                      <a:lnTo>
                        <a:pt x="1365" y="1153"/>
                      </a:lnTo>
                      <a:lnTo>
                        <a:pt x="1363" y="1153"/>
                      </a:lnTo>
                      <a:lnTo>
                        <a:pt x="1363" y="1151"/>
                      </a:lnTo>
                      <a:close/>
                      <a:moveTo>
                        <a:pt x="1222" y="994"/>
                      </a:moveTo>
                      <a:lnTo>
                        <a:pt x="1223" y="994"/>
                      </a:lnTo>
                      <a:lnTo>
                        <a:pt x="1222" y="994"/>
                      </a:lnTo>
                      <a:close/>
                      <a:moveTo>
                        <a:pt x="1323" y="1194"/>
                      </a:moveTo>
                      <a:lnTo>
                        <a:pt x="1323" y="1196"/>
                      </a:lnTo>
                      <a:lnTo>
                        <a:pt x="1323" y="1194"/>
                      </a:lnTo>
                      <a:close/>
                      <a:moveTo>
                        <a:pt x="1153" y="1013"/>
                      </a:moveTo>
                      <a:lnTo>
                        <a:pt x="1154" y="1013"/>
                      </a:lnTo>
                      <a:lnTo>
                        <a:pt x="1153" y="1013"/>
                      </a:lnTo>
                      <a:close/>
                      <a:moveTo>
                        <a:pt x="1138" y="936"/>
                      </a:moveTo>
                      <a:lnTo>
                        <a:pt x="1138" y="937"/>
                      </a:lnTo>
                      <a:lnTo>
                        <a:pt x="1138" y="936"/>
                      </a:lnTo>
                      <a:close/>
                      <a:moveTo>
                        <a:pt x="1291" y="970"/>
                      </a:moveTo>
                      <a:lnTo>
                        <a:pt x="1291" y="971"/>
                      </a:lnTo>
                      <a:lnTo>
                        <a:pt x="1291" y="970"/>
                      </a:lnTo>
                      <a:close/>
                      <a:moveTo>
                        <a:pt x="1367" y="1134"/>
                      </a:moveTo>
                      <a:lnTo>
                        <a:pt x="1368" y="1134"/>
                      </a:lnTo>
                      <a:lnTo>
                        <a:pt x="1368" y="1135"/>
                      </a:lnTo>
                      <a:lnTo>
                        <a:pt x="1367" y="1135"/>
                      </a:lnTo>
                      <a:lnTo>
                        <a:pt x="1367" y="1134"/>
                      </a:lnTo>
                      <a:close/>
                      <a:moveTo>
                        <a:pt x="1108" y="982"/>
                      </a:moveTo>
                      <a:lnTo>
                        <a:pt x="1109" y="982"/>
                      </a:lnTo>
                      <a:lnTo>
                        <a:pt x="1109" y="983"/>
                      </a:lnTo>
                      <a:lnTo>
                        <a:pt x="1108" y="983"/>
                      </a:lnTo>
                      <a:lnTo>
                        <a:pt x="1108" y="982"/>
                      </a:lnTo>
                      <a:close/>
                      <a:moveTo>
                        <a:pt x="1190" y="925"/>
                      </a:moveTo>
                      <a:lnTo>
                        <a:pt x="1192" y="925"/>
                      </a:lnTo>
                      <a:lnTo>
                        <a:pt x="1190" y="925"/>
                      </a:lnTo>
                      <a:close/>
                      <a:moveTo>
                        <a:pt x="1288" y="970"/>
                      </a:moveTo>
                      <a:lnTo>
                        <a:pt x="1289" y="970"/>
                      </a:lnTo>
                      <a:lnTo>
                        <a:pt x="1288" y="970"/>
                      </a:lnTo>
                      <a:close/>
                      <a:moveTo>
                        <a:pt x="1442" y="1146"/>
                      </a:moveTo>
                      <a:lnTo>
                        <a:pt x="1443" y="1146"/>
                      </a:lnTo>
                      <a:lnTo>
                        <a:pt x="1442" y="1146"/>
                      </a:lnTo>
                      <a:close/>
                      <a:moveTo>
                        <a:pt x="1355" y="1014"/>
                      </a:moveTo>
                      <a:lnTo>
                        <a:pt x="1356" y="1014"/>
                      </a:lnTo>
                      <a:lnTo>
                        <a:pt x="1355" y="1014"/>
                      </a:lnTo>
                      <a:close/>
                      <a:moveTo>
                        <a:pt x="1310" y="1107"/>
                      </a:moveTo>
                      <a:lnTo>
                        <a:pt x="1311" y="1107"/>
                      </a:lnTo>
                      <a:lnTo>
                        <a:pt x="1311" y="1108"/>
                      </a:lnTo>
                      <a:lnTo>
                        <a:pt x="1310" y="1108"/>
                      </a:lnTo>
                      <a:lnTo>
                        <a:pt x="1310" y="1107"/>
                      </a:lnTo>
                      <a:close/>
                      <a:moveTo>
                        <a:pt x="1416" y="1000"/>
                      </a:moveTo>
                      <a:lnTo>
                        <a:pt x="1417" y="1000"/>
                      </a:lnTo>
                      <a:lnTo>
                        <a:pt x="1416" y="1000"/>
                      </a:lnTo>
                      <a:close/>
                      <a:moveTo>
                        <a:pt x="1287" y="966"/>
                      </a:moveTo>
                      <a:lnTo>
                        <a:pt x="1288" y="966"/>
                      </a:lnTo>
                      <a:lnTo>
                        <a:pt x="1288" y="967"/>
                      </a:lnTo>
                      <a:lnTo>
                        <a:pt x="1287" y="967"/>
                      </a:lnTo>
                      <a:lnTo>
                        <a:pt x="1287" y="966"/>
                      </a:lnTo>
                      <a:close/>
                      <a:moveTo>
                        <a:pt x="1061" y="977"/>
                      </a:moveTo>
                      <a:lnTo>
                        <a:pt x="1061" y="978"/>
                      </a:lnTo>
                      <a:lnTo>
                        <a:pt x="1061" y="977"/>
                      </a:lnTo>
                      <a:close/>
                      <a:moveTo>
                        <a:pt x="1283" y="962"/>
                      </a:moveTo>
                      <a:lnTo>
                        <a:pt x="1285" y="962"/>
                      </a:lnTo>
                      <a:lnTo>
                        <a:pt x="1283" y="962"/>
                      </a:lnTo>
                      <a:close/>
                      <a:moveTo>
                        <a:pt x="1140" y="982"/>
                      </a:moveTo>
                      <a:lnTo>
                        <a:pt x="1142" y="982"/>
                      </a:lnTo>
                      <a:lnTo>
                        <a:pt x="1142" y="983"/>
                      </a:lnTo>
                      <a:lnTo>
                        <a:pt x="1140" y="983"/>
                      </a:lnTo>
                      <a:lnTo>
                        <a:pt x="1140" y="982"/>
                      </a:lnTo>
                      <a:close/>
                      <a:moveTo>
                        <a:pt x="1403" y="1102"/>
                      </a:moveTo>
                      <a:lnTo>
                        <a:pt x="1404" y="1102"/>
                      </a:lnTo>
                      <a:lnTo>
                        <a:pt x="1404" y="1103"/>
                      </a:lnTo>
                      <a:lnTo>
                        <a:pt x="1403" y="1103"/>
                      </a:lnTo>
                      <a:lnTo>
                        <a:pt x="1403" y="1102"/>
                      </a:lnTo>
                      <a:close/>
                      <a:moveTo>
                        <a:pt x="1255" y="942"/>
                      </a:moveTo>
                      <a:lnTo>
                        <a:pt x="1258" y="942"/>
                      </a:lnTo>
                      <a:lnTo>
                        <a:pt x="1258" y="943"/>
                      </a:lnTo>
                      <a:lnTo>
                        <a:pt x="1255" y="943"/>
                      </a:lnTo>
                      <a:lnTo>
                        <a:pt x="1255" y="942"/>
                      </a:lnTo>
                      <a:close/>
                      <a:moveTo>
                        <a:pt x="1353" y="1046"/>
                      </a:moveTo>
                      <a:lnTo>
                        <a:pt x="1353" y="1047"/>
                      </a:lnTo>
                      <a:lnTo>
                        <a:pt x="1353" y="1046"/>
                      </a:lnTo>
                      <a:close/>
                      <a:moveTo>
                        <a:pt x="1341" y="1171"/>
                      </a:moveTo>
                      <a:lnTo>
                        <a:pt x="1342" y="1171"/>
                      </a:lnTo>
                      <a:lnTo>
                        <a:pt x="1342" y="1172"/>
                      </a:lnTo>
                      <a:lnTo>
                        <a:pt x="1341" y="1172"/>
                      </a:lnTo>
                      <a:lnTo>
                        <a:pt x="1341" y="1171"/>
                      </a:lnTo>
                      <a:close/>
                      <a:moveTo>
                        <a:pt x="1019" y="968"/>
                      </a:moveTo>
                      <a:lnTo>
                        <a:pt x="1019" y="969"/>
                      </a:lnTo>
                      <a:lnTo>
                        <a:pt x="1019" y="968"/>
                      </a:lnTo>
                      <a:close/>
                      <a:moveTo>
                        <a:pt x="1414" y="1124"/>
                      </a:moveTo>
                      <a:lnTo>
                        <a:pt x="1416" y="1124"/>
                      </a:lnTo>
                      <a:lnTo>
                        <a:pt x="1416" y="1125"/>
                      </a:lnTo>
                      <a:lnTo>
                        <a:pt x="1414" y="1125"/>
                      </a:lnTo>
                      <a:lnTo>
                        <a:pt x="1414" y="1124"/>
                      </a:lnTo>
                      <a:close/>
                      <a:moveTo>
                        <a:pt x="1368" y="1133"/>
                      </a:moveTo>
                      <a:lnTo>
                        <a:pt x="1368" y="1134"/>
                      </a:lnTo>
                      <a:lnTo>
                        <a:pt x="1368" y="1133"/>
                      </a:lnTo>
                      <a:close/>
                      <a:moveTo>
                        <a:pt x="1272" y="1264"/>
                      </a:moveTo>
                      <a:lnTo>
                        <a:pt x="1273" y="1264"/>
                      </a:lnTo>
                      <a:lnTo>
                        <a:pt x="1273" y="1265"/>
                      </a:lnTo>
                      <a:lnTo>
                        <a:pt x="1272" y="1265"/>
                      </a:lnTo>
                      <a:lnTo>
                        <a:pt x="1272" y="1264"/>
                      </a:lnTo>
                      <a:close/>
                      <a:moveTo>
                        <a:pt x="1364" y="1021"/>
                      </a:moveTo>
                      <a:lnTo>
                        <a:pt x="1366" y="1021"/>
                      </a:lnTo>
                      <a:lnTo>
                        <a:pt x="1366" y="1022"/>
                      </a:lnTo>
                      <a:lnTo>
                        <a:pt x="1364" y="1022"/>
                      </a:lnTo>
                      <a:lnTo>
                        <a:pt x="1364" y="1021"/>
                      </a:lnTo>
                      <a:close/>
                      <a:moveTo>
                        <a:pt x="1279" y="1231"/>
                      </a:moveTo>
                      <a:lnTo>
                        <a:pt x="1280" y="1231"/>
                      </a:lnTo>
                      <a:lnTo>
                        <a:pt x="1279" y="1231"/>
                      </a:lnTo>
                      <a:close/>
                      <a:moveTo>
                        <a:pt x="1349" y="1123"/>
                      </a:moveTo>
                      <a:lnTo>
                        <a:pt x="1349" y="1124"/>
                      </a:lnTo>
                      <a:lnTo>
                        <a:pt x="1349" y="1123"/>
                      </a:lnTo>
                      <a:close/>
                      <a:moveTo>
                        <a:pt x="1072" y="986"/>
                      </a:moveTo>
                      <a:lnTo>
                        <a:pt x="1073" y="986"/>
                      </a:lnTo>
                      <a:lnTo>
                        <a:pt x="1073" y="987"/>
                      </a:lnTo>
                      <a:lnTo>
                        <a:pt x="1072" y="987"/>
                      </a:lnTo>
                      <a:lnTo>
                        <a:pt x="1072" y="986"/>
                      </a:lnTo>
                      <a:close/>
                      <a:moveTo>
                        <a:pt x="1421" y="1123"/>
                      </a:moveTo>
                      <a:lnTo>
                        <a:pt x="1422" y="1123"/>
                      </a:lnTo>
                      <a:lnTo>
                        <a:pt x="1422" y="1124"/>
                      </a:lnTo>
                      <a:lnTo>
                        <a:pt x="1421" y="1124"/>
                      </a:lnTo>
                      <a:lnTo>
                        <a:pt x="1421" y="1123"/>
                      </a:lnTo>
                      <a:close/>
                      <a:moveTo>
                        <a:pt x="1080" y="984"/>
                      </a:moveTo>
                      <a:lnTo>
                        <a:pt x="1081" y="984"/>
                      </a:lnTo>
                      <a:lnTo>
                        <a:pt x="1081" y="986"/>
                      </a:lnTo>
                      <a:lnTo>
                        <a:pt x="1080" y="986"/>
                      </a:lnTo>
                      <a:lnTo>
                        <a:pt x="1080" y="984"/>
                      </a:lnTo>
                      <a:close/>
                      <a:moveTo>
                        <a:pt x="1330" y="1185"/>
                      </a:moveTo>
                      <a:lnTo>
                        <a:pt x="1331" y="1185"/>
                      </a:lnTo>
                      <a:lnTo>
                        <a:pt x="1330" y="1185"/>
                      </a:lnTo>
                      <a:close/>
                      <a:moveTo>
                        <a:pt x="1375" y="1038"/>
                      </a:moveTo>
                      <a:lnTo>
                        <a:pt x="1375" y="1039"/>
                      </a:lnTo>
                      <a:lnTo>
                        <a:pt x="1375" y="1038"/>
                      </a:lnTo>
                      <a:close/>
                      <a:moveTo>
                        <a:pt x="1098" y="976"/>
                      </a:moveTo>
                      <a:lnTo>
                        <a:pt x="1096" y="976"/>
                      </a:lnTo>
                      <a:lnTo>
                        <a:pt x="1098" y="976"/>
                      </a:lnTo>
                      <a:close/>
                      <a:moveTo>
                        <a:pt x="1143" y="1009"/>
                      </a:moveTo>
                      <a:lnTo>
                        <a:pt x="1144" y="1009"/>
                      </a:lnTo>
                      <a:lnTo>
                        <a:pt x="1144" y="1011"/>
                      </a:lnTo>
                      <a:lnTo>
                        <a:pt x="1143" y="1011"/>
                      </a:lnTo>
                      <a:lnTo>
                        <a:pt x="1143" y="1009"/>
                      </a:lnTo>
                      <a:close/>
                      <a:moveTo>
                        <a:pt x="1356" y="1043"/>
                      </a:moveTo>
                      <a:lnTo>
                        <a:pt x="1357" y="1043"/>
                      </a:lnTo>
                      <a:lnTo>
                        <a:pt x="1356" y="1043"/>
                      </a:lnTo>
                      <a:close/>
                      <a:moveTo>
                        <a:pt x="1258" y="952"/>
                      </a:moveTo>
                      <a:lnTo>
                        <a:pt x="1259" y="952"/>
                      </a:lnTo>
                      <a:lnTo>
                        <a:pt x="1259" y="953"/>
                      </a:lnTo>
                      <a:lnTo>
                        <a:pt x="1258" y="953"/>
                      </a:lnTo>
                      <a:lnTo>
                        <a:pt x="1258" y="952"/>
                      </a:lnTo>
                      <a:close/>
                      <a:moveTo>
                        <a:pt x="1425" y="1124"/>
                      </a:moveTo>
                      <a:lnTo>
                        <a:pt x="1426" y="1124"/>
                      </a:lnTo>
                      <a:lnTo>
                        <a:pt x="1425" y="1124"/>
                      </a:lnTo>
                      <a:close/>
                      <a:moveTo>
                        <a:pt x="1350" y="1090"/>
                      </a:moveTo>
                      <a:lnTo>
                        <a:pt x="1351" y="1090"/>
                      </a:lnTo>
                      <a:lnTo>
                        <a:pt x="1350" y="1090"/>
                      </a:lnTo>
                      <a:close/>
                      <a:moveTo>
                        <a:pt x="1224" y="994"/>
                      </a:moveTo>
                      <a:lnTo>
                        <a:pt x="1224" y="995"/>
                      </a:lnTo>
                      <a:lnTo>
                        <a:pt x="1224" y="994"/>
                      </a:lnTo>
                      <a:close/>
                      <a:moveTo>
                        <a:pt x="1357" y="968"/>
                      </a:moveTo>
                      <a:lnTo>
                        <a:pt x="1358" y="968"/>
                      </a:lnTo>
                      <a:lnTo>
                        <a:pt x="1358" y="969"/>
                      </a:lnTo>
                      <a:lnTo>
                        <a:pt x="1357" y="969"/>
                      </a:lnTo>
                      <a:lnTo>
                        <a:pt x="1357" y="968"/>
                      </a:lnTo>
                      <a:close/>
                      <a:moveTo>
                        <a:pt x="1363" y="1031"/>
                      </a:moveTo>
                      <a:lnTo>
                        <a:pt x="1364" y="1031"/>
                      </a:lnTo>
                      <a:lnTo>
                        <a:pt x="1363" y="1031"/>
                      </a:lnTo>
                      <a:close/>
                      <a:moveTo>
                        <a:pt x="1284" y="949"/>
                      </a:moveTo>
                      <a:lnTo>
                        <a:pt x="1285" y="949"/>
                      </a:lnTo>
                      <a:lnTo>
                        <a:pt x="1284" y="949"/>
                      </a:lnTo>
                      <a:close/>
                      <a:moveTo>
                        <a:pt x="1136" y="991"/>
                      </a:moveTo>
                      <a:lnTo>
                        <a:pt x="1138" y="991"/>
                      </a:lnTo>
                      <a:lnTo>
                        <a:pt x="1138" y="992"/>
                      </a:lnTo>
                      <a:lnTo>
                        <a:pt x="1136" y="992"/>
                      </a:lnTo>
                      <a:lnTo>
                        <a:pt x="1136" y="991"/>
                      </a:lnTo>
                      <a:close/>
                      <a:moveTo>
                        <a:pt x="1197" y="1045"/>
                      </a:moveTo>
                      <a:lnTo>
                        <a:pt x="1198" y="1045"/>
                      </a:lnTo>
                      <a:lnTo>
                        <a:pt x="1197" y="1045"/>
                      </a:lnTo>
                      <a:close/>
                      <a:moveTo>
                        <a:pt x="1367" y="1026"/>
                      </a:moveTo>
                      <a:lnTo>
                        <a:pt x="1368" y="1026"/>
                      </a:lnTo>
                      <a:lnTo>
                        <a:pt x="1367" y="1026"/>
                      </a:lnTo>
                      <a:close/>
                      <a:moveTo>
                        <a:pt x="1135" y="1002"/>
                      </a:moveTo>
                      <a:lnTo>
                        <a:pt x="1136" y="1002"/>
                      </a:lnTo>
                      <a:lnTo>
                        <a:pt x="1136" y="1003"/>
                      </a:lnTo>
                      <a:lnTo>
                        <a:pt x="1135" y="1003"/>
                      </a:lnTo>
                      <a:lnTo>
                        <a:pt x="1135" y="1002"/>
                      </a:lnTo>
                      <a:close/>
                      <a:moveTo>
                        <a:pt x="1363" y="1050"/>
                      </a:moveTo>
                      <a:lnTo>
                        <a:pt x="1364" y="1050"/>
                      </a:lnTo>
                      <a:lnTo>
                        <a:pt x="1363" y="1050"/>
                      </a:lnTo>
                      <a:close/>
                      <a:moveTo>
                        <a:pt x="1321" y="1103"/>
                      </a:moveTo>
                      <a:lnTo>
                        <a:pt x="1319" y="1105"/>
                      </a:lnTo>
                      <a:lnTo>
                        <a:pt x="1321" y="1103"/>
                      </a:lnTo>
                      <a:lnTo>
                        <a:pt x="1321" y="1101"/>
                      </a:lnTo>
                      <a:lnTo>
                        <a:pt x="1321" y="1103"/>
                      </a:lnTo>
                      <a:close/>
                      <a:moveTo>
                        <a:pt x="1312" y="1106"/>
                      </a:moveTo>
                      <a:lnTo>
                        <a:pt x="1313" y="1106"/>
                      </a:lnTo>
                      <a:lnTo>
                        <a:pt x="1312" y="1106"/>
                      </a:lnTo>
                      <a:close/>
                      <a:moveTo>
                        <a:pt x="1103" y="800"/>
                      </a:moveTo>
                      <a:lnTo>
                        <a:pt x="1104" y="800"/>
                      </a:lnTo>
                      <a:lnTo>
                        <a:pt x="1104" y="801"/>
                      </a:lnTo>
                      <a:lnTo>
                        <a:pt x="1103" y="801"/>
                      </a:lnTo>
                      <a:lnTo>
                        <a:pt x="1103" y="800"/>
                      </a:lnTo>
                      <a:close/>
                      <a:moveTo>
                        <a:pt x="1309" y="948"/>
                      </a:moveTo>
                      <a:lnTo>
                        <a:pt x="1311" y="948"/>
                      </a:lnTo>
                      <a:lnTo>
                        <a:pt x="1309" y="948"/>
                      </a:lnTo>
                      <a:close/>
                      <a:moveTo>
                        <a:pt x="1290" y="971"/>
                      </a:moveTo>
                      <a:lnTo>
                        <a:pt x="1290" y="973"/>
                      </a:lnTo>
                      <a:lnTo>
                        <a:pt x="1290" y="971"/>
                      </a:lnTo>
                      <a:close/>
                      <a:moveTo>
                        <a:pt x="1326" y="1021"/>
                      </a:moveTo>
                      <a:lnTo>
                        <a:pt x="1326" y="1022"/>
                      </a:lnTo>
                      <a:lnTo>
                        <a:pt x="1326" y="1021"/>
                      </a:lnTo>
                      <a:close/>
                      <a:moveTo>
                        <a:pt x="1187" y="929"/>
                      </a:moveTo>
                      <a:lnTo>
                        <a:pt x="1188" y="929"/>
                      </a:lnTo>
                      <a:lnTo>
                        <a:pt x="1187" y="929"/>
                      </a:lnTo>
                      <a:close/>
                      <a:moveTo>
                        <a:pt x="1413" y="1090"/>
                      </a:moveTo>
                      <a:lnTo>
                        <a:pt x="1414" y="1090"/>
                      </a:lnTo>
                      <a:lnTo>
                        <a:pt x="1413" y="1090"/>
                      </a:lnTo>
                      <a:close/>
                      <a:moveTo>
                        <a:pt x="1364" y="1030"/>
                      </a:moveTo>
                      <a:lnTo>
                        <a:pt x="1365" y="1030"/>
                      </a:lnTo>
                      <a:lnTo>
                        <a:pt x="1364" y="1030"/>
                      </a:lnTo>
                      <a:close/>
                      <a:moveTo>
                        <a:pt x="1338" y="1004"/>
                      </a:moveTo>
                      <a:lnTo>
                        <a:pt x="1339" y="1004"/>
                      </a:lnTo>
                      <a:lnTo>
                        <a:pt x="1339" y="1005"/>
                      </a:lnTo>
                      <a:lnTo>
                        <a:pt x="1338" y="1005"/>
                      </a:lnTo>
                      <a:lnTo>
                        <a:pt x="1338" y="1004"/>
                      </a:lnTo>
                      <a:close/>
                      <a:moveTo>
                        <a:pt x="1366" y="1004"/>
                      </a:moveTo>
                      <a:lnTo>
                        <a:pt x="1367" y="1004"/>
                      </a:lnTo>
                      <a:lnTo>
                        <a:pt x="1367" y="1005"/>
                      </a:lnTo>
                      <a:lnTo>
                        <a:pt x="1366" y="1005"/>
                      </a:lnTo>
                      <a:lnTo>
                        <a:pt x="1366" y="1004"/>
                      </a:lnTo>
                      <a:close/>
                      <a:moveTo>
                        <a:pt x="1316" y="1101"/>
                      </a:moveTo>
                      <a:lnTo>
                        <a:pt x="1313" y="1099"/>
                      </a:lnTo>
                      <a:lnTo>
                        <a:pt x="1315" y="1101"/>
                      </a:lnTo>
                      <a:lnTo>
                        <a:pt x="1316" y="1101"/>
                      </a:lnTo>
                      <a:close/>
                      <a:moveTo>
                        <a:pt x="1042" y="986"/>
                      </a:moveTo>
                      <a:lnTo>
                        <a:pt x="1043" y="986"/>
                      </a:lnTo>
                      <a:lnTo>
                        <a:pt x="1042" y="986"/>
                      </a:lnTo>
                      <a:close/>
                      <a:moveTo>
                        <a:pt x="1363" y="1145"/>
                      </a:moveTo>
                      <a:lnTo>
                        <a:pt x="1364" y="1145"/>
                      </a:lnTo>
                      <a:lnTo>
                        <a:pt x="1363" y="1145"/>
                      </a:lnTo>
                      <a:close/>
                      <a:moveTo>
                        <a:pt x="1326" y="1188"/>
                      </a:moveTo>
                      <a:lnTo>
                        <a:pt x="1327" y="1188"/>
                      </a:lnTo>
                      <a:lnTo>
                        <a:pt x="1327" y="1189"/>
                      </a:lnTo>
                      <a:lnTo>
                        <a:pt x="1326" y="1189"/>
                      </a:lnTo>
                      <a:lnTo>
                        <a:pt x="1326" y="1188"/>
                      </a:lnTo>
                      <a:close/>
                      <a:moveTo>
                        <a:pt x="1136" y="973"/>
                      </a:moveTo>
                      <a:lnTo>
                        <a:pt x="1138" y="973"/>
                      </a:lnTo>
                      <a:lnTo>
                        <a:pt x="1136" y="973"/>
                      </a:lnTo>
                      <a:close/>
                      <a:moveTo>
                        <a:pt x="1140" y="1008"/>
                      </a:moveTo>
                      <a:lnTo>
                        <a:pt x="1141" y="1008"/>
                      </a:lnTo>
                      <a:lnTo>
                        <a:pt x="1141" y="1009"/>
                      </a:lnTo>
                      <a:lnTo>
                        <a:pt x="1140" y="1009"/>
                      </a:lnTo>
                      <a:lnTo>
                        <a:pt x="1140" y="1008"/>
                      </a:lnTo>
                      <a:close/>
                      <a:moveTo>
                        <a:pt x="1087" y="800"/>
                      </a:moveTo>
                      <a:lnTo>
                        <a:pt x="1089" y="800"/>
                      </a:lnTo>
                      <a:lnTo>
                        <a:pt x="1087" y="800"/>
                      </a:lnTo>
                      <a:close/>
                      <a:moveTo>
                        <a:pt x="1273" y="945"/>
                      </a:moveTo>
                      <a:lnTo>
                        <a:pt x="1274" y="945"/>
                      </a:lnTo>
                      <a:lnTo>
                        <a:pt x="1274" y="947"/>
                      </a:lnTo>
                      <a:lnTo>
                        <a:pt x="1273" y="947"/>
                      </a:lnTo>
                      <a:lnTo>
                        <a:pt x="1273" y="945"/>
                      </a:lnTo>
                      <a:close/>
                      <a:moveTo>
                        <a:pt x="1347" y="996"/>
                      </a:moveTo>
                      <a:lnTo>
                        <a:pt x="1348" y="996"/>
                      </a:lnTo>
                      <a:lnTo>
                        <a:pt x="1348" y="998"/>
                      </a:lnTo>
                      <a:lnTo>
                        <a:pt x="1347" y="998"/>
                      </a:lnTo>
                      <a:lnTo>
                        <a:pt x="1347" y="996"/>
                      </a:lnTo>
                      <a:close/>
                      <a:moveTo>
                        <a:pt x="1261" y="943"/>
                      </a:moveTo>
                      <a:lnTo>
                        <a:pt x="1263" y="943"/>
                      </a:lnTo>
                      <a:lnTo>
                        <a:pt x="1261" y="943"/>
                      </a:lnTo>
                      <a:close/>
                      <a:moveTo>
                        <a:pt x="1279" y="965"/>
                      </a:moveTo>
                      <a:lnTo>
                        <a:pt x="1280" y="965"/>
                      </a:lnTo>
                      <a:lnTo>
                        <a:pt x="1279" y="965"/>
                      </a:lnTo>
                      <a:close/>
                      <a:moveTo>
                        <a:pt x="1284" y="969"/>
                      </a:moveTo>
                      <a:lnTo>
                        <a:pt x="1285" y="969"/>
                      </a:lnTo>
                      <a:lnTo>
                        <a:pt x="1284" y="969"/>
                      </a:lnTo>
                      <a:close/>
                      <a:moveTo>
                        <a:pt x="1363" y="1043"/>
                      </a:moveTo>
                      <a:lnTo>
                        <a:pt x="1364" y="1043"/>
                      </a:lnTo>
                      <a:lnTo>
                        <a:pt x="1363" y="1043"/>
                      </a:lnTo>
                      <a:close/>
                      <a:moveTo>
                        <a:pt x="1367" y="1013"/>
                      </a:moveTo>
                      <a:lnTo>
                        <a:pt x="1368" y="1013"/>
                      </a:lnTo>
                      <a:lnTo>
                        <a:pt x="1368" y="1014"/>
                      </a:lnTo>
                      <a:lnTo>
                        <a:pt x="1367" y="1014"/>
                      </a:lnTo>
                      <a:lnTo>
                        <a:pt x="1367" y="1013"/>
                      </a:lnTo>
                      <a:close/>
                      <a:moveTo>
                        <a:pt x="1145" y="1009"/>
                      </a:moveTo>
                      <a:lnTo>
                        <a:pt x="1146" y="1009"/>
                      </a:lnTo>
                      <a:lnTo>
                        <a:pt x="1145" y="1009"/>
                      </a:lnTo>
                      <a:close/>
                      <a:moveTo>
                        <a:pt x="1352" y="996"/>
                      </a:moveTo>
                      <a:lnTo>
                        <a:pt x="1353" y="996"/>
                      </a:lnTo>
                      <a:lnTo>
                        <a:pt x="1353" y="998"/>
                      </a:lnTo>
                      <a:lnTo>
                        <a:pt x="1352" y="998"/>
                      </a:lnTo>
                      <a:lnTo>
                        <a:pt x="1352" y="996"/>
                      </a:lnTo>
                      <a:close/>
                      <a:moveTo>
                        <a:pt x="1199" y="1047"/>
                      </a:moveTo>
                      <a:lnTo>
                        <a:pt x="1200" y="1047"/>
                      </a:lnTo>
                      <a:lnTo>
                        <a:pt x="1199" y="1047"/>
                      </a:lnTo>
                      <a:close/>
                      <a:moveTo>
                        <a:pt x="1363" y="1017"/>
                      </a:moveTo>
                      <a:lnTo>
                        <a:pt x="1364" y="1017"/>
                      </a:lnTo>
                      <a:lnTo>
                        <a:pt x="1364" y="1018"/>
                      </a:lnTo>
                      <a:lnTo>
                        <a:pt x="1363" y="1018"/>
                      </a:lnTo>
                      <a:lnTo>
                        <a:pt x="1363" y="1017"/>
                      </a:lnTo>
                      <a:close/>
                      <a:moveTo>
                        <a:pt x="1286" y="954"/>
                      </a:moveTo>
                      <a:lnTo>
                        <a:pt x="1287" y="954"/>
                      </a:lnTo>
                      <a:lnTo>
                        <a:pt x="1287" y="955"/>
                      </a:lnTo>
                      <a:lnTo>
                        <a:pt x="1286" y="955"/>
                      </a:lnTo>
                      <a:lnTo>
                        <a:pt x="1286" y="954"/>
                      </a:lnTo>
                      <a:close/>
                      <a:moveTo>
                        <a:pt x="1208" y="1040"/>
                      </a:moveTo>
                      <a:lnTo>
                        <a:pt x="1208" y="1041"/>
                      </a:lnTo>
                      <a:lnTo>
                        <a:pt x="1208" y="1040"/>
                      </a:lnTo>
                      <a:close/>
                      <a:moveTo>
                        <a:pt x="1065" y="979"/>
                      </a:moveTo>
                      <a:lnTo>
                        <a:pt x="1067" y="979"/>
                      </a:lnTo>
                      <a:lnTo>
                        <a:pt x="1067" y="980"/>
                      </a:lnTo>
                      <a:lnTo>
                        <a:pt x="1065" y="980"/>
                      </a:lnTo>
                      <a:lnTo>
                        <a:pt x="1065" y="979"/>
                      </a:lnTo>
                      <a:close/>
                      <a:moveTo>
                        <a:pt x="1283" y="954"/>
                      </a:moveTo>
                      <a:lnTo>
                        <a:pt x="1283" y="955"/>
                      </a:lnTo>
                      <a:lnTo>
                        <a:pt x="1283" y="954"/>
                      </a:lnTo>
                      <a:close/>
                      <a:moveTo>
                        <a:pt x="1368" y="1020"/>
                      </a:moveTo>
                      <a:lnTo>
                        <a:pt x="1369" y="1020"/>
                      </a:lnTo>
                      <a:lnTo>
                        <a:pt x="1369" y="1021"/>
                      </a:lnTo>
                      <a:lnTo>
                        <a:pt x="1368" y="1021"/>
                      </a:lnTo>
                      <a:lnTo>
                        <a:pt x="1368" y="1020"/>
                      </a:lnTo>
                      <a:close/>
                      <a:moveTo>
                        <a:pt x="1365" y="1020"/>
                      </a:moveTo>
                      <a:lnTo>
                        <a:pt x="1365" y="1021"/>
                      </a:lnTo>
                      <a:lnTo>
                        <a:pt x="1365" y="1020"/>
                      </a:lnTo>
                      <a:close/>
                      <a:moveTo>
                        <a:pt x="1182" y="1028"/>
                      </a:moveTo>
                      <a:lnTo>
                        <a:pt x="1182" y="1029"/>
                      </a:lnTo>
                      <a:lnTo>
                        <a:pt x="1182" y="1028"/>
                      </a:lnTo>
                      <a:close/>
                      <a:moveTo>
                        <a:pt x="1323" y="1193"/>
                      </a:moveTo>
                      <a:lnTo>
                        <a:pt x="1324" y="1193"/>
                      </a:lnTo>
                      <a:lnTo>
                        <a:pt x="1324" y="1194"/>
                      </a:lnTo>
                      <a:lnTo>
                        <a:pt x="1323" y="1194"/>
                      </a:lnTo>
                      <a:lnTo>
                        <a:pt x="1323" y="1193"/>
                      </a:lnTo>
                      <a:close/>
                      <a:moveTo>
                        <a:pt x="1058" y="973"/>
                      </a:moveTo>
                      <a:lnTo>
                        <a:pt x="1059" y="973"/>
                      </a:lnTo>
                      <a:lnTo>
                        <a:pt x="1058" y="973"/>
                      </a:lnTo>
                      <a:close/>
                      <a:moveTo>
                        <a:pt x="1203" y="1045"/>
                      </a:moveTo>
                      <a:lnTo>
                        <a:pt x="1203" y="1046"/>
                      </a:lnTo>
                      <a:lnTo>
                        <a:pt x="1203" y="1045"/>
                      </a:lnTo>
                      <a:close/>
                      <a:moveTo>
                        <a:pt x="1350" y="1028"/>
                      </a:moveTo>
                      <a:lnTo>
                        <a:pt x="1351" y="1028"/>
                      </a:lnTo>
                      <a:lnTo>
                        <a:pt x="1350" y="1028"/>
                      </a:lnTo>
                      <a:close/>
                      <a:moveTo>
                        <a:pt x="1258" y="952"/>
                      </a:moveTo>
                      <a:lnTo>
                        <a:pt x="1259" y="952"/>
                      </a:lnTo>
                      <a:lnTo>
                        <a:pt x="1258" y="952"/>
                      </a:lnTo>
                      <a:close/>
                      <a:moveTo>
                        <a:pt x="1357" y="1145"/>
                      </a:moveTo>
                      <a:lnTo>
                        <a:pt x="1357" y="1146"/>
                      </a:lnTo>
                      <a:lnTo>
                        <a:pt x="1357" y="1145"/>
                      </a:lnTo>
                      <a:close/>
                      <a:moveTo>
                        <a:pt x="1021" y="915"/>
                      </a:moveTo>
                      <a:lnTo>
                        <a:pt x="1022" y="915"/>
                      </a:lnTo>
                      <a:lnTo>
                        <a:pt x="1021" y="915"/>
                      </a:lnTo>
                      <a:close/>
                      <a:moveTo>
                        <a:pt x="1315" y="1101"/>
                      </a:moveTo>
                      <a:lnTo>
                        <a:pt x="1313" y="1099"/>
                      </a:lnTo>
                      <a:lnTo>
                        <a:pt x="1315" y="1101"/>
                      </a:lnTo>
                      <a:close/>
                      <a:moveTo>
                        <a:pt x="1429" y="1119"/>
                      </a:moveTo>
                      <a:lnTo>
                        <a:pt x="1430" y="1119"/>
                      </a:lnTo>
                      <a:lnTo>
                        <a:pt x="1429" y="1119"/>
                      </a:lnTo>
                      <a:close/>
                      <a:moveTo>
                        <a:pt x="1286" y="951"/>
                      </a:moveTo>
                      <a:lnTo>
                        <a:pt x="1287" y="951"/>
                      </a:lnTo>
                      <a:lnTo>
                        <a:pt x="1287" y="952"/>
                      </a:lnTo>
                      <a:lnTo>
                        <a:pt x="1286" y="952"/>
                      </a:lnTo>
                      <a:lnTo>
                        <a:pt x="1286" y="951"/>
                      </a:lnTo>
                      <a:close/>
                      <a:moveTo>
                        <a:pt x="1417" y="1123"/>
                      </a:moveTo>
                      <a:lnTo>
                        <a:pt x="1418" y="1123"/>
                      </a:lnTo>
                      <a:lnTo>
                        <a:pt x="1417" y="1123"/>
                      </a:lnTo>
                      <a:close/>
                      <a:moveTo>
                        <a:pt x="1058" y="971"/>
                      </a:moveTo>
                      <a:lnTo>
                        <a:pt x="1058" y="973"/>
                      </a:lnTo>
                      <a:lnTo>
                        <a:pt x="1058" y="971"/>
                      </a:lnTo>
                      <a:close/>
                      <a:moveTo>
                        <a:pt x="1041" y="929"/>
                      </a:moveTo>
                      <a:lnTo>
                        <a:pt x="1042" y="929"/>
                      </a:lnTo>
                      <a:lnTo>
                        <a:pt x="1042" y="930"/>
                      </a:lnTo>
                      <a:lnTo>
                        <a:pt x="1041" y="930"/>
                      </a:lnTo>
                      <a:lnTo>
                        <a:pt x="1041" y="929"/>
                      </a:lnTo>
                      <a:close/>
                      <a:moveTo>
                        <a:pt x="1370" y="1032"/>
                      </a:moveTo>
                      <a:lnTo>
                        <a:pt x="1371" y="1032"/>
                      </a:lnTo>
                      <a:lnTo>
                        <a:pt x="1370" y="1032"/>
                      </a:lnTo>
                      <a:close/>
                      <a:moveTo>
                        <a:pt x="1116" y="971"/>
                      </a:moveTo>
                      <a:lnTo>
                        <a:pt x="1118" y="971"/>
                      </a:lnTo>
                      <a:lnTo>
                        <a:pt x="1116" y="971"/>
                      </a:lnTo>
                      <a:close/>
                      <a:moveTo>
                        <a:pt x="1285" y="948"/>
                      </a:moveTo>
                      <a:lnTo>
                        <a:pt x="1285" y="949"/>
                      </a:lnTo>
                      <a:lnTo>
                        <a:pt x="1285" y="948"/>
                      </a:lnTo>
                      <a:close/>
                      <a:moveTo>
                        <a:pt x="1356" y="1146"/>
                      </a:moveTo>
                      <a:lnTo>
                        <a:pt x="1358" y="1146"/>
                      </a:lnTo>
                      <a:lnTo>
                        <a:pt x="1356" y="1146"/>
                      </a:lnTo>
                      <a:close/>
                      <a:moveTo>
                        <a:pt x="1014" y="981"/>
                      </a:moveTo>
                      <a:lnTo>
                        <a:pt x="1015" y="981"/>
                      </a:lnTo>
                      <a:lnTo>
                        <a:pt x="1015" y="982"/>
                      </a:lnTo>
                      <a:lnTo>
                        <a:pt x="1014" y="982"/>
                      </a:lnTo>
                      <a:lnTo>
                        <a:pt x="1014" y="981"/>
                      </a:lnTo>
                      <a:close/>
                      <a:moveTo>
                        <a:pt x="1018" y="968"/>
                      </a:moveTo>
                      <a:lnTo>
                        <a:pt x="1019" y="968"/>
                      </a:lnTo>
                      <a:lnTo>
                        <a:pt x="1019" y="969"/>
                      </a:lnTo>
                      <a:lnTo>
                        <a:pt x="1018" y="969"/>
                      </a:lnTo>
                      <a:lnTo>
                        <a:pt x="1018" y="968"/>
                      </a:lnTo>
                      <a:close/>
                      <a:moveTo>
                        <a:pt x="1050" y="924"/>
                      </a:moveTo>
                      <a:lnTo>
                        <a:pt x="1050" y="925"/>
                      </a:lnTo>
                      <a:lnTo>
                        <a:pt x="1050" y="924"/>
                      </a:lnTo>
                      <a:close/>
                      <a:moveTo>
                        <a:pt x="1116" y="956"/>
                      </a:moveTo>
                      <a:lnTo>
                        <a:pt x="1117" y="956"/>
                      </a:lnTo>
                      <a:lnTo>
                        <a:pt x="1117" y="957"/>
                      </a:lnTo>
                      <a:lnTo>
                        <a:pt x="1116" y="957"/>
                      </a:lnTo>
                      <a:lnTo>
                        <a:pt x="1116" y="956"/>
                      </a:lnTo>
                      <a:close/>
                      <a:moveTo>
                        <a:pt x="1282" y="962"/>
                      </a:moveTo>
                      <a:lnTo>
                        <a:pt x="1283" y="962"/>
                      </a:lnTo>
                      <a:lnTo>
                        <a:pt x="1283" y="963"/>
                      </a:lnTo>
                      <a:lnTo>
                        <a:pt x="1282" y="963"/>
                      </a:lnTo>
                      <a:lnTo>
                        <a:pt x="1282" y="962"/>
                      </a:lnTo>
                      <a:close/>
                      <a:moveTo>
                        <a:pt x="1410" y="1044"/>
                      </a:moveTo>
                      <a:lnTo>
                        <a:pt x="1410" y="1045"/>
                      </a:lnTo>
                      <a:lnTo>
                        <a:pt x="1410" y="1044"/>
                      </a:lnTo>
                      <a:close/>
                      <a:moveTo>
                        <a:pt x="1277" y="956"/>
                      </a:moveTo>
                      <a:lnTo>
                        <a:pt x="1278" y="956"/>
                      </a:lnTo>
                      <a:lnTo>
                        <a:pt x="1277" y="956"/>
                      </a:lnTo>
                      <a:close/>
                      <a:moveTo>
                        <a:pt x="1084" y="978"/>
                      </a:moveTo>
                      <a:lnTo>
                        <a:pt x="1085" y="978"/>
                      </a:lnTo>
                      <a:lnTo>
                        <a:pt x="1085" y="979"/>
                      </a:lnTo>
                      <a:lnTo>
                        <a:pt x="1084" y="979"/>
                      </a:lnTo>
                      <a:lnTo>
                        <a:pt x="1084" y="978"/>
                      </a:lnTo>
                      <a:close/>
                      <a:moveTo>
                        <a:pt x="1354" y="999"/>
                      </a:moveTo>
                      <a:lnTo>
                        <a:pt x="1355" y="999"/>
                      </a:lnTo>
                      <a:lnTo>
                        <a:pt x="1354" y="999"/>
                      </a:lnTo>
                      <a:close/>
                      <a:moveTo>
                        <a:pt x="1185" y="1043"/>
                      </a:moveTo>
                      <a:lnTo>
                        <a:pt x="1186" y="1043"/>
                      </a:lnTo>
                      <a:lnTo>
                        <a:pt x="1186" y="1044"/>
                      </a:lnTo>
                      <a:lnTo>
                        <a:pt x="1185" y="1044"/>
                      </a:lnTo>
                      <a:lnTo>
                        <a:pt x="1185" y="1043"/>
                      </a:lnTo>
                      <a:close/>
                      <a:moveTo>
                        <a:pt x="1117" y="957"/>
                      </a:moveTo>
                      <a:lnTo>
                        <a:pt x="1118" y="957"/>
                      </a:lnTo>
                      <a:lnTo>
                        <a:pt x="1118" y="958"/>
                      </a:lnTo>
                      <a:lnTo>
                        <a:pt x="1117" y="958"/>
                      </a:lnTo>
                      <a:lnTo>
                        <a:pt x="1117" y="957"/>
                      </a:lnTo>
                      <a:close/>
                      <a:moveTo>
                        <a:pt x="1302" y="947"/>
                      </a:moveTo>
                      <a:lnTo>
                        <a:pt x="1302" y="948"/>
                      </a:lnTo>
                      <a:lnTo>
                        <a:pt x="1302" y="947"/>
                      </a:lnTo>
                      <a:close/>
                      <a:moveTo>
                        <a:pt x="1442" y="1076"/>
                      </a:moveTo>
                      <a:lnTo>
                        <a:pt x="1443" y="1076"/>
                      </a:lnTo>
                      <a:lnTo>
                        <a:pt x="1442" y="1076"/>
                      </a:lnTo>
                      <a:close/>
                      <a:moveTo>
                        <a:pt x="1365" y="1035"/>
                      </a:moveTo>
                      <a:lnTo>
                        <a:pt x="1365" y="1037"/>
                      </a:lnTo>
                      <a:lnTo>
                        <a:pt x="1365" y="1035"/>
                      </a:lnTo>
                      <a:close/>
                      <a:moveTo>
                        <a:pt x="1413" y="1091"/>
                      </a:moveTo>
                      <a:lnTo>
                        <a:pt x="1414" y="1091"/>
                      </a:lnTo>
                      <a:lnTo>
                        <a:pt x="1414" y="1092"/>
                      </a:lnTo>
                      <a:lnTo>
                        <a:pt x="1413" y="1092"/>
                      </a:lnTo>
                      <a:lnTo>
                        <a:pt x="1413" y="1091"/>
                      </a:lnTo>
                      <a:close/>
                      <a:moveTo>
                        <a:pt x="1297" y="966"/>
                      </a:moveTo>
                      <a:lnTo>
                        <a:pt x="1298" y="966"/>
                      </a:lnTo>
                      <a:lnTo>
                        <a:pt x="1298" y="967"/>
                      </a:lnTo>
                      <a:lnTo>
                        <a:pt x="1297" y="967"/>
                      </a:lnTo>
                      <a:lnTo>
                        <a:pt x="1297" y="966"/>
                      </a:lnTo>
                      <a:close/>
                      <a:moveTo>
                        <a:pt x="1277" y="956"/>
                      </a:moveTo>
                      <a:lnTo>
                        <a:pt x="1278" y="956"/>
                      </a:lnTo>
                      <a:lnTo>
                        <a:pt x="1277" y="956"/>
                      </a:lnTo>
                      <a:close/>
                      <a:moveTo>
                        <a:pt x="1406" y="1116"/>
                      </a:moveTo>
                      <a:lnTo>
                        <a:pt x="1407" y="1116"/>
                      </a:lnTo>
                      <a:lnTo>
                        <a:pt x="1407" y="1117"/>
                      </a:lnTo>
                      <a:lnTo>
                        <a:pt x="1406" y="1117"/>
                      </a:lnTo>
                      <a:lnTo>
                        <a:pt x="1406" y="1116"/>
                      </a:lnTo>
                      <a:close/>
                      <a:moveTo>
                        <a:pt x="1280" y="954"/>
                      </a:moveTo>
                      <a:lnTo>
                        <a:pt x="1282" y="954"/>
                      </a:lnTo>
                      <a:lnTo>
                        <a:pt x="1282" y="955"/>
                      </a:lnTo>
                      <a:lnTo>
                        <a:pt x="1280" y="955"/>
                      </a:lnTo>
                      <a:lnTo>
                        <a:pt x="1280" y="954"/>
                      </a:lnTo>
                      <a:close/>
                      <a:moveTo>
                        <a:pt x="1087" y="982"/>
                      </a:moveTo>
                      <a:lnTo>
                        <a:pt x="1089" y="982"/>
                      </a:lnTo>
                      <a:lnTo>
                        <a:pt x="1087" y="982"/>
                      </a:lnTo>
                      <a:close/>
                      <a:moveTo>
                        <a:pt x="1338" y="1007"/>
                      </a:moveTo>
                      <a:lnTo>
                        <a:pt x="1338" y="1008"/>
                      </a:lnTo>
                      <a:lnTo>
                        <a:pt x="1338" y="1007"/>
                      </a:lnTo>
                      <a:close/>
                      <a:moveTo>
                        <a:pt x="1147" y="837"/>
                      </a:moveTo>
                      <a:lnTo>
                        <a:pt x="1148" y="837"/>
                      </a:lnTo>
                      <a:lnTo>
                        <a:pt x="1147" y="837"/>
                      </a:lnTo>
                      <a:close/>
                      <a:moveTo>
                        <a:pt x="1087" y="983"/>
                      </a:moveTo>
                      <a:lnTo>
                        <a:pt x="1089" y="983"/>
                      </a:lnTo>
                      <a:lnTo>
                        <a:pt x="1087" y="983"/>
                      </a:lnTo>
                      <a:close/>
                      <a:moveTo>
                        <a:pt x="1368" y="1015"/>
                      </a:moveTo>
                      <a:lnTo>
                        <a:pt x="1369" y="1015"/>
                      </a:lnTo>
                      <a:lnTo>
                        <a:pt x="1369" y="1016"/>
                      </a:lnTo>
                      <a:lnTo>
                        <a:pt x="1368" y="1016"/>
                      </a:lnTo>
                      <a:lnTo>
                        <a:pt x="1368" y="1015"/>
                      </a:lnTo>
                      <a:close/>
                      <a:moveTo>
                        <a:pt x="1431" y="1129"/>
                      </a:moveTo>
                      <a:lnTo>
                        <a:pt x="1432" y="1129"/>
                      </a:lnTo>
                      <a:lnTo>
                        <a:pt x="1432" y="1130"/>
                      </a:lnTo>
                      <a:lnTo>
                        <a:pt x="1431" y="1130"/>
                      </a:lnTo>
                      <a:lnTo>
                        <a:pt x="1431" y="1129"/>
                      </a:lnTo>
                      <a:close/>
                      <a:moveTo>
                        <a:pt x="1038" y="984"/>
                      </a:moveTo>
                      <a:lnTo>
                        <a:pt x="1039" y="984"/>
                      </a:lnTo>
                      <a:lnTo>
                        <a:pt x="1038" y="984"/>
                      </a:lnTo>
                      <a:close/>
                      <a:moveTo>
                        <a:pt x="1192" y="1046"/>
                      </a:moveTo>
                      <a:lnTo>
                        <a:pt x="1189" y="1045"/>
                      </a:lnTo>
                      <a:lnTo>
                        <a:pt x="1192" y="1046"/>
                      </a:lnTo>
                      <a:close/>
                      <a:moveTo>
                        <a:pt x="1121" y="963"/>
                      </a:moveTo>
                      <a:lnTo>
                        <a:pt x="1122" y="963"/>
                      </a:lnTo>
                      <a:lnTo>
                        <a:pt x="1121" y="963"/>
                      </a:lnTo>
                      <a:close/>
                      <a:moveTo>
                        <a:pt x="1373" y="1029"/>
                      </a:moveTo>
                      <a:lnTo>
                        <a:pt x="1373" y="1030"/>
                      </a:lnTo>
                      <a:lnTo>
                        <a:pt x="1373" y="1029"/>
                      </a:lnTo>
                      <a:close/>
                      <a:moveTo>
                        <a:pt x="1090" y="977"/>
                      </a:moveTo>
                      <a:lnTo>
                        <a:pt x="1090" y="978"/>
                      </a:lnTo>
                      <a:lnTo>
                        <a:pt x="1090" y="977"/>
                      </a:lnTo>
                      <a:close/>
                      <a:moveTo>
                        <a:pt x="1386" y="1102"/>
                      </a:moveTo>
                      <a:lnTo>
                        <a:pt x="1386" y="1103"/>
                      </a:lnTo>
                      <a:lnTo>
                        <a:pt x="1386" y="1102"/>
                      </a:lnTo>
                      <a:close/>
                      <a:moveTo>
                        <a:pt x="1365" y="1031"/>
                      </a:moveTo>
                      <a:lnTo>
                        <a:pt x="1366" y="1031"/>
                      </a:lnTo>
                      <a:lnTo>
                        <a:pt x="1366" y="1032"/>
                      </a:lnTo>
                      <a:lnTo>
                        <a:pt x="1365" y="1032"/>
                      </a:lnTo>
                      <a:lnTo>
                        <a:pt x="1365" y="1031"/>
                      </a:lnTo>
                      <a:close/>
                      <a:moveTo>
                        <a:pt x="1363" y="1014"/>
                      </a:moveTo>
                      <a:lnTo>
                        <a:pt x="1363" y="1015"/>
                      </a:lnTo>
                      <a:lnTo>
                        <a:pt x="1363" y="1014"/>
                      </a:lnTo>
                      <a:close/>
                      <a:moveTo>
                        <a:pt x="1184" y="1044"/>
                      </a:moveTo>
                      <a:lnTo>
                        <a:pt x="1186" y="1044"/>
                      </a:lnTo>
                      <a:lnTo>
                        <a:pt x="1184" y="1044"/>
                      </a:lnTo>
                      <a:close/>
                      <a:moveTo>
                        <a:pt x="1090" y="980"/>
                      </a:moveTo>
                      <a:lnTo>
                        <a:pt x="1090" y="981"/>
                      </a:lnTo>
                      <a:lnTo>
                        <a:pt x="1090" y="980"/>
                      </a:lnTo>
                      <a:close/>
                      <a:moveTo>
                        <a:pt x="1353" y="1003"/>
                      </a:moveTo>
                      <a:lnTo>
                        <a:pt x="1354" y="1003"/>
                      </a:lnTo>
                      <a:lnTo>
                        <a:pt x="1354" y="1004"/>
                      </a:lnTo>
                      <a:lnTo>
                        <a:pt x="1353" y="1004"/>
                      </a:lnTo>
                      <a:lnTo>
                        <a:pt x="1353" y="1003"/>
                      </a:lnTo>
                      <a:close/>
                      <a:moveTo>
                        <a:pt x="1172" y="1035"/>
                      </a:moveTo>
                      <a:lnTo>
                        <a:pt x="1173" y="1035"/>
                      </a:lnTo>
                      <a:lnTo>
                        <a:pt x="1173" y="1037"/>
                      </a:lnTo>
                      <a:lnTo>
                        <a:pt x="1172" y="1037"/>
                      </a:lnTo>
                      <a:lnTo>
                        <a:pt x="1172" y="1035"/>
                      </a:lnTo>
                      <a:close/>
                      <a:moveTo>
                        <a:pt x="1357" y="1007"/>
                      </a:moveTo>
                      <a:lnTo>
                        <a:pt x="1358" y="1007"/>
                      </a:lnTo>
                      <a:lnTo>
                        <a:pt x="1357" y="1007"/>
                      </a:lnTo>
                      <a:close/>
                      <a:moveTo>
                        <a:pt x="1106" y="976"/>
                      </a:moveTo>
                      <a:lnTo>
                        <a:pt x="1107" y="976"/>
                      </a:lnTo>
                      <a:lnTo>
                        <a:pt x="1106" y="976"/>
                      </a:lnTo>
                      <a:close/>
                      <a:moveTo>
                        <a:pt x="1321" y="1197"/>
                      </a:moveTo>
                      <a:lnTo>
                        <a:pt x="1322" y="1197"/>
                      </a:lnTo>
                      <a:lnTo>
                        <a:pt x="1322" y="1198"/>
                      </a:lnTo>
                      <a:lnTo>
                        <a:pt x="1321" y="1198"/>
                      </a:lnTo>
                      <a:lnTo>
                        <a:pt x="1321" y="1197"/>
                      </a:lnTo>
                      <a:close/>
                      <a:moveTo>
                        <a:pt x="1279" y="964"/>
                      </a:moveTo>
                      <a:lnTo>
                        <a:pt x="1280" y="964"/>
                      </a:lnTo>
                      <a:lnTo>
                        <a:pt x="1280" y="965"/>
                      </a:lnTo>
                      <a:lnTo>
                        <a:pt x="1279" y="965"/>
                      </a:lnTo>
                      <a:lnTo>
                        <a:pt x="1279" y="964"/>
                      </a:lnTo>
                      <a:close/>
                      <a:moveTo>
                        <a:pt x="1421" y="1095"/>
                      </a:moveTo>
                      <a:lnTo>
                        <a:pt x="1421" y="1096"/>
                      </a:lnTo>
                      <a:lnTo>
                        <a:pt x="1421" y="1095"/>
                      </a:lnTo>
                      <a:close/>
                      <a:moveTo>
                        <a:pt x="1326" y="1191"/>
                      </a:moveTo>
                      <a:lnTo>
                        <a:pt x="1327" y="1191"/>
                      </a:lnTo>
                      <a:lnTo>
                        <a:pt x="1327" y="1192"/>
                      </a:lnTo>
                      <a:lnTo>
                        <a:pt x="1326" y="1192"/>
                      </a:lnTo>
                      <a:lnTo>
                        <a:pt x="1326" y="1191"/>
                      </a:lnTo>
                      <a:close/>
                      <a:moveTo>
                        <a:pt x="1429" y="1141"/>
                      </a:moveTo>
                      <a:lnTo>
                        <a:pt x="1430" y="1141"/>
                      </a:lnTo>
                      <a:lnTo>
                        <a:pt x="1430" y="1142"/>
                      </a:lnTo>
                      <a:lnTo>
                        <a:pt x="1429" y="1142"/>
                      </a:lnTo>
                      <a:lnTo>
                        <a:pt x="1429" y="1141"/>
                      </a:lnTo>
                      <a:close/>
                      <a:moveTo>
                        <a:pt x="1285" y="949"/>
                      </a:moveTo>
                      <a:lnTo>
                        <a:pt x="1286" y="949"/>
                      </a:lnTo>
                      <a:lnTo>
                        <a:pt x="1285" y="949"/>
                      </a:lnTo>
                      <a:close/>
                      <a:moveTo>
                        <a:pt x="1343" y="1037"/>
                      </a:moveTo>
                      <a:lnTo>
                        <a:pt x="1343" y="1038"/>
                      </a:lnTo>
                      <a:lnTo>
                        <a:pt x="1343" y="1037"/>
                      </a:lnTo>
                      <a:close/>
                      <a:moveTo>
                        <a:pt x="1110" y="996"/>
                      </a:moveTo>
                      <a:lnTo>
                        <a:pt x="1111" y="996"/>
                      </a:lnTo>
                      <a:lnTo>
                        <a:pt x="1110" y="996"/>
                      </a:lnTo>
                      <a:close/>
                      <a:moveTo>
                        <a:pt x="1074" y="992"/>
                      </a:moveTo>
                      <a:lnTo>
                        <a:pt x="1076" y="992"/>
                      </a:lnTo>
                      <a:lnTo>
                        <a:pt x="1074" y="992"/>
                      </a:lnTo>
                      <a:close/>
                      <a:moveTo>
                        <a:pt x="1254" y="940"/>
                      </a:moveTo>
                      <a:lnTo>
                        <a:pt x="1255" y="940"/>
                      </a:lnTo>
                      <a:lnTo>
                        <a:pt x="1255" y="941"/>
                      </a:lnTo>
                      <a:lnTo>
                        <a:pt x="1254" y="941"/>
                      </a:lnTo>
                      <a:lnTo>
                        <a:pt x="1254" y="940"/>
                      </a:lnTo>
                      <a:close/>
                      <a:moveTo>
                        <a:pt x="1138" y="990"/>
                      </a:moveTo>
                      <a:lnTo>
                        <a:pt x="1140" y="990"/>
                      </a:lnTo>
                      <a:lnTo>
                        <a:pt x="1140" y="991"/>
                      </a:lnTo>
                      <a:lnTo>
                        <a:pt x="1138" y="991"/>
                      </a:lnTo>
                      <a:lnTo>
                        <a:pt x="1138" y="990"/>
                      </a:lnTo>
                      <a:close/>
                      <a:moveTo>
                        <a:pt x="1277" y="1121"/>
                      </a:moveTo>
                      <a:lnTo>
                        <a:pt x="1278" y="1121"/>
                      </a:lnTo>
                      <a:lnTo>
                        <a:pt x="1277" y="1121"/>
                      </a:lnTo>
                      <a:close/>
                      <a:moveTo>
                        <a:pt x="1224" y="994"/>
                      </a:moveTo>
                      <a:lnTo>
                        <a:pt x="1225" y="994"/>
                      </a:lnTo>
                      <a:lnTo>
                        <a:pt x="1225" y="995"/>
                      </a:lnTo>
                      <a:lnTo>
                        <a:pt x="1224" y="995"/>
                      </a:lnTo>
                      <a:lnTo>
                        <a:pt x="1224" y="994"/>
                      </a:lnTo>
                      <a:close/>
                      <a:moveTo>
                        <a:pt x="1303" y="1111"/>
                      </a:moveTo>
                      <a:lnTo>
                        <a:pt x="1303" y="1112"/>
                      </a:lnTo>
                      <a:lnTo>
                        <a:pt x="1303" y="1111"/>
                      </a:lnTo>
                      <a:close/>
                      <a:moveTo>
                        <a:pt x="1164" y="969"/>
                      </a:moveTo>
                      <a:lnTo>
                        <a:pt x="1166" y="969"/>
                      </a:lnTo>
                      <a:lnTo>
                        <a:pt x="1166" y="970"/>
                      </a:lnTo>
                      <a:lnTo>
                        <a:pt x="1164" y="970"/>
                      </a:lnTo>
                      <a:lnTo>
                        <a:pt x="1164" y="969"/>
                      </a:lnTo>
                      <a:close/>
                      <a:moveTo>
                        <a:pt x="1181" y="1029"/>
                      </a:moveTo>
                      <a:lnTo>
                        <a:pt x="1182" y="1029"/>
                      </a:lnTo>
                      <a:lnTo>
                        <a:pt x="1182" y="1030"/>
                      </a:lnTo>
                      <a:lnTo>
                        <a:pt x="1181" y="1030"/>
                      </a:lnTo>
                      <a:lnTo>
                        <a:pt x="1181" y="1029"/>
                      </a:lnTo>
                      <a:close/>
                      <a:moveTo>
                        <a:pt x="1321" y="1046"/>
                      </a:moveTo>
                      <a:lnTo>
                        <a:pt x="1322" y="1046"/>
                      </a:lnTo>
                      <a:lnTo>
                        <a:pt x="1322" y="1047"/>
                      </a:lnTo>
                      <a:lnTo>
                        <a:pt x="1321" y="1047"/>
                      </a:lnTo>
                      <a:lnTo>
                        <a:pt x="1321" y="1046"/>
                      </a:lnTo>
                      <a:close/>
                      <a:moveTo>
                        <a:pt x="1367" y="1021"/>
                      </a:moveTo>
                      <a:lnTo>
                        <a:pt x="1368" y="1021"/>
                      </a:lnTo>
                      <a:lnTo>
                        <a:pt x="1367" y="1021"/>
                      </a:lnTo>
                      <a:close/>
                      <a:moveTo>
                        <a:pt x="1163" y="966"/>
                      </a:moveTo>
                      <a:lnTo>
                        <a:pt x="1164" y="966"/>
                      </a:lnTo>
                      <a:lnTo>
                        <a:pt x="1163" y="966"/>
                      </a:lnTo>
                      <a:close/>
                      <a:moveTo>
                        <a:pt x="1041" y="923"/>
                      </a:moveTo>
                      <a:lnTo>
                        <a:pt x="1041" y="924"/>
                      </a:lnTo>
                      <a:lnTo>
                        <a:pt x="1041" y="923"/>
                      </a:lnTo>
                      <a:close/>
                      <a:moveTo>
                        <a:pt x="1306" y="950"/>
                      </a:moveTo>
                      <a:lnTo>
                        <a:pt x="1306" y="951"/>
                      </a:lnTo>
                      <a:lnTo>
                        <a:pt x="1306" y="950"/>
                      </a:lnTo>
                      <a:close/>
                      <a:moveTo>
                        <a:pt x="1312" y="1107"/>
                      </a:moveTo>
                      <a:lnTo>
                        <a:pt x="1313" y="1107"/>
                      </a:lnTo>
                      <a:lnTo>
                        <a:pt x="1312" y="1107"/>
                      </a:lnTo>
                      <a:close/>
                      <a:moveTo>
                        <a:pt x="1432" y="1131"/>
                      </a:moveTo>
                      <a:lnTo>
                        <a:pt x="1433" y="1131"/>
                      </a:lnTo>
                      <a:lnTo>
                        <a:pt x="1432" y="1131"/>
                      </a:lnTo>
                      <a:close/>
                      <a:moveTo>
                        <a:pt x="1042" y="942"/>
                      </a:moveTo>
                      <a:lnTo>
                        <a:pt x="1044" y="942"/>
                      </a:lnTo>
                      <a:lnTo>
                        <a:pt x="1042" y="942"/>
                      </a:lnTo>
                      <a:close/>
                      <a:moveTo>
                        <a:pt x="1435" y="1134"/>
                      </a:moveTo>
                      <a:lnTo>
                        <a:pt x="1435" y="1135"/>
                      </a:lnTo>
                      <a:lnTo>
                        <a:pt x="1435" y="1134"/>
                      </a:lnTo>
                      <a:close/>
                      <a:moveTo>
                        <a:pt x="1428" y="1130"/>
                      </a:moveTo>
                      <a:lnTo>
                        <a:pt x="1429" y="1130"/>
                      </a:lnTo>
                      <a:lnTo>
                        <a:pt x="1429" y="1131"/>
                      </a:lnTo>
                      <a:lnTo>
                        <a:pt x="1428" y="1131"/>
                      </a:lnTo>
                      <a:lnTo>
                        <a:pt x="1428" y="1130"/>
                      </a:lnTo>
                      <a:close/>
                      <a:moveTo>
                        <a:pt x="1417" y="1019"/>
                      </a:moveTo>
                      <a:lnTo>
                        <a:pt x="1417" y="1020"/>
                      </a:lnTo>
                      <a:lnTo>
                        <a:pt x="1417" y="1019"/>
                      </a:lnTo>
                      <a:close/>
                      <a:moveTo>
                        <a:pt x="1362" y="1150"/>
                      </a:moveTo>
                      <a:lnTo>
                        <a:pt x="1363" y="1150"/>
                      </a:lnTo>
                      <a:lnTo>
                        <a:pt x="1362" y="1150"/>
                      </a:lnTo>
                      <a:close/>
                      <a:moveTo>
                        <a:pt x="1366" y="1011"/>
                      </a:moveTo>
                      <a:lnTo>
                        <a:pt x="1366" y="1012"/>
                      </a:lnTo>
                      <a:lnTo>
                        <a:pt x="1366" y="1011"/>
                      </a:lnTo>
                      <a:close/>
                      <a:moveTo>
                        <a:pt x="1435" y="1220"/>
                      </a:moveTo>
                      <a:lnTo>
                        <a:pt x="1435" y="1221"/>
                      </a:lnTo>
                      <a:lnTo>
                        <a:pt x="1435" y="1220"/>
                      </a:lnTo>
                      <a:close/>
                      <a:moveTo>
                        <a:pt x="1414" y="1114"/>
                      </a:moveTo>
                      <a:lnTo>
                        <a:pt x="1414" y="1115"/>
                      </a:lnTo>
                      <a:lnTo>
                        <a:pt x="1414" y="1114"/>
                      </a:lnTo>
                      <a:close/>
                      <a:moveTo>
                        <a:pt x="1082" y="983"/>
                      </a:moveTo>
                      <a:lnTo>
                        <a:pt x="1083" y="983"/>
                      </a:lnTo>
                      <a:lnTo>
                        <a:pt x="1083" y="984"/>
                      </a:lnTo>
                      <a:lnTo>
                        <a:pt x="1082" y="984"/>
                      </a:lnTo>
                      <a:lnTo>
                        <a:pt x="1082" y="983"/>
                      </a:lnTo>
                      <a:close/>
                      <a:moveTo>
                        <a:pt x="1366" y="1042"/>
                      </a:moveTo>
                      <a:lnTo>
                        <a:pt x="1367" y="1042"/>
                      </a:lnTo>
                      <a:lnTo>
                        <a:pt x="1367" y="1043"/>
                      </a:lnTo>
                      <a:lnTo>
                        <a:pt x="1366" y="1043"/>
                      </a:lnTo>
                      <a:lnTo>
                        <a:pt x="1366" y="1042"/>
                      </a:lnTo>
                      <a:close/>
                      <a:moveTo>
                        <a:pt x="1244" y="940"/>
                      </a:moveTo>
                      <a:lnTo>
                        <a:pt x="1245" y="940"/>
                      </a:lnTo>
                      <a:lnTo>
                        <a:pt x="1244" y="940"/>
                      </a:lnTo>
                      <a:close/>
                      <a:moveTo>
                        <a:pt x="1311" y="1114"/>
                      </a:moveTo>
                      <a:lnTo>
                        <a:pt x="1312" y="1114"/>
                      </a:lnTo>
                      <a:lnTo>
                        <a:pt x="1311" y="1114"/>
                      </a:lnTo>
                      <a:close/>
                      <a:moveTo>
                        <a:pt x="1138" y="934"/>
                      </a:moveTo>
                      <a:lnTo>
                        <a:pt x="1138" y="935"/>
                      </a:lnTo>
                      <a:lnTo>
                        <a:pt x="1138" y="934"/>
                      </a:lnTo>
                      <a:close/>
                      <a:moveTo>
                        <a:pt x="1100" y="804"/>
                      </a:moveTo>
                      <a:lnTo>
                        <a:pt x="1102" y="804"/>
                      </a:lnTo>
                      <a:lnTo>
                        <a:pt x="1100" y="804"/>
                      </a:lnTo>
                      <a:close/>
                      <a:moveTo>
                        <a:pt x="1417" y="1016"/>
                      </a:moveTo>
                      <a:lnTo>
                        <a:pt x="1417" y="1017"/>
                      </a:lnTo>
                      <a:lnTo>
                        <a:pt x="1417" y="1016"/>
                      </a:lnTo>
                      <a:close/>
                      <a:moveTo>
                        <a:pt x="1407" y="1115"/>
                      </a:moveTo>
                      <a:lnTo>
                        <a:pt x="1407" y="1116"/>
                      </a:lnTo>
                      <a:lnTo>
                        <a:pt x="1407" y="1115"/>
                      </a:lnTo>
                      <a:close/>
                      <a:moveTo>
                        <a:pt x="1188" y="1044"/>
                      </a:moveTo>
                      <a:lnTo>
                        <a:pt x="1189" y="1044"/>
                      </a:lnTo>
                      <a:lnTo>
                        <a:pt x="1189" y="1045"/>
                      </a:lnTo>
                      <a:lnTo>
                        <a:pt x="1188" y="1045"/>
                      </a:lnTo>
                      <a:lnTo>
                        <a:pt x="1188" y="1044"/>
                      </a:lnTo>
                      <a:close/>
                      <a:moveTo>
                        <a:pt x="1109" y="800"/>
                      </a:moveTo>
                      <a:lnTo>
                        <a:pt x="1109" y="801"/>
                      </a:lnTo>
                      <a:lnTo>
                        <a:pt x="1109" y="800"/>
                      </a:lnTo>
                      <a:close/>
                      <a:moveTo>
                        <a:pt x="1367" y="1040"/>
                      </a:moveTo>
                      <a:lnTo>
                        <a:pt x="1368" y="1040"/>
                      </a:lnTo>
                      <a:lnTo>
                        <a:pt x="1367" y="1040"/>
                      </a:lnTo>
                      <a:close/>
                      <a:moveTo>
                        <a:pt x="1154" y="957"/>
                      </a:moveTo>
                      <a:lnTo>
                        <a:pt x="1155" y="957"/>
                      </a:lnTo>
                      <a:lnTo>
                        <a:pt x="1154" y="957"/>
                      </a:lnTo>
                      <a:close/>
                      <a:moveTo>
                        <a:pt x="1440" y="1079"/>
                      </a:moveTo>
                      <a:lnTo>
                        <a:pt x="1441" y="1079"/>
                      </a:lnTo>
                      <a:lnTo>
                        <a:pt x="1441" y="1080"/>
                      </a:lnTo>
                      <a:lnTo>
                        <a:pt x="1440" y="1080"/>
                      </a:lnTo>
                      <a:lnTo>
                        <a:pt x="1440" y="1079"/>
                      </a:lnTo>
                      <a:close/>
                      <a:moveTo>
                        <a:pt x="1356" y="971"/>
                      </a:moveTo>
                      <a:lnTo>
                        <a:pt x="1357" y="971"/>
                      </a:lnTo>
                      <a:lnTo>
                        <a:pt x="1357" y="973"/>
                      </a:lnTo>
                      <a:lnTo>
                        <a:pt x="1356" y="973"/>
                      </a:lnTo>
                      <a:lnTo>
                        <a:pt x="1356" y="971"/>
                      </a:lnTo>
                      <a:close/>
                      <a:moveTo>
                        <a:pt x="1354" y="1050"/>
                      </a:moveTo>
                      <a:lnTo>
                        <a:pt x="1354" y="1051"/>
                      </a:lnTo>
                      <a:lnTo>
                        <a:pt x="1354" y="1050"/>
                      </a:lnTo>
                      <a:close/>
                      <a:moveTo>
                        <a:pt x="1371" y="1029"/>
                      </a:moveTo>
                      <a:lnTo>
                        <a:pt x="1373" y="1029"/>
                      </a:lnTo>
                      <a:lnTo>
                        <a:pt x="1371" y="1029"/>
                      </a:lnTo>
                      <a:close/>
                      <a:moveTo>
                        <a:pt x="1079" y="998"/>
                      </a:moveTo>
                      <a:lnTo>
                        <a:pt x="1079" y="999"/>
                      </a:lnTo>
                      <a:lnTo>
                        <a:pt x="1079" y="998"/>
                      </a:lnTo>
                      <a:close/>
                      <a:moveTo>
                        <a:pt x="1071" y="980"/>
                      </a:moveTo>
                      <a:lnTo>
                        <a:pt x="1071" y="981"/>
                      </a:lnTo>
                      <a:lnTo>
                        <a:pt x="1071" y="980"/>
                      </a:lnTo>
                      <a:close/>
                      <a:moveTo>
                        <a:pt x="1356" y="1044"/>
                      </a:moveTo>
                      <a:lnTo>
                        <a:pt x="1356" y="1045"/>
                      </a:lnTo>
                      <a:lnTo>
                        <a:pt x="1356" y="1044"/>
                      </a:lnTo>
                      <a:close/>
                      <a:moveTo>
                        <a:pt x="1071" y="968"/>
                      </a:moveTo>
                      <a:lnTo>
                        <a:pt x="1072" y="968"/>
                      </a:lnTo>
                      <a:lnTo>
                        <a:pt x="1071" y="968"/>
                      </a:lnTo>
                      <a:close/>
                      <a:moveTo>
                        <a:pt x="1260" y="942"/>
                      </a:moveTo>
                      <a:lnTo>
                        <a:pt x="1261" y="942"/>
                      </a:lnTo>
                      <a:lnTo>
                        <a:pt x="1261" y="943"/>
                      </a:lnTo>
                      <a:lnTo>
                        <a:pt x="1260" y="943"/>
                      </a:lnTo>
                      <a:lnTo>
                        <a:pt x="1260" y="942"/>
                      </a:lnTo>
                      <a:close/>
                      <a:moveTo>
                        <a:pt x="1348" y="1123"/>
                      </a:moveTo>
                      <a:lnTo>
                        <a:pt x="1348" y="1124"/>
                      </a:lnTo>
                      <a:lnTo>
                        <a:pt x="1348" y="1123"/>
                      </a:lnTo>
                      <a:close/>
                      <a:moveTo>
                        <a:pt x="1070" y="993"/>
                      </a:moveTo>
                      <a:lnTo>
                        <a:pt x="1071" y="993"/>
                      </a:lnTo>
                      <a:lnTo>
                        <a:pt x="1070" y="993"/>
                      </a:lnTo>
                      <a:close/>
                      <a:moveTo>
                        <a:pt x="1369" y="1040"/>
                      </a:moveTo>
                      <a:lnTo>
                        <a:pt x="1369" y="1041"/>
                      </a:lnTo>
                      <a:lnTo>
                        <a:pt x="1369" y="1040"/>
                      </a:lnTo>
                      <a:close/>
                      <a:moveTo>
                        <a:pt x="1369" y="1086"/>
                      </a:moveTo>
                      <a:lnTo>
                        <a:pt x="1369" y="1088"/>
                      </a:lnTo>
                      <a:lnTo>
                        <a:pt x="1369" y="1086"/>
                      </a:lnTo>
                      <a:close/>
                      <a:moveTo>
                        <a:pt x="1339" y="1003"/>
                      </a:moveTo>
                      <a:lnTo>
                        <a:pt x="1340" y="1003"/>
                      </a:lnTo>
                      <a:lnTo>
                        <a:pt x="1339" y="1003"/>
                      </a:lnTo>
                      <a:close/>
                      <a:moveTo>
                        <a:pt x="1338" y="1006"/>
                      </a:moveTo>
                      <a:lnTo>
                        <a:pt x="1339" y="1006"/>
                      </a:lnTo>
                      <a:lnTo>
                        <a:pt x="1339" y="1007"/>
                      </a:lnTo>
                      <a:lnTo>
                        <a:pt x="1338" y="1007"/>
                      </a:lnTo>
                      <a:lnTo>
                        <a:pt x="1338" y="1006"/>
                      </a:lnTo>
                      <a:close/>
                      <a:moveTo>
                        <a:pt x="1154" y="968"/>
                      </a:moveTo>
                      <a:lnTo>
                        <a:pt x="1154" y="969"/>
                      </a:lnTo>
                      <a:lnTo>
                        <a:pt x="1154" y="968"/>
                      </a:lnTo>
                      <a:close/>
                      <a:moveTo>
                        <a:pt x="1077" y="981"/>
                      </a:moveTo>
                      <a:lnTo>
                        <a:pt x="1078" y="981"/>
                      </a:lnTo>
                      <a:lnTo>
                        <a:pt x="1077" y="981"/>
                      </a:lnTo>
                      <a:close/>
                      <a:moveTo>
                        <a:pt x="1094" y="977"/>
                      </a:moveTo>
                      <a:lnTo>
                        <a:pt x="1095" y="977"/>
                      </a:lnTo>
                      <a:lnTo>
                        <a:pt x="1094" y="977"/>
                      </a:lnTo>
                      <a:close/>
                      <a:moveTo>
                        <a:pt x="1418" y="1101"/>
                      </a:moveTo>
                      <a:lnTo>
                        <a:pt x="1418" y="1102"/>
                      </a:lnTo>
                      <a:lnTo>
                        <a:pt x="1418" y="1101"/>
                      </a:lnTo>
                      <a:close/>
                      <a:moveTo>
                        <a:pt x="1105" y="984"/>
                      </a:moveTo>
                      <a:lnTo>
                        <a:pt x="1106" y="984"/>
                      </a:lnTo>
                      <a:lnTo>
                        <a:pt x="1106" y="986"/>
                      </a:lnTo>
                      <a:lnTo>
                        <a:pt x="1105" y="986"/>
                      </a:lnTo>
                      <a:lnTo>
                        <a:pt x="1105" y="984"/>
                      </a:lnTo>
                      <a:close/>
                      <a:moveTo>
                        <a:pt x="1276" y="957"/>
                      </a:moveTo>
                      <a:lnTo>
                        <a:pt x="1277" y="957"/>
                      </a:lnTo>
                      <a:lnTo>
                        <a:pt x="1277" y="958"/>
                      </a:lnTo>
                      <a:lnTo>
                        <a:pt x="1276" y="958"/>
                      </a:lnTo>
                      <a:lnTo>
                        <a:pt x="1276" y="957"/>
                      </a:lnTo>
                      <a:close/>
                      <a:moveTo>
                        <a:pt x="1324" y="1192"/>
                      </a:moveTo>
                      <a:lnTo>
                        <a:pt x="1325" y="1192"/>
                      </a:lnTo>
                      <a:lnTo>
                        <a:pt x="1325" y="1193"/>
                      </a:lnTo>
                      <a:lnTo>
                        <a:pt x="1324" y="1193"/>
                      </a:lnTo>
                      <a:lnTo>
                        <a:pt x="1324" y="1192"/>
                      </a:lnTo>
                      <a:close/>
                      <a:moveTo>
                        <a:pt x="1184" y="1044"/>
                      </a:moveTo>
                      <a:lnTo>
                        <a:pt x="1185" y="1044"/>
                      </a:lnTo>
                      <a:lnTo>
                        <a:pt x="1184" y="1044"/>
                      </a:lnTo>
                      <a:close/>
                      <a:moveTo>
                        <a:pt x="1284" y="953"/>
                      </a:moveTo>
                      <a:lnTo>
                        <a:pt x="1285" y="953"/>
                      </a:lnTo>
                      <a:lnTo>
                        <a:pt x="1284" y="953"/>
                      </a:lnTo>
                      <a:close/>
                      <a:moveTo>
                        <a:pt x="1355" y="1048"/>
                      </a:moveTo>
                      <a:lnTo>
                        <a:pt x="1355" y="1050"/>
                      </a:lnTo>
                      <a:lnTo>
                        <a:pt x="1355" y="1048"/>
                      </a:lnTo>
                      <a:close/>
                      <a:moveTo>
                        <a:pt x="1197" y="1048"/>
                      </a:moveTo>
                      <a:lnTo>
                        <a:pt x="1198" y="1048"/>
                      </a:lnTo>
                      <a:lnTo>
                        <a:pt x="1197" y="1048"/>
                      </a:lnTo>
                      <a:close/>
                      <a:moveTo>
                        <a:pt x="1084" y="979"/>
                      </a:moveTo>
                      <a:lnTo>
                        <a:pt x="1085" y="979"/>
                      </a:lnTo>
                      <a:lnTo>
                        <a:pt x="1085" y="980"/>
                      </a:lnTo>
                      <a:lnTo>
                        <a:pt x="1084" y="980"/>
                      </a:lnTo>
                      <a:lnTo>
                        <a:pt x="1084" y="979"/>
                      </a:lnTo>
                      <a:close/>
                      <a:moveTo>
                        <a:pt x="1288" y="969"/>
                      </a:moveTo>
                      <a:lnTo>
                        <a:pt x="1289" y="969"/>
                      </a:lnTo>
                      <a:lnTo>
                        <a:pt x="1289" y="970"/>
                      </a:lnTo>
                      <a:lnTo>
                        <a:pt x="1288" y="970"/>
                      </a:lnTo>
                      <a:lnTo>
                        <a:pt x="1288" y="969"/>
                      </a:lnTo>
                      <a:close/>
                      <a:moveTo>
                        <a:pt x="1361" y="1168"/>
                      </a:moveTo>
                      <a:lnTo>
                        <a:pt x="1362" y="1168"/>
                      </a:lnTo>
                      <a:lnTo>
                        <a:pt x="1362" y="1169"/>
                      </a:lnTo>
                      <a:lnTo>
                        <a:pt x="1361" y="1169"/>
                      </a:lnTo>
                      <a:lnTo>
                        <a:pt x="1361" y="1168"/>
                      </a:lnTo>
                      <a:close/>
                      <a:moveTo>
                        <a:pt x="1415" y="1128"/>
                      </a:moveTo>
                      <a:lnTo>
                        <a:pt x="1415" y="1129"/>
                      </a:lnTo>
                      <a:lnTo>
                        <a:pt x="1415" y="1128"/>
                      </a:lnTo>
                      <a:close/>
                      <a:moveTo>
                        <a:pt x="1358" y="1050"/>
                      </a:moveTo>
                      <a:lnTo>
                        <a:pt x="1360" y="1050"/>
                      </a:lnTo>
                      <a:lnTo>
                        <a:pt x="1358" y="1050"/>
                      </a:lnTo>
                      <a:close/>
                      <a:moveTo>
                        <a:pt x="1182" y="1041"/>
                      </a:moveTo>
                      <a:lnTo>
                        <a:pt x="1183" y="1041"/>
                      </a:lnTo>
                      <a:lnTo>
                        <a:pt x="1183" y="1042"/>
                      </a:lnTo>
                      <a:lnTo>
                        <a:pt x="1182" y="1042"/>
                      </a:lnTo>
                      <a:lnTo>
                        <a:pt x="1182" y="1041"/>
                      </a:lnTo>
                      <a:close/>
                      <a:moveTo>
                        <a:pt x="1351" y="1003"/>
                      </a:moveTo>
                      <a:lnTo>
                        <a:pt x="1352" y="1003"/>
                      </a:lnTo>
                      <a:lnTo>
                        <a:pt x="1351" y="1003"/>
                      </a:lnTo>
                      <a:close/>
                      <a:moveTo>
                        <a:pt x="1155" y="969"/>
                      </a:moveTo>
                      <a:lnTo>
                        <a:pt x="1156" y="969"/>
                      </a:lnTo>
                      <a:lnTo>
                        <a:pt x="1156" y="970"/>
                      </a:lnTo>
                      <a:lnTo>
                        <a:pt x="1155" y="970"/>
                      </a:lnTo>
                      <a:lnTo>
                        <a:pt x="1155" y="969"/>
                      </a:lnTo>
                      <a:close/>
                      <a:moveTo>
                        <a:pt x="1314" y="1178"/>
                      </a:moveTo>
                      <a:lnTo>
                        <a:pt x="1315" y="1178"/>
                      </a:lnTo>
                      <a:lnTo>
                        <a:pt x="1314" y="1178"/>
                      </a:lnTo>
                      <a:close/>
                      <a:moveTo>
                        <a:pt x="1190" y="965"/>
                      </a:moveTo>
                      <a:lnTo>
                        <a:pt x="1192" y="965"/>
                      </a:lnTo>
                      <a:lnTo>
                        <a:pt x="1192" y="966"/>
                      </a:lnTo>
                      <a:lnTo>
                        <a:pt x="1190" y="966"/>
                      </a:lnTo>
                      <a:lnTo>
                        <a:pt x="1190" y="965"/>
                      </a:lnTo>
                      <a:close/>
                      <a:moveTo>
                        <a:pt x="1057" y="926"/>
                      </a:moveTo>
                      <a:lnTo>
                        <a:pt x="1057" y="927"/>
                      </a:lnTo>
                      <a:lnTo>
                        <a:pt x="1057" y="926"/>
                      </a:lnTo>
                      <a:close/>
                      <a:moveTo>
                        <a:pt x="1347" y="1002"/>
                      </a:moveTo>
                      <a:lnTo>
                        <a:pt x="1348" y="1002"/>
                      </a:lnTo>
                      <a:lnTo>
                        <a:pt x="1347" y="1002"/>
                      </a:lnTo>
                      <a:close/>
                      <a:moveTo>
                        <a:pt x="1079" y="999"/>
                      </a:moveTo>
                      <a:lnTo>
                        <a:pt x="1080" y="999"/>
                      </a:lnTo>
                      <a:lnTo>
                        <a:pt x="1079" y="999"/>
                      </a:lnTo>
                      <a:close/>
                      <a:moveTo>
                        <a:pt x="1367" y="1015"/>
                      </a:moveTo>
                      <a:lnTo>
                        <a:pt x="1368" y="1015"/>
                      </a:lnTo>
                      <a:lnTo>
                        <a:pt x="1367" y="1015"/>
                      </a:lnTo>
                      <a:close/>
                      <a:moveTo>
                        <a:pt x="1021" y="932"/>
                      </a:moveTo>
                      <a:lnTo>
                        <a:pt x="1022" y="932"/>
                      </a:lnTo>
                      <a:lnTo>
                        <a:pt x="1022" y="934"/>
                      </a:lnTo>
                      <a:lnTo>
                        <a:pt x="1021" y="934"/>
                      </a:lnTo>
                      <a:lnTo>
                        <a:pt x="1021" y="932"/>
                      </a:lnTo>
                      <a:close/>
                      <a:moveTo>
                        <a:pt x="1444" y="1146"/>
                      </a:moveTo>
                      <a:lnTo>
                        <a:pt x="1445" y="1146"/>
                      </a:lnTo>
                      <a:lnTo>
                        <a:pt x="1445" y="1147"/>
                      </a:lnTo>
                      <a:lnTo>
                        <a:pt x="1444" y="1147"/>
                      </a:lnTo>
                      <a:lnTo>
                        <a:pt x="1444" y="1146"/>
                      </a:lnTo>
                      <a:close/>
                      <a:moveTo>
                        <a:pt x="1437" y="1145"/>
                      </a:moveTo>
                      <a:lnTo>
                        <a:pt x="1438" y="1145"/>
                      </a:lnTo>
                      <a:lnTo>
                        <a:pt x="1438" y="1146"/>
                      </a:lnTo>
                      <a:lnTo>
                        <a:pt x="1437" y="1146"/>
                      </a:lnTo>
                      <a:lnTo>
                        <a:pt x="1437" y="1145"/>
                      </a:lnTo>
                      <a:close/>
                      <a:moveTo>
                        <a:pt x="1417" y="1001"/>
                      </a:moveTo>
                      <a:lnTo>
                        <a:pt x="1418" y="1001"/>
                      </a:lnTo>
                      <a:lnTo>
                        <a:pt x="1417" y="1001"/>
                      </a:lnTo>
                      <a:close/>
                      <a:moveTo>
                        <a:pt x="1370" y="1040"/>
                      </a:moveTo>
                      <a:lnTo>
                        <a:pt x="1370" y="1041"/>
                      </a:lnTo>
                      <a:lnTo>
                        <a:pt x="1370" y="1040"/>
                      </a:lnTo>
                      <a:close/>
                      <a:moveTo>
                        <a:pt x="1140" y="994"/>
                      </a:moveTo>
                      <a:lnTo>
                        <a:pt x="1141" y="994"/>
                      </a:lnTo>
                      <a:lnTo>
                        <a:pt x="1141" y="995"/>
                      </a:lnTo>
                      <a:lnTo>
                        <a:pt x="1140" y="995"/>
                      </a:lnTo>
                      <a:lnTo>
                        <a:pt x="1140" y="994"/>
                      </a:lnTo>
                      <a:close/>
                      <a:moveTo>
                        <a:pt x="1100" y="806"/>
                      </a:moveTo>
                      <a:lnTo>
                        <a:pt x="1102" y="806"/>
                      </a:lnTo>
                      <a:lnTo>
                        <a:pt x="1102" y="807"/>
                      </a:lnTo>
                      <a:lnTo>
                        <a:pt x="1100" y="807"/>
                      </a:lnTo>
                      <a:lnTo>
                        <a:pt x="1100" y="806"/>
                      </a:lnTo>
                      <a:close/>
                      <a:moveTo>
                        <a:pt x="1428" y="1056"/>
                      </a:moveTo>
                      <a:lnTo>
                        <a:pt x="1429" y="1056"/>
                      </a:lnTo>
                      <a:lnTo>
                        <a:pt x="1428" y="1056"/>
                      </a:lnTo>
                      <a:close/>
                      <a:moveTo>
                        <a:pt x="1322" y="1195"/>
                      </a:moveTo>
                      <a:lnTo>
                        <a:pt x="1322" y="1196"/>
                      </a:lnTo>
                      <a:lnTo>
                        <a:pt x="1322" y="1195"/>
                      </a:lnTo>
                      <a:close/>
                      <a:moveTo>
                        <a:pt x="1059" y="926"/>
                      </a:moveTo>
                      <a:lnTo>
                        <a:pt x="1059" y="927"/>
                      </a:lnTo>
                      <a:lnTo>
                        <a:pt x="1059" y="926"/>
                      </a:lnTo>
                      <a:close/>
                      <a:moveTo>
                        <a:pt x="1438" y="1131"/>
                      </a:moveTo>
                      <a:lnTo>
                        <a:pt x="1439" y="1131"/>
                      </a:lnTo>
                      <a:lnTo>
                        <a:pt x="1439" y="1132"/>
                      </a:lnTo>
                      <a:lnTo>
                        <a:pt x="1438" y="1132"/>
                      </a:lnTo>
                      <a:lnTo>
                        <a:pt x="1438" y="1131"/>
                      </a:lnTo>
                      <a:close/>
                      <a:moveTo>
                        <a:pt x="1154" y="968"/>
                      </a:moveTo>
                      <a:lnTo>
                        <a:pt x="1155" y="968"/>
                      </a:lnTo>
                      <a:lnTo>
                        <a:pt x="1154" y="968"/>
                      </a:lnTo>
                      <a:close/>
                      <a:moveTo>
                        <a:pt x="1373" y="1040"/>
                      </a:moveTo>
                      <a:lnTo>
                        <a:pt x="1374" y="1040"/>
                      </a:lnTo>
                      <a:lnTo>
                        <a:pt x="1373" y="1040"/>
                      </a:lnTo>
                      <a:close/>
                      <a:moveTo>
                        <a:pt x="1364" y="1014"/>
                      </a:moveTo>
                      <a:lnTo>
                        <a:pt x="1365" y="1014"/>
                      </a:lnTo>
                      <a:lnTo>
                        <a:pt x="1364" y="1014"/>
                      </a:lnTo>
                      <a:close/>
                      <a:moveTo>
                        <a:pt x="1132" y="974"/>
                      </a:moveTo>
                      <a:lnTo>
                        <a:pt x="1133" y="974"/>
                      </a:lnTo>
                      <a:lnTo>
                        <a:pt x="1132" y="974"/>
                      </a:lnTo>
                      <a:close/>
                      <a:moveTo>
                        <a:pt x="1136" y="990"/>
                      </a:moveTo>
                      <a:lnTo>
                        <a:pt x="1137" y="990"/>
                      </a:lnTo>
                      <a:lnTo>
                        <a:pt x="1136" y="990"/>
                      </a:lnTo>
                      <a:close/>
                      <a:moveTo>
                        <a:pt x="1181" y="1035"/>
                      </a:moveTo>
                      <a:lnTo>
                        <a:pt x="1182" y="1035"/>
                      </a:lnTo>
                      <a:lnTo>
                        <a:pt x="1181" y="1035"/>
                      </a:lnTo>
                      <a:close/>
                      <a:moveTo>
                        <a:pt x="1361" y="1160"/>
                      </a:moveTo>
                      <a:lnTo>
                        <a:pt x="1361" y="1161"/>
                      </a:lnTo>
                      <a:lnTo>
                        <a:pt x="1361" y="1160"/>
                      </a:lnTo>
                      <a:close/>
                      <a:moveTo>
                        <a:pt x="1351" y="1008"/>
                      </a:moveTo>
                      <a:lnTo>
                        <a:pt x="1351" y="1009"/>
                      </a:lnTo>
                      <a:lnTo>
                        <a:pt x="1351" y="1008"/>
                      </a:lnTo>
                      <a:close/>
                      <a:moveTo>
                        <a:pt x="1344" y="999"/>
                      </a:moveTo>
                      <a:lnTo>
                        <a:pt x="1344" y="1000"/>
                      </a:lnTo>
                      <a:lnTo>
                        <a:pt x="1344" y="999"/>
                      </a:lnTo>
                      <a:close/>
                      <a:moveTo>
                        <a:pt x="1276" y="956"/>
                      </a:moveTo>
                      <a:lnTo>
                        <a:pt x="1277" y="956"/>
                      </a:lnTo>
                      <a:lnTo>
                        <a:pt x="1276" y="956"/>
                      </a:lnTo>
                      <a:close/>
                      <a:moveTo>
                        <a:pt x="1134" y="977"/>
                      </a:moveTo>
                      <a:lnTo>
                        <a:pt x="1135" y="977"/>
                      </a:lnTo>
                      <a:lnTo>
                        <a:pt x="1135" y="978"/>
                      </a:lnTo>
                      <a:lnTo>
                        <a:pt x="1134" y="978"/>
                      </a:lnTo>
                      <a:lnTo>
                        <a:pt x="1134" y="977"/>
                      </a:lnTo>
                      <a:close/>
                      <a:moveTo>
                        <a:pt x="1350" y="1008"/>
                      </a:moveTo>
                      <a:lnTo>
                        <a:pt x="1351" y="1008"/>
                      </a:lnTo>
                      <a:lnTo>
                        <a:pt x="1350" y="1008"/>
                      </a:lnTo>
                      <a:close/>
                      <a:moveTo>
                        <a:pt x="1363" y="1028"/>
                      </a:moveTo>
                      <a:lnTo>
                        <a:pt x="1364" y="1028"/>
                      </a:lnTo>
                      <a:lnTo>
                        <a:pt x="1363" y="1028"/>
                      </a:lnTo>
                      <a:close/>
                      <a:moveTo>
                        <a:pt x="1041" y="989"/>
                      </a:moveTo>
                      <a:lnTo>
                        <a:pt x="1042" y="989"/>
                      </a:lnTo>
                      <a:lnTo>
                        <a:pt x="1042" y="990"/>
                      </a:lnTo>
                      <a:lnTo>
                        <a:pt x="1041" y="990"/>
                      </a:lnTo>
                      <a:lnTo>
                        <a:pt x="1041" y="989"/>
                      </a:lnTo>
                      <a:close/>
                      <a:moveTo>
                        <a:pt x="1311" y="975"/>
                      </a:moveTo>
                      <a:lnTo>
                        <a:pt x="1312" y="975"/>
                      </a:lnTo>
                      <a:lnTo>
                        <a:pt x="1311" y="975"/>
                      </a:lnTo>
                      <a:close/>
                      <a:moveTo>
                        <a:pt x="1108" y="968"/>
                      </a:moveTo>
                      <a:lnTo>
                        <a:pt x="1109" y="968"/>
                      </a:lnTo>
                      <a:lnTo>
                        <a:pt x="1108" y="968"/>
                      </a:lnTo>
                      <a:close/>
                      <a:moveTo>
                        <a:pt x="1312" y="949"/>
                      </a:moveTo>
                      <a:lnTo>
                        <a:pt x="1313" y="949"/>
                      </a:lnTo>
                      <a:lnTo>
                        <a:pt x="1312" y="949"/>
                      </a:lnTo>
                      <a:close/>
                      <a:moveTo>
                        <a:pt x="1063" y="928"/>
                      </a:moveTo>
                      <a:lnTo>
                        <a:pt x="1063" y="929"/>
                      </a:lnTo>
                      <a:lnTo>
                        <a:pt x="1063" y="928"/>
                      </a:lnTo>
                      <a:close/>
                      <a:moveTo>
                        <a:pt x="1083" y="981"/>
                      </a:moveTo>
                      <a:lnTo>
                        <a:pt x="1084" y="981"/>
                      </a:lnTo>
                      <a:lnTo>
                        <a:pt x="1084" y="982"/>
                      </a:lnTo>
                      <a:lnTo>
                        <a:pt x="1083" y="982"/>
                      </a:lnTo>
                      <a:lnTo>
                        <a:pt x="1083" y="981"/>
                      </a:lnTo>
                      <a:close/>
                      <a:moveTo>
                        <a:pt x="1339" y="1005"/>
                      </a:moveTo>
                      <a:lnTo>
                        <a:pt x="1340" y="1005"/>
                      </a:lnTo>
                      <a:lnTo>
                        <a:pt x="1339" y="1005"/>
                      </a:lnTo>
                      <a:close/>
                      <a:moveTo>
                        <a:pt x="1349" y="1002"/>
                      </a:moveTo>
                      <a:lnTo>
                        <a:pt x="1350" y="1002"/>
                      </a:lnTo>
                      <a:lnTo>
                        <a:pt x="1350" y="1003"/>
                      </a:lnTo>
                      <a:lnTo>
                        <a:pt x="1349" y="1003"/>
                      </a:lnTo>
                      <a:lnTo>
                        <a:pt x="1349" y="1002"/>
                      </a:lnTo>
                      <a:close/>
                      <a:moveTo>
                        <a:pt x="1354" y="1051"/>
                      </a:moveTo>
                      <a:lnTo>
                        <a:pt x="1354" y="1052"/>
                      </a:lnTo>
                      <a:lnTo>
                        <a:pt x="1354" y="1051"/>
                      </a:lnTo>
                      <a:close/>
                      <a:moveTo>
                        <a:pt x="1358" y="1147"/>
                      </a:moveTo>
                      <a:lnTo>
                        <a:pt x="1360" y="1147"/>
                      </a:lnTo>
                      <a:lnTo>
                        <a:pt x="1358" y="1147"/>
                      </a:lnTo>
                      <a:close/>
                      <a:moveTo>
                        <a:pt x="1338" y="1007"/>
                      </a:moveTo>
                      <a:lnTo>
                        <a:pt x="1338" y="1008"/>
                      </a:lnTo>
                      <a:lnTo>
                        <a:pt x="1338" y="1007"/>
                      </a:lnTo>
                      <a:close/>
                      <a:moveTo>
                        <a:pt x="1285" y="968"/>
                      </a:moveTo>
                      <a:lnTo>
                        <a:pt x="1286" y="968"/>
                      </a:lnTo>
                      <a:lnTo>
                        <a:pt x="1285" y="968"/>
                      </a:lnTo>
                      <a:close/>
                      <a:moveTo>
                        <a:pt x="1365" y="1159"/>
                      </a:moveTo>
                      <a:lnTo>
                        <a:pt x="1366" y="1159"/>
                      </a:lnTo>
                      <a:lnTo>
                        <a:pt x="1365" y="1159"/>
                      </a:lnTo>
                      <a:close/>
                      <a:moveTo>
                        <a:pt x="1434" y="1134"/>
                      </a:moveTo>
                      <a:lnTo>
                        <a:pt x="1435" y="1134"/>
                      </a:lnTo>
                      <a:lnTo>
                        <a:pt x="1434" y="1134"/>
                      </a:lnTo>
                      <a:close/>
                      <a:moveTo>
                        <a:pt x="1447" y="1031"/>
                      </a:moveTo>
                      <a:lnTo>
                        <a:pt x="1448" y="1031"/>
                      </a:lnTo>
                      <a:lnTo>
                        <a:pt x="1448" y="1032"/>
                      </a:lnTo>
                      <a:lnTo>
                        <a:pt x="1447" y="1032"/>
                      </a:lnTo>
                      <a:lnTo>
                        <a:pt x="1447" y="1031"/>
                      </a:lnTo>
                      <a:close/>
                      <a:moveTo>
                        <a:pt x="1364" y="1052"/>
                      </a:moveTo>
                      <a:lnTo>
                        <a:pt x="1365" y="1052"/>
                      </a:lnTo>
                      <a:lnTo>
                        <a:pt x="1365" y="1053"/>
                      </a:lnTo>
                      <a:lnTo>
                        <a:pt x="1364" y="1053"/>
                      </a:lnTo>
                      <a:lnTo>
                        <a:pt x="1364" y="1052"/>
                      </a:lnTo>
                      <a:close/>
                      <a:moveTo>
                        <a:pt x="1304" y="1103"/>
                      </a:moveTo>
                      <a:lnTo>
                        <a:pt x="1304" y="1104"/>
                      </a:lnTo>
                      <a:lnTo>
                        <a:pt x="1304" y="1103"/>
                      </a:lnTo>
                      <a:close/>
                      <a:moveTo>
                        <a:pt x="1131" y="1003"/>
                      </a:moveTo>
                      <a:lnTo>
                        <a:pt x="1132" y="1003"/>
                      </a:lnTo>
                      <a:lnTo>
                        <a:pt x="1132" y="1004"/>
                      </a:lnTo>
                      <a:lnTo>
                        <a:pt x="1131" y="1004"/>
                      </a:lnTo>
                      <a:lnTo>
                        <a:pt x="1131" y="1003"/>
                      </a:lnTo>
                      <a:close/>
                      <a:moveTo>
                        <a:pt x="1291" y="968"/>
                      </a:moveTo>
                      <a:lnTo>
                        <a:pt x="1291" y="969"/>
                      </a:lnTo>
                      <a:lnTo>
                        <a:pt x="1291" y="968"/>
                      </a:lnTo>
                      <a:close/>
                      <a:moveTo>
                        <a:pt x="1181" y="1043"/>
                      </a:moveTo>
                      <a:lnTo>
                        <a:pt x="1182" y="1043"/>
                      </a:lnTo>
                      <a:lnTo>
                        <a:pt x="1181" y="1043"/>
                      </a:lnTo>
                      <a:close/>
                      <a:moveTo>
                        <a:pt x="1169" y="970"/>
                      </a:moveTo>
                      <a:lnTo>
                        <a:pt x="1169" y="971"/>
                      </a:lnTo>
                      <a:lnTo>
                        <a:pt x="1169" y="970"/>
                      </a:lnTo>
                      <a:close/>
                      <a:moveTo>
                        <a:pt x="1104" y="978"/>
                      </a:moveTo>
                      <a:lnTo>
                        <a:pt x="1105" y="978"/>
                      </a:lnTo>
                      <a:lnTo>
                        <a:pt x="1104" y="978"/>
                      </a:lnTo>
                      <a:close/>
                      <a:moveTo>
                        <a:pt x="1434" y="1132"/>
                      </a:moveTo>
                      <a:lnTo>
                        <a:pt x="1435" y="1132"/>
                      </a:lnTo>
                      <a:lnTo>
                        <a:pt x="1434" y="1132"/>
                      </a:lnTo>
                      <a:close/>
                      <a:moveTo>
                        <a:pt x="1272" y="945"/>
                      </a:moveTo>
                      <a:lnTo>
                        <a:pt x="1273" y="945"/>
                      </a:lnTo>
                      <a:lnTo>
                        <a:pt x="1273" y="947"/>
                      </a:lnTo>
                      <a:lnTo>
                        <a:pt x="1272" y="947"/>
                      </a:lnTo>
                      <a:lnTo>
                        <a:pt x="1272" y="945"/>
                      </a:lnTo>
                      <a:close/>
                      <a:moveTo>
                        <a:pt x="1314" y="1107"/>
                      </a:moveTo>
                      <a:lnTo>
                        <a:pt x="1315" y="1107"/>
                      </a:lnTo>
                      <a:lnTo>
                        <a:pt x="1314" y="1107"/>
                      </a:lnTo>
                      <a:close/>
                      <a:moveTo>
                        <a:pt x="1420" y="1060"/>
                      </a:moveTo>
                      <a:lnTo>
                        <a:pt x="1421" y="1060"/>
                      </a:lnTo>
                      <a:lnTo>
                        <a:pt x="1420" y="1060"/>
                      </a:lnTo>
                      <a:close/>
                      <a:moveTo>
                        <a:pt x="1434" y="1143"/>
                      </a:moveTo>
                      <a:lnTo>
                        <a:pt x="1435" y="1143"/>
                      </a:lnTo>
                      <a:lnTo>
                        <a:pt x="1435" y="1144"/>
                      </a:lnTo>
                      <a:lnTo>
                        <a:pt x="1434" y="1144"/>
                      </a:lnTo>
                      <a:lnTo>
                        <a:pt x="1434" y="1143"/>
                      </a:lnTo>
                      <a:close/>
                      <a:moveTo>
                        <a:pt x="1360" y="1146"/>
                      </a:moveTo>
                      <a:lnTo>
                        <a:pt x="1361" y="1146"/>
                      </a:lnTo>
                      <a:lnTo>
                        <a:pt x="1361" y="1147"/>
                      </a:lnTo>
                      <a:lnTo>
                        <a:pt x="1360" y="1147"/>
                      </a:lnTo>
                      <a:lnTo>
                        <a:pt x="1360" y="1146"/>
                      </a:lnTo>
                      <a:close/>
                      <a:moveTo>
                        <a:pt x="1058" y="980"/>
                      </a:moveTo>
                      <a:lnTo>
                        <a:pt x="1058" y="981"/>
                      </a:lnTo>
                      <a:lnTo>
                        <a:pt x="1058" y="980"/>
                      </a:lnTo>
                      <a:close/>
                      <a:moveTo>
                        <a:pt x="1270" y="957"/>
                      </a:moveTo>
                      <a:lnTo>
                        <a:pt x="1271" y="957"/>
                      </a:lnTo>
                      <a:lnTo>
                        <a:pt x="1270" y="957"/>
                      </a:lnTo>
                      <a:close/>
                      <a:moveTo>
                        <a:pt x="1072" y="989"/>
                      </a:moveTo>
                      <a:lnTo>
                        <a:pt x="1072" y="990"/>
                      </a:lnTo>
                      <a:lnTo>
                        <a:pt x="1072" y="989"/>
                      </a:lnTo>
                      <a:close/>
                      <a:moveTo>
                        <a:pt x="1366" y="1003"/>
                      </a:moveTo>
                      <a:lnTo>
                        <a:pt x="1367" y="1003"/>
                      </a:lnTo>
                      <a:lnTo>
                        <a:pt x="1367" y="1004"/>
                      </a:lnTo>
                      <a:lnTo>
                        <a:pt x="1366" y="1004"/>
                      </a:lnTo>
                      <a:lnTo>
                        <a:pt x="1366" y="1003"/>
                      </a:lnTo>
                      <a:close/>
                      <a:moveTo>
                        <a:pt x="1464" y="1088"/>
                      </a:moveTo>
                      <a:lnTo>
                        <a:pt x="1465" y="1088"/>
                      </a:lnTo>
                      <a:lnTo>
                        <a:pt x="1464" y="1088"/>
                      </a:lnTo>
                      <a:close/>
                      <a:moveTo>
                        <a:pt x="1415" y="1127"/>
                      </a:moveTo>
                      <a:lnTo>
                        <a:pt x="1415" y="1128"/>
                      </a:lnTo>
                      <a:lnTo>
                        <a:pt x="1415" y="1127"/>
                      </a:lnTo>
                      <a:close/>
                      <a:moveTo>
                        <a:pt x="1133" y="977"/>
                      </a:moveTo>
                      <a:lnTo>
                        <a:pt x="1134" y="977"/>
                      </a:lnTo>
                      <a:lnTo>
                        <a:pt x="1134" y="978"/>
                      </a:lnTo>
                      <a:lnTo>
                        <a:pt x="1133" y="978"/>
                      </a:lnTo>
                      <a:lnTo>
                        <a:pt x="1133" y="977"/>
                      </a:lnTo>
                      <a:close/>
                      <a:moveTo>
                        <a:pt x="1349" y="999"/>
                      </a:moveTo>
                      <a:lnTo>
                        <a:pt x="1350" y="999"/>
                      </a:lnTo>
                      <a:lnTo>
                        <a:pt x="1350" y="1000"/>
                      </a:lnTo>
                      <a:lnTo>
                        <a:pt x="1349" y="1000"/>
                      </a:lnTo>
                      <a:lnTo>
                        <a:pt x="1349" y="999"/>
                      </a:lnTo>
                      <a:close/>
                      <a:moveTo>
                        <a:pt x="1185" y="1044"/>
                      </a:moveTo>
                      <a:lnTo>
                        <a:pt x="1187" y="1044"/>
                      </a:lnTo>
                      <a:lnTo>
                        <a:pt x="1187" y="1045"/>
                      </a:lnTo>
                      <a:lnTo>
                        <a:pt x="1185" y="1045"/>
                      </a:lnTo>
                      <a:lnTo>
                        <a:pt x="1185" y="1044"/>
                      </a:lnTo>
                      <a:close/>
                      <a:moveTo>
                        <a:pt x="1273" y="951"/>
                      </a:moveTo>
                      <a:lnTo>
                        <a:pt x="1274" y="951"/>
                      </a:lnTo>
                      <a:lnTo>
                        <a:pt x="1273" y="951"/>
                      </a:lnTo>
                      <a:close/>
                      <a:moveTo>
                        <a:pt x="1155" y="969"/>
                      </a:moveTo>
                      <a:lnTo>
                        <a:pt x="1156" y="969"/>
                      </a:lnTo>
                      <a:lnTo>
                        <a:pt x="1155" y="969"/>
                      </a:lnTo>
                      <a:close/>
                      <a:moveTo>
                        <a:pt x="1089" y="982"/>
                      </a:moveTo>
                      <a:lnTo>
                        <a:pt x="1090" y="982"/>
                      </a:lnTo>
                      <a:lnTo>
                        <a:pt x="1089" y="982"/>
                      </a:lnTo>
                      <a:close/>
                      <a:moveTo>
                        <a:pt x="1134" y="977"/>
                      </a:moveTo>
                      <a:lnTo>
                        <a:pt x="1135" y="977"/>
                      </a:lnTo>
                      <a:lnTo>
                        <a:pt x="1135" y="978"/>
                      </a:lnTo>
                      <a:lnTo>
                        <a:pt x="1134" y="978"/>
                      </a:lnTo>
                      <a:lnTo>
                        <a:pt x="1134" y="977"/>
                      </a:lnTo>
                      <a:close/>
                      <a:moveTo>
                        <a:pt x="1188" y="1045"/>
                      </a:moveTo>
                      <a:lnTo>
                        <a:pt x="1189" y="1045"/>
                      </a:lnTo>
                      <a:lnTo>
                        <a:pt x="1188" y="1045"/>
                      </a:lnTo>
                      <a:close/>
                      <a:moveTo>
                        <a:pt x="1154" y="969"/>
                      </a:moveTo>
                      <a:lnTo>
                        <a:pt x="1155" y="969"/>
                      </a:lnTo>
                      <a:lnTo>
                        <a:pt x="1154" y="969"/>
                      </a:lnTo>
                      <a:close/>
                      <a:moveTo>
                        <a:pt x="1272" y="945"/>
                      </a:moveTo>
                      <a:lnTo>
                        <a:pt x="1273" y="945"/>
                      </a:lnTo>
                      <a:lnTo>
                        <a:pt x="1272" y="945"/>
                      </a:lnTo>
                      <a:close/>
                      <a:moveTo>
                        <a:pt x="1354" y="1021"/>
                      </a:moveTo>
                      <a:lnTo>
                        <a:pt x="1355" y="1021"/>
                      </a:lnTo>
                      <a:lnTo>
                        <a:pt x="1354" y="1021"/>
                      </a:lnTo>
                      <a:close/>
                      <a:moveTo>
                        <a:pt x="1413" y="1127"/>
                      </a:moveTo>
                      <a:lnTo>
                        <a:pt x="1415" y="1127"/>
                      </a:lnTo>
                      <a:lnTo>
                        <a:pt x="1413" y="1127"/>
                      </a:lnTo>
                      <a:close/>
                      <a:moveTo>
                        <a:pt x="1259" y="942"/>
                      </a:moveTo>
                      <a:lnTo>
                        <a:pt x="1260" y="942"/>
                      </a:lnTo>
                      <a:lnTo>
                        <a:pt x="1259" y="942"/>
                      </a:lnTo>
                      <a:close/>
                      <a:moveTo>
                        <a:pt x="1018" y="968"/>
                      </a:moveTo>
                      <a:lnTo>
                        <a:pt x="1019" y="968"/>
                      </a:lnTo>
                      <a:lnTo>
                        <a:pt x="1018" y="968"/>
                      </a:lnTo>
                      <a:close/>
                      <a:moveTo>
                        <a:pt x="1356" y="1007"/>
                      </a:moveTo>
                      <a:lnTo>
                        <a:pt x="1357" y="1007"/>
                      </a:lnTo>
                      <a:lnTo>
                        <a:pt x="1356" y="1007"/>
                      </a:lnTo>
                      <a:close/>
                      <a:moveTo>
                        <a:pt x="1342" y="999"/>
                      </a:moveTo>
                      <a:lnTo>
                        <a:pt x="1343" y="999"/>
                      </a:lnTo>
                      <a:lnTo>
                        <a:pt x="1342" y="999"/>
                      </a:lnTo>
                      <a:close/>
                      <a:moveTo>
                        <a:pt x="1348" y="996"/>
                      </a:moveTo>
                      <a:lnTo>
                        <a:pt x="1348" y="998"/>
                      </a:lnTo>
                      <a:lnTo>
                        <a:pt x="1348" y="996"/>
                      </a:lnTo>
                      <a:close/>
                      <a:moveTo>
                        <a:pt x="1061" y="982"/>
                      </a:moveTo>
                      <a:lnTo>
                        <a:pt x="1061" y="983"/>
                      </a:lnTo>
                      <a:lnTo>
                        <a:pt x="1061" y="982"/>
                      </a:lnTo>
                      <a:close/>
                      <a:moveTo>
                        <a:pt x="1315" y="1174"/>
                      </a:moveTo>
                      <a:lnTo>
                        <a:pt x="1315" y="1175"/>
                      </a:lnTo>
                      <a:lnTo>
                        <a:pt x="1315" y="1174"/>
                      </a:lnTo>
                      <a:close/>
                      <a:moveTo>
                        <a:pt x="1043" y="929"/>
                      </a:moveTo>
                      <a:lnTo>
                        <a:pt x="1044" y="929"/>
                      </a:lnTo>
                      <a:lnTo>
                        <a:pt x="1043" y="929"/>
                      </a:lnTo>
                      <a:close/>
                      <a:moveTo>
                        <a:pt x="1108" y="968"/>
                      </a:moveTo>
                      <a:lnTo>
                        <a:pt x="1109" y="968"/>
                      </a:lnTo>
                      <a:lnTo>
                        <a:pt x="1109" y="969"/>
                      </a:lnTo>
                      <a:lnTo>
                        <a:pt x="1108" y="969"/>
                      </a:lnTo>
                      <a:lnTo>
                        <a:pt x="1108" y="968"/>
                      </a:lnTo>
                      <a:close/>
                      <a:moveTo>
                        <a:pt x="1271" y="947"/>
                      </a:moveTo>
                      <a:lnTo>
                        <a:pt x="1272" y="947"/>
                      </a:lnTo>
                      <a:lnTo>
                        <a:pt x="1271" y="947"/>
                      </a:lnTo>
                      <a:close/>
                      <a:moveTo>
                        <a:pt x="1363" y="1012"/>
                      </a:moveTo>
                      <a:lnTo>
                        <a:pt x="1364" y="1012"/>
                      </a:lnTo>
                      <a:lnTo>
                        <a:pt x="1364" y="1013"/>
                      </a:lnTo>
                      <a:lnTo>
                        <a:pt x="1363" y="1013"/>
                      </a:lnTo>
                      <a:lnTo>
                        <a:pt x="1363" y="1012"/>
                      </a:lnTo>
                      <a:close/>
                      <a:moveTo>
                        <a:pt x="1428" y="1093"/>
                      </a:moveTo>
                      <a:lnTo>
                        <a:pt x="1428" y="1094"/>
                      </a:lnTo>
                      <a:lnTo>
                        <a:pt x="1428" y="1093"/>
                      </a:lnTo>
                      <a:close/>
                      <a:moveTo>
                        <a:pt x="1349" y="1031"/>
                      </a:moveTo>
                      <a:lnTo>
                        <a:pt x="1350" y="1031"/>
                      </a:lnTo>
                      <a:lnTo>
                        <a:pt x="1350" y="1032"/>
                      </a:lnTo>
                      <a:lnTo>
                        <a:pt x="1349" y="1032"/>
                      </a:lnTo>
                      <a:lnTo>
                        <a:pt x="1349" y="1031"/>
                      </a:lnTo>
                      <a:close/>
                      <a:moveTo>
                        <a:pt x="1363" y="1016"/>
                      </a:moveTo>
                      <a:lnTo>
                        <a:pt x="1364" y="1016"/>
                      </a:lnTo>
                      <a:lnTo>
                        <a:pt x="1364" y="1017"/>
                      </a:lnTo>
                      <a:lnTo>
                        <a:pt x="1363" y="1017"/>
                      </a:lnTo>
                      <a:lnTo>
                        <a:pt x="1363" y="1016"/>
                      </a:lnTo>
                      <a:close/>
                      <a:moveTo>
                        <a:pt x="1183" y="1044"/>
                      </a:moveTo>
                      <a:lnTo>
                        <a:pt x="1184" y="1044"/>
                      </a:lnTo>
                      <a:lnTo>
                        <a:pt x="1183" y="1044"/>
                      </a:lnTo>
                      <a:close/>
                      <a:moveTo>
                        <a:pt x="1108" y="976"/>
                      </a:moveTo>
                      <a:lnTo>
                        <a:pt x="1109" y="976"/>
                      </a:lnTo>
                      <a:lnTo>
                        <a:pt x="1109" y="977"/>
                      </a:lnTo>
                      <a:lnTo>
                        <a:pt x="1108" y="977"/>
                      </a:lnTo>
                      <a:lnTo>
                        <a:pt x="1108" y="976"/>
                      </a:lnTo>
                      <a:close/>
                      <a:moveTo>
                        <a:pt x="1107" y="970"/>
                      </a:moveTo>
                      <a:lnTo>
                        <a:pt x="1107" y="971"/>
                      </a:lnTo>
                      <a:lnTo>
                        <a:pt x="1107" y="970"/>
                      </a:lnTo>
                      <a:close/>
                      <a:moveTo>
                        <a:pt x="1365" y="1020"/>
                      </a:moveTo>
                      <a:lnTo>
                        <a:pt x="1366" y="1020"/>
                      </a:lnTo>
                      <a:lnTo>
                        <a:pt x="1366" y="1021"/>
                      </a:lnTo>
                      <a:lnTo>
                        <a:pt x="1365" y="1021"/>
                      </a:lnTo>
                      <a:lnTo>
                        <a:pt x="1365" y="1020"/>
                      </a:lnTo>
                      <a:close/>
                      <a:moveTo>
                        <a:pt x="1107" y="968"/>
                      </a:moveTo>
                      <a:lnTo>
                        <a:pt x="1108" y="968"/>
                      </a:lnTo>
                      <a:lnTo>
                        <a:pt x="1108" y="969"/>
                      </a:lnTo>
                      <a:lnTo>
                        <a:pt x="1107" y="969"/>
                      </a:lnTo>
                      <a:lnTo>
                        <a:pt x="1107" y="968"/>
                      </a:lnTo>
                      <a:close/>
                      <a:moveTo>
                        <a:pt x="1345" y="996"/>
                      </a:moveTo>
                      <a:lnTo>
                        <a:pt x="1347" y="996"/>
                      </a:lnTo>
                      <a:lnTo>
                        <a:pt x="1347" y="998"/>
                      </a:lnTo>
                      <a:lnTo>
                        <a:pt x="1345" y="998"/>
                      </a:lnTo>
                      <a:lnTo>
                        <a:pt x="1345" y="996"/>
                      </a:lnTo>
                      <a:close/>
                      <a:moveTo>
                        <a:pt x="1119" y="975"/>
                      </a:moveTo>
                      <a:lnTo>
                        <a:pt x="1120" y="975"/>
                      </a:lnTo>
                      <a:lnTo>
                        <a:pt x="1119" y="975"/>
                      </a:lnTo>
                      <a:close/>
                      <a:moveTo>
                        <a:pt x="1052" y="936"/>
                      </a:moveTo>
                      <a:lnTo>
                        <a:pt x="1053" y="936"/>
                      </a:lnTo>
                      <a:lnTo>
                        <a:pt x="1052" y="936"/>
                      </a:lnTo>
                      <a:close/>
                      <a:moveTo>
                        <a:pt x="1018" y="967"/>
                      </a:moveTo>
                      <a:lnTo>
                        <a:pt x="1019" y="967"/>
                      </a:lnTo>
                      <a:lnTo>
                        <a:pt x="1019" y="968"/>
                      </a:lnTo>
                      <a:lnTo>
                        <a:pt x="1018" y="968"/>
                      </a:lnTo>
                      <a:lnTo>
                        <a:pt x="1018" y="967"/>
                      </a:lnTo>
                      <a:close/>
                      <a:moveTo>
                        <a:pt x="1373" y="1031"/>
                      </a:moveTo>
                      <a:lnTo>
                        <a:pt x="1373" y="1032"/>
                      </a:lnTo>
                      <a:lnTo>
                        <a:pt x="1373" y="1031"/>
                      </a:lnTo>
                      <a:close/>
                      <a:moveTo>
                        <a:pt x="1277" y="1127"/>
                      </a:moveTo>
                      <a:lnTo>
                        <a:pt x="1277" y="1128"/>
                      </a:lnTo>
                      <a:lnTo>
                        <a:pt x="1277" y="1127"/>
                      </a:lnTo>
                      <a:close/>
                      <a:moveTo>
                        <a:pt x="1083" y="982"/>
                      </a:moveTo>
                      <a:lnTo>
                        <a:pt x="1083" y="983"/>
                      </a:lnTo>
                      <a:lnTo>
                        <a:pt x="1083" y="982"/>
                      </a:lnTo>
                      <a:close/>
                      <a:moveTo>
                        <a:pt x="1259" y="944"/>
                      </a:moveTo>
                      <a:lnTo>
                        <a:pt x="1259" y="945"/>
                      </a:lnTo>
                      <a:lnTo>
                        <a:pt x="1259" y="944"/>
                      </a:lnTo>
                      <a:close/>
                      <a:moveTo>
                        <a:pt x="1067" y="980"/>
                      </a:moveTo>
                      <a:lnTo>
                        <a:pt x="1068" y="980"/>
                      </a:lnTo>
                      <a:lnTo>
                        <a:pt x="1067" y="980"/>
                      </a:lnTo>
                      <a:close/>
                      <a:moveTo>
                        <a:pt x="1108" y="976"/>
                      </a:moveTo>
                      <a:lnTo>
                        <a:pt x="1108" y="977"/>
                      </a:lnTo>
                      <a:lnTo>
                        <a:pt x="1108" y="976"/>
                      </a:lnTo>
                      <a:close/>
                      <a:moveTo>
                        <a:pt x="1271" y="954"/>
                      </a:moveTo>
                      <a:lnTo>
                        <a:pt x="1272" y="954"/>
                      </a:lnTo>
                      <a:lnTo>
                        <a:pt x="1272" y="955"/>
                      </a:lnTo>
                      <a:lnTo>
                        <a:pt x="1271" y="955"/>
                      </a:lnTo>
                      <a:lnTo>
                        <a:pt x="1271" y="954"/>
                      </a:lnTo>
                      <a:close/>
                      <a:moveTo>
                        <a:pt x="1159" y="967"/>
                      </a:moveTo>
                      <a:lnTo>
                        <a:pt x="1160" y="967"/>
                      </a:lnTo>
                      <a:lnTo>
                        <a:pt x="1159" y="967"/>
                      </a:lnTo>
                      <a:close/>
                      <a:moveTo>
                        <a:pt x="1336" y="1017"/>
                      </a:moveTo>
                      <a:lnTo>
                        <a:pt x="1337" y="1017"/>
                      </a:lnTo>
                      <a:lnTo>
                        <a:pt x="1336" y="1017"/>
                      </a:lnTo>
                      <a:close/>
                      <a:moveTo>
                        <a:pt x="1439" y="1134"/>
                      </a:moveTo>
                      <a:lnTo>
                        <a:pt x="1440" y="1134"/>
                      </a:lnTo>
                      <a:lnTo>
                        <a:pt x="1439" y="1134"/>
                      </a:lnTo>
                      <a:close/>
                      <a:moveTo>
                        <a:pt x="1276" y="943"/>
                      </a:moveTo>
                      <a:lnTo>
                        <a:pt x="1277" y="943"/>
                      </a:lnTo>
                      <a:lnTo>
                        <a:pt x="1277" y="944"/>
                      </a:lnTo>
                      <a:lnTo>
                        <a:pt x="1276" y="944"/>
                      </a:lnTo>
                      <a:lnTo>
                        <a:pt x="1276" y="943"/>
                      </a:lnTo>
                      <a:close/>
                      <a:moveTo>
                        <a:pt x="1419" y="1127"/>
                      </a:moveTo>
                      <a:lnTo>
                        <a:pt x="1420" y="1127"/>
                      </a:lnTo>
                      <a:lnTo>
                        <a:pt x="1419" y="1127"/>
                      </a:lnTo>
                      <a:close/>
                      <a:moveTo>
                        <a:pt x="1097" y="796"/>
                      </a:moveTo>
                      <a:lnTo>
                        <a:pt x="1097" y="797"/>
                      </a:lnTo>
                      <a:lnTo>
                        <a:pt x="1097" y="796"/>
                      </a:lnTo>
                      <a:close/>
                      <a:moveTo>
                        <a:pt x="1201" y="1047"/>
                      </a:moveTo>
                      <a:lnTo>
                        <a:pt x="1202" y="1047"/>
                      </a:lnTo>
                      <a:lnTo>
                        <a:pt x="1201" y="1047"/>
                      </a:lnTo>
                      <a:close/>
                      <a:moveTo>
                        <a:pt x="1299" y="968"/>
                      </a:moveTo>
                      <a:lnTo>
                        <a:pt x="1300" y="968"/>
                      </a:lnTo>
                      <a:lnTo>
                        <a:pt x="1300" y="969"/>
                      </a:lnTo>
                      <a:lnTo>
                        <a:pt x="1299" y="969"/>
                      </a:lnTo>
                      <a:lnTo>
                        <a:pt x="1299" y="968"/>
                      </a:lnTo>
                      <a:close/>
                      <a:moveTo>
                        <a:pt x="1354" y="1050"/>
                      </a:moveTo>
                      <a:lnTo>
                        <a:pt x="1355" y="1050"/>
                      </a:lnTo>
                      <a:lnTo>
                        <a:pt x="1355" y="1051"/>
                      </a:lnTo>
                      <a:lnTo>
                        <a:pt x="1354" y="1051"/>
                      </a:lnTo>
                      <a:lnTo>
                        <a:pt x="1354" y="1050"/>
                      </a:lnTo>
                      <a:close/>
                      <a:moveTo>
                        <a:pt x="1367" y="1033"/>
                      </a:moveTo>
                      <a:lnTo>
                        <a:pt x="1368" y="1033"/>
                      </a:lnTo>
                      <a:lnTo>
                        <a:pt x="1368" y="1034"/>
                      </a:lnTo>
                      <a:lnTo>
                        <a:pt x="1367" y="1034"/>
                      </a:lnTo>
                      <a:lnTo>
                        <a:pt x="1367" y="1033"/>
                      </a:lnTo>
                      <a:close/>
                      <a:moveTo>
                        <a:pt x="1297" y="974"/>
                      </a:moveTo>
                      <a:lnTo>
                        <a:pt x="1297" y="976"/>
                      </a:lnTo>
                      <a:lnTo>
                        <a:pt x="1297" y="974"/>
                      </a:lnTo>
                      <a:close/>
                      <a:moveTo>
                        <a:pt x="1043" y="942"/>
                      </a:moveTo>
                      <a:lnTo>
                        <a:pt x="1044" y="942"/>
                      </a:lnTo>
                      <a:lnTo>
                        <a:pt x="1043" y="942"/>
                      </a:lnTo>
                      <a:close/>
                      <a:moveTo>
                        <a:pt x="1283" y="1125"/>
                      </a:moveTo>
                      <a:lnTo>
                        <a:pt x="1283" y="1127"/>
                      </a:lnTo>
                      <a:lnTo>
                        <a:pt x="1283" y="1125"/>
                      </a:lnTo>
                      <a:close/>
                      <a:moveTo>
                        <a:pt x="1086" y="986"/>
                      </a:moveTo>
                      <a:lnTo>
                        <a:pt x="1087" y="986"/>
                      </a:lnTo>
                      <a:lnTo>
                        <a:pt x="1087" y="987"/>
                      </a:lnTo>
                      <a:lnTo>
                        <a:pt x="1086" y="987"/>
                      </a:lnTo>
                      <a:lnTo>
                        <a:pt x="1086" y="986"/>
                      </a:lnTo>
                      <a:close/>
                      <a:moveTo>
                        <a:pt x="1432" y="1130"/>
                      </a:moveTo>
                      <a:lnTo>
                        <a:pt x="1432" y="1131"/>
                      </a:lnTo>
                      <a:lnTo>
                        <a:pt x="1432" y="1130"/>
                      </a:lnTo>
                      <a:close/>
                      <a:moveTo>
                        <a:pt x="1133" y="977"/>
                      </a:moveTo>
                      <a:lnTo>
                        <a:pt x="1134" y="977"/>
                      </a:lnTo>
                      <a:lnTo>
                        <a:pt x="1133" y="977"/>
                      </a:lnTo>
                      <a:close/>
                      <a:moveTo>
                        <a:pt x="1374" y="1030"/>
                      </a:moveTo>
                      <a:lnTo>
                        <a:pt x="1374" y="1031"/>
                      </a:lnTo>
                      <a:lnTo>
                        <a:pt x="1374" y="1030"/>
                      </a:lnTo>
                      <a:close/>
                      <a:moveTo>
                        <a:pt x="1059" y="983"/>
                      </a:moveTo>
                      <a:lnTo>
                        <a:pt x="1060" y="983"/>
                      </a:lnTo>
                      <a:lnTo>
                        <a:pt x="1060" y="984"/>
                      </a:lnTo>
                      <a:lnTo>
                        <a:pt x="1059" y="984"/>
                      </a:lnTo>
                      <a:lnTo>
                        <a:pt x="1059" y="983"/>
                      </a:lnTo>
                      <a:close/>
                      <a:moveTo>
                        <a:pt x="1364" y="1012"/>
                      </a:moveTo>
                      <a:lnTo>
                        <a:pt x="1364" y="1013"/>
                      </a:lnTo>
                      <a:lnTo>
                        <a:pt x="1364" y="1012"/>
                      </a:lnTo>
                      <a:close/>
                      <a:moveTo>
                        <a:pt x="1135" y="1000"/>
                      </a:moveTo>
                      <a:lnTo>
                        <a:pt x="1135" y="1001"/>
                      </a:lnTo>
                      <a:lnTo>
                        <a:pt x="1135" y="1000"/>
                      </a:lnTo>
                      <a:close/>
                      <a:moveTo>
                        <a:pt x="1438" y="1131"/>
                      </a:moveTo>
                      <a:lnTo>
                        <a:pt x="1439" y="1131"/>
                      </a:lnTo>
                      <a:lnTo>
                        <a:pt x="1439" y="1132"/>
                      </a:lnTo>
                      <a:lnTo>
                        <a:pt x="1438" y="1132"/>
                      </a:lnTo>
                      <a:lnTo>
                        <a:pt x="1438" y="1131"/>
                      </a:lnTo>
                      <a:close/>
                      <a:moveTo>
                        <a:pt x="1348" y="1002"/>
                      </a:moveTo>
                      <a:lnTo>
                        <a:pt x="1348" y="1003"/>
                      </a:lnTo>
                      <a:lnTo>
                        <a:pt x="1348" y="1002"/>
                      </a:lnTo>
                      <a:close/>
                      <a:moveTo>
                        <a:pt x="1276" y="1127"/>
                      </a:moveTo>
                      <a:lnTo>
                        <a:pt x="1277" y="1127"/>
                      </a:lnTo>
                      <a:lnTo>
                        <a:pt x="1276" y="1127"/>
                      </a:lnTo>
                      <a:close/>
                      <a:moveTo>
                        <a:pt x="1133" y="987"/>
                      </a:moveTo>
                      <a:lnTo>
                        <a:pt x="1134" y="987"/>
                      </a:lnTo>
                      <a:lnTo>
                        <a:pt x="1133" y="987"/>
                      </a:lnTo>
                      <a:close/>
                      <a:moveTo>
                        <a:pt x="1106" y="984"/>
                      </a:moveTo>
                      <a:lnTo>
                        <a:pt x="1107" y="984"/>
                      </a:lnTo>
                      <a:lnTo>
                        <a:pt x="1106" y="984"/>
                      </a:lnTo>
                      <a:close/>
                      <a:moveTo>
                        <a:pt x="1432" y="1128"/>
                      </a:moveTo>
                      <a:lnTo>
                        <a:pt x="1432" y="1129"/>
                      </a:lnTo>
                      <a:lnTo>
                        <a:pt x="1432" y="1128"/>
                      </a:lnTo>
                      <a:close/>
                      <a:moveTo>
                        <a:pt x="1032" y="990"/>
                      </a:moveTo>
                      <a:lnTo>
                        <a:pt x="1033" y="990"/>
                      </a:lnTo>
                      <a:lnTo>
                        <a:pt x="1032" y="990"/>
                      </a:lnTo>
                      <a:close/>
                      <a:moveTo>
                        <a:pt x="1339" y="1004"/>
                      </a:moveTo>
                      <a:lnTo>
                        <a:pt x="1339" y="1005"/>
                      </a:lnTo>
                      <a:lnTo>
                        <a:pt x="1339" y="1004"/>
                      </a:lnTo>
                      <a:close/>
                      <a:moveTo>
                        <a:pt x="1339" y="1181"/>
                      </a:moveTo>
                      <a:lnTo>
                        <a:pt x="1340" y="1181"/>
                      </a:lnTo>
                      <a:lnTo>
                        <a:pt x="1339" y="1181"/>
                      </a:lnTo>
                      <a:close/>
                      <a:moveTo>
                        <a:pt x="1270" y="956"/>
                      </a:moveTo>
                      <a:lnTo>
                        <a:pt x="1271" y="956"/>
                      </a:lnTo>
                      <a:lnTo>
                        <a:pt x="1270" y="956"/>
                      </a:lnTo>
                      <a:close/>
                      <a:moveTo>
                        <a:pt x="1348" y="998"/>
                      </a:moveTo>
                      <a:lnTo>
                        <a:pt x="1348" y="999"/>
                      </a:lnTo>
                      <a:lnTo>
                        <a:pt x="1348" y="998"/>
                      </a:lnTo>
                      <a:close/>
                      <a:moveTo>
                        <a:pt x="1184" y="1044"/>
                      </a:moveTo>
                      <a:lnTo>
                        <a:pt x="1185" y="1044"/>
                      </a:lnTo>
                      <a:lnTo>
                        <a:pt x="1184" y="1044"/>
                      </a:lnTo>
                      <a:close/>
                      <a:moveTo>
                        <a:pt x="1105" y="782"/>
                      </a:moveTo>
                      <a:lnTo>
                        <a:pt x="1106" y="782"/>
                      </a:lnTo>
                      <a:lnTo>
                        <a:pt x="1106" y="783"/>
                      </a:lnTo>
                      <a:lnTo>
                        <a:pt x="1105" y="783"/>
                      </a:lnTo>
                      <a:lnTo>
                        <a:pt x="1105" y="782"/>
                      </a:lnTo>
                      <a:close/>
                      <a:moveTo>
                        <a:pt x="1273" y="947"/>
                      </a:moveTo>
                      <a:lnTo>
                        <a:pt x="1274" y="947"/>
                      </a:lnTo>
                      <a:lnTo>
                        <a:pt x="1273" y="947"/>
                      </a:lnTo>
                      <a:close/>
                      <a:moveTo>
                        <a:pt x="1186" y="1044"/>
                      </a:moveTo>
                      <a:lnTo>
                        <a:pt x="1187" y="1044"/>
                      </a:lnTo>
                      <a:lnTo>
                        <a:pt x="1186" y="1044"/>
                      </a:lnTo>
                      <a:close/>
                      <a:moveTo>
                        <a:pt x="991" y="960"/>
                      </a:moveTo>
                      <a:lnTo>
                        <a:pt x="992" y="960"/>
                      </a:lnTo>
                      <a:lnTo>
                        <a:pt x="991" y="960"/>
                      </a:lnTo>
                      <a:close/>
                      <a:moveTo>
                        <a:pt x="1084" y="981"/>
                      </a:moveTo>
                      <a:lnTo>
                        <a:pt x="1085" y="981"/>
                      </a:lnTo>
                      <a:lnTo>
                        <a:pt x="1084" y="981"/>
                      </a:lnTo>
                      <a:close/>
                      <a:moveTo>
                        <a:pt x="1195" y="916"/>
                      </a:moveTo>
                      <a:lnTo>
                        <a:pt x="1195" y="917"/>
                      </a:lnTo>
                      <a:lnTo>
                        <a:pt x="1195" y="916"/>
                      </a:lnTo>
                      <a:close/>
                      <a:moveTo>
                        <a:pt x="1367" y="1135"/>
                      </a:moveTo>
                      <a:lnTo>
                        <a:pt x="1367" y="1136"/>
                      </a:lnTo>
                      <a:lnTo>
                        <a:pt x="1367" y="1135"/>
                      </a:lnTo>
                      <a:close/>
                      <a:moveTo>
                        <a:pt x="1450" y="1084"/>
                      </a:moveTo>
                      <a:lnTo>
                        <a:pt x="1450" y="1085"/>
                      </a:lnTo>
                      <a:lnTo>
                        <a:pt x="1450" y="1084"/>
                      </a:lnTo>
                      <a:close/>
                      <a:moveTo>
                        <a:pt x="1360" y="1144"/>
                      </a:moveTo>
                      <a:lnTo>
                        <a:pt x="1360" y="1145"/>
                      </a:lnTo>
                      <a:lnTo>
                        <a:pt x="1360" y="1144"/>
                      </a:lnTo>
                      <a:close/>
                      <a:moveTo>
                        <a:pt x="1354" y="1003"/>
                      </a:moveTo>
                      <a:lnTo>
                        <a:pt x="1355" y="1003"/>
                      </a:lnTo>
                      <a:lnTo>
                        <a:pt x="1354" y="1003"/>
                      </a:lnTo>
                      <a:close/>
                      <a:moveTo>
                        <a:pt x="1369" y="1031"/>
                      </a:moveTo>
                      <a:lnTo>
                        <a:pt x="1370" y="1031"/>
                      </a:lnTo>
                      <a:lnTo>
                        <a:pt x="1370" y="1032"/>
                      </a:lnTo>
                      <a:lnTo>
                        <a:pt x="1369" y="1032"/>
                      </a:lnTo>
                      <a:lnTo>
                        <a:pt x="1369" y="1031"/>
                      </a:lnTo>
                      <a:close/>
                      <a:moveTo>
                        <a:pt x="1370" y="1137"/>
                      </a:moveTo>
                      <a:lnTo>
                        <a:pt x="1371" y="1137"/>
                      </a:lnTo>
                      <a:lnTo>
                        <a:pt x="1370" y="1137"/>
                      </a:lnTo>
                      <a:close/>
                      <a:moveTo>
                        <a:pt x="1313" y="1176"/>
                      </a:moveTo>
                      <a:lnTo>
                        <a:pt x="1313" y="1178"/>
                      </a:lnTo>
                      <a:lnTo>
                        <a:pt x="1313" y="1176"/>
                      </a:lnTo>
                      <a:close/>
                      <a:moveTo>
                        <a:pt x="1431" y="1038"/>
                      </a:moveTo>
                      <a:lnTo>
                        <a:pt x="1431" y="1039"/>
                      </a:lnTo>
                      <a:lnTo>
                        <a:pt x="1431" y="1038"/>
                      </a:lnTo>
                      <a:close/>
                      <a:moveTo>
                        <a:pt x="1052" y="932"/>
                      </a:moveTo>
                      <a:lnTo>
                        <a:pt x="1053" y="932"/>
                      </a:lnTo>
                      <a:lnTo>
                        <a:pt x="1053" y="934"/>
                      </a:lnTo>
                      <a:lnTo>
                        <a:pt x="1052" y="934"/>
                      </a:lnTo>
                      <a:lnTo>
                        <a:pt x="1052" y="932"/>
                      </a:lnTo>
                      <a:close/>
                      <a:moveTo>
                        <a:pt x="1416" y="1125"/>
                      </a:moveTo>
                      <a:lnTo>
                        <a:pt x="1416" y="1127"/>
                      </a:lnTo>
                      <a:lnTo>
                        <a:pt x="1416" y="1125"/>
                      </a:lnTo>
                      <a:close/>
                      <a:moveTo>
                        <a:pt x="1325" y="1193"/>
                      </a:moveTo>
                      <a:lnTo>
                        <a:pt x="1326" y="1193"/>
                      </a:lnTo>
                      <a:lnTo>
                        <a:pt x="1326" y="1194"/>
                      </a:lnTo>
                      <a:lnTo>
                        <a:pt x="1325" y="1194"/>
                      </a:lnTo>
                      <a:lnTo>
                        <a:pt x="1325" y="1193"/>
                      </a:lnTo>
                      <a:close/>
                      <a:moveTo>
                        <a:pt x="1258" y="944"/>
                      </a:moveTo>
                      <a:lnTo>
                        <a:pt x="1258" y="945"/>
                      </a:lnTo>
                      <a:lnTo>
                        <a:pt x="1258" y="944"/>
                      </a:lnTo>
                      <a:close/>
                      <a:moveTo>
                        <a:pt x="1311" y="948"/>
                      </a:moveTo>
                      <a:lnTo>
                        <a:pt x="1311" y="949"/>
                      </a:lnTo>
                      <a:lnTo>
                        <a:pt x="1311" y="948"/>
                      </a:lnTo>
                      <a:close/>
                      <a:moveTo>
                        <a:pt x="1187" y="1044"/>
                      </a:moveTo>
                      <a:lnTo>
                        <a:pt x="1188" y="1044"/>
                      </a:lnTo>
                      <a:lnTo>
                        <a:pt x="1187" y="1044"/>
                      </a:lnTo>
                      <a:close/>
                      <a:moveTo>
                        <a:pt x="1433" y="1144"/>
                      </a:moveTo>
                      <a:lnTo>
                        <a:pt x="1433" y="1145"/>
                      </a:lnTo>
                      <a:lnTo>
                        <a:pt x="1433" y="1144"/>
                      </a:lnTo>
                      <a:close/>
                      <a:moveTo>
                        <a:pt x="1352" y="1043"/>
                      </a:moveTo>
                      <a:lnTo>
                        <a:pt x="1353" y="1043"/>
                      </a:lnTo>
                      <a:lnTo>
                        <a:pt x="1352" y="1043"/>
                      </a:lnTo>
                      <a:close/>
                      <a:moveTo>
                        <a:pt x="1025" y="968"/>
                      </a:moveTo>
                      <a:lnTo>
                        <a:pt x="1026" y="968"/>
                      </a:lnTo>
                      <a:lnTo>
                        <a:pt x="1026" y="969"/>
                      </a:lnTo>
                      <a:lnTo>
                        <a:pt x="1025" y="969"/>
                      </a:lnTo>
                      <a:lnTo>
                        <a:pt x="1025" y="968"/>
                      </a:lnTo>
                      <a:close/>
                      <a:moveTo>
                        <a:pt x="1118" y="976"/>
                      </a:moveTo>
                      <a:lnTo>
                        <a:pt x="1119" y="976"/>
                      </a:lnTo>
                      <a:lnTo>
                        <a:pt x="1118" y="976"/>
                      </a:lnTo>
                      <a:close/>
                      <a:moveTo>
                        <a:pt x="1096" y="803"/>
                      </a:moveTo>
                      <a:lnTo>
                        <a:pt x="1097" y="803"/>
                      </a:lnTo>
                      <a:lnTo>
                        <a:pt x="1096" y="803"/>
                      </a:lnTo>
                      <a:close/>
                      <a:moveTo>
                        <a:pt x="1280" y="1121"/>
                      </a:moveTo>
                      <a:lnTo>
                        <a:pt x="1282" y="1121"/>
                      </a:lnTo>
                      <a:lnTo>
                        <a:pt x="1282" y="1122"/>
                      </a:lnTo>
                      <a:lnTo>
                        <a:pt x="1280" y="1122"/>
                      </a:lnTo>
                      <a:lnTo>
                        <a:pt x="1280" y="1121"/>
                      </a:lnTo>
                      <a:close/>
                      <a:moveTo>
                        <a:pt x="1271" y="948"/>
                      </a:moveTo>
                      <a:lnTo>
                        <a:pt x="1272" y="948"/>
                      </a:lnTo>
                      <a:lnTo>
                        <a:pt x="1271" y="948"/>
                      </a:lnTo>
                      <a:close/>
                      <a:moveTo>
                        <a:pt x="1358" y="1007"/>
                      </a:moveTo>
                      <a:lnTo>
                        <a:pt x="1360" y="1007"/>
                      </a:lnTo>
                      <a:lnTo>
                        <a:pt x="1358" y="1007"/>
                      </a:lnTo>
                      <a:close/>
                      <a:moveTo>
                        <a:pt x="1438" y="1134"/>
                      </a:moveTo>
                      <a:lnTo>
                        <a:pt x="1439" y="1134"/>
                      </a:lnTo>
                      <a:lnTo>
                        <a:pt x="1439" y="1135"/>
                      </a:lnTo>
                      <a:lnTo>
                        <a:pt x="1438" y="1135"/>
                      </a:lnTo>
                      <a:lnTo>
                        <a:pt x="1438" y="1134"/>
                      </a:lnTo>
                      <a:close/>
                      <a:moveTo>
                        <a:pt x="1418" y="1125"/>
                      </a:moveTo>
                      <a:lnTo>
                        <a:pt x="1419" y="1125"/>
                      </a:lnTo>
                      <a:lnTo>
                        <a:pt x="1418" y="1125"/>
                      </a:lnTo>
                      <a:close/>
                      <a:moveTo>
                        <a:pt x="1413" y="1124"/>
                      </a:moveTo>
                      <a:lnTo>
                        <a:pt x="1414" y="1124"/>
                      </a:lnTo>
                      <a:lnTo>
                        <a:pt x="1413" y="1124"/>
                      </a:lnTo>
                      <a:close/>
                      <a:moveTo>
                        <a:pt x="1420" y="1129"/>
                      </a:moveTo>
                      <a:lnTo>
                        <a:pt x="1420" y="1130"/>
                      </a:lnTo>
                      <a:lnTo>
                        <a:pt x="1420" y="1129"/>
                      </a:lnTo>
                      <a:close/>
                      <a:moveTo>
                        <a:pt x="1046" y="934"/>
                      </a:moveTo>
                      <a:lnTo>
                        <a:pt x="1047" y="934"/>
                      </a:lnTo>
                      <a:lnTo>
                        <a:pt x="1047" y="935"/>
                      </a:lnTo>
                      <a:lnTo>
                        <a:pt x="1046" y="935"/>
                      </a:lnTo>
                      <a:lnTo>
                        <a:pt x="1046" y="934"/>
                      </a:lnTo>
                      <a:close/>
                      <a:moveTo>
                        <a:pt x="1327" y="1021"/>
                      </a:moveTo>
                      <a:lnTo>
                        <a:pt x="1328" y="1021"/>
                      </a:lnTo>
                      <a:lnTo>
                        <a:pt x="1328" y="1022"/>
                      </a:lnTo>
                      <a:lnTo>
                        <a:pt x="1327" y="1022"/>
                      </a:lnTo>
                      <a:lnTo>
                        <a:pt x="1327" y="1021"/>
                      </a:lnTo>
                      <a:close/>
                      <a:moveTo>
                        <a:pt x="1337" y="1130"/>
                      </a:moveTo>
                      <a:lnTo>
                        <a:pt x="1338" y="1130"/>
                      </a:lnTo>
                      <a:lnTo>
                        <a:pt x="1337" y="1130"/>
                      </a:lnTo>
                      <a:close/>
                      <a:moveTo>
                        <a:pt x="1354" y="1040"/>
                      </a:moveTo>
                      <a:lnTo>
                        <a:pt x="1354" y="1041"/>
                      </a:lnTo>
                      <a:lnTo>
                        <a:pt x="1354" y="1040"/>
                      </a:lnTo>
                      <a:close/>
                      <a:moveTo>
                        <a:pt x="1254" y="940"/>
                      </a:moveTo>
                      <a:lnTo>
                        <a:pt x="1255" y="940"/>
                      </a:lnTo>
                      <a:lnTo>
                        <a:pt x="1254" y="940"/>
                      </a:lnTo>
                      <a:close/>
                      <a:moveTo>
                        <a:pt x="1332" y="1174"/>
                      </a:moveTo>
                      <a:lnTo>
                        <a:pt x="1334" y="1174"/>
                      </a:lnTo>
                      <a:lnTo>
                        <a:pt x="1334" y="1175"/>
                      </a:lnTo>
                      <a:lnTo>
                        <a:pt x="1332" y="1175"/>
                      </a:lnTo>
                      <a:lnTo>
                        <a:pt x="1332" y="1174"/>
                      </a:lnTo>
                      <a:close/>
                      <a:moveTo>
                        <a:pt x="1277" y="943"/>
                      </a:moveTo>
                      <a:lnTo>
                        <a:pt x="1277" y="944"/>
                      </a:lnTo>
                      <a:lnTo>
                        <a:pt x="1277" y="943"/>
                      </a:lnTo>
                      <a:close/>
                      <a:moveTo>
                        <a:pt x="1290" y="970"/>
                      </a:moveTo>
                      <a:lnTo>
                        <a:pt x="1290" y="971"/>
                      </a:lnTo>
                      <a:lnTo>
                        <a:pt x="1290" y="970"/>
                      </a:lnTo>
                      <a:close/>
                      <a:moveTo>
                        <a:pt x="1194" y="921"/>
                      </a:moveTo>
                      <a:lnTo>
                        <a:pt x="1195" y="921"/>
                      </a:lnTo>
                      <a:lnTo>
                        <a:pt x="1194" y="921"/>
                      </a:lnTo>
                      <a:close/>
                      <a:moveTo>
                        <a:pt x="1186" y="1045"/>
                      </a:moveTo>
                      <a:lnTo>
                        <a:pt x="1187" y="1045"/>
                      </a:lnTo>
                      <a:lnTo>
                        <a:pt x="1186" y="1045"/>
                      </a:lnTo>
                      <a:close/>
                      <a:moveTo>
                        <a:pt x="1177" y="1034"/>
                      </a:moveTo>
                      <a:lnTo>
                        <a:pt x="1179" y="1034"/>
                      </a:lnTo>
                      <a:lnTo>
                        <a:pt x="1177" y="1034"/>
                      </a:lnTo>
                      <a:close/>
                      <a:moveTo>
                        <a:pt x="1300" y="1104"/>
                      </a:moveTo>
                      <a:lnTo>
                        <a:pt x="1300" y="1105"/>
                      </a:lnTo>
                      <a:lnTo>
                        <a:pt x="1300" y="1104"/>
                      </a:lnTo>
                      <a:close/>
                      <a:moveTo>
                        <a:pt x="1042" y="990"/>
                      </a:moveTo>
                      <a:lnTo>
                        <a:pt x="1043" y="990"/>
                      </a:lnTo>
                      <a:lnTo>
                        <a:pt x="1043" y="991"/>
                      </a:lnTo>
                      <a:lnTo>
                        <a:pt x="1042" y="991"/>
                      </a:lnTo>
                      <a:lnTo>
                        <a:pt x="1042" y="990"/>
                      </a:lnTo>
                      <a:close/>
                      <a:moveTo>
                        <a:pt x="1189" y="1044"/>
                      </a:moveTo>
                      <a:lnTo>
                        <a:pt x="1189" y="1045"/>
                      </a:lnTo>
                      <a:lnTo>
                        <a:pt x="1189" y="1044"/>
                      </a:lnTo>
                      <a:close/>
                      <a:moveTo>
                        <a:pt x="1173" y="1035"/>
                      </a:moveTo>
                      <a:lnTo>
                        <a:pt x="1174" y="1035"/>
                      </a:lnTo>
                      <a:lnTo>
                        <a:pt x="1174" y="1037"/>
                      </a:lnTo>
                      <a:lnTo>
                        <a:pt x="1173" y="1037"/>
                      </a:lnTo>
                      <a:lnTo>
                        <a:pt x="1173" y="1035"/>
                      </a:lnTo>
                      <a:close/>
                      <a:moveTo>
                        <a:pt x="1311" y="1108"/>
                      </a:moveTo>
                      <a:lnTo>
                        <a:pt x="1312" y="1108"/>
                      </a:lnTo>
                      <a:lnTo>
                        <a:pt x="1312" y="1109"/>
                      </a:lnTo>
                      <a:lnTo>
                        <a:pt x="1311" y="1109"/>
                      </a:lnTo>
                      <a:lnTo>
                        <a:pt x="1311" y="1108"/>
                      </a:lnTo>
                      <a:close/>
                      <a:moveTo>
                        <a:pt x="1316" y="1174"/>
                      </a:moveTo>
                      <a:lnTo>
                        <a:pt x="1317" y="1174"/>
                      </a:lnTo>
                      <a:lnTo>
                        <a:pt x="1316" y="1174"/>
                      </a:lnTo>
                      <a:close/>
                      <a:moveTo>
                        <a:pt x="1280" y="966"/>
                      </a:moveTo>
                      <a:lnTo>
                        <a:pt x="1280" y="967"/>
                      </a:lnTo>
                      <a:lnTo>
                        <a:pt x="1280" y="966"/>
                      </a:lnTo>
                      <a:close/>
                      <a:moveTo>
                        <a:pt x="1287" y="956"/>
                      </a:moveTo>
                      <a:lnTo>
                        <a:pt x="1287" y="957"/>
                      </a:lnTo>
                      <a:lnTo>
                        <a:pt x="1287" y="956"/>
                      </a:lnTo>
                      <a:close/>
                      <a:moveTo>
                        <a:pt x="1070" y="993"/>
                      </a:moveTo>
                      <a:lnTo>
                        <a:pt x="1071" y="993"/>
                      </a:lnTo>
                      <a:lnTo>
                        <a:pt x="1070" y="993"/>
                      </a:lnTo>
                      <a:close/>
                      <a:moveTo>
                        <a:pt x="1341" y="1125"/>
                      </a:moveTo>
                      <a:lnTo>
                        <a:pt x="1341" y="1127"/>
                      </a:lnTo>
                      <a:lnTo>
                        <a:pt x="1341" y="1125"/>
                      </a:lnTo>
                      <a:close/>
                      <a:moveTo>
                        <a:pt x="1309" y="1094"/>
                      </a:moveTo>
                      <a:lnTo>
                        <a:pt x="1310" y="1094"/>
                      </a:lnTo>
                      <a:lnTo>
                        <a:pt x="1309" y="1094"/>
                      </a:lnTo>
                      <a:close/>
                      <a:moveTo>
                        <a:pt x="1106" y="977"/>
                      </a:moveTo>
                      <a:lnTo>
                        <a:pt x="1107" y="977"/>
                      </a:lnTo>
                      <a:lnTo>
                        <a:pt x="1106" y="977"/>
                      </a:lnTo>
                      <a:close/>
                      <a:moveTo>
                        <a:pt x="1301" y="1114"/>
                      </a:moveTo>
                      <a:lnTo>
                        <a:pt x="1302" y="1114"/>
                      </a:lnTo>
                      <a:lnTo>
                        <a:pt x="1301" y="1114"/>
                      </a:lnTo>
                      <a:close/>
                      <a:moveTo>
                        <a:pt x="1057" y="929"/>
                      </a:moveTo>
                      <a:lnTo>
                        <a:pt x="1058" y="929"/>
                      </a:lnTo>
                      <a:lnTo>
                        <a:pt x="1057" y="929"/>
                      </a:lnTo>
                      <a:close/>
                      <a:moveTo>
                        <a:pt x="1347" y="1004"/>
                      </a:moveTo>
                      <a:lnTo>
                        <a:pt x="1348" y="1004"/>
                      </a:lnTo>
                      <a:lnTo>
                        <a:pt x="1348" y="1005"/>
                      </a:lnTo>
                      <a:lnTo>
                        <a:pt x="1347" y="1005"/>
                      </a:lnTo>
                      <a:lnTo>
                        <a:pt x="1347" y="1004"/>
                      </a:lnTo>
                      <a:close/>
                      <a:moveTo>
                        <a:pt x="1099" y="969"/>
                      </a:moveTo>
                      <a:lnTo>
                        <a:pt x="1100" y="969"/>
                      </a:lnTo>
                      <a:lnTo>
                        <a:pt x="1099" y="969"/>
                      </a:lnTo>
                      <a:close/>
                      <a:moveTo>
                        <a:pt x="1020" y="968"/>
                      </a:moveTo>
                      <a:lnTo>
                        <a:pt x="1020" y="969"/>
                      </a:lnTo>
                      <a:lnTo>
                        <a:pt x="1020" y="968"/>
                      </a:lnTo>
                      <a:close/>
                      <a:moveTo>
                        <a:pt x="1074" y="996"/>
                      </a:moveTo>
                      <a:lnTo>
                        <a:pt x="1074" y="998"/>
                      </a:lnTo>
                      <a:lnTo>
                        <a:pt x="1074" y="996"/>
                      </a:lnTo>
                      <a:close/>
                      <a:moveTo>
                        <a:pt x="1366" y="1170"/>
                      </a:moveTo>
                      <a:lnTo>
                        <a:pt x="1367" y="1170"/>
                      </a:lnTo>
                      <a:lnTo>
                        <a:pt x="1366" y="1170"/>
                      </a:lnTo>
                      <a:close/>
                      <a:moveTo>
                        <a:pt x="1367" y="1140"/>
                      </a:moveTo>
                      <a:lnTo>
                        <a:pt x="1368" y="1140"/>
                      </a:lnTo>
                      <a:lnTo>
                        <a:pt x="1367" y="1140"/>
                      </a:lnTo>
                      <a:close/>
                      <a:moveTo>
                        <a:pt x="1052" y="930"/>
                      </a:moveTo>
                      <a:lnTo>
                        <a:pt x="1053" y="930"/>
                      </a:lnTo>
                      <a:lnTo>
                        <a:pt x="1052" y="930"/>
                      </a:lnTo>
                      <a:close/>
                      <a:moveTo>
                        <a:pt x="1268" y="953"/>
                      </a:moveTo>
                      <a:lnTo>
                        <a:pt x="1270" y="953"/>
                      </a:lnTo>
                      <a:lnTo>
                        <a:pt x="1270" y="954"/>
                      </a:lnTo>
                      <a:lnTo>
                        <a:pt x="1268" y="954"/>
                      </a:lnTo>
                      <a:lnTo>
                        <a:pt x="1268" y="953"/>
                      </a:lnTo>
                      <a:close/>
                      <a:moveTo>
                        <a:pt x="1362" y="1012"/>
                      </a:moveTo>
                      <a:lnTo>
                        <a:pt x="1362" y="1013"/>
                      </a:lnTo>
                      <a:lnTo>
                        <a:pt x="1362" y="1012"/>
                      </a:lnTo>
                      <a:close/>
                      <a:moveTo>
                        <a:pt x="1306" y="1118"/>
                      </a:moveTo>
                      <a:lnTo>
                        <a:pt x="1306" y="1119"/>
                      </a:lnTo>
                      <a:lnTo>
                        <a:pt x="1306" y="1118"/>
                      </a:lnTo>
                      <a:close/>
                      <a:moveTo>
                        <a:pt x="1100" y="965"/>
                      </a:moveTo>
                      <a:lnTo>
                        <a:pt x="1100" y="966"/>
                      </a:lnTo>
                      <a:lnTo>
                        <a:pt x="1100" y="965"/>
                      </a:lnTo>
                      <a:close/>
                      <a:moveTo>
                        <a:pt x="1259" y="944"/>
                      </a:moveTo>
                      <a:lnTo>
                        <a:pt x="1260" y="944"/>
                      </a:lnTo>
                      <a:lnTo>
                        <a:pt x="1260" y="945"/>
                      </a:lnTo>
                      <a:lnTo>
                        <a:pt x="1259" y="945"/>
                      </a:lnTo>
                      <a:lnTo>
                        <a:pt x="1259" y="944"/>
                      </a:lnTo>
                      <a:close/>
                      <a:moveTo>
                        <a:pt x="1367" y="1129"/>
                      </a:moveTo>
                      <a:lnTo>
                        <a:pt x="1367" y="1130"/>
                      </a:lnTo>
                      <a:lnTo>
                        <a:pt x="1367" y="1129"/>
                      </a:lnTo>
                      <a:close/>
                      <a:moveTo>
                        <a:pt x="1368" y="1013"/>
                      </a:moveTo>
                      <a:lnTo>
                        <a:pt x="1369" y="1013"/>
                      </a:lnTo>
                      <a:lnTo>
                        <a:pt x="1369" y="1014"/>
                      </a:lnTo>
                      <a:lnTo>
                        <a:pt x="1368" y="1014"/>
                      </a:lnTo>
                      <a:lnTo>
                        <a:pt x="1368" y="1013"/>
                      </a:lnTo>
                      <a:close/>
                      <a:moveTo>
                        <a:pt x="1274" y="949"/>
                      </a:moveTo>
                      <a:lnTo>
                        <a:pt x="1275" y="949"/>
                      </a:lnTo>
                      <a:lnTo>
                        <a:pt x="1275" y="950"/>
                      </a:lnTo>
                      <a:lnTo>
                        <a:pt x="1274" y="950"/>
                      </a:lnTo>
                      <a:lnTo>
                        <a:pt x="1274" y="949"/>
                      </a:lnTo>
                      <a:close/>
                      <a:moveTo>
                        <a:pt x="1189" y="1045"/>
                      </a:moveTo>
                      <a:lnTo>
                        <a:pt x="1189" y="1046"/>
                      </a:lnTo>
                      <a:lnTo>
                        <a:pt x="1189" y="1045"/>
                      </a:lnTo>
                      <a:close/>
                      <a:moveTo>
                        <a:pt x="1059" y="983"/>
                      </a:moveTo>
                      <a:lnTo>
                        <a:pt x="1059" y="984"/>
                      </a:lnTo>
                      <a:lnTo>
                        <a:pt x="1059" y="983"/>
                      </a:lnTo>
                      <a:close/>
                      <a:moveTo>
                        <a:pt x="1272" y="956"/>
                      </a:moveTo>
                      <a:lnTo>
                        <a:pt x="1272" y="957"/>
                      </a:lnTo>
                      <a:lnTo>
                        <a:pt x="1272" y="956"/>
                      </a:lnTo>
                      <a:close/>
                      <a:moveTo>
                        <a:pt x="1408" y="1132"/>
                      </a:moveTo>
                      <a:lnTo>
                        <a:pt x="1409" y="1132"/>
                      </a:lnTo>
                      <a:lnTo>
                        <a:pt x="1409" y="1133"/>
                      </a:lnTo>
                      <a:lnTo>
                        <a:pt x="1408" y="1133"/>
                      </a:lnTo>
                      <a:lnTo>
                        <a:pt x="1408" y="1132"/>
                      </a:lnTo>
                      <a:close/>
                      <a:moveTo>
                        <a:pt x="1280" y="1231"/>
                      </a:moveTo>
                      <a:lnTo>
                        <a:pt x="1280" y="1232"/>
                      </a:lnTo>
                      <a:lnTo>
                        <a:pt x="1280" y="1231"/>
                      </a:lnTo>
                      <a:close/>
                      <a:moveTo>
                        <a:pt x="1350" y="1125"/>
                      </a:moveTo>
                      <a:lnTo>
                        <a:pt x="1350" y="1127"/>
                      </a:lnTo>
                      <a:lnTo>
                        <a:pt x="1350" y="1125"/>
                      </a:lnTo>
                      <a:close/>
                      <a:moveTo>
                        <a:pt x="1104" y="977"/>
                      </a:moveTo>
                      <a:lnTo>
                        <a:pt x="1105" y="977"/>
                      </a:lnTo>
                      <a:lnTo>
                        <a:pt x="1104" y="977"/>
                      </a:lnTo>
                      <a:close/>
                      <a:moveTo>
                        <a:pt x="1085" y="980"/>
                      </a:moveTo>
                      <a:lnTo>
                        <a:pt x="1086" y="980"/>
                      </a:lnTo>
                      <a:lnTo>
                        <a:pt x="1086" y="981"/>
                      </a:lnTo>
                      <a:lnTo>
                        <a:pt x="1085" y="981"/>
                      </a:lnTo>
                      <a:lnTo>
                        <a:pt x="1085" y="980"/>
                      </a:lnTo>
                      <a:close/>
                      <a:moveTo>
                        <a:pt x="1354" y="1005"/>
                      </a:moveTo>
                      <a:lnTo>
                        <a:pt x="1354" y="1006"/>
                      </a:lnTo>
                      <a:lnTo>
                        <a:pt x="1354" y="1005"/>
                      </a:lnTo>
                      <a:close/>
                      <a:moveTo>
                        <a:pt x="1298" y="949"/>
                      </a:moveTo>
                      <a:lnTo>
                        <a:pt x="1299" y="949"/>
                      </a:lnTo>
                      <a:lnTo>
                        <a:pt x="1298" y="949"/>
                      </a:lnTo>
                      <a:close/>
                      <a:moveTo>
                        <a:pt x="1084" y="986"/>
                      </a:moveTo>
                      <a:lnTo>
                        <a:pt x="1085" y="986"/>
                      </a:lnTo>
                      <a:lnTo>
                        <a:pt x="1084" y="986"/>
                      </a:lnTo>
                      <a:close/>
                      <a:moveTo>
                        <a:pt x="1083" y="982"/>
                      </a:moveTo>
                      <a:lnTo>
                        <a:pt x="1084" y="982"/>
                      </a:lnTo>
                      <a:lnTo>
                        <a:pt x="1083" y="982"/>
                      </a:lnTo>
                      <a:close/>
                      <a:moveTo>
                        <a:pt x="1116" y="851"/>
                      </a:moveTo>
                      <a:lnTo>
                        <a:pt x="1116" y="852"/>
                      </a:lnTo>
                      <a:lnTo>
                        <a:pt x="1116" y="851"/>
                      </a:lnTo>
                      <a:close/>
                      <a:moveTo>
                        <a:pt x="1188" y="1045"/>
                      </a:moveTo>
                      <a:lnTo>
                        <a:pt x="1189" y="1045"/>
                      </a:lnTo>
                      <a:lnTo>
                        <a:pt x="1188" y="1045"/>
                      </a:lnTo>
                      <a:close/>
                      <a:moveTo>
                        <a:pt x="1432" y="1144"/>
                      </a:moveTo>
                      <a:lnTo>
                        <a:pt x="1433" y="1144"/>
                      </a:lnTo>
                      <a:lnTo>
                        <a:pt x="1432" y="1144"/>
                      </a:lnTo>
                      <a:close/>
                      <a:moveTo>
                        <a:pt x="1303" y="1225"/>
                      </a:moveTo>
                      <a:lnTo>
                        <a:pt x="1303" y="1226"/>
                      </a:lnTo>
                      <a:lnTo>
                        <a:pt x="1303" y="1225"/>
                      </a:lnTo>
                      <a:close/>
                      <a:moveTo>
                        <a:pt x="1370" y="1142"/>
                      </a:moveTo>
                      <a:lnTo>
                        <a:pt x="1371" y="1142"/>
                      </a:lnTo>
                      <a:lnTo>
                        <a:pt x="1370" y="1142"/>
                      </a:lnTo>
                      <a:close/>
                      <a:moveTo>
                        <a:pt x="1271" y="952"/>
                      </a:moveTo>
                      <a:lnTo>
                        <a:pt x="1272" y="952"/>
                      </a:lnTo>
                      <a:lnTo>
                        <a:pt x="1271" y="952"/>
                      </a:lnTo>
                      <a:close/>
                      <a:moveTo>
                        <a:pt x="1365" y="1132"/>
                      </a:moveTo>
                      <a:lnTo>
                        <a:pt x="1365" y="1133"/>
                      </a:lnTo>
                      <a:lnTo>
                        <a:pt x="1365" y="1132"/>
                      </a:lnTo>
                      <a:close/>
                      <a:moveTo>
                        <a:pt x="1277" y="964"/>
                      </a:moveTo>
                      <a:lnTo>
                        <a:pt x="1278" y="964"/>
                      </a:lnTo>
                      <a:lnTo>
                        <a:pt x="1278" y="965"/>
                      </a:lnTo>
                      <a:lnTo>
                        <a:pt x="1277" y="965"/>
                      </a:lnTo>
                      <a:lnTo>
                        <a:pt x="1277" y="964"/>
                      </a:lnTo>
                      <a:close/>
                      <a:moveTo>
                        <a:pt x="1278" y="956"/>
                      </a:moveTo>
                      <a:lnTo>
                        <a:pt x="1279" y="956"/>
                      </a:lnTo>
                      <a:lnTo>
                        <a:pt x="1279" y="957"/>
                      </a:lnTo>
                      <a:lnTo>
                        <a:pt x="1278" y="957"/>
                      </a:lnTo>
                      <a:lnTo>
                        <a:pt x="1278" y="956"/>
                      </a:lnTo>
                      <a:close/>
                      <a:moveTo>
                        <a:pt x="1329" y="1189"/>
                      </a:moveTo>
                      <a:lnTo>
                        <a:pt x="1330" y="1189"/>
                      </a:lnTo>
                      <a:lnTo>
                        <a:pt x="1329" y="1189"/>
                      </a:lnTo>
                      <a:close/>
                      <a:moveTo>
                        <a:pt x="1369" y="1142"/>
                      </a:moveTo>
                      <a:lnTo>
                        <a:pt x="1370" y="1142"/>
                      </a:lnTo>
                      <a:lnTo>
                        <a:pt x="1370" y="1143"/>
                      </a:lnTo>
                      <a:lnTo>
                        <a:pt x="1369" y="1143"/>
                      </a:lnTo>
                      <a:lnTo>
                        <a:pt x="1369" y="1142"/>
                      </a:lnTo>
                      <a:close/>
                      <a:moveTo>
                        <a:pt x="1061" y="953"/>
                      </a:moveTo>
                      <a:lnTo>
                        <a:pt x="1063" y="953"/>
                      </a:lnTo>
                      <a:lnTo>
                        <a:pt x="1061" y="953"/>
                      </a:lnTo>
                      <a:close/>
                      <a:moveTo>
                        <a:pt x="1061" y="983"/>
                      </a:moveTo>
                      <a:lnTo>
                        <a:pt x="1063" y="983"/>
                      </a:lnTo>
                      <a:lnTo>
                        <a:pt x="1061" y="983"/>
                      </a:lnTo>
                      <a:close/>
                      <a:moveTo>
                        <a:pt x="1071" y="971"/>
                      </a:moveTo>
                      <a:lnTo>
                        <a:pt x="1071" y="973"/>
                      </a:lnTo>
                      <a:lnTo>
                        <a:pt x="1071" y="971"/>
                      </a:lnTo>
                      <a:close/>
                      <a:moveTo>
                        <a:pt x="1145" y="987"/>
                      </a:moveTo>
                      <a:lnTo>
                        <a:pt x="1145" y="988"/>
                      </a:lnTo>
                      <a:lnTo>
                        <a:pt x="1145" y="987"/>
                      </a:lnTo>
                      <a:close/>
                      <a:moveTo>
                        <a:pt x="1358" y="1144"/>
                      </a:moveTo>
                      <a:lnTo>
                        <a:pt x="1358" y="1145"/>
                      </a:lnTo>
                      <a:lnTo>
                        <a:pt x="1358" y="1144"/>
                      </a:lnTo>
                      <a:close/>
                      <a:moveTo>
                        <a:pt x="1421" y="1128"/>
                      </a:moveTo>
                      <a:lnTo>
                        <a:pt x="1421" y="1129"/>
                      </a:lnTo>
                      <a:lnTo>
                        <a:pt x="1421" y="1128"/>
                      </a:lnTo>
                      <a:close/>
                      <a:moveTo>
                        <a:pt x="1273" y="945"/>
                      </a:moveTo>
                      <a:lnTo>
                        <a:pt x="1274" y="945"/>
                      </a:lnTo>
                      <a:lnTo>
                        <a:pt x="1273" y="945"/>
                      </a:lnTo>
                      <a:close/>
                      <a:moveTo>
                        <a:pt x="1407" y="1135"/>
                      </a:moveTo>
                      <a:lnTo>
                        <a:pt x="1408" y="1135"/>
                      </a:lnTo>
                      <a:lnTo>
                        <a:pt x="1407" y="1135"/>
                      </a:lnTo>
                      <a:close/>
                      <a:moveTo>
                        <a:pt x="1091" y="983"/>
                      </a:moveTo>
                      <a:lnTo>
                        <a:pt x="1091" y="984"/>
                      </a:lnTo>
                      <a:lnTo>
                        <a:pt x="1091" y="983"/>
                      </a:lnTo>
                      <a:close/>
                      <a:moveTo>
                        <a:pt x="1313" y="1106"/>
                      </a:moveTo>
                      <a:lnTo>
                        <a:pt x="1314" y="1106"/>
                      </a:lnTo>
                      <a:lnTo>
                        <a:pt x="1313" y="1106"/>
                      </a:lnTo>
                      <a:close/>
                      <a:moveTo>
                        <a:pt x="1069" y="991"/>
                      </a:moveTo>
                      <a:lnTo>
                        <a:pt x="1070" y="991"/>
                      </a:lnTo>
                      <a:lnTo>
                        <a:pt x="1069" y="991"/>
                      </a:lnTo>
                      <a:close/>
                      <a:moveTo>
                        <a:pt x="1356" y="1147"/>
                      </a:moveTo>
                      <a:lnTo>
                        <a:pt x="1357" y="1147"/>
                      </a:lnTo>
                      <a:lnTo>
                        <a:pt x="1356" y="1147"/>
                      </a:lnTo>
                      <a:close/>
                      <a:moveTo>
                        <a:pt x="1417" y="1000"/>
                      </a:moveTo>
                      <a:lnTo>
                        <a:pt x="1418" y="1000"/>
                      </a:lnTo>
                      <a:lnTo>
                        <a:pt x="1417" y="1000"/>
                      </a:lnTo>
                      <a:close/>
                      <a:moveTo>
                        <a:pt x="1407" y="1115"/>
                      </a:moveTo>
                      <a:lnTo>
                        <a:pt x="1408" y="1115"/>
                      </a:lnTo>
                      <a:lnTo>
                        <a:pt x="1408" y="1116"/>
                      </a:lnTo>
                      <a:lnTo>
                        <a:pt x="1407" y="1116"/>
                      </a:lnTo>
                      <a:lnTo>
                        <a:pt x="1407" y="1115"/>
                      </a:lnTo>
                      <a:close/>
                      <a:moveTo>
                        <a:pt x="1174" y="1037"/>
                      </a:moveTo>
                      <a:lnTo>
                        <a:pt x="1175" y="1037"/>
                      </a:lnTo>
                      <a:lnTo>
                        <a:pt x="1174" y="1037"/>
                      </a:lnTo>
                      <a:close/>
                      <a:moveTo>
                        <a:pt x="1298" y="949"/>
                      </a:moveTo>
                      <a:lnTo>
                        <a:pt x="1299" y="949"/>
                      </a:lnTo>
                      <a:lnTo>
                        <a:pt x="1298" y="949"/>
                      </a:lnTo>
                      <a:close/>
                      <a:moveTo>
                        <a:pt x="1303" y="1225"/>
                      </a:moveTo>
                      <a:lnTo>
                        <a:pt x="1304" y="1225"/>
                      </a:lnTo>
                      <a:lnTo>
                        <a:pt x="1303" y="1225"/>
                      </a:lnTo>
                      <a:close/>
                      <a:moveTo>
                        <a:pt x="1303" y="1225"/>
                      </a:moveTo>
                      <a:lnTo>
                        <a:pt x="1304" y="1225"/>
                      </a:lnTo>
                      <a:lnTo>
                        <a:pt x="1303" y="1225"/>
                      </a:lnTo>
                      <a:close/>
                      <a:moveTo>
                        <a:pt x="1280" y="966"/>
                      </a:moveTo>
                      <a:lnTo>
                        <a:pt x="1282" y="966"/>
                      </a:lnTo>
                      <a:lnTo>
                        <a:pt x="1282" y="967"/>
                      </a:lnTo>
                      <a:lnTo>
                        <a:pt x="1280" y="967"/>
                      </a:lnTo>
                      <a:lnTo>
                        <a:pt x="1280" y="966"/>
                      </a:lnTo>
                      <a:close/>
                      <a:moveTo>
                        <a:pt x="1105" y="977"/>
                      </a:moveTo>
                      <a:lnTo>
                        <a:pt x="1105" y="978"/>
                      </a:lnTo>
                      <a:lnTo>
                        <a:pt x="1105" y="977"/>
                      </a:lnTo>
                      <a:close/>
                      <a:moveTo>
                        <a:pt x="1433" y="1129"/>
                      </a:moveTo>
                      <a:lnTo>
                        <a:pt x="1434" y="1129"/>
                      </a:lnTo>
                      <a:lnTo>
                        <a:pt x="1434" y="1130"/>
                      </a:lnTo>
                      <a:lnTo>
                        <a:pt x="1433" y="1130"/>
                      </a:lnTo>
                      <a:lnTo>
                        <a:pt x="1433" y="1129"/>
                      </a:lnTo>
                      <a:close/>
                      <a:moveTo>
                        <a:pt x="1276" y="1127"/>
                      </a:moveTo>
                      <a:lnTo>
                        <a:pt x="1276" y="1128"/>
                      </a:lnTo>
                      <a:lnTo>
                        <a:pt x="1276" y="1127"/>
                      </a:lnTo>
                      <a:close/>
                      <a:moveTo>
                        <a:pt x="1187" y="1045"/>
                      </a:moveTo>
                      <a:lnTo>
                        <a:pt x="1188" y="1045"/>
                      </a:lnTo>
                      <a:lnTo>
                        <a:pt x="1187" y="1045"/>
                      </a:lnTo>
                      <a:close/>
                      <a:moveTo>
                        <a:pt x="1312" y="1109"/>
                      </a:moveTo>
                      <a:lnTo>
                        <a:pt x="1313" y="1109"/>
                      </a:lnTo>
                      <a:lnTo>
                        <a:pt x="1312" y="1109"/>
                      </a:lnTo>
                      <a:close/>
                      <a:moveTo>
                        <a:pt x="1319" y="1105"/>
                      </a:moveTo>
                      <a:lnTo>
                        <a:pt x="1319" y="1106"/>
                      </a:lnTo>
                      <a:lnTo>
                        <a:pt x="1319" y="1105"/>
                      </a:lnTo>
                      <a:close/>
                      <a:moveTo>
                        <a:pt x="1018" y="964"/>
                      </a:moveTo>
                      <a:lnTo>
                        <a:pt x="1019" y="964"/>
                      </a:lnTo>
                      <a:lnTo>
                        <a:pt x="1018" y="964"/>
                      </a:lnTo>
                      <a:close/>
                      <a:moveTo>
                        <a:pt x="1280" y="963"/>
                      </a:moveTo>
                      <a:lnTo>
                        <a:pt x="1282" y="963"/>
                      </a:lnTo>
                      <a:lnTo>
                        <a:pt x="1280" y="963"/>
                      </a:lnTo>
                      <a:close/>
                      <a:moveTo>
                        <a:pt x="1315" y="1175"/>
                      </a:moveTo>
                      <a:lnTo>
                        <a:pt x="1315" y="1176"/>
                      </a:lnTo>
                      <a:lnTo>
                        <a:pt x="1315" y="1175"/>
                      </a:lnTo>
                      <a:close/>
                      <a:moveTo>
                        <a:pt x="1058" y="928"/>
                      </a:moveTo>
                      <a:lnTo>
                        <a:pt x="1058" y="929"/>
                      </a:lnTo>
                      <a:lnTo>
                        <a:pt x="1058" y="928"/>
                      </a:lnTo>
                      <a:close/>
                      <a:moveTo>
                        <a:pt x="1409" y="1181"/>
                      </a:moveTo>
                      <a:lnTo>
                        <a:pt x="1409" y="1182"/>
                      </a:lnTo>
                      <a:lnTo>
                        <a:pt x="1409" y="1181"/>
                      </a:lnTo>
                      <a:close/>
                      <a:moveTo>
                        <a:pt x="1312" y="1111"/>
                      </a:moveTo>
                      <a:lnTo>
                        <a:pt x="1312" y="1112"/>
                      </a:lnTo>
                      <a:lnTo>
                        <a:pt x="1312" y="1111"/>
                      </a:lnTo>
                      <a:close/>
                      <a:moveTo>
                        <a:pt x="1311" y="1116"/>
                      </a:moveTo>
                      <a:lnTo>
                        <a:pt x="1312" y="1116"/>
                      </a:lnTo>
                      <a:lnTo>
                        <a:pt x="1311" y="1116"/>
                      </a:lnTo>
                      <a:close/>
                      <a:moveTo>
                        <a:pt x="1258" y="943"/>
                      </a:moveTo>
                      <a:lnTo>
                        <a:pt x="1258" y="944"/>
                      </a:lnTo>
                      <a:lnTo>
                        <a:pt x="1258" y="943"/>
                      </a:lnTo>
                      <a:close/>
                      <a:moveTo>
                        <a:pt x="1316" y="1103"/>
                      </a:moveTo>
                      <a:lnTo>
                        <a:pt x="1317" y="1103"/>
                      </a:lnTo>
                      <a:lnTo>
                        <a:pt x="1316" y="1103"/>
                      </a:lnTo>
                      <a:close/>
                      <a:moveTo>
                        <a:pt x="1260" y="944"/>
                      </a:moveTo>
                      <a:lnTo>
                        <a:pt x="1260" y="945"/>
                      </a:lnTo>
                      <a:lnTo>
                        <a:pt x="1260" y="944"/>
                      </a:lnTo>
                      <a:close/>
                      <a:moveTo>
                        <a:pt x="1063" y="983"/>
                      </a:moveTo>
                      <a:lnTo>
                        <a:pt x="1063" y="984"/>
                      </a:lnTo>
                      <a:lnTo>
                        <a:pt x="1063" y="983"/>
                      </a:lnTo>
                      <a:close/>
                      <a:moveTo>
                        <a:pt x="1090" y="983"/>
                      </a:moveTo>
                      <a:lnTo>
                        <a:pt x="1091" y="983"/>
                      </a:lnTo>
                      <a:lnTo>
                        <a:pt x="1091" y="984"/>
                      </a:lnTo>
                      <a:lnTo>
                        <a:pt x="1090" y="984"/>
                      </a:lnTo>
                      <a:lnTo>
                        <a:pt x="1090" y="983"/>
                      </a:lnTo>
                      <a:close/>
                      <a:moveTo>
                        <a:pt x="1350" y="1088"/>
                      </a:moveTo>
                      <a:lnTo>
                        <a:pt x="1350" y="1089"/>
                      </a:lnTo>
                      <a:lnTo>
                        <a:pt x="1350" y="1088"/>
                      </a:lnTo>
                      <a:close/>
                      <a:moveTo>
                        <a:pt x="1046" y="982"/>
                      </a:moveTo>
                      <a:lnTo>
                        <a:pt x="1046" y="983"/>
                      </a:lnTo>
                      <a:lnTo>
                        <a:pt x="1046" y="982"/>
                      </a:lnTo>
                      <a:close/>
                      <a:moveTo>
                        <a:pt x="1304" y="1129"/>
                      </a:moveTo>
                      <a:lnTo>
                        <a:pt x="1305" y="1129"/>
                      </a:lnTo>
                      <a:lnTo>
                        <a:pt x="1304" y="1129"/>
                      </a:lnTo>
                      <a:close/>
                      <a:moveTo>
                        <a:pt x="1071" y="983"/>
                      </a:moveTo>
                      <a:lnTo>
                        <a:pt x="1072" y="983"/>
                      </a:lnTo>
                      <a:lnTo>
                        <a:pt x="1071" y="983"/>
                      </a:lnTo>
                      <a:close/>
                      <a:moveTo>
                        <a:pt x="1052" y="935"/>
                      </a:moveTo>
                      <a:lnTo>
                        <a:pt x="1052" y="936"/>
                      </a:lnTo>
                      <a:lnTo>
                        <a:pt x="1052" y="935"/>
                      </a:lnTo>
                      <a:close/>
                      <a:moveTo>
                        <a:pt x="1181" y="927"/>
                      </a:moveTo>
                      <a:lnTo>
                        <a:pt x="1182" y="927"/>
                      </a:lnTo>
                      <a:lnTo>
                        <a:pt x="1181" y="927"/>
                      </a:lnTo>
                      <a:close/>
                      <a:moveTo>
                        <a:pt x="1019" y="968"/>
                      </a:moveTo>
                      <a:lnTo>
                        <a:pt x="1020" y="968"/>
                      </a:lnTo>
                      <a:lnTo>
                        <a:pt x="1019" y="968"/>
                      </a:lnTo>
                      <a:close/>
                      <a:moveTo>
                        <a:pt x="1341" y="1125"/>
                      </a:moveTo>
                      <a:lnTo>
                        <a:pt x="1341" y="1127"/>
                      </a:lnTo>
                      <a:lnTo>
                        <a:pt x="1341" y="1125"/>
                      </a:lnTo>
                      <a:close/>
                      <a:moveTo>
                        <a:pt x="1051" y="935"/>
                      </a:moveTo>
                      <a:lnTo>
                        <a:pt x="1052" y="935"/>
                      </a:lnTo>
                      <a:lnTo>
                        <a:pt x="1051" y="935"/>
                      </a:lnTo>
                      <a:close/>
                      <a:moveTo>
                        <a:pt x="1313" y="1173"/>
                      </a:moveTo>
                      <a:lnTo>
                        <a:pt x="1313" y="1174"/>
                      </a:lnTo>
                      <a:lnTo>
                        <a:pt x="1313" y="1173"/>
                      </a:lnTo>
                      <a:close/>
                      <a:moveTo>
                        <a:pt x="1087" y="980"/>
                      </a:moveTo>
                      <a:lnTo>
                        <a:pt x="1087" y="981"/>
                      </a:lnTo>
                      <a:lnTo>
                        <a:pt x="1087" y="980"/>
                      </a:lnTo>
                      <a:close/>
                      <a:moveTo>
                        <a:pt x="1310" y="1111"/>
                      </a:moveTo>
                      <a:lnTo>
                        <a:pt x="1311" y="1111"/>
                      </a:lnTo>
                      <a:lnTo>
                        <a:pt x="1310" y="1111"/>
                      </a:lnTo>
                      <a:close/>
                      <a:moveTo>
                        <a:pt x="1019" y="968"/>
                      </a:moveTo>
                      <a:lnTo>
                        <a:pt x="1020" y="968"/>
                      </a:lnTo>
                      <a:lnTo>
                        <a:pt x="1020" y="969"/>
                      </a:lnTo>
                      <a:lnTo>
                        <a:pt x="1019" y="969"/>
                      </a:lnTo>
                      <a:lnTo>
                        <a:pt x="1019" y="968"/>
                      </a:lnTo>
                      <a:close/>
                      <a:moveTo>
                        <a:pt x="1042" y="935"/>
                      </a:moveTo>
                      <a:lnTo>
                        <a:pt x="1042" y="936"/>
                      </a:lnTo>
                      <a:lnTo>
                        <a:pt x="1042" y="935"/>
                      </a:lnTo>
                      <a:close/>
                      <a:moveTo>
                        <a:pt x="1042" y="992"/>
                      </a:moveTo>
                      <a:lnTo>
                        <a:pt x="1043" y="992"/>
                      </a:lnTo>
                      <a:lnTo>
                        <a:pt x="1043" y="993"/>
                      </a:lnTo>
                      <a:lnTo>
                        <a:pt x="1042" y="993"/>
                      </a:lnTo>
                      <a:lnTo>
                        <a:pt x="1042" y="992"/>
                      </a:lnTo>
                      <a:close/>
                      <a:moveTo>
                        <a:pt x="1314" y="1175"/>
                      </a:moveTo>
                      <a:lnTo>
                        <a:pt x="1315" y="1175"/>
                      </a:lnTo>
                      <a:lnTo>
                        <a:pt x="1315" y="1176"/>
                      </a:lnTo>
                      <a:lnTo>
                        <a:pt x="1314" y="1176"/>
                      </a:lnTo>
                      <a:lnTo>
                        <a:pt x="1314" y="1175"/>
                      </a:lnTo>
                      <a:close/>
                      <a:moveTo>
                        <a:pt x="1311" y="948"/>
                      </a:moveTo>
                      <a:lnTo>
                        <a:pt x="1312" y="948"/>
                      </a:lnTo>
                      <a:lnTo>
                        <a:pt x="1311" y="948"/>
                      </a:lnTo>
                      <a:close/>
                      <a:moveTo>
                        <a:pt x="1099" y="964"/>
                      </a:moveTo>
                      <a:lnTo>
                        <a:pt x="1100" y="964"/>
                      </a:lnTo>
                      <a:lnTo>
                        <a:pt x="1099" y="964"/>
                      </a:lnTo>
                      <a:close/>
                      <a:moveTo>
                        <a:pt x="1046" y="929"/>
                      </a:moveTo>
                      <a:lnTo>
                        <a:pt x="1047" y="929"/>
                      </a:lnTo>
                      <a:lnTo>
                        <a:pt x="1046" y="929"/>
                      </a:lnTo>
                      <a:close/>
                      <a:moveTo>
                        <a:pt x="1061" y="987"/>
                      </a:moveTo>
                      <a:lnTo>
                        <a:pt x="1063" y="987"/>
                      </a:lnTo>
                      <a:lnTo>
                        <a:pt x="1061" y="987"/>
                      </a:lnTo>
                      <a:close/>
                      <a:moveTo>
                        <a:pt x="1350" y="1120"/>
                      </a:moveTo>
                      <a:lnTo>
                        <a:pt x="1350" y="1121"/>
                      </a:lnTo>
                      <a:lnTo>
                        <a:pt x="1350" y="1120"/>
                      </a:lnTo>
                      <a:close/>
                      <a:moveTo>
                        <a:pt x="1195" y="915"/>
                      </a:moveTo>
                      <a:lnTo>
                        <a:pt x="1195" y="916"/>
                      </a:lnTo>
                      <a:lnTo>
                        <a:pt x="1195" y="915"/>
                      </a:lnTo>
                      <a:close/>
                      <a:moveTo>
                        <a:pt x="1045" y="936"/>
                      </a:moveTo>
                      <a:lnTo>
                        <a:pt x="1046" y="936"/>
                      </a:lnTo>
                      <a:lnTo>
                        <a:pt x="1045" y="936"/>
                      </a:lnTo>
                      <a:close/>
                      <a:moveTo>
                        <a:pt x="1069" y="964"/>
                      </a:moveTo>
                      <a:lnTo>
                        <a:pt x="1070" y="964"/>
                      </a:lnTo>
                      <a:lnTo>
                        <a:pt x="1069" y="964"/>
                      </a:lnTo>
                      <a:close/>
                      <a:moveTo>
                        <a:pt x="1045" y="992"/>
                      </a:moveTo>
                      <a:lnTo>
                        <a:pt x="1046" y="992"/>
                      </a:lnTo>
                      <a:lnTo>
                        <a:pt x="1045" y="992"/>
                      </a:lnTo>
                      <a:close/>
                      <a:moveTo>
                        <a:pt x="1045" y="974"/>
                      </a:moveTo>
                      <a:lnTo>
                        <a:pt x="1046" y="974"/>
                      </a:lnTo>
                      <a:lnTo>
                        <a:pt x="1046" y="975"/>
                      </a:lnTo>
                      <a:lnTo>
                        <a:pt x="1045" y="975"/>
                      </a:lnTo>
                      <a:lnTo>
                        <a:pt x="1045" y="974"/>
                      </a:lnTo>
                      <a:close/>
                      <a:moveTo>
                        <a:pt x="1063" y="954"/>
                      </a:moveTo>
                      <a:lnTo>
                        <a:pt x="1064" y="954"/>
                      </a:lnTo>
                      <a:lnTo>
                        <a:pt x="1064" y="955"/>
                      </a:lnTo>
                      <a:lnTo>
                        <a:pt x="1063" y="955"/>
                      </a:lnTo>
                      <a:lnTo>
                        <a:pt x="1063" y="954"/>
                      </a:lnTo>
                      <a:close/>
                      <a:moveTo>
                        <a:pt x="1032" y="924"/>
                      </a:moveTo>
                      <a:lnTo>
                        <a:pt x="1032" y="925"/>
                      </a:lnTo>
                      <a:lnTo>
                        <a:pt x="1032" y="924"/>
                      </a:lnTo>
                      <a:close/>
                      <a:moveTo>
                        <a:pt x="991" y="991"/>
                      </a:moveTo>
                      <a:lnTo>
                        <a:pt x="992" y="991"/>
                      </a:lnTo>
                      <a:lnTo>
                        <a:pt x="991" y="991"/>
                      </a:lnTo>
                      <a:close/>
                      <a:moveTo>
                        <a:pt x="1314" y="1176"/>
                      </a:moveTo>
                      <a:lnTo>
                        <a:pt x="1315" y="1176"/>
                      </a:lnTo>
                      <a:lnTo>
                        <a:pt x="1315" y="1178"/>
                      </a:lnTo>
                      <a:lnTo>
                        <a:pt x="1314" y="1178"/>
                      </a:lnTo>
                      <a:lnTo>
                        <a:pt x="1314" y="1176"/>
                      </a:lnTo>
                      <a:close/>
                      <a:moveTo>
                        <a:pt x="1302" y="1111"/>
                      </a:moveTo>
                      <a:lnTo>
                        <a:pt x="1303" y="1111"/>
                      </a:lnTo>
                      <a:lnTo>
                        <a:pt x="1302" y="1111"/>
                      </a:lnTo>
                      <a:close/>
                      <a:moveTo>
                        <a:pt x="1312" y="1174"/>
                      </a:moveTo>
                      <a:lnTo>
                        <a:pt x="1313" y="1174"/>
                      </a:lnTo>
                      <a:lnTo>
                        <a:pt x="1312" y="1174"/>
                      </a:lnTo>
                      <a:close/>
                      <a:moveTo>
                        <a:pt x="1052" y="990"/>
                      </a:moveTo>
                      <a:lnTo>
                        <a:pt x="1053" y="990"/>
                      </a:lnTo>
                      <a:lnTo>
                        <a:pt x="1052" y="990"/>
                      </a:lnTo>
                      <a:close/>
                      <a:moveTo>
                        <a:pt x="1313" y="1173"/>
                      </a:moveTo>
                      <a:lnTo>
                        <a:pt x="1313" y="1174"/>
                      </a:lnTo>
                      <a:lnTo>
                        <a:pt x="1313" y="1173"/>
                      </a:lnTo>
                      <a:close/>
                      <a:moveTo>
                        <a:pt x="1065" y="969"/>
                      </a:moveTo>
                      <a:lnTo>
                        <a:pt x="1065" y="970"/>
                      </a:lnTo>
                      <a:lnTo>
                        <a:pt x="1065" y="969"/>
                      </a:lnTo>
                      <a:close/>
                      <a:moveTo>
                        <a:pt x="1136" y="982"/>
                      </a:moveTo>
                      <a:lnTo>
                        <a:pt x="1136" y="983"/>
                      </a:lnTo>
                      <a:lnTo>
                        <a:pt x="1136" y="982"/>
                      </a:lnTo>
                      <a:close/>
                    </a:path>
                  </a:pathLst>
                </a:custGeom>
                <a:grpFill/>
                <a:ln w="19050">
                  <a:solidFill>
                    <a:srgbClr val="FFC000"/>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sp>
            <p:nvSpPr>
              <p:cNvPr id="142" name="Freeform 34">
                <a:extLst>
                  <a:ext uri="{FF2B5EF4-FFF2-40B4-BE49-F238E27FC236}">
                    <a16:creationId xmlns:a16="http://schemas.microsoft.com/office/drawing/2014/main" id="{A4A76255-C705-0B20-3AAB-4F0AF8928922}"/>
                  </a:ext>
                </a:extLst>
              </p:cNvPr>
              <p:cNvSpPr>
                <a:spLocks/>
              </p:cNvSpPr>
              <p:nvPr/>
            </p:nvSpPr>
            <p:spPr bwMode="auto">
              <a:xfrm>
                <a:off x="949983" y="4446207"/>
                <a:ext cx="854075" cy="509588"/>
              </a:xfrm>
              <a:custGeom>
                <a:avLst/>
                <a:gdLst>
                  <a:gd name="T0" fmla="*/ 450 w 538"/>
                  <a:gd name="T1" fmla="*/ 97 h 321"/>
                  <a:gd name="T2" fmla="*/ 472 w 538"/>
                  <a:gd name="T3" fmla="*/ 162 h 321"/>
                  <a:gd name="T4" fmla="*/ 502 w 538"/>
                  <a:gd name="T5" fmla="*/ 237 h 321"/>
                  <a:gd name="T6" fmla="*/ 537 w 538"/>
                  <a:gd name="T7" fmla="*/ 247 h 321"/>
                  <a:gd name="T8" fmla="*/ 528 w 538"/>
                  <a:gd name="T9" fmla="*/ 255 h 321"/>
                  <a:gd name="T10" fmla="*/ 526 w 538"/>
                  <a:gd name="T11" fmla="*/ 263 h 321"/>
                  <a:gd name="T12" fmla="*/ 530 w 538"/>
                  <a:gd name="T13" fmla="*/ 272 h 321"/>
                  <a:gd name="T14" fmla="*/ 536 w 538"/>
                  <a:gd name="T15" fmla="*/ 279 h 321"/>
                  <a:gd name="T16" fmla="*/ 472 w 538"/>
                  <a:gd name="T17" fmla="*/ 289 h 321"/>
                  <a:gd name="T18" fmla="*/ 424 w 538"/>
                  <a:gd name="T19" fmla="*/ 321 h 321"/>
                  <a:gd name="T20" fmla="*/ 366 w 538"/>
                  <a:gd name="T21" fmla="*/ 311 h 321"/>
                  <a:gd name="T22" fmla="*/ 240 w 538"/>
                  <a:gd name="T23" fmla="*/ 311 h 321"/>
                  <a:gd name="T24" fmla="*/ 28 w 538"/>
                  <a:gd name="T25" fmla="*/ 309 h 321"/>
                  <a:gd name="T26" fmla="*/ 34 w 538"/>
                  <a:gd name="T27" fmla="*/ 307 h 321"/>
                  <a:gd name="T28" fmla="*/ 40 w 538"/>
                  <a:gd name="T29" fmla="*/ 302 h 321"/>
                  <a:gd name="T30" fmla="*/ 24 w 538"/>
                  <a:gd name="T31" fmla="*/ 291 h 321"/>
                  <a:gd name="T32" fmla="*/ 24 w 538"/>
                  <a:gd name="T33" fmla="*/ 288 h 321"/>
                  <a:gd name="T34" fmla="*/ 27 w 538"/>
                  <a:gd name="T35" fmla="*/ 279 h 321"/>
                  <a:gd name="T36" fmla="*/ 38 w 538"/>
                  <a:gd name="T37" fmla="*/ 268 h 321"/>
                  <a:gd name="T38" fmla="*/ 40 w 538"/>
                  <a:gd name="T39" fmla="*/ 261 h 321"/>
                  <a:gd name="T40" fmla="*/ 42 w 538"/>
                  <a:gd name="T41" fmla="*/ 250 h 321"/>
                  <a:gd name="T42" fmla="*/ 45 w 538"/>
                  <a:gd name="T43" fmla="*/ 246 h 321"/>
                  <a:gd name="T44" fmla="*/ 37 w 538"/>
                  <a:gd name="T45" fmla="*/ 242 h 321"/>
                  <a:gd name="T46" fmla="*/ 38 w 538"/>
                  <a:gd name="T47" fmla="*/ 234 h 321"/>
                  <a:gd name="T48" fmla="*/ 39 w 538"/>
                  <a:gd name="T49" fmla="*/ 224 h 321"/>
                  <a:gd name="T50" fmla="*/ 35 w 538"/>
                  <a:gd name="T51" fmla="*/ 219 h 321"/>
                  <a:gd name="T52" fmla="*/ 36 w 538"/>
                  <a:gd name="T53" fmla="*/ 212 h 321"/>
                  <a:gd name="T54" fmla="*/ 32 w 538"/>
                  <a:gd name="T55" fmla="*/ 211 h 321"/>
                  <a:gd name="T56" fmla="*/ 30 w 538"/>
                  <a:gd name="T57" fmla="*/ 203 h 321"/>
                  <a:gd name="T58" fmla="*/ 30 w 538"/>
                  <a:gd name="T59" fmla="*/ 198 h 321"/>
                  <a:gd name="T60" fmla="*/ 29 w 538"/>
                  <a:gd name="T61" fmla="*/ 191 h 321"/>
                  <a:gd name="T62" fmla="*/ 35 w 538"/>
                  <a:gd name="T63" fmla="*/ 186 h 321"/>
                  <a:gd name="T64" fmla="*/ 38 w 538"/>
                  <a:gd name="T65" fmla="*/ 182 h 321"/>
                  <a:gd name="T66" fmla="*/ 39 w 538"/>
                  <a:gd name="T67" fmla="*/ 177 h 321"/>
                  <a:gd name="T68" fmla="*/ 35 w 538"/>
                  <a:gd name="T69" fmla="*/ 172 h 321"/>
                  <a:gd name="T70" fmla="*/ 38 w 538"/>
                  <a:gd name="T71" fmla="*/ 163 h 321"/>
                  <a:gd name="T72" fmla="*/ 35 w 538"/>
                  <a:gd name="T73" fmla="*/ 159 h 321"/>
                  <a:gd name="T74" fmla="*/ 34 w 538"/>
                  <a:gd name="T75" fmla="*/ 154 h 321"/>
                  <a:gd name="T76" fmla="*/ 35 w 538"/>
                  <a:gd name="T77" fmla="*/ 147 h 321"/>
                  <a:gd name="T78" fmla="*/ 35 w 538"/>
                  <a:gd name="T79" fmla="*/ 140 h 321"/>
                  <a:gd name="T80" fmla="*/ 30 w 538"/>
                  <a:gd name="T81" fmla="*/ 139 h 321"/>
                  <a:gd name="T82" fmla="*/ 22 w 538"/>
                  <a:gd name="T83" fmla="*/ 136 h 321"/>
                  <a:gd name="T84" fmla="*/ 16 w 538"/>
                  <a:gd name="T85" fmla="*/ 132 h 321"/>
                  <a:gd name="T86" fmla="*/ 13 w 538"/>
                  <a:gd name="T87" fmla="*/ 127 h 321"/>
                  <a:gd name="T88" fmla="*/ 9 w 538"/>
                  <a:gd name="T89" fmla="*/ 120 h 321"/>
                  <a:gd name="T90" fmla="*/ 8 w 538"/>
                  <a:gd name="T91" fmla="*/ 114 h 321"/>
                  <a:gd name="T92" fmla="*/ 1 w 538"/>
                  <a:gd name="T93" fmla="*/ 111 h 321"/>
                  <a:gd name="T94" fmla="*/ 1 w 538"/>
                  <a:gd name="T95" fmla="*/ 104 h 321"/>
                  <a:gd name="T96" fmla="*/ 4 w 538"/>
                  <a:gd name="T97" fmla="*/ 100 h 321"/>
                  <a:gd name="T98" fmla="*/ 3 w 538"/>
                  <a:gd name="T99" fmla="*/ 92 h 321"/>
                  <a:gd name="T100" fmla="*/ 9 w 538"/>
                  <a:gd name="T101" fmla="*/ 92 h 321"/>
                  <a:gd name="T102" fmla="*/ 7 w 538"/>
                  <a:gd name="T103" fmla="*/ 88 h 321"/>
                  <a:gd name="T104" fmla="*/ 4 w 538"/>
                  <a:gd name="T105" fmla="*/ 75 h 321"/>
                  <a:gd name="T106" fmla="*/ 5 w 538"/>
                  <a:gd name="T107" fmla="*/ 71 h 321"/>
                  <a:gd name="T108" fmla="*/ 14 w 538"/>
                  <a:gd name="T109" fmla="*/ 65 h 321"/>
                  <a:gd name="T110" fmla="*/ 75 w 538"/>
                  <a:gd name="T111" fmla="*/ 62 h 321"/>
                  <a:gd name="T112" fmla="*/ 163 w 538"/>
                  <a:gd name="T113" fmla="*/ 62 h 321"/>
                  <a:gd name="T114" fmla="*/ 234 w 538"/>
                  <a:gd name="T115" fmla="*/ 20 h 321"/>
                  <a:gd name="T116" fmla="*/ 276 w 538"/>
                  <a:gd name="T117" fmla="*/ 6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321">
                    <a:moveTo>
                      <a:pt x="389" y="61"/>
                    </a:moveTo>
                    <a:lnTo>
                      <a:pt x="389" y="66"/>
                    </a:lnTo>
                    <a:lnTo>
                      <a:pt x="389" y="78"/>
                    </a:lnTo>
                    <a:lnTo>
                      <a:pt x="396" y="78"/>
                    </a:lnTo>
                    <a:lnTo>
                      <a:pt x="413" y="79"/>
                    </a:lnTo>
                    <a:lnTo>
                      <a:pt x="415" y="79"/>
                    </a:lnTo>
                    <a:lnTo>
                      <a:pt x="416" y="79"/>
                    </a:lnTo>
                    <a:lnTo>
                      <a:pt x="429" y="79"/>
                    </a:lnTo>
                    <a:lnTo>
                      <a:pt x="450" y="79"/>
                    </a:lnTo>
                    <a:lnTo>
                      <a:pt x="450" y="81"/>
                    </a:lnTo>
                    <a:lnTo>
                      <a:pt x="450" y="92"/>
                    </a:lnTo>
                    <a:lnTo>
                      <a:pt x="450" y="97"/>
                    </a:lnTo>
                    <a:lnTo>
                      <a:pt x="450" y="109"/>
                    </a:lnTo>
                    <a:lnTo>
                      <a:pt x="450" y="114"/>
                    </a:lnTo>
                    <a:lnTo>
                      <a:pt x="450" y="118"/>
                    </a:lnTo>
                    <a:lnTo>
                      <a:pt x="450" y="125"/>
                    </a:lnTo>
                    <a:lnTo>
                      <a:pt x="450" y="131"/>
                    </a:lnTo>
                    <a:lnTo>
                      <a:pt x="450" y="134"/>
                    </a:lnTo>
                    <a:lnTo>
                      <a:pt x="450" y="150"/>
                    </a:lnTo>
                    <a:lnTo>
                      <a:pt x="450" y="151"/>
                    </a:lnTo>
                    <a:lnTo>
                      <a:pt x="450" y="152"/>
                    </a:lnTo>
                    <a:lnTo>
                      <a:pt x="450" y="162"/>
                    </a:lnTo>
                    <a:lnTo>
                      <a:pt x="465" y="162"/>
                    </a:lnTo>
                    <a:lnTo>
                      <a:pt x="472" y="162"/>
                    </a:lnTo>
                    <a:lnTo>
                      <a:pt x="472" y="163"/>
                    </a:lnTo>
                    <a:lnTo>
                      <a:pt x="472" y="170"/>
                    </a:lnTo>
                    <a:lnTo>
                      <a:pt x="472" y="173"/>
                    </a:lnTo>
                    <a:lnTo>
                      <a:pt x="472" y="178"/>
                    </a:lnTo>
                    <a:lnTo>
                      <a:pt x="472" y="182"/>
                    </a:lnTo>
                    <a:lnTo>
                      <a:pt x="472" y="183"/>
                    </a:lnTo>
                    <a:lnTo>
                      <a:pt x="472" y="184"/>
                    </a:lnTo>
                    <a:lnTo>
                      <a:pt x="472" y="185"/>
                    </a:lnTo>
                    <a:lnTo>
                      <a:pt x="472" y="194"/>
                    </a:lnTo>
                    <a:lnTo>
                      <a:pt x="472" y="204"/>
                    </a:lnTo>
                    <a:lnTo>
                      <a:pt x="472" y="236"/>
                    </a:lnTo>
                    <a:lnTo>
                      <a:pt x="502" y="237"/>
                    </a:lnTo>
                    <a:lnTo>
                      <a:pt x="513" y="237"/>
                    </a:lnTo>
                    <a:lnTo>
                      <a:pt x="534" y="237"/>
                    </a:lnTo>
                    <a:lnTo>
                      <a:pt x="534" y="238"/>
                    </a:lnTo>
                    <a:lnTo>
                      <a:pt x="534" y="239"/>
                    </a:lnTo>
                    <a:lnTo>
                      <a:pt x="534" y="240"/>
                    </a:lnTo>
                    <a:lnTo>
                      <a:pt x="533" y="241"/>
                    </a:lnTo>
                    <a:lnTo>
                      <a:pt x="533" y="242"/>
                    </a:lnTo>
                    <a:lnTo>
                      <a:pt x="533" y="244"/>
                    </a:lnTo>
                    <a:lnTo>
                      <a:pt x="536" y="244"/>
                    </a:lnTo>
                    <a:lnTo>
                      <a:pt x="537" y="245"/>
                    </a:lnTo>
                    <a:lnTo>
                      <a:pt x="537" y="246"/>
                    </a:lnTo>
                    <a:lnTo>
                      <a:pt x="537" y="247"/>
                    </a:lnTo>
                    <a:lnTo>
                      <a:pt x="537" y="248"/>
                    </a:lnTo>
                    <a:lnTo>
                      <a:pt x="536" y="248"/>
                    </a:lnTo>
                    <a:lnTo>
                      <a:pt x="536" y="249"/>
                    </a:lnTo>
                    <a:lnTo>
                      <a:pt x="534" y="249"/>
                    </a:lnTo>
                    <a:lnTo>
                      <a:pt x="533" y="250"/>
                    </a:lnTo>
                    <a:lnTo>
                      <a:pt x="533" y="251"/>
                    </a:lnTo>
                    <a:lnTo>
                      <a:pt x="532" y="251"/>
                    </a:lnTo>
                    <a:lnTo>
                      <a:pt x="531" y="251"/>
                    </a:lnTo>
                    <a:lnTo>
                      <a:pt x="531" y="252"/>
                    </a:lnTo>
                    <a:lnTo>
                      <a:pt x="530" y="253"/>
                    </a:lnTo>
                    <a:lnTo>
                      <a:pt x="530" y="254"/>
                    </a:lnTo>
                    <a:lnTo>
                      <a:pt x="528" y="255"/>
                    </a:lnTo>
                    <a:lnTo>
                      <a:pt x="527" y="255"/>
                    </a:lnTo>
                    <a:lnTo>
                      <a:pt x="527" y="254"/>
                    </a:lnTo>
                    <a:lnTo>
                      <a:pt x="526" y="254"/>
                    </a:lnTo>
                    <a:lnTo>
                      <a:pt x="526" y="255"/>
                    </a:lnTo>
                    <a:lnTo>
                      <a:pt x="527" y="257"/>
                    </a:lnTo>
                    <a:lnTo>
                      <a:pt x="527" y="258"/>
                    </a:lnTo>
                    <a:lnTo>
                      <a:pt x="526" y="258"/>
                    </a:lnTo>
                    <a:lnTo>
                      <a:pt x="526" y="259"/>
                    </a:lnTo>
                    <a:lnTo>
                      <a:pt x="526" y="260"/>
                    </a:lnTo>
                    <a:lnTo>
                      <a:pt x="526" y="261"/>
                    </a:lnTo>
                    <a:lnTo>
                      <a:pt x="525" y="262"/>
                    </a:lnTo>
                    <a:lnTo>
                      <a:pt x="526" y="263"/>
                    </a:lnTo>
                    <a:lnTo>
                      <a:pt x="526" y="264"/>
                    </a:lnTo>
                    <a:lnTo>
                      <a:pt x="526" y="265"/>
                    </a:lnTo>
                    <a:lnTo>
                      <a:pt x="525" y="265"/>
                    </a:lnTo>
                    <a:lnTo>
                      <a:pt x="525" y="266"/>
                    </a:lnTo>
                    <a:lnTo>
                      <a:pt x="526" y="267"/>
                    </a:lnTo>
                    <a:lnTo>
                      <a:pt x="527" y="268"/>
                    </a:lnTo>
                    <a:lnTo>
                      <a:pt x="528" y="268"/>
                    </a:lnTo>
                    <a:lnTo>
                      <a:pt x="530" y="268"/>
                    </a:lnTo>
                    <a:lnTo>
                      <a:pt x="530" y="270"/>
                    </a:lnTo>
                    <a:lnTo>
                      <a:pt x="529" y="270"/>
                    </a:lnTo>
                    <a:lnTo>
                      <a:pt x="530" y="271"/>
                    </a:lnTo>
                    <a:lnTo>
                      <a:pt x="530" y="272"/>
                    </a:lnTo>
                    <a:lnTo>
                      <a:pt x="531" y="273"/>
                    </a:lnTo>
                    <a:lnTo>
                      <a:pt x="531" y="274"/>
                    </a:lnTo>
                    <a:lnTo>
                      <a:pt x="530" y="275"/>
                    </a:lnTo>
                    <a:lnTo>
                      <a:pt x="530" y="276"/>
                    </a:lnTo>
                    <a:lnTo>
                      <a:pt x="531" y="276"/>
                    </a:lnTo>
                    <a:lnTo>
                      <a:pt x="532" y="276"/>
                    </a:lnTo>
                    <a:lnTo>
                      <a:pt x="533" y="277"/>
                    </a:lnTo>
                    <a:lnTo>
                      <a:pt x="532" y="278"/>
                    </a:lnTo>
                    <a:lnTo>
                      <a:pt x="533" y="279"/>
                    </a:lnTo>
                    <a:lnTo>
                      <a:pt x="534" y="279"/>
                    </a:lnTo>
                    <a:lnTo>
                      <a:pt x="536" y="278"/>
                    </a:lnTo>
                    <a:lnTo>
                      <a:pt x="536" y="279"/>
                    </a:lnTo>
                    <a:lnTo>
                      <a:pt x="534" y="281"/>
                    </a:lnTo>
                    <a:lnTo>
                      <a:pt x="536" y="283"/>
                    </a:lnTo>
                    <a:lnTo>
                      <a:pt x="534" y="284"/>
                    </a:lnTo>
                    <a:lnTo>
                      <a:pt x="536" y="285"/>
                    </a:lnTo>
                    <a:lnTo>
                      <a:pt x="537" y="287"/>
                    </a:lnTo>
                    <a:lnTo>
                      <a:pt x="538" y="288"/>
                    </a:lnTo>
                    <a:lnTo>
                      <a:pt x="538" y="289"/>
                    </a:lnTo>
                    <a:lnTo>
                      <a:pt x="524" y="289"/>
                    </a:lnTo>
                    <a:lnTo>
                      <a:pt x="508" y="289"/>
                    </a:lnTo>
                    <a:lnTo>
                      <a:pt x="505" y="289"/>
                    </a:lnTo>
                    <a:lnTo>
                      <a:pt x="500" y="289"/>
                    </a:lnTo>
                    <a:lnTo>
                      <a:pt x="472" y="289"/>
                    </a:lnTo>
                    <a:lnTo>
                      <a:pt x="472" y="310"/>
                    </a:lnTo>
                    <a:lnTo>
                      <a:pt x="472" y="312"/>
                    </a:lnTo>
                    <a:lnTo>
                      <a:pt x="472" y="321"/>
                    </a:lnTo>
                    <a:lnTo>
                      <a:pt x="462" y="321"/>
                    </a:lnTo>
                    <a:lnTo>
                      <a:pt x="461" y="319"/>
                    </a:lnTo>
                    <a:lnTo>
                      <a:pt x="459" y="319"/>
                    </a:lnTo>
                    <a:lnTo>
                      <a:pt x="458" y="319"/>
                    </a:lnTo>
                    <a:lnTo>
                      <a:pt x="456" y="319"/>
                    </a:lnTo>
                    <a:lnTo>
                      <a:pt x="455" y="319"/>
                    </a:lnTo>
                    <a:lnTo>
                      <a:pt x="451" y="319"/>
                    </a:lnTo>
                    <a:lnTo>
                      <a:pt x="440" y="319"/>
                    </a:lnTo>
                    <a:lnTo>
                      <a:pt x="424" y="321"/>
                    </a:lnTo>
                    <a:lnTo>
                      <a:pt x="421" y="321"/>
                    </a:lnTo>
                    <a:lnTo>
                      <a:pt x="418" y="321"/>
                    </a:lnTo>
                    <a:lnTo>
                      <a:pt x="417" y="321"/>
                    </a:lnTo>
                    <a:lnTo>
                      <a:pt x="416" y="321"/>
                    </a:lnTo>
                    <a:lnTo>
                      <a:pt x="415" y="321"/>
                    </a:lnTo>
                    <a:lnTo>
                      <a:pt x="410" y="321"/>
                    </a:lnTo>
                    <a:lnTo>
                      <a:pt x="390" y="321"/>
                    </a:lnTo>
                    <a:lnTo>
                      <a:pt x="390" y="310"/>
                    </a:lnTo>
                    <a:lnTo>
                      <a:pt x="385" y="310"/>
                    </a:lnTo>
                    <a:lnTo>
                      <a:pt x="381" y="310"/>
                    </a:lnTo>
                    <a:lnTo>
                      <a:pt x="370" y="311"/>
                    </a:lnTo>
                    <a:lnTo>
                      <a:pt x="366" y="311"/>
                    </a:lnTo>
                    <a:lnTo>
                      <a:pt x="360" y="311"/>
                    </a:lnTo>
                    <a:lnTo>
                      <a:pt x="338" y="311"/>
                    </a:lnTo>
                    <a:lnTo>
                      <a:pt x="309" y="311"/>
                    </a:lnTo>
                    <a:lnTo>
                      <a:pt x="308" y="311"/>
                    </a:lnTo>
                    <a:lnTo>
                      <a:pt x="298" y="311"/>
                    </a:lnTo>
                    <a:lnTo>
                      <a:pt x="294" y="311"/>
                    </a:lnTo>
                    <a:lnTo>
                      <a:pt x="278" y="311"/>
                    </a:lnTo>
                    <a:lnTo>
                      <a:pt x="273" y="311"/>
                    </a:lnTo>
                    <a:lnTo>
                      <a:pt x="269" y="311"/>
                    </a:lnTo>
                    <a:lnTo>
                      <a:pt x="267" y="311"/>
                    </a:lnTo>
                    <a:lnTo>
                      <a:pt x="260" y="311"/>
                    </a:lnTo>
                    <a:lnTo>
                      <a:pt x="240" y="311"/>
                    </a:lnTo>
                    <a:lnTo>
                      <a:pt x="222" y="311"/>
                    </a:lnTo>
                    <a:lnTo>
                      <a:pt x="167" y="311"/>
                    </a:lnTo>
                    <a:lnTo>
                      <a:pt x="163" y="311"/>
                    </a:lnTo>
                    <a:lnTo>
                      <a:pt x="133" y="311"/>
                    </a:lnTo>
                    <a:lnTo>
                      <a:pt x="131" y="311"/>
                    </a:lnTo>
                    <a:lnTo>
                      <a:pt x="101" y="311"/>
                    </a:lnTo>
                    <a:lnTo>
                      <a:pt x="100" y="311"/>
                    </a:lnTo>
                    <a:lnTo>
                      <a:pt x="91" y="311"/>
                    </a:lnTo>
                    <a:lnTo>
                      <a:pt x="28" y="311"/>
                    </a:lnTo>
                    <a:lnTo>
                      <a:pt x="27" y="311"/>
                    </a:lnTo>
                    <a:lnTo>
                      <a:pt x="28" y="310"/>
                    </a:lnTo>
                    <a:lnTo>
                      <a:pt x="28" y="309"/>
                    </a:lnTo>
                    <a:lnTo>
                      <a:pt x="28" y="307"/>
                    </a:lnTo>
                    <a:lnTo>
                      <a:pt x="28" y="305"/>
                    </a:lnTo>
                    <a:lnTo>
                      <a:pt x="28" y="303"/>
                    </a:lnTo>
                    <a:lnTo>
                      <a:pt x="28" y="302"/>
                    </a:lnTo>
                    <a:lnTo>
                      <a:pt x="29" y="301"/>
                    </a:lnTo>
                    <a:lnTo>
                      <a:pt x="30" y="301"/>
                    </a:lnTo>
                    <a:lnTo>
                      <a:pt x="32" y="300"/>
                    </a:lnTo>
                    <a:lnTo>
                      <a:pt x="33" y="301"/>
                    </a:lnTo>
                    <a:lnTo>
                      <a:pt x="33" y="303"/>
                    </a:lnTo>
                    <a:lnTo>
                      <a:pt x="33" y="304"/>
                    </a:lnTo>
                    <a:lnTo>
                      <a:pt x="34" y="305"/>
                    </a:lnTo>
                    <a:lnTo>
                      <a:pt x="34" y="307"/>
                    </a:lnTo>
                    <a:lnTo>
                      <a:pt x="34" y="309"/>
                    </a:lnTo>
                    <a:lnTo>
                      <a:pt x="35" y="309"/>
                    </a:lnTo>
                    <a:lnTo>
                      <a:pt x="36" y="310"/>
                    </a:lnTo>
                    <a:lnTo>
                      <a:pt x="37" y="310"/>
                    </a:lnTo>
                    <a:lnTo>
                      <a:pt x="38" y="309"/>
                    </a:lnTo>
                    <a:lnTo>
                      <a:pt x="39" y="307"/>
                    </a:lnTo>
                    <a:lnTo>
                      <a:pt x="40" y="307"/>
                    </a:lnTo>
                    <a:lnTo>
                      <a:pt x="40" y="306"/>
                    </a:lnTo>
                    <a:lnTo>
                      <a:pt x="41" y="306"/>
                    </a:lnTo>
                    <a:lnTo>
                      <a:pt x="41" y="305"/>
                    </a:lnTo>
                    <a:lnTo>
                      <a:pt x="41" y="304"/>
                    </a:lnTo>
                    <a:lnTo>
                      <a:pt x="40" y="302"/>
                    </a:lnTo>
                    <a:lnTo>
                      <a:pt x="40" y="301"/>
                    </a:lnTo>
                    <a:lnTo>
                      <a:pt x="39" y="300"/>
                    </a:lnTo>
                    <a:lnTo>
                      <a:pt x="38" y="300"/>
                    </a:lnTo>
                    <a:lnTo>
                      <a:pt x="37" y="300"/>
                    </a:lnTo>
                    <a:lnTo>
                      <a:pt x="36" y="300"/>
                    </a:lnTo>
                    <a:lnTo>
                      <a:pt x="32" y="299"/>
                    </a:lnTo>
                    <a:lnTo>
                      <a:pt x="30" y="299"/>
                    </a:lnTo>
                    <a:lnTo>
                      <a:pt x="30" y="298"/>
                    </a:lnTo>
                    <a:lnTo>
                      <a:pt x="29" y="297"/>
                    </a:lnTo>
                    <a:lnTo>
                      <a:pt x="28" y="296"/>
                    </a:lnTo>
                    <a:lnTo>
                      <a:pt x="25" y="291"/>
                    </a:lnTo>
                    <a:lnTo>
                      <a:pt x="24" y="291"/>
                    </a:lnTo>
                    <a:lnTo>
                      <a:pt x="22" y="290"/>
                    </a:lnTo>
                    <a:lnTo>
                      <a:pt x="21" y="289"/>
                    </a:lnTo>
                    <a:lnTo>
                      <a:pt x="21" y="288"/>
                    </a:lnTo>
                    <a:lnTo>
                      <a:pt x="20" y="287"/>
                    </a:lnTo>
                    <a:lnTo>
                      <a:pt x="20" y="286"/>
                    </a:lnTo>
                    <a:lnTo>
                      <a:pt x="21" y="285"/>
                    </a:lnTo>
                    <a:lnTo>
                      <a:pt x="22" y="285"/>
                    </a:lnTo>
                    <a:lnTo>
                      <a:pt x="22" y="284"/>
                    </a:lnTo>
                    <a:lnTo>
                      <a:pt x="22" y="285"/>
                    </a:lnTo>
                    <a:lnTo>
                      <a:pt x="23" y="285"/>
                    </a:lnTo>
                    <a:lnTo>
                      <a:pt x="23" y="287"/>
                    </a:lnTo>
                    <a:lnTo>
                      <a:pt x="24" y="288"/>
                    </a:lnTo>
                    <a:lnTo>
                      <a:pt x="24" y="289"/>
                    </a:lnTo>
                    <a:lnTo>
                      <a:pt x="25" y="289"/>
                    </a:lnTo>
                    <a:lnTo>
                      <a:pt x="26" y="289"/>
                    </a:lnTo>
                    <a:lnTo>
                      <a:pt x="26" y="288"/>
                    </a:lnTo>
                    <a:lnTo>
                      <a:pt x="26" y="287"/>
                    </a:lnTo>
                    <a:lnTo>
                      <a:pt x="26" y="286"/>
                    </a:lnTo>
                    <a:lnTo>
                      <a:pt x="26" y="285"/>
                    </a:lnTo>
                    <a:lnTo>
                      <a:pt x="26" y="284"/>
                    </a:lnTo>
                    <a:lnTo>
                      <a:pt x="26" y="283"/>
                    </a:lnTo>
                    <a:lnTo>
                      <a:pt x="26" y="281"/>
                    </a:lnTo>
                    <a:lnTo>
                      <a:pt x="26" y="280"/>
                    </a:lnTo>
                    <a:lnTo>
                      <a:pt x="27" y="279"/>
                    </a:lnTo>
                    <a:lnTo>
                      <a:pt x="29" y="278"/>
                    </a:lnTo>
                    <a:lnTo>
                      <a:pt x="29" y="277"/>
                    </a:lnTo>
                    <a:lnTo>
                      <a:pt x="32" y="276"/>
                    </a:lnTo>
                    <a:lnTo>
                      <a:pt x="32" y="275"/>
                    </a:lnTo>
                    <a:lnTo>
                      <a:pt x="33" y="274"/>
                    </a:lnTo>
                    <a:lnTo>
                      <a:pt x="33" y="272"/>
                    </a:lnTo>
                    <a:lnTo>
                      <a:pt x="33" y="271"/>
                    </a:lnTo>
                    <a:lnTo>
                      <a:pt x="33" y="270"/>
                    </a:lnTo>
                    <a:lnTo>
                      <a:pt x="34" y="270"/>
                    </a:lnTo>
                    <a:lnTo>
                      <a:pt x="35" y="270"/>
                    </a:lnTo>
                    <a:lnTo>
                      <a:pt x="37" y="270"/>
                    </a:lnTo>
                    <a:lnTo>
                      <a:pt x="38" y="268"/>
                    </a:lnTo>
                    <a:lnTo>
                      <a:pt x="39" y="268"/>
                    </a:lnTo>
                    <a:lnTo>
                      <a:pt x="39" y="267"/>
                    </a:lnTo>
                    <a:lnTo>
                      <a:pt x="39" y="266"/>
                    </a:lnTo>
                    <a:lnTo>
                      <a:pt x="39" y="265"/>
                    </a:lnTo>
                    <a:lnTo>
                      <a:pt x="38" y="264"/>
                    </a:lnTo>
                    <a:lnTo>
                      <a:pt x="37" y="263"/>
                    </a:lnTo>
                    <a:lnTo>
                      <a:pt x="36" y="263"/>
                    </a:lnTo>
                    <a:lnTo>
                      <a:pt x="36" y="262"/>
                    </a:lnTo>
                    <a:lnTo>
                      <a:pt x="37" y="261"/>
                    </a:lnTo>
                    <a:lnTo>
                      <a:pt x="38" y="261"/>
                    </a:lnTo>
                    <a:lnTo>
                      <a:pt x="39" y="261"/>
                    </a:lnTo>
                    <a:lnTo>
                      <a:pt x="40" y="261"/>
                    </a:lnTo>
                    <a:lnTo>
                      <a:pt x="40" y="260"/>
                    </a:lnTo>
                    <a:lnTo>
                      <a:pt x="40" y="259"/>
                    </a:lnTo>
                    <a:lnTo>
                      <a:pt x="40" y="258"/>
                    </a:lnTo>
                    <a:lnTo>
                      <a:pt x="39" y="257"/>
                    </a:lnTo>
                    <a:lnTo>
                      <a:pt x="39" y="255"/>
                    </a:lnTo>
                    <a:lnTo>
                      <a:pt x="39" y="253"/>
                    </a:lnTo>
                    <a:lnTo>
                      <a:pt x="40" y="252"/>
                    </a:lnTo>
                    <a:lnTo>
                      <a:pt x="40" y="251"/>
                    </a:lnTo>
                    <a:lnTo>
                      <a:pt x="40" y="250"/>
                    </a:lnTo>
                    <a:lnTo>
                      <a:pt x="40" y="249"/>
                    </a:lnTo>
                    <a:lnTo>
                      <a:pt x="41" y="249"/>
                    </a:lnTo>
                    <a:lnTo>
                      <a:pt x="42" y="250"/>
                    </a:lnTo>
                    <a:lnTo>
                      <a:pt x="43" y="251"/>
                    </a:lnTo>
                    <a:lnTo>
                      <a:pt x="45" y="252"/>
                    </a:lnTo>
                    <a:lnTo>
                      <a:pt x="45" y="251"/>
                    </a:lnTo>
                    <a:lnTo>
                      <a:pt x="46" y="251"/>
                    </a:lnTo>
                    <a:lnTo>
                      <a:pt x="47" y="249"/>
                    </a:lnTo>
                    <a:lnTo>
                      <a:pt x="48" y="248"/>
                    </a:lnTo>
                    <a:lnTo>
                      <a:pt x="48" y="247"/>
                    </a:lnTo>
                    <a:lnTo>
                      <a:pt x="47" y="247"/>
                    </a:lnTo>
                    <a:lnTo>
                      <a:pt x="46" y="248"/>
                    </a:lnTo>
                    <a:lnTo>
                      <a:pt x="46" y="247"/>
                    </a:lnTo>
                    <a:lnTo>
                      <a:pt x="45" y="247"/>
                    </a:lnTo>
                    <a:lnTo>
                      <a:pt x="45" y="246"/>
                    </a:lnTo>
                    <a:lnTo>
                      <a:pt x="45" y="245"/>
                    </a:lnTo>
                    <a:lnTo>
                      <a:pt x="43" y="245"/>
                    </a:lnTo>
                    <a:lnTo>
                      <a:pt x="43" y="244"/>
                    </a:lnTo>
                    <a:lnTo>
                      <a:pt x="43" y="241"/>
                    </a:lnTo>
                    <a:lnTo>
                      <a:pt x="42" y="240"/>
                    </a:lnTo>
                    <a:lnTo>
                      <a:pt x="42" y="239"/>
                    </a:lnTo>
                    <a:lnTo>
                      <a:pt x="41" y="239"/>
                    </a:lnTo>
                    <a:lnTo>
                      <a:pt x="40" y="239"/>
                    </a:lnTo>
                    <a:lnTo>
                      <a:pt x="39" y="240"/>
                    </a:lnTo>
                    <a:lnTo>
                      <a:pt x="39" y="241"/>
                    </a:lnTo>
                    <a:lnTo>
                      <a:pt x="38" y="241"/>
                    </a:lnTo>
                    <a:lnTo>
                      <a:pt x="37" y="242"/>
                    </a:lnTo>
                    <a:lnTo>
                      <a:pt x="36" y="244"/>
                    </a:lnTo>
                    <a:lnTo>
                      <a:pt x="35" y="244"/>
                    </a:lnTo>
                    <a:lnTo>
                      <a:pt x="35" y="242"/>
                    </a:lnTo>
                    <a:lnTo>
                      <a:pt x="36" y="241"/>
                    </a:lnTo>
                    <a:lnTo>
                      <a:pt x="37" y="241"/>
                    </a:lnTo>
                    <a:lnTo>
                      <a:pt x="37" y="240"/>
                    </a:lnTo>
                    <a:lnTo>
                      <a:pt x="37" y="239"/>
                    </a:lnTo>
                    <a:lnTo>
                      <a:pt x="36" y="238"/>
                    </a:lnTo>
                    <a:lnTo>
                      <a:pt x="36" y="237"/>
                    </a:lnTo>
                    <a:lnTo>
                      <a:pt x="36" y="236"/>
                    </a:lnTo>
                    <a:lnTo>
                      <a:pt x="37" y="235"/>
                    </a:lnTo>
                    <a:lnTo>
                      <a:pt x="38" y="234"/>
                    </a:lnTo>
                    <a:lnTo>
                      <a:pt x="39" y="233"/>
                    </a:lnTo>
                    <a:lnTo>
                      <a:pt x="39" y="230"/>
                    </a:lnTo>
                    <a:lnTo>
                      <a:pt x="40" y="229"/>
                    </a:lnTo>
                    <a:lnTo>
                      <a:pt x="39" y="229"/>
                    </a:lnTo>
                    <a:lnTo>
                      <a:pt x="39" y="228"/>
                    </a:lnTo>
                    <a:lnTo>
                      <a:pt x="39" y="227"/>
                    </a:lnTo>
                    <a:lnTo>
                      <a:pt x="39" y="226"/>
                    </a:lnTo>
                    <a:lnTo>
                      <a:pt x="39" y="225"/>
                    </a:lnTo>
                    <a:lnTo>
                      <a:pt x="40" y="224"/>
                    </a:lnTo>
                    <a:lnTo>
                      <a:pt x="40" y="223"/>
                    </a:lnTo>
                    <a:lnTo>
                      <a:pt x="39" y="223"/>
                    </a:lnTo>
                    <a:lnTo>
                      <a:pt x="39" y="224"/>
                    </a:lnTo>
                    <a:lnTo>
                      <a:pt x="38" y="224"/>
                    </a:lnTo>
                    <a:lnTo>
                      <a:pt x="37" y="224"/>
                    </a:lnTo>
                    <a:lnTo>
                      <a:pt x="37" y="223"/>
                    </a:lnTo>
                    <a:lnTo>
                      <a:pt x="37" y="222"/>
                    </a:lnTo>
                    <a:lnTo>
                      <a:pt x="37" y="221"/>
                    </a:lnTo>
                    <a:lnTo>
                      <a:pt x="37" y="220"/>
                    </a:lnTo>
                    <a:lnTo>
                      <a:pt x="36" y="220"/>
                    </a:lnTo>
                    <a:lnTo>
                      <a:pt x="36" y="221"/>
                    </a:lnTo>
                    <a:lnTo>
                      <a:pt x="35" y="221"/>
                    </a:lnTo>
                    <a:lnTo>
                      <a:pt x="35" y="220"/>
                    </a:lnTo>
                    <a:lnTo>
                      <a:pt x="34" y="220"/>
                    </a:lnTo>
                    <a:lnTo>
                      <a:pt x="35" y="219"/>
                    </a:lnTo>
                    <a:lnTo>
                      <a:pt x="35" y="217"/>
                    </a:lnTo>
                    <a:lnTo>
                      <a:pt x="35" y="216"/>
                    </a:lnTo>
                    <a:lnTo>
                      <a:pt x="35" y="215"/>
                    </a:lnTo>
                    <a:lnTo>
                      <a:pt x="34" y="215"/>
                    </a:lnTo>
                    <a:lnTo>
                      <a:pt x="33" y="214"/>
                    </a:lnTo>
                    <a:lnTo>
                      <a:pt x="33" y="213"/>
                    </a:lnTo>
                    <a:lnTo>
                      <a:pt x="33" y="212"/>
                    </a:lnTo>
                    <a:lnTo>
                      <a:pt x="33" y="211"/>
                    </a:lnTo>
                    <a:lnTo>
                      <a:pt x="34" y="211"/>
                    </a:lnTo>
                    <a:lnTo>
                      <a:pt x="34" y="212"/>
                    </a:lnTo>
                    <a:lnTo>
                      <a:pt x="35" y="212"/>
                    </a:lnTo>
                    <a:lnTo>
                      <a:pt x="36" y="212"/>
                    </a:lnTo>
                    <a:lnTo>
                      <a:pt x="37" y="212"/>
                    </a:lnTo>
                    <a:lnTo>
                      <a:pt x="37" y="211"/>
                    </a:lnTo>
                    <a:lnTo>
                      <a:pt x="37" y="210"/>
                    </a:lnTo>
                    <a:lnTo>
                      <a:pt x="36" y="210"/>
                    </a:lnTo>
                    <a:lnTo>
                      <a:pt x="36" y="209"/>
                    </a:lnTo>
                    <a:lnTo>
                      <a:pt x="36" y="208"/>
                    </a:lnTo>
                    <a:lnTo>
                      <a:pt x="35" y="208"/>
                    </a:lnTo>
                    <a:lnTo>
                      <a:pt x="34" y="208"/>
                    </a:lnTo>
                    <a:lnTo>
                      <a:pt x="34" y="209"/>
                    </a:lnTo>
                    <a:lnTo>
                      <a:pt x="33" y="210"/>
                    </a:lnTo>
                    <a:lnTo>
                      <a:pt x="32" y="210"/>
                    </a:lnTo>
                    <a:lnTo>
                      <a:pt x="32" y="211"/>
                    </a:lnTo>
                    <a:lnTo>
                      <a:pt x="30" y="211"/>
                    </a:lnTo>
                    <a:lnTo>
                      <a:pt x="29" y="210"/>
                    </a:lnTo>
                    <a:lnTo>
                      <a:pt x="29" y="209"/>
                    </a:lnTo>
                    <a:lnTo>
                      <a:pt x="30" y="209"/>
                    </a:lnTo>
                    <a:lnTo>
                      <a:pt x="30" y="208"/>
                    </a:lnTo>
                    <a:lnTo>
                      <a:pt x="32" y="208"/>
                    </a:lnTo>
                    <a:lnTo>
                      <a:pt x="32" y="207"/>
                    </a:lnTo>
                    <a:lnTo>
                      <a:pt x="30" y="207"/>
                    </a:lnTo>
                    <a:lnTo>
                      <a:pt x="30" y="206"/>
                    </a:lnTo>
                    <a:lnTo>
                      <a:pt x="29" y="206"/>
                    </a:lnTo>
                    <a:lnTo>
                      <a:pt x="29" y="204"/>
                    </a:lnTo>
                    <a:lnTo>
                      <a:pt x="30" y="203"/>
                    </a:lnTo>
                    <a:lnTo>
                      <a:pt x="32" y="204"/>
                    </a:lnTo>
                    <a:lnTo>
                      <a:pt x="32" y="203"/>
                    </a:lnTo>
                    <a:lnTo>
                      <a:pt x="32" y="202"/>
                    </a:lnTo>
                    <a:lnTo>
                      <a:pt x="32" y="200"/>
                    </a:lnTo>
                    <a:lnTo>
                      <a:pt x="32" y="199"/>
                    </a:lnTo>
                    <a:lnTo>
                      <a:pt x="30" y="201"/>
                    </a:lnTo>
                    <a:lnTo>
                      <a:pt x="29" y="201"/>
                    </a:lnTo>
                    <a:lnTo>
                      <a:pt x="28" y="200"/>
                    </a:lnTo>
                    <a:lnTo>
                      <a:pt x="27" y="199"/>
                    </a:lnTo>
                    <a:lnTo>
                      <a:pt x="28" y="198"/>
                    </a:lnTo>
                    <a:lnTo>
                      <a:pt x="29" y="198"/>
                    </a:lnTo>
                    <a:lnTo>
                      <a:pt x="30" y="198"/>
                    </a:lnTo>
                    <a:lnTo>
                      <a:pt x="30" y="197"/>
                    </a:lnTo>
                    <a:lnTo>
                      <a:pt x="30" y="196"/>
                    </a:lnTo>
                    <a:lnTo>
                      <a:pt x="29" y="196"/>
                    </a:lnTo>
                    <a:lnTo>
                      <a:pt x="28" y="196"/>
                    </a:lnTo>
                    <a:lnTo>
                      <a:pt x="28" y="195"/>
                    </a:lnTo>
                    <a:lnTo>
                      <a:pt x="29" y="195"/>
                    </a:lnTo>
                    <a:lnTo>
                      <a:pt x="30" y="195"/>
                    </a:lnTo>
                    <a:lnTo>
                      <a:pt x="29" y="195"/>
                    </a:lnTo>
                    <a:lnTo>
                      <a:pt x="28" y="195"/>
                    </a:lnTo>
                    <a:lnTo>
                      <a:pt x="28" y="194"/>
                    </a:lnTo>
                    <a:lnTo>
                      <a:pt x="28" y="193"/>
                    </a:lnTo>
                    <a:lnTo>
                      <a:pt x="29" y="191"/>
                    </a:lnTo>
                    <a:lnTo>
                      <a:pt x="30" y="191"/>
                    </a:lnTo>
                    <a:lnTo>
                      <a:pt x="30" y="190"/>
                    </a:lnTo>
                    <a:lnTo>
                      <a:pt x="32" y="190"/>
                    </a:lnTo>
                    <a:lnTo>
                      <a:pt x="32" y="191"/>
                    </a:lnTo>
                    <a:lnTo>
                      <a:pt x="33" y="193"/>
                    </a:lnTo>
                    <a:lnTo>
                      <a:pt x="34" y="191"/>
                    </a:lnTo>
                    <a:lnTo>
                      <a:pt x="34" y="190"/>
                    </a:lnTo>
                    <a:lnTo>
                      <a:pt x="34" y="189"/>
                    </a:lnTo>
                    <a:lnTo>
                      <a:pt x="33" y="188"/>
                    </a:lnTo>
                    <a:lnTo>
                      <a:pt x="33" y="187"/>
                    </a:lnTo>
                    <a:lnTo>
                      <a:pt x="34" y="186"/>
                    </a:lnTo>
                    <a:lnTo>
                      <a:pt x="35" y="186"/>
                    </a:lnTo>
                    <a:lnTo>
                      <a:pt x="34" y="185"/>
                    </a:lnTo>
                    <a:lnTo>
                      <a:pt x="33" y="185"/>
                    </a:lnTo>
                    <a:lnTo>
                      <a:pt x="33" y="184"/>
                    </a:lnTo>
                    <a:lnTo>
                      <a:pt x="34" y="184"/>
                    </a:lnTo>
                    <a:lnTo>
                      <a:pt x="34" y="183"/>
                    </a:lnTo>
                    <a:lnTo>
                      <a:pt x="34" y="182"/>
                    </a:lnTo>
                    <a:lnTo>
                      <a:pt x="34" y="181"/>
                    </a:lnTo>
                    <a:lnTo>
                      <a:pt x="35" y="181"/>
                    </a:lnTo>
                    <a:lnTo>
                      <a:pt x="35" y="182"/>
                    </a:lnTo>
                    <a:lnTo>
                      <a:pt x="36" y="182"/>
                    </a:lnTo>
                    <a:lnTo>
                      <a:pt x="37" y="182"/>
                    </a:lnTo>
                    <a:lnTo>
                      <a:pt x="38" y="182"/>
                    </a:lnTo>
                    <a:lnTo>
                      <a:pt x="38" y="181"/>
                    </a:lnTo>
                    <a:lnTo>
                      <a:pt x="37" y="181"/>
                    </a:lnTo>
                    <a:lnTo>
                      <a:pt x="37" y="180"/>
                    </a:lnTo>
                    <a:lnTo>
                      <a:pt x="37" y="181"/>
                    </a:lnTo>
                    <a:lnTo>
                      <a:pt x="36" y="181"/>
                    </a:lnTo>
                    <a:lnTo>
                      <a:pt x="35" y="180"/>
                    </a:lnTo>
                    <a:lnTo>
                      <a:pt x="35" y="178"/>
                    </a:lnTo>
                    <a:lnTo>
                      <a:pt x="36" y="177"/>
                    </a:lnTo>
                    <a:lnTo>
                      <a:pt x="37" y="177"/>
                    </a:lnTo>
                    <a:lnTo>
                      <a:pt x="38" y="178"/>
                    </a:lnTo>
                    <a:lnTo>
                      <a:pt x="39" y="178"/>
                    </a:lnTo>
                    <a:lnTo>
                      <a:pt x="39" y="177"/>
                    </a:lnTo>
                    <a:lnTo>
                      <a:pt x="38" y="177"/>
                    </a:lnTo>
                    <a:lnTo>
                      <a:pt x="38" y="176"/>
                    </a:lnTo>
                    <a:lnTo>
                      <a:pt x="38" y="175"/>
                    </a:lnTo>
                    <a:lnTo>
                      <a:pt x="37" y="174"/>
                    </a:lnTo>
                    <a:lnTo>
                      <a:pt x="36" y="174"/>
                    </a:lnTo>
                    <a:lnTo>
                      <a:pt x="35" y="174"/>
                    </a:lnTo>
                    <a:lnTo>
                      <a:pt x="35" y="173"/>
                    </a:lnTo>
                    <a:lnTo>
                      <a:pt x="36" y="173"/>
                    </a:lnTo>
                    <a:lnTo>
                      <a:pt x="37" y="173"/>
                    </a:lnTo>
                    <a:lnTo>
                      <a:pt x="37" y="172"/>
                    </a:lnTo>
                    <a:lnTo>
                      <a:pt x="36" y="172"/>
                    </a:lnTo>
                    <a:lnTo>
                      <a:pt x="35" y="172"/>
                    </a:lnTo>
                    <a:lnTo>
                      <a:pt x="35" y="171"/>
                    </a:lnTo>
                    <a:lnTo>
                      <a:pt x="36" y="171"/>
                    </a:lnTo>
                    <a:lnTo>
                      <a:pt x="36" y="170"/>
                    </a:lnTo>
                    <a:lnTo>
                      <a:pt x="35" y="170"/>
                    </a:lnTo>
                    <a:lnTo>
                      <a:pt x="35" y="169"/>
                    </a:lnTo>
                    <a:lnTo>
                      <a:pt x="36" y="169"/>
                    </a:lnTo>
                    <a:lnTo>
                      <a:pt x="37" y="169"/>
                    </a:lnTo>
                    <a:lnTo>
                      <a:pt x="37" y="168"/>
                    </a:lnTo>
                    <a:lnTo>
                      <a:pt x="37" y="167"/>
                    </a:lnTo>
                    <a:lnTo>
                      <a:pt x="37" y="165"/>
                    </a:lnTo>
                    <a:lnTo>
                      <a:pt x="38" y="164"/>
                    </a:lnTo>
                    <a:lnTo>
                      <a:pt x="38" y="163"/>
                    </a:lnTo>
                    <a:lnTo>
                      <a:pt x="39" y="163"/>
                    </a:lnTo>
                    <a:lnTo>
                      <a:pt x="39" y="162"/>
                    </a:lnTo>
                    <a:lnTo>
                      <a:pt x="38" y="162"/>
                    </a:lnTo>
                    <a:lnTo>
                      <a:pt x="37" y="162"/>
                    </a:lnTo>
                    <a:lnTo>
                      <a:pt x="36" y="162"/>
                    </a:lnTo>
                    <a:lnTo>
                      <a:pt x="36" y="161"/>
                    </a:lnTo>
                    <a:lnTo>
                      <a:pt x="36" y="160"/>
                    </a:lnTo>
                    <a:lnTo>
                      <a:pt x="37" y="160"/>
                    </a:lnTo>
                    <a:lnTo>
                      <a:pt x="37" y="159"/>
                    </a:lnTo>
                    <a:lnTo>
                      <a:pt x="36" y="159"/>
                    </a:lnTo>
                    <a:lnTo>
                      <a:pt x="36" y="160"/>
                    </a:lnTo>
                    <a:lnTo>
                      <a:pt x="35" y="159"/>
                    </a:lnTo>
                    <a:lnTo>
                      <a:pt x="35" y="158"/>
                    </a:lnTo>
                    <a:lnTo>
                      <a:pt x="36" y="158"/>
                    </a:lnTo>
                    <a:lnTo>
                      <a:pt x="37" y="158"/>
                    </a:lnTo>
                    <a:lnTo>
                      <a:pt x="37" y="157"/>
                    </a:lnTo>
                    <a:lnTo>
                      <a:pt x="36" y="158"/>
                    </a:lnTo>
                    <a:lnTo>
                      <a:pt x="35" y="158"/>
                    </a:lnTo>
                    <a:lnTo>
                      <a:pt x="35" y="157"/>
                    </a:lnTo>
                    <a:lnTo>
                      <a:pt x="36" y="156"/>
                    </a:lnTo>
                    <a:lnTo>
                      <a:pt x="36" y="155"/>
                    </a:lnTo>
                    <a:lnTo>
                      <a:pt x="35" y="155"/>
                    </a:lnTo>
                    <a:lnTo>
                      <a:pt x="34" y="155"/>
                    </a:lnTo>
                    <a:lnTo>
                      <a:pt x="34" y="154"/>
                    </a:lnTo>
                    <a:lnTo>
                      <a:pt x="35" y="154"/>
                    </a:lnTo>
                    <a:lnTo>
                      <a:pt x="36" y="154"/>
                    </a:lnTo>
                    <a:lnTo>
                      <a:pt x="37" y="154"/>
                    </a:lnTo>
                    <a:lnTo>
                      <a:pt x="37" y="152"/>
                    </a:lnTo>
                    <a:lnTo>
                      <a:pt x="37" y="151"/>
                    </a:lnTo>
                    <a:lnTo>
                      <a:pt x="37" y="150"/>
                    </a:lnTo>
                    <a:lnTo>
                      <a:pt x="38" y="149"/>
                    </a:lnTo>
                    <a:lnTo>
                      <a:pt x="38" y="148"/>
                    </a:lnTo>
                    <a:lnTo>
                      <a:pt x="37" y="148"/>
                    </a:lnTo>
                    <a:lnTo>
                      <a:pt x="36" y="148"/>
                    </a:lnTo>
                    <a:lnTo>
                      <a:pt x="35" y="148"/>
                    </a:lnTo>
                    <a:lnTo>
                      <a:pt x="35" y="147"/>
                    </a:lnTo>
                    <a:lnTo>
                      <a:pt x="35" y="146"/>
                    </a:lnTo>
                    <a:lnTo>
                      <a:pt x="36" y="146"/>
                    </a:lnTo>
                    <a:lnTo>
                      <a:pt x="37" y="146"/>
                    </a:lnTo>
                    <a:lnTo>
                      <a:pt x="37" y="145"/>
                    </a:lnTo>
                    <a:lnTo>
                      <a:pt x="38" y="144"/>
                    </a:lnTo>
                    <a:lnTo>
                      <a:pt x="38" y="143"/>
                    </a:lnTo>
                    <a:lnTo>
                      <a:pt x="38" y="142"/>
                    </a:lnTo>
                    <a:lnTo>
                      <a:pt x="37" y="142"/>
                    </a:lnTo>
                    <a:lnTo>
                      <a:pt x="37" y="140"/>
                    </a:lnTo>
                    <a:lnTo>
                      <a:pt x="36" y="140"/>
                    </a:lnTo>
                    <a:lnTo>
                      <a:pt x="36" y="139"/>
                    </a:lnTo>
                    <a:lnTo>
                      <a:pt x="35" y="140"/>
                    </a:lnTo>
                    <a:lnTo>
                      <a:pt x="35" y="143"/>
                    </a:lnTo>
                    <a:lnTo>
                      <a:pt x="34" y="144"/>
                    </a:lnTo>
                    <a:lnTo>
                      <a:pt x="33" y="144"/>
                    </a:lnTo>
                    <a:lnTo>
                      <a:pt x="33" y="143"/>
                    </a:lnTo>
                    <a:lnTo>
                      <a:pt x="33" y="142"/>
                    </a:lnTo>
                    <a:lnTo>
                      <a:pt x="34" y="140"/>
                    </a:lnTo>
                    <a:lnTo>
                      <a:pt x="33" y="140"/>
                    </a:lnTo>
                    <a:lnTo>
                      <a:pt x="32" y="138"/>
                    </a:lnTo>
                    <a:lnTo>
                      <a:pt x="30" y="138"/>
                    </a:lnTo>
                    <a:lnTo>
                      <a:pt x="32" y="138"/>
                    </a:lnTo>
                    <a:lnTo>
                      <a:pt x="32" y="139"/>
                    </a:lnTo>
                    <a:lnTo>
                      <a:pt x="30" y="139"/>
                    </a:lnTo>
                    <a:lnTo>
                      <a:pt x="29" y="138"/>
                    </a:lnTo>
                    <a:lnTo>
                      <a:pt x="29" y="137"/>
                    </a:lnTo>
                    <a:lnTo>
                      <a:pt x="28" y="137"/>
                    </a:lnTo>
                    <a:lnTo>
                      <a:pt x="27" y="138"/>
                    </a:lnTo>
                    <a:lnTo>
                      <a:pt x="26" y="138"/>
                    </a:lnTo>
                    <a:lnTo>
                      <a:pt x="25" y="138"/>
                    </a:lnTo>
                    <a:lnTo>
                      <a:pt x="25" y="136"/>
                    </a:lnTo>
                    <a:lnTo>
                      <a:pt x="24" y="136"/>
                    </a:lnTo>
                    <a:lnTo>
                      <a:pt x="24" y="137"/>
                    </a:lnTo>
                    <a:lnTo>
                      <a:pt x="23" y="137"/>
                    </a:lnTo>
                    <a:lnTo>
                      <a:pt x="23" y="136"/>
                    </a:lnTo>
                    <a:lnTo>
                      <a:pt x="22" y="136"/>
                    </a:lnTo>
                    <a:lnTo>
                      <a:pt x="21" y="136"/>
                    </a:lnTo>
                    <a:lnTo>
                      <a:pt x="21" y="135"/>
                    </a:lnTo>
                    <a:lnTo>
                      <a:pt x="20" y="135"/>
                    </a:lnTo>
                    <a:lnTo>
                      <a:pt x="18" y="135"/>
                    </a:lnTo>
                    <a:lnTo>
                      <a:pt x="17" y="135"/>
                    </a:lnTo>
                    <a:lnTo>
                      <a:pt x="18" y="134"/>
                    </a:lnTo>
                    <a:lnTo>
                      <a:pt x="20" y="134"/>
                    </a:lnTo>
                    <a:lnTo>
                      <a:pt x="20" y="133"/>
                    </a:lnTo>
                    <a:lnTo>
                      <a:pt x="18" y="133"/>
                    </a:lnTo>
                    <a:lnTo>
                      <a:pt x="17" y="133"/>
                    </a:lnTo>
                    <a:lnTo>
                      <a:pt x="17" y="132"/>
                    </a:lnTo>
                    <a:lnTo>
                      <a:pt x="16" y="132"/>
                    </a:lnTo>
                    <a:lnTo>
                      <a:pt x="15" y="134"/>
                    </a:lnTo>
                    <a:lnTo>
                      <a:pt x="14" y="134"/>
                    </a:lnTo>
                    <a:lnTo>
                      <a:pt x="14" y="133"/>
                    </a:lnTo>
                    <a:lnTo>
                      <a:pt x="14" y="132"/>
                    </a:lnTo>
                    <a:lnTo>
                      <a:pt x="13" y="132"/>
                    </a:lnTo>
                    <a:lnTo>
                      <a:pt x="13" y="131"/>
                    </a:lnTo>
                    <a:lnTo>
                      <a:pt x="14" y="131"/>
                    </a:lnTo>
                    <a:lnTo>
                      <a:pt x="15" y="131"/>
                    </a:lnTo>
                    <a:lnTo>
                      <a:pt x="15" y="130"/>
                    </a:lnTo>
                    <a:lnTo>
                      <a:pt x="15" y="129"/>
                    </a:lnTo>
                    <a:lnTo>
                      <a:pt x="14" y="129"/>
                    </a:lnTo>
                    <a:lnTo>
                      <a:pt x="13" y="127"/>
                    </a:lnTo>
                    <a:lnTo>
                      <a:pt x="13" y="126"/>
                    </a:lnTo>
                    <a:lnTo>
                      <a:pt x="12" y="126"/>
                    </a:lnTo>
                    <a:lnTo>
                      <a:pt x="11" y="126"/>
                    </a:lnTo>
                    <a:lnTo>
                      <a:pt x="12" y="124"/>
                    </a:lnTo>
                    <a:lnTo>
                      <a:pt x="12" y="123"/>
                    </a:lnTo>
                    <a:lnTo>
                      <a:pt x="11" y="123"/>
                    </a:lnTo>
                    <a:lnTo>
                      <a:pt x="10" y="123"/>
                    </a:lnTo>
                    <a:lnTo>
                      <a:pt x="10" y="122"/>
                    </a:lnTo>
                    <a:lnTo>
                      <a:pt x="11" y="122"/>
                    </a:lnTo>
                    <a:lnTo>
                      <a:pt x="11" y="121"/>
                    </a:lnTo>
                    <a:lnTo>
                      <a:pt x="10" y="121"/>
                    </a:lnTo>
                    <a:lnTo>
                      <a:pt x="9" y="120"/>
                    </a:lnTo>
                    <a:lnTo>
                      <a:pt x="10" y="120"/>
                    </a:lnTo>
                    <a:lnTo>
                      <a:pt x="10" y="119"/>
                    </a:lnTo>
                    <a:lnTo>
                      <a:pt x="9" y="119"/>
                    </a:lnTo>
                    <a:lnTo>
                      <a:pt x="8" y="119"/>
                    </a:lnTo>
                    <a:lnTo>
                      <a:pt x="8" y="118"/>
                    </a:lnTo>
                    <a:lnTo>
                      <a:pt x="7" y="117"/>
                    </a:lnTo>
                    <a:lnTo>
                      <a:pt x="7" y="116"/>
                    </a:lnTo>
                    <a:lnTo>
                      <a:pt x="8" y="116"/>
                    </a:lnTo>
                    <a:lnTo>
                      <a:pt x="9" y="116"/>
                    </a:lnTo>
                    <a:lnTo>
                      <a:pt x="9" y="114"/>
                    </a:lnTo>
                    <a:lnTo>
                      <a:pt x="9" y="113"/>
                    </a:lnTo>
                    <a:lnTo>
                      <a:pt x="8" y="114"/>
                    </a:lnTo>
                    <a:lnTo>
                      <a:pt x="7" y="114"/>
                    </a:lnTo>
                    <a:lnTo>
                      <a:pt x="7" y="113"/>
                    </a:lnTo>
                    <a:lnTo>
                      <a:pt x="7" y="112"/>
                    </a:lnTo>
                    <a:lnTo>
                      <a:pt x="5" y="112"/>
                    </a:lnTo>
                    <a:lnTo>
                      <a:pt x="4" y="112"/>
                    </a:lnTo>
                    <a:lnTo>
                      <a:pt x="4" y="113"/>
                    </a:lnTo>
                    <a:lnTo>
                      <a:pt x="3" y="113"/>
                    </a:lnTo>
                    <a:lnTo>
                      <a:pt x="2" y="113"/>
                    </a:lnTo>
                    <a:lnTo>
                      <a:pt x="1" y="113"/>
                    </a:lnTo>
                    <a:lnTo>
                      <a:pt x="1" y="112"/>
                    </a:lnTo>
                    <a:lnTo>
                      <a:pt x="0" y="111"/>
                    </a:lnTo>
                    <a:lnTo>
                      <a:pt x="1" y="111"/>
                    </a:lnTo>
                    <a:lnTo>
                      <a:pt x="1" y="110"/>
                    </a:lnTo>
                    <a:lnTo>
                      <a:pt x="2" y="110"/>
                    </a:lnTo>
                    <a:lnTo>
                      <a:pt x="2" y="109"/>
                    </a:lnTo>
                    <a:lnTo>
                      <a:pt x="3" y="109"/>
                    </a:lnTo>
                    <a:lnTo>
                      <a:pt x="3" y="108"/>
                    </a:lnTo>
                    <a:lnTo>
                      <a:pt x="4" y="107"/>
                    </a:lnTo>
                    <a:lnTo>
                      <a:pt x="3" y="107"/>
                    </a:lnTo>
                    <a:lnTo>
                      <a:pt x="2" y="107"/>
                    </a:lnTo>
                    <a:lnTo>
                      <a:pt x="1" y="106"/>
                    </a:lnTo>
                    <a:lnTo>
                      <a:pt x="0" y="105"/>
                    </a:lnTo>
                    <a:lnTo>
                      <a:pt x="0" y="104"/>
                    </a:lnTo>
                    <a:lnTo>
                      <a:pt x="1" y="104"/>
                    </a:lnTo>
                    <a:lnTo>
                      <a:pt x="2" y="104"/>
                    </a:lnTo>
                    <a:lnTo>
                      <a:pt x="3" y="105"/>
                    </a:lnTo>
                    <a:lnTo>
                      <a:pt x="4" y="105"/>
                    </a:lnTo>
                    <a:lnTo>
                      <a:pt x="4" y="104"/>
                    </a:lnTo>
                    <a:lnTo>
                      <a:pt x="3" y="104"/>
                    </a:lnTo>
                    <a:lnTo>
                      <a:pt x="3" y="103"/>
                    </a:lnTo>
                    <a:lnTo>
                      <a:pt x="2" y="103"/>
                    </a:lnTo>
                    <a:lnTo>
                      <a:pt x="1" y="103"/>
                    </a:lnTo>
                    <a:lnTo>
                      <a:pt x="1" y="101"/>
                    </a:lnTo>
                    <a:lnTo>
                      <a:pt x="2" y="101"/>
                    </a:lnTo>
                    <a:lnTo>
                      <a:pt x="3" y="100"/>
                    </a:lnTo>
                    <a:lnTo>
                      <a:pt x="4" y="100"/>
                    </a:lnTo>
                    <a:lnTo>
                      <a:pt x="4" y="99"/>
                    </a:lnTo>
                    <a:lnTo>
                      <a:pt x="5" y="99"/>
                    </a:lnTo>
                    <a:lnTo>
                      <a:pt x="4" y="98"/>
                    </a:lnTo>
                    <a:lnTo>
                      <a:pt x="3" y="98"/>
                    </a:lnTo>
                    <a:lnTo>
                      <a:pt x="2" y="97"/>
                    </a:lnTo>
                    <a:lnTo>
                      <a:pt x="3" y="96"/>
                    </a:lnTo>
                    <a:lnTo>
                      <a:pt x="4" y="96"/>
                    </a:lnTo>
                    <a:lnTo>
                      <a:pt x="4" y="95"/>
                    </a:lnTo>
                    <a:lnTo>
                      <a:pt x="3" y="95"/>
                    </a:lnTo>
                    <a:lnTo>
                      <a:pt x="3" y="94"/>
                    </a:lnTo>
                    <a:lnTo>
                      <a:pt x="3" y="93"/>
                    </a:lnTo>
                    <a:lnTo>
                      <a:pt x="3" y="92"/>
                    </a:lnTo>
                    <a:lnTo>
                      <a:pt x="4" y="92"/>
                    </a:lnTo>
                    <a:lnTo>
                      <a:pt x="4" y="93"/>
                    </a:lnTo>
                    <a:lnTo>
                      <a:pt x="4" y="94"/>
                    </a:lnTo>
                    <a:lnTo>
                      <a:pt x="5" y="95"/>
                    </a:lnTo>
                    <a:lnTo>
                      <a:pt x="7" y="95"/>
                    </a:lnTo>
                    <a:lnTo>
                      <a:pt x="7" y="94"/>
                    </a:lnTo>
                    <a:lnTo>
                      <a:pt x="7" y="93"/>
                    </a:lnTo>
                    <a:lnTo>
                      <a:pt x="8" y="93"/>
                    </a:lnTo>
                    <a:lnTo>
                      <a:pt x="9" y="93"/>
                    </a:lnTo>
                    <a:lnTo>
                      <a:pt x="10" y="93"/>
                    </a:lnTo>
                    <a:lnTo>
                      <a:pt x="10" y="92"/>
                    </a:lnTo>
                    <a:lnTo>
                      <a:pt x="9" y="92"/>
                    </a:lnTo>
                    <a:lnTo>
                      <a:pt x="9" y="91"/>
                    </a:lnTo>
                    <a:lnTo>
                      <a:pt x="7" y="90"/>
                    </a:lnTo>
                    <a:lnTo>
                      <a:pt x="5" y="90"/>
                    </a:lnTo>
                    <a:lnTo>
                      <a:pt x="5" y="88"/>
                    </a:lnTo>
                    <a:lnTo>
                      <a:pt x="4" y="88"/>
                    </a:lnTo>
                    <a:lnTo>
                      <a:pt x="4" y="87"/>
                    </a:lnTo>
                    <a:lnTo>
                      <a:pt x="4" y="86"/>
                    </a:lnTo>
                    <a:lnTo>
                      <a:pt x="4" y="85"/>
                    </a:lnTo>
                    <a:lnTo>
                      <a:pt x="5" y="85"/>
                    </a:lnTo>
                    <a:lnTo>
                      <a:pt x="5" y="86"/>
                    </a:lnTo>
                    <a:lnTo>
                      <a:pt x="5" y="87"/>
                    </a:lnTo>
                    <a:lnTo>
                      <a:pt x="7" y="88"/>
                    </a:lnTo>
                    <a:lnTo>
                      <a:pt x="7" y="87"/>
                    </a:lnTo>
                    <a:lnTo>
                      <a:pt x="8" y="87"/>
                    </a:lnTo>
                    <a:lnTo>
                      <a:pt x="7" y="86"/>
                    </a:lnTo>
                    <a:lnTo>
                      <a:pt x="7" y="85"/>
                    </a:lnTo>
                    <a:lnTo>
                      <a:pt x="7" y="84"/>
                    </a:lnTo>
                    <a:lnTo>
                      <a:pt x="7" y="83"/>
                    </a:lnTo>
                    <a:lnTo>
                      <a:pt x="7" y="81"/>
                    </a:lnTo>
                    <a:lnTo>
                      <a:pt x="7" y="79"/>
                    </a:lnTo>
                    <a:lnTo>
                      <a:pt x="7" y="78"/>
                    </a:lnTo>
                    <a:lnTo>
                      <a:pt x="7" y="77"/>
                    </a:lnTo>
                    <a:lnTo>
                      <a:pt x="5" y="77"/>
                    </a:lnTo>
                    <a:lnTo>
                      <a:pt x="4" y="75"/>
                    </a:lnTo>
                    <a:lnTo>
                      <a:pt x="4" y="74"/>
                    </a:lnTo>
                    <a:lnTo>
                      <a:pt x="5" y="74"/>
                    </a:lnTo>
                    <a:lnTo>
                      <a:pt x="5" y="75"/>
                    </a:lnTo>
                    <a:lnTo>
                      <a:pt x="7" y="75"/>
                    </a:lnTo>
                    <a:lnTo>
                      <a:pt x="7" y="74"/>
                    </a:lnTo>
                    <a:lnTo>
                      <a:pt x="8" y="74"/>
                    </a:lnTo>
                    <a:lnTo>
                      <a:pt x="8" y="73"/>
                    </a:lnTo>
                    <a:lnTo>
                      <a:pt x="7" y="73"/>
                    </a:lnTo>
                    <a:lnTo>
                      <a:pt x="5" y="73"/>
                    </a:lnTo>
                    <a:lnTo>
                      <a:pt x="4" y="73"/>
                    </a:lnTo>
                    <a:lnTo>
                      <a:pt x="4" y="72"/>
                    </a:lnTo>
                    <a:lnTo>
                      <a:pt x="5" y="71"/>
                    </a:lnTo>
                    <a:lnTo>
                      <a:pt x="5" y="70"/>
                    </a:lnTo>
                    <a:lnTo>
                      <a:pt x="7" y="70"/>
                    </a:lnTo>
                    <a:lnTo>
                      <a:pt x="8" y="69"/>
                    </a:lnTo>
                    <a:lnTo>
                      <a:pt x="9" y="69"/>
                    </a:lnTo>
                    <a:lnTo>
                      <a:pt x="9" y="67"/>
                    </a:lnTo>
                    <a:lnTo>
                      <a:pt x="10" y="67"/>
                    </a:lnTo>
                    <a:lnTo>
                      <a:pt x="11" y="66"/>
                    </a:lnTo>
                    <a:lnTo>
                      <a:pt x="12" y="66"/>
                    </a:lnTo>
                    <a:lnTo>
                      <a:pt x="12" y="67"/>
                    </a:lnTo>
                    <a:lnTo>
                      <a:pt x="13" y="66"/>
                    </a:lnTo>
                    <a:lnTo>
                      <a:pt x="13" y="65"/>
                    </a:lnTo>
                    <a:lnTo>
                      <a:pt x="14" y="65"/>
                    </a:lnTo>
                    <a:lnTo>
                      <a:pt x="14" y="63"/>
                    </a:lnTo>
                    <a:lnTo>
                      <a:pt x="15" y="63"/>
                    </a:lnTo>
                    <a:lnTo>
                      <a:pt x="15" y="62"/>
                    </a:lnTo>
                    <a:lnTo>
                      <a:pt x="38" y="62"/>
                    </a:lnTo>
                    <a:lnTo>
                      <a:pt x="45" y="62"/>
                    </a:lnTo>
                    <a:lnTo>
                      <a:pt x="49" y="62"/>
                    </a:lnTo>
                    <a:lnTo>
                      <a:pt x="55" y="61"/>
                    </a:lnTo>
                    <a:lnTo>
                      <a:pt x="58" y="62"/>
                    </a:lnTo>
                    <a:lnTo>
                      <a:pt x="59" y="61"/>
                    </a:lnTo>
                    <a:lnTo>
                      <a:pt x="62" y="62"/>
                    </a:lnTo>
                    <a:lnTo>
                      <a:pt x="67" y="62"/>
                    </a:lnTo>
                    <a:lnTo>
                      <a:pt x="75" y="62"/>
                    </a:lnTo>
                    <a:lnTo>
                      <a:pt x="88" y="62"/>
                    </a:lnTo>
                    <a:lnTo>
                      <a:pt x="97" y="61"/>
                    </a:lnTo>
                    <a:lnTo>
                      <a:pt x="106" y="61"/>
                    </a:lnTo>
                    <a:lnTo>
                      <a:pt x="112" y="61"/>
                    </a:lnTo>
                    <a:lnTo>
                      <a:pt x="128" y="61"/>
                    </a:lnTo>
                    <a:lnTo>
                      <a:pt x="134" y="62"/>
                    </a:lnTo>
                    <a:lnTo>
                      <a:pt x="147" y="62"/>
                    </a:lnTo>
                    <a:lnTo>
                      <a:pt x="150" y="62"/>
                    </a:lnTo>
                    <a:lnTo>
                      <a:pt x="151" y="62"/>
                    </a:lnTo>
                    <a:lnTo>
                      <a:pt x="153" y="62"/>
                    </a:lnTo>
                    <a:lnTo>
                      <a:pt x="154" y="62"/>
                    </a:lnTo>
                    <a:lnTo>
                      <a:pt x="163" y="62"/>
                    </a:lnTo>
                    <a:lnTo>
                      <a:pt x="171" y="62"/>
                    </a:lnTo>
                    <a:lnTo>
                      <a:pt x="171" y="48"/>
                    </a:lnTo>
                    <a:lnTo>
                      <a:pt x="171" y="30"/>
                    </a:lnTo>
                    <a:lnTo>
                      <a:pt x="171" y="24"/>
                    </a:lnTo>
                    <a:lnTo>
                      <a:pt x="171" y="10"/>
                    </a:lnTo>
                    <a:lnTo>
                      <a:pt x="171" y="0"/>
                    </a:lnTo>
                    <a:lnTo>
                      <a:pt x="202" y="0"/>
                    </a:lnTo>
                    <a:lnTo>
                      <a:pt x="213" y="0"/>
                    </a:lnTo>
                    <a:lnTo>
                      <a:pt x="224" y="0"/>
                    </a:lnTo>
                    <a:lnTo>
                      <a:pt x="234" y="0"/>
                    </a:lnTo>
                    <a:lnTo>
                      <a:pt x="234" y="10"/>
                    </a:lnTo>
                    <a:lnTo>
                      <a:pt x="234" y="20"/>
                    </a:lnTo>
                    <a:lnTo>
                      <a:pt x="234" y="21"/>
                    </a:lnTo>
                    <a:lnTo>
                      <a:pt x="234" y="28"/>
                    </a:lnTo>
                    <a:lnTo>
                      <a:pt x="233" y="30"/>
                    </a:lnTo>
                    <a:lnTo>
                      <a:pt x="233" y="31"/>
                    </a:lnTo>
                    <a:lnTo>
                      <a:pt x="233" y="37"/>
                    </a:lnTo>
                    <a:lnTo>
                      <a:pt x="233" y="41"/>
                    </a:lnTo>
                    <a:lnTo>
                      <a:pt x="233" y="53"/>
                    </a:lnTo>
                    <a:lnTo>
                      <a:pt x="233" y="59"/>
                    </a:lnTo>
                    <a:lnTo>
                      <a:pt x="233" y="62"/>
                    </a:lnTo>
                    <a:lnTo>
                      <a:pt x="240" y="62"/>
                    </a:lnTo>
                    <a:lnTo>
                      <a:pt x="265" y="61"/>
                    </a:lnTo>
                    <a:lnTo>
                      <a:pt x="276" y="61"/>
                    </a:lnTo>
                    <a:lnTo>
                      <a:pt x="300" y="61"/>
                    </a:lnTo>
                    <a:lnTo>
                      <a:pt x="306" y="61"/>
                    </a:lnTo>
                    <a:lnTo>
                      <a:pt x="316" y="61"/>
                    </a:lnTo>
                    <a:lnTo>
                      <a:pt x="319" y="61"/>
                    </a:lnTo>
                    <a:lnTo>
                      <a:pt x="326" y="61"/>
                    </a:lnTo>
                    <a:lnTo>
                      <a:pt x="376" y="61"/>
                    </a:lnTo>
                    <a:lnTo>
                      <a:pt x="384" y="61"/>
                    </a:lnTo>
                    <a:lnTo>
                      <a:pt x="389" y="61"/>
                    </a:lnTo>
                    <a:close/>
                  </a:path>
                </a:pathLst>
              </a:custGeom>
              <a:grpFill/>
              <a:ln w="19050">
                <a:solidFill>
                  <a:srgbClr val="FFC000"/>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43" name="Freeform 42">
                <a:extLst>
                  <a:ext uri="{FF2B5EF4-FFF2-40B4-BE49-F238E27FC236}">
                    <a16:creationId xmlns:a16="http://schemas.microsoft.com/office/drawing/2014/main" id="{D35D0AB4-E61B-21EA-45C7-4A119EC36684}"/>
                  </a:ext>
                </a:extLst>
              </p:cNvPr>
              <p:cNvSpPr>
                <a:spLocks/>
              </p:cNvSpPr>
              <p:nvPr/>
            </p:nvSpPr>
            <p:spPr bwMode="auto">
              <a:xfrm>
                <a:off x="1711983" y="3279394"/>
                <a:ext cx="884238" cy="714375"/>
              </a:xfrm>
              <a:custGeom>
                <a:avLst/>
                <a:gdLst>
                  <a:gd name="T0" fmla="*/ 492 w 557"/>
                  <a:gd name="T1" fmla="*/ 32 h 450"/>
                  <a:gd name="T2" fmla="*/ 501 w 557"/>
                  <a:gd name="T3" fmla="*/ 39 h 450"/>
                  <a:gd name="T4" fmla="*/ 506 w 557"/>
                  <a:gd name="T5" fmla="*/ 50 h 450"/>
                  <a:gd name="T6" fmla="*/ 504 w 557"/>
                  <a:gd name="T7" fmla="*/ 65 h 450"/>
                  <a:gd name="T8" fmla="*/ 516 w 557"/>
                  <a:gd name="T9" fmla="*/ 85 h 450"/>
                  <a:gd name="T10" fmla="*/ 530 w 557"/>
                  <a:gd name="T11" fmla="*/ 95 h 450"/>
                  <a:gd name="T12" fmla="*/ 531 w 557"/>
                  <a:gd name="T13" fmla="*/ 103 h 450"/>
                  <a:gd name="T14" fmla="*/ 540 w 557"/>
                  <a:gd name="T15" fmla="*/ 102 h 450"/>
                  <a:gd name="T16" fmla="*/ 550 w 557"/>
                  <a:gd name="T17" fmla="*/ 110 h 450"/>
                  <a:gd name="T18" fmla="*/ 552 w 557"/>
                  <a:gd name="T19" fmla="*/ 121 h 450"/>
                  <a:gd name="T20" fmla="*/ 549 w 557"/>
                  <a:gd name="T21" fmla="*/ 128 h 450"/>
                  <a:gd name="T22" fmla="*/ 542 w 557"/>
                  <a:gd name="T23" fmla="*/ 137 h 450"/>
                  <a:gd name="T24" fmla="*/ 535 w 557"/>
                  <a:gd name="T25" fmla="*/ 145 h 450"/>
                  <a:gd name="T26" fmla="*/ 525 w 557"/>
                  <a:gd name="T27" fmla="*/ 151 h 450"/>
                  <a:gd name="T28" fmla="*/ 516 w 557"/>
                  <a:gd name="T29" fmla="*/ 153 h 450"/>
                  <a:gd name="T30" fmla="*/ 503 w 557"/>
                  <a:gd name="T31" fmla="*/ 158 h 450"/>
                  <a:gd name="T32" fmla="*/ 493 w 557"/>
                  <a:gd name="T33" fmla="*/ 147 h 450"/>
                  <a:gd name="T34" fmla="*/ 490 w 557"/>
                  <a:gd name="T35" fmla="*/ 136 h 450"/>
                  <a:gd name="T36" fmla="*/ 480 w 557"/>
                  <a:gd name="T37" fmla="*/ 134 h 450"/>
                  <a:gd name="T38" fmla="*/ 470 w 557"/>
                  <a:gd name="T39" fmla="*/ 135 h 450"/>
                  <a:gd name="T40" fmla="*/ 464 w 557"/>
                  <a:gd name="T41" fmla="*/ 138 h 450"/>
                  <a:gd name="T42" fmla="*/ 459 w 557"/>
                  <a:gd name="T43" fmla="*/ 238 h 450"/>
                  <a:gd name="T44" fmla="*/ 458 w 557"/>
                  <a:gd name="T45" fmla="*/ 280 h 450"/>
                  <a:gd name="T46" fmla="*/ 471 w 557"/>
                  <a:gd name="T47" fmla="*/ 379 h 450"/>
                  <a:gd name="T48" fmla="*/ 474 w 557"/>
                  <a:gd name="T49" fmla="*/ 397 h 450"/>
                  <a:gd name="T50" fmla="*/ 400 w 557"/>
                  <a:gd name="T51" fmla="*/ 397 h 450"/>
                  <a:gd name="T52" fmla="*/ 391 w 557"/>
                  <a:gd name="T53" fmla="*/ 392 h 450"/>
                  <a:gd name="T54" fmla="*/ 386 w 557"/>
                  <a:gd name="T55" fmla="*/ 383 h 450"/>
                  <a:gd name="T56" fmla="*/ 376 w 557"/>
                  <a:gd name="T57" fmla="*/ 378 h 450"/>
                  <a:gd name="T58" fmla="*/ 369 w 557"/>
                  <a:gd name="T59" fmla="*/ 372 h 450"/>
                  <a:gd name="T60" fmla="*/ 356 w 557"/>
                  <a:gd name="T61" fmla="*/ 375 h 450"/>
                  <a:gd name="T62" fmla="*/ 348 w 557"/>
                  <a:gd name="T63" fmla="*/ 384 h 450"/>
                  <a:gd name="T64" fmla="*/ 337 w 557"/>
                  <a:gd name="T65" fmla="*/ 392 h 450"/>
                  <a:gd name="T66" fmla="*/ 328 w 557"/>
                  <a:gd name="T67" fmla="*/ 397 h 450"/>
                  <a:gd name="T68" fmla="*/ 309 w 557"/>
                  <a:gd name="T69" fmla="*/ 406 h 450"/>
                  <a:gd name="T70" fmla="*/ 307 w 557"/>
                  <a:gd name="T71" fmla="*/ 420 h 450"/>
                  <a:gd name="T72" fmla="*/ 306 w 557"/>
                  <a:gd name="T73" fmla="*/ 432 h 450"/>
                  <a:gd name="T74" fmla="*/ 298 w 557"/>
                  <a:gd name="T75" fmla="*/ 441 h 450"/>
                  <a:gd name="T76" fmla="*/ 290 w 557"/>
                  <a:gd name="T77" fmla="*/ 445 h 450"/>
                  <a:gd name="T78" fmla="*/ 280 w 557"/>
                  <a:gd name="T79" fmla="*/ 447 h 450"/>
                  <a:gd name="T80" fmla="*/ 272 w 557"/>
                  <a:gd name="T81" fmla="*/ 444 h 450"/>
                  <a:gd name="T82" fmla="*/ 264 w 557"/>
                  <a:gd name="T83" fmla="*/ 441 h 450"/>
                  <a:gd name="T84" fmla="*/ 235 w 557"/>
                  <a:gd name="T85" fmla="*/ 444 h 450"/>
                  <a:gd name="T86" fmla="*/ 108 w 557"/>
                  <a:gd name="T87" fmla="*/ 450 h 450"/>
                  <a:gd name="T88" fmla="*/ 95 w 557"/>
                  <a:gd name="T89" fmla="*/ 298 h 450"/>
                  <a:gd name="T90" fmla="*/ 84 w 557"/>
                  <a:gd name="T91" fmla="*/ 190 h 450"/>
                  <a:gd name="T92" fmla="*/ 63 w 557"/>
                  <a:gd name="T93" fmla="*/ 145 h 450"/>
                  <a:gd name="T94" fmla="*/ 27 w 557"/>
                  <a:gd name="T95" fmla="*/ 134 h 450"/>
                  <a:gd name="T96" fmla="*/ 43 w 557"/>
                  <a:gd name="T97" fmla="*/ 93 h 450"/>
                  <a:gd name="T98" fmla="*/ 120 w 557"/>
                  <a:gd name="T99" fmla="*/ 41 h 450"/>
                  <a:gd name="T100" fmla="*/ 165 w 557"/>
                  <a:gd name="T101" fmla="*/ 7 h 450"/>
                  <a:gd name="T102" fmla="*/ 181 w 557"/>
                  <a:gd name="T103" fmla="*/ 12 h 450"/>
                  <a:gd name="T104" fmla="*/ 173 w 557"/>
                  <a:gd name="T105" fmla="*/ 25 h 450"/>
                  <a:gd name="T106" fmla="*/ 169 w 557"/>
                  <a:gd name="T107" fmla="*/ 48 h 450"/>
                  <a:gd name="T108" fmla="*/ 177 w 557"/>
                  <a:gd name="T109" fmla="*/ 62 h 450"/>
                  <a:gd name="T110" fmla="*/ 176 w 557"/>
                  <a:gd name="T111" fmla="*/ 80 h 450"/>
                  <a:gd name="T112" fmla="*/ 191 w 557"/>
                  <a:gd name="T113" fmla="*/ 82 h 450"/>
                  <a:gd name="T114" fmla="*/ 200 w 557"/>
                  <a:gd name="T115" fmla="*/ 94 h 450"/>
                  <a:gd name="T116" fmla="*/ 224 w 557"/>
                  <a:gd name="T117" fmla="*/ 89 h 450"/>
                  <a:gd name="T118" fmla="*/ 345 w 557"/>
                  <a:gd name="T119" fmla="*/ 6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 h="450">
                    <a:moveTo>
                      <a:pt x="482" y="29"/>
                    </a:moveTo>
                    <a:lnTo>
                      <a:pt x="482" y="30"/>
                    </a:lnTo>
                    <a:lnTo>
                      <a:pt x="483" y="32"/>
                    </a:lnTo>
                    <a:lnTo>
                      <a:pt x="484" y="35"/>
                    </a:lnTo>
                    <a:lnTo>
                      <a:pt x="485" y="36"/>
                    </a:lnTo>
                    <a:lnTo>
                      <a:pt x="486" y="36"/>
                    </a:lnTo>
                    <a:lnTo>
                      <a:pt x="487" y="36"/>
                    </a:lnTo>
                    <a:lnTo>
                      <a:pt x="488" y="35"/>
                    </a:lnTo>
                    <a:lnTo>
                      <a:pt x="489" y="35"/>
                    </a:lnTo>
                    <a:lnTo>
                      <a:pt x="489" y="34"/>
                    </a:lnTo>
                    <a:lnTo>
                      <a:pt x="489" y="33"/>
                    </a:lnTo>
                    <a:lnTo>
                      <a:pt x="489" y="32"/>
                    </a:lnTo>
                    <a:lnTo>
                      <a:pt x="489" y="31"/>
                    </a:lnTo>
                    <a:lnTo>
                      <a:pt x="490" y="31"/>
                    </a:lnTo>
                    <a:lnTo>
                      <a:pt x="491" y="31"/>
                    </a:lnTo>
                    <a:lnTo>
                      <a:pt x="492" y="32"/>
                    </a:lnTo>
                    <a:lnTo>
                      <a:pt x="492" y="33"/>
                    </a:lnTo>
                    <a:lnTo>
                      <a:pt x="493" y="34"/>
                    </a:lnTo>
                    <a:lnTo>
                      <a:pt x="495" y="35"/>
                    </a:lnTo>
                    <a:lnTo>
                      <a:pt x="496" y="35"/>
                    </a:lnTo>
                    <a:lnTo>
                      <a:pt x="497" y="35"/>
                    </a:lnTo>
                    <a:lnTo>
                      <a:pt x="498" y="35"/>
                    </a:lnTo>
                    <a:lnTo>
                      <a:pt x="499" y="34"/>
                    </a:lnTo>
                    <a:lnTo>
                      <a:pt x="500" y="33"/>
                    </a:lnTo>
                    <a:lnTo>
                      <a:pt x="501" y="33"/>
                    </a:lnTo>
                    <a:lnTo>
                      <a:pt x="501" y="34"/>
                    </a:lnTo>
                    <a:lnTo>
                      <a:pt x="501" y="35"/>
                    </a:lnTo>
                    <a:lnTo>
                      <a:pt x="502" y="36"/>
                    </a:lnTo>
                    <a:lnTo>
                      <a:pt x="503" y="36"/>
                    </a:lnTo>
                    <a:lnTo>
                      <a:pt x="503" y="37"/>
                    </a:lnTo>
                    <a:lnTo>
                      <a:pt x="502" y="38"/>
                    </a:lnTo>
                    <a:lnTo>
                      <a:pt x="501" y="39"/>
                    </a:lnTo>
                    <a:lnTo>
                      <a:pt x="500" y="41"/>
                    </a:lnTo>
                    <a:lnTo>
                      <a:pt x="499" y="42"/>
                    </a:lnTo>
                    <a:lnTo>
                      <a:pt x="498" y="43"/>
                    </a:lnTo>
                    <a:lnTo>
                      <a:pt x="498" y="44"/>
                    </a:lnTo>
                    <a:lnTo>
                      <a:pt x="498" y="45"/>
                    </a:lnTo>
                    <a:lnTo>
                      <a:pt x="499" y="45"/>
                    </a:lnTo>
                    <a:lnTo>
                      <a:pt x="500" y="46"/>
                    </a:lnTo>
                    <a:lnTo>
                      <a:pt x="501" y="46"/>
                    </a:lnTo>
                    <a:lnTo>
                      <a:pt x="502" y="46"/>
                    </a:lnTo>
                    <a:lnTo>
                      <a:pt x="503" y="47"/>
                    </a:lnTo>
                    <a:lnTo>
                      <a:pt x="504" y="47"/>
                    </a:lnTo>
                    <a:lnTo>
                      <a:pt x="505" y="47"/>
                    </a:lnTo>
                    <a:lnTo>
                      <a:pt x="505" y="48"/>
                    </a:lnTo>
                    <a:lnTo>
                      <a:pt x="506" y="48"/>
                    </a:lnTo>
                    <a:lnTo>
                      <a:pt x="506" y="49"/>
                    </a:lnTo>
                    <a:lnTo>
                      <a:pt x="506" y="50"/>
                    </a:lnTo>
                    <a:lnTo>
                      <a:pt x="506" y="51"/>
                    </a:lnTo>
                    <a:lnTo>
                      <a:pt x="506" y="52"/>
                    </a:lnTo>
                    <a:lnTo>
                      <a:pt x="505" y="54"/>
                    </a:lnTo>
                    <a:lnTo>
                      <a:pt x="504" y="54"/>
                    </a:lnTo>
                    <a:lnTo>
                      <a:pt x="504" y="55"/>
                    </a:lnTo>
                    <a:lnTo>
                      <a:pt x="504" y="56"/>
                    </a:lnTo>
                    <a:lnTo>
                      <a:pt x="503" y="56"/>
                    </a:lnTo>
                    <a:lnTo>
                      <a:pt x="503" y="57"/>
                    </a:lnTo>
                    <a:lnTo>
                      <a:pt x="502" y="58"/>
                    </a:lnTo>
                    <a:lnTo>
                      <a:pt x="502" y="59"/>
                    </a:lnTo>
                    <a:lnTo>
                      <a:pt x="502" y="60"/>
                    </a:lnTo>
                    <a:lnTo>
                      <a:pt x="502" y="61"/>
                    </a:lnTo>
                    <a:lnTo>
                      <a:pt x="503" y="61"/>
                    </a:lnTo>
                    <a:lnTo>
                      <a:pt x="503" y="62"/>
                    </a:lnTo>
                    <a:lnTo>
                      <a:pt x="504" y="64"/>
                    </a:lnTo>
                    <a:lnTo>
                      <a:pt x="504" y="65"/>
                    </a:lnTo>
                    <a:lnTo>
                      <a:pt x="504" y="67"/>
                    </a:lnTo>
                    <a:lnTo>
                      <a:pt x="504" y="68"/>
                    </a:lnTo>
                    <a:lnTo>
                      <a:pt x="504" y="69"/>
                    </a:lnTo>
                    <a:lnTo>
                      <a:pt x="508" y="70"/>
                    </a:lnTo>
                    <a:lnTo>
                      <a:pt x="509" y="72"/>
                    </a:lnTo>
                    <a:lnTo>
                      <a:pt x="509" y="73"/>
                    </a:lnTo>
                    <a:lnTo>
                      <a:pt x="510" y="74"/>
                    </a:lnTo>
                    <a:lnTo>
                      <a:pt x="510" y="75"/>
                    </a:lnTo>
                    <a:lnTo>
                      <a:pt x="509" y="77"/>
                    </a:lnTo>
                    <a:lnTo>
                      <a:pt x="510" y="78"/>
                    </a:lnTo>
                    <a:lnTo>
                      <a:pt x="510" y="80"/>
                    </a:lnTo>
                    <a:lnTo>
                      <a:pt x="510" y="81"/>
                    </a:lnTo>
                    <a:lnTo>
                      <a:pt x="511" y="82"/>
                    </a:lnTo>
                    <a:lnTo>
                      <a:pt x="513" y="83"/>
                    </a:lnTo>
                    <a:lnTo>
                      <a:pt x="514" y="84"/>
                    </a:lnTo>
                    <a:lnTo>
                      <a:pt x="516" y="85"/>
                    </a:lnTo>
                    <a:lnTo>
                      <a:pt x="517" y="86"/>
                    </a:lnTo>
                    <a:lnTo>
                      <a:pt x="519" y="87"/>
                    </a:lnTo>
                    <a:lnTo>
                      <a:pt x="519" y="88"/>
                    </a:lnTo>
                    <a:lnTo>
                      <a:pt x="521" y="88"/>
                    </a:lnTo>
                    <a:lnTo>
                      <a:pt x="521" y="89"/>
                    </a:lnTo>
                    <a:lnTo>
                      <a:pt x="521" y="90"/>
                    </a:lnTo>
                    <a:lnTo>
                      <a:pt x="522" y="90"/>
                    </a:lnTo>
                    <a:lnTo>
                      <a:pt x="523" y="91"/>
                    </a:lnTo>
                    <a:lnTo>
                      <a:pt x="523" y="93"/>
                    </a:lnTo>
                    <a:lnTo>
                      <a:pt x="524" y="94"/>
                    </a:lnTo>
                    <a:lnTo>
                      <a:pt x="525" y="94"/>
                    </a:lnTo>
                    <a:lnTo>
                      <a:pt x="527" y="94"/>
                    </a:lnTo>
                    <a:lnTo>
                      <a:pt x="528" y="94"/>
                    </a:lnTo>
                    <a:lnTo>
                      <a:pt x="529" y="94"/>
                    </a:lnTo>
                    <a:lnTo>
                      <a:pt x="529" y="95"/>
                    </a:lnTo>
                    <a:lnTo>
                      <a:pt x="530" y="95"/>
                    </a:lnTo>
                    <a:lnTo>
                      <a:pt x="531" y="95"/>
                    </a:lnTo>
                    <a:lnTo>
                      <a:pt x="531" y="96"/>
                    </a:lnTo>
                    <a:lnTo>
                      <a:pt x="530" y="96"/>
                    </a:lnTo>
                    <a:lnTo>
                      <a:pt x="530" y="97"/>
                    </a:lnTo>
                    <a:lnTo>
                      <a:pt x="529" y="97"/>
                    </a:lnTo>
                    <a:lnTo>
                      <a:pt x="529" y="98"/>
                    </a:lnTo>
                    <a:lnTo>
                      <a:pt x="528" y="98"/>
                    </a:lnTo>
                    <a:lnTo>
                      <a:pt x="528" y="99"/>
                    </a:lnTo>
                    <a:lnTo>
                      <a:pt x="527" y="99"/>
                    </a:lnTo>
                    <a:lnTo>
                      <a:pt x="528" y="100"/>
                    </a:lnTo>
                    <a:lnTo>
                      <a:pt x="529" y="100"/>
                    </a:lnTo>
                    <a:lnTo>
                      <a:pt x="529" y="101"/>
                    </a:lnTo>
                    <a:lnTo>
                      <a:pt x="530" y="101"/>
                    </a:lnTo>
                    <a:lnTo>
                      <a:pt x="530" y="102"/>
                    </a:lnTo>
                    <a:lnTo>
                      <a:pt x="531" y="102"/>
                    </a:lnTo>
                    <a:lnTo>
                      <a:pt x="531" y="103"/>
                    </a:lnTo>
                    <a:lnTo>
                      <a:pt x="533" y="103"/>
                    </a:lnTo>
                    <a:lnTo>
                      <a:pt x="533" y="102"/>
                    </a:lnTo>
                    <a:lnTo>
                      <a:pt x="533" y="103"/>
                    </a:lnTo>
                    <a:lnTo>
                      <a:pt x="534" y="103"/>
                    </a:lnTo>
                    <a:lnTo>
                      <a:pt x="534" y="104"/>
                    </a:lnTo>
                    <a:lnTo>
                      <a:pt x="534" y="103"/>
                    </a:lnTo>
                    <a:lnTo>
                      <a:pt x="535" y="104"/>
                    </a:lnTo>
                    <a:lnTo>
                      <a:pt x="536" y="103"/>
                    </a:lnTo>
                    <a:lnTo>
                      <a:pt x="536" y="102"/>
                    </a:lnTo>
                    <a:lnTo>
                      <a:pt x="537" y="102"/>
                    </a:lnTo>
                    <a:lnTo>
                      <a:pt x="537" y="101"/>
                    </a:lnTo>
                    <a:lnTo>
                      <a:pt x="538" y="102"/>
                    </a:lnTo>
                    <a:lnTo>
                      <a:pt x="538" y="101"/>
                    </a:lnTo>
                    <a:lnTo>
                      <a:pt x="539" y="101"/>
                    </a:lnTo>
                    <a:lnTo>
                      <a:pt x="539" y="102"/>
                    </a:lnTo>
                    <a:lnTo>
                      <a:pt x="540" y="102"/>
                    </a:lnTo>
                    <a:lnTo>
                      <a:pt x="541" y="103"/>
                    </a:lnTo>
                    <a:lnTo>
                      <a:pt x="542" y="103"/>
                    </a:lnTo>
                    <a:lnTo>
                      <a:pt x="542" y="104"/>
                    </a:lnTo>
                    <a:lnTo>
                      <a:pt x="543" y="104"/>
                    </a:lnTo>
                    <a:lnTo>
                      <a:pt x="543" y="106"/>
                    </a:lnTo>
                    <a:lnTo>
                      <a:pt x="543" y="107"/>
                    </a:lnTo>
                    <a:lnTo>
                      <a:pt x="544" y="107"/>
                    </a:lnTo>
                    <a:lnTo>
                      <a:pt x="544" y="108"/>
                    </a:lnTo>
                    <a:lnTo>
                      <a:pt x="544" y="109"/>
                    </a:lnTo>
                    <a:lnTo>
                      <a:pt x="546" y="110"/>
                    </a:lnTo>
                    <a:lnTo>
                      <a:pt x="546" y="109"/>
                    </a:lnTo>
                    <a:lnTo>
                      <a:pt x="547" y="109"/>
                    </a:lnTo>
                    <a:lnTo>
                      <a:pt x="547" y="110"/>
                    </a:lnTo>
                    <a:lnTo>
                      <a:pt x="548" y="110"/>
                    </a:lnTo>
                    <a:lnTo>
                      <a:pt x="549" y="109"/>
                    </a:lnTo>
                    <a:lnTo>
                      <a:pt x="550" y="110"/>
                    </a:lnTo>
                    <a:lnTo>
                      <a:pt x="551" y="110"/>
                    </a:lnTo>
                    <a:lnTo>
                      <a:pt x="551" y="112"/>
                    </a:lnTo>
                    <a:lnTo>
                      <a:pt x="551" y="113"/>
                    </a:lnTo>
                    <a:lnTo>
                      <a:pt x="551" y="114"/>
                    </a:lnTo>
                    <a:lnTo>
                      <a:pt x="551" y="115"/>
                    </a:lnTo>
                    <a:lnTo>
                      <a:pt x="552" y="116"/>
                    </a:lnTo>
                    <a:lnTo>
                      <a:pt x="553" y="116"/>
                    </a:lnTo>
                    <a:lnTo>
                      <a:pt x="554" y="116"/>
                    </a:lnTo>
                    <a:lnTo>
                      <a:pt x="554" y="118"/>
                    </a:lnTo>
                    <a:lnTo>
                      <a:pt x="555" y="118"/>
                    </a:lnTo>
                    <a:lnTo>
                      <a:pt x="555" y="119"/>
                    </a:lnTo>
                    <a:lnTo>
                      <a:pt x="555" y="120"/>
                    </a:lnTo>
                    <a:lnTo>
                      <a:pt x="554" y="120"/>
                    </a:lnTo>
                    <a:lnTo>
                      <a:pt x="553" y="120"/>
                    </a:lnTo>
                    <a:lnTo>
                      <a:pt x="552" y="120"/>
                    </a:lnTo>
                    <a:lnTo>
                      <a:pt x="552" y="121"/>
                    </a:lnTo>
                    <a:lnTo>
                      <a:pt x="553" y="122"/>
                    </a:lnTo>
                    <a:lnTo>
                      <a:pt x="553" y="123"/>
                    </a:lnTo>
                    <a:lnTo>
                      <a:pt x="554" y="123"/>
                    </a:lnTo>
                    <a:lnTo>
                      <a:pt x="555" y="122"/>
                    </a:lnTo>
                    <a:lnTo>
                      <a:pt x="556" y="124"/>
                    </a:lnTo>
                    <a:lnTo>
                      <a:pt x="557" y="125"/>
                    </a:lnTo>
                    <a:lnTo>
                      <a:pt x="557" y="126"/>
                    </a:lnTo>
                    <a:lnTo>
                      <a:pt x="556" y="126"/>
                    </a:lnTo>
                    <a:lnTo>
                      <a:pt x="555" y="127"/>
                    </a:lnTo>
                    <a:lnTo>
                      <a:pt x="554" y="127"/>
                    </a:lnTo>
                    <a:lnTo>
                      <a:pt x="553" y="127"/>
                    </a:lnTo>
                    <a:lnTo>
                      <a:pt x="553" y="128"/>
                    </a:lnTo>
                    <a:lnTo>
                      <a:pt x="552" y="128"/>
                    </a:lnTo>
                    <a:lnTo>
                      <a:pt x="551" y="128"/>
                    </a:lnTo>
                    <a:lnTo>
                      <a:pt x="550" y="128"/>
                    </a:lnTo>
                    <a:lnTo>
                      <a:pt x="549" y="128"/>
                    </a:lnTo>
                    <a:lnTo>
                      <a:pt x="548" y="128"/>
                    </a:lnTo>
                    <a:lnTo>
                      <a:pt x="548" y="129"/>
                    </a:lnTo>
                    <a:lnTo>
                      <a:pt x="548" y="131"/>
                    </a:lnTo>
                    <a:lnTo>
                      <a:pt x="549" y="132"/>
                    </a:lnTo>
                    <a:lnTo>
                      <a:pt x="548" y="132"/>
                    </a:lnTo>
                    <a:lnTo>
                      <a:pt x="547" y="132"/>
                    </a:lnTo>
                    <a:lnTo>
                      <a:pt x="547" y="131"/>
                    </a:lnTo>
                    <a:lnTo>
                      <a:pt x="546" y="131"/>
                    </a:lnTo>
                    <a:lnTo>
                      <a:pt x="546" y="132"/>
                    </a:lnTo>
                    <a:lnTo>
                      <a:pt x="544" y="132"/>
                    </a:lnTo>
                    <a:lnTo>
                      <a:pt x="544" y="133"/>
                    </a:lnTo>
                    <a:lnTo>
                      <a:pt x="543" y="133"/>
                    </a:lnTo>
                    <a:lnTo>
                      <a:pt x="544" y="134"/>
                    </a:lnTo>
                    <a:lnTo>
                      <a:pt x="544" y="135"/>
                    </a:lnTo>
                    <a:lnTo>
                      <a:pt x="543" y="136"/>
                    </a:lnTo>
                    <a:lnTo>
                      <a:pt x="542" y="137"/>
                    </a:lnTo>
                    <a:lnTo>
                      <a:pt x="542" y="138"/>
                    </a:lnTo>
                    <a:lnTo>
                      <a:pt x="542" y="139"/>
                    </a:lnTo>
                    <a:lnTo>
                      <a:pt x="542" y="140"/>
                    </a:lnTo>
                    <a:lnTo>
                      <a:pt x="541" y="140"/>
                    </a:lnTo>
                    <a:lnTo>
                      <a:pt x="541" y="141"/>
                    </a:lnTo>
                    <a:lnTo>
                      <a:pt x="540" y="141"/>
                    </a:lnTo>
                    <a:lnTo>
                      <a:pt x="539" y="140"/>
                    </a:lnTo>
                    <a:lnTo>
                      <a:pt x="538" y="140"/>
                    </a:lnTo>
                    <a:lnTo>
                      <a:pt x="537" y="141"/>
                    </a:lnTo>
                    <a:lnTo>
                      <a:pt x="536" y="141"/>
                    </a:lnTo>
                    <a:lnTo>
                      <a:pt x="536" y="142"/>
                    </a:lnTo>
                    <a:lnTo>
                      <a:pt x="535" y="142"/>
                    </a:lnTo>
                    <a:lnTo>
                      <a:pt x="534" y="142"/>
                    </a:lnTo>
                    <a:lnTo>
                      <a:pt x="534" y="144"/>
                    </a:lnTo>
                    <a:lnTo>
                      <a:pt x="535" y="144"/>
                    </a:lnTo>
                    <a:lnTo>
                      <a:pt x="535" y="145"/>
                    </a:lnTo>
                    <a:lnTo>
                      <a:pt x="533" y="145"/>
                    </a:lnTo>
                    <a:lnTo>
                      <a:pt x="531" y="146"/>
                    </a:lnTo>
                    <a:lnTo>
                      <a:pt x="531" y="148"/>
                    </a:lnTo>
                    <a:lnTo>
                      <a:pt x="529" y="149"/>
                    </a:lnTo>
                    <a:lnTo>
                      <a:pt x="529" y="148"/>
                    </a:lnTo>
                    <a:lnTo>
                      <a:pt x="528" y="148"/>
                    </a:lnTo>
                    <a:lnTo>
                      <a:pt x="528" y="147"/>
                    </a:lnTo>
                    <a:lnTo>
                      <a:pt x="528" y="146"/>
                    </a:lnTo>
                    <a:lnTo>
                      <a:pt x="527" y="147"/>
                    </a:lnTo>
                    <a:lnTo>
                      <a:pt x="527" y="148"/>
                    </a:lnTo>
                    <a:lnTo>
                      <a:pt x="526" y="149"/>
                    </a:lnTo>
                    <a:lnTo>
                      <a:pt x="526" y="148"/>
                    </a:lnTo>
                    <a:lnTo>
                      <a:pt x="526" y="149"/>
                    </a:lnTo>
                    <a:lnTo>
                      <a:pt x="525" y="149"/>
                    </a:lnTo>
                    <a:lnTo>
                      <a:pt x="526" y="150"/>
                    </a:lnTo>
                    <a:lnTo>
                      <a:pt x="525" y="151"/>
                    </a:lnTo>
                    <a:lnTo>
                      <a:pt x="525" y="152"/>
                    </a:lnTo>
                    <a:lnTo>
                      <a:pt x="524" y="152"/>
                    </a:lnTo>
                    <a:lnTo>
                      <a:pt x="523" y="152"/>
                    </a:lnTo>
                    <a:lnTo>
                      <a:pt x="522" y="152"/>
                    </a:lnTo>
                    <a:lnTo>
                      <a:pt x="522" y="153"/>
                    </a:lnTo>
                    <a:lnTo>
                      <a:pt x="522" y="152"/>
                    </a:lnTo>
                    <a:lnTo>
                      <a:pt x="521" y="152"/>
                    </a:lnTo>
                    <a:lnTo>
                      <a:pt x="521" y="151"/>
                    </a:lnTo>
                    <a:lnTo>
                      <a:pt x="521" y="150"/>
                    </a:lnTo>
                    <a:lnTo>
                      <a:pt x="521" y="151"/>
                    </a:lnTo>
                    <a:lnTo>
                      <a:pt x="519" y="151"/>
                    </a:lnTo>
                    <a:lnTo>
                      <a:pt x="518" y="151"/>
                    </a:lnTo>
                    <a:lnTo>
                      <a:pt x="517" y="151"/>
                    </a:lnTo>
                    <a:lnTo>
                      <a:pt x="516" y="151"/>
                    </a:lnTo>
                    <a:lnTo>
                      <a:pt x="516" y="152"/>
                    </a:lnTo>
                    <a:lnTo>
                      <a:pt x="516" y="153"/>
                    </a:lnTo>
                    <a:lnTo>
                      <a:pt x="515" y="153"/>
                    </a:lnTo>
                    <a:lnTo>
                      <a:pt x="514" y="153"/>
                    </a:lnTo>
                    <a:lnTo>
                      <a:pt x="514" y="154"/>
                    </a:lnTo>
                    <a:lnTo>
                      <a:pt x="513" y="154"/>
                    </a:lnTo>
                    <a:lnTo>
                      <a:pt x="512" y="155"/>
                    </a:lnTo>
                    <a:lnTo>
                      <a:pt x="511" y="154"/>
                    </a:lnTo>
                    <a:lnTo>
                      <a:pt x="510" y="154"/>
                    </a:lnTo>
                    <a:lnTo>
                      <a:pt x="509" y="154"/>
                    </a:lnTo>
                    <a:lnTo>
                      <a:pt x="508" y="153"/>
                    </a:lnTo>
                    <a:lnTo>
                      <a:pt x="508" y="154"/>
                    </a:lnTo>
                    <a:lnTo>
                      <a:pt x="506" y="155"/>
                    </a:lnTo>
                    <a:lnTo>
                      <a:pt x="505" y="155"/>
                    </a:lnTo>
                    <a:lnTo>
                      <a:pt x="504" y="155"/>
                    </a:lnTo>
                    <a:lnTo>
                      <a:pt x="503" y="155"/>
                    </a:lnTo>
                    <a:lnTo>
                      <a:pt x="503" y="157"/>
                    </a:lnTo>
                    <a:lnTo>
                      <a:pt x="503" y="158"/>
                    </a:lnTo>
                    <a:lnTo>
                      <a:pt x="502" y="158"/>
                    </a:lnTo>
                    <a:lnTo>
                      <a:pt x="502" y="157"/>
                    </a:lnTo>
                    <a:lnTo>
                      <a:pt x="502" y="155"/>
                    </a:lnTo>
                    <a:lnTo>
                      <a:pt x="501" y="154"/>
                    </a:lnTo>
                    <a:lnTo>
                      <a:pt x="501" y="153"/>
                    </a:lnTo>
                    <a:lnTo>
                      <a:pt x="500" y="153"/>
                    </a:lnTo>
                    <a:lnTo>
                      <a:pt x="500" y="152"/>
                    </a:lnTo>
                    <a:lnTo>
                      <a:pt x="499" y="152"/>
                    </a:lnTo>
                    <a:lnTo>
                      <a:pt x="498" y="152"/>
                    </a:lnTo>
                    <a:lnTo>
                      <a:pt x="497" y="151"/>
                    </a:lnTo>
                    <a:lnTo>
                      <a:pt x="496" y="150"/>
                    </a:lnTo>
                    <a:lnTo>
                      <a:pt x="495" y="150"/>
                    </a:lnTo>
                    <a:lnTo>
                      <a:pt x="495" y="149"/>
                    </a:lnTo>
                    <a:lnTo>
                      <a:pt x="493" y="149"/>
                    </a:lnTo>
                    <a:lnTo>
                      <a:pt x="493" y="148"/>
                    </a:lnTo>
                    <a:lnTo>
                      <a:pt x="493" y="147"/>
                    </a:lnTo>
                    <a:lnTo>
                      <a:pt x="495" y="147"/>
                    </a:lnTo>
                    <a:lnTo>
                      <a:pt x="495" y="146"/>
                    </a:lnTo>
                    <a:lnTo>
                      <a:pt x="493" y="146"/>
                    </a:lnTo>
                    <a:lnTo>
                      <a:pt x="492" y="146"/>
                    </a:lnTo>
                    <a:lnTo>
                      <a:pt x="492" y="145"/>
                    </a:lnTo>
                    <a:lnTo>
                      <a:pt x="492" y="144"/>
                    </a:lnTo>
                    <a:lnTo>
                      <a:pt x="492" y="142"/>
                    </a:lnTo>
                    <a:lnTo>
                      <a:pt x="492" y="141"/>
                    </a:lnTo>
                    <a:lnTo>
                      <a:pt x="492" y="140"/>
                    </a:lnTo>
                    <a:lnTo>
                      <a:pt x="492" y="139"/>
                    </a:lnTo>
                    <a:lnTo>
                      <a:pt x="491" y="139"/>
                    </a:lnTo>
                    <a:lnTo>
                      <a:pt x="490" y="138"/>
                    </a:lnTo>
                    <a:lnTo>
                      <a:pt x="491" y="138"/>
                    </a:lnTo>
                    <a:lnTo>
                      <a:pt x="491" y="137"/>
                    </a:lnTo>
                    <a:lnTo>
                      <a:pt x="491" y="136"/>
                    </a:lnTo>
                    <a:lnTo>
                      <a:pt x="490" y="136"/>
                    </a:lnTo>
                    <a:lnTo>
                      <a:pt x="489" y="137"/>
                    </a:lnTo>
                    <a:lnTo>
                      <a:pt x="488" y="137"/>
                    </a:lnTo>
                    <a:lnTo>
                      <a:pt x="487" y="137"/>
                    </a:lnTo>
                    <a:lnTo>
                      <a:pt x="486" y="137"/>
                    </a:lnTo>
                    <a:lnTo>
                      <a:pt x="486" y="136"/>
                    </a:lnTo>
                    <a:lnTo>
                      <a:pt x="486" y="135"/>
                    </a:lnTo>
                    <a:lnTo>
                      <a:pt x="486" y="134"/>
                    </a:lnTo>
                    <a:lnTo>
                      <a:pt x="485" y="134"/>
                    </a:lnTo>
                    <a:lnTo>
                      <a:pt x="485" y="133"/>
                    </a:lnTo>
                    <a:lnTo>
                      <a:pt x="484" y="133"/>
                    </a:lnTo>
                    <a:lnTo>
                      <a:pt x="484" y="134"/>
                    </a:lnTo>
                    <a:lnTo>
                      <a:pt x="484" y="133"/>
                    </a:lnTo>
                    <a:lnTo>
                      <a:pt x="483" y="133"/>
                    </a:lnTo>
                    <a:lnTo>
                      <a:pt x="482" y="133"/>
                    </a:lnTo>
                    <a:lnTo>
                      <a:pt x="482" y="134"/>
                    </a:lnTo>
                    <a:lnTo>
                      <a:pt x="480" y="134"/>
                    </a:lnTo>
                    <a:lnTo>
                      <a:pt x="482" y="134"/>
                    </a:lnTo>
                    <a:lnTo>
                      <a:pt x="482" y="135"/>
                    </a:lnTo>
                    <a:lnTo>
                      <a:pt x="480" y="135"/>
                    </a:lnTo>
                    <a:lnTo>
                      <a:pt x="479" y="135"/>
                    </a:lnTo>
                    <a:lnTo>
                      <a:pt x="478" y="135"/>
                    </a:lnTo>
                    <a:lnTo>
                      <a:pt x="477" y="135"/>
                    </a:lnTo>
                    <a:lnTo>
                      <a:pt x="477" y="136"/>
                    </a:lnTo>
                    <a:lnTo>
                      <a:pt x="476" y="135"/>
                    </a:lnTo>
                    <a:lnTo>
                      <a:pt x="475" y="136"/>
                    </a:lnTo>
                    <a:lnTo>
                      <a:pt x="475" y="137"/>
                    </a:lnTo>
                    <a:lnTo>
                      <a:pt x="474" y="137"/>
                    </a:lnTo>
                    <a:lnTo>
                      <a:pt x="473" y="137"/>
                    </a:lnTo>
                    <a:lnTo>
                      <a:pt x="472" y="137"/>
                    </a:lnTo>
                    <a:lnTo>
                      <a:pt x="472" y="136"/>
                    </a:lnTo>
                    <a:lnTo>
                      <a:pt x="471" y="135"/>
                    </a:lnTo>
                    <a:lnTo>
                      <a:pt x="470" y="135"/>
                    </a:lnTo>
                    <a:lnTo>
                      <a:pt x="469" y="135"/>
                    </a:lnTo>
                    <a:lnTo>
                      <a:pt x="469" y="134"/>
                    </a:lnTo>
                    <a:lnTo>
                      <a:pt x="467" y="134"/>
                    </a:lnTo>
                    <a:lnTo>
                      <a:pt x="466" y="134"/>
                    </a:lnTo>
                    <a:lnTo>
                      <a:pt x="467" y="134"/>
                    </a:lnTo>
                    <a:lnTo>
                      <a:pt x="467" y="135"/>
                    </a:lnTo>
                    <a:lnTo>
                      <a:pt x="467" y="136"/>
                    </a:lnTo>
                    <a:lnTo>
                      <a:pt x="466" y="136"/>
                    </a:lnTo>
                    <a:lnTo>
                      <a:pt x="466" y="135"/>
                    </a:lnTo>
                    <a:lnTo>
                      <a:pt x="466" y="134"/>
                    </a:lnTo>
                    <a:lnTo>
                      <a:pt x="465" y="134"/>
                    </a:lnTo>
                    <a:lnTo>
                      <a:pt x="465" y="135"/>
                    </a:lnTo>
                    <a:lnTo>
                      <a:pt x="464" y="135"/>
                    </a:lnTo>
                    <a:lnTo>
                      <a:pt x="464" y="136"/>
                    </a:lnTo>
                    <a:lnTo>
                      <a:pt x="464" y="137"/>
                    </a:lnTo>
                    <a:lnTo>
                      <a:pt x="464" y="138"/>
                    </a:lnTo>
                    <a:lnTo>
                      <a:pt x="463" y="137"/>
                    </a:lnTo>
                    <a:lnTo>
                      <a:pt x="463" y="138"/>
                    </a:lnTo>
                    <a:lnTo>
                      <a:pt x="462" y="138"/>
                    </a:lnTo>
                    <a:lnTo>
                      <a:pt x="462" y="139"/>
                    </a:lnTo>
                    <a:lnTo>
                      <a:pt x="461" y="139"/>
                    </a:lnTo>
                    <a:lnTo>
                      <a:pt x="461" y="140"/>
                    </a:lnTo>
                    <a:lnTo>
                      <a:pt x="460" y="140"/>
                    </a:lnTo>
                    <a:lnTo>
                      <a:pt x="459" y="140"/>
                    </a:lnTo>
                    <a:lnTo>
                      <a:pt x="459" y="144"/>
                    </a:lnTo>
                    <a:lnTo>
                      <a:pt x="459" y="175"/>
                    </a:lnTo>
                    <a:lnTo>
                      <a:pt x="459" y="188"/>
                    </a:lnTo>
                    <a:lnTo>
                      <a:pt x="459" y="192"/>
                    </a:lnTo>
                    <a:lnTo>
                      <a:pt x="459" y="193"/>
                    </a:lnTo>
                    <a:lnTo>
                      <a:pt x="459" y="221"/>
                    </a:lnTo>
                    <a:lnTo>
                      <a:pt x="459" y="232"/>
                    </a:lnTo>
                    <a:lnTo>
                      <a:pt x="459" y="238"/>
                    </a:lnTo>
                    <a:lnTo>
                      <a:pt x="459" y="263"/>
                    </a:lnTo>
                    <a:lnTo>
                      <a:pt x="459" y="264"/>
                    </a:lnTo>
                    <a:lnTo>
                      <a:pt x="460" y="264"/>
                    </a:lnTo>
                    <a:lnTo>
                      <a:pt x="462" y="266"/>
                    </a:lnTo>
                    <a:lnTo>
                      <a:pt x="464" y="268"/>
                    </a:lnTo>
                    <a:lnTo>
                      <a:pt x="464" y="269"/>
                    </a:lnTo>
                    <a:lnTo>
                      <a:pt x="464" y="270"/>
                    </a:lnTo>
                    <a:lnTo>
                      <a:pt x="463" y="270"/>
                    </a:lnTo>
                    <a:lnTo>
                      <a:pt x="462" y="273"/>
                    </a:lnTo>
                    <a:lnTo>
                      <a:pt x="461" y="273"/>
                    </a:lnTo>
                    <a:lnTo>
                      <a:pt x="461" y="274"/>
                    </a:lnTo>
                    <a:lnTo>
                      <a:pt x="460" y="274"/>
                    </a:lnTo>
                    <a:lnTo>
                      <a:pt x="459" y="276"/>
                    </a:lnTo>
                    <a:lnTo>
                      <a:pt x="458" y="277"/>
                    </a:lnTo>
                    <a:lnTo>
                      <a:pt x="458" y="279"/>
                    </a:lnTo>
                    <a:lnTo>
                      <a:pt x="458" y="280"/>
                    </a:lnTo>
                    <a:lnTo>
                      <a:pt x="459" y="282"/>
                    </a:lnTo>
                    <a:lnTo>
                      <a:pt x="459" y="283"/>
                    </a:lnTo>
                    <a:lnTo>
                      <a:pt x="459" y="286"/>
                    </a:lnTo>
                    <a:lnTo>
                      <a:pt x="459" y="287"/>
                    </a:lnTo>
                    <a:lnTo>
                      <a:pt x="459" y="288"/>
                    </a:lnTo>
                    <a:lnTo>
                      <a:pt x="460" y="289"/>
                    </a:lnTo>
                    <a:lnTo>
                      <a:pt x="460" y="291"/>
                    </a:lnTo>
                    <a:lnTo>
                      <a:pt x="460" y="292"/>
                    </a:lnTo>
                    <a:lnTo>
                      <a:pt x="462" y="311"/>
                    </a:lnTo>
                    <a:lnTo>
                      <a:pt x="462" y="312"/>
                    </a:lnTo>
                    <a:lnTo>
                      <a:pt x="462" y="318"/>
                    </a:lnTo>
                    <a:lnTo>
                      <a:pt x="469" y="371"/>
                    </a:lnTo>
                    <a:lnTo>
                      <a:pt x="469" y="378"/>
                    </a:lnTo>
                    <a:lnTo>
                      <a:pt x="470" y="378"/>
                    </a:lnTo>
                    <a:lnTo>
                      <a:pt x="470" y="379"/>
                    </a:lnTo>
                    <a:lnTo>
                      <a:pt x="471" y="379"/>
                    </a:lnTo>
                    <a:lnTo>
                      <a:pt x="471" y="380"/>
                    </a:lnTo>
                    <a:lnTo>
                      <a:pt x="472" y="380"/>
                    </a:lnTo>
                    <a:lnTo>
                      <a:pt x="472" y="381"/>
                    </a:lnTo>
                    <a:lnTo>
                      <a:pt x="472" y="383"/>
                    </a:lnTo>
                    <a:lnTo>
                      <a:pt x="472" y="385"/>
                    </a:lnTo>
                    <a:lnTo>
                      <a:pt x="472" y="386"/>
                    </a:lnTo>
                    <a:lnTo>
                      <a:pt x="472" y="388"/>
                    </a:lnTo>
                    <a:lnTo>
                      <a:pt x="472" y="389"/>
                    </a:lnTo>
                    <a:lnTo>
                      <a:pt x="472" y="390"/>
                    </a:lnTo>
                    <a:lnTo>
                      <a:pt x="473" y="390"/>
                    </a:lnTo>
                    <a:lnTo>
                      <a:pt x="475" y="390"/>
                    </a:lnTo>
                    <a:lnTo>
                      <a:pt x="476" y="390"/>
                    </a:lnTo>
                    <a:lnTo>
                      <a:pt x="476" y="391"/>
                    </a:lnTo>
                    <a:lnTo>
                      <a:pt x="474" y="394"/>
                    </a:lnTo>
                    <a:lnTo>
                      <a:pt x="474" y="396"/>
                    </a:lnTo>
                    <a:lnTo>
                      <a:pt x="474" y="397"/>
                    </a:lnTo>
                    <a:lnTo>
                      <a:pt x="474" y="398"/>
                    </a:lnTo>
                    <a:lnTo>
                      <a:pt x="473" y="398"/>
                    </a:lnTo>
                    <a:lnTo>
                      <a:pt x="472" y="398"/>
                    </a:lnTo>
                    <a:lnTo>
                      <a:pt x="472" y="397"/>
                    </a:lnTo>
                    <a:lnTo>
                      <a:pt x="471" y="397"/>
                    </a:lnTo>
                    <a:lnTo>
                      <a:pt x="471" y="396"/>
                    </a:lnTo>
                    <a:lnTo>
                      <a:pt x="470" y="396"/>
                    </a:lnTo>
                    <a:lnTo>
                      <a:pt x="469" y="396"/>
                    </a:lnTo>
                    <a:lnTo>
                      <a:pt x="460" y="396"/>
                    </a:lnTo>
                    <a:lnTo>
                      <a:pt x="448" y="396"/>
                    </a:lnTo>
                    <a:lnTo>
                      <a:pt x="430" y="396"/>
                    </a:lnTo>
                    <a:lnTo>
                      <a:pt x="426" y="396"/>
                    </a:lnTo>
                    <a:lnTo>
                      <a:pt x="409" y="396"/>
                    </a:lnTo>
                    <a:lnTo>
                      <a:pt x="408" y="397"/>
                    </a:lnTo>
                    <a:lnTo>
                      <a:pt x="399" y="397"/>
                    </a:lnTo>
                    <a:lnTo>
                      <a:pt x="400" y="397"/>
                    </a:lnTo>
                    <a:lnTo>
                      <a:pt x="400" y="395"/>
                    </a:lnTo>
                    <a:lnTo>
                      <a:pt x="402" y="394"/>
                    </a:lnTo>
                    <a:lnTo>
                      <a:pt x="402" y="393"/>
                    </a:lnTo>
                    <a:lnTo>
                      <a:pt x="402" y="392"/>
                    </a:lnTo>
                    <a:lnTo>
                      <a:pt x="401" y="392"/>
                    </a:lnTo>
                    <a:lnTo>
                      <a:pt x="400" y="392"/>
                    </a:lnTo>
                    <a:lnTo>
                      <a:pt x="400" y="391"/>
                    </a:lnTo>
                    <a:lnTo>
                      <a:pt x="399" y="391"/>
                    </a:lnTo>
                    <a:lnTo>
                      <a:pt x="398" y="391"/>
                    </a:lnTo>
                    <a:lnTo>
                      <a:pt x="396" y="391"/>
                    </a:lnTo>
                    <a:lnTo>
                      <a:pt x="395" y="392"/>
                    </a:lnTo>
                    <a:lnTo>
                      <a:pt x="394" y="392"/>
                    </a:lnTo>
                    <a:lnTo>
                      <a:pt x="393" y="393"/>
                    </a:lnTo>
                    <a:lnTo>
                      <a:pt x="392" y="393"/>
                    </a:lnTo>
                    <a:lnTo>
                      <a:pt x="391" y="393"/>
                    </a:lnTo>
                    <a:lnTo>
                      <a:pt x="391" y="392"/>
                    </a:lnTo>
                    <a:lnTo>
                      <a:pt x="391" y="391"/>
                    </a:lnTo>
                    <a:lnTo>
                      <a:pt x="391" y="390"/>
                    </a:lnTo>
                    <a:lnTo>
                      <a:pt x="392" y="390"/>
                    </a:lnTo>
                    <a:lnTo>
                      <a:pt x="392" y="389"/>
                    </a:lnTo>
                    <a:lnTo>
                      <a:pt x="393" y="389"/>
                    </a:lnTo>
                    <a:lnTo>
                      <a:pt x="393" y="388"/>
                    </a:lnTo>
                    <a:lnTo>
                      <a:pt x="393" y="386"/>
                    </a:lnTo>
                    <a:lnTo>
                      <a:pt x="393" y="385"/>
                    </a:lnTo>
                    <a:lnTo>
                      <a:pt x="393" y="384"/>
                    </a:lnTo>
                    <a:lnTo>
                      <a:pt x="392" y="384"/>
                    </a:lnTo>
                    <a:lnTo>
                      <a:pt x="391" y="384"/>
                    </a:lnTo>
                    <a:lnTo>
                      <a:pt x="391" y="383"/>
                    </a:lnTo>
                    <a:lnTo>
                      <a:pt x="389" y="383"/>
                    </a:lnTo>
                    <a:lnTo>
                      <a:pt x="388" y="383"/>
                    </a:lnTo>
                    <a:lnTo>
                      <a:pt x="387" y="383"/>
                    </a:lnTo>
                    <a:lnTo>
                      <a:pt x="386" y="383"/>
                    </a:lnTo>
                    <a:lnTo>
                      <a:pt x="385" y="383"/>
                    </a:lnTo>
                    <a:lnTo>
                      <a:pt x="384" y="383"/>
                    </a:lnTo>
                    <a:lnTo>
                      <a:pt x="384" y="382"/>
                    </a:lnTo>
                    <a:lnTo>
                      <a:pt x="383" y="382"/>
                    </a:lnTo>
                    <a:lnTo>
                      <a:pt x="382" y="382"/>
                    </a:lnTo>
                    <a:lnTo>
                      <a:pt x="381" y="381"/>
                    </a:lnTo>
                    <a:lnTo>
                      <a:pt x="381" y="380"/>
                    </a:lnTo>
                    <a:lnTo>
                      <a:pt x="381" y="379"/>
                    </a:lnTo>
                    <a:lnTo>
                      <a:pt x="382" y="379"/>
                    </a:lnTo>
                    <a:lnTo>
                      <a:pt x="381" y="378"/>
                    </a:lnTo>
                    <a:lnTo>
                      <a:pt x="380" y="377"/>
                    </a:lnTo>
                    <a:lnTo>
                      <a:pt x="379" y="378"/>
                    </a:lnTo>
                    <a:lnTo>
                      <a:pt x="377" y="378"/>
                    </a:lnTo>
                    <a:lnTo>
                      <a:pt x="377" y="379"/>
                    </a:lnTo>
                    <a:lnTo>
                      <a:pt x="376" y="379"/>
                    </a:lnTo>
                    <a:lnTo>
                      <a:pt x="376" y="378"/>
                    </a:lnTo>
                    <a:lnTo>
                      <a:pt x="374" y="378"/>
                    </a:lnTo>
                    <a:lnTo>
                      <a:pt x="374" y="377"/>
                    </a:lnTo>
                    <a:lnTo>
                      <a:pt x="373" y="377"/>
                    </a:lnTo>
                    <a:lnTo>
                      <a:pt x="372" y="377"/>
                    </a:lnTo>
                    <a:lnTo>
                      <a:pt x="372" y="376"/>
                    </a:lnTo>
                    <a:lnTo>
                      <a:pt x="373" y="375"/>
                    </a:lnTo>
                    <a:lnTo>
                      <a:pt x="372" y="373"/>
                    </a:lnTo>
                    <a:lnTo>
                      <a:pt x="372" y="375"/>
                    </a:lnTo>
                    <a:lnTo>
                      <a:pt x="371" y="375"/>
                    </a:lnTo>
                    <a:lnTo>
                      <a:pt x="370" y="375"/>
                    </a:lnTo>
                    <a:lnTo>
                      <a:pt x="370" y="373"/>
                    </a:lnTo>
                    <a:lnTo>
                      <a:pt x="371" y="373"/>
                    </a:lnTo>
                    <a:lnTo>
                      <a:pt x="371" y="371"/>
                    </a:lnTo>
                    <a:lnTo>
                      <a:pt x="370" y="371"/>
                    </a:lnTo>
                    <a:lnTo>
                      <a:pt x="370" y="372"/>
                    </a:lnTo>
                    <a:lnTo>
                      <a:pt x="369" y="372"/>
                    </a:lnTo>
                    <a:lnTo>
                      <a:pt x="369" y="371"/>
                    </a:lnTo>
                    <a:lnTo>
                      <a:pt x="368" y="370"/>
                    </a:lnTo>
                    <a:lnTo>
                      <a:pt x="367" y="370"/>
                    </a:lnTo>
                    <a:lnTo>
                      <a:pt x="367" y="371"/>
                    </a:lnTo>
                    <a:lnTo>
                      <a:pt x="366" y="371"/>
                    </a:lnTo>
                    <a:lnTo>
                      <a:pt x="366" y="370"/>
                    </a:lnTo>
                    <a:lnTo>
                      <a:pt x="364" y="370"/>
                    </a:lnTo>
                    <a:lnTo>
                      <a:pt x="363" y="370"/>
                    </a:lnTo>
                    <a:lnTo>
                      <a:pt x="363" y="371"/>
                    </a:lnTo>
                    <a:lnTo>
                      <a:pt x="362" y="372"/>
                    </a:lnTo>
                    <a:lnTo>
                      <a:pt x="361" y="372"/>
                    </a:lnTo>
                    <a:lnTo>
                      <a:pt x="360" y="373"/>
                    </a:lnTo>
                    <a:lnTo>
                      <a:pt x="359" y="373"/>
                    </a:lnTo>
                    <a:lnTo>
                      <a:pt x="358" y="373"/>
                    </a:lnTo>
                    <a:lnTo>
                      <a:pt x="357" y="375"/>
                    </a:lnTo>
                    <a:lnTo>
                      <a:pt x="356" y="375"/>
                    </a:lnTo>
                    <a:lnTo>
                      <a:pt x="355" y="375"/>
                    </a:lnTo>
                    <a:lnTo>
                      <a:pt x="354" y="375"/>
                    </a:lnTo>
                    <a:lnTo>
                      <a:pt x="353" y="375"/>
                    </a:lnTo>
                    <a:lnTo>
                      <a:pt x="353" y="376"/>
                    </a:lnTo>
                    <a:lnTo>
                      <a:pt x="351" y="376"/>
                    </a:lnTo>
                    <a:lnTo>
                      <a:pt x="351" y="377"/>
                    </a:lnTo>
                    <a:lnTo>
                      <a:pt x="350" y="377"/>
                    </a:lnTo>
                    <a:lnTo>
                      <a:pt x="350" y="378"/>
                    </a:lnTo>
                    <a:lnTo>
                      <a:pt x="351" y="378"/>
                    </a:lnTo>
                    <a:lnTo>
                      <a:pt x="351" y="379"/>
                    </a:lnTo>
                    <a:lnTo>
                      <a:pt x="350" y="380"/>
                    </a:lnTo>
                    <a:lnTo>
                      <a:pt x="350" y="381"/>
                    </a:lnTo>
                    <a:lnTo>
                      <a:pt x="349" y="382"/>
                    </a:lnTo>
                    <a:lnTo>
                      <a:pt x="349" y="383"/>
                    </a:lnTo>
                    <a:lnTo>
                      <a:pt x="349" y="384"/>
                    </a:lnTo>
                    <a:lnTo>
                      <a:pt x="348" y="384"/>
                    </a:lnTo>
                    <a:lnTo>
                      <a:pt x="348" y="385"/>
                    </a:lnTo>
                    <a:lnTo>
                      <a:pt x="348" y="386"/>
                    </a:lnTo>
                    <a:lnTo>
                      <a:pt x="347" y="386"/>
                    </a:lnTo>
                    <a:lnTo>
                      <a:pt x="347" y="388"/>
                    </a:lnTo>
                    <a:lnTo>
                      <a:pt x="347" y="389"/>
                    </a:lnTo>
                    <a:lnTo>
                      <a:pt x="346" y="389"/>
                    </a:lnTo>
                    <a:lnTo>
                      <a:pt x="345" y="389"/>
                    </a:lnTo>
                    <a:lnTo>
                      <a:pt x="345" y="390"/>
                    </a:lnTo>
                    <a:lnTo>
                      <a:pt x="344" y="390"/>
                    </a:lnTo>
                    <a:lnTo>
                      <a:pt x="343" y="390"/>
                    </a:lnTo>
                    <a:lnTo>
                      <a:pt x="342" y="390"/>
                    </a:lnTo>
                    <a:lnTo>
                      <a:pt x="342" y="391"/>
                    </a:lnTo>
                    <a:lnTo>
                      <a:pt x="340" y="391"/>
                    </a:lnTo>
                    <a:lnTo>
                      <a:pt x="338" y="391"/>
                    </a:lnTo>
                    <a:lnTo>
                      <a:pt x="338" y="392"/>
                    </a:lnTo>
                    <a:lnTo>
                      <a:pt x="337" y="392"/>
                    </a:lnTo>
                    <a:lnTo>
                      <a:pt x="336" y="392"/>
                    </a:lnTo>
                    <a:lnTo>
                      <a:pt x="335" y="392"/>
                    </a:lnTo>
                    <a:lnTo>
                      <a:pt x="335" y="393"/>
                    </a:lnTo>
                    <a:lnTo>
                      <a:pt x="334" y="393"/>
                    </a:lnTo>
                    <a:lnTo>
                      <a:pt x="334" y="394"/>
                    </a:lnTo>
                    <a:lnTo>
                      <a:pt x="334" y="393"/>
                    </a:lnTo>
                    <a:lnTo>
                      <a:pt x="333" y="393"/>
                    </a:lnTo>
                    <a:lnTo>
                      <a:pt x="332" y="393"/>
                    </a:lnTo>
                    <a:lnTo>
                      <a:pt x="332" y="394"/>
                    </a:lnTo>
                    <a:lnTo>
                      <a:pt x="331" y="394"/>
                    </a:lnTo>
                    <a:lnTo>
                      <a:pt x="332" y="395"/>
                    </a:lnTo>
                    <a:lnTo>
                      <a:pt x="331" y="395"/>
                    </a:lnTo>
                    <a:lnTo>
                      <a:pt x="331" y="396"/>
                    </a:lnTo>
                    <a:lnTo>
                      <a:pt x="330" y="396"/>
                    </a:lnTo>
                    <a:lnTo>
                      <a:pt x="329" y="396"/>
                    </a:lnTo>
                    <a:lnTo>
                      <a:pt x="328" y="397"/>
                    </a:lnTo>
                    <a:lnTo>
                      <a:pt x="327" y="397"/>
                    </a:lnTo>
                    <a:lnTo>
                      <a:pt x="325" y="397"/>
                    </a:lnTo>
                    <a:lnTo>
                      <a:pt x="324" y="398"/>
                    </a:lnTo>
                    <a:lnTo>
                      <a:pt x="323" y="399"/>
                    </a:lnTo>
                    <a:lnTo>
                      <a:pt x="322" y="402"/>
                    </a:lnTo>
                    <a:lnTo>
                      <a:pt x="320" y="403"/>
                    </a:lnTo>
                    <a:lnTo>
                      <a:pt x="319" y="403"/>
                    </a:lnTo>
                    <a:lnTo>
                      <a:pt x="316" y="402"/>
                    </a:lnTo>
                    <a:lnTo>
                      <a:pt x="315" y="402"/>
                    </a:lnTo>
                    <a:lnTo>
                      <a:pt x="314" y="402"/>
                    </a:lnTo>
                    <a:lnTo>
                      <a:pt x="315" y="403"/>
                    </a:lnTo>
                    <a:lnTo>
                      <a:pt x="314" y="404"/>
                    </a:lnTo>
                    <a:lnTo>
                      <a:pt x="312" y="405"/>
                    </a:lnTo>
                    <a:lnTo>
                      <a:pt x="311" y="406"/>
                    </a:lnTo>
                    <a:lnTo>
                      <a:pt x="310" y="406"/>
                    </a:lnTo>
                    <a:lnTo>
                      <a:pt x="309" y="406"/>
                    </a:lnTo>
                    <a:lnTo>
                      <a:pt x="308" y="405"/>
                    </a:lnTo>
                    <a:lnTo>
                      <a:pt x="307" y="406"/>
                    </a:lnTo>
                    <a:lnTo>
                      <a:pt x="307" y="407"/>
                    </a:lnTo>
                    <a:lnTo>
                      <a:pt x="307" y="408"/>
                    </a:lnTo>
                    <a:lnTo>
                      <a:pt x="307" y="409"/>
                    </a:lnTo>
                    <a:lnTo>
                      <a:pt x="307" y="410"/>
                    </a:lnTo>
                    <a:lnTo>
                      <a:pt x="306" y="411"/>
                    </a:lnTo>
                    <a:lnTo>
                      <a:pt x="306" y="412"/>
                    </a:lnTo>
                    <a:lnTo>
                      <a:pt x="306" y="414"/>
                    </a:lnTo>
                    <a:lnTo>
                      <a:pt x="307" y="414"/>
                    </a:lnTo>
                    <a:lnTo>
                      <a:pt x="306" y="415"/>
                    </a:lnTo>
                    <a:lnTo>
                      <a:pt x="306" y="416"/>
                    </a:lnTo>
                    <a:lnTo>
                      <a:pt x="306" y="417"/>
                    </a:lnTo>
                    <a:lnTo>
                      <a:pt x="306" y="418"/>
                    </a:lnTo>
                    <a:lnTo>
                      <a:pt x="307" y="419"/>
                    </a:lnTo>
                    <a:lnTo>
                      <a:pt x="307" y="420"/>
                    </a:lnTo>
                    <a:lnTo>
                      <a:pt x="307" y="421"/>
                    </a:lnTo>
                    <a:lnTo>
                      <a:pt x="307" y="422"/>
                    </a:lnTo>
                    <a:lnTo>
                      <a:pt x="307" y="423"/>
                    </a:lnTo>
                    <a:lnTo>
                      <a:pt x="308" y="423"/>
                    </a:lnTo>
                    <a:lnTo>
                      <a:pt x="308" y="424"/>
                    </a:lnTo>
                    <a:lnTo>
                      <a:pt x="308" y="425"/>
                    </a:lnTo>
                    <a:lnTo>
                      <a:pt x="307" y="425"/>
                    </a:lnTo>
                    <a:lnTo>
                      <a:pt x="307" y="427"/>
                    </a:lnTo>
                    <a:lnTo>
                      <a:pt x="307" y="428"/>
                    </a:lnTo>
                    <a:lnTo>
                      <a:pt x="307" y="429"/>
                    </a:lnTo>
                    <a:lnTo>
                      <a:pt x="306" y="429"/>
                    </a:lnTo>
                    <a:lnTo>
                      <a:pt x="307" y="430"/>
                    </a:lnTo>
                    <a:lnTo>
                      <a:pt x="307" y="429"/>
                    </a:lnTo>
                    <a:lnTo>
                      <a:pt x="307" y="430"/>
                    </a:lnTo>
                    <a:lnTo>
                      <a:pt x="306" y="431"/>
                    </a:lnTo>
                    <a:lnTo>
                      <a:pt x="306" y="432"/>
                    </a:lnTo>
                    <a:lnTo>
                      <a:pt x="306" y="433"/>
                    </a:lnTo>
                    <a:lnTo>
                      <a:pt x="305" y="434"/>
                    </a:lnTo>
                    <a:lnTo>
                      <a:pt x="304" y="434"/>
                    </a:lnTo>
                    <a:lnTo>
                      <a:pt x="304" y="435"/>
                    </a:lnTo>
                    <a:lnTo>
                      <a:pt x="303" y="435"/>
                    </a:lnTo>
                    <a:lnTo>
                      <a:pt x="303" y="436"/>
                    </a:lnTo>
                    <a:lnTo>
                      <a:pt x="303" y="437"/>
                    </a:lnTo>
                    <a:lnTo>
                      <a:pt x="303" y="436"/>
                    </a:lnTo>
                    <a:lnTo>
                      <a:pt x="303" y="437"/>
                    </a:lnTo>
                    <a:lnTo>
                      <a:pt x="302" y="437"/>
                    </a:lnTo>
                    <a:lnTo>
                      <a:pt x="301" y="438"/>
                    </a:lnTo>
                    <a:lnTo>
                      <a:pt x="299" y="438"/>
                    </a:lnTo>
                    <a:lnTo>
                      <a:pt x="299" y="440"/>
                    </a:lnTo>
                    <a:lnTo>
                      <a:pt x="298" y="440"/>
                    </a:lnTo>
                    <a:lnTo>
                      <a:pt x="297" y="441"/>
                    </a:lnTo>
                    <a:lnTo>
                      <a:pt x="298" y="441"/>
                    </a:lnTo>
                    <a:lnTo>
                      <a:pt x="298" y="442"/>
                    </a:lnTo>
                    <a:lnTo>
                      <a:pt x="298" y="441"/>
                    </a:lnTo>
                    <a:lnTo>
                      <a:pt x="297" y="442"/>
                    </a:lnTo>
                    <a:lnTo>
                      <a:pt x="296" y="442"/>
                    </a:lnTo>
                    <a:lnTo>
                      <a:pt x="296" y="443"/>
                    </a:lnTo>
                    <a:lnTo>
                      <a:pt x="295" y="443"/>
                    </a:lnTo>
                    <a:lnTo>
                      <a:pt x="295" y="444"/>
                    </a:lnTo>
                    <a:lnTo>
                      <a:pt x="294" y="443"/>
                    </a:lnTo>
                    <a:lnTo>
                      <a:pt x="294" y="444"/>
                    </a:lnTo>
                    <a:lnTo>
                      <a:pt x="293" y="444"/>
                    </a:lnTo>
                    <a:lnTo>
                      <a:pt x="292" y="444"/>
                    </a:lnTo>
                    <a:lnTo>
                      <a:pt x="292" y="445"/>
                    </a:lnTo>
                    <a:lnTo>
                      <a:pt x="291" y="445"/>
                    </a:lnTo>
                    <a:lnTo>
                      <a:pt x="290" y="445"/>
                    </a:lnTo>
                    <a:lnTo>
                      <a:pt x="290" y="446"/>
                    </a:lnTo>
                    <a:lnTo>
                      <a:pt x="290" y="445"/>
                    </a:lnTo>
                    <a:lnTo>
                      <a:pt x="290" y="446"/>
                    </a:lnTo>
                    <a:lnTo>
                      <a:pt x="289" y="445"/>
                    </a:lnTo>
                    <a:lnTo>
                      <a:pt x="290" y="445"/>
                    </a:lnTo>
                    <a:lnTo>
                      <a:pt x="289" y="445"/>
                    </a:lnTo>
                    <a:lnTo>
                      <a:pt x="289" y="446"/>
                    </a:lnTo>
                    <a:lnTo>
                      <a:pt x="288" y="446"/>
                    </a:lnTo>
                    <a:lnTo>
                      <a:pt x="288" y="445"/>
                    </a:lnTo>
                    <a:lnTo>
                      <a:pt x="286" y="446"/>
                    </a:lnTo>
                    <a:lnTo>
                      <a:pt x="285" y="446"/>
                    </a:lnTo>
                    <a:lnTo>
                      <a:pt x="284" y="446"/>
                    </a:lnTo>
                    <a:lnTo>
                      <a:pt x="284" y="447"/>
                    </a:lnTo>
                    <a:lnTo>
                      <a:pt x="283" y="448"/>
                    </a:lnTo>
                    <a:lnTo>
                      <a:pt x="283" y="447"/>
                    </a:lnTo>
                    <a:lnTo>
                      <a:pt x="282" y="447"/>
                    </a:lnTo>
                    <a:lnTo>
                      <a:pt x="281" y="447"/>
                    </a:lnTo>
                    <a:lnTo>
                      <a:pt x="280" y="447"/>
                    </a:lnTo>
                    <a:lnTo>
                      <a:pt x="279" y="447"/>
                    </a:lnTo>
                    <a:lnTo>
                      <a:pt x="280" y="447"/>
                    </a:lnTo>
                    <a:lnTo>
                      <a:pt x="280" y="446"/>
                    </a:lnTo>
                    <a:lnTo>
                      <a:pt x="279" y="446"/>
                    </a:lnTo>
                    <a:lnTo>
                      <a:pt x="279" y="445"/>
                    </a:lnTo>
                    <a:lnTo>
                      <a:pt x="279" y="444"/>
                    </a:lnTo>
                    <a:lnTo>
                      <a:pt x="279" y="443"/>
                    </a:lnTo>
                    <a:lnTo>
                      <a:pt x="279" y="444"/>
                    </a:lnTo>
                    <a:lnTo>
                      <a:pt x="278" y="444"/>
                    </a:lnTo>
                    <a:lnTo>
                      <a:pt x="278" y="443"/>
                    </a:lnTo>
                    <a:lnTo>
                      <a:pt x="277" y="444"/>
                    </a:lnTo>
                    <a:lnTo>
                      <a:pt x="277" y="443"/>
                    </a:lnTo>
                    <a:lnTo>
                      <a:pt x="276" y="444"/>
                    </a:lnTo>
                    <a:lnTo>
                      <a:pt x="275" y="444"/>
                    </a:lnTo>
                    <a:lnTo>
                      <a:pt x="273" y="444"/>
                    </a:lnTo>
                    <a:lnTo>
                      <a:pt x="272" y="444"/>
                    </a:lnTo>
                    <a:lnTo>
                      <a:pt x="273" y="444"/>
                    </a:lnTo>
                    <a:lnTo>
                      <a:pt x="272" y="444"/>
                    </a:lnTo>
                    <a:lnTo>
                      <a:pt x="272" y="443"/>
                    </a:lnTo>
                    <a:lnTo>
                      <a:pt x="272" y="444"/>
                    </a:lnTo>
                    <a:lnTo>
                      <a:pt x="271" y="444"/>
                    </a:lnTo>
                    <a:lnTo>
                      <a:pt x="270" y="444"/>
                    </a:lnTo>
                    <a:lnTo>
                      <a:pt x="269" y="444"/>
                    </a:lnTo>
                    <a:lnTo>
                      <a:pt x="268" y="444"/>
                    </a:lnTo>
                    <a:lnTo>
                      <a:pt x="268" y="443"/>
                    </a:lnTo>
                    <a:lnTo>
                      <a:pt x="267" y="443"/>
                    </a:lnTo>
                    <a:lnTo>
                      <a:pt x="268" y="443"/>
                    </a:lnTo>
                    <a:lnTo>
                      <a:pt x="268" y="442"/>
                    </a:lnTo>
                    <a:lnTo>
                      <a:pt x="267" y="442"/>
                    </a:lnTo>
                    <a:lnTo>
                      <a:pt x="266" y="441"/>
                    </a:lnTo>
                    <a:lnTo>
                      <a:pt x="265" y="441"/>
                    </a:lnTo>
                    <a:lnTo>
                      <a:pt x="264" y="441"/>
                    </a:lnTo>
                    <a:lnTo>
                      <a:pt x="264" y="442"/>
                    </a:lnTo>
                    <a:lnTo>
                      <a:pt x="263" y="442"/>
                    </a:lnTo>
                    <a:lnTo>
                      <a:pt x="263" y="443"/>
                    </a:lnTo>
                    <a:lnTo>
                      <a:pt x="262" y="443"/>
                    </a:lnTo>
                    <a:lnTo>
                      <a:pt x="262" y="442"/>
                    </a:lnTo>
                    <a:lnTo>
                      <a:pt x="262" y="443"/>
                    </a:lnTo>
                    <a:lnTo>
                      <a:pt x="260" y="443"/>
                    </a:lnTo>
                    <a:lnTo>
                      <a:pt x="259" y="443"/>
                    </a:lnTo>
                    <a:lnTo>
                      <a:pt x="259" y="444"/>
                    </a:lnTo>
                    <a:lnTo>
                      <a:pt x="258" y="443"/>
                    </a:lnTo>
                    <a:lnTo>
                      <a:pt x="258" y="444"/>
                    </a:lnTo>
                    <a:lnTo>
                      <a:pt x="257" y="444"/>
                    </a:lnTo>
                    <a:lnTo>
                      <a:pt x="258" y="444"/>
                    </a:lnTo>
                    <a:lnTo>
                      <a:pt x="246" y="445"/>
                    </a:lnTo>
                    <a:lnTo>
                      <a:pt x="235" y="446"/>
                    </a:lnTo>
                    <a:lnTo>
                      <a:pt x="235" y="444"/>
                    </a:lnTo>
                    <a:lnTo>
                      <a:pt x="220" y="444"/>
                    </a:lnTo>
                    <a:lnTo>
                      <a:pt x="203" y="444"/>
                    </a:lnTo>
                    <a:lnTo>
                      <a:pt x="196" y="444"/>
                    </a:lnTo>
                    <a:lnTo>
                      <a:pt x="183" y="443"/>
                    </a:lnTo>
                    <a:lnTo>
                      <a:pt x="181" y="443"/>
                    </a:lnTo>
                    <a:lnTo>
                      <a:pt x="180" y="443"/>
                    </a:lnTo>
                    <a:lnTo>
                      <a:pt x="169" y="444"/>
                    </a:lnTo>
                    <a:lnTo>
                      <a:pt x="161" y="444"/>
                    </a:lnTo>
                    <a:lnTo>
                      <a:pt x="161" y="445"/>
                    </a:lnTo>
                    <a:lnTo>
                      <a:pt x="160" y="446"/>
                    </a:lnTo>
                    <a:lnTo>
                      <a:pt x="160" y="447"/>
                    </a:lnTo>
                    <a:lnTo>
                      <a:pt x="160" y="448"/>
                    </a:lnTo>
                    <a:lnTo>
                      <a:pt x="142" y="448"/>
                    </a:lnTo>
                    <a:lnTo>
                      <a:pt x="125" y="450"/>
                    </a:lnTo>
                    <a:lnTo>
                      <a:pt x="118" y="450"/>
                    </a:lnTo>
                    <a:lnTo>
                      <a:pt x="108" y="450"/>
                    </a:lnTo>
                    <a:lnTo>
                      <a:pt x="97" y="450"/>
                    </a:lnTo>
                    <a:lnTo>
                      <a:pt x="97" y="443"/>
                    </a:lnTo>
                    <a:lnTo>
                      <a:pt x="97" y="435"/>
                    </a:lnTo>
                    <a:lnTo>
                      <a:pt x="97" y="417"/>
                    </a:lnTo>
                    <a:lnTo>
                      <a:pt x="97" y="406"/>
                    </a:lnTo>
                    <a:lnTo>
                      <a:pt x="97" y="402"/>
                    </a:lnTo>
                    <a:lnTo>
                      <a:pt x="97" y="392"/>
                    </a:lnTo>
                    <a:lnTo>
                      <a:pt x="97" y="390"/>
                    </a:lnTo>
                    <a:lnTo>
                      <a:pt x="97" y="372"/>
                    </a:lnTo>
                    <a:lnTo>
                      <a:pt x="97" y="364"/>
                    </a:lnTo>
                    <a:lnTo>
                      <a:pt x="95" y="364"/>
                    </a:lnTo>
                    <a:lnTo>
                      <a:pt x="95" y="341"/>
                    </a:lnTo>
                    <a:lnTo>
                      <a:pt x="95" y="327"/>
                    </a:lnTo>
                    <a:lnTo>
                      <a:pt x="95" y="304"/>
                    </a:lnTo>
                    <a:lnTo>
                      <a:pt x="95" y="301"/>
                    </a:lnTo>
                    <a:lnTo>
                      <a:pt x="95" y="298"/>
                    </a:lnTo>
                    <a:lnTo>
                      <a:pt x="95" y="294"/>
                    </a:lnTo>
                    <a:lnTo>
                      <a:pt x="93" y="280"/>
                    </a:lnTo>
                    <a:lnTo>
                      <a:pt x="93" y="253"/>
                    </a:lnTo>
                    <a:lnTo>
                      <a:pt x="93" y="232"/>
                    </a:lnTo>
                    <a:lnTo>
                      <a:pt x="93" y="219"/>
                    </a:lnTo>
                    <a:lnTo>
                      <a:pt x="93" y="208"/>
                    </a:lnTo>
                    <a:lnTo>
                      <a:pt x="93" y="206"/>
                    </a:lnTo>
                    <a:lnTo>
                      <a:pt x="93" y="205"/>
                    </a:lnTo>
                    <a:lnTo>
                      <a:pt x="93" y="199"/>
                    </a:lnTo>
                    <a:lnTo>
                      <a:pt x="93" y="197"/>
                    </a:lnTo>
                    <a:lnTo>
                      <a:pt x="93" y="193"/>
                    </a:lnTo>
                    <a:lnTo>
                      <a:pt x="93" y="192"/>
                    </a:lnTo>
                    <a:lnTo>
                      <a:pt x="93" y="191"/>
                    </a:lnTo>
                    <a:lnTo>
                      <a:pt x="91" y="190"/>
                    </a:lnTo>
                    <a:lnTo>
                      <a:pt x="87" y="190"/>
                    </a:lnTo>
                    <a:lnTo>
                      <a:pt x="84" y="190"/>
                    </a:lnTo>
                    <a:lnTo>
                      <a:pt x="84" y="186"/>
                    </a:lnTo>
                    <a:lnTo>
                      <a:pt x="84" y="175"/>
                    </a:lnTo>
                    <a:lnTo>
                      <a:pt x="73" y="175"/>
                    </a:lnTo>
                    <a:lnTo>
                      <a:pt x="73" y="173"/>
                    </a:lnTo>
                    <a:lnTo>
                      <a:pt x="73" y="171"/>
                    </a:lnTo>
                    <a:lnTo>
                      <a:pt x="73" y="165"/>
                    </a:lnTo>
                    <a:lnTo>
                      <a:pt x="71" y="165"/>
                    </a:lnTo>
                    <a:lnTo>
                      <a:pt x="65" y="165"/>
                    </a:lnTo>
                    <a:lnTo>
                      <a:pt x="63" y="165"/>
                    </a:lnTo>
                    <a:lnTo>
                      <a:pt x="63" y="153"/>
                    </a:lnTo>
                    <a:lnTo>
                      <a:pt x="63" y="152"/>
                    </a:lnTo>
                    <a:lnTo>
                      <a:pt x="63" y="151"/>
                    </a:lnTo>
                    <a:lnTo>
                      <a:pt x="63" y="149"/>
                    </a:lnTo>
                    <a:lnTo>
                      <a:pt x="63" y="148"/>
                    </a:lnTo>
                    <a:lnTo>
                      <a:pt x="63" y="147"/>
                    </a:lnTo>
                    <a:lnTo>
                      <a:pt x="63" y="145"/>
                    </a:lnTo>
                    <a:lnTo>
                      <a:pt x="62" y="145"/>
                    </a:lnTo>
                    <a:lnTo>
                      <a:pt x="52" y="145"/>
                    </a:lnTo>
                    <a:lnTo>
                      <a:pt x="52" y="140"/>
                    </a:lnTo>
                    <a:lnTo>
                      <a:pt x="52" y="139"/>
                    </a:lnTo>
                    <a:lnTo>
                      <a:pt x="47" y="139"/>
                    </a:lnTo>
                    <a:lnTo>
                      <a:pt x="46" y="139"/>
                    </a:lnTo>
                    <a:lnTo>
                      <a:pt x="44" y="139"/>
                    </a:lnTo>
                    <a:lnTo>
                      <a:pt x="41" y="139"/>
                    </a:lnTo>
                    <a:lnTo>
                      <a:pt x="38" y="139"/>
                    </a:lnTo>
                    <a:lnTo>
                      <a:pt x="37" y="139"/>
                    </a:lnTo>
                    <a:lnTo>
                      <a:pt x="36" y="139"/>
                    </a:lnTo>
                    <a:lnTo>
                      <a:pt x="32" y="139"/>
                    </a:lnTo>
                    <a:lnTo>
                      <a:pt x="32" y="137"/>
                    </a:lnTo>
                    <a:lnTo>
                      <a:pt x="32" y="134"/>
                    </a:lnTo>
                    <a:lnTo>
                      <a:pt x="28" y="134"/>
                    </a:lnTo>
                    <a:lnTo>
                      <a:pt x="27" y="134"/>
                    </a:lnTo>
                    <a:lnTo>
                      <a:pt x="11" y="134"/>
                    </a:lnTo>
                    <a:lnTo>
                      <a:pt x="11" y="132"/>
                    </a:lnTo>
                    <a:lnTo>
                      <a:pt x="11" y="128"/>
                    </a:lnTo>
                    <a:lnTo>
                      <a:pt x="5" y="128"/>
                    </a:lnTo>
                    <a:lnTo>
                      <a:pt x="0" y="128"/>
                    </a:lnTo>
                    <a:lnTo>
                      <a:pt x="0" y="126"/>
                    </a:lnTo>
                    <a:lnTo>
                      <a:pt x="0" y="123"/>
                    </a:lnTo>
                    <a:lnTo>
                      <a:pt x="11" y="123"/>
                    </a:lnTo>
                    <a:lnTo>
                      <a:pt x="22" y="123"/>
                    </a:lnTo>
                    <a:lnTo>
                      <a:pt x="22" y="108"/>
                    </a:lnTo>
                    <a:lnTo>
                      <a:pt x="32" y="108"/>
                    </a:lnTo>
                    <a:lnTo>
                      <a:pt x="37" y="108"/>
                    </a:lnTo>
                    <a:lnTo>
                      <a:pt x="43" y="108"/>
                    </a:lnTo>
                    <a:lnTo>
                      <a:pt x="43" y="104"/>
                    </a:lnTo>
                    <a:lnTo>
                      <a:pt x="43" y="102"/>
                    </a:lnTo>
                    <a:lnTo>
                      <a:pt x="43" y="93"/>
                    </a:lnTo>
                    <a:lnTo>
                      <a:pt x="58" y="93"/>
                    </a:lnTo>
                    <a:lnTo>
                      <a:pt x="58" y="82"/>
                    </a:lnTo>
                    <a:lnTo>
                      <a:pt x="67" y="82"/>
                    </a:lnTo>
                    <a:lnTo>
                      <a:pt x="67" y="72"/>
                    </a:lnTo>
                    <a:lnTo>
                      <a:pt x="67" y="71"/>
                    </a:lnTo>
                    <a:lnTo>
                      <a:pt x="83" y="71"/>
                    </a:lnTo>
                    <a:lnTo>
                      <a:pt x="83" y="65"/>
                    </a:lnTo>
                    <a:lnTo>
                      <a:pt x="83" y="61"/>
                    </a:lnTo>
                    <a:lnTo>
                      <a:pt x="93" y="61"/>
                    </a:lnTo>
                    <a:lnTo>
                      <a:pt x="93" y="56"/>
                    </a:lnTo>
                    <a:lnTo>
                      <a:pt x="103" y="56"/>
                    </a:lnTo>
                    <a:lnTo>
                      <a:pt x="103" y="51"/>
                    </a:lnTo>
                    <a:lnTo>
                      <a:pt x="103" y="45"/>
                    </a:lnTo>
                    <a:lnTo>
                      <a:pt x="114" y="45"/>
                    </a:lnTo>
                    <a:lnTo>
                      <a:pt x="114" y="41"/>
                    </a:lnTo>
                    <a:lnTo>
                      <a:pt x="120" y="41"/>
                    </a:lnTo>
                    <a:lnTo>
                      <a:pt x="120" y="35"/>
                    </a:lnTo>
                    <a:lnTo>
                      <a:pt x="121" y="35"/>
                    </a:lnTo>
                    <a:lnTo>
                      <a:pt x="125" y="35"/>
                    </a:lnTo>
                    <a:lnTo>
                      <a:pt x="125" y="30"/>
                    </a:lnTo>
                    <a:lnTo>
                      <a:pt x="128" y="30"/>
                    </a:lnTo>
                    <a:lnTo>
                      <a:pt x="129" y="30"/>
                    </a:lnTo>
                    <a:lnTo>
                      <a:pt x="135" y="30"/>
                    </a:lnTo>
                    <a:lnTo>
                      <a:pt x="135" y="23"/>
                    </a:lnTo>
                    <a:lnTo>
                      <a:pt x="142" y="17"/>
                    </a:lnTo>
                    <a:lnTo>
                      <a:pt x="147" y="13"/>
                    </a:lnTo>
                    <a:lnTo>
                      <a:pt x="161" y="1"/>
                    </a:lnTo>
                    <a:lnTo>
                      <a:pt x="161" y="0"/>
                    </a:lnTo>
                    <a:lnTo>
                      <a:pt x="162" y="1"/>
                    </a:lnTo>
                    <a:lnTo>
                      <a:pt x="164" y="5"/>
                    </a:lnTo>
                    <a:lnTo>
                      <a:pt x="164" y="6"/>
                    </a:lnTo>
                    <a:lnTo>
                      <a:pt x="165" y="7"/>
                    </a:lnTo>
                    <a:lnTo>
                      <a:pt x="165" y="9"/>
                    </a:lnTo>
                    <a:lnTo>
                      <a:pt x="166" y="10"/>
                    </a:lnTo>
                    <a:lnTo>
                      <a:pt x="167" y="12"/>
                    </a:lnTo>
                    <a:lnTo>
                      <a:pt x="168" y="13"/>
                    </a:lnTo>
                    <a:lnTo>
                      <a:pt x="169" y="14"/>
                    </a:lnTo>
                    <a:lnTo>
                      <a:pt x="172" y="17"/>
                    </a:lnTo>
                    <a:lnTo>
                      <a:pt x="173" y="18"/>
                    </a:lnTo>
                    <a:lnTo>
                      <a:pt x="174" y="18"/>
                    </a:lnTo>
                    <a:lnTo>
                      <a:pt x="175" y="18"/>
                    </a:lnTo>
                    <a:lnTo>
                      <a:pt x="176" y="17"/>
                    </a:lnTo>
                    <a:lnTo>
                      <a:pt x="177" y="17"/>
                    </a:lnTo>
                    <a:lnTo>
                      <a:pt x="177" y="16"/>
                    </a:lnTo>
                    <a:lnTo>
                      <a:pt x="178" y="14"/>
                    </a:lnTo>
                    <a:lnTo>
                      <a:pt x="179" y="13"/>
                    </a:lnTo>
                    <a:lnTo>
                      <a:pt x="180" y="12"/>
                    </a:lnTo>
                    <a:lnTo>
                      <a:pt x="181" y="12"/>
                    </a:lnTo>
                    <a:lnTo>
                      <a:pt x="181" y="13"/>
                    </a:lnTo>
                    <a:lnTo>
                      <a:pt x="183" y="13"/>
                    </a:lnTo>
                    <a:lnTo>
                      <a:pt x="183" y="14"/>
                    </a:lnTo>
                    <a:lnTo>
                      <a:pt x="183" y="16"/>
                    </a:lnTo>
                    <a:lnTo>
                      <a:pt x="183" y="17"/>
                    </a:lnTo>
                    <a:lnTo>
                      <a:pt x="183" y="18"/>
                    </a:lnTo>
                    <a:lnTo>
                      <a:pt x="182" y="19"/>
                    </a:lnTo>
                    <a:lnTo>
                      <a:pt x="181" y="19"/>
                    </a:lnTo>
                    <a:lnTo>
                      <a:pt x="179" y="19"/>
                    </a:lnTo>
                    <a:lnTo>
                      <a:pt x="178" y="18"/>
                    </a:lnTo>
                    <a:lnTo>
                      <a:pt x="177" y="18"/>
                    </a:lnTo>
                    <a:lnTo>
                      <a:pt x="174" y="19"/>
                    </a:lnTo>
                    <a:lnTo>
                      <a:pt x="174" y="20"/>
                    </a:lnTo>
                    <a:lnTo>
                      <a:pt x="174" y="22"/>
                    </a:lnTo>
                    <a:lnTo>
                      <a:pt x="174" y="24"/>
                    </a:lnTo>
                    <a:lnTo>
                      <a:pt x="173" y="25"/>
                    </a:lnTo>
                    <a:lnTo>
                      <a:pt x="174" y="27"/>
                    </a:lnTo>
                    <a:lnTo>
                      <a:pt x="175" y="29"/>
                    </a:lnTo>
                    <a:lnTo>
                      <a:pt x="178" y="30"/>
                    </a:lnTo>
                    <a:lnTo>
                      <a:pt x="179" y="32"/>
                    </a:lnTo>
                    <a:lnTo>
                      <a:pt x="179" y="33"/>
                    </a:lnTo>
                    <a:lnTo>
                      <a:pt x="177" y="34"/>
                    </a:lnTo>
                    <a:lnTo>
                      <a:pt x="174" y="34"/>
                    </a:lnTo>
                    <a:lnTo>
                      <a:pt x="173" y="34"/>
                    </a:lnTo>
                    <a:lnTo>
                      <a:pt x="169" y="34"/>
                    </a:lnTo>
                    <a:lnTo>
                      <a:pt x="168" y="34"/>
                    </a:lnTo>
                    <a:lnTo>
                      <a:pt x="168" y="35"/>
                    </a:lnTo>
                    <a:lnTo>
                      <a:pt x="168" y="37"/>
                    </a:lnTo>
                    <a:lnTo>
                      <a:pt x="168" y="39"/>
                    </a:lnTo>
                    <a:lnTo>
                      <a:pt x="168" y="41"/>
                    </a:lnTo>
                    <a:lnTo>
                      <a:pt x="168" y="46"/>
                    </a:lnTo>
                    <a:lnTo>
                      <a:pt x="169" y="48"/>
                    </a:lnTo>
                    <a:lnTo>
                      <a:pt x="169" y="49"/>
                    </a:lnTo>
                    <a:lnTo>
                      <a:pt x="170" y="50"/>
                    </a:lnTo>
                    <a:lnTo>
                      <a:pt x="172" y="51"/>
                    </a:lnTo>
                    <a:lnTo>
                      <a:pt x="173" y="52"/>
                    </a:lnTo>
                    <a:lnTo>
                      <a:pt x="175" y="54"/>
                    </a:lnTo>
                    <a:lnTo>
                      <a:pt x="177" y="52"/>
                    </a:lnTo>
                    <a:lnTo>
                      <a:pt x="179" y="52"/>
                    </a:lnTo>
                    <a:lnTo>
                      <a:pt x="181" y="51"/>
                    </a:lnTo>
                    <a:lnTo>
                      <a:pt x="182" y="50"/>
                    </a:lnTo>
                    <a:lnTo>
                      <a:pt x="185" y="51"/>
                    </a:lnTo>
                    <a:lnTo>
                      <a:pt x="185" y="54"/>
                    </a:lnTo>
                    <a:lnTo>
                      <a:pt x="183" y="56"/>
                    </a:lnTo>
                    <a:lnTo>
                      <a:pt x="182" y="57"/>
                    </a:lnTo>
                    <a:lnTo>
                      <a:pt x="181" y="59"/>
                    </a:lnTo>
                    <a:lnTo>
                      <a:pt x="178" y="61"/>
                    </a:lnTo>
                    <a:lnTo>
                      <a:pt x="177" y="62"/>
                    </a:lnTo>
                    <a:lnTo>
                      <a:pt x="176" y="64"/>
                    </a:lnTo>
                    <a:lnTo>
                      <a:pt x="177" y="67"/>
                    </a:lnTo>
                    <a:lnTo>
                      <a:pt x="177" y="68"/>
                    </a:lnTo>
                    <a:lnTo>
                      <a:pt x="178" y="69"/>
                    </a:lnTo>
                    <a:lnTo>
                      <a:pt x="180" y="70"/>
                    </a:lnTo>
                    <a:lnTo>
                      <a:pt x="182" y="71"/>
                    </a:lnTo>
                    <a:lnTo>
                      <a:pt x="183" y="71"/>
                    </a:lnTo>
                    <a:lnTo>
                      <a:pt x="186" y="72"/>
                    </a:lnTo>
                    <a:lnTo>
                      <a:pt x="187" y="73"/>
                    </a:lnTo>
                    <a:lnTo>
                      <a:pt x="187" y="74"/>
                    </a:lnTo>
                    <a:lnTo>
                      <a:pt x="186" y="75"/>
                    </a:lnTo>
                    <a:lnTo>
                      <a:pt x="183" y="75"/>
                    </a:lnTo>
                    <a:lnTo>
                      <a:pt x="181" y="77"/>
                    </a:lnTo>
                    <a:lnTo>
                      <a:pt x="179" y="78"/>
                    </a:lnTo>
                    <a:lnTo>
                      <a:pt x="177" y="78"/>
                    </a:lnTo>
                    <a:lnTo>
                      <a:pt x="176" y="80"/>
                    </a:lnTo>
                    <a:lnTo>
                      <a:pt x="175" y="82"/>
                    </a:lnTo>
                    <a:lnTo>
                      <a:pt x="175" y="83"/>
                    </a:lnTo>
                    <a:lnTo>
                      <a:pt x="176" y="83"/>
                    </a:lnTo>
                    <a:lnTo>
                      <a:pt x="176" y="84"/>
                    </a:lnTo>
                    <a:lnTo>
                      <a:pt x="177" y="85"/>
                    </a:lnTo>
                    <a:lnTo>
                      <a:pt x="178" y="86"/>
                    </a:lnTo>
                    <a:lnTo>
                      <a:pt x="180" y="86"/>
                    </a:lnTo>
                    <a:lnTo>
                      <a:pt x="182" y="87"/>
                    </a:lnTo>
                    <a:lnTo>
                      <a:pt x="183" y="88"/>
                    </a:lnTo>
                    <a:lnTo>
                      <a:pt x="185" y="88"/>
                    </a:lnTo>
                    <a:lnTo>
                      <a:pt x="186" y="88"/>
                    </a:lnTo>
                    <a:lnTo>
                      <a:pt x="188" y="87"/>
                    </a:lnTo>
                    <a:lnTo>
                      <a:pt x="189" y="85"/>
                    </a:lnTo>
                    <a:lnTo>
                      <a:pt x="190" y="83"/>
                    </a:lnTo>
                    <a:lnTo>
                      <a:pt x="190" y="82"/>
                    </a:lnTo>
                    <a:lnTo>
                      <a:pt x="191" y="82"/>
                    </a:lnTo>
                    <a:lnTo>
                      <a:pt x="192" y="81"/>
                    </a:lnTo>
                    <a:lnTo>
                      <a:pt x="192" y="82"/>
                    </a:lnTo>
                    <a:lnTo>
                      <a:pt x="192" y="83"/>
                    </a:lnTo>
                    <a:lnTo>
                      <a:pt x="193" y="84"/>
                    </a:lnTo>
                    <a:lnTo>
                      <a:pt x="193" y="85"/>
                    </a:lnTo>
                    <a:lnTo>
                      <a:pt x="193" y="87"/>
                    </a:lnTo>
                    <a:lnTo>
                      <a:pt x="193" y="88"/>
                    </a:lnTo>
                    <a:lnTo>
                      <a:pt x="193" y="89"/>
                    </a:lnTo>
                    <a:lnTo>
                      <a:pt x="194" y="90"/>
                    </a:lnTo>
                    <a:lnTo>
                      <a:pt x="194" y="91"/>
                    </a:lnTo>
                    <a:lnTo>
                      <a:pt x="195" y="91"/>
                    </a:lnTo>
                    <a:lnTo>
                      <a:pt x="195" y="93"/>
                    </a:lnTo>
                    <a:lnTo>
                      <a:pt x="196" y="93"/>
                    </a:lnTo>
                    <a:lnTo>
                      <a:pt x="198" y="94"/>
                    </a:lnTo>
                    <a:lnTo>
                      <a:pt x="199" y="94"/>
                    </a:lnTo>
                    <a:lnTo>
                      <a:pt x="200" y="94"/>
                    </a:lnTo>
                    <a:lnTo>
                      <a:pt x="201" y="94"/>
                    </a:lnTo>
                    <a:lnTo>
                      <a:pt x="202" y="94"/>
                    </a:lnTo>
                    <a:lnTo>
                      <a:pt x="203" y="94"/>
                    </a:lnTo>
                    <a:lnTo>
                      <a:pt x="204" y="93"/>
                    </a:lnTo>
                    <a:lnTo>
                      <a:pt x="205" y="93"/>
                    </a:lnTo>
                    <a:lnTo>
                      <a:pt x="207" y="91"/>
                    </a:lnTo>
                    <a:lnTo>
                      <a:pt x="208" y="90"/>
                    </a:lnTo>
                    <a:lnTo>
                      <a:pt x="209" y="90"/>
                    </a:lnTo>
                    <a:lnTo>
                      <a:pt x="211" y="90"/>
                    </a:lnTo>
                    <a:lnTo>
                      <a:pt x="212" y="89"/>
                    </a:lnTo>
                    <a:lnTo>
                      <a:pt x="213" y="90"/>
                    </a:lnTo>
                    <a:lnTo>
                      <a:pt x="214" y="90"/>
                    </a:lnTo>
                    <a:lnTo>
                      <a:pt x="214" y="91"/>
                    </a:lnTo>
                    <a:lnTo>
                      <a:pt x="215" y="91"/>
                    </a:lnTo>
                    <a:lnTo>
                      <a:pt x="219" y="90"/>
                    </a:lnTo>
                    <a:lnTo>
                      <a:pt x="224" y="89"/>
                    </a:lnTo>
                    <a:lnTo>
                      <a:pt x="225" y="89"/>
                    </a:lnTo>
                    <a:lnTo>
                      <a:pt x="237" y="86"/>
                    </a:lnTo>
                    <a:lnTo>
                      <a:pt x="246" y="84"/>
                    </a:lnTo>
                    <a:lnTo>
                      <a:pt x="255" y="82"/>
                    </a:lnTo>
                    <a:lnTo>
                      <a:pt x="259" y="81"/>
                    </a:lnTo>
                    <a:lnTo>
                      <a:pt x="270" y="78"/>
                    </a:lnTo>
                    <a:lnTo>
                      <a:pt x="276" y="76"/>
                    </a:lnTo>
                    <a:lnTo>
                      <a:pt x="280" y="75"/>
                    </a:lnTo>
                    <a:lnTo>
                      <a:pt x="285" y="74"/>
                    </a:lnTo>
                    <a:lnTo>
                      <a:pt x="289" y="73"/>
                    </a:lnTo>
                    <a:lnTo>
                      <a:pt x="308" y="69"/>
                    </a:lnTo>
                    <a:lnTo>
                      <a:pt x="316" y="67"/>
                    </a:lnTo>
                    <a:lnTo>
                      <a:pt x="324" y="64"/>
                    </a:lnTo>
                    <a:lnTo>
                      <a:pt x="325" y="64"/>
                    </a:lnTo>
                    <a:lnTo>
                      <a:pt x="328" y="64"/>
                    </a:lnTo>
                    <a:lnTo>
                      <a:pt x="345" y="60"/>
                    </a:lnTo>
                    <a:lnTo>
                      <a:pt x="350" y="59"/>
                    </a:lnTo>
                    <a:lnTo>
                      <a:pt x="368" y="55"/>
                    </a:lnTo>
                    <a:lnTo>
                      <a:pt x="372" y="54"/>
                    </a:lnTo>
                    <a:lnTo>
                      <a:pt x="377" y="51"/>
                    </a:lnTo>
                    <a:lnTo>
                      <a:pt x="396" y="48"/>
                    </a:lnTo>
                    <a:lnTo>
                      <a:pt x="397" y="47"/>
                    </a:lnTo>
                    <a:lnTo>
                      <a:pt x="415" y="43"/>
                    </a:lnTo>
                    <a:lnTo>
                      <a:pt x="427" y="42"/>
                    </a:lnTo>
                    <a:lnTo>
                      <a:pt x="431" y="41"/>
                    </a:lnTo>
                    <a:lnTo>
                      <a:pt x="434" y="39"/>
                    </a:lnTo>
                    <a:lnTo>
                      <a:pt x="467" y="32"/>
                    </a:lnTo>
                    <a:lnTo>
                      <a:pt x="473" y="31"/>
                    </a:lnTo>
                    <a:lnTo>
                      <a:pt x="482" y="29"/>
                    </a:lnTo>
                    <a:close/>
                  </a:path>
                </a:pathLst>
              </a:custGeom>
              <a:grpFill/>
              <a:ln w="19050">
                <a:solidFill>
                  <a:srgbClr val="FFC000"/>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44" name="Freeform 54">
                <a:extLst>
                  <a:ext uri="{FF2B5EF4-FFF2-40B4-BE49-F238E27FC236}">
                    <a16:creationId xmlns:a16="http://schemas.microsoft.com/office/drawing/2014/main" id="{AC846B33-B079-FA9D-DEB3-C5CC78712D26}"/>
                  </a:ext>
                </a:extLst>
              </p:cNvPr>
              <p:cNvSpPr>
                <a:spLocks/>
              </p:cNvSpPr>
              <p:nvPr/>
            </p:nvSpPr>
            <p:spPr bwMode="auto">
              <a:xfrm>
                <a:off x="2262846" y="1896682"/>
                <a:ext cx="496888" cy="534988"/>
              </a:xfrm>
              <a:custGeom>
                <a:avLst/>
                <a:gdLst>
                  <a:gd name="T0" fmla="*/ 298 w 313"/>
                  <a:gd name="T1" fmla="*/ 167 h 337"/>
                  <a:gd name="T2" fmla="*/ 294 w 313"/>
                  <a:gd name="T3" fmla="*/ 175 h 337"/>
                  <a:gd name="T4" fmla="*/ 291 w 313"/>
                  <a:gd name="T5" fmla="*/ 185 h 337"/>
                  <a:gd name="T6" fmla="*/ 290 w 313"/>
                  <a:gd name="T7" fmla="*/ 196 h 337"/>
                  <a:gd name="T8" fmla="*/ 284 w 313"/>
                  <a:gd name="T9" fmla="*/ 203 h 337"/>
                  <a:gd name="T10" fmla="*/ 275 w 313"/>
                  <a:gd name="T11" fmla="*/ 214 h 337"/>
                  <a:gd name="T12" fmla="*/ 270 w 313"/>
                  <a:gd name="T13" fmla="*/ 221 h 337"/>
                  <a:gd name="T14" fmla="*/ 262 w 313"/>
                  <a:gd name="T15" fmla="*/ 229 h 337"/>
                  <a:gd name="T16" fmla="*/ 257 w 313"/>
                  <a:gd name="T17" fmla="*/ 238 h 337"/>
                  <a:gd name="T18" fmla="*/ 252 w 313"/>
                  <a:gd name="T19" fmla="*/ 253 h 337"/>
                  <a:gd name="T20" fmla="*/ 249 w 313"/>
                  <a:gd name="T21" fmla="*/ 264 h 337"/>
                  <a:gd name="T22" fmla="*/ 247 w 313"/>
                  <a:gd name="T23" fmla="*/ 276 h 337"/>
                  <a:gd name="T24" fmla="*/ 243 w 313"/>
                  <a:gd name="T25" fmla="*/ 290 h 337"/>
                  <a:gd name="T26" fmla="*/ 242 w 313"/>
                  <a:gd name="T27" fmla="*/ 309 h 337"/>
                  <a:gd name="T28" fmla="*/ 221 w 313"/>
                  <a:gd name="T29" fmla="*/ 324 h 337"/>
                  <a:gd name="T30" fmla="*/ 161 w 313"/>
                  <a:gd name="T31" fmla="*/ 336 h 337"/>
                  <a:gd name="T32" fmla="*/ 154 w 313"/>
                  <a:gd name="T33" fmla="*/ 324 h 337"/>
                  <a:gd name="T34" fmla="*/ 29 w 313"/>
                  <a:gd name="T35" fmla="*/ 258 h 337"/>
                  <a:gd name="T36" fmla="*/ 0 w 313"/>
                  <a:gd name="T37" fmla="*/ 150 h 337"/>
                  <a:gd name="T38" fmla="*/ 39 w 313"/>
                  <a:gd name="T39" fmla="*/ 101 h 337"/>
                  <a:gd name="T40" fmla="*/ 72 w 313"/>
                  <a:gd name="T41" fmla="*/ 98 h 337"/>
                  <a:gd name="T42" fmla="*/ 81 w 313"/>
                  <a:gd name="T43" fmla="*/ 101 h 337"/>
                  <a:gd name="T44" fmla="*/ 90 w 313"/>
                  <a:gd name="T45" fmla="*/ 100 h 337"/>
                  <a:gd name="T46" fmla="*/ 100 w 313"/>
                  <a:gd name="T47" fmla="*/ 100 h 337"/>
                  <a:gd name="T48" fmla="*/ 109 w 313"/>
                  <a:gd name="T49" fmla="*/ 97 h 337"/>
                  <a:gd name="T50" fmla="*/ 117 w 313"/>
                  <a:gd name="T51" fmla="*/ 95 h 337"/>
                  <a:gd name="T52" fmla="*/ 117 w 313"/>
                  <a:gd name="T53" fmla="*/ 87 h 337"/>
                  <a:gd name="T54" fmla="*/ 158 w 313"/>
                  <a:gd name="T55" fmla="*/ 54 h 337"/>
                  <a:gd name="T56" fmla="*/ 174 w 313"/>
                  <a:gd name="T57" fmla="*/ 34 h 337"/>
                  <a:gd name="T58" fmla="*/ 188 w 313"/>
                  <a:gd name="T59" fmla="*/ 29 h 337"/>
                  <a:gd name="T60" fmla="*/ 201 w 313"/>
                  <a:gd name="T61" fmla="*/ 21 h 337"/>
                  <a:gd name="T62" fmla="*/ 213 w 313"/>
                  <a:gd name="T63" fmla="*/ 1 h 337"/>
                  <a:gd name="T64" fmla="*/ 226 w 313"/>
                  <a:gd name="T65" fmla="*/ 2 h 337"/>
                  <a:gd name="T66" fmla="*/ 214 w 313"/>
                  <a:gd name="T67" fmla="*/ 9 h 337"/>
                  <a:gd name="T68" fmla="*/ 221 w 313"/>
                  <a:gd name="T69" fmla="*/ 6 h 337"/>
                  <a:gd name="T70" fmla="*/ 220 w 313"/>
                  <a:gd name="T71" fmla="*/ 14 h 337"/>
                  <a:gd name="T72" fmla="*/ 229 w 313"/>
                  <a:gd name="T73" fmla="*/ 17 h 337"/>
                  <a:gd name="T74" fmla="*/ 223 w 313"/>
                  <a:gd name="T75" fmla="*/ 27 h 337"/>
                  <a:gd name="T76" fmla="*/ 235 w 313"/>
                  <a:gd name="T77" fmla="*/ 18 h 337"/>
                  <a:gd name="T78" fmla="*/ 229 w 313"/>
                  <a:gd name="T79" fmla="*/ 8 h 337"/>
                  <a:gd name="T80" fmla="*/ 239 w 313"/>
                  <a:gd name="T81" fmla="*/ 15 h 337"/>
                  <a:gd name="T82" fmla="*/ 247 w 313"/>
                  <a:gd name="T83" fmla="*/ 13 h 337"/>
                  <a:gd name="T84" fmla="*/ 258 w 313"/>
                  <a:gd name="T85" fmla="*/ 14 h 337"/>
                  <a:gd name="T86" fmla="*/ 268 w 313"/>
                  <a:gd name="T87" fmla="*/ 9 h 337"/>
                  <a:gd name="T88" fmla="*/ 272 w 313"/>
                  <a:gd name="T89" fmla="*/ 16 h 337"/>
                  <a:gd name="T90" fmla="*/ 275 w 313"/>
                  <a:gd name="T91" fmla="*/ 27 h 337"/>
                  <a:gd name="T92" fmla="*/ 283 w 313"/>
                  <a:gd name="T93" fmla="*/ 35 h 337"/>
                  <a:gd name="T94" fmla="*/ 294 w 313"/>
                  <a:gd name="T95" fmla="*/ 46 h 337"/>
                  <a:gd name="T96" fmla="*/ 304 w 313"/>
                  <a:gd name="T97" fmla="*/ 41 h 337"/>
                  <a:gd name="T98" fmla="*/ 310 w 313"/>
                  <a:gd name="T99" fmla="*/ 52 h 337"/>
                  <a:gd name="T100" fmla="*/ 301 w 313"/>
                  <a:gd name="T101" fmla="*/ 56 h 337"/>
                  <a:gd name="T102" fmla="*/ 303 w 313"/>
                  <a:gd name="T103" fmla="*/ 67 h 337"/>
                  <a:gd name="T104" fmla="*/ 299 w 313"/>
                  <a:gd name="T105" fmla="*/ 77 h 337"/>
                  <a:gd name="T106" fmla="*/ 297 w 313"/>
                  <a:gd name="T107" fmla="*/ 97 h 337"/>
                  <a:gd name="T108" fmla="*/ 299 w 313"/>
                  <a:gd name="T109" fmla="*/ 111 h 337"/>
                  <a:gd name="T110" fmla="*/ 303 w 313"/>
                  <a:gd name="T111" fmla="*/ 123 h 337"/>
                  <a:gd name="T112" fmla="*/ 307 w 313"/>
                  <a:gd name="T113" fmla="*/ 133 h 337"/>
                  <a:gd name="T114" fmla="*/ 313 w 313"/>
                  <a:gd name="T115" fmla="*/ 14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 h="337">
                    <a:moveTo>
                      <a:pt x="308" y="158"/>
                    </a:moveTo>
                    <a:lnTo>
                      <a:pt x="305" y="162"/>
                    </a:lnTo>
                    <a:lnTo>
                      <a:pt x="305" y="163"/>
                    </a:lnTo>
                    <a:lnTo>
                      <a:pt x="304" y="163"/>
                    </a:lnTo>
                    <a:lnTo>
                      <a:pt x="303" y="164"/>
                    </a:lnTo>
                    <a:lnTo>
                      <a:pt x="301" y="164"/>
                    </a:lnTo>
                    <a:lnTo>
                      <a:pt x="301" y="165"/>
                    </a:lnTo>
                    <a:lnTo>
                      <a:pt x="300" y="165"/>
                    </a:lnTo>
                    <a:lnTo>
                      <a:pt x="299" y="165"/>
                    </a:lnTo>
                    <a:lnTo>
                      <a:pt x="299" y="167"/>
                    </a:lnTo>
                    <a:lnTo>
                      <a:pt x="298" y="167"/>
                    </a:lnTo>
                    <a:lnTo>
                      <a:pt x="297" y="167"/>
                    </a:lnTo>
                    <a:lnTo>
                      <a:pt x="296" y="167"/>
                    </a:lnTo>
                    <a:lnTo>
                      <a:pt x="296" y="168"/>
                    </a:lnTo>
                    <a:lnTo>
                      <a:pt x="295" y="168"/>
                    </a:lnTo>
                    <a:lnTo>
                      <a:pt x="295" y="169"/>
                    </a:lnTo>
                    <a:lnTo>
                      <a:pt x="295" y="170"/>
                    </a:lnTo>
                    <a:lnTo>
                      <a:pt x="294" y="172"/>
                    </a:lnTo>
                    <a:lnTo>
                      <a:pt x="294" y="173"/>
                    </a:lnTo>
                    <a:lnTo>
                      <a:pt x="295" y="173"/>
                    </a:lnTo>
                    <a:lnTo>
                      <a:pt x="295" y="174"/>
                    </a:lnTo>
                    <a:lnTo>
                      <a:pt x="294" y="175"/>
                    </a:lnTo>
                    <a:lnTo>
                      <a:pt x="294" y="176"/>
                    </a:lnTo>
                    <a:lnTo>
                      <a:pt x="293" y="176"/>
                    </a:lnTo>
                    <a:lnTo>
                      <a:pt x="293" y="177"/>
                    </a:lnTo>
                    <a:lnTo>
                      <a:pt x="292" y="178"/>
                    </a:lnTo>
                    <a:lnTo>
                      <a:pt x="292" y="180"/>
                    </a:lnTo>
                    <a:lnTo>
                      <a:pt x="291" y="181"/>
                    </a:lnTo>
                    <a:lnTo>
                      <a:pt x="291" y="182"/>
                    </a:lnTo>
                    <a:lnTo>
                      <a:pt x="291" y="183"/>
                    </a:lnTo>
                    <a:lnTo>
                      <a:pt x="292" y="183"/>
                    </a:lnTo>
                    <a:lnTo>
                      <a:pt x="291" y="184"/>
                    </a:lnTo>
                    <a:lnTo>
                      <a:pt x="291" y="185"/>
                    </a:lnTo>
                    <a:lnTo>
                      <a:pt x="291" y="186"/>
                    </a:lnTo>
                    <a:lnTo>
                      <a:pt x="290" y="186"/>
                    </a:lnTo>
                    <a:lnTo>
                      <a:pt x="290" y="187"/>
                    </a:lnTo>
                    <a:lnTo>
                      <a:pt x="288" y="188"/>
                    </a:lnTo>
                    <a:lnTo>
                      <a:pt x="287" y="190"/>
                    </a:lnTo>
                    <a:lnTo>
                      <a:pt x="288" y="191"/>
                    </a:lnTo>
                    <a:lnTo>
                      <a:pt x="288" y="193"/>
                    </a:lnTo>
                    <a:lnTo>
                      <a:pt x="290" y="193"/>
                    </a:lnTo>
                    <a:lnTo>
                      <a:pt x="291" y="194"/>
                    </a:lnTo>
                    <a:lnTo>
                      <a:pt x="291" y="195"/>
                    </a:lnTo>
                    <a:lnTo>
                      <a:pt x="290" y="196"/>
                    </a:lnTo>
                    <a:lnTo>
                      <a:pt x="288" y="197"/>
                    </a:lnTo>
                    <a:lnTo>
                      <a:pt x="288" y="198"/>
                    </a:lnTo>
                    <a:lnTo>
                      <a:pt x="288" y="199"/>
                    </a:lnTo>
                    <a:lnTo>
                      <a:pt x="287" y="199"/>
                    </a:lnTo>
                    <a:lnTo>
                      <a:pt x="286" y="199"/>
                    </a:lnTo>
                    <a:lnTo>
                      <a:pt x="286" y="200"/>
                    </a:lnTo>
                    <a:lnTo>
                      <a:pt x="285" y="200"/>
                    </a:lnTo>
                    <a:lnTo>
                      <a:pt x="285" y="201"/>
                    </a:lnTo>
                    <a:lnTo>
                      <a:pt x="285" y="202"/>
                    </a:lnTo>
                    <a:lnTo>
                      <a:pt x="284" y="202"/>
                    </a:lnTo>
                    <a:lnTo>
                      <a:pt x="284" y="203"/>
                    </a:lnTo>
                    <a:lnTo>
                      <a:pt x="284" y="204"/>
                    </a:lnTo>
                    <a:lnTo>
                      <a:pt x="283" y="204"/>
                    </a:lnTo>
                    <a:lnTo>
                      <a:pt x="282" y="204"/>
                    </a:lnTo>
                    <a:lnTo>
                      <a:pt x="281" y="206"/>
                    </a:lnTo>
                    <a:lnTo>
                      <a:pt x="279" y="208"/>
                    </a:lnTo>
                    <a:lnTo>
                      <a:pt x="278" y="209"/>
                    </a:lnTo>
                    <a:lnTo>
                      <a:pt x="277" y="210"/>
                    </a:lnTo>
                    <a:lnTo>
                      <a:pt x="277" y="211"/>
                    </a:lnTo>
                    <a:lnTo>
                      <a:pt x="277" y="212"/>
                    </a:lnTo>
                    <a:lnTo>
                      <a:pt x="275" y="213"/>
                    </a:lnTo>
                    <a:lnTo>
                      <a:pt x="275" y="214"/>
                    </a:lnTo>
                    <a:lnTo>
                      <a:pt x="274" y="215"/>
                    </a:lnTo>
                    <a:lnTo>
                      <a:pt x="274" y="216"/>
                    </a:lnTo>
                    <a:lnTo>
                      <a:pt x="273" y="216"/>
                    </a:lnTo>
                    <a:lnTo>
                      <a:pt x="272" y="215"/>
                    </a:lnTo>
                    <a:lnTo>
                      <a:pt x="271" y="217"/>
                    </a:lnTo>
                    <a:lnTo>
                      <a:pt x="271" y="219"/>
                    </a:lnTo>
                    <a:lnTo>
                      <a:pt x="272" y="219"/>
                    </a:lnTo>
                    <a:lnTo>
                      <a:pt x="272" y="220"/>
                    </a:lnTo>
                    <a:lnTo>
                      <a:pt x="271" y="220"/>
                    </a:lnTo>
                    <a:lnTo>
                      <a:pt x="271" y="221"/>
                    </a:lnTo>
                    <a:lnTo>
                      <a:pt x="270" y="221"/>
                    </a:lnTo>
                    <a:lnTo>
                      <a:pt x="271" y="221"/>
                    </a:lnTo>
                    <a:lnTo>
                      <a:pt x="270" y="222"/>
                    </a:lnTo>
                    <a:lnTo>
                      <a:pt x="269" y="222"/>
                    </a:lnTo>
                    <a:lnTo>
                      <a:pt x="269" y="223"/>
                    </a:lnTo>
                    <a:lnTo>
                      <a:pt x="268" y="223"/>
                    </a:lnTo>
                    <a:lnTo>
                      <a:pt x="268" y="222"/>
                    </a:lnTo>
                    <a:lnTo>
                      <a:pt x="267" y="223"/>
                    </a:lnTo>
                    <a:lnTo>
                      <a:pt x="266" y="223"/>
                    </a:lnTo>
                    <a:lnTo>
                      <a:pt x="265" y="224"/>
                    </a:lnTo>
                    <a:lnTo>
                      <a:pt x="264" y="226"/>
                    </a:lnTo>
                    <a:lnTo>
                      <a:pt x="262" y="229"/>
                    </a:lnTo>
                    <a:lnTo>
                      <a:pt x="262" y="231"/>
                    </a:lnTo>
                    <a:lnTo>
                      <a:pt x="261" y="231"/>
                    </a:lnTo>
                    <a:lnTo>
                      <a:pt x="260" y="232"/>
                    </a:lnTo>
                    <a:lnTo>
                      <a:pt x="260" y="233"/>
                    </a:lnTo>
                    <a:lnTo>
                      <a:pt x="259" y="233"/>
                    </a:lnTo>
                    <a:lnTo>
                      <a:pt x="258" y="233"/>
                    </a:lnTo>
                    <a:lnTo>
                      <a:pt x="258" y="234"/>
                    </a:lnTo>
                    <a:lnTo>
                      <a:pt x="258" y="235"/>
                    </a:lnTo>
                    <a:lnTo>
                      <a:pt x="258" y="236"/>
                    </a:lnTo>
                    <a:lnTo>
                      <a:pt x="258" y="237"/>
                    </a:lnTo>
                    <a:lnTo>
                      <a:pt x="257" y="238"/>
                    </a:lnTo>
                    <a:lnTo>
                      <a:pt x="257" y="239"/>
                    </a:lnTo>
                    <a:lnTo>
                      <a:pt x="257" y="240"/>
                    </a:lnTo>
                    <a:lnTo>
                      <a:pt x="256" y="240"/>
                    </a:lnTo>
                    <a:lnTo>
                      <a:pt x="256" y="241"/>
                    </a:lnTo>
                    <a:lnTo>
                      <a:pt x="256" y="242"/>
                    </a:lnTo>
                    <a:lnTo>
                      <a:pt x="255" y="244"/>
                    </a:lnTo>
                    <a:lnTo>
                      <a:pt x="254" y="246"/>
                    </a:lnTo>
                    <a:lnTo>
                      <a:pt x="252" y="249"/>
                    </a:lnTo>
                    <a:lnTo>
                      <a:pt x="252" y="250"/>
                    </a:lnTo>
                    <a:lnTo>
                      <a:pt x="252" y="252"/>
                    </a:lnTo>
                    <a:lnTo>
                      <a:pt x="252" y="253"/>
                    </a:lnTo>
                    <a:lnTo>
                      <a:pt x="251" y="254"/>
                    </a:lnTo>
                    <a:lnTo>
                      <a:pt x="251" y="255"/>
                    </a:lnTo>
                    <a:lnTo>
                      <a:pt x="249" y="255"/>
                    </a:lnTo>
                    <a:lnTo>
                      <a:pt x="249" y="259"/>
                    </a:lnTo>
                    <a:lnTo>
                      <a:pt x="249" y="260"/>
                    </a:lnTo>
                    <a:lnTo>
                      <a:pt x="248" y="260"/>
                    </a:lnTo>
                    <a:lnTo>
                      <a:pt x="247" y="261"/>
                    </a:lnTo>
                    <a:lnTo>
                      <a:pt x="247" y="262"/>
                    </a:lnTo>
                    <a:lnTo>
                      <a:pt x="248" y="262"/>
                    </a:lnTo>
                    <a:lnTo>
                      <a:pt x="249" y="263"/>
                    </a:lnTo>
                    <a:lnTo>
                      <a:pt x="249" y="264"/>
                    </a:lnTo>
                    <a:lnTo>
                      <a:pt x="251" y="265"/>
                    </a:lnTo>
                    <a:lnTo>
                      <a:pt x="251" y="267"/>
                    </a:lnTo>
                    <a:lnTo>
                      <a:pt x="251" y="268"/>
                    </a:lnTo>
                    <a:lnTo>
                      <a:pt x="249" y="270"/>
                    </a:lnTo>
                    <a:lnTo>
                      <a:pt x="248" y="270"/>
                    </a:lnTo>
                    <a:lnTo>
                      <a:pt x="248" y="271"/>
                    </a:lnTo>
                    <a:lnTo>
                      <a:pt x="247" y="272"/>
                    </a:lnTo>
                    <a:lnTo>
                      <a:pt x="247" y="273"/>
                    </a:lnTo>
                    <a:lnTo>
                      <a:pt x="247" y="274"/>
                    </a:lnTo>
                    <a:lnTo>
                      <a:pt x="247" y="275"/>
                    </a:lnTo>
                    <a:lnTo>
                      <a:pt x="247" y="276"/>
                    </a:lnTo>
                    <a:lnTo>
                      <a:pt x="248" y="278"/>
                    </a:lnTo>
                    <a:lnTo>
                      <a:pt x="248" y="279"/>
                    </a:lnTo>
                    <a:lnTo>
                      <a:pt x="248" y="281"/>
                    </a:lnTo>
                    <a:lnTo>
                      <a:pt x="247" y="284"/>
                    </a:lnTo>
                    <a:lnTo>
                      <a:pt x="247" y="285"/>
                    </a:lnTo>
                    <a:lnTo>
                      <a:pt x="247" y="287"/>
                    </a:lnTo>
                    <a:lnTo>
                      <a:pt x="246" y="289"/>
                    </a:lnTo>
                    <a:lnTo>
                      <a:pt x="245" y="289"/>
                    </a:lnTo>
                    <a:lnTo>
                      <a:pt x="244" y="289"/>
                    </a:lnTo>
                    <a:lnTo>
                      <a:pt x="244" y="290"/>
                    </a:lnTo>
                    <a:lnTo>
                      <a:pt x="243" y="290"/>
                    </a:lnTo>
                    <a:lnTo>
                      <a:pt x="243" y="291"/>
                    </a:lnTo>
                    <a:lnTo>
                      <a:pt x="243" y="292"/>
                    </a:lnTo>
                    <a:lnTo>
                      <a:pt x="243" y="293"/>
                    </a:lnTo>
                    <a:lnTo>
                      <a:pt x="244" y="293"/>
                    </a:lnTo>
                    <a:lnTo>
                      <a:pt x="245" y="293"/>
                    </a:lnTo>
                    <a:lnTo>
                      <a:pt x="244" y="298"/>
                    </a:lnTo>
                    <a:lnTo>
                      <a:pt x="244" y="301"/>
                    </a:lnTo>
                    <a:lnTo>
                      <a:pt x="243" y="303"/>
                    </a:lnTo>
                    <a:lnTo>
                      <a:pt x="243" y="304"/>
                    </a:lnTo>
                    <a:lnTo>
                      <a:pt x="243" y="306"/>
                    </a:lnTo>
                    <a:lnTo>
                      <a:pt x="242" y="309"/>
                    </a:lnTo>
                    <a:lnTo>
                      <a:pt x="242" y="310"/>
                    </a:lnTo>
                    <a:lnTo>
                      <a:pt x="241" y="312"/>
                    </a:lnTo>
                    <a:lnTo>
                      <a:pt x="240" y="313"/>
                    </a:lnTo>
                    <a:lnTo>
                      <a:pt x="240" y="315"/>
                    </a:lnTo>
                    <a:lnTo>
                      <a:pt x="239" y="317"/>
                    </a:lnTo>
                    <a:lnTo>
                      <a:pt x="238" y="318"/>
                    </a:lnTo>
                    <a:lnTo>
                      <a:pt x="235" y="321"/>
                    </a:lnTo>
                    <a:lnTo>
                      <a:pt x="234" y="322"/>
                    </a:lnTo>
                    <a:lnTo>
                      <a:pt x="233" y="323"/>
                    </a:lnTo>
                    <a:lnTo>
                      <a:pt x="233" y="324"/>
                    </a:lnTo>
                    <a:lnTo>
                      <a:pt x="221" y="324"/>
                    </a:lnTo>
                    <a:lnTo>
                      <a:pt x="202" y="324"/>
                    </a:lnTo>
                    <a:lnTo>
                      <a:pt x="201" y="324"/>
                    </a:lnTo>
                    <a:lnTo>
                      <a:pt x="200" y="324"/>
                    </a:lnTo>
                    <a:lnTo>
                      <a:pt x="199" y="324"/>
                    </a:lnTo>
                    <a:lnTo>
                      <a:pt x="190" y="324"/>
                    </a:lnTo>
                    <a:lnTo>
                      <a:pt x="190" y="337"/>
                    </a:lnTo>
                    <a:lnTo>
                      <a:pt x="184" y="337"/>
                    </a:lnTo>
                    <a:lnTo>
                      <a:pt x="178" y="337"/>
                    </a:lnTo>
                    <a:lnTo>
                      <a:pt x="162" y="337"/>
                    </a:lnTo>
                    <a:lnTo>
                      <a:pt x="161" y="337"/>
                    </a:lnTo>
                    <a:lnTo>
                      <a:pt x="161" y="336"/>
                    </a:lnTo>
                    <a:lnTo>
                      <a:pt x="162" y="335"/>
                    </a:lnTo>
                    <a:lnTo>
                      <a:pt x="162" y="334"/>
                    </a:lnTo>
                    <a:lnTo>
                      <a:pt x="161" y="332"/>
                    </a:lnTo>
                    <a:lnTo>
                      <a:pt x="159" y="331"/>
                    </a:lnTo>
                    <a:lnTo>
                      <a:pt x="158" y="331"/>
                    </a:lnTo>
                    <a:lnTo>
                      <a:pt x="157" y="330"/>
                    </a:lnTo>
                    <a:lnTo>
                      <a:pt x="156" y="329"/>
                    </a:lnTo>
                    <a:lnTo>
                      <a:pt x="155" y="328"/>
                    </a:lnTo>
                    <a:lnTo>
                      <a:pt x="154" y="327"/>
                    </a:lnTo>
                    <a:lnTo>
                      <a:pt x="154" y="326"/>
                    </a:lnTo>
                    <a:lnTo>
                      <a:pt x="154" y="324"/>
                    </a:lnTo>
                    <a:lnTo>
                      <a:pt x="153" y="324"/>
                    </a:lnTo>
                    <a:lnTo>
                      <a:pt x="105" y="324"/>
                    </a:lnTo>
                    <a:lnTo>
                      <a:pt x="102" y="324"/>
                    </a:lnTo>
                    <a:lnTo>
                      <a:pt x="101" y="324"/>
                    </a:lnTo>
                    <a:lnTo>
                      <a:pt x="94" y="324"/>
                    </a:lnTo>
                    <a:lnTo>
                      <a:pt x="70" y="324"/>
                    </a:lnTo>
                    <a:lnTo>
                      <a:pt x="63" y="324"/>
                    </a:lnTo>
                    <a:lnTo>
                      <a:pt x="63" y="292"/>
                    </a:lnTo>
                    <a:lnTo>
                      <a:pt x="58" y="286"/>
                    </a:lnTo>
                    <a:lnTo>
                      <a:pt x="57" y="286"/>
                    </a:lnTo>
                    <a:lnTo>
                      <a:pt x="29" y="258"/>
                    </a:lnTo>
                    <a:lnTo>
                      <a:pt x="10" y="239"/>
                    </a:lnTo>
                    <a:lnTo>
                      <a:pt x="3" y="232"/>
                    </a:lnTo>
                    <a:lnTo>
                      <a:pt x="0" y="228"/>
                    </a:lnTo>
                    <a:lnTo>
                      <a:pt x="0" y="204"/>
                    </a:lnTo>
                    <a:lnTo>
                      <a:pt x="0" y="186"/>
                    </a:lnTo>
                    <a:lnTo>
                      <a:pt x="0" y="183"/>
                    </a:lnTo>
                    <a:lnTo>
                      <a:pt x="0" y="170"/>
                    </a:lnTo>
                    <a:lnTo>
                      <a:pt x="0" y="167"/>
                    </a:lnTo>
                    <a:lnTo>
                      <a:pt x="0" y="165"/>
                    </a:lnTo>
                    <a:lnTo>
                      <a:pt x="0" y="157"/>
                    </a:lnTo>
                    <a:lnTo>
                      <a:pt x="0" y="150"/>
                    </a:lnTo>
                    <a:lnTo>
                      <a:pt x="0" y="146"/>
                    </a:lnTo>
                    <a:lnTo>
                      <a:pt x="0" y="137"/>
                    </a:lnTo>
                    <a:lnTo>
                      <a:pt x="0" y="127"/>
                    </a:lnTo>
                    <a:lnTo>
                      <a:pt x="0" y="122"/>
                    </a:lnTo>
                    <a:lnTo>
                      <a:pt x="0" y="101"/>
                    </a:lnTo>
                    <a:lnTo>
                      <a:pt x="19" y="101"/>
                    </a:lnTo>
                    <a:lnTo>
                      <a:pt x="24" y="101"/>
                    </a:lnTo>
                    <a:lnTo>
                      <a:pt x="25" y="101"/>
                    </a:lnTo>
                    <a:lnTo>
                      <a:pt x="26" y="101"/>
                    </a:lnTo>
                    <a:lnTo>
                      <a:pt x="32" y="101"/>
                    </a:lnTo>
                    <a:lnTo>
                      <a:pt x="39" y="101"/>
                    </a:lnTo>
                    <a:lnTo>
                      <a:pt x="53" y="101"/>
                    </a:lnTo>
                    <a:lnTo>
                      <a:pt x="67" y="101"/>
                    </a:lnTo>
                    <a:lnTo>
                      <a:pt x="68" y="101"/>
                    </a:lnTo>
                    <a:lnTo>
                      <a:pt x="68" y="100"/>
                    </a:lnTo>
                    <a:lnTo>
                      <a:pt x="68" y="101"/>
                    </a:lnTo>
                    <a:lnTo>
                      <a:pt x="70" y="101"/>
                    </a:lnTo>
                    <a:lnTo>
                      <a:pt x="71" y="101"/>
                    </a:lnTo>
                    <a:lnTo>
                      <a:pt x="71" y="100"/>
                    </a:lnTo>
                    <a:lnTo>
                      <a:pt x="71" y="99"/>
                    </a:lnTo>
                    <a:lnTo>
                      <a:pt x="72" y="99"/>
                    </a:lnTo>
                    <a:lnTo>
                      <a:pt x="72" y="98"/>
                    </a:lnTo>
                    <a:lnTo>
                      <a:pt x="73" y="98"/>
                    </a:lnTo>
                    <a:lnTo>
                      <a:pt x="74" y="98"/>
                    </a:lnTo>
                    <a:lnTo>
                      <a:pt x="75" y="99"/>
                    </a:lnTo>
                    <a:lnTo>
                      <a:pt x="76" y="99"/>
                    </a:lnTo>
                    <a:lnTo>
                      <a:pt x="77" y="100"/>
                    </a:lnTo>
                    <a:lnTo>
                      <a:pt x="78" y="101"/>
                    </a:lnTo>
                    <a:lnTo>
                      <a:pt x="79" y="101"/>
                    </a:lnTo>
                    <a:lnTo>
                      <a:pt x="79" y="100"/>
                    </a:lnTo>
                    <a:lnTo>
                      <a:pt x="80" y="100"/>
                    </a:lnTo>
                    <a:lnTo>
                      <a:pt x="80" y="101"/>
                    </a:lnTo>
                    <a:lnTo>
                      <a:pt x="81" y="101"/>
                    </a:lnTo>
                    <a:lnTo>
                      <a:pt x="83" y="101"/>
                    </a:lnTo>
                    <a:lnTo>
                      <a:pt x="84" y="101"/>
                    </a:lnTo>
                    <a:lnTo>
                      <a:pt x="85" y="101"/>
                    </a:lnTo>
                    <a:lnTo>
                      <a:pt x="84" y="103"/>
                    </a:lnTo>
                    <a:lnTo>
                      <a:pt x="85" y="103"/>
                    </a:lnTo>
                    <a:lnTo>
                      <a:pt x="86" y="103"/>
                    </a:lnTo>
                    <a:lnTo>
                      <a:pt x="87" y="103"/>
                    </a:lnTo>
                    <a:lnTo>
                      <a:pt x="88" y="103"/>
                    </a:lnTo>
                    <a:lnTo>
                      <a:pt x="89" y="101"/>
                    </a:lnTo>
                    <a:lnTo>
                      <a:pt x="90" y="101"/>
                    </a:lnTo>
                    <a:lnTo>
                      <a:pt x="90" y="100"/>
                    </a:lnTo>
                    <a:lnTo>
                      <a:pt x="91" y="101"/>
                    </a:lnTo>
                    <a:lnTo>
                      <a:pt x="92" y="101"/>
                    </a:lnTo>
                    <a:lnTo>
                      <a:pt x="93" y="101"/>
                    </a:lnTo>
                    <a:lnTo>
                      <a:pt x="93" y="103"/>
                    </a:lnTo>
                    <a:lnTo>
                      <a:pt x="94" y="103"/>
                    </a:lnTo>
                    <a:lnTo>
                      <a:pt x="96" y="101"/>
                    </a:lnTo>
                    <a:lnTo>
                      <a:pt x="97" y="101"/>
                    </a:lnTo>
                    <a:lnTo>
                      <a:pt x="98" y="101"/>
                    </a:lnTo>
                    <a:lnTo>
                      <a:pt x="98" y="100"/>
                    </a:lnTo>
                    <a:lnTo>
                      <a:pt x="99" y="100"/>
                    </a:lnTo>
                    <a:lnTo>
                      <a:pt x="100" y="100"/>
                    </a:lnTo>
                    <a:lnTo>
                      <a:pt x="101" y="99"/>
                    </a:lnTo>
                    <a:lnTo>
                      <a:pt x="101" y="98"/>
                    </a:lnTo>
                    <a:lnTo>
                      <a:pt x="101" y="97"/>
                    </a:lnTo>
                    <a:lnTo>
                      <a:pt x="102" y="98"/>
                    </a:lnTo>
                    <a:lnTo>
                      <a:pt x="102" y="97"/>
                    </a:lnTo>
                    <a:lnTo>
                      <a:pt x="103" y="97"/>
                    </a:lnTo>
                    <a:lnTo>
                      <a:pt x="104" y="97"/>
                    </a:lnTo>
                    <a:lnTo>
                      <a:pt x="105" y="97"/>
                    </a:lnTo>
                    <a:lnTo>
                      <a:pt x="106" y="97"/>
                    </a:lnTo>
                    <a:lnTo>
                      <a:pt x="107" y="97"/>
                    </a:lnTo>
                    <a:lnTo>
                      <a:pt x="109" y="97"/>
                    </a:lnTo>
                    <a:lnTo>
                      <a:pt x="110" y="97"/>
                    </a:lnTo>
                    <a:lnTo>
                      <a:pt x="111" y="97"/>
                    </a:lnTo>
                    <a:lnTo>
                      <a:pt x="112" y="98"/>
                    </a:lnTo>
                    <a:lnTo>
                      <a:pt x="113" y="97"/>
                    </a:lnTo>
                    <a:lnTo>
                      <a:pt x="114" y="97"/>
                    </a:lnTo>
                    <a:lnTo>
                      <a:pt x="114" y="96"/>
                    </a:lnTo>
                    <a:lnTo>
                      <a:pt x="115" y="97"/>
                    </a:lnTo>
                    <a:lnTo>
                      <a:pt x="115" y="96"/>
                    </a:lnTo>
                    <a:lnTo>
                      <a:pt x="116" y="96"/>
                    </a:lnTo>
                    <a:lnTo>
                      <a:pt x="117" y="96"/>
                    </a:lnTo>
                    <a:lnTo>
                      <a:pt x="117" y="95"/>
                    </a:lnTo>
                    <a:lnTo>
                      <a:pt x="118" y="95"/>
                    </a:lnTo>
                    <a:lnTo>
                      <a:pt x="118" y="94"/>
                    </a:lnTo>
                    <a:lnTo>
                      <a:pt x="118" y="93"/>
                    </a:lnTo>
                    <a:lnTo>
                      <a:pt x="117" y="93"/>
                    </a:lnTo>
                    <a:lnTo>
                      <a:pt x="118" y="92"/>
                    </a:lnTo>
                    <a:lnTo>
                      <a:pt x="117" y="92"/>
                    </a:lnTo>
                    <a:lnTo>
                      <a:pt x="117" y="91"/>
                    </a:lnTo>
                    <a:lnTo>
                      <a:pt x="117" y="90"/>
                    </a:lnTo>
                    <a:lnTo>
                      <a:pt x="118" y="90"/>
                    </a:lnTo>
                    <a:lnTo>
                      <a:pt x="117" y="88"/>
                    </a:lnTo>
                    <a:lnTo>
                      <a:pt x="117" y="87"/>
                    </a:lnTo>
                    <a:lnTo>
                      <a:pt x="117" y="86"/>
                    </a:lnTo>
                    <a:lnTo>
                      <a:pt x="117" y="85"/>
                    </a:lnTo>
                    <a:lnTo>
                      <a:pt x="118" y="85"/>
                    </a:lnTo>
                    <a:lnTo>
                      <a:pt x="118" y="84"/>
                    </a:lnTo>
                    <a:lnTo>
                      <a:pt x="118" y="83"/>
                    </a:lnTo>
                    <a:lnTo>
                      <a:pt x="118" y="82"/>
                    </a:lnTo>
                    <a:lnTo>
                      <a:pt x="119" y="82"/>
                    </a:lnTo>
                    <a:lnTo>
                      <a:pt x="119" y="81"/>
                    </a:lnTo>
                    <a:lnTo>
                      <a:pt x="120" y="81"/>
                    </a:lnTo>
                    <a:lnTo>
                      <a:pt x="154" y="57"/>
                    </a:lnTo>
                    <a:lnTo>
                      <a:pt x="158" y="54"/>
                    </a:lnTo>
                    <a:lnTo>
                      <a:pt x="169" y="45"/>
                    </a:lnTo>
                    <a:lnTo>
                      <a:pt x="170" y="45"/>
                    </a:lnTo>
                    <a:lnTo>
                      <a:pt x="168" y="42"/>
                    </a:lnTo>
                    <a:lnTo>
                      <a:pt x="168" y="41"/>
                    </a:lnTo>
                    <a:lnTo>
                      <a:pt x="168" y="40"/>
                    </a:lnTo>
                    <a:lnTo>
                      <a:pt x="168" y="37"/>
                    </a:lnTo>
                    <a:lnTo>
                      <a:pt x="168" y="35"/>
                    </a:lnTo>
                    <a:lnTo>
                      <a:pt x="169" y="34"/>
                    </a:lnTo>
                    <a:lnTo>
                      <a:pt x="170" y="34"/>
                    </a:lnTo>
                    <a:lnTo>
                      <a:pt x="172" y="34"/>
                    </a:lnTo>
                    <a:lnTo>
                      <a:pt x="174" y="34"/>
                    </a:lnTo>
                    <a:lnTo>
                      <a:pt x="175" y="34"/>
                    </a:lnTo>
                    <a:lnTo>
                      <a:pt x="176" y="34"/>
                    </a:lnTo>
                    <a:lnTo>
                      <a:pt x="179" y="35"/>
                    </a:lnTo>
                    <a:lnTo>
                      <a:pt x="180" y="35"/>
                    </a:lnTo>
                    <a:lnTo>
                      <a:pt x="181" y="35"/>
                    </a:lnTo>
                    <a:lnTo>
                      <a:pt x="182" y="35"/>
                    </a:lnTo>
                    <a:lnTo>
                      <a:pt x="182" y="34"/>
                    </a:lnTo>
                    <a:lnTo>
                      <a:pt x="184" y="33"/>
                    </a:lnTo>
                    <a:lnTo>
                      <a:pt x="186" y="32"/>
                    </a:lnTo>
                    <a:lnTo>
                      <a:pt x="187" y="30"/>
                    </a:lnTo>
                    <a:lnTo>
                      <a:pt x="188" y="29"/>
                    </a:lnTo>
                    <a:lnTo>
                      <a:pt x="189" y="29"/>
                    </a:lnTo>
                    <a:lnTo>
                      <a:pt x="190" y="29"/>
                    </a:lnTo>
                    <a:lnTo>
                      <a:pt x="192" y="29"/>
                    </a:lnTo>
                    <a:lnTo>
                      <a:pt x="193" y="29"/>
                    </a:lnTo>
                    <a:lnTo>
                      <a:pt x="195" y="28"/>
                    </a:lnTo>
                    <a:lnTo>
                      <a:pt x="197" y="27"/>
                    </a:lnTo>
                    <a:lnTo>
                      <a:pt x="199" y="27"/>
                    </a:lnTo>
                    <a:lnTo>
                      <a:pt x="200" y="26"/>
                    </a:lnTo>
                    <a:lnTo>
                      <a:pt x="200" y="24"/>
                    </a:lnTo>
                    <a:lnTo>
                      <a:pt x="200" y="23"/>
                    </a:lnTo>
                    <a:lnTo>
                      <a:pt x="201" y="21"/>
                    </a:lnTo>
                    <a:lnTo>
                      <a:pt x="201" y="20"/>
                    </a:lnTo>
                    <a:lnTo>
                      <a:pt x="202" y="18"/>
                    </a:lnTo>
                    <a:lnTo>
                      <a:pt x="203" y="16"/>
                    </a:lnTo>
                    <a:lnTo>
                      <a:pt x="204" y="14"/>
                    </a:lnTo>
                    <a:lnTo>
                      <a:pt x="206" y="13"/>
                    </a:lnTo>
                    <a:lnTo>
                      <a:pt x="207" y="10"/>
                    </a:lnTo>
                    <a:lnTo>
                      <a:pt x="208" y="9"/>
                    </a:lnTo>
                    <a:lnTo>
                      <a:pt x="209" y="7"/>
                    </a:lnTo>
                    <a:lnTo>
                      <a:pt x="210" y="5"/>
                    </a:lnTo>
                    <a:lnTo>
                      <a:pt x="212" y="3"/>
                    </a:lnTo>
                    <a:lnTo>
                      <a:pt x="213" y="1"/>
                    </a:lnTo>
                    <a:lnTo>
                      <a:pt x="214" y="1"/>
                    </a:lnTo>
                    <a:lnTo>
                      <a:pt x="215" y="0"/>
                    </a:lnTo>
                    <a:lnTo>
                      <a:pt x="216" y="0"/>
                    </a:lnTo>
                    <a:lnTo>
                      <a:pt x="218" y="1"/>
                    </a:lnTo>
                    <a:lnTo>
                      <a:pt x="219" y="1"/>
                    </a:lnTo>
                    <a:lnTo>
                      <a:pt x="219" y="2"/>
                    </a:lnTo>
                    <a:lnTo>
                      <a:pt x="220" y="2"/>
                    </a:lnTo>
                    <a:lnTo>
                      <a:pt x="222" y="2"/>
                    </a:lnTo>
                    <a:lnTo>
                      <a:pt x="223" y="2"/>
                    </a:lnTo>
                    <a:lnTo>
                      <a:pt x="225" y="2"/>
                    </a:lnTo>
                    <a:lnTo>
                      <a:pt x="226" y="2"/>
                    </a:lnTo>
                    <a:lnTo>
                      <a:pt x="225" y="3"/>
                    </a:lnTo>
                    <a:lnTo>
                      <a:pt x="225" y="4"/>
                    </a:lnTo>
                    <a:lnTo>
                      <a:pt x="223" y="3"/>
                    </a:lnTo>
                    <a:lnTo>
                      <a:pt x="222" y="3"/>
                    </a:lnTo>
                    <a:lnTo>
                      <a:pt x="221" y="3"/>
                    </a:lnTo>
                    <a:lnTo>
                      <a:pt x="220" y="3"/>
                    </a:lnTo>
                    <a:lnTo>
                      <a:pt x="219" y="4"/>
                    </a:lnTo>
                    <a:lnTo>
                      <a:pt x="218" y="5"/>
                    </a:lnTo>
                    <a:lnTo>
                      <a:pt x="217" y="6"/>
                    </a:lnTo>
                    <a:lnTo>
                      <a:pt x="215" y="9"/>
                    </a:lnTo>
                    <a:lnTo>
                      <a:pt x="214" y="9"/>
                    </a:lnTo>
                    <a:lnTo>
                      <a:pt x="214" y="10"/>
                    </a:lnTo>
                    <a:lnTo>
                      <a:pt x="215" y="10"/>
                    </a:lnTo>
                    <a:lnTo>
                      <a:pt x="216" y="10"/>
                    </a:lnTo>
                    <a:lnTo>
                      <a:pt x="216" y="9"/>
                    </a:lnTo>
                    <a:lnTo>
                      <a:pt x="216" y="8"/>
                    </a:lnTo>
                    <a:lnTo>
                      <a:pt x="217" y="8"/>
                    </a:lnTo>
                    <a:lnTo>
                      <a:pt x="217" y="7"/>
                    </a:lnTo>
                    <a:lnTo>
                      <a:pt x="218" y="7"/>
                    </a:lnTo>
                    <a:lnTo>
                      <a:pt x="219" y="7"/>
                    </a:lnTo>
                    <a:lnTo>
                      <a:pt x="220" y="6"/>
                    </a:lnTo>
                    <a:lnTo>
                      <a:pt x="221" y="6"/>
                    </a:lnTo>
                    <a:lnTo>
                      <a:pt x="221" y="5"/>
                    </a:lnTo>
                    <a:lnTo>
                      <a:pt x="222" y="5"/>
                    </a:lnTo>
                    <a:lnTo>
                      <a:pt x="222" y="6"/>
                    </a:lnTo>
                    <a:lnTo>
                      <a:pt x="222" y="7"/>
                    </a:lnTo>
                    <a:lnTo>
                      <a:pt x="220" y="8"/>
                    </a:lnTo>
                    <a:lnTo>
                      <a:pt x="219" y="9"/>
                    </a:lnTo>
                    <a:lnTo>
                      <a:pt x="219" y="10"/>
                    </a:lnTo>
                    <a:lnTo>
                      <a:pt x="219" y="11"/>
                    </a:lnTo>
                    <a:lnTo>
                      <a:pt x="219" y="13"/>
                    </a:lnTo>
                    <a:lnTo>
                      <a:pt x="220" y="13"/>
                    </a:lnTo>
                    <a:lnTo>
                      <a:pt x="220" y="14"/>
                    </a:lnTo>
                    <a:lnTo>
                      <a:pt x="220" y="15"/>
                    </a:lnTo>
                    <a:lnTo>
                      <a:pt x="221" y="15"/>
                    </a:lnTo>
                    <a:lnTo>
                      <a:pt x="221" y="16"/>
                    </a:lnTo>
                    <a:lnTo>
                      <a:pt x="220" y="17"/>
                    </a:lnTo>
                    <a:lnTo>
                      <a:pt x="220" y="18"/>
                    </a:lnTo>
                    <a:lnTo>
                      <a:pt x="221" y="18"/>
                    </a:lnTo>
                    <a:lnTo>
                      <a:pt x="222" y="18"/>
                    </a:lnTo>
                    <a:lnTo>
                      <a:pt x="223" y="18"/>
                    </a:lnTo>
                    <a:lnTo>
                      <a:pt x="227" y="16"/>
                    </a:lnTo>
                    <a:lnTo>
                      <a:pt x="228" y="16"/>
                    </a:lnTo>
                    <a:lnTo>
                      <a:pt x="229" y="17"/>
                    </a:lnTo>
                    <a:lnTo>
                      <a:pt x="228" y="17"/>
                    </a:lnTo>
                    <a:lnTo>
                      <a:pt x="227" y="19"/>
                    </a:lnTo>
                    <a:lnTo>
                      <a:pt x="226" y="19"/>
                    </a:lnTo>
                    <a:lnTo>
                      <a:pt x="226" y="20"/>
                    </a:lnTo>
                    <a:lnTo>
                      <a:pt x="226" y="21"/>
                    </a:lnTo>
                    <a:lnTo>
                      <a:pt x="225" y="22"/>
                    </a:lnTo>
                    <a:lnTo>
                      <a:pt x="223" y="22"/>
                    </a:lnTo>
                    <a:lnTo>
                      <a:pt x="223" y="23"/>
                    </a:lnTo>
                    <a:lnTo>
                      <a:pt x="223" y="24"/>
                    </a:lnTo>
                    <a:lnTo>
                      <a:pt x="223" y="26"/>
                    </a:lnTo>
                    <a:lnTo>
                      <a:pt x="223" y="27"/>
                    </a:lnTo>
                    <a:lnTo>
                      <a:pt x="225" y="27"/>
                    </a:lnTo>
                    <a:lnTo>
                      <a:pt x="226" y="27"/>
                    </a:lnTo>
                    <a:lnTo>
                      <a:pt x="226" y="26"/>
                    </a:lnTo>
                    <a:lnTo>
                      <a:pt x="227" y="26"/>
                    </a:lnTo>
                    <a:lnTo>
                      <a:pt x="227" y="24"/>
                    </a:lnTo>
                    <a:lnTo>
                      <a:pt x="228" y="23"/>
                    </a:lnTo>
                    <a:lnTo>
                      <a:pt x="229" y="23"/>
                    </a:lnTo>
                    <a:lnTo>
                      <a:pt x="233" y="21"/>
                    </a:lnTo>
                    <a:lnTo>
                      <a:pt x="234" y="20"/>
                    </a:lnTo>
                    <a:lnTo>
                      <a:pt x="235" y="19"/>
                    </a:lnTo>
                    <a:lnTo>
                      <a:pt x="235" y="18"/>
                    </a:lnTo>
                    <a:lnTo>
                      <a:pt x="235" y="17"/>
                    </a:lnTo>
                    <a:lnTo>
                      <a:pt x="235" y="16"/>
                    </a:lnTo>
                    <a:lnTo>
                      <a:pt x="233" y="16"/>
                    </a:lnTo>
                    <a:lnTo>
                      <a:pt x="231" y="16"/>
                    </a:lnTo>
                    <a:lnTo>
                      <a:pt x="229" y="15"/>
                    </a:lnTo>
                    <a:lnTo>
                      <a:pt x="228" y="14"/>
                    </a:lnTo>
                    <a:lnTo>
                      <a:pt x="228" y="13"/>
                    </a:lnTo>
                    <a:lnTo>
                      <a:pt x="228" y="11"/>
                    </a:lnTo>
                    <a:lnTo>
                      <a:pt x="228" y="10"/>
                    </a:lnTo>
                    <a:lnTo>
                      <a:pt x="228" y="9"/>
                    </a:lnTo>
                    <a:lnTo>
                      <a:pt x="229" y="8"/>
                    </a:lnTo>
                    <a:lnTo>
                      <a:pt x="230" y="7"/>
                    </a:lnTo>
                    <a:lnTo>
                      <a:pt x="231" y="7"/>
                    </a:lnTo>
                    <a:lnTo>
                      <a:pt x="232" y="7"/>
                    </a:lnTo>
                    <a:lnTo>
                      <a:pt x="233" y="7"/>
                    </a:lnTo>
                    <a:lnTo>
                      <a:pt x="234" y="7"/>
                    </a:lnTo>
                    <a:lnTo>
                      <a:pt x="234" y="8"/>
                    </a:lnTo>
                    <a:lnTo>
                      <a:pt x="234" y="9"/>
                    </a:lnTo>
                    <a:lnTo>
                      <a:pt x="235" y="10"/>
                    </a:lnTo>
                    <a:lnTo>
                      <a:pt x="236" y="13"/>
                    </a:lnTo>
                    <a:lnTo>
                      <a:pt x="238" y="14"/>
                    </a:lnTo>
                    <a:lnTo>
                      <a:pt x="239" y="15"/>
                    </a:lnTo>
                    <a:lnTo>
                      <a:pt x="240" y="16"/>
                    </a:lnTo>
                    <a:lnTo>
                      <a:pt x="241" y="16"/>
                    </a:lnTo>
                    <a:lnTo>
                      <a:pt x="242" y="16"/>
                    </a:lnTo>
                    <a:lnTo>
                      <a:pt x="243" y="16"/>
                    </a:lnTo>
                    <a:lnTo>
                      <a:pt x="244" y="16"/>
                    </a:lnTo>
                    <a:lnTo>
                      <a:pt x="245" y="16"/>
                    </a:lnTo>
                    <a:lnTo>
                      <a:pt x="245" y="15"/>
                    </a:lnTo>
                    <a:lnTo>
                      <a:pt x="246" y="15"/>
                    </a:lnTo>
                    <a:lnTo>
                      <a:pt x="246" y="14"/>
                    </a:lnTo>
                    <a:lnTo>
                      <a:pt x="247" y="14"/>
                    </a:lnTo>
                    <a:lnTo>
                      <a:pt x="247" y="13"/>
                    </a:lnTo>
                    <a:lnTo>
                      <a:pt x="248" y="11"/>
                    </a:lnTo>
                    <a:lnTo>
                      <a:pt x="248" y="10"/>
                    </a:lnTo>
                    <a:lnTo>
                      <a:pt x="249" y="10"/>
                    </a:lnTo>
                    <a:lnTo>
                      <a:pt x="251" y="10"/>
                    </a:lnTo>
                    <a:lnTo>
                      <a:pt x="252" y="10"/>
                    </a:lnTo>
                    <a:lnTo>
                      <a:pt x="252" y="11"/>
                    </a:lnTo>
                    <a:lnTo>
                      <a:pt x="253" y="11"/>
                    </a:lnTo>
                    <a:lnTo>
                      <a:pt x="255" y="13"/>
                    </a:lnTo>
                    <a:lnTo>
                      <a:pt x="256" y="13"/>
                    </a:lnTo>
                    <a:lnTo>
                      <a:pt x="257" y="14"/>
                    </a:lnTo>
                    <a:lnTo>
                      <a:pt x="258" y="14"/>
                    </a:lnTo>
                    <a:lnTo>
                      <a:pt x="260" y="13"/>
                    </a:lnTo>
                    <a:lnTo>
                      <a:pt x="260" y="11"/>
                    </a:lnTo>
                    <a:lnTo>
                      <a:pt x="261" y="11"/>
                    </a:lnTo>
                    <a:lnTo>
                      <a:pt x="262" y="11"/>
                    </a:lnTo>
                    <a:lnTo>
                      <a:pt x="264" y="11"/>
                    </a:lnTo>
                    <a:lnTo>
                      <a:pt x="265" y="11"/>
                    </a:lnTo>
                    <a:lnTo>
                      <a:pt x="266" y="10"/>
                    </a:lnTo>
                    <a:lnTo>
                      <a:pt x="266" y="11"/>
                    </a:lnTo>
                    <a:lnTo>
                      <a:pt x="267" y="10"/>
                    </a:lnTo>
                    <a:lnTo>
                      <a:pt x="268" y="10"/>
                    </a:lnTo>
                    <a:lnTo>
                      <a:pt x="268" y="9"/>
                    </a:lnTo>
                    <a:lnTo>
                      <a:pt x="269" y="9"/>
                    </a:lnTo>
                    <a:lnTo>
                      <a:pt x="268" y="9"/>
                    </a:lnTo>
                    <a:lnTo>
                      <a:pt x="269" y="9"/>
                    </a:lnTo>
                    <a:lnTo>
                      <a:pt x="268" y="8"/>
                    </a:lnTo>
                    <a:lnTo>
                      <a:pt x="269" y="8"/>
                    </a:lnTo>
                    <a:lnTo>
                      <a:pt x="270" y="8"/>
                    </a:lnTo>
                    <a:lnTo>
                      <a:pt x="270" y="9"/>
                    </a:lnTo>
                    <a:lnTo>
                      <a:pt x="272" y="11"/>
                    </a:lnTo>
                    <a:lnTo>
                      <a:pt x="272" y="13"/>
                    </a:lnTo>
                    <a:lnTo>
                      <a:pt x="272" y="15"/>
                    </a:lnTo>
                    <a:lnTo>
                      <a:pt x="272" y="16"/>
                    </a:lnTo>
                    <a:lnTo>
                      <a:pt x="272" y="17"/>
                    </a:lnTo>
                    <a:lnTo>
                      <a:pt x="272" y="18"/>
                    </a:lnTo>
                    <a:lnTo>
                      <a:pt x="272" y="19"/>
                    </a:lnTo>
                    <a:lnTo>
                      <a:pt x="273" y="21"/>
                    </a:lnTo>
                    <a:lnTo>
                      <a:pt x="273" y="22"/>
                    </a:lnTo>
                    <a:lnTo>
                      <a:pt x="273" y="23"/>
                    </a:lnTo>
                    <a:lnTo>
                      <a:pt x="273" y="24"/>
                    </a:lnTo>
                    <a:lnTo>
                      <a:pt x="274" y="24"/>
                    </a:lnTo>
                    <a:lnTo>
                      <a:pt x="274" y="26"/>
                    </a:lnTo>
                    <a:lnTo>
                      <a:pt x="274" y="27"/>
                    </a:lnTo>
                    <a:lnTo>
                      <a:pt x="275" y="27"/>
                    </a:lnTo>
                    <a:lnTo>
                      <a:pt x="275" y="28"/>
                    </a:lnTo>
                    <a:lnTo>
                      <a:pt x="275" y="29"/>
                    </a:lnTo>
                    <a:lnTo>
                      <a:pt x="277" y="30"/>
                    </a:lnTo>
                    <a:lnTo>
                      <a:pt x="277" y="31"/>
                    </a:lnTo>
                    <a:lnTo>
                      <a:pt x="278" y="31"/>
                    </a:lnTo>
                    <a:lnTo>
                      <a:pt x="278" y="32"/>
                    </a:lnTo>
                    <a:lnTo>
                      <a:pt x="278" y="33"/>
                    </a:lnTo>
                    <a:lnTo>
                      <a:pt x="280" y="34"/>
                    </a:lnTo>
                    <a:lnTo>
                      <a:pt x="281" y="35"/>
                    </a:lnTo>
                    <a:lnTo>
                      <a:pt x="282" y="35"/>
                    </a:lnTo>
                    <a:lnTo>
                      <a:pt x="283" y="35"/>
                    </a:lnTo>
                    <a:lnTo>
                      <a:pt x="283" y="36"/>
                    </a:lnTo>
                    <a:lnTo>
                      <a:pt x="284" y="37"/>
                    </a:lnTo>
                    <a:lnTo>
                      <a:pt x="285" y="40"/>
                    </a:lnTo>
                    <a:lnTo>
                      <a:pt x="286" y="40"/>
                    </a:lnTo>
                    <a:lnTo>
                      <a:pt x="286" y="42"/>
                    </a:lnTo>
                    <a:lnTo>
                      <a:pt x="286" y="43"/>
                    </a:lnTo>
                    <a:lnTo>
                      <a:pt x="287" y="43"/>
                    </a:lnTo>
                    <a:lnTo>
                      <a:pt x="288" y="43"/>
                    </a:lnTo>
                    <a:lnTo>
                      <a:pt x="290" y="44"/>
                    </a:lnTo>
                    <a:lnTo>
                      <a:pt x="292" y="45"/>
                    </a:lnTo>
                    <a:lnTo>
                      <a:pt x="294" y="46"/>
                    </a:lnTo>
                    <a:lnTo>
                      <a:pt x="295" y="46"/>
                    </a:lnTo>
                    <a:lnTo>
                      <a:pt x="296" y="44"/>
                    </a:lnTo>
                    <a:lnTo>
                      <a:pt x="296" y="43"/>
                    </a:lnTo>
                    <a:lnTo>
                      <a:pt x="296" y="42"/>
                    </a:lnTo>
                    <a:lnTo>
                      <a:pt x="297" y="42"/>
                    </a:lnTo>
                    <a:lnTo>
                      <a:pt x="297" y="41"/>
                    </a:lnTo>
                    <a:lnTo>
                      <a:pt x="299" y="41"/>
                    </a:lnTo>
                    <a:lnTo>
                      <a:pt x="300" y="40"/>
                    </a:lnTo>
                    <a:lnTo>
                      <a:pt x="301" y="40"/>
                    </a:lnTo>
                    <a:lnTo>
                      <a:pt x="303" y="41"/>
                    </a:lnTo>
                    <a:lnTo>
                      <a:pt x="304" y="41"/>
                    </a:lnTo>
                    <a:lnTo>
                      <a:pt x="306" y="43"/>
                    </a:lnTo>
                    <a:lnTo>
                      <a:pt x="307" y="43"/>
                    </a:lnTo>
                    <a:lnTo>
                      <a:pt x="307" y="44"/>
                    </a:lnTo>
                    <a:lnTo>
                      <a:pt x="308" y="44"/>
                    </a:lnTo>
                    <a:lnTo>
                      <a:pt x="308" y="45"/>
                    </a:lnTo>
                    <a:lnTo>
                      <a:pt x="309" y="45"/>
                    </a:lnTo>
                    <a:lnTo>
                      <a:pt x="309" y="46"/>
                    </a:lnTo>
                    <a:lnTo>
                      <a:pt x="310" y="48"/>
                    </a:lnTo>
                    <a:lnTo>
                      <a:pt x="310" y="49"/>
                    </a:lnTo>
                    <a:lnTo>
                      <a:pt x="310" y="51"/>
                    </a:lnTo>
                    <a:lnTo>
                      <a:pt x="310" y="52"/>
                    </a:lnTo>
                    <a:lnTo>
                      <a:pt x="309" y="52"/>
                    </a:lnTo>
                    <a:lnTo>
                      <a:pt x="309" y="53"/>
                    </a:lnTo>
                    <a:lnTo>
                      <a:pt x="308" y="53"/>
                    </a:lnTo>
                    <a:lnTo>
                      <a:pt x="308" y="54"/>
                    </a:lnTo>
                    <a:lnTo>
                      <a:pt x="307" y="54"/>
                    </a:lnTo>
                    <a:lnTo>
                      <a:pt x="306" y="53"/>
                    </a:lnTo>
                    <a:lnTo>
                      <a:pt x="305" y="53"/>
                    </a:lnTo>
                    <a:lnTo>
                      <a:pt x="304" y="54"/>
                    </a:lnTo>
                    <a:lnTo>
                      <a:pt x="303" y="55"/>
                    </a:lnTo>
                    <a:lnTo>
                      <a:pt x="301" y="55"/>
                    </a:lnTo>
                    <a:lnTo>
                      <a:pt x="301" y="56"/>
                    </a:lnTo>
                    <a:lnTo>
                      <a:pt x="300" y="56"/>
                    </a:lnTo>
                    <a:lnTo>
                      <a:pt x="300" y="57"/>
                    </a:lnTo>
                    <a:lnTo>
                      <a:pt x="300" y="58"/>
                    </a:lnTo>
                    <a:lnTo>
                      <a:pt x="300" y="60"/>
                    </a:lnTo>
                    <a:lnTo>
                      <a:pt x="300" y="61"/>
                    </a:lnTo>
                    <a:lnTo>
                      <a:pt x="300" y="62"/>
                    </a:lnTo>
                    <a:lnTo>
                      <a:pt x="301" y="62"/>
                    </a:lnTo>
                    <a:lnTo>
                      <a:pt x="301" y="65"/>
                    </a:lnTo>
                    <a:lnTo>
                      <a:pt x="301" y="66"/>
                    </a:lnTo>
                    <a:lnTo>
                      <a:pt x="301" y="67"/>
                    </a:lnTo>
                    <a:lnTo>
                      <a:pt x="303" y="67"/>
                    </a:lnTo>
                    <a:lnTo>
                      <a:pt x="303" y="68"/>
                    </a:lnTo>
                    <a:lnTo>
                      <a:pt x="303" y="69"/>
                    </a:lnTo>
                    <a:lnTo>
                      <a:pt x="303" y="71"/>
                    </a:lnTo>
                    <a:lnTo>
                      <a:pt x="303" y="72"/>
                    </a:lnTo>
                    <a:lnTo>
                      <a:pt x="301" y="72"/>
                    </a:lnTo>
                    <a:lnTo>
                      <a:pt x="301" y="73"/>
                    </a:lnTo>
                    <a:lnTo>
                      <a:pt x="300" y="73"/>
                    </a:lnTo>
                    <a:lnTo>
                      <a:pt x="300" y="74"/>
                    </a:lnTo>
                    <a:lnTo>
                      <a:pt x="300" y="75"/>
                    </a:lnTo>
                    <a:lnTo>
                      <a:pt x="300" y="77"/>
                    </a:lnTo>
                    <a:lnTo>
                      <a:pt x="299" y="77"/>
                    </a:lnTo>
                    <a:lnTo>
                      <a:pt x="299" y="78"/>
                    </a:lnTo>
                    <a:lnTo>
                      <a:pt x="299" y="79"/>
                    </a:lnTo>
                    <a:lnTo>
                      <a:pt x="298" y="79"/>
                    </a:lnTo>
                    <a:lnTo>
                      <a:pt x="297" y="80"/>
                    </a:lnTo>
                    <a:lnTo>
                      <a:pt x="297" y="81"/>
                    </a:lnTo>
                    <a:lnTo>
                      <a:pt x="297" y="82"/>
                    </a:lnTo>
                    <a:lnTo>
                      <a:pt x="296" y="82"/>
                    </a:lnTo>
                    <a:lnTo>
                      <a:pt x="296" y="83"/>
                    </a:lnTo>
                    <a:lnTo>
                      <a:pt x="296" y="84"/>
                    </a:lnTo>
                    <a:lnTo>
                      <a:pt x="297" y="91"/>
                    </a:lnTo>
                    <a:lnTo>
                      <a:pt x="297" y="97"/>
                    </a:lnTo>
                    <a:lnTo>
                      <a:pt x="298" y="100"/>
                    </a:lnTo>
                    <a:lnTo>
                      <a:pt x="300" y="101"/>
                    </a:lnTo>
                    <a:lnTo>
                      <a:pt x="301" y="103"/>
                    </a:lnTo>
                    <a:lnTo>
                      <a:pt x="301" y="104"/>
                    </a:lnTo>
                    <a:lnTo>
                      <a:pt x="301" y="105"/>
                    </a:lnTo>
                    <a:lnTo>
                      <a:pt x="301" y="106"/>
                    </a:lnTo>
                    <a:lnTo>
                      <a:pt x="301" y="107"/>
                    </a:lnTo>
                    <a:lnTo>
                      <a:pt x="300" y="108"/>
                    </a:lnTo>
                    <a:lnTo>
                      <a:pt x="299" y="109"/>
                    </a:lnTo>
                    <a:lnTo>
                      <a:pt x="299" y="110"/>
                    </a:lnTo>
                    <a:lnTo>
                      <a:pt x="299" y="111"/>
                    </a:lnTo>
                    <a:lnTo>
                      <a:pt x="299" y="112"/>
                    </a:lnTo>
                    <a:lnTo>
                      <a:pt x="299" y="114"/>
                    </a:lnTo>
                    <a:lnTo>
                      <a:pt x="300" y="116"/>
                    </a:lnTo>
                    <a:lnTo>
                      <a:pt x="300" y="117"/>
                    </a:lnTo>
                    <a:lnTo>
                      <a:pt x="300" y="118"/>
                    </a:lnTo>
                    <a:lnTo>
                      <a:pt x="301" y="119"/>
                    </a:lnTo>
                    <a:lnTo>
                      <a:pt x="303" y="120"/>
                    </a:lnTo>
                    <a:lnTo>
                      <a:pt x="301" y="121"/>
                    </a:lnTo>
                    <a:lnTo>
                      <a:pt x="301" y="122"/>
                    </a:lnTo>
                    <a:lnTo>
                      <a:pt x="303" y="122"/>
                    </a:lnTo>
                    <a:lnTo>
                      <a:pt x="303" y="123"/>
                    </a:lnTo>
                    <a:lnTo>
                      <a:pt x="303" y="125"/>
                    </a:lnTo>
                    <a:lnTo>
                      <a:pt x="303" y="126"/>
                    </a:lnTo>
                    <a:lnTo>
                      <a:pt x="303" y="127"/>
                    </a:lnTo>
                    <a:lnTo>
                      <a:pt x="304" y="129"/>
                    </a:lnTo>
                    <a:lnTo>
                      <a:pt x="304" y="130"/>
                    </a:lnTo>
                    <a:lnTo>
                      <a:pt x="305" y="130"/>
                    </a:lnTo>
                    <a:lnTo>
                      <a:pt x="305" y="131"/>
                    </a:lnTo>
                    <a:lnTo>
                      <a:pt x="305" y="132"/>
                    </a:lnTo>
                    <a:lnTo>
                      <a:pt x="306" y="132"/>
                    </a:lnTo>
                    <a:lnTo>
                      <a:pt x="306" y="133"/>
                    </a:lnTo>
                    <a:lnTo>
                      <a:pt x="307" y="133"/>
                    </a:lnTo>
                    <a:lnTo>
                      <a:pt x="308" y="134"/>
                    </a:lnTo>
                    <a:lnTo>
                      <a:pt x="310" y="135"/>
                    </a:lnTo>
                    <a:lnTo>
                      <a:pt x="311" y="136"/>
                    </a:lnTo>
                    <a:lnTo>
                      <a:pt x="311" y="137"/>
                    </a:lnTo>
                    <a:lnTo>
                      <a:pt x="310" y="137"/>
                    </a:lnTo>
                    <a:lnTo>
                      <a:pt x="310" y="138"/>
                    </a:lnTo>
                    <a:lnTo>
                      <a:pt x="311" y="139"/>
                    </a:lnTo>
                    <a:lnTo>
                      <a:pt x="311" y="141"/>
                    </a:lnTo>
                    <a:lnTo>
                      <a:pt x="312" y="141"/>
                    </a:lnTo>
                    <a:lnTo>
                      <a:pt x="312" y="142"/>
                    </a:lnTo>
                    <a:lnTo>
                      <a:pt x="313" y="142"/>
                    </a:lnTo>
                    <a:lnTo>
                      <a:pt x="313" y="147"/>
                    </a:lnTo>
                    <a:lnTo>
                      <a:pt x="313" y="148"/>
                    </a:lnTo>
                    <a:lnTo>
                      <a:pt x="313" y="149"/>
                    </a:lnTo>
                    <a:lnTo>
                      <a:pt x="313" y="150"/>
                    </a:lnTo>
                    <a:lnTo>
                      <a:pt x="313" y="151"/>
                    </a:lnTo>
                    <a:lnTo>
                      <a:pt x="312" y="151"/>
                    </a:lnTo>
                    <a:lnTo>
                      <a:pt x="312" y="152"/>
                    </a:lnTo>
                    <a:lnTo>
                      <a:pt x="311" y="152"/>
                    </a:lnTo>
                    <a:lnTo>
                      <a:pt x="311" y="154"/>
                    </a:lnTo>
                    <a:lnTo>
                      <a:pt x="308" y="158"/>
                    </a:lnTo>
                    <a:close/>
                  </a:path>
                </a:pathLst>
              </a:custGeom>
              <a:grpFill/>
              <a:ln w="19050">
                <a:solidFill>
                  <a:srgbClr val="FFC000"/>
                </a:solid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grpSp>
      <p:sp>
        <p:nvSpPr>
          <p:cNvPr id="11" name="5. Source">
            <a:extLst>
              <a:ext uri="{FF2B5EF4-FFF2-40B4-BE49-F238E27FC236}">
                <a16:creationId xmlns:a16="http://schemas.microsoft.com/office/drawing/2014/main" id="{89B0D4DE-8956-BF4C-2C1B-B95BFE6D24F4}"/>
              </a:ext>
            </a:extLst>
          </p:cNvPr>
          <p:cNvSpPr txBox="1"/>
          <p:nvPr>
            <p:custDataLst>
              <p:tags r:id="rId2"/>
            </p:custDataLst>
          </p:nvPr>
        </p:nvSpPr>
        <p:spPr>
          <a:xfrm>
            <a:off x="2556717" y="6561706"/>
            <a:ext cx="816187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latin typeface="Calibri" panose="020F0502020204030204" pitchFamily="34" charset="0"/>
              </a:rPr>
              <a:t>Source: LDH Medicaid Data Warehouse – claims paid through April 2026, HLA members only, excludes NF, HCBS, waiver, DD dual-eligible. Chronic conditions via </a:t>
            </a:r>
            <a:r>
              <a:rPr lang="en-US" dirty="0" err="1">
                <a:solidFill>
                  <a:schemeClr val="tx2"/>
                </a:solidFill>
                <a:latin typeface="Calibri" panose="020F0502020204030204" pitchFamily="34" charset="0"/>
              </a:rPr>
              <a:t>CPDS+Rx</a:t>
            </a:r>
            <a:r>
              <a:rPr lang="en-US" dirty="0">
                <a:solidFill>
                  <a:schemeClr val="tx2"/>
                </a:solidFill>
                <a:latin typeface="Calibri" panose="020F0502020204030204" pitchFamily="34" charset="0"/>
              </a:rPr>
              <a:t> v7.2</a:t>
            </a:r>
          </a:p>
        </p:txBody>
      </p:sp>
      <p:sp>
        <p:nvSpPr>
          <p:cNvPr id="27" name="TextBox 26">
            <a:extLst>
              <a:ext uri="{FF2B5EF4-FFF2-40B4-BE49-F238E27FC236}">
                <a16:creationId xmlns:a16="http://schemas.microsoft.com/office/drawing/2014/main" id="{94644EDA-0BC7-D3A9-4986-A886C34602B9}"/>
              </a:ext>
            </a:extLst>
          </p:cNvPr>
          <p:cNvSpPr txBox="1">
            <a:spLocks/>
          </p:cNvSpPr>
          <p:nvPr/>
        </p:nvSpPr>
        <p:spPr>
          <a:xfrm rot="10800000" flipV="1">
            <a:off x="3551721" y="1661829"/>
            <a:ext cx="2460223" cy="101566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latin typeface="Calibri" panose="020F0502020204030204" pitchFamily="34" charset="0"/>
              </a:rPr>
              <a:t>Membership concentrates in urban hubs like East Baton Rouge (126k), Orleans (114k), Caddo (77K), and Jefferson (69K) hold the most members, while the smallest parishes (Cameron, Tensas, and West Feliciana) each fall under 2,400 members</a:t>
            </a:r>
          </a:p>
        </p:txBody>
      </p:sp>
      <p:sp>
        <p:nvSpPr>
          <p:cNvPr id="28" name="TextBox 27">
            <a:extLst>
              <a:ext uri="{FF2B5EF4-FFF2-40B4-BE49-F238E27FC236}">
                <a16:creationId xmlns:a16="http://schemas.microsoft.com/office/drawing/2014/main" id="{AD1ACB69-9DFA-BC30-E23F-458C9272C5FC}"/>
              </a:ext>
            </a:extLst>
          </p:cNvPr>
          <p:cNvSpPr txBox="1">
            <a:spLocks/>
          </p:cNvSpPr>
          <p:nvPr/>
        </p:nvSpPr>
        <p:spPr>
          <a:xfrm rot="10800000" flipV="1">
            <a:off x="9177039" y="1661830"/>
            <a:ext cx="2460223" cy="152349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latin typeface="Calibri" panose="020F0502020204030204" pitchFamily="34" charset="0"/>
              </a:rPr>
              <a:t>Rural parishes average $5,730 PMPY versus $5,469 for urban (membership-weighted); all eight of the highest-cost parishes are rural — Winn, Caldwell, LaSalle, Claiborne, Washington, East Feliciana, Jackson, and East Carroll, all $6,300–$7,300 — and seven of the eight have under 6,000 members (Washington is the exception at ~18K)</a:t>
            </a:r>
          </a:p>
        </p:txBody>
      </p:sp>
      <p:sp>
        <p:nvSpPr>
          <p:cNvPr id="2" name="4. Footnote">
            <a:extLst>
              <a:ext uri="{FF2B5EF4-FFF2-40B4-BE49-F238E27FC236}">
                <a16:creationId xmlns:a16="http://schemas.microsoft.com/office/drawing/2014/main" id="{7999945F-F534-010B-888D-8F1A65B222F8}"/>
              </a:ext>
            </a:extLst>
          </p:cNvPr>
          <p:cNvSpPr txBox="1"/>
          <p:nvPr>
            <p:custDataLst>
              <p:tags r:id="rId3"/>
            </p:custDataLst>
          </p:nvPr>
        </p:nvSpPr>
        <p:spPr>
          <a:xfrm>
            <a:off x="600550" y="5802628"/>
            <a:ext cx="11036711"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lvl="0" indent="-228600">
              <a:buClr>
                <a:schemeClr val="tx1"/>
              </a:buClr>
              <a:buAutoNum type="arabicPeriod"/>
            </a:pPr>
            <a:r>
              <a:rPr lang="en-US" dirty="0">
                <a:latin typeface="Calibri" panose="020F0502020204030204" pitchFamily="34" charset="0"/>
              </a:rPr>
              <a:t>PMPY (per member per year) is total Healthy Louisiana expenditures per member, calculated as an annualized per-member-per-month figure from Medicaid encounter data (claims paid through April 2026). It excludes nursing facility stays, most HCBS/waiver services, developmentally disabled population services, dual-eligible and Specialized Behavioral Health members, and voided, denied, replaced, or Medicare crossover claims</a:t>
            </a:r>
          </a:p>
          <a:p>
            <a:pPr marL="219075" lvl="0" indent="-228600">
              <a:buClr>
                <a:schemeClr val="tx1"/>
              </a:buClr>
              <a:buAutoNum type="arabicPeriod"/>
            </a:pPr>
            <a:r>
              <a:rPr lang="en-US" dirty="0">
                <a:latin typeface="Calibri" panose="020F0502020204030204" pitchFamily="34" charset="0"/>
              </a:rPr>
              <a:t>“Members” refers to Healthy Louisiana (Medicaid managed care) members with at least six months of eligibility in the period</a:t>
            </a:r>
          </a:p>
        </p:txBody>
      </p:sp>
    </p:spTree>
    <p:extLst>
      <p:ext uri="{BB962C8B-B14F-4D97-AF65-F5344CB8AC3E}">
        <p14:creationId xmlns:p14="http://schemas.microsoft.com/office/powerpoint/2010/main" val="20045631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9728F-BDE6-E1E2-F2AF-BCBAF4ACF332}"/>
            </a:ext>
          </a:extLst>
        </p:cNvPr>
        <p:cNvGrpSpPr/>
        <p:nvPr/>
      </p:nvGrpSpPr>
      <p:grpSpPr>
        <a:xfrm>
          <a:off x="0" y="0"/>
          <a:ext cx="0" cy="0"/>
          <a:chOff x="0" y="0"/>
          <a:chExt cx="0" cy="0"/>
        </a:xfrm>
      </p:grpSpPr>
      <p:sp>
        <p:nvSpPr>
          <p:cNvPr id="4" name="2. Slide Title">
            <a:extLst>
              <a:ext uri="{FF2B5EF4-FFF2-40B4-BE49-F238E27FC236}">
                <a16:creationId xmlns:a16="http://schemas.microsoft.com/office/drawing/2014/main" id="{8ECE6DC0-735B-29A9-6F10-F137F0AB19AB}"/>
              </a:ext>
            </a:extLst>
          </p:cNvPr>
          <p:cNvSpPr>
            <a:spLocks noGrp="1"/>
          </p:cNvSpPr>
          <p:nvPr>
            <p:ph type="title"/>
            <p:custDataLst>
              <p:tags r:id="rId1"/>
            </p:custDataLst>
          </p:nvPr>
        </p:nvSpPr>
        <p:spPr>
          <a:xfrm>
            <a:off x="554736" y="439174"/>
            <a:ext cx="7918704" cy="769441"/>
          </a:xfrm>
        </p:spPr>
        <p:txBody>
          <a:bodyPr vert="horz"/>
          <a:lstStyle/>
          <a:p>
            <a:r>
              <a:rPr lang="en-US" b="1" dirty="0"/>
              <a:t>Survey respondents represent a mix of rural clinics, FQHCs, and hospitals</a:t>
            </a:r>
          </a:p>
        </p:txBody>
      </p:sp>
      <p:graphicFrame>
        <p:nvGraphicFramePr>
          <p:cNvPr id="3" name="Chart 2">
            <a:extLst>
              <a:ext uri="{FF2B5EF4-FFF2-40B4-BE49-F238E27FC236}">
                <a16:creationId xmlns:a16="http://schemas.microsoft.com/office/drawing/2014/main" id="{7671D641-33D3-71AB-D28B-356C7E93E75A}"/>
              </a:ext>
            </a:extLst>
          </p:cNvPr>
          <p:cNvGraphicFramePr/>
          <p:nvPr>
            <p:custDataLst>
              <p:tags r:id="rId2"/>
            </p:custDataLst>
          </p:nvPr>
        </p:nvGraphicFramePr>
        <p:xfrm>
          <a:off x="1922463" y="1885950"/>
          <a:ext cx="1516062" cy="3811588"/>
        </p:xfrm>
        <a:graphic>
          <a:graphicData uri="http://schemas.openxmlformats.org/drawingml/2006/chart">
            <c:chart xmlns:c="http://schemas.openxmlformats.org/drawingml/2006/chart" xmlns:r="http://schemas.openxmlformats.org/officeDocument/2006/relationships" r:id="rId42"/>
          </a:graphicData>
        </a:graphic>
      </p:graphicFrame>
      <p:sp>
        <p:nvSpPr>
          <p:cNvPr id="123"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auto">
          <a:xfrm>
            <a:off x="565150" y="2335213"/>
            <a:ext cx="1158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24E9BE5-D76C-44C0-82AF-2654AD719D2D}" type="datetime'''''''''''''''''''I''n''d''e''pende''nt ''''''R''''''''''H''C'">
              <a:rPr lang="en-US" altLang="en-US" sz="1200" smtClean="0">
                <a:effectLst/>
                <a:latin typeface="Calibri" panose="020F0502020204030204" pitchFamily="34" charset="0"/>
                <a:cs typeface="+mn-cs"/>
              </a:rPr>
              <a:pPr lvl="0">
                <a:spcBef>
                  <a:spcPct val="0"/>
                </a:spcBef>
                <a:spcAft>
                  <a:spcPct val="0"/>
                </a:spcAft>
              </a:pPr>
              <a:t>Independent RHC</a:t>
            </a:fld>
            <a:r>
              <a:rPr lang="en-US" altLang="en-US" sz="1200" baseline="30000" dirty="0">
                <a:latin typeface="Calibri" panose="020F0502020204030204" pitchFamily="34" charset="0"/>
              </a:rPr>
              <a:t> 4</a:t>
            </a:r>
            <a:endParaRPr lang="en-US" sz="1200" dirty="0">
              <a:latin typeface="Calibri" panose="020F0502020204030204" pitchFamily="34" charset="0"/>
              <a:cs typeface="+mn-cs"/>
            </a:endParaRPr>
          </a:p>
        </p:txBody>
      </p:sp>
      <p:sp>
        <p:nvSpPr>
          <p:cNvPr id="125"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auto">
          <a:xfrm>
            <a:off x="565150" y="2881313"/>
            <a:ext cx="1538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6AF3F9B-27E7-442E-9DAD-017B2FE40562}" type="datetime'Ru''r''''al'''' ho''''''s''''''p''ital'' ''/ CAH on''ly'">
              <a:rPr lang="en-US" altLang="en-US" sz="1200" smtClean="0">
                <a:effectLst/>
                <a:latin typeface="Calibri" panose="020F0502020204030204" pitchFamily="34" charset="0"/>
                <a:cs typeface="+mn-cs"/>
              </a:rPr>
              <a:pPr lvl="0">
                <a:spcBef>
                  <a:spcPct val="0"/>
                </a:spcBef>
                <a:spcAft>
                  <a:spcPct val="0"/>
                </a:spcAft>
              </a:pPr>
              <a:t>Rural hospital / CAH only</a:t>
            </a:fld>
            <a:endParaRPr lang="en-US" sz="1200" dirty="0">
              <a:latin typeface="Calibri" panose="020F0502020204030204" pitchFamily="34" charset="0"/>
              <a:cs typeface="+mn-cs"/>
            </a:endParaRPr>
          </a:p>
        </p:txBody>
      </p:sp>
      <p:sp>
        <p:nvSpPr>
          <p:cNvPr id="126"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565150" y="3975100"/>
            <a:ext cx="420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951A022-7416-461D-8595-87640822F5F0}" type="datetime'''F''''''Q''''H''''''''''''''C'''''''">
              <a:rPr lang="en-US" altLang="en-US" sz="1200" smtClean="0">
                <a:effectLst/>
                <a:latin typeface="Calibri" panose="020F0502020204030204" pitchFamily="34" charset="0"/>
                <a:cs typeface="+mn-cs"/>
              </a:rPr>
              <a:pPr lvl="0">
                <a:spcBef>
                  <a:spcPct val="0"/>
                </a:spcBef>
                <a:spcAft>
                  <a:spcPct val="0"/>
                </a:spcAft>
              </a:pPr>
              <a:t>FQHC</a:t>
            </a:fld>
            <a:r>
              <a:rPr lang="en-US" altLang="en-US" sz="1200" baseline="30000" dirty="0">
                <a:latin typeface="Calibri" panose="020F0502020204030204" pitchFamily="34" charset="0"/>
              </a:rPr>
              <a:t> 5</a:t>
            </a:r>
            <a:endParaRPr lang="en-US" sz="1200" dirty="0">
              <a:latin typeface="Calibri" panose="020F0502020204030204" pitchFamily="34" charset="0"/>
              <a:cs typeface="+mn-cs"/>
            </a:endParaRPr>
          </a:p>
        </p:txBody>
      </p:sp>
      <p:sp>
        <p:nvSpPr>
          <p:cNvPr id="127"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565150" y="3244850"/>
            <a:ext cx="1771650"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sz="1200" dirty="0">
                <a:latin typeface="Calibri" panose="020F0502020204030204" pitchFamily="34" charset="0"/>
              </a:rPr>
              <a:t>Rural hospital / CAH with </a:t>
            </a:r>
          </a:p>
          <a:p>
            <a:pPr lvl="0">
              <a:spcBef>
                <a:spcPct val="0"/>
              </a:spcBef>
              <a:spcAft>
                <a:spcPct val="0"/>
              </a:spcAft>
            </a:pPr>
            <a:r>
              <a:rPr lang="en-US" sz="1200" dirty="0">
                <a:latin typeface="Calibri" panose="020F0502020204030204" pitchFamily="34" charset="0"/>
              </a:rPr>
              <a:t>provider-based RHC or other</a:t>
            </a:r>
          </a:p>
          <a:p>
            <a:pPr lvl="0">
              <a:spcBef>
                <a:spcPct val="0"/>
              </a:spcBef>
              <a:spcAft>
                <a:spcPct val="0"/>
              </a:spcAft>
            </a:pPr>
            <a:r>
              <a:rPr lang="en-US" sz="1200" dirty="0">
                <a:latin typeface="Calibri" panose="020F0502020204030204" pitchFamily="34" charset="0"/>
              </a:rPr>
              <a:t>affiliated provider types</a:t>
            </a:r>
            <a:endParaRPr lang="en-US" sz="1200" dirty="0">
              <a:latin typeface="Calibri" panose="020F0502020204030204" pitchFamily="34" charset="0"/>
              <a:cs typeface="+mn-cs"/>
            </a:endParaRPr>
          </a:p>
        </p:txBody>
      </p:sp>
      <p:sp>
        <p:nvSpPr>
          <p:cNvPr id="128"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auto">
          <a:xfrm>
            <a:off x="565150" y="4429125"/>
            <a:ext cx="16446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200" dirty="0">
                <a:effectLst/>
                <a:latin typeface="Calibri" panose="020F0502020204030204" pitchFamily="34" charset="0"/>
                <a:cs typeface="+mn-cs"/>
              </a:rPr>
              <a:t>Independent primary care </a:t>
            </a:r>
          </a:p>
          <a:p>
            <a:pPr lvl="0">
              <a:spcBef>
                <a:spcPct val="0"/>
              </a:spcBef>
              <a:spcAft>
                <a:spcPct val="0"/>
              </a:spcAft>
            </a:pPr>
            <a:r>
              <a:rPr lang="en-US" sz="1200" dirty="0">
                <a:latin typeface="Calibri" panose="020F0502020204030204" pitchFamily="34" charset="0"/>
                <a:cs typeface="+mn-cs"/>
              </a:rPr>
              <a:t>practice</a:t>
            </a:r>
          </a:p>
        </p:txBody>
      </p:sp>
      <p:sp>
        <p:nvSpPr>
          <p:cNvPr id="129"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565150" y="5067300"/>
            <a:ext cx="1527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FF9C0CB-455D-4AA1-99BF-427FCEA978B0}" type="datetime'Pr''''''o''v''''''id''''er''-''b''as''ed ''''''''''RHC onl''y'">
              <a:rPr lang="en-US" altLang="en-US" sz="1200" smtClean="0">
                <a:effectLst/>
                <a:latin typeface="Calibri" panose="020F0502020204030204" pitchFamily="34" charset="0"/>
                <a:cs typeface="+mn-cs"/>
              </a:rPr>
              <a:pPr lvl="0">
                <a:spcBef>
                  <a:spcPct val="0"/>
                </a:spcBef>
                <a:spcAft>
                  <a:spcPct val="0"/>
                </a:spcAft>
              </a:pPr>
              <a:t>Provider-based RHC only</a:t>
            </a:fld>
            <a:endParaRPr lang="en-US" sz="1200" dirty="0">
              <a:latin typeface="Calibri" panose="020F0502020204030204" pitchFamily="34" charset="0"/>
              <a:cs typeface="+mn-cs"/>
            </a:endParaRPr>
          </a:p>
        </p:txBody>
      </p:sp>
      <p:graphicFrame>
        <p:nvGraphicFramePr>
          <p:cNvPr id="11" name="Chart 10">
            <a:extLst>
              <a:ext uri="{FF2B5EF4-FFF2-40B4-BE49-F238E27FC236}">
                <a16:creationId xmlns:a16="http://schemas.microsoft.com/office/drawing/2014/main" id="{638A9B20-7957-3110-6740-E5D4AA05D48C}"/>
              </a:ext>
            </a:extLst>
          </p:cNvPr>
          <p:cNvGraphicFramePr/>
          <p:nvPr>
            <p:custDataLst>
              <p:tags r:id="rId9"/>
            </p:custDataLst>
          </p:nvPr>
        </p:nvGraphicFramePr>
        <p:xfrm>
          <a:off x="3844925" y="2070100"/>
          <a:ext cx="1473200" cy="3395663"/>
        </p:xfrm>
        <a:graphic>
          <a:graphicData uri="http://schemas.openxmlformats.org/drawingml/2006/chart">
            <c:chart xmlns:c="http://schemas.openxmlformats.org/drawingml/2006/chart" xmlns:r="http://schemas.openxmlformats.org/officeDocument/2006/relationships" r:id="rId43"/>
          </a:graphicData>
        </a:graphic>
      </p:graphicFrame>
      <p:sp>
        <p:nvSpPr>
          <p:cNvPr id="141" name="Text Placeholder 4">
            <a:extLst>
              <a:ext uri="{FF2B5EF4-FFF2-40B4-BE49-F238E27FC236}">
                <a16:creationId xmlns:a16="http://schemas.microsoft.com/office/drawing/2014/main" id="{19CF9E9F-4E6A-5A1A-87A6-421891F9A183}"/>
              </a:ext>
            </a:extLst>
          </p:cNvPr>
          <p:cNvSpPr>
            <a:spLocks noGrp="1"/>
          </p:cNvSpPr>
          <p:nvPr>
            <p:custDataLst>
              <p:tags r:id="rId10"/>
            </p:custDataLst>
          </p:nvPr>
        </p:nvSpPr>
        <p:spPr bwMode="auto">
          <a:xfrm>
            <a:off x="3281363" y="2384425"/>
            <a:ext cx="388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38E1851-C339-4A90-AB01-64BDA88B0386}" type="datetime'''''''''''''0''''-''''''25''''''''%'''''''''''''''''''">
              <a:rPr lang="en-US" altLang="en-US" sz="1200" smtClean="0">
                <a:latin typeface="Calibri" panose="020F0502020204030204" pitchFamily="34" charset="0"/>
                <a:cs typeface="+mn-cs"/>
              </a:rPr>
              <a:pPr lvl="0">
                <a:spcBef>
                  <a:spcPct val="0"/>
                </a:spcBef>
                <a:spcAft>
                  <a:spcPct val="0"/>
                </a:spcAft>
              </a:pPr>
              <a:t>0-25%</a:t>
            </a:fld>
            <a:endParaRPr lang="en-US" sz="1200" dirty="0">
              <a:latin typeface="Calibri" panose="020F0502020204030204" pitchFamily="34" charset="0"/>
              <a:cs typeface="+mn-cs"/>
            </a:endParaRPr>
          </a:p>
        </p:txBody>
      </p:sp>
      <p:sp>
        <p:nvSpPr>
          <p:cNvPr id="142" name="Text Placeholder 4">
            <a:extLst>
              <a:ext uri="{FF2B5EF4-FFF2-40B4-BE49-F238E27FC236}">
                <a16:creationId xmlns:a16="http://schemas.microsoft.com/office/drawing/2014/main" id="{68E0DBF2-5FED-77F1-E10D-CF7C0988784F}"/>
              </a:ext>
            </a:extLst>
          </p:cNvPr>
          <p:cNvSpPr>
            <a:spLocks noGrp="1"/>
          </p:cNvSpPr>
          <p:nvPr>
            <p:custDataLst>
              <p:tags r:id="rId11"/>
            </p:custDataLst>
          </p:nvPr>
        </p:nvSpPr>
        <p:spPr bwMode="auto">
          <a:xfrm>
            <a:off x="3281363" y="3030538"/>
            <a:ext cx="466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51EFAA3-65D7-43EA-91F6-C5B2BD37DC18}" type="datetime'''''2''''''''''''6''''-''''5''''''0''''''''''%'''">
              <a:rPr lang="en-US" altLang="en-US" sz="1200" smtClean="0">
                <a:latin typeface="Calibri" panose="020F0502020204030204" pitchFamily="34" charset="0"/>
                <a:cs typeface="+mn-cs"/>
              </a:rPr>
              <a:pPr lvl="0">
                <a:spcBef>
                  <a:spcPct val="0"/>
                </a:spcBef>
                <a:spcAft>
                  <a:spcPct val="0"/>
                </a:spcAft>
              </a:pPr>
              <a:t>26-50%</a:t>
            </a:fld>
            <a:endParaRPr lang="en-US" sz="1200" dirty="0">
              <a:latin typeface="Calibri" panose="020F0502020204030204" pitchFamily="34" charset="0"/>
              <a:cs typeface="+mn-cs"/>
            </a:endParaRPr>
          </a:p>
        </p:txBody>
      </p:sp>
      <p:sp>
        <p:nvSpPr>
          <p:cNvPr id="143" name="Text Placeholder 4">
            <a:extLst>
              <a:ext uri="{FF2B5EF4-FFF2-40B4-BE49-F238E27FC236}">
                <a16:creationId xmlns:a16="http://schemas.microsoft.com/office/drawing/2014/main" id="{37BCBEFE-3D7D-5781-7767-419524FE49F4}"/>
              </a:ext>
            </a:extLst>
          </p:cNvPr>
          <p:cNvSpPr>
            <a:spLocks noGrp="1"/>
          </p:cNvSpPr>
          <p:nvPr>
            <p:custDataLst>
              <p:tags r:id="rId12"/>
            </p:custDataLst>
          </p:nvPr>
        </p:nvSpPr>
        <p:spPr bwMode="auto">
          <a:xfrm>
            <a:off x="3281363" y="3676650"/>
            <a:ext cx="466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4E6019D-132F-4303-9D8A-74100AD5205B}" type="datetime'''''''51''''''''''''-''''75''''%'''">
              <a:rPr lang="en-US" altLang="en-US" sz="1200" smtClean="0">
                <a:latin typeface="Calibri" panose="020F0502020204030204" pitchFamily="34" charset="0"/>
                <a:cs typeface="+mn-cs"/>
              </a:rPr>
              <a:pPr lvl="0">
                <a:spcBef>
                  <a:spcPct val="0"/>
                </a:spcBef>
                <a:spcAft>
                  <a:spcPct val="0"/>
                </a:spcAft>
              </a:pPr>
              <a:t>51-75%</a:t>
            </a:fld>
            <a:endParaRPr lang="en-US" sz="1200" dirty="0">
              <a:latin typeface="Calibri" panose="020F0502020204030204" pitchFamily="34" charset="0"/>
              <a:cs typeface="+mn-cs"/>
            </a:endParaRPr>
          </a:p>
        </p:txBody>
      </p:sp>
      <p:sp>
        <p:nvSpPr>
          <p:cNvPr id="144" name="Text Placeholder 4">
            <a:extLst>
              <a:ext uri="{FF2B5EF4-FFF2-40B4-BE49-F238E27FC236}">
                <a16:creationId xmlns:a16="http://schemas.microsoft.com/office/drawing/2014/main" id="{2D05BDC4-37F7-B562-6BD4-F59FAC675247}"/>
              </a:ext>
            </a:extLst>
          </p:cNvPr>
          <p:cNvSpPr>
            <a:spLocks noGrp="1"/>
          </p:cNvSpPr>
          <p:nvPr>
            <p:custDataLst>
              <p:tags r:id="rId13"/>
            </p:custDataLst>
          </p:nvPr>
        </p:nvSpPr>
        <p:spPr bwMode="auto">
          <a:xfrm>
            <a:off x="3281363" y="4322763"/>
            <a:ext cx="544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8F27E63-941E-4AB9-A2FA-7FBEF53D0010}" type="datetime'''7''''6''-1''''''0''''''''''''''''''''''''0%'''''">
              <a:rPr lang="en-US" altLang="en-US" sz="1200" smtClean="0">
                <a:latin typeface="Calibri" panose="020F0502020204030204" pitchFamily="34" charset="0"/>
                <a:cs typeface="+mn-cs"/>
              </a:rPr>
              <a:pPr lvl="0">
                <a:spcBef>
                  <a:spcPct val="0"/>
                </a:spcBef>
                <a:spcAft>
                  <a:spcPct val="0"/>
                </a:spcAft>
              </a:pPr>
              <a:t>76-100%</a:t>
            </a:fld>
            <a:endParaRPr lang="en-US" sz="1200" dirty="0">
              <a:latin typeface="Calibri" panose="020F0502020204030204" pitchFamily="34" charset="0"/>
              <a:cs typeface="+mn-cs"/>
            </a:endParaRPr>
          </a:p>
        </p:txBody>
      </p:sp>
      <p:sp>
        <p:nvSpPr>
          <p:cNvPr id="66" name="Text Placeholder 4">
            <a:extLst>
              <a:ext uri="{FF2B5EF4-FFF2-40B4-BE49-F238E27FC236}">
                <a16:creationId xmlns:a16="http://schemas.microsoft.com/office/drawing/2014/main" id="{F0FF1252-C808-6C98-9083-4A68E7C3B3C1}"/>
              </a:ext>
            </a:extLst>
          </p:cNvPr>
          <p:cNvSpPr>
            <a:spLocks noGrp="1"/>
          </p:cNvSpPr>
          <p:nvPr>
            <p:custDataLst>
              <p:tags r:id="rId14"/>
            </p:custDataLst>
          </p:nvPr>
        </p:nvSpPr>
        <p:spPr bwMode="auto">
          <a:xfrm>
            <a:off x="3281363" y="4968875"/>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6A2B39C-DBCC-4078-AE80-4BF60F40FDFB}" type="datetime'''''''N''o''''t ''''''''''''''''s''u''r''''''''''''e'''''''''">
              <a:rPr lang="en-US" altLang="en-US" sz="1200" smtClean="0">
                <a:latin typeface="Calibri" panose="020F0502020204030204" pitchFamily="34" charset="0"/>
                <a:cs typeface="+mn-cs"/>
              </a:rPr>
              <a:pPr lvl="0">
                <a:spcBef>
                  <a:spcPct val="0"/>
                </a:spcBef>
                <a:spcAft>
                  <a:spcPct val="0"/>
                </a:spcAft>
              </a:pPr>
              <a:t>Not sure</a:t>
            </a:fld>
            <a:endParaRPr lang="en-US" sz="1200" dirty="0">
              <a:latin typeface="Calibri" panose="020F0502020204030204" pitchFamily="34" charset="0"/>
              <a:cs typeface="+mn-cs"/>
            </a:endParaRPr>
          </a:p>
        </p:txBody>
      </p:sp>
      <p:sp>
        <p:nvSpPr>
          <p:cNvPr id="159" name="Text Placeholder 4">
            <a:extLst>
              <a:ext uri="{FF2B5EF4-FFF2-40B4-BE49-F238E27FC236}">
                <a16:creationId xmlns:a16="http://schemas.microsoft.com/office/drawing/2014/main" id="{80A0B105-2F32-8C15-62BB-588E4F7299F1}"/>
              </a:ext>
            </a:extLst>
          </p:cNvPr>
          <p:cNvSpPr>
            <a:spLocks noGrp="1"/>
          </p:cNvSpPr>
          <p:nvPr>
            <p:custDataLst>
              <p:tags r:id="rId15"/>
            </p:custDataLst>
          </p:nvPr>
        </p:nvSpPr>
        <p:spPr bwMode="gray">
          <a:xfrm>
            <a:off x="3952875" y="2384425"/>
            <a:ext cx="436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2CDDB44-4C96-44B8-A9C3-BEE69A1A357B}" type="datetime'''''''''0''''''''''''''''''''''''''''''''''%'''">
              <a:rPr lang="en-US" altLang="en-US" sz="1200" smtClean="0">
                <a:latin typeface="Calibri" panose="020F0502020204030204" pitchFamily="34" charset="0"/>
                <a:cs typeface="+mn-cs"/>
              </a:rPr>
              <a:pPr lvl="0">
                <a:spcBef>
                  <a:spcPct val="0"/>
                </a:spcBef>
                <a:spcAft>
                  <a:spcPct val="0"/>
                </a:spcAft>
              </a:pPr>
              <a:t>0%</a:t>
            </a:fld>
            <a:r>
              <a:rPr lang="en-US" altLang="en-US" sz="1200" dirty="0">
                <a:effectLst/>
                <a:latin typeface="Calibri" panose="020F0502020204030204" pitchFamily="34" charset="0"/>
                <a:cs typeface="+mn-cs"/>
              </a:rPr>
              <a:t> (</a:t>
            </a:r>
            <a:fld id="{FEFB6FAF-5B1F-4BAF-B9BC-019183C5E443}" type="datetime'''''''''''''''''''''0'''">
              <a:rPr lang="en-US" altLang="en-US" sz="1200" smtClean="0">
                <a:latin typeface="Calibri" panose="020F0502020204030204" pitchFamily="34" charset="0"/>
                <a:cs typeface="+mn-cs"/>
              </a:rPr>
              <a:pPr lvl="0">
                <a:spcBef>
                  <a:spcPct val="0"/>
                </a:spcBef>
                <a:spcAft>
                  <a:spcPct val="0"/>
                </a:spcAft>
              </a:pPr>
              <a:t>0</a:t>
            </a:fld>
            <a:r>
              <a:rPr lang="en-US" altLang="en-US" sz="1200" dirty="0">
                <a:effectLst/>
                <a:latin typeface="Calibri" panose="020F0502020204030204" pitchFamily="34" charset="0"/>
                <a:cs typeface="+mn-cs"/>
              </a:rPr>
              <a:t>)</a:t>
            </a:r>
            <a:endParaRPr lang="en-US" sz="1200" dirty="0">
              <a:latin typeface="Calibri" panose="020F0502020204030204" pitchFamily="34" charset="0"/>
              <a:cs typeface="+mn-cs"/>
            </a:endParaRPr>
          </a:p>
        </p:txBody>
      </p:sp>
      <p:sp>
        <p:nvSpPr>
          <p:cNvPr id="321" name="Text Placeholder 4">
            <a:extLst>
              <a:ext uri="{FF2B5EF4-FFF2-40B4-BE49-F238E27FC236}">
                <a16:creationId xmlns:a16="http://schemas.microsoft.com/office/drawing/2014/main" id="{644EC94D-6195-6D65-033E-76EDF77A3BDB}"/>
              </a:ext>
            </a:extLst>
          </p:cNvPr>
          <p:cNvSpPr>
            <a:spLocks noGrp="1"/>
          </p:cNvSpPr>
          <p:nvPr>
            <p:custDataLst>
              <p:tags r:id="rId16"/>
            </p:custDataLst>
          </p:nvPr>
        </p:nvSpPr>
        <p:spPr bwMode="gray">
          <a:xfrm>
            <a:off x="4067175" y="3030538"/>
            <a:ext cx="436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91E5423-DAFF-4120-9DD5-204F2081B356}" type="datetime'''''''''7''''''''''''''''''''''''%'''''''''">
              <a:rPr lang="en-US" altLang="en-US" sz="1200" smtClean="0">
                <a:latin typeface="Calibri" panose="020F0502020204030204" pitchFamily="34" charset="0"/>
                <a:cs typeface="+mn-cs"/>
              </a:rPr>
              <a:pPr lvl="0">
                <a:spcBef>
                  <a:spcPct val="0"/>
                </a:spcBef>
                <a:spcAft>
                  <a:spcPct val="0"/>
                </a:spcAft>
              </a:pPr>
              <a:t>7%</a:t>
            </a:fld>
            <a:r>
              <a:rPr lang="en-US" altLang="en-US" sz="1200" dirty="0">
                <a:effectLst/>
                <a:latin typeface="Calibri" panose="020F0502020204030204" pitchFamily="34" charset="0"/>
                <a:cs typeface="+mn-cs"/>
              </a:rPr>
              <a:t> (</a:t>
            </a:r>
            <a:fld id="{966859AD-8B6F-407B-A87F-C589FCD1CAE4}" type="datetime'''''''''''''''''''2'''''''''''''''''''''''''''''''''">
              <a:rPr lang="en-US" altLang="en-US" sz="1200" smtClean="0">
                <a:latin typeface="Calibri" panose="020F0502020204030204" pitchFamily="34" charset="0"/>
                <a:cs typeface="+mn-cs"/>
              </a:rPr>
              <a:pPr lvl="0">
                <a:spcBef>
                  <a:spcPct val="0"/>
                </a:spcBef>
                <a:spcAft>
                  <a:spcPct val="0"/>
                </a:spcAft>
              </a:pPr>
              <a:t>2</a:t>
            </a:fld>
            <a:r>
              <a:rPr lang="en-US" sz="1200" dirty="0">
                <a:latin typeface="Calibri" panose="020F0502020204030204" pitchFamily="34" charset="0"/>
                <a:cs typeface="+mn-cs"/>
              </a:rPr>
              <a:t>)</a:t>
            </a:r>
          </a:p>
        </p:txBody>
      </p:sp>
      <p:sp>
        <p:nvSpPr>
          <p:cNvPr id="322" name="Text Placeholder 4">
            <a:extLst>
              <a:ext uri="{FF2B5EF4-FFF2-40B4-BE49-F238E27FC236}">
                <a16:creationId xmlns:a16="http://schemas.microsoft.com/office/drawing/2014/main" id="{8926D305-70A0-F100-9ED3-F459E79635CD}"/>
              </a:ext>
            </a:extLst>
          </p:cNvPr>
          <p:cNvSpPr>
            <a:spLocks noGrp="1"/>
          </p:cNvSpPr>
          <p:nvPr>
            <p:custDataLst>
              <p:tags r:id="rId17"/>
            </p:custDataLst>
          </p:nvPr>
        </p:nvSpPr>
        <p:spPr bwMode="gray">
          <a:xfrm>
            <a:off x="4179888" y="3676650"/>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DFC1A4E-C019-4E47-BA45-5FDCF1BB59AF}" type="datetime'''''1''''''3''''%'''''''''''''''''''''''''''''''''''">
              <a:rPr lang="en-US" altLang="en-US" sz="1200" smtClean="0">
                <a:latin typeface="Calibri" panose="020F0502020204030204" pitchFamily="34" charset="0"/>
                <a:cs typeface="+mn-cs"/>
              </a:rPr>
              <a:pPr lvl="0">
                <a:spcBef>
                  <a:spcPct val="0"/>
                </a:spcBef>
                <a:spcAft>
                  <a:spcPct val="0"/>
                </a:spcAft>
              </a:pPr>
              <a:t>13%</a:t>
            </a:fld>
            <a:r>
              <a:rPr lang="en-US" altLang="en-US" sz="1200" dirty="0">
                <a:effectLst/>
                <a:latin typeface="Calibri" panose="020F0502020204030204" pitchFamily="34" charset="0"/>
                <a:cs typeface="+mn-cs"/>
              </a:rPr>
              <a:t> (</a:t>
            </a:r>
            <a:fld id="{9AB5F310-116C-4232-9FB1-CB1AFE84A0D6}" type="datetime'''''''''''''4'''''''''''''''''''''''''''''''''''''''''''''''">
              <a:rPr lang="en-US" altLang="en-US" sz="1200" smtClean="0">
                <a:latin typeface="Calibri" panose="020F0502020204030204" pitchFamily="34" charset="0"/>
                <a:cs typeface="+mn-cs"/>
              </a:rPr>
              <a:pPr lvl="0">
                <a:spcBef>
                  <a:spcPct val="0"/>
                </a:spcBef>
                <a:spcAft>
                  <a:spcPct val="0"/>
                </a:spcAft>
              </a:pPr>
              <a:t>4</a:t>
            </a:fld>
            <a:r>
              <a:rPr lang="en-US" sz="1200" dirty="0">
                <a:latin typeface="Calibri" panose="020F0502020204030204" pitchFamily="34" charset="0"/>
                <a:cs typeface="+mn-cs"/>
              </a:rPr>
              <a:t>)</a:t>
            </a:r>
          </a:p>
        </p:txBody>
      </p:sp>
      <p:sp>
        <p:nvSpPr>
          <p:cNvPr id="323" name="Text Placeholder 4">
            <a:extLst>
              <a:ext uri="{FF2B5EF4-FFF2-40B4-BE49-F238E27FC236}">
                <a16:creationId xmlns:a16="http://schemas.microsoft.com/office/drawing/2014/main" id="{BB76408C-3C07-B931-9F8D-55D2FCE5A1C6}"/>
              </a:ext>
            </a:extLst>
          </p:cNvPr>
          <p:cNvSpPr>
            <a:spLocks noGrp="1"/>
          </p:cNvSpPr>
          <p:nvPr>
            <p:custDataLst>
              <p:tags r:id="rId18"/>
            </p:custDataLst>
          </p:nvPr>
        </p:nvSpPr>
        <p:spPr bwMode="gray">
          <a:xfrm>
            <a:off x="5260975" y="4322763"/>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CAC32BB-98DC-487C-BA9E-E164547C26D3}" type="datetime'''7''''''''''''''''''''''''7''''''''''''''''''%'''">
              <a:rPr lang="en-US" altLang="en-US" sz="1200" smtClean="0">
                <a:latin typeface="Calibri" panose="020F0502020204030204" pitchFamily="34" charset="0"/>
                <a:cs typeface="+mn-cs"/>
              </a:rPr>
              <a:pPr lvl="0">
                <a:spcBef>
                  <a:spcPct val="0"/>
                </a:spcBef>
                <a:spcAft>
                  <a:spcPct val="0"/>
                </a:spcAft>
              </a:pPr>
              <a:t>77%</a:t>
            </a:fld>
            <a:r>
              <a:rPr lang="en-US" altLang="en-US" sz="1200" dirty="0">
                <a:effectLst/>
                <a:latin typeface="Calibri" panose="020F0502020204030204" pitchFamily="34" charset="0"/>
                <a:cs typeface="+mn-cs"/>
              </a:rPr>
              <a:t> (</a:t>
            </a:r>
            <a:fld id="{0B12244F-38C7-4CA5-8D11-A48974096A9C}" type="datetime'''''''''''''''''2''''3'''">
              <a:rPr lang="en-US" altLang="en-US" sz="1200" smtClean="0">
                <a:latin typeface="Calibri" panose="020F0502020204030204" pitchFamily="34" charset="0"/>
                <a:cs typeface="+mn-cs"/>
              </a:rPr>
              <a:pPr lvl="0">
                <a:spcBef>
                  <a:spcPct val="0"/>
                </a:spcBef>
                <a:spcAft>
                  <a:spcPct val="0"/>
                </a:spcAft>
              </a:pPr>
              <a:t>23</a:t>
            </a:fld>
            <a:r>
              <a:rPr lang="en-US" sz="1200" dirty="0">
                <a:latin typeface="Calibri" panose="020F0502020204030204" pitchFamily="34" charset="0"/>
                <a:cs typeface="+mn-cs"/>
              </a:rPr>
              <a:t>)</a:t>
            </a:r>
          </a:p>
        </p:txBody>
      </p:sp>
      <p:sp>
        <p:nvSpPr>
          <p:cNvPr id="67" name="Text Placeholder 4">
            <a:extLst>
              <a:ext uri="{FF2B5EF4-FFF2-40B4-BE49-F238E27FC236}">
                <a16:creationId xmlns:a16="http://schemas.microsoft.com/office/drawing/2014/main" id="{E8C360C0-631C-D0C8-6547-3026F704F0FC}"/>
              </a:ext>
            </a:extLst>
          </p:cNvPr>
          <p:cNvSpPr>
            <a:spLocks noGrp="1"/>
          </p:cNvSpPr>
          <p:nvPr>
            <p:custDataLst>
              <p:tags r:id="rId19"/>
            </p:custDataLst>
          </p:nvPr>
        </p:nvSpPr>
        <p:spPr bwMode="gray">
          <a:xfrm>
            <a:off x="4010025" y="4968875"/>
            <a:ext cx="436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9E6A189-1FC1-4EBE-81BA-C809A55792C2}" type="datetime'''''''''3''''''''''''''''''''%'''">
              <a:rPr lang="en-US" altLang="en-US" sz="1200" smtClean="0">
                <a:latin typeface="Calibri" panose="020F0502020204030204" pitchFamily="34" charset="0"/>
                <a:cs typeface="+mn-cs"/>
              </a:rPr>
              <a:pPr lvl="0">
                <a:spcBef>
                  <a:spcPct val="0"/>
                </a:spcBef>
                <a:spcAft>
                  <a:spcPct val="0"/>
                </a:spcAft>
              </a:pPr>
              <a:t>3%</a:t>
            </a:fld>
            <a:r>
              <a:rPr lang="en-US" altLang="en-US" sz="1200" dirty="0">
                <a:latin typeface="Calibri" panose="020F0502020204030204" pitchFamily="34" charset="0"/>
                <a:cs typeface="+mn-cs"/>
              </a:rPr>
              <a:t> (</a:t>
            </a:r>
            <a:fld id="{9662F786-184B-4A6C-935F-EEDC0510E389}" type="datetime'''''''''''''''''''''''''''''''''1'''''''''">
              <a:rPr lang="en-US" altLang="en-US" sz="1200" smtClean="0">
                <a:latin typeface="Calibri" panose="020F0502020204030204" pitchFamily="34" charset="0"/>
                <a:cs typeface="+mn-cs"/>
              </a:rPr>
              <a:pPr lvl="0">
                <a:spcBef>
                  <a:spcPct val="0"/>
                </a:spcBef>
                <a:spcAft>
                  <a:spcPct val="0"/>
                </a:spcAft>
              </a:pPr>
              <a:t>1</a:t>
            </a:fld>
            <a:r>
              <a:rPr lang="en-US" sz="1200" dirty="0">
                <a:latin typeface="Calibri" panose="020F0502020204030204" pitchFamily="34" charset="0"/>
                <a:cs typeface="+mn-cs"/>
              </a:rPr>
              <a:t>)</a:t>
            </a:r>
          </a:p>
        </p:txBody>
      </p:sp>
      <p:sp>
        <p:nvSpPr>
          <p:cNvPr id="24" name="ACET">
            <a:extLst>
              <a:ext uri="{FF2B5EF4-FFF2-40B4-BE49-F238E27FC236}">
                <a16:creationId xmlns:a16="http://schemas.microsoft.com/office/drawing/2014/main" id="{45D4870E-006F-A694-E477-C2837EBBECE7}"/>
              </a:ext>
            </a:extLst>
          </p:cNvPr>
          <p:cNvSpPr txBox="1">
            <a:spLocks/>
          </p:cNvSpPr>
          <p:nvPr>
            <p:custDataLst>
              <p:tags r:id="rId20"/>
            </p:custDataLst>
          </p:nvPr>
        </p:nvSpPr>
        <p:spPr>
          <a:xfrm>
            <a:off x="520232" y="1484312"/>
            <a:ext cx="2436732"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200" b="1" dirty="0">
                <a:latin typeface="Calibri" panose="020F0502020204030204" pitchFamily="34" charset="0"/>
              </a:rPr>
              <a:t>Respondent provider type</a:t>
            </a:r>
            <a:r>
              <a:rPr lang="en-US" sz="1200" b="1" baseline="30000" dirty="0">
                <a:latin typeface="Calibri" panose="020F0502020204030204" pitchFamily="34" charset="0"/>
              </a:rPr>
              <a:t>1</a:t>
            </a:r>
            <a:r>
              <a:rPr lang="en-US" sz="1200" b="1" dirty="0">
                <a:latin typeface="Calibri" panose="020F0502020204030204" pitchFamily="34" charset="0"/>
              </a:rPr>
              <a:t>, # of responses </a:t>
            </a:r>
          </a:p>
        </p:txBody>
      </p:sp>
      <p:cxnSp>
        <p:nvCxnSpPr>
          <p:cNvPr id="25" name="Straight Connector 24">
            <a:extLst>
              <a:ext uri="{FF2B5EF4-FFF2-40B4-BE49-F238E27FC236}">
                <a16:creationId xmlns:a16="http://schemas.microsoft.com/office/drawing/2014/main" id="{5F7A6C74-6BA9-1A11-6082-063CC685A1F3}"/>
              </a:ext>
            </a:extLst>
          </p:cNvPr>
          <p:cNvCxnSpPr>
            <a:cxnSpLocks/>
          </p:cNvCxnSpPr>
          <p:nvPr/>
        </p:nvCxnSpPr>
        <p:spPr>
          <a:xfrm>
            <a:off x="520232" y="1997075"/>
            <a:ext cx="243673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1" name="ACET">
            <a:extLst>
              <a:ext uri="{FF2B5EF4-FFF2-40B4-BE49-F238E27FC236}">
                <a16:creationId xmlns:a16="http://schemas.microsoft.com/office/drawing/2014/main" id="{7137B077-2CF7-5282-3B20-B8DC94E6B2C3}"/>
              </a:ext>
            </a:extLst>
          </p:cNvPr>
          <p:cNvSpPr txBox="1"/>
          <p:nvPr>
            <p:custDataLst>
              <p:tags r:id="rId21"/>
            </p:custDataLst>
          </p:nvPr>
        </p:nvSpPr>
        <p:spPr>
          <a:xfrm>
            <a:off x="3278470" y="1484312"/>
            <a:ext cx="2436731"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200" b="1" dirty="0">
                <a:latin typeface="Calibri" panose="020F0502020204030204" pitchFamily="34" charset="0"/>
              </a:rPr>
              <a:t>Approx share of patient population that is rural</a:t>
            </a:r>
            <a:r>
              <a:rPr lang="en-US" sz="1200" b="1" baseline="30000" dirty="0">
                <a:latin typeface="Calibri" panose="020F0502020204030204" pitchFamily="34" charset="0"/>
              </a:rPr>
              <a:t>2</a:t>
            </a:r>
            <a:r>
              <a:rPr lang="en-US" sz="1200" b="1" dirty="0">
                <a:latin typeface="Calibri" panose="020F0502020204030204" pitchFamily="34" charset="0"/>
              </a:rPr>
              <a:t>, # of responses </a:t>
            </a:r>
          </a:p>
        </p:txBody>
      </p:sp>
      <p:cxnSp>
        <p:nvCxnSpPr>
          <p:cNvPr id="122" name="Straight Connector 121">
            <a:extLst>
              <a:ext uri="{FF2B5EF4-FFF2-40B4-BE49-F238E27FC236}">
                <a16:creationId xmlns:a16="http://schemas.microsoft.com/office/drawing/2014/main" id="{610B3210-57FC-8113-5B2B-13275F60F14F}"/>
              </a:ext>
            </a:extLst>
          </p:cNvPr>
          <p:cNvCxnSpPr>
            <a:cxnSpLocks/>
          </p:cNvCxnSpPr>
          <p:nvPr/>
        </p:nvCxnSpPr>
        <p:spPr>
          <a:xfrm>
            <a:off x="3278471" y="1997075"/>
            <a:ext cx="243673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9" name="ACET">
            <a:extLst>
              <a:ext uri="{FF2B5EF4-FFF2-40B4-BE49-F238E27FC236}">
                <a16:creationId xmlns:a16="http://schemas.microsoft.com/office/drawing/2014/main" id="{92E441E8-D8F0-F294-2B7E-ACF09ACAE7C2}"/>
              </a:ext>
            </a:extLst>
          </p:cNvPr>
          <p:cNvSpPr txBox="1"/>
          <p:nvPr>
            <p:custDataLst>
              <p:tags r:id="rId22"/>
            </p:custDataLst>
          </p:nvPr>
        </p:nvSpPr>
        <p:spPr>
          <a:xfrm>
            <a:off x="6036707" y="1484312"/>
            <a:ext cx="2436731"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200" b="1" dirty="0">
                <a:latin typeface="Calibri" panose="020F0502020204030204" pitchFamily="34" charset="0"/>
              </a:rPr>
              <a:t>Approx annual unique patient volume</a:t>
            </a:r>
            <a:r>
              <a:rPr lang="en-US" sz="1200" b="1" baseline="30000" dirty="0">
                <a:latin typeface="Calibri" panose="020F0502020204030204" pitchFamily="34" charset="0"/>
              </a:rPr>
              <a:t>3</a:t>
            </a:r>
            <a:r>
              <a:rPr lang="en-US" sz="1200" b="1" dirty="0">
                <a:latin typeface="Calibri" panose="020F0502020204030204" pitchFamily="34" charset="0"/>
              </a:rPr>
              <a:t>, # of responses </a:t>
            </a:r>
          </a:p>
        </p:txBody>
      </p:sp>
      <p:cxnSp>
        <p:nvCxnSpPr>
          <p:cNvPr id="180" name="Straight Connector 179">
            <a:extLst>
              <a:ext uri="{FF2B5EF4-FFF2-40B4-BE49-F238E27FC236}">
                <a16:creationId xmlns:a16="http://schemas.microsoft.com/office/drawing/2014/main" id="{C2C699D0-EF07-C31C-8595-D0D9F27A5E30}"/>
              </a:ext>
            </a:extLst>
          </p:cNvPr>
          <p:cNvCxnSpPr>
            <a:cxnSpLocks/>
          </p:cNvCxnSpPr>
          <p:nvPr/>
        </p:nvCxnSpPr>
        <p:spPr>
          <a:xfrm>
            <a:off x="6036708" y="1997075"/>
            <a:ext cx="243673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7" name="Chart 16">
            <a:extLst>
              <a:ext uri="{FF2B5EF4-FFF2-40B4-BE49-F238E27FC236}">
                <a16:creationId xmlns:a16="http://schemas.microsoft.com/office/drawing/2014/main" id="{4ABBB79D-A941-760F-33AF-16F9ECB49A46}"/>
              </a:ext>
            </a:extLst>
          </p:cNvPr>
          <p:cNvGraphicFramePr/>
          <p:nvPr>
            <p:custDataLst>
              <p:tags r:id="rId23"/>
            </p:custDataLst>
          </p:nvPr>
        </p:nvGraphicFramePr>
        <p:xfrm>
          <a:off x="6985000" y="2070100"/>
          <a:ext cx="1016000" cy="3443288"/>
        </p:xfrm>
        <a:graphic>
          <a:graphicData uri="http://schemas.openxmlformats.org/drawingml/2006/chart">
            <c:chart xmlns:c="http://schemas.openxmlformats.org/drawingml/2006/chart" xmlns:r="http://schemas.openxmlformats.org/officeDocument/2006/relationships" r:id="rId44"/>
          </a:graphicData>
        </a:graphic>
      </p:graphicFrame>
      <p:sp>
        <p:nvSpPr>
          <p:cNvPr id="184" name="Text Placeholder 4">
            <a:extLst>
              <a:ext uri="{FF2B5EF4-FFF2-40B4-BE49-F238E27FC236}">
                <a16:creationId xmlns:a16="http://schemas.microsoft.com/office/drawing/2014/main" id="{53867E1F-34F9-AFF1-490A-E8F98D74D82E}"/>
              </a:ext>
            </a:extLst>
          </p:cNvPr>
          <p:cNvSpPr>
            <a:spLocks noGrp="1"/>
          </p:cNvSpPr>
          <p:nvPr>
            <p:custDataLst>
              <p:tags r:id="rId24"/>
            </p:custDataLst>
          </p:nvPr>
        </p:nvSpPr>
        <p:spPr bwMode="auto">
          <a:xfrm>
            <a:off x="6065838" y="2335213"/>
            <a:ext cx="744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7BBCE02-0DF3-4DAD-9E15-63B74E0CA999}" type="datetime'''''''''1,''0''0''0''''''''-4'''''''''''''''''''',''9''99'''''">
              <a:rPr lang="en-US" altLang="en-US" sz="1200" smtClean="0">
                <a:latin typeface="Calibri" panose="020F0502020204030204" pitchFamily="34" charset="0"/>
                <a:cs typeface="+mn-cs"/>
              </a:rPr>
              <a:pPr lvl="0">
                <a:spcBef>
                  <a:spcPct val="0"/>
                </a:spcBef>
                <a:spcAft>
                  <a:spcPct val="0"/>
                </a:spcAft>
              </a:pPr>
              <a:t>1,000-4,999</a:t>
            </a:fld>
            <a:endParaRPr lang="en-US" sz="1200" dirty="0">
              <a:latin typeface="Calibri" panose="020F0502020204030204" pitchFamily="34" charset="0"/>
              <a:cs typeface="+mn-cs"/>
            </a:endParaRPr>
          </a:p>
        </p:txBody>
      </p:sp>
      <p:sp>
        <p:nvSpPr>
          <p:cNvPr id="185" name="Text Placeholder 4">
            <a:extLst>
              <a:ext uri="{FF2B5EF4-FFF2-40B4-BE49-F238E27FC236}">
                <a16:creationId xmlns:a16="http://schemas.microsoft.com/office/drawing/2014/main" id="{19CD2EA4-B700-6A11-2DE4-E13788E675A7}"/>
              </a:ext>
            </a:extLst>
          </p:cNvPr>
          <p:cNvSpPr>
            <a:spLocks noGrp="1"/>
          </p:cNvSpPr>
          <p:nvPr>
            <p:custDataLst>
              <p:tags r:id="rId25"/>
            </p:custDataLst>
          </p:nvPr>
        </p:nvSpPr>
        <p:spPr bwMode="auto">
          <a:xfrm>
            <a:off x="6065838" y="2881313"/>
            <a:ext cx="744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26BEB3F-740D-4F81-A728-DCB6D7AE37AC}" type="datetime'5,''''00''''''''''''0''''-9'''',''''''''''''9''''''''9''9'''''">
              <a:rPr lang="en-US" altLang="en-US" sz="1200" smtClean="0">
                <a:latin typeface="Calibri" panose="020F0502020204030204" pitchFamily="34" charset="0"/>
                <a:cs typeface="+mn-cs"/>
              </a:rPr>
              <a:pPr lvl="0">
                <a:spcBef>
                  <a:spcPct val="0"/>
                </a:spcBef>
                <a:spcAft>
                  <a:spcPct val="0"/>
                </a:spcAft>
              </a:pPr>
              <a:t>5,000-9,999</a:t>
            </a:fld>
            <a:endParaRPr lang="en-US" sz="1200" dirty="0">
              <a:latin typeface="Calibri" panose="020F0502020204030204" pitchFamily="34" charset="0"/>
              <a:cs typeface="+mn-cs"/>
            </a:endParaRPr>
          </a:p>
        </p:txBody>
      </p:sp>
      <p:sp>
        <p:nvSpPr>
          <p:cNvPr id="182" name="Text Placeholder 4">
            <a:extLst>
              <a:ext uri="{FF2B5EF4-FFF2-40B4-BE49-F238E27FC236}">
                <a16:creationId xmlns:a16="http://schemas.microsoft.com/office/drawing/2014/main" id="{F8662497-1E02-260C-C189-6824BD466E79}"/>
              </a:ext>
            </a:extLst>
          </p:cNvPr>
          <p:cNvSpPr>
            <a:spLocks noGrp="1"/>
          </p:cNvSpPr>
          <p:nvPr>
            <p:custDataLst>
              <p:tags r:id="rId26"/>
            </p:custDataLst>
          </p:nvPr>
        </p:nvSpPr>
        <p:spPr bwMode="auto">
          <a:xfrm>
            <a:off x="6065838" y="3427413"/>
            <a:ext cx="900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C98685F-5A51-4EBF-8AF4-AC7CD86E67F8}" type="datetime'''''10'''',''''''00''''0-2''''''''4,''''9''9''''''''''9'''''">
              <a:rPr lang="en-US" altLang="en-US" sz="1200" smtClean="0">
                <a:latin typeface="Calibri" panose="020F0502020204030204" pitchFamily="34" charset="0"/>
                <a:cs typeface="+mn-cs"/>
              </a:rPr>
              <a:pPr lvl="0">
                <a:spcBef>
                  <a:spcPct val="0"/>
                </a:spcBef>
                <a:spcAft>
                  <a:spcPct val="0"/>
                </a:spcAft>
              </a:pPr>
              <a:t>10,000-24,999</a:t>
            </a:fld>
            <a:endParaRPr lang="en-US" sz="1200" dirty="0">
              <a:latin typeface="Calibri" panose="020F0502020204030204" pitchFamily="34" charset="0"/>
              <a:cs typeface="+mn-cs"/>
            </a:endParaRPr>
          </a:p>
        </p:txBody>
      </p:sp>
      <p:sp>
        <p:nvSpPr>
          <p:cNvPr id="183" name="Text Placeholder 4">
            <a:extLst>
              <a:ext uri="{FF2B5EF4-FFF2-40B4-BE49-F238E27FC236}">
                <a16:creationId xmlns:a16="http://schemas.microsoft.com/office/drawing/2014/main" id="{FECEA6B7-A84D-354C-7503-3054E48D9660}"/>
              </a:ext>
            </a:extLst>
          </p:cNvPr>
          <p:cNvSpPr>
            <a:spLocks noGrp="1"/>
          </p:cNvSpPr>
          <p:nvPr>
            <p:custDataLst>
              <p:tags r:id="rId27"/>
            </p:custDataLst>
          </p:nvPr>
        </p:nvSpPr>
        <p:spPr bwMode="auto">
          <a:xfrm>
            <a:off x="6065838" y="3975100"/>
            <a:ext cx="900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A4D0E22-0444-4348-958F-30CCE34AD401}" type="datetime'''2''''''5'''',''0''''''0''0''''''''-''4''''9'''''''',9''99'''">
              <a:rPr lang="en-US" altLang="en-US" sz="1200" smtClean="0">
                <a:latin typeface="Calibri" panose="020F0502020204030204" pitchFamily="34" charset="0"/>
                <a:cs typeface="+mn-cs"/>
              </a:rPr>
              <a:pPr lvl="0">
                <a:spcBef>
                  <a:spcPct val="0"/>
                </a:spcBef>
                <a:spcAft>
                  <a:spcPct val="0"/>
                </a:spcAft>
              </a:pPr>
              <a:t>25,000-49,999</a:t>
            </a:fld>
            <a:endParaRPr lang="en-US" sz="1200" dirty="0">
              <a:latin typeface="Calibri" panose="020F0502020204030204" pitchFamily="34" charset="0"/>
              <a:cs typeface="+mn-cs"/>
            </a:endParaRPr>
          </a:p>
        </p:txBody>
      </p:sp>
      <p:sp>
        <p:nvSpPr>
          <p:cNvPr id="211" name="Text Placeholder 4">
            <a:extLst>
              <a:ext uri="{FF2B5EF4-FFF2-40B4-BE49-F238E27FC236}">
                <a16:creationId xmlns:a16="http://schemas.microsoft.com/office/drawing/2014/main" id="{AB14A859-B2BD-AF16-FEC4-94C7139A01BE}"/>
              </a:ext>
            </a:extLst>
          </p:cNvPr>
          <p:cNvSpPr>
            <a:spLocks noGrp="1"/>
          </p:cNvSpPr>
          <p:nvPr>
            <p:custDataLst>
              <p:tags r:id="rId28"/>
            </p:custDataLst>
          </p:nvPr>
        </p:nvSpPr>
        <p:spPr bwMode="auto">
          <a:xfrm>
            <a:off x="6065838" y="4521200"/>
            <a:ext cx="503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43682F7-B90A-4C42-AB67-03611911E78D}" type="datetime'''''''''''5''''''''''''0'''''''''',''''0''''''00''+'''''">
              <a:rPr lang="en-US" altLang="en-US" sz="1200" smtClean="0">
                <a:latin typeface="Calibri" panose="020F0502020204030204" pitchFamily="34" charset="0"/>
                <a:cs typeface="+mn-cs"/>
              </a:rPr>
              <a:pPr lvl="0">
                <a:spcBef>
                  <a:spcPct val="0"/>
                </a:spcBef>
                <a:spcAft>
                  <a:spcPct val="0"/>
                </a:spcAft>
              </a:pPr>
              <a:t>50,000+</a:t>
            </a:fld>
            <a:endParaRPr lang="en-US" sz="1200" dirty="0">
              <a:latin typeface="Calibri" panose="020F0502020204030204" pitchFamily="34" charset="0"/>
              <a:cs typeface="+mn-cs"/>
            </a:endParaRPr>
          </a:p>
        </p:txBody>
      </p:sp>
      <p:sp>
        <p:nvSpPr>
          <p:cNvPr id="224" name="Text Placeholder 4">
            <a:extLst>
              <a:ext uri="{FF2B5EF4-FFF2-40B4-BE49-F238E27FC236}">
                <a16:creationId xmlns:a16="http://schemas.microsoft.com/office/drawing/2014/main" id="{DA1CD02D-D968-8ADB-8803-B10BFF3B93B6}"/>
              </a:ext>
            </a:extLst>
          </p:cNvPr>
          <p:cNvSpPr>
            <a:spLocks noGrp="1"/>
          </p:cNvSpPr>
          <p:nvPr>
            <p:custDataLst>
              <p:tags r:id="rId29"/>
            </p:custDataLst>
          </p:nvPr>
        </p:nvSpPr>
        <p:spPr bwMode="auto">
          <a:xfrm>
            <a:off x="6065838" y="5067300"/>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6A807DA-F08D-4DEE-AF6B-4C4DCBC67E45}" type="datetime'''''N''o''''''''t'' ''''''''s''''u''r''''''''''e'''''">
              <a:rPr lang="en-US" altLang="en-US" sz="1200" smtClean="0">
                <a:latin typeface="Calibri" panose="020F0502020204030204" pitchFamily="34" charset="0"/>
                <a:cs typeface="+mn-cs"/>
              </a:rPr>
              <a:pPr lvl="0">
                <a:spcBef>
                  <a:spcPct val="0"/>
                </a:spcBef>
                <a:spcAft>
                  <a:spcPct val="0"/>
                </a:spcAft>
              </a:pPr>
              <a:t>Not sure</a:t>
            </a:fld>
            <a:endParaRPr lang="en-US" sz="1200" dirty="0">
              <a:latin typeface="Calibri" panose="020F0502020204030204" pitchFamily="34" charset="0"/>
              <a:cs typeface="+mn-cs"/>
            </a:endParaRPr>
          </a:p>
        </p:txBody>
      </p:sp>
      <p:sp>
        <p:nvSpPr>
          <p:cNvPr id="91"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7604125" y="2335213"/>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04AE42-F89C-4E84-9ED6-3D237F5A701F}" type="datetime'2''''''''''''''''''''''''''''''''''''''0''''''''''%'''''''">
              <a:rPr lang="en-US" altLang="en-US" sz="1200" smtClean="0">
                <a:latin typeface="Calibri" panose="020F0502020204030204" pitchFamily="34" charset="0"/>
                <a:cs typeface="+mn-cs"/>
              </a:rPr>
              <a:pPr lvl="0">
                <a:spcBef>
                  <a:spcPct val="0"/>
                </a:spcBef>
                <a:spcAft>
                  <a:spcPct val="0"/>
                </a:spcAft>
              </a:pPr>
              <a:t>20%</a:t>
            </a:fld>
            <a:r>
              <a:rPr lang="en-US" altLang="en-US" sz="1200" dirty="0">
                <a:effectLst/>
                <a:latin typeface="Calibri" panose="020F0502020204030204" pitchFamily="34" charset="0"/>
                <a:cs typeface="+mn-cs"/>
              </a:rPr>
              <a:t> (</a:t>
            </a:r>
            <a:fld id="{2CDC12CE-C3CB-4D7E-983C-FABEBEE6AEDA}" type="datetime'''''''''''''''''''''''''''''6'''''''''''''''''''''''''''''''">
              <a:rPr lang="en-US" altLang="en-US" sz="1200" smtClean="0">
                <a:latin typeface="Calibri" panose="020F0502020204030204" pitchFamily="34" charset="0"/>
                <a:cs typeface="+mn-cs"/>
              </a:rPr>
              <a:pPr lvl="0">
                <a:spcBef>
                  <a:spcPct val="0"/>
                </a:spcBef>
                <a:spcAft>
                  <a:spcPct val="0"/>
                </a:spcAft>
              </a:pPr>
              <a:t>6</a:t>
            </a:fld>
            <a:r>
              <a:rPr lang="en-US" sz="1200" dirty="0">
                <a:latin typeface="Calibri" panose="020F0502020204030204" pitchFamily="34" charset="0"/>
                <a:cs typeface="+mn-cs"/>
              </a:rPr>
              <a:t>)</a:t>
            </a:r>
          </a:p>
        </p:txBody>
      </p:sp>
      <p:sp>
        <p:nvSpPr>
          <p:cNvPr id="92"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7943850" y="2881313"/>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14F8D29-E0A6-4DDD-AE8C-2E2A29AC8244}" type="datetime'''''''''''''''''3''''''''''3''''''''''''''''''%'">
              <a:rPr lang="en-US" altLang="en-US" sz="1200" smtClean="0">
                <a:latin typeface="Calibri" panose="020F0502020204030204" pitchFamily="34" charset="0"/>
                <a:cs typeface="+mn-cs"/>
              </a:rPr>
              <a:pPr lvl="0">
                <a:spcBef>
                  <a:spcPct val="0"/>
                </a:spcBef>
                <a:spcAft>
                  <a:spcPct val="0"/>
                </a:spcAft>
              </a:pPr>
              <a:t>33%</a:t>
            </a:fld>
            <a:r>
              <a:rPr lang="en-US" altLang="en-US" sz="1200" dirty="0">
                <a:effectLst/>
                <a:latin typeface="Calibri" panose="020F0502020204030204" pitchFamily="34" charset="0"/>
                <a:cs typeface="+mn-cs"/>
              </a:rPr>
              <a:t> (</a:t>
            </a:r>
            <a:fld id="{48B80693-1BA0-41A1-8495-B76BE7554FCF}" type="datetime'''''''''''''''''''''''1''''''''''''0'''''''''">
              <a:rPr lang="en-US" altLang="en-US" sz="1200" smtClean="0">
                <a:latin typeface="Calibri" panose="020F0502020204030204" pitchFamily="34" charset="0"/>
                <a:cs typeface="+mn-cs"/>
              </a:rPr>
              <a:pPr lvl="0">
                <a:spcBef>
                  <a:spcPct val="0"/>
                </a:spcBef>
                <a:spcAft>
                  <a:spcPct val="0"/>
                </a:spcAft>
              </a:pPr>
              <a:t>10</a:t>
            </a:fld>
            <a:r>
              <a:rPr lang="en-US" sz="1200" dirty="0">
                <a:latin typeface="Calibri" panose="020F0502020204030204" pitchFamily="34" charset="0"/>
                <a:cs typeface="+mn-cs"/>
              </a:rPr>
              <a:t>)</a:t>
            </a:r>
          </a:p>
        </p:txBody>
      </p:sp>
      <p:sp>
        <p:nvSpPr>
          <p:cNvPr id="93"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7604125" y="3427413"/>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CF8B83-C4E3-4D1E-9556-45E29D9A1FDA}" type="datetime'''''''''''''''''''''''''2''0''''''''''''''%'''''''''''''''''''">
              <a:rPr lang="en-US" altLang="en-US" sz="1200" smtClean="0">
                <a:latin typeface="Calibri" panose="020F0502020204030204" pitchFamily="34" charset="0"/>
                <a:cs typeface="+mn-cs"/>
              </a:rPr>
              <a:pPr lvl="0">
                <a:spcBef>
                  <a:spcPct val="0"/>
                </a:spcBef>
                <a:spcAft>
                  <a:spcPct val="0"/>
                </a:spcAft>
              </a:pPr>
              <a:t>20%</a:t>
            </a:fld>
            <a:r>
              <a:rPr lang="en-US" altLang="en-US" sz="1200" dirty="0">
                <a:effectLst/>
                <a:latin typeface="Calibri" panose="020F0502020204030204" pitchFamily="34" charset="0"/>
                <a:cs typeface="+mn-cs"/>
              </a:rPr>
              <a:t> (</a:t>
            </a:r>
            <a:fld id="{385349E1-48FE-4A18-9738-5F544D14602D}" type="datetime'''''''''''''''''''''''''''''''6'">
              <a:rPr lang="en-US" altLang="en-US" sz="1200" smtClean="0">
                <a:latin typeface="Calibri" panose="020F0502020204030204" pitchFamily="34" charset="0"/>
                <a:cs typeface="+mn-cs"/>
              </a:rPr>
              <a:pPr lvl="0">
                <a:spcBef>
                  <a:spcPct val="0"/>
                </a:spcBef>
                <a:spcAft>
                  <a:spcPct val="0"/>
                </a:spcAft>
              </a:pPr>
              <a:t>6</a:t>
            </a:fld>
            <a:r>
              <a:rPr lang="en-US" sz="1200" dirty="0">
                <a:latin typeface="Calibri" panose="020F0502020204030204" pitchFamily="34" charset="0"/>
                <a:cs typeface="+mn-cs"/>
              </a:rPr>
              <a:t>)</a:t>
            </a:r>
          </a:p>
        </p:txBody>
      </p:sp>
      <p:sp>
        <p:nvSpPr>
          <p:cNvPr id="94"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7432675" y="3975100"/>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ED14831-80FB-4DB9-8EE4-4C16ECB5F27C}" type="datetime'''''''''''''''''''1''''3''''''''''''''''''''''''''''%'''''''">
              <a:rPr lang="en-US" altLang="en-US" sz="1200" smtClean="0">
                <a:latin typeface="Calibri" panose="020F0502020204030204" pitchFamily="34" charset="0"/>
                <a:cs typeface="+mn-cs"/>
              </a:rPr>
              <a:pPr lvl="0">
                <a:spcBef>
                  <a:spcPct val="0"/>
                </a:spcBef>
                <a:spcAft>
                  <a:spcPct val="0"/>
                </a:spcAft>
              </a:pPr>
              <a:t>13%</a:t>
            </a:fld>
            <a:r>
              <a:rPr lang="en-US" altLang="en-US" sz="1200" dirty="0">
                <a:effectLst/>
                <a:latin typeface="Calibri" panose="020F0502020204030204" pitchFamily="34" charset="0"/>
                <a:cs typeface="+mn-cs"/>
              </a:rPr>
              <a:t> (</a:t>
            </a:r>
            <a:fld id="{0C0AF919-3529-4E9F-B38C-CEC282ADDE52}" type="datetime'''''''''4'''''''''''''''''''''''''''">
              <a:rPr lang="en-US" altLang="en-US" sz="1200" smtClean="0">
                <a:latin typeface="Calibri" panose="020F0502020204030204" pitchFamily="34" charset="0"/>
                <a:cs typeface="+mn-cs"/>
              </a:rPr>
              <a:pPr lvl="0">
                <a:spcBef>
                  <a:spcPct val="0"/>
                </a:spcBef>
                <a:spcAft>
                  <a:spcPct val="0"/>
                </a:spcAft>
              </a:pPr>
              <a:t>4</a:t>
            </a:fld>
            <a:r>
              <a:rPr lang="en-US" sz="1200" dirty="0">
                <a:latin typeface="Calibri" panose="020F0502020204030204" pitchFamily="34" charset="0"/>
                <a:cs typeface="+mn-cs"/>
              </a:rPr>
              <a:t>)</a:t>
            </a:r>
          </a:p>
        </p:txBody>
      </p:sp>
      <p:sp>
        <p:nvSpPr>
          <p:cNvPr id="95"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7262813" y="4521200"/>
            <a:ext cx="436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C475F33-7A2E-4DB9-B2F4-023C23961C0B}" type="datetime'''7''''''''''''''''''''''''''''''''''''''''''%'''''''''">
              <a:rPr lang="en-US" altLang="en-US" sz="1200" smtClean="0">
                <a:latin typeface="Calibri" panose="020F0502020204030204" pitchFamily="34" charset="0"/>
                <a:cs typeface="+mn-cs"/>
              </a:rPr>
              <a:pPr lvl="0">
                <a:spcBef>
                  <a:spcPct val="0"/>
                </a:spcBef>
                <a:spcAft>
                  <a:spcPct val="0"/>
                </a:spcAft>
              </a:pPr>
              <a:t>7%</a:t>
            </a:fld>
            <a:r>
              <a:rPr lang="en-US" altLang="en-US" sz="1200" dirty="0">
                <a:effectLst/>
                <a:latin typeface="Calibri" panose="020F0502020204030204" pitchFamily="34" charset="0"/>
                <a:cs typeface="+mn-cs"/>
              </a:rPr>
              <a:t> (</a:t>
            </a:r>
            <a:fld id="{E49C5A0A-D869-43B8-A276-DC6582F2C855}" type="datetime'''''''''''''''''''''''''''''''''2'''''''''''''''''''''''''">
              <a:rPr lang="en-US" altLang="en-US" sz="1200" smtClean="0">
                <a:latin typeface="Calibri" panose="020F0502020204030204" pitchFamily="34" charset="0"/>
                <a:cs typeface="+mn-cs"/>
              </a:rPr>
              <a:pPr lvl="0">
                <a:spcBef>
                  <a:spcPct val="0"/>
                </a:spcBef>
                <a:spcAft>
                  <a:spcPct val="0"/>
                </a:spcAft>
              </a:pPr>
              <a:t>2</a:t>
            </a:fld>
            <a:r>
              <a:rPr lang="en-US" sz="1200" dirty="0">
                <a:latin typeface="Calibri" panose="020F0502020204030204" pitchFamily="34" charset="0"/>
                <a:cs typeface="+mn-cs"/>
              </a:rPr>
              <a:t>)</a:t>
            </a:r>
          </a:p>
        </p:txBody>
      </p:sp>
      <p:sp>
        <p:nvSpPr>
          <p:cNvPr id="96"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7262813" y="5067300"/>
            <a:ext cx="436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9640303-7777-4C29-A410-49F299780352}" type="datetime'''''''''''''''''''''''7''%'''">
              <a:rPr lang="en-US" altLang="en-US" sz="1200" smtClean="0">
                <a:latin typeface="Calibri" panose="020F0502020204030204" pitchFamily="34" charset="0"/>
                <a:cs typeface="+mn-cs"/>
              </a:rPr>
              <a:pPr lvl="0">
                <a:spcBef>
                  <a:spcPct val="0"/>
                </a:spcBef>
                <a:spcAft>
                  <a:spcPct val="0"/>
                </a:spcAft>
              </a:pPr>
              <a:t>7%</a:t>
            </a:fld>
            <a:r>
              <a:rPr lang="en-US" altLang="en-US" sz="1200" dirty="0">
                <a:effectLst/>
                <a:latin typeface="Calibri" panose="020F0502020204030204" pitchFamily="34" charset="0"/>
                <a:cs typeface="+mn-cs"/>
              </a:rPr>
              <a:t> (</a:t>
            </a:r>
            <a:fld id="{A42F86A5-5137-425A-8947-BBE5BFA62A6E}" type="datetime'''''''''''''''2'''''''''''''">
              <a:rPr lang="en-US" altLang="en-US" sz="1200" smtClean="0">
                <a:latin typeface="Calibri" panose="020F0502020204030204" pitchFamily="34" charset="0"/>
                <a:cs typeface="+mn-cs"/>
              </a:rPr>
              <a:pPr lvl="0">
                <a:spcBef>
                  <a:spcPct val="0"/>
                </a:spcBef>
                <a:spcAft>
                  <a:spcPct val="0"/>
                </a:spcAft>
              </a:pPr>
              <a:t>2</a:t>
            </a:fld>
            <a:r>
              <a:rPr lang="en-US" sz="1200" dirty="0">
                <a:latin typeface="Calibri" panose="020F0502020204030204" pitchFamily="34" charset="0"/>
                <a:cs typeface="+mn-cs"/>
              </a:rPr>
              <a:t>)</a:t>
            </a:r>
          </a:p>
        </p:txBody>
      </p:sp>
      <p:sp>
        <p:nvSpPr>
          <p:cNvPr id="265" name="5. Source">
            <a:extLst>
              <a:ext uri="{FF2B5EF4-FFF2-40B4-BE49-F238E27FC236}">
                <a16:creationId xmlns:a16="http://schemas.microsoft.com/office/drawing/2014/main" id="{67085747-4B76-6822-4425-EADC1F017722}"/>
              </a:ext>
            </a:extLst>
          </p:cNvPr>
          <p:cNvSpPr txBox="1"/>
          <p:nvPr>
            <p:custDataLst>
              <p:tags r:id="rId36"/>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1"/>
              </a:buClr>
            </a:pPr>
            <a:r>
              <a:rPr lang="en-US" dirty="0">
                <a:latin typeface="Calibri" panose="020F0502020204030204" pitchFamily="34" charset="0"/>
              </a:rPr>
              <a:t>Source: LDH RHTP VBC APM Readiness Survey Responses, N=30</a:t>
            </a:r>
          </a:p>
        </p:txBody>
      </p:sp>
      <p:sp>
        <p:nvSpPr>
          <p:cNvPr id="306" name="ACET">
            <a:extLst>
              <a:ext uri="{FF2B5EF4-FFF2-40B4-BE49-F238E27FC236}">
                <a16:creationId xmlns:a16="http://schemas.microsoft.com/office/drawing/2014/main" id="{852FB138-A3C0-D9D9-3133-0DC6D49B7AB0}"/>
              </a:ext>
            </a:extLst>
          </p:cNvPr>
          <p:cNvSpPr txBox="1">
            <a:spLocks/>
          </p:cNvSpPr>
          <p:nvPr>
            <p:custDataLst>
              <p:tags r:id="rId37"/>
            </p:custDataLst>
          </p:nvPr>
        </p:nvSpPr>
        <p:spPr>
          <a:xfrm>
            <a:off x="9192576" y="1484312"/>
            <a:ext cx="2550245" cy="215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400" b="1" dirty="0">
                <a:latin typeface="Calibri" panose="020F0502020204030204" pitchFamily="34" charset="0"/>
              </a:rPr>
              <a:t>Key takeaways</a:t>
            </a:r>
          </a:p>
        </p:txBody>
      </p:sp>
      <p:cxnSp>
        <p:nvCxnSpPr>
          <p:cNvPr id="307" name="Straight Connector 306">
            <a:extLst>
              <a:ext uri="{FF2B5EF4-FFF2-40B4-BE49-F238E27FC236}">
                <a16:creationId xmlns:a16="http://schemas.microsoft.com/office/drawing/2014/main" id="{44C35350-4D3B-203B-C4C4-5B501F9F353C}"/>
              </a:ext>
            </a:extLst>
          </p:cNvPr>
          <p:cNvCxnSpPr>
            <a:cxnSpLocks/>
          </p:cNvCxnSpPr>
          <p:nvPr/>
        </p:nvCxnSpPr>
        <p:spPr>
          <a:xfrm>
            <a:off x="9192576" y="1997075"/>
            <a:ext cx="2550245"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5" name="ACET">
            <a:extLst>
              <a:ext uri="{FF2B5EF4-FFF2-40B4-BE49-F238E27FC236}">
                <a16:creationId xmlns:a16="http://schemas.microsoft.com/office/drawing/2014/main" id="{8CE8E5EC-D533-5A8D-B91C-0B093AE98760}"/>
              </a:ext>
            </a:extLst>
          </p:cNvPr>
          <p:cNvSpPr txBox="1">
            <a:spLocks/>
          </p:cNvSpPr>
          <p:nvPr>
            <p:custDataLst>
              <p:tags r:id="rId38"/>
            </p:custDataLst>
          </p:nvPr>
        </p:nvSpPr>
        <p:spPr>
          <a:xfrm>
            <a:off x="9192576" y="2154808"/>
            <a:ext cx="2550245" cy="33085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buFont typeface="Arial" panose="020B0604020202020204" pitchFamily="34" charset="0"/>
              <a:buChar char="•"/>
            </a:pPr>
            <a:r>
              <a:rPr lang="en-US" sz="1400" dirty="0">
                <a:latin typeface="Calibri" panose="020F0502020204030204" pitchFamily="34" charset="0"/>
              </a:rPr>
              <a:t>Most respondents report highly rural patient populations, with 22 of 30 indicating that 76–100% of their patients are rural</a:t>
            </a:r>
          </a:p>
          <a:p>
            <a:pPr lvl="1">
              <a:spcAft>
                <a:spcPts val="600"/>
              </a:spcAft>
              <a:buFont typeface="Arial" panose="020B0604020202020204" pitchFamily="34" charset="0"/>
              <a:buChar char="•"/>
            </a:pPr>
            <a:r>
              <a:rPr lang="en-US" sz="1400" dirty="0">
                <a:latin typeface="Calibri" panose="020F0502020204030204" pitchFamily="34" charset="0"/>
              </a:rPr>
              <a:t>Variation in annual patient volume, including 2 respondents who were not sure, suggests providers may face different scale-related constraints, including the ability to reach sufficient attributed lives, spread fixed infrastructure costs, staff care management functions, and generate reliable performance results</a:t>
            </a:r>
          </a:p>
        </p:txBody>
      </p:sp>
      <p:sp>
        <p:nvSpPr>
          <p:cNvPr id="325" name="4. Footnote">
            <a:extLst>
              <a:ext uri="{FF2B5EF4-FFF2-40B4-BE49-F238E27FC236}">
                <a16:creationId xmlns:a16="http://schemas.microsoft.com/office/drawing/2014/main" id="{4CC6354D-3C20-2E90-3E39-2F2BA1F78E3B}"/>
              </a:ext>
            </a:extLst>
          </p:cNvPr>
          <p:cNvSpPr txBox="1"/>
          <p:nvPr>
            <p:custDataLst>
              <p:tags r:id="rId39"/>
            </p:custDataLst>
          </p:nvPr>
        </p:nvSpPr>
        <p:spPr>
          <a:xfrm>
            <a:off x="553972" y="5702832"/>
            <a:ext cx="7278624" cy="61555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Calibri" panose="020F0502020204030204" pitchFamily="34" charset="0"/>
              </a:rPr>
              <a:t>1.	Question asked: "Organization Type"</a:t>
            </a:r>
          </a:p>
          <a:p>
            <a:pPr lvl="0"/>
            <a:r>
              <a:rPr lang="en-US" dirty="0">
                <a:latin typeface="Calibri" panose="020F0502020204030204" pitchFamily="34" charset="0"/>
              </a:rPr>
              <a:t>2.	Question asked: "Approximately What Share of Your Patient Population Is Rural?"</a:t>
            </a:r>
          </a:p>
          <a:p>
            <a:pPr lvl="0"/>
            <a:r>
              <a:rPr lang="en-US" dirty="0">
                <a:latin typeface="Calibri" panose="020F0502020204030204" pitchFamily="34" charset="0"/>
              </a:rPr>
              <a:t>3.	Question asked: "Approximate Annual Unique Patient Volume"</a:t>
            </a:r>
          </a:p>
          <a:p>
            <a:pPr lvl="0"/>
            <a:r>
              <a:rPr lang="en-US" dirty="0">
                <a:latin typeface="Calibri" panose="020F0502020204030204" pitchFamily="34" charset="0"/>
              </a:rPr>
              <a:t>4.	Rural health clinic</a:t>
            </a:r>
          </a:p>
          <a:p>
            <a:pPr lvl="0"/>
            <a:r>
              <a:rPr lang="en-US" dirty="0">
                <a:latin typeface="Calibri" panose="020F0502020204030204" pitchFamily="34" charset="0"/>
              </a:rPr>
              <a:t>5.	Federally qualified health center</a:t>
            </a:r>
          </a:p>
        </p:txBody>
      </p:sp>
    </p:spTree>
    <p:extLst>
      <p:ext uri="{BB962C8B-B14F-4D97-AF65-F5344CB8AC3E}">
        <p14:creationId xmlns:p14="http://schemas.microsoft.com/office/powerpoint/2010/main" val="719972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06423-3BFB-C095-8F99-E4AF2495943F}"/>
            </a:ext>
          </a:extLst>
        </p:cNvPr>
        <p:cNvGrpSpPr/>
        <p:nvPr/>
      </p:nvGrpSpPr>
      <p:grpSpPr>
        <a:xfrm>
          <a:off x="0" y="0"/>
          <a:ext cx="0" cy="0"/>
          <a:chOff x="0" y="0"/>
          <a:chExt cx="0" cy="0"/>
        </a:xfrm>
      </p:grpSpPr>
      <p:sp>
        <p:nvSpPr>
          <p:cNvPr id="4" name="2. Slide Title">
            <a:extLst>
              <a:ext uri="{FF2B5EF4-FFF2-40B4-BE49-F238E27FC236}">
                <a16:creationId xmlns:a16="http://schemas.microsoft.com/office/drawing/2014/main" id="{F66CC451-8F13-DCB6-9254-42EBE121BB1B}"/>
              </a:ext>
            </a:extLst>
          </p:cNvPr>
          <p:cNvSpPr>
            <a:spLocks noGrp="1"/>
          </p:cNvSpPr>
          <p:nvPr>
            <p:ph type="title"/>
            <p:custDataLst>
              <p:tags r:id="rId1"/>
            </p:custDataLst>
          </p:nvPr>
        </p:nvSpPr>
        <p:spPr>
          <a:xfrm>
            <a:off x="554736" y="456458"/>
            <a:ext cx="7918704" cy="769441"/>
          </a:xfrm>
        </p:spPr>
        <p:txBody>
          <a:bodyPr vert="horz"/>
          <a:lstStyle/>
          <a:p>
            <a:r>
              <a:rPr lang="en-US" b="1" dirty="0"/>
              <a:t>VBC / APM participation is common, but largely concentrated in lower-risk models</a:t>
            </a:r>
          </a:p>
        </p:txBody>
      </p:sp>
      <p:graphicFrame>
        <p:nvGraphicFramePr>
          <p:cNvPr id="15" name="Chart 14">
            <a:extLst>
              <a:ext uri="{FF2B5EF4-FFF2-40B4-BE49-F238E27FC236}">
                <a16:creationId xmlns:a16="http://schemas.microsoft.com/office/drawing/2014/main" id="{1C3B5ADD-F59A-C433-CA92-6E9D0D9C3E10}"/>
              </a:ext>
            </a:extLst>
          </p:cNvPr>
          <p:cNvGraphicFramePr/>
          <p:nvPr>
            <p:custDataLst>
              <p:tags r:id="rId2"/>
            </p:custDataLst>
          </p:nvPr>
        </p:nvGraphicFramePr>
        <p:xfrm>
          <a:off x="1654175" y="1862138"/>
          <a:ext cx="6338888" cy="560387"/>
        </p:xfrm>
        <a:graphic>
          <a:graphicData uri="http://schemas.openxmlformats.org/drawingml/2006/chart">
            <c:chart xmlns:c="http://schemas.openxmlformats.org/drawingml/2006/chart" xmlns:r="http://schemas.openxmlformats.org/officeDocument/2006/relationships" r:id="rId53"/>
          </a:graphicData>
        </a:graphic>
      </p:graphicFrame>
      <p:sp>
        <p:nvSpPr>
          <p:cNvPr id="77" name="Text Placeholder 4">
            <a:extLst>
              <a:ext uri="{FF2B5EF4-FFF2-40B4-BE49-F238E27FC236}">
                <a16:creationId xmlns:a16="http://schemas.microsoft.com/office/drawing/2014/main" id="{835F1128-6CFF-75A3-1C5D-DBCAC3B48328}"/>
              </a:ext>
            </a:extLst>
          </p:cNvPr>
          <p:cNvSpPr>
            <a:spLocks noGrp="1"/>
          </p:cNvSpPr>
          <p:nvPr>
            <p:custDataLst>
              <p:tags r:id="rId3"/>
            </p:custDataLst>
          </p:nvPr>
        </p:nvSpPr>
        <p:spPr bwMode="gray">
          <a:xfrm>
            <a:off x="7240588" y="2051050"/>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7D878C3-2547-476E-B2D4-FE4107E6FB8C}" type="datetime'''''1''''''''''''3''''''''%'''''''">
              <a:rPr lang="en-US" altLang="en-US" sz="1200" smtClean="0">
                <a:latin typeface="Calibri" panose="020F0502020204030204" pitchFamily="34" charset="0"/>
                <a:cs typeface="+mn-cs"/>
              </a:rPr>
              <a:pPr lvl="0" algn="ctr">
                <a:spcBef>
                  <a:spcPct val="0"/>
                </a:spcBef>
                <a:spcAft>
                  <a:spcPct val="0"/>
                </a:spcAft>
              </a:pPr>
              <a:t>13%</a:t>
            </a:fld>
            <a:r>
              <a:rPr lang="en-US" altLang="en-US" sz="1200" dirty="0">
                <a:effectLst/>
                <a:latin typeface="Calibri" panose="020F0502020204030204" pitchFamily="34" charset="0"/>
                <a:cs typeface="+mn-cs"/>
              </a:rPr>
              <a:t> (4)</a:t>
            </a:r>
            <a:endParaRPr lang="en-US" sz="1200" dirty="0">
              <a:latin typeface="Calibri" panose="020F0502020204030204" pitchFamily="34" charset="0"/>
              <a:cs typeface="+mn-cs"/>
            </a:endParaRPr>
          </a:p>
        </p:txBody>
      </p:sp>
      <p:sp>
        <p:nvSpPr>
          <p:cNvPr id="69" name="Text Placeholder 4">
            <a:extLst>
              <a:ext uri="{FF2B5EF4-FFF2-40B4-BE49-F238E27FC236}">
                <a16:creationId xmlns:a16="http://schemas.microsoft.com/office/drawing/2014/main" id="{1420113C-4D74-8920-62D5-BB1361F3DCC8}"/>
              </a:ext>
            </a:extLst>
          </p:cNvPr>
          <p:cNvSpPr>
            <a:spLocks noGrp="1"/>
          </p:cNvSpPr>
          <p:nvPr>
            <p:custDataLst>
              <p:tags r:id="rId4"/>
            </p:custDataLst>
          </p:nvPr>
        </p:nvSpPr>
        <p:spPr bwMode="gray">
          <a:xfrm>
            <a:off x="6211888" y="2051050"/>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BBA609-E7DE-49A8-A963-3F9050174709}" type="datetime'''''''''''''''''''20''''''''''''''''''''''''''''''''%'''''''">
              <a:rPr lang="en-US" altLang="en-US" sz="1200" smtClean="0">
                <a:solidFill>
                  <a:schemeClr val="tx2"/>
                </a:solidFill>
                <a:latin typeface="Calibri" panose="020F0502020204030204" pitchFamily="34" charset="0"/>
                <a:cs typeface="+mn-cs"/>
              </a:rPr>
              <a:pPr lvl="0" algn="ctr">
                <a:spcBef>
                  <a:spcPct val="0"/>
                </a:spcBef>
                <a:spcAft>
                  <a:spcPct val="0"/>
                </a:spcAft>
              </a:pPr>
              <a:t>20%</a:t>
            </a:fld>
            <a:r>
              <a:rPr lang="en-US" altLang="en-US" sz="1200" dirty="0">
                <a:solidFill>
                  <a:schemeClr val="tx2"/>
                </a:solidFill>
                <a:effectLst/>
                <a:latin typeface="Calibri" panose="020F0502020204030204" pitchFamily="34" charset="0"/>
                <a:cs typeface="+mn-cs"/>
              </a:rPr>
              <a:t> (6)</a:t>
            </a:r>
            <a:endParaRPr lang="en-US" sz="1200" dirty="0">
              <a:solidFill>
                <a:schemeClr val="tx2"/>
              </a:solidFill>
              <a:latin typeface="Calibri" panose="020F0502020204030204" pitchFamily="34" charset="0"/>
              <a:cs typeface="+mn-cs"/>
            </a:endParaRPr>
          </a:p>
        </p:txBody>
      </p:sp>
      <p:sp>
        <p:nvSpPr>
          <p:cNvPr id="61" name="Text Placeholder 4">
            <a:extLst>
              <a:ext uri="{FF2B5EF4-FFF2-40B4-BE49-F238E27FC236}">
                <a16:creationId xmlns:a16="http://schemas.microsoft.com/office/drawing/2014/main" id="{BC7C3AD0-2197-DC7C-79B2-B06B057C385A}"/>
              </a:ext>
            </a:extLst>
          </p:cNvPr>
          <p:cNvSpPr>
            <a:spLocks noGrp="1"/>
          </p:cNvSpPr>
          <p:nvPr>
            <p:custDataLst>
              <p:tags r:id="rId5"/>
            </p:custDataLst>
          </p:nvPr>
        </p:nvSpPr>
        <p:spPr bwMode="gray">
          <a:xfrm>
            <a:off x="3498850" y="2051050"/>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DACB78F-49B5-44B1-B43A-F0033E14C199}" type="datetime'''''''67''%'''''''''''''''''''''''''''''''''''''''''''''''''">
              <a:rPr lang="en-US" altLang="en-US" sz="1200" smtClean="0">
                <a:solidFill>
                  <a:schemeClr val="tx2"/>
                </a:solidFill>
                <a:latin typeface="Calibri" panose="020F0502020204030204" pitchFamily="34" charset="0"/>
                <a:cs typeface="+mn-cs"/>
              </a:rPr>
              <a:pPr lvl="0" algn="ctr">
                <a:spcBef>
                  <a:spcPct val="0"/>
                </a:spcBef>
                <a:spcAft>
                  <a:spcPct val="0"/>
                </a:spcAft>
              </a:pPr>
              <a:t>67%</a:t>
            </a:fld>
            <a:r>
              <a:rPr lang="en-US" altLang="en-US" sz="1200" dirty="0">
                <a:solidFill>
                  <a:schemeClr val="tx2"/>
                </a:solidFill>
                <a:effectLst/>
                <a:latin typeface="Calibri" panose="020F0502020204030204" pitchFamily="34" charset="0"/>
                <a:cs typeface="+mn-cs"/>
              </a:rPr>
              <a:t> (</a:t>
            </a:r>
            <a:r>
              <a:rPr lang="en-US" altLang="en-US" sz="1200" dirty="0">
                <a:solidFill>
                  <a:schemeClr val="tx2"/>
                </a:solidFill>
                <a:latin typeface="Calibri" panose="020F0502020204030204" pitchFamily="34" charset="0"/>
                <a:cs typeface="+mn-cs"/>
              </a:rPr>
              <a:t>20</a:t>
            </a:r>
            <a:r>
              <a:rPr lang="en-US" altLang="en-US" sz="1200" dirty="0">
                <a:solidFill>
                  <a:schemeClr val="tx2"/>
                </a:solidFill>
                <a:effectLst/>
                <a:latin typeface="Calibri" panose="020F0502020204030204" pitchFamily="34" charset="0"/>
                <a:cs typeface="+mn-cs"/>
              </a:rPr>
              <a:t>)</a:t>
            </a:r>
            <a:endParaRPr lang="en-US" sz="1200" dirty="0">
              <a:solidFill>
                <a:schemeClr val="tx2"/>
              </a:solidFill>
              <a:latin typeface="Calibri" panose="020F0502020204030204" pitchFamily="34" charset="0"/>
              <a:cs typeface="+mn-cs"/>
            </a:endParaRPr>
          </a:p>
        </p:txBody>
      </p:sp>
      <p:sp>
        <p:nvSpPr>
          <p:cNvPr id="6" name="Text Placeholder 4">
            <a:extLst>
              <a:ext uri="{FF2B5EF4-FFF2-40B4-BE49-F238E27FC236}">
                <a16:creationId xmlns:a16="http://schemas.microsoft.com/office/drawing/2014/main" id="{7681F04D-11E3-393A-F9EC-6D2B312A63C4}"/>
              </a:ext>
            </a:extLst>
          </p:cNvPr>
          <p:cNvSpPr>
            <a:spLocks noGrp="1"/>
          </p:cNvSpPr>
          <p:nvPr>
            <p:custDataLst>
              <p:tags r:id="rId6"/>
            </p:custDataLst>
          </p:nvPr>
        </p:nvSpPr>
        <p:spPr bwMode="auto">
          <a:xfrm>
            <a:off x="558800" y="1973263"/>
            <a:ext cx="108585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100" dirty="0">
                <a:effectLst/>
                <a:latin typeface="Calibri" panose="020F0502020204030204" pitchFamily="34" charset="0"/>
                <a:cs typeface="+mn-cs"/>
              </a:rPr>
              <a:t>Current VBC / APM</a:t>
            </a:r>
            <a:br>
              <a:rPr lang="en-US" altLang="en-US" sz="1100" dirty="0">
                <a:effectLst/>
                <a:latin typeface="Calibri" panose="020F0502020204030204" pitchFamily="34" charset="0"/>
                <a:cs typeface="+mn-cs"/>
              </a:rPr>
            </a:br>
            <a:r>
              <a:rPr lang="en-US" altLang="en-US" sz="1100" dirty="0">
                <a:effectLst/>
                <a:latin typeface="Calibri" panose="020F0502020204030204" pitchFamily="34" charset="0"/>
                <a:cs typeface="+mn-cs"/>
              </a:rPr>
              <a:t>participation</a:t>
            </a:r>
            <a:endParaRPr lang="en-US" sz="1100" dirty="0">
              <a:latin typeface="Calibri" panose="020F0502020204030204" pitchFamily="34" charset="0"/>
              <a:cs typeface="+mn-cs"/>
            </a:endParaRPr>
          </a:p>
        </p:txBody>
      </p:sp>
      <p:sp>
        <p:nvSpPr>
          <p:cNvPr id="21" name="Text Placeholder 4">
            <a:extLst>
              <a:ext uri="{FF2B5EF4-FFF2-40B4-BE49-F238E27FC236}">
                <a16:creationId xmlns:a16="http://schemas.microsoft.com/office/drawing/2014/main" id="{E728CAF9-0D9B-96A4-00EA-EE8B1B15AAF7}"/>
              </a:ext>
            </a:extLst>
          </p:cNvPr>
          <p:cNvSpPr>
            <a:spLocks noGrp="1"/>
          </p:cNvSpPr>
          <p:nvPr>
            <p:custDataLst>
              <p:tags r:id="rId7"/>
            </p:custDataLst>
          </p:nvPr>
        </p:nvSpPr>
        <p:spPr bwMode="auto">
          <a:xfrm>
            <a:off x="7232650" y="1695450"/>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2A1FC3-7F70-4744-AA98-26C59375A375}" type="datetime'''''Not ''''''''''''s''u''''''''''''''''re'''''''''''''''''''">
              <a:rPr lang="en-US" altLang="en-US" sz="1200" smtClean="0">
                <a:latin typeface="Calibri" panose="020F0502020204030204" pitchFamily="34" charset="0"/>
                <a:cs typeface="+mn-cs"/>
              </a:rPr>
              <a:pPr lvl="0" algn="ctr">
                <a:spcBef>
                  <a:spcPct val="0"/>
                </a:spcBef>
                <a:spcAft>
                  <a:spcPct val="0"/>
                </a:spcAft>
              </a:pPr>
              <a:t>Not sure</a:t>
            </a:fld>
            <a:endParaRPr lang="en-US" sz="1200" dirty="0">
              <a:latin typeface="Calibri" panose="020F0502020204030204" pitchFamily="34" charset="0"/>
              <a:cs typeface="+mn-cs"/>
            </a:endParaRPr>
          </a:p>
        </p:txBody>
      </p:sp>
      <p:sp>
        <p:nvSpPr>
          <p:cNvPr id="22" name="Text Placeholder 4">
            <a:extLst>
              <a:ext uri="{FF2B5EF4-FFF2-40B4-BE49-F238E27FC236}">
                <a16:creationId xmlns:a16="http://schemas.microsoft.com/office/drawing/2014/main" id="{639F4BCE-18CE-7078-43CE-546791CE56CA}"/>
              </a:ext>
            </a:extLst>
          </p:cNvPr>
          <p:cNvSpPr>
            <a:spLocks noGrp="1"/>
          </p:cNvSpPr>
          <p:nvPr>
            <p:custDataLst>
              <p:tags r:id="rId8"/>
            </p:custDataLst>
          </p:nvPr>
        </p:nvSpPr>
        <p:spPr bwMode="auto">
          <a:xfrm>
            <a:off x="6380163" y="1695450"/>
            <a:ext cx="179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EEE7CC-7EB0-419A-A9B2-69B6DB329510}" type="datetime'N''''''''''''o'''''''''''''''''''''''''''''''''''''">
              <a:rPr lang="en-US" altLang="en-US" sz="1200" smtClean="0">
                <a:latin typeface="Calibri" panose="020F0502020204030204" pitchFamily="34" charset="0"/>
                <a:cs typeface="+mn-cs"/>
              </a:rPr>
              <a:pPr lvl="0" algn="ctr">
                <a:spcBef>
                  <a:spcPct val="0"/>
                </a:spcBef>
                <a:spcAft>
                  <a:spcPct val="0"/>
                </a:spcAft>
              </a:pPr>
              <a:t>No</a:t>
            </a:fld>
            <a:endParaRPr lang="en-US" sz="1200" dirty="0">
              <a:latin typeface="Calibri" panose="020F0502020204030204" pitchFamily="34" charset="0"/>
              <a:cs typeface="+mn-cs"/>
            </a:endParaRPr>
          </a:p>
        </p:txBody>
      </p:sp>
      <p:sp>
        <p:nvSpPr>
          <p:cNvPr id="12" name="Text Placeholder 4">
            <a:extLst>
              <a:ext uri="{FF2B5EF4-FFF2-40B4-BE49-F238E27FC236}">
                <a16:creationId xmlns:a16="http://schemas.microsoft.com/office/drawing/2014/main" id="{5CEF0EF6-B61F-68B2-2930-C3F98F1CB22A}"/>
              </a:ext>
            </a:extLst>
          </p:cNvPr>
          <p:cNvSpPr>
            <a:spLocks noGrp="1"/>
          </p:cNvSpPr>
          <p:nvPr>
            <p:custDataLst>
              <p:tags r:id="rId9"/>
            </p:custDataLst>
          </p:nvPr>
        </p:nvSpPr>
        <p:spPr bwMode="auto">
          <a:xfrm>
            <a:off x="3694113" y="1695450"/>
            <a:ext cx="200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332151-91CF-47C6-B912-1E665B090907}" type="datetime'''''''''''''''Y''''e''''''''''s'''''''''''''''''''''''''''''''">
              <a:rPr lang="en-US" altLang="en-US" sz="1200" smtClean="0">
                <a:latin typeface="Calibri" panose="020F0502020204030204" pitchFamily="34" charset="0"/>
                <a:cs typeface="+mn-cs"/>
              </a:rPr>
              <a:pPr lvl="0" algn="ctr">
                <a:spcBef>
                  <a:spcPct val="0"/>
                </a:spcBef>
                <a:spcAft>
                  <a:spcPct val="0"/>
                </a:spcAft>
              </a:pPr>
              <a:t>Yes</a:t>
            </a:fld>
            <a:endParaRPr lang="en-US" sz="1200" dirty="0">
              <a:latin typeface="Calibri" panose="020F0502020204030204" pitchFamily="34" charset="0"/>
              <a:cs typeface="+mn-cs"/>
            </a:endParaRPr>
          </a:p>
        </p:txBody>
      </p:sp>
      <p:sp>
        <p:nvSpPr>
          <p:cNvPr id="13" name="Text Placeholder 4">
            <a:extLst>
              <a:ext uri="{FF2B5EF4-FFF2-40B4-BE49-F238E27FC236}">
                <a16:creationId xmlns:a16="http://schemas.microsoft.com/office/drawing/2014/main" id="{7D78BC17-E785-4059-FD61-6557194C13E6}"/>
              </a:ext>
            </a:extLst>
          </p:cNvPr>
          <p:cNvSpPr>
            <a:spLocks noGrp="1"/>
          </p:cNvSpPr>
          <p:nvPr>
            <p:custDataLst>
              <p:tags r:id="rId10"/>
            </p:custDataLst>
          </p:nvPr>
        </p:nvSpPr>
        <p:spPr bwMode="auto">
          <a:xfrm>
            <a:off x="7935913" y="1817688"/>
            <a:ext cx="454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1D2DD4A-8829-442F-AE82-36D7B7F4ABFC}" type="datetime'1''''''''''''0''''0''%'''''''''' ''''''''''''''='">
              <a:rPr lang="en-US" altLang="en-US" sz="1200" smtClean="0">
                <a:latin typeface="Calibri" panose="020F0502020204030204" pitchFamily="34" charset="0"/>
                <a:cs typeface="+mn-cs"/>
              </a:rPr>
              <a:pPr lvl="0">
                <a:spcBef>
                  <a:spcPct val="0"/>
                </a:spcBef>
                <a:spcAft>
                  <a:spcPct val="0"/>
                </a:spcAft>
              </a:pPr>
              <a:t>100% =</a:t>
            </a:fld>
            <a:endParaRPr lang="en-US" sz="1200" dirty="0">
              <a:latin typeface="Calibri" panose="020F0502020204030204" pitchFamily="34" charset="0"/>
              <a:cs typeface="+mn-cs"/>
            </a:endParaRPr>
          </a:p>
        </p:txBody>
      </p:sp>
      <p:sp>
        <p:nvSpPr>
          <p:cNvPr id="14" name="Text Placeholder 4">
            <a:extLst>
              <a:ext uri="{FF2B5EF4-FFF2-40B4-BE49-F238E27FC236}">
                <a16:creationId xmlns:a16="http://schemas.microsoft.com/office/drawing/2014/main" id="{4980ECE4-D341-9088-CC50-9CEF1FDD800C}"/>
              </a:ext>
            </a:extLst>
          </p:cNvPr>
          <p:cNvSpPr>
            <a:spLocks noGrp="1"/>
          </p:cNvSpPr>
          <p:nvPr>
            <p:custDataLst>
              <p:tags r:id="rId11"/>
            </p:custDataLst>
          </p:nvPr>
        </p:nvSpPr>
        <p:spPr bwMode="gray">
          <a:xfrm>
            <a:off x="7935913" y="2051050"/>
            <a:ext cx="200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4A1FBDD-D9B0-42EE-8383-9769923C58E6}" type="datetime'3''''''''''''''''''0'''''''''''''''''''''''''''''''''''''''''">
              <a:rPr lang="en-US" altLang="en-US" sz="1200" smtClean="0">
                <a:latin typeface="Calibri" panose="020F0502020204030204" pitchFamily="34" charset="0"/>
                <a:cs typeface="+mn-cs"/>
              </a:rPr>
              <a:pPr lvl="0">
                <a:spcBef>
                  <a:spcPct val="0"/>
                </a:spcBef>
                <a:spcAft>
                  <a:spcPct val="0"/>
                </a:spcAft>
              </a:pPr>
              <a:t>30</a:t>
            </a:fld>
            <a:endParaRPr lang="en-US" sz="1200" dirty="0">
              <a:latin typeface="Calibri" panose="020F0502020204030204" pitchFamily="34" charset="0"/>
              <a:cs typeface="+mn-cs"/>
            </a:endParaRPr>
          </a:p>
        </p:txBody>
      </p:sp>
      <p:sp>
        <p:nvSpPr>
          <p:cNvPr id="84" name="ACET">
            <a:extLst>
              <a:ext uri="{FF2B5EF4-FFF2-40B4-BE49-F238E27FC236}">
                <a16:creationId xmlns:a16="http://schemas.microsoft.com/office/drawing/2014/main" id="{C55632E3-6FE7-0AE2-6DAA-FC7ECC479149}"/>
              </a:ext>
            </a:extLst>
          </p:cNvPr>
          <p:cNvSpPr txBox="1">
            <a:spLocks/>
          </p:cNvSpPr>
          <p:nvPr>
            <p:custDataLst>
              <p:tags r:id="rId12"/>
            </p:custDataLst>
          </p:nvPr>
        </p:nvSpPr>
        <p:spPr>
          <a:xfrm>
            <a:off x="520231" y="1381804"/>
            <a:ext cx="7953209" cy="184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200" b="1" dirty="0">
                <a:latin typeface="Calibri" panose="020F0502020204030204" pitchFamily="34" charset="0"/>
              </a:rPr>
              <a:t>Current VBC / APM participation</a:t>
            </a:r>
            <a:r>
              <a:rPr lang="en-US" sz="1200" b="1" baseline="30000" dirty="0">
                <a:latin typeface="Calibri" panose="020F0502020204030204" pitchFamily="34" charset="0"/>
              </a:rPr>
              <a:t>1</a:t>
            </a:r>
            <a:r>
              <a:rPr lang="en-US" sz="1200" b="1" dirty="0">
                <a:latin typeface="Calibri" panose="020F0502020204030204" pitchFamily="34" charset="0"/>
              </a:rPr>
              <a:t>, % of responses </a:t>
            </a:r>
          </a:p>
        </p:txBody>
      </p:sp>
      <p:cxnSp>
        <p:nvCxnSpPr>
          <p:cNvPr id="85" name="Straight Connector 84">
            <a:extLst>
              <a:ext uri="{FF2B5EF4-FFF2-40B4-BE49-F238E27FC236}">
                <a16:creationId xmlns:a16="http://schemas.microsoft.com/office/drawing/2014/main" id="{6AD51E2A-CA77-559A-50B8-DDEDF30BDCA9}"/>
              </a:ext>
            </a:extLst>
          </p:cNvPr>
          <p:cNvCxnSpPr>
            <a:cxnSpLocks/>
          </p:cNvCxnSpPr>
          <p:nvPr/>
        </p:nvCxnSpPr>
        <p:spPr>
          <a:xfrm>
            <a:off x="520231" y="1631950"/>
            <a:ext cx="795320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7" name="Chart 26">
            <a:extLst>
              <a:ext uri="{FF2B5EF4-FFF2-40B4-BE49-F238E27FC236}">
                <a16:creationId xmlns:a16="http://schemas.microsoft.com/office/drawing/2014/main" id="{FF20D310-F23B-5875-B2F5-0904BEC015DB}"/>
              </a:ext>
            </a:extLst>
          </p:cNvPr>
          <p:cNvGraphicFramePr/>
          <p:nvPr>
            <p:custDataLst>
              <p:tags r:id="rId13"/>
            </p:custDataLst>
          </p:nvPr>
        </p:nvGraphicFramePr>
        <p:xfrm>
          <a:off x="7085013" y="2952750"/>
          <a:ext cx="1077912" cy="2933700"/>
        </p:xfrm>
        <a:graphic>
          <a:graphicData uri="http://schemas.openxmlformats.org/drawingml/2006/chart">
            <c:chart xmlns:c="http://schemas.openxmlformats.org/drawingml/2006/chart" xmlns:r="http://schemas.openxmlformats.org/officeDocument/2006/relationships" r:id="rId54"/>
          </a:graphicData>
        </a:graphic>
      </p:graphicFrame>
      <p:sp>
        <p:nvSpPr>
          <p:cNvPr id="96" name="Text Placeholder 4">
            <a:extLst>
              <a:ext uri="{FF2B5EF4-FFF2-40B4-BE49-F238E27FC236}">
                <a16:creationId xmlns:a16="http://schemas.microsoft.com/office/drawing/2014/main" id="{69B67B4F-534B-1A9F-CBE5-C6C46FD3D0B6}"/>
              </a:ext>
            </a:extLst>
          </p:cNvPr>
          <p:cNvSpPr>
            <a:spLocks noGrp="1"/>
          </p:cNvSpPr>
          <p:nvPr>
            <p:custDataLst>
              <p:tags r:id="rId14"/>
            </p:custDataLst>
          </p:nvPr>
        </p:nvSpPr>
        <p:spPr bwMode="auto">
          <a:xfrm>
            <a:off x="4467225" y="3148013"/>
            <a:ext cx="4873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953483-85E7-4B67-96B6-BCAFB88F81A5}" type="datetime'N''''''''''''''o''t'' ''''''s''''''''''''''u''re'''">
              <a:rPr lang="en-US" altLang="en-US" sz="1050" smtClean="0">
                <a:latin typeface="Calibri" panose="020F0502020204030204" pitchFamily="34" charset="0"/>
                <a:cs typeface="+mn-cs"/>
              </a:rPr>
              <a:pPr lvl="0">
                <a:spcBef>
                  <a:spcPct val="0"/>
                </a:spcBef>
                <a:spcAft>
                  <a:spcPct val="0"/>
                </a:spcAft>
              </a:pPr>
              <a:t>Not sure</a:t>
            </a:fld>
            <a:endParaRPr lang="en-US" sz="1050" dirty="0">
              <a:latin typeface="Calibri" panose="020F0502020204030204" pitchFamily="34" charset="0"/>
              <a:cs typeface="+mn-cs"/>
            </a:endParaRPr>
          </a:p>
        </p:txBody>
      </p:sp>
      <p:sp>
        <p:nvSpPr>
          <p:cNvPr id="98" name="Text Placeholder 4">
            <a:extLst>
              <a:ext uri="{FF2B5EF4-FFF2-40B4-BE49-F238E27FC236}">
                <a16:creationId xmlns:a16="http://schemas.microsoft.com/office/drawing/2014/main" id="{5AD03948-A956-F827-E059-0BCA363FE965}"/>
              </a:ext>
            </a:extLst>
          </p:cNvPr>
          <p:cNvSpPr>
            <a:spLocks noGrp="1"/>
          </p:cNvSpPr>
          <p:nvPr>
            <p:custDataLst>
              <p:tags r:id="rId15"/>
            </p:custDataLst>
          </p:nvPr>
        </p:nvSpPr>
        <p:spPr bwMode="auto">
          <a:xfrm>
            <a:off x="4467225" y="3459163"/>
            <a:ext cx="20939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050" dirty="0">
                <a:latin typeface="Calibri" panose="020F0502020204030204" pitchFamily="34" charset="0"/>
                <a:cs typeface="+mn-cs"/>
              </a:rPr>
              <a:t>Ready for upside-only shared savings</a:t>
            </a:r>
            <a:br>
              <a:rPr lang="en-US" altLang="en-US" sz="1050" dirty="0">
                <a:latin typeface="Calibri" panose="020F0502020204030204" pitchFamily="34" charset="0"/>
                <a:cs typeface="+mn-cs"/>
              </a:rPr>
            </a:br>
            <a:r>
              <a:rPr lang="en-US" altLang="en-US" sz="1050" dirty="0">
                <a:latin typeface="Calibri" panose="020F0502020204030204" pitchFamily="34" charset="0"/>
                <a:cs typeface="+mn-cs"/>
              </a:rPr>
              <a:t>with support</a:t>
            </a:r>
            <a:endParaRPr lang="en-US" sz="1050" dirty="0">
              <a:latin typeface="Calibri" panose="020F0502020204030204" pitchFamily="34" charset="0"/>
              <a:cs typeface="+mn-cs"/>
            </a:endParaRPr>
          </a:p>
        </p:txBody>
      </p:sp>
      <p:sp>
        <p:nvSpPr>
          <p:cNvPr id="99" name="Text Placeholder 4">
            <a:extLst>
              <a:ext uri="{FF2B5EF4-FFF2-40B4-BE49-F238E27FC236}">
                <a16:creationId xmlns:a16="http://schemas.microsoft.com/office/drawing/2014/main" id="{FCC2A36F-AF27-735D-55AC-A3D994F678C5}"/>
              </a:ext>
            </a:extLst>
          </p:cNvPr>
          <p:cNvSpPr>
            <a:spLocks noGrp="1"/>
          </p:cNvSpPr>
          <p:nvPr>
            <p:custDataLst>
              <p:tags r:id="rId16"/>
            </p:custDataLst>
          </p:nvPr>
        </p:nvSpPr>
        <p:spPr bwMode="auto">
          <a:xfrm>
            <a:off x="4467225" y="3938588"/>
            <a:ext cx="2608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640F353-F66C-489B-B4B8-A7441F73EAAA}" type="datetime'Ready'' for pay-for''-perf''orm''''anc''e or PMP''''M only'''">
              <a:rPr lang="en-US" altLang="en-US" sz="1050" smtClean="0">
                <a:latin typeface="Calibri" panose="020F0502020204030204" pitchFamily="34" charset="0"/>
                <a:cs typeface="+mn-cs"/>
              </a:rPr>
              <a:pPr lvl="0">
                <a:spcBef>
                  <a:spcPct val="0"/>
                </a:spcBef>
                <a:spcAft>
                  <a:spcPct val="0"/>
                </a:spcAft>
              </a:pPr>
              <a:t>Ready for pay-for-performance or PMPM only</a:t>
            </a:fld>
            <a:endParaRPr lang="en-US" sz="1050" dirty="0">
              <a:latin typeface="Calibri" panose="020F0502020204030204" pitchFamily="34" charset="0"/>
              <a:cs typeface="+mn-cs"/>
            </a:endParaRPr>
          </a:p>
        </p:txBody>
      </p:sp>
      <p:sp>
        <p:nvSpPr>
          <p:cNvPr id="110" name="Text Placeholder 4">
            <a:extLst>
              <a:ext uri="{FF2B5EF4-FFF2-40B4-BE49-F238E27FC236}">
                <a16:creationId xmlns:a16="http://schemas.microsoft.com/office/drawing/2014/main" id="{7DA0B7E4-5919-26C0-7D6F-84CFA4CBB8D2}"/>
              </a:ext>
            </a:extLst>
          </p:cNvPr>
          <p:cNvSpPr>
            <a:spLocks noGrp="1"/>
          </p:cNvSpPr>
          <p:nvPr>
            <p:custDataLst>
              <p:tags r:id="rId17"/>
            </p:custDataLst>
          </p:nvPr>
        </p:nvSpPr>
        <p:spPr bwMode="auto">
          <a:xfrm>
            <a:off x="4467225" y="4333875"/>
            <a:ext cx="24479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63CA219-5943-4566-9B95-70471819E36E}" type="datetime'''Ready for upside''-''''o''nly share''d ''''sa''vings today'">
              <a:rPr lang="en-US" altLang="en-US" sz="1050" smtClean="0">
                <a:latin typeface="Calibri" panose="020F0502020204030204" pitchFamily="34" charset="0"/>
                <a:cs typeface="+mn-cs"/>
              </a:rPr>
              <a:pPr lvl="0">
                <a:spcBef>
                  <a:spcPct val="0"/>
                </a:spcBef>
                <a:spcAft>
                  <a:spcPct val="0"/>
                </a:spcAft>
              </a:pPr>
              <a:t>Ready for upside-only shared savings today</a:t>
            </a:fld>
            <a:endParaRPr lang="en-US" sz="1050" dirty="0">
              <a:latin typeface="Calibri" panose="020F0502020204030204" pitchFamily="34" charset="0"/>
              <a:cs typeface="+mn-cs"/>
            </a:endParaRPr>
          </a:p>
        </p:txBody>
      </p:sp>
      <p:sp>
        <p:nvSpPr>
          <p:cNvPr id="111" name="Text Placeholder 4">
            <a:extLst>
              <a:ext uri="{FF2B5EF4-FFF2-40B4-BE49-F238E27FC236}">
                <a16:creationId xmlns:a16="http://schemas.microsoft.com/office/drawing/2014/main" id="{77DCAE16-3AA6-817E-7574-4777CA0C90A1}"/>
              </a:ext>
            </a:extLst>
          </p:cNvPr>
          <p:cNvSpPr>
            <a:spLocks noGrp="1"/>
          </p:cNvSpPr>
          <p:nvPr>
            <p:custDataLst>
              <p:tags r:id="rId18"/>
            </p:custDataLst>
          </p:nvPr>
        </p:nvSpPr>
        <p:spPr bwMode="auto">
          <a:xfrm>
            <a:off x="4467225" y="4730750"/>
            <a:ext cx="18684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07F344E-9965-4564-B04B-761D48AA11D7}" type="datetime'N''ot'' r''e''''''ady wit''hi''n ''''''next ''1''2 months'">
              <a:rPr lang="en-US" altLang="en-US" sz="1050" smtClean="0">
                <a:latin typeface="Calibri" panose="020F0502020204030204" pitchFamily="34" charset="0"/>
                <a:cs typeface="+mn-cs"/>
              </a:rPr>
              <a:pPr lvl="0">
                <a:spcBef>
                  <a:spcPct val="0"/>
                </a:spcBef>
                <a:spcAft>
                  <a:spcPct val="0"/>
                </a:spcAft>
              </a:pPr>
              <a:t>Not ready within next 12 months</a:t>
            </a:fld>
            <a:endParaRPr lang="en-US" sz="1050" dirty="0">
              <a:latin typeface="Calibri" panose="020F0502020204030204" pitchFamily="34" charset="0"/>
              <a:cs typeface="+mn-cs"/>
            </a:endParaRPr>
          </a:p>
        </p:txBody>
      </p:sp>
      <p:sp>
        <p:nvSpPr>
          <p:cNvPr id="112" name="Text Placeholder 4">
            <a:extLst>
              <a:ext uri="{FF2B5EF4-FFF2-40B4-BE49-F238E27FC236}">
                <a16:creationId xmlns:a16="http://schemas.microsoft.com/office/drawing/2014/main" id="{1C307946-A3C5-46F9-47DD-453706E06BBB}"/>
              </a:ext>
            </a:extLst>
          </p:cNvPr>
          <p:cNvSpPr>
            <a:spLocks noGrp="1"/>
          </p:cNvSpPr>
          <p:nvPr>
            <p:custDataLst>
              <p:tags r:id="rId19"/>
            </p:custDataLst>
          </p:nvPr>
        </p:nvSpPr>
        <p:spPr bwMode="auto">
          <a:xfrm>
            <a:off x="4467225" y="5126038"/>
            <a:ext cx="21272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E067C5-539C-4069-9723-302C73BA5AB3}" type="datetime'Ready'' fo''r ''t''wo''-''s''ided'' r''isk with'' ''suppo''rt'">
              <a:rPr lang="en-US" altLang="en-US" sz="1050" smtClean="0">
                <a:latin typeface="Calibri" panose="020F0502020204030204" pitchFamily="34" charset="0"/>
                <a:cs typeface="+mn-cs"/>
              </a:rPr>
              <a:pPr lvl="0">
                <a:spcBef>
                  <a:spcPct val="0"/>
                </a:spcBef>
                <a:spcAft>
                  <a:spcPct val="0"/>
                </a:spcAft>
              </a:pPr>
              <a:t>Ready for two-sided risk with support</a:t>
            </a:fld>
            <a:endParaRPr lang="en-US" sz="1050" dirty="0">
              <a:latin typeface="Calibri" panose="020F0502020204030204" pitchFamily="34" charset="0"/>
              <a:cs typeface="+mn-cs"/>
            </a:endParaRPr>
          </a:p>
        </p:txBody>
      </p:sp>
      <p:sp>
        <p:nvSpPr>
          <p:cNvPr id="113" name="Text Placeholder 4">
            <a:extLst>
              <a:ext uri="{FF2B5EF4-FFF2-40B4-BE49-F238E27FC236}">
                <a16:creationId xmlns:a16="http://schemas.microsoft.com/office/drawing/2014/main" id="{7E3D8193-F6F4-A7C2-97DC-79A46D9652B6}"/>
              </a:ext>
            </a:extLst>
          </p:cNvPr>
          <p:cNvSpPr>
            <a:spLocks noGrp="1"/>
          </p:cNvSpPr>
          <p:nvPr>
            <p:custDataLst>
              <p:tags r:id="rId20"/>
            </p:custDataLst>
          </p:nvPr>
        </p:nvSpPr>
        <p:spPr bwMode="auto">
          <a:xfrm>
            <a:off x="4467225" y="5521325"/>
            <a:ext cx="17256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407EAAB-0E6C-42C0-B607-DC2F89ED7C16}" type="datetime'Read''''y'' f''or'''' two''-s''''''i''ded'' ''''risk toda''y'">
              <a:rPr lang="en-US" altLang="en-US" sz="1050" smtClean="0">
                <a:latin typeface="Calibri" panose="020F0502020204030204" pitchFamily="34" charset="0"/>
                <a:cs typeface="+mn-cs"/>
              </a:rPr>
              <a:pPr lvl="0">
                <a:spcBef>
                  <a:spcPct val="0"/>
                </a:spcBef>
                <a:spcAft>
                  <a:spcPct val="0"/>
                </a:spcAft>
              </a:pPr>
              <a:t>Ready for two-sided risk today</a:t>
            </a:fld>
            <a:endParaRPr lang="en-US" sz="1050" dirty="0">
              <a:latin typeface="Calibri" panose="020F0502020204030204" pitchFamily="34" charset="0"/>
              <a:cs typeface="+mn-cs"/>
            </a:endParaRPr>
          </a:p>
        </p:txBody>
      </p:sp>
      <p:sp>
        <p:nvSpPr>
          <p:cNvPr id="156" name="Text Placeholder 4">
            <a:extLst>
              <a:ext uri="{FF2B5EF4-FFF2-40B4-BE49-F238E27FC236}">
                <a16:creationId xmlns:a16="http://schemas.microsoft.com/office/drawing/2014/main" id="{155B12D4-1C42-0C95-4733-11716C1D89BC}"/>
              </a:ext>
            </a:extLst>
          </p:cNvPr>
          <p:cNvSpPr>
            <a:spLocks noGrp="1"/>
          </p:cNvSpPr>
          <p:nvPr>
            <p:custDataLst>
              <p:tags r:id="rId21"/>
            </p:custDataLst>
          </p:nvPr>
        </p:nvSpPr>
        <p:spPr bwMode="gray">
          <a:xfrm>
            <a:off x="8105775" y="3148013"/>
            <a:ext cx="5445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C3ECEE-B701-4EBF-9CA8-2ED0E50BAEDE}" type="datetime'''''''''''''3''''3''%'''''''''''''''">
              <a:rPr lang="en-US" altLang="en-US" sz="1050" smtClean="0">
                <a:latin typeface="Calibri" panose="020F0502020204030204" pitchFamily="34" charset="0"/>
                <a:cs typeface="+mn-cs"/>
              </a:rPr>
              <a:pPr lvl="0">
                <a:spcBef>
                  <a:spcPct val="0"/>
                </a:spcBef>
                <a:spcAft>
                  <a:spcPct val="0"/>
                </a:spcAft>
              </a:pPr>
              <a:t>33%</a:t>
            </a:fld>
            <a:r>
              <a:rPr lang="en-US" altLang="en-US" sz="1050" dirty="0">
                <a:latin typeface="Calibri" panose="020F0502020204030204" pitchFamily="34" charset="0"/>
                <a:cs typeface="+mn-cs"/>
              </a:rPr>
              <a:t> (</a:t>
            </a:r>
            <a:fld id="{F58FB015-6939-481D-852E-5123DCA7A8C0}" type="datetime'''''''''''''''''''''''''1''''''''''''''''''0'''''''''''''''">
              <a:rPr lang="en-US" altLang="en-US" sz="1050" smtClean="0">
                <a:latin typeface="Calibri" panose="020F0502020204030204" pitchFamily="34" charset="0"/>
                <a:cs typeface="+mn-cs"/>
              </a:rPr>
              <a:pPr lvl="0">
                <a:spcBef>
                  <a:spcPct val="0"/>
                </a:spcBef>
                <a:spcAft>
                  <a:spcPct val="0"/>
                </a:spcAft>
              </a:pPr>
              <a:t>10</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47" name="Text Placeholder 4">
            <a:extLst>
              <a:ext uri="{FF2B5EF4-FFF2-40B4-BE49-F238E27FC236}">
                <a16:creationId xmlns:a16="http://schemas.microsoft.com/office/drawing/2014/main" id="{1EC4463C-2FEC-A571-F63B-AF919B0C26B8}"/>
              </a:ext>
            </a:extLst>
          </p:cNvPr>
          <p:cNvSpPr>
            <a:spLocks noGrp="1"/>
          </p:cNvSpPr>
          <p:nvPr>
            <p:custDataLst>
              <p:tags r:id="rId22"/>
            </p:custDataLst>
          </p:nvPr>
        </p:nvSpPr>
        <p:spPr bwMode="gray">
          <a:xfrm>
            <a:off x="7740650" y="3543300"/>
            <a:ext cx="4730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6E059AF-D86B-4E8E-923D-39DC29AE911C}" type="datetime'''''''''''''''''''''2''''''''''''''0''''''''''''''%'''''''''">
              <a:rPr lang="en-US" altLang="en-US" sz="1050" smtClean="0">
                <a:latin typeface="Calibri" panose="020F0502020204030204" pitchFamily="34" charset="0"/>
                <a:cs typeface="+mn-cs"/>
              </a:rPr>
              <a:pPr lvl="0">
                <a:spcBef>
                  <a:spcPct val="0"/>
                </a:spcBef>
                <a:spcAft>
                  <a:spcPct val="0"/>
                </a:spcAft>
              </a:pPr>
              <a:t>20%</a:t>
            </a:fld>
            <a:r>
              <a:rPr lang="en-US" altLang="en-US" sz="1050" dirty="0">
                <a:latin typeface="Calibri" panose="020F0502020204030204" pitchFamily="34" charset="0"/>
                <a:cs typeface="+mn-cs"/>
              </a:rPr>
              <a:t> (</a:t>
            </a:r>
            <a:fld id="{27E1675F-2922-4377-939A-6A4AB00621B3}" type="datetime'''''''''''''''''''''''''''''''6'''''''''">
              <a:rPr lang="en-US" altLang="en-US" sz="1050" smtClean="0">
                <a:latin typeface="Calibri" panose="020F0502020204030204" pitchFamily="34" charset="0"/>
                <a:cs typeface="+mn-cs"/>
              </a:rPr>
              <a:pPr lvl="0">
                <a:spcBef>
                  <a:spcPct val="0"/>
                </a:spcBef>
                <a:spcAft>
                  <a:spcPct val="0"/>
                </a:spcAft>
              </a:pPr>
              <a:t>6</a:t>
            </a:fld>
            <a:r>
              <a:rPr lang="en-US" sz="1050" dirty="0">
                <a:latin typeface="Calibri" panose="020F0502020204030204" pitchFamily="34" charset="0"/>
                <a:cs typeface="+mn-cs"/>
              </a:rPr>
              <a:t>)</a:t>
            </a:r>
          </a:p>
        </p:txBody>
      </p:sp>
      <p:sp>
        <p:nvSpPr>
          <p:cNvPr id="158" name="Text Placeholder 4">
            <a:extLst>
              <a:ext uri="{FF2B5EF4-FFF2-40B4-BE49-F238E27FC236}">
                <a16:creationId xmlns:a16="http://schemas.microsoft.com/office/drawing/2014/main" id="{0DFABD04-8E05-E13E-1AE9-8AFE6F3F66DC}"/>
              </a:ext>
            </a:extLst>
          </p:cNvPr>
          <p:cNvSpPr>
            <a:spLocks noGrp="1"/>
          </p:cNvSpPr>
          <p:nvPr>
            <p:custDataLst>
              <p:tags r:id="rId23"/>
            </p:custDataLst>
          </p:nvPr>
        </p:nvSpPr>
        <p:spPr bwMode="gray">
          <a:xfrm>
            <a:off x="7650163" y="3938588"/>
            <a:ext cx="4730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24E52E9-A3CC-4A06-95FB-F3BF7FDCC14D}" type="datetime'''''''1''''''''''''''''''''7''''''''%'''''">
              <a:rPr lang="en-US" altLang="en-US" sz="1050" smtClean="0">
                <a:latin typeface="Calibri" panose="020F0502020204030204" pitchFamily="34" charset="0"/>
                <a:cs typeface="+mn-cs"/>
              </a:rPr>
              <a:pPr lvl="0">
                <a:spcBef>
                  <a:spcPct val="0"/>
                </a:spcBef>
                <a:spcAft>
                  <a:spcPct val="0"/>
                </a:spcAft>
              </a:pPr>
              <a:t>17%</a:t>
            </a:fld>
            <a:r>
              <a:rPr lang="en-US" altLang="en-US" sz="1050" dirty="0">
                <a:latin typeface="Calibri" panose="020F0502020204030204" pitchFamily="34" charset="0"/>
                <a:cs typeface="+mn-cs"/>
              </a:rPr>
              <a:t> (</a:t>
            </a:r>
            <a:fld id="{DC294C13-0C77-4ACC-9FAF-AD6984E66793}" type="datetime'''''''''''''''''''''''''''''''''''''''''5'''''''''''''''''''">
              <a:rPr lang="en-US" altLang="en-US" sz="1050" smtClean="0">
                <a:latin typeface="Calibri" panose="020F0502020204030204" pitchFamily="34" charset="0"/>
                <a:cs typeface="+mn-cs"/>
              </a:rPr>
              <a:pPr lvl="0">
                <a:spcBef>
                  <a:spcPct val="0"/>
                </a:spcBef>
                <a:spcAft>
                  <a:spcPct val="0"/>
                </a:spcAft>
              </a:pPr>
              <a:t>5</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159" name="Text Placeholder 4">
            <a:extLst>
              <a:ext uri="{FF2B5EF4-FFF2-40B4-BE49-F238E27FC236}">
                <a16:creationId xmlns:a16="http://schemas.microsoft.com/office/drawing/2014/main" id="{E590D290-FD17-E23C-106C-B552692185E3}"/>
              </a:ext>
            </a:extLst>
          </p:cNvPr>
          <p:cNvSpPr>
            <a:spLocks noGrp="1"/>
          </p:cNvSpPr>
          <p:nvPr>
            <p:custDataLst>
              <p:tags r:id="rId24"/>
            </p:custDataLst>
          </p:nvPr>
        </p:nvSpPr>
        <p:spPr bwMode="gray">
          <a:xfrm>
            <a:off x="7467600" y="4333875"/>
            <a:ext cx="4730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4A6E890-9724-41E5-B8DD-2C1B847D1479}" type="datetime'1''0''''''''''''''''%'''''''''''''''''''''''''''''''''''''''">
              <a:rPr lang="en-US" altLang="en-US" sz="1050" smtClean="0">
                <a:latin typeface="Calibri" panose="020F0502020204030204" pitchFamily="34" charset="0"/>
                <a:cs typeface="+mn-cs"/>
              </a:rPr>
              <a:pPr lvl="0">
                <a:spcBef>
                  <a:spcPct val="0"/>
                </a:spcBef>
                <a:spcAft>
                  <a:spcPct val="0"/>
                </a:spcAft>
              </a:pPr>
              <a:t>10%</a:t>
            </a:fld>
            <a:r>
              <a:rPr lang="en-US" altLang="en-US" sz="1050" dirty="0">
                <a:latin typeface="Calibri" panose="020F0502020204030204" pitchFamily="34" charset="0"/>
                <a:cs typeface="+mn-cs"/>
              </a:rPr>
              <a:t> (</a:t>
            </a:r>
            <a:fld id="{41231993-FE35-4229-B3B8-0D8E8487CA08}" type="datetime'3'''''''''''''''''''''''''''''''''''''''''''''''''''''''''''''">
              <a:rPr lang="en-US" altLang="en-US" sz="1050" smtClean="0">
                <a:latin typeface="Calibri" panose="020F0502020204030204" pitchFamily="34" charset="0"/>
                <a:cs typeface="+mn-cs"/>
              </a:rPr>
              <a:pPr lvl="0">
                <a:spcBef>
                  <a:spcPct val="0"/>
                </a:spcBef>
                <a:spcAft>
                  <a:spcPct val="0"/>
                </a:spcAft>
              </a:pPr>
              <a:t>3</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160" name="Text Placeholder 4">
            <a:extLst>
              <a:ext uri="{FF2B5EF4-FFF2-40B4-BE49-F238E27FC236}">
                <a16:creationId xmlns:a16="http://schemas.microsoft.com/office/drawing/2014/main" id="{94424372-0637-03F8-FD63-375DCCB409A5}"/>
              </a:ext>
            </a:extLst>
          </p:cNvPr>
          <p:cNvSpPr>
            <a:spLocks noGrp="1"/>
          </p:cNvSpPr>
          <p:nvPr>
            <p:custDataLst>
              <p:tags r:id="rId25"/>
            </p:custDataLst>
          </p:nvPr>
        </p:nvSpPr>
        <p:spPr bwMode="gray">
          <a:xfrm>
            <a:off x="7467600" y="4730750"/>
            <a:ext cx="4730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EF0DF55-20BE-499E-9DFB-7D8144DDB2E6}" type="datetime'''''''''''1''''''''0''''''''''''''''%'''">
              <a:rPr lang="en-US" altLang="en-US" sz="1050" smtClean="0">
                <a:latin typeface="Calibri" panose="020F0502020204030204" pitchFamily="34" charset="0"/>
                <a:cs typeface="+mn-cs"/>
              </a:rPr>
              <a:pPr lvl="0">
                <a:spcBef>
                  <a:spcPct val="0"/>
                </a:spcBef>
                <a:spcAft>
                  <a:spcPct val="0"/>
                </a:spcAft>
              </a:pPr>
              <a:t>10%</a:t>
            </a:fld>
            <a:r>
              <a:rPr lang="en-US" altLang="en-US" sz="1050" dirty="0">
                <a:latin typeface="Calibri" panose="020F0502020204030204" pitchFamily="34" charset="0"/>
                <a:cs typeface="+mn-cs"/>
              </a:rPr>
              <a:t> (</a:t>
            </a:r>
            <a:fld id="{985485FC-4006-43A1-B63D-43EF8DE51809}" type="datetime'''''''''''''''''''''''''''''''''3'''''''''''''''">
              <a:rPr lang="en-US" altLang="en-US" sz="1050" smtClean="0">
                <a:latin typeface="Calibri" panose="020F0502020204030204" pitchFamily="34" charset="0"/>
                <a:cs typeface="+mn-cs"/>
              </a:rPr>
              <a:pPr lvl="0">
                <a:spcBef>
                  <a:spcPct val="0"/>
                </a:spcBef>
                <a:spcAft>
                  <a:spcPct val="0"/>
                </a:spcAft>
              </a:pPr>
              <a:t>3</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161" name="Text Placeholder 4">
            <a:extLst>
              <a:ext uri="{FF2B5EF4-FFF2-40B4-BE49-F238E27FC236}">
                <a16:creationId xmlns:a16="http://schemas.microsoft.com/office/drawing/2014/main" id="{64E08484-47C6-8D0D-EDB7-BC2C9F2923CA}"/>
              </a:ext>
            </a:extLst>
          </p:cNvPr>
          <p:cNvSpPr>
            <a:spLocks noGrp="1"/>
          </p:cNvSpPr>
          <p:nvPr>
            <p:custDataLst>
              <p:tags r:id="rId26"/>
            </p:custDataLst>
          </p:nvPr>
        </p:nvSpPr>
        <p:spPr bwMode="gray">
          <a:xfrm>
            <a:off x="7375525" y="5126038"/>
            <a:ext cx="401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BE9614B-E5B7-4B50-B729-9375A141ACBC}" type="datetime'''''''''''''''''''''''''''''''''''''7''''''''''''''''''%'''">
              <a:rPr lang="en-US" altLang="en-US" sz="1050" smtClean="0">
                <a:latin typeface="Calibri" panose="020F0502020204030204" pitchFamily="34" charset="0"/>
                <a:cs typeface="+mn-cs"/>
              </a:rPr>
              <a:pPr lvl="0">
                <a:spcBef>
                  <a:spcPct val="0"/>
                </a:spcBef>
                <a:spcAft>
                  <a:spcPct val="0"/>
                </a:spcAft>
              </a:pPr>
              <a:t>7%</a:t>
            </a:fld>
            <a:r>
              <a:rPr lang="en-US" altLang="en-US" sz="1050" dirty="0">
                <a:latin typeface="Calibri" panose="020F0502020204030204" pitchFamily="34" charset="0"/>
                <a:cs typeface="+mn-cs"/>
              </a:rPr>
              <a:t> (</a:t>
            </a:r>
            <a:fld id="{AB49E64C-C44E-4B6F-90C0-C18D52FEC684}" type="datetime'''''''''''''''2'''''''''''''''''''''''''''''''''''''">
              <a:rPr lang="en-US" altLang="en-US" sz="1050" smtClean="0">
                <a:latin typeface="Calibri" panose="020F0502020204030204" pitchFamily="34" charset="0"/>
                <a:cs typeface="+mn-cs"/>
              </a:rPr>
              <a:pPr lvl="0">
                <a:spcBef>
                  <a:spcPct val="0"/>
                </a:spcBef>
                <a:spcAft>
                  <a:spcPct val="0"/>
                </a:spcAft>
              </a:pPr>
              <a:t>2</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162" name="Text Placeholder 4">
            <a:extLst>
              <a:ext uri="{FF2B5EF4-FFF2-40B4-BE49-F238E27FC236}">
                <a16:creationId xmlns:a16="http://schemas.microsoft.com/office/drawing/2014/main" id="{9B80EDAE-2691-4C22-8CB9-4C5C395B5027}"/>
              </a:ext>
            </a:extLst>
          </p:cNvPr>
          <p:cNvSpPr>
            <a:spLocks noGrp="1"/>
          </p:cNvSpPr>
          <p:nvPr>
            <p:custDataLst>
              <p:tags r:id="rId27"/>
            </p:custDataLst>
          </p:nvPr>
        </p:nvSpPr>
        <p:spPr bwMode="gray">
          <a:xfrm>
            <a:off x="7285038" y="5521325"/>
            <a:ext cx="401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6A2AE00-C742-4DCA-84EE-0A2C8D47F94A}" type="datetime'''''''''''''''''''3''%'''''''''''">
              <a:rPr lang="en-US" altLang="en-US" sz="1050" smtClean="0">
                <a:latin typeface="Calibri" panose="020F0502020204030204" pitchFamily="34" charset="0"/>
                <a:cs typeface="+mn-cs"/>
              </a:rPr>
              <a:pPr lvl="0">
                <a:spcBef>
                  <a:spcPct val="0"/>
                </a:spcBef>
                <a:spcAft>
                  <a:spcPct val="0"/>
                </a:spcAft>
              </a:pPr>
              <a:t>3%</a:t>
            </a:fld>
            <a:r>
              <a:rPr lang="en-US" altLang="en-US" sz="1050" dirty="0">
                <a:latin typeface="Calibri" panose="020F0502020204030204" pitchFamily="34" charset="0"/>
                <a:cs typeface="+mn-cs"/>
              </a:rPr>
              <a:t> (</a:t>
            </a:r>
            <a:fld id="{E2C5545C-AE57-43FA-B721-98F9ED8A058D}" type="datetime'1'''''''''''''''''''''''''''''''''''''''''''''">
              <a:rPr lang="en-US" altLang="en-US" sz="1050" smtClean="0">
                <a:latin typeface="Calibri" panose="020F0502020204030204" pitchFamily="34" charset="0"/>
                <a:cs typeface="+mn-cs"/>
              </a:rPr>
              <a:pPr lvl="0">
                <a:spcBef>
                  <a:spcPct val="0"/>
                </a:spcBef>
                <a:spcAft>
                  <a:spcPct val="0"/>
                </a:spcAft>
              </a:pPr>
              <a:t>1</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149" name="ACET">
            <a:extLst>
              <a:ext uri="{FF2B5EF4-FFF2-40B4-BE49-F238E27FC236}">
                <a16:creationId xmlns:a16="http://schemas.microsoft.com/office/drawing/2014/main" id="{C3CCEC08-836C-52A6-FDC3-2D90B70FE6FD}"/>
              </a:ext>
            </a:extLst>
          </p:cNvPr>
          <p:cNvSpPr txBox="1">
            <a:spLocks/>
          </p:cNvSpPr>
          <p:nvPr>
            <p:custDataLst>
              <p:tags r:id="rId28"/>
            </p:custDataLst>
          </p:nvPr>
        </p:nvSpPr>
        <p:spPr>
          <a:xfrm>
            <a:off x="4467224" y="2763838"/>
            <a:ext cx="4006215" cy="18415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200" dirty="0">
                <a:latin typeface="Calibri" panose="020F0502020204030204" pitchFamily="34" charset="0"/>
                <a:cs typeface="Arial"/>
              </a:rPr>
              <a:t>VBC / APM readiness</a:t>
            </a:r>
            <a:r>
              <a:rPr lang="en-US" sz="1200" baseline="30000" dirty="0">
                <a:latin typeface="Calibri" panose="020F0502020204030204" pitchFamily="34" charset="0"/>
                <a:cs typeface="Arial"/>
              </a:rPr>
              <a:t>3</a:t>
            </a:r>
            <a:r>
              <a:rPr lang="en-US" sz="1200" dirty="0">
                <a:latin typeface="Calibri" panose="020F0502020204030204" pitchFamily="34" charset="0"/>
                <a:cs typeface="Arial"/>
              </a:rPr>
              <a:t>, % of responses </a:t>
            </a:r>
          </a:p>
        </p:txBody>
      </p:sp>
      <p:cxnSp>
        <p:nvCxnSpPr>
          <p:cNvPr id="150" name="Straight Connector 149">
            <a:extLst>
              <a:ext uri="{FF2B5EF4-FFF2-40B4-BE49-F238E27FC236}">
                <a16:creationId xmlns:a16="http://schemas.microsoft.com/office/drawing/2014/main" id="{DB64B316-B82B-B8EC-F4F6-820B781DD7B1}"/>
              </a:ext>
            </a:extLst>
          </p:cNvPr>
          <p:cNvCxnSpPr>
            <a:cxnSpLocks/>
          </p:cNvCxnSpPr>
          <p:nvPr/>
        </p:nvCxnSpPr>
        <p:spPr>
          <a:xfrm>
            <a:off x="4467224" y="3006725"/>
            <a:ext cx="4006215"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0" name="ACET">
            <a:extLst>
              <a:ext uri="{FF2B5EF4-FFF2-40B4-BE49-F238E27FC236}">
                <a16:creationId xmlns:a16="http://schemas.microsoft.com/office/drawing/2014/main" id="{504E25DE-EE66-A182-DAD3-A86F594195EB}"/>
              </a:ext>
            </a:extLst>
          </p:cNvPr>
          <p:cNvSpPr txBox="1">
            <a:spLocks/>
          </p:cNvSpPr>
          <p:nvPr>
            <p:custDataLst>
              <p:tags r:id="rId29"/>
            </p:custDataLst>
          </p:nvPr>
        </p:nvSpPr>
        <p:spPr>
          <a:xfrm>
            <a:off x="9192576" y="1351026"/>
            <a:ext cx="2550245" cy="215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400" b="1" dirty="0">
                <a:latin typeface="Calibri" panose="020F0502020204030204" pitchFamily="34" charset="0"/>
              </a:rPr>
              <a:t>Key takeaways</a:t>
            </a:r>
          </a:p>
        </p:txBody>
      </p:sp>
      <p:cxnSp>
        <p:nvCxnSpPr>
          <p:cNvPr id="201" name="Straight Connector 200">
            <a:extLst>
              <a:ext uri="{FF2B5EF4-FFF2-40B4-BE49-F238E27FC236}">
                <a16:creationId xmlns:a16="http://schemas.microsoft.com/office/drawing/2014/main" id="{34F40C9F-4EE0-52E2-A672-B659AD53C860}"/>
              </a:ext>
            </a:extLst>
          </p:cNvPr>
          <p:cNvCxnSpPr>
            <a:cxnSpLocks/>
          </p:cNvCxnSpPr>
          <p:nvPr/>
        </p:nvCxnSpPr>
        <p:spPr>
          <a:xfrm>
            <a:off x="9192576" y="1631950"/>
            <a:ext cx="2550245"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9" name="ACET">
            <a:extLst>
              <a:ext uri="{FF2B5EF4-FFF2-40B4-BE49-F238E27FC236}">
                <a16:creationId xmlns:a16="http://schemas.microsoft.com/office/drawing/2014/main" id="{A82208F8-8D36-FB52-8087-DF23FBD52547}"/>
              </a:ext>
            </a:extLst>
          </p:cNvPr>
          <p:cNvSpPr txBox="1">
            <a:spLocks/>
          </p:cNvSpPr>
          <p:nvPr>
            <p:custDataLst>
              <p:tags r:id="rId30"/>
            </p:custDataLst>
          </p:nvPr>
        </p:nvSpPr>
        <p:spPr>
          <a:xfrm>
            <a:off x="9192576" y="1746988"/>
            <a:ext cx="2550245" cy="446276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600"/>
              </a:spcAft>
              <a:buFont typeface="Arial" panose="020B0604020202020204" pitchFamily="34" charset="0"/>
              <a:buChar char="•"/>
            </a:pPr>
            <a:r>
              <a:rPr lang="en-US" sz="1400" dirty="0">
                <a:latin typeface="Calibri" panose="020F0502020204030204" pitchFamily="34" charset="0"/>
              </a:rPr>
              <a:t>Current participation remains common but concentrated in models with limited downside exposure, including pay-for-performance, pay-for-reporting, and upside-only shared savings </a:t>
            </a:r>
          </a:p>
          <a:p>
            <a:pPr lvl="1">
              <a:spcAft>
                <a:spcPts val="600"/>
              </a:spcAft>
              <a:buFont typeface="Arial" panose="020B0604020202020204" pitchFamily="34" charset="0"/>
              <a:buChar char="•"/>
            </a:pPr>
            <a:r>
              <a:rPr lang="en-US" sz="1400" dirty="0">
                <a:latin typeface="Calibri" panose="020F0502020204030204" pitchFamily="34" charset="0"/>
              </a:rPr>
              <a:t>The gap between current participation and readiness for more advanced payment models remains, with 33% not sure and only 10% ready for two-sided risk today or with support </a:t>
            </a:r>
          </a:p>
          <a:p>
            <a:pPr lvl="1">
              <a:spcAft>
                <a:spcPts val="600"/>
              </a:spcAft>
              <a:buFont typeface="Arial" panose="020B0604020202020204" pitchFamily="34" charset="0"/>
              <a:buChar char="•"/>
            </a:pPr>
            <a:r>
              <a:rPr lang="en-US" sz="1400" dirty="0">
                <a:latin typeface="Calibri" panose="020F0502020204030204" pitchFamily="34" charset="0"/>
              </a:rPr>
              <a:t>Limited readiness for two-sided risk, plus 10% reporting they are not ready within the next 12 months, reinforces the need for a staged pathway toward more advanced risk-based models</a:t>
            </a:r>
          </a:p>
        </p:txBody>
      </p:sp>
      <p:sp>
        <p:nvSpPr>
          <p:cNvPr id="204" name="5. Source">
            <a:extLst>
              <a:ext uri="{FF2B5EF4-FFF2-40B4-BE49-F238E27FC236}">
                <a16:creationId xmlns:a16="http://schemas.microsoft.com/office/drawing/2014/main" id="{801B0715-8632-97D1-0E13-162282B09061}"/>
              </a:ext>
            </a:extLst>
          </p:cNvPr>
          <p:cNvSpPr txBox="1"/>
          <p:nvPr>
            <p:custDataLst>
              <p:tags r:id="rId31"/>
            </p:custDataLst>
          </p:nvPr>
        </p:nvSpPr>
        <p:spPr>
          <a:xfrm>
            <a:off x="2556717"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1"/>
              </a:buClr>
            </a:pPr>
            <a:r>
              <a:rPr lang="en-US" dirty="0">
                <a:latin typeface="Calibri" panose="020F0502020204030204" pitchFamily="34" charset="0"/>
              </a:rPr>
              <a:t>Source: LDH RHTP VBC APM Readiness Survey Responses, N=30</a:t>
            </a:r>
          </a:p>
        </p:txBody>
      </p:sp>
      <p:sp>
        <p:nvSpPr>
          <p:cNvPr id="205" name="4. Footnote">
            <a:extLst>
              <a:ext uri="{FF2B5EF4-FFF2-40B4-BE49-F238E27FC236}">
                <a16:creationId xmlns:a16="http://schemas.microsoft.com/office/drawing/2014/main" id="{7E663BA9-E752-9D42-DDE7-EFA3D0C9C4DF}"/>
              </a:ext>
            </a:extLst>
          </p:cNvPr>
          <p:cNvSpPr txBox="1"/>
          <p:nvPr>
            <p:custDataLst>
              <p:tags r:id="rId32"/>
            </p:custDataLst>
          </p:nvPr>
        </p:nvSpPr>
        <p:spPr>
          <a:xfrm>
            <a:off x="553972" y="5917382"/>
            <a:ext cx="7278624"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lvl="0" indent="-228600">
              <a:buAutoNum type="arabicPeriod"/>
            </a:pPr>
            <a:r>
              <a:rPr lang="en-US" dirty="0">
                <a:latin typeface="Calibri" panose="020F0502020204030204" pitchFamily="34" charset="0"/>
              </a:rPr>
              <a:t>Question asked: "Does Your Organization Currently Participate in Any VBC/APM Arrangement?“</a:t>
            </a:r>
          </a:p>
          <a:p>
            <a:pPr marL="219075" lvl="0" indent="-228600">
              <a:buAutoNum type="arabicPeriod"/>
            </a:pPr>
            <a:r>
              <a:rPr lang="en-US" dirty="0">
                <a:latin typeface="Calibri" panose="020F0502020204030204" pitchFamily="34" charset="0"/>
              </a:rPr>
              <a:t>Question asked: “What Types of VBC/APM Models Does Your Organization Participate In?” Responses manually coded from open-text responses; categories are not mutually exclusive; among respondents currently participating in VBC/APM, N=20</a:t>
            </a:r>
          </a:p>
          <a:p>
            <a:pPr marL="219075" lvl="0" indent="-228600">
              <a:buAutoNum type="arabicPeriod"/>
            </a:pPr>
            <a:r>
              <a:rPr lang="en-US" dirty="0">
                <a:latin typeface="Calibri" panose="020F0502020204030204" pitchFamily="34" charset="0"/>
              </a:rPr>
              <a:t>Question asked: "Which Best Describes Your Organization's Readiness for Shared Savings or Risk-Based Models?"</a:t>
            </a:r>
          </a:p>
        </p:txBody>
      </p:sp>
      <p:graphicFrame>
        <p:nvGraphicFramePr>
          <p:cNvPr id="19" name="Chart 18">
            <a:extLst>
              <a:ext uri="{FF2B5EF4-FFF2-40B4-BE49-F238E27FC236}">
                <a16:creationId xmlns:a16="http://schemas.microsoft.com/office/drawing/2014/main" id="{6E51AAAD-EA82-1BD8-BB51-59E1C57B8296}"/>
              </a:ext>
            </a:extLst>
          </p:cNvPr>
          <p:cNvGraphicFramePr/>
          <p:nvPr>
            <p:custDataLst>
              <p:tags r:id="rId33"/>
            </p:custDataLst>
          </p:nvPr>
        </p:nvGraphicFramePr>
        <p:xfrm>
          <a:off x="2852738" y="2952750"/>
          <a:ext cx="958850" cy="2908300"/>
        </p:xfrm>
        <a:graphic>
          <a:graphicData uri="http://schemas.openxmlformats.org/drawingml/2006/chart">
            <c:chart xmlns:c="http://schemas.openxmlformats.org/drawingml/2006/chart" xmlns:r="http://schemas.openxmlformats.org/officeDocument/2006/relationships" r:id="rId55"/>
          </a:graphicData>
        </a:graphic>
      </p:graphicFrame>
      <p:sp>
        <p:nvSpPr>
          <p:cNvPr id="233" name="Text Placeholder 4">
            <a:extLst>
              <a:ext uri="{FF2B5EF4-FFF2-40B4-BE49-F238E27FC236}">
                <a16:creationId xmlns:a16="http://schemas.microsoft.com/office/drawing/2014/main" id="{B18D3636-712B-36A0-0490-3EF9FB0869B9}"/>
              </a:ext>
            </a:extLst>
          </p:cNvPr>
          <p:cNvSpPr>
            <a:spLocks noGrp="1"/>
          </p:cNvSpPr>
          <p:nvPr>
            <p:custDataLst>
              <p:tags r:id="rId34"/>
            </p:custDataLst>
          </p:nvPr>
        </p:nvSpPr>
        <p:spPr bwMode="auto">
          <a:xfrm>
            <a:off x="547688" y="3121025"/>
            <a:ext cx="2295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4817E4E-3FD5-4B15-81E6-A19D13FD0CFE}" type="datetime'P''ay-for-perfo''rm''''anc''e / q''u''al''ity ''incen''tives'">
              <a:rPr lang="en-US" altLang="en-US" sz="1050" smtClean="0">
                <a:latin typeface="Calibri" panose="020F0502020204030204" pitchFamily="34" charset="0"/>
                <a:cs typeface="+mn-cs"/>
              </a:rPr>
              <a:pPr lvl="0">
                <a:spcBef>
                  <a:spcPct val="0"/>
                </a:spcBef>
                <a:spcAft>
                  <a:spcPct val="0"/>
                </a:spcAft>
              </a:pPr>
              <a:t>Pay-for-performance / quality incentives</a:t>
            </a:fld>
            <a:endParaRPr lang="en-US" sz="1050" dirty="0">
              <a:latin typeface="Calibri" panose="020F0502020204030204" pitchFamily="34" charset="0"/>
              <a:cs typeface="+mn-cs"/>
            </a:endParaRPr>
          </a:p>
        </p:txBody>
      </p:sp>
      <p:sp>
        <p:nvSpPr>
          <p:cNvPr id="234" name="Text Placeholder 4">
            <a:extLst>
              <a:ext uri="{FF2B5EF4-FFF2-40B4-BE49-F238E27FC236}">
                <a16:creationId xmlns:a16="http://schemas.microsoft.com/office/drawing/2014/main" id="{501C27EE-64A0-DE69-F819-2FCF5BA30271}"/>
              </a:ext>
            </a:extLst>
          </p:cNvPr>
          <p:cNvSpPr>
            <a:spLocks noGrp="1"/>
          </p:cNvSpPr>
          <p:nvPr>
            <p:custDataLst>
              <p:tags r:id="rId35"/>
            </p:custDataLst>
          </p:nvPr>
        </p:nvSpPr>
        <p:spPr bwMode="auto">
          <a:xfrm>
            <a:off x="547688" y="3463925"/>
            <a:ext cx="18970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448FEB1-E926-4859-A1DE-342996DAEFF1}" type="datetime'Ups''i''d''''e-only share''d'''' ''''s''av''in''gs ''/ ''ACO'">
              <a:rPr lang="en-US" altLang="en-US" sz="1050" smtClean="0">
                <a:latin typeface="Calibri" panose="020F0502020204030204" pitchFamily="34" charset="0"/>
                <a:cs typeface="+mn-cs"/>
              </a:rPr>
              <a:pPr lvl="0">
                <a:spcBef>
                  <a:spcPct val="0"/>
                </a:spcBef>
                <a:spcAft>
                  <a:spcPct val="0"/>
                </a:spcAft>
              </a:pPr>
              <a:t>Upside-only shared savings / ACO</a:t>
            </a:fld>
            <a:endParaRPr lang="en-US" sz="1050" dirty="0">
              <a:latin typeface="Calibri" panose="020F0502020204030204" pitchFamily="34" charset="0"/>
              <a:cs typeface="+mn-cs"/>
            </a:endParaRPr>
          </a:p>
        </p:txBody>
      </p:sp>
      <p:sp>
        <p:nvSpPr>
          <p:cNvPr id="235" name="Text Placeholder 4">
            <a:extLst>
              <a:ext uri="{FF2B5EF4-FFF2-40B4-BE49-F238E27FC236}">
                <a16:creationId xmlns:a16="http://schemas.microsoft.com/office/drawing/2014/main" id="{7CF994D7-FCEA-0BAC-DA8A-ACB2DC2B971B}"/>
              </a:ext>
            </a:extLst>
          </p:cNvPr>
          <p:cNvSpPr>
            <a:spLocks noGrp="1"/>
          </p:cNvSpPr>
          <p:nvPr>
            <p:custDataLst>
              <p:tags r:id="rId36"/>
            </p:custDataLst>
          </p:nvPr>
        </p:nvSpPr>
        <p:spPr bwMode="auto">
          <a:xfrm>
            <a:off x="547688" y="3806825"/>
            <a:ext cx="20478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061E47C-3C04-4F65-BA0A-C4F79B22AB54}" type="datetime'Pay-for-rep''or''ting ''/ q''ual''ity ''''r''''''epor''''ting'">
              <a:rPr lang="en-US" altLang="en-US" sz="1050" smtClean="0">
                <a:latin typeface="Calibri" panose="020F0502020204030204" pitchFamily="34" charset="0"/>
                <a:cs typeface="+mn-cs"/>
              </a:rPr>
              <a:pPr lvl="0">
                <a:spcBef>
                  <a:spcPct val="0"/>
                </a:spcBef>
                <a:spcAft>
                  <a:spcPct val="0"/>
                </a:spcAft>
              </a:pPr>
              <a:t>Pay-for-reporting / quality reporting</a:t>
            </a:fld>
            <a:endParaRPr lang="en-US" sz="1050" dirty="0">
              <a:latin typeface="Calibri" panose="020F0502020204030204" pitchFamily="34" charset="0"/>
              <a:cs typeface="+mn-cs"/>
            </a:endParaRPr>
          </a:p>
        </p:txBody>
      </p:sp>
      <p:sp>
        <p:nvSpPr>
          <p:cNvPr id="236" name="Text Placeholder 4">
            <a:extLst>
              <a:ext uri="{FF2B5EF4-FFF2-40B4-BE49-F238E27FC236}">
                <a16:creationId xmlns:a16="http://schemas.microsoft.com/office/drawing/2014/main" id="{1BC8E14D-E257-A2E1-505F-2B52FAE774DC}"/>
              </a:ext>
            </a:extLst>
          </p:cNvPr>
          <p:cNvSpPr>
            <a:spLocks noGrp="1"/>
          </p:cNvSpPr>
          <p:nvPr>
            <p:custDataLst>
              <p:tags r:id="rId37"/>
            </p:custDataLst>
          </p:nvPr>
        </p:nvSpPr>
        <p:spPr bwMode="auto">
          <a:xfrm>
            <a:off x="547688" y="4149725"/>
            <a:ext cx="2051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D20943A-0F07-4EEB-B2E6-F6AF5CFBD41B}" type="datetime'Unspe''''c''if''ied'''' pa''y''e''''r-based VBC ''/ ''''''APM'">
              <a:rPr lang="en-US" altLang="en-US" sz="1050" smtClean="0">
                <a:latin typeface="Calibri" panose="020F0502020204030204" pitchFamily="34" charset="0"/>
                <a:cs typeface="+mn-cs"/>
              </a:rPr>
              <a:pPr lvl="0">
                <a:spcBef>
                  <a:spcPct val="0"/>
                </a:spcBef>
                <a:spcAft>
                  <a:spcPct val="0"/>
                </a:spcAft>
              </a:pPr>
              <a:t>Unspecified payer-based VBC / APM</a:t>
            </a:fld>
            <a:endParaRPr lang="en-US" sz="1050" dirty="0">
              <a:latin typeface="Calibri" panose="020F0502020204030204" pitchFamily="34" charset="0"/>
              <a:cs typeface="+mn-cs"/>
            </a:endParaRPr>
          </a:p>
        </p:txBody>
      </p:sp>
      <p:sp>
        <p:nvSpPr>
          <p:cNvPr id="237" name="Text Placeholder 4">
            <a:extLst>
              <a:ext uri="{FF2B5EF4-FFF2-40B4-BE49-F238E27FC236}">
                <a16:creationId xmlns:a16="http://schemas.microsoft.com/office/drawing/2014/main" id="{7F29BC58-43AF-D8D3-B264-FBDAE2A4D47F}"/>
              </a:ext>
            </a:extLst>
          </p:cNvPr>
          <p:cNvSpPr>
            <a:spLocks noGrp="1"/>
          </p:cNvSpPr>
          <p:nvPr>
            <p:custDataLst>
              <p:tags r:id="rId38"/>
            </p:custDataLst>
          </p:nvPr>
        </p:nvSpPr>
        <p:spPr bwMode="auto">
          <a:xfrm>
            <a:off x="547688" y="4492625"/>
            <a:ext cx="20653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E6FB8D8-50AC-4ADB-8BD9-8AE06472D5D9}" type="datetime'Unsur''e / ''not eno''''''''ugh'''' detail pr''ov''''''ide''d'">
              <a:rPr lang="en-US" altLang="en-US" sz="1050" smtClean="0">
                <a:latin typeface="Calibri" panose="020F0502020204030204" pitchFamily="34" charset="0"/>
                <a:cs typeface="+mn-cs"/>
              </a:rPr>
              <a:pPr lvl="0">
                <a:spcBef>
                  <a:spcPct val="0"/>
                </a:spcBef>
                <a:spcAft>
                  <a:spcPct val="0"/>
                </a:spcAft>
              </a:pPr>
              <a:t>Unsure / not enough detail provided</a:t>
            </a:fld>
            <a:endParaRPr lang="en-US" sz="1050" dirty="0">
              <a:latin typeface="Calibri" panose="020F0502020204030204" pitchFamily="34" charset="0"/>
              <a:cs typeface="+mn-cs"/>
            </a:endParaRPr>
          </a:p>
        </p:txBody>
      </p:sp>
      <p:sp>
        <p:nvSpPr>
          <p:cNvPr id="238" name="Text Placeholder 4">
            <a:extLst>
              <a:ext uri="{FF2B5EF4-FFF2-40B4-BE49-F238E27FC236}">
                <a16:creationId xmlns:a16="http://schemas.microsoft.com/office/drawing/2014/main" id="{0529C820-652E-6649-055F-C35A1E994FEC}"/>
              </a:ext>
            </a:extLst>
          </p:cNvPr>
          <p:cNvSpPr>
            <a:spLocks noGrp="1"/>
          </p:cNvSpPr>
          <p:nvPr>
            <p:custDataLst>
              <p:tags r:id="rId39"/>
            </p:custDataLst>
          </p:nvPr>
        </p:nvSpPr>
        <p:spPr bwMode="auto">
          <a:xfrm>
            <a:off x="547688" y="4751388"/>
            <a:ext cx="19653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sz="1050" dirty="0">
                <a:latin typeface="Calibri" panose="020F0502020204030204" pitchFamily="34" charset="0"/>
              </a:rPr>
              <a:t>Foundational / mandatory hospital</a:t>
            </a:r>
            <a:br>
              <a:rPr lang="en-US" sz="1050" dirty="0">
                <a:latin typeface="Calibri" panose="020F0502020204030204" pitchFamily="34" charset="0"/>
              </a:rPr>
            </a:br>
            <a:r>
              <a:rPr lang="en-US" sz="1050" dirty="0">
                <a:latin typeface="Calibri" panose="020F0502020204030204" pitchFamily="34" charset="0"/>
              </a:rPr>
              <a:t> quality-linked programs</a:t>
            </a:r>
            <a:endParaRPr lang="en-US" sz="1050" dirty="0">
              <a:latin typeface="Calibri" panose="020F0502020204030204" pitchFamily="34" charset="0"/>
              <a:cs typeface="+mn-cs"/>
            </a:endParaRPr>
          </a:p>
        </p:txBody>
      </p:sp>
      <p:sp>
        <p:nvSpPr>
          <p:cNvPr id="239" name="Text Placeholder 4">
            <a:extLst>
              <a:ext uri="{FF2B5EF4-FFF2-40B4-BE49-F238E27FC236}">
                <a16:creationId xmlns:a16="http://schemas.microsoft.com/office/drawing/2014/main" id="{B08A46A0-F55D-2665-8CE0-83FD98BFEBF9}"/>
              </a:ext>
            </a:extLst>
          </p:cNvPr>
          <p:cNvSpPr>
            <a:spLocks noGrp="1"/>
          </p:cNvSpPr>
          <p:nvPr>
            <p:custDataLst>
              <p:tags r:id="rId40"/>
            </p:custDataLst>
          </p:nvPr>
        </p:nvSpPr>
        <p:spPr bwMode="auto">
          <a:xfrm>
            <a:off x="547688" y="5178425"/>
            <a:ext cx="14414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164ABA4-0651-458E-9CE4-7276BBA103B1}" type="datetime'''PMPM'' c''are'''''' ''''m''''an''''age''''m''en''t'''''''''">
              <a:rPr lang="en-US" altLang="en-US" sz="1050" smtClean="0">
                <a:latin typeface="Calibri" panose="020F0502020204030204" pitchFamily="34" charset="0"/>
                <a:cs typeface="+mn-cs"/>
              </a:rPr>
              <a:pPr lvl="0">
                <a:spcBef>
                  <a:spcPct val="0"/>
                </a:spcBef>
                <a:spcAft>
                  <a:spcPct val="0"/>
                </a:spcAft>
              </a:pPr>
              <a:t>PMPM care management</a:t>
            </a:fld>
            <a:endParaRPr lang="en-US" sz="1050" dirty="0">
              <a:latin typeface="Calibri" panose="020F0502020204030204" pitchFamily="34" charset="0"/>
              <a:cs typeface="+mn-cs"/>
            </a:endParaRPr>
          </a:p>
        </p:txBody>
      </p:sp>
      <p:sp>
        <p:nvSpPr>
          <p:cNvPr id="29" name="Text Placeholder 4">
            <a:extLst>
              <a:ext uri="{FF2B5EF4-FFF2-40B4-BE49-F238E27FC236}">
                <a16:creationId xmlns:a16="http://schemas.microsoft.com/office/drawing/2014/main" id="{19F70C84-3D39-5130-A914-542C04A27B08}"/>
              </a:ext>
            </a:extLst>
          </p:cNvPr>
          <p:cNvSpPr>
            <a:spLocks noGrp="1"/>
          </p:cNvSpPr>
          <p:nvPr>
            <p:custDataLst>
              <p:tags r:id="rId41"/>
            </p:custDataLst>
          </p:nvPr>
        </p:nvSpPr>
        <p:spPr bwMode="auto">
          <a:xfrm>
            <a:off x="547688" y="5437187"/>
            <a:ext cx="13509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sz="1050" dirty="0">
                <a:latin typeface="Calibri" panose="020F0502020204030204" pitchFamily="34" charset="0"/>
              </a:rPr>
              <a:t>Two-sided risk / shared </a:t>
            </a:r>
          </a:p>
          <a:p>
            <a:pPr lvl="0">
              <a:spcBef>
                <a:spcPct val="0"/>
              </a:spcBef>
              <a:spcAft>
                <a:spcPct val="0"/>
              </a:spcAft>
            </a:pPr>
            <a:r>
              <a:rPr lang="en-US" sz="1050" dirty="0">
                <a:latin typeface="Calibri" panose="020F0502020204030204" pitchFamily="34" charset="0"/>
              </a:rPr>
              <a:t>savings and losses</a:t>
            </a:r>
            <a:endParaRPr lang="en-US" sz="1050" dirty="0">
              <a:latin typeface="Calibri" panose="020F0502020204030204" pitchFamily="34" charset="0"/>
              <a:cs typeface="+mn-cs"/>
            </a:endParaRPr>
          </a:p>
        </p:txBody>
      </p:sp>
      <p:sp>
        <p:nvSpPr>
          <p:cNvPr id="240" name="Text Placeholder 4">
            <a:extLst>
              <a:ext uri="{FF2B5EF4-FFF2-40B4-BE49-F238E27FC236}">
                <a16:creationId xmlns:a16="http://schemas.microsoft.com/office/drawing/2014/main" id="{A36EB2C9-7C7F-FC23-B235-E9A64DB47B1F}"/>
              </a:ext>
            </a:extLst>
          </p:cNvPr>
          <p:cNvSpPr>
            <a:spLocks noGrp="1"/>
          </p:cNvSpPr>
          <p:nvPr>
            <p:custDataLst>
              <p:tags r:id="rId42"/>
            </p:custDataLst>
          </p:nvPr>
        </p:nvSpPr>
        <p:spPr bwMode="gray">
          <a:xfrm>
            <a:off x="3754438" y="3121025"/>
            <a:ext cx="5445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6AC18BF-5047-4D27-A12E-E8FF44633831}" type="datetime'''''4''''''''''''''''''''''0''''''''''''%'''''''''''''''''''''">
              <a:rPr lang="en-US" altLang="en-US" sz="1050" smtClean="0">
                <a:latin typeface="Calibri" panose="020F0502020204030204" pitchFamily="34" charset="0"/>
                <a:cs typeface="+mn-cs"/>
              </a:rPr>
              <a:pPr lvl="0">
                <a:spcBef>
                  <a:spcPct val="0"/>
                </a:spcBef>
                <a:spcAft>
                  <a:spcPct val="0"/>
                </a:spcAft>
              </a:pPr>
              <a:t>40%</a:t>
            </a:fld>
            <a:r>
              <a:rPr lang="en-US" altLang="en-US" sz="1050" dirty="0">
                <a:latin typeface="Calibri" panose="020F0502020204030204" pitchFamily="34" charset="0"/>
                <a:cs typeface="+mn-cs"/>
              </a:rPr>
              <a:t> (</a:t>
            </a:r>
            <a:fld id="{F3B1E1BB-F616-4B5D-9A95-3049A8AEF764}" type="datetime'''''''''''''''''''''''''''''''''''''''1''2'''''''''">
              <a:rPr lang="en-US" altLang="en-US" sz="1050" smtClean="0">
                <a:latin typeface="Calibri" panose="020F0502020204030204" pitchFamily="34" charset="0"/>
                <a:cs typeface="+mn-cs"/>
              </a:rPr>
              <a:pPr lvl="0">
                <a:spcBef>
                  <a:spcPct val="0"/>
                </a:spcBef>
                <a:spcAft>
                  <a:spcPct val="0"/>
                </a:spcAft>
              </a:pPr>
              <a:t>12</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241" name="Text Placeholder 4">
            <a:extLst>
              <a:ext uri="{FF2B5EF4-FFF2-40B4-BE49-F238E27FC236}">
                <a16:creationId xmlns:a16="http://schemas.microsoft.com/office/drawing/2014/main" id="{E615F40D-FE01-4893-BB03-FC72BB1D4B88}"/>
              </a:ext>
            </a:extLst>
          </p:cNvPr>
          <p:cNvSpPr>
            <a:spLocks noGrp="1"/>
          </p:cNvSpPr>
          <p:nvPr>
            <p:custDataLst>
              <p:tags r:id="rId43"/>
            </p:custDataLst>
          </p:nvPr>
        </p:nvSpPr>
        <p:spPr bwMode="gray">
          <a:xfrm>
            <a:off x="3424238" y="3463925"/>
            <a:ext cx="4730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A8B33F0-C62A-46BB-9412-61D864D4CB64}" type="datetime'2''''''''3''''''''''''''''''''''''''''''''''''''''''''%'">
              <a:rPr lang="en-US" altLang="en-US" sz="1050" smtClean="0">
                <a:latin typeface="Calibri" panose="020F0502020204030204" pitchFamily="34" charset="0"/>
                <a:cs typeface="+mn-cs"/>
              </a:rPr>
              <a:pPr lvl="0">
                <a:spcBef>
                  <a:spcPct val="0"/>
                </a:spcBef>
                <a:spcAft>
                  <a:spcPct val="0"/>
                </a:spcAft>
              </a:pPr>
              <a:t>23%</a:t>
            </a:fld>
            <a:r>
              <a:rPr lang="en-US" altLang="en-US" sz="1050" dirty="0">
                <a:latin typeface="Calibri" panose="020F0502020204030204" pitchFamily="34" charset="0"/>
                <a:cs typeface="+mn-cs"/>
              </a:rPr>
              <a:t> (</a:t>
            </a:r>
            <a:fld id="{8CF098E7-E976-428C-AD52-AFFFBCD77A92}" type="datetime'''''''''''''''''''''''''''''''''''''''''''''''''7'''">
              <a:rPr lang="en-US" altLang="en-US" sz="1050" smtClean="0">
                <a:latin typeface="Calibri" panose="020F0502020204030204" pitchFamily="34" charset="0"/>
                <a:cs typeface="+mn-cs"/>
              </a:rPr>
              <a:pPr lvl="0">
                <a:spcBef>
                  <a:spcPct val="0"/>
                </a:spcBef>
                <a:spcAft>
                  <a:spcPct val="0"/>
                </a:spcAft>
              </a:pPr>
              <a:t>7</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242" name="Text Placeholder 4">
            <a:extLst>
              <a:ext uri="{FF2B5EF4-FFF2-40B4-BE49-F238E27FC236}">
                <a16:creationId xmlns:a16="http://schemas.microsoft.com/office/drawing/2014/main" id="{951C97D8-6EEF-17E0-AA6F-AAF5207BCC35}"/>
              </a:ext>
            </a:extLst>
          </p:cNvPr>
          <p:cNvSpPr>
            <a:spLocks noGrp="1"/>
          </p:cNvSpPr>
          <p:nvPr>
            <p:custDataLst>
              <p:tags r:id="rId44"/>
            </p:custDataLst>
          </p:nvPr>
        </p:nvSpPr>
        <p:spPr bwMode="gray">
          <a:xfrm>
            <a:off x="3357563" y="3806825"/>
            <a:ext cx="4730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0FE7ED1-61F8-40E5-ADC8-0CD6CDDBFCD5}" type="datetime'''2''''''''''''''''''''''''''''0''''''%'''''''''''''''''''''''">
              <a:rPr lang="en-US" altLang="en-US" sz="1050" smtClean="0">
                <a:latin typeface="Calibri" panose="020F0502020204030204" pitchFamily="34" charset="0"/>
                <a:cs typeface="+mn-cs"/>
              </a:rPr>
              <a:pPr lvl="0">
                <a:spcBef>
                  <a:spcPct val="0"/>
                </a:spcBef>
                <a:spcAft>
                  <a:spcPct val="0"/>
                </a:spcAft>
              </a:pPr>
              <a:t>20%</a:t>
            </a:fld>
            <a:r>
              <a:rPr lang="en-US" altLang="en-US" sz="1050" dirty="0">
                <a:latin typeface="Calibri" panose="020F0502020204030204" pitchFamily="34" charset="0"/>
                <a:cs typeface="+mn-cs"/>
              </a:rPr>
              <a:t> (</a:t>
            </a:r>
            <a:fld id="{FF38C77E-28B8-495C-B685-C5DBAC9F09CB}" type="datetime'''''6'''''''''''''''''''''''''">
              <a:rPr lang="en-US" altLang="en-US" sz="1050" smtClean="0">
                <a:latin typeface="Calibri" panose="020F0502020204030204" pitchFamily="34" charset="0"/>
                <a:cs typeface="+mn-cs"/>
              </a:rPr>
              <a:pPr lvl="0">
                <a:spcBef>
                  <a:spcPct val="0"/>
                </a:spcBef>
                <a:spcAft>
                  <a:spcPct val="0"/>
                </a:spcAft>
              </a:pPr>
              <a:t>6</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243" name="Text Placeholder 4">
            <a:extLst>
              <a:ext uri="{FF2B5EF4-FFF2-40B4-BE49-F238E27FC236}">
                <a16:creationId xmlns:a16="http://schemas.microsoft.com/office/drawing/2014/main" id="{9CF6AE62-337A-4AB6-6675-DF7964848FC7}"/>
              </a:ext>
            </a:extLst>
          </p:cNvPr>
          <p:cNvSpPr>
            <a:spLocks noGrp="1"/>
          </p:cNvSpPr>
          <p:nvPr>
            <p:custDataLst>
              <p:tags r:id="rId45"/>
            </p:custDataLst>
          </p:nvPr>
        </p:nvSpPr>
        <p:spPr bwMode="gray">
          <a:xfrm>
            <a:off x="3290888" y="4149725"/>
            <a:ext cx="4730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2157196-5A96-4904-87CF-344C0D9D9843}" type="datetime'''''''''''''1''''''''''''''7''''''''''''''''%'''''''''">
              <a:rPr lang="en-US" altLang="en-US" sz="1050" smtClean="0">
                <a:latin typeface="Calibri" panose="020F0502020204030204" pitchFamily="34" charset="0"/>
                <a:cs typeface="+mn-cs"/>
              </a:rPr>
              <a:pPr lvl="0">
                <a:spcBef>
                  <a:spcPct val="0"/>
                </a:spcBef>
                <a:spcAft>
                  <a:spcPct val="0"/>
                </a:spcAft>
              </a:pPr>
              <a:t>17%</a:t>
            </a:fld>
            <a:r>
              <a:rPr lang="en-US" altLang="en-US" sz="1050" dirty="0">
                <a:latin typeface="Calibri" panose="020F0502020204030204" pitchFamily="34" charset="0"/>
                <a:cs typeface="+mn-cs"/>
              </a:rPr>
              <a:t> (</a:t>
            </a:r>
            <a:fld id="{FEE8D059-10F1-4A2D-8D0F-6AA7DA08C36D}" type="datetime'''''''''''5'''''''''''''''''''''''''''''''''''''''''''''">
              <a:rPr lang="en-US" altLang="en-US" sz="1050" smtClean="0">
                <a:latin typeface="Calibri" panose="020F0502020204030204" pitchFamily="34" charset="0"/>
                <a:cs typeface="+mn-cs"/>
              </a:rPr>
              <a:pPr lvl="0">
                <a:spcBef>
                  <a:spcPct val="0"/>
                </a:spcBef>
                <a:spcAft>
                  <a:spcPct val="0"/>
                </a:spcAft>
              </a:pPr>
              <a:t>5</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244" name="Text Placeholder 4">
            <a:extLst>
              <a:ext uri="{FF2B5EF4-FFF2-40B4-BE49-F238E27FC236}">
                <a16:creationId xmlns:a16="http://schemas.microsoft.com/office/drawing/2014/main" id="{894E3F0F-A0A7-2E8B-4C9D-1AAC39FE15A3}"/>
              </a:ext>
            </a:extLst>
          </p:cNvPr>
          <p:cNvSpPr>
            <a:spLocks noGrp="1"/>
          </p:cNvSpPr>
          <p:nvPr>
            <p:custDataLst>
              <p:tags r:id="rId46"/>
            </p:custDataLst>
          </p:nvPr>
        </p:nvSpPr>
        <p:spPr bwMode="gray">
          <a:xfrm>
            <a:off x="3092450" y="4492625"/>
            <a:ext cx="401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5A48E0A-01D3-41A2-967D-7C9C143B0764}" type="datetime'''''''''''''''7''%'''">
              <a:rPr lang="en-US" altLang="en-US" sz="1050" smtClean="0">
                <a:latin typeface="Calibri" panose="020F0502020204030204" pitchFamily="34" charset="0"/>
                <a:cs typeface="+mn-cs"/>
              </a:rPr>
              <a:pPr lvl="0">
                <a:spcBef>
                  <a:spcPct val="0"/>
                </a:spcBef>
                <a:spcAft>
                  <a:spcPct val="0"/>
                </a:spcAft>
              </a:pPr>
              <a:t>7%</a:t>
            </a:fld>
            <a:r>
              <a:rPr lang="en-US" altLang="en-US" sz="1050" dirty="0">
                <a:latin typeface="Calibri" panose="020F0502020204030204" pitchFamily="34" charset="0"/>
                <a:cs typeface="+mn-cs"/>
              </a:rPr>
              <a:t> (</a:t>
            </a:r>
            <a:fld id="{2756C506-E77C-4964-9C28-EEA4DC172DD9}" type="datetime'2'''''''''''''''''''">
              <a:rPr lang="en-US" altLang="en-US" sz="1050" smtClean="0">
                <a:latin typeface="Calibri" panose="020F0502020204030204" pitchFamily="34" charset="0"/>
                <a:cs typeface="+mn-cs"/>
              </a:rPr>
              <a:pPr lvl="0">
                <a:spcBef>
                  <a:spcPct val="0"/>
                </a:spcBef>
                <a:spcAft>
                  <a:spcPct val="0"/>
                </a:spcAft>
              </a:pPr>
              <a:t>2</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245" name="Text Placeholder 4">
            <a:extLst>
              <a:ext uri="{FF2B5EF4-FFF2-40B4-BE49-F238E27FC236}">
                <a16:creationId xmlns:a16="http://schemas.microsoft.com/office/drawing/2014/main" id="{D83DDF6A-598C-2842-208D-25FD4F0023FD}"/>
              </a:ext>
            </a:extLst>
          </p:cNvPr>
          <p:cNvSpPr>
            <a:spLocks noGrp="1"/>
          </p:cNvSpPr>
          <p:nvPr>
            <p:custDataLst>
              <p:tags r:id="rId47"/>
            </p:custDataLst>
          </p:nvPr>
        </p:nvSpPr>
        <p:spPr bwMode="gray">
          <a:xfrm>
            <a:off x="3092450" y="4835525"/>
            <a:ext cx="401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CA4C67F-6297-4655-A4FF-CEA658279426}" type="datetime'''''''''''''''''''''''''''''7''%'''''''''''''''''''">
              <a:rPr lang="en-US" altLang="en-US" sz="1050" smtClean="0">
                <a:latin typeface="Calibri" panose="020F0502020204030204" pitchFamily="34" charset="0"/>
                <a:cs typeface="+mn-cs"/>
              </a:rPr>
              <a:pPr lvl="0">
                <a:spcBef>
                  <a:spcPct val="0"/>
                </a:spcBef>
                <a:spcAft>
                  <a:spcPct val="0"/>
                </a:spcAft>
              </a:pPr>
              <a:t>7%</a:t>
            </a:fld>
            <a:r>
              <a:rPr lang="en-US" altLang="en-US" sz="1050" dirty="0">
                <a:latin typeface="Calibri" panose="020F0502020204030204" pitchFamily="34" charset="0"/>
                <a:cs typeface="+mn-cs"/>
              </a:rPr>
              <a:t> (</a:t>
            </a:r>
            <a:fld id="{04A0CC4B-0417-4882-951D-F4642FBF01A4}" type="datetime'''''''''''''''''''''''''2'''''''''''''''''''''''">
              <a:rPr lang="en-US" altLang="en-US" sz="1050" smtClean="0">
                <a:latin typeface="Calibri" panose="020F0502020204030204" pitchFamily="34" charset="0"/>
                <a:cs typeface="+mn-cs"/>
              </a:rPr>
              <a:pPr lvl="0">
                <a:spcBef>
                  <a:spcPct val="0"/>
                </a:spcBef>
                <a:spcAft>
                  <a:spcPct val="0"/>
                </a:spcAft>
              </a:pPr>
              <a:t>2</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246" name="Text Placeholder 4">
            <a:extLst>
              <a:ext uri="{FF2B5EF4-FFF2-40B4-BE49-F238E27FC236}">
                <a16:creationId xmlns:a16="http://schemas.microsoft.com/office/drawing/2014/main" id="{A84E422A-BF36-ED14-041A-768132217274}"/>
              </a:ext>
            </a:extLst>
          </p:cNvPr>
          <p:cNvSpPr>
            <a:spLocks noGrp="1"/>
          </p:cNvSpPr>
          <p:nvPr>
            <p:custDataLst>
              <p:tags r:id="rId48"/>
            </p:custDataLst>
          </p:nvPr>
        </p:nvSpPr>
        <p:spPr bwMode="gray">
          <a:xfrm>
            <a:off x="3027363" y="5178425"/>
            <a:ext cx="401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89DDB2-8EDD-4536-85FA-BB907D87F239}" type="datetime'''''''''''''''3%'''''''''''''''''''''''''''''''">
              <a:rPr lang="en-US" altLang="en-US" sz="1050" smtClean="0">
                <a:latin typeface="Calibri" panose="020F0502020204030204" pitchFamily="34" charset="0"/>
                <a:cs typeface="+mn-cs"/>
              </a:rPr>
              <a:pPr lvl="0">
                <a:spcBef>
                  <a:spcPct val="0"/>
                </a:spcBef>
                <a:spcAft>
                  <a:spcPct val="0"/>
                </a:spcAft>
              </a:pPr>
              <a:t>3%</a:t>
            </a:fld>
            <a:r>
              <a:rPr lang="en-US" altLang="en-US" sz="1050" dirty="0">
                <a:latin typeface="Calibri" panose="020F0502020204030204" pitchFamily="34" charset="0"/>
                <a:cs typeface="+mn-cs"/>
              </a:rPr>
              <a:t> (</a:t>
            </a:r>
            <a:fld id="{03E7F788-4553-4B79-850B-F2FABA890147}" type="datetime'''1'''''''''''''''''''''''''''''''''''''''''">
              <a:rPr lang="en-US" altLang="en-US" sz="1050" smtClean="0">
                <a:latin typeface="Calibri" panose="020F0502020204030204" pitchFamily="34" charset="0"/>
                <a:cs typeface="+mn-cs"/>
              </a:rPr>
              <a:pPr lvl="0">
                <a:spcBef>
                  <a:spcPct val="0"/>
                </a:spcBef>
                <a:spcAft>
                  <a:spcPct val="0"/>
                </a:spcAft>
              </a:pPr>
              <a:t>1</a:t>
            </a:fld>
            <a:r>
              <a:rPr lang="en-US" altLang="en-US" sz="1050" dirty="0">
                <a:latin typeface="Calibri" panose="020F0502020204030204" pitchFamily="34" charset="0"/>
                <a:cs typeface="+mn-cs"/>
              </a:rPr>
              <a:t>)</a:t>
            </a:r>
            <a:endParaRPr lang="en-US" sz="1050" dirty="0">
              <a:latin typeface="Calibri" panose="020F0502020204030204" pitchFamily="34" charset="0"/>
              <a:cs typeface="+mn-cs"/>
            </a:endParaRPr>
          </a:p>
        </p:txBody>
      </p:sp>
      <p:sp>
        <p:nvSpPr>
          <p:cNvPr id="32" name="Text Placeholder 4">
            <a:extLst>
              <a:ext uri="{FF2B5EF4-FFF2-40B4-BE49-F238E27FC236}">
                <a16:creationId xmlns:a16="http://schemas.microsoft.com/office/drawing/2014/main" id="{B7951151-FE0F-DF22-247D-2500C5BC8F64}"/>
              </a:ext>
            </a:extLst>
          </p:cNvPr>
          <p:cNvSpPr>
            <a:spLocks noGrp="1"/>
          </p:cNvSpPr>
          <p:nvPr>
            <p:custDataLst>
              <p:tags r:id="rId49"/>
            </p:custDataLst>
          </p:nvPr>
        </p:nvSpPr>
        <p:spPr bwMode="gray">
          <a:xfrm>
            <a:off x="3027363" y="5521325"/>
            <a:ext cx="401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F4B7C48-C806-4A80-BE40-78121F1C4C48}" type="datetime'''''''''''''''''''''''''''''''''''''''''3''%'''''''''''''''">
              <a:rPr lang="en-US" altLang="en-US" sz="1050" smtClean="0">
                <a:latin typeface="Calibri" panose="020F0502020204030204" pitchFamily="34" charset="0"/>
                <a:cs typeface="+mn-cs"/>
              </a:rPr>
              <a:pPr lvl="0">
                <a:spcBef>
                  <a:spcPct val="0"/>
                </a:spcBef>
                <a:spcAft>
                  <a:spcPct val="0"/>
                </a:spcAft>
              </a:pPr>
              <a:t>3%</a:t>
            </a:fld>
            <a:r>
              <a:rPr lang="en-US" altLang="en-US" sz="1050" dirty="0">
                <a:latin typeface="Calibri" panose="020F0502020204030204" pitchFamily="34" charset="0"/>
                <a:cs typeface="+mn-cs"/>
              </a:rPr>
              <a:t> (</a:t>
            </a:r>
            <a:fld id="{0475BDCF-6E7C-4847-B05E-3EDFC1C5B2A1}" type="datetime'''''''''1'''''''''''''''''''''''''''''''''''''''''''">
              <a:rPr lang="en-US" altLang="en-US" sz="1050" smtClean="0">
                <a:latin typeface="Calibri" panose="020F0502020204030204" pitchFamily="34" charset="0"/>
                <a:cs typeface="+mn-cs"/>
              </a:rPr>
              <a:pPr lvl="0">
                <a:spcBef>
                  <a:spcPct val="0"/>
                </a:spcBef>
                <a:spcAft>
                  <a:spcPct val="0"/>
                </a:spcAft>
              </a:pPr>
              <a:t>1</a:t>
            </a:fld>
            <a:r>
              <a:rPr lang="en-US" sz="1050" dirty="0">
                <a:latin typeface="Calibri" panose="020F0502020204030204" pitchFamily="34" charset="0"/>
                <a:cs typeface="+mn-cs"/>
              </a:rPr>
              <a:t>)</a:t>
            </a:r>
          </a:p>
        </p:txBody>
      </p:sp>
      <p:sp>
        <p:nvSpPr>
          <p:cNvPr id="248" name="ACET">
            <a:extLst>
              <a:ext uri="{FF2B5EF4-FFF2-40B4-BE49-F238E27FC236}">
                <a16:creationId xmlns:a16="http://schemas.microsoft.com/office/drawing/2014/main" id="{9FA47D84-0201-43DC-CA7D-3BD369356D81}"/>
              </a:ext>
            </a:extLst>
          </p:cNvPr>
          <p:cNvSpPr txBox="1">
            <a:spLocks/>
          </p:cNvSpPr>
          <p:nvPr>
            <p:custDataLst>
              <p:tags r:id="rId50"/>
            </p:custDataLst>
          </p:nvPr>
        </p:nvSpPr>
        <p:spPr>
          <a:xfrm>
            <a:off x="554038" y="2578100"/>
            <a:ext cx="3673476" cy="369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buNone/>
            </a:pPr>
            <a:r>
              <a:rPr lang="en-US" sz="1200" dirty="0">
                <a:latin typeface="Calibri" panose="020F0502020204030204" pitchFamily="34" charset="0"/>
                <a:cs typeface="Arial"/>
              </a:rPr>
              <a:t>Current VBC / APM model types</a:t>
            </a:r>
            <a:r>
              <a:rPr lang="en-US" sz="1200" baseline="30000" dirty="0">
                <a:latin typeface="Calibri" panose="020F0502020204030204" pitchFamily="34" charset="0"/>
                <a:cs typeface="Arial"/>
              </a:rPr>
              <a:t>2</a:t>
            </a:r>
            <a:r>
              <a:rPr lang="en-US" sz="1200" dirty="0">
                <a:latin typeface="Calibri" panose="020F0502020204030204" pitchFamily="34" charset="0"/>
                <a:cs typeface="Arial"/>
              </a:rPr>
              <a:t>, % of responses, multiple selections </a:t>
            </a:r>
          </a:p>
        </p:txBody>
      </p:sp>
      <p:cxnSp>
        <p:nvCxnSpPr>
          <p:cNvPr id="249" name="Straight Connector 248">
            <a:extLst>
              <a:ext uri="{FF2B5EF4-FFF2-40B4-BE49-F238E27FC236}">
                <a16:creationId xmlns:a16="http://schemas.microsoft.com/office/drawing/2014/main" id="{F1C46591-DEC0-1D02-A7CF-8CD5AAFC0A11}"/>
              </a:ext>
            </a:extLst>
          </p:cNvPr>
          <p:cNvCxnSpPr>
            <a:cxnSpLocks/>
          </p:cNvCxnSpPr>
          <p:nvPr/>
        </p:nvCxnSpPr>
        <p:spPr>
          <a:xfrm>
            <a:off x="554038" y="3006725"/>
            <a:ext cx="36734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8444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pic>
        <p:nvPicPr>
          <p:cNvPr id="509" name="Google Shape;509;g3764d82df2d_18_147" title="RHTP.png"/>
          <p:cNvPicPr preferRelativeResize="0"/>
          <p:nvPr/>
        </p:nvPicPr>
        <p:blipFill>
          <a:blip r:embed="rId3">
            <a:alphaModFix/>
          </a:blip>
          <a:stretch>
            <a:fillRect/>
          </a:stretch>
        </p:blipFill>
        <p:spPr>
          <a:xfrm>
            <a:off x="0" y="0"/>
            <a:ext cx="12192000" cy="6858000"/>
          </a:xfrm>
          <a:prstGeom prst="rect">
            <a:avLst/>
          </a:prstGeom>
          <a:noFill/>
          <a:ln>
            <a:noFill/>
          </a:ln>
        </p:spPr>
      </p:pic>
      <p:sp>
        <p:nvSpPr>
          <p:cNvPr id="510" name="Google Shape;510;g3764d82df2d_18_147"/>
          <p:cNvSpPr txBox="1">
            <a:spLocks noGrp="1"/>
          </p:cNvSpPr>
          <p:nvPr>
            <p:ph type="title"/>
          </p:nvPr>
        </p:nvSpPr>
        <p:spPr>
          <a:xfrm>
            <a:off x="838200" y="147575"/>
            <a:ext cx="10515600" cy="1325700"/>
          </a:xfrm>
          <a:prstGeom prst="rect">
            <a:avLst/>
          </a:prstGeom>
          <a:noFill/>
          <a:ln>
            <a:noFill/>
          </a:ln>
        </p:spPr>
        <p:txBody>
          <a:bodyPr spcFirstLastPara="1" vert="horz" wrap="square" lIns="91425" tIns="45700" rIns="91425" bIns="45700" rtlCol="0" anchor="ctr" anchorCtr="0">
            <a:normAutofit fontScale="90000"/>
          </a:bodyPr>
          <a:lstStyle/>
          <a:p>
            <a:pPr>
              <a:spcBef>
                <a:spcPts val="0"/>
              </a:spcBef>
              <a:buClr>
                <a:schemeClr val="dk1"/>
              </a:buClr>
              <a:buSzPct val="97777"/>
            </a:pPr>
            <a:r>
              <a:rPr lang="en-US" sz="5400" b="1" dirty="0">
                <a:solidFill>
                  <a:schemeClr val="lt1"/>
                </a:solidFill>
              </a:rPr>
              <a:t>Upcoming Engagement Opportunities</a:t>
            </a:r>
            <a:endParaRPr sz="5400" b="1" dirty="0">
              <a:solidFill>
                <a:schemeClr val="lt1"/>
              </a:solidFill>
            </a:endParaRPr>
          </a:p>
        </p:txBody>
      </p:sp>
      <p:sp>
        <p:nvSpPr>
          <p:cNvPr id="511" name="Google Shape;511;g3764d82df2d_18_147"/>
          <p:cNvSpPr txBox="1">
            <a:spLocks noGrp="1"/>
          </p:cNvSpPr>
          <p:nvPr>
            <p:ph type="body" idx="1"/>
          </p:nvPr>
        </p:nvSpPr>
        <p:spPr>
          <a:xfrm>
            <a:off x="355600" y="1348033"/>
            <a:ext cx="11344850" cy="5179767"/>
          </a:xfrm>
          <a:prstGeom prst="rect">
            <a:avLst/>
          </a:prstGeom>
          <a:noFill/>
          <a:ln>
            <a:noFill/>
          </a:ln>
        </p:spPr>
        <p:txBody>
          <a:bodyPr spcFirstLastPara="1" vert="horz" wrap="square" lIns="91425" tIns="45700" rIns="91425" bIns="45700" rtlCol="0" anchor="t" anchorCtr="0">
            <a:noAutofit/>
          </a:bodyPr>
          <a:lstStyle/>
          <a:p>
            <a:pPr marL="0" indent="0">
              <a:spcBef>
                <a:spcPts val="0"/>
              </a:spcBef>
              <a:buNone/>
            </a:pPr>
            <a:endParaRPr lang="en-US" sz="2400" dirty="0">
              <a:solidFill>
                <a:srgbClr val="001047"/>
              </a:solidFill>
            </a:endParaRPr>
          </a:p>
          <a:p>
            <a:pPr lvl="1">
              <a:spcBef>
                <a:spcPts val="0"/>
              </a:spcBef>
            </a:pPr>
            <a:r>
              <a:rPr lang="en-US" b="1" dirty="0">
                <a:solidFill>
                  <a:srgbClr val="001047"/>
                </a:solidFill>
              </a:rPr>
              <a:t>Virtual Vendor Showcase on Alternative Payment Models</a:t>
            </a:r>
            <a:r>
              <a:rPr lang="en-US" dirty="0">
                <a:solidFill>
                  <a:srgbClr val="001047"/>
                </a:solidFill>
              </a:rPr>
              <a:t>: </a:t>
            </a:r>
          </a:p>
          <a:p>
            <a:pPr marL="304815" lvl="1" indent="0">
              <a:spcBef>
                <a:spcPts val="0"/>
              </a:spcBef>
              <a:buNone/>
            </a:pPr>
            <a:r>
              <a:rPr lang="en-US" dirty="0">
                <a:solidFill>
                  <a:srgbClr val="001047"/>
                </a:solidFill>
              </a:rPr>
              <a:t>   </a:t>
            </a:r>
            <a:r>
              <a:rPr lang="en-US" dirty="0" smtClean="0">
                <a:solidFill>
                  <a:srgbClr val="001047"/>
                </a:solidFill>
              </a:rPr>
              <a:t>   When</a:t>
            </a:r>
            <a:r>
              <a:rPr lang="en-US" dirty="0">
                <a:solidFill>
                  <a:srgbClr val="001047"/>
                </a:solidFill>
              </a:rPr>
              <a:t>: July 7th – 11:30- 1:00 </a:t>
            </a:r>
            <a:r>
              <a:rPr lang="en-US" dirty="0" smtClean="0">
                <a:solidFill>
                  <a:srgbClr val="001047"/>
                </a:solidFill>
              </a:rPr>
              <a:t>pm</a:t>
            </a:r>
          </a:p>
          <a:p>
            <a:pPr marL="304815" lvl="1" indent="0">
              <a:spcBef>
                <a:spcPts val="0"/>
              </a:spcBef>
              <a:buNone/>
            </a:pPr>
            <a:endParaRPr lang="en-US" dirty="0">
              <a:solidFill>
                <a:srgbClr val="001047"/>
              </a:solidFill>
            </a:endParaRPr>
          </a:p>
          <a:p>
            <a:pPr lvl="1">
              <a:spcBef>
                <a:spcPts val="0"/>
              </a:spcBef>
            </a:pPr>
            <a:r>
              <a:rPr lang="en-US" dirty="0">
                <a:solidFill>
                  <a:srgbClr val="001047"/>
                </a:solidFill>
              </a:rPr>
              <a:t>Partnership with Louisiana Rural Health Association. </a:t>
            </a:r>
            <a:endParaRPr lang="en-US" dirty="0" smtClean="0">
              <a:solidFill>
                <a:srgbClr val="001047"/>
              </a:solidFill>
            </a:endParaRPr>
          </a:p>
          <a:p>
            <a:pPr marL="457200" lvl="1" indent="0">
              <a:spcBef>
                <a:spcPts val="0"/>
              </a:spcBef>
              <a:buNone/>
            </a:pPr>
            <a:endParaRPr lang="en-US" dirty="0">
              <a:solidFill>
                <a:srgbClr val="001047"/>
              </a:solidFill>
            </a:endParaRPr>
          </a:p>
          <a:p>
            <a:pPr lvl="1">
              <a:spcBef>
                <a:spcPts val="0"/>
              </a:spcBef>
            </a:pPr>
            <a:r>
              <a:rPr lang="en-US" dirty="0">
                <a:solidFill>
                  <a:srgbClr val="001047"/>
                </a:solidFill>
              </a:rPr>
              <a:t>Purpose is to provide rural clinics and hospitals the opportunity to hear from vendors and service providers who may offer Value Based Care &amp; Alternative Payment Model solutions that will help them implement Innovative Care objectives under the Louisiana Rural Health Transformation and Sustainability Program. </a:t>
            </a:r>
          </a:p>
          <a:p>
            <a:pPr lvl="1">
              <a:spcBef>
                <a:spcPts val="0"/>
              </a:spcBef>
            </a:pPr>
            <a:endParaRPr lang="en-US" dirty="0" smtClean="0">
              <a:solidFill>
                <a:srgbClr val="001047"/>
              </a:solidFill>
            </a:endParaRPr>
          </a:p>
          <a:p>
            <a:pPr lvl="1">
              <a:spcBef>
                <a:spcPts val="0"/>
              </a:spcBef>
            </a:pPr>
            <a:r>
              <a:rPr lang="en-US" dirty="0" smtClean="0">
                <a:solidFill>
                  <a:srgbClr val="001047"/>
                </a:solidFill>
              </a:rPr>
              <a:t>Please </a:t>
            </a:r>
            <a:r>
              <a:rPr lang="en-US" dirty="0">
                <a:solidFill>
                  <a:srgbClr val="001047"/>
                </a:solidFill>
              </a:rPr>
              <a:t>register to participate. The registration link can be found on </a:t>
            </a:r>
            <a:r>
              <a:rPr lang="en-US" dirty="0">
                <a:solidFill>
                  <a:srgbClr val="001047"/>
                </a:solidFill>
                <a:hlinkClick r:id="rId4"/>
              </a:rPr>
              <a:t>https://lrha27.wildapricot.org/</a:t>
            </a:r>
            <a:endParaRPr lang="en-US" dirty="0">
              <a:solidFill>
                <a:srgbClr val="001047"/>
              </a:solidFill>
            </a:endParaRPr>
          </a:p>
          <a:p>
            <a:pPr marL="304815" lvl="1" indent="0">
              <a:spcBef>
                <a:spcPts val="0"/>
              </a:spcBef>
              <a:buNone/>
            </a:pPr>
            <a:endParaRPr lang="en-US" dirty="0">
              <a:solidFill>
                <a:srgbClr val="001047"/>
              </a:solidFill>
            </a:endParaRPr>
          </a:p>
          <a:p>
            <a:pPr lvl="1">
              <a:spcBef>
                <a:spcPts val="0"/>
              </a:spcBef>
            </a:pPr>
            <a:r>
              <a:rPr lang="en-US" dirty="0">
                <a:solidFill>
                  <a:srgbClr val="001047"/>
                </a:solidFill>
              </a:rPr>
              <a:t>Next monthly webinar will be on Thursday, August 6, </a:t>
            </a:r>
            <a:r>
              <a:rPr lang="en-US" dirty="0" smtClean="0">
                <a:solidFill>
                  <a:srgbClr val="001047"/>
                </a:solidFill>
              </a:rPr>
              <a:t>2026.</a:t>
            </a:r>
            <a:endParaRPr lang="en-US" dirty="0">
              <a:solidFill>
                <a:srgbClr val="001047"/>
              </a:solidFill>
            </a:endParaRPr>
          </a:p>
          <a:p>
            <a:pPr marL="0" indent="0">
              <a:spcBef>
                <a:spcPts val="0"/>
              </a:spcBef>
              <a:buNone/>
            </a:pPr>
            <a:endParaRPr lang="en-US" sz="2667" dirty="0">
              <a:solidFill>
                <a:srgbClr val="001047"/>
              </a:solidFill>
            </a:endParaRPr>
          </a:p>
          <a:p>
            <a:pPr>
              <a:spcBef>
                <a:spcPts val="0"/>
              </a:spcBef>
            </a:pPr>
            <a:endParaRPr lang="en-US" sz="2667" dirty="0">
              <a:solidFill>
                <a:srgbClr val="001047"/>
              </a:solidFill>
            </a:endParaRPr>
          </a:p>
          <a:p>
            <a:pPr>
              <a:spcBef>
                <a:spcPts val="0"/>
              </a:spcBef>
            </a:pPr>
            <a:endParaRPr lang="en-US" sz="2667" dirty="0">
              <a:solidFill>
                <a:srgbClr val="001047"/>
              </a:solidFill>
            </a:endParaRPr>
          </a:p>
        </p:txBody>
      </p:sp>
    </p:spTree>
    <p:extLst>
      <p:ext uri="{BB962C8B-B14F-4D97-AF65-F5344CB8AC3E}">
        <p14:creationId xmlns:p14="http://schemas.microsoft.com/office/powerpoint/2010/main" val="2533837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pic>
        <p:nvPicPr>
          <p:cNvPr id="509" name="Google Shape;509;g3764d82df2d_18_147" title="RHTP.png"/>
          <p:cNvPicPr preferRelativeResize="0"/>
          <p:nvPr/>
        </p:nvPicPr>
        <p:blipFill>
          <a:blip r:embed="rId3">
            <a:alphaModFix/>
          </a:blip>
          <a:stretch>
            <a:fillRect/>
          </a:stretch>
        </p:blipFill>
        <p:spPr>
          <a:xfrm>
            <a:off x="0" y="0"/>
            <a:ext cx="12192000" cy="6858000"/>
          </a:xfrm>
          <a:prstGeom prst="rect">
            <a:avLst/>
          </a:prstGeom>
          <a:noFill/>
          <a:ln>
            <a:noFill/>
          </a:ln>
        </p:spPr>
      </p:pic>
      <p:sp>
        <p:nvSpPr>
          <p:cNvPr id="510" name="Google Shape;510;g3764d82df2d_18_147"/>
          <p:cNvSpPr txBox="1">
            <a:spLocks noGrp="1"/>
          </p:cNvSpPr>
          <p:nvPr>
            <p:ph type="title"/>
          </p:nvPr>
        </p:nvSpPr>
        <p:spPr>
          <a:xfrm>
            <a:off x="838200" y="444499"/>
            <a:ext cx="10515600" cy="1028775"/>
          </a:xfrm>
          <a:prstGeom prst="rect">
            <a:avLst/>
          </a:prstGeom>
          <a:noFill/>
          <a:ln>
            <a:noFill/>
          </a:ln>
        </p:spPr>
        <p:txBody>
          <a:bodyPr spcFirstLastPara="1" vert="horz" wrap="square" lIns="91425" tIns="45700" rIns="91425" bIns="45700" rtlCol="0" anchor="ctr" anchorCtr="0">
            <a:normAutofit/>
          </a:bodyPr>
          <a:lstStyle/>
          <a:p>
            <a:pPr>
              <a:spcBef>
                <a:spcPts val="0"/>
              </a:spcBef>
              <a:buClr>
                <a:schemeClr val="dk1"/>
              </a:buClr>
              <a:buSzPct val="97777"/>
            </a:pPr>
            <a:r>
              <a:rPr lang="en-US" sz="5400" b="1" dirty="0">
                <a:solidFill>
                  <a:schemeClr val="lt1"/>
                </a:solidFill>
              </a:rPr>
              <a:t>Rural Health Transformation</a:t>
            </a:r>
            <a:endParaRPr sz="5400" b="1" dirty="0">
              <a:solidFill>
                <a:schemeClr val="lt1"/>
              </a:solidFill>
            </a:endParaRPr>
          </a:p>
        </p:txBody>
      </p:sp>
      <p:sp>
        <p:nvSpPr>
          <p:cNvPr id="511" name="Google Shape;511;g3764d82df2d_18_147"/>
          <p:cNvSpPr txBox="1">
            <a:spLocks noGrp="1"/>
          </p:cNvSpPr>
          <p:nvPr>
            <p:ph type="body" idx="1"/>
          </p:nvPr>
        </p:nvSpPr>
        <p:spPr>
          <a:xfrm>
            <a:off x="491550" y="1955800"/>
            <a:ext cx="11208900" cy="4030526"/>
          </a:xfrm>
          <a:prstGeom prst="rect">
            <a:avLst/>
          </a:prstGeom>
          <a:noFill/>
          <a:ln>
            <a:noFill/>
          </a:ln>
        </p:spPr>
        <p:txBody>
          <a:bodyPr spcFirstLastPara="1" vert="horz" wrap="square" lIns="91425" tIns="45700" rIns="91425" bIns="45700" rtlCol="0" anchor="t" anchorCtr="0">
            <a:noAutofit/>
          </a:bodyPr>
          <a:lstStyle/>
          <a:p>
            <a:pPr marL="0" indent="0">
              <a:spcBef>
                <a:spcPts val="0"/>
              </a:spcBef>
              <a:buNone/>
            </a:pPr>
            <a:endParaRPr lang="en-US" sz="2000" dirty="0">
              <a:solidFill>
                <a:srgbClr val="001047"/>
              </a:solidFill>
            </a:endParaRPr>
          </a:p>
          <a:p>
            <a:pPr marL="0" indent="0">
              <a:spcBef>
                <a:spcPts val="0"/>
              </a:spcBef>
              <a:buNone/>
            </a:pPr>
            <a:r>
              <a:rPr lang="en-US" sz="2000" b="1" dirty="0">
                <a:solidFill>
                  <a:srgbClr val="001047"/>
                </a:solidFill>
              </a:rPr>
              <a:t>Stevens Amendment</a:t>
            </a:r>
          </a:p>
          <a:p>
            <a:pPr marL="0" indent="0">
              <a:spcBef>
                <a:spcPts val="0"/>
              </a:spcBef>
              <a:buNone/>
            </a:pPr>
            <a:r>
              <a:rPr lang="en-US" sz="2000" dirty="0">
                <a:solidFill>
                  <a:srgbClr val="001047"/>
                </a:solidFill>
              </a:rPr>
              <a:t>This project supported by the Centers for Medicare &amp; Medicaid Services (CMS) of the U.S. Department of Health and Human Services (HHS) as part of a financial assistance award totaling $208,374,447.57 with 100 percent funded by CMS/HHS. The contents are those of the author(s) and do not necessarily represent the official views of, nor an endorsement, by CMS/HHS, or the U.S. Government.</a:t>
            </a:r>
          </a:p>
          <a:p>
            <a:pPr>
              <a:spcBef>
                <a:spcPts val="0"/>
              </a:spcBef>
            </a:pPr>
            <a:endParaRPr lang="en-US" sz="2800" dirty="0">
              <a:solidFill>
                <a:srgbClr val="001047"/>
              </a:solidFill>
            </a:endParaRPr>
          </a:p>
          <a:p>
            <a:pPr>
              <a:spcBef>
                <a:spcPts val="0"/>
              </a:spcBef>
            </a:pPr>
            <a:endParaRPr lang="en-US" sz="2800" dirty="0">
              <a:solidFill>
                <a:srgbClr val="001047"/>
              </a:solidFill>
            </a:endParaRPr>
          </a:p>
        </p:txBody>
      </p:sp>
      <p:pic>
        <p:nvPicPr>
          <p:cNvPr id="2" name="Picture 1">
            <a:extLst>
              <a:ext uri="{FF2B5EF4-FFF2-40B4-BE49-F238E27FC236}">
                <a16:creationId xmlns:a16="http://schemas.microsoft.com/office/drawing/2014/main" id="{B1D91E84-A636-B81C-2E70-C74B9EE3786A}"/>
              </a:ext>
            </a:extLst>
          </p:cNvPr>
          <p:cNvPicPr>
            <a:picLocks noChangeAspect="1"/>
          </p:cNvPicPr>
          <p:nvPr/>
        </p:nvPicPr>
        <p:blipFill>
          <a:blip r:embed="rId4"/>
          <a:stretch>
            <a:fillRect/>
          </a:stretch>
        </p:blipFill>
        <p:spPr>
          <a:xfrm>
            <a:off x="1957603" y="4759841"/>
            <a:ext cx="2535525" cy="887434"/>
          </a:xfrm>
          <a:prstGeom prst="rect">
            <a:avLst/>
          </a:prstGeom>
        </p:spPr>
      </p:pic>
      <p:pic>
        <p:nvPicPr>
          <p:cNvPr id="3" name="Picture 2">
            <a:extLst>
              <a:ext uri="{FF2B5EF4-FFF2-40B4-BE49-F238E27FC236}">
                <a16:creationId xmlns:a16="http://schemas.microsoft.com/office/drawing/2014/main" id="{85C9050C-0FF4-5154-B3EA-786F91564438}"/>
              </a:ext>
            </a:extLst>
          </p:cNvPr>
          <p:cNvPicPr>
            <a:picLocks noChangeAspect="1"/>
          </p:cNvPicPr>
          <p:nvPr/>
        </p:nvPicPr>
        <p:blipFill>
          <a:blip r:embed="rId5"/>
          <a:stretch>
            <a:fillRect/>
          </a:stretch>
        </p:blipFill>
        <p:spPr>
          <a:xfrm>
            <a:off x="491550" y="4571999"/>
            <a:ext cx="1220277" cy="1220277"/>
          </a:xfrm>
          <a:prstGeom prst="rect">
            <a:avLst/>
          </a:prstGeom>
        </p:spPr>
      </p:pic>
    </p:spTree>
    <p:extLst>
      <p:ext uri="{BB962C8B-B14F-4D97-AF65-F5344CB8AC3E}">
        <p14:creationId xmlns:p14="http://schemas.microsoft.com/office/powerpoint/2010/main" val="29038122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3ACC6-00B5-37DB-BAFE-C7FA67729722}"/>
            </a:ext>
          </a:extLst>
        </p:cNvPr>
        <p:cNvGrpSpPr/>
        <p:nvPr/>
      </p:nvGrpSpPr>
      <p:grpSpPr>
        <a:xfrm>
          <a:off x="0" y="0"/>
          <a:ext cx="0" cy="0"/>
          <a:chOff x="0" y="0"/>
          <a:chExt cx="0" cy="0"/>
        </a:xfrm>
      </p:grpSpPr>
      <p:pic>
        <p:nvPicPr>
          <p:cNvPr id="16" name="Google Shape;509;g3764d82df2d_18_147" title="RHTP.png"/>
          <p:cNvPicPr preferRelativeResize="0"/>
          <p:nvPr/>
        </p:nvPicPr>
        <p:blipFill>
          <a:blip r:embed="rId7">
            <a:alphaModFix/>
          </a:blip>
          <a:stretch>
            <a:fillRect/>
          </a:stretch>
        </p:blipFill>
        <p:spPr>
          <a:xfrm>
            <a:off x="0" y="0"/>
            <a:ext cx="12192000" cy="6858000"/>
          </a:xfrm>
          <a:prstGeom prst="rect">
            <a:avLst/>
          </a:prstGeom>
          <a:noFill/>
          <a:ln>
            <a:noFill/>
          </a:ln>
        </p:spPr>
      </p:pic>
      <p:sp>
        <p:nvSpPr>
          <p:cNvPr id="17" name="Google Shape;510;g3764d82df2d_18_147"/>
          <p:cNvSpPr txBox="1">
            <a:spLocks/>
          </p:cNvSpPr>
          <p:nvPr/>
        </p:nvSpPr>
        <p:spPr>
          <a:xfrm>
            <a:off x="838200" y="147575"/>
            <a:ext cx="10515600" cy="1325700"/>
          </a:xfrm>
          <a:prstGeom prst="rect">
            <a:avLst/>
          </a:prstGeom>
          <a:noFill/>
          <a:ln>
            <a:noFill/>
          </a:ln>
        </p:spPr>
        <p:txBody>
          <a:bodyPr spcFirstLastPara="1" vert="horz" wrap="square" lIns="91425" tIns="45700" rIns="91425" bIns="4570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0"/>
              </a:spcBef>
              <a:buClr>
                <a:schemeClr val="dk1"/>
              </a:buClr>
              <a:buSzPct val="97777"/>
            </a:pPr>
            <a:r>
              <a:rPr lang="en-US" sz="4500" b="1" dirty="0">
                <a:solidFill>
                  <a:schemeClr val="lt1"/>
                </a:solidFill>
                <a:latin typeface="Calibri" panose="020F0502020204030204" pitchFamily="34" charset="0"/>
              </a:rPr>
              <a:t>ORHTS Updates</a:t>
            </a:r>
            <a:endParaRPr lang="en-US" sz="1867" b="1" dirty="0">
              <a:solidFill>
                <a:schemeClr val="lt1"/>
              </a:solidFill>
              <a:latin typeface="Calibri" panose="020F0502020204030204" pitchFamily="34" charset="0"/>
            </a:endParaRPr>
          </a:p>
        </p:txBody>
      </p:sp>
      <p:graphicFrame>
        <p:nvGraphicFramePr>
          <p:cNvPr id="5" name="Object 2" hidden="1">
            <a:extLst>
              <a:ext uri="{FF2B5EF4-FFF2-40B4-BE49-F238E27FC236}">
                <a16:creationId xmlns:a16="http://schemas.microsoft.com/office/drawing/2014/main" id="{608BEF57-7328-24D5-45C6-A43C096FD58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8" imgW="404" imgH="405" progId="TCLayout.ActiveDocument.1">
                  <p:embed/>
                </p:oleObj>
              </mc:Choice>
              <mc:Fallback>
                <p:oleObj name="think-cell Slide" r:id="rId8" imgW="404" imgH="405" progId="TCLayout.ActiveDocument.1">
                  <p:embed/>
                  <p:pic>
                    <p:nvPicPr>
                      <p:cNvPr id="5" name="Object 2" hidden="1">
                        <a:extLst>
                          <a:ext uri="{FF2B5EF4-FFF2-40B4-BE49-F238E27FC236}">
                            <a16:creationId xmlns:a16="http://schemas.microsoft.com/office/drawing/2014/main" id="{608BEF57-7328-24D5-45C6-A43C096FD5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92E1A986-7748-4CA2-B9FA-83EAD058B559}"/>
              </a:ext>
            </a:extLst>
          </p:cNvPr>
          <p:cNvSpPr txBox="1">
            <a:spLocks/>
          </p:cNvSpPr>
          <p:nvPr/>
        </p:nvSpPr>
        <p:spPr>
          <a:xfrm>
            <a:off x="838200" y="1721391"/>
            <a:ext cx="7689070" cy="6458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46">
              <a:defRPr/>
            </a:pPr>
            <a:endParaRPr lang="en-US" sz="3600" b="1" dirty="0">
              <a:solidFill>
                <a:srgbClr val="000000"/>
              </a:solidFill>
              <a:latin typeface="Arial"/>
            </a:endParaRPr>
          </a:p>
        </p:txBody>
      </p:sp>
      <p:sp>
        <p:nvSpPr>
          <p:cNvPr id="27" name="TextBox 26">
            <a:extLst>
              <a:ext uri="{FF2B5EF4-FFF2-40B4-BE49-F238E27FC236}">
                <a16:creationId xmlns:a16="http://schemas.microsoft.com/office/drawing/2014/main" id="{42FA2333-B0E9-982F-99D5-A5AA8E1BEC0C}"/>
              </a:ext>
            </a:extLst>
          </p:cNvPr>
          <p:cNvSpPr txBox="1">
            <a:spLocks/>
          </p:cNvSpPr>
          <p:nvPr>
            <p:custDataLst>
              <p:tags r:id="rId4"/>
            </p:custDataLst>
          </p:nvPr>
        </p:nvSpPr>
        <p:spPr>
          <a:xfrm>
            <a:off x="707136" y="1804279"/>
            <a:ext cx="10646664" cy="132343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200"/>
              </a:spcBef>
              <a:spcAft>
                <a:spcPts val="0"/>
              </a:spcAft>
              <a:buClr>
                <a:schemeClr val="tx1"/>
              </a:buClr>
              <a:buNone/>
            </a:pPr>
            <a:endParaRPr lang="en-US" sz="2200" b="1" dirty="0"/>
          </a:p>
          <a:p>
            <a:pPr marL="171459" indent="-171459">
              <a:spcBef>
                <a:spcPts val="1200"/>
              </a:spcBef>
              <a:spcAft>
                <a:spcPts val="0"/>
              </a:spcAft>
              <a:buClr>
                <a:schemeClr val="tx1"/>
              </a:buClr>
              <a:buFont typeface="Arial" panose="020B0604020202020204" pitchFamily="34" charset="0"/>
              <a:buChar char="•"/>
            </a:pPr>
            <a:endParaRPr lang="en-US" sz="2200" dirty="0">
              <a:solidFill>
                <a:srgbClr val="000000"/>
              </a:solidFill>
            </a:endParaRPr>
          </a:p>
          <a:p>
            <a:pPr marL="171459" indent="-171459">
              <a:spcBef>
                <a:spcPts val="1200"/>
              </a:spcBef>
              <a:spcAft>
                <a:spcPts val="0"/>
              </a:spcAft>
              <a:buClr>
                <a:schemeClr val="tx1"/>
              </a:buClr>
              <a:buFont typeface="Arial" panose="020B0604020202020204" pitchFamily="34" charset="0"/>
              <a:buChar char="•"/>
            </a:pPr>
            <a:endParaRPr lang="en-US" sz="2200" dirty="0"/>
          </a:p>
        </p:txBody>
      </p:sp>
      <p:sp>
        <p:nvSpPr>
          <p:cNvPr id="9" name="TextBox 6"/>
          <p:cNvSpPr txBox="1"/>
          <p:nvPr/>
        </p:nvSpPr>
        <p:spPr>
          <a:xfrm>
            <a:off x="823468" y="1804279"/>
            <a:ext cx="10414000" cy="4601260"/>
          </a:xfrm>
          <a:prstGeom prst="rect">
            <a:avLst/>
          </a:prstGeom>
        </p:spPr>
        <p:txBody>
          <a:bodyPr wrap="square" lIns="0" tIns="0" rIns="0" bIns="0" rtlCol="0" anchor="t">
            <a:spAutoFit/>
          </a:bodyPr>
          <a:lstStyle/>
          <a:p>
            <a:pPr marL="609630" lvl="1" indent="-304815">
              <a:lnSpc>
                <a:spcPct val="115000"/>
              </a:lnSpc>
              <a:buFont typeface="Arial" panose="020B0604020202020204" pitchFamily="34" charset="0"/>
              <a:buChar char="•"/>
            </a:pPr>
            <a:r>
              <a:rPr lang="en-US" sz="2000" b="1" dirty="0">
                <a:latin typeface="Calibri" panose="020F0502020204030204" pitchFamily="34" charset="0"/>
                <a:ea typeface="Verdana" panose="020B0604030504040204" pitchFamily="34" charset="0"/>
              </a:rPr>
              <a:t>State Office of Rural Health has joined Office of </a:t>
            </a:r>
          </a:p>
          <a:p>
            <a:pPr marL="304815" lvl="1">
              <a:lnSpc>
                <a:spcPct val="115000"/>
              </a:lnSpc>
            </a:pPr>
            <a:r>
              <a:rPr lang="en-US" sz="2000" b="1" dirty="0">
                <a:latin typeface="Calibri" panose="020F0502020204030204" pitchFamily="34" charset="0"/>
                <a:ea typeface="Verdana" panose="020B0604030504040204" pitchFamily="34" charset="0"/>
              </a:rPr>
              <a:t>Rural Health Transformation and Sustainability </a:t>
            </a:r>
          </a:p>
          <a:p>
            <a:pPr marL="1066830" lvl="2" indent="-304815">
              <a:lnSpc>
                <a:spcPct val="115000"/>
              </a:lnSpc>
              <a:buFont typeface="Arial" panose="020B0604020202020204" pitchFamily="34" charset="0"/>
              <a:buChar char="•"/>
            </a:pPr>
            <a:r>
              <a:rPr lang="en-US" sz="2000" dirty="0">
                <a:latin typeface="Calibri" panose="020F0502020204030204" pitchFamily="34" charset="0"/>
                <a:ea typeface="Verdana" panose="020B0604030504040204" pitchFamily="34" charset="0"/>
              </a:rPr>
              <a:t>Team Members: Terrilyn Roberts, Beth Butler, Kelly </a:t>
            </a:r>
            <a:r>
              <a:rPr lang="en-US" sz="2000" dirty="0" err="1">
                <a:latin typeface="Calibri" panose="020F0502020204030204" pitchFamily="34" charset="0"/>
                <a:ea typeface="Verdana" panose="020B0604030504040204" pitchFamily="34" charset="0"/>
              </a:rPr>
              <a:t>Graphia</a:t>
            </a:r>
            <a:endParaRPr lang="en-US" sz="2000" dirty="0">
              <a:latin typeface="Calibri" panose="020F0502020204030204" pitchFamily="34" charset="0"/>
              <a:ea typeface="Verdana" panose="020B0604030504040204" pitchFamily="34" charset="0"/>
            </a:endParaRPr>
          </a:p>
          <a:p>
            <a:pPr marL="1066830" lvl="2" indent="-304815">
              <a:lnSpc>
                <a:spcPct val="115000"/>
              </a:lnSpc>
              <a:buFont typeface="Arial" panose="020B0604020202020204" pitchFamily="34" charset="0"/>
              <a:buChar char="•"/>
            </a:pPr>
            <a:r>
              <a:rPr lang="en-US" sz="2000" dirty="0">
                <a:latin typeface="Calibri" panose="020F0502020204030204" pitchFamily="34" charset="0"/>
                <a:ea typeface="Verdana" panose="020B0604030504040204" pitchFamily="34" charset="0"/>
              </a:rPr>
              <a:t>Hiring: Director position - contact</a:t>
            </a:r>
          </a:p>
          <a:p>
            <a:pPr marL="609630" lvl="1" indent="-304815">
              <a:lnSpc>
                <a:spcPct val="115000"/>
              </a:lnSpc>
              <a:buFont typeface="Arial" panose="020B0604020202020204" pitchFamily="34" charset="0"/>
              <a:buChar char="•"/>
            </a:pPr>
            <a:r>
              <a:rPr lang="en-US" sz="2000" b="1" dirty="0">
                <a:latin typeface="Calibri" panose="020F0502020204030204" pitchFamily="34" charset="0"/>
                <a:ea typeface="Verdana" panose="020B0604030504040204" pitchFamily="34" charset="0"/>
              </a:rPr>
              <a:t>New Team Members: </a:t>
            </a:r>
          </a:p>
          <a:p>
            <a:pPr marL="1066830" lvl="2" indent="-304815">
              <a:lnSpc>
                <a:spcPct val="115000"/>
              </a:lnSpc>
              <a:buFont typeface="Arial" panose="020B0604020202020204" pitchFamily="34" charset="0"/>
              <a:buChar char="•"/>
            </a:pPr>
            <a:r>
              <a:rPr lang="en-US" sz="2000" dirty="0">
                <a:latin typeface="Calibri" panose="020F0502020204030204" pitchFamily="34" charset="0"/>
                <a:ea typeface="Verdana" panose="020B0604030504040204" pitchFamily="34" charset="0"/>
              </a:rPr>
              <a:t>Jaime Cyprian, Jody Davis, Janie Stelly, Hua Wang, Jackie Cobbs</a:t>
            </a:r>
          </a:p>
          <a:p>
            <a:pPr marL="1066830" lvl="2" indent="-304815">
              <a:lnSpc>
                <a:spcPct val="115000"/>
              </a:lnSpc>
              <a:buFont typeface="Arial" panose="020B0604020202020204" pitchFamily="34" charset="0"/>
              <a:buChar char="•"/>
            </a:pPr>
            <a:r>
              <a:rPr lang="en-US" sz="2000" dirty="0">
                <a:latin typeface="Calibri" panose="020F0502020204030204" pitchFamily="34" charset="0"/>
                <a:ea typeface="Verdana" panose="020B0604030504040204" pitchFamily="34" charset="0"/>
              </a:rPr>
              <a:t>Hiring program managers</a:t>
            </a:r>
          </a:p>
          <a:p>
            <a:pPr marL="609630" lvl="1" indent="-304815">
              <a:lnSpc>
                <a:spcPct val="115000"/>
              </a:lnSpc>
              <a:buFont typeface="Arial" panose="020B0604020202020204" pitchFamily="34" charset="0"/>
              <a:buChar char="•"/>
            </a:pPr>
            <a:r>
              <a:rPr lang="en-US" sz="2000" b="1" dirty="0">
                <a:latin typeface="Calibri" panose="020F0502020204030204" pitchFamily="34" charset="0"/>
                <a:ea typeface="Verdana" panose="020B0604030504040204" pitchFamily="34" charset="0"/>
              </a:rPr>
              <a:t>Website – Check for updates regularly</a:t>
            </a:r>
          </a:p>
          <a:p>
            <a:pPr marL="1066830" lvl="2" indent="-304815">
              <a:lnSpc>
                <a:spcPct val="115000"/>
              </a:lnSpc>
              <a:buFont typeface="Arial" panose="020B0604020202020204" pitchFamily="34" charset="0"/>
              <a:buChar char="•"/>
            </a:pPr>
            <a:r>
              <a:rPr lang="en-US" sz="2000" dirty="0">
                <a:latin typeface="Calibri" panose="020F0502020204030204" pitchFamily="34" charset="0"/>
                <a:ea typeface="Verdana" panose="020B0604030504040204" pitchFamily="34" charset="0"/>
              </a:rPr>
              <a:t>NOFOs available: APM/VBC, Food is Medicine, Collaborative Provider Models, Care conveners </a:t>
            </a:r>
          </a:p>
          <a:p>
            <a:pPr marL="1066830" lvl="2" indent="-304815">
              <a:lnSpc>
                <a:spcPct val="115000"/>
              </a:lnSpc>
              <a:buFont typeface="Arial" panose="020B0604020202020204" pitchFamily="34" charset="0"/>
              <a:buChar char="•"/>
            </a:pPr>
            <a:r>
              <a:rPr lang="en-US" sz="2000" dirty="0">
                <a:latin typeface="Calibri" panose="020F0502020204030204" pitchFamily="34" charset="0"/>
                <a:ea typeface="Verdana" panose="020B0604030504040204" pitchFamily="34" charset="0"/>
              </a:rPr>
              <a:t>Important Dates Section added</a:t>
            </a:r>
          </a:p>
          <a:p>
            <a:pPr marL="609630" lvl="1" indent="-304815">
              <a:lnSpc>
                <a:spcPct val="115000"/>
              </a:lnSpc>
              <a:buFont typeface="Arial" panose="020B0604020202020204" pitchFamily="34" charset="0"/>
              <a:buChar char="•"/>
            </a:pPr>
            <a:r>
              <a:rPr lang="en-US" sz="2000" b="1" dirty="0">
                <a:latin typeface="Calibri" panose="020F0502020204030204" pitchFamily="34" charset="0"/>
                <a:ea typeface="Verdana" panose="020B0604030504040204" pitchFamily="34" charset="0"/>
              </a:rPr>
              <a:t>RHTP Rural Health Summit – Natchitoches</a:t>
            </a:r>
          </a:p>
          <a:p>
            <a:pPr marL="1066830" lvl="2" indent="-304815">
              <a:lnSpc>
                <a:spcPct val="115000"/>
              </a:lnSpc>
              <a:buFont typeface="Arial" panose="020B0604020202020204" pitchFamily="34" charset="0"/>
              <a:buChar char="•"/>
            </a:pPr>
            <a:r>
              <a:rPr lang="en-US" sz="2000" dirty="0">
                <a:latin typeface="Calibri" panose="020F0502020204030204" pitchFamily="34" charset="0"/>
                <a:ea typeface="Verdana" panose="020B0604030504040204" pitchFamily="34" charset="0"/>
              </a:rPr>
              <a:t>Survey: https://</a:t>
            </a:r>
            <a:r>
              <a:rPr lang="en-US" sz="2000" dirty="0" err="1">
                <a:latin typeface="Calibri" panose="020F0502020204030204" pitchFamily="34" charset="0"/>
                <a:ea typeface="Verdana" panose="020B0604030504040204" pitchFamily="34" charset="0"/>
              </a:rPr>
              <a:t>forms.gle</a:t>
            </a:r>
            <a:r>
              <a:rPr lang="en-US" sz="2000" dirty="0">
                <a:latin typeface="Calibri" panose="020F0502020204030204" pitchFamily="34" charset="0"/>
                <a:ea typeface="Verdana" panose="020B0604030504040204" pitchFamily="34" charset="0"/>
              </a:rPr>
              <a:t>/LWzZ94WZQVczuFEW7</a:t>
            </a:r>
          </a:p>
        </p:txBody>
      </p:sp>
    </p:spTree>
    <p:custDataLst>
      <p:tags r:id="rId2"/>
    </p:custDataLst>
    <p:extLst>
      <p:ext uri="{BB962C8B-B14F-4D97-AF65-F5344CB8AC3E}">
        <p14:creationId xmlns:p14="http://schemas.microsoft.com/office/powerpoint/2010/main" val="2488624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pic>
        <p:nvPicPr>
          <p:cNvPr id="509" name="Google Shape;509;g3764d82df2d_18_147" title="RHTP.png"/>
          <p:cNvPicPr preferRelativeResize="0"/>
          <p:nvPr/>
        </p:nvPicPr>
        <p:blipFill>
          <a:blip r:embed="rId3">
            <a:alphaModFix/>
          </a:blip>
          <a:stretch>
            <a:fillRect/>
          </a:stretch>
        </p:blipFill>
        <p:spPr>
          <a:xfrm>
            <a:off x="0" y="-107577"/>
            <a:ext cx="12192000" cy="6858000"/>
          </a:xfrm>
          <a:prstGeom prst="rect">
            <a:avLst/>
          </a:prstGeom>
          <a:noFill/>
          <a:ln>
            <a:noFill/>
          </a:ln>
        </p:spPr>
      </p:pic>
      <p:sp>
        <p:nvSpPr>
          <p:cNvPr id="510" name="Google Shape;510;g3764d82df2d_18_147"/>
          <p:cNvSpPr txBox="1">
            <a:spLocks noGrp="1"/>
          </p:cNvSpPr>
          <p:nvPr>
            <p:ph type="title"/>
          </p:nvPr>
        </p:nvSpPr>
        <p:spPr>
          <a:xfrm>
            <a:off x="838200" y="147575"/>
            <a:ext cx="10515600" cy="1325700"/>
          </a:xfrm>
          <a:prstGeom prst="rect">
            <a:avLst/>
          </a:prstGeom>
          <a:noFill/>
          <a:ln>
            <a:noFill/>
          </a:ln>
        </p:spPr>
        <p:txBody>
          <a:bodyPr spcFirstLastPara="1" vert="horz" wrap="square" lIns="91425" tIns="45700" rIns="91425" bIns="45700" rtlCol="0" anchor="ctr" anchorCtr="0">
            <a:normAutofit/>
          </a:bodyPr>
          <a:lstStyle/>
          <a:p>
            <a:pPr>
              <a:spcBef>
                <a:spcPts val="0"/>
              </a:spcBef>
              <a:buClr>
                <a:schemeClr val="dk1"/>
              </a:buClr>
              <a:buSzPct val="97777"/>
            </a:pPr>
            <a:r>
              <a:rPr lang="en-US" sz="5400" b="1" dirty="0">
                <a:solidFill>
                  <a:schemeClr val="lt1"/>
                </a:solidFill>
              </a:rPr>
              <a:t>Active NOFOs </a:t>
            </a:r>
            <a:endParaRPr sz="5400" b="1" dirty="0">
              <a:solidFill>
                <a:schemeClr val="lt1"/>
              </a:solidFill>
            </a:endParaRPr>
          </a:p>
        </p:txBody>
      </p:sp>
      <p:sp>
        <p:nvSpPr>
          <p:cNvPr id="5" name="Google Shape;511;g3764d82df2d_18_147"/>
          <p:cNvSpPr txBox="1">
            <a:spLocks/>
          </p:cNvSpPr>
          <p:nvPr/>
        </p:nvSpPr>
        <p:spPr>
          <a:xfrm>
            <a:off x="6278433" y="2336796"/>
            <a:ext cx="2641600" cy="1718839"/>
          </a:xfrm>
          <a:prstGeom prst="rect">
            <a:avLst/>
          </a:prstGeom>
          <a:solidFill>
            <a:srgbClr val="63C5CF"/>
          </a:solidFill>
          <a:ln>
            <a:noFill/>
          </a:ln>
        </p:spPr>
        <p:txBody>
          <a:bodyPr spcFirstLastPara="1" vert="horz" wrap="square" lIns="91425" tIns="45700" rIns="91425" bIns="4570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endParaRPr lang="en-US" sz="2400" b="1" dirty="0">
              <a:solidFill>
                <a:schemeClr val="accent1">
                  <a:lumMod val="50000"/>
                </a:schemeClr>
              </a:solidFill>
            </a:endParaRPr>
          </a:p>
          <a:p>
            <a:pPr marL="0" indent="0" algn="ctr">
              <a:spcBef>
                <a:spcPts val="0"/>
              </a:spcBef>
              <a:buNone/>
            </a:pPr>
            <a:r>
              <a:rPr lang="en-US" sz="1800" b="1" dirty="0">
                <a:solidFill>
                  <a:schemeClr val="accent1">
                    <a:lumMod val="50000"/>
                  </a:schemeClr>
                </a:solidFill>
              </a:rPr>
              <a:t>Telehealth Infrastructure for Rural </a:t>
            </a:r>
            <a:r>
              <a:rPr lang="en-US" sz="1800" b="1" dirty="0" smtClean="0">
                <a:solidFill>
                  <a:schemeClr val="accent1">
                    <a:lumMod val="50000"/>
                  </a:schemeClr>
                </a:solidFill>
              </a:rPr>
              <a:t>Access</a:t>
            </a:r>
          </a:p>
          <a:p>
            <a:pPr marL="0" indent="0" algn="ctr">
              <a:spcBef>
                <a:spcPts val="0"/>
              </a:spcBef>
              <a:buNone/>
            </a:pPr>
            <a:r>
              <a:rPr lang="en-US" sz="1400" i="1" dirty="0" smtClean="0">
                <a:solidFill>
                  <a:schemeClr val="accent1">
                    <a:lumMod val="50000"/>
                  </a:schemeClr>
                </a:solidFill>
              </a:rPr>
              <a:t>Applications Due July 10</a:t>
            </a:r>
            <a:endParaRPr lang="en-US" sz="1400" i="1" dirty="0">
              <a:solidFill>
                <a:schemeClr val="accent1">
                  <a:lumMod val="50000"/>
                </a:schemeClr>
              </a:solidFill>
            </a:endParaRPr>
          </a:p>
          <a:p>
            <a:pPr>
              <a:spcBef>
                <a:spcPts val="0"/>
              </a:spcBef>
            </a:pPr>
            <a:endParaRPr lang="en-US" sz="2667" dirty="0">
              <a:solidFill>
                <a:srgbClr val="001047"/>
              </a:solidFill>
            </a:endParaRPr>
          </a:p>
        </p:txBody>
      </p:sp>
      <p:sp>
        <p:nvSpPr>
          <p:cNvPr id="6" name="Google Shape;511;g3764d82df2d_18_147"/>
          <p:cNvSpPr txBox="1">
            <a:spLocks/>
          </p:cNvSpPr>
          <p:nvPr/>
        </p:nvSpPr>
        <p:spPr>
          <a:xfrm>
            <a:off x="9163897" y="2263822"/>
            <a:ext cx="2641600" cy="1791813"/>
          </a:xfrm>
          <a:prstGeom prst="rect">
            <a:avLst/>
          </a:prstGeom>
          <a:solidFill>
            <a:srgbClr val="63C5CF"/>
          </a:solidFill>
          <a:ln>
            <a:noFill/>
          </a:ln>
        </p:spPr>
        <p:txBody>
          <a:bodyPr spcFirstLastPara="1" vert="horz" wrap="square" lIns="91425" tIns="45700" rIns="91425" bIns="4570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endParaRPr lang="en-US" sz="2400" b="1" dirty="0">
              <a:solidFill>
                <a:schemeClr val="accent1">
                  <a:lumMod val="50000"/>
                </a:schemeClr>
              </a:solidFill>
            </a:endParaRPr>
          </a:p>
          <a:p>
            <a:pPr marL="0" indent="0" algn="ctr">
              <a:spcBef>
                <a:spcPts val="0"/>
              </a:spcBef>
              <a:buNone/>
            </a:pPr>
            <a:r>
              <a:rPr lang="en-US" sz="1800" b="1" dirty="0" smtClean="0">
                <a:solidFill>
                  <a:schemeClr val="accent1">
                    <a:lumMod val="50000"/>
                  </a:schemeClr>
                </a:solidFill>
              </a:rPr>
              <a:t>Rural </a:t>
            </a:r>
            <a:r>
              <a:rPr lang="en-US" sz="1800" b="1" dirty="0">
                <a:solidFill>
                  <a:schemeClr val="accent1">
                    <a:lumMod val="50000"/>
                  </a:schemeClr>
                </a:solidFill>
              </a:rPr>
              <a:t>Health Facilities Capital Improvement </a:t>
            </a:r>
            <a:r>
              <a:rPr lang="en-US" sz="1800" b="1" dirty="0" smtClean="0">
                <a:solidFill>
                  <a:schemeClr val="accent1">
                    <a:lumMod val="50000"/>
                  </a:schemeClr>
                </a:solidFill>
              </a:rPr>
              <a:t>Program</a:t>
            </a:r>
          </a:p>
          <a:p>
            <a:pPr marL="0" indent="0" algn="ctr">
              <a:spcBef>
                <a:spcPts val="0"/>
              </a:spcBef>
              <a:buNone/>
            </a:pPr>
            <a:r>
              <a:rPr lang="en-US" sz="1400" i="1" dirty="0">
                <a:solidFill>
                  <a:schemeClr val="accent1">
                    <a:lumMod val="50000"/>
                  </a:schemeClr>
                </a:solidFill>
              </a:rPr>
              <a:t>Applications Due July </a:t>
            </a:r>
            <a:r>
              <a:rPr lang="en-US" sz="1400" i="1" dirty="0" smtClean="0">
                <a:solidFill>
                  <a:schemeClr val="accent1">
                    <a:lumMod val="50000"/>
                  </a:schemeClr>
                </a:solidFill>
              </a:rPr>
              <a:t>10</a:t>
            </a:r>
            <a:endParaRPr lang="en-US" sz="2400" b="1" dirty="0">
              <a:solidFill>
                <a:schemeClr val="accent1">
                  <a:lumMod val="50000"/>
                </a:schemeClr>
              </a:solidFill>
            </a:endParaRPr>
          </a:p>
          <a:p>
            <a:pPr>
              <a:spcBef>
                <a:spcPts val="0"/>
              </a:spcBef>
            </a:pPr>
            <a:endParaRPr lang="en-US" sz="2667" dirty="0">
              <a:solidFill>
                <a:srgbClr val="001047"/>
              </a:solidFill>
            </a:endParaRPr>
          </a:p>
        </p:txBody>
      </p:sp>
      <p:sp>
        <p:nvSpPr>
          <p:cNvPr id="2" name="Rectangle 1"/>
          <p:cNvSpPr/>
          <p:nvPr/>
        </p:nvSpPr>
        <p:spPr>
          <a:xfrm>
            <a:off x="515471" y="1680705"/>
            <a:ext cx="2641600" cy="6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cap="small" dirty="0"/>
              <a:t>Workforce</a:t>
            </a:r>
          </a:p>
        </p:txBody>
      </p:sp>
      <p:sp>
        <p:nvSpPr>
          <p:cNvPr id="8" name="Rectangle 7"/>
          <p:cNvSpPr/>
          <p:nvPr/>
        </p:nvSpPr>
        <p:spPr>
          <a:xfrm>
            <a:off x="6278433" y="1680705"/>
            <a:ext cx="2641600" cy="6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cap="small" dirty="0"/>
              <a:t>MRAHA</a:t>
            </a:r>
          </a:p>
        </p:txBody>
      </p:sp>
      <p:sp>
        <p:nvSpPr>
          <p:cNvPr id="9" name="Rectangle 8"/>
          <p:cNvSpPr/>
          <p:nvPr/>
        </p:nvSpPr>
        <p:spPr>
          <a:xfrm>
            <a:off x="9163897" y="1644665"/>
            <a:ext cx="2641600" cy="6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cap="small" dirty="0"/>
              <a:t>Sustainable Access</a:t>
            </a:r>
          </a:p>
        </p:txBody>
      </p:sp>
      <p:sp>
        <p:nvSpPr>
          <p:cNvPr id="11" name="Google Shape;511;g3764d82df2d_18_147"/>
          <p:cNvSpPr txBox="1">
            <a:spLocks/>
          </p:cNvSpPr>
          <p:nvPr/>
        </p:nvSpPr>
        <p:spPr>
          <a:xfrm>
            <a:off x="511885" y="2336796"/>
            <a:ext cx="2641600" cy="1718839"/>
          </a:xfrm>
          <a:prstGeom prst="rect">
            <a:avLst/>
          </a:prstGeom>
          <a:solidFill>
            <a:srgbClr val="63C5CF"/>
          </a:solidFill>
          <a:ln>
            <a:noFill/>
          </a:ln>
        </p:spPr>
        <p:txBody>
          <a:bodyPr spcFirstLastPara="1" vert="horz" wrap="square" lIns="91425" tIns="45700" rIns="91425" bIns="4570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endParaRPr lang="en-US" sz="1800" b="1" dirty="0" smtClean="0">
              <a:solidFill>
                <a:schemeClr val="accent1">
                  <a:lumMod val="50000"/>
                </a:schemeClr>
              </a:solidFill>
            </a:endParaRPr>
          </a:p>
          <a:p>
            <a:pPr marL="0" indent="0" algn="ctr">
              <a:spcBef>
                <a:spcPts val="0"/>
              </a:spcBef>
              <a:buNone/>
            </a:pPr>
            <a:r>
              <a:rPr lang="en-US" sz="1800" b="1" dirty="0" smtClean="0">
                <a:solidFill>
                  <a:schemeClr val="accent1">
                    <a:lumMod val="50000"/>
                  </a:schemeClr>
                </a:solidFill>
              </a:rPr>
              <a:t>Rural Clinician Credit Bank</a:t>
            </a:r>
          </a:p>
          <a:p>
            <a:pPr marL="0" indent="0" algn="ctr">
              <a:spcBef>
                <a:spcPts val="0"/>
              </a:spcBef>
              <a:buNone/>
            </a:pPr>
            <a:r>
              <a:rPr lang="en-US" sz="1400" i="1" dirty="0" smtClean="0">
                <a:solidFill>
                  <a:schemeClr val="accent1">
                    <a:lumMod val="50000"/>
                  </a:schemeClr>
                </a:solidFill>
              </a:rPr>
              <a:t>Applications Currently under Review</a:t>
            </a:r>
            <a:endParaRPr lang="en-US" sz="1400" i="1" dirty="0">
              <a:solidFill>
                <a:schemeClr val="accent1">
                  <a:lumMod val="50000"/>
                </a:schemeClr>
              </a:solidFill>
            </a:endParaRPr>
          </a:p>
        </p:txBody>
      </p:sp>
      <p:sp>
        <p:nvSpPr>
          <p:cNvPr id="12" name="Rectangle 11"/>
          <p:cNvSpPr/>
          <p:nvPr/>
        </p:nvSpPr>
        <p:spPr>
          <a:xfrm>
            <a:off x="3386145" y="1680705"/>
            <a:ext cx="2641600" cy="6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cap="small" dirty="0" smtClean="0"/>
              <a:t>Innovative Care</a:t>
            </a:r>
            <a:endParaRPr lang="en-US" sz="2133" b="1" cap="small" dirty="0"/>
          </a:p>
        </p:txBody>
      </p:sp>
      <p:sp>
        <p:nvSpPr>
          <p:cNvPr id="13" name="Google Shape;511;g3764d82df2d_18_147"/>
          <p:cNvSpPr txBox="1">
            <a:spLocks/>
          </p:cNvSpPr>
          <p:nvPr/>
        </p:nvSpPr>
        <p:spPr>
          <a:xfrm>
            <a:off x="3382559" y="2336796"/>
            <a:ext cx="2641600" cy="1718839"/>
          </a:xfrm>
          <a:prstGeom prst="rect">
            <a:avLst/>
          </a:prstGeom>
          <a:solidFill>
            <a:srgbClr val="63C5CF"/>
          </a:solidFill>
          <a:ln>
            <a:noFill/>
          </a:ln>
        </p:spPr>
        <p:txBody>
          <a:bodyPr spcFirstLastPara="1" vert="horz" wrap="square" lIns="91425" tIns="45700" rIns="91425" bIns="4570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endParaRPr lang="en-US" sz="1800" b="1" dirty="0" smtClean="0">
              <a:solidFill>
                <a:schemeClr val="accent1">
                  <a:lumMod val="50000"/>
                </a:schemeClr>
              </a:solidFill>
            </a:endParaRPr>
          </a:p>
          <a:p>
            <a:pPr marL="0" indent="0" algn="ctr">
              <a:spcBef>
                <a:spcPts val="0"/>
              </a:spcBef>
              <a:buNone/>
            </a:pPr>
            <a:r>
              <a:rPr lang="en-US" sz="1800" b="1" dirty="0" smtClean="0">
                <a:solidFill>
                  <a:schemeClr val="accent1">
                    <a:lumMod val="50000"/>
                  </a:schemeClr>
                </a:solidFill>
              </a:rPr>
              <a:t>Rural Medicaid Alternative Payment Models</a:t>
            </a:r>
          </a:p>
          <a:p>
            <a:pPr marL="0" indent="0" algn="ctr">
              <a:spcBef>
                <a:spcPts val="0"/>
              </a:spcBef>
              <a:buNone/>
            </a:pPr>
            <a:r>
              <a:rPr lang="en-US" sz="1400" i="1" dirty="0" smtClean="0">
                <a:solidFill>
                  <a:schemeClr val="accent1">
                    <a:lumMod val="50000"/>
                  </a:schemeClr>
                </a:solidFill>
              </a:rPr>
              <a:t>Questions Due July 7</a:t>
            </a:r>
          </a:p>
          <a:p>
            <a:pPr marL="0" indent="0" algn="ctr">
              <a:spcBef>
                <a:spcPts val="0"/>
              </a:spcBef>
              <a:buNone/>
            </a:pPr>
            <a:r>
              <a:rPr lang="en-US" sz="1400" i="1" dirty="0" smtClean="0">
                <a:solidFill>
                  <a:schemeClr val="accent1">
                    <a:lumMod val="50000"/>
                  </a:schemeClr>
                </a:solidFill>
              </a:rPr>
              <a:t>Applications Due August 7</a:t>
            </a:r>
            <a:endParaRPr lang="en-US" sz="1400" i="1" dirty="0">
              <a:solidFill>
                <a:schemeClr val="accent1">
                  <a:lumMod val="50000"/>
                </a:schemeClr>
              </a:solidFill>
            </a:endParaRPr>
          </a:p>
        </p:txBody>
      </p:sp>
      <p:sp>
        <p:nvSpPr>
          <p:cNvPr id="14" name="Google Shape;511;g3764d82df2d_18_147"/>
          <p:cNvSpPr txBox="1">
            <a:spLocks/>
          </p:cNvSpPr>
          <p:nvPr/>
        </p:nvSpPr>
        <p:spPr>
          <a:xfrm>
            <a:off x="511885" y="4095731"/>
            <a:ext cx="2641600" cy="1718839"/>
          </a:xfrm>
          <a:prstGeom prst="rect">
            <a:avLst/>
          </a:prstGeom>
          <a:solidFill>
            <a:srgbClr val="63C5CF"/>
          </a:solidFill>
          <a:ln>
            <a:noFill/>
          </a:ln>
        </p:spPr>
        <p:txBody>
          <a:bodyPr spcFirstLastPara="1" vert="horz" wrap="square" lIns="91425" tIns="45700" rIns="91425" bIns="4570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endParaRPr lang="en-US" sz="1800" b="1" dirty="0" smtClean="0">
              <a:solidFill>
                <a:schemeClr val="accent1">
                  <a:lumMod val="50000"/>
                </a:schemeClr>
              </a:solidFill>
            </a:endParaRPr>
          </a:p>
          <a:p>
            <a:pPr marL="0" indent="0" algn="ctr">
              <a:spcBef>
                <a:spcPts val="0"/>
              </a:spcBef>
              <a:buNone/>
            </a:pPr>
            <a:r>
              <a:rPr lang="en-US" sz="1800" b="1" dirty="0" smtClean="0">
                <a:solidFill>
                  <a:schemeClr val="accent1">
                    <a:lumMod val="50000"/>
                  </a:schemeClr>
                </a:solidFill>
              </a:rPr>
              <a:t>Rural Collaborative Provider Models</a:t>
            </a:r>
          </a:p>
          <a:p>
            <a:pPr marL="0" indent="0" algn="ctr">
              <a:spcBef>
                <a:spcPts val="0"/>
              </a:spcBef>
              <a:buNone/>
            </a:pPr>
            <a:r>
              <a:rPr lang="en-US" sz="1400" i="1" dirty="0" smtClean="0">
                <a:solidFill>
                  <a:schemeClr val="accent1">
                    <a:lumMod val="50000"/>
                  </a:schemeClr>
                </a:solidFill>
              </a:rPr>
              <a:t>Questions Due July 6</a:t>
            </a:r>
          </a:p>
          <a:p>
            <a:pPr marL="0" indent="0" algn="ctr">
              <a:spcBef>
                <a:spcPts val="0"/>
              </a:spcBef>
              <a:buNone/>
            </a:pPr>
            <a:r>
              <a:rPr lang="en-US" sz="1400" i="1" dirty="0" smtClean="0">
                <a:solidFill>
                  <a:schemeClr val="accent1">
                    <a:lumMod val="50000"/>
                  </a:schemeClr>
                </a:solidFill>
              </a:rPr>
              <a:t>Applications Due August 5</a:t>
            </a:r>
            <a:endParaRPr lang="en-US" sz="1400" i="1" dirty="0">
              <a:solidFill>
                <a:schemeClr val="accent1">
                  <a:lumMod val="50000"/>
                </a:schemeClr>
              </a:solidFill>
            </a:endParaRPr>
          </a:p>
        </p:txBody>
      </p:sp>
    </p:spTree>
    <p:extLst>
      <p:ext uri="{BB962C8B-B14F-4D97-AF65-F5344CB8AC3E}">
        <p14:creationId xmlns:p14="http://schemas.microsoft.com/office/powerpoint/2010/main" val="15223783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81393224-DB13-F825-76B6-29119EF6A45A}"/>
              </a:ext>
            </a:extLst>
          </p:cNvPr>
          <p:cNvGraphicFramePr>
            <a:graphicFrameLocks noChangeAspect="1"/>
          </p:cNvGraphicFramePr>
          <p:nvPr>
            <p:custDataLst>
              <p:tags r:id="rId2"/>
            </p:custDataLst>
            <p:extLst>
              <p:ext uri="{D42A27DB-BD31-4B8C-83A1-F6EECF244321}">
                <p14:modId xmlns:p14="http://schemas.microsoft.com/office/powerpoint/2010/main" val="3244604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4" name="think-cell Slide" r:id="rId14" imgW="404" imgH="403" progId="TCLayout.ActiveDocument.1">
                  <p:embed/>
                </p:oleObj>
              </mc:Choice>
              <mc:Fallback>
                <p:oleObj name="think-cell Slide" r:id="rId14" imgW="404" imgH="40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17" name="think-cell data - do not delete" hidden="1">
            <a:extLst>
              <a:ext uri="{FF2B5EF4-FFF2-40B4-BE49-F238E27FC236}">
                <a16:creationId xmlns:a16="http://schemas.microsoft.com/office/drawing/2014/main" id="{94361CDE-DAF2-1B94-5FF1-E259A9A7DADE}"/>
              </a:ext>
            </a:extLst>
          </p:cNvPr>
          <p:cNvGraphicFramePr>
            <a:graphicFrameLocks noChangeAspect="1"/>
          </p:cNvGraphicFramePr>
          <p:nvPr>
            <p:custDataLst>
              <p:tags r:id="rId3"/>
            </p:custDataLst>
            <p:extLst>
              <p:ext uri="{D42A27DB-BD31-4B8C-83A1-F6EECF244321}">
                <p14:modId xmlns:p14="http://schemas.microsoft.com/office/powerpoint/2010/main" val="3675070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think-cell Slide" r:id="rId16" imgW="404" imgH="403" progId="TCLayout.ActiveDocument.1">
                  <p:embed/>
                </p:oleObj>
              </mc:Choice>
              <mc:Fallback>
                <p:oleObj name="think-cell Slide" r:id="rId16" imgW="404" imgH="40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75407FE-8854-95D9-A02A-F19F416EE714}"/>
              </a:ext>
            </a:extLst>
          </p:cNvPr>
          <p:cNvSpPr>
            <a:spLocks noGrp="1"/>
          </p:cNvSpPr>
          <p:nvPr>
            <p:ph type="title"/>
            <p:custDataLst>
              <p:tags r:id="rId4"/>
            </p:custDataLst>
          </p:nvPr>
        </p:nvSpPr>
        <p:spPr>
          <a:xfrm>
            <a:off x="904240" y="1447817"/>
            <a:ext cx="10733024" cy="384721"/>
          </a:xfrm>
        </p:spPr>
        <p:txBody>
          <a:bodyPr vert="horz"/>
          <a:lstStyle/>
          <a:p>
            <a:r>
              <a:rPr lang="en-US" b="1" dirty="0" smtClean="0"/>
              <a:t>APM NOFO - Table </a:t>
            </a:r>
            <a:r>
              <a:rPr lang="en-US" b="1" dirty="0"/>
              <a:t>of contents</a:t>
            </a:r>
          </a:p>
        </p:txBody>
      </p:sp>
      <p:sp>
        <p:nvSpPr>
          <p:cNvPr id="23" name="TrackerNumBlue 23">
            <a:extLst>
              <a:ext uri="{FF2B5EF4-FFF2-40B4-BE49-F238E27FC236}">
                <a16:creationId xmlns:a16="http://schemas.microsoft.com/office/drawing/2014/main" id="{0AC2A1FA-814B-EE3D-437F-2F719BF21F1A}"/>
              </a:ext>
            </a:extLst>
          </p:cNvPr>
          <p:cNvSpPr/>
          <p:nvPr>
            <p:custDataLst>
              <p:tags r:id="rId5"/>
            </p:custDataLst>
          </p:nvPr>
        </p:nvSpPr>
        <p:spPr>
          <a:xfrm>
            <a:off x="1807100" y="2978445"/>
            <a:ext cx="370864" cy="37086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latin typeface="Calibri" panose="020F0502020204030204" pitchFamily="34" charset="0"/>
              </a:rPr>
              <a:t>2</a:t>
            </a:r>
          </a:p>
        </p:txBody>
      </p:sp>
      <p:sp>
        <p:nvSpPr>
          <p:cNvPr id="25" name="TrackerNumBlue 23">
            <a:extLst>
              <a:ext uri="{FF2B5EF4-FFF2-40B4-BE49-F238E27FC236}">
                <a16:creationId xmlns:a16="http://schemas.microsoft.com/office/drawing/2014/main" id="{DE337E77-9C00-A8E0-5AFC-EAB8F90FED93}"/>
              </a:ext>
            </a:extLst>
          </p:cNvPr>
          <p:cNvSpPr/>
          <p:nvPr>
            <p:custDataLst>
              <p:tags r:id="rId6"/>
            </p:custDataLst>
          </p:nvPr>
        </p:nvSpPr>
        <p:spPr>
          <a:xfrm>
            <a:off x="1807100" y="2171897"/>
            <a:ext cx="370864" cy="37086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latin typeface="Calibri" panose="020F0502020204030204" pitchFamily="34" charset="0"/>
              </a:rPr>
              <a:t>1</a:t>
            </a:r>
          </a:p>
        </p:txBody>
      </p:sp>
      <p:sp>
        <p:nvSpPr>
          <p:cNvPr id="9" name="TextBox 8">
            <a:extLst>
              <a:ext uri="{FF2B5EF4-FFF2-40B4-BE49-F238E27FC236}">
                <a16:creationId xmlns:a16="http://schemas.microsoft.com/office/drawing/2014/main" id="{B180A7B5-A6F3-2086-8DBB-78878541B221}"/>
              </a:ext>
            </a:extLst>
          </p:cNvPr>
          <p:cNvSpPr txBox="1">
            <a:spLocks/>
          </p:cNvSpPr>
          <p:nvPr>
            <p:custDataLst>
              <p:tags r:id="rId7"/>
            </p:custDataLst>
          </p:nvPr>
        </p:nvSpPr>
        <p:spPr>
          <a:xfrm>
            <a:off x="2465832" y="2978445"/>
            <a:ext cx="6330501" cy="31694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latin typeface="Calibri" panose="020F0502020204030204" pitchFamily="34" charset="0"/>
              </a:rPr>
              <a:t>Data availability for providers, MCOs</a:t>
            </a:r>
            <a:r>
              <a:rPr lang="en-US" sz="2000" baseline="30000" dirty="0">
                <a:latin typeface="Calibri" panose="020F0502020204030204" pitchFamily="34" charset="0"/>
              </a:rPr>
              <a:t>1</a:t>
            </a:r>
            <a:r>
              <a:rPr lang="en-US" sz="2000" dirty="0">
                <a:latin typeface="Calibri" panose="020F0502020204030204" pitchFamily="34" charset="0"/>
              </a:rPr>
              <a:t>, and State</a:t>
            </a:r>
          </a:p>
        </p:txBody>
      </p:sp>
      <p:sp>
        <p:nvSpPr>
          <p:cNvPr id="10" name="TextBox 9">
            <a:extLst>
              <a:ext uri="{FF2B5EF4-FFF2-40B4-BE49-F238E27FC236}">
                <a16:creationId xmlns:a16="http://schemas.microsoft.com/office/drawing/2014/main" id="{1CEBC0CA-EF59-2701-BBD5-B348BCB2341A}"/>
              </a:ext>
            </a:extLst>
          </p:cNvPr>
          <p:cNvSpPr txBox="1">
            <a:spLocks/>
          </p:cNvSpPr>
          <p:nvPr>
            <p:custDataLst>
              <p:tags r:id="rId8"/>
            </p:custDataLst>
          </p:nvPr>
        </p:nvSpPr>
        <p:spPr>
          <a:xfrm>
            <a:off x="2465833" y="2171897"/>
            <a:ext cx="6330501" cy="31694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latin typeface="Calibri" panose="020F0502020204030204" pitchFamily="34" charset="0"/>
              </a:rPr>
              <a:t>Notice of Funding Opportunity design</a:t>
            </a:r>
          </a:p>
        </p:txBody>
      </p:sp>
      <p:sp>
        <p:nvSpPr>
          <p:cNvPr id="11" name="TextBox 10">
            <a:extLst>
              <a:ext uri="{FF2B5EF4-FFF2-40B4-BE49-F238E27FC236}">
                <a16:creationId xmlns:a16="http://schemas.microsoft.com/office/drawing/2014/main" id="{CFBB701F-493B-FDDC-DD7A-2669FCA9A4B2}"/>
              </a:ext>
            </a:extLst>
          </p:cNvPr>
          <p:cNvSpPr txBox="1">
            <a:spLocks/>
          </p:cNvSpPr>
          <p:nvPr>
            <p:custDataLst>
              <p:tags r:id="rId9"/>
            </p:custDataLst>
          </p:nvPr>
        </p:nvSpPr>
        <p:spPr>
          <a:xfrm>
            <a:off x="2465833" y="3808178"/>
            <a:ext cx="6330501" cy="31694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latin typeface="Calibri" panose="020F0502020204030204" pitchFamily="34" charset="0"/>
              </a:rPr>
              <a:t>Strategic alignment with other LDH initiatives</a:t>
            </a:r>
          </a:p>
        </p:txBody>
      </p:sp>
      <p:sp>
        <p:nvSpPr>
          <p:cNvPr id="26" name="TrackerNumBlue 23">
            <a:extLst>
              <a:ext uri="{FF2B5EF4-FFF2-40B4-BE49-F238E27FC236}">
                <a16:creationId xmlns:a16="http://schemas.microsoft.com/office/drawing/2014/main" id="{A515996F-590A-F874-771B-03603216F581}"/>
              </a:ext>
            </a:extLst>
          </p:cNvPr>
          <p:cNvSpPr/>
          <p:nvPr>
            <p:custDataLst>
              <p:tags r:id="rId10"/>
            </p:custDataLst>
          </p:nvPr>
        </p:nvSpPr>
        <p:spPr>
          <a:xfrm>
            <a:off x="1807100" y="3808178"/>
            <a:ext cx="370864" cy="37086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latin typeface="Calibri" panose="020F0502020204030204" pitchFamily="34" charset="0"/>
              </a:rPr>
              <a:t>3</a:t>
            </a:r>
          </a:p>
        </p:txBody>
      </p:sp>
      <p:sp>
        <p:nvSpPr>
          <p:cNvPr id="29" name="4. Footnote">
            <a:extLst>
              <a:ext uri="{FF2B5EF4-FFF2-40B4-BE49-F238E27FC236}">
                <a16:creationId xmlns:a16="http://schemas.microsoft.com/office/drawing/2014/main" id="{290775F2-8636-7832-2B0F-7DD53C73AAF7}"/>
              </a:ext>
            </a:extLst>
          </p:cNvPr>
          <p:cNvSpPr txBox="1"/>
          <p:nvPr>
            <p:custDataLst>
              <p:tags r:id="rId11"/>
            </p:custDataLst>
          </p:nvPr>
        </p:nvSpPr>
        <p:spPr>
          <a:xfrm>
            <a:off x="2465832" y="6597544"/>
            <a:ext cx="7278624" cy="1384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900" dirty="0">
                <a:solidFill>
                  <a:schemeClr val="tx2"/>
                </a:solidFill>
                <a:latin typeface="Calibri" panose="020F0502020204030204" pitchFamily="34" charset="0"/>
              </a:rPr>
              <a:t>Source: LDH Leadership Discussions (May – June 2026); LA RHTP Application</a:t>
            </a:r>
          </a:p>
        </p:txBody>
      </p:sp>
      <p:sp>
        <p:nvSpPr>
          <p:cNvPr id="30" name="4. Footnote">
            <a:extLst>
              <a:ext uri="{FF2B5EF4-FFF2-40B4-BE49-F238E27FC236}">
                <a16:creationId xmlns:a16="http://schemas.microsoft.com/office/drawing/2014/main" id="{E83E9B12-1F3C-1962-3D5A-D0BD35870CAF}"/>
              </a:ext>
            </a:extLst>
          </p:cNvPr>
          <p:cNvSpPr txBox="1"/>
          <p:nvPr>
            <p:custDataLst>
              <p:tags r:id="rId12"/>
            </p:custDataLst>
          </p:nvPr>
        </p:nvSpPr>
        <p:spPr>
          <a:xfrm>
            <a:off x="2465832" y="6440125"/>
            <a:ext cx="7278624" cy="1384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900" dirty="0">
                <a:solidFill>
                  <a:schemeClr val="tx2"/>
                </a:solidFill>
                <a:latin typeface="Calibri" panose="020F0502020204030204" pitchFamily="34" charset="0"/>
              </a:rPr>
              <a:t>1. Managed Care Organization; 2. Alternative Payment Model; 3. Rural Health Transformation Program; 4. Value-Based Care  </a:t>
            </a:r>
          </a:p>
        </p:txBody>
      </p:sp>
    </p:spTree>
    <p:extLst>
      <p:ext uri="{BB962C8B-B14F-4D97-AF65-F5344CB8AC3E}">
        <p14:creationId xmlns:p14="http://schemas.microsoft.com/office/powerpoint/2010/main" val="1860465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F8B8E-496C-2C48-DF74-19D57971D53B}"/>
            </a:ext>
          </a:extLst>
        </p:cNvPr>
        <p:cNvGrpSpPr/>
        <p:nvPr/>
      </p:nvGrpSpPr>
      <p:grpSpPr>
        <a:xfrm>
          <a:off x="0" y="0"/>
          <a:ext cx="0" cy="0"/>
          <a:chOff x="0" y="0"/>
          <a:chExt cx="0" cy="0"/>
        </a:xfrm>
      </p:grpSpPr>
      <p:sp>
        <p:nvSpPr>
          <p:cNvPr id="61" name="Arrow: Pentagon 60">
            <a:extLst>
              <a:ext uri="{FF2B5EF4-FFF2-40B4-BE49-F238E27FC236}">
                <a16:creationId xmlns:a16="http://schemas.microsoft.com/office/drawing/2014/main" id="{F5949A87-369F-EB58-DEE9-EB3CF80E1F53}"/>
              </a:ext>
            </a:extLst>
          </p:cNvPr>
          <p:cNvSpPr/>
          <p:nvPr/>
        </p:nvSpPr>
        <p:spPr>
          <a:xfrm>
            <a:off x="529717" y="1516056"/>
            <a:ext cx="3759205" cy="4529140"/>
          </a:xfrm>
          <a:prstGeom prst="homePlate">
            <a:avLst>
              <a:gd name="adj" fmla="val 12585"/>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300"/>
              </a:spcBef>
              <a:spcAft>
                <a:spcPts val="300"/>
              </a:spcAft>
            </a:pPr>
            <a:r>
              <a:rPr lang="en-US" sz="1600" dirty="0">
                <a:latin typeface="Calibri" panose="020F0502020204030204" pitchFamily="34" charset="0"/>
              </a:rPr>
              <a:t>Alternative payment models improve quality and total cost of care by aligning financial incentives with patient outcomes, and rewarding providers for delivering coordinated, preventive, and efficient care</a:t>
            </a:r>
          </a:p>
        </p:txBody>
      </p:sp>
      <p:sp>
        <p:nvSpPr>
          <p:cNvPr id="4" name="2. Slide Title">
            <a:extLst>
              <a:ext uri="{FF2B5EF4-FFF2-40B4-BE49-F238E27FC236}">
                <a16:creationId xmlns:a16="http://schemas.microsoft.com/office/drawing/2014/main" id="{06A12AD5-7647-B856-E408-E6015C584348}"/>
              </a:ext>
            </a:extLst>
          </p:cNvPr>
          <p:cNvSpPr>
            <a:spLocks noGrp="1"/>
          </p:cNvSpPr>
          <p:nvPr>
            <p:ph type="title"/>
            <p:custDataLst>
              <p:tags r:id="rId1"/>
            </p:custDataLst>
          </p:nvPr>
        </p:nvSpPr>
        <p:spPr>
          <a:xfrm>
            <a:off x="529717" y="494591"/>
            <a:ext cx="11082528" cy="76944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b="1" dirty="0">
                <a:solidFill>
                  <a:schemeClr val="accent3"/>
                </a:solidFill>
              </a:rPr>
              <a:t>Context: </a:t>
            </a:r>
            <a:r>
              <a:rPr lang="en-US" b="1" dirty="0"/>
              <a:t>LDH’s alternative payment model strategy seeks to address disparities in rural health outcomes in Louisiana</a:t>
            </a:r>
            <a:endParaRPr lang="en-US" b="1" dirty="0">
              <a:ea typeface="Verdana"/>
            </a:endParaRPr>
          </a:p>
        </p:txBody>
      </p:sp>
      <p:sp>
        <p:nvSpPr>
          <p:cNvPr id="2" name="4. Footnote">
            <a:extLst>
              <a:ext uri="{FF2B5EF4-FFF2-40B4-BE49-F238E27FC236}">
                <a16:creationId xmlns:a16="http://schemas.microsoft.com/office/drawing/2014/main" id="{A47B679A-9BFC-6F23-B514-17417DF7F4AD}"/>
              </a:ext>
            </a:extLst>
          </p:cNvPr>
          <p:cNvSpPr txBox="1"/>
          <p:nvPr>
            <p:custDataLst>
              <p:tags r:id="rId2"/>
            </p:custDataLst>
          </p:nvPr>
        </p:nvSpPr>
        <p:spPr>
          <a:xfrm>
            <a:off x="2532977" y="6622460"/>
            <a:ext cx="7278624" cy="1384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900" dirty="0">
                <a:solidFill>
                  <a:schemeClr val="tx2"/>
                </a:solidFill>
                <a:latin typeface="Calibri" panose="020F0502020204030204" pitchFamily="34" charset="0"/>
              </a:rPr>
              <a:t>Source: LDH Leadership Discussions (May – June 2026); LA RHTP Application; Patient-Centered Medical Homes Model (NCQA)</a:t>
            </a:r>
          </a:p>
        </p:txBody>
      </p:sp>
      <p:sp>
        <p:nvSpPr>
          <p:cNvPr id="65" name="4. Footnote">
            <a:extLst>
              <a:ext uri="{FF2B5EF4-FFF2-40B4-BE49-F238E27FC236}">
                <a16:creationId xmlns:a16="http://schemas.microsoft.com/office/drawing/2014/main" id="{6DCF3749-D881-089D-10DB-9DB04C819231}"/>
              </a:ext>
            </a:extLst>
          </p:cNvPr>
          <p:cNvSpPr txBox="1"/>
          <p:nvPr>
            <p:custDataLst>
              <p:tags r:id="rId3"/>
            </p:custDataLst>
          </p:nvPr>
        </p:nvSpPr>
        <p:spPr>
          <a:xfrm>
            <a:off x="2532977" y="6434561"/>
            <a:ext cx="7278624" cy="1384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900" dirty="0">
                <a:solidFill>
                  <a:schemeClr val="tx2"/>
                </a:solidFill>
                <a:latin typeface="Calibri" panose="020F0502020204030204" pitchFamily="34" charset="0"/>
              </a:rPr>
              <a:t>1. Substance use disorder; 2. Managed care organization; 3. Value-based care; 4. Notice of funding opportunity</a:t>
            </a:r>
          </a:p>
        </p:txBody>
      </p:sp>
      <p:cxnSp>
        <p:nvCxnSpPr>
          <p:cNvPr id="27" name="GreyLineSeparatorDefaultVertical 97">
            <a:extLst>
              <a:ext uri="{FF2B5EF4-FFF2-40B4-BE49-F238E27FC236}">
                <a16:creationId xmlns:a16="http://schemas.microsoft.com/office/drawing/2014/main" id="{BEA8C5CB-D3FB-40B1-105E-5A2A60982986}"/>
              </a:ext>
            </a:extLst>
          </p:cNvPr>
          <p:cNvCxnSpPr>
            <a:cxnSpLocks/>
          </p:cNvCxnSpPr>
          <p:nvPr>
            <p:custDataLst>
              <p:tags r:id="rId4"/>
            </p:custDataLst>
          </p:nvPr>
        </p:nvCxnSpPr>
        <p:spPr>
          <a:xfrm flipH="1">
            <a:off x="4790952" y="3256102"/>
            <a:ext cx="33955" cy="2029670"/>
          </a:xfrm>
          <a:prstGeom prst="straightConnector1">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62AA0E02-31A4-E807-0843-9ADEB346BA07}"/>
              </a:ext>
            </a:extLst>
          </p:cNvPr>
          <p:cNvSpPr txBox="1">
            <a:spLocks/>
          </p:cNvSpPr>
          <p:nvPr>
            <p:custDataLst>
              <p:tags r:id="rId5"/>
            </p:custDataLst>
          </p:nvPr>
        </p:nvSpPr>
        <p:spPr>
          <a:xfrm>
            <a:off x="4405167" y="1489067"/>
            <a:ext cx="7421073" cy="69151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u="none" strike="noStrike" kern="1200" cap="none" spc="0" normalizeH="0" baseline="0" noProof="0" dirty="0">
                <a:ln>
                  <a:noFill/>
                </a:ln>
                <a:solidFill>
                  <a:srgbClr val="000000"/>
                </a:solidFill>
                <a:effectLst/>
                <a:uLnTx/>
                <a:uFillTx/>
                <a:latin typeface="Calibri" panose="020F0502020204030204" pitchFamily="34" charset="0"/>
                <a:ea typeface="+mn-ea"/>
              </a:rPr>
              <a:t>LDH seeks to transform rural provider sustainability through APMs by aligning payment and care delivery with value and outcomes</a:t>
            </a:r>
          </a:p>
        </p:txBody>
      </p:sp>
      <p:cxnSp>
        <p:nvCxnSpPr>
          <p:cNvPr id="36" name="Straight Connector 35">
            <a:extLst>
              <a:ext uri="{FF2B5EF4-FFF2-40B4-BE49-F238E27FC236}">
                <a16:creationId xmlns:a16="http://schemas.microsoft.com/office/drawing/2014/main" id="{D282BB76-C7DE-6FEF-B9D6-4CFF77209E66}"/>
              </a:ext>
            </a:extLst>
          </p:cNvPr>
          <p:cNvCxnSpPr>
            <a:cxnSpLocks/>
          </p:cNvCxnSpPr>
          <p:nvPr/>
        </p:nvCxnSpPr>
        <p:spPr>
          <a:xfrm>
            <a:off x="4405167" y="2080552"/>
            <a:ext cx="7421073"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E6B7498-84D6-1E53-8EC5-660B1B78A82F}"/>
              </a:ext>
            </a:extLst>
          </p:cNvPr>
          <p:cNvSpPr txBox="1">
            <a:spLocks/>
          </p:cNvSpPr>
          <p:nvPr/>
        </p:nvSpPr>
        <p:spPr>
          <a:xfrm>
            <a:off x="5607967" y="2421847"/>
            <a:ext cx="621827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u="none" strike="noStrike" kern="1200" cap="none" spc="0" normalizeH="0" baseline="0" noProof="0" dirty="0">
                <a:ln>
                  <a:noFill/>
                </a:ln>
                <a:solidFill>
                  <a:srgbClr val="000000"/>
                </a:solidFill>
                <a:effectLst/>
                <a:uLnTx/>
                <a:uFillTx/>
                <a:latin typeface="Calibri" panose="020F0502020204030204" pitchFamily="34" charset="0"/>
                <a:ea typeface="+mn-ea"/>
              </a:rPr>
              <a:t>Expand rural provider participation in value-based care</a:t>
            </a:r>
          </a:p>
        </p:txBody>
      </p:sp>
      <p:sp>
        <p:nvSpPr>
          <p:cNvPr id="38" name="TextBox 37">
            <a:extLst>
              <a:ext uri="{FF2B5EF4-FFF2-40B4-BE49-F238E27FC236}">
                <a16:creationId xmlns:a16="http://schemas.microsoft.com/office/drawing/2014/main" id="{5837F3C3-122A-7F0A-EAA1-ECD39405B682}"/>
              </a:ext>
            </a:extLst>
          </p:cNvPr>
          <p:cNvSpPr txBox="1">
            <a:spLocks/>
          </p:cNvSpPr>
          <p:nvPr/>
        </p:nvSpPr>
        <p:spPr>
          <a:xfrm>
            <a:off x="5607967" y="5477641"/>
            <a:ext cx="621827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u="none" strike="noStrike" kern="1200" cap="none" spc="0" normalizeH="0" baseline="0" noProof="0" dirty="0">
                <a:ln>
                  <a:noFill/>
                </a:ln>
                <a:solidFill>
                  <a:srgbClr val="000000"/>
                </a:solidFill>
                <a:effectLst/>
                <a:uLnTx/>
                <a:uFillTx/>
                <a:latin typeface="Calibri" panose="020F0502020204030204" pitchFamily="34" charset="0"/>
                <a:ea typeface="+mn-ea"/>
              </a:rPr>
              <a:t>Increase access to care close to home</a:t>
            </a:r>
          </a:p>
        </p:txBody>
      </p:sp>
      <p:sp>
        <p:nvSpPr>
          <p:cNvPr id="39" name="TextBox 38">
            <a:extLst>
              <a:ext uri="{FF2B5EF4-FFF2-40B4-BE49-F238E27FC236}">
                <a16:creationId xmlns:a16="http://schemas.microsoft.com/office/drawing/2014/main" id="{481170D1-B50A-D817-8CA1-052AA851B768}"/>
              </a:ext>
            </a:extLst>
          </p:cNvPr>
          <p:cNvSpPr txBox="1">
            <a:spLocks/>
          </p:cNvSpPr>
          <p:nvPr/>
        </p:nvSpPr>
        <p:spPr>
          <a:xfrm>
            <a:off x="5607967" y="4308332"/>
            <a:ext cx="6218273"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u="none" strike="noStrike" kern="1200" cap="none" spc="0" normalizeH="0" baseline="0" noProof="0" dirty="0">
                <a:ln>
                  <a:noFill/>
                </a:ln>
                <a:solidFill>
                  <a:srgbClr val="000000"/>
                </a:solidFill>
                <a:effectLst/>
                <a:uLnTx/>
                <a:uFillTx/>
                <a:latin typeface="Calibri" panose="020F0502020204030204" pitchFamily="34" charset="0"/>
                <a:ea typeface="+mn-ea"/>
              </a:rPr>
              <a:t>Improve outcomes for chronic disease and priority populations</a:t>
            </a:r>
          </a:p>
        </p:txBody>
      </p:sp>
      <p:sp>
        <p:nvSpPr>
          <p:cNvPr id="40" name="TextBox 39">
            <a:extLst>
              <a:ext uri="{FF2B5EF4-FFF2-40B4-BE49-F238E27FC236}">
                <a16:creationId xmlns:a16="http://schemas.microsoft.com/office/drawing/2014/main" id="{7E2C36F7-99F2-37B3-C3A4-890C4E64DC70}"/>
              </a:ext>
            </a:extLst>
          </p:cNvPr>
          <p:cNvSpPr txBox="1">
            <a:spLocks/>
          </p:cNvSpPr>
          <p:nvPr/>
        </p:nvSpPr>
        <p:spPr>
          <a:xfrm>
            <a:off x="5607967" y="3289734"/>
            <a:ext cx="6218273"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u="none" strike="noStrike" kern="1200" cap="none" spc="0" normalizeH="0" baseline="0" noProof="0" dirty="0">
                <a:ln>
                  <a:noFill/>
                </a:ln>
                <a:solidFill>
                  <a:srgbClr val="000000"/>
                </a:solidFill>
                <a:effectLst/>
                <a:uLnTx/>
                <a:uFillTx/>
                <a:latin typeface="Calibri" panose="020F0502020204030204" pitchFamily="34" charset="0"/>
                <a:ea typeface="+mn-ea"/>
              </a:rPr>
              <a:t>Reduce avoidable utilization through coordinated primary and preventive care</a:t>
            </a:r>
          </a:p>
        </p:txBody>
      </p:sp>
      <p:cxnSp>
        <p:nvCxnSpPr>
          <p:cNvPr id="41" name="Straight Connector 40">
            <a:extLst>
              <a:ext uri="{FF2B5EF4-FFF2-40B4-BE49-F238E27FC236}">
                <a16:creationId xmlns:a16="http://schemas.microsoft.com/office/drawing/2014/main" id="{24178F54-8620-8484-5724-4198A40BE2B4}"/>
              </a:ext>
            </a:extLst>
          </p:cNvPr>
          <p:cNvCxnSpPr>
            <a:cxnSpLocks/>
          </p:cNvCxnSpPr>
          <p:nvPr/>
        </p:nvCxnSpPr>
        <p:spPr>
          <a:xfrm>
            <a:off x="5607967" y="3037709"/>
            <a:ext cx="621827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A3BE6B6-8405-E234-8A95-C9FD2341FDA1}"/>
              </a:ext>
            </a:extLst>
          </p:cNvPr>
          <p:cNvCxnSpPr>
            <a:cxnSpLocks/>
          </p:cNvCxnSpPr>
          <p:nvPr/>
        </p:nvCxnSpPr>
        <p:spPr>
          <a:xfrm>
            <a:off x="5607967" y="4137587"/>
            <a:ext cx="621827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5BA390C-9F21-060B-EEE4-A161E7E20ADE}"/>
              </a:ext>
            </a:extLst>
          </p:cNvPr>
          <p:cNvCxnSpPr>
            <a:cxnSpLocks/>
          </p:cNvCxnSpPr>
          <p:nvPr/>
        </p:nvCxnSpPr>
        <p:spPr>
          <a:xfrm>
            <a:off x="5607967" y="5156185"/>
            <a:ext cx="621827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85DCAA1-AAA5-BCC9-B2C3-DDB94D9A4A34}"/>
              </a:ext>
            </a:extLst>
          </p:cNvPr>
          <p:cNvSpPr txBox="1"/>
          <p:nvPr/>
        </p:nvSpPr>
        <p:spPr>
          <a:xfrm>
            <a:off x="10972800" y="657092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AFCAEB53-6196-BAE1-FBC8-8B05A5FF01D9}"/>
              </a:ext>
            </a:extLst>
          </p:cNvPr>
          <p:cNvSpPr txBox="1"/>
          <p:nvPr/>
        </p:nvSpPr>
        <p:spPr>
          <a:xfrm>
            <a:off x="11100391" y="660281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805678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9E624-FF81-5367-6F39-F1C0AB377656}"/>
            </a:ext>
          </a:extLst>
        </p:cNvPr>
        <p:cNvGrpSpPr/>
        <p:nvPr/>
      </p:nvGrpSpPr>
      <p:grpSpPr>
        <a:xfrm>
          <a:off x="0" y="0"/>
          <a:ext cx="0" cy="0"/>
          <a:chOff x="0" y="0"/>
          <a:chExt cx="0" cy="0"/>
        </a:xfrm>
      </p:grpSpPr>
      <p:sp>
        <p:nvSpPr>
          <p:cNvPr id="4" name="2. Slide Title">
            <a:extLst>
              <a:ext uri="{FF2B5EF4-FFF2-40B4-BE49-F238E27FC236}">
                <a16:creationId xmlns:a16="http://schemas.microsoft.com/office/drawing/2014/main" id="{9ADC8F86-D7E3-8250-BB8F-FE3958C5FE23}"/>
              </a:ext>
            </a:extLst>
          </p:cNvPr>
          <p:cNvSpPr>
            <a:spLocks noGrp="1"/>
          </p:cNvSpPr>
          <p:nvPr>
            <p:ph type="title"/>
            <p:custDataLst>
              <p:tags r:id="rId1"/>
            </p:custDataLst>
          </p:nvPr>
        </p:nvSpPr>
        <p:spPr>
          <a:xfrm>
            <a:off x="529717" y="505706"/>
            <a:ext cx="11003016" cy="738664"/>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sz="2400" b="1" dirty="0">
                <a:solidFill>
                  <a:schemeClr val="accent3"/>
                </a:solidFill>
              </a:rPr>
              <a:t>1. NOFO design context: </a:t>
            </a:r>
            <a:r>
              <a:rPr lang="en-US" sz="2400" b="1" dirty="0"/>
              <a:t>LDH’s APM strategy will direct $30M toward advancing a rural-focused, primary care-led model</a:t>
            </a:r>
            <a:endParaRPr lang="en-US" b="1" dirty="0">
              <a:ea typeface="Verdana"/>
            </a:endParaRPr>
          </a:p>
        </p:txBody>
      </p:sp>
      <p:sp>
        <p:nvSpPr>
          <p:cNvPr id="49" name="TextBox 48">
            <a:extLst>
              <a:ext uri="{FF2B5EF4-FFF2-40B4-BE49-F238E27FC236}">
                <a16:creationId xmlns:a16="http://schemas.microsoft.com/office/drawing/2014/main" id="{90997728-044A-6E19-1CA6-8D691E47F123}"/>
              </a:ext>
            </a:extLst>
          </p:cNvPr>
          <p:cNvSpPr txBox="1"/>
          <p:nvPr>
            <p:custDataLst>
              <p:tags r:id="rId2"/>
            </p:custDataLst>
          </p:nvPr>
        </p:nvSpPr>
        <p:spPr>
          <a:xfrm>
            <a:off x="4502066" y="1515304"/>
            <a:ext cx="7030667"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b="1" dirty="0">
                <a:latin typeface="Calibri" panose="020F0502020204030204" pitchFamily="34" charset="0"/>
              </a:rPr>
              <a:t>Based on this, LDH’s target APM seeks to:</a:t>
            </a:r>
          </a:p>
        </p:txBody>
      </p:sp>
      <p:sp>
        <p:nvSpPr>
          <p:cNvPr id="2" name="4. Footnote">
            <a:extLst>
              <a:ext uri="{FF2B5EF4-FFF2-40B4-BE49-F238E27FC236}">
                <a16:creationId xmlns:a16="http://schemas.microsoft.com/office/drawing/2014/main" id="{2E267BC0-70D1-8971-90B5-C8D47B55139A}"/>
              </a:ext>
            </a:extLst>
          </p:cNvPr>
          <p:cNvSpPr txBox="1"/>
          <p:nvPr>
            <p:custDataLst>
              <p:tags r:id="rId3"/>
            </p:custDataLst>
          </p:nvPr>
        </p:nvSpPr>
        <p:spPr>
          <a:xfrm>
            <a:off x="2465831" y="6597076"/>
            <a:ext cx="8337035" cy="10772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700" dirty="0">
                <a:solidFill>
                  <a:schemeClr val="tx2"/>
                </a:solidFill>
                <a:latin typeface="Calibri" panose="020F0502020204030204" pitchFamily="34" charset="0"/>
              </a:rPr>
              <a:t>Source: LDH Leadership Discussions (May – June 2026); LA RHTP Application; Patient-Centered Medical Homes Model (NCQA); Analysis of SFY25 Medicaid claims provided by Milliman on 6/5/2026</a:t>
            </a:r>
          </a:p>
        </p:txBody>
      </p:sp>
      <p:sp>
        <p:nvSpPr>
          <p:cNvPr id="21" name="TrackerNumWhite 74">
            <a:extLst>
              <a:ext uri="{FF2B5EF4-FFF2-40B4-BE49-F238E27FC236}">
                <a16:creationId xmlns:a16="http://schemas.microsoft.com/office/drawing/2014/main" id="{02E2053F-6FD1-E064-AC64-1F4A4D40D303}"/>
              </a:ext>
            </a:extLst>
          </p:cNvPr>
          <p:cNvSpPr/>
          <p:nvPr>
            <p:custDataLst>
              <p:tags r:id="rId4"/>
            </p:custDataLst>
          </p:nvPr>
        </p:nvSpPr>
        <p:spPr>
          <a:xfrm>
            <a:off x="4502066" y="2087383"/>
            <a:ext cx="298536" cy="298536"/>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chemeClr val="tx2"/>
              </a:buClr>
            </a:pPr>
            <a:r>
              <a:rPr lang="en-US" sz="1200" b="1" dirty="0">
                <a:solidFill>
                  <a:schemeClr val="tx2"/>
                </a:solidFill>
                <a:latin typeface="Calibri" panose="020F0502020204030204" pitchFamily="34" charset="0"/>
              </a:rPr>
              <a:t>1</a:t>
            </a:r>
          </a:p>
        </p:txBody>
      </p:sp>
      <p:sp>
        <p:nvSpPr>
          <p:cNvPr id="18" name="TextBox 17">
            <a:extLst>
              <a:ext uri="{FF2B5EF4-FFF2-40B4-BE49-F238E27FC236}">
                <a16:creationId xmlns:a16="http://schemas.microsoft.com/office/drawing/2014/main" id="{9A343189-1BB3-79AC-16EE-DF5805E7DF39}"/>
              </a:ext>
            </a:extLst>
          </p:cNvPr>
          <p:cNvSpPr txBox="1"/>
          <p:nvPr/>
        </p:nvSpPr>
        <p:spPr>
          <a:xfrm>
            <a:off x="4969567" y="2087383"/>
            <a:ext cx="6563166"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Improve quality and outcomes for rural Medicaid patients by expanding proactive primary care, chronic disease management, behavioral health / SUD</a:t>
            </a:r>
            <a:r>
              <a:rPr lang="en-US" sz="1400" baseline="30000" dirty="0">
                <a:latin typeface="Calibri" panose="020F0502020204030204" pitchFamily="34" charset="0"/>
              </a:rPr>
              <a:t>2</a:t>
            </a:r>
            <a:r>
              <a:rPr lang="en-US" sz="1400" dirty="0">
                <a:latin typeface="Calibri" panose="020F0502020204030204" pitchFamily="34" charset="0"/>
              </a:rPr>
              <a:t> integration, health-related social needs supports, and care coordination </a:t>
            </a:r>
            <a:endParaRPr lang="en-US" sz="1400" dirty="0">
              <a:solidFill>
                <a:srgbClr val="000000"/>
              </a:solidFill>
              <a:latin typeface="Calibri" panose="020F0502020204030204" pitchFamily="34" charset="0"/>
              <a:sym typeface=""/>
            </a:endParaRPr>
          </a:p>
        </p:txBody>
      </p:sp>
      <p:sp>
        <p:nvSpPr>
          <p:cNvPr id="22" name="TrackerNumWhite 74">
            <a:extLst>
              <a:ext uri="{FF2B5EF4-FFF2-40B4-BE49-F238E27FC236}">
                <a16:creationId xmlns:a16="http://schemas.microsoft.com/office/drawing/2014/main" id="{D5EF8E1E-6499-789C-82EB-E43456224264}"/>
              </a:ext>
            </a:extLst>
          </p:cNvPr>
          <p:cNvSpPr/>
          <p:nvPr>
            <p:custDataLst>
              <p:tags r:id="rId5"/>
            </p:custDataLst>
          </p:nvPr>
        </p:nvSpPr>
        <p:spPr>
          <a:xfrm>
            <a:off x="4502066" y="3007158"/>
            <a:ext cx="298536" cy="298536"/>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chemeClr val="tx2"/>
              </a:buClr>
            </a:pPr>
            <a:r>
              <a:rPr lang="en-US" sz="1200" b="1" dirty="0">
                <a:solidFill>
                  <a:schemeClr val="tx2"/>
                </a:solidFill>
                <a:latin typeface="Calibri" panose="020F0502020204030204" pitchFamily="34" charset="0"/>
              </a:rPr>
              <a:t>2</a:t>
            </a:r>
          </a:p>
        </p:txBody>
      </p:sp>
      <p:sp>
        <p:nvSpPr>
          <p:cNvPr id="19" name="TextBox 18">
            <a:extLst>
              <a:ext uri="{FF2B5EF4-FFF2-40B4-BE49-F238E27FC236}">
                <a16:creationId xmlns:a16="http://schemas.microsoft.com/office/drawing/2014/main" id="{BB1FB604-594A-8DE2-2A29-CF7DD6A1256D}"/>
              </a:ext>
            </a:extLst>
          </p:cNvPr>
          <p:cNvSpPr txBox="1"/>
          <p:nvPr/>
        </p:nvSpPr>
        <p:spPr>
          <a:xfrm>
            <a:off x="4969567" y="3007158"/>
            <a:ext cx="6563166"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rgbClr val="000000"/>
                </a:solidFill>
                <a:latin typeface="Calibri" panose="020F0502020204030204" pitchFamily="34" charset="0"/>
                <a:sym typeface=""/>
              </a:rPr>
              <a:t>Reduce avoidable utilization and total cost of care over time by helping providers manage patient panels earlier, close care gaps, and prevent avoidable ED visits, admissions, readmissions, and duplicative care</a:t>
            </a:r>
          </a:p>
        </p:txBody>
      </p:sp>
      <p:sp>
        <p:nvSpPr>
          <p:cNvPr id="23" name="TrackerNumWhite 74">
            <a:extLst>
              <a:ext uri="{FF2B5EF4-FFF2-40B4-BE49-F238E27FC236}">
                <a16:creationId xmlns:a16="http://schemas.microsoft.com/office/drawing/2014/main" id="{3543FE93-2F6E-8090-C8DB-988350270F32}"/>
              </a:ext>
            </a:extLst>
          </p:cNvPr>
          <p:cNvSpPr/>
          <p:nvPr>
            <p:custDataLst>
              <p:tags r:id="rId6"/>
            </p:custDataLst>
          </p:nvPr>
        </p:nvSpPr>
        <p:spPr>
          <a:xfrm>
            <a:off x="4502066" y="3960252"/>
            <a:ext cx="298536" cy="298536"/>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chemeClr val="tx2"/>
              </a:buClr>
            </a:pPr>
            <a:r>
              <a:rPr lang="en-US" sz="1200" b="1" dirty="0">
                <a:solidFill>
                  <a:schemeClr val="tx2"/>
                </a:solidFill>
                <a:latin typeface="Calibri" panose="020F0502020204030204" pitchFamily="34" charset="0"/>
              </a:rPr>
              <a:t>3</a:t>
            </a:r>
          </a:p>
        </p:txBody>
      </p:sp>
      <p:sp>
        <p:nvSpPr>
          <p:cNvPr id="24" name="TextBox 23">
            <a:extLst>
              <a:ext uri="{FF2B5EF4-FFF2-40B4-BE49-F238E27FC236}">
                <a16:creationId xmlns:a16="http://schemas.microsoft.com/office/drawing/2014/main" id="{26C0E1EC-3568-CE8B-6BC8-640D70320EAE}"/>
              </a:ext>
            </a:extLst>
          </p:cNvPr>
          <p:cNvSpPr txBox="1"/>
          <p:nvPr/>
        </p:nvSpPr>
        <p:spPr>
          <a:xfrm>
            <a:off x="4969567" y="3960252"/>
            <a:ext cx="6563166" cy="430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rgbClr val="000000"/>
                </a:solidFill>
                <a:latin typeface="Calibri" panose="020F0502020204030204" pitchFamily="34" charset="0"/>
                <a:sym typeface=""/>
              </a:rPr>
              <a:t>Reduce provider burden by creating a clear, consistent model across MCOs</a:t>
            </a:r>
            <a:r>
              <a:rPr lang="en-US" sz="1400" baseline="30000" dirty="0">
                <a:latin typeface="Calibri" panose="020F0502020204030204" pitchFamily="34" charset="0"/>
              </a:rPr>
              <a:t>3</a:t>
            </a:r>
            <a:r>
              <a:rPr lang="en-US" sz="1400" dirty="0">
                <a:solidFill>
                  <a:srgbClr val="000000"/>
                </a:solidFill>
                <a:latin typeface="Calibri" panose="020F0502020204030204" pitchFamily="34" charset="0"/>
                <a:sym typeface=""/>
              </a:rPr>
              <a:t>, payment arrangements, and reporting expectations</a:t>
            </a:r>
          </a:p>
        </p:txBody>
      </p:sp>
      <p:sp>
        <p:nvSpPr>
          <p:cNvPr id="20" name="TrackerNumWhite 74">
            <a:extLst>
              <a:ext uri="{FF2B5EF4-FFF2-40B4-BE49-F238E27FC236}">
                <a16:creationId xmlns:a16="http://schemas.microsoft.com/office/drawing/2014/main" id="{4C499E73-DBF2-E008-9848-B15C0F83DD53}"/>
              </a:ext>
            </a:extLst>
          </p:cNvPr>
          <p:cNvSpPr/>
          <p:nvPr>
            <p:custDataLst>
              <p:tags r:id="rId7"/>
            </p:custDataLst>
          </p:nvPr>
        </p:nvSpPr>
        <p:spPr>
          <a:xfrm>
            <a:off x="4502066" y="4608562"/>
            <a:ext cx="298536" cy="298536"/>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chemeClr val="tx2"/>
              </a:buClr>
            </a:pPr>
            <a:r>
              <a:rPr lang="en-US" sz="1200" b="1" dirty="0">
                <a:solidFill>
                  <a:schemeClr val="tx2"/>
                </a:solidFill>
                <a:latin typeface="Calibri" panose="020F0502020204030204" pitchFamily="34" charset="0"/>
              </a:rPr>
              <a:t>4</a:t>
            </a:r>
          </a:p>
        </p:txBody>
      </p:sp>
      <p:sp>
        <p:nvSpPr>
          <p:cNvPr id="25" name="TextBox 24">
            <a:extLst>
              <a:ext uri="{FF2B5EF4-FFF2-40B4-BE49-F238E27FC236}">
                <a16:creationId xmlns:a16="http://schemas.microsoft.com/office/drawing/2014/main" id="{40AD9E52-9675-6289-9C09-85E742E52292}"/>
              </a:ext>
            </a:extLst>
          </p:cNvPr>
          <p:cNvSpPr txBox="1"/>
          <p:nvPr/>
        </p:nvSpPr>
        <p:spPr>
          <a:xfrm>
            <a:off x="4950317" y="4608562"/>
            <a:ext cx="6692716" cy="430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rgbClr val="000000"/>
                </a:solidFill>
                <a:latin typeface="Calibri" panose="020F0502020204030204" pitchFamily="34" charset="0"/>
                <a:sym typeface=""/>
              </a:rPr>
              <a:t>Support providers at different starting points by allowing flexibility in implementation timeline, partners, infrastructure, and degree of VBC</a:t>
            </a:r>
            <a:r>
              <a:rPr lang="en-US" sz="1400" baseline="30000" dirty="0">
                <a:latin typeface="Calibri" panose="020F0502020204030204" pitchFamily="34" charset="0"/>
              </a:rPr>
              <a:t>4</a:t>
            </a:r>
            <a:r>
              <a:rPr lang="en-US" sz="1400" dirty="0">
                <a:solidFill>
                  <a:srgbClr val="000000"/>
                </a:solidFill>
                <a:latin typeface="Calibri" panose="020F0502020204030204" pitchFamily="34" charset="0"/>
                <a:sym typeface=""/>
              </a:rPr>
              <a:t> readiness</a:t>
            </a:r>
          </a:p>
        </p:txBody>
      </p:sp>
      <p:sp>
        <p:nvSpPr>
          <p:cNvPr id="12" name="TrackerNumWhite 74">
            <a:extLst>
              <a:ext uri="{FF2B5EF4-FFF2-40B4-BE49-F238E27FC236}">
                <a16:creationId xmlns:a16="http://schemas.microsoft.com/office/drawing/2014/main" id="{F9AEDF02-EA25-8539-AFB1-3A4E9A7E0D93}"/>
              </a:ext>
            </a:extLst>
          </p:cNvPr>
          <p:cNvSpPr/>
          <p:nvPr>
            <p:custDataLst>
              <p:tags r:id="rId8"/>
            </p:custDataLst>
          </p:nvPr>
        </p:nvSpPr>
        <p:spPr>
          <a:xfrm>
            <a:off x="4502066" y="5303751"/>
            <a:ext cx="298536" cy="298536"/>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buClr>
                <a:schemeClr val="tx2"/>
              </a:buClr>
            </a:pPr>
            <a:r>
              <a:rPr lang="en-US" sz="1200" b="1" dirty="0">
                <a:solidFill>
                  <a:schemeClr val="tx2"/>
                </a:solidFill>
                <a:latin typeface="Calibri" panose="020F0502020204030204" pitchFamily="34" charset="0"/>
              </a:rPr>
              <a:t>5</a:t>
            </a:r>
          </a:p>
        </p:txBody>
      </p:sp>
      <p:sp>
        <p:nvSpPr>
          <p:cNvPr id="26" name="TextBox 25">
            <a:extLst>
              <a:ext uri="{FF2B5EF4-FFF2-40B4-BE49-F238E27FC236}">
                <a16:creationId xmlns:a16="http://schemas.microsoft.com/office/drawing/2014/main" id="{9E30D205-D51A-DE60-6CF2-F6BC5136BEFD}"/>
              </a:ext>
            </a:extLst>
          </p:cNvPr>
          <p:cNvSpPr txBox="1"/>
          <p:nvPr/>
        </p:nvSpPr>
        <p:spPr>
          <a:xfrm>
            <a:off x="4969567" y="5303751"/>
            <a:ext cx="6563166" cy="430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Create a glidepath toward shared savings or risk over time by building common capabilities, measures, attribution, and performance expectations </a:t>
            </a:r>
          </a:p>
        </p:txBody>
      </p:sp>
      <p:sp>
        <p:nvSpPr>
          <p:cNvPr id="65" name="4. Footnote">
            <a:extLst>
              <a:ext uri="{FF2B5EF4-FFF2-40B4-BE49-F238E27FC236}">
                <a16:creationId xmlns:a16="http://schemas.microsoft.com/office/drawing/2014/main" id="{A829D8B2-FDBC-7E4A-2C82-9DFFABD1DD72}"/>
              </a:ext>
            </a:extLst>
          </p:cNvPr>
          <p:cNvSpPr txBox="1"/>
          <p:nvPr>
            <p:custDataLst>
              <p:tags r:id="rId9"/>
            </p:custDataLst>
          </p:nvPr>
        </p:nvSpPr>
        <p:spPr>
          <a:xfrm>
            <a:off x="2465832" y="6463297"/>
            <a:ext cx="7278624" cy="10772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700" dirty="0">
                <a:solidFill>
                  <a:schemeClr val="tx2"/>
                </a:solidFill>
                <a:latin typeface="Calibri" panose="020F0502020204030204" pitchFamily="34" charset="0"/>
              </a:rPr>
              <a:t>1. Per member per year; 2. Substance use disorder; 3. Managed care organization; 4. Value-based care</a:t>
            </a:r>
          </a:p>
        </p:txBody>
      </p:sp>
      <p:cxnSp>
        <p:nvCxnSpPr>
          <p:cNvPr id="3" name="Straight Connector 2">
            <a:extLst>
              <a:ext uri="{FF2B5EF4-FFF2-40B4-BE49-F238E27FC236}">
                <a16:creationId xmlns:a16="http://schemas.microsoft.com/office/drawing/2014/main" id="{B5BCFEE3-5386-6A3E-E5E2-B1B06A045A79}"/>
              </a:ext>
            </a:extLst>
          </p:cNvPr>
          <p:cNvCxnSpPr>
            <a:cxnSpLocks/>
          </p:cNvCxnSpPr>
          <p:nvPr/>
        </p:nvCxnSpPr>
        <p:spPr>
          <a:xfrm>
            <a:off x="529717" y="1926548"/>
            <a:ext cx="11296523"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EC28081-B926-7D5E-2B91-690B00DCCF57}"/>
              </a:ext>
            </a:extLst>
          </p:cNvPr>
          <p:cNvSpPr txBox="1"/>
          <p:nvPr>
            <p:custDataLst>
              <p:tags r:id="rId10"/>
            </p:custDataLst>
          </p:nvPr>
        </p:nvSpPr>
        <p:spPr>
          <a:xfrm>
            <a:off x="529717" y="1523557"/>
            <a:ext cx="3279858"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b="1" dirty="0">
                <a:latin typeface="Calibri" panose="020F0502020204030204" pitchFamily="34" charset="0"/>
              </a:rPr>
              <a:t>Factors informing target model</a:t>
            </a:r>
          </a:p>
        </p:txBody>
      </p:sp>
      <p:sp>
        <p:nvSpPr>
          <p:cNvPr id="8" name="TextBox 7">
            <a:extLst>
              <a:ext uri="{FF2B5EF4-FFF2-40B4-BE49-F238E27FC236}">
                <a16:creationId xmlns:a16="http://schemas.microsoft.com/office/drawing/2014/main" id="{20489743-1D0D-BB6E-730B-2AD927C74B7F}"/>
              </a:ext>
            </a:extLst>
          </p:cNvPr>
          <p:cNvSpPr txBox="1"/>
          <p:nvPr>
            <p:custDataLst>
              <p:tags r:id="rId11"/>
            </p:custDataLst>
          </p:nvPr>
        </p:nvSpPr>
        <p:spPr>
          <a:xfrm>
            <a:off x="529717" y="2064402"/>
            <a:ext cx="3279858" cy="407034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120000"/>
              </a:lnSpc>
              <a:buClr>
                <a:schemeClr val="tx2"/>
              </a:buClr>
            </a:pPr>
            <a:r>
              <a:rPr lang="en-US" sz="1400" dirty="0">
                <a:latin typeface="Calibri" panose="020F0502020204030204" pitchFamily="34" charset="0"/>
              </a:rPr>
              <a:t>Analysis of SFY25 Medicaid claims indicates:</a:t>
            </a:r>
          </a:p>
          <a:p>
            <a:pPr lvl="1">
              <a:lnSpc>
                <a:spcPct val="120000"/>
              </a:lnSpc>
              <a:buFont typeface="Arial" panose="020B0604020202020204" pitchFamily="34" charset="0"/>
              <a:buChar char="•"/>
            </a:pPr>
            <a:r>
              <a:rPr lang="en-US" sz="1400" dirty="0">
                <a:latin typeface="Calibri" panose="020F0502020204030204" pitchFamily="34" charset="0"/>
              </a:rPr>
              <a:t>Rural parishes have a ~5% higher PMPY</a:t>
            </a:r>
            <a:r>
              <a:rPr lang="en-US" sz="1400" baseline="30000" dirty="0">
                <a:latin typeface="Calibri" panose="020F0502020204030204" pitchFamily="34" charset="0"/>
              </a:rPr>
              <a:t>1</a:t>
            </a:r>
            <a:r>
              <a:rPr lang="en-US" sz="1400" dirty="0">
                <a:latin typeface="Calibri" panose="020F0502020204030204" pitchFamily="34" charset="0"/>
              </a:rPr>
              <a:t> than urban parishes</a:t>
            </a:r>
          </a:p>
          <a:p>
            <a:pPr lvl="1">
              <a:lnSpc>
                <a:spcPct val="120000"/>
              </a:lnSpc>
              <a:buFont typeface="Arial" panose="020B0604020202020204" pitchFamily="34" charset="0"/>
              <a:buChar char="•"/>
            </a:pPr>
            <a:r>
              <a:rPr lang="en-US" sz="1400" dirty="0">
                <a:latin typeface="Calibri" panose="020F0502020204030204" pitchFamily="34" charset="0"/>
              </a:rPr>
              <a:t>Rural parishes have a 3 p.p. higher incidence of individuals with one or more chronic condition</a:t>
            </a:r>
          </a:p>
          <a:p>
            <a:pPr lvl="1">
              <a:lnSpc>
                <a:spcPct val="120000"/>
              </a:lnSpc>
              <a:buFont typeface="Arial" panose="020B0604020202020204" pitchFamily="34" charset="0"/>
              <a:buChar char="•"/>
            </a:pPr>
            <a:r>
              <a:rPr lang="en-US" sz="1400" dirty="0">
                <a:latin typeface="Calibri" panose="020F0502020204030204" pitchFamily="34" charset="0"/>
              </a:rPr>
              <a:t>Despite this, rural emergency dept. and inpatient utilization per capita is lower than in urban areas, indicating potential physical access issues</a:t>
            </a:r>
          </a:p>
          <a:p>
            <a:pPr lvl="1">
              <a:lnSpc>
                <a:spcPct val="120000"/>
              </a:lnSpc>
              <a:buFont typeface="Arial" panose="020B0604020202020204" pitchFamily="34" charset="0"/>
              <a:buChar char="•"/>
            </a:pPr>
            <a:r>
              <a:rPr lang="en-US" sz="1400" dirty="0">
                <a:latin typeface="Calibri" panose="020F0502020204030204" pitchFamily="34" charset="0"/>
              </a:rPr>
              <a:t>Psychiatric, cardiovascular, skeletal, gastrointestinal, and pulmonary conditions are leading contributors to total rural Medicaid spend </a:t>
            </a:r>
          </a:p>
          <a:p>
            <a:pPr lvl="1">
              <a:lnSpc>
                <a:spcPct val="120000"/>
              </a:lnSpc>
              <a:buFont typeface="Arial" panose="020B0604020202020204" pitchFamily="34" charset="0"/>
              <a:buChar char="•"/>
            </a:pPr>
            <a:endParaRPr lang="en-US" sz="1400" dirty="0">
              <a:latin typeface="Calibri" panose="020F0502020204030204" pitchFamily="34" charset="0"/>
            </a:endParaRPr>
          </a:p>
        </p:txBody>
      </p:sp>
      <p:cxnSp>
        <p:nvCxnSpPr>
          <p:cNvPr id="16" name="Straight Connector 15">
            <a:extLst>
              <a:ext uri="{FF2B5EF4-FFF2-40B4-BE49-F238E27FC236}">
                <a16:creationId xmlns:a16="http://schemas.microsoft.com/office/drawing/2014/main" id="{8CE8B0B9-6EFD-295F-3F51-00D2A00E0CD5}"/>
              </a:ext>
            </a:extLst>
          </p:cNvPr>
          <p:cNvCxnSpPr/>
          <p:nvPr/>
        </p:nvCxnSpPr>
        <p:spPr>
          <a:xfrm>
            <a:off x="4155820" y="1926548"/>
            <a:ext cx="0" cy="40696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56444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03789-804A-7674-088E-9AC6F34373FD}"/>
            </a:ext>
          </a:extLst>
        </p:cNvPr>
        <p:cNvGrpSpPr/>
        <p:nvPr/>
      </p:nvGrpSpPr>
      <p:grpSpPr>
        <a:xfrm>
          <a:off x="0" y="0"/>
          <a:ext cx="0" cy="0"/>
          <a:chOff x="0" y="0"/>
          <a:chExt cx="0" cy="0"/>
        </a:xfrm>
      </p:grpSpPr>
      <p:sp>
        <p:nvSpPr>
          <p:cNvPr id="4" name="2. Slide Title">
            <a:extLst>
              <a:ext uri="{FF2B5EF4-FFF2-40B4-BE49-F238E27FC236}">
                <a16:creationId xmlns:a16="http://schemas.microsoft.com/office/drawing/2014/main" id="{3DAA96F4-A92C-6DA0-4FFC-5339496B3780}"/>
              </a:ext>
            </a:extLst>
          </p:cNvPr>
          <p:cNvSpPr>
            <a:spLocks noGrp="1"/>
          </p:cNvSpPr>
          <p:nvPr>
            <p:ph type="title"/>
            <p:custDataLst>
              <p:tags r:id="rId1"/>
            </p:custDataLst>
          </p:nvPr>
        </p:nvSpPr>
        <p:spPr>
          <a:xfrm>
            <a:off x="554736" y="495454"/>
            <a:ext cx="9546194" cy="707886"/>
          </a:xfrm>
        </p:spPr>
        <p:txBody>
          <a:bodyPr vert="horz"/>
          <a:lstStyle/>
          <a:p>
            <a:r>
              <a:rPr lang="en-US" sz="2300" b="1" dirty="0">
                <a:solidFill>
                  <a:schemeClr val="accent3"/>
                </a:solidFill>
              </a:rPr>
              <a:t>1. NOFO eligibility context: </a:t>
            </a:r>
            <a:br>
              <a:rPr lang="en-US" sz="2300" b="1" dirty="0">
                <a:solidFill>
                  <a:schemeClr val="accent3"/>
                </a:solidFill>
              </a:rPr>
            </a:br>
            <a:r>
              <a:rPr lang="en-US" sz="2300" b="1" dirty="0"/>
              <a:t>F</a:t>
            </a:r>
            <a:r>
              <a:rPr lang="en-US" sz="2300" b="1" dirty="0">
                <a:ea typeface="+mj-lt"/>
                <a:cs typeface="+mj-lt"/>
              </a:rPr>
              <a:t>ocus on providers</a:t>
            </a:r>
          </a:p>
        </p:txBody>
      </p:sp>
      <p:sp>
        <p:nvSpPr>
          <p:cNvPr id="33" name="TextBox 32">
            <a:extLst>
              <a:ext uri="{FF2B5EF4-FFF2-40B4-BE49-F238E27FC236}">
                <a16:creationId xmlns:a16="http://schemas.microsoft.com/office/drawing/2014/main" id="{90E2C2CB-4659-9A6F-72F6-E39DDEB1E309}"/>
              </a:ext>
            </a:extLst>
          </p:cNvPr>
          <p:cNvSpPr txBox="1"/>
          <p:nvPr/>
        </p:nvSpPr>
        <p:spPr>
          <a:xfrm>
            <a:off x="554735" y="1429122"/>
            <a:ext cx="5065776" cy="3801041"/>
          </a:xfrm>
          <a:prstGeom prst="rect">
            <a:avLst/>
          </a:prstGeom>
          <a:noFill/>
          <a:ln w="6350">
            <a:noFill/>
            <a:miter lim="800000"/>
          </a:ln>
        </p:spPr>
        <p:txBody>
          <a:bodyPr wrap="square">
            <a:spAutoFit/>
          </a:bodyPr>
          <a:lstStyle/>
          <a:p>
            <a:pPr>
              <a:spcBef>
                <a:spcPts val="300"/>
              </a:spcBef>
              <a:spcAft>
                <a:spcPts val="300"/>
              </a:spcAft>
            </a:pPr>
            <a:r>
              <a:rPr lang="en-US" dirty="0">
                <a:effectLst/>
                <a:latin typeface="Calibri" panose="020F0502020204030204" pitchFamily="34" charset="0"/>
                <a:ea typeface="Arial" panose="020B0604020202020204" pitchFamily="34" charset="0"/>
              </a:rPr>
              <a:t>Eligible applicants are limited to Medicaid-enrolled providers and </a:t>
            </a:r>
            <a:r>
              <a:rPr lang="en-US" dirty="0">
                <a:latin typeface="Calibri" panose="020F0502020204030204" pitchFamily="34" charset="0"/>
                <a:ea typeface="Arial" panose="020B0604020202020204" pitchFamily="34" charset="0"/>
              </a:rPr>
              <a:t>applicant teams that include Medicaid-enrolled providers, such as: </a:t>
            </a:r>
          </a:p>
          <a:p>
            <a:pPr marL="285750" indent="-285750">
              <a:spcBef>
                <a:spcPts val="300"/>
              </a:spcBef>
              <a:spcAft>
                <a:spcPts val="300"/>
              </a:spcAft>
              <a:buFont typeface="Arial" panose="020B0604020202020204" pitchFamily="34" charset="0"/>
              <a:buChar char="•"/>
            </a:pPr>
            <a:r>
              <a:rPr lang="en-US" dirty="0">
                <a:effectLst/>
                <a:latin typeface="Calibri" panose="020F0502020204030204" pitchFamily="34" charset="0"/>
                <a:ea typeface="Arial" panose="020B0604020202020204" pitchFamily="34" charset="0"/>
              </a:rPr>
              <a:t>Provider coalitions</a:t>
            </a:r>
            <a:endParaRPr lang="en-US" dirty="0">
              <a:latin typeface="Calibri" panose="020F0502020204030204" pitchFamily="34" charset="0"/>
              <a:ea typeface="Arial" panose="020B0604020202020204" pitchFamily="34" charset="0"/>
            </a:endParaRPr>
          </a:p>
          <a:p>
            <a:pPr marL="285750" indent="-285750">
              <a:spcBef>
                <a:spcPts val="300"/>
              </a:spcBef>
              <a:spcAft>
                <a:spcPts val="300"/>
              </a:spcAft>
              <a:buFont typeface="Arial" panose="020B0604020202020204" pitchFamily="34" charset="0"/>
              <a:buChar char="•"/>
            </a:pPr>
            <a:r>
              <a:rPr lang="en-US" dirty="0">
                <a:effectLst/>
                <a:latin typeface="Calibri" panose="020F0502020204030204" pitchFamily="34" charset="0"/>
                <a:ea typeface="Arial" panose="020B0604020202020204" pitchFamily="34" charset="0"/>
              </a:rPr>
              <a:t>Independent practice associations</a:t>
            </a:r>
            <a:endParaRPr lang="en-US" dirty="0">
              <a:latin typeface="Calibri" panose="020F0502020204030204" pitchFamily="34" charset="0"/>
              <a:ea typeface="Arial" panose="020B0604020202020204" pitchFamily="34" charset="0"/>
            </a:endParaRPr>
          </a:p>
          <a:p>
            <a:pPr marL="285750" indent="-285750">
              <a:spcBef>
                <a:spcPts val="300"/>
              </a:spcBef>
              <a:spcAft>
                <a:spcPts val="300"/>
              </a:spcAft>
              <a:buFont typeface="Arial" panose="020B0604020202020204" pitchFamily="34" charset="0"/>
              <a:buChar char="•"/>
            </a:pPr>
            <a:r>
              <a:rPr lang="en-US" dirty="0">
                <a:effectLst/>
                <a:latin typeface="Calibri" panose="020F0502020204030204" pitchFamily="34" charset="0"/>
                <a:ea typeface="Arial" panose="020B0604020202020204" pitchFamily="34" charset="0"/>
              </a:rPr>
              <a:t>Rural hospital-led partnerships</a:t>
            </a:r>
            <a:endParaRPr lang="en-US" dirty="0">
              <a:latin typeface="Calibri" panose="020F0502020204030204" pitchFamily="34" charset="0"/>
              <a:ea typeface="Arial" panose="020B0604020202020204" pitchFamily="34" charset="0"/>
            </a:endParaRPr>
          </a:p>
          <a:p>
            <a:pPr marL="285750" indent="-285750">
              <a:spcBef>
                <a:spcPts val="300"/>
              </a:spcBef>
              <a:spcAft>
                <a:spcPts val="300"/>
              </a:spcAft>
              <a:buFont typeface="Arial" panose="020B0604020202020204" pitchFamily="34" charset="0"/>
              <a:buChar char="•"/>
            </a:pPr>
            <a:r>
              <a:rPr lang="en-US" dirty="0">
                <a:effectLst/>
                <a:latin typeface="Calibri" panose="020F0502020204030204" pitchFamily="34" charset="0"/>
                <a:ea typeface="Arial" panose="020B0604020202020204" pitchFamily="34" charset="0"/>
              </a:rPr>
              <a:t>Federally Qualified Health Clinics (FQHCs) / Rural Healt</a:t>
            </a:r>
            <a:r>
              <a:rPr lang="en-US" dirty="0">
                <a:latin typeface="Calibri" panose="020F0502020204030204" pitchFamily="34" charset="0"/>
                <a:ea typeface="Arial" panose="020B0604020202020204" pitchFamily="34" charset="0"/>
              </a:rPr>
              <a:t>h Clinics (</a:t>
            </a:r>
            <a:r>
              <a:rPr lang="en-US" dirty="0">
                <a:effectLst/>
                <a:latin typeface="Calibri" panose="020F0502020204030204" pitchFamily="34" charset="0"/>
                <a:ea typeface="Arial" panose="020B0604020202020204" pitchFamily="34" charset="0"/>
              </a:rPr>
              <a:t>RHCs)</a:t>
            </a:r>
          </a:p>
          <a:p>
            <a:pPr marL="285750" indent="-285750">
              <a:spcBef>
                <a:spcPts val="300"/>
              </a:spcBef>
              <a:spcAft>
                <a:spcPts val="300"/>
              </a:spcAft>
              <a:buFont typeface="Arial" panose="020B0604020202020204" pitchFamily="34" charset="0"/>
              <a:buChar char="•"/>
            </a:pPr>
            <a:r>
              <a:rPr lang="en-US" dirty="0">
                <a:effectLst/>
                <a:latin typeface="Calibri" panose="020F0502020204030204" pitchFamily="34" charset="0"/>
                <a:ea typeface="Arial" panose="020B0604020202020204" pitchFamily="34" charset="0"/>
              </a:rPr>
              <a:t>Other provider-led collaboratives that include Louisiana Medicaid-enrolled providers</a:t>
            </a:r>
            <a:r>
              <a:rPr lang="en-US" dirty="0">
                <a:latin typeface="Calibri" panose="020F0502020204030204" pitchFamily="34" charset="0"/>
                <a:ea typeface="Arial" panose="020B0604020202020204" pitchFamily="34" charset="0"/>
              </a:rPr>
              <a:t> (e.g., Accountable care organizations (ACOs), Clinically integrated networks (CINs))</a:t>
            </a:r>
          </a:p>
        </p:txBody>
      </p:sp>
      <p:sp>
        <p:nvSpPr>
          <p:cNvPr id="34" name="TextBox 33">
            <a:extLst>
              <a:ext uri="{FF2B5EF4-FFF2-40B4-BE49-F238E27FC236}">
                <a16:creationId xmlns:a16="http://schemas.microsoft.com/office/drawing/2014/main" id="{5C17F38B-7FA8-CC85-6CD0-C5E14FA80913}"/>
              </a:ext>
            </a:extLst>
          </p:cNvPr>
          <p:cNvSpPr txBox="1"/>
          <p:nvPr/>
        </p:nvSpPr>
        <p:spPr>
          <a:xfrm>
            <a:off x="6486525" y="1390770"/>
            <a:ext cx="5259452" cy="2893100"/>
          </a:xfrm>
          <a:prstGeom prst="rect">
            <a:avLst/>
          </a:prstGeom>
          <a:noFill/>
          <a:ln w="6350">
            <a:noFill/>
            <a:miter lim="800000"/>
          </a:ln>
        </p:spPr>
        <p:txBody>
          <a:bodyPr wrap="square">
            <a:spAutoFit/>
          </a:bodyPr>
          <a:lstStyle/>
          <a:p>
            <a:pPr>
              <a:spcBef>
                <a:spcPts val="300"/>
              </a:spcBef>
              <a:spcAft>
                <a:spcPts val="300"/>
              </a:spcAft>
            </a:pPr>
            <a:r>
              <a:rPr lang="en-US" dirty="0">
                <a:effectLst/>
                <a:latin typeface="Calibri" panose="020F0502020204030204" pitchFamily="34" charset="0"/>
                <a:ea typeface="Arial" panose="020B0604020202020204" pitchFamily="34" charset="0"/>
              </a:rPr>
              <a:t>Objectives of eligibility criteria:</a:t>
            </a:r>
          </a:p>
          <a:p>
            <a:pPr marL="285750" indent="-285750">
              <a:spcBef>
                <a:spcPts val="300"/>
              </a:spcBef>
              <a:spcAft>
                <a:spcPts val="300"/>
              </a:spcAft>
              <a:buFont typeface="Arial" panose="020B0604020202020204" pitchFamily="34" charset="0"/>
              <a:buChar char="•"/>
            </a:pPr>
            <a:r>
              <a:rPr lang="en-US" dirty="0">
                <a:effectLst/>
                <a:latin typeface="Calibri" panose="020F0502020204030204" pitchFamily="34" charset="0"/>
                <a:ea typeface="Arial" panose="020B0604020202020204" pitchFamily="34" charset="0"/>
              </a:rPr>
              <a:t>Prioritize direct funding to providers where possible</a:t>
            </a:r>
          </a:p>
          <a:p>
            <a:pPr marL="285750" indent="-285750">
              <a:spcBef>
                <a:spcPts val="300"/>
              </a:spcBef>
              <a:spcAft>
                <a:spcPts val="300"/>
              </a:spcAft>
              <a:buFont typeface="Arial" panose="020B0604020202020204" pitchFamily="34" charset="0"/>
              <a:buChar char="•"/>
            </a:pPr>
            <a:r>
              <a:rPr lang="en-US" dirty="0">
                <a:latin typeface="Calibri" panose="020F0502020204030204" pitchFamily="34" charset="0"/>
                <a:ea typeface="Arial" panose="020B0604020202020204" pitchFamily="34" charset="0"/>
              </a:rPr>
              <a:t>Avoid funding vendors without clear customers / market demand</a:t>
            </a:r>
          </a:p>
          <a:p>
            <a:pPr marL="285750" indent="-285750">
              <a:spcBef>
                <a:spcPts val="300"/>
              </a:spcBef>
              <a:spcAft>
                <a:spcPts val="300"/>
              </a:spcAft>
              <a:buFont typeface="Arial" panose="020B0604020202020204" pitchFamily="34" charset="0"/>
              <a:buChar char="•"/>
            </a:pPr>
            <a:r>
              <a:rPr lang="en-US" dirty="0">
                <a:latin typeface="Calibri" panose="020F0502020204030204" pitchFamily="34" charset="0"/>
                <a:ea typeface="Arial" panose="020B0604020202020204" pitchFamily="34" charset="0"/>
              </a:rPr>
              <a:t>Facilitate sufficient scale in a potential patient panel to eventually enable shared savings / two-sided risk</a:t>
            </a:r>
          </a:p>
          <a:p>
            <a:pPr>
              <a:spcBef>
                <a:spcPts val="300"/>
              </a:spcBef>
              <a:spcAft>
                <a:spcPts val="300"/>
              </a:spcAft>
            </a:pPr>
            <a:endParaRPr lang="en-US" dirty="0">
              <a:effectLst/>
              <a:latin typeface="Calibri" panose="020F0502020204030204" pitchFamily="34" charset="0"/>
              <a:ea typeface="Arial" panose="020B0604020202020204" pitchFamily="34" charset="0"/>
            </a:endParaRPr>
          </a:p>
        </p:txBody>
      </p:sp>
      <p:sp>
        <p:nvSpPr>
          <p:cNvPr id="6" name="4. Footnote">
            <a:extLst>
              <a:ext uri="{FF2B5EF4-FFF2-40B4-BE49-F238E27FC236}">
                <a16:creationId xmlns:a16="http://schemas.microsoft.com/office/drawing/2014/main" id="{5775A598-51EF-3E85-C536-00EBD9910756}"/>
              </a:ext>
            </a:extLst>
          </p:cNvPr>
          <p:cNvSpPr txBox="1"/>
          <p:nvPr>
            <p:custDataLst>
              <p:tags r:id="rId2"/>
            </p:custDataLst>
          </p:nvPr>
        </p:nvSpPr>
        <p:spPr>
          <a:xfrm>
            <a:off x="554734" y="6086611"/>
            <a:ext cx="10343637" cy="1384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900" dirty="0">
                <a:latin typeface="Calibri" panose="020F0502020204030204" pitchFamily="34" charset="0"/>
              </a:rPr>
              <a:t>Source: LDH Leadership Discussions (May – June 2026); LA RHTP Application, </a:t>
            </a:r>
            <a:r>
              <a:rPr lang="en-US" sz="900" dirty="0">
                <a:latin typeface="Calibri" panose="020F0502020204030204" pitchFamily="34" charset="0"/>
                <a:hlinkClick r:id="rId5"/>
              </a:rPr>
              <a:t>CMS ACO REACH Request for Applications</a:t>
            </a:r>
            <a:r>
              <a:rPr lang="en-US" sz="900" dirty="0">
                <a:latin typeface="Calibri" panose="020F0502020204030204" pitchFamily="34" charset="0"/>
              </a:rPr>
              <a:t>, </a:t>
            </a:r>
            <a:r>
              <a:rPr lang="en-US" sz="900" dirty="0">
                <a:latin typeface="Calibri" panose="020F0502020204030204" pitchFamily="34" charset="0"/>
                <a:hlinkClick r:id="rId6"/>
              </a:rPr>
              <a:t>CMS Making Care Primary Request for Applications</a:t>
            </a:r>
            <a:endParaRPr lang="en-US" sz="900" dirty="0">
              <a:latin typeface="Calibri" panose="020F0502020204030204" pitchFamily="34" charset="0"/>
            </a:endParaRPr>
          </a:p>
        </p:txBody>
      </p:sp>
      <p:sp>
        <p:nvSpPr>
          <p:cNvPr id="7" name="4. Footnote">
            <a:extLst>
              <a:ext uri="{FF2B5EF4-FFF2-40B4-BE49-F238E27FC236}">
                <a16:creationId xmlns:a16="http://schemas.microsoft.com/office/drawing/2014/main" id="{9A2E9E4A-BF08-8FFF-9530-C7A7C5F586A4}"/>
              </a:ext>
            </a:extLst>
          </p:cNvPr>
          <p:cNvSpPr txBox="1"/>
          <p:nvPr>
            <p:custDataLst>
              <p:tags r:id="rId3"/>
            </p:custDataLst>
          </p:nvPr>
        </p:nvSpPr>
        <p:spPr>
          <a:xfrm>
            <a:off x="554735" y="5918794"/>
            <a:ext cx="9865172" cy="13849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2"/>
              </a:buClr>
            </a:pPr>
            <a:r>
              <a:rPr lang="en-US" sz="900" dirty="0">
                <a:latin typeface="Calibri" panose="020F0502020204030204" pitchFamily="34" charset="0"/>
              </a:rPr>
              <a:t>1. Center for Medicare and Medicaid Innovation; 2. Vendors are defined as entities that may support providers in building VBC capabilities but typically are not made up of providers themselves</a:t>
            </a:r>
          </a:p>
        </p:txBody>
      </p:sp>
      <p:sp>
        <p:nvSpPr>
          <p:cNvPr id="8" name="TextBox 7">
            <a:extLst>
              <a:ext uri="{FF2B5EF4-FFF2-40B4-BE49-F238E27FC236}">
                <a16:creationId xmlns:a16="http://schemas.microsoft.com/office/drawing/2014/main" id="{4AF4D78B-A603-D36A-AF50-BC1380CE1F11}"/>
              </a:ext>
            </a:extLst>
          </p:cNvPr>
          <p:cNvSpPr txBox="1"/>
          <p:nvPr/>
        </p:nvSpPr>
        <p:spPr>
          <a:xfrm>
            <a:off x="6486525" y="4082235"/>
            <a:ext cx="5259452" cy="1384995"/>
          </a:xfrm>
          <a:prstGeom prst="rect">
            <a:avLst/>
          </a:prstGeom>
          <a:noFill/>
          <a:ln w="6350">
            <a:solidFill>
              <a:schemeClr val="tx1"/>
            </a:solidFill>
            <a:miter lim="800000"/>
          </a:ln>
        </p:spPr>
        <p:txBody>
          <a:bodyPr wrap="square" lIns="91440" tIns="45720" rIns="91440" bIns="45720" anchor="t">
            <a:spAutoFit/>
          </a:bodyPr>
          <a:lstStyle/>
          <a:p>
            <a:r>
              <a:rPr lang="en-US" sz="1400" dirty="0">
                <a:latin typeface="Calibri" panose="020F0502020204030204" pitchFamily="34" charset="0"/>
              </a:rPr>
              <a:t>Eligibility criteria for CMMI</a:t>
            </a:r>
            <a:r>
              <a:rPr lang="en-US" sz="1400" baseline="30000" dirty="0">
                <a:latin typeface="Calibri" panose="020F0502020204030204" pitchFamily="34" charset="0"/>
              </a:rPr>
              <a:t>1 </a:t>
            </a:r>
            <a:r>
              <a:rPr lang="en-US" sz="1400" dirty="0">
                <a:latin typeface="Calibri" panose="020F0502020204030204" pitchFamily="34" charset="0"/>
              </a:rPr>
              <a:t>APMs generally distinguish provider-led entities from vendors: Funding and accountability generally flow to provider-led entities, such as ACOs, CINs, or other provider collaboratives, responsible for care delivery, quality, and cost performance. Vendors</a:t>
            </a:r>
            <a:r>
              <a:rPr lang="en-US" sz="1400" baseline="30000" dirty="0">
                <a:latin typeface="Calibri" panose="020F0502020204030204" pitchFamily="34" charset="0"/>
              </a:rPr>
              <a:t>2</a:t>
            </a:r>
            <a:r>
              <a:rPr lang="en-US" sz="1400" dirty="0">
                <a:latin typeface="Calibri" panose="020F0502020204030204" pitchFamily="34" charset="0"/>
              </a:rPr>
              <a:t> (e.g., Equality Health, Azara) may support implementation, but are not typically the default funding recipient</a:t>
            </a:r>
          </a:p>
        </p:txBody>
      </p:sp>
    </p:spTree>
    <p:extLst>
      <p:ext uri="{BB962C8B-B14F-4D97-AF65-F5344CB8AC3E}">
        <p14:creationId xmlns:p14="http://schemas.microsoft.com/office/powerpoint/2010/main" val="3053680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68F8F8-A570-F595-9C41-D7A44812C36D}"/>
            </a:ext>
          </a:extLst>
        </p:cNvPr>
        <p:cNvGrpSpPr/>
        <p:nvPr/>
      </p:nvGrpSpPr>
      <p:grpSpPr>
        <a:xfrm>
          <a:off x="0" y="0"/>
          <a:ext cx="0" cy="0"/>
          <a:chOff x="0" y="0"/>
          <a:chExt cx="0" cy="0"/>
        </a:xfrm>
      </p:grpSpPr>
      <p:sp>
        <p:nvSpPr>
          <p:cNvPr id="4" name="2. Slide Title">
            <a:extLst>
              <a:ext uri="{FF2B5EF4-FFF2-40B4-BE49-F238E27FC236}">
                <a16:creationId xmlns:a16="http://schemas.microsoft.com/office/drawing/2014/main" id="{F988132F-3B3A-FF2D-EB9B-4F048FB948D8}"/>
              </a:ext>
            </a:extLst>
          </p:cNvPr>
          <p:cNvSpPr>
            <a:spLocks noGrp="1"/>
          </p:cNvSpPr>
          <p:nvPr>
            <p:ph type="title"/>
            <p:custDataLst>
              <p:tags r:id="rId1"/>
            </p:custDataLst>
          </p:nvPr>
        </p:nvSpPr>
        <p:spPr>
          <a:xfrm>
            <a:off x="253873" y="478778"/>
            <a:ext cx="11358372" cy="769441"/>
          </a:xfrm>
        </p:spPr>
        <p:txBody>
          <a:bodyPr vert="horz"/>
          <a:lstStyle/>
          <a:p>
            <a:r>
              <a:rPr lang="en-US" b="1" dirty="0">
                <a:solidFill>
                  <a:schemeClr val="accent3"/>
                </a:solidFill>
              </a:rPr>
              <a:t>1. Adoption barriers context: </a:t>
            </a:r>
            <a:r>
              <a:rPr lang="en-US" b="1" dirty="0"/>
              <a:t>eligible uses of funds are oriented around barriers to provider adoption </a:t>
            </a:r>
          </a:p>
        </p:txBody>
      </p:sp>
      <p:sp>
        <p:nvSpPr>
          <p:cNvPr id="96" name="5. Source">
            <a:extLst>
              <a:ext uri="{FF2B5EF4-FFF2-40B4-BE49-F238E27FC236}">
                <a16:creationId xmlns:a16="http://schemas.microsoft.com/office/drawing/2014/main" id="{E25483BB-3FAD-49D7-EDF3-97464413E9F9}"/>
              </a:ext>
            </a:extLst>
          </p:cNvPr>
          <p:cNvSpPr txBox="1"/>
          <p:nvPr>
            <p:custDataLst>
              <p:tags r:id="rId2"/>
            </p:custDataLst>
          </p:nvPr>
        </p:nvSpPr>
        <p:spPr>
          <a:xfrm>
            <a:off x="2457069" y="66595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2"/>
                </a:solidFill>
                <a:latin typeface="Calibri" panose="020F0502020204030204" pitchFamily="34" charset="0"/>
              </a:rPr>
              <a:t>Source: LA RHTP application; LDH Leadership Discussions (May – June 2026)</a:t>
            </a:r>
          </a:p>
        </p:txBody>
      </p:sp>
      <p:sp>
        <p:nvSpPr>
          <p:cNvPr id="16" name="Legend1">
            <a:extLst>
              <a:ext uri="{FF2B5EF4-FFF2-40B4-BE49-F238E27FC236}">
                <a16:creationId xmlns:a16="http://schemas.microsoft.com/office/drawing/2014/main" id="{BF0542FE-CA64-FE0A-1750-DA49F8B5B548}"/>
              </a:ext>
            </a:extLst>
          </p:cNvPr>
          <p:cNvSpPr txBox="1"/>
          <p:nvPr/>
        </p:nvSpPr>
        <p:spPr>
          <a:xfrm>
            <a:off x="9574098" y="1088028"/>
            <a:ext cx="69249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Calibri" panose="020F0502020204030204" pitchFamily="34" charset="0"/>
              </a:rPr>
              <a:t>One-time</a:t>
            </a:r>
          </a:p>
        </p:txBody>
      </p:sp>
      <p:sp>
        <p:nvSpPr>
          <p:cNvPr id="19" name="Legend4">
            <a:extLst>
              <a:ext uri="{FF2B5EF4-FFF2-40B4-BE49-F238E27FC236}">
                <a16:creationId xmlns:a16="http://schemas.microsoft.com/office/drawing/2014/main" id="{3131FFAD-268B-5B7B-46D7-2BC16C11B580}"/>
              </a:ext>
            </a:extLst>
          </p:cNvPr>
          <p:cNvSpPr txBox="1"/>
          <p:nvPr/>
        </p:nvSpPr>
        <p:spPr>
          <a:xfrm>
            <a:off x="10911668" y="1088028"/>
            <a:ext cx="700576"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Calibri" panose="020F0502020204030204" pitchFamily="34" charset="0"/>
              </a:rPr>
              <a:t>Recurring</a:t>
            </a:r>
          </a:p>
        </p:txBody>
      </p:sp>
      <p:sp>
        <p:nvSpPr>
          <p:cNvPr id="7" name="TextBox 6">
            <a:extLst>
              <a:ext uri="{FF2B5EF4-FFF2-40B4-BE49-F238E27FC236}">
                <a16:creationId xmlns:a16="http://schemas.microsoft.com/office/drawing/2014/main" id="{A6A1B937-3F29-7B35-84D1-1BC5F7A225CE}"/>
              </a:ext>
            </a:extLst>
          </p:cNvPr>
          <p:cNvSpPr txBox="1"/>
          <p:nvPr>
            <p:custDataLst>
              <p:tags r:id="rId3"/>
            </p:custDataLst>
          </p:nvPr>
        </p:nvSpPr>
        <p:spPr>
          <a:xfrm>
            <a:off x="571500" y="2150906"/>
            <a:ext cx="1692363"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Calibri" panose="020F0502020204030204" pitchFamily="34" charset="0"/>
              </a:rPr>
              <a:t>Eligible element</a:t>
            </a:r>
          </a:p>
        </p:txBody>
      </p:sp>
      <p:sp>
        <p:nvSpPr>
          <p:cNvPr id="21" name="TextBox 20">
            <a:extLst>
              <a:ext uri="{FF2B5EF4-FFF2-40B4-BE49-F238E27FC236}">
                <a16:creationId xmlns:a16="http://schemas.microsoft.com/office/drawing/2014/main" id="{B8DFBE7A-CDA8-D4CB-8BEC-95A48A497FAF}"/>
              </a:ext>
            </a:extLst>
          </p:cNvPr>
          <p:cNvSpPr txBox="1"/>
          <p:nvPr>
            <p:custDataLst>
              <p:tags r:id="rId4"/>
            </p:custDataLst>
          </p:nvPr>
        </p:nvSpPr>
        <p:spPr>
          <a:xfrm>
            <a:off x="2331943" y="2150906"/>
            <a:ext cx="4749171"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Calibri" panose="020F0502020204030204" pitchFamily="34" charset="0"/>
              </a:rPr>
              <a:t>What RHTP funds may support</a:t>
            </a:r>
          </a:p>
        </p:txBody>
      </p:sp>
      <p:sp>
        <p:nvSpPr>
          <p:cNvPr id="35" name="TextBox 34">
            <a:extLst>
              <a:ext uri="{FF2B5EF4-FFF2-40B4-BE49-F238E27FC236}">
                <a16:creationId xmlns:a16="http://schemas.microsoft.com/office/drawing/2014/main" id="{98530646-F539-BBAE-8BF7-F17FCB0E5FAF}"/>
              </a:ext>
            </a:extLst>
          </p:cNvPr>
          <p:cNvSpPr txBox="1"/>
          <p:nvPr>
            <p:custDataLst>
              <p:tags r:id="rId5"/>
            </p:custDataLst>
          </p:nvPr>
        </p:nvSpPr>
        <p:spPr>
          <a:xfrm>
            <a:off x="7212694" y="2150906"/>
            <a:ext cx="4534806"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Calibri" panose="020F0502020204030204" pitchFamily="34" charset="0"/>
              </a:rPr>
              <a:t>Potential barriers addressed</a:t>
            </a:r>
          </a:p>
        </p:txBody>
      </p:sp>
      <p:cxnSp>
        <p:nvCxnSpPr>
          <p:cNvPr id="42" name="Straight Connector 41">
            <a:extLst>
              <a:ext uri="{FF2B5EF4-FFF2-40B4-BE49-F238E27FC236}">
                <a16:creationId xmlns:a16="http://schemas.microsoft.com/office/drawing/2014/main" id="{75A72056-A9BB-7FE5-47B7-85D73749FFFF}"/>
              </a:ext>
            </a:extLst>
          </p:cNvPr>
          <p:cNvCxnSpPr/>
          <p:nvPr>
            <p:custDataLst>
              <p:tags r:id="rId6"/>
            </p:custDataLst>
          </p:nvPr>
        </p:nvCxnSpPr>
        <p:spPr>
          <a:xfrm>
            <a:off x="571500" y="2460674"/>
            <a:ext cx="11176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BD88B93-213E-EAF7-6950-50125A3EA57E}"/>
              </a:ext>
            </a:extLst>
          </p:cNvPr>
          <p:cNvSpPr txBox="1"/>
          <p:nvPr>
            <p:custDataLst>
              <p:tags r:id="rId7"/>
            </p:custDataLst>
          </p:nvPr>
        </p:nvSpPr>
        <p:spPr>
          <a:xfrm>
            <a:off x="655075" y="2556927"/>
            <a:ext cx="1410477"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Practice transformation payments</a:t>
            </a:r>
          </a:p>
        </p:txBody>
      </p:sp>
      <p:sp>
        <p:nvSpPr>
          <p:cNvPr id="22" name="TextBox 21">
            <a:extLst>
              <a:ext uri="{FF2B5EF4-FFF2-40B4-BE49-F238E27FC236}">
                <a16:creationId xmlns:a16="http://schemas.microsoft.com/office/drawing/2014/main" id="{99970065-3CF6-1711-FCA3-ECADEB11FB33}"/>
              </a:ext>
            </a:extLst>
          </p:cNvPr>
          <p:cNvSpPr txBox="1"/>
          <p:nvPr>
            <p:custDataLst>
              <p:tags r:id="rId8"/>
            </p:custDataLst>
          </p:nvPr>
        </p:nvSpPr>
        <p:spPr>
          <a:xfrm>
            <a:off x="2331943" y="2556927"/>
            <a:ext cx="4749171"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Infrastructure, staffing, workflows, data capabilities, and tools needed to implement evidence-backed clinical activities and the care delivery model</a:t>
            </a:r>
          </a:p>
        </p:txBody>
      </p:sp>
      <p:sp>
        <p:nvSpPr>
          <p:cNvPr id="38" name="TextBox 37">
            <a:extLst>
              <a:ext uri="{FF2B5EF4-FFF2-40B4-BE49-F238E27FC236}">
                <a16:creationId xmlns:a16="http://schemas.microsoft.com/office/drawing/2014/main" id="{AE17710C-182E-B02B-D336-510DFBCDEF03}"/>
              </a:ext>
            </a:extLst>
          </p:cNvPr>
          <p:cNvSpPr txBox="1"/>
          <p:nvPr>
            <p:custDataLst>
              <p:tags r:id="rId9"/>
            </p:custDataLst>
          </p:nvPr>
        </p:nvSpPr>
        <p:spPr>
          <a:xfrm>
            <a:off x="7212694" y="2556927"/>
            <a:ext cx="4534806"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Provide funding to build capabilities like data / reporting infrastructure and hire necessary staff (note: ongoing funding for staffing is not guaranteed)</a:t>
            </a:r>
          </a:p>
        </p:txBody>
      </p:sp>
      <p:sp>
        <p:nvSpPr>
          <p:cNvPr id="48" name="TrackerNumBlue 29">
            <a:extLst>
              <a:ext uri="{FF2B5EF4-FFF2-40B4-BE49-F238E27FC236}">
                <a16:creationId xmlns:a16="http://schemas.microsoft.com/office/drawing/2014/main" id="{089AC5A5-D3DC-8CC1-614B-76C1A7C4B046}"/>
              </a:ext>
            </a:extLst>
          </p:cNvPr>
          <p:cNvSpPr/>
          <p:nvPr>
            <p:custDataLst>
              <p:tags r:id="rId10"/>
            </p:custDataLst>
          </p:nvPr>
        </p:nvSpPr>
        <p:spPr>
          <a:xfrm>
            <a:off x="253873" y="2556927"/>
            <a:ext cx="269622" cy="269622"/>
          </a:xfrm>
          <a:prstGeom prst="ellipse">
            <a:avLst/>
          </a:prstGeom>
          <a:solidFill>
            <a:schemeClr val="accent2"/>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latin typeface="Calibri" panose="020F0502020204030204" pitchFamily="34" charset="0"/>
              </a:rPr>
              <a:t>1</a:t>
            </a:r>
          </a:p>
        </p:txBody>
      </p:sp>
      <p:sp>
        <p:nvSpPr>
          <p:cNvPr id="17" name="TextBox 16">
            <a:extLst>
              <a:ext uri="{FF2B5EF4-FFF2-40B4-BE49-F238E27FC236}">
                <a16:creationId xmlns:a16="http://schemas.microsoft.com/office/drawing/2014/main" id="{9E02CE21-9578-48FB-07BC-1970930D8EE8}"/>
              </a:ext>
            </a:extLst>
          </p:cNvPr>
          <p:cNvSpPr txBox="1"/>
          <p:nvPr>
            <p:custDataLst>
              <p:tags r:id="rId11"/>
            </p:custDataLst>
          </p:nvPr>
        </p:nvSpPr>
        <p:spPr>
          <a:xfrm>
            <a:off x="655075" y="3580208"/>
            <a:ext cx="1410477"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In-Lieu of Services (ILOS)-style / other clinical activities</a:t>
            </a:r>
            <a:r>
              <a:rPr lang="en-US" sz="1400" baseline="30000" dirty="0">
                <a:latin typeface="Calibri" panose="020F0502020204030204" pitchFamily="34" charset="0"/>
              </a:rPr>
              <a:t>1</a:t>
            </a:r>
            <a:endParaRPr lang="en-US" sz="1400" dirty="0">
              <a:latin typeface="Calibri" panose="020F0502020204030204" pitchFamily="34" charset="0"/>
            </a:endParaRPr>
          </a:p>
        </p:txBody>
      </p:sp>
      <p:sp>
        <p:nvSpPr>
          <p:cNvPr id="23" name="TextBox 22">
            <a:extLst>
              <a:ext uri="{FF2B5EF4-FFF2-40B4-BE49-F238E27FC236}">
                <a16:creationId xmlns:a16="http://schemas.microsoft.com/office/drawing/2014/main" id="{45F568A4-9B4E-4BD4-C204-E0DF3B6AEC11}"/>
              </a:ext>
            </a:extLst>
          </p:cNvPr>
          <p:cNvSpPr txBox="1"/>
          <p:nvPr>
            <p:custDataLst>
              <p:tags r:id="rId12"/>
            </p:custDataLst>
          </p:nvPr>
        </p:nvSpPr>
        <p:spPr>
          <a:xfrm>
            <a:off x="2331943" y="3580208"/>
            <a:ext cx="4749171"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Calibri" panose="020F0502020204030204" pitchFamily="34" charset="0"/>
                <a:cs typeface="Arial"/>
              </a:rPr>
              <a:t>ILOS-style and other clinical activities that are not reimbursed by Medicaid for the target rural Medicaid population</a:t>
            </a:r>
            <a:endParaRPr lang="en-US" sz="1400" dirty="0">
              <a:latin typeface="Calibri" panose="020F0502020204030204" pitchFamily="34" charset="0"/>
              <a:ea typeface="Calibri"/>
              <a:cs typeface="Arial"/>
            </a:endParaRPr>
          </a:p>
        </p:txBody>
      </p:sp>
      <p:sp>
        <p:nvSpPr>
          <p:cNvPr id="39" name="TextBox 38">
            <a:extLst>
              <a:ext uri="{FF2B5EF4-FFF2-40B4-BE49-F238E27FC236}">
                <a16:creationId xmlns:a16="http://schemas.microsoft.com/office/drawing/2014/main" id="{15BF2953-97E5-EE15-738E-01C7373EDA1F}"/>
              </a:ext>
            </a:extLst>
          </p:cNvPr>
          <p:cNvSpPr txBox="1"/>
          <p:nvPr>
            <p:custDataLst>
              <p:tags r:id="rId13"/>
            </p:custDataLst>
          </p:nvPr>
        </p:nvSpPr>
        <p:spPr>
          <a:xfrm>
            <a:off x="7212694" y="3580208"/>
            <a:ext cx="4534806"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Calibri" panose="020F0502020204030204" pitchFamily="34" charset="0"/>
              </a:rPr>
              <a:t>Compensate providers for quality-related activities, enabling them to increase staffing in areas like care management</a:t>
            </a:r>
          </a:p>
        </p:txBody>
      </p:sp>
      <p:sp>
        <p:nvSpPr>
          <p:cNvPr id="49" name="TrackerNumBlue 29">
            <a:extLst>
              <a:ext uri="{FF2B5EF4-FFF2-40B4-BE49-F238E27FC236}">
                <a16:creationId xmlns:a16="http://schemas.microsoft.com/office/drawing/2014/main" id="{FEDB5124-67F3-E7DD-2231-AD03BA54BAC2}"/>
              </a:ext>
            </a:extLst>
          </p:cNvPr>
          <p:cNvSpPr/>
          <p:nvPr>
            <p:custDataLst>
              <p:tags r:id="rId14"/>
            </p:custDataLst>
          </p:nvPr>
        </p:nvSpPr>
        <p:spPr>
          <a:xfrm>
            <a:off x="253873" y="3580208"/>
            <a:ext cx="269622" cy="269622"/>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latin typeface="Calibri" panose="020F0502020204030204" pitchFamily="34" charset="0"/>
              </a:rPr>
              <a:t>2</a:t>
            </a:r>
          </a:p>
        </p:txBody>
      </p:sp>
      <p:sp>
        <p:nvSpPr>
          <p:cNvPr id="18" name="TextBox 17">
            <a:extLst>
              <a:ext uri="{FF2B5EF4-FFF2-40B4-BE49-F238E27FC236}">
                <a16:creationId xmlns:a16="http://schemas.microsoft.com/office/drawing/2014/main" id="{FCBF6033-F472-FB06-9D15-0A25968C36D4}"/>
              </a:ext>
            </a:extLst>
          </p:cNvPr>
          <p:cNvSpPr txBox="1"/>
          <p:nvPr>
            <p:custDataLst>
              <p:tags r:id="rId15"/>
            </p:custDataLst>
          </p:nvPr>
        </p:nvSpPr>
        <p:spPr>
          <a:xfrm>
            <a:off x="655075" y="4717542"/>
            <a:ext cx="1410477"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Calibri" panose="020F0502020204030204" pitchFamily="34" charset="0"/>
              </a:rPr>
              <a:t>Quality, process and Total Cost of Care (TCOC)</a:t>
            </a:r>
          </a:p>
        </p:txBody>
      </p:sp>
      <p:sp>
        <p:nvSpPr>
          <p:cNvPr id="25" name="TextBox 24">
            <a:extLst>
              <a:ext uri="{FF2B5EF4-FFF2-40B4-BE49-F238E27FC236}">
                <a16:creationId xmlns:a16="http://schemas.microsoft.com/office/drawing/2014/main" id="{E93B4593-8063-6AF2-1260-25DAF535A16A}"/>
              </a:ext>
            </a:extLst>
          </p:cNvPr>
          <p:cNvSpPr txBox="1"/>
          <p:nvPr>
            <p:custDataLst>
              <p:tags r:id="rId16"/>
            </p:custDataLst>
          </p:nvPr>
        </p:nvSpPr>
        <p:spPr>
          <a:xfrm>
            <a:off x="2331943" y="4717542"/>
            <a:ext cx="4749171" cy="11541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dirty="0">
                <a:latin typeface="Calibri" panose="020F0502020204030204" pitchFamily="34" charset="0"/>
              </a:rPr>
              <a:t>Payments tied to reporting, improvement, or achievement of quality or process expectations, while monitoring Total Cost of Chronic Disease / TCOC</a:t>
            </a:r>
          </a:p>
          <a:p>
            <a:pPr marL="285750" indent="-285750">
              <a:buFont typeface="Arial" panose="020B0604020202020204" pitchFamily="34" charset="0"/>
              <a:buChar char="•"/>
            </a:pPr>
            <a:r>
              <a:rPr lang="en-US" sz="1400" dirty="0">
                <a:latin typeface="Calibri" panose="020F0502020204030204" pitchFamily="34" charset="0"/>
              </a:rPr>
              <a:t>Payments tied to reducing Total Cost of Care while meeting quality or process expectations</a:t>
            </a:r>
          </a:p>
        </p:txBody>
      </p:sp>
      <p:sp>
        <p:nvSpPr>
          <p:cNvPr id="40" name="TextBox 39">
            <a:extLst>
              <a:ext uri="{FF2B5EF4-FFF2-40B4-BE49-F238E27FC236}">
                <a16:creationId xmlns:a16="http://schemas.microsoft.com/office/drawing/2014/main" id="{CCBE8894-459A-164A-4DA7-50F37FCC160D}"/>
              </a:ext>
            </a:extLst>
          </p:cNvPr>
          <p:cNvSpPr txBox="1"/>
          <p:nvPr>
            <p:custDataLst>
              <p:tags r:id="rId17"/>
            </p:custDataLst>
          </p:nvPr>
        </p:nvSpPr>
        <p:spPr>
          <a:xfrm>
            <a:off x="7212694" y="4717542"/>
            <a:ext cx="4534806" cy="144655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dirty="0">
                <a:latin typeface="Calibri" panose="020F0502020204030204" pitchFamily="34" charset="0"/>
              </a:rPr>
              <a:t>Pay for activities (e.g., reporting)  that create administrative burden</a:t>
            </a:r>
          </a:p>
          <a:p>
            <a:pPr marL="285750" indent="-285750">
              <a:buFont typeface="Arial" panose="020B0604020202020204" pitchFamily="34" charset="0"/>
              <a:buChar char="•"/>
            </a:pPr>
            <a:r>
              <a:rPr lang="en-US" sz="1400" dirty="0">
                <a:latin typeface="Calibri" panose="020F0502020204030204" pitchFamily="34" charset="0"/>
              </a:rPr>
              <a:t>Facilitate adoption of a common APM (vs. multiple MCO-led)</a:t>
            </a:r>
          </a:p>
          <a:p>
            <a:pPr marL="285750" indent="-285750">
              <a:buFont typeface="Arial" panose="020B0604020202020204" pitchFamily="34" charset="0"/>
              <a:buChar char="•"/>
            </a:pPr>
            <a:r>
              <a:rPr lang="en-US" sz="1400" dirty="0">
                <a:latin typeface="Calibri" panose="020F0502020204030204" pitchFamily="34" charset="0"/>
              </a:rPr>
              <a:t>Could increase upfront funding (depending on payment model)</a:t>
            </a:r>
          </a:p>
        </p:txBody>
      </p:sp>
      <p:sp>
        <p:nvSpPr>
          <p:cNvPr id="50" name="TrackerNumBlue 29">
            <a:extLst>
              <a:ext uri="{FF2B5EF4-FFF2-40B4-BE49-F238E27FC236}">
                <a16:creationId xmlns:a16="http://schemas.microsoft.com/office/drawing/2014/main" id="{A53AF03D-A851-2FEC-552A-38926D19927D}"/>
              </a:ext>
            </a:extLst>
          </p:cNvPr>
          <p:cNvSpPr/>
          <p:nvPr>
            <p:custDataLst>
              <p:tags r:id="rId18"/>
            </p:custDataLst>
          </p:nvPr>
        </p:nvSpPr>
        <p:spPr>
          <a:xfrm>
            <a:off x="253873" y="4717542"/>
            <a:ext cx="269622" cy="269622"/>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latin typeface="Calibri" panose="020F0502020204030204" pitchFamily="34" charset="0"/>
              </a:rPr>
              <a:t>3</a:t>
            </a:r>
          </a:p>
        </p:txBody>
      </p:sp>
      <p:cxnSp>
        <p:nvCxnSpPr>
          <p:cNvPr id="64" name="Straight Connector 63">
            <a:extLst>
              <a:ext uri="{FF2B5EF4-FFF2-40B4-BE49-F238E27FC236}">
                <a16:creationId xmlns:a16="http://schemas.microsoft.com/office/drawing/2014/main" id="{CE7E0CDD-6B9D-A234-3D8F-F672BF51B5A9}"/>
              </a:ext>
            </a:extLst>
          </p:cNvPr>
          <p:cNvCxnSpPr/>
          <p:nvPr>
            <p:custDataLst>
              <p:tags r:id="rId19"/>
            </p:custDataLst>
          </p:nvPr>
        </p:nvCxnSpPr>
        <p:spPr>
          <a:xfrm>
            <a:off x="571500" y="3424584"/>
            <a:ext cx="1117600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1E55672-A069-F642-198E-F0BC06AC2EF1}"/>
              </a:ext>
            </a:extLst>
          </p:cNvPr>
          <p:cNvCxnSpPr/>
          <p:nvPr>
            <p:custDataLst>
              <p:tags r:id="rId20"/>
            </p:custDataLst>
          </p:nvPr>
        </p:nvCxnSpPr>
        <p:spPr>
          <a:xfrm>
            <a:off x="571500" y="4576861"/>
            <a:ext cx="1117600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F6B669F9-7EE7-68A4-02BD-87176E4D6CF3}"/>
              </a:ext>
            </a:extLst>
          </p:cNvPr>
          <p:cNvSpPr txBox="1"/>
          <p:nvPr/>
        </p:nvSpPr>
        <p:spPr>
          <a:xfrm>
            <a:off x="253873" y="1487696"/>
            <a:ext cx="11493627" cy="446276"/>
          </a:xfrm>
          <a:prstGeom prst="rect">
            <a:avLst/>
          </a:prstGeom>
          <a:ln>
            <a:solidFill>
              <a:schemeClr val="tx1"/>
            </a:solidFill>
          </a:ln>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Calibri" panose="020F0502020204030204" pitchFamily="34" charset="0"/>
              </a:rPr>
              <a:t>Context: Top barriers identified in provider survey (n=22) include administrative burden (50% of respondents), lack of upfront funding (41%), limited analytics or reporting infrastructure (36%), insufficient attributed lives / scale (32%), workforce shortages (27%)</a:t>
            </a:r>
          </a:p>
        </p:txBody>
      </p:sp>
      <p:sp>
        <p:nvSpPr>
          <p:cNvPr id="9" name="TrackerNumBlue 29">
            <a:extLst>
              <a:ext uri="{FF2B5EF4-FFF2-40B4-BE49-F238E27FC236}">
                <a16:creationId xmlns:a16="http://schemas.microsoft.com/office/drawing/2014/main" id="{EACFCB9A-3AD4-B1F2-035C-6D9715A761DC}"/>
              </a:ext>
            </a:extLst>
          </p:cNvPr>
          <p:cNvSpPr/>
          <p:nvPr>
            <p:custDataLst>
              <p:tags r:id="rId21"/>
            </p:custDataLst>
          </p:nvPr>
        </p:nvSpPr>
        <p:spPr>
          <a:xfrm>
            <a:off x="9314750" y="1102485"/>
            <a:ext cx="159750" cy="161348"/>
          </a:xfrm>
          <a:prstGeom prst="ellipse">
            <a:avLst/>
          </a:prstGeom>
          <a:solidFill>
            <a:schemeClr val="accent2"/>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endParaRPr lang="en-US" sz="1200" dirty="0">
              <a:solidFill>
                <a:schemeClr val="bg1"/>
              </a:solidFill>
              <a:latin typeface="Calibri" panose="020F0502020204030204" pitchFamily="34" charset="0"/>
            </a:endParaRPr>
          </a:p>
        </p:txBody>
      </p:sp>
      <p:sp>
        <p:nvSpPr>
          <p:cNvPr id="10" name="TrackerNumBlue 29">
            <a:extLst>
              <a:ext uri="{FF2B5EF4-FFF2-40B4-BE49-F238E27FC236}">
                <a16:creationId xmlns:a16="http://schemas.microsoft.com/office/drawing/2014/main" id="{F15E7363-AA9E-F126-6CED-8A7E3156C088}"/>
              </a:ext>
            </a:extLst>
          </p:cNvPr>
          <p:cNvSpPr/>
          <p:nvPr>
            <p:custDataLst>
              <p:tags r:id="rId22"/>
            </p:custDataLst>
          </p:nvPr>
        </p:nvSpPr>
        <p:spPr>
          <a:xfrm>
            <a:off x="10660955" y="1101234"/>
            <a:ext cx="159750" cy="16134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Calibri" panose="020F0502020204030204" pitchFamily="34" charset="0"/>
            </a:endParaRPr>
          </a:p>
        </p:txBody>
      </p:sp>
      <p:sp>
        <p:nvSpPr>
          <p:cNvPr id="46" name="5. Source">
            <a:extLst>
              <a:ext uri="{FF2B5EF4-FFF2-40B4-BE49-F238E27FC236}">
                <a16:creationId xmlns:a16="http://schemas.microsoft.com/office/drawing/2014/main" id="{D6061A86-1EC7-DE27-51EE-4D0D94DAA3A1}"/>
              </a:ext>
            </a:extLst>
          </p:cNvPr>
          <p:cNvSpPr txBox="1"/>
          <p:nvPr>
            <p:custDataLst>
              <p:tags r:id="rId23"/>
            </p:custDataLst>
          </p:nvPr>
        </p:nvSpPr>
        <p:spPr>
          <a:xfrm>
            <a:off x="2457069" y="6406065"/>
            <a:ext cx="80077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buNone/>
            </a:pPr>
            <a:r>
              <a:rPr lang="en-US" sz="700" dirty="0">
                <a:solidFill>
                  <a:schemeClr val="tx2"/>
                </a:solidFill>
                <a:latin typeface="Calibri" panose="020F0502020204030204" pitchFamily="34" charset="0"/>
              </a:rPr>
              <a:t>1. Other clinical activities (e.g., chronic disease management) may be included as suggested activities under the target care delivery model. However, unless they are approved as ILOS, LDH does not anticipate directly reimbursing those activities through this NOFO. Instead, RHTP funds may support the infrastructure needed for providers to deliver and document these activities.</a:t>
            </a:r>
          </a:p>
        </p:txBody>
      </p:sp>
      <p:sp>
        <p:nvSpPr>
          <p:cNvPr id="2" name="TextBox 1">
            <a:extLst>
              <a:ext uri="{FF2B5EF4-FFF2-40B4-BE49-F238E27FC236}">
                <a16:creationId xmlns:a16="http://schemas.microsoft.com/office/drawing/2014/main" id="{31BE2FF6-58E1-A12B-BD9F-6E91236FC195}"/>
              </a:ext>
            </a:extLst>
          </p:cNvPr>
          <p:cNvSpPr txBox="1"/>
          <p:nvPr/>
        </p:nvSpPr>
        <p:spPr>
          <a:xfrm>
            <a:off x="31898" y="657092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3" name="TextBox 2">
            <a:extLst>
              <a:ext uri="{FF2B5EF4-FFF2-40B4-BE49-F238E27FC236}">
                <a16:creationId xmlns:a16="http://schemas.microsoft.com/office/drawing/2014/main" id="{59A4C804-FBDB-FC0E-A847-43F832C2292D}"/>
              </a:ext>
            </a:extLst>
          </p:cNvPr>
          <p:cNvSpPr txBox="1"/>
          <p:nvPr/>
        </p:nvSpPr>
        <p:spPr>
          <a:xfrm>
            <a:off x="1341120" y="6593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314999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SCLIENT" val="True"/>
  <p:tag name="TEMPLATELASTEDITED" val="2021-12-13 05:24 PM"/>
  <p:tag name="LINKEDPICTURESLINKREMOVED" val="True"/>
  <p:tag name="TCCONTRASTACCENTS" val="4|5|6|7|8|9"/>
  <p:tag name="TCLIGHTACCENTS" val="4|5|6|7|8|9"/>
  <p:tag name="THINKCELLPRESENTATIONDONOTDELETE" val="&lt;?xml version=&quot;1.0&quot; encoding=&quot;UTF-16&quot; standalone=&quot;yes&quot;?&gt;&lt;root reqver=&quot;28224&quot;&gt;&lt;version val=&quot;358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ICONENCLOSURE" val="Fals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6.xml><?xml version="1.0" encoding="utf-8"?>
<p:tagLst xmlns:a="http://schemas.openxmlformats.org/drawingml/2006/main" xmlns:r="http://schemas.openxmlformats.org/officeDocument/2006/relationships" xmlns:p="http://schemas.openxmlformats.org/presentationml/2006/main">
  <p:tag name="NAME" val="ACET"/>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ANGLE" val="5"/>
</p:tagLst>
</file>

<file path=ppt/tags/tag133.xml><?xml version="1.0" encoding="utf-8"?>
<p:tagLst xmlns:a="http://schemas.openxmlformats.org/drawingml/2006/main" xmlns:r="http://schemas.openxmlformats.org/officeDocument/2006/relationships" xmlns:p="http://schemas.openxmlformats.org/presentationml/2006/main">
  <p:tag name="ANGLE" val="5"/>
</p:tagLst>
</file>

<file path=ppt/tags/tag134.xml><?xml version="1.0" encoding="utf-8"?>
<p:tagLst xmlns:a="http://schemas.openxmlformats.org/drawingml/2006/main" xmlns:r="http://schemas.openxmlformats.org/officeDocument/2006/relationships" xmlns:p="http://schemas.openxmlformats.org/presentationml/2006/main">
  <p:tag name="ANGLE" val="4"/>
</p:tagLst>
</file>

<file path=ppt/tags/tag135.xml><?xml version="1.0" encoding="utf-8"?>
<p:tagLst xmlns:a="http://schemas.openxmlformats.org/drawingml/2006/main" xmlns:r="http://schemas.openxmlformats.org/officeDocument/2006/relationships" xmlns:p="http://schemas.openxmlformats.org/presentationml/2006/main">
  <p:tag name="ANGLE" val="4"/>
</p:tagLst>
</file>

<file path=ppt/tags/tag136.xml><?xml version="1.0" encoding="utf-8"?>
<p:tagLst xmlns:a="http://schemas.openxmlformats.org/drawingml/2006/main" xmlns:r="http://schemas.openxmlformats.org/officeDocument/2006/relationships" xmlns:p="http://schemas.openxmlformats.org/presentationml/2006/main">
  <p:tag name="ANGLE" val="3"/>
</p:tagLst>
</file>

<file path=ppt/tags/tag137.xml><?xml version="1.0" encoding="utf-8"?>
<p:tagLst xmlns:a="http://schemas.openxmlformats.org/drawingml/2006/main" xmlns:r="http://schemas.openxmlformats.org/officeDocument/2006/relationships" xmlns:p="http://schemas.openxmlformats.org/presentationml/2006/main">
  <p:tag name="ANGLE" val="3"/>
</p:tagLst>
</file>

<file path=ppt/tags/tag138.xml><?xml version="1.0" encoding="utf-8"?>
<p:tagLst xmlns:a="http://schemas.openxmlformats.org/drawingml/2006/main" xmlns:r="http://schemas.openxmlformats.org/officeDocument/2006/relationships" xmlns:p="http://schemas.openxmlformats.org/presentationml/2006/main">
  <p:tag name="ANGLE" val="2"/>
</p:tagLst>
</file>

<file path=ppt/tags/tag139.xml><?xml version="1.0" encoding="utf-8"?>
<p:tagLst xmlns:a="http://schemas.openxmlformats.org/drawingml/2006/main" xmlns:r="http://schemas.openxmlformats.org/officeDocument/2006/relationships" xmlns:p="http://schemas.openxmlformats.org/presentationml/2006/main">
  <p:tag name="ANGLE" val="2"/>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1"/>
</p:tagLst>
</file>

<file path=ppt/tags/tag141.xml><?xml version="1.0" encoding="utf-8"?>
<p:tagLst xmlns:a="http://schemas.openxmlformats.org/drawingml/2006/main" xmlns:r="http://schemas.openxmlformats.org/officeDocument/2006/relationships" xmlns:p="http://schemas.openxmlformats.org/presentationml/2006/main">
  <p:tag name="ANGLE"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4.xml><?xml version="1.0" encoding="utf-8"?>
<p:tagLst xmlns:a="http://schemas.openxmlformats.org/drawingml/2006/main" xmlns:r="http://schemas.openxmlformats.org/officeDocument/2006/relationships" xmlns:p="http://schemas.openxmlformats.org/presentationml/2006/main">
  <p:tag name="SHAPENAME" val="Subtitle"/>
</p:tagLst>
</file>

<file path=ppt/tags/tag145.xml><?xml version="1.0" encoding="utf-8"?>
<p:tagLst xmlns:a="http://schemas.openxmlformats.org/drawingml/2006/main" xmlns:r="http://schemas.openxmlformats.org/officeDocument/2006/relationships" xmlns:p="http://schemas.openxmlformats.org/presentationml/2006/main">
  <p:tag name="SHAPENAME" val="Titl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LIDELOOKUP" val="2025093011133133526812"/>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NAME" val="TrackerNumBlue"/>
</p:tagLst>
</file>

<file path=ppt/tags/tag267.xml><?xml version="1.0" encoding="utf-8"?>
<p:tagLst xmlns:a="http://schemas.openxmlformats.org/drawingml/2006/main" xmlns:r="http://schemas.openxmlformats.org/officeDocument/2006/relationships" xmlns:p="http://schemas.openxmlformats.org/presentationml/2006/main">
  <p:tag name="NAME" val="TrackerNumBlue"/>
</p:tagLst>
</file>

<file path=ppt/tags/tag268.xml><?xml version="1.0" encoding="utf-8"?>
<p:tagLst xmlns:a="http://schemas.openxmlformats.org/drawingml/2006/main" xmlns:r="http://schemas.openxmlformats.org/officeDocument/2006/relationships" xmlns:p="http://schemas.openxmlformats.org/presentationml/2006/main">
  <p:tag name="HEIGHT" val="70.15315"/>
  <p:tag name="LEFT" val="45"/>
  <p:tag name="MTNUMBER" val="0.216254574813067"/>
  <p:tag name="MTTABLE" val="Cell"/>
  <p:tag name="TOP" val="139.3875"/>
  <p:tag name="WIDTH" val="425"/>
</p:tagLst>
</file>

<file path=ppt/tags/tag269.xml><?xml version="1.0" encoding="utf-8"?>
<p:tagLst xmlns:a="http://schemas.openxmlformats.org/drawingml/2006/main" xmlns:r="http://schemas.openxmlformats.org/officeDocument/2006/relationships" xmlns:p="http://schemas.openxmlformats.org/presentationml/2006/main">
  <p:tag name="HEIGHT" val="70.15315"/>
  <p:tag name="LEFT" val="45"/>
  <p:tag name="MTNUMBER" val="0.216254574813067"/>
  <p:tag name="MTTABLE" val="Cell"/>
  <p:tag name="TOP" val="219.5406"/>
  <p:tag name="WIDTH" val="42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HEIGHT" val="70.15315"/>
  <p:tag name="LEFT" val="45"/>
  <p:tag name="MTNUMBER" val="0.216254574813067"/>
  <p:tag name="MTTABLE" val="Cell"/>
  <p:tag name="TOP" val="299.6938"/>
  <p:tag name="WIDTH" val="425"/>
</p:tagLst>
</file>

<file path=ppt/tags/tag271.xml><?xml version="1.0" encoding="utf-8"?>
<p:tagLst xmlns:a="http://schemas.openxmlformats.org/drawingml/2006/main" xmlns:r="http://schemas.openxmlformats.org/officeDocument/2006/relationships" xmlns:p="http://schemas.openxmlformats.org/presentationml/2006/main">
  <p:tag name="NAME" val="TrackerNumBlue"/>
</p:tagLst>
</file>

<file path=ppt/tags/tag27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7.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78.xml><?xml version="1.0" encoding="utf-8"?>
<p:tagLst xmlns:a="http://schemas.openxmlformats.org/drawingml/2006/main" xmlns:r="http://schemas.openxmlformats.org/officeDocument/2006/relationships" xmlns:p="http://schemas.openxmlformats.org/presentationml/2006/main">
  <p:tag name="HEIGHT" val="36.8708"/>
  <p:tag name="LEFT" val="45"/>
  <p:tag name="MTNUMBER" val="0.281848885715869"/>
  <p:tag name="MTTABLE" val="Cell"/>
  <p:tag name="TOP" val="158.775"/>
  <p:tag name="WIDTH" val="276.6667"/>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HEIGHT" val="38.77504"/>
  <p:tag name="LEFT" val="638.3333"/>
  <p:tag name="MTNUMBER" val="0.434306785666527"/>
  <p:tag name="MTTABLE" val="Cell"/>
  <p:tag name="TOP" val="110"/>
  <p:tag name="WIDTH" val="276.6667"/>
</p:tagLst>
</file>

<file path=ppt/tags/tag2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82.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3.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4.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5.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6.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88.xml><?xml version="1.0" encoding="utf-8"?>
<p:tagLst xmlns:a="http://schemas.openxmlformats.org/drawingml/2006/main" xmlns:r="http://schemas.openxmlformats.org/officeDocument/2006/relationships" xmlns:p="http://schemas.openxmlformats.org/presentationml/2006/main">
  <p:tag name="HEIGHT" val="38.77504"/>
  <p:tag name="LEFT" val="638.3333"/>
  <p:tag name="MTNUMBER" val="0.434306785666527"/>
  <p:tag name="MTTABLE" val="Cell"/>
  <p:tag name="TOP" val="110"/>
  <p:tag name="WIDTH" val="276.6667"/>
</p:tagLst>
</file>

<file path=ppt/tags/tag289.xml><?xml version="1.0" encoding="utf-8"?>
<p:tagLst xmlns:a="http://schemas.openxmlformats.org/drawingml/2006/main" xmlns:r="http://schemas.openxmlformats.org/officeDocument/2006/relationships" xmlns:p="http://schemas.openxmlformats.org/presentationml/2006/main">
  <p:tag name="HEIGHT" val="38.77504"/>
  <p:tag name="LEFT" val="638.3333"/>
  <p:tag name="MTNUMBER" val="0.434306785666527"/>
  <p:tag name="MTTABLE" val="Cell"/>
  <p:tag name="TOP" val="110"/>
  <p:tag name="WIDTH" val="276.6667"/>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00317118084205835"/>
  <p:tag name="MTTABLE" val="Cell"/>
  <p:tag name="TOP" val="110"/>
  <p:tag name="WIDTH" val="202.5"/>
</p:tagLst>
</file>

<file path=ppt/tags/tag296.xml><?xml version="1.0" encoding="utf-8"?>
<p:tagLst xmlns:a="http://schemas.openxmlformats.org/drawingml/2006/main" xmlns:r="http://schemas.openxmlformats.org/officeDocument/2006/relationships" xmlns:p="http://schemas.openxmlformats.org/presentationml/2006/main">
  <p:tag name="HEIGHT" val="19.38748"/>
  <p:tag name="LEFT" val="267.5"/>
  <p:tag name="MTNUMBER" val="0.00317118084205835"/>
  <p:tag name="MTTABLE" val="Cell"/>
  <p:tag name="TOP" val="110"/>
  <p:tag name="WIDTH" val="202.5"/>
</p:tagLst>
</file>

<file path=ppt/tags/tag297.xml><?xml version="1.0" encoding="utf-8"?>
<p:tagLst xmlns:a="http://schemas.openxmlformats.org/drawingml/2006/main" xmlns:r="http://schemas.openxmlformats.org/officeDocument/2006/relationships" xmlns:p="http://schemas.openxmlformats.org/presentationml/2006/main">
  <p:tag name="HEIGHT" val="19.38748"/>
  <p:tag name="LEFT" val="712.5"/>
  <p:tag name="MTNUMBER" val="0.00317118084205835"/>
  <p:tag name="MTTABLE" val="Cell"/>
  <p:tag name="TOP" val="110"/>
  <p:tag name="WIDTH" val="202.5"/>
</p:tagLst>
</file>

<file path=ppt/tags/tag298.xml><?xml version="1.0" encoding="utf-8"?>
<p:tagLst xmlns:a="http://schemas.openxmlformats.org/drawingml/2006/main" xmlns:r="http://schemas.openxmlformats.org/officeDocument/2006/relationships" xmlns:p="http://schemas.openxmlformats.org/presentationml/2006/main">
  <p:tag name="MTNUMBER" val="0.00317118084205835"/>
  <p:tag name="MTTABLE" val="HTitleDiv"/>
</p:tagLst>
</file>

<file path=ppt/tags/tag299.xml><?xml version="1.0" encoding="utf-8"?>
<p:tagLst xmlns:a="http://schemas.openxmlformats.org/drawingml/2006/main" xmlns:r="http://schemas.openxmlformats.org/officeDocument/2006/relationships" xmlns:p="http://schemas.openxmlformats.org/presentationml/2006/main">
  <p:tag name="HEIGHT" val="70.15313"/>
  <p:tag name="LEFT" val="45"/>
  <p:tag name="MTNUMBER" val="0.00317118084205835"/>
  <p:tag name="MTTABLE" val="Cell"/>
  <p:tag name="TOP" val="139.3875"/>
  <p:tag name="WIDTH" val="20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00.xml><?xml version="1.0" encoding="utf-8"?>
<p:tagLst xmlns:a="http://schemas.openxmlformats.org/drawingml/2006/main" xmlns:r="http://schemas.openxmlformats.org/officeDocument/2006/relationships" xmlns:p="http://schemas.openxmlformats.org/presentationml/2006/main">
  <p:tag name="HEIGHT" val="70.15313"/>
  <p:tag name="LEFT" val="267.5"/>
  <p:tag name="MTNUMBER" val="0.00317118084205835"/>
  <p:tag name="MTTABLE" val="Cell"/>
  <p:tag name="TOP" val="139.3875"/>
  <p:tag name="WIDTH" val="202.5"/>
</p:tagLst>
</file>

<file path=ppt/tags/tag301.xml><?xml version="1.0" encoding="utf-8"?>
<p:tagLst xmlns:a="http://schemas.openxmlformats.org/drawingml/2006/main" xmlns:r="http://schemas.openxmlformats.org/officeDocument/2006/relationships" xmlns:p="http://schemas.openxmlformats.org/presentationml/2006/main">
  <p:tag name="HEIGHT" val="70.15313"/>
  <p:tag name="LEFT" val="712.5"/>
  <p:tag name="MTNUMBER" val="0.00317118084205835"/>
  <p:tag name="MTTABLE" val="Cell"/>
  <p:tag name="TOP" val="139.3875"/>
  <p:tag name="WIDTH" val="202.5"/>
</p:tagLst>
</file>

<file path=ppt/tags/tag302.xml><?xml version="1.0" encoding="utf-8"?>
<p:tagLst xmlns:a="http://schemas.openxmlformats.org/drawingml/2006/main" xmlns:r="http://schemas.openxmlformats.org/officeDocument/2006/relationships" xmlns:p="http://schemas.openxmlformats.org/presentationml/2006/main">
  <p:tag name="NAME" val="TrackerNumBlue"/>
</p:tagLst>
</file>

<file path=ppt/tags/tag303.xml><?xml version="1.0" encoding="utf-8"?>
<p:tagLst xmlns:a="http://schemas.openxmlformats.org/drawingml/2006/main" xmlns:r="http://schemas.openxmlformats.org/officeDocument/2006/relationships" xmlns:p="http://schemas.openxmlformats.org/presentationml/2006/main">
  <p:tag name="HEIGHT" val="70.15313"/>
  <p:tag name="LEFT" val="45"/>
  <p:tag name="MTNUMBER" val="0.00317118084205835"/>
  <p:tag name="MTTABLE" val="Cell"/>
  <p:tag name="TOP" val="219.5406"/>
  <p:tag name="WIDTH" val="202.5"/>
</p:tagLst>
</file>

<file path=ppt/tags/tag304.xml><?xml version="1.0" encoding="utf-8"?>
<p:tagLst xmlns:a="http://schemas.openxmlformats.org/drawingml/2006/main" xmlns:r="http://schemas.openxmlformats.org/officeDocument/2006/relationships" xmlns:p="http://schemas.openxmlformats.org/presentationml/2006/main">
  <p:tag name="HEIGHT" val="70.15313"/>
  <p:tag name="LEFT" val="267.5"/>
  <p:tag name="MTNUMBER" val="0.00317118084205835"/>
  <p:tag name="MTTABLE" val="Cell"/>
  <p:tag name="TOP" val="219.5406"/>
  <p:tag name="WIDTH" val="202.5"/>
</p:tagLst>
</file>

<file path=ppt/tags/tag305.xml><?xml version="1.0" encoding="utf-8"?>
<p:tagLst xmlns:a="http://schemas.openxmlformats.org/drawingml/2006/main" xmlns:r="http://schemas.openxmlformats.org/officeDocument/2006/relationships" xmlns:p="http://schemas.openxmlformats.org/presentationml/2006/main">
  <p:tag name="HEIGHT" val="70.15313"/>
  <p:tag name="LEFT" val="712.5"/>
  <p:tag name="MTNUMBER" val="0.00317118084205835"/>
  <p:tag name="MTTABLE" val="Cell"/>
  <p:tag name="TOP" val="219.5406"/>
  <p:tag name="WIDTH" val="202.5"/>
</p:tagLst>
</file>

<file path=ppt/tags/tag306.xml><?xml version="1.0" encoding="utf-8"?>
<p:tagLst xmlns:a="http://schemas.openxmlformats.org/drawingml/2006/main" xmlns:r="http://schemas.openxmlformats.org/officeDocument/2006/relationships" xmlns:p="http://schemas.openxmlformats.org/presentationml/2006/main">
  <p:tag name="NAME" val="TrackerNumBlue"/>
</p:tagLst>
</file>

<file path=ppt/tags/tag307.xml><?xml version="1.0" encoding="utf-8"?>
<p:tagLst xmlns:a="http://schemas.openxmlformats.org/drawingml/2006/main" xmlns:r="http://schemas.openxmlformats.org/officeDocument/2006/relationships" xmlns:p="http://schemas.openxmlformats.org/presentationml/2006/main">
  <p:tag name="HEIGHT" val="70.15313"/>
  <p:tag name="LEFT" val="45"/>
  <p:tag name="MTNUMBER" val="0.00317118084205835"/>
  <p:tag name="MTTABLE" val="Cell"/>
  <p:tag name="TOP" val="299.6938"/>
  <p:tag name="WIDTH" val="202.5"/>
</p:tagLst>
</file>

<file path=ppt/tags/tag308.xml><?xml version="1.0" encoding="utf-8"?>
<p:tagLst xmlns:a="http://schemas.openxmlformats.org/drawingml/2006/main" xmlns:r="http://schemas.openxmlformats.org/officeDocument/2006/relationships" xmlns:p="http://schemas.openxmlformats.org/presentationml/2006/main">
  <p:tag name="HEIGHT" val="70.15313"/>
  <p:tag name="LEFT" val="267.5"/>
  <p:tag name="MTNUMBER" val="0.00317118084205835"/>
  <p:tag name="MTTABLE" val="Cell"/>
  <p:tag name="TOP" val="299.6938"/>
  <p:tag name="WIDTH" val="202.5"/>
</p:tagLst>
</file>

<file path=ppt/tags/tag309.xml><?xml version="1.0" encoding="utf-8"?>
<p:tagLst xmlns:a="http://schemas.openxmlformats.org/drawingml/2006/main" xmlns:r="http://schemas.openxmlformats.org/officeDocument/2006/relationships" xmlns:p="http://schemas.openxmlformats.org/presentationml/2006/main">
  <p:tag name="HEIGHT" val="70.15313"/>
  <p:tag name="LEFT" val="712.5"/>
  <p:tag name="MTNUMBER" val="0.00317118084205835"/>
  <p:tag name="MTTABLE" val="Cell"/>
  <p:tag name="TOP" val="299.6938"/>
  <p:tag name="WIDTH" val="202.5"/>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xml><?xml version="1.0" encoding="utf-8"?>
<p:tagLst xmlns:a="http://schemas.openxmlformats.org/drawingml/2006/main" xmlns:r="http://schemas.openxmlformats.org/officeDocument/2006/relationships" xmlns:p="http://schemas.openxmlformats.org/presentationml/2006/main">
  <p:tag name="NAME" val="TrackerNumBlue"/>
</p:tagLst>
</file>

<file path=ppt/tags/tag311.xml><?xml version="1.0" encoding="utf-8"?>
<p:tagLst xmlns:a="http://schemas.openxmlformats.org/drawingml/2006/main" xmlns:r="http://schemas.openxmlformats.org/officeDocument/2006/relationships" xmlns:p="http://schemas.openxmlformats.org/presentationml/2006/main">
  <p:tag name="MTNUMBER" val="0.00317118084205835"/>
  <p:tag name="MTTABLE" val="HTitleDiv"/>
</p:tagLst>
</file>

<file path=ppt/tags/tag312.xml><?xml version="1.0" encoding="utf-8"?>
<p:tagLst xmlns:a="http://schemas.openxmlformats.org/drawingml/2006/main" xmlns:r="http://schemas.openxmlformats.org/officeDocument/2006/relationships" xmlns:p="http://schemas.openxmlformats.org/presentationml/2006/main">
  <p:tag name="MTNUMBER" val="0.00317118084205835"/>
  <p:tag name="MTTABLE" val="HTitleDiv"/>
</p:tagLst>
</file>

<file path=ppt/tags/tag313.xml><?xml version="1.0" encoding="utf-8"?>
<p:tagLst xmlns:a="http://schemas.openxmlformats.org/drawingml/2006/main" xmlns:r="http://schemas.openxmlformats.org/officeDocument/2006/relationships" xmlns:p="http://schemas.openxmlformats.org/presentationml/2006/main">
  <p:tag name="NAME" val="TrackerNumBlue"/>
</p:tagLst>
</file>

<file path=ppt/tags/tag314.xml><?xml version="1.0" encoding="utf-8"?>
<p:tagLst xmlns:a="http://schemas.openxmlformats.org/drawingml/2006/main" xmlns:r="http://schemas.openxmlformats.org/officeDocument/2006/relationships" xmlns:p="http://schemas.openxmlformats.org/presentationml/2006/main">
  <p:tag name="NAME" val="TrackerNumBlue"/>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830793359703754"/>
  <p:tag name="MTTABLE" val="Cell"/>
  <p:tag name="TOP" val="110"/>
  <p:tag name="WIDTH" val="276.6667"/>
</p:tagLst>
</file>

<file path=ppt/tags/tag323.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830793359703754"/>
  <p:tag name="MTTABLE" val="Cell"/>
  <p:tag name="TOP" val="110"/>
  <p:tag name="WIDTH" val="276.6667"/>
</p:tagLst>
</file>

<file path=ppt/tags/tag324.xml><?xml version="1.0" encoding="utf-8"?>
<p:tagLst xmlns:a="http://schemas.openxmlformats.org/drawingml/2006/main" xmlns:r="http://schemas.openxmlformats.org/officeDocument/2006/relationships" xmlns:p="http://schemas.openxmlformats.org/presentationml/2006/main">
  <p:tag name="HEIGHT" val="19.38748"/>
  <p:tag name="LEFT" val="638.3333"/>
  <p:tag name="MTNUMBER" val="0.830793359703754"/>
  <p:tag name="MTTABLE" val="Cell"/>
  <p:tag name="TOP" val="110"/>
  <p:tag name="WIDTH" val="276.6667"/>
</p:tagLst>
</file>

<file path=ppt/tags/tag325.xml><?xml version="1.0" encoding="utf-8"?>
<p:tagLst xmlns:a="http://schemas.openxmlformats.org/drawingml/2006/main" xmlns:r="http://schemas.openxmlformats.org/officeDocument/2006/relationships" xmlns:p="http://schemas.openxmlformats.org/presentationml/2006/main">
  <p:tag name="MTNUMBER" val="0.830793359703754"/>
  <p:tag name="MTTABLE" val="HTitleDiv"/>
</p:tagLst>
</file>

<file path=ppt/tags/tag326.xml><?xml version="1.0" encoding="utf-8"?>
<p:tagLst xmlns:a="http://schemas.openxmlformats.org/drawingml/2006/main" xmlns:r="http://schemas.openxmlformats.org/officeDocument/2006/relationships" xmlns:p="http://schemas.openxmlformats.org/presentationml/2006/main">
  <p:tag name="MTNUMBER" val="0.830793359703754"/>
  <p:tag name="MTTABLE" val="HDiv"/>
</p:tagLst>
</file>

<file path=ppt/tags/tag327.xml><?xml version="1.0" encoding="utf-8"?>
<p:tagLst xmlns:a="http://schemas.openxmlformats.org/drawingml/2006/main" xmlns:r="http://schemas.openxmlformats.org/officeDocument/2006/relationships" xmlns:p="http://schemas.openxmlformats.org/presentationml/2006/main">
  <p:tag name="MTNUMBER" val="0.830793359703754"/>
  <p:tag name="MTTABLE" val="HDiv"/>
</p:tagLst>
</file>

<file path=ppt/tags/tag3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9.xml><?xml version="1.0" encoding="utf-8"?>
<p:tagLst xmlns:a="http://schemas.openxmlformats.org/drawingml/2006/main" xmlns:r="http://schemas.openxmlformats.org/officeDocument/2006/relationships" xmlns:p="http://schemas.openxmlformats.org/presentationml/2006/main">
  <p:tag name="HEIGHT" val="100.2042"/>
  <p:tag name="LEFT" val="45"/>
  <p:tag name="MTNUMBER" val="0.830793359703754"/>
  <p:tag name="MTTABLE" val="Cell"/>
  <p:tag name="TOP" val="359.7958"/>
  <p:tag name="WIDTH" val="276.6667"/>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 name="HEIGHT" val="100.2042"/>
  <p:tag name="LEFT" val="341.6667"/>
  <p:tag name="MTNUMBER" val="0.830793359703754"/>
  <p:tag name="MTTABLE" val="Cell"/>
  <p:tag name="TOP" val="359.7958"/>
  <p:tag name="WIDTH" val="276.6667"/>
</p:tagLst>
</file>

<file path=ppt/tags/tag33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 name="HEIGHT" val="100.2042"/>
  <p:tag name="LEFT" val="638.3333"/>
  <p:tag name="MTNUMBER" val="0.830793359703754"/>
  <p:tag name="MTTABLE" val="Cell"/>
  <p:tag name="TOP" val="359.7958"/>
  <p:tag name="WIDTH" val="276.6667"/>
</p:tagLst>
</file>

<file path=ppt/tags/tag332.xml><?xml version="1.0" encoding="utf-8"?>
<p:tagLst xmlns:a="http://schemas.openxmlformats.org/drawingml/2006/main" xmlns:r="http://schemas.openxmlformats.org/officeDocument/2006/relationships" xmlns:p="http://schemas.openxmlformats.org/presentationml/2006/main">
  <p:tag name="HEIGHT" val="100.2042"/>
  <p:tag name="LEFT" val="45"/>
  <p:tag name="MTNUMBER" val="0.830793359703754"/>
  <p:tag name="MTTABLE" val="Cell"/>
  <p:tag name="TOP" val="249.5917"/>
  <p:tag name="WIDTH" val="276.6667"/>
</p:tagLst>
</file>

<file path=ppt/tags/tag33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 name="HEIGHT" val="100.2042"/>
  <p:tag name="LEFT" val="341.6667"/>
  <p:tag name="MTNUMBER" val="0.830793359703754"/>
  <p:tag name="MTTABLE" val="Cell"/>
  <p:tag name="TOP" val="249.5916"/>
  <p:tag name="WIDTH" val="276.6667"/>
</p:tagLst>
</file>

<file path=ppt/tags/tag33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 name="HEIGHT" val="100.2042"/>
  <p:tag name="LEFT" val="638.3333"/>
  <p:tag name="MTNUMBER" val="0.830793359703754"/>
  <p:tag name="MTTABLE" val="Cell"/>
  <p:tag name="TOP" val="249.5916"/>
  <p:tag name="WIDTH" val="276.6667"/>
</p:tagLst>
</file>

<file path=ppt/tags/tag335.xml><?xml version="1.0" encoding="utf-8"?>
<p:tagLst xmlns:a="http://schemas.openxmlformats.org/drawingml/2006/main" xmlns:r="http://schemas.openxmlformats.org/officeDocument/2006/relationships" xmlns:p="http://schemas.openxmlformats.org/presentationml/2006/main">
  <p:tag name="HEIGHT" val="100.2042"/>
  <p:tag name="LEFT" val="45"/>
  <p:tag name="MTNUMBER" val="0.830793359703754"/>
  <p:tag name="MTTABLE" val="Cell"/>
  <p:tag name="TOP" val="139.3875"/>
  <p:tag name="WIDTH" val="276.6667"/>
</p:tagLst>
</file>

<file path=ppt/tags/tag336.xml><?xml version="1.0" encoding="utf-8"?>
<p:tagLst xmlns:a="http://schemas.openxmlformats.org/drawingml/2006/main" xmlns:r="http://schemas.openxmlformats.org/officeDocument/2006/relationships" xmlns:p="http://schemas.openxmlformats.org/presentationml/2006/main">
  <p:tag name="HEIGHT" val="100.2042"/>
  <p:tag name="LEFT" val="341.6667"/>
  <p:tag name="MTNUMBER" val="0.830793359703754"/>
  <p:tag name="MTTABLE" val="Cell"/>
  <p:tag name="TOP" val="139.3875"/>
  <p:tag name="WIDTH" val="276.6667"/>
</p:tagLst>
</file>

<file path=ppt/tags/tag337.xml><?xml version="1.0" encoding="utf-8"?>
<p:tagLst xmlns:a="http://schemas.openxmlformats.org/drawingml/2006/main" xmlns:r="http://schemas.openxmlformats.org/officeDocument/2006/relationships" xmlns:p="http://schemas.openxmlformats.org/presentationml/2006/main">
  <p:tag name="HEIGHT" val="100.2042"/>
  <p:tag name="LEFT" val="638.3333"/>
  <p:tag name="MTNUMBER" val="0.830793359703754"/>
  <p:tag name="MTTABLE" val="Cell"/>
  <p:tag name="TOP" val="139.3875"/>
  <p:tag name="WIDTH" val="276.6667"/>
</p:tagLst>
</file>

<file path=ppt/tags/tag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KBKm0PFLSQfvgOSEKqfM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2xqVIWTj854N3TeWUAv8Q"/>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343.xml><?xml version="1.0" encoding="utf-8"?>
<p:tagLst xmlns:a="http://schemas.openxmlformats.org/drawingml/2006/main" xmlns:r="http://schemas.openxmlformats.org/officeDocument/2006/relationships" xmlns:p="http://schemas.openxmlformats.org/presentationml/2006/main">
  <p:tag name="HEIGHT" val="19.38748"/>
  <p:tag name="LEFT" val="401"/>
  <p:tag name="MTNUMBER" val="0.81449"/>
  <p:tag name="MTTABLE" val="Cell"/>
  <p:tag name="TOP" val="110"/>
  <p:tag name="WIDTH" val="158"/>
</p:tagLst>
</file>

<file path=ppt/tags/tag344.xml><?xml version="1.0" encoding="utf-8"?>
<p:tagLst xmlns:a="http://schemas.openxmlformats.org/drawingml/2006/main" xmlns:r="http://schemas.openxmlformats.org/officeDocument/2006/relationships" xmlns:p="http://schemas.openxmlformats.org/presentationml/2006/main">
  <p:tag name="HEIGHT" val="19.38748"/>
  <p:tag name="LEFT" val="579"/>
  <p:tag name="MTNUMBER" val="0.81449"/>
  <p:tag name="MTTABLE" val="Cell"/>
  <p:tag name="TOP" val="110"/>
  <p:tag name="WIDTH" val="158"/>
</p:tagLst>
</file>

<file path=ppt/tags/tag345.xml><?xml version="1.0" encoding="utf-8"?>
<p:tagLst xmlns:a="http://schemas.openxmlformats.org/drawingml/2006/main" xmlns:r="http://schemas.openxmlformats.org/officeDocument/2006/relationships" xmlns:p="http://schemas.openxmlformats.org/presentationml/2006/main">
  <p:tag name="HEIGHT" val="40.10205"/>
  <p:tag name="LEFT" val="45"/>
  <p:tag name="MTNUMBER" val="0.81449"/>
  <p:tag name="MTTABLE" val="Cell"/>
  <p:tag name="TOP" val="149.3875"/>
  <p:tag name="WIDTH" val="158"/>
</p:tagLst>
</file>

<file path=ppt/tags/tag346.xml><?xml version="1.0" encoding="utf-8"?>
<p:tagLst xmlns:a="http://schemas.openxmlformats.org/drawingml/2006/main" xmlns:r="http://schemas.openxmlformats.org/officeDocument/2006/relationships" xmlns:p="http://schemas.openxmlformats.org/presentationml/2006/main">
  <p:tag name="HEIGHT" val="40.10206"/>
  <p:tag name="LEFT" val="223"/>
  <p:tag name="MTNUMBER" val="0.81449"/>
  <p:tag name="MTTABLE" val="Cell"/>
  <p:tag name="TOP" val="149.3875"/>
  <p:tag name="WIDTH" val="158"/>
</p:tagLst>
</file>

<file path=ppt/tags/tag347.xml><?xml version="1.0" encoding="utf-8"?>
<p:tagLst xmlns:a="http://schemas.openxmlformats.org/drawingml/2006/main" xmlns:r="http://schemas.openxmlformats.org/officeDocument/2006/relationships" xmlns:p="http://schemas.openxmlformats.org/presentationml/2006/main">
  <p:tag name="HEIGHT" val="40.10206"/>
  <p:tag name="LEFT" val="401"/>
  <p:tag name="MTNUMBER" val="0.81449"/>
  <p:tag name="MTTABLE" val="Cell"/>
  <p:tag name="TOP" val="149.3875"/>
  <p:tag name="WIDTH" val="158"/>
</p:tagLst>
</file>

<file path=ppt/tags/tag348.xml><?xml version="1.0" encoding="utf-8"?>
<p:tagLst xmlns:a="http://schemas.openxmlformats.org/drawingml/2006/main" xmlns:r="http://schemas.openxmlformats.org/officeDocument/2006/relationships" xmlns:p="http://schemas.openxmlformats.org/presentationml/2006/main">
  <p:tag name="HEIGHT" val="40.10206"/>
  <p:tag name="LEFT" val="579"/>
  <p:tag name="MTNUMBER" val="0.81449"/>
  <p:tag name="MTTABLE" val="Cell"/>
  <p:tag name="TOP" val="149.3875"/>
  <p:tag name="WIDTH" val="158"/>
</p:tagLst>
</file>

<file path=ppt/tags/tag349.xml><?xml version="1.0" encoding="utf-8"?>
<p:tagLst xmlns:a="http://schemas.openxmlformats.org/drawingml/2006/main" xmlns:r="http://schemas.openxmlformats.org/officeDocument/2006/relationships" xmlns:p="http://schemas.openxmlformats.org/presentationml/2006/main">
  <p:tag name="HEIGHT" val="40.10205"/>
  <p:tag name="LEFT" val="45"/>
  <p:tag name="MTNUMBER" val="0.81449"/>
  <p:tag name="MTTABLE" val="Cell"/>
  <p:tag name="TOP" val="209.4895"/>
  <p:tag name="WIDTH" val="158"/>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0.xml><?xml version="1.0" encoding="utf-8"?>
<p:tagLst xmlns:a="http://schemas.openxmlformats.org/drawingml/2006/main" xmlns:r="http://schemas.openxmlformats.org/officeDocument/2006/relationships" xmlns:p="http://schemas.openxmlformats.org/presentationml/2006/main">
  <p:tag name="HEIGHT" val="40.10206"/>
  <p:tag name="LEFT" val="223"/>
  <p:tag name="MTNUMBER" val="0.81449"/>
  <p:tag name="MTTABLE" val="Cell"/>
  <p:tag name="TOP" val="209.4895"/>
  <p:tag name="WIDTH" val="158"/>
</p:tagLst>
</file>

<file path=ppt/tags/tag351.xml><?xml version="1.0" encoding="utf-8"?>
<p:tagLst xmlns:a="http://schemas.openxmlformats.org/drawingml/2006/main" xmlns:r="http://schemas.openxmlformats.org/officeDocument/2006/relationships" xmlns:p="http://schemas.openxmlformats.org/presentationml/2006/main">
  <p:tag name="HEIGHT" val="40.10206"/>
  <p:tag name="LEFT" val="401"/>
  <p:tag name="MTNUMBER" val="0.81449"/>
  <p:tag name="MTTABLE" val="Cell"/>
  <p:tag name="TOP" val="209.4895"/>
  <p:tag name="WIDTH" val="158"/>
</p:tagLst>
</file>

<file path=ppt/tags/tag352.xml><?xml version="1.0" encoding="utf-8"?>
<p:tagLst xmlns:a="http://schemas.openxmlformats.org/drawingml/2006/main" xmlns:r="http://schemas.openxmlformats.org/officeDocument/2006/relationships" xmlns:p="http://schemas.openxmlformats.org/presentationml/2006/main">
  <p:tag name="HEIGHT" val="40.10206"/>
  <p:tag name="LEFT" val="579"/>
  <p:tag name="MTNUMBER" val="0.81449"/>
  <p:tag name="MTTABLE" val="Cell"/>
  <p:tag name="TOP" val="209.4895"/>
  <p:tag name="WIDTH" val="158"/>
</p:tagLst>
</file>

<file path=ppt/tags/tag353.xml><?xml version="1.0" encoding="utf-8"?>
<p:tagLst xmlns:a="http://schemas.openxmlformats.org/drawingml/2006/main" xmlns:r="http://schemas.openxmlformats.org/officeDocument/2006/relationships" xmlns:p="http://schemas.openxmlformats.org/presentationml/2006/main">
  <p:tag name="HEIGHT" val="40.10205"/>
  <p:tag name="LEFT" val="45"/>
  <p:tag name="MTNUMBER" val="0.81449"/>
  <p:tag name="MTTABLE" val="Cell"/>
  <p:tag name="TOP" val="269.5916"/>
  <p:tag name="WIDTH" val="158"/>
</p:tagLst>
</file>

<file path=ppt/tags/tag354.xml><?xml version="1.0" encoding="utf-8"?>
<p:tagLst xmlns:a="http://schemas.openxmlformats.org/drawingml/2006/main" xmlns:r="http://schemas.openxmlformats.org/officeDocument/2006/relationships" xmlns:p="http://schemas.openxmlformats.org/presentationml/2006/main">
  <p:tag name="HEIGHT" val="40.10206"/>
  <p:tag name="LEFT" val="223"/>
  <p:tag name="MTNUMBER" val="0.81449"/>
  <p:tag name="MTTABLE" val="Cell"/>
  <p:tag name="TOP" val="269.5916"/>
  <p:tag name="WIDTH" val="158"/>
</p:tagLst>
</file>

<file path=ppt/tags/tag355.xml><?xml version="1.0" encoding="utf-8"?>
<p:tagLst xmlns:a="http://schemas.openxmlformats.org/drawingml/2006/main" xmlns:r="http://schemas.openxmlformats.org/officeDocument/2006/relationships" xmlns:p="http://schemas.openxmlformats.org/presentationml/2006/main">
  <p:tag name="HEIGHT" val="40.10206"/>
  <p:tag name="LEFT" val="401"/>
  <p:tag name="MTNUMBER" val="0.81449"/>
  <p:tag name="MTTABLE" val="Cell"/>
  <p:tag name="TOP" val="269.5916"/>
  <p:tag name="WIDTH" val="158"/>
</p:tagLst>
</file>

<file path=ppt/tags/tag356.xml><?xml version="1.0" encoding="utf-8"?>
<p:tagLst xmlns:a="http://schemas.openxmlformats.org/drawingml/2006/main" xmlns:r="http://schemas.openxmlformats.org/officeDocument/2006/relationships" xmlns:p="http://schemas.openxmlformats.org/presentationml/2006/main">
  <p:tag name="HEIGHT" val="40.10206"/>
  <p:tag name="LEFT" val="579"/>
  <p:tag name="MTNUMBER" val="0.81449"/>
  <p:tag name="MTTABLE" val="Cell"/>
  <p:tag name="TOP" val="269.5916"/>
  <p:tag name="WIDTH" val="158"/>
</p:tagLst>
</file>

<file path=ppt/tags/tag357.xml><?xml version="1.0" encoding="utf-8"?>
<p:tagLst xmlns:a="http://schemas.openxmlformats.org/drawingml/2006/main" xmlns:r="http://schemas.openxmlformats.org/officeDocument/2006/relationships" xmlns:p="http://schemas.openxmlformats.org/presentationml/2006/main">
  <p:tag name="HEIGHT" val="40.10205"/>
  <p:tag name="LEFT" val="45"/>
  <p:tag name="MTNUMBER" val="0.81449"/>
  <p:tag name="MTTABLE" val="Cell"/>
  <p:tag name="TOP" val="329.6936"/>
  <p:tag name="WIDTH" val="158"/>
</p:tagLst>
</file>

<file path=ppt/tags/tag358.xml><?xml version="1.0" encoding="utf-8"?>
<p:tagLst xmlns:a="http://schemas.openxmlformats.org/drawingml/2006/main" xmlns:r="http://schemas.openxmlformats.org/officeDocument/2006/relationships" xmlns:p="http://schemas.openxmlformats.org/presentationml/2006/main">
  <p:tag name="HEIGHT" val="40.10206"/>
  <p:tag name="LEFT" val="223"/>
  <p:tag name="MTNUMBER" val="0.81449"/>
  <p:tag name="MTTABLE" val="Cell"/>
  <p:tag name="TOP" val="329.6936"/>
  <p:tag name="WIDTH" val="158"/>
</p:tagLst>
</file>

<file path=ppt/tags/tag359.xml><?xml version="1.0" encoding="utf-8"?>
<p:tagLst xmlns:a="http://schemas.openxmlformats.org/drawingml/2006/main" xmlns:r="http://schemas.openxmlformats.org/officeDocument/2006/relationships" xmlns:p="http://schemas.openxmlformats.org/presentationml/2006/main">
  <p:tag name="HEIGHT" val="40.10206"/>
  <p:tag name="LEFT" val="401"/>
  <p:tag name="MTNUMBER" val="0.81449"/>
  <p:tag name="MTTABLE" val="Cell"/>
  <p:tag name="TOP" val="329.6936"/>
  <p:tag name="WIDTH" val="158"/>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HEIGHT" val="40.10206"/>
  <p:tag name="LEFT" val="579"/>
  <p:tag name="MTNUMBER" val="0.81449"/>
  <p:tag name="MTTABLE" val="Cell"/>
  <p:tag name="TOP" val="329.6936"/>
  <p:tag name="WIDTH" val="158"/>
</p:tagLst>
</file>

<file path=ppt/tags/tag361.xml><?xml version="1.0" encoding="utf-8"?>
<p:tagLst xmlns:a="http://schemas.openxmlformats.org/drawingml/2006/main" xmlns:r="http://schemas.openxmlformats.org/officeDocument/2006/relationships" xmlns:p="http://schemas.openxmlformats.org/presentationml/2006/main">
  <p:tag name="HEIGHT" val="40.10205"/>
  <p:tag name="LEFT" val="45"/>
  <p:tag name="MTNUMBER" val="0.81449"/>
  <p:tag name="MTTABLE" val="Cell"/>
  <p:tag name="TOP" val="389.7957"/>
  <p:tag name="WIDTH" val="158"/>
</p:tagLst>
</file>

<file path=ppt/tags/tag362.xml><?xml version="1.0" encoding="utf-8"?>
<p:tagLst xmlns:a="http://schemas.openxmlformats.org/drawingml/2006/main" xmlns:r="http://schemas.openxmlformats.org/officeDocument/2006/relationships" xmlns:p="http://schemas.openxmlformats.org/presentationml/2006/main">
  <p:tag name="HEIGHT" val="40.10206"/>
  <p:tag name="LEFT" val="223"/>
  <p:tag name="MTNUMBER" val="0.81449"/>
  <p:tag name="MTTABLE" val="Cell"/>
  <p:tag name="TOP" val="389.7957"/>
  <p:tag name="WIDTH" val="158"/>
</p:tagLst>
</file>

<file path=ppt/tags/tag363.xml><?xml version="1.0" encoding="utf-8"?>
<p:tagLst xmlns:a="http://schemas.openxmlformats.org/drawingml/2006/main" xmlns:r="http://schemas.openxmlformats.org/officeDocument/2006/relationships" xmlns:p="http://schemas.openxmlformats.org/presentationml/2006/main">
  <p:tag name="HEIGHT" val="40.10206"/>
  <p:tag name="LEFT" val="401"/>
  <p:tag name="MTNUMBER" val="0.81449"/>
  <p:tag name="MTTABLE" val="Cell"/>
  <p:tag name="TOP" val="389.7957"/>
  <p:tag name="WIDTH" val="158"/>
</p:tagLst>
</file>

<file path=ppt/tags/tag364.xml><?xml version="1.0" encoding="utf-8"?>
<p:tagLst xmlns:a="http://schemas.openxmlformats.org/drawingml/2006/main" xmlns:r="http://schemas.openxmlformats.org/officeDocument/2006/relationships" xmlns:p="http://schemas.openxmlformats.org/presentationml/2006/main">
  <p:tag name="HEIGHT" val="40.10206"/>
  <p:tag name="LEFT" val="579"/>
  <p:tag name="MTNUMBER" val="0.81449"/>
  <p:tag name="MTTABLE" val="Cell"/>
  <p:tag name="TOP" val="389.7957"/>
  <p:tag name="WIDTH" val="158"/>
</p:tagLst>
</file>

<file path=ppt/tags/tag365.xml><?xml version="1.0" encoding="utf-8"?>
<p:tagLst xmlns:a="http://schemas.openxmlformats.org/drawingml/2006/main" xmlns:r="http://schemas.openxmlformats.org/officeDocument/2006/relationships" xmlns:p="http://schemas.openxmlformats.org/presentationml/2006/main">
  <p:tag name="HEIGHT" val="40.10205"/>
  <p:tag name="LEFT" val="45"/>
  <p:tag name="MTNUMBER" val="0.81449"/>
  <p:tag name="MTTABLE" val="Cell"/>
  <p:tag name="TOP" val="449.8977"/>
  <p:tag name="WIDTH" val="158"/>
</p:tagLst>
</file>

<file path=ppt/tags/tag366.xml><?xml version="1.0" encoding="utf-8"?>
<p:tagLst xmlns:a="http://schemas.openxmlformats.org/drawingml/2006/main" xmlns:r="http://schemas.openxmlformats.org/officeDocument/2006/relationships" xmlns:p="http://schemas.openxmlformats.org/presentationml/2006/main">
  <p:tag name="HEIGHT" val="40.10206"/>
  <p:tag name="LEFT" val="223"/>
  <p:tag name="MTNUMBER" val="0.81449"/>
  <p:tag name="MTTABLE" val="Cell"/>
  <p:tag name="TOP" val="449.8977"/>
  <p:tag name="WIDTH" val="158"/>
</p:tagLst>
</file>

<file path=ppt/tags/tag367.xml><?xml version="1.0" encoding="utf-8"?>
<p:tagLst xmlns:a="http://schemas.openxmlformats.org/drawingml/2006/main" xmlns:r="http://schemas.openxmlformats.org/officeDocument/2006/relationships" xmlns:p="http://schemas.openxmlformats.org/presentationml/2006/main">
  <p:tag name="HEIGHT" val="40.10206"/>
  <p:tag name="LEFT" val="401"/>
  <p:tag name="MTNUMBER" val="0.81449"/>
  <p:tag name="MTTABLE" val="Cell"/>
  <p:tag name="TOP" val="449.8977"/>
  <p:tag name="WIDTH" val="158"/>
</p:tagLst>
</file>

<file path=ppt/tags/tag368.xml><?xml version="1.0" encoding="utf-8"?>
<p:tagLst xmlns:a="http://schemas.openxmlformats.org/drawingml/2006/main" xmlns:r="http://schemas.openxmlformats.org/officeDocument/2006/relationships" xmlns:p="http://schemas.openxmlformats.org/presentationml/2006/main">
  <p:tag name="HEIGHT" val="40.10206"/>
  <p:tag name="LEFT" val="579"/>
  <p:tag name="MTNUMBER" val="0.81449"/>
  <p:tag name="MTTABLE" val="Cell"/>
  <p:tag name="TOP" val="449.8977"/>
  <p:tag name="WIDTH" val="158"/>
</p:tagLst>
</file>

<file path=ppt/tags/tag369.xml><?xml version="1.0" encoding="utf-8"?>
<p:tagLst xmlns:a="http://schemas.openxmlformats.org/drawingml/2006/main" xmlns:r="http://schemas.openxmlformats.org/officeDocument/2006/relationships" xmlns:p="http://schemas.openxmlformats.org/presentationml/2006/main">
  <p:tag name="HEIGHT" val="19.38748"/>
  <p:tag name="LEFT" val="757"/>
  <p:tag name="MTNUMBER" val="0.81449"/>
  <p:tag name="MTTABLE" val="Cell"/>
  <p:tag name="TOP" val="110"/>
  <p:tag name="WIDTH" val="158"/>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71.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72.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73.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74.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NGu3vjjcLpyTmfChqMwr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_yJh.ulrWGU9T47acv11Fg"/>
</p:tagLst>
</file>

<file path=ppt/tags/tag377.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78.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79.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kVsLKCGg2XfUuDuyiDj2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EuDtlLyC46zno2WmAAhu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RcV0SNYvkfJI4DQ80W_yn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Qsx0aMobDl6lqTB0Obb9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sbu7xWa9.xK8KbSsjykz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Mpc1QM5tdrLyJ6Mum7knU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wYLHuS1nid1qfIrWFS4_x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1CFa_VVtHxpF7tTf_QZf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jk8XUEKozTKQNCiMCfiB7A"/>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EMTBNWZmbNveW2Jf.Adi1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gdtHYxjSgjgo8d2KimEJn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TZSz22DwgsV8KIaaCJkm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kVwzGxM9Ep5xTn_i3T.ew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_IW83eVH5fy0VX8qbEheO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8EhHsAYdck8vvuCXux6My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l19RrK_DZ4mL0YDs.jdEo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r0p9CZDH2gQPpWiDd.Ol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sFk1E0gPbY.HlEfX2Son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7lNjiqzfD2mgY6oIUKyxMw"/>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velA.mtjRxDjAowwHSLR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YZliuXfdVcjg9J6PEVfC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KjMvMRbC3FD.TTRABPMa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05cG5JuAgdA9VFxDUpe8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NQyHKnkTp7H_XrhGkSbc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_uzezHfPwpxjnGgtDhEh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P_fW6BeNdtV0CT_gbrfu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wCFYnwf1zi7ml8xzrdn7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96ZlegC.UZmpEdAPUqjJ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PL7q81Zz_X4aBOoCeu4L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xA9G72qrI20zilgXpn4J2w"/>
</p:tagLst>
</file>

<file path=ppt/tags/tag41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2.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3.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4.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8.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19.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0.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2.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3.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4.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27.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28.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29.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1.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2.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3.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4.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5.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6.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7.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8.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39.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41.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42.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43.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44.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4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4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4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48.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49.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51.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53.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454.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5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5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5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58.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59.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2.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3.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4.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8.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69.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2.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3.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4.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81449"/>
  <p:tag name="MTTABLE" val="Cell"/>
  <p:tag name="TOP" val="110"/>
  <p:tag name="WIDTH" val="158"/>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J0tGMkyPXrtzwdHL7qBV_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XNDD5J3gOD1PngS9is9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aBE3x6zNUs7RilpFcnNoJ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05KYLkhK0_5bE2INmV5dW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TzGfASRP.IENHSNyKQG2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6Wj9f5xo15LWqV0lAkJUE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9wy7WnOXXI_Z7Io3TFDxX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aH8D7GyhrbgCGlxbinSH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nojuTxRokxcdk52_DU7JA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RlRG.Z391_XAt23IGgxZM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rNijD0joNplziR277DBn4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L15aLPjrWGKHWH02j5xCrQ"/>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NmS.YqyqEzeluAfMTSyeJ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sT0E1hN1fRqt.Fc99kY8W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Y_aNAuiioXvVbNnT769vv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8MWWNX8jhnsT5TtgZQJSQ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azRRvi35KO25dpUUZG_Fj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S2a1h2M3NxLYtv9HAm.Ly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tbgoYlD17WuGHY_RX1aUH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4IUks82DnlxdMKlVK0ucf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errE3X61dfefhHnaQWizH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tNcGU4Mg1UocOMMBn.4Ug"/>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S1veqkOLNtYnu80sgpXp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MKUQ03mPOaTXI3CPUOR6i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XYITfscpb1k.N6TFn1SG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JOgrIT8b8sA9X7f8BJ6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tvEUZKKUgeXjZZhb2KZjl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8DTB04DfXuoh_aHha3zsp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uALOfLqHqadIrxwk6vRdD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JvOe2.9lBkvUeRfgGvA3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L7l8ysr02GWuqMU9AMK5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AfnPgVr7V5leZEWyRfStfw"/>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kmLumGRmJQY9lTV2qeXs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j8DFFJiioDAAqNEmSu8J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oU4Y92C6NC.kquvISIL6n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gM7CMbRKgwj8.xkqYhasS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BUYemPMpJeeb.ZFZLNZNw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62UqtmsUIVSmGInDPd3i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SDODfJti.cXEpycxU1Fy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UdE5m5.qaMZyjvgsdErkw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IylwOLbVWkqJNwCXQv_g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sboUwMWU0ihMEi6U_ElmQ"/>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reSRyOqOkqY9VCMEXrYYF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XyduYZ2Xqi6zDAC7DeJh7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gVC0Gl4IUmDbUUpKrbtzn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rN26qIrh9vP3S.fE3eIa9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XH_xXiV0Gcj_wMoq4Vq5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rqXPtZcf2W_RBwWG_VFUg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ZGBeyiqcie2mMWBrcaMz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qLkTBDqVwmRE0BFh1PR2v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3RmMJ_RHEvO602MCkDA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X4p_WSVzK9qcVLNsQsO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_7lnQAscnVbVnnM165oJ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vB38LxXTKOuSl6E7B0ro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qut90vI1GQgE0KMVbS2q_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4J4w1K2LjyiKA9n8tjqB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1awjrCE3ey8CkydBidLPU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grHJrVAUgcyoWEDuufUnz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VC_efu4qq29v9zkO3k0Oa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niCvTxjwrWkuxgxlbO145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VOo8guyseEKImq1IRvSH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gd4HWKRq3V4baUv2R8EU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ZvZGgHlSAAYwpX8GmmBk3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wiZ3GCfa6GQILCzAYK2M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CXUSxcNdQ4vJOZRZbKR_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mFw4Qs7Plz6ulka23KDD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KoOC6cC79uWkDbIQDTJzB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G0qFdRYgzro0Oh8f4vd4E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8UpBbGP9jAw28PDTyP5_e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6sljtfCZ7ZAZLHTTqSR07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cp46EoKvpOY.VqciNbRzY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r3xwYOzLQvDd2RIt5lXFQ"/>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xYqvoneLvs9ckBTz.6P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IdZrag6W.9AAC5wIoq7neQ"/>
</p:tagLst>
</file>

<file path=ppt/tags/tag5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3.xml><?xml version="1.0" encoding="utf-8"?>
<p:tagLst xmlns:a="http://schemas.openxmlformats.org/drawingml/2006/main" xmlns:r="http://schemas.openxmlformats.org/officeDocument/2006/relationships" xmlns:p="http://schemas.openxmlformats.org/presentationml/2006/main">
  <p:tag name="SHAPENAME" val="5. Source"/>
</p:tagLst>
</file>

<file path=ppt/tags/tag554.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555.xml><?xml version="1.0" encoding="utf-8"?>
<p:tagLst xmlns:a="http://schemas.openxmlformats.org/drawingml/2006/main" xmlns:r="http://schemas.openxmlformats.org/officeDocument/2006/relationships" xmlns:p="http://schemas.openxmlformats.org/presentationml/2006/main">
  <p:tag name="MTNUMBER" val="0.81449"/>
  <p:tag name="MTTABLE" val="HDiv"/>
</p:tagLst>
</file>

<file path=ppt/tags/tag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7.xml><?xml version="1.0" encoding="utf-8"?>
<p:tagLst xmlns:a="http://schemas.openxmlformats.org/drawingml/2006/main" xmlns:r="http://schemas.openxmlformats.org/officeDocument/2006/relationships" xmlns:p="http://schemas.openxmlformats.org/presentationml/2006/main">
  <p:tag name="SHAPENAME" val="5. Source"/>
</p:tagLst>
</file>

<file path=ppt/tags/tag55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X0Nmwx1O2SdG7XF3xyw3h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AiAKv0at1lm99_B7E6QNI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3vRWIZrLWCYdtClC4ODX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WgXDSsW6eNPgr3kHc..yS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jfUGv2T22da288bSJpJej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71Clku5dtCqmwfiHJPV59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Q3_00jv_9E49lbtIJ0jAR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9NAUQxMJoD6i5Yq9Q2R4A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mDmGeWQq9_ews8BvtFmuR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8EW0KU1rz_t4J5rjcM4E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tMzRaGLg82f71rqgSEso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80SwRgTQ7YBOpraFMzRwB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aNy5UU79TTTPeqgbxpj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dIy4edzcKxJOPrWHDpi6X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dm1U.I1TcGqweSeMiDGPt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733g7wNPF9fXLgqEm.yAA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O0SW9MqpOfSkfHkE7w_5u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5SugRe9jk.DbpcDEymeKLw"/>
</p:tagLst>
</file>

<file path=ppt/tags/tag578.xml><?xml version="1.0" encoding="utf-8"?>
<p:tagLst xmlns:a="http://schemas.openxmlformats.org/drawingml/2006/main" xmlns:r="http://schemas.openxmlformats.org/officeDocument/2006/relationships" xmlns:p="http://schemas.openxmlformats.org/presentationml/2006/main">
  <p:tag name="NAME" val="ACET"/>
</p:tagLst>
</file>

<file path=ppt/tags/tag579.xml><?xml version="1.0" encoding="utf-8"?>
<p:tagLst xmlns:a="http://schemas.openxmlformats.org/drawingml/2006/main" xmlns:r="http://schemas.openxmlformats.org/officeDocument/2006/relationships" xmlns:p="http://schemas.openxmlformats.org/presentationml/2006/main">
  <p:tag name="NAME" val="ACE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80.xml><?xml version="1.0" encoding="utf-8"?>
<p:tagLst xmlns:a="http://schemas.openxmlformats.org/drawingml/2006/main" xmlns:r="http://schemas.openxmlformats.org/officeDocument/2006/relationships" xmlns:p="http://schemas.openxmlformats.org/presentationml/2006/main">
  <p:tag name="NAME" val="ACET"/>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1L5HhJmegnEHbbciErooV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D5q3z2p_XvDeOnjTrJUlN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kkNWcCg.VUN22f2KKp0iG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QK19IG5lp1Zi3Wyb32yb5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G65MNaJJZVkgpZTjAp4.m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RM8o8yLonbQZ3.s_kxH4X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8rHerUBjuOFwy7lX6d3Ko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FD30gteEjpC0h79LQaPxN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6wnpw2Ei2aYxN0YvxV.CZw"/>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uaFGdh_MYMyQv6T3otLt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_KhPduMYke5fgtfPecz5.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EQry6__GL1dRpNzmgAx2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29NaRkQqChU.yNpqa2c1iw"/>
</p:tagLst>
</file>

<file path=ppt/tags/tag594.xml><?xml version="1.0" encoding="utf-8"?>
<p:tagLst xmlns:a="http://schemas.openxmlformats.org/drawingml/2006/main" xmlns:r="http://schemas.openxmlformats.org/officeDocument/2006/relationships" xmlns:p="http://schemas.openxmlformats.org/presentationml/2006/main">
  <p:tag name="SHAPENAME" val="5. Source"/>
</p:tagLst>
</file>

<file path=ppt/tags/tag595.xml><?xml version="1.0" encoding="utf-8"?>
<p:tagLst xmlns:a="http://schemas.openxmlformats.org/drawingml/2006/main" xmlns:r="http://schemas.openxmlformats.org/officeDocument/2006/relationships" xmlns:p="http://schemas.openxmlformats.org/presentationml/2006/main">
  <p:tag name="NAME" val="ACET"/>
</p:tagLst>
</file>

<file path=ppt/tags/tag596.xml><?xml version="1.0" encoding="utf-8"?>
<p:tagLst xmlns:a="http://schemas.openxmlformats.org/drawingml/2006/main" xmlns:r="http://schemas.openxmlformats.org/officeDocument/2006/relationships" xmlns:p="http://schemas.openxmlformats.org/presentationml/2006/main">
  <p:tag name="NAME" val="ACET"/>
</p:tagLst>
</file>

<file path=ppt/tags/tag59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2QAtqcZgOQN7Wgnb3koxA"/>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0qCw3RfmwVVUlbWeLzlBW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zZMG9uoilAAqgFqqWSiNB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F0nzPA.S_uQ5KQNzYyirJ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_LRNZFS4a.Dnmn3rx49tO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7EJQKvBuh6q37QNRpYVHH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2kjk0s7h3KGH8dHCPl2Or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nTMGFjxbpCrrbJFs20pU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AGx9P9g75Jmonb2X3LsKG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AZF5DXtFZidd5NS5_7o_Eg"/>
</p:tagLst>
</file>

<file path=ppt/tags/tag609.xml><?xml version="1.0" encoding="utf-8"?>
<p:tagLst xmlns:a="http://schemas.openxmlformats.org/drawingml/2006/main" xmlns:r="http://schemas.openxmlformats.org/officeDocument/2006/relationships" xmlns:p="http://schemas.openxmlformats.org/presentationml/2006/main">
  <p:tag name="NAME" val="ACE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5OkXHMOjCwf9lqBaegOD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vT41zuImMJCsllm1Lpj.X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l7M2W3QtwA5SzhGZucCaJ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INZFjTSyA7xxQTM1447oE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SDDsaes2XZ.pyAw.LwbUD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t3lXvHua00iWVmRnmLqm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3uPH9NT5Orsj0TGCMHEs8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eEHvlEGSMqBLaWiwtsq.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fXmBFhBcA6c06aKNuQaDq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aEpQxuqmESMnCDUcPO1.pA"/>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osPl2ujBKVQwjnrIecAUO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akjVbVmbucYTit_hPMFax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JCRqdJBL4EjP6HgIdc99k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lOfO5rq7HKHyRdbc6eVda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Oe3DTGa36ZJyNteHFGcmg"/>
</p:tagLst>
</file>

<file path=ppt/tags/tag625.xml><?xml version="1.0" encoding="utf-8"?>
<p:tagLst xmlns:a="http://schemas.openxmlformats.org/drawingml/2006/main" xmlns:r="http://schemas.openxmlformats.org/officeDocument/2006/relationships" xmlns:p="http://schemas.openxmlformats.org/presentationml/2006/main">
  <p:tag name="NAME" val="ACET"/>
</p:tagLst>
</file>

<file path=ppt/tags/tag626.xml><?xml version="1.0" encoding="utf-8"?>
<p:tagLst xmlns:a="http://schemas.openxmlformats.org/drawingml/2006/main" xmlns:r="http://schemas.openxmlformats.org/officeDocument/2006/relationships" xmlns:p="http://schemas.openxmlformats.org/presentationml/2006/main">
  <p:tag name="NAME" val="ACET"/>
</p:tagLst>
</file>

<file path=ppt/tags/tag627.xml><?xml version="1.0" encoding="utf-8"?>
<p:tagLst xmlns:a="http://schemas.openxmlformats.org/drawingml/2006/main" xmlns:r="http://schemas.openxmlformats.org/officeDocument/2006/relationships" xmlns:p="http://schemas.openxmlformats.org/presentationml/2006/main">
  <p:tag name="NAME" val="ACET"/>
</p:tagLst>
</file>

<file path=ppt/tags/tag628.xml><?xml version="1.0" encoding="utf-8"?>
<p:tagLst xmlns:a="http://schemas.openxmlformats.org/drawingml/2006/main" xmlns:r="http://schemas.openxmlformats.org/officeDocument/2006/relationships" xmlns:p="http://schemas.openxmlformats.org/presentationml/2006/main">
  <p:tag name="SHAPENAME" val="5. Source"/>
</p:tagLst>
</file>

<file path=ppt/tags/tag6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VP5hucrckRYLbUztsXRz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LlMdrGU5Tp0l8uFvNHexm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ZxbBX2OJg8hZ_ujTOWMAm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Zvhq1ei7_keglS0VTWxz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ZY8uyLUZzL.Y6SO4sv9D2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GqWNtMEA34I8L24NvlfrO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Q6e4HugopJ2_z4EgbIp9o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QzsAC9PTrl_CIs1H769z2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_f73M7NSJUgUJDWhrWxaZ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a7o2h_ppfmi8CnexJDif6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i2Wi8RF3p5lbK8hOzdGNO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PVNtgywdnLBC7wH7y9lxp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qv8_5XG.I.sMy0PgS1EV6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1j0D5elLuJA8wCwBmZPze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H5xIzjKxE0.26u.MLAtI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FWmZ0varYVikkZ6cG1dgf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vygv6t3M4WvdrIlZHPVyMg"/>
</p:tagLst>
</file>

<file path=ppt/tags/tag647.xml><?xml version="1.0" encoding="utf-8"?>
<p:tagLst xmlns:a="http://schemas.openxmlformats.org/drawingml/2006/main" xmlns:r="http://schemas.openxmlformats.org/officeDocument/2006/relationships" xmlns:p="http://schemas.openxmlformats.org/presentationml/2006/main">
  <p:tag name="NAME" val="ACE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2D62"/>
      </a:accent1>
      <a:accent2>
        <a:srgbClr val="426DA9"/>
      </a:accent2>
      <a:accent3>
        <a:srgbClr val="1EA0A2"/>
      </a:accent3>
      <a:accent4>
        <a:srgbClr val="7DC6CE"/>
      </a:accent4>
      <a:accent5>
        <a:srgbClr val="001047"/>
      </a:accent5>
      <a:accent6>
        <a:srgbClr val="A8BEDC"/>
      </a:accent6>
      <a:hlink>
        <a:srgbClr val="0000FF"/>
      </a:hlink>
      <a:folHlink>
        <a:srgbClr val="800080"/>
      </a:folHlink>
    </a:clrScheme>
    <a:fontScheme name="Custom 443">
      <a:majorFont>
        <a:latin typeface="Verdana"/>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D62"/>
        </a:accent1>
        <a:accent2>
          <a:srgbClr val="426DA9"/>
        </a:accent2>
        <a:accent3>
          <a:srgbClr val="1EA0A2"/>
        </a:accent3>
        <a:accent4>
          <a:srgbClr val="7DC6CE"/>
        </a:accent4>
        <a:accent5>
          <a:srgbClr val="001047"/>
        </a:accent5>
        <a:accent6>
          <a:srgbClr val="A8BED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B7985"/>
    </a:custClr>
    <a:custClr name="Custom Color7">
      <a:srgbClr val="0C2043"/>
    </a:custClr>
    <a:custClr name="Custom Color8">
      <a:srgbClr val="A5C8D3"/>
    </a:custClr>
    <a:custClr name="Custom Color9">
      <a:srgbClr val="B49C0F"/>
    </a:custClr>
  </a:custClrLst>
  <a:extLst>
    <a:ext uri="{05A4C25C-085E-4340-85A3-A5531E510DB2}">
      <thm15:themeFamily xmlns:thm15="http://schemas.microsoft.com/office/thememl/2012/main" name="2190DJ01_CF_16X9_ENG_V2.potx" id="{FA96B203-B46B-4616-B406-75C4F9EE6F1D}" vid="{1BFB147F-B1DB-41D2-AE2D-5DE3D68AC606}"/>
    </a:ext>
  </a:extLst>
</a:theme>
</file>

<file path=ppt/theme/theme2.xml><?xml version="1.0" encoding="utf-8"?>
<a:theme xmlns:a="http://schemas.openxmlformats.org/drawingml/2006/main" name="Contrast">
  <a:themeElements>
    <a:clrScheme name="Scheme2">
      <a:dk1>
        <a:srgbClr val="FFFFFF"/>
      </a:dk1>
      <a:lt1>
        <a:srgbClr val="002D62"/>
      </a:lt1>
      <a:dk2>
        <a:srgbClr val="000000"/>
      </a:dk2>
      <a:lt2>
        <a:srgbClr val="000000"/>
      </a:lt2>
      <a:accent1>
        <a:srgbClr val="FFFFFF"/>
      </a:accent1>
      <a:accent2>
        <a:srgbClr val="426DA9"/>
      </a:accent2>
      <a:accent3>
        <a:srgbClr val="1EA0A2"/>
      </a:accent3>
      <a:accent4>
        <a:srgbClr val="7DC6CE"/>
      </a:accent4>
      <a:accent5>
        <a:srgbClr val="001047"/>
      </a:accent5>
      <a:accent6>
        <a:srgbClr val="A8BEDC"/>
      </a:accent6>
      <a:hlink>
        <a:srgbClr val="0000FF"/>
      </a:hlink>
      <a:folHlink>
        <a:srgbClr val="800080"/>
      </a:folHlink>
    </a:clrScheme>
    <a:fontScheme name="Custom 443">
      <a:majorFont>
        <a:latin typeface="Verdana"/>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D62"/>
        </a:lt1>
        <a:dk2>
          <a:srgbClr val="000000"/>
        </a:dk2>
        <a:lt2>
          <a:srgbClr val="000000"/>
        </a:lt2>
        <a:accent1>
          <a:srgbClr val="FFFFFF"/>
        </a:accent1>
        <a:accent2>
          <a:srgbClr val="426DA9"/>
        </a:accent2>
        <a:accent3>
          <a:srgbClr val="1EA0A2"/>
        </a:accent3>
        <a:accent4>
          <a:srgbClr val="7DC6CE"/>
        </a:accent4>
        <a:accent5>
          <a:srgbClr val="001047"/>
        </a:accent5>
        <a:accent6>
          <a:srgbClr val="A8BED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B7985"/>
    </a:custClr>
    <a:custClr name="Custom Color7">
      <a:srgbClr val="0C2043"/>
    </a:custClr>
    <a:custClr name="Custom Color8">
      <a:srgbClr val="A5C8D3"/>
    </a:custClr>
    <a:custClr name="Custom Color9">
      <a:srgbClr val="B49C0F"/>
    </a:custClr>
  </a:custClrLst>
  <a:extLst>
    <a:ext uri="{05A4C25C-085E-4340-85A3-A5531E510DB2}">
      <thm15:themeFamily xmlns:thm15="http://schemas.microsoft.com/office/thememl/2012/main" name="2190DJ01_CF_16X9_ENG_V2.potx" id="{FA96B203-B46B-4616-B406-75C4F9EE6F1D}" vid="{CC1FB011-AD4E-4465-A7C2-759AF6EC78B9}"/>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525"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B55268CF-6708-4E84-A1C4-DD55FD01E7E3}">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blockRequestsEnabled&quot;:false,&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2190DJ01&quot;,&quot;updatedAt&quot;:&quot;2026-06-15T04:56:06.963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409C2A6A-EE54-42E9-A67A-B49FE474F89D}">
  <we:reference id="5332053f-08b1-4ad5-b936-144d44d33f40" version="2.62.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43FAB826CB574E91C9461C636EAC5B" ma:contentTypeVersion="3" ma:contentTypeDescription="Create a new document." ma:contentTypeScope="" ma:versionID="f6ae54ecea87f32f054543a34755acea">
  <xsd:schema xmlns:xsd="http://www.w3.org/2001/XMLSchema" xmlns:xs="http://www.w3.org/2001/XMLSchema" xmlns:p="http://schemas.microsoft.com/office/2006/metadata/properties" xmlns:ns2="c04dd9d7-acfb-489e-8b3a-8de3614e820f" targetNamespace="http://schemas.microsoft.com/office/2006/metadata/properties" ma:root="true" ma:fieldsID="9a6738f37a6f38363ea3396bd92bee34" ns2:_="">
    <xsd:import namespace="c04dd9d7-acfb-489e-8b3a-8de3614e820f"/>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4dd9d7-acfb-489e-8b3a-8de3614e82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51E08E-581C-4DF2-8684-0DF29C6B1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4dd9d7-acfb-489e-8b3a-8de3614e82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F200F7-4AC8-4EBB-A90A-0BA23F9E7C68}">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c04dd9d7-acfb-489e-8b3a-8de3614e820f"/>
    <ds:schemaRef ds:uri="http://www.w3.org/XML/1998/namespace"/>
    <ds:schemaRef ds:uri="http://purl.org/dc/dcmitype/"/>
  </ds:schemaRefs>
</ds:datastoreItem>
</file>

<file path=customXml/itemProps3.xml><?xml version="1.0" encoding="utf-8"?>
<ds:datastoreItem xmlns:ds="http://schemas.openxmlformats.org/officeDocument/2006/customXml" ds:itemID="{28E55445-E522-45EB-A82E-9772DDECDF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190DJ01_CF_16X9_ENG_V2</Template>
  <TotalTime>0</TotalTime>
  <Words>4059</Words>
  <Application>Microsoft Office PowerPoint</Application>
  <PresentationFormat>Widescreen</PresentationFormat>
  <Paragraphs>644</Paragraphs>
  <Slides>19</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9" baseType="lpstr">
      <vt:lpstr>Georgia</vt:lpstr>
      <vt:lpstr>Segoe UI</vt:lpstr>
      <vt:lpstr>Arial</vt:lpstr>
      <vt:lpstr>Calibri</vt:lpstr>
      <vt:lpstr>Wingdings</vt:lpstr>
      <vt:lpstr>Verdana</vt:lpstr>
      <vt:lpstr>League Spartan</vt:lpstr>
      <vt:lpstr>White</vt:lpstr>
      <vt:lpstr>Contrast</vt:lpstr>
      <vt:lpstr>think-cell Slide</vt:lpstr>
      <vt:lpstr>Louisiana Department of Health  Rural Health Transformation Program July 2, 2026</vt:lpstr>
      <vt:lpstr>Rural Health Transformation</vt:lpstr>
      <vt:lpstr>PowerPoint Presentation</vt:lpstr>
      <vt:lpstr>Active NOFOs </vt:lpstr>
      <vt:lpstr>APM NOFO - Table of contents</vt:lpstr>
      <vt:lpstr>Context: LDH’s alternative payment model strategy seeks to address disparities in rural health outcomes in Louisiana</vt:lpstr>
      <vt:lpstr>1. NOFO design context: LDH’s APM strategy will direct $30M toward advancing a rural-focused, primary care-led model</vt:lpstr>
      <vt:lpstr>1. NOFO eligibility context:  Focus on providers</vt:lpstr>
      <vt:lpstr>1. Adoption barriers context: eligible uses of funds are oriented around barriers to provider adoption </vt:lpstr>
      <vt:lpstr>2. Data availability context:  Provider need and potential approaches</vt:lpstr>
      <vt:lpstr>3. Strategic alignment context: RHTP and Medicaid efforts on APMs are complementary but do not overlap</vt:lpstr>
      <vt:lpstr>Appendix</vt:lpstr>
      <vt:lpstr>Rural has a ~5% higher Per Member Per Year (PMPY) than urban, but lower utilization</vt:lpstr>
      <vt:lpstr>Rural experiences a higher chronic disease burden than urban</vt:lpstr>
      <vt:lpstr>Cardiovascular and psychiatric conditions are large contributors toward total rural chronic spend</vt:lpstr>
      <vt:lpstr>Rural parishes experience higher average PMPY1 costs than urban parishes </vt:lpstr>
      <vt:lpstr>Survey respondents represent a mix of rural clinics, FQHCs, and hospitals</vt:lpstr>
      <vt:lpstr>VBC / APM participation is common, but largely concentrated in lower-risk models</vt:lpstr>
      <vt:lpstr>Upcoming Engagement Opportuniti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2</cp:revision>
  <dcterms:created xsi:type="dcterms:W3CDTF">2026-06-18T23:18:18Z</dcterms:created>
  <dcterms:modified xsi:type="dcterms:W3CDTF">2026-07-02T13:43:0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6-18T23:18:2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4975194a-d4aa-45df-8c2d-8174315db356</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TemplateLastEdited">
    <vt:lpwstr>2021-12-13 05:24 PM</vt:lpwstr>
  </property>
  <property fmtid="{D5CDD505-2E9C-101B-9397-08002B2CF9AE}" pid="11" name="MSIP_Label_41a75552-f860-45e1-90d5-c0b4fc08c5e4_Name">
    <vt:lpwstr>Client</vt:lpwstr>
  </property>
  <property fmtid="{D5CDD505-2E9C-101B-9397-08002B2CF9AE}" pid="12" name="MSIP_Label_41a75552-f860-45e1-90d5-c0b4fc08c5e4_ActionId">
    <vt:lpwstr>85ae2b64-b2d8-4d7e-80f1-41214c368cb1</vt:lpwstr>
  </property>
  <property fmtid="{D5CDD505-2E9C-101B-9397-08002B2CF9AE}" pid="13" name="Sensitivity">
    <vt:lpwstr>Client \ Client Confidential Client</vt:lpwstr>
  </property>
  <property fmtid="{D5CDD505-2E9C-101B-9397-08002B2CF9AE}" pid="14" name="MediaServiceImageTags">
    <vt:lpwstr/>
  </property>
  <property fmtid="{D5CDD505-2E9C-101B-9397-08002B2CF9AE}" pid="15" name="_dlc_DocIdItemGuid">
    <vt:lpwstr>816ddfb8-3158-4da9-b2ce-8114c06d5ef9</vt:lpwstr>
  </property>
  <property fmtid="{D5CDD505-2E9C-101B-9397-08002B2CF9AE}" pid="16" name="MSIP_Label_41a75552-f860-45e1-90d5-c0b4fc08c5e4_Extended_MSFT_Method">
    <vt:lpwstr>Standard</vt:lpwstr>
  </property>
  <property fmtid="{D5CDD505-2E9C-101B-9397-08002B2CF9AE}" pid="17" name="MSIP_Label_41a75552-f860-45e1-90d5-c0b4fc08c5e4_SetDate">
    <vt:lpwstr>2026-05-12T14:23:31Z</vt:lpwstr>
  </property>
  <property fmtid="{D5CDD505-2E9C-101B-9397-08002B2CF9AE}" pid="18" name="MSIP_Label_41a75552-f860-45e1-90d5-c0b4fc08c5e4_Enabled">
    <vt:lpwstr>True</vt:lpwstr>
  </property>
  <property fmtid="{D5CDD505-2E9C-101B-9397-08002B2CF9AE}" pid="19" name="ContentTypeId">
    <vt:lpwstr>0x0101004D43FAB826CB574E91C9461C636EAC5B</vt:lpwstr>
  </property>
  <property fmtid="{D5CDD505-2E9C-101B-9397-08002B2CF9AE}" pid="20" name="MSIP_Label_41a75552-f860-45e1-90d5-c0b4fc08c5e4_SiteId">
    <vt:lpwstr>cc8936bc-9382-4fff-87cb-6f55999549e7</vt:lpwstr>
  </property>
</Properties>
</file>